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notesSlides/notesSlide5.xml" ContentType="application/vnd.openxmlformats-officedocument.presentationml.notesSlide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tags/tag48.xml" ContentType="application/vnd.openxmlformats-officedocument.presentationml.tags+xml"/>
  <Override PartName="/ppt/notesSlides/notesSlide7.xml" ContentType="application/vnd.openxmlformats-officedocument.presentationml.notesSlide+xml"/>
  <Override PartName="/ppt/tags/tag49.xml" ContentType="application/vnd.openxmlformats-officedocument.presentationml.tags+xml"/>
  <Override PartName="/ppt/notesSlides/notesSlide8.xml" ContentType="application/vnd.openxmlformats-officedocument.presentationml.notesSlide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tags/tag52.xml" ContentType="application/vnd.openxmlformats-officedocument.presentationml.tags+xml"/>
  <Override PartName="/ppt/notesSlides/notesSlide11.xml" ContentType="application/vnd.openxmlformats-officedocument.presentationml.notesSlide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tags/tag54.xml" ContentType="application/vnd.openxmlformats-officedocument.presentationml.tags+xml"/>
  <Override PartName="/ppt/notesSlides/notesSlide13.xml" ContentType="application/vnd.openxmlformats-officedocument.presentationml.notesSlide+xml"/>
  <Override PartName="/ppt/tags/tag55.xml" ContentType="application/vnd.openxmlformats-officedocument.presentationml.tags+xml"/>
  <Override PartName="/ppt/notesSlides/notesSlide14.xml" ContentType="application/vnd.openxmlformats-officedocument.presentationml.notesSlide+xml"/>
  <Override PartName="/ppt/tags/tag56.xml" ContentType="application/vnd.openxmlformats-officedocument.presentationml.tags+xml"/>
  <Override PartName="/ppt/notesSlides/notesSlide15.xml" ContentType="application/vnd.openxmlformats-officedocument.presentationml.notesSlide+xml"/>
  <Override PartName="/ppt/tags/tag57.xml" ContentType="application/vnd.openxmlformats-officedocument.presentationml.tags+xml"/>
  <Override PartName="/ppt/notesSlides/notesSlide16.xml" ContentType="application/vnd.openxmlformats-officedocument.presentationml.notesSlide+xml"/>
  <Override PartName="/ppt/tags/tag58.xml" ContentType="application/vnd.openxmlformats-officedocument.presentationml.tags+xml"/>
  <Override PartName="/ppt/notesSlides/notesSlide17.xml" ContentType="application/vnd.openxmlformats-officedocument.presentationml.notesSlide+xml"/>
  <Override PartName="/ppt/tags/tag59.xml" ContentType="application/vnd.openxmlformats-officedocument.presentationml.tags+xml"/>
  <Override PartName="/ppt/notesSlides/notesSlide18.xml" ContentType="application/vnd.openxmlformats-officedocument.presentationml.notesSlide+xml"/>
  <Override PartName="/ppt/tags/tag60.xml" ContentType="application/vnd.openxmlformats-officedocument.presentationml.tags+xml"/>
  <Override PartName="/ppt/notesSlides/notesSlide19.xml" ContentType="application/vnd.openxmlformats-officedocument.presentationml.notesSlide+xml"/>
  <Override PartName="/ppt/tags/tag61.xml" ContentType="application/vnd.openxmlformats-officedocument.presentationml.tags+xml"/>
  <Override PartName="/ppt/notesSlides/notesSlide20.xml" ContentType="application/vnd.openxmlformats-officedocument.presentationml.notesSlide+xml"/>
  <Override PartName="/ppt/tags/tag62.xml" ContentType="application/vnd.openxmlformats-officedocument.presentationml.tags+xml"/>
  <Override PartName="/ppt/notesSlides/notesSlide21.xml" ContentType="application/vnd.openxmlformats-officedocument.presentationml.notesSlide+xml"/>
  <Override PartName="/ppt/tags/tag63.xml" ContentType="application/vnd.openxmlformats-officedocument.presentationml.tags+xml"/>
  <Override PartName="/ppt/notesSlides/notesSlide22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3.xml" ContentType="application/vnd.openxmlformats-officedocument.presentationml.notesSlide+xml"/>
  <Override PartName="/ppt/tags/tag66.xml" ContentType="application/vnd.openxmlformats-officedocument.presentationml.tags+xml"/>
  <Override PartName="/ppt/notesSlides/notesSlide24.xml" ContentType="application/vnd.openxmlformats-officedocument.presentationml.notesSlide+xml"/>
  <Override PartName="/ppt/tags/tag67.xml" ContentType="application/vnd.openxmlformats-officedocument.presentationml.tags+xml"/>
  <Override PartName="/ppt/notesSlides/notesSlide25.xml" ContentType="application/vnd.openxmlformats-officedocument.presentationml.notesSlide+xml"/>
  <Override PartName="/ppt/tags/tag68.xml" ContentType="application/vnd.openxmlformats-officedocument.presentationml.tags+xml"/>
  <Override PartName="/ppt/notesSlides/notesSlide26.xml" ContentType="application/vnd.openxmlformats-officedocument.presentationml.notesSlide+xml"/>
  <Override PartName="/ppt/tags/tag69.xml" ContentType="application/vnd.openxmlformats-officedocument.presentationml.tags+xml"/>
  <Override PartName="/ppt/notesSlides/notesSlide27.xml" ContentType="application/vnd.openxmlformats-officedocument.presentationml.notesSlide+xml"/>
  <Override PartName="/ppt/tags/tag70.xml" ContentType="application/vnd.openxmlformats-officedocument.presentationml.tags+xml"/>
  <Override PartName="/ppt/notesSlides/notesSlide28.xml" ContentType="application/vnd.openxmlformats-officedocument.presentationml.notesSlide+xml"/>
  <Override PartName="/ppt/tags/tag71.xml" ContentType="application/vnd.openxmlformats-officedocument.presentationml.tags+xml"/>
  <Override PartName="/ppt/notesSlides/notesSlide29.xml" ContentType="application/vnd.openxmlformats-officedocument.presentationml.notesSlide+xml"/>
  <Override PartName="/ppt/tags/tag72.xml" ContentType="application/vnd.openxmlformats-officedocument.presentationml.tags+xml"/>
  <Override PartName="/ppt/notesSlides/notesSlide30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3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2.xml" ContentType="application/vnd.openxmlformats-officedocument.presentationml.notesSlide+xml"/>
  <Override PartName="/ppt/tags/tag77.xml" ContentType="application/vnd.openxmlformats-officedocument.presentationml.tags+xml"/>
  <Override PartName="/ppt/notesSlides/notesSlide33.xml" ContentType="application/vnd.openxmlformats-officedocument.presentationml.notesSlide+xml"/>
  <Override PartName="/ppt/tags/tag78.xml" ContentType="application/vnd.openxmlformats-officedocument.presentationml.tags+xml"/>
  <Override PartName="/ppt/notesSlides/notesSlide34.xml" ContentType="application/vnd.openxmlformats-officedocument.presentationml.notesSlide+xml"/>
  <Override PartName="/ppt/tags/tag79.xml" ContentType="application/vnd.openxmlformats-officedocument.presentationml.tags+xml"/>
  <Override PartName="/ppt/notesSlides/notesSlide35.xml" ContentType="application/vnd.openxmlformats-officedocument.presentationml.notesSlide+xml"/>
  <Override PartName="/ppt/tags/tag80.xml" ContentType="application/vnd.openxmlformats-officedocument.presentationml.tags+xml"/>
  <Override PartName="/ppt/notesSlides/notesSlide36.xml" ContentType="application/vnd.openxmlformats-officedocument.presentationml.notesSlide+xml"/>
  <Override PartName="/ppt/tags/tag81.xml" ContentType="application/vnd.openxmlformats-officedocument.presentationml.tags+xml"/>
  <Override PartName="/ppt/notesSlides/notesSlide37.xml" ContentType="application/vnd.openxmlformats-officedocument.presentationml.notesSlide+xml"/>
  <Override PartName="/ppt/tags/tag82.xml" ContentType="application/vnd.openxmlformats-officedocument.presentationml.tags+xml"/>
  <Override PartName="/ppt/notesSlides/notesSlide3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3.xml" ContentType="application/vnd.openxmlformats-officedocument.presentationml.tags+xml"/>
  <Override PartName="/ppt/notesSlides/notesSlide3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4.xml" ContentType="application/vnd.openxmlformats-officedocument.presentationml.tags+xml"/>
  <Override PartName="/ppt/notesSlides/notesSlide4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5.xml" ContentType="application/vnd.openxmlformats-officedocument.presentationml.tags+xml"/>
  <Override PartName="/ppt/notesSlides/notesSlide41.xml" ContentType="application/vnd.openxmlformats-officedocument.presentationml.notesSlide+xml"/>
  <Override PartName="/ppt/tags/tag86.xml" ContentType="application/vnd.openxmlformats-officedocument.presentationml.tags+xml"/>
  <Override PartName="/ppt/notesSlides/notesSlide4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87.xml" ContentType="application/vnd.openxmlformats-officedocument.presentationml.tags+xml"/>
  <Override PartName="/ppt/notesSlides/notesSlide4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44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45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46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47.xml" ContentType="application/vnd.openxmlformats-officedocument.presentationml.notesSlide+xml"/>
  <Override PartName="/ppt/tags/tag96.xml" ContentType="application/vnd.openxmlformats-officedocument.presentationml.tags+xml"/>
  <Override PartName="/ppt/notesSlides/notesSlide48.xml" ContentType="application/vnd.openxmlformats-officedocument.presentationml.notesSlide+xml"/>
  <Override PartName="/ppt/tags/tag97.xml" ContentType="application/vnd.openxmlformats-officedocument.presentationml.tags+xml"/>
  <Override PartName="/ppt/notesSlides/notesSlide4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98.xml" ContentType="application/vnd.openxmlformats-officedocument.presentationml.tags+xml"/>
  <Override PartName="/ppt/notesSlides/notesSlide50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51.xml" ContentType="application/vnd.openxmlformats-officedocument.presentationml.notesSlide+xml"/>
  <Override PartName="/ppt/tags/tag101.xml" ContentType="application/vnd.openxmlformats-officedocument.presentationml.tags+xml"/>
  <Override PartName="/ppt/notesSlides/notesSlide52.xml" ContentType="application/vnd.openxmlformats-officedocument.presentationml.notesSlide+xml"/>
  <Override PartName="/ppt/tags/tag102.xml" ContentType="application/vnd.openxmlformats-officedocument.presentationml.tags+xml"/>
  <Override PartName="/ppt/notesSlides/notesSlide53.xml" ContentType="application/vnd.openxmlformats-officedocument.presentationml.notesSlide+xml"/>
  <Override PartName="/ppt/tags/tag103.xml" ContentType="application/vnd.openxmlformats-officedocument.presentationml.tags+xml"/>
  <Override PartName="/ppt/notesSlides/notesSlide54.xml" ContentType="application/vnd.openxmlformats-officedocument.presentationml.notesSlide+xml"/>
  <Override PartName="/ppt/tags/tag104.xml" ContentType="application/vnd.openxmlformats-officedocument.presentationml.tags+xml"/>
  <Override PartName="/ppt/notesSlides/notesSlide5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5.xml" ContentType="application/vnd.openxmlformats-officedocument.presentationml.tags+xml"/>
  <Override PartName="/ppt/notesSlides/notesSlide5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6.xml" ContentType="application/vnd.openxmlformats-officedocument.presentationml.tags+xml"/>
  <Override PartName="/ppt/notesSlides/notesSlide5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7.xml" ContentType="application/vnd.openxmlformats-officedocument.presentationml.tags+xml"/>
  <Override PartName="/ppt/notesSlides/notesSlide5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5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10.xml" ContentType="application/vnd.openxmlformats-officedocument.presentationml.tags+xml"/>
  <Override PartName="/ppt/notesSlides/notesSlide60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1.xml" ContentType="application/vnd.openxmlformats-officedocument.presentationml.tags+xml"/>
  <Override PartName="/ppt/notesSlides/notesSlide61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12.xml" ContentType="application/vnd.openxmlformats-officedocument.presentationml.tags+xml"/>
  <Override PartName="/ppt/notesSlides/notesSlide62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3.xml" ContentType="application/vnd.openxmlformats-officedocument.presentationml.tags+xml"/>
  <Override PartName="/ppt/notesSlides/notesSlide6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14.xml" ContentType="application/vnd.openxmlformats-officedocument.presentationml.tags+xml"/>
  <Override PartName="/ppt/notesSlides/notesSlide64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15.xml" ContentType="application/vnd.openxmlformats-officedocument.presentationml.tags+xml"/>
  <Override PartName="/ppt/notesSlides/notesSlide65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6.xml" ContentType="application/vnd.openxmlformats-officedocument.presentationml.tags+xml"/>
  <Override PartName="/ppt/notesSlides/notesSlide66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67.xml" ContentType="application/vnd.openxmlformats-officedocument.presentationml.notesSlide+xml"/>
  <Override PartName="/ppt/tags/tag212.xml" ContentType="application/vnd.openxmlformats-officedocument.presentationml.tags+xml"/>
  <Override PartName="/ppt/notesSlides/notesSlide68.xml" ContentType="application/vnd.openxmlformats-officedocument.presentationml.notesSlide+xml"/>
  <Override PartName="/ppt/tags/tag213.xml" ContentType="application/vnd.openxmlformats-officedocument.presentationml.tags+xml"/>
  <Override PartName="/ppt/notesSlides/notesSlide69.xml" ContentType="application/vnd.openxmlformats-officedocument.presentationml.notesSlide+xml"/>
  <Override PartName="/ppt/tags/tag214.xml" ContentType="application/vnd.openxmlformats-officedocument.presentationml.tags+xml"/>
  <Override PartName="/ppt/notesSlides/notesSlide70.xml" ContentType="application/vnd.openxmlformats-officedocument.presentationml.notesSlide+xml"/>
  <Override PartName="/ppt/tags/tag215.xml" ContentType="application/vnd.openxmlformats-officedocument.presentationml.tags+xml"/>
  <Override PartName="/ppt/notesSlides/notesSlide71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7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</p:sldMasterIdLst>
  <p:notesMasterIdLst>
    <p:notesMasterId r:id="rId77"/>
  </p:notesMasterIdLst>
  <p:sldIdLst>
    <p:sldId id="271" r:id="rId5"/>
    <p:sldId id="272" r:id="rId6"/>
    <p:sldId id="322" r:id="rId7"/>
    <p:sldId id="397" r:id="rId8"/>
    <p:sldId id="398" r:id="rId9"/>
    <p:sldId id="399" r:id="rId10"/>
    <p:sldId id="400" r:id="rId11"/>
    <p:sldId id="401" r:id="rId12"/>
    <p:sldId id="407" r:id="rId13"/>
    <p:sldId id="408" r:id="rId14"/>
    <p:sldId id="409" r:id="rId15"/>
    <p:sldId id="410" r:id="rId16"/>
    <p:sldId id="411" r:id="rId17"/>
    <p:sldId id="270" r:id="rId18"/>
    <p:sldId id="273" r:id="rId19"/>
    <p:sldId id="276" r:id="rId20"/>
    <p:sldId id="290" r:id="rId21"/>
    <p:sldId id="257" r:id="rId22"/>
    <p:sldId id="324" r:id="rId23"/>
    <p:sldId id="325" r:id="rId24"/>
    <p:sldId id="295" r:id="rId25"/>
    <p:sldId id="413" r:id="rId26"/>
    <p:sldId id="327" r:id="rId27"/>
    <p:sldId id="292" r:id="rId28"/>
    <p:sldId id="281" r:id="rId29"/>
    <p:sldId id="279" r:id="rId30"/>
    <p:sldId id="280" r:id="rId31"/>
    <p:sldId id="328" r:id="rId32"/>
    <p:sldId id="406" r:id="rId33"/>
    <p:sldId id="404" r:id="rId34"/>
    <p:sldId id="263" r:id="rId35"/>
    <p:sldId id="265" r:id="rId36"/>
    <p:sldId id="296" r:id="rId37"/>
    <p:sldId id="297" r:id="rId38"/>
    <p:sldId id="283" r:id="rId39"/>
    <p:sldId id="286" r:id="rId40"/>
    <p:sldId id="284" r:id="rId41"/>
    <p:sldId id="316" r:id="rId42"/>
    <p:sldId id="317" r:id="rId43"/>
    <p:sldId id="261" r:id="rId44"/>
    <p:sldId id="414" r:id="rId45"/>
    <p:sldId id="303" r:id="rId46"/>
    <p:sldId id="304" r:id="rId47"/>
    <p:sldId id="390" r:id="rId48"/>
    <p:sldId id="391" r:id="rId49"/>
    <p:sldId id="392" r:id="rId50"/>
    <p:sldId id="393" r:id="rId51"/>
    <p:sldId id="305" r:id="rId52"/>
    <p:sldId id="302" r:id="rId53"/>
    <p:sldId id="315" r:id="rId54"/>
    <p:sldId id="394" r:id="rId55"/>
    <p:sldId id="318" r:id="rId56"/>
    <p:sldId id="319" r:id="rId57"/>
    <p:sldId id="313" r:id="rId58"/>
    <p:sldId id="306" r:id="rId59"/>
    <p:sldId id="307" r:id="rId60"/>
    <p:sldId id="308" r:id="rId61"/>
    <p:sldId id="309" r:id="rId62"/>
    <p:sldId id="335" r:id="rId63"/>
    <p:sldId id="310" r:id="rId64"/>
    <p:sldId id="311" r:id="rId65"/>
    <p:sldId id="312" r:id="rId66"/>
    <p:sldId id="298" r:id="rId67"/>
    <p:sldId id="300" r:id="rId68"/>
    <p:sldId id="301" r:id="rId69"/>
    <p:sldId id="323" r:id="rId70"/>
    <p:sldId id="395" r:id="rId71"/>
    <p:sldId id="289" r:id="rId72"/>
    <p:sldId id="405" r:id="rId73"/>
    <p:sldId id="320" r:id="rId74"/>
    <p:sldId id="321" r:id="rId75"/>
    <p:sldId id="412" r:id="rId7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7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744" autoAdjust="0"/>
  </p:normalViewPr>
  <p:slideViewPr>
    <p:cSldViewPr>
      <p:cViewPr>
        <p:scale>
          <a:sx n="81" d="100"/>
          <a:sy n="81" d="100"/>
        </p:scale>
        <p:origin x="96" y="-196"/>
      </p:cViewPr>
      <p:guideLst>
        <p:guide orient="horz" pos="2160"/>
        <p:guide pos="3772"/>
      </p:guideLst>
    </p:cSldViewPr>
  </p:slideViewPr>
  <p:outlineViewPr>
    <p:cViewPr>
      <p:scale>
        <a:sx n="33" d="100"/>
        <a:sy n="33" d="100"/>
      </p:scale>
      <p:origin x="0" y="-4707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1599999999999999</c:v>
                </c:pt>
                <c:pt idx="1">
                  <c:v>1.4</c:v>
                </c:pt>
                <c:pt idx="2">
                  <c:v>1.61</c:v>
                </c:pt>
                <c:pt idx="3">
                  <c:v>1.77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rgbClr val="61E18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Middle East/Africa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56999999999999995</c:v>
                </c:pt>
                <c:pt idx="1">
                  <c:v>0.15</c:v>
                </c:pt>
                <c:pt idx="2">
                  <c:v>0.2</c:v>
                </c:pt>
                <c:pt idx="3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FF33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61E18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091653008058705E-2"/>
          <c:y val="2.4677781306320756E-2"/>
          <c:w val="0.91482040226198025"/>
          <c:h val="0.8093384739963077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0.00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33-427F-8F8C-7D09E853693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0.00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33-427F-8F8C-7D09E853693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33-427F-8F8C-7D09E8536934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333-427F-8F8C-7D09E85369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-179568896"/>
        <c:axId val="-179581408"/>
      </c:barChart>
      <c:catAx>
        <c:axId val="-179568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0707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81408"/>
        <c:crosses val="autoZero"/>
        <c:auto val="1"/>
        <c:lblAlgn val="ctr"/>
        <c:lblOffset val="100"/>
        <c:noMultiLvlLbl val="0"/>
      </c:catAx>
      <c:valAx>
        <c:axId val="-17958140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spPr>
          <a:noFill/>
          <a:ln>
            <a:solidFill>
              <a:srgbClr val="70707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68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234934195649634"/>
          <c:y val="0.92442576911921792"/>
          <c:w val="0.78355768269903958"/>
          <c:h val="5.7606304337061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rgbClr val="61E18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026961951"/>
        <c:axId val="2026940831"/>
      </c:barChart>
      <c:catAx>
        <c:axId val="2026961951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b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FF3333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2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3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61E182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093ECE-26AC-4802-98B9-90812CFAE38A}" type="doc">
      <dgm:prSet loTypeId="urn:microsoft.com/office/officeart/2005/8/layout/hChevron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C9BB56DC-9153-4254-938B-4FDB78D249F6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F3732FE2-7B25-4654-873D-A960D54B2085}" type="par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F80DA33-6D44-4C44-AE5D-3321C2B1AF85}" type="sib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59C3407-C32C-44D8-8248-01E3C5C08E14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0987A2F5-4769-43AD-B83B-D538A51B4D13}" type="par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3136B9D4-6794-4765-ACD9-2DD07C12C84C}" type="sib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8E912157-35F9-41B7-B1A8-C01E5E3AED4E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3C59B8B6-4C34-4EF2-880A-CD429BA7C1AA}" type="par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D431F90F-650D-446E-BE55-0F75730D42A7}" type="sib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184E422B-6485-4657-99E7-461762AC6BCB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7BBE1D37-1B9E-4B12-8CF6-0BAD9AAFBDCA}" type="par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5B3B4B2F-6B90-418B-9D83-B6BBF134ADED}" type="sib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655C9EDD-C29E-4375-BF81-AC249EDC2FC4}" type="pres">
      <dgm:prSet presAssocID="{C3093ECE-26AC-4802-98B9-90812CFAE38A}" presName="Name0" presStyleCnt="0">
        <dgm:presLayoutVars>
          <dgm:dir/>
          <dgm:resizeHandles val="exact"/>
        </dgm:presLayoutVars>
      </dgm:prSet>
      <dgm:spPr/>
    </dgm:pt>
    <dgm:pt modelId="{71592617-C44B-415E-B250-D6611CE829C0}" type="pres">
      <dgm:prSet presAssocID="{C9BB56DC-9153-4254-938B-4FDB78D249F6}" presName="parTxOnly" presStyleLbl="node1" presStyleIdx="0" presStyleCnt="4">
        <dgm:presLayoutVars>
          <dgm:bulletEnabled val="1"/>
        </dgm:presLayoutVars>
      </dgm:prSet>
      <dgm:spPr/>
    </dgm:pt>
    <dgm:pt modelId="{5FDDCDD1-ECD2-4FD7-BDAC-0256FF712722}" type="pres">
      <dgm:prSet presAssocID="{8F80DA33-6D44-4C44-AE5D-3321C2B1AF85}" presName="parSpace" presStyleCnt="0"/>
      <dgm:spPr/>
    </dgm:pt>
    <dgm:pt modelId="{BAA9CF7E-901F-4EB1-8154-66B8B6FCA799}" type="pres">
      <dgm:prSet presAssocID="{859C3407-C32C-44D8-8248-01E3C5C08E14}" presName="parTxOnly" presStyleLbl="node1" presStyleIdx="1" presStyleCnt="4">
        <dgm:presLayoutVars>
          <dgm:bulletEnabled val="1"/>
        </dgm:presLayoutVars>
      </dgm:prSet>
      <dgm:spPr/>
    </dgm:pt>
    <dgm:pt modelId="{A1C1304D-6D91-42D5-BB1A-EABFF5C6DB07}" type="pres">
      <dgm:prSet presAssocID="{3136B9D4-6794-4765-ACD9-2DD07C12C84C}" presName="parSpace" presStyleCnt="0"/>
      <dgm:spPr/>
    </dgm:pt>
    <dgm:pt modelId="{EE750EE4-208C-4912-B12D-02CDAB75B38D}" type="pres">
      <dgm:prSet presAssocID="{8E912157-35F9-41B7-B1A8-C01E5E3AED4E}" presName="parTxOnly" presStyleLbl="node1" presStyleIdx="2" presStyleCnt="4">
        <dgm:presLayoutVars>
          <dgm:bulletEnabled val="1"/>
        </dgm:presLayoutVars>
      </dgm:prSet>
      <dgm:spPr/>
    </dgm:pt>
    <dgm:pt modelId="{A2C8CBDC-90FF-46A0-A454-67DFD5431C20}" type="pres">
      <dgm:prSet presAssocID="{D431F90F-650D-446E-BE55-0F75730D42A7}" presName="parSpace" presStyleCnt="0"/>
      <dgm:spPr/>
    </dgm:pt>
    <dgm:pt modelId="{5B1BC7D1-0851-47ED-B084-3D21C4F27B7F}" type="pres">
      <dgm:prSet presAssocID="{184E422B-6485-4657-99E7-461762AC6BCB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C0212B23-FB2F-4D25-8335-EFB76F4D07E6}" type="presOf" srcId="{184E422B-6485-4657-99E7-461762AC6BCB}" destId="{5B1BC7D1-0851-47ED-B084-3D21C4F27B7F}" srcOrd="0" destOrd="0" presId="urn:microsoft.com/office/officeart/2005/8/layout/hChevron3"/>
    <dgm:cxn modelId="{F4A5C556-DF50-4282-9F01-6768E77E31E4}" type="presOf" srcId="{C9BB56DC-9153-4254-938B-4FDB78D249F6}" destId="{71592617-C44B-415E-B250-D6611CE829C0}" srcOrd="0" destOrd="0" presId="urn:microsoft.com/office/officeart/2005/8/layout/hChevron3"/>
    <dgm:cxn modelId="{0B5EC280-2CCB-4CC2-8F09-BC31903025AF}" srcId="{C3093ECE-26AC-4802-98B9-90812CFAE38A}" destId="{859C3407-C32C-44D8-8248-01E3C5C08E14}" srcOrd="1" destOrd="0" parTransId="{0987A2F5-4769-43AD-B83B-D538A51B4D13}" sibTransId="{3136B9D4-6794-4765-ACD9-2DD07C12C84C}"/>
    <dgm:cxn modelId="{C7654A8C-337C-4CF1-9E0F-59EA6872C471}" type="presOf" srcId="{859C3407-C32C-44D8-8248-01E3C5C08E14}" destId="{BAA9CF7E-901F-4EB1-8154-66B8B6FCA799}" srcOrd="0" destOrd="0" presId="urn:microsoft.com/office/officeart/2005/8/layout/hChevron3"/>
    <dgm:cxn modelId="{C112A494-2468-479D-A59B-E783869CA7DD}" type="presOf" srcId="{C3093ECE-26AC-4802-98B9-90812CFAE38A}" destId="{655C9EDD-C29E-4375-BF81-AC249EDC2FC4}" srcOrd="0" destOrd="0" presId="urn:microsoft.com/office/officeart/2005/8/layout/hChevron3"/>
    <dgm:cxn modelId="{B6720698-19CB-4390-9640-C4E0EB718C13}" type="presOf" srcId="{8E912157-35F9-41B7-B1A8-C01E5E3AED4E}" destId="{EE750EE4-208C-4912-B12D-02CDAB75B38D}" srcOrd="0" destOrd="0" presId="urn:microsoft.com/office/officeart/2005/8/layout/hChevron3"/>
    <dgm:cxn modelId="{4A483FA3-86B6-4E14-B296-DBA25F886FF7}" srcId="{C3093ECE-26AC-4802-98B9-90812CFAE38A}" destId="{184E422B-6485-4657-99E7-461762AC6BCB}" srcOrd="3" destOrd="0" parTransId="{7BBE1D37-1B9E-4B12-8CF6-0BAD9AAFBDCA}" sibTransId="{5B3B4B2F-6B90-418B-9D83-B6BBF134ADED}"/>
    <dgm:cxn modelId="{A0B211B1-F172-4C2C-9105-9EC69690A5B9}" srcId="{C3093ECE-26AC-4802-98B9-90812CFAE38A}" destId="{8E912157-35F9-41B7-B1A8-C01E5E3AED4E}" srcOrd="2" destOrd="0" parTransId="{3C59B8B6-4C34-4EF2-880A-CD429BA7C1AA}" sibTransId="{D431F90F-650D-446E-BE55-0F75730D42A7}"/>
    <dgm:cxn modelId="{2EA7BCE3-5B41-448B-85BE-88E95EFCC048}" srcId="{C3093ECE-26AC-4802-98B9-90812CFAE38A}" destId="{C9BB56DC-9153-4254-938B-4FDB78D249F6}" srcOrd="0" destOrd="0" parTransId="{F3732FE2-7B25-4654-873D-A960D54B2085}" sibTransId="{8F80DA33-6D44-4C44-AE5D-3321C2B1AF85}"/>
    <dgm:cxn modelId="{F2304071-78E0-484D-B667-3EBC0FDEB26A}" type="presParOf" srcId="{655C9EDD-C29E-4375-BF81-AC249EDC2FC4}" destId="{71592617-C44B-415E-B250-D6611CE829C0}" srcOrd="0" destOrd="0" presId="urn:microsoft.com/office/officeart/2005/8/layout/hChevron3"/>
    <dgm:cxn modelId="{233E14F4-5BD4-4A05-9E4E-523FCC91DBE3}" type="presParOf" srcId="{655C9EDD-C29E-4375-BF81-AC249EDC2FC4}" destId="{5FDDCDD1-ECD2-4FD7-BDAC-0256FF712722}" srcOrd="1" destOrd="0" presId="urn:microsoft.com/office/officeart/2005/8/layout/hChevron3"/>
    <dgm:cxn modelId="{33FB672F-C3F4-4488-90C3-05C350B1DE67}" type="presParOf" srcId="{655C9EDD-C29E-4375-BF81-AC249EDC2FC4}" destId="{BAA9CF7E-901F-4EB1-8154-66B8B6FCA799}" srcOrd="2" destOrd="0" presId="urn:microsoft.com/office/officeart/2005/8/layout/hChevron3"/>
    <dgm:cxn modelId="{4DC02579-77E8-4F7D-ACA7-422D22E356B5}" type="presParOf" srcId="{655C9EDD-C29E-4375-BF81-AC249EDC2FC4}" destId="{A1C1304D-6D91-42D5-BB1A-EABFF5C6DB07}" srcOrd="3" destOrd="0" presId="urn:microsoft.com/office/officeart/2005/8/layout/hChevron3"/>
    <dgm:cxn modelId="{16F0930A-07EF-4100-90FE-C837EC2BE432}" type="presParOf" srcId="{655C9EDD-C29E-4375-BF81-AC249EDC2FC4}" destId="{EE750EE4-208C-4912-B12D-02CDAB75B38D}" srcOrd="4" destOrd="0" presId="urn:microsoft.com/office/officeart/2005/8/layout/hChevron3"/>
    <dgm:cxn modelId="{2E274223-10A1-4779-83C2-D98820DBF442}" type="presParOf" srcId="{655C9EDD-C29E-4375-BF81-AC249EDC2FC4}" destId="{A2C8CBDC-90FF-46A0-A454-67DFD5431C20}" srcOrd="5" destOrd="0" presId="urn:microsoft.com/office/officeart/2005/8/layout/hChevron3"/>
    <dgm:cxn modelId="{B6E6C07A-DB6F-4A94-B96A-4F5B60A71704}" type="presParOf" srcId="{655C9EDD-C29E-4375-BF81-AC249EDC2FC4}" destId="{5B1BC7D1-0851-47ED-B084-3D21C4F27B7F}" srcOrd="6" destOrd="0" presId="urn:microsoft.com/office/officeart/2005/8/layout/hChevron3"/>
  </dgm:cxnLst>
  <dgm:bg/>
  <dgm:whole>
    <a:ln w="6350"/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063A17C-2266-4F28-830B-FFF8A62AD87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F2F244E-E117-4B47-AC4D-5E02C4E65276}">
      <dgm:prSet phldrT="[Text]" custT="1"/>
      <dgm:spPr>
        <a:solidFill>
          <a:schemeClr val="accent2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CE33C62E-03C5-4ED9-B91B-5052DBF7683C}" type="par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438B000C-01E8-40CB-82BB-23D20CFB4F06}" type="sib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A2FC6DD4-751E-47C6-9096-309F6588D6AF}">
      <dgm:prSet phldrT="[Text]" custT="1"/>
      <dgm:spPr>
        <a:solidFill>
          <a:schemeClr val="accent3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FFA537E3-7290-4D78-B5A7-2A36ED0EED77}" type="par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154E16B0-1E94-4A40-8801-3C9EB177CDA4}" type="sib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2C6BF278-3EC6-458D-97AC-79E83F52FDB6}">
      <dgm:prSet phldrT="[Text]" custT="1"/>
      <dgm:spPr>
        <a:solidFill>
          <a:schemeClr val="accent4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A64448E4-1584-4E92-9E06-0D9FBBC36392}" type="par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F72FA03-519C-4DC0-BC89-F7CD2814DF2F}" type="sib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032B081-42DE-4A19-8380-2D47713067CD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2C9E678C-426F-43AA-A86B-75D958B078A6}" type="sib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AE41A826-847C-42E5-A925-72F47EA46FFC}" type="par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1E4C6106-5F75-4179-B441-B95FE523A6FF}" type="pres">
      <dgm:prSet presAssocID="{E063A17C-2266-4F28-830B-FFF8A62AD878}" presName="Name0" presStyleCnt="0">
        <dgm:presLayoutVars>
          <dgm:dir/>
          <dgm:resizeHandles val="exact"/>
        </dgm:presLayoutVars>
      </dgm:prSet>
      <dgm:spPr/>
    </dgm:pt>
    <dgm:pt modelId="{8456D2BF-9FE3-486F-811C-08299310F067}" type="pres">
      <dgm:prSet presAssocID="{6032B081-42DE-4A19-8380-2D47713067CD}" presName="parTxOnly" presStyleLbl="node1" presStyleIdx="0" presStyleCnt="4">
        <dgm:presLayoutVars>
          <dgm:bulletEnabled val="1"/>
        </dgm:presLayoutVars>
      </dgm:prSet>
      <dgm:spPr/>
    </dgm:pt>
    <dgm:pt modelId="{DBBCD2E5-D35D-4256-A07A-3B067F4F0A42}" type="pres">
      <dgm:prSet presAssocID="{2C9E678C-426F-43AA-A86B-75D958B078A6}" presName="parSpace" presStyleCnt="0"/>
      <dgm:spPr/>
    </dgm:pt>
    <dgm:pt modelId="{5ADA955C-9839-445C-ACC9-4C024699FBA4}" type="pres">
      <dgm:prSet presAssocID="{FF2F244E-E117-4B47-AC4D-5E02C4E65276}" presName="parTxOnly" presStyleLbl="node1" presStyleIdx="1" presStyleCnt="4">
        <dgm:presLayoutVars>
          <dgm:bulletEnabled val="1"/>
        </dgm:presLayoutVars>
      </dgm:prSet>
      <dgm:spPr/>
    </dgm:pt>
    <dgm:pt modelId="{96ACB8CE-ED21-4AAD-B615-21176D592F9D}" type="pres">
      <dgm:prSet presAssocID="{438B000C-01E8-40CB-82BB-23D20CFB4F06}" presName="parSpace" presStyleCnt="0"/>
      <dgm:spPr/>
    </dgm:pt>
    <dgm:pt modelId="{717E0982-2874-4231-B225-BD08683C33C5}" type="pres">
      <dgm:prSet presAssocID="{A2FC6DD4-751E-47C6-9096-309F6588D6AF}" presName="parTxOnly" presStyleLbl="node1" presStyleIdx="2" presStyleCnt="4">
        <dgm:presLayoutVars>
          <dgm:bulletEnabled val="1"/>
        </dgm:presLayoutVars>
      </dgm:prSet>
      <dgm:spPr/>
    </dgm:pt>
    <dgm:pt modelId="{19F87551-45F6-470D-A8C9-5AC6BE4D2D84}" type="pres">
      <dgm:prSet presAssocID="{154E16B0-1E94-4A40-8801-3C9EB177CDA4}" presName="parSpace" presStyleCnt="0"/>
      <dgm:spPr/>
    </dgm:pt>
    <dgm:pt modelId="{62957457-2779-4BF2-A9DD-D58B3CA435AD}" type="pres">
      <dgm:prSet presAssocID="{2C6BF278-3EC6-458D-97AC-79E83F52FDB6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6B86B01C-54F8-46EC-B9F9-0CCBCB42BBAB}" type="presOf" srcId="{A2FC6DD4-751E-47C6-9096-309F6588D6AF}" destId="{717E0982-2874-4231-B225-BD08683C33C5}" srcOrd="0" destOrd="0" presId="urn:microsoft.com/office/officeart/2005/8/layout/hChevron3"/>
    <dgm:cxn modelId="{12A25822-3CDA-446F-929F-5055D24F66A8}" type="presOf" srcId="{FF2F244E-E117-4B47-AC4D-5E02C4E65276}" destId="{5ADA955C-9839-445C-ACC9-4C024699FBA4}" srcOrd="0" destOrd="0" presId="urn:microsoft.com/office/officeart/2005/8/layout/hChevron3"/>
    <dgm:cxn modelId="{DF451C8C-4F31-4C9D-831E-1C89ADA65502}" type="presOf" srcId="{E063A17C-2266-4F28-830B-FFF8A62AD878}" destId="{1E4C6106-5F75-4179-B441-B95FE523A6FF}" srcOrd="0" destOrd="0" presId="urn:microsoft.com/office/officeart/2005/8/layout/hChevron3"/>
    <dgm:cxn modelId="{6C5E729D-F21A-4640-BCDC-EB37262E9DE9}" type="presOf" srcId="{6032B081-42DE-4A19-8380-2D47713067CD}" destId="{8456D2BF-9FE3-486F-811C-08299310F067}" srcOrd="0" destOrd="0" presId="urn:microsoft.com/office/officeart/2005/8/layout/hChevron3"/>
    <dgm:cxn modelId="{54E6DEB2-66E3-4C0F-B8AE-EFAD151994E0}" type="presOf" srcId="{2C6BF278-3EC6-458D-97AC-79E83F52FDB6}" destId="{62957457-2779-4BF2-A9DD-D58B3CA435AD}" srcOrd="0" destOrd="0" presId="urn:microsoft.com/office/officeart/2005/8/layout/hChevron3"/>
    <dgm:cxn modelId="{60011EB4-563C-46FA-B548-45BA6EBBC753}" srcId="{E063A17C-2266-4F28-830B-FFF8A62AD878}" destId="{FF2F244E-E117-4B47-AC4D-5E02C4E65276}" srcOrd="1" destOrd="0" parTransId="{CE33C62E-03C5-4ED9-B91B-5052DBF7683C}" sibTransId="{438B000C-01E8-40CB-82BB-23D20CFB4F06}"/>
    <dgm:cxn modelId="{09C52CB6-1A32-41AC-B692-D4AB1522FBAD}" srcId="{E063A17C-2266-4F28-830B-FFF8A62AD878}" destId="{A2FC6DD4-751E-47C6-9096-309F6588D6AF}" srcOrd="2" destOrd="0" parTransId="{FFA537E3-7290-4D78-B5A7-2A36ED0EED77}" sibTransId="{154E16B0-1E94-4A40-8801-3C9EB177CDA4}"/>
    <dgm:cxn modelId="{E4D788B9-0EBF-4EFA-B063-2473AECD1879}" srcId="{E063A17C-2266-4F28-830B-FFF8A62AD878}" destId="{2C6BF278-3EC6-458D-97AC-79E83F52FDB6}" srcOrd="3" destOrd="0" parTransId="{A64448E4-1584-4E92-9E06-0D9FBBC36392}" sibTransId="{6F72FA03-519C-4DC0-BC89-F7CD2814DF2F}"/>
    <dgm:cxn modelId="{695681C1-D0B6-4991-A355-652BAC0C17FF}" srcId="{E063A17C-2266-4F28-830B-FFF8A62AD878}" destId="{6032B081-42DE-4A19-8380-2D47713067CD}" srcOrd="0" destOrd="0" parTransId="{AE41A826-847C-42E5-A925-72F47EA46FFC}" sibTransId="{2C9E678C-426F-43AA-A86B-75D958B078A6}"/>
    <dgm:cxn modelId="{4A16DE8F-AC86-4F6A-87C6-8989DCB071F1}" type="presParOf" srcId="{1E4C6106-5F75-4179-B441-B95FE523A6FF}" destId="{8456D2BF-9FE3-486F-811C-08299310F067}" srcOrd="0" destOrd="0" presId="urn:microsoft.com/office/officeart/2005/8/layout/hChevron3"/>
    <dgm:cxn modelId="{45E9D4C4-A401-4DB4-8B6F-EE8139585D52}" type="presParOf" srcId="{1E4C6106-5F75-4179-B441-B95FE523A6FF}" destId="{DBBCD2E5-D35D-4256-A07A-3B067F4F0A42}" srcOrd="1" destOrd="0" presId="urn:microsoft.com/office/officeart/2005/8/layout/hChevron3"/>
    <dgm:cxn modelId="{E9AC56BB-E94D-4A82-B7CD-8F5D939C52B2}" type="presParOf" srcId="{1E4C6106-5F75-4179-B441-B95FE523A6FF}" destId="{5ADA955C-9839-445C-ACC9-4C024699FBA4}" srcOrd="2" destOrd="0" presId="urn:microsoft.com/office/officeart/2005/8/layout/hChevron3"/>
    <dgm:cxn modelId="{34997651-B8ED-40A2-8321-AC2B0A68059C}" type="presParOf" srcId="{1E4C6106-5F75-4179-B441-B95FE523A6FF}" destId="{96ACB8CE-ED21-4AAD-B615-21176D592F9D}" srcOrd="3" destOrd="0" presId="urn:microsoft.com/office/officeart/2005/8/layout/hChevron3"/>
    <dgm:cxn modelId="{734ACE34-C17F-4036-8545-2B399119EEF7}" type="presParOf" srcId="{1E4C6106-5F75-4179-B441-B95FE523A6FF}" destId="{717E0982-2874-4231-B225-BD08683C33C5}" srcOrd="4" destOrd="0" presId="urn:microsoft.com/office/officeart/2005/8/layout/hChevron3"/>
    <dgm:cxn modelId="{3BF18275-7D3D-4109-8F68-660D8AFC884E}" type="presParOf" srcId="{1E4C6106-5F75-4179-B441-B95FE523A6FF}" destId="{19F87551-45F6-470D-A8C9-5AC6BE4D2D84}" srcOrd="5" destOrd="0" presId="urn:microsoft.com/office/officeart/2005/8/layout/hChevron3"/>
    <dgm:cxn modelId="{608F6ECB-5FEE-488A-B870-F3674E5F8304}" type="presParOf" srcId="{1E4C6106-5F75-4179-B441-B95FE523A6FF}" destId="{62957457-2779-4BF2-A9DD-D58B3CA435AD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16121A7-5381-4F11-99B3-D0779C1C363E}" type="doc">
      <dgm:prSet loTypeId="urn:microsoft.com/office/officeart/2005/8/layout/hierarchy6" loCatId="hierarchy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de-DE"/>
        </a:p>
      </dgm:t>
    </dgm:pt>
    <dgm:pt modelId="{5716F9C2-8EDB-4A9B-9B7E-276EB20112B1}">
      <dgm:prSet phldrT="[Text]" custT="1"/>
      <dgm:spPr>
        <a:solidFill>
          <a:schemeClr val="tx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2B6251B-4D7F-46F7-9458-0ECA01AA59EF}" type="parTrans" cxnId="{A2C9D421-926B-4129-8FC8-AA11349641F1}">
      <dgm:prSet/>
      <dgm:spPr/>
      <dgm:t>
        <a:bodyPr/>
        <a:lstStyle/>
        <a:p>
          <a:endParaRPr lang="de-DE"/>
        </a:p>
      </dgm:t>
    </dgm:pt>
    <dgm:pt modelId="{7B944C15-B6B9-4802-B38F-292B069C4EF0}" type="sibTrans" cxnId="{A2C9D421-926B-4129-8FC8-AA11349641F1}">
      <dgm:prSet/>
      <dgm:spPr/>
      <dgm:t>
        <a:bodyPr/>
        <a:lstStyle/>
        <a:p>
          <a:endParaRPr lang="de-DE"/>
        </a:p>
      </dgm:t>
    </dgm:pt>
    <dgm:pt modelId="{C73B0921-8AF0-4FD7-948D-B5F84F3A476B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3EF28A5-D8F2-497D-B106-B29CEA03360E}" type="parTrans" cxnId="{C2807B55-982B-42EC-BD3E-0EF446CA606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B58E801F-C41D-4FDA-9506-CC072500796E}" type="sibTrans" cxnId="{C2807B55-982B-42EC-BD3E-0EF446CA606F}">
      <dgm:prSet/>
      <dgm:spPr/>
      <dgm:t>
        <a:bodyPr/>
        <a:lstStyle/>
        <a:p>
          <a:endParaRPr lang="de-DE"/>
        </a:p>
      </dgm:t>
    </dgm:pt>
    <dgm:pt modelId="{BD708A0F-9FE5-4F3D-8CFF-C8A689F618A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9BC555F7-DE49-4F6D-97D1-CD76901143D2}" type="parTrans" cxnId="{142F2663-42B7-4376-84E9-CCC84D3DE60A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F6850AF-803D-4A92-B718-2C990F891DD9}" type="sibTrans" cxnId="{142F2663-42B7-4376-84E9-CCC84D3DE60A}">
      <dgm:prSet/>
      <dgm:spPr/>
      <dgm:t>
        <a:bodyPr/>
        <a:lstStyle/>
        <a:p>
          <a:endParaRPr lang="de-DE"/>
        </a:p>
      </dgm:t>
    </dgm:pt>
    <dgm:pt modelId="{15CDB6E0-0904-4E80-B7E5-42F7AEC7BE6B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C1E380E8-216B-4F05-B22F-7A8136BA5B5C}" type="parTrans" cxnId="{4E4DA04C-8CE6-4362-A02F-F306FD9467C2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87A5F24-93DE-4480-87A7-DC85930D12EF}" type="sibTrans" cxnId="{4E4DA04C-8CE6-4362-A02F-F306FD9467C2}">
      <dgm:prSet/>
      <dgm:spPr/>
      <dgm:t>
        <a:bodyPr/>
        <a:lstStyle/>
        <a:p>
          <a:endParaRPr lang="de-DE"/>
        </a:p>
      </dgm:t>
    </dgm:pt>
    <dgm:pt modelId="{286B1311-05E9-4936-9F71-D4BFB1F78BC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16A140A4-D3B1-4303-A86D-3994F731C9AA}" type="parTrans" cxnId="{691D4220-C6B2-442D-814C-562E815AAF4E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605DCD54-9D45-4F96-B294-B3579199F4FA}" type="sibTrans" cxnId="{691D4220-C6B2-442D-814C-562E815AAF4E}">
      <dgm:prSet/>
      <dgm:spPr/>
      <dgm:t>
        <a:bodyPr/>
        <a:lstStyle/>
        <a:p>
          <a:endParaRPr lang="de-DE"/>
        </a:p>
      </dgm:t>
    </dgm:pt>
    <dgm:pt modelId="{BBE289E5-FA72-4568-8722-5AF00A696863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2E6FDBD-B453-4CA9-9604-F24FF23F73C2}" type="parTrans" cxnId="{AA12FE48-F62B-4CCC-8ACC-9F0AB77100C8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59B20A0-60AE-40DB-A315-54EF7BE2E54D}" type="sibTrans" cxnId="{AA12FE48-F62B-4CCC-8ACC-9F0AB77100C8}">
      <dgm:prSet/>
      <dgm:spPr/>
      <dgm:t>
        <a:bodyPr/>
        <a:lstStyle/>
        <a:p>
          <a:endParaRPr lang="de-DE"/>
        </a:p>
      </dgm:t>
    </dgm:pt>
    <dgm:pt modelId="{72732C87-7607-4ADD-8D18-5683B28CE466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D4AEF392-D71F-4E98-8C56-0F0983BF9065}" type="parTrans" cxnId="{BB4BD4A2-5AE8-476A-8137-94790A057217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909EAC8-0D36-407B-AE0B-3277CEB4660B}" type="sibTrans" cxnId="{BB4BD4A2-5AE8-476A-8137-94790A057217}">
      <dgm:prSet/>
      <dgm:spPr/>
      <dgm:t>
        <a:bodyPr/>
        <a:lstStyle/>
        <a:p>
          <a:endParaRPr lang="de-DE"/>
        </a:p>
      </dgm:t>
    </dgm:pt>
    <dgm:pt modelId="{5BC049A4-08AE-43AD-8E75-2A0279F73164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6E6A4E9E-6D35-43FE-AEB0-273F9B11B729}" type="parTrans" cxnId="{D0B05051-AD10-43FC-B5C5-9D5F4911C60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B3EEA3F-5F78-49A7-8EFD-204DBF483380}" type="sibTrans" cxnId="{D0B05051-AD10-43FC-B5C5-9D5F4911C60F}">
      <dgm:prSet/>
      <dgm:spPr/>
      <dgm:t>
        <a:bodyPr/>
        <a:lstStyle/>
        <a:p>
          <a:endParaRPr lang="de-DE"/>
        </a:p>
      </dgm:t>
    </dgm:pt>
    <dgm:pt modelId="{EF51E67A-270F-4004-A326-3B0DE24EEDEF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9A4E2E7-0739-498D-9F9B-F78B9D2C3608}" type="parTrans" cxnId="{4C605459-B51E-4F6B-A33E-E3425983E0EB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4EAE25E-7A3A-497A-BDD6-47BB61441491}" type="sibTrans" cxnId="{4C605459-B51E-4F6B-A33E-E3425983E0EB}">
      <dgm:prSet/>
      <dgm:spPr/>
      <dgm:t>
        <a:bodyPr/>
        <a:lstStyle/>
        <a:p>
          <a:endParaRPr lang="de-DE"/>
        </a:p>
      </dgm:t>
    </dgm:pt>
    <dgm:pt modelId="{8FA67446-D60F-43F0-8223-C43BEAD297CF}" type="pres">
      <dgm:prSet presAssocID="{616121A7-5381-4F11-99B3-D0779C1C363E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88967A2-3885-4F79-A1E7-1AF261096D6A}" type="pres">
      <dgm:prSet presAssocID="{616121A7-5381-4F11-99B3-D0779C1C363E}" presName="hierFlow" presStyleCnt="0"/>
      <dgm:spPr/>
    </dgm:pt>
    <dgm:pt modelId="{0FAB0581-547C-48EE-A62F-7B6BF13E8871}" type="pres">
      <dgm:prSet presAssocID="{616121A7-5381-4F11-99B3-D0779C1C363E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F9EF9B50-8ADC-4EFC-890A-4975E5EBCD40}" type="pres">
      <dgm:prSet presAssocID="{5716F9C2-8EDB-4A9B-9B7E-276EB20112B1}" presName="Name14" presStyleCnt="0"/>
      <dgm:spPr/>
    </dgm:pt>
    <dgm:pt modelId="{02985E10-C7FC-428B-937C-2E78D606C578}" type="pres">
      <dgm:prSet presAssocID="{5716F9C2-8EDB-4A9B-9B7E-276EB20112B1}" presName="level1Shape" presStyleLbl="node0" presStyleIdx="0" presStyleCnt="1" custScaleX="108338" custScaleY="101567" custLinFactNeighborX="-67706">
        <dgm:presLayoutVars>
          <dgm:chPref val="3"/>
        </dgm:presLayoutVars>
      </dgm:prSet>
      <dgm:spPr>
        <a:prstGeom prst="rect">
          <a:avLst/>
        </a:prstGeom>
      </dgm:spPr>
    </dgm:pt>
    <dgm:pt modelId="{F69B22CE-3609-4375-9472-C1523E917887}" type="pres">
      <dgm:prSet presAssocID="{5716F9C2-8EDB-4A9B-9B7E-276EB20112B1}" presName="hierChild2" presStyleCnt="0"/>
      <dgm:spPr/>
    </dgm:pt>
    <dgm:pt modelId="{C209862A-13AC-4895-8719-4DA6F49CD47D}" type="pres">
      <dgm:prSet presAssocID="{B3EF28A5-D8F2-497D-B106-B29CEA03360E}" presName="Name19" presStyleLbl="parChTrans1D2" presStyleIdx="0" presStyleCnt="2"/>
      <dgm:spPr/>
    </dgm:pt>
    <dgm:pt modelId="{4CF18B43-28DA-476C-956F-748AF0DA60A6}" type="pres">
      <dgm:prSet presAssocID="{C73B0921-8AF0-4FD7-948D-B5F84F3A476B}" presName="Name21" presStyleCnt="0"/>
      <dgm:spPr/>
    </dgm:pt>
    <dgm:pt modelId="{01A1581D-E8F2-4A05-B7D0-581C00A27A60}" type="pres">
      <dgm:prSet presAssocID="{C73B0921-8AF0-4FD7-948D-B5F84F3A476B}" presName="level2Shape" presStyleLbl="asst1" presStyleIdx="0" presStyleCnt="8" custScaleX="108338" custScaleY="101567" custLinFactNeighborX="-86660" custLinFactNeighborY="-3113"/>
      <dgm:spPr>
        <a:prstGeom prst="rect">
          <a:avLst/>
        </a:prstGeom>
      </dgm:spPr>
    </dgm:pt>
    <dgm:pt modelId="{8EB05763-0E45-452B-A77A-841849D87C9B}" type="pres">
      <dgm:prSet presAssocID="{C73B0921-8AF0-4FD7-948D-B5F84F3A476B}" presName="hierChild3" presStyleCnt="0"/>
      <dgm:spPr/>
    </dgm:pt>
    <dgm:pt modelId="{EDB4E2DF-E9A9-4495-9754-426DFA916292}" type="pres">
      <dgm:prSet presAssocID="{9BC555F7-DE49-4F6D-97D1-CD76901143D2}" presName="Name19" presStyleLbl="parChTrans1D3" presStyleIdx="0" presStyleCnt="6"/>
      <dgm:spPr/>
    </dgm:pt>
    <dgm:pt modelId="{F2DCF434-B463-4FBB-86B8-9F2C6909981C}" type="pres">
      <dgm:prSet presAssocID="{BD708A0F-9FE5-4F3D-8CFF-C8A689F618AA}" presName="Name21" presStyleCnt="0"/>
      <dgm:spPr/>
    </dgm:pt>
    <dgm:pt modelId="{9C35EA69-2E83-45A5-959A-019F91A199D5}" type="pres">
      <dgm:prSet presAssocID="{BD708A0F-9FE5-4F3D-8CFF-C8A689F618AA}" presName="level2Shape" presStyleLbl="asst1" presStyleIdx="1" presStyleCnt="8" custScaleX="103949" custScaleY="99763"/>
      <dgm:spPr>
        <a:prstGeom prst="rect">
          <a:avLst/>
        </a:prstGeom>
      </dgm:spPr>
    </dgm:pt>
    <dgm:pt modelId="{BBA2D303-A642-4E58-A276-CFD1167C8D23}" type="pres">
      <dgm:prSet presAssocID="{BD708A0F-9FE5-4F3D-8CFF-C8A689F618AA}" presName="hierChild3" presStyleCnt="0"/>
      <dgm:spPr/>
    </dgm:pt>
    <dgm:pt modelId="{DA074271-54CE-4563-9BDB-107BCA929818}" type="pres">
      <dgm:prSet presAssocID="{C1E380E8-216B-4F05-B22F-7A8136BA5B5C}" presName="Name19" presStyleLbl="parChTrans1D3" presStyleIdx="1" presStyleCnt="6"/>
      <dgm:spPr/>
    </dgm:pt>
    <dgm:pt modelId="{BE67C0EB-C337-4015-BC91-84E2625D0D87}" type="pres">
      <dgm:prSet presAssocID="{15CDB6E0-0904-4E80-B7E5-42F7AEC7BE6B}" presName="Name21" presStyleCnt="0"/>
      <dgm:spPr/>
    </dgm:pt>
    <dgm:pt modelId="{7D1DA491-78A0-47DF-810A-08EA95EFD69D}" type="pres">
      <dgm:prSet presAssocID="{15CDB6E0-0904-4E80-B7E5-42F7AEC7BE6B}" presName="level2Shape" presStyleLbl="asst1" presStyleIdx="2" presStyleCnt="8" custScaleX="104527" custScaleY="99763"/>
      <dgm:spPr>
        <a:prstGeom prst="rect">
          <a:avLst/>
        </a:prstGeom>
      </dgm:spPr>
    </dgm:pt>
    <dgm:pt modelId="{67960B8C-D618-47B3-B00A-04FB4E31F887}" type="pres">
      <dgm:prSet presAssocID="{15CDB6E0-0904-4E80-B7E5-42F7AEC7BE6B}" presName="hierChild3" presStyleCnt="0"/>
      <dgm:spPr/>
    </dgm:pt>
    <dgm:pt modelId="{7E65DA2E-0104-4E4B-A4B7-07CCCC352B3E}" type="pres">
      <dgm:prSet presAssocID="{16A140A4-D3B1-4303-A86D-3994F731C9AA}" presName="Name19" presStyleLbl="parChTrans1D3" presStyleIdx="2" presStyleCnt="6"/>
      <dgm:spPr/>
    </dgm:pt>
    <dgm:pt modelId="{7F2C7A9D-C222-4B6F-ACA4-EE183FCA2D2A}" type="pres">
      <dgm:prSet presAssocID="{286B1311-05E9-4936-9F71-D4BFB1F78BCA}" presName="Name21" presStyleCnt="0"/>
      <dgm:spPr/>
    </dgm:pt>
    <dgm:pt modelId="{C74D74E2-48FB-4BEA-90C0-284D8BF4BE52}" type="pres">
      <dgm:prSet presAssocID="{286B1311-05E9-4936-9F71-D4BFB1F78BCA}" presName="level2Shape" presStyleLbl="asst1" presStyleIdx="3" presStyleCnt="8" custScaleX="105307" custScaleY="99763"/>
      <dgm:spPr>
        <a:prstGeom prst="rect">
          <a:avLst/>
        </a:prstGeom>
      </dgm:spPr>
    </dgm:pt>
    <dgm:pt modelId="{4003C994-A068-4063-BEB5-DA296E9F7C7F}" type="pres">
      <dgm:prSet presAssocID="{286B1311-05E9-4936-9F71-D4BFB1F78BCA}" presName="hierChild3" presStyleCnt="0"/>
      <dgm:spPr/>
    </dgm:pt>
    <dgm:pt modelId="{C4AF3983-67CA-4A67-B20E-958F6D941EEC}" type="pres">
      <dgm:prSet presAssocID="{B2E6FDBD-B453-4CA9-9604-F24FF23F73C2}" presName="Name19" presStyleLbl="parChTrans1D3" presStyleIdx="3" presStyleCnt="6"/>
      <dgm:spPr/>
    </dgm:pt>
    <dgm:pt modelId="{6B9B342E-B993-4803-B067-08EE35F5825E}" type="pres">
      <dgm:prSet presAssocID="{BBE289E5-FA72-4568-8722-5AF00A696863}" presName="Name21" presStyleCnt="0"/>
      <dgm:spPr/>
    </dgm:pt>
    <dgm:pt modelId="{1C1A4CF1-F746-4B5B-8AEB-126AD21C2C9D}" type="pres">
      <dgm:prSet presAssocID="{BBE289E5-FA72-4568-8722-5AF00A696863}" presName="level2Shape" presStyleLbl="asst1" presStyleIdx="4" presStyleCnt="8" custScaleX="106098" custScaleY="99763"/>
      <dgm:spPr>
        <a:prstGeom prst="rect">
          <a:avLst/>
        </a:prstGeom>
      </dgm:spPr>
    </dgm:pt>
    <dgm:pt modelId="{63E1F948-C700-4FD1-B907-33ED0864B5A9}" type="pres">
      <dgm:prSet presAssocID="{BBE289E5-FA72-4568-8722-5AF00A696863}" presName="hierChild3" presStyleCnt="0"/>
      <dgm:spPr/>
    </dgm:pt>
    <dgm:pt modelId="{760A34F6-5232-41BC-AFB5-2402E10AFCC1}" type="pres">
      <dgm:prSet presAssocID="{D4AEF392-D71F-4E98-8C56-0F0983BF9065}" presName="Name19" presStyleLbl="parChTrans1D3" presStyleIdx="4" presStyleCnt="6"/>
      <dgm:spPr/>
    </dgm:pt>
    <dgm:pt modelId="{6795255E-AD9B-47A9-9D3E-FC47D364D41D}" type="pres">
      <dgm:prSet presAssocID="{72732C87-7607-4ADD-8D18-5683B28CE466}" presName="Name21" presStyleCnt="0"/>
      <dgm:spPr/>
    </dgm:pt>
    <dgm:pt modelId="{9C824BFB-10DB-43FB-9E8F-7E9AE31CCC2C}" type="pres">
      <dgm:prSet presAssocID="{72732C87-7607-4ADD-8D18-5683B28CE466}" presName="level2Shape" presStyleLbl="asst1" presStyleIdx="5" presStyleCnt="8" custScaleX="107105" custScaleY="100184"/>
      <dgm:spPr>
        <a:prstGeom prst="rect">
          <a:avLst/>
        </a:prstGeom>
      </dgm:spPr>
    </dgm:pt>
    <dgm:pt modelId="{2AAD2BF1-61DB-46EC-B8EF-463AFADEFCB0}" type="pres">
      <dgm:prSet presAssocID="{72732C87-7607-4ADD-8D18-5683B28CE466}" presName="hierChild3" presStyleCnt="0"/>
      <dgm:spPr/>
    </dgm:pt>
    <dgm:pt modelId="{8C433BFE-2971-423C-B01B-40F2908175A3}" type="pres">
      <dgm:prSet presAssocID="{6E6A4E9E-6D35-43FE-AEB0-273F9B11B729}" presName="Name19" presStyleLbl="parChTrans1D3" presStyleIdx="5" presStyleCnt="6"/>
      <dgm:spPr/>
    </dgm:pt>
    <dgm:pt modelId="{3B4B2533-69D6-4CEC-B686-B98DACC31053}" type="pres">
      <dgm:prSet presAssocID="{5BC049A4-08AE-43AD-8E75-2A0279F73164}" presName="Name21" presStyleCnt="0"/>
      <dgm:spPr/>
    </dgm:pt>
    <dgm:pt modelId="{978C9845-A250-43F0-BE7D-B882ADE3424B}" type="pres">
      <dgm:prSet presAssocID="{5BC049A4-08AE-43AD-8E75-2A0279F73164}" presName="level2Shape" presStyleLbl="asst1" presStyleIdx="6" presStyleCnt="8" custScaleX="108338" custScaleY="100479"/>
      <dgm:spPr>
        <a:prstGeom prst="rect">
          <a:avLst/>
        </a:prstGeom>
      </dgm:spPr>
    </dgm:pt>
    <dgm:pt modelId="{22DE730F-2466-4C31-99BF-47D0E200EEBE}" type="pres">
      <dgm:prSet presAssocID="{5BC049A4-08AE-43AD-8E75-2A0279F73164}" presName="hierChild3" presStyleCnt="0"/>
      <dgm:spPr/>
    </dgm:pt>
    <dgm:pt modelId="{E0C05411-07D9-4231-A109-7B514AAF3A31}" type="pres">
      <dgm:prSet presAssocID="{29A4E2E7-0739-498D-9F9B-F78B9D2C3608}" presName="Name19" presStyleLbl="parChTrans1D2" presStyleIdx="1" presStyleCnt="2"/>
      <dgm:spPr/>
    </dgm:pt>
    <dgm:pt modelId="{86E10F09-BB05-4A31-B30F-50D69296084F}" type="pres">
      <dgm:prSet presAssocID="{EF51E67A-270F-4004-A326-3B0DE24EEDEF}" presName="Name21" presStyleCnt="0"/>
      <dgm:spPr/>
    </dgm:pt>
    <dgm:pt modelId="{FF9AB87B-41CB-4FBC-9D7B-29E5C292E68E}" type="pres">
      <dgm:prSet presAssocID="{EF51E67A-270F-4004-A326-3B0DE24EEDEF}" presName="level2Shape" presStyleLbl="asst1" presStyleIdx="7" presStyleCnt="8" custScaleX="108338" custScaleY="101567" custLinFactNeighborX="-40816" custLinFactNeighborY="-2730"/>
      <dgm:spPr>
        <a:prstGeom prst="rect">
          <a:avLst/>
        </a:prstGeom>
      </dgm:spPr>
    </dgm:pt>
    <dgm:pt modelId="{C221BE52-87B7-405A-A127-0E2EB00B084F}" type="pres">
      <dgm:prSet presAssocID="{EF51E67A-270F-4004-A326-3B0DE24EEDEF}" presName="hierChild3" presStyleCnt="0"/>
      <dgm:spPr/>
    </dgm:pt>
    <dgm:pt modelId="{3B59C6A1-74AF-4612-8564-1A2AA556D1C1}" type="pres">
      <dgm:prSet presAssocID="{616121A7-5381-4F11-99B3-D0779C1C363E}" presName="bgShapesFlow" presStyleCnt="0"/>
      <dgm:spPr/>
    </dgm:pt>
  </dgm:ptLst>
  <dgm:cxnLst>
    <dgm:cxn modelId="{3DD00E00-9768-4B48-B57D-46E2627725E8}" type="presOf" srcId="{C73B0921-8AF0-4FD7-948D-B5F84F3A476B}" destId="{01A1581D-E8F2-4A05-B7D0-581C00A27A60}" srcOrd="0" destOrd="0" presId="urn:microsoft.com/office/officeart/2005/8/layout/hierarchy6"/>
    <dgm:cxn modelId="{F90F600D-7082-4607-ACA2-6BD188C0BC28}" type="presOf" srcId="{15CDB6E0-0904-4E80-B7E5-42F7AEC7BE6B}" destId="{7D1DA491-78A0-47DF-810A-08EA95EFD69D}" srcOrd="0" destOrd="0" presId="urn:microsoft.com/office/officeart/2005/8/layout/hierarchy6"/>
    <dgm:cxn modelId="{1EFF9A10-0E31-4B16-8CF9-73A05FAB6A3B}" type="presOf" srcId="{D4AEF392-D71F-4E98-8C56-0F0983BF9065}" destId="{760A34F6-5232-41BC-AFB5-2402E10AFCC1}" srcOrd="0" destOrd="0" presId="urn:microsoft.com/office/officeart/2005/8/layout/hierarchy6"/>
    <dgm:cxn modelId="{D3C73D11-F5B6-4CDD-BD69-71840F6C11E2}" type="presOf" srcId="{B2E6FDBD-B453-4CA9-9604-F24FF23F73C2}" destId="{C4AF3983-67CA-4A67-B20E-958F6D941EEC}" srcOrd="0" destOrd="0" presId="urn:microsoft.com/office/officeart/2005/8/layout/hierarchy6"/>
    <dgm:cxn modelId="{691D4220-C6B2-442D-814C-562E815AAF4E}" srcId="{C73B0921-8AF0-4FD7-948D-B5F84F3A476B}" destId="{286B1311-05E9-4936-9F71-D4BFB1F78BCA}" srcOrd="2" destOrd="0" parTransId="{16A140A4-D3B1-4303-A86D-3994F731C9AA}" sibTransId="{605DCD54-9D45-4F96-B294-B3579199F4FA}"/>
    <dgm:cxn modelId="{A2C9D421-926B-4129-8FC8-AA11349641F1}" srcId="{616121A7-5381-4F11-99B3-D0779C1C363E}" destId="{5716F9C2-8EDB-4A9B-9B7E-276EB20112B1}" srcOrd="0" destOrd="0" parTransId="{22B6251B-4D7F-46F7-9458-0ECA01AA59EF}" sibTransId="{7B944C15-B6B9-4802-B38F-292B069C4EF0}"/>
    <dgm:cxn modelId="{F66ABE26-D997-422E-B48A-2A5619CD18F5}" type="presOf" srcId="{BBE289E5-FA72-4568-8722-5AF00A696863}" destId="{1C1A4CF1-F746-4B5B-8AEB-126AD21C2C9D}" srcOrd="0" destOrd="0" presId="urn:microsoft.com/office/officeart/2005/8/layout/hierarchy6"/>
    <dgm:cxn modelId="{7F16E938-651B-4517-A3EC-414F259DDDC8}" type="presOf" srcId="{72732C87-7607-4ADD-8D18-5683B28CE466}" destId="{9C824BFB-10DB-43FB-9E8F-7E9AE31CCC2C}" srcOrd="0" destOrd="0" presId="urn:microsoft.com/office/officeart/2005/8/layout/hierarchy6"/>
    <dgm:cxn modelId="{BF048E5B-F589-4BAD-B6BB-CF89A84691E6}" type="presOf" srcId="{C1E380E8-216B-4F05-B22F-7A8136BA5B5C}" destId="{DA074271-54CE-4563-9BDB-107BCA929818}" srcOrd="0" destOrd="0" presId="urn:microsoft.com/office/officeart/2005/8/layout/hierarchy6"/>
    <dgm:cxn modelId="{142F2663-42B7-4376-84E9-CCC84D3DE60A}" srcId="{C73B0921-8AF0-4FD7-948D-B5F84F3A476B}" destId="{BD708A0F-9FE5-4F3D-8CFF-C8A689F618AA}" srcOrd="0" destOrd="0" parTransId="{9BC555F7-DE49-4F6D-97D1-CD76901143D2}" sibTransId="{0F6850AF-803D-4A92-B718-2C990F891DD9}"/>
    <dgm:cxn modelId="{AA12FE48-F62B-4CCC-8ACC-9F0AB77100C8}" srcId="{C73B0921-8AF0-4FD7-948D-B5F84F3A476B}" destId="{BBE289E5-FA72-4568-8722-5AF00A696863}" srcOrd="3" destOrd="0" parTransId="{B2E6FDBD-B453-4CA9-9604-F24FF23F73C2}" sibTransId="{859B20A0-60AE-40DB-A315-54EF7BE2E54D}"/>
    <dgm:cxn modelId="{10C4D749-3C0F-4DBA-9533-BD206CD2007C}" type="presOf" srcId="{9BC555F7-DE49-4F6D-97D1-CD76901143D2}" destId="{EDB4E2DF-E9A9-4495-9754-426DFA916292}" srcOrd="0" destOrd="0" presId="urn:microsoft.com/office/officeart/2005/8/layout/hierarchy6"/>
    <dgm:cxn modelId="{8A74FC69-98FF-493F-9DD9-37E106FDC7DF}" type="presOf" srcId="{29A4E2E7-0739-498D-9F9B-F78B9D2C3608}" destId="{E0C05411-07D9-4231-A109-7B514AAF3A31}" srcOrd="0" destOrd="0" presId="urn:microsoft.com/office/officeart/2005/8/layout/hierarchy6"/>
    <dgm:cxn modelId="{4E4DA04C-8CE6-4362-A02F-F306FD9467C2}" srcId="{C73B0921-8AF0-4FD7-948D-B5F84F3A476B}" destId="{15CDB6E0-0904-4E80-B7E5-42F7AEC7BE6B}" srcOrd="1" destOrd="0" parTransId="{C1E380E8-216B-4F05-B22F-7A8136BA5B5C}" sibTransId="{D87A5F24-93DE-4480-87A7-DC85930D12EF}"/>
    <dgm:cxn modelId="{B631E86E-306C-40D0-B9DF-EC1BF4237EDC}" type="presOf" srcId="{B3EF28A5-D8F2-497D-B106-B29CEA03360E}" destId="{C209862A-13AC-4895-8719-4DA6F49CD47D}" srcOrd="0" destOrd="0" presId="urn:microsoft.com/office/officeart/2005/8/layout/hierarchy6"/>
    <dgm:cxn modelId="{C6247E6F-E997-4B0D-895A-A85EC63AC5B7}" type="presOf" srcId="{16A140A4-D3B1-4303-A86D-3994F731C9AA}" destId="{7E65DA2E-0104-4E4B-A4B7-07CCCC352B3E}" srcOrd="0" destOrd="0" presId="urn:microsoft.com/office/officeart/2005/8/layout/hierarchy6"/>
    <dgm:cxn modelId="{05960271-2DCB-4BD1-8B65-4AED40CF7F3D}" type="presOf" srcId="{EF51E67A-270F-4004-A326-3B0DE24EEDEF}" destId="{FF9AB87B-41CB-4FBC-9D7B-29E5C292E68E}" srcOrd="0" destOrd="0" presId="urn:microsoft.com/office/officeart/2005/8/layout/hierarchy6"/>
    <dgm:cxn modelId="{D0B05051-AD10-43FC-B5C5-9D5F4911C60F}" srcId="{C73B0921-8AF0-4FD7-948D-B5F84F3A476B}" destId="{5BC049A4-08AE-43AD-8E75-2A0279F73164}" srcOrd="5" destOrd="0" parTransId="{6E6A4E9E-6D35-43FE-AEB0-273F9B11B729}" sibTransId="{0B3EEA3F-5F78-49A7-8EFD-204DBF483380}"/>
    <dgm:cxn modelId="{C2807B55-982B-42EC-BD3E-0EF446CA606F}" srcId="{5716F9C2-8EDB-4A9B-9B7E-276EB20112B1}" destId="{C73B0921-8AF0-4FD7-948D-B5F84F3A476B}" srcOrd="0" destOrd="0" parTransId="{B3EF28A5-D8F2-497D-B106-B29CEA03360E}" sibTransId="{B58E801F-C41D-4FDA-9506-CC072500796E}"/>
    <dgm:cxn modelId="{4C605459-B51E-4F6B-A33E-E3425983E0EB}" srcId="{5716F9C2-8EDB-4A9B-9B7E-276EB20112B1}" destId="{EF51E67A-270F-4004-A326-3B0DE24EEDEF}" srcOrd="1" destOrd="0" parTransId="{29A4E2E7-0739-498D-9F9B-F78B9D2C3608}" sibTransId="{84EAE25E-7A3A-497A-BDD6-47BB61441491}"/>
    <dgm:cxn modelId="{D87F6E86-6F4A-488C-93DD-70C1F3537F24}" type="presOf" srcId="{286B1311-05E9-4936-9F71-D4BFB1F78BCA}" destId="{C74D74E2-48FB-4BEA-90C0-284D8BF4BE52}" srcOrd="0" destOrd="0" presId="urn:microsoft.com/office/officeart/2005/8/layout/hierarchy6"/>
    <dgm:cxn modelId="{6AF8338E-0E6C-468F-9931-4A0B680F98CA}" type="presOf" srcId="{5BC049A4-08AE-43AD-8E75-2A0279F73164}" destId="{978C9845-A250-43F0-BE7D-B882ADE3424B}" srcOrd="0" destOrd="0" presId="urn:microsoft.com/office/officeart/2005/8/layout/hierarchy6"/>
    <dgm:cxn modelId="{D4CB86A2-6229-438F-8EB6-93FA9AC419BB}" type="presOf" srcId="{BD708A0F-9FE5-4F3D-8CFF-C8A689F618AA}" destId="{9C35EA69-2E83-45A5-959A-019F91A199D5}" srcOrd="0" destOrd="0" presId="urn:microsoft.com/office/officeart/2005/8/layout/hierarchy6"/>
    <dgm:cxn modelId="{BB4BD4A2-5AE8-476A-8137-94790A057217}" srcId="{C73B0921-8AF0-4FD7-948D-B5F84F3A476B}" destId="{72732C87-7607-4ADD-8D18-5683B28CE466}" srcOrd="4" destOrd="0" parTransId="{D4AEF392-D71F-4E98-8C56-0F0983BF9065}" sibTransId="{D909EAC8-0D36-407B-AE0B-3277CEB4660B}"/>
    <dgm:cxn modelId="{675CB9CE-EDA3-4514-8CF6-68EFFF5E82BC}" type="presOf" srcId="{6E6A4E9E-6D35-43FE-AEB0-273F9B11B729}" destId="{8C433BFE-2971-423C-B01B-40F2908175A3}" srcOrd="0" destOrd="0" presId="urn:microsoft.com/office/officeart/2005/8/layout/hierarchy6"/>
    <dgm:cxn modelId="{88A545FA-69EF-4802-8EEB-9C72DEBD22B7}" type="presOf" srcId="{616121A7-5381-4F11-99B3-D0779C1C363E}" destId="{8FA67446-D60F-43F0-8223-C43BEAD297CF}" srcOrd="0" destOrd="0" presId="urn:microsoft.com/office/officeart/2005/8/layout/hierarchy6"/>
    <dgm:cxn modelId="{609C73FF-5AF9-4C35-BD00-156C6EA630BD}" type="presOf" srcId="{5716F9C2-8EDB-4A9B-9B7E-276EB20112B1}" destId="{02985E10-C7FC-428B-937C-2E78D606C578}" srcOrd="0" destOrd="0" presId="urn:microsoft.com/office/officeart/2005/8/layout/hierarchy6"/>
    <dgm:cxn modelId="{84F62F3C-3175-4ABC-AE90-599980C5BD79}" type="presParOf" srcId="{8FA67446-D60F-43F0-8223-C43BEAD297CF}" destId="{388967A2-3885-4F79-A1E7-1AF261096D6A}" srcOrd="0" destOrd="0" presId="urn:microsoft.com/office/officeart/2005/8/layout/hierarchy6"/>
    <dgm:cxn modelId="{75B43C63-70BE-49D4-A714-C94A92873D98}" type="presParOf" srcId="{388967A2-3885-4F79-A1E7-1AF261096D6A}" destId="{0FAB0581-547C-48EE-A62F-7B6BF13E8871}" srcOrd="0" destOrd="0" presId="urn:microsoft.com/office/officeart/2005/8/layout/hierarchy6"/>
    <dgm:cxn modelId="{45C6DE97-ADEB-4E35-AA41-0B9A65B973EC}" type="presParOf" srcId="{0FAB0581-547C-48EE-A62F-7B6BF13E8871}" destId="{F9EF9B50-8ADC-4EFC-890A-4975E5EBCD40}" srcOrd="0" destOrd="0" presId="urn:microsoft.com/office/officeart/2005/8/layout/hierarchy6"/>
    <dgm:cxn modelId="{8D6E9C7F-91C7-46BE-82FF-2F9F5DD702DF}" type="presParOf" srcId="{F9EF9B50-8ADC-4EFC-890A-4975E5EBCD40}" destId="{02985E10-C7FC-428B-937C-2E78D606C578}" srcOrd="0" destOrd="0" presId="urn:microsoft.com/office/officeart/2005/8/layout/hierarchy6"/>
    <dgm:cxn modelId="{CDFEC2CF-94CE-403E-8B7C-62D7DFEDABB0}" type="presParOf" srcId="{F9EF9B50-8ADC-4EFC-890A-4975E5EBCD40}" destId="{F69B22CE-3609-4375-9472-C1523E917887}" srcOrd="1" destOrd="0" presId="urn:microsoft.com/office/officeart/2005/8/layout/hierarchy6"/>
    <dgm:cxn modelId="{C399E14D-8D22-4CAB-AB9E-79E32808205A}" type="presParOf" srcId="{F69B22CE-3609-4375-9472-C1523E917887}" destId="{C209862A-13AC-4895-8719-4DA6F49CD47D}" srcOrd="0" destOrd="0" presId="urn:microsoft.com/office/officeart/2005/8/layout/hierarchy6"/>
    <dgm:cxn modelId="{CAE32EE6-922F-4F11-A0C9-EA3ADC33220E}" type="presParOf" srcId="{F69B22CE-3609-4375-9472-C1523E917887}" destId="{4CF18B43-28DA-476C-956F-748AF0DA60A6}" srcOrd="1" destOrd="0" presId="urn:microsoft.com/office/officeart/2005/8/layout/hierarchy6"/>
    <dgm:cxn modelId="{F7D08362-833F-4366-AF21-06367480A0F8}" type="presParOf" srcId="{4CF18B43-28DA-476C-956F-748AF0DA60A6}" destId="{01A1581D-E8F2-4A05-B7D0-581C00A27A60}" srcOrd="0" destOrd="0" presId="urn:microsoft.com/office/officeart/2005/8/layout/hierarchy6"/>
    <dgm:cxn modelId="{115FD414-56E6-496C-828A-930CC2567DFE}" type="presParOf" srcId="{4CF18B43-28DA-476C-956F-748AF0DA60A6}" destId="{8EB05763-0E45-452B-A77A-841849D87C9B}" srcOrd="1" destOrd="0" presId="urn:microsoft.com/office/officeart/2005/8/layout/hierarchy6"/>
    <dgm:cxn modelId="{434B5FD9-3CCA-4289-BA2C-3F8F7AAFCB03}" type="presParOf" srcId="{8EB05763-0E45-452B-A77A-841849D87C9B}" destId="{EDB4E2DF-E9A9-4495-9754-426DFA916292}" srcOrd="0" destOrd="0" presId="urn:microsoft.com/office/officeart/2005/8/layout/hierarchy6"/>
    <dgm:cxn modelId="{725B14BF-9554-4F76-B4A3-C0BA9BC9C1C3}" type="presParOf" srcId="{8EB05763-0E45-452B-A77A-841849D87C9B}" destId="{F2DCF434-B463-4FBB-86B8-9F2C6909981C}" srcOrd="1" destOrd="0" presId="urn:microsoft.com/office/officeart/2005/8/layout/hierarchy6"/>
    <dgm:cxn modelId="{89ABF233-5DB0-4B78-B988-F8793FB9783F}" type="presParOf" srcId="{F2DCF434-B463-4FBB-86B8-9F2C6909981C}" destId="{9C35EA69-2E83-45A5-959A-019F91A199D5}" srcOrd="0" destOrd="0" presId="urn:microsoft.com/office/officeart/2005/8/layout/hierarchy6"/>
    <dgm:cxn modelId="{12759E9E-514E-4121-8FFD-8AEC22FC1B05}" type="presParOf" srcId="{F2DCF434-B463-4FBB-86B8-9F2C6909981C}" destId="{BBA2D303-A642-4E58-A276-CFD1167C8D23}" srcOrd="1" destOrd="0" presId="urn:microsoft.com/office/officeart/2005/8/layout/hierarchy6"/>
    <dgm:cxn modelId="{9A28A0D2-D335-4B92-860F-DD95FF6873D1}" type="presParOf" srcId="{8EB05763-0E45-452B-A77A-841849D87C9B}" destId="{DA074271-54CE-4563-9BDB-107BCA929818}" srcOrd="2" destOrd="0" presId="urn:microsoft.com/office/officeart/2005/8/layout/hierarchy6"/>
    <dgm:cxn modelId="{2A0A7489-091F-425D-B859-453FC1516715}" type="presParOf" srcId="{8EB05763-0E45-452B-A77A-841849D87C9B}" destId="{BE67C0EB-C337-4015-BC91-84E2625D0D87}" srcOrd="3" destOrd="0" presId="urn:microsoft.com/office/officeart/2005/8/layout/hierarchy6"/>
    <dgm:cxn modelId="{E00D3B95-735C-4567-A345-A1AB6468E7FF}" type="presParOf" srcId="{BE67C0EB-C337-4015-BC91-84E2625D0D87}" destId="{7D1DA491-78A0-47DF-810A-08EA95EFD69D}" srcOrd="0" destOrd="0" presId="urn:microsoft.com/office/officeart/2005/8/layout/hierarchy6"/>
    <dgm:cxn modelId="{91820DE6-61CA-4B3D-BA21-A7E9488B284B}" type="presParOf" srcId="{BE67C0EB-C337-4015-BC91-84E2625D0D87}" destId="{67960B8C-D618-47B3-B00A-04FB4E31F887}" srcOrd="1" destOrd="0" presId="urn:microsoft.com/office/officeart/2005/8/layout/hierarchy6"/>
    <dgm:cxn modelId="{DD16F2F2-9F27-4901-922F-A9DDD0D4664F}" type="presParOf" srcId="{8EB05763-0E45-452B-A77A-841849D87C9B}" destId="{7E65DA2E-0104-4E4B-A4B7-07CCCC352B3E}" srcOrd="4" destOrd="0" presId="urn:microsoft.com/office/officeart/2005/8/layout/hierarchy6"/>
    <dgm:cxn modelId="{97B3E4B0-E958-4B6B-9958-CC1314E559E0}" type="presParOf" srcId="{8EB05763-0E45-452B-A77A-841849D87C9B}" destId="{7F2C7A9D-C222-4B6F-ACA4-EE183FCA2D2A}" srcOrd="5" destOrd="0" presId="urn:microsoft.com/office/officeart/2005/8/layout/hierarchy6"/>
    <dgm:cxn modelId="{5155B7A1-BD9D-48F6-B0FF-CF49C4B1C28E}" type="presParOf" srcId="{7F2C7A9D-C222-4B6F-ACA4-EE183FCA2D2A}" destId="{C74D74E2-48FB-4BEA-90C0-284D8BF4BE52}" srcOrd="0" destOrd="0" presId="urn:microsoft.com/office/officeart/2005/8/layout/hierarchy6"/>
    <dgm:cxn modelId="{F6B04F76-91A1-47A9-8BE8-8B38EDD3891E}" type="presParOf" srcId="{7F2C7A9D-C222-4B6F-ACA4-EE183FCA2D2A}" destId="{4003C994-A068-4063-BEB5-DA296E9F7C7F}" srcOrd="1" destOrd="0" presId="urn:microsoft.com/office/officeart/2005/8/layout/hierarchy6"/>
    <dgm:cxn modelId="{31890BB3-A67C-444D-94E4-BE12E3DD55A7}" type="presParOf" srcId="{8EB05763-0E45-452B-A77A-841849D87C9B}" destId="{C4AF3983-67CA-4A67-B20E-958F6D941EEC}" srcOrd="6" destOrd="0" presId="urn:microsoft.com/office/officeart/2005/8/layout/hierarchy6"/>
    <dgm:cxn modelId="{F35C3D80-DC8C-4F85-8846-40C271BDE618}" type="presParOf" srcId="{8EB05763-0E45-452B-A77A-841849D87C9B}" destId="{6B9B342E-B993-4803-B067-08EE35F5825E}" srcOrd="7" destOrd="0" presId="urn:microsoft.com/office/officeart/2005/8/layout/hierarchy6"/>
    <dgm:cxn modelId="{2CF6950B-D22C-46C8-A6C2-6C385F38C89C}" type="presParOf" srcId="{6B9B342E-B993-4803-B067-08EE35F5825E}" destId="{1C1A4CF1-F746-4B5B-8AEB-126AD21C2C9D}" srcOrd="0" destOrd="0" presId="urn:microsoft.com/office/officeart/2005/8/layout/hierarchy6"/>
    <dgm:cxn modelId="{A6554DEB-AFAF-4D54-A102-5CF8FC424D07}" type="presParOf" srcId="{6B9B342E-B993-4803-B067-08EE35F5825E}" destId="{63E1F948-C700-4FD1-B907-33ED0864B5A9}" srcOrd="1" destOrd="0" presId="urn:microsoft.com/office/officeart/2005/8/layout/hierarchy6"/>
    <dgm:cxn modelId="{227DD5F4-9F70-46C7-BDE3-371607E99B59}" type="presParOf" srcId="{8EB05763-0E45-452B-A77A-841849D87C9B}" destId="{760A34F6-5232-41BC-AFB5-2402E10AFCC1}" srcOrd="8" destOrd="0" presId="urn:microsoft.com/office/officeart/2005/8/layout/hierarchy6"/>
    <dgm:cxn modelId="{60E43AB2-47BA-4A52-BBBC-E010DE037AE4}" type="presParOf" srcId="{8EB05763-0E45-452B-A77A-841849D87C9B}" destId="{6795255E-AD9B-47A9-9D3E-FC47D364D41D}" srcOrd="9" destOrd="0" presId="urn:microsoft.com/office/officeart/2005/8/layout/hierarchy6"/>
    <dgm:cxn modelId="{D388C5EE-F2EA-4049-97A1-05CB5A9D1C8B}" type="presParOf" srcId="{6795255E-AD9B-47A9-9D3E-FC47D364D41D}" destId="{9C824BFB-10DB-43FB-9E8F-7E9AE31CCC2C}" srcOrd="0" destOrd="0" presId="urn:microsoft.com/office/officeart/2005/8/layout/hierarchy6"/>
    <dgm:cxn modelId="{4CC748E5-F0F6-4E18-BA61-6477DDAFA11E}" type="presParOf" srcId="{6795255E-AD9B-47A9-9D3E-FC47D364D41D}" destId="{2AAD2BF1-61DB-46EC-B8EF-463AFADEFCB0}" srcOrd="1" destOrd="0" presId="urn:microsoft.com/office/officeart/2005/8/layout/hierarchy6"/>
    <dgm:cxn modelId="{C9112C8B-1D34-4D81-A842-0B1EBC1BC807}" type="presParOf" srcId="{8EB05763-0E45-452B-A77A-841849D87C9B}" destId="{8C433BFE-2971-423C-B01B-40F2908175A3}" srcOrd="10" destOrd="0" presId="urn:microsoft.com/office/officeart/2005/8/layout/hierarchy6"/>
    <dgm:cxn modelId="{847446EC-D7F2-4CD6-8BB1-498F1CF9F2AD}" type="presParOf" srcId="{8EB05763-0E45-452B-A77A-841849D87C9B}" destId="{3B4B2533-69D6-4CEC-B686-B98DACC31053}" srcOrd="11" destOrd="0" presId="urn:microsoft.com/office/officeart/2005/8/layout/hierarchy6"/>
    <dgm:cxn modelId="{C9E693A7-4D21-456F-BD13-64DE0FF5F060}" type="presParOf" srcId="{3B4B2533-69D6-4CEC-B686-B98DACC31053}" destId="{978C9845-A250-43F0-BE7D-B882ADE3424B}" srcOrd="0" destOrd="0" presId="urn:microsoft.com/office/officeart/2005/8/layout/hierarchy6"/>
    <dgm:cxn modelId="{423A42CB-C6B1-4F00-9815-73344735B76B}" type="presParOf" srcId="{3B4B2533-69D6-4CEC-B686-B98DACC31053}" destId="{22DE730F-2466-4C31-99BF-47D0E200EEBE}" srcOrd="1" destOrd="0" presId="urn:microsoft.com/office/officeart/2005/8/layout/hierarchy6"/>
    <dgm:cxn modelId="{47C2B51C-7C01-4DEF-A026-8EFE4374A859}" type="presParOf" srcId="{F69B22CE-3609-4375-9472-C1523E917887}" destId="{E0C05411-07D9-4231-A109-7B514AAF3A31}" srcOrd="2" destOrd="0" presId="urn:microsoft.com/office/officeart/2005/8/layout/hierarchy6"/>
    <dgm:cxn modelId="{310C0DDB-B93D-4364-92B0-4BE20E1E3273}" type="presParOf" srcId="{F69B22CE-3609-4375-9472-C1523E917887}" destId="{86E10F09-BB05-4A31-B30F-50D69296084F}" srcOrd="3" destOrd="0" presId="urn:microsoft.com/office/officeart/2005/8/layout/hierarchy6"/>
    <dgm:cxn modelId="{53DE1FE0-4157-4B7D-9976-D1A92CD5C4F0}" type="presParOf" srcId="{86E10F09-BB05-4A31-B30F-50D69296084F}" destId="{FF9AB87B-41CB-4FBC-9D7B-29E5C292E68E}" srcOrd="0" destOrd="0" presId="urn:microsoft.com/office/officeart/2005/8/layout/hierarchy6"/>
    <dgm:cxn modelId="{3B0BADEC-2246-4856-9BF8-74EFE02AFEF3}" type="presParOf" srcId="{86E10F09-BB05-4A31-B30F-50D69296084F}" destId="{C221BE52-87B7-405A-A127-0E2EB00B084F}" srcOrd="1" destOrd="0" presId="urn:microsoft.com/office/officeart/2005/8/layout/hierarchy6"/>
    <dgm:cxn modelId="{2C649551-3FAC-40F4-89AD-4FE148C47825}" type="presParOf" srcId="{8FA67446-D60F-43F0-8223-C43BEAD297CF}" destId="{3B59C6A1-74AF-4612-8564-1A2AA556D1C1}" srcOrd="1" destOrd="0" presId="urn:microsoft.com/office/officeart/2005/8/layout/hierarchy6"/>
  </dgm:cxnLst>
  <dgm:bg/>
  <dgm:whole>
    <a:ln w="0">
      <a:noFill/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2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rgbClr val="61E18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tx1"/>
              </a:solidFill>
            </a:rPr>
            <a:t>Point 2</a:t>
          </a:r>
          <a:r>
            <a:rPr lang="en-GB" sz="1200" dirty="0">
              <a:solidFill>
                <a:schemeClr val="tx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tx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47FF560-1363-4741-B0FD-736366D0938D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D76C605-A40E-43F2-9858-9053B18B2C30}">
      <dgm:prSet phldrT="[Text]" custT="1"/>
      <dgm:spPr>
        <a:ln>
          <a:solidFill>
            <a:srgbClr val="EDEDED"/>
          </a:solidFill>
        </a:ln>
      </dgm:spPr>
      <dgm:t>
        <a:bodyPr bIns="216000" anchor="b"/>
        <a:lstStyle/>
        <a:p>
          <a:pPr rtl="0"/>
          <a:r>
            <a:rPr lang="en-GB" sz="1800" b="1" dirty="0">
              <a:solidFill>
                <a:schemeClr val="bg1"/>
              </a:solidFill>
            </a:rPr>
            <a:t>Strategy</a:t>
          </a:r>
        </a:p>
      </dgm:t>
    </dgm:pt>
    <dgm:pt modelId="{8DAD7000-1F33-4101-830E-AD7916066E20}" type="parTrans" cxnId="{A85F9A90-A984-47B1-8F86-7A7FE9C49EF5}">
      <dgm:prSet/>
      <dgm:spPr/>
      <dgm:t>
        <a:bodyPr/>
        <a:lstStyle/>
        <a:p>
          <a:endParaRPr lang="de-DE"/>
        </a:p>
      </dgm:t>
    </dgm:pt>
    <dgm:pt modelId="{BA239D24-D994-4695-B1A9-008F5193187C}" type="sibTrans" cxnId="{A85F9A90-A984-47B1-8F86-7A7FE9C49EF5}">
      <dgm:prSet/>
      <dgm:spPr/>
      <dgm:t>
        <a:bodyPr/>
        <a:lstStyle/>
        <a:p>
          <a:endParaRPr lang="de-DE"/>
        </a:p>
      </dgm:t>
    </dgm:pt>
    <dgm:pt modelId="{A13702D7-63CA-4641-83B5-BEB4D9DEC524}">
      <dgm:prSet phldrT="[Text]" custT="1"/>
      <dgm:spPr>
        <a:solidFill>
          <a:schemeClr val="accent2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Process</a:t>
          </a:r>
        </a:p>
      </dgm:t>
    </dgm:pt>
    <dgm:pt modelId="{C43FA161-AF14-4368-97FD-68BA00B58A8D}" type="parTrans" cxnId="{60880E8E-E47C-4A11-A79E-C29EC5786EE3}">
      <dgm:prSet/>
      <dgm:spPr/>
      <dgm:t>
        <a:bodyPr/>
        <a:lstStyle/>
        <a:p>
          <a:endParaRPr lang="de-DE"/>
        </a:p>
      </dgm:t>
    </dgm:pt>
    <dgm:pt modelId="{5947C5F1-B37F-4B40-985E-FF75CBE2A4BC}" type="sibTrans" cxnId="{60880E8E-E47C-4A11-A79E-C29EC5786EE3}">
      <dgm:prSet/>
      <dgm:spPr/>
      <dgm:t>
        <a:bodyPr/>
        <a:lstStyle/>
        <a:p>
          <a:endParaRPr lang="de-DE"/>
        </a:p>
      </dgm:t>
    </dgm:pt>
    <dgm:pt modelId="{F92C69B6-EA74-4629-A125-A1DB0CC4E6BC}">
      <dgm:prSet phldrT="[Text]" custT="1"/>
      <dgm:spPr>
        <a:solidFill>
          <a:schemeClr val="accent3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Resource </a:t>
          </a:r>
          <a:r>
            <a:rPr lang="en-GB" sz="1800" b="1" i="0" dirty="0">
              <a:solidFill>
                <a:schemeClr val="bg1"/>
              </a:solidFill>
            </a:rPr>
            <a:t>|</a:t>
          </a:r>
          <a:r>
            <a:rPr lang="en-GB" sz="1800" b="1" dirty="0">
              <a:solidFill>
                <a:schemeClr val="bg1"/>
              </a:solidFill>
            </a:rPr>
            <a:t> Organisation</a:t>
          </a:r>
        </a:p>
      </dgm:t>
    </dgm:pt>
    <dgm:pt modelId="{F022437E-067A-4158-9CA0-2F10B0835245}" type="parTrans" cxnId="{00A6507B-A32E-4586-8C65-6246356AD887}">
      <dgm:prSet/>
      <dgm:spPr/>
      <dgm:t>
        <a:bodyPr/>
        <a:lstStyle/>
        <a:p>
          <a:endParaRPr lang="de-DE"/>
        </a:p>
      </dgm:t>
    </dgm:pt>
    <dgm:pt modelId="{5EA50F6A-D540-4AD4-BC1E-8BA3FDC9D8DD}" type="sibTrans" cxnId="{00A6507B-A32E-4586-8C65-6246356AD887}">
      <dgm:prSet/>
      <dgm:spPr/>
      <dgm:t>
        <a:bodyPr/>
        <a:lstStyle/>
        <a:p>
          <a:endParaRPr lang="de-DE"/>
        </a:p>
      </dgm:t>
    </dgm:pt>
    <dgm:pt modelId="{2455BC9D-5DD9-4AB7-A94A-A4E036AA8898}" type="pres">
      <dgm:prSet presAssocID="{447FF560-1363-4741-B0FD-736366D0938D}" presName="Name0" presStyleCnt="0">
        <dgm:presLayoutVars>
          <dgm:dir/>
          <dgm:animLvl val="lvl"/>
          <dgm:resizeHandles val="exact"/>
        </dgm:presLayoutVars>
      </dgm:prSet>
      <dgm:spPr/>
    </dgm:pt>
    <dgm:pt modelId="{B1D20173-B14E-4F20-A9DF-DA587424FC46}" type="pres">
      <dgm:prSet presAssocID="{1D76C605-A40E-43F2-9858-9053B18B2C30}" presName="Name8" presStyleCnt="0"/>
      <dgm:spPr/>
    </dgm:pt>
    <dgm:pt modelId="{30252E12-C046-45E8-B694-1F153A34B457}" type="pres">
      <dgm:prSet presAssocID="{1D76C605-A40E-43F2-9858-9053B18B2C30}" presName="level" presStyleLbl="node1" presStyleIdx="0" presStyleCnt="3">
        <dgm:presLayoutVars>
          <dgm:chMax val="1"/>
          <dgm:bulletEnabled val="1"/>
        </dgm:presLayoutVars>
      </dgm:prSet>
      <dgm:spPr/>
    </dgm:pt>
    <dgm:pt modelId="{66D3A183-10BA-42F0-B7E7-64B97ECEBFF9}" type="pres">
      <dgm:prSet presAssocID="{1D76C605-A40E-43F2-9858-9053B18B2C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9049EAD-3EA6-497E-B477-8AA1AC7FF58C}" type="pres">
      <dgm:prSet presAssocID="{A13702D7-63CA-4641-83B5-BEB4D9DEC524}" presName="Name8" presStyleCnt="0"/>
      <dgm:spPr/>
    </dgm:pt>
    <dgm:pt modelId="{7E373100-8538-4775-A505-3CECD142FD93}" type="pres">
      <dgm:prSet presAssocID="{A13702D7-63CA-4641-83B5-BEB4D9DEC524}" presName="level" presStyleLbl="node1" presStyleIdx="1" presStyleCnt="3">
        <dgm:presLayoutVars>
          <dgm:chMax val="1"/>
          <dgm:bulletEnabled val="1"/>
        </dgm:presLayoutVars>
      </dgm:prSet>
      <dgm:spPr/>
    </dgm:pt>
    <dgm:pt modelId="{AAD2E4E2-5F34-4919-81DD-B7289A0DDC81}" type="pres">
      <dgm:prSet presAssocID="{A13702D7-63CA-4641-83B5-BEB4D9DEC52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C63E28E-5166-4EC7-87AC-AB5863DDF0FC}" type="pres">
      <dgm:prSet presAssocID="{F92C69B6-EA74-4629-A125-A1DB0CC4E6BC}" presName="Name8" presStyleCnt="0"/>
      <dgm:spPr/>
    </dgm:pt>
    <dgm:pt modelId="{B9D1CF36-4D90-4BA5-A853-8EB1A665FF66}" type="pres">
      <dgm:prSet presAssocID="{F92C69B6-EA74-4629-A125-A1DB0CC4E6BC}" presName="level" presStyleLbl="node1" presStyleIdx="2" presStyleCnt="3">
        <dgm:presLayoutVars>
          <dgm:chMax val="1"/>
          <dgm:bulletEnabled val="1"/>
        </dgm:presLayoutVars>
      </dgm:prSet>
      <dgm:spPr/>
    </dgm:pt>
    <dgm:pt modelId="{B31EF65C-40B5-4F47-BFD4-1D17B6B8EF91}" type="pres">
      <dgm:prSet presAssocID="{F92C69B6-EA74-4629-A125-A1DB0CC4E6BC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00819D0B-59E6-45EA-9D98-1C7518498BC9}" type="presOf" srcId="{F92C69B6-EA74-4629-A125-A1DB0CC4E6BC}" destId="{B31EF65C-40B5-4F47-BFD4-1D17B6B8EF91}" srcOrd="1" destOrd="0" presId="urn:microsoft.com/office/officeart/2005/8/layout/pyramid1"/>
    <dgm:cxn modelId="{243C8314-5A97-4889-B919-D6189F74C7D8}" type="presOf" srcId="{447FF560-1363-4741-B0FD-736366D0938D}" destId="{2455BC9D-5DD9-4AB7-A94A-A4E036AA8898}" srcOrd="0" destOrd="0" presId="urn:microsoft.com/office/officeart/2005/8/layout/pyramid1"/>
    <dgm:cxn modelId="{E3842444-C70C-402C-8A20-D8C403378146}" type="presOf" srcId="{1D76C605-A40E-43F2-9858-9053B18B2C30}" destId="{66D3A183-10BA-42F0-B7E7-64B97ECEBFF9}" srcOrd="1" destOrd="0" presId="urn:microsoft.com/office/officeart/2005/8/layout/pyramid1"/>
    <dgm:cxn modelId="{00A6507B-A32E-4586-8C65-6246356AD887}" srcId="{447FF560-1363-4741-B0FD-736366D0938D}" destId="{F92C69B6-EA74-4629-A125-A1DB0CC4E6BC}" srcOrd="2" destOrd="0" parTransId="{F022437E-067A-4158-9CA0-2F10B0835245}" sibTransId="{5EA50F6A-D540-4AD4-BC1E-8BA3FDC9D8DD}"/>
    <dgm:cxn modelId="{60880E8E-E47C-4A11-A79E-C29EC5786EE3}" srcId="{447FF560-1363-4741-B0FD-736366D0938D}" destId="{A13702D7-63CA-4641-83B5-BEB4D9DEC524}" srcOrd="1" destOrd="0" parTransId="{C43FA161-AF14-4368-97FD-68BA00B58A8D}" sibTransId="{5947C5F1-B37F-4B40-985E-FF75CBE2A4BC}"/>
    <dgm:cxn modelId="{A85F9A90-A984-47B1-8F86-7A7FE9C49EF5}" srcId="{447FF560-1363-4741-B0FD-736366D0938D}" destId="{1D76C605-A40E-43F2-9858-9053B18B2C30}" srcOrd="0" destOrd="0" parTransId="{8DAD7000-1F33-4101-830E-AD7916066E20}" sibTransId="{BA239D24-D994-4695-B1A9-008F5193187C}"/>
    <dgm:cxn modelId="{EF6F7195-69A3-4157-9F98-45F897A4B55E}" type="presOf" srcId="{A13702D7-63CA-4641-83B5-BEB4D9DEC524}" destId="{7E373100-8538-4775-A505-3CECD142FD93}" srcOrd="0" destOrd="0" presId="urn:microsoft.com/office/officeart/2005/8/layout/pyramid1"/>
    <dgm:cxn modelId="{41BB12A2-A617-43A6-9622-4AEAA53CED47}" type="presOf" srcId="{1D76C605-A40E-43F2-9858-9053B18B2C30}" destId="{30252E12-C046-45E8-B694-1F153A34B457}" srcOrd="0" destOrd="0" presId="urn:microsoft.com/office/officeart/2005/8/layout/pyramid1"/>
    <dgm:cxn modelId="{3037D7B6-A1AA-4C62-A31B-543B4D6C6726}" type="presOf" srcId="{A13702D7-63CA-4641-83B5-BEB4D9DEC524}" destId="{AAD2E4E2-5F34-4919-81DD-B7289A0DDC81}" srcOrd="1" destOrd="0" presId="urn:microsoft.com/office/officeart/2005/8/layout/pyramid1"/>
    <dgm:cxn modelId="{EA2BECCA-1FC9-4D02-A269-9CF09F401CD7}" type="presOf" srcId="{F92C69B6-EA74-4629-A125-A1DB0CC4E6BC}" destId="{B9D1CF36-4D90-4BA5-A853-8EB1A665FF66}" srcOrd="0" destOrd="0" presId="urn:microsoft.com/office/officeart/2005/8/layout/pyramid1"/>
    <dgm:cxn modelId="{750A62A5-0F73-48C5-A02A-D9CB991F04D0}" type="presParOf" srcId="{2455BC9D-5DD9-4AB7-A94A-A4E036AA8898}" destId="{B1D20173-B14E-4F20-A9DF-DA587424FC46}" srcOrd="0" destOrd="0" presId="urn:microsoft.com/office/officeart/2005/8/layout/pyramid1"/>
    <dgm:cxn modelId="{2BB898E9-D347-403F-B43E-CECDB0E59893}" type="presParOf" srcId="{B1D20173-B14E-4F20-A9DF-DA587424FC46}" destId="{30252E12-C046-45E8-B694-1F153A34B457}" srcOrd="0" destOrd="0" presId="urn:microsoft.com/office/officeart/2005/8/layout/pyramid1"/>
    <dgm:cxn modelId="{C1C32DA0-7D42-4588-BFB8-9CC78BC363AA}" type="presParOf" srcId="{B1D20173-B14E-4F20-A9DF-DA587424FC46}" destId="{66D3A183-10BA-42F0-B7E7-64B97ECEBFF9}" srcOrd="1" destOrd="0" presId="urn:microsoft.com/office/officeart/2005/8/layout/pyramid1"/>
    <dgm:cxn modelId="{A38CA2F7-F936-4E01-8AA6-A3CF7227A936}" type="presParOf" srcId="{2455BC9D-5DD9-4AB7-A94A-A4E036AA8898}" destId="{B9049EAD-3EA6-497E-B477-8AA1AC7FF58C}" srcOrd="1" destOrd="0" presId="urn:microsoft.com/office/officeart/2005/8/layout/pyramid1"/>
    <dgm:cxn modelId="{C7717EB2-64CD-4474-B56C-4B407EE00553}" type="presParOf" srcId="{B9049EAD-3EA6-497E-B477-8AA1AC7FF58C}" destId="{7E373100-8538-4775-A505-3CECD142FD93}" srcOrd="0" destOrd="0" presId="urn:microsoft.com/office/officeart/2005/8/layout/pyramid1"/>
    <dgm:cxn modelId="{4AB1F11B-BC31-4C58-A684-C909B60423A4}" type="presParOf" srcId="{B9049EAD-3EA6-497E-B477-8AA1AC7FF58C}" destId="{AAD2E4E2-5F34-4919-81DD-B7289A0DDC81}" srcOrd="1" destOrd="0" presId="urn:microsoft.com/office/officeart/2005/8/layout/pyramid1"/>
    <dgm:cxn modelId="{76BADCF9-57F2-4272-B7F2-D8CEA5A77E47}" type="presParOf" srcId="{2455BC9D-5DD9-4AB7-A94A-A4E036AA8898}" destId="{DC63E28E-5166-4EC7-87AC-AB5863DDF0FC}" srcOrd="2" destOrd="0" presId="urn:microsoft.com/office/officeart/2005/8/layout/pyramid1"/>
    <dgm:cxn modelId="{3AF51380-CC31-4F17-98A4-715A6DDE3E49}" type="presParOf" srcId="{DC63E28E-5166-4EC7-87AC-AB5863DDF0FC}" destId="{B9D1CF36-4D90-4BA5-A853-8EB1A665FF66}" srcOrd="0" destOrd="0" presId="urn:microsoft.com/office/officeart/2005/8/layout/pyramid1"/>
    <dgm:cxn modelId="{C9456C55-5C2B-4382-B905-B70B5F62E297}" type="presParOf" srcId="{DC63E28E-5166-4EC7-87AC-AB5863DDF0FC}" destId="{B31EF65C-40B5-4F47-BFD4-1D17B6B8EF91}" srcOrd="1" destOrd="0" presId="urn:microsoft.com/office/officeart/2005/8/layout/pyramid1"/>
  </dgm:cxnLst>
  <dgm:bg/>
  <dgm:whole>
    <a:ln>
      <a:solidFill>
        <a:srgbClr val="EDEDED"/>
      </a:solidFill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592617-C44B-415E-B250-D6611CE829C0}">
      <dsp:nvSpPr>
        <dsp:cNvPr id="0" name=""/>
        <dsp:cNvSpPr/>
      </dsp:nvSpPr>
      <dsp:spPr>
        <a:xfrm>
          <a:off x="2089" y="0"/>
          <a:ext cx="2096755" cy="692092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2089" y="0"/>
        <a:ext cx="1923732" cy="692092"/>
      </dsp:txXfrm>
    </dsp:sp>
    <dsp:sp modelId="{BAA9CF7E-901F-4EB1-8154-66B8B6FCA799}">
      <dsp:nvSpPr>
        <dsp:cNvPr id="0" name=""/>
        <dsp:cNvSpPr/>
      </dsp:nvSpPr>
      <dsp:spPr>
        <a:xfrm>
          <a:off x="1679493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025539" y="0"/>
        <a:ext cx="1404663" cy="692092"/>
      </dsp:txXfrm>
    </dsp:sp>
    <dsp:sp modelId="{EE750EE4-208C-4912-B12D-02CDAB75B38D}">
      <dsp:nvSpPr>
        <dsp:cNvPr id="0" name=""/>
        <dsp:cNvSpPr/>
      </dsp:nvSpPr>
      <dsp:spPr>
        <a:xfrm>
          <a:off x="3356897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3702943" y="0"/>
        <a:ext cx="1404663" cy="692092"/>
      </dsp:txXfrm>
    </dsp:sp>
    <dsp:sp modelId="{5B1BC7D1-0851-47ED-B084-3D21C4F27B7F}">
      <dsp:nvSpPr>
        <dsp:cNvPr id="0" name=""/>
        <dsp:cNvSpPr/>
      </dsp:nvSpPr>
      <dsp:spPr>
        <a:xfrm>
          <a:off x="5034302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5380348" y="0"/>
        <a:ext cx="1404663" cy="6920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56D2BF-9FE3-486F-811C-08299310F067}">
      <dsp:nvSpPr>
        <dsp:cNvPr id="0" name=""/>
        <dsp:cNvSpPr/>
      </dsp:nvSpPr>
      <dsp:spPr>
        <a:xfrm>
          <a:off x="3156" y="0"/>
          <a:ext cx="3167166" cy="691200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3156" y="0"/>
        <a:ext cx="2994366" cy="691200"/>
      </dsp:txXfrm>
    </dsp:sp>
    <dsp:sp modelId="{5ADA955C-9839-445C-ACC9-4C024699FBA4}">
      <dsp:nvSpPr>
        <dsp:cNvPr id="0" name=""/>
        <dsp:cNvSpPr/>
      </dsp:nvSpPr>
      <dsp:spPr>
        <a:xfrm>
          <a:off x="2536889" y="0"/>
          <a:ext cx="3167166" cy="691200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882489" y="0"/>
        <a:ext cx="2475966" cy="691200"/>
      </dsp:txXfrm>
    </dsp:sp>
    <dsp:sp modelId="{717E0982-2874-4231-B225-BD08683C33C5}">
      <dsp:nvSpPr>
        <dsp:cNvPr id="0" name=""/>
        <dsp:cNvSpPr/>
      </dsp:nvSpPr>
      <dsp:spPr>
        <a:xfrm>
          <a:off x="5070623" y="0"/>
          <a:ext cx="3167166" cy="691200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5416223" y="0"/>
        <a:ext cx="2475966" cy="691200"/>
      </dsp:txXfrm>
    </dsp:sp>
    <dsp:sp modelId="{62957457-2779-4BF2-A9DD-D58B3CA435AD}">
      <dsp:nvSpPr>
        <dsp:cNvPr id="0" name=""/>
        <dsp:cNvSpPr/>
      </dsp:nvSpPr>
      <dsp:spPr>
        <a:xfrm>
          <a:off x="7604356" y="0"/>
          <a:ext cx="3167166" cy="691200"/>
        </a:xfrm>
        <a:prstGeom prst="chevron">
          <a:avLst/>
        </a:prstGeom>
        <a:solidFill>
          <a:schemeClr val="accent4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7949956" y="0"/>
        <a:ext cx="2475966" cy="6912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985E10-C7FC-428B-937C-2E78D606C578}">
      <dsp:nvSpPr>
        <dsp:cNvPr id="0" name=""/>
        <dsp:cNvSpPr/>
      </dsp:nvSpPr>
      <dsp:spPr>
        <a:xfrm>
          <a:off x="4524277" y="381958"/>
          <a:ext cx="1439993" cy="899997"/>
        </a:xfrm>
        <a:prstGeom prst="rect">
          <a:avLst/>
        </a:prstGeom>
        <a:solidFill>
          <a:schemeClr val="tx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4524277" y="381958"/>
        <a:ext cx="1439993" cy="899997"/>
      </dsp:txXfrm>
    </dsp:sp>
    <dsp:sp modelId="{C209862A-13AC-4895-8719-4DA6F49CD47D}">
      <dsp:nvSpPr>
        <dsp:cNvPr id="0" name=""/>
        <dsp:cNvSpPr/>
      </dsp:nvSpPr>
      <dsp:spPr>
        <a:xfrm>
          <a:off x="4072971" y="1281956"/>
          <a:ext cx="1171302" cy="326860"/>
        </a:xfrm>
        <a:custGeom>
          <a:avLst/>
          <a:gdLst/>
          <a:ahLst/>
          <a:cxnLst/>
          <a:rect l="0" t="0" r="0" b="0"/>
          <a:pathLst>
            <a:path>
              <a:moveTo>
                <a:pt x="1171302" y="0"/>
              </a:moveTo>
              <a:lnTo>
                <a:pt x="1171302" y="163430"/>
              </a:lnTo>
              <a:lnTo>
                <a:pt x="0" y="163430"/>
              </a:lnTo>
              <a:lnTo>
                <a:pt x="0" y="326860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A1581D-E8F2-4A05-B7D0-581C00A27A60}">
      <dsp:nvSpPr>
        <dsp:cNvPr id="0" name=""/>
        <dsp:cNvSpPr/>
      </dsp:nvSpPr>
      <dsp:spPr>
        <a:xfrm>
          <a:off x="3352974" y="1608816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352974" y="1608816"/>
        <a:ext cx="1439993" cy="899997"/>
      </dsp:txXfrm>
    </dsp:sp>
    <dsp:sp modelId="{EDB4E2DF-E9A9-4495-9754-426DFA916292}">
      <dsp:nvSpPr>
        <dsp:cNvPr id="0" name=""/>
        <dsp:cNvSpPr/>
      </dsp:nvSpPr>
      <dsp:spPr>
        <a:xfrm>
          <a:off x="696519" y="2508813"/>
          <a:ext cx="3376451" cy="382029"/>
        </a:xfrm>
        <a:custGeom>
          <a:avLst/>
          <a:gdLst/>
          <a:ahLst/>
          <a:cxnLst/>
          <a:rect l="0" t="0" r="0" b="0"/>
          <a:pathLst>
            <a:path>
              <a:moveTo>
                <a:pt x="3376451" y="0"/>
              </a:moveTo>
              <a:lnTo>
                <a:pt x="3376451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35EA69-2E83-45A5-959A-019F91A199D5}">
      <dsp:nvSpPr>
        <dsp:cNvPr id="0" name=""/>
        <dsp:cNvSpPr/>
      </dsp:nvSpPr>
      <dsp:spPr>
        <a:xfrm>
          <a:off x="5691" y="2890842"/>
          <a:ext cx="138165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691" y="2890842"/>
        <a:ext cx="1381656" cy="884011"/>
      </dsp:txXfrm>
    </dsp:sp>
    <dsp:sp modelId="{DA074271-54CE-4563-9BDB-107BCA929818}">
      <dsp:nvSpPr>
        <dsp:cNvPr id="0" name=""/>
        <dsp:cNvSpPr/>
      </dsp:nvSpPr>
      <dsp:spPr>
        <a:xfrm>
          <a:off x="2480768" y="2508813"/>
          <a:ext cx="1592203" cy="382029"/>
        </a:xfrm>
        <a:custGeom>
          <a:avLst/>
          <a:gdLst/>
          <a:ahLst/>
          <a:cxnLst/>
          <a:rect l="0" t="0" r="0" b="0"/>
          <a:pathLst>
            <a:path>
              <a:moveTo>
                <a:pt x="1592203" y="0"/>
              </a:moveTo>
              <a:lnTo>
                <a:pt x="1592203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1DA491-78A0-47DF-810A-08EA95EFD69D}">
      <dsp:nvSpPr>
        <dsp:cNvPr id="0" name=""/>
        <dsp:cNvSpPr/>
      </dsp:nvSpPr>
      <dsp:spPr>
        <a:xfrm>
          <a:off x="1786098" y="2890842"/>
          <a:ext cx="1389339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1786098" y="2890842"/>
        <a:ext cx="1389339" cy="884011"/>
      </dsp:txXfrm>
    </dsp:sp>
    <dsp:sp modelId="{7E65DA2E-0104-4E4B-A4B7-07CCCC352B3E}">
      <dsp:nvSpPr>
        <dsp:cNvPr id="0" name=""/>
        <dsp:cNvSpPr/>
      </dsp:nvSpPr>
      <dsp:spPr>
        <a:xfrm>
          <a:off x="4072971" y="2508813"/>
          <a:ext cx="201069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1069" y="191014"/>
              </a:lnTo>
              <a:lnTo>
                <a:pt x="201069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4D74E2-48FB-4BEA-90C0-284D8BF4BE52}">
      <dsp:nvSpPr>
        <dsp:cNvPr id="0" name=""/>
        <dsp:cNvSpPr/>
      </dsp:nvSpPr>
      <dsp:spPr>
        <a:xfrm>
          <a:off x="3574188" y="2890842"/>
          <a:ext cx="139970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574188" y="2890842"/>
        <a:ext cx="1399706" cy="884011"/>
      </dsp:txXfrm>
    </dsp:sp>
    <dsp:sp modelId="{C4AF3983-67CA-4A67-B20E-958F6D941EEC}">
      <dsp:nvSpPr>
        <dsp:cNvPr id="0" name=""/>
        <dsp:cNvSpPr/>
      </dsp:nvSpPr>
      <dsp:spPr>
        <a:xfrm>
          <a:off x="4072971" y="2508813"/>
          <a:ext cx="2004783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04783" y="191014"/>
              </a:lnTo>
              <a:lnTo>
                <a:pt x="2004783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1A4CF1-F746-4B5B-8AEB-126AD21C2C9D}">
      <dsp:nvSpPr>
        <dsp:cNvPr id="0" name=""/>
        <dsp:cNvSpPr/>
      </dsp:nvSpPr>
      <dsp:spPr>
        <a:xfrm>
          <a:off x="5372645" y="2890842"/>
          <a:ext cx="1410220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372645" y="2890842"/>
        <a:ext cx="1410220" cy="884011"/>
      </dsp:txXfrm>
    </dsp:sp>
    <dsp:sp modelId="{760A34F6-5232-41BC-AFB5-2402E10AFCC1}">
      <dsp:nvSpPr>
        <dsp:cNvPr id="0" name=""/>
        <dsp:cNvSpPr/>
      </dsp:nvSpPr>
      <dsp:spPr>
        <a:xfrm>
          <a:off x="4072971" y="2508813"/>
          <a:ext cx="382044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3820446" y="191014"/>
              </a:lnTo>
              <a:lnTo>
                <a:pt x="382044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824BFB-10DB-43FB-9E8F-7E9AE31CCC2C}">
      <dsp:nvSpPr>
        <dsp:cNvPr id="0" name=""/>
        <dsp:cNvSpPr/>
      </dsp:nvSpPr>
      <dsp:spPr>
        <a:xfrm>
          <a:off x="7181616" y="2890842"/>
          <a:ext cx="1423605" cy="887742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7181616" y="2890842"/>
        <a:ext cx="1423605" cy="887742"/>
      </dsp:txXfrm>
    </dsp:sp>
    <dsp:sp modelId="{8C433BFE-2971-423C-B01B-40F2908175A3}">
      <dsp:nvSpPr>
        <dsp:cNvPr id="0" name=""/>
        <dsp:cNvSpPr/>
      </dsp:nvSpPr>
      <dsp:spPr>
        <a:xfrm>
          <a:off x="4072971" y="2508813"/>
          <a:ext cx="565099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5650996" y="191014"/>
              </a:lnTo>
              <a:lnTo>
                <a:pt x="565099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8C9845-A250-43F0-BE7D-B882ADE3424B}">
      <dsp:nvSpPr>
        <dsp:cNvPr id="0" name=""/>
        <dsp:cNvSpPr/>
      </dsp:nvSpPr>
      <dsp:spPr>
        <a:xfrm>
          <a:off x="9003971" y="2890842"/>
          <a:ext cx="1439993" cy="890356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9003971" y="2890842"/>
        <a:ext cx="1439993" cy="890356"/>
      </dsp:txXfrm>
    </dsp:sp>
    <dsp:sp modelId="{E0C05411-07D9-4231-A109-7B514AAF3A31}">
      <dsp:nvSpPr>
        <dsp:cNvPr id="0" name=""/>
        <dsp:cNvSpPr/>
      </dsp:nvSpPr>
      <dsp:spPr>
        <a:xfrm>
          <a:off x="5244274" y="1281956"/>
          <a:ext cx="1276785" cy="3302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5126"/>
              </a:lnTo>
              <a:lnTo>
                <a:pt x="1276785" y="165126"/>
              </a:lnTo>
              <a:lnTo>
                <a:pt x="1276785" y="330253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9AB87B-41CB-4FBC-9D7B-29E5C292E68E}">
      <dsp:nvSpPr>
        <dsp:cNvPr id="0" name=""/>
        <dsp:cNvSpPr/>
      </dsp:nvSpPr>
      <dsp:spPr>
        <a:xfrm>
          <a:off x="5801062" y="1612209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801062" y="1612209"/>
        <a:ext cx="1439993" cy="89999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2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rgbClr val="61E18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tx1"/>
              </a:solidFill>
            </a:rPr>
            <a:t>Point 2</a:t>
          </a:r>
          <a:r>
            <a:rPr lang="en-GB" sz="1200" kern="1200" dirty="0">
              <a:solidFill>
                <a:schemeClr val="tx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tx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252E12-C046-45E8-B694-1F153A34B457}">
      <dsp:nvSpPr>
        <dsp:cNvPr id="0" name=""/>
        <dsp:cNvSpPr/>
      </dsp:nvSpPr>
      <dsp:spPr>
        <a:xfrm>
          <a:off x="1757891" y="0"/>
          <a:ext cx="1757891" cy="1319809"/>
        </a:xfrm>
        <a:prstGeom prst="trapezoid">
          <a:avLst>
            <a:gd name="adj" fmla="val 6659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16000" numCol="1" spcCol="1270" anchor="b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Strategy</a:t>
          </a:r>
        </a:p>
      </dsp:txBody>
      <dsp:txXfrm>
        <a:off x="1757891" y="0"/>
        <a:ext cx="1757891" cy="1319809"/>
      </dsp:txXfrm>
    </dsp:sp>
    <dsp:sp modelId="{7E373100-8538-4775-A505-3CECD142FD93}">
      <dsp:nvSpPr>
        <dsp:cNvPr id="0" name=""/>
        <dsp:cNvSpPr/>
      </dsp:nvSpPr>
      <dsp:spPr>
        <a:xfrm>
          <a:off x="878945" y="1319809"/>
          <a:ext cx="3515782" cy="1319809"/>
        </a:xfrm>
        <a:prstGeom prst="trapezoid">
          <a:avLst>
            <a:gd name="adj" fmla="val 66596"/>
          </a:avLst>
        </a:prstGeom>
        <a:solidFill>
          <a:schemeClr val="accent2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Process</a:t>
          </a:r>
        </a:p>
      </dsp:txBody>
      <dsp:txXfrm>
        <a:off x="1494207" y="1319809"/>
        <a:ext cx="2285258" cy="1319809"/>
      </dsp:txXfrm>
    </dsp:sp>
    <dsp:sp modelId="{B9D1CF36-4D90-4BA5-A853-8EB1A665FF66}">
      <dsp:nvSpPr>
        <dsp:cNvPr id="0" name=""/>
        <dsp:cNvSpPr/>
      </dsp:nvSpPr>
      <dsp:spPr>
        <a:xfrm>
          <a:off x="0" y="2639619"/>
          <a:ext cx="5273674" cy="1319809"/>
        </a:xfrm>
        <a:prstGeom prst="trapezoid">
          <a:avLst>
            <a:gd name="adj" fmla="val 66596"/>
          </a:avLst>
        </a:prstGeom>
        <a:solidFill>
          <a:schemeClr val="accent3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Resource </a:t>
          </a:r>
          <a:r>
            <a:rPr lang="en-GB" sz="1800" b="1" i="0" kern="1200" dirty="0">
              <a:solidFill>
                <a:schemeClr val="bg1"/>
              </a:solidFill>
            </a:rPr>
            <a:t>|</a:t>
          </a:r>
          <a:r>
            <a:rPr lang="en-GB" sz="1800" b="1" kern="1200" dirty="0">
              <a:solidFill>
                <a:schemeClr val="bg1"/>
              </a:solidFill>
            </a:rPr>
            <a:t> Organisation</a:t>
          </a:r>
        </a:p>
      </dsp:txBody>
      <dsp:txXfrm>
        <a:off x="922892" y="2639619"/>
        <a:ext cx="3427888" cy="13198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C64A6CE4-FF82-4B7B-85BF-A6C9396EB710}" type="datetimeFigureOut">
              <a:rPr lang="en-GB" smtClean="0"/>
              <a:pPr/>
              <a:t>10/12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85427471-C9C6-4020-99F9-37020AFD3CC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386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36985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451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633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89404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63010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80663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4086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1177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3523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59060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652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2179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04248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00984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392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06327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00318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895868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84421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20128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65541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32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053846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027184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643632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28307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6306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87241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3700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1126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595327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78708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3678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519799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968786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073711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418684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012902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86542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22184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42498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79730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619346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3192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06905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23526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882779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015655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041778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45499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386572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9965031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84320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04039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698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551087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59520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657780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848927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94767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530971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1221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265427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67967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093257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8631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63553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354585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40067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40734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449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3373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8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8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E67324-42B3-74CC-D025-CB7EC93BDD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8835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E67324-42B3-74CC-D025-CB7EC93BD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 14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51674B15-D531-8FE8-930C-854BE8BEA00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22120" y="423699"/>
            <a:ext cx="1928188" cy="1051192"/>
          </a:xfrm>
          <a:prstGeom prst="rect">
            <a:avLst/>
          </a:prstGeom>
        </p:spPr>
      </p:pic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640656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Indu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2F66B9A-9DF6-0B38-DBB1-0B382EFDEE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0072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F66B9A-9DF6-0B38-DBB1-0B382EFDEE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0" name="Grafik 9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57AA098E-40DF-FB99-6579-17048095A8A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22120" y="423699"/>
            <a:ext cx="1928188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926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ining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0DAA8D9-59F5-ED81-44EA-E7E595241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4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DAA8D9-59F5-ED81-44EA-E7E595241A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/>
              <a:t>Date  |  Author</a:t>
            </a:r>
            <a:endParaRPr lang="en-GB" dirty="0"/>
          </a:p>
        </p:txBody>
      </p:sp>
      <p:pic>
        <p:nvPicPr>
          <p:cNvPr id="10" name="Grafik 9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0F974862-2D9E-CDC9-C0DD-3E04400EE53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22120" y="423699"/>
            <a:ext cx="1928188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55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etrochemistry/Chemi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0B7532A-6D34-CB01-97D0-C1A3CE4502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5750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B7532A-6D34-CB01-97D0-C1A3CE4502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0" name="Grafik 9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0E20BC82-1613-A2A0-085C-63D3CCB90B5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22120" y="423699"/>
            <a:ext cx="1928188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327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ater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D6394E6-E618-0458-128A-22B5F8A676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67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6394E6-E618-0458-128A-22B5F8A676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0" name="Grafik 9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362D1FB2-4205-F577-0BBF-C40CC4F4EF6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22120" y="423699"/>
            <a:ext cx="1928188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61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778246-8722-5A3D-227D-3ADE3783E3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760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78246-8722-5A3D-227D-3ADE3783E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03950" y="0"/>
            <a:ext cx="5430838" cy="6858000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4814800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4814800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4814800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B66DBAB-F7F7-5D64-A15F-21D4409F0FB3}"/>
              </a:ext>
            </a:extLst>
          </p:cNvPr>
          <p:cNvSpPr/>
          <p:nvPr userDrawn="1"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pic>
        <p:nvPicPr>
          <p:cNvPr id="11" name="Grafik 10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75A5C51B-332A-C132-6422-F9D19E3AC1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22120" y="423699"/>
            <a:ext cx="1928188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879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90EFEC8-3801-95D1-7A6E-76683C252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751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EFEC8-3801-95D1-7A6E-76683C252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802FDD5D-0B55-535D-ACE9-969B3206D2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306888"/>
          </a:xfrm>
        </p:spPr>
        <p:txBody>
          <a:bodyPr/>
          <a:lstStyle>
            <a:lvl1pPr marL="324000" indent="-504000" rtl="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  <a:defRPr sz="2800">
                <a:solidFill>
                  <a:schemeClr val="bg1"/>
                </a:solidFill>
              </a:defRPr>
            </a:lvl1pPr>
            <a:lvl2pPr marL="648000" indent="-144000" defTabSz="756000" rtl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1</a:t>
            </a:r>
          </a:p>
          <a:p>
            <a:pPr lvl="1"/>
            <a:r>
              <a:rPr lang="en-GB" dirty="0"/>
              <a:t>Level 3.2</a:t>
            </a:r>
          </a:p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3</a:t>
            </a:r>
          </a:p>
        </p:txBody>
      </p:sp>
    </p:spTree>
    <p:extLst>
      <p:ext uri="{BB962C8B-B14F-4D97-AF65-F5344CB8AC3E}">
        <p14:creationId xmlns:p14="http://schemas.microsoft.com/office/powerpoint/2010/main" val="14468767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9733C9-8BCE-A5A7-26EC-0DD2738D3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888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9733C9-8BCE-A5A7-26EC-0DD2738D3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77B93EC-6801-C3F4-1738-FAD27286B5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9101" y="1268236"/>
            <a:ext cx="9196266" cy="1576075"/>
          </a:xfrm>
        </p:spPr>
        <p:txBody>
          <a:bodyPr vert="horz"/>
          <a:lstStyle>
            <a:lvl1pPr rtl="0"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 lang="de-DE" dirty="0" smtClean="0"/>
            </a:lvl1pPr>
          </a:lstStyle>
          <a:p>
            <a:r>
              <a:rPr lang="en-US"/>
              <a:t>Title of presentation  |  Author  |  Date  |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39101" y="2931746"/>
            <a:ext cx="9196266" cy="1903536"/>
          </a:xfrm>
        </p:spPr>
        <p:txBody>
          <a:bodyPr/>
          <a:lstStyle>
            <a:lvl1pPr marL="216000" indent="-216000" rtl="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b="0">
                <a:solidFill>
                  <a:schemeClr val="bg1"/>
                </a:solidFill>
              </a:defRPr>
            </a:lvl1pPr>
            <a:lvl2pPr marL="648000" indent="-144000" defTabSz="756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Level 3.1</a:t>
            </a:r>
          </a:p>
          <a:p>
            <a:pPr lvl="0"/>
            <a:r>
              <a:rPr lang="en-GB" dirty="0"/>
              <a:t>Level 3.2</a:t>
            </a:r>
          </a:p>
          <a:p>
            <a:pPr lvl="0"/>
            <a:r>
              <a:rPr lang="en-GB" dirty="0"/>
              <a:t>Level 3.3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8B55861-5D66-A0E0-7115-A84F422305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024" y="1059106"/>
            <a:ext cx="1394314" cy="1785205"/>
          </a:xfrm>
        </p:spPr>
        <p:txBody>
          <a:bodyPr/>
          <a:lstStyle>
            <a:lvl1pPr rtl="0">
              <a:defRPr sz="11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107452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463D669-EBB8-6181-8EE3-52E54FD5DA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945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63D669-EBB8-6181-8EE3-52E54FD5D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C49EF9C5-9A51-6651-72EB-E0A8079D2E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73353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E9F7C0-2480-1CB4-5648-CE5BC83469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9794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E9F7C0-2480-1CB4-5648-CE5BC8346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1DD1B0CC-422D-36D9-1A2C-DAAF18B91A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8801" y="1636713"/>
            <a:ext cx="11075989" cy="44211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F56601A9-C9E1-3C83-FF14-6F6EFF8522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58242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942756B-D7F6-5D06-16F6-046DE03B11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74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42756B-D7F6-5D06-16F6-046DE03B11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800" y="1636713"/>
            <a:ext cx="11075989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02A74F5C-0A8D-9155-3F92-57CF09457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7393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CBD6950-7F22-DE03-8B27-4F02980F12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86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BD6950-7F22-DE03-8B27-4F02980F12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solidFill>
            <a:srgbClr val="EDEDED"/>
          </a:solidFill>
        </p:spPr>
        <p:txBody>
          <a:bodyPr/>
          <a:lstStyle>
            <a:lvl1pPr rtl="0">
              <a:defRPr>
                <a:solidFill>
                  <a:srgbClr val="EDEDE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9" name="Grafik 8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954237C6-62E8-FAFE-9ED9-5101B01C92E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22120" y="423699"/>
            <a:ext cx="1928188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606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CB33F95-9656-94A3-F2D2-DDC7B153A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421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33F95-9656-94A3-F2D2-DDC7B153A2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5426103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3950" y="1636713"/>
            <a:ext cx="5432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3A0D38D-C8FB-7EA4-CAEB-A200305E06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636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w Columns / Picture right / Distur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6F3803-EBF0-E92D-164E-B4308EE06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94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6F3803-EBF0-E92D-164E-B4308EE06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9" y="1636713"/>
            <a:ext cx="5426102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1636714"/>
            <a:ext cx="5430838" cy="420616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1" y="5898816"/>
            <a:ext cx="5430838" cy="159084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BB24B06-2400-4E0A-AC73-6481B51B87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90001" y="1254320"/>
            <a:ext cx="2246400" cy="22464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 algn="ctr" rtl="0">
              <a:defRPr sz="5800">
                <a:solidFill>
                  <a:schemeClr val="bg1"/>
                </a:solidFill>
              </a:defRPr>
            </a:lvl1pPr>
            <a:lvl2pPr algn="ctr" rtl="0">
              <a:defRPr sz="115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Text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A189D1E-AFC9-D2FC-DE50-D7DC00E244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00689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E668A04-AB9C-9529-226F-ABEC768811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9719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668A04-AB9C-9529-226F-ABEC76881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35F1875C-13E9-271D-47E0-B8A222F893F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3990" y="1636713"/>
            <a:ext cx="354207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0" name="Inhaltsplatzhalter 18">
            <a:extLst>
              <a:ext uri="{FF2B5EF4-FFF2-40B4-BE49-F238E27FC236}">
                <a16:creationId xmlns:a16="http://schemas.microsoft.com/office/drawing/2014/main" id="{B20B8DC7-5D17-400E-4121-6D580475C39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89900" y="1636713"/>
            <a:ext cx="3544888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62671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5F3EA8A-A8AA-D627-8301-CF636F2DA3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124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F3EA8A-A8AA-D627-8301-CF636F2DA3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7">
            <a:extLst>
              <a:ext uri="{FF2B5EF4-FFF2-40B4-BE49-F238E27FC236}">
                <a16:creationId xmlns:a16="http://schemas.microsoft.com/office/drawing/2014/main" id="{222B2E43-133F-0C16-A62D-0F408A0B40D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58799" y="1636713"/>
            <a:ext cx="353535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1AD45E-2D89-1949-8A24-F4EEBB3B173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24002" y="1636714"/>
            <a:ext cx="354205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0DE1CC8F-8844-4BA3-9E47-EA5EE5948B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95901" y="1636714"/>
            <a:ext cx="353888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D0FE6B-E926-0BA0-43E4-7ABE512B55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8799" y="5859144"/>
            <a:ext cx="3535359" cy="189478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36193291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A04DB8-1D31-B005-032E-20CBBFBE04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9780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A04DB8-1D31-B005-032E-20CBBFBE0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1190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Bildplatzhalter 7">
            <a:extLst>
              <a:ext uri="{FF2B5EF4-FFF2-40B4-BE49-F238E27FC236}">
                <a16:creationId xmlns:a16="http://schemas.microsoft.com/office/drawing/2014/main" id="{F8FFDE1B-4CBD-8494-77BC-EFB79CAAEAC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971463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35F41507-13AD-DFA4-883B-63F67949D20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971463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9EA98DDB-A4B6-8D74-1278-6320CCDDA5B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971463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58B80690-1D6F-962A-A4B3-B81C50B8D4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89899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Bildplatzhalter 7">
            <a:extLst>
              <a:ext uri="{FF2B5EF4-FFF2-40B4-BE49-F238E27FC236}">
                <a16:creationId xmlns:a16="http://schemas.microsoft.com/office/drawing/2014/main" id="{2CAB1BCC-4B44-D038-3B4F-7B267CFECD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89899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49415D78-9101-C594-AA42-76666355062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89899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20B3BDE3-011E-041E-A4B6-C9FEEC2B75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89899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896A3444-3445-1E14-F681-576C65A82C7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71463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623E1831-4C1C-088E-5684-117827FD08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89899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8237CACB-6640-20B1-4133-52C50251EF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71463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D12FE9A-10CD-13A9-70C7-A4CCF6E758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971463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C133EE82-D821-43DB-D653-B0B58D2454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24724" y="5859144"/>
            <a:ext cx="3541339" cy="198756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971E4F96-7320-D18A-2407-5834BE1435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89899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803FBFD-928C-43DF-22A4-9A12C94E84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48F93A8D-960A-2CCA-28E0-E3DEFFF68DD0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324724" y="1636712"/>
            <a:ext cx="354133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59783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left /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DDC7CE-8D58-A061-4B5C-7E58C2B614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198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DDC7CE-8D58-A061-4B5C-7E58C2B61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222433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8798" y="1636713"/>
            <a:ext cx="7307265" cy="4421187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95002" y="5859145"/>
            <a:ext cx="3539788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0042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/ Larg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C8B9084-25A3-24C5-EF80-660C10C7F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2851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8B9084-25A3-24C5-EF80-660C10C7F7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3543301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3543301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21175" y="0"/>
            <a:ext cx="7870825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AFE8F9E5-EA1F-FE7C-6C65-916E6546E4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137DC8F-B105-605C-3308-A9C07433E5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CC15A7CC-D52A-BD2D-B7C9-69991CE300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8151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/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4397D4-0D07-AC95-6744-F93F8B082A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280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397D4-0D07-AC95-6744-F93F8B082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5422900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5422900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0"/>
            <a:ext cx="5988050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373711BF-D4F2-CBEE-4709-E6AE2D778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30EA385E-5E4D-F45D-CB12-59F58D472D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6B15CC84-A125-9426-7364-87C41BA95B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8217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612DF62-BFC5-9D9A-70F0-5FC9FBD1F1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1680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12DF62-BFC5-9D9A-70F0-5FC9FBD1F1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9111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419F552D-7A60-D3A1-49E3-3C20F4247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0755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27419B91-9D08-FB46-6262-4B10BFEAA8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776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A406ECF3-4190-26B4-D5DE-ECE72C7653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0754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4" name="Bildplatzhalter 7">
            <a:extLst>
              <a:ext uri="{FF2B5EF4-FFF2-40B4-BE49-F238E27FC236}">
                <a16:creationId xmlns:a16="http://schemas.microsoft.com/office/drawing/2014/main" id="{9C5460A1-D197-A94C-AB89-6AB8D176E2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8799" y="192221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ECFBF3C4-2267-49C6-A8ED-5F1F141E53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8799" y="408292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6F343DF0-AD52-5382-B68B-E53E953E7184}"/>
              </a:ext>
            </a:extLst>
          </p:cNvPr>
          <p:cNvCxnSpPr>
            <a:cxnSpLocks/>
          </p:cNvCxnSpPr>
          <p:nvPr userDrawn="1"/>
        </p:nvCxnSpPr>
        <p:spPr>
          <a:xfrm>
            <a:off x="558799" y="173648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C31B194-7DC2-8814-1A0F-73641F9B6C38}"/>
              </a:ext>
            </a:extLst>
          </p:cNvPr>
          <p:cNvCxnSpPr>
            <a:cxnSpLocks/>
          </p:cNvCxnSpPr>
          <p:nvPr userDrawn="1"/>
        </p:nvCxnSpPr>
        <p:spPr>
          <a:xfrm>
            <a:off x="558800" y="389719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78F7241-B523-18FE-4E28-BA66C6EBD8AE}"/>
              </a:ext>
            </a:extLst>
          </p:cNvPr>
          <p:cNvCxnSpPr>
            <a:cxnSpLocks/>
          </p:cNvCxnSpPr>
          <p:nvPr userDrawn="1"/>
        </p:nvCxnSpPr>
        <p:spPr>
          <a:xfrm>
            <a:off x="558800" y="605790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DBCE2790-B16C-C56F-6141-8BEA7219F3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30786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blue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1C1F254-8019-6F8D-8CC3-7929E8E33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833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C1F254-8019-6F8D-8CC3-7929E8E33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FD96EE1F-5E8E-BB16-8ADC-CE59CEF9A5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2790" t="1" r="18241" b="-147"/>
          <a:stretch/>
        </p:blipFill>
        <p:spPr>
          <a:xfrm>
            <a:off x="0" y="0"/>
            <a:ext cx="4097338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464" y="441325"/>
            <a:ext cx="730884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9" y="1636713"/>
            <a:ext cx="3541384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FDBF0D5F-ADF7-B456-BED3-3F9A5F5F9D2F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929764B-1E30-D5FB-E454-B82B9A1B1B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441325"/>
            <a:ext cx="3289300" cy="971550"/>
          </a:xfrm>
        </p:spPr>
        <p:txBody>
          <a:bodyPr/>
          <a:lstStyle>
            <a:lvl1pPr rtl="0">
              <a:defRPr sz="2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Headlin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CE9672D4-3B12-A4C3-1305-6C15139157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464" y="245261"/>
            <a:ext cx="7308849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1343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B145FC8-3D08-5116-A631-FBF8DADE4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9815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145FC8-3D08-5116-A631-FBF8DADE4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Presenc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3" name="Grafik 12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798D608D-FAE3-05F1-5E92-9055DCA6E40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22120" y="423699"/>
            <a:ext cx="1928188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109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856C22-F1F5-F524-F283-6DD740CCD1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086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856C22-F1F5-F524-F283-6DD740CCD1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7">
            <a:extLst>
              <a:ext uri="{FF2B5EF4-FFF2-40B4-BE49-F238E27FC236}">
                <a16:creationId xmlns:a16="http://schemas.microsoft.com/office/drawing/2014/main" id="{7B974332-31E1-F113-D1A3-001C261CCD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4097216" cy="60579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4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8" y="1636713"/>
            <a:ext cx="3544645" cy="4421188"/>
          </a:xfrm>
        </p:spPr>
        <p:txBody>
          <a:bodyPr/>
          <a:lstStyle>
            <a:lvl1pPr rtl="0">
              <a:defRPr>
                <a:latin typeface="+mn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EF97724-7BCD-95AD-A85A-49C09550400B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76E1A973-9169-8681-4D2B-4E393670CA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173" y="245261"/>
            <a:ext cx="7313614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81778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 grey and 1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2B38A38-2F4C-0A63-B269-8A08B9D630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765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38A38-2F4C-0A63-B269-8A08B9D63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F379A1F6-C15A-8D01-E275-7290E4E1A2D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552451" y="441326"/>
            <a:ext cx="3420000" cy="54015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8B94C0C3-950C-B5E2-EFD2-23B854BBB3F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097338" y="441326"/>
            <a:ext cx="3420000" cy="54015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9840258-242D-698F-09E5-27C678B0D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50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D6430E69-9368-AAE5-D18E-093448E0947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17" name="Grafik 16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9CAD9A52-92EA-70B2-04F6-CAEEFF3DA25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86038" y="6231927"/>
            <a:ext cx="1148080" cy="62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8019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s grey and 1/3 Text_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F6A1C98-9761-598B-F61D-B5F8A3E49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79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6A1C98-9761-598B-F61D-B5F8A3E49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4D9559A9-069A-9E0F-8A88-BA987F9833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C2C435E-4D51-3C71-CB30-C96A48E70B6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C6259C90-66EF-902B-A1B3-E79499F47E1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6" name="Bildplatzhalter 7">
            <a:extLst>
              <a:ext uri="{FF2B5EF4-FFF2-40B4-BE49-F238E27FC236}">
                <a16:creationId xmlns:a16="http://schemas.microsoft.com/office/drawing/2014/main" id="{D99CF1CC-DFCD-1973-B4BA-8F8660EB979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57022F7E-9A67-C602-2570-9BD4B4B0045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097338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8956A212-67B9-8267-0C83-7106F36CFFD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097338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49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0A3443D7-1F7A-D3E1-2E37-32E4AC238E7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097337" y="2971376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21" name="Grafik 20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D97EA929-5263-0F53-6693-19BFAE37C9C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86038" y="6231927"/>
            <a:ext cx="1148080" cy="62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740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43A518F-9B26-6B2A-EC75-FF43C144E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685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3A518F-9B26-6B2A-EC75-FF43C144E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1175" y="1636712"/>
            <a:ext cx="7313613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1" y="0"/>
            <a:ext cx="409733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B69C1CA-49B3-F623-162F-02EE212D29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45E8D55-8DE1-9326-99FD-291CCAC7F04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4A84F9F5-F8DA-C9AA-5A6A-7C220566AE59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2"/>
            <a:ext cx="3420000" cy="250507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pic>
        <p:nvPicPr>
          <p:cNvPr id="16" name="Grafik 15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8265CECA-1A96-184D-EC78-E0168F9D9C2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86038" y="6231927"/>
            <a:ext cx="1148080" cy="62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6674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3503890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6F3E253-FE94-4623-9962-9E23DA3C29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1" y="1"/>
            <a:ext cx="409733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AB0580A-2BCE-613B-CD8C-F51622530D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54229966-7D79-4F0A-4662-5F0568512B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21175" y="1636713"/>
            <a:ext cx="7310109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" name="Bildplatzhalter 7">
            <a:extLst>
              <a:ext uri="{FF2B5EF4-FFF2-40B4-BE49-F238E27FC236}">
                <a16:creationId xmlns:a16="http://schemas.microsoft.com/office/drawing/2014/main" id="{916FA65A-F1A2-BE36-DD2D-62F4B9DCCDE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017D1CD6-9468-ADC6-DE90-44086A8A5D2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1904240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30740A8B-B284-46B0-2C5B-2E268F881BF9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552449" y="2420321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856D8AA2-DFBA-E4D2-7B74-EAF45B035DC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52450" y="388323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C4549C74-BE95-64EF-F904-CF521D8010B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52449" y="4402876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B2A3052B-DAC5-5A64-E089-D0B16F8460B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2450" y="5872393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Fußzeilenplatzhalter 2">
            <a:extLst>
              <a:ext uri="{FF2B5EF4-FFF2-40B4-BE49-F238E27FC236}">
                <a16:creationId xmlns:a16="http://schemas.microsoft.com/office/drawing/2014/main" id="{070456C9-5D09-B03E-EF65-1831E164F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19EDEB-8A61-C180-1CA2-B0598ED54E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F2CE9BA0-9919-9B66-5600-53A1F8E790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pic>
        <p:nvPicPr>
          <p:cNvPr id="16" name="Grafik 15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50D14FC0-0C82-FA95-5D13-7DDB87EDA3A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86038" y="6231927"/>
            <a:ext cx="1148080" cy="62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8136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0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875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 /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3516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95DE1E9-A1B4-D63A-361E-B7983827037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1424" y="1715944"/>
            <a:ext cx="1065251" cy="144653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17125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withou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A3178C3-B79E-F83E-A0EA-1D96AA4BE6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53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3178C3-B79E-F83E-A0EA-1D96AA4BE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72805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Organigram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7B39035E-7841-2E7E-C4CE-5575425A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820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39035E-7841-2E7E-C4CE-5575425A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B075DE-A20D-F1C4-124F-F2F90F2D36A8}"/>
              </a:ext>
            </a:extLst>
          </p:cNvPr>
          <p:cNvSpPr/>
          <p:nvPr userDrawn="1"/>
        </p:nvSpPr>
        <p:spPr>
          <a:xfrm>
            <a:off x="6253928" y="2507181"/>
            <a:ext cx="434270" cy="1538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45" tIns="41045" rIns="41045" bIns="41045" rtlCol="0" anchor="ctr"/>
          <a:lstStyle/>
          <a:p>
            <a:pPr algn="ctr" defTabSz="1042507" rtl="0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3AC5140-D672-9790-F9C4-9AA64C7A0C1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28535" y="1736812"/>
            <a:ext cx="1384942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4B16F799-CE10-F8AC-A24C-781C916B856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675620" y="2816932"/>
            <a:ext cx="1384133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DA51EC1-9AEA-B300-D3D5-E1EFE132340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530242" y="2816932"/>
            <a:ext cx="1385888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318953CB-A074-63AB-E76D-78DB930E37F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766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E0D64967-635B-C75F-141F-265B41893B5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252952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2F54F0FF-DF02-D433-577A-5DE4A23898B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828240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09CB812D-A1AB-A8A2-E136-3B926A0F14F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03528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1D9BA635-FC0E-5A25-B583-57540723BBF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978816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12EEA767-AB9E-6198-D79E-822CECFE38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55410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E433945D-4224-5C11-C71A-7A0D2984E1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012939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1" name="Textplatzhalter 54">
            <a:extLst>
              <a:ext uri="{FF2B5EF4-FFF2-40B4-BE49-F238E27FC236}">
                <a16:creationId xmlns:a16="http://schemas.microsoft.com/office/drawing/2014/main" id="{BE9092A3-691A-7E9C-4089-8268A165572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54">
            <a:extLst>
              <a:ext uri="{FF2B5EF4-FFF2-40B4-BE49-F238E27FC236}">
                <a16:creationId xmlns:a16="http://schemas.microsoft.com/office/drawing/2014/main" id="{7DD1881C-57C5-F2FB-ADC3-1E2791A8DF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54">
            <a:extLst>
              <a:ext uri="{FF2B5EF4-FFF2-40B4-BE49-F238E27FC236}">
                <a16:creationId xmlns:a16="http://schemas.microsoft.com/office/drawing/2014/main" id="{42C41533-919F-0C82-59F5-5A5AF987BB2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54">
            <a:extLst>
              <a:ext uri="{FF2B5EF4-FFF2-40B4-BE49-F238E27FC236}">
                <a16:creationId xmlns:a16="http://schemas.microsoft.com/office/drawing/2014/main" id="{25D8B46E-14A7-1FFB-54D4-C26D3306A2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54">
            <a:extLst>
              <a:ext uri="{FF2B5EF4-FFF2-40B4-BE49-F238E27FC236}">
                <a16:creationId xmlns:a16="http://schemas.microsoft.com/office/drawing/2014/main" id="{5D60ECD4-5DB6-BF9B-A737-3E0C8EAF70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54">
            <a:extLst>
              <a:ext uri="{FF2B5EF4-FFF2-40B4-BE49-F238E27FC236}">
                <a16:creationId xmlns:a16="http://schemas.microsoft.com/office/drawing/2014/main" id="{377171CA-E324-DFFD-08A8-DDA7D6C2732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54">
            <a:extLst>
              <a:ext uri="{FF2B5EF4-FFF2-40B4-BE49-F238E27FC236}">
                <a16:creationId xmlns:a16="http://schemas.microsoft.com/office/drawing/2014/main" id="{C760321D-4764-0D52-7408-849453CC5F4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54">
            <a:extLst>
              <a:ext uri="{FF2B5EF4-FFF2-40B4-BE49-F238E27FC236}">
                <a16:creationId xmlns:a16="http://schemas.microsoft.com/office/drawing/2014/main" id="{1E51CBB4-08FA-4B82-595E-E1EDCC0350A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54">
            <a:extLst>
              <a:ext uri="{FF2B5EF4-FFF2-40B4-BE49-F238E27FC236}">
                <a16:creationId xmlns:a16="http://schemas.microsoft.com/office/drawing/2014/main" id="{4FC6CD10-77BF-A33A-DE87-52F36F200BC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54">
            <a:extLst>
              <a:ext uri="{FF2B5EF4-FFF2-40B4-BE49-F238E27FC236}">
                <a16:creationId xmlns:a16="http://schemas.microsoft.com/office/drawing/2014/main" id="{BF607F8D-2023-8B6B-AFEB-4498034B9E3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85413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269499-EC57-C2F8-68D0-3D983444E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61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269499-EC57-C2F8-68D0-3D983444E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E1FF625C-3DB1-2B97-43D9-FDA9EF2EC7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22775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7017403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0260A70-90B9-4C43-2EEB-B7D5691E3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63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260A70-90B9-4C43-2EEB-B7D5691E36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Sustainabi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3" name="Grafik 12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FBBBF69C-B03B-ED10-DA10-BBEC886D2BA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22120" y="423699"/>
            <a:ext cx="1928188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325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D5987AC-84AD-5078-1E54-9C65028CD8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3507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5987AC-84AD-5078-1E54-9C65028CD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Technolog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3" name="Grafik 12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71FA17D0-64AD-CD40-00F2-3D4FD5565F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22120" y="423699"/>
            <a:ext cx="1928188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716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9C7AD5E-5938-D160-8CEF-50F4A7BD7B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7591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7AD5E-5938-D160-8CEF-50F4A7BD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Know-How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3" name="Grafik 12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79C6CD5F-C3B8-A923-73A7-8E50A3BC514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22120" y="423699"/>
            <a:ext cx="1928188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10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- dark 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8D20C78-D314-F5B6-0F50-C76F7E277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0708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D20C78-D314-F5B6-0F50-C76F7E277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Qua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3" name="Grafik 12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2B0460EA-790E-768B-4E69-BC6159345AE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22120" y="423699"/>
            <a:ext cx="1928188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725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uilding Technolo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2ECBDF-9C1E-F68D-C395-A924409EE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36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2ECBDF-9C1E-F68D-C395-A92440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97" b="6570"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0" name="Grafik 9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50FCA69D-96B7-B090-3295-364413CA4DE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22120" y="423699"/>
            <a:ext cx="1928188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169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Ener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BE3BFB2-7237-1537-2C9B-087E41219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851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E3BFB2-7237-1537-2C9B-087E41219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10" name="Grafik 9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3A7E0AD0-FD0E-DE35-9922-94142E7017E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22120" y="423699"/>
            <a:ext cx="1928188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510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FC90A1A-9AC8-DD32-CCDE-90DB99B4E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224365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2" imgW="424" imgH="424" progId="TCLayout.ActiveDocument.1">
                  <p:embed/>
                </p:oleObj>
              </mc:Choice>
              <mc:Fallback>
                <p:oleObj name="think-cell Folie" r:id="rId42" imgW="424" imgH="42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C90A1A-9AC8-DD32-CCDE-90DB99B4E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Grafik 18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D8A8DB13-CB46-CBB9-0861-1D6F3FEC47E9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4054" b="10158"/>
          <a:stretch/>
        </p:blipFill>
        <p:spPr>
          <a:xfrm>
            <a:off x="486038" y="6231927"/>
            <a:ext cx="1148080" cy="625900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CCD37A0-5F39-367B-E2C8-BF8F93B83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Headline</a:t>
            </a:r>
            <a:endParaRPr lang="en-GB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3F96438-3A0A-D68A-7C7C-F5B84F718C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800" y="1636713"/>
            <a:ext cx="11069666" cy="4421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C6A98EE-342D-18E3-B7DA-23574A5F38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3950" y="6370854"/>
            <a:ext cx="5273674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  |  Author  |  Date  |</a:t>
            </a:r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81A351-EF2D-D32E-C62D-AF5940984B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729" y="6370854"/>
            <a:ext cx="222647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2F008BE7-C36F-4214-882A-8BAE26BC674C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12146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9" r:id="rId2"/>
    <p:sldLayoutId id="214748367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76" r:id="rId14"/>
    <p:sldLayoutId id="2147483660" r:id="rId15"/>
    <p:sldLayoutId id="2147483661" r:id="rId16"/>
    <p:sldLayoutId id="2147483658" r:id="rId17"/>
    <p:sldLayoutId id="2147483698" r:id="rId18"/>
    <p:sldLayoutId id="2147483653" r:id="rId19"/>
    <p:sldLayoutId id="2147483654" r:id="rId20"/>
    <p:sldLayoutId id="2147483657" r:id="rId21"/>
    <p:sldLayoutId id="2147483662" r:id="rId22"/>
    <p:sldLayoutId id="2147483678" r:id="rId23"/>
    <p:sldLayoutId id="2147483674" r:id="rId24"/>
    <p:sldLayoutId id="2147483663" r:id="rId25"/>
    <p:sldLayoutId id="2147483664" r:id="rId26"/>
    <p:sldLayoutId id="2147483665" r:id="rId27"/>
    <p:sldLayoutId id="2147483666" r:id="rId28"/>
    <p:sldLayoutId id="2147483667" r:id="rId29"/>
    <p:sldLayoutId id="2147483669" r:id="rId30"/>
    <p:sldLayoutId id="2147483701" r:id="rId31"/>
    <p:sldLayoutId id="2147483702" r:id="rId32"/>
    <p:sldLayoutId id="2147483705" r:id="rId33"/>
    <p:sldLayoutId id="2147483703" r:id="rId34"/>
    <p:sldLayoutId id="2147483670" r:id="rId35"/>
    <p:sldLayoutId id="2147483708" r:id="rId36"/>
    <p:sldLayoutId id="2147483675" r:id="rId37"/>
    <p:sldLayoutId id="2147483707" r:id="rId38"/>
    <p:sldLayoutId id="2147483673" r:id="rId3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9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048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orient="horz" pos="1031" userDrawn="1">
          <p15:clr>
            <a:srgbClr val="000000"/>
          </p15:clr>
        </p15:guide>
        <p15:guide id="9" pos="348" userDrawn="1">
          <p15:clr>
            <a:srgbClr val="000000"/>
          </p15:clr>
        </p15:guide>
        <p15:guide id="10" orient="horz" pos="3816" userDrawn="1">
          <p15:clr>
            <a:srgbClr val="000000"/>
          </p15:clr>
        </p15:guide>
        <p15:guide id="11" pos="7329" userDrawn="1">
          <p15:clr>
            <a:srgbClr val="000000"/>
          </p15:clr>
        </p15:guide>
        <p15:guide id="12" orient="horz" pos="890" userDrawn="1">
          <p15:clr>
            <a:srgbClr val="000000"/>
          </p15:clr>
        </p15:guide>
        <p15:guide id="13" orient="horz" pos="278" userDrawn="1">
          <p15:clr>
            <a:srgbClr val="000000"/>
          </p15:clr>
        </p15:guide>
        <p15:guide id="14" pos="3768" userDrawn="1">
          <p15:clr>
            <a:srgbClr val="000000"/>
          </p15:clr>
        </p15:guide>
        <p15:guide id="16" pos="1395" userDrawn="1">
          <p15:clr>
            <a:srgbClr val="A4A3A4"/>
          </p15:clr>
        </p15:guide>
        <p15:guide id="17" pos="1535" userDrawn="1">
          <p15:clr>
            <a:srgbClr val="A4A3A4"/>
          </p15:clr>
        </p15:guide>
        <p15:guide id="18" pos="2581" userDrawn="1">
          <p15:clr>
            <a:srgbClr val="A4A3A4"/>
          </p15:clr>
        </p15:guide>
        <p15:guide id="19" pos="2722" userDrawn="1">
          <p15:clr>
            <a:srgbClr val="A4A3A4"/>
          </p15:clr>
        </p15:guide>
        <p15:guide id="20" pos="4955" userDrawn="1">
          <p15:clr>
            <a:srgbClr val="A4A3A4"/>
          </p15:clr>
        </p15:guide>
        <p15:guide id="21" pos="5096" userDrawn="1">
          <p15:clr>
            <a:srgbClr val="A4A3A4"/>
          </p15:clr>
        </p15:guide>
        <p15:guide id="22" pos="6142" userDrawn="1">
          <p15:clr>
            <a:srgbClr val="A4A3A4"/>
          </p15:clr>
        </p15:guide>
        <p15:guide id="23" pos="6283" userDrawn="1">
          <p15:clr>
            <a:srgbClr val="A4A3A4"/>
          </p15:clr>
        </p15:guide>
        <p15:guide id="24" pos="3909" userDrawn="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38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2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6.bin"/><Relationship Id="rId9" Type="http://schemas.openxmlformats.org/officeDocument/2006/relationships/diagramColors" Target="../diagrams/colors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39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3.x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59.bin"/><Relationship Id="rId9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40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4.xml"/><Relationship Id="rId6" Type="http://schemas.openxmlformats.org/officeDocument/2006/relationships/diagramData" Target="../diagrams/data3.xml"/><Relationship Id="rId5" Type="http://schemas.openxmlformats.org/officeDocument/2006/relationships/image" Target="../media/image1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60.bin"/><Relationship Id="rId9" Type="http://schemas.openxmlformats.org/officeDocument/2006/relationships/diagramColors" Target="../diagrams/colors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notesSlide" Target="../notesSlides/notesSlide42.xml"/><Relationship Id="rId7" Type="http://schemas.openxmlformats.org/officeDocument/2006/relationships/diagramLayout" Target="../diagrams/layout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6.xml"/><Relationship Id="rId6" Type="http://schemas.openxmlformats.org/officeDocument/2006/relationships/diagramData" Target="../diagrams/data4.xml"/><Relationship Id="rId5" Type="http://schemas.openxmlformats.org/officeDocument/2006/relationships/image" Target="../media/image1.emf"/><Relationship Id="rId10" Type="http://schemas.microsoft.com/office/2007/relationships/diagramDrawing" Target="../diagrams/drawing4.xml"/><Relationship Id="rId4" Type="http://schemas.openxmlformats.org/officeDocument/2006/relationships/oleObject" Target="../embeddings/oleObject62.bin"/><Relationship Id="rId9" Type="http://schemas.openxmlformats.org/officeDocument/2006/relationships/diagramColors" Target="../diagrams/colors4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notesSlide" Target="../notesSlides/notesSlide43.xml"/><Relationship Id="rId7" Type="http://schemas.openxmlformats.org/officeDocument/2006/relationships/diagramLayout" Target="../diagrams/layout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7.xml"/><Relationship Id="rId6" Type="http://schemas.openxmlformats.org/officeDocument/2006/relationships/diagramData" Target="../diagrams/data5.xml"/><Relationship Id="rId5" Type="http://schemas.openxmlformats.org/officeDocument/2006/relationships/image" Target="../media/image1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63.bin"/><Relationship Id="rId9" Type="http://schemas.openxmlformats.org/officeDocument/2006/relationships/diagramColors" Target="../diagrams/colors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4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notesSlide" Target="../notesSlides/notesSlide49.xml"/><Relationship Id="rId7" Type="http://schemas.openxmlformats.org/officeDocument/2006/relationships/diagramLayout" Target="../diagrams/layout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7.xml"/><Relationship Id="rId6" Type="http://schemas.openxmlformats.org/officeDocument/2006/relationships/diagramData" Target="../diagrams/data6.xml"/><Relationship Id="rId5" Type="http://schemas.openxmlformats.org/officeDocument/2006/relationships/image" Target="../media/image1.emf"/><Relationship Id="rId10" Type="http://schemas.microsoft.com/office/2007/relationships/diagramDrawing" Target="../diagrams/drawing6.xml"/><Relationship Id="rId4" Type="http://schemas.openxmlformats.org/officeDocument/2006/relationships/oleObject" Target="../embeddings/oleObject56.bin"/><Relationship Id="rId9" Type="http://schemas.openxmlformats.org/officeDocument/2006/relationships/diagramColors" Target="../diagrams/colors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5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4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5.x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6.x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7.xml"/><Relationship Id="rId6" Type="http://schemas.openxmlformats.org/officeDocument/2006/relationships/chart" Target="../charts/char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chart" Target="../charts/chart5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5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0.xml"/><Relationship Id="rId6" Type="http://schemas.openxmlformats.org/officeDocument/2006/relationships/chart" Target="../charts/chart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1.xml"/><Relationship Id="rId6" Type="http://schemas.openxmlformats.org/officeDocument/2006/relationships/chart" Target="../charts/chart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2.xml"/><Relationship Id="rId6" Type="http://schemas.openxmlformats.org/officeDocument/2006/relationships/chart" Target="../charts/chart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3.xml"/><Relationship Id="rId6" Type="http://schemas.openxmlformats.org/officeDocument/2006/relationships/chart" Target="../charts/chart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4.xml"/><Relationship Id="rId6" Type="http://schemas.openxmlformats.org/officeDocument/2006/relationships/chart" Target="../charts/chart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5.xml"/><Relationship Id="rId6" Type="http://schemas.openxmlformats.org/officeDocument/2006/relationships/chart" Target="../charts/chart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s/_rels/slide67.xml.rels><?xml version="1.0" encoding="UTF-8" standalone="yes"?>
<Relationships xmlns="http://schemas.openxmlformats.org/package/2006/relationships"><Relationship Id="rId26" Type="http://schemas.openxmlformats.org/officeDocument/2006/relationships/tags" Target="../tags/tag142.xml"/><Relationship Id="rId21" Type="http://schemas.openxmlformats.org/officeDocument/2006/relationships/tags" Target="../tags/tag137.xml"/><Relationship Id="rId42" Type="http://schemas.openxmlformats.org/officeDocument/2006/relationships/tags" Target="../tags/tag158.xml"/><Relationship Id="rId47" Type="http://schemas.openxmlformats.org/officeDocument/2006/relationships/tags" Target="../tags/tag163.xml"/><Relationship Id="rId63" Type="http://schemas.openxmlformats.org/officeDocument/2006/relationships/tags" Target="../tags/tag179.xml"/><Relationship Id="rId68" Type="http://schemas.openxmlformats.org/officeDocument/2006/relationships/tags" Target="../tags/tag184.xml"/><Relationship Id="rId84" Type="http://schemas.openxmlformats.org/officeDocument/2006/relationships/tags" Target="../tags/tag200.xml"/><Relationship Id="rId89" Type="http://schemas.openxmlformats.org/officeDocument/2006/relationships/tags" Target="../tags/tag205.xml"/><Relationship Id="rId16" Type="http://schemas.openxmlformats.org/officeDocument/2006/relationships/tags" Target="../tags/tag132.xml"/><Relationship Id="rId11" Type="http://schemas.openxmlformats.org/officeDocument/2006/relationships/tags" Target="../tags/tag127.xml"/><Relationship Id="rId32" Type="http://schemas.openxmlformats.org/officeDocument/2006/relationships/tags" Target="../tags/tag148.xml"/><Relationship Id="rId37" Type="http://schemas.openxmlformats.org/officeDocument/2006/relationships/tags" Target="../tags/tag153.xml"/><Relationship Id="rId53" Type="http://schemas.openxmlformats.org/officeDocument/2006/relationships/tags" Target="../tags/tag169.xml"/><Relationship Id="rId58" Type="http://schemas.openxmlformats.org/officeDocument/2006/relationships/tags" Target="../tags/tag174.xml"/><Relationship Id="rId74" Type="http://schemas.openxmlformats.org/officeDocument/2006/relationships/tags" Target="../tags/tag190.xml"/><Relationship Id="rId79" Type="http://schemas.openxmlformats.org/officeDocument/2006/relationships/tags" Target="../tags/tag195.xml"/><Relationship Id="rId5" Type="http://schemas.openxmlformats.org/officeDocument/2006/relationships/tags" Target="../tags/tag121.xml"/><Relationship Id="rId90" Type="http://schemas.openxmlformats.org/officeDocument/2006/relationships/tags" Target="../tags/tag206.xml"/><Relationship Id="rId95" Type="http://schemas.openxmlformats.org/officeDocument/2006/relationships/tags" Target="../tags/tag211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43" Type="http://schemas.openxmlformats.org/officeDocument/2006/relationships/tags" Target="../tags/tag159.xml"/><Relationship Id="rId48" Type="http://schemas.openxmlformats.org/officeDocument/2006/relationships/tags" Target="../tags/tag164.xml"/><Relationship Id="rId64" Type="http://schemas.openxmlformats.org/officeDocument/2006/relationships/tags" Target="../tags/tag180.xml"/><Relationship Id="rId69" Type="http://schemas.openxmlformats.org/officeDocument/2006/relationships/tags" Target="../tags/tag185.xml"/><Relationship Id="rId80" Type="http://schemas.openxmlformats.org/officeDocument/2006/relationships/tags" Target="../tags/tag196.xml"/><Relationship Id="rId85" Type="http://schemas.openxmlformats.org/officeDocument/2006/relationships/tags" Target="../tags/tag201.xml"/><Relationship Id="rId3" Type="http://schemas.openxmlformats.org/officeDocument/2006/relationships/tags" Target="../tags/tag119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5" Type="http://schemas.openxmlformats.org/officeDocument/2006/relationships/tags" Target="../tags/tag141.xml"/><Relationship Id="rId33" Type="http://schemas.openxmlformats.org/officeDocument/2006/relationships/tags" Target="../tags/tag149.xml"/><Relationship Id="rId38" Type="http://schemas.openxmlformats.org/officeDocument/2006/relationships/tags" Target="../tags/tag154.xml"/><Relationship Id="rId46" Type="http://schemas.openxmlformats.org/officeDocument/2006/relationships/tags" Target="../tags/tag162.xml"/><Relationship Id="rId59" Type="http://schemas.openxmlformats.org/officeDocument/2006/relationships/tags" Target="../tags/tag175.xml"/><Relationship Id="rId67" Type="http://schemas.openxmlformats.org/officeDocument/2006/relationships/tags" Target="../tags/tag183.xml"/><Relationship Id="rId20" Type="http://schemas.openxmlformats.org/officeDocument/2006/relationships/tags" Target="../tags/tag136.xml"/><Relationship Id="rId41" Type="http://schemas.openxmlformats.org/officeDocument/2006/relationships/tags" Target="../tags/tag157.xml"/><Relationship Id="rId54" Type="http://schemas.openxmlformats.org/officeDocument/2006/relationships/tags" Target="../tags/tag170.xml"/><Relationship Id="rId62" Type="http://schemas.openxmlformats.org/officeDocument/2006/relationships/tags" Target="../tags/tag178.xml"/><Relationship Id="rId70" Type="http://schemas.openxmlformats.org/officeDocument/2006/relationships/tags" Target="../tags/tag186.xml"/><Relationship Id="rId75" Type="http://schemas.openxmlformats.org/officeDocument/2006/relationships/tags" Target="../tags/tag191.xml"/><Relationship Id="rId83" Type="http://schemas.openxmlformats.org/officeDocument/2006/relationships/tags" Target="../tags/tag199.xml"/><Relationship Id="rId88" Type="http://schemas.openxmlformats.org/officeDocument/2006/relationships/tags" Target="../tags/tag204.xml"/><Relationship Id="rId91" Type="http://schemas.openxmlformats.org/officeDocument/2006/relationships/tags" Target="../tags/tag207.xml"/><Relationship Id="rId96" Type="http://schemas.openxmlformats.org/officeDocument/2006/relationships/slideLayout" Target="../slideLayouts/slideLayout35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5" Type="http://schemas.openxmlformats.org/officeDocument/2006/relationships/tags" Target="../tags/tag131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tags" Target="../tags/tag152.xml"/><Relationship Id="rId49" Type="http://schemas.openxmlformats.org/officeDocument/2006/relationships/tags" Target="../tags/tag165.xml"/><Relationship Id="rId57" Type="http://schemas.openxmlformats.org/officeDocument/2006/relationships/tags" Target="../tags/tag173.xml"/><Relationship Id="rId10" Type="http://schemas.openxmlformats.org/officeDocument/2006/relationships/tags" Target="../tags/tag126.xml"/><Relationship Id="rId31" Type="http://schemas.openxmlformats.org/officeDocument/2006/relationships/tags" Target="../tags/tag147.xml"/><Relationship Id="rId44" Type="http://schemas.openxmlformats.org/officeDocument/2006/relationships/tags" Target="../tags/tag160.xml"/><Relationship Id="rId52" Type="http://schemas.openxmlformats.org/officeDocument/2006/relationships/tags" Target="../tags/tag168.xml"/><Relationship Id="rId60" Type="http://schemas.openxmlformats.org/officeDocument/2006/relationships/tags" Target="../tags/tag176.xml"/><Relationship Id="rId65" Type="http://schemas.openxmlformats.org/officeDocument/2006/relationships/tags" Target="../tags/tag181.xml"/><Relationship Id="rId73" Type="http://schemas.openxmlformats.org/officeDocument/2006/relationships/tags" Target="../tags/tag189.xml"/><Relationship Id="rId78" Type="http://schemas.openxmlformats.org/officeDocument/2006/relationships/tags" Target="../tags/tag194.xml"/><Relationship Id="rId81" Type="http://schemas.openxmlformats.org/officeDocument/2006/relationships/tags" Target="../tags/tag197.xml"/><Relationship Id="rId86" Type="http://schemas.openxmlformats.org/officeDocument/2006/relationships/tags" Target="../tags/tag202.xml"/><Relationship Id="rId94" Type="http://schemas.openxmlformats.org/officeDocument/2006/relationships/tags" Target="../tags/tag210.xml"/><Relationship Id="rId99" Type="http://schemas.openxmlformats.org/officeDocument/2006/relationships/image" Target="../media/image17.emf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39" Type="http://schemas.openxmlformats.org/officeDocument/2006/relationships/tags" Target="../tags/tag155.xml"/><Relationship Id="rId34" Type="http://schemas.openxmlformats.org/officeDocument/2006/relationships/tags" Target="../tags/tag150.xml"/><Relationship Id="rId50" Type="http://schemas.openxmlformats.org/officeDocument/2006/relationships/tags" Target="../tags/tag166.xml"/><Relationship Id="rId55" Type="http://schemas.openxmlformats.org/officeDocument/2006/relationships/tags" Target="../tags/tag171.xml"/><Relationship Id="rId76" Type="http://schemas.openxmlformats.org/officeDocument/2006/relationships/tags" Target="../tags/tag192.xml"/><Relationship Id="rId97" Type="http://schemas.openxmlformats.org/officeDocument/2006/relationships/notesSlide" Target="../notesSlides/notesSlide67.xml"/><Relationship Id="rId7" Type="http://schemas.openxmlformats.org/officeDocument/2006/relationships/tags" Target="../tags/tag123.xml"/><Relationship Id="rId71" Type="http://schemas.openxmlformats.org/officeDocument/2006/relationships/tags" Target="../tags/tag187.xml"/><Relationship Id="rId92" Type="http://schemas.openxmlformats.org/officeDocument/2006/relationships/tags" Target="../tags/tag208.xml"/><Relationship Id="rId2" Type="http://schemas.openxmlformats.org/officeDocument/2006/relationships/tags" Target="../tags/tag118.xml"/><Relationship Id="rId29" Type="http://schemas.openxmlformats.org/officeDocument/2006/relationships/tags" Target="../tags/tag145.xml"/><Relationship Id="rId24" Type="http://schemas.openxmlformats.org/officeDocument/2006/relationships/tags" Target="../tags/tag140.xml"/><Relationship Id="rId40" Type="http://schemas.openxmlformats.org/officeDocument/2006/relationships/tags" Target="../tags/tag156.xml"/><Relationship Id="rId45" Type="http://schemas.openxmlformats.org/officeDocument/2006/relationships/tags" Target="../tags/tag161.xml"/><Relationship Id="rId66" Type="http://schemas.openxmlformats.org/officeDocument/2006/relationships/tags" Target="../tags/tag182.xml"/><Relationship Id="rId87" Type="http://schemas.openxmlformats.org/officeDocument/2006/relationships/tags" Target="../tags/tag203.xml"/><Relationship Id="rId61" Type="http://schemas.openxmlformats.org/officeDocument/2006/relationships/tags" Target="../tags/tag177.xml"/><Relationship Id="rId82" Type="http://schemas.openxmlformats.org/officeDocument/2006/relationships/tags" Target="../tags/tag198.xml"/><Relationship Id="rId19" Type="http://schemas.openxmlformats.org/officeDocument/2006/relationships/tags" Target="../tags/tag135.xml"/><Relationship Id="rId14" Type="http://schemas.openxmlformats.org/officeDocument/2006/relationships/tags" Target="../tags/tag130.xml"/><Relationship Id="rId30" Type="http://schemas.openxmlformats.org/officeDocument/2006/relationships/tags" Target="../tags/tag146.xml"/><Relationship Id="rId35" Type="http://schemas.openxmlformats.org/officeDocument/2006/relationships/tags" Target="../tags/tag151.xml"/><Relationship Id="rId56" Type="http://schemas.openxmlformats.org/officeDocument/2006/relationships/tags" Target="../tags/tag172.xml"/><Relationship Id="rId77" Type="http://schemas.openxmlformats.org/officeDocument/2006/relationships/tags" Target="../tags/tag193.xml"/><Relationship Id="rId8" Type="http://schemas.openxmlformats.org/officeDocument/2006/relationships/tags" Target="../tags/tag124.xml"/><Relationship Id="rId51" Type="http://schemas.openxmlformats.org/officeDocument/2006/relationships/tags" Target="../tags/tag167.xml"/><Relationship Id="rId72" Type="http://schemas.openxmlformats.org/officeDocument/2006/relationships/tags" Target="../tags/tag188.xml"/><Relationship Id="rId93" Type="http://schemas.openxmlformats.org/officeDocument/2006/relationships/tags" Target="../tags/tag209.xml"/><Relationship Id="rId98" Type="http://schemas.openxmlformats.org/officeDocument/2006/relationships/oleObject" Target="../embeddings/oleObject83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3.xml"/><Relationship Id="rId6" Type="http://schemas.openxmlformats.org/officeDocument/2006/relationships/hyperlink" Target="mailto:info@ksb.com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18" Type="http://schemas.openxmlformats.org/officeDocument/2006/relationships/tags" Target="../tags/tag233.xml"/><Relationship Id="rId26" Type="http://schemas.openxmlformats.org/officeDocument/2006/relationships/image" Target="../media/image20.png"/><Relationship Id="rId3" Type="http://schemas.openxmlformats.org/officeDocument/2006/relationships/tags" Target="../tags/tag218.xml"/><Relationship Id="rId21" Type="http://schemas.openxmlformats.org/officeDocument/2006/relationships/notesSlide" Target="../notesSlides/notesSlide72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tags" Target="../tags/tag232.xml"/><Relationship Id="rId25" Type="http://schemas.openxmlformats.org/officeDocument/2006/relationships/image" Target="../media/image19.png"/><Relationship Id="rId2" Type="http://schemas.openxmlformats.org/officeDocument/2006/relationships/tags" Target="../tags/tag217.xml"/><Relationship Id="rId16" Type="http://schemas.openxmlformats.org/officeDocument/2006/relationships/tags" Target="../tags/tag231.xml"/><Relationship Id="rId20" Type="http://schemas.openxmlformats.org/officeDocument/2006/relationships/slideLayout" Target="../slideLayouts/slideLayout17.xml"/><Relationship Id="rId29" Type="http://schemas.openxmlformats.org/officeDocument/2006/relationships/image" Target="../media/image23.wmf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24" Type="http://schemas.openxmlformats.org/officeDocument/2006/relationships/image" Target="../media/image18.png"/><Relationship Id="rId5" Type="http://schemas.openxmlformats.org/officeDocument/2006/relationships/tags" Target="../tags/tag220.xml"/><Relationship Id="rId15" Type="http://schemas.openxmlformats.org/officeDocument/2006/relationships/tags" Target="../tags/tag230.xml"/><Relationship Id="rId23" Type="http://schemas.openxmlformats.org/officeDocument/2006/relationships/image" Target="../media/image1.emf"/><Relationship Id="rId28" Type="http://schemas.openxmlformats.org/officeDocument/2006/relationships/image" Target="../media/image22.jpeg"/><Relationship Id="rId10" Type="http://schemas.openxmlformats.org/officeDocument/2006/relationships/tags" Target="../tags/tag225.xml"/><Relationship Id="rId19" Type="http://schemas.openxmlformats.org/officeDocument/2006/relationships/tags" Target="../tags/tag234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Relationship Id="rId22" Type="http://schemas.openxmlformats.org/officeDocument/2006/relationships/oleObject" Target="../embeddings/oleObject86.bin"/><Relationship Id="rId27" Type="http://schemas.openxmlformats.org/officeDocument/2006/relationships/image" Target="../media/image21.jpeg"/><Relationship Id="rId30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77919E-0A27-D55E-036F-A30E42278E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118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77919E-0A27-D55E-036F-A30E42278E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ldplatzhalter 1">
            <a:extLst>
              <a:ext uri="{FF2B5EF4-FFF2-40B4-BE49-F238E27FC236}">
                <a16:creationId xmlns:a16="http://schemas.microsoft.com/office/drawing/2014/main" id="{8A262D3F-400D-F1C2-03F5-EEAFB9144A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83AB0B3-E5DB-081F-C258-2DD1AC743A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7BFE4FB6-DDCE-D13E-C158-159BEDF03D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CFA936F-FF10-DB6A-8307-7344AB9858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825778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5B33E20-D629-AA00-2B2B-6670896A82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53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33E20-D629-AA00-2B2B-6670896A8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C31C575-F250-CC75-CFBA-D8A6CAD621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52118EA-7D16-DAAA-71F4-8DF65DB627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164B8DC-A859-7C09-F72C-2AB1C041D4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77378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52A6B2-56EE-C731-330E-D9E385C1B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8488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52A6B2-56EE-C731-330E-D9E385C1B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BBED2AF9-D5A3-59F5-0AF3-70374A2071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E52DE60-8AD6-F7A7-E46B-550BC4AF0CC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9EF7145-8149-1B79-B859-3F9EBBCE14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197555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015F2C-3BB1-C5E1-C448-EC1D31D7C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6756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015F2C-3BB1-C5E1-C448-EC1D31D7C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C57356C-185A-3733-C0AF-B03EBC27B2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5A9B4AF5-2808-3320-9B2A-33D23CA2DB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D1E7459-D9FC-2F5D-68AD-EF4CDF3262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1634630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828BA8F-398C-3DA6-6D2B-7D58AA630D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8121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28BA8F-398C-3DA6-6D2B-7D58AA630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075E0CA-B234-ADD7-A575-9A6D457616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4509D683-E23D-77C9-7149-34578288246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E88AB24-B02F-1648-2412-5CE3E4F706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698995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A4DBB5D-A056-2105-ED68-F5E4A074E4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256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4DBB5D-A056-2105-ED68-F5E4A074E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0F5BE94-93C9-3A77-2260-F44661DF2C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F134D03-419F-AB5D-2FA5-C76B6A54D2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71607" y="2023102"/>
            <a:ext cx="4814800" cy="1508125"/>
          </a:xfrm>
        </p:spPr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F0893A6-05EA-5042-7B62-E52282094B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71606" y="3586850"/>
            <a:ext cx="4816445" cy="1655762"/>
          </a:xfrm>
        </p:spPr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1820730-A83F-1DC1-4B5F-C36C309026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71606" y="5819364"/>
            <a:ext cx="4821207" cy="277649"/>
          </a:xfrm>
        </p:spPr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BA69607-F6EC-A8A3-3B47-97A5D77F06FA}"/>
              </a:ext>
            </a:extLst>
          </p:cNvPr>
          <p:cNvSpPr/>
          <p:nvPr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22665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BB19F8-17A8-2E7C-A820-A8BE323E5F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098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BB19F8-17A8-2E7C-A820-A8BE323E5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C9A004-A3F1-6623-1043-65C039681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57734D4-9CCF-8466-BD0B-07967CB189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306888"/>
          </a:xfrm>
        </p:spPr>
        <p:txBody>
          <a:bodyPr/>
          <a:lstStyle/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1</a:t>
            </a:r>
          </a:p>
          <a:p>
            <a:pPr lvl="1"/>
            <a:r>
              <a:rPr lang="en-GB" dirty="0"/>
              <a:t>Level 2.2</a:t>
            </a:r>
          </a:p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3</a:t>
            </a: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CF01F303-7F35-8677-4BE6-F2D00AE83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8EBEC4C8-BFD7-5C1A-C7D9-B0DCF596C4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93398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0A5B6FE-D4E7-638A-6E27-BE4EDDE86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522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A5B6FE-D4E7-638A-6E27-BE4EDDE86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169BEAF-0A50-38B5-D6F5-E0A83D1B6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3CCBD5-375C-C936-3E25-9BF01A8424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BFBA41-597D-FCCB-6B7C-FD0B405F03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6B96AF5-4B60-4FE0-4B70-13AD44FE8C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  <a:p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920E271-3F6F-9140-D931-22242F0B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56079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6096D29-0218-5D5B-326E-ADEF48C450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1848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096D29-0218-5D5B-326E-ADEF48C45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7E38E0-5804-E3F1-4DC1-6B383597C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34CD94A-5B19-2555-D078-D87FFE590F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BDEF51-A073-04B8-6865-438D019FBE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8D894A8-A633-5A30-D04D-D0058DCD12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CE39CB2-9822-7D93-209E-9C8601C19B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8164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CBC321-1CC9-2D73-BEBE-8484BD98C2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1833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BC321-1CC9-2D73-BEBE-8484BD98C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7D2FF65-E053-EB38-D6B5-6DABF0BC6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62427DF-D2E4-D13D-67CF-5D3AD8137D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773CE96-8200-2618-4ECD-B060FE641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6E842C-6ACB-BDE0-4950-DDF25A4AEF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508B751-647E-CA7B-8AE7-A8CEF9D3C5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423511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2BD4E2B-2420-8584-4269-837D7B2E1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6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BD4E2B-2420-8584-4269-837D7B2E1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52482A7-CFAD-551F-691B-925BF1B25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460933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3D918E54-BE7F-B3C3-0FA5-5484FA6F6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918E54-BE7F-B3C3-0FA5-5484FA6F6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FE2A765-B1D5-D846-1599-9E7D8705F35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D5D77FD-00D2-BB48-E491-B8FC118DD6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B4562219-C459-1763-3209-70514DF532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5E972FB-FBE6-4E26-BA30-A2A4E7FFD3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899982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A61C0F-EE53-5325-43FC-30CE2246F7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484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A61C0F-EE53-5325-43FC-30CE2246F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CD78DC-2C59-CFCB-C3B6-442C0904CB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C4554D1-9934-523B-A874-6E4398FCCD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58075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8054646-4D4E-13AF-7409-9C1B4B525A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2284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054646-4D4E-13AF-7409-9C1B4B525A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20A01EB7-F630-F6DA-F90C-3A8D412F73A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403428-7842-B32A-FAFF-C406885DCB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432EF0-E5C7-D6E2-36D5-B2FC47536D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0380021-BB06-7D35-2E4B-612320018B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683379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1F0D65C-0BF5-B7D7-8EE6-2B15404A8D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2634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F0D65C-0BF5-B7D7-8EE6-2B15404A8D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8" y="1636713"/>
            <a:ext cx="5440390" cy="4421187"/>
          </a:xfrm>
        </p:spPr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E450C05-84A6-9028-8DB9-388BE2D190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E6895D9-2209-8D04-DB30-88CD79FCE7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E34CAA-4642-F6F2-C22E-A0F8594AE2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27605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7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1141257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0482" name="Object 7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414E6B4-E737-4400-A2C8-B06236B8A36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83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0484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0485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94DDC8-0BB9-4DD8-85BC-0D0259DA1E3B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20486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0AB987C-2395-4F20-8FF1-2EF786A6A7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0487" name="Rectangle 4"/>
          <p:cNvSpPr>
            <a:spLocks noChangeArrowheads="1"/>
          </p:cNvSpPr>
          <p:nvPr/>
        </p:nvSpPr>
        <p:spPr bwMode="auto">
          <a:xfrm>
            <a:off x="552450" y="5361060"/>
            <a:ext cx="11082339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</p:cSld>
  <p:clrMapOvr>
    <a:masterClrMapping/>
  </p:clrMapOvr>
  <p:transition spd="med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9414B8-09EA-4C8B-D462-B5E169666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88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9414B8-09EA-4C8B-D462-B5E169666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F18D9F3-217D-0F42-F7D5-9F240E5281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6DC803CD-5260-69EE-7881-963458AB2F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597" y="5361060"/>
            <a:ext cx="11079191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39963157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479A18-FB49-B0A6-B4DA-8F7E824E5B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780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479A18-FB49-B0A6-B4DA-8F7E824E5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BB2015E-45A6-3BB8-2C12-38D962337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5434014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662B9B-5FEB-0F8D-B9D0-6E88C1DDF4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5434014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6AF139B-0534-FDC4-2435-46576416161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DF1DC99-151D-75FB-AAFB-A8697B763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FA28E4-369E-D5DA-604E-653C527FDB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CA8061-9620-0E27-02E5-83FE24E39E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3791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698F7E1-0709-31CA-1E7E-59AABCF49E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726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98F7E1-0709-31CA-1E7E-59AABCF49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B4B984-A5DD-562B-07AA-29FF0CC7B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AAF611-23E0-654A-0F1B-7EFA8B0AC6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CDDA72-E0F0-5EC7-F36D-A7C637DDC0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477D12-0E67-42A2-CF9F-4BEA6AEFD5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222433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02FFBF99-4896-C7B8-1F7B-5F6AE2A0B1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58377F6-AD13-4DBD-C090-1A8A7701BB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5002" y="5859145"/>
            <a:ext cx="3539788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41ED6C9-BB9A-BD97-10AB-20EC8A2AAE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105360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0EE2ABB-33BB-9CFD-068B-C24D977717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925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EE2ABB-33BB-9CFD-068B-C24D97771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3C91E8-6D43-33DB-7CF8-D2C0D8430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3543301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73F1E5-07ED-F859-3F2D-E92ED7B143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3543301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2B780F-129F-4DDE-961C-F6A8B46DCE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0B391-71AD-C8E8-3616-D41B43AFAF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A61F15-875A-FFE9-9BD1-DC07DAB131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030569-2945-77C1-D80D-246D1CDB88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48963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A5A191F-4EC2-77C9-141E-326498FF40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75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5A191F-4EC2-77C9-141E-326498FF4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3DD33FF-8849-3660-4E22-515AAC2457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521060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24577D0-73B0-4399-DBCA-CC14731463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4700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4577D0-73B0-4399-DBCA-CC14731463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4">
            <a:extLst>
              <a:ext uri="{FF2B5EF4-FFF2-40B4-BE49-F238E27FC236}">
                <a16:creationId xmlns:a16="http://schemas.microsoft.com/office/drawing/2014/main" id="{F391337F-7C32-D91B-97F6-7382A7072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56CDF8-61D3-9745-0515-045430742A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D1E6E6-5D52-5F36-A79A-9BA15B8797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3C0BD31-BC53-FEA8-1DA3-63BCB5B1CC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89E701D1-856B-FB31-B14E-1AA67126AD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E102E14C-42F7-470C-35D3-169E9D4BB65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F4482B6-7EF8-40D3-F3A7-F4650C61073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627B9CFB-E71B-A4D0-FCA6-73E11BC1D79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50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A460136-D028-7DDD-31A0-F8C87FFD58E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63422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EC5A3C7-FFBA-CA54-9564-72D45BDE7E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515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C5A3C7-FFBA-CA54-9564-72D45BDE7E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829EF877-0EEA-030A-2823-875EC04106A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BC0FF3F6-6DF9-7404-DBEE-1B70ED0768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7D1DF6C-33A8-0A8E-F91D-ABC1C01DE9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2075849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237A107-80EA-96EF-766B-BBABB3E6DA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335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37A107-80EA-96EF-766B-BBABB3E6DA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el 51">
            <a:extLst>
              <a:ext uri="{FF2B5EF4-FFF2-40B4-BE49-F238E27FC236}">
                <a16:creationId xmlns:a16="http://schemas.microsoft.com/office/drawing/2014/main" id="{28DD50B3-C7E6-5416-F4FD-BD99BEE69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B6AA9DF-1EB9-57DA-47E3-518B43535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5FCBA7-F9E0-E9D8-ACBB-B216D87BE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3578219C-FE49-4632-A278-780173B153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C4AD4D0B-57FC-B875-74E6-70440FF616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55" name="Textplatzhalter 54">
            <a:extLst>
              <a:ext uri="{FF2B5EF4-FFF2-40B4-BE49-F238E27FC236}">
                <a16:creationId xmlns:a16="http://schemas.microsoft.com/office/drawing/2014/main" id="{F6DB8CE0-1EE2-81EC-C32E-19D91F66C9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56" name="Textplatzhalter 55">
            <a:extLst>
              <a:ext uri="{FF2B5EF4-FFF2-40B4-BE49-F238E27FC236}">
                <a16:creationId xmlns:a16="http://schemas.microsoft.com/office/drawing/2014/main" id="{5347DCA0-22ED-EEC2-C7EE-414725B00D3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26F7F57B-D05C-5E94-0137-5450680DDE4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22BD3C2F-73CA-FD36-70E8-51AEE8E2443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F447816B-4483-4466-2953-1C10238B3A3C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F6CDE3F9-AE57-A988-D3C7-BE1BD4C08456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7E80CB3F-F9FB-D020-82BA-46C35481D2B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49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11560259-06BB-A37F-FDF7-ECB57E34EA9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97337" y="2971376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9186430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7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927806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29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C85FE71-FA9E-49D8-9668-5EE161B89C0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91" name="Titel 1"/>
          <p:cNvSpPr>
            <a:spLocks noGrp="1"/>
          </p:cNvSpPr>
          <p:nvPr>
            <p:ph type="title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2292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2293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6B9FE4FA-4E16-4F8F-A547-94DD63468791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12294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4321175" y="1636712"/>
            <a:ext cx="7313613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579CFD-9449-4544-96FD-405EC646BB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50F0057C-9F04-F478-B2A2-83D7D30C121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215F5806-4CC5-DEF4-C30F-628B1EB8A24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454F3C8B-9ABB-D49A-F399-CAB748E0C4D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32132393-4EBA-62F8-F39F-57F1F7AE2B7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 spd="med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7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857854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3314" name="Object 7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784E15E-438D-4A18-8805-CEC36CA5E4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Titel 1"/>
          <p:cNvSpPr>
            <a:spLocks noGrp="1"/>
          </p:cNvSpPr>
          <p:nvPr>
            <p:ph type="title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3318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4321175" y="1636713"/>
            <a:ext cx="7310109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C65AC6D-B2B8-8641-47A2-054EE484B094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AA27026-546B-1BAF-10B1-F27E7FBAB1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1904240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BC99B696-2B29-6FCC-3E74-1FF59848006B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A2B1F68-D935-F4EC-AB10-1DFD6BEBA43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2450" y="3883236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8678D294-0216-5881-DE51-2C4D60A4D5C3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E986354-7AF1-5478-773E-8D3D61DD659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52450" y="5872393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3316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3317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33FA7088-75A4-469D-AC93-614710DF2056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004E26A-A416-4FB9-B41D-4E2EF104E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</p:cSld>
  <p:clrMapOvr>
    <a:masterClrMapping/>
  </p:clrMapOvr>
  <p:transition spd="med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D5EC57B-7F5F-F06F-6117-5669838145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517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5EC57B-7F5F-F06F-6117-566983814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1">
            <a:extLst>
              <a:ext uri="{FF2B5EF4-FFF2-40B4-BE49-F238E27FC236}">
                <a16:creationId xmlns:a16="http://schemas.microsoft.com/office/drawing/2014/main" id="{ECDB558E-B88B-DB59-048C-ACFB09516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02F15A4-CF26-BCD4-A4FE-2D6221BE11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A09456-DC19-3838-E7D8-789DD25552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0D87E42-8E9A-0F2C-28E7-506AC8FFAE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8799" y="1636713"/>
            <a:ext cx="3536453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ACA3228-E9A5-4C8D-77B0-8F0F0C9419D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FEEE8289-13AF-D9B8-F27A-21AA0DFD44C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FC0BD309-B6A2-6E41-3406-18B6C528D84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DA154241-52E9-1FB8-EC44-3EC5F2910D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4893E8F8-60EA-24F0-5B3D-0E28481E67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FAACAE71-5736-6550-7691-C596567A098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292DE0D9-D363-5557-1805-BFE2AFE6B0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89899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C74C7BDD-8DA8-95E2-E98E-8C9E05BD33A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71463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E5EE379-D609-BE15-7A9D-ED222D22C2A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89899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D5B61628-A6CB-4A9C-BDF0-3C528064BA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971463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8B961F9-7A04-A93E-D3C7-F3FB745A6B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971463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11A4B6F7-5CA1-9758-A1F5-5ED436760E0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24724" y="5859144"/>
            <a:ext cx="3541339" cy="198756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8E512740-EE3D-DE6B-F122-8E0BB3871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89899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38518D76-91DA-884B-CDEB-2BE0B1F4F31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1BED2AB0-4390-F088-1F45-9552863460F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63500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6B5F7B-4B09-5A6B-E0B0-CAAC0042F9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5142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6B5F7B-4B09-5A6B-E0B0-CAAC0042F9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478C93-2D9E-07AD-B83D-847E9F1F4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AEDF47A-DE77-83E6-92ED-2D28C459B7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B74FF0-4115-D4A8-5386-899EB696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434529-5625-E971-E958-D01876058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2E1C202E-00E4-9B6F-87B2-1023E9C469E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F34EB23-2D17-3350-EA71-60726383111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24002" y="1636714"/>
            <a:ext cx="354205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E97535AE-97F8-0F08-B74E-5A0F68CA4AE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095901" y="1636714"/>
            <a:ext cx="353888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endParaRPr lang="en-GB" dirty="0"/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E8187376-D6CF-FCD0-CFF6-397BF3C4E52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8799" y="5859144"/>
            <a:ext cx="3535359" cy="189478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035873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44B5797-9FE3-8CD4-9EF5-34D1F9D812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451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4B5797-9FE3-8CD4-9EF5-34D1F9D81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C3241F9-E6B9-4384-C07E-698F4D177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709A07-78C5-2204-FED5-C5CBEE900B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5569B3-A95D-AA17-D22B-3E3B2141FA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A7AE5-8D44-069D-CB55-11DF8B2D7E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6413" y="1854199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5F0D4A5-D44E-C180-CD37-471B8675C4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0755" y="1854199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6B1A64D-24A3-EEFD-B749-9A85D5839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6412" y="4019790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821EBD7-0536-1DE1-FF86-398F2E9624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90754" y="4019790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78C84D7-93D6-8803-69ED-156CF472BE5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1FA83CE8-F104-D2C1-BC12-8760EB81EE4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01F92ED3-A98B-F2A4-672E-612D1F5BF7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6425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6CD0A6B-5768-550F-3068-7402841508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48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D0A6B-5768-550F-3068-7402841508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901F7EA-1CB7-4072-6AB3-FEFF08AD4CE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BE09CB1-3E90-AD94-F26F-136E1C3CF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4D05C3-39B3-6C8C-947F-8B2A334ABA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925581-1326-309D-CDBA-C6E7F1A480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90D2286-4A9A-83DF-53ED-51E0334256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DDA53C1-CA13-18F8-C0D2-86611016DF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5DFB0F3-0236-A608-639F-09B40FFF27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5804648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6877450-84AF-89CF-D518-5D10C8D2D1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97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877450-84AF-89CF-D518-5D10C8D2D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1DB6101-624D-012C-C5B1-43860C0BB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D9E9B5-E0B4-F95F-E85F-72C3BC0765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2E3C9B-35E8-F5A2-1D89-8B555EF14B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EB8367-DBAD-2412-1C5B-D87A1C989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D69F8E-54F0-C163-B813-D5ACEB9922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B084BFE-4004-696B-8672-10873B502B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8800" y="441325"/>
            <a:ext cx="3289300" cy="971550"/>
          </a:xfrm>
        </p:spPr>
        <p:txBody>
          <a:bodyPr/>
          <a:lstStyle/>
          <a:p>
            <a:r>
              <a:rPr lang="en-GB" dirty="0"/>
              <a:t>Conclus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44B2B62-3F9C-59AB-4F75-EAD65B8E51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368150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E20A0E4-6FEF-E9DD-9C3F-FC632744FA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355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20A0E4-6FEF-E9DD-9C3F-FC632744F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67F3A1-A435-024C-D569-D6C1B276F7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65CB892-B19A-3D16-ADD7-A3BDF40D22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77BEB00F-E491-768D-AF36-1AF9FFF32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170031"/>
              </p:ext>
            </p:extLst>
          </p:nvPr>
        </p:nvGraphicFramePr>
        <p:xfrm>
          <a:off x="701606" y="1790136"/>
          <a:ext cx="7133147" cy="6920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2435108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760215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4108144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5774499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32309309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3B91A0B-9543-6DAB-FF4D-31D16C87D7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1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B91A0B-9543-6DAB-FF4D-31D16C87D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1674BEC-14F6-7986-4155-49FE2CA71B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3429688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930489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5958564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8486986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9F6FDFFE-7999-FCF9-8620-5C014A2651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2629978"/>
              </p:ext>
            </p:extLst>
          </p:nvPr>
        </p:nvGraphicFramePr>
        <p:xfrm>
          <a:off x="702944" y="1789277"/>
          <a:ext cx="10774680" cy="691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280024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40E44BE-4CD4-3160-393C-333C5567B9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022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0E44BE-4CD4-3160-393C-333C5567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6638F24-8B5F-EFFA-879C-9457CCE403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3C29D687-B80F-E7A9-CC45-8CAD1D88278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BE0E6-197D-120B-7D3F-2D4FBB691E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28362019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E0B232A-DCF9-B45B-250A-C916D98A03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619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0B232A-DCF9-B45B-250A-C916D98A0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CD789505-5C28-A0D2-6B83-B035F8F72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Organigra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A33B18-75EE-5AF2-2117-F56BCAC20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6A826B-6FEF-10C4-1E36-D5FC5316CE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4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0E7B17B-6C8F-1024-6C40-24C6C0A131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1E9D0A19-A2CE-61DE-4114-EA34D469CC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8785491"/>
              </p:ext>
            </p:extLst>
          </p:nvPr>
        </p:nvGraphicFramePr>
        <p:xfrm>
          <a:off x="871171" y="1811215"/>
          <a:ext cx="10449657" cy="4163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3037309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B9F97148-3E2F-6B7D-E1C1-E38DB6B5D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653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F97148-3E2F-6B7D-E1C1-E38DB6B5D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Titel 140">
            <a:extLst>
              <a:ext uri="{FF2B5EF4-FFF2-40B4-BE49-F238E27FC236}">
                <a16:creationId xmlns:a16="http://schemas.microsoft.com/office/drawing/2014/main" id="{48451B18-0530-B7FF-54D5-B764BE7B1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C237C66-650B-C765-8E27-B2A067D659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E1BC8C-B038-AEB5-B3F1-C6F018CE43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1</a:t>
            </a:fld>
            <a:endParaRPr lang="en-GB" dirty="0"/>
          </a:p>
        </p:txBody>
      </p:sp>
      <p:sp>
        <p:nvSpPr>
          <p:cNvPr id="142" name="Textplatzhalter 141">
            <a:extLst>
              <a:ext uri="{FF2B5EF4-FFF2-40B4-BE49-F238E27FC236}">
                <a16:creationId xmlns:a16="http://schemas.microsoft.com/office/drawing/2014/main" id="{4A2A2264-39AF-302C-DC36-E4FB2961D2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3" name="Bildplatzhalter 142">
            <a:extLst>
              <a:ext uri="{FF2B5EF4-FFF2-40B4-BE49-F238E27FC236}">
                <a16:creationId xmlns:a16="http://schemas.microsoft.com/office/drawing/2014/main" id="{89B58E69-BE6E-DA3C-ECB8-9DA4C5D9103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4" name="Bildplatzhalter 143">
            <a:extLst>
              <a:ext uri="{FF2B5EF4-FFF2-40B4-BE49-F238E27FC236}">
                <a16:creationId xmlns:a16="http://schemas.microsoft.com/office/drawing/2014/main" id="{0BD18C27-1E5C-DB66-43F3-867E42D3655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5" name="Bildplatzhalter 144">
            <a:extLst>
              <a:ext uri="{FF2B5EF4-FFF2-40B4-BE49-F238E27FC236}">
                <a16:creationId xmlns:a16="http://schemas.microsoft.com/office/drawing/2014/main" id="{F3A29AEB-46C7-9ABE-5A75-EDC37A968E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6" name="Bildplatzhalter 145">
            <a:extLst>
              <a:ext uri="{FF2B5EF4-FFF2-40B4-BE49-F238E27FC236}">
                <a16:creationId xmlns:a16="http://schemas.microsoft.com/office/drawing/2014/main" id="{E8125934-454D-FD0E-128E-C89CA6AA3B1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7" name="Bildplatzhalter 146">
            <a:extLst>
              <a:ext uri="{FF2B5EF4-FFF2-40B4-BE49-F238E27FC236}">
                <a16:creationId xmlns:a16="http://schemas.microsoft.com/office/drawing/2014/main" id="{27321141-2FE8-E1F6-E760-9763E6706B9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8" name="Bildplatzhalter 147">
            <a:extLst>
              <a:ext uri="{FF2B5EF4-FFF2-40B4-BE49-F238E27FC236}">
                <a16:creationId xmlns:a16="http://schemas.microsoft.com/office/drawing/2014/main" id="{EE113A63-6092-F661-6564-7D414B0A8E9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9" name="Bildplatzhalter 148">
            <a:extLst>
              <a:ext uri="{FF2B5EF4-FFF2-40B4-BE49-F238E27FC236}">
                <a16:creationId xmlns:a16="http://schemas.microsoft.com/office/drawing/2014/main" id="{29A464B8-BD87-EF24-F3D0-E5C84ACF59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0" name="Bildplatzhalter 149">
            <a:extLst>
              <a:ext uri="{FF2B5EF4-FFF2-40B4-BE49-F238E27FC236}">
                <a16:creationId xmlns:a16="http://schemas.microsoft.com/office/drawing/2014/main" id="{D5C29061-B098-BEDC-E580-632B096145C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1" name="Bildplatzhalter 150">
            <a:extLst>
              <a:ext uri="{FF2B5EF4-FFF2-40B4-BE49-F238E27FC236}">
                <a16:creationId xmlns:a16="http://schemas.microsoft.com/office/drawing/2014/main" id="{97F41955-34C1-A7D5-49D3-4DF8C86AEB1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2" name="Bildplatzhalter 151">
            <a:extLst>
              <a:ext uri="{FF2B5EF4-FFF2-40B4-BE49-F238E27FC236}">
                <a16:creationId xmlns:a16="http://schemas.microsoft.com/office/drawing/2014/main" id="{84B909FC-A707-C571-5087-BBF56DA19DC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250D4F3-576A-FC6E-112C-8979FA8D027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2D9AF1B3-7E83-5E00-DBEA-5F6442B4DC4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A71741-627E-14A2-B761-8F403CD735D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A290ADCC-A153-B4EC-7CB3-63FCFC6A415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B7A4B41-CE25-8D1C-F0B9-57ECE882721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82ABA3E-06EB-D814-DF16-62CBFC70340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A089B219-B3C0-D2B4-3C15-5F1A03624E7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5153E380-FBCA-C538-44A2-9D7D7AA2CB8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E1DAE7C0-2D44-077E-5A97-0566C70E358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35CE0C1-0B5F-DDB9-117E-DD2E39D3BC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cxnSp>
        <p:nvCxnSpPr>
          <p:cNvPr id="27" name="Verbinder: gewinkelt 26">
            <a:extLst>
              <a:ext uri="{FF2B5EF4-FFF2-40B4-BE49-F238E27FC236}">
                <a16:creationId xmlns:a16="http://schemas.microsoft.com/office/drawing/2014/main" id="{CC2F06CB-A8AE-0F22-197F-DEEE8BD54A18}"/>
              </a:ext>
            </a:extLst>
          </p:cNvPr>
          <p:cNvCxnSpPr>
            <a:stCxn id="17" idx="2"/>
            <a:endCxn id="16" idx="3"/>
          </p:cNvCxnSpPr>
          <p:nvPr/>
        </p:nvCxnSpPr>
        <p:spPr>
          <a:xfrm rot="5400000">
            <a:off x="5818981" y="2289969"/>
            <a:ext cx="618332" cy="1359694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E1B1C052-A10F-711A-12E7-4A9137F46A5B}"/>
              </a:ext>
            </a:extLst>
          </p:cNvPr>
          <p:cNvCxnSpPr>
            <a:cxnSpLocks/>
            <a:stCxn id="17" idx="2"/>
            <a:endCxn id="18" idx="1"/>
          </p:cNvCxnSpPr>
          <p:nvPr/>
        </p:nvCxnSpPr>
        <p:spPr>
          <a:xfrm rot="16200000" flipH="1">
            <a:off x="7161212" y="2307431"/>
            <a:ext cx="618332" cy="1324769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Verbinder: gewinkelt 153">
            <a:extLst>
              <a:ext uri="{FF2B5EF4-FFF2-40B4-BE49-F238E27FC236}">
                <a16:creationId xmlns:a16="http://schemas.microsoft.com/office/drawing/2014/main" id="{BD8B12F0-232A-790E-937F-F74184F854D6}"/>
              </a:ext>
            </a:extLst>
          </p:cNvPr>
          <p:cNvCxnSpPr>
            <a:stCxn id="16" idx="2"/>
            <a:endCxn id="146" idx="0"/>
          </p:cNvCxnSpPr>
          <p:nvPr/>
        </p:nvCxnSpPr>
        <p:spPr>
          <a:xfrm rot="5400000">
            <a:off x="2880136" y="2230149"/>
            <a:ext cx="365220" cy="3385222"/>
          </a:xfrm>
          <a:prstGeom prst="bentConnector3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Verbinder: gewinkelt 154">
            <a:extLst>
              <a:ext uri="{FF2B5EF4-FFF2-40B4-BE49-F238E27FC236}">
                <a16:creationId xmlns:a16="http://schemas.microsoft.com/office/drawing/2014/main" id="{EF22F464-D560-9B7A-D709-C51747C926B5}"/>
              </a:ext>
            </a:extLst>
          </p:cNvPr>
          <p:cNvCxnSpPr>
            <a:cxnSpLocks/>
            <a:stCxn id="16" idx="2"/>
            <a:endCxn id="147" idx="0"/>
          </p:cNvCxnSpPr>
          <p:nvPr/>
        </p:nvCxnSpPr>
        <p:spPr>
          <a:xfrm rot="5400000">
            <a:off x="3667780" y="3017793"/>
            <a:ext cx="365220" cy="1809934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Verbinder: gewinkelt 157">
            <a:extLst>
              <a:ext uri="{FF2B5EF4-FFF2-40B4-BE49-F238E27FC236}">
                <a16:creationId xmlns:a16="http://schemas.microsoft.com/office/drawing/2014/main" id="{FB457C6E-B682-CB1A-B19B-C1C363565F31}"/>
              </a:ext>
            </a:extLst>
          </p:cNvPr>
          <p:cNvCxnSpPr>
            <a:cxnSpLocks/>
            <a:stCxn id="16" idx="2"/>
            <a:endCxn id="152" idx="0"/>
          </p:cNvCxnSpPr>
          <p:nvPr/>
        </p:nvCxnSpPr>
        <p:spPr>
          <a:xfrm rot="16200000" flipH="1">
            <a:off x="7606001" y="889506"/>
            <a:ext cx="365220" cy="606650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Verbinder: gewinkelt 160">
            <a:extLst>
              <a:ext uri="{FF2B5EF4-FFF2-40B4-BE49-F238E27FC236}">
                <a16:creationId xmlns:a16="http://schemas.microsoft.com/office/drawing/2014/main" id="{B0773D14-5F8B-731C-7EAB-49135D19565F}"/>
              </a:ext>
            </a:extLst>
          </p:cNvPr>
          <p:cNvCxnSpPr>
            <a:cxnSpLocks/>
            <a:stCxn id="16" idx="2"/>
            <a:endCxn id="151" idx="0"/>
          </p:cNvCxnSpPr>
          <p:nvPr/>
        </p:nvCxnSpPr>
        <p:spPr>
          <a:xfrm rot="16200000" flipH="1">
            <a:off x="6818356" y="1677151"/>
            <a:ext cx="365220" cy="449121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Verbinder: gewinkelt 164">
            <a:extLst>
              <a:ext uri="{FF2B5EF4-FFF2-40B4-BE49-F238E27FC236}">
                <a16:creationId xmlns:a16="http://schemas.microsoft.com/office/drawing/2014/main" id="{807CEDFF-94D5-94AE-94D0-2C928425FE51}"/>
              </a:ext>
            </a:extLst>
          </p:cNvPr>
          <p:cNvCxnSpPr>
            <a:cxnSpLocks/>
            <a:stCxn id="16" idx="2"/>
            <a:endCxn id="150" idx="0"/>
          </p:cNvCxnSpPr>
          <p:nvPr/>
        </p:nvCxnSpPr>
        <p:spPr>
          <a:xfrm rot="16200000" flipH="1">
            <a:off x="6030712" y="2464795"/>
            <a:ext cx="365220" cy="2915930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Verbinder: gewinkelt 168">
            <a:extLst>
              <a:ext uri="{FF2B5EF4-FFF2-40B4-BE49-F238E27FC236}">
                <a16:creationId xmlns:a16="http://schemas.microsoft.com/office/drawing/2014/main" id="{995ADE4A-95EE-5648-683C-4BD1B5218026}"/>
              </a:ext>
            </a:extLst>
          </p:cNvPr>
          <p:cNvCxnSpPr>
            <a:cxnSpLocks/>
            <a:stCxn id="16" idx="2"/>
            <a:endCxn id="149" idx="0"/>
          </p:cNvCxnSpPr>
          <p:nvPr/>
        </p:nvCxnSpPr>
        <p:spPr>
          <a:xfrm rot="16200000" flipH="1">
            <a:off x="5243068" y="3252439"/>
            <a:ext cx="365220" cy="1340642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Verbinder: gewinkelt 171">
            <a:extLst>
              <a:ext uri="{FF2B5EF4-FFF2-40B4-BE49-F238E27FC236}">
                <a16:creationId xmlns:a16="http://schemas.microsoft.com/office/drawing/2014/main" id="{FF5F250A-3CC5-3D36-16C2-F183DEDE96A5}"/>
              </a:ext>
            </a:extLst>
          </p:cNvPr>
          <p:cNvCxnSpPr>
            <a:cxnSpLocks/>
            <a:stCxn id="16" idx="2"/>
            <a:endCxn id="148" idx="0"/>
          </p:cNvCxnSpPr>
          <p:nvPr/>
        </p:nvCxnSpPr>
        <p:spPr>
          <a:xfrm rot="5400000">
            <a:off x="4455424" y="3805437"/>
            <a:ext cx="365220" cy="234646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7504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34DDE6A-5B6D-6E9F-978A-377DFBE6CE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796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4DDE6A-5B6D-6E9F-978A-377DFBE6C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5A0C402-75E3-AB6C-C6CC-25E8A7898A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9738412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01462491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415792E-9526-CF71-2503-3C61694C1F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4680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15792E-9526-CF71-2503-3C61694C1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A54B687-CCC2-78C3-BDAB-ED07C54FCF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0671681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4901021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50072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6626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E5FF364-7D47-4656-9D4F-3A64070ED9B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62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662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6629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F41765-238D-4BE3-ABF2-49DAB1B371EA}" type="slidenum">
              <a:rPr lang="en-GB" smtClean="0"/>
              <a:pPr/>
              <a:t>44</a:t>
            </a:fld>
            <a:endParaRPr lang="en-GB" dirty="0"/>
          </a:p>
        </p:txBody>
      </p:sp>
      <p:sp>
        <p:nvSpPr>
          <p:cNvPr id="26630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9FBB47-5D64-4811-8E47-C7A41AABD9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AB1E9A1-17FE-88D4-8187-54227459840C}"/>
              </a:ext>
            </a:extLst>
          </p:cNvPr>
          <p:cNvGrpSpPr/>
          <p:nvPr/>
        </p:nvGrpSpPr>
        <p:grpSpPr>
          <a:xfrm rot="1800000">
            <a:off x="2214563" y="1626181"/>
            <a:ext cx="3989387" cy="4411135"/>
            <a:chOff x="2214563" y="1626181"/>
            <a:chExt cx="3989387" cy="4411135"/>
          </a:xfrm>
        </p:grpSpPr>
        <p:sp>
          <p:nvSpPr>
            <p:cNvPr id="26631" name="Freeform 4"/>
            <p:cNvSpPr>
              <a:spLocks/>
            </p:cNvSpPr>
            <p:nvPr/>
          </p:nvSpPr>
          <p:spPr bwMode="blackWhite">
            <a:xfrm>
              <a:off x="3970484" y="1936339"/>
              <a:ext cx="2233466" cy="4100977"/>
            </a:xfrm>
            <a:custGeom>
              <a:avLst/>
              <a:gdLst>
                <a:gd name="T0" fmla="*/ 748237 w 976"/>
                <a:gd name="T1" fmla="*/ 3623239 h 1811"/>
                <a:gd name="T2" fmla="*/ 993959 w 976"/>
                <a:gd name="T3" fmla="*/ 3531234 h 1811"/>
                <a:gd name="T4" fmla="*/ 1224186 w 976"/>
                <a:gd name="T5" fmla="*/ 3406371 h 1811"/>
                <a:gd name="T6" fmla="*/ 1441130 w 976"/>
                <a:gd name="T7" fmla="*/ 3253029 h 1811"/>
                <a:gd name="T8" fmla="*/ 1640365 w 976"/>
                <a:gd name="T9" fmla="*/ 3077782 h 1811"/>
                <a:gd name="T10" fmla="*/ 1810821 w 976"/>
                <a:gd name="T11" fmla="*/ 2876248 h 1811"/>
                <a:gd name="T12" fmla="*/ 1952499 w 976"/>
                <a:gd name="T13" fmla="*/ 2650617 h 1811"/>
                <a:gd name="T14" fmla="*/ 2056543 w 976"/>
                <a:gd name="T15" fmla="*/ 2409652 h 1811"/>
                <a:gd name="T16" fmla="*/ 2127382 w 976"/>
                <a:gd name="T17" fmla="*/ 2155542 h 1811"/>
                <a:gd name="T18" fmla="*/ 2158374 w 976"/>
                <a:gd name="T19" fmla="*/ 1894862 h 1811"/>
                <a:gd name="T20" fmla="*/ 2151733 w 976"/>
                <a:gd name="T21" fmla="*/ 1629800 h 1811"/>
                <a:gd name="T22" fmla="*/ 2103031 w 976"/>
                <a:gd name="T23" fmla="*/ 1369120 h 1811"/>
                <a:gd name="T24" fmla="*/ 2021124 w 976"/>
                <a:gd name="T25" fmla="*/ 1119392 h 1811"/>
                <a:gd name="T26" fmla="*/ 1901583 w 976"/>
                <a:gd name="T27" fmla="*/ 882809 h 1811"/>
                <a:gd name="T28" fmla="*/ 1748837 w 976"/>
                <a:gd name="T29" fmla="*/ 665940 h 1811"/>
                <a:gd name="T30" fmla="*/ 1567312 w 976"/>
                <a:gd name="T31" fmla="*/ 473168 h 1811"/>
                <a:gd name="T32" fmla="*/ 1359223 w 976"/>
                <a:gd name="T33" fmla="*/ 311064 h 1811"/>
                <a:gd name="T34" fmla="*/ 1128996 w 976"/>
                <a:gd name="T35" fmla="*/ 177438 h 1811"/>
                <a:gd name="T36" fmla="*/ 881060 w 976"/>
                <a:gd name="T37" fmla="*/ 78861 h 1811"/>
                <a:gd name="T38" fmla="*/ 622055 w 976"/>
                <a:gd name="T39" fmla="*/ 17525 h 1811"/>
                <a:gd name="T40" fmla="*/ 650833 w 976"/>
                <a:gd name="T41" fmla="*/ 245346 h 1811"/>
                <a:gd name="T42" fmla="*/ 500300 w 976"/>
                <a:gd name="T43" fmla="*/ 950717 h 1811"/>
                <a:gd name="T44" fmla="*/ 677398 w 976"/>
                <a:gd name="T45" fmla="*/ 1014244 h 1811"/>
                <a:gd name="T46" fmla="*/ 838999 w 976"/>
                <a:gd name="T47" fmla="*/ 1112821 h 1811"/>
                <a:gd name="T48" fmla="*/ 974036 w 976"/>
                <a:gd name="T49" fmla="*/ 1242066 h 1811"/>
                <a:gd name="T50" fmla="*/ 1082508 w 976"/>
                <a:gd name="T51" fmla="*/ 1395407 h 1811"/>
                <a:gd name="T52" fmla="*/ 1153347 w 976"/>
                <a:gd name="T53" fmla="*/ 1568464 h 1811"/>
                <a:gd name="T54" fmla="*/ 1190980 w 976"/>
                <a:gd name="T55" fmla="*/ 1754664 h 1811"/>
                <a:gd name="T56" fmla="*/ 1186553 w 976"/>
                <a:gd name="T57" fmla="*/ 1940864 h 1811"/>
                <a:gd name="T58" fmla="*/ 1144492 w 976"/>
                <a:gd name="T59" fmla="*/ 2122684 h 1811"/>
                <a:gd name="T60" fmla="*/ 1067012 w 976"/>
                <a:gd name="T61" fmla="*/ 2291360 h 1811"/>
                <a:gd name="T62" fmla="*/ 954112 w 976"/>
                <a:gd name="T63" fmla="*/ 2442510 h 1811"/>
                <a:gd name="T64" fmla="*/ 812434 w 976"/>
                <a:gd name="T65" fmla="*/ 2567374 h 1811"/>
                <a:gd name="T66" fmla="*/ 648619 w 976"/>
                <a:gd name="T67" fmla="*/ 2661570 h 1811"/>
                <a:gd name="T68" fmla="*/ 560070 w 976"/>
                <a:gd name="T69" fmla="*/ 2394317 h 1811"/>
                <a:gd name="T70" fmla="*/ 617627 w 976"/>
                <a:gd name="T71" fmla="*/ 3964971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632" name="Freeform 5"/>
            <p:cNvSpPr>
              <a:spLocks/>
            </p:cNvSpPr>
            <p:nvPr/>
          </p:nvSpPr>
          <p:spPr bwMode="blackWhite">
            <a:xfrm>
              <a:off x="2214563" y="1626181"/>
              <a:ext cx="2481263" cy="4128875"/>
            </a:xfrm>
            <a:custGeom>
              <a:avLst/>
              <a:gdLst>
                <a:gd name="T0" fmla="*/ 1747082 w 1084"/>
                <a:gd name="T1" fmla="*/ 3043266 h 1823"/>
                <a:gd name="T2" fmla="*/ 1561081 w 1084"/>
                <a:gd name="T3" fmla="*/ 2995065 h 1823"/>
                <a:gd name="T4" fmla="*/ 1390580 w 1084"/>
                <a:gd name="T5" fmla="*/ 2907426 h 1823"/>
                <a:gd name="T6" fmla="*/ 1237793 w 1084"/>
                <a:gd name="T7" fmla="*/ 2789113 h 1823"/>
                <a:gd name="T8" fmla="*/ 1116006 w 1084"/>
                <a:gd name="T9" fmla="*/ 2642318 h 1823"/>
                <a:gd name="T10" fmla="*/ 1027434 w 1084"/>
                <a:gd name="T11" fmla="*/ 2473613 h 1823"/>
                <a:gd name="T12" fmla="*/ 974291 w 1084"/>
                <a:gd name="T13" fmla="*/ 2287380 h 1823"/>
                <a:gd name="T14" fmla="*/ 961006 w 1084"/>
                <a:gd name="T15" fmla="*/ 2098955 h 1823"/>
                <a:gd name="T16" fmla="*/ 987577 w 1084"/>
                <a:gd name="T17" fmla="*/ 1910531 h 1823"/>
                <a:gd name="T18" fmla="*/ 1051792 w 1084"/>
                <a:gd name="T19" fmla="*/ 1730871 h 1823"/>
                <a:gd name="T20" fmla="*/ 1151435 w 1084"/>
                <a:gd name="T21" fmla="*/ 1568739 h 1823"/>
                <a:gd name="T22" fmla="*/ 1284293 w 1084"/>
                <a:gd name="T23" fmla="*/ 1430708 h 1823"/>
                <a:gd name="T24" fmla="*/ 1441508 w 1084"/>
                <a:gd name="T25" fmla="*/ 1321159 h 1823"/>
                <a:gd name="T26" fmla="*/ 1609795 w 1084"/>
                <a:gd name="T27" fmla="*/ 1246666 h 1823"/>
                <a:gd name="T28" fmla="*/ 1791368 w 1084"/>
                <a:gd name="T29" fmla="*/ 1209419 h 1823"/>
                <a:gd name="T30" fmla="*/ 1884368 w 1084"/>
                <a:gd name="T31" fmla="*/ 1478909 h 1823"/>
                <a:gd name="T32" fmla="*/ 1873297 w 1084"/>
                <a:gd name="T33" fmla="*/ 0 h 1823"/>
                <a:gd name="T34" fmla="*/ 1740439 w 1084"/>
                <a:gd name="T35" fmla="*/ 273872 h 1823"/>
                <a:gd name="T36" fmla="*/ 1479152 w 1084"/>
                <a:gd name="T37" fmla="*/ 317692 h 1823"/>
                <a:gd name="T38" fmla="*/ 1226722 w 1084"/>
                <a:gd name="T39" fmla="*/ 396567 h 1823"/>
                <a:gd name="T40" fmla="*/ 987577 w 1084"/>
                <a:gd name="T41" fmla="*/ 512688 h 1823"/>
                <a:gd name="T42" fmla="*/ 761719 w 1084"/>
                <a:gd name="T43" fmla="*/ 652911 h 1823"/>
                <a:gd name="T44" fmla="*/ 558003 w 1084"/>
                <a:gd name="T45" fmla="*/ 823807 h 1823"/>
                <a:gd name="T46" fmla="*/ 383074 w 1084"/>
                <a:gd name="T47" fmla="*/ 1020995 h 1823"/>
                <a:gd name="T48" fmla="*/ 236930 w 1084"/>
                <a:gd name="T49" fmla="*/ 1240093 h 1823"/>
                <a:gd name="T50" fmla="*/ 124001 w 1084"/>
                <a:gd name="T51" fmla="*/ 1478909 h 1823"/>
                <a:gd name="T52" fmla="*/ 46500 w 1084"/>
                <a:gd name="T53" fmla="*/ 1730871 h 1823"/>
                <a:gd name="T54" fmla="*/ 6643 w 1084"/>
                <a:gd name="T55" fmla="*/ 1991598 h 1823"/>
                <a:gd name="T56" fmla="*/ 4429 w 1084"/>
                <a:gd name="T57" fmla="*/ 2254515 h 1823"/>
                <a:gd name="T58" fmla="*/ 39857 w 1084"/>
                <a:gd name="T59" fmla="*/ 2515241 h 1823"/>
                <a:gd name="T60" fmla="*/ 110715 w 1084"/>
                <a:gd name="T61" fmla="*/ 2769395 h 1823"/>
                <a:gd name="T62" fmla="*/ 219216 w 1084"/>
                <a:gd name="T63" fmla="*/ 3010402 h 1823"/>
                <a:gd name="T64" fmla="*/ 360931 w 1084"/>
                <a:gd name="T65" fmla="*/ 3233881 h 1823"/>
                <a:gd name="T66" fmla="*/ 533646 w 1084"/>
                <a:gd name="T67" fmla="*/ 3435451 h 1823"/>
                <a:gd name="T68" fmla="*/ 730719 w 1084"/>
                <a:gd name="T69" fmla="*/ 3608538 h 1823"/>
                <a:gd name="T70" fmla="*/ 954363 w 1084"/>
                <a:gd name="T71" fmla="*/ 3753143 h 1823"/>
                <a:gd name="T72" fmla="*/ 1193507 w 1084"/>
                <a:gd name="T73" fmla="*/ 3867073 h 1823"/>
                <a:gd name="T74" fmla="*/ 1448151 w 1084"/>
                <a:gd name="T75" fmla="*/ 3943758 h 1823"/>
                <a:gd name="T76" fmla="*/ 1709439 w 1084"/>
                <a:gd name="T77" fmla="*/ 3985386 h 1823"/>
                <a:gd name="T78" fmla="*/ 1977369 w 1084"/>
                <a:gd name="T79" fmla="*/ 3989768 h 1823"/>
                <a:gd name="T80" fmla="*/ 1842296 w 1084"/>
                <a:gd name="T81" fmla="*/ 3054221 h 18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84"/>
                <a:gd name="T124" fmla="*/ 0 h 1823"/>
                <a:gd name="T125" fmla="*/ 1084 w 1084"/>
                <a:gd name="T126" fmla="*/ 1823 h 182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84" h="1823">
                  <a:moveTo>
                    <a:pt x="832" y="1394"/>
                  </a:moveTo>
                  <a:lnTo>
                    <a:pt x="789" y="1389"/>
                  </a:lnTo>
                  <a:lnTo>
                    <a:pt x="746" y="1380"/>
                  </a:lnTo>
                  <a:lnTo>
                    <a:pt x="705" y="1367"/>
                  </a:lnTo>
                  <a:lnTo>
                    <a:pt x="665" y="1349"/>
                  </a:lnTo>
                  <a:lnTo>
                    <a:pt x="628" y="1327"/>
                  </a:lnTo>
                  <a:lnTo>
                    <a:pt x="592" y="1301"/>
                  </a:lnTo>
                  <a:lnTo>
                    <a:pt x="559" y="1273"/>
                  </a:lnTo>
                  <a:lnTo>
                    <a:pt x="530" y="1240"/>
                  </a:lnTo>
                  <a:lnTo>
                    <a:pt x="504" y="1206"/>
                  </a:lnTo>
                  <a:lnTo>
                    <a:pt x="482" y="1168"/>
                  </a:lnTo>
                  <a:lnTo>
                    <a:pt x="464" y="1129"/>
                  </a:lnTo>
                  <a:lnTo>
                    <a:pt x="450" y="1087"/>
                  </a:lnTo>
                  <a:lnTo>
                    <a:pt x="440" y="1044"/>
                  </a:lnTo>
                  <a:lnTo>
                    <a:pt x="434" y="1002"/>
                  </a:lnTo>
                  <a:lnTo>
                    <a:pt x="434" y="958"/>
                  </a:lnTo>
                  <a:lnTo>
                    <a:pt x="438" y="915"/>
                  </a:lnTo>
                  <a:lnTo>
                    <a:pt x="446" y="872"/>
                  </a:lnTo>
                  <a:lnTo>
                    <a:pt x="458" y="831"/>
                  </a:lnTo>
                  <a:lnTo>
                    <a:pt x="475" y="790"/>
                  </a:lnTo>
                  <a:lnTo>
                    <a:pt x="495" y="752"/>
                  </a:lnTo>
                  <a:lnTo>
                    <a:pt x="520" y="716"/>
                  </a:lnTo>
                  <a:lnTo>
                    <a:pt x="548" y="683"/>
                  </a:lnTo>
                  <a:lnTo>
                    <a:pt x="580" y="653"/>
                  </a:lnTo>
                  <a:lnTo>
                    <a:pt x="613" y="626"/>
                  </a:lnTo>
                  <a:lnTo>
                    <a:pt x="651" y="603"/>
                  </a:lnTo>
                  <a:lnTo>
                    <a:pt x="688" y="584"/>
                  </a:lnTo>
                  <a:lnTo>
                    <a:pt x="727" y="569"/>
                  </a:lnTo>
                  <a:lnTo>
                    <a:pt x="768" y="559"/>
                  </a:lnTo>
                  <a:lnTo>
                    <a:pt x="809" y="552"/>
                  </a:lnTo>
                  <a:lnTo>
                    <a:pt x="851" y="549"/>
                  </a:lnTo>
                  <a:lnTo>
                    <a:pt x="851" y="675"/>
                  </a:lnTo>
                  <a:lnTo>
                    <a:pt x="1083" y="353"/>
                  </a:lnTo>
                  <a:lnTo>
                    <a:pt x="846" y="0"/>
                  </a:lnTo>
                  <a:lnTo>
                    <a:pt x="846" y="121"/>
                  </a:lnTo>
                  <a:lnTo>
                    <a:pt x="786" y="125"/>
                  </a:lnTo>
                  <a:lnTo>
                    <a:pt x="726" y="133"/>
                  </a:lnTo>
                  <a:lnTo>
                    <a:pt x="668" y="145"/>
                  </a:lnTo>
                  <a:lnTo>
                    <a:pt x="610" y="161"/>
                  </a:lnTo>
                  <a:lnTo>
                    <a:pt x="554" y="181"/>
                  </a:lnTo>
                  <a:lnTo>
                    <a:pt x="499" y="206"/>
                  </a:lnTo>
                  <a:lnTo>
                    <a:pt x="446" y="234"/>
                  </a:lnTo>
                  <a:lnTo>
                    <a:pt x="394" y="264"/>
                  </a:lnTo>
                  <a:lnTo>
                    <a:pt x="344" y="298"/>
                  </a:lnTo>
                  <a:lnTo>
                    <a:pt x="297" y="335"/>
                  </a:lnTo>
                  <a:lnTo>
                    <a:pt x="252" y="376"/>
                  </a:lnTo>
                  <a:lnTo>
                    <a:pt x="211" y="420"/>
                  </a:lnTo>
                  <a:lnTo>
                    <a:pt x="173" y="466"/>
                  </a:lnTo>
                  <a:lnTo>
                    <a:pt x="138" y="515"/>
                  </a:lnTo>
                  <a:lnTo>
                    <a:pt x="107" y="566"/>
                  </a:lnTo>
                  <a:lnTo>
                    <a:pt x="79" y="620"/>
                  </a:lnTo>
                  <a:lnTo>
                    <a:pt x="56" y="675"/>
                  </a:lnTo>
                  <a:lnTo>
                    <a:pt x="37" y="733"/>
                  </a:lnTo>
                  <a:lnTo>
                    <a:pt x="21" y="790"/>
                  </a:lnTo>
                  <a:lnTo>
                    <a:pt x="10" y="850"/>
                  </a:lnTo>
                  <a:lnTo>
                    <a:pt x="3" y="909"/>
                  </a:lnTo>
                  <a:lnTo>
                    <a:pt x="0" y="969"/>
                  </a:lnTo>
                  <a:lnTo>
                    <a:pt x="2" y="1029"/>
                  </a:lnTo>
                  <a:lnTo>
                    <a:pt x="7" y="1090"/>
                  </a:lnTo>
                  <a:lnTo>
                    <a:pt x="18" y="1148"/>
                  </a:lnTo>
                  <a:lnTo>
                    <a:pt x="31" y="1207"/>
                  </a:lnTo>
                  <a:lnTo>
                    <a:pt x="50" y="1264"/>
                  </a:lnTo>
                  <a:lnTo>
                    <a:pt x="73" y="1320"/>
                  </a:lnTo>
                  <a:lnTo>
                    <a:pt x="99" y="1374"/>
                  </a:lnTo>
                  <a:lnTo>
                    <a:pt x="129" y="1426"/>
                  </a:lnTo>
                  <a:lnTo>
                    <a:pt x="163" y="1476"/>
                  </a:lnTo>
                  <a:lnTo>
                    <a:pt x="200" y="1523"/>
                  </a:lnTo>
                  <a:lnTo>
                    <a:pt x="241" y="1568"/>
                  </a:lnTo>
                  <a:lnTo>
                    <a:pt x="283" y="1609"/>
                  </a:lnTo>
                  <a:lnTo>
                    <a:pt x="330" y="1647"/>
                  </a:lnTo>
                  <a:lnTo>
                    <a:pt x="379" y="1682"/>
                  </a:lnTo>
                  <a:lnTo>
                    <a:pt x="431" y="1713"/>
                  </a:lnTo>
                  <a:lnTo>
                    <a:pt x="484" y="1741"/>
                  </a:lnTo>
                  <a:lnTo>
                    <a:pt x="539" y="1765"/>
                  </a:lnTo>
                  <a:lnTo>
                    <a:pt x="595" y="1784"/>
                  </a:lnTo>
                  <a:lnTo>
                    <a:pt x="654" y="1800"/>
                  </a:lnTo>
                  <a:lnTo>
                    <a:pt x="713" y="1812"/>
                  </a:lnTo>
                  <a:lnTo>
                    <a:pt x="772" y="1819"/>
                  </a:lnTo>
                  <a:lnTo>
                    <a:pt x="833" y="1822"/>
                  </a:lnTo>
                  <a:lnTo>
                    <a:pt x="893" y="1821"/>
                  </a:lnTo>
                  <a:lnTo>
                    <a:pt x="708" y="1557"/>
                  </a:lnTo>
                  <a:lnTo>
                    <a:pt x="832" y="139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4916889" y="4566401"/>
            <a:ext cx="946885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042507">
              <a:spcBef>
                <a:spcPct val="50000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26634" name="Text Box 7"/>
          <p:cNvSpPr txBox="1">
            <a:spLocks noChangeArrowheads="1"/>
          </p:cNvSpPr>
          <p:nvPr/>
        </p:nvSpPr>
        <p:spPr bwMode="auto">
          <a:xfrm>
            <a:off x="2276441" y="3227940"/>
            <a:ext cx="94524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962547"/>
      </p:ext>
    </p:extLst>
  </p:cSld>
  <p:clrMapOvr>
    <a:masterClrMapping/>
  </p:clrMapOvr>
  <p:transition spd="med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7141558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7650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E4AE623-D14E-494B-8F2F-85DBB4F4A1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651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7652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7653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19D8BB-9F86-4158-9F5F-0C7B0D263AE1}" type="slidenum">
              <a:rPr lang="en-GB" smtClean="0"/>
              <a:pPr/>
              <a:t>45</a:t>
            </a:fld>
            <a:endParaRPr lang="en-GB" dirty="0"/>
          </a:p>
        </p:txBody>
      </p:sp>
      <p:sp>
        <p:nvSpPr>
          <p:cNvPr id="27654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662A75F-CB6B-4BE6-8A1C-0C56CD96AC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4F260CD-71BB-A457-1AF2-E940A83F9093}"/>
              </a:ext>
            </a:extLst>
          </p:cNvPr>
          <p:cNvGrpSpPr/>
          <p:nvPr/>
        </p:nvGrpSpPr>
        <p:grpSpPr>
          <a:xfrm>
            <a:off x="1898893" y="1918463"/>
            <a:ext cx="4305057" cy="3973518"/>
            <a:chOff x="1587082" y="1376516"/>
            <a:chExt cx="4892222" cy="4515466"/>
          </a:xfrm>
        </p:grpSpPr>
        <p:sp>
          <p:nvSpPr>
            <p:cNvPr id="27655" name="Freeform 4"/>
            <p:cNvSpPr>
              <a:spLocks/>
            </p:cNvSpPr>
            <p:nvPr/>
          </p:nvSpPr>
          <p:spPr bwMode="blackWhite">
            <a:xfrm>
              <a:off x="1954468" y="1376516"/>
              <a:ext cx="4071229" cy="1913778"/>
            </a:xfrm>
            <a:custGeom>
              <a:avLst/>
              <a:gdLst>
                <a:gd name="T0" fmla="*/ 2182507 w 1553"/>
                <a:gd name="T1" fmla="*/ 1257064 h 753"/>
                <a:gd name="T2" fmla="*/ 3146096 w 1553"/>
                <a:gd name="T3" fmla="*/ 1164507 h 753"/>
                <a:gd name="T4" fmla="*/ 3445830 w 1553"/>
                <a:gd name="T5" fmla="*/ 322876 h 753"/>
                <a:gd name="T6" fmla="*/ 3212703 w 1553"/>
                <a:gd name="T7" fmla="*/ 488619 h 753"/>
                <a:gd name="T8" fmla="*/ 3103911 w 1553"/>
                <a:gd name="T9" fmla="*/ 400366 h 753"/>
                <a:gd name="T10" fmla="*/ 2990678 w 1553"/>
                <a:gd name="T11" fmla="*/ 320724 h 753"/>
                <a:gd name="T12" fmla="*/ 2873005 w 1553"/>
                <a:gd name="T13" fmla="*/ 249691 h 753"/>
                <a:gd name="T14" fmla="*/ 2748671 w 1553"/>
                <a:gd name="T15" fmla="*/ 187268 h 753"/>
                <a:gd name="T16" fmla="*/ 2622117 w 1553"/>
                <a:gd name="T17" fmla="*/ 131303 h 753"/>
                <a:gd name="T18" fmla="*/ 2491122 w 1553"/>
                <a:gd name="T19" fmla="*/ 88253 h 753"/>
                <a:gd name="T20" fmla="*/ 2353467 w 1553"/>
                <a:gd name="T21" fmla="*/ 49508 h 753"/>
                <a:gd name="T22" fmla="*/ 2218031 w 1553"/>
                <a:gd name="T23" fmla="*/ 25830 h 753"/>
                <a:gd name="T24" fmla="*/ 2078155 w 1553"/>
                <a:gd name="T25" fmla="*/ 8610 h 753"/>
                <a:gd name="T26" fmla="*/ 1938279 w 1553"/>
                <a:gd name="T27" fmla="*/ 0 h 753"/>
                <a:gd name="T28" fmla="*/ 1798403 w 1553"/>
                <a:gd name="T29" fmla="*/ 4305 h 753"/>
                <a:gd name="T30" fmla="*/ 1660748 w 1553"/>
                <a:gd name="T31" fmla="*/ 17220 h 753"/>
                <a:gd name="T32" fmla="*/ 1520872 w 1553"/>
                <a:gd name="T33" fmla="*/ 40898 h 753"/>
                <a:gd name="T34" fmla="*/ 1385437 w 1553"/>
                <a:gd name="T35" fmla="*/ 73185 h 753"/>
                <a:gd name="T36" fmla="*/ 1252222 w 1553"/>
                <a:gd name="T37" fmla="*/ 114083 h 753"/>
                <a:gd name="T38" fmla="*/ 1123447 w 1553"/>
                <a:gd name="T39" fmla="*/ 163591 h 753"/>
                <a:gd name="T40" fmla="*/ 996893 w 1553"/>
                <a:gd name="T41" fmla="*/ 223861 h 753"/>
                <a:gd name="T42" fmla="*/ 876999 w 1553"/>
                <a:gd name="T43" fmla="*/ 294894 h 753"/>
                <a:gd name="T44" fmla="*/ 759326 w 1553"/>
                <a:gd name="T45" fmla="*/ 370231 h 753"/>
                <a:gd name="T46" fmla="*/ 652754 w 1553"/>
                <a:gd name="T47" fmla="*/ 456332 h 753"/>
                <a:gd name="T48" fmla="*/ 550622 w 1553"/>
                <a:gd name="T49" fmla="*/ 546737 h 753"/>
                <a:gd name="T50" fmla="*/ 455151 w 1553"/>
                <a:gd name="T51" fmla="*/ 647905 h 753"/>
                <a:gd name="T52" fmla="*/ 366341 w 1553"/>
                <a:gd name="T53" fmla="*/ 753378 h 753"/>
                <a:gd name="T54" fmla="*/ 288633 w 1553"/>
                <a:gd name="T55" fmla="*/ 863155 h 753"/>
                <a:gd name="T56" fmla="*/ 217585 w 1553"/>
                <a:gd name="T57" fmla="*/ 981543 h 753"/>
                <a:gd name="T58" fmla="*/ 157638 w 1553"/>
                <a:gd name="T59" fmla="*/ 1102084 h 753"/>
                <a:gd name="T60" fmla="*/ 102132 w 1553"/>
                <a:gd name="T61" fmla="*/ 1226929 h 753"/>
                <a:gd name="T62" fmla="*/ 59947 w 1553"/>
                <a:gd name="T63" fmla="*/ 1358232 h 753"/>
                <a:gd name="T64" fmla="*/ 24423 w 1553"/>
                <a:gd name="T65" fmla="*/ 1489535 h 753"/>
                <a:gd name="T66" fmla="*/ 0 w 1553"/>
                <a:gd name="T67" fmla="*/ 1618685 h 753"/>
                <a:gd name="T68" fmla="*/ 492896 w 1553"/>
                <a:gd name="T69" fmla="*/ 1308725 h 753"/>
                <a:gd name="T70" fmla="*/ 976910 w 1553"/>
                <a:gd name="T71" fmla="*/ 1612228 h 753"/>
                <a:gd name="T72" fmla="*/ 1010214 w 1553"/>
                <a:gd name="T73" fmla="*/ 1528280 h 753"/>
                <a:gd name="T74" fmla="*/ 1052399 w 1553"/>
                <a:gd name="T75" fmla="*/ 1442180 h 753"/>
                <a:gd name="T76" fmla="*/ 1105685 w 1553"/>
                <a:gd name="T77" fmla="*/ 1360385 h 753"/>
                <a:gd name="T78" fmla="*/ 1165632 w 1553"/>
                <a:gd name="T79" fmla="*/ 1282894 h 753"/>
                <a:gd name="T80" fmla="*/ 1234460 w 1553"/>
                <a:gd name="T81" fmla="*/ 1211862 h 753"/>
                <a:gd name="T82" fmla="*/ 1307728 w 1553"/>
                <a:gd name="T83" fmla="*/ 1147287 h 753"/>
                <a:gd name="T84" fmla="*/ 1389877 w 1553"/>
                <a:gd name="T85" fmla="*/ 1091321 h 753"/>
                <a:gd name="T86" fmla="*/ 1476467 w 1553"/>
                <a:gd name="T87" fmla="*/ 1043966 h 753"/>
                <a:gd name="T88" fmla="*/ 1567497 w 1553"/>
                <a:gd name="T89" fmla="*/ 1005221 h 753"/>
                <a:gd name="T90" fmla="*/ 1662968 w 1553"/>
                <a:gd name="T91" fmla="*/ 975086 h 753"/>
                <a:gd name="T92" fmla="*/ 1760659 w 1553"/>
                <a:gd name="T93" fmla="*/ 953561 h 753"/>
                <a:gd name="T94" fmla="*/ 1858350 w 1553"/>
                <a:gd name="T95" fmla="*/ 942798 h 753"/>
                <a:gd name="T96" fmla="*/ 1958261 w 1553"/>
                <a:gd name="T97" fmla="*/ 942798 h 753"/>
                <a:gd name="T98" fmla="*/ 2058173 w 1553"/>
                <a:gd name="T99" fmla="*/ 951408 h 753"/>
                <a:gd name="T100" fmla="*/ 2155864 w 1553"/>
                <a:gd name="T101" fmla="*/ 968628 h 753"/>
                <a:gd name="T102" fmla="*/ 2251334 w 1553"/>
                <a:gd name="T103" fmla="*/ 998763 h 753"/>
                <a:gd name="T104" fmla="*/ 2342365 w 1553"/>
                <a:gd name="T105" fmla="*/ 1033203 h 753"/>
                <a:gd name="T106" fmla="*/ 2431175 w 1553"/>
                <a:gd name="T107" fmla="*/ 1080559 h 753"/>
                <a:gd name="T108" fmla="*/ 2182507 w 1553"/>
                <a:gd name="T109" fmla="*/ 1257064 h 75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53"/>
                <a:gd name="T166" fmla="*/ 0 h 753"/>
                <a:gd name="T167" fmla="*/ 1553 w 1553"/>
                <a:gd name="T168" fmla="*/ 753 h 75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53" h="753">
                  <a:moveTo>
                    <a:pt x="983" y="584"/>
                  </a:moveTo>
                  <a:lnTo>
                    <a:pt x="1417" y="541"/>
                  </a:lnTo>
                  <a:lnTo>
                    <a:pt x="1552" y="150"/>
                  </a:lnTo>
                  <a:lnTo>
                    <a:pt x="1447" y="227"/>
                  </a:lnTo>
                  <a:lnTo>
                    <a:pt x="1398" y="186"/>
                  </a:lnTo>
                  <a:lnTo>
                    <a:pt x="1347" y="149"/>
                  </a:lnTo>
                  <a:lnTo>
                    <a:pt x="1294" y="116"/>
                  </a:lnTo>
                  <a:lnTo>
                    <a:pt x="1238" y="87"/>
                  </a:lnTo>
                  <a:lnTo>
                    <a:pt x="1181" y="61"/>
                  </a:lnTo>
                  <a:lnTo>
                    <a:pt x="1122" y="41"/>
                  </a:lnTo>
                  <a:lnTo>
                    <a:pt x="1060" y="23"/>
                  </a:lnTo>
                  <a:lnTo>
                    <a:pt x="999" y="12"/>
                  </a:lnTo>
                  <a:lnTo>
                    <a:pt x="936" y="4"/>
                  </a:lnTo>
                  <a:lnTo>
                    <a:pt x="873" y="0"/>
                  </a:lnTo>
                  <a:lnTo>
                    <a:pt x="810" y="2"/>
                  </a:lnTo>
                  <a:lnTo>
                    <a:pt x="748" y="8"/>
                  </a:lnTo>
                  <a:lnTo>
                    <a:pt x="685" y="19"/>
                  </a:lnTo>
                  <a:lnTo>
                    <a:pt x="624" y="34"/>
                  </a:lnTo>
                  <a:lnTo>
                    <a:pt x="564" y="53"/>
                  </a:lnTo>
                  <a:lnTo>
                    <a:pt x="506" y="76"/>
                  </a:lnTo>
                  <a:lnTo>
                    <a:pt x="449" y="104"/>
                  </a:lnTo>
                  <a:lnTo>
                    <a:pt x="395" y="137"/>
                  </a:lnTo>
                  <a:lnTo>
                    <a:pt x="342" y="172"/>
                  </a:lnTo>
                  <a:lnTo>
                    <a:pt x="294" y="212"/>
                  </a:lnTo>
                  <a:lnTo>
                    <a:pt x="248" y="254"/>
                  </a:lnTo>
                  <a:lnTo>
                    <a:pt x="205" y="301"/>
                  </a:lnTo>
                  <a:lnTo>
                    <a:pt x="165" y="350"/>
                  </a:lnTo>
                  <a:lnTo>
                    <a:pt x="130" y="401"/>
                  </a:lnTo>
                  <a:lnTo>
                    <a:pt x="98" y="456"/>
                  </a:lnTo>
                  <a:lnTo>
                    <a:pt x="71" y="512"/>
                  </a:lnTo>
                  <a:lnTo>
                    <a:pt x="46" y="570"/>
                  </a:lnTo>
                  <a:lnTo>
                    <a:pt x="27" y="631"/>
                  </a:lnTo>
                  <a:lnTo>
                    <a:pt x="11" y="692"/>
                  </a:lnTo>
                  <a:lnTo>
                    <a:pt x="0" y="752"/>
                  </a:lnTo>
                  <a:lnTo>
                    <a:pt x="222" y="608"/>
                  </a:lnTo>
                  <a:lnTo>
                    <a:pt x="440" y="749"/>
                  </a:lnTo>
                  <a:lnTo>
                    <a:pt x="455" y="710"/>
                  </a:lnTo>
                  <a:lnTo>
                    <a:pt x="474" y="670"/>
                  </a:lnTo>
                  <a:lnTo>
                    <a:pt x="498" y="632"/>
                  </a:lnTo>
                  <a:lnTo>
                    <a:pt x="525" y="596"/>
                  </a:lnTo>
                  <a:lnTo>
                    <a:pt x="556" y="563"/>
                  </a:lnTo>
                  <a:lnTo>
                    <a:pt x="589" y="533"/>
                  </a:lnTo>
                  <a:lnTo>
                    <a:pt x="626" y="507"/>
                  </a:lnTo>
                  <a:lnTo>
                    <a:pt x="665" y="485"/>
                  </a:lnTo>
                  <a:lnTo>
                    <a:pt x="706" y="467"/>
                  </a:lnTo>
                  <a:lnTo>
                    <a:pt x="749" y="453"/>
                  </a:lnTo>
                  <a:lnTo>
                    <a:pt x="793" y="443"/>
                  </a:lnTo>
                  <a:lnTo>
                    <a:pt x="837" y="438"/>
                  </a:lnTo>
                  <a:lnTo>
                    <a:pt x="882" y="438"/>
                  </a:lnTo>
                  <a:lnTo>
                    <a:pt x="927" y="442"/>
                  </a:lnTo>
                  <a:lnTo>
                    <a:pt x="971" y="450"/>
                  </a:lnTo>
                  <a:lnTo>
                    <a:pt x="1014" y="464"/>
                  </a:lnTo>
                  <a:lnTo>
                    <a:pt x="1055" y="480"/>
                  </a:lnTo>
                  <a:lnTo>
                    <a:pt x="1095" y="502"/>
                  </a:lnTo>
                  <a:lnTo>
                    <a:pt x="983" y="584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6" name="Freeform 5"/>
            <p:cNvSpPr>
              <a:spLocks/>
            </p:cNvSpPr>
            <p:nvPr/>
          </p:nvSpPr>
          <p:spPr bwMode="blackWhite">
            <a:xfrm>
              <a:off x="1587082" y="3065364"/>
              <a:ext cx="3201501" cy="2717901"/>
            </a:xfrm>
            <a:custGeom>
              <a:avLst/>
              <a:gdLst>
                <a:gd name="T0" fmla="*/ 2709229 w 1221"/>
                <a:gd name="T1" fmla="*/ 2239546 h 1071"/>
                <a:gd name="T2" fmla="*/ 2225121 w 1221"/>
                <a:gd name="T3" fmla="*/ 1820437 h 1071"/>
                <a:gd name="T4" fmla="*/ 2400555 w 1221"/>
                <a:gd name="T5" fmla="*/ 1354044 h 1071"/>
                <a:gd name="T6" fmla="*/ 2305066 w 1221"/>
                <a:gd name="T7" fmla="*/ 1364790 h 1071"/>
                <a:gd name="T8" fmla="*/ 2207355 w 1221"/>
                <a:gd name="T9" fmla="*/ 1366940 h 1071"/>
                <a:gd name="T10" fmla="*/ 2109645 w 1221"/>
                <a:gd name="T11" fmla="*/ 1362641 h 1071"/>
                <a:gd name="T12" fmla="*/ 2011936 w 1221"/>
                <a:gd name="T13" fmla="*/ 1345447 h 1071"/>
                <a:gd name="T14" fmla="*/ 1920888 w 1221"/>
                <a:gd name="T15" fmla="*/ 1319656 h 1071"/>
                <a:gd name="T16" fmla="*/ 1827619 w 1221"/>
                <a:gd name="T17" fmla="*/ 1287416 h 1071"/>
                <a:gd name="T18" fmla="*/ 1741013 w 1221"/>
                <a:gd name="T19" fmla="*/ 1244431 h 1071"/>
                <a:gd name="T20" fmla="*/ 1658848 w 1221"/>
                <a:gd name="T21" fmla="*/ 1194998 h 1071"/>
                <a:gd name="T22" fmla="*/ 1583345 w 1221"/>
                <a:gd name="T23" fmla="*/ 1134818 h 1071"/>
                <a:gd name="T24" fmla="*/ 1514504 w 1221"/>
                <a:gd name="T25" fmla="*/ 1066041 h 1071"/>
                <a:gd name="T26" fmla="*/ 1450104 w 1221"/>
                <a:gd name="T27" fmla="*/ 995115 h 1071"/>
                <a:gd name="T28" fmla="*/ 1396808 w 1221"/>
                <a:gd name="T29" fmla="*/ 917741 h 1071"/>
                <a:gd name="T30" fmla="*/ 1352394 w 1221"/>
                <a:gd name="T31" fmla="*/ 838218 h 1071"/>
                <a:gd name="T32" fmla="*/ 1319084 w 1221"/>
                <a:gd name="T33" fmla="*/ 756545 h 1071"/>
                <a:gd name="T34" fmla="*/ 1290215 w 1221"/>
                <a:gd name="T35" fmla="*/ 674873 h 1071"/>
                <a:gd name="T36" fmla="*/ 1272450 w 1221"/>
                <a:gd name="T37" fmla="*/ 586752 h 1071"/>
                <a:gd name="T38" fmla="*/ 1261346 w 1221"/>
                <a:gd name="T39" fmla="*/ 498632 h 1071"/>
                <a:gd name="T40" fmla="*/ 1581124 w 1221"/>
                <a:gd name="T41" fmla="*/ 498632 h 1071"/>
                <a:gd name="T42" fmla="*/ 817210 w 1221"/>
                <a:gd name="T43" fmla="*/ 0 h 1071"/>
                <a:gd name="T44" fmla="*/ 0 w 1221"/>
                <a:gd name="T45" fmla="*/ 505080 h 1071"/>
                <a:gd name="T46" fmla="*/ 297571 w 1221"/>
                <a:gd name="T47" fmla="*/ 502931 h 1071"/>
                <a:gd name="T48" fmla="*/ 308675 w 1221"/>
                <a:gd name="T49" fmla="*/ 636186 h 1071"/>
                <a:gd name="T50" fmla="*/ 328661 w 1221"/>
                <a:gd name="T51" fmla="*/ 769441 h 1071"/>
                <a:gd name="T52" fmla="*/ 357529 w 1221"/>
                <a:gd name="T53" fmla="*/ 900547 h 1071"/>
                <a:gd name="T54" fmla="*/ 395281 w 1221"/>
                <a:gd name="T55" fmla="*/ 1029503 h 1071"/>
                <a:gd name="T56" fmla="*/ 444136 w 1221"/>
                <a:gd name="T57" fmla="*/ 1156311 h 1071"/>
                <a:gd name="T58" fmla="*/ 504094 w 1221"/>
                <a:gd name="T59" fmla="*/ 1278819 h 1071"/>
                <a:gd name="T60" fmla="*/ 570715 w 1221"/>
                <a:gd name="T61" fmla="*/ 1397030 h 1071"/>
                <a:gd name="T62" fmla="*/ 646218 w 1221"/>
                <a:gd name="T63" fmla="*/ 1508792 h 1071"/>
                <a:gd name="T64" fmla="*/ 728383 w 1221"/>
                <a:gd name="T65" fmla="*/ 1614106 h 1071"/>
                <a:gd name="T66" fmla="*/ 819431 w 1221"/>
                <a:gd name="T67" fmla="*/ 1712973 h 1071"/>
                <a:gd name="T68" fmla="*/ 917141 w 1221"/>
                <a:gd name="T69" fmla="*/ 1807541 h 1071"/>
                <a:gd name="T70" fmla="*/ 1019292 w 1221"/>
                <a:gd name="T71" fmla="*/ 1895661 h 1071"/>
                <a:gd name="T72" fmla="*/ 1130326 w 1221"/>
                <a:gd name="T73" fmla="*/ 1975185 h 1071"/>
                <a:gd name="T74" fmla="*/ 1248022 w 1221"/>
                <a:gd name="T75" fmla="*/ 2043961 h 1071"/>
                <a:gd name="T76" fmla="*/ 1370159 w 1221"/>
                <a:gd name="T77" fmla="*/ 2108440 h 1071"/>
                <a:gd name="T78" fmla="*/ 1494517 w 1221"/>
                <a:gd name="T79" fmla="*/ 2164321 h 1071"/>
                <a:gd name="T80" fmla="*/ 1625537 w 1221"/>
                <a:gd name="T81" fmla="*/ 2207307 h 1071"/>
                <a:gd name="T82" fmla="*/ 1756558 w 1221"/>
                <a:gd name="T83" fmla="*/ 2245994 h 1071"/>
                <a:gd name="T84" fmla="*/ 1892019 w 1221"/>
                <a:gd name="T85" fmla="*/ 2271785 h 1071"/>
                <a:gd name="T86" fmla="*/ 2027480 w 1221"/>
                <a:gd name="T87" fmla="*/ 2293278 h 1071"/>
                <a:gd name="T88" fmla="*/ 2165162 w 1221"/>
                <a:gd name="T89" fmla="*/ 2299726 h 1071"/>
                <a:gd name="T90" fmla="*/ 2302845 w 1221"/>
                <a:gd name="T91" fmla="*/ 2299726 h 1071"/>
                <a:gd name="T92" fmla="*/ 2438306 w 1221"/>
                <a:gd name="T93" fmla="*/ 2291129 h 1071"/>
                <a:gd name="T94" fmla="*/ 2575989 w 1221"/>
                <a:gd name="T95" fmla="*/ 2269636 h 1071"/>
                <a:gd name="T96" fmla="*/ 2709229 w 1221"/>
                <a:gd name="T97" fmla="*/ 2239546 h 107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221"/>
                <a:gd name="T148" fmla="*/ 0 h 1071"/>
                <a:gd name="T149" fmla="*/ 1221 w 1221"/>
                <a:gd name="T150" fmla="*/ 1071 h 107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221" h="1071">
                  <a:moveTo>
                    <a:pt x="1220" y="1042"/>
                  </a:moveTo>
                  <a:lnTo>
                    <a:pt x="1002" y="847"/>
                  </a:lnTo>
                  <a:lnTo>
                    <a:pt x="1081" y="630"/>
                  </a:lnTo>
                  <a:lnTo>
                    <a:pt x="1038" y="635"/>
                  </a:lnTo>
                  <a:lnTo>
                    <a:pt x="994" y="636"/>
                  </a:lnTo>
                  <a:lnTo>
                    <a:pt x="950" y="634"/>
                  </a:lnTo>
                  <a:lnTo>
                    <a:pt x="906" y="626"/>
                  </a:lnTo>
                  <a:lnTo>
                    <a:pt x="865" y="614"/>
                  </a:lnTo>
                  <a:lnTo>
                    <a:pt x="823" y="599"/>
                  </a:lnTo>
                  <a:lnTo>
                    <a:pt x="784" y="579"/>
                  </a:lnTo>
                  <a:lnTo>
                    <a:pt x="747" y="556"/>
                  </a:lnTo>
                  <a:lnTo>
                    <a:pt x="713" y="528"/>
                  </a:lnTo>
                  <a:lnTo>
                    <a:pt x="682" y="496"/>
                  </a:lnTo>
                  <a:lnTo>
                    <a:pt x="653" y="463"/>
                  </a:lnTo>
                  <a:lnTo>
                    <a:pt x="629" y="427"/>
                  </a:lnTo>
                  <a:lnTo>
                    <a:pt x="609" y="390"/>
                  </a:lnTo>
                  <a:lnTo>
                    <a:pt x="594" y="352"/>
                  </a:lnTo>
                  <a:lnTo>
                    <a:pt x="581" y="314"/>
                  </a:lnTo>
                  <a:lnTo>
                    <a:pt x="573" y="273"/>
                  </a:lnTo>
                  <a:lnTo>
                    <a:pt x="568" y="232"/>
                  </a:lnTo>
                  <a:lnTo>
                    <a:pt x="712" y="232"/>
                  </a:lnTo>
                  <a:lnTo>
                    <a:pt x="368" y="0"/>
                  </a:lnTo>
                  <a:lnTo>
                    <a:pt x="0" y="235"/>
                  </a:lnTo>
                  <a:lnTo>
                    <a:pt x="134" y="234"/>
                  </a:lnTo>
                  <a:lnTo>
                    <a:pt x="139" y="296"/>
                  </a:lnTo>
                  <a:lnTo>
                    <a:pt x="148" y="358"/>
                  </a:lnTo>
                  <a:lnTo>
                    <a:pt x="161" y="419"/>
                  </a:lnTo>
                  <a:lnTo>
                    <a:pt x="178" y="479"/>
                  </a:lnTo>
                  <a:lnTo>
                    <a:pt x="200" y="538"/>
                  </a:lnTo>
                  <a:lnTo>
                    <a:pt x="227" y="595"/>
                  </a:lnTo>
                  <a:lnTo>
                    <a:pt x="257" y="650"/>
                  </a:lnTo>
                  <a:lnTo>
                    <a:pt x="291" y="702"/>
                  </a:lnTo>
                  <a:lnTo>
                    <a:pt x="328" y="751"/>
                  </a:lnTo>
                  <a:lnTo>
                    <a:pt x="369" y="797"/>
                  </a:lnTo>
                  <a:lnTo>
                    <a:pt x="413" y="841"/>
                  </a:lnTo>
                  <a:lnTo>
                    <a:pt x="459" y="882"/>
                  </a:lnTo>
                  <a:lnTo>
                    <a:pt x="509" y="919"/>
                  </a:lnTo>
                  <a:lnTo>
                    <a:pt x="562" y="951"/>
                  </a:lnTo>
                  <a:lnTo>
                    <a:pt x="617" y="981"/>
                  </a:lnTo>
                  <a:lnTo>
                    <a:pt x="673" y="1007"/>
                  </a:lnTo>
                  <a:lnTo>
                    <a:pt x="732" y="1027"/>
                  </a:lnTo>
                  <a:lnTo>
                    <a:pt x="791" y="1045"/>
                  </a:lnTo>
                  <a:lnTo>
                    <a:pt x="852" y="1057"/>
                  </a:lnTo>
                  <a:lnTo>
                    <a:pt x="913" y="1067"/>
                  </a:lnTo>
                  <a:lnTo>
                    <a:pt x="975" y="1070"/>
                  </a:lnTo>
                  <a:lnTo>
                    <a:pt x="1037" y="1070"/>
                  </a:lnTo>
                  <a:lnTo>
                    <a:pt x="1098" y="1066"/>
                  </a:lnTo>
                  <a:lnTo>
                    <a:pt x="1160" y="1056"/>
                  </a:lnTo>
                  <a:lnTo>
                    <a:pt x="1220" y="1042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7" name="Freeform 6"/>
            <p:cNvSpPr>
              <a:spLocks/>
            </p:cNvSpPr>
            <p:nvPr/>
          </p:nvSpPr>
          <p:spPr bwMode="blackWhite">
            <a:xfrm>
              <a:off x="4404327" y="2233124"/>
              <a:ext cx="2074977" cy="3658858"/>
            </a:xfrm>
            <a:custGeom>
              <a:avLst/>
              <a:gdLst>
                <a:gd name="T0" fmla="*/ 633803 w 793"/>
                <a:gd name="T1" fmla="*/ 2831959 h 1440"/>
                <a:gd name="T2" fmla="*/ 753472 w 793"/>
                <a:gd name="T3" fmla="*/ 2776008 h 1440"/>
                <a:gd name="T4" fmla="*/ 868709 w 793"/>
                <a:gd name="T5" fmla="*/ 2711450 h 1440"/>
                <a:gd name="T6" fmla="*/ 979514 w 793"/>
                <a:gd name="T7" fmla="*/ 2636132 h 1440"/>
                <a:gd name="T8" fmla="*/ 1085886 w 793"/>
                <a:gd name="T9" fmla="*/ 2554358 h 1440"/>
                <a:gd name="T10" fmla="*/ 1185611 w 793"/>
                <a:gd name="T11" fmla="*/ 2466129 h 1440"/>
                <a:gd name="T12" fmla="*/ 1276471 w 793"/>
                <a:gd name="T13" fmla="*/ 2371443 h 1440"/>
                <a:gd name="T14" fmla="*/ 1365114 w 793"/>
                <a:gd name="T15" fmla="*/ 2270302 h 1440"/>
                <a:gd name="T16" fmla="*/ 1440462 w 793"/>
                <a:gd name="T17" fmla="*/ 2162704 h 1440"/>
                <a:gd name="T18" fmla="*/ 1511377 w 793"/>
                <a:gd name="T19" fmla="*/ 2050803 h 1440"/>
                <a:gd name="T20" fmla="*/ 1571211 w 793"/>
                <a:gd name="T21" fmla="*/ 1936750 h 1440"/>
                <a:gd name="T22" fmla="*/ 1626613 w 793"/>
                <a:gd name="T23" fmla="*/ 1816241 h 1440"/>
                <a:gd name="T24" fmla="*/ 1668719 w 793"/>
                <a:gd name="T25" fmla="*/ 1691428 h 1440"/>
                <a:gd name="T26" fmla="*/ 1706393 w 793"/>
                <a:gd name="T27" fmla="*/ 1564464 h 1440"/>
                <a:gd name="T28" fmla="*/ 1730770 w 793"/>
                <a:gd name="T29" fmla="*/ 1437499 h 1440"/>
                <a:gd name="T30" fmla="*/ 1748499 w 793"/>
                <a:gd name="T31" fmla="*/ 1308382 h 1440"/>
                <a:gd name="T32" fmla="*/ 1755147 w 793"/>
                <a:gd name="T33" fmla="*/ 1177114 h 1440"/>
                <a:gd name="T34" fmla="*/ 1750715 w 793"/>
                <a:gd name="T35" fmla="*/ 1047997 h 1440"/>
                <a:gd name="T36" fmla="*/ 1741850 w 793"/>
                <a:gd name="T37" fmla="*/ 918880 h 1440"/>
                <a:gd name="T38" fmla="*/ 1717473 w 793"/>
                <a:gd name="T39" fmla="*/ 789764 h 1440"/>
                <a:gd name="T40" fmla="*/ 1688664 w 793"/>
                <a:gd name="T41" fmla="*/ 662799 h 1440"/>
                <a:gd name="T42" fmla="*/ 1648774 w 793"/>
                <a:gd name="T43" fmla="*/ 535834 h 1440"/>
                <a:gd name="T44" fmla="*/ 1600020 w 793"/>
                <a:gd name="T45" fmla="*/ 415325 h 1440"/>
                <a:gd name="T46" fmla="*/ 1544618 w 793"/>
                <a:gd name="T47" fmla="*/ 294816 h 1440"/>
                <a:gd name="T48" fmla="*/ 1478135 w 793"/>
                <a:gd name="T49" fmla="*/ 180763 h 1440"/>
                <a:gd name="T50" fmla="*/ 1416085 w 793"/>
                <a:gd name="T51" fmla="*/ 88230 h 1440"/>
                <a:gd name="T52" fmla="*/ 1349602 w 793"/>
                <a:gd name="T53" fmla="*/ 0 h 1440"/>
                <a:gd name="T54" fmla="*/ 1154585 w 793"/>
                <a:gd name="T55" fmla="*/ 531530 h 1440"/>
                <a:gd name="T56" fmla="*/ 613858 w 793"/>
                <a:gd name="T57" fmla="*/ 602545 h 1440"/>
                <a:gd name="T58" fmla="*/ 651532 w 793"/>
                <a:gd name="T59" fmla="*/ 662799 h 1440"/>
                <a:gd name="T60" fmla="*/ 700286 w 793"/>
                <a:gd name="T61" fmla="*/ 746725 h 1440"/>
                <a:gd name="T62" fmla="*/ 735743 w 793"/>
                <a:gd name="T63" fmla="*/ 837106 h 1440"/>
                <a:gd name="T64" fmla="*/ 764553 w 793"/>
                <a:gd name="T65" fmla="*/ 927488 h 1440"/>
                <a:gd name="T66" fmla="*/ 782281 w 793"/>
                <a:gd name="T67" fmla="*/ 1022174 h 1440"/>
                <a:gd name="T68" fmla="*/ 791146 w 793"/>
                <a:gd name="T69" fmla="*/ 1116859 h 1440"/>
                <a:gd name="T70" fmla="*/ 786714 w 793"/>
                <a:gd name="T71" fmla="*/ 1213697 h 1440"/>
                <a:gd name="T72" fmla="*/ 775633 w 793"/>
                <a:gd name="T73" fmla="*/ 1308382 h 1440"/>
                <a:gd name="T74" fmla="*/ 751256 w 793"/>
                <a:gd name="T75" fmla="*/ 1403068 h 1440"/>
                <a:gd name="T76" fmla="*/ 720231 w 793"/>
                <a:gd name="T77" fmla="*/ 1493449 h 1440"/>
                <a:gd name="T78" fmla="*/ 678125 w 793"/>
                <a:gd name="T79" fmla="*/ 1579527 h 1440"/>
                <a:gd name="T80" fmla="*/ 629371 w 793"/>
                <a:gd name="T81" fmla="*/ 1661301 h 1440"/>
                <a:gd name="T82" fmla="*/ 569536 w 793"/>
                <a:gd name="T83" fmla="*/ 1738771 h 1440"/>
                <a:gd name="T84" fmla="*/ 503053 w 793"/>
                <a:gd name="T85" fmla="*/ 1809785 h 1440"/>
                <a:gd name="T86" fmla="*/ 427706 w 793"/>
                <a:gd name="T87" fmla="*/ 1874344 h 1440"/>
                <a:gd name="T88" fmla="*/ 345711 w 793"/>
                <a:gd name="T89" fmla="*/ 1928142 h 1440"/>
                <a:gd name="T90" fmla="*/ 250419 w 793"/>
                <a:gd name="T91" fmla="*/ 1637630 h 1440"/>
                <a:gd name="T92" fmla="*/ 0 w 793"/>
                <a:gd name="T93" fmla="*/ 2515623 h 1440"/>
                <a:gd name="T94" fmla="*/ 711366 w 793"/>
                <a:gd name="T95" fmla="*/ 3096648 h 1440"/>
                <a:gd name="T96" fmla="*/ 633803 w 793"/>
                <a:gd name="T97" fmla="*/ 2831959 h 14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93"/>
                <a:gd name="T148" fmla="*/ 0 h 1440"/>
                <a:gd name="T149" fmla="*/ 793 w 793"/>
                <a:gd name="T150" fmla="*/ 1440 h 14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93" h="1440">
                  <a:moveTo>
                    <a:pt x="286" y="1316"/>
                  </a:moveTo>
                  <a:lnTo>
                    <a:pt x="340" y="1290"/>
                  </a:lnTo>
                  <a:lnTo>
                    <a:pt x="392" y="1260"/>
                  </a:lnTo>
                  <a:lnTo>
                    <a:pt x="442" y="1225"/>
                  </a:lnTo>
                  <a:lnTo>
                    <a:pt x="490" y="1187"/>
                  </a:lnTo>
                  <a:lnTo>
                    <a:pt x="535" y="1146"/>
                  </a:lnTo>
                  <a:lnTo>
                    <a:pt x="576" y="1102"/>
                  </a:lnTo>
                  <a:lnTo>
                    <a:pt x="616" y="1055"/>
                  </a:lnTo>
                  <a:lnTo>
                    <a:pt x="650" y="1005"/>
                  </a:lnTo>
                  <a:lnTo>
                    <a:pt x="682" y="953"/>
                  </a:lnTo>
                  <a:lnTo>
                    <a:pt x="709" y="900"/>
                  </a:lnTo>
                  <a:lnTo>
                    <a:pt x="734" y="844"/>
                  </a:lnTo>
                  <a:lnTo>
                    <a:pt x="753" y="786"/>
                  </a:lnTo>
                  <a:lnTo>
                    <a:pt x="770" y="727"/>
                  </a:lnTo>
                  <a:lnTo>
                    <a:pt x="781" y="668"/>
                  </a:lnTo>
                  <a:lnTo>
                    <a:pt x="789" y="608"/>
                  </a:lnTo>
                  <a:lnTo>
                    <a:pt x="792" y="547"/>
                  </a:lnTo>
                  <a:lnTo>
                    <a:pt x="790" y="487"/>
                  </a:lnTo>
                  <a:lnTo>
                    <a:pt x="786" y="427"/>
                  </a:lnTo>
                  <a:lnTo>
                    <a:pt x="775" y="367"/>
                  </a:lnTo>
                  <a:lnTo>
                    <a:pt x="762" y="308"/>
                  </a:lnTo>
                  <a:lnTo>
                    <a:pt x="744" y="249"/>
                  </a:lnTo>
                  <a:lnTo>
                    <a:pt x="722" y="193"/>
                  </a:lnTo>
                  <a:lnTo>
                    <a:pt x="697" y="137"/>
                  </a:lnTo>
                  <a:lnTo>
                    <a:pt x="667" y="84"/>
                  </a:lnTo>
                  <a:lnTo>
                    <a:pt x="639" y="41"/>
                  </a:lnTo>
                  <a:lnTo>
                    <a:pt x="609" y="0"/>
                  </a:lnTo>
                  <a:lnTo>
                    <a:pt x="521" y="247"/>
                  </a:lnTo>
                  <a:lnTo>
                    <a:pt x="277" y="280"/>
                  </a:lnTo>
                  <a:lnTo>
                    <a:pt x="294" y="308"/>
                  </a:lnTo>
                  <a:lnTo>
                    <a:pt x="316" y="347"/>
                  </a:lnTo>
                  <a:lnTo>
                    <a:pt x="332" y="389"/>
                  </a:lnTo>
                  <a:lnTo>
                    <a:pt x="345" y="431"/>
                  </a:lnTo>
                  <a:lnTo>
                    <a:pt x="353" y="475"/>
                  </a:lnTo>
                  <a:lnTo>
                    <a:pt x="357" y="519"/>
                  </a:lnTo>
                  <a:lnTo>
                    <a:pt x="355" y="564"/>
                  </a:lnTo>
                  <a:lnTo>
                    <a:pt x="350" y="608"/>
                  </a:lnTo>
                  <a:lnTo>
                    <a:pt x="339" y="652"/>
                  </a:lnTo>
                  <a:lnTo>
                    <a:pt x="325" y="694"/>
                  </a:lnTo>
                  <a:lnTo>
                    <a:pt x="306" y="734"/>
                  </a:lnTo>
                  <a:lnTo>
                    <a:pt x="284" y="772"/>
                  </a:lnTo>
                  <a:lnTo>
                    <a:pt x="257" y="808"/>
                  </a:lnTo>
                  <a:lnTo>
                    <a:pt x="227" y="841"/>
                  </a:lnTo>
                  <a:lnTo>
                    <a:pt x="193" y="871"/>
                  </a:lnTo>
                  <a:lnTo>
                    <a:pt x="156" y="896"/>
                  </a:lnTo>
                  <a:lnTo>
                    <a:pt x="113" y="761"/>
                  </a:lnTo>
                  <a:lnTo>
                    <a:pt x="0" y="1169"/>
                  </a:lnTo>
                  <a:lnTo>
                    <a:pt x="321" y="1439"/>
                  </a:lnTo>
                  <a:lnTo>
                    <a:pt x="286" y="1316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Text Box 7"/>
            <p:cNvSpPr txBox="1">
              <a:spLocks noChangeArrowheads="1"/>
            </p:cNvSpPr>
            <p:nvPr/>
          </p:nvSpPr>
          <p:spPr bwMode="auto">
            <a:xfrm>
              <a:off x="5266557" y="4061720"/>
              <a:ext cx="1079663" cy="27907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1042507">
                <a:spcBef>
                  <a:spcPct val="50000"/>
                </a:spcBef>
                <a:defRPr/>
              </a:pPr>
              <a:r>
                <a:rPr lang="en-GB" sz="1596">
                  <a:solidFill>
                    <a:schemeClr val="bg1"/>
                  </a:solidFill>
                  <a:latin typeface="Arial"/>
                  <a:cs typeface="Arial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27659" name="Text Box 8"/>
            <p:cNvSpPr txBox="1">
              <a:spLocks noChangeArrowheads="1"/>
            </p:cNvSpPr>
            <p:nvPr/>
          </p:nvSpPr>
          <p:spPr bwMode="auto">
            <a:xfrm>
              <a:off x="2417535" y="4560990"/>
              <a:ext cx="1156341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60" name="Text Box 9"/>
            <p:cNvSpPr txBox="1">
              <a:spLocks noChangeArrowheads="1"/>
            </p:cNvSpPr>
            <p:nvPr/>
          </p:nvSpPr>
          <p:spPr bwMode="auto">
            <a:xfrm>
              <a:off x="3296547" y="1902396"/>
              <a:ext cx="1079663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7478665"/>
      </p:ext>
    </p:extLst>
  </p:cSld>
  <p:clrMapOvr>
    <a:masterClrMapping/>
  </p:clrMapOvr>
  <p:transition spd="med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4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946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8674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2A8DCC9-1965-4CD6-A886-B373C9FDCD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675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8676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867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D01DEE-EDEB-4BEF-BF6F-A99CD8A5525B}" type="slidenum">
              <a:rPr lang="en-GB" smtClean="0"/>
              <a:pPr/>
              <a:t>46</a:t>
            </a:fld>
            <a:endParaRPr lang="en-GB" dirty="0"/>
          </a:p>
        </p:txBody>
      </p:sp>
      <p:sp>
        <p:nvSpPr>
          <p:cNvPr id="28678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E87E722-AD6D-4AD9-8989-D0DFDA3D0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1DBBAB1-D885-91D2-5C06-76B2FE05B8F2}"/>
              </a:ext>
            </a:extLst>
          </p:cNvPr>
          <p:cNvGrpSpPr/>
          <p:nvPr/>
        </p:nvGrpSpPr>
        <p:grpSpPr>
          <a:xfrm rot="2354946">
            <a:off x="1835359" y="1650349"/>
            <a:ext cx="4775415" cy="4554909"/>
            <a:chOff x="1927482" y="1509314"/>
            <a:chExt cx="4658669" cy="4443554"/>
          </a:xfrm>
        </p:grpSpPr>
        <p:sp>
          <p:nvSpPr>
            <p:cNvPr id="28679" name="Freeform 4"/>
            <p:cNvSpPr>
              <a:spLocks/>
            </p:cNvSpPr>
            <p:nvPr/>
          </p:nvSpPr>
          <p:spPr bwMode="blackWhite">
            <a:xfrm>
              <a:off x="2206641" y="1509314"/>
              <a:ext cx="2428683" cy="1970535"/>
            </a:xfrm>
            <a:custGeom>
              <a:avLst/>
              <a:gdLst>
                <a:gd name="T0" fmla="*/ 1010690 w 1057"/>
                <a:gd name="T1" fmla="*/ 1860550 h 900"/>
                <a:gd name="T2" fmla="*/ 1046231 w 1057"/>
                <a:gd name="T3" fmla="*/ 1773767 h 900"/>
                <a:gd name="T4" fmla="*/ 1088436 w 1057"/>
                <a:gd name="T5" fmla="*/ 1691217 h 900"/>
                <a:gd name="T6" fmla="*/ 1141747 w 1057"/>
                <a:gd name="T7" fmla="*/ 1612900 h 900"/>
                <a:gd name="T8" fmla="*/ 1201722 w 1057"/>
                <a:gd name="T9" fmla="*/ 1540933 h 900"/>
                <a:gd name="T10" fmla="*/ 1266140 w 1057"/>
                <a:gd name="T11" fmla="*/ 1473200 h 900"/>
                <a:gd name="T12" fmla="*/ 1339443 w 1057"/>
                <a:gd name="T13" fmla="*/ 1411817 h 900"/>
                <a:gd name="T14" fmla="*/ 1419409 w 1057"/>
                <a:gd name="T15" fmla="*/ 1358900 h 900"/>
                <a:gd name="T16" fmla="*/ 1501597 w 1057"/>
                <a:gd name="T17" fmla="*/ 1314450 h 900"/>
                <a:gd name="T18" fmla="*/ 1583785 w 1057"/>
                <a:gd name="T19" fmla="*/ 1280584 h 900"/>
                <a:gd name="T20" fmla="*/ 1672637 w 1057"/>
                <a:gd name="T21" fmla="*/ 1250950 h 900"/>
                <a:gd name="T22" fmla="*/ 1761489 w 1057"/>
                <a:gd name="T23" fmla="*/ 1229784 h 900"/>
                <a:gd name="T24" fmla="*/ 1852562 w 1057"/>
                <a:gd name="T25" fmla="*/ 1217084 h 900"/>
                <a:gd name="T26" fmla="*/ 1850341 w 1057"/>
                <a:gd name="T27" fmla="*/ 1504950 h 900"/>
                <a:gd name="T28" fmla="*/ 2345691 w 1057"/>
                <a:gd name="T29" fmla="*/ 791633 h 900"/>
                <a:gd name="T30" fmla="*/ 1817021 w 1057"/>
                <a:gd name="T31" fmla="*/ 0 h 900"/>
                <a:gd name="T32" fmla="*/ 1819243 w 1057"/>
                <a:gd name="T33" fmla="*/ 289983 h 900"/>
                <a:gd name="T34" fmla="*/ 1681522 w 1057"/>
                <a:gd name="T35" fmla="*/ 302683 h 900"/>
                <a:gd name="T36" fmla="*/ 1541581 w 1057"/>
                <a:gd name="T37" fmla="*/ 325967 h 900"/>
                <a:gd name="T38" fmla="*/ 1408303 w 1057"/>
                <a:gd name="T39" fmla="*/ 355600 h 900"/>
                <a:gd name="T40" fmla="*/ 1275025 w 1057"/>
                <a:gd name="T41" fmla="*/ 397933 h 900"/>
                <a:gd name="T42" fmla="*/ 1146190 w 1057"/>
                <a:gd name="T43" fmla="*/ 446617 h 900"/>
                <a:gd name="T44" fmla="*/ 1021797 w 1057"/>
                <a:gd name="T45" fmla="*/ 503767 h 900"/>
                <a:gd name="T46" fmla="*/ 899626 w 1057"/>
                <a:gd name="T47" fmla="*/ 571500 h 900"/>
                <a:gd name="T48" fmla="*/ 781897 w 1057"/>
                <a:gd name="T49" fmla="*/ 647700 h 900"/>
                <a:gd name="T50" fmla="*/ 670832 w 1057"/>
                <a:gd name="T51" fmla="*/ 732367 h 900"/>
                <a:gd name="T52" fmla="*/ 566431 w 1057"/>
                <a:gd name="T53" fmla="*/ 825500 h 900"/>
                <a:gd name="T54" fmla="*/ 468694 w 1057"/>
                <a:gd name="T55" fmla="*/ 924983 h 900"/>
                <a:gd name="T56" fmla="*/ 377621 w 1057"/>
                <a:gd name="T57" fmla="*/ 1028700 h 900"/>
                <a:gd name="T58" fmla="*/ 297654 w 1057"/>
                <a:gd name="T59" fmla="*/ 1140884 h 900"/>
                <a:gd name="T60" fmla="*/ 224351 w 1057"/>
                <a:gd name="T61" fmla="*/ 1259417 h 900"/>
                <a:gd name="T62" fmla="*/ 159933 w 1057"/>
                <a:gd name="T63" fmla="*/ 1382183 h 900"/>
                <a:gd name="T64" fmla="*/ 104401 w 1057"/>
                <a:gd name="T65" fmla="*/ 1504950 h 900"/>
                <a:gd name="T66" fmla="*/ 59975 w 1057"/>
                <a:gd name="T67" fmla="*/ 1636183 h 900"/>
                <a:gd name="T68" fmla="*/ 24434 w 1057"/>
                <a:gd name="T69" fmla="*/ 1767417 h 900"/>
                <a:gd name="T70" fmla="*/ 0 w 1057"/>
                <a:gd name="T71" fmla="*/ 1902883 h 900"/>
                <a:gd name="T72" fmla="*/ 528669 w 1057"/>
                <a:gd name="T73" fmla="*/ 1568450 h 900"/>
                <a:gd name="T74" fmla="*/ 1010690 w 1057"/>
                <a:gd name="T75" fmla="*/ 1860550 h 9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57"/>
                <a:gd name="T115" fmla="*/ 0 h 900"/>
                <a:gd name="T116" fmla="*/ 1057 w 1057"/>
                <a:gd name="T117" fmla="*/ 900 h 9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57" h="900">
                  <a:moveTo>
                    <a:pt x="455" y="879"/>
                  </a:moveTo>
                  <a:lnTo>
                    <a:pt x="471" y="838"/>
                  </a:lnTo>
                  <a:lnTo>
                    <a:pt x="490" y="799"/>
                  </a:lnTo>
                  <a:lnTo>
                    <a:pt x="514" y="762"/>
                  </a:lnTo>
                  <a:lnTo>
                    <a:pt x="541" y="728"/>
                  </a:lnTo>
                  <a:lnTo>
                    <a:pt x="570" y="696"/>
                  </a:lnTo>
                  <a:lnTo>
                    <a:pt x="603" y="667"/>
                  </a:lnTo>
                  <a:lnTo>
                    <a:pt x="639" y="642"/>
                  </a:lnTo>
                  <a:lnTo>
                    <a:pt x="676" y="621"/>
                  </a:lnTo>
                  <a:lnTo>
                    <a:pt x="713" y="605"/>
                  </a:lnTo>
                  <a:lnTo>
                    <a:pt x="753" y="591"/>
                  </a:lnTo>
                  <a:lnTo>
                    <a:pt x="793" y="581"/>
                  </a:lnTo>
                  <a:lnTo>
                    <a:pt x="834" y="575"/>
                  </a:lnTo>
                  <a:lnTo>
                    <a:pt x="833" y="711"/>
                  </a:lnTo>
                  <a:lnTo>
                    <a:pt x="1056" y="374"/>
                  </a:lnTo>
                  <a:lnTo>
                    <a:pt x="818" y="0"/>
                  </a:lnTo>
                  <a:lnTo>
                    <a:pt x="819" y="137"/>
                  </a:lnTo>
                  <a:lnTo>
                    <a:pt x="757" y="143"/>
                  </a:lnTo>
                  <a:lnTo>
                    <a:pt x="694" y="154"/>
                  </a:lnTo>
                  <a:lnTo>
                    <a:pt x="634" y="168"/>
                  </a:lnTo>
                  <a:lnTo>
                    <a:pt x="574" y="188"/>
                  </a:lnTo>
                  <a:lnTo>
                    <a:pt x="516" y="211"/>
                  </a:lnTo>
                  <a:lnTo>
                    <a:pt x="460" y="238"/>
                  </a:lnTo>
                  <a:lnTo>
                    <a:pt x="405" y="270"/>
                  </a:lnTo>
                  <a:lnTo>
                    <a:pt x="352" y="306"/>
                  </a:lnTo>
                  <a:lnTo>
                    <a:pt x="302" y="346"/>
                  </a:lnTo>
                  <a:lnTo>
                    <a:pt x="255" y="390"/>
                  </a:lnTo>
                  <a:lnTo>
                    <a:pt x="211" y="437"/>
                  </a:lnTo>
                  <a:lnTo>
                    <a:pt x="170" y="486"/>
                  </a:lnTo>
                  <a:lnTo>
                    <a:pt x="134" y="539"/>
                  </a:lnTo>
                  <a:lnTo>
                    <a:pt x="101" y="595"/>
                  </a:lnTo>
                  <a:lnTo>
                    <a:pt x="72" y="653"/>
                  </a:lnTo>
                  <a:lnTo>
                    <a:pt x="47" y="711"/>
                  </a:lnTo>
                  <a:lnTo>
                    <a:pt x="27" y="773"/>
                  </a:lnTo>
                  <a:lnTo>
                    <a:pt x="11" y="835"/>
                  </a:lnTo>
                  <a:lnTo>
                    <a:pt x="0" y="899"/>
                  </a:lnTo>
                  <a:lnTo>
                    <a:pt x="238" y="741"/>
                  </a:lnTo>
                  <a:lnTo>
                    <a:pt x="455" y="879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0" name="Freeform 5"/>
            <p:cNvSpPr>
              <a:spLocks/>
            </p:cNvSpPr>
            <p:nvPr/>
          </p:nvSpPr>
          <p:spPr bwMode="blackWhite">
            <a:xfrm>
              <a:off x="3830689" y="3974123"/>
              <a:ext cx="2371209" cy="1978745"/>
            </a:xfrm>
            <a:custGeom>
              <a:avLst/>
              <a:gdLst>
                <a:gd name="T0" fmla="*/ 1298185 w 1033"/>
                <a:gd name="T1" fmla="*/ 2116 h 904"/>
                <a:gd name="T2" fmla="*/ 1271555 w 1033"/>
                <a:gd name="T3" fmla="*/ 86759 h 904"/>
                <a:gd name="T4" fmla="*/ 1233830 w 1033"/>
                <a:gd name="T5" fmla="*/ 165054 h 904"/>
                <a:gd name="T6" fmla="*/ 1191667 w 1033"/>
                <a:gd name="T7" fmla="*/ 245465 h 904"/>
                <a:gd name="T8" fmla="*/ 1140627 w 1033"/>
                <a:gd name="T9" fmla="*/ 317412 h 904"/>
                <a:gd name="T10" fmla="*/ 1082930 w 1033"/>
                <a:gd name="T11" fmla="*/ 385127 h 904"/>
                <a:gd name="T12" fmla="*/ 1018575 w 1033"/>
                <a:gd name="T13" fmla="*/ 448609 h 904"/>
                <a:gd name="T14" fmla="*/ 947564 w 1033"/>
                <a:gd name="T15" fmla="*/ 505744 h 904"/>
                <a:gd name="T16" fmla="*/ 872114 w 1033"/>
                <a:gd name="T17" fmla="*/ 554414 h 904"/>
                <a:gd name="T18" fmla="*/ 790006 w 1033"/>
                <a:gd name="T19" fmla="*/ 598851 h 904"/>
                <a:gd name="T20" fmla="*/ 703461 w 1033"/>
                <a:gd name="T21" fmla="*/ 636941 h 904"/>
                <a:gd name="T22" fmla="*/ 614696 w 1033"/>
                <a:gd name="T23" fmla="*/ 664450 h 904"/>
                <a:gd name="T24" fmla="*/ 523712 w 1033"/>
                <a:gd name="T25" fmla="*/ 683495 h 904"/>
                <a:gd name="T26" fmla="*/ 521493 w 1033"/>
                <a:gd name="T27" fmla="*/ 395707 h 904"/>
                <a:gd name="T28" fmla="*/ 352840 w 1033"/>
                <a:gd name="T29" fmla="*/ 630592 h 904"/>
                <a:gd name="T30" fmla="*/ 177530 w 1033"/>
                <a:gd name="T31" fmla="*/ 865478 h 904"/>
                <a:gd name="T32" fmla="*/ 0 w 1033"/>
                <a:gd name="T33" fmla="*/ 1094015 h 904"/>
                <a:gd name="T34" fmla="*/ 523712 w 1033"/>
                <a:gd name="T35" fmla="*/ 1910822 h 904"/>
                <a:gd name="T36" fmla="*/ 523712 w 1033"/>
                <a:gd name="T37" fmla="*/ 1620919 h 904"/>
                <a:gd name="T38" fmla="*/ 654640 w 1033"/>
                <a:gd name="T39" fmla="*/ 1606106 h 904"/>
                <a:gd name="T40" fmla="*/ 783349 w 1033"/>
                <a:gd name="T41" fmla="*/ 1580713 h 904"/>
                <a:gd name="T42" fmla="*/ 912058 w 1033"/>
                <a:gd name="T43" fmla="*/ 1551088 h 904"/>
                <a:gd name="T44" fmla="*/ 1036328 w 1033"/>
                <a:gd name="T45" fmla="*/ 1508766 h 904"/>
                <a:gd name="T46" fmla="*/ 1158380 w 1033"/>
                <a:gd name="T47" fmla="*/ 1462213 h 904"/>
                <a:gd name="T48" fmla="*/ 1275993 w 1033"/>
                <a:gd name="T49" fmla="*/ 1407195 h 904"/>
                <a:gd name="T50" fmla="*/ 1389168 w 1033"/>
                <a:gd name="T51" fmla="*/ 1343712 h 904"/>
                <a:gd name="T52" fmla="*/ 1500124 w 1033"/>
                <a:gd name="T53" fmla="*/ 1271765 h 904"/>
                <a:gd name="T54" fmla="*/ 1606642 w 1033"/>
                <a:gd name="T55" fmla="*/ 1193470 h 904"/>
                <a:gd name="T56" fmla="*/ 1704283 w 1033"/>
                <a:gd name="T57" fmla="*/ 1110943 h 904"/>
                <a:gd name="T58" fmla="*/ 1799705 w 1033"/>
                <a:gd name="T59" fmla="*/ 1017835 h 904"/>
                <a:gd name="T60" fmla="*/ 1884032 w 1033"/>
                <a:gd name="T61" fmla="*/ 920496 h 904"/>
                <a:gd name="T62" fmla="*/ 1961701 w 1033"/>
                <a:gd name="T63" fmla="*/ 818924 h 904"/>
                <a:gd name="T64" fmla="*/ 2032713 w 1033"/>
                <a:gd name="T65" fmla="*/ 713120 h 904"/>
                <a:gd name="T66" fmla="*/ 2097067 w 1033"/>
                <a:gd name="T67" fmla="*/ 600967 h 904"/>
                <a:gd name="T68" fmla="*/ 2152545 w 1033"/>
                <a:gd name="T69" fmla="*/ 488815 h 904"/>
                <a:gd name="T70" fmla="*/ 2199147 w 1033"/>
                <a:gd name="T71" fmla="*/ 368198 h 904"/>
                <a:gd name="T72" fmla="*/ 2239091 w 1033"/>
                <a:gd name="T73" fmla="*/ 247582 h 904"/>
                <a:gd name="T74" fmla="*/ 2270158 w 1033"/>
                <a:gd name="T75" fmla="*/ 122733 h 904"/>
                <a:gd name="T76" fmla="*/ 2290131 w 1033"/>
                <a:gd name="T77" fmla="*/ 0 h 904"/>
                <a:gd name="T78" fmla="*/ 1801924 w 1033"/>
                <a:gd name="T79" fmla="*/ 279323 h 904"/>
                <a:gd name="T80" fmla="*/ 1298185 w 1033"/>
                <a:gd name="T81" fmla="*/ 2116 h 90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3"/>
                <a:gd name="T124" fmla="*/ 0 h 904"/>
                <a:gd name="T125" fmla="*/ 1033 w 1033"/>
                <a:gd name="T126" fmla="*/ 904 h 90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3" h="904">
                  <a:moveTo>
                    <a:pt x="585" y="1"/>
                  </a:moveTo>
                  <a:lnTo>
                    <a:pt x="573" y="41"/>
                  </a:lnTo>
                  <a:lnTo>
                    <a:pt x="556" y="78"/>
                  </a:lnTo>
                  <a:lnTo>
                    <a:pt x="537" y="116"/>
                  </a:lnTo>
                  <a:lnTo>
                    <a:pt x="514" y="150"/>
                  </a:lnTo>
                  <a:lnTo>
                    <a:pt x="488" y="182"/>
                  </a:lnTo>
                  <a:lnTo>
                    <a:pt x="459" y="212"/>
                  </a:lnTo>
                  <a:lnTo>
                    <a:pt x="427" y="239"/>
                  </a:lnTo>
                  <a:lnTo>
                    <a:pt x="393" y="262"/>
                  </a:lnTo>
                  <a:lnTo>
                    <a:pt x="356" y="283"/>
                  </a:lnTo>
                  <a:lnTo>
                    <a:pt x="317" y="301"/>
                  </a:lnTo>
                  <a:lnTo>
                    <a:pt x="277" y="314"/>
                  </a:lnTo>
                  <a:lnTo>
                    <a:pt x="236" y="323"/>
                  </a:lnTo>
                  <a:lnTo>
                    <a:pt x="235" y="187"/>
                  </a:lnTo>
                  <a:lnTo>
                    <a:pt x="159" y="298"/>
                  </a:lnTo>
                  <a:lnTo>
                    <a:pt x="80" y="409"/>
                  </a:lnTo>
                  <a:lnTo>
                    <a:pt x="0" y="517"/>
                  </a:lnTo>
                  <a:lnTo>
                    <a:pt x="236" y="903"/>
                  </a:lnTo>
                  <a:lnTo>
                    <a:pt x="236" y="766"/>
                  </a:lnTo>
                  <a:lnTo>
                    <a:pt x="295" y="759"/>
                  </a:lnTo>
                  <a:lnTo>
                    <a:pt x="353" y="747"/>
                  </a:lnTo>
                  <a:lnTo>
                    <a:pt x="411" y="733"/>
                  </a:lnTo>
                  <a:lnTo>
                    <a:pt x="467" y="713"/>
                  </a:lnTo>
                  <a:lnTo>
                    <a:pt x="522" y="691"/>
                  </a:lnTo>
                  <a:lnTo>
                    <a:pt x="575" y="665"/>
                  </a:lnTo>
                  <a:lnTo>
                    <a:pt x="626" y="635"/>
                  </a:lnTo>
                  <a:lnTo>
                    <a:pt x="676" y="601"/>
                  </a:lnTo>
                  <a:lnTo>
                    <a:pt x="724" y="564"/>
                  </a:lnTo>
                  <a:lnTo>
                    <a:pt x="768" y="525"/>
                  </a:lnTo>
                  <a:lnTo>
                    <a:pt x="811" y="481"/>
                  </a:lnTo>
                  <a:lnTo>
                    <a:pt x="849" y="435"/>
                  </a:lnTo>
                  <a:lnTo>
                    <a:pt x="884" y="387"/>
                  </a:lnTo>
                  <a:lnTo>
                    <a:pt x="916" y="337"/>
                  </a:lnTo>
                  <a:lnTo>
                    <a:pt x="945" y="284"/>
                  </a:lnTo>
                  <a:lnTo>
                    <a:pt x="970" y="231"/>
                  </a:lnTo>
                  <a:lnTo>
                    <a:pt x="991" y="174"/>
                  </a:lnTo>
                  <a:lnTo>
                    <a:pt x="1009" y="117"/>
                  </a:lnTo>
                  <a:lnTo>
                    <a:pt x="1023" y="58"/>
                  </a:lnTo>
                  <a:lnTo>
                    <a:pt x="1032" y="0"/>
                  </a:lnTo>
                  <a:lnTo>
                    <a:pt x="812" y="132"/>
                  </a:lnTo>
                  <a:lnTo>
                    <a:pt x="585" y="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1" name="Freeform 6"/>
            <p:cNvSpPr>
              <a:spLocks/>
            </p:cNvSpPr>
            <p:nvPr/>
          </p:nvSpPr>
          <p:spPr bwMode="blackWhite">
            <a:xfrm>
              <a:off x="1927482" y="3253237"/>
              <a:ext cx="2136386" cy="2354788"/>
            </a:xfrm>
            <a:custGeom>
              <a:avLst/>
              <a:gdLst>
                <a:gd name="T0" fmla="*/ 2063116 w 930"/>
                <a:gd name="T1" fmla="*/ 1365885 h 1075"/>
                <a:gd name="T2" fmla="*/ 1969843 w 930"/>
                <a:gd name="T3" fmla="*/ 1342591 h 1075"/>
                <a:gd name="T4" fmla="*/ 1881011 w 930"/>
                <a:gd name="T5" fmla="*/ 1312944 h 1075"/>
                <a:gd name="T6" fmla="*/ 1792180 w 930"/>
                <a:gd name="T7" fmla="*/ 1276944 h 1075"/>
                <a:gd name="T8" fmla="*/ 1712231 w 930"/>
                <a:gd name="T9" fmla="*/ 1232473 h 1075"/>
                <a:gd name="T10" fmla="*/ 1632283 w 930"/>
                <a:gd name="T11" fmla="*/ 1179532 h 1075"/>
                <a:gd name="T12" fmla="*/ 1561217 w 930"/>
                <a:gd name="T13" fmla="*/ 1120237 h 1075"/>
                <a:gd name="T14" fmla="*/ 1494593 w 930"/>
                <a:gd name="T15" fmla="*/ 1052472 h 1075"/>
                <a:gd name="T16" fmla="*/ 1439074 w 930"/>
                <a:gd name="T17" fmla="*/ 984708 h 1075"/>
                <a:gd name="T18" fmla="*/ 1385775 w 930"/>
                <a:gd name="T19" fmla="*/ 906355 h 1075"/>
                <a:gd name="T20" fmla="*/ 1348021 w 930"/>
                <a:gd name="T21" fmla="*/ 842825 h 1075"/>
                <a:gd name="T22" fmla="*/ 1319151 w 930"/>
                <a:gd name="T23" fmla="*/ 775060 h 1075"/>
                <a:gd name="T24" fmla="*/ 1294722 w 930"/>
                <a:gd name="T25" fmla="*/ 703060 h 1075"/>
                <a:gd name="T26" fmla="*/ 1281397 w 930"/>
                <a:gd name="T27" fmla="*/ 631060 h 1075"/>
                <a:gd name="T28" fmla="*/ 1276956 w 930"/>
                <a:gd name="T29" fmla="*/ 559060 h 1075"/>
                <a:gd name="T30" fmla="*/ 1279177 w 930"/>
                <a:gd name="T31" fmla="*/ 484942 h 1075"/>
                <a:gd name="T32" fmla="*/ 1661153 w 930"/>
                <a:gd name="T33" fmla="*/ 484942 h 1075"/>
                <a:gd name="T34" fmla="*/ 799485 w 930"/>
                <a:gd name="T35" fmla="*/ 0 h 1075"/>
                <a:gd name="T36" fmla="*/ 0 w 930"/>
                <a:gd name="T37" fmla="*/ 499766 h 1075"/>
                <a:gd name="T38" fmla="*/ 302028 w 930"/>
                <a:gd name="T39" fmla="*/ 501883 h 1075"/>
                <a:gd name="T40" fmla="*/ 313132 w 930"/>
                <a:gd name="T41" fmla="*/ 633178 h 1075"/>
                <a:gd name="T42" fmla="*/ 333119 w 930"/>
                <a:gd name="T43" fmla="*/ 766590 h 1075"/>
                <a:gd name="T44" fmla="*/ 366431 w 930"/>
                <a:gd name="T45" fmla="*/ 893649 h 1075"/>
                <a:gd name="T46" fmla="*/ 404184 w 930"/>
                <a:gd name="T47" fmla="*/ 1022825 h 1075"/>
                <a:gd name="T48" fmla="*/ 453042 w 930"/>
                <a:gd name="T49" fmla="*/ 1145649 h 1075"/>
                <a:gd name="T50" fmla="*/ 513003 w 930"/>
                <a:gd name="T51" fmla="*/ 1266355 h 1075"/>
                <a:gd name="T52" fmla="*/ 581848 w 930"/>
                <a:gd name="T53" fmla="*/ 1382826 h 1075"/>
                <a:gd name="T54" fmla="*/ 657355 w 930"/>
                <a:gd name="T55" fmla="*/ 1490826 h 1075"/>
                <a:gd name="T56" fmla="*/ 739524 w 930"/>
                <a:gd name="T57" fmla="*/ 1592473 h 1075"/>
                <a:gd name="T58" fmla="*/ 830576 w 930"/>
                <a:gd name="T59" fmla="*/ 1687768 h 1075"/>
                <a:gd name="T60" fmla="*/ 930512 w 930"/>
                <a:gd name="T61" fmla="*/ 1780944 h 1075"/>
                <a:gd name="T62" fmla="*/ 1032669 w 930"/>
                <a:gd name="T63" fmla="*/ 1863533 h 1075"/>
                <a:gd name="T64" fmla="*/ 1141488 w 930"/>
                <a:gd name="T65" fmla="*/ 1941886 h 1075"/>
                <a:gd name="T66" fmla="*/ 1256969 w 930"/>
                <a:gd name="T67" fmla="*/ 2013886 h 1075"/>
                <a:gd name="T68" fmla="*/ 1376892 w 930"/>
                <a:gd name="T69" fmla="*/ 2075298 h 1075"/>
                <a:gd name="T70" fmla="*/ 1499035 w 930"/>
                <a:gd name="T71" fmla="*/ 2132474 h 1075"/>
                <a:gd name="T72" fmla="*/ 1625620 w 930"/>
                <a:gd name="T73" fmla="*/ 2179063 h 1075"/>
                <a:gd name="T74" fmla="*/ 1754426 w 930"/>
                <a:gd name="T75" fmla="*/ 2219298 h 1075"/>
                <a:gd name="T76" fmla="*/ 1885453 w 930"/>
                <a:gd name="T77" fmla="*/ 2248946 h 1075"/>
                <a:gd name="T78" fmla="*/ 2020921 w 930"/>
                <a:gd name="T79" fmla="*/ 2274357 h 1075"/>
                <a:gd name="T80" fmla="*/ 1714452 w 930"/>
                <a:gd name="T81" fmla="*/ 1789415 h 1075"/>
                <a:gd name="T82" fmla="*/ 2063116 w 930"/>
                <a:gd name="T83" fmla="*/ 1365885 h 10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30"/>
                <a:gd name="T127" fmla="*/ 0 h 1075"/>
                <a:gd name="T128" fmla="*/ 930 w 930"/>
                <a:gd name="T129" fmla="*/ 1075 h 10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30" h="1075">
                  <a:moveTo>
                    <a:pt x="929" y="645"/>
                  </a:moveTo>
                  <a:lnTo>
                    <a:pt x="887" y="634"/>
                  </a:lnTo>
                  <a:lnTo>
                    <a:pt x="847" y="620"/>
                  </a:lnTo>
                  <a:lnTo>
                    <a:pt x="807" y="603"/>
                  </a:lnTo>
                  <a:lnTo>
                    <a:pt x="771" y="582"/>
                  </a:lnTo>
                  <a:lnTo>
                    <a:pt x="735" y="557"/>
                  </a:lnTo>
                  <a:lnTo>
                    <a:pt x="703" y="529"/>
                  </a:lnTo>
                  <a:lnTo>
                    <a:pt x="673" y="497"/>
                  </a:lnTo>
                  <a:lnTo>
                    <a:pt x="648" y="465"/>
                  </a:lnTo>
                  <a:lnTo>
                    <a:pt x="624" y="428"/>
                  </a:lnTo>
                  <a:lnTo>
                    <a:pt x="607" y="398"/>
                  </a:lnTo>
                  <a:lnTo>
                    <a:pt x="594" y="366"/>
                  </a:lnTo>
                  <a:lnTo>
                    <a:pt x="583" y="332"/>
                  </a:lnTo>
                  <a:lnTo>
                    <a:pt x="577" y="298"/>
                  </a:lnTo>
                  <a:lnTo>
                    <a:pt x="575" y="264"/>
                  </a:lnTo>
                  <a:lnTo>
                    <a:pt x="576" y="229"/>
                  </a:lnTo>
                  <a:lnTo>
                    <a:pt x="748" y="229"/>
                  </a:lnTo>
                  <a:lnTo>
                    <a:pt x="360" y="0"/>
                  </a:lnTo>
                  <a:lnTo>
                    <a:pt x="0" y="236"/>
                  </a:lnTo>
                  <a:lnTo>
                    <a:pt x="136" y="237"/>
                  </a:lnTo>
                  <a:lnTo>
                    <a:pt x="141" y="299"/>
                  </a:lnTo>
                  <a:lnTo>
                    <a:pt x="150" y="362"/>
                  </a:lnTo>
                  <a:lnTo>
                    <a:pt x="165" y="422"/>
                  </a:lnTo>
                  <a:lnTo>
                    <a:pt x="182" y="483"/>
                  </a:lnTo>
                  <a:lnTo>
                    <a:pt x="204" y="541"/>
                  </a:lnTo>
                  <a:lnTo>
                    <a:pt x="231" y="598"/>
                  </a:lnTo>
                  <a:lnTo>
                    <a:pt x="262" y="653"/>
                  </a:lnTo>
                  <a:lnTo>
                    <a:pt x="296" y="704"/>
                  </a:lnTo>
                  <a:lnTo>
                    <a:pt x="333" y="752"/>
                  </a:lnTo>
                  <a:lnTo>
                    <a:pt x="374" y="797"/>
                  </a:lnTo>
                  <a:lnTo>
                    <a:pt x="419" y="841"/>
                  </a:lnTo>
                  <a:lnTo>
                    <a:pt x="465" y="880"/>
                  </a:lnTo>
                  <a:lnTo>
                    <a:pt x="514" y="917"/>
                  </a:lnTo>
                  <a:lnTo>
                    <a:pt x="566" y="951"/>
                  </a:lnTo>
                  <a:lnTo>
                    <a:pt x="620" y="980"/>
                  </a:lnTo>
                  <a:lnTo>
                    <a:pt x="675" y="1007"/>
                  </a:lnTo>
                  <a:lnTo>
                    <a:pt x="732" y="1029"/>
                  </a:lnTo>
                  <a:lnTo>
                    <a:pt x="790" y="1048"/>
                  </a:lnTo>
                  <a:lnTo>
                    <a:pt x="849" y="1062"/>
                  </a:lnTo>
                  <a:lnTo>
                    <a:pt x="910" y="1074"/>
                  </a:lnTo>
                  <a:lnTo>
                    <a:pt x="772" y="845"/>
                  </a:lnTo>
                  <a:lnTo>
                    <a:pt x="929" y="645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2" name="Freeform 7"/>
            <p:cNvSpPr>
              <a:spLocks/>
            </p:cNvSpPr>
            <p:nvPr/>
          </p:nvSpPr>
          <p:spPr bwMode="blackWhite">
            <a:xfrm>
              <a:off x="4421848" y="1819672"/>
              <a:ext cx="2164303" cy="2331798"/>
            </a:xfrm>
            <a:custGeom>
              <a:avLst/>
              <a:gdLst>
                <a:gd name="T0" fmla="*/ 1229213 w 943"/>
                <a:gd name="T1" fmla="*/ 2252133 h 1065"/>
                <a:gd name="T2" fmla="*/ 2090106 w 943"/>
                <a:gd name="T3" fmla="*/ 1778000 h 1065"/>
                <a:gd name="T4" fmla="*/ 1732880 w 943"/>
                <a:gd name="T5" fmla="*/ 1778000 h 1065"/>
                <a:gd name="T6" fmla="*/ 1721786 w 943"/>
                <a:gd name="T7" fmla="*/ 1646766 h 1065"/>
                <a:gd name="T8" fmla="*/ 1701817 w 943"/>
                <a:gd name="T9" fmla="*/ 1515533 h 1065"/>
                <a:gd name="T10" fmla="*/ 1672973 w 943"/>
                <a:gd name="T11" fmla="*/ 1386417 h 1065"/>
                <a:gd name="T12" fmla="*/ 1635253 w 943"/>
                <a:gd name="T13" fmla="*/ 1259417 h 1065"/>
                <a:gd name="T14" fmla="*/ 1584221 w 943"/>
                <a:gd name="T15" fmla="*/ 1134533 h 1065"/>
                <a:gd name="T16" fmla="*/ 1526532 w 943"/>
                <a:gd name="T17" fmla="*/ 1016000 h 1065"/>
                <a:gd name="T18" fmla="*/ 1459968 w 943"/>
                <a:gd name="T19" fmla="*/ 899583 h 1065"/>
                <a:gd name="T20" fmla="*/ 1384529 w 943"/>
                <a:gd name="T21" fmla="*/ 787400 h 1065"/>
                <a:gd name="T22" fmla="*/ 1300215 w 943"/>
                <a:gd name="T23" fmla="*/ 683683 h 1065"/>
                <a:gd name="T24" fmla="*/ 1213682 w 943"/>
                <a:gd name="T25" fmla="*/ 582083 h 1065"/>
                <a:gd name="T26" fmla="*/ 1113836 w 943"/>
                <a:gd name="T27" fmla="*/ 491067 h 1065"/>
                <a:gd name="T28" fmla="*/ 1009552 w 943"/>
                <a:gd name="T29" fmla="*/ 404283 h 1065"/>
                <a:gd name="T30" fmla="*/ 898613 w 943"/>
                <a:gd name="T31" fmla="*/ 323850 h 1065"/>
                <a:gd name="T32" fmla="*/ 781016 w 943"/>
                <a:gd name="T33" fmla="*/ 254000 h 1065"/>
                <a:gd name="T34" fmla="*/ 661201 w 943"/>
                <a:gd name="T35" fmla="*/ 188383 h 1065"/>
                <a:gd name="T36" fmla="*/ 534730 w 943"/>
                <a:gd name="T37" fmla="*/ 133350 h 1065"/>
                <a:gd name="T38" fmla="*/ 403821 w 943"/>
                <a:gd name="T39" fmla="*/ 86783 h 1065"/>
                <a:gd name="T40" fmla="*/ 270693 w 943"/>
                <a:gd name="T41" fmla="*/ 48683 h 1065"/>
                <a:gd name="T42" fmla="*/ 135347 w 943"/>
                <a:gd name="T43" fmla="*/ 19050 h 1065"/>
                <a:gd name="T44" fmla="*/ 0 w 943"/>
                <a:gd name="T45" fmla="*/ 0 h 1065"/>
                <a:gd name="T46" fmla="*/ 303975 w 943"/>
                <a:gd name="T47" fmla="*/ 478367 h 1065"/>
                <a:gd name="T48" fmla="*/ 11094 w 943"/>
                <a:gd name="T49" fmla="*/ 954616 h 1065"/>
                <a:gd name="T50" fmla="*/ 106502 w 943"/>
                <a:gd name="T51" fmla="*/ 984250 h 1065"/>
                <a:gd name="T52" fmla="*/ 199692 w 943"/>
                <a:gd name="T53" fmla="*/ 1022350 h 1065"/>
                <a:gd name="T54" fmla="*/ 288444 w 943"/>
                <a:gd name="T55" fmla="*/ 1068916 h 1065"/>
                <a:gd name="T56" fmla="*/ 372758 w 943"/>
                <a:gd name="T57" fmla="*/ 1123950 h 1065"/>
                <a:gd name="T58" fmla="*/ 448197 w 943"/>
                <a:gd name="T59" fmla="*/ 1187450 h 1065"/>
                <a:gd name="T60" fmla="*/ 516980 w 943"/>
                <a:gd name="T61" fmla="*/ 1257300 h 1065"/>
                <a:gd name="T62" fmla="*/ 581325 w 943"/>
                <a:gd name="T63" fmla="*/ 1331383 h 1065"/>
                <a:gd name="T64" fmla="*/ 632357 w 943"/>
                <a:gd name="T65" fmla="*/ 1413933 h 1065"/>
                <a:gd name="T66" fmla="*/ 676733 w 943"/>
                <a:gd name="T67" fmla="*/ 1500716 h 1065"/>
                <a:gd name="T68" fmla="*/ 712234 w 943"/>
                <a:gd name="T69" fmla="*/ 1589616 h 1065"/>
                <a:gd name="T70" fmla="*/ 738859 w 943"/>
                <a:gd name="T71" fmla="*/ 1682750 h 1065"/>
                <a:gd name="T72" fmla="*/ 754391 w 943"/>
                <a:gd name="T73" fmla="*/ 1778000 h 1065"/>
                <a:gd name="T74" fmla="*/ 417134 w 943"/>
                <a:gd name="T75" fmla="*/ 1780116 h 1065"/>
                <a:gd name="T76" fmla="*/ 1229213 w 943"/>
                <a:gd name="T77" fmla="*/ 2252133 h 106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43"/>
                <a:gd name="T118" fmla="*/ 0 h 1065"/>
                <a:gd name="T119" fmla="*/ 943 w 943"/>
                <a:gd name="T120" fmla="*/ 1065 h 106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43" h="1065">
                  <a:moveTo>
                    <a:pt x="554" y="1064"/>
                  </a:moveTo>
                  <a:lnTo>
                    <a:pt x="942" y="840"/>
                  </a:lnTo>
                  <a:lnTo>
                    <a:pt x="781" y="840"/>
                  </a:lnTo>
                  <a:lnTo>
                    <a:pt x="776" y="778"/>
                  </a:lnTo>
                  <a:lnTo>
                    <a:pt x="767" y="716"/>
                  </a:lnTo>
                  <a:lnTo>
                    <a:pt x="754" y="655"/>
                  </a:lnTo>
                  <a:lnTo>
                    <a:pt x="737" y="595"/>
                  </a:lnTo>
                  <a:lnTo>
                    <a:pt x="714" y="536"/>
                  </a:lnTo>
                  <a:lnTo>
                    <a:pt x="688" y="480"/>
                  </a:lnTo>
                  <a:lnTo>
                    <a:pt x="658" y="425"/>
                  </a:lnTo>
                  <a:lnTo>
                    <a:pt x="624" y="372"/>
                  </a:lnTo>
                  <a:lnTo>
                    <a:pt x="586" y="323"/>
                  </a:lnTo>
                  <a:lnTo>
                    <a:pt x="547" y="275"/>
                  </a:lnTo>
                  <a:lnTo>
                    <a:pt x="502" y="232"/>
                  </a:lnTo>
                  <a:lnTo>
                    <a:pt x="455" y="191"/>
                  </a:lnTo>
                  <a:lnTo>
                    <a:pt x="405" y="153"/>
                  </a:lnTo>
                  <a:lnTo>
                    <a:pt x="352" y="120"/>
                  </a:lnTo>
                  <a:lnTo>
                    <a:pt x="298" y="89"/>
                  </a:lnTo>
                  <a:lnTo>
                    <a:pt x="241" y="63"/>
                  </a:lnTo>
                  <a:lnTo>
                    <a:pt x="182" y="41"/>
                  </a:lnTo>
                  <a:lnTo>
                    <a:pt x="122" y="23"/>
                  </a:lnTo>
                  <a:lnTo>
                    <a:pt x="61" y="9"/>
                  </a:lnTo>
                  <a:lnTo>
                    <a:pt x="0" y="0"/>
                  </a:lnTo>
                  <a:lnTo>
                    <a:pt x="137" y="226"/>
                  </a:lnTo>
                  <a:lnTo>
                    <a:pt x="5" y="451"/>
                  </a:lnTo>
                  <a:lnTo>
                    <a:pt x="48" y="465"/>
                  </a:lnTo>
                  <a:lnTo>
                    <a:pt x="90" y="483"/>
                  </a:lnTo>
                  <a:lnTo>
                    <a:pt x="130" y="505"/>
                  </a:lnTo>
                  <a:lnTo>
                    <a:pt x="168" y="531"/>
                  </a:lnTo>
                  <a:lnTo>
                    <a:pt x="202" y="561"/>
                  </a:lnTo>
                  <a:lnTo>
                    <a:pt x="233" y="594"/>
                  </a:lnTo>
                  <a:lnTo>
                    <a:pt x="262" y="629"/>
                  </a:lnTo>
                  <a:lnTo>
                    <a:pt x="285" y="668"/>
                  </a:lnTo>
                  <a:lnTo>
                    <a:pt x="305" y="709"/>
                  </a:lnTo>
                  <a:lnTo>
                    <a:pt x="321" y="751"/>
                  </a:lnTo>
                  <a:lnTo>
                    <a:pt x="333" y="795"/>
                  </a:lnTo>
                  <a:lnTo>
                    <a:pt x="340" y="840"/>
                  </a:lnTo>
                  <a:lnTo>
                    <a:pt x="188" y="841"/>
                  </a:lnTo>
                  <a:lnTo>
                    <a:pt x="554" y="1064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683" name="Rectangle 8"/>
          <p:cNvSpPr>
            <a:spLocks noChangeArrowheads="1"/>
          </p:cNvSpPr>
          <p:nvPr/>
        </p:nvSpPr>
        <p:spPr bwMode="blackWhite">
          <a:xfrm>
            <a:off x="3469424" y="2272121"/>
            <a:ext cx="13119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blackWhite">
          <a:xfrm>
            <a:off x="5082102" y="3996806"/>
            <a:ext cx="970781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1">
            <a:spAutoFit/>
          </a:bodyPr>
          <a:lstStyle/>
          <a:p>
            <a:pPr algn="ctr" defTabSz="897715">
              <a:spcBef>
                <a:spcPts val="1368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28685" name="Rectangle 10"/>
          <p:cNvSpPr>
            <a:spLocks noChangeArrowheads="1"/>
          </p:cNvSpPr>
          <p:nvPr/>
        </p:nvSpPr>
        <p:spPr bwMode="blackWhite">
          <a:xfrm>
            <a:off x="3489761" y="5224554"/>
            <a:ext cx="90644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686" name="Rectangle 11"/>
          <p:cNvSpPr>
            <a:spLocks noChangeArrowheads="1"/>
          </p:cNvSpPr>
          <p:nvPr/>
        </p:nvSpPr>
        <p:spPr bwMode="blackWhite">
          <a:xfrm>
            <a:off x="2214563" y="3769074"/>
            <a:ext cx="899877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7274218"/>
      </p:ext>
    </p:extLst>
  </p:cSld>
  <p:clrMapOvr>
    <a:masterClrMapping/>
  </p:clrMapOvr>
  <p:transition spd="med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618207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9698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8133DBC-049E-4688-BED6-94A3FCACADF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69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970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970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462610-3C4A-4683-A2D2-BC36D2D9993E}" type="slidenum">
              <a:rPr lang="en-GB" smtClean="0"/>
              <a:pPr/>
              <a:t>47</a:t>
            </a:fld>
            <a:endParaRPr lang="en-GB" dirty="0"/>
          </a:p>
        </p:txBody>
      </p:sp>
      <p:sp>
        <p:nvSpPr>
          <p:cNvPr id="2970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53966A6-31F6-4A73-B342-EEB893B4E2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7AAC3DB-8B3A-EB95-51C6-9E1702336469}"/>
              </a:ext>
            </a:extLst>
          </p:cNvPr>
          <p:cNvGrpSpPr/>
          <p:nvPr/>
        </p:nvGrpSpPr>
        <p:grpSpPr>
          <a:xfrm>
            <a:off x="1964725" y="1765557"/>
            <a:ext cx="4423718" cy="4163693"/>
            <a:chOff x="1634464" y="1376515"/>
            <a:chExt cx="4797459" cy="4515465"/>
          </a:xfrm>
        </p:grpSpPr>
        <p:sp>
          <p:nvSpPr>
            <p:cNvPr id="29703" name="Freeform 4"/>
            <p:cNvSpPr>
              <a:spLocks/>
            </p:cNvSpPr>
            <p:nvPr/>
          </p:nvSpPr>
          <p:spPr bwMode="blackWhite">
            <a:xfrm>
              <a:off x="2123490" y="1376515"/>
              <a:ext cx="2400513" cy="1927550"/>
            </a:xfrm>
            <a:custGeom>
              <a:avLst/>
              <a:gdLst>
                <a:gd name="T0" fmla="*/ 882164 w 973"/>
                <a:gd name="T1" fmla="*/ 1712370 h 805"/>
                <a:gd name="T2" fmla="*/ 930441 w 973"/>
                <a:gd name="T3" fmla="*/ 1629307 h 805"/>
                <a:gd name="T4" fmla="*/ 987497 w 973"/>
                <a:gd name="T5" fmla="*/ 1554764 h 805"/>
                <a:gd name="T6" fmla="*/ 1051135 w 973"/>
                <a:gd name="T7" fmla="*/ 1486610 h 805"/>
                <a:gd name="T8" fmla="*/ 1123552 w 973"/>
                <a:gd name="T9" fmla="*/ 1422716 h 805"/>
                <a:gd name="T10" fmla="*/ 1202552 w 973"/>
                <a:gd name="T11" fmla="*/ 1367340 h 805"/>
                <a:gd name="T12" fmla="*/ 1279357 w 973"/>
                <a:gd name="T13" fmla="*/ 1322614 h 805"/>
                <a:gd name="T14" fmla="*/ 1360551 w 973"/>
                <a:gd name="T15" fmla="*/ 1284278 h 805"/>
                <a:gd name="T16" fmla="*/ 1448328 w 973"/>
                <a:gd name="T17" fmla="*/ 1254460 h 805"/>
                <a:gd name="T18" fmla="*/ 1533911 w 973"/>
                <a:gd name="T19" fmla="*/ 1233162 h 805"/>
                <a:gd name="T20" fmla="*/ 1623883 w 973"/>
                <a:gd name="T21" fmla="*/ 1218254 h 805"/>
                <a:gd name="T22" fmla="*/ 1650217 w 973"/>
                <a:gd name="T23" fmla="*/ 1537726 h 805"/>
                <a:gd name="T24" fmla="*/ 2132993 w 973"/>
                <a:gd name="T25" fmla="*/ 758214 h 805"/>
                <a:gd name="T26" fmla="*/ 1562439 w 973"/>
                <a:gd name="T27" fmla="*/ 0 h 805"/>
                <a:gd name="T28" fmla="*/ 1564634 w 973"/>
                <a:gd name="T29" fmla="*/ 285395 h 805"/>
                <a:gd name="T30" fmla="*/ 1428579 w 973"/>
                <a:gd name="T31" fmla="*/ 302434 h 805"/>
                <a:gd name="T32" fmla="*/ 1294718 w 973"/>
                <a:gd name="T33" fmla="*/ 327991 h 805"/>
                <a:gd name="T34" fmla="*/ 1163052 w 973"/>
                <a:gd name="T35" fmla="*/ 362068 h 805"/>
                <a:gd name="T36" fmla="*/ 1033580 w 973"/>
                <a:gd name="T37" fmla="*/ 406794 h 805"/>
                <a:gd name="T38" fmla="*/ 908497 w 973"/>
                <a:gd name="T39" fmla="*/ 460040 h 805"/>
                <a:gd name="T40" fmla="*/ 787803 w 973"/>
                <a:gd name="T41" fmla="*/ 521804 h 805"/>
                <a:gd name="T42" fmla="*/ 669303 w 973"/>
                <a:gd name="T43" fmla="*/ 592088 h 805"/>
                <a:gd name="T44" fmla="*/ 563970 w 973"/>
                <a:gd name="T45" fmla="*/ 664502 h 805"/>
                <a:gd name="T46" fmla="*/ 465221 w 973"/>
                <a:gd name="T47" fmla="*/ 743305 h 805"/>
                <a:gd name="T48" fmla="*/ 373054 w 973"/>
                <a:gd name="T49" fmla="*/ 830627 h 805"/>
                <a:gd name="T50" fmla="*/ 283082 w 973"/>
                <a:gd name="T51" fmla="*/ 920079 h 805"/>
                <a:gd name="T52" fmla="*/ 201888 w 973"/>
                <a:gd name="T53" fmla="*/ 1018051 h 805"/>
                <a:gd name="T54" fmla="*/ 127277 w 973"/>
                <a:gd name="T55" fmla="*/ 1120282 h 805"/>
                <a:gd name="T56" fmla="*/ 59250 w 973"/>
                <a:gd name="T57" fmla="*/ 1226773 h 805"/>
                <a:gd name="T58" fmla="*/ 0 w 973"/>
                <a:gd name="T59" fmla="*/ 1337523 h 805"/>
                <a:gd name="T60" fmla="*/ 579331 w 973"/>
                <a:gd name="T61" fmla="*/ 1292797 h 805"/>
                <a:gd name="T62" fmla="*/ 882164 w 973"/>
                <a:gd name="T63" fmla="*/ 1712370 h 80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73"/>
                <a:gd name="T97" fmla="*/ 0 h 805"/>
                <a:gd name="T98" fmla="*/ 973 w 973"/>
                <a:gd name="T99" fmla="*/ 805 h 80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73" h="805">
                  <a:moveTo>
                    <a:pt x="402" y="804"/>
                  </a:moveTo>
                  <a:lnTo>
                    <a:pt x="424" y="765"/>
                  </a:lnTo>
                  <a:lnTo>
                    <a:pt x="450" y="730"/>
                  </a:lnTo>
                  <a:lnTo>
                    <a:pt x="479" y="698"/>
                  </a:lnTo>
                  <a:lnTo>
                    <a:pt x="512" y="668"/>
                  </a:lnTo>
                  <a:lnTo>
                    <a:pt x="548" y="642"/>
                  </a:lnTo>
                  <a:lnTo>
                    <a:pt x="583" y="621"/>
                  </a:lnTo>
                  <a:lnTo>
                    <a:pt x="620" y="603"/>
                  </a:lnTo>
                  <a:lnTo>
                    <a:pt x="660" y="589"/>
                  </a:lnTo>
                  <a:lnTo>
                    <a:pt x="699" y="579"/>
                  </a:lnTo>
                  <a:lnTo>
                    <a:pt x="740" y="572"/>
                  </a:lnTo>
                  <a:lnTo>
                    <a:pt x="752" y="722"/>
                  </a:lnTo>
                  <a:lnTo>
                    <a:pt x="972" y="356"/>
                  </a:lnTo>
                  <a:lnTo>
                    <a:pt x="712" y="0"/>
                  </a:lnTo>
                  <a:lnTo>
                    <a:pt x="713" y="134"/>
                  </a:lnTo>
                  <a:lnTo>
                    <a:pt x="651" y="142"/>
                  </a:lnTo>
                  <a:lnTo>
                    <a:pt x="590" y="154"/>
                  </a:lnTo>
                  <a:lnTo>
                    <a:pt x="530" y="170"/>
                  </a:lnTo>
                  <a:lnTo>
                    <a:pt x="471" y="191"/>
                  </a:lnTo>
                  <a:lnTo>
                    <a:pt x="414" y="216"/>
                  </a:lnTo>
                  <a:lnTo>
                    <a:pt x="359" y="245"/>
                  </a:lnTo>
                  <a:lnTo>
                    <a:pt x="305" y="278"/>
                  </a:lnTo>
                  <a:lnTo>
                    <a:pt x="257" y="312"/>
                  </a:lnTo>
                  <a:lnTo>
                    <a:pt x="212" y="349"/>
                  </a:lnTo>
                  <a:lnTo>
                    <a:pt x="170" y="390"/>
                  </a:lnTo>
                  <a:lnTo>
                    <a:pt x="129" y="432"/>
                  </a:lnTo>
                  <a:lnTo>
                    <a:pt x="92" y="478"/>
                  </a:lnTo>
                  <a:lnTo>
                    <a:pt x="58" y="526"/>
                  </a:lnTo>
                  <a:lnTo>
                    <a:pt x="27" y="576"/>
                  </a:lnTo>
                  <a:lnTo>
                    <a:pt x="0" y="628"/>
                  </a:lnTo>
                  <a:lnTo>
                    <a:pt x="264" y="607"/>
                  </a:lnTo>
                  <a:lnTo>
                    <a:pt x="402" y="80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4" name="Freeform 5"/>
            <p:cNvSpPr>
              <a:spLocks/>
            </p:cNvSpPr>
            <p:nvPr/>
          </p:nvSpPr>
          <p:spPr bwMode="blackWhite">
            <a:xfrm>
              <a:off x="4256289" y="1697773"/>
              <a:ext cx="2175634" cy="1961460"/>
            </a:xfrm>
            <a:custGeom>
              <a:avLst/>
              <a:gdLst>
                <a:gd name="T0" fmla="*/ 1280590 w 881"/>
                <a:gd name="T1" fmla="*/ 1742532 h 819"/>
                <a:gd name="T2" fmla="*/ 1504639 w 881"/>
                <a:gd name="T3" fmla="*/ 1523118 h 819"/>
                <a:gd name="T4" fmla="*/ 1722097 w 881"/>
                <a:gd name="T5" fmla="*/ 1297313 h 819"/>
                <a:gd name="T6" fmla="*/ 1932966 w 881"/>
                <a:gd name="T7" fmla="*/ 1069378 h 819"/>
                <a:gd name="T8" fmla="*/ 1612270 w 881"/>
                <a:gd name="T9" fmla="*/ 1154587 h 819"/>
                <a:gd name="T10" fmla="*/ 1557356 w 881"/>
                <a:gd name="T11" fmla="*/ 1037424 h 819"/>
                <a:gd name="T12" fmla="*/ 1495853 w 881"/>
                <a:gd name="T13" fmla="*/ 922391 h 819"/>
                <a:gd name="T14" fmla="*/ 1427759 w 881"/>
                <a:gd name="T15" fmla="*/ 815880 h 819"/>
                <a:gd name="T16" fmla="*/ 1350880 w 881"/>
                <a:gd name="T17" fmla="*/ 711498 h 819"/>
                <a:gd name="T18" fmla="*/ 1265215 w 881"/>
                <a:gd name="T19" fmla="*/ 613508 h 819"/>
                <a:gd name="T20" fmla="*/ 1172959 w 881"/>
                <a:gd name="T21" fmla="*/ 521907 h 819"/>
                <a:gd name="T22" fmla="*/ 1076311 w 881"/>
                <a:gd name="T23" fmla="*/ 434568 h 819"/>
                <a:gd name="T24" fmla="*/ 973073 w 881"/>
                <a:gd name="T25" fmla="*/ 357879 h 819"/>
                <a:gd name="T26" fmla="*/ 863245 w 881"/>
                <a:gd name="T27" fmla="*/ 283321 h 819"/>
                <a:gd name="T28" fmla="*/ 751221 w 881"/>
                <a:gd name="T29" fmla="*/ 219414 h 819"/>
                <a:gd name="T30" fmla="*/ 632607 w 881"/>
                <a:gd name="T31" fmla="*/ 161898 h 819"/>
                <a:gd name="T32" fmla="*/ 511797 w 881"/>
                <a:gd name="T33" fmla="*/ 115033 h 819"/>
                <a:gd name="T34" fmla="*/ 386593 w 881"/>
                <a:gd name="T35" fmla="*/ 72428 h 819"/>
                <a:gd name="T36" fmla="*/ 259193 w 881"/>
                <a:gd name="T37" fmla="*/ 40474 h 819"/>
                <a:gd name="T38" fmla="*/ 131793 w 881"/>
                <a:gd name="T39" fmla="*/ 17042 h 819"/>
                <a:gd name="T40" fmla="*/ 0 w 881"/>
                <a:gd name="T41" fmla="*/ 0 h 819"/>
                <a:gd name="T42" fmla="*/ 322893 w 881"/>
                <a:gd name="T43" fmla="*/ 464391 h 819"/>
                <a:gd name="T44" fmla="*/ 59307 w 881"/>
                <a:gd name="T45" fmla="*/ 945824 h 819"/>
                <a:gd name="T46" fmla="*/ 153759 w 881"/>
                <a:gd name="T47" fmla="*/ 971387 h 819"/>
                <a:gd name="T48" fmla="*/ 243817 w 881"/>
                <a:gd name="T49" fmla="*/ 1009731 h 819"/>
                <a:gd name="T50" fmla="*/ 327286 w 881"/>
                <a:gd name="T51" fmla="*/ 1056596 h 819"/>
                <a:gd name="T52" fmla="*/ 410755 w 881"/>
                <a:gd name="T53" fmla="*/ 1111983 h 819"/>
                <a:gd name="T54" fmla="*/ 483242 w 881"/>
                <a:gd name="T55" fmla="*/ 1173759 h 819"/>
                <a:gd name="T56" fmla="*/ 553531 w 881"/>
                <a:gd name="T57" fmla="*/ 1244057 h 819"/>
                <a:gd name="T58" fmla="*/ 612838 w 881"/>
                <a:gd name="T59" fmla="*/ 1316485 h 819"/>
                <a:gd name="T60" fmla="*/ 663359 w 881"/>
                <a:gd name="T61" fmla="*/ 1399564 h 819"/>
                <a:gd name="T62" fmla="*/ 320697 w 881"/>
                <a:gd name="T63" fmla="*/ 1489034 h 819"/>
                <a:gd name="T64" fmla="*/ 1280590 w 881"/>
                <a:gd name="T65" fmla="*/ 1742532 h 8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81"/>
                <a:gd name="T100" fmla="*/ 0 h 819"/>
                <a:gd name="T101" fmla="*/ 881 w 881"/>
                <a:gd name="T102" fmla="*/ 819 h 8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81" h="819">
                  <a:moveTo>
                    <a:pt x="583" y="818"/>
                  </a:moveTo>
                  <a:lnTo>
                    <a:pt x="685" y="715"/>
                  </a:lnTo>
                  <a:lnTo>
                    <a:pt x="784" y="609"/>
                  </a:lnTo>
                  <a:lnTo>
                    <a:pt x="880" y="502"/>
                  </a:lnTo>
                  <a:lnTo>
                    <a:pt x="734" y="542"/>
                  </a:lnTo>
                  <a:lnTo>
                    <a:pt x="709" y="487"/>
                  </a:lnTo>
                  <a:lnTo>
                    <a:pt x="681" y="433"/>
                  </a:lnTo>
                  <a:lnTo>
                    <a:pt x="650" y="383"/>
                  </a:lnTo>
                  <a:lnTo>
                    <a:pt x="615" y="334"/>
                  </a:lnTo>
                  <a:lnTo>
                    <a:pt x="576" y="288"/>
                  </a:lnTo>
                  <a:lnTo>
                    <a:pt x="534" y="245"/>
                  </a:lnTo>
                  <a:lnTo>
                    <a:pt x="490" y="204"/>
                  </a:lnTo>
                  <a:lnTo>
                    <a:pt x="443" y="168"/>
                  </a:lnTo>
                  <a:lnTo>
                    <a:pt x="393" y="133"/>
                  </a:lnTo>
                  <a:lnTo>
                    <a:pt x="342" y="103"/>
                  </a:lnTo>
                  <a:lnTo>
                    <a:pt x="288" y="76"/>
                  </a:lnTo>
                  <a:lnTo>
                    <a:pt x="233" y="54"/>
                  </a:lnTo>
                  <a:lnTo>
                    <a:pt x="176" y="34"/>
                  </a:lnTo>
                  <a:lnTo>
                    <a:pt x="118" y="19"/>
                  </a:lnTo>
                  <a:lnTo>
                    <a:pt x="60" y="8"/>
                  </a:lnTo>
                  <a:lnTo>
                    <a:pt x="0" y="0"/>
                  </a:lnTo>
                  <a:lnTo>
                    <a:pt x="147" y="218"/>
                  </a:lnTo>
                  <a:lnTo>
                    <a:pt x="27" y="444"/>
                  </a:lnTo>
                  <a:lnTo>
                    <a:pt x="70" y="456"/>
                  </a:lnTo>
                  <a:lnTo>
                    <a:pt x="111" y="474"/>
                  </a:lnTo>
                  <a:lnTo>
                    <a:pt x="149" y="496"/>
                  </a:lnTo>
                  <a:lnTo>
                    <a:pt x="187" y="522"/>
                  </a:lnTo>
                  <a:lnTo>
                    <a:pt x="220" y="551"/>
                  </a:lnTo>
                  <a:lnTo>
                    <a:pt x="252" y="584"/>
                  </a:lnTo>
                  <a:lnTo>
                    <a:pt x="279" y="618"/>
                  </a:lnTo>
                  <a:lnTo>
                    <a:pt x="302" y="657"/>
                  </a:lnTo>
                  <a:lnTo>
                    <a:pt x="146" y="699"/>
                  </a:lnTo>
                  <a:lnTo>
                    <a:pt x="583" y="818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5" name="Freeform 6"/>
            <p:cNvSpPr>
              <a:spLocks/>
            </p:cNvSpPr>
            <p:nvPr/>
          </p:nvSpPr>
          <p:spPr bwMode="blackWhite">
            <a:xfrm>
              <a:off x="4586472" y="3304066"/>
              <a:ext cx="1643772" cy="2475474"/>
            </a:xfrm>
            <a:custGeom>
              <a:avLst/>
              <a:gdLst>
                <a:gd name="T0" fmla="*/ 476386 w 666"/>
                <a:gd name="T1" fmla="*/ 257914 h 1033"/>
                <a:gd name="T2" fmla="*/ 489558 w 666"/>
                <a:gd name="T3" fmla="*/ 349570 h 1033"/>
                <a:gd name="T4" fmla="*/ 491753 w 666"/>
                <a:gd name="T5" fmla="*/ 445488 h 1033"/>
                <a:gd name="T6" fmla="*/ 487362 w 666"/>
                <a:gd name="T7" fmla="*/ 539275 h 1033"/>
                <a:gd name="T8" fmla="*/ 469800 w 666"/>
                <a:gd name="T9" fmla="*/ 630930 h 1033"/>
                <a:gd name="T10" fmla="*/ 443456 w 666"/>
                <a:gd name="T11" fmla="*/ 722586 h 1033"/>
                <a:gd name="T12" fmla="*/ 410526 w 666"/>
                <a:gd name="T13" fmla="*/ 809978 h 1033"/>
                <a:gd name="T14" fmla="*/ 364424 w 666"/>
                <a:gd name="T15" fmla="*/ 895239 h 1033"/>
                <a:gd name="T16" fmla="*/ 311736 w 666"/>
                <a:gd name="T17" fmla="*/ 974105 h 1033"/>
                <a:gd name="T18" fmla="*/ 250267 w 666"/>
                <a:gd name="T19" fmla="*/ 1048708 h 1033"/>
                <a:gd name="T20" fmla="*/ 184407 w 666"/>
                <a:gd name="T21" fmla="*/ 1116917 h 1033"/>
                <a:gd name="T22" fmla="*/ 0 w 666"/>
                <a:gd name="T23" fmla="*/ 790794 h 1033"/>
                <a:gd name="T24" fmla="*/ 0 w 666"/>
                <a:gd name="T25" fmla="*/ 1745716 h 1033"/>
                <a:gd name="T26" fmla="*/ 829833 w 666"/>
                <a:gd name="T27" fmla="*/ 2199730 h 1033"/>
                <a:gd name="T28" fmla="*/ 671770 w 666"/>
                <a:gd name="T29" fmla="*/ 1937553 h 1033"/>
                <a:gd name="T30" fmla="*/ 777145 w 666"/>
                <a:gd name="T31" fmla="*/ 1856555 h 1033"/>
                <a:gd name="T32" fmla="*/ 873740 w 666"/>
                <a:gd name="T33" fmla="*/ 1771294 h 1033"/>
                <a:gd name="T34" fmla="*/ 965943 w 666"/>
                <a:gd name="T35" fmla="*/ 1677507 h 1033"/>
                <a:gd name="T36" fmla="*/ 1053756 w 666"/>
                <a:gd name="T37" fmla="*/ 1579457 h 1033"/>
                <a:gd name="T38" fmla="*/ 1130593 w 666"/>
                <a:gd name="T39" fmla="*/ 1475013 h 1033"/>
                <a:gd name="T40" fmla="*/ 1200843 w 666"/>
                <a:gd name="T41" fmla="*/ 1366305 h 1033"/>
                <a:gd name="T42" fmla="*/ 1262312 w 666"/>
                <a:gd name="T43" fmla="*/ 1253335 h 1033"/>
                <a:gd name="T44" fmla="*/ 1317196 w 666"/>
                <a:gd name="T45" fmla="*/ 1136101 h 1033"/>
                <a:gd name="T46" fmla="*/ 1363297 w 666"/>
                <a:gd name="T47" fmla="*/ 1014604 h 1033"/>
                <a:gd name="T48" fmla="*/ 1400618 w 666"/>
                <a:gd name="T49" fmla="*/ 893107 h 1033"/>
                <a:gd name="T50" fmla="*/ 1429157 w 666"/>
                <a:gd name="T51" fmla="*/ 765216 h 1033"/>
                <a:gd name="T52" fmla="*/ 1446720 w 666"/>
                <a:gd name="T53" fmla="*/ 639456 h 1033"/>
                <a:gd name="T54" fmla="*/ 1457696 w 666"/>
                <a:gd name="T55" fmla="*/ 509434 h 1033"/>
                <a:gd name="T56" fmla="*/ 1459892 w 666"/>
                <a:gd name="T57" fmla="*/ 383674 h 1033"/>
                <a:gd name="T58" fmla="*/ 1453306 w 666"/>
                <a:gd name="T59" fmla="*/ 253651 h 1033"/>
                <a:gd name="T60" fmla="*/ 1435743 w 666"/>
                <a:gd name="T61" fmla="*/ 125760 h 1033"/>
                <a:gd name="T62" fmla="*/ 1409399 w 666"/>
                <a:gd name="T63" fmla="*/ 0 h 1033"/>
                <a:gd name="T64" fmla="*/ 996678 w 666"/>
                <a:gd name="T65" fmla="*/ 404989 h 1033"/>
                <a:gd name="T66" fmla="*/ 476386 w 666"/>
                <a:gd name="T67" fmla="*/ 257914 h 103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66"/>
                <a:gd name="T103" fmla="*/ 0 h 1033"/>
                <a:gd name="T104" fmla="*/ 666 w 666"/>
                <a:gd name="T105" fmla="*/ 1033 h 103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66" h="1033">
                  <a:moveTo>
                    <a:pt x="217" y="121"/>
                  </a:moveTo>
                  <a:lnTo>
                    <a:pt x="223" y="164"/>
                  </a:lnTo>
                  <a:lnTo>
                    <a:pt x="224" y="209"/>
                  </a:lnTo>
                  <a:lnTo>
                    <a:pt x="222" y="253"/>
                  </a:lnTo>
                  <a:lnTo>
                    <a:pt x="214" y="296"/>
                  </a:lnTo>
                  <a:lnTo>
                    <a:pt x="202" y="339"/>
                  </a:lnTo>
                  <a:lnTo>
                    <a:pt x="187" y="380"/>
                  </a:lnTo>
                  <a:lnTo>
                    <a:pt x="166" y="420"/>
                  </a:lnTo>
                  <a:lnTo>
                    <a:pt x="142" y="457"/>
                  </a:lnTo>
                  <a:lnTo>
                    <a:pt x="114" y="492"/>
                  </a:lnTo>
                  <a:lnTo>
                    <a:pt x="84" y="524"/>
                  </a:lnTo>
                  <a:lnTo>
                    <a:pt x="0" y="371"/>
                  </a:lnTo>
                  <a:lnTo>
                    <a:pt x="0" y="819"/>
                  </a:lnTo>
                  <a:lnTo>
                    <a:pt x="378" y="1032"/>
                  </a:lnTo>
                  <a:lnTo>
                    <a:pt x="306" y="909"/>
                  </a:lnTo>
                  <a:lnTo>
                    <a:pt x="354" y="871"/>
                  </a:lnTo>
                  <a:lnTo>
                    <a:pt x="398" y="831"/>
                  </a:lnTo>
                  <a:lnTo>
                    <a:pt x="440" y="787"/>
                  </a:lnTo>
                  <a:lnTo>
                    <a:pt x="480" y="741"/>
                  </a:lnTo>
                  <a:lnTo>
                    <a:pt x="515" y="692"/>
                  </a:lnTo>
                  <a:lnTo>
                    <a:pt x="547" y="641"/>
                  </a:lnTo>
                  <a:lnTo>
                    <a:pt x="575" y="588"/>
                  </a:lnTo>
                  <a:lnTo>
                    <a:pt x="600" y="533"/>
                  </a:lnTo>
                  <a:lnTo>
                    <a:pt x="621" y="476"/>
                  </a:lnTo>
                  <a:lnTo>
                    <a:pt x="638" y="419"/>
                  </a:lnTo>
                  <a:lnTo>
                    <a:pt x="651" y="359"/>
                  </a:lnTo>
                  <a:lnTo>
                    <a:pt x="659" y="300"/>
                  </a:lnTo>
                  <a:lnTo>
                    <a:pt x="664" y="239"/>
                  </a:lnTo>
                  <a:lnTo>
                    <a:pt x="665" y="180"/>
                  </a:lnTo>
                  <a:lnTo>
                    <a:pt x="662" y="119"/>
                  </a:lnTo>
                  <a:lnTo>
                    <a:pt x="654" y="59"/>
                  </a:lnTo>
                  <a:lnTo>
                    <a:pt x="642" y="0"/>
                  </a:lnTo>
                  <a:lnTo>
                    <a:pt x="454" y="190"/>
                  </a:lnTo>
                  <a:lnTo>
                    <a:pt x="217" y="12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6" name="Freeform 7"/>
            <p:cNvSpPr>
              <a:spLocks/>
            </p:cNvSpPr>
            <p:nvPr/>
          </p:nvSpPr>
          <p:spPr bwMode="blackWhite">
            <a:xfrm>
              <a:off x="2535772" y="4366002"/>
              <a:ext cx="2541511" cy="1525978"/>
            </a:xfrm>
            <a:custGeom>
              <a:avLst/>
              <a:gdLst>
                <a:gd name="T0" fmla="*/ 1738247 w 1030"/>
                <a:gd name="T1" fmla="*/ 343057 h 637"/>
                <a:gd name="T2" fmla="*/ 1652652 w 1030"/>
                <a:gd name="T3" fmla="*/ 372888 h 637"/>
                <a:gd name="T4" fmla="*/ 1562667 w 1030"/>
                <a:gd name="T5" fmla="*/ 398458 h 637"/>
                <a:gd name="T6" fmla="*/ 1470487 w 1030"/>
                <a:gd name="T7" fmla="*/ 411242 h 637"/>
                <a:gd name="T8" fmla="*/ 1378307 w 1030"/>
                <a:gd name="T9" fmla="*/ 417635 h 637"/>
                <a:gd name="T10" fmla="*/ 1286128 w 1030"/>
                <a:gd name="T11" fmla="*/ 413373 h 637"/>
                <a:gd name="T12" fmla="*/ 1193948 w 1030"/>
                <a:gd name="T13" fmla="*/ 400588 h 637"/>
                <a:gd name="T14" fmla="*/ 1101768 w 1030"/>
                <a:gd name="T15" fmla="*/ 381411 h 637"/>
                <a:gd name="T16" fmla="*/ 1013978 w 1030"/>
                <a:gd name="T17" fmla="*/ 353711 h 637"/>
                <a:gd name="T18" fmla="*/ 930577 w 1030"/>
                <a:gd name="T19" fmla="*/ 315357 h 637"/>
                <a:gd name="T20" fmla="*/ 851566 w 1030"/>
                <a:gd name="T21" fmla="*/ 270610 h 637"/>
                <a:gd name="T22" fmla="*/ 1082015 w 1030"/>
                <a:gd name="T23" fmla="*/ 0 h 637"/>
                <a:gd name="T24" fmla="*/ 160217 w 1030"/>
                <a:gd name="T25" fmla="*/ 323880 h 637"/>
                <a:gd name="T26" fmla="*/ 68037 w 1030"/>
                <a:gd name="T27" fmla="*/ 858708 h 637"/>
                <a:gd name="T28" fmla="*/ 72427 w 1030"/>
                <a:gd name="T29" fmla="*/ 862970 h 637"/>
                <a:gd name="T30" fmla="*/ 0 w 1030"/>
                <a:gd name="T31" fmla="*/ 1252904 h 637"/>
                <a:gd name="T32" fmla="*/ 228255 w 1030"/>
                <a:gd name="T33" fmla="*/ 986555 h 637"/>
                <a:gd name="T34" fmla="*/ 340187 w 1030"/>
                <a:gd name="T35" fmla="*/ 1061133 h 637"/>
                <a:gd name="T36" fmla="*/ 456509 w 1030"/>
                <a:gd name="T37" fmla="*/ 1129319 h 637"/>
                <a:gd name="T38" fmla="*/ 575026 w 1030"/>
                <a:gd name="T39" fmla="*/ 1186850 h 637"/>
                <a:gd name="T40" fmla="*/ 700128 w 1030"/>
                <a:gd name="T41" fmla="*/ 1235858 h 637"/>
                <a:gd name="T42" fmla="*/ 827423 w 1030"/>
                <a:gd name="T43" fmla="*/ 1278474 h 637"/>
                <a:gd name="T44" fmla="*/ 954719 w 1030"/>
                <a:gd name="T45" fmla="*/ 1310436 h 637"/>
                <a:gd name="T46" fmla="*/ 1088599 w 1030"/>
                <a:gd name="T47" fmla="*/ 1336005 h 637"/>
                <a:gd name="T48" fmla="*/ 1222480 w 1030"/>
                <a:gd name="T49" fmla="*/ 1350921 h 637"/>
                <a:gd name="T50" fmla="*/ 1356360 w 1030"/>
                <a:gd name="T51" fmla="*/ 1355182 h 637"/>
                <a:gd name="T52" fmla="*/ 1490240 w 1030"/>
                <a:gd name="T53" fmla="*/ 1350921 h 637"/>
                <a:gd name="T54" fmla="*/ 1624120 w 1030"/>
                <a:gd name="T55" fmla="*/ 1338136 h 637"/>
                <a:gd name="T56" fmla="*/ 1758000 w 1030"/>
                <a:gd name="T57" fmla="*/ 1314697 h 637"/>
                <a:gd name="T58" fmla="*/ 1885296 w 1030"/>
                <a:gd name="T59" fmla="*/ 1284866 h 637"/>
                <a:gd name="T60" fmla="*/ 2012592 w 1030"/>
                <a:gd name="T61" fmla="*/ 1246512 h 637"/>
                <a:gd name="T62" fmla="*/ 2137693 w 1030"/>
                <a:gd name="T63" fmla="*/ 1195373 h 637"/>
                <a:gd name="T64" fmla="*/ 2258405 w 1030"/>
                <a:gd name="T65" fmla="*/ 1137842 h 637"/>
                <a:gd name="T66" fmla="*/ 1744832 w 1030"/>
                <a:gd name="T67" fmla="*/ 848054 h 637"/>
                <a:gd name="T68" fmla="*/ 1738247 w 1030"/>
                <a:gd name="T69" fmla="*/ 343057 h 63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0"/>
                <a:gd name="T106" fmla="*/ 0 h 637"/>
                <a:gd name="T107" fmla="*/ 1030 w 1030"/>
                <a:gd name="T108" fmla="*/ 637 h 63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0" h="637">
                  <a:moveTo>
                    <a:pt x="792" y="161"/>
                  </a:moveTo>
                  <a:lnTo>
                    <a:pt x="753" y="175"/>
                  </a:lnTo>
                  <a:lnTo>
                    <a:pt x="712" y="187"/>
                  </a:lnTo>
                  <a:lnTo>
                    <a:pt x="670" y="193"/>
                  </a:lnTo>
                  <a:lnTo>
                    <a:pt x="628" y="196"/>
                  </a:lnTo>
                  <a:lnTo>
                    <a:pt x="586" y="194"/>
                  </a:lnTo>
                  <a:lnTo>
                    <a:pt x="544" y="188"/>
                  </a:lnTo>
                  <a:lnTo>
                    <a:pt x="502" y="179"/>
                  </a:lnTo>
                  <a:lnTo>
                    <a:pt x="462" y="166"/>
                  </a:lnTo>
                  <a:lnTo>
                    <a:pt x="424" y="148"/>
                  </a:lnTo>
                  <a:lnTo>
                    <a:pt x="388" y="127"/>
                  </a:lnTo>
                  <a:lnTo>
                    <a:pt x="493" y="0"/>
                  </a:lnTo>
                  <a:lnTo>
                    <a:pt x="73" y="152"/>
                  </a:lnTo>
                  <a:lnTo>
                    <a:pt x="31" y="403"/>
                  </a:lnTo>
                  <a:lnTo>
                    <a:pt x="33" y="405"/>
                  </a:lnTo>
                  <a:lnTo>
                    <a:pt x="0" y="588"/>
                  </a:lnTo>
                  <a:lnTo>
                    <a:pt x="104" y="463"/>
                  </a:lnTo>
                  <a:lnTo>
                    <a:pt x="155" y="498"/>
                  </a:lnTo>
                  <a:lnTo>
                    <a:pt x="208" y="530"/>
                  </a:lnTo>
                  <a:lnTo>
                    <a:pt x="262" y="557"/>
                  </a:lnTo>
                  <a:lnTo>
                    <a:pt x="319" y="580"/>
                  </a:lnTo>
                  <a:lnTo>
                    <a:pt x="377" y="600"/>
                  </a:lnTo>
                  <a:lnTo>
                    <a:pt x="435" y="615"/>
                  </a:lnTo>
                  <a:lnTo>
                    <a:pt x="496" y="627"/>
                  </a:lnTo>
                  <a:lnTo>
                    <a:pt x="557" y="634"/>
                  </a:lnTo>
                  <a:lnTo>
                    <a:pt x="618" y="636"/>
                  </a:lnTo>
                  <a:lnTo>
                    <a:pt x="679" y="634"/>
                  </a:lnTo>
                  <a:lnTo>
                    <a:pt x="740" y="628"/>
                  </a:lnTo>
                  <a:lnTo>
                    <a:pt x="801" y="617"/>
                  </a:lnTo>
                  <a:lnTo>
                    <a:pt x="859" y="603"/>
                  </a:lnTo>
                  <a:lnTo>
                    <a:pt x="917" y="585"/>
                  </a:lnTo>
                  <a:lnTo>
                    <a:pt x="974" y="561"/>
                  </a:lnTo>
                  <a:lnTo>
                    <a:pt x="1029" y="534"/>
                  </a:lnTo>
                  <a:lnTo>
                    <a:pt x="795" y="398"/>
                  </a:lnTo>
                  <a:lnTo>
                    <a:pt x="792" y="161"/>
                  </a:lnTo>
                </a:path>
              </a:pathLst>
            </a:custGeom>
            <a:solidFill>
              <a:schemeClr val="tx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7" name="Freeform 8"/>
            <p:cNvSpPr>
              <a:spLocks/>
            </p:cNvSpPr>
            <p:nvPr/>
          </p:nvSpPr>
          <p:spPr bwMode="blackWhite">
            <a:xfrm>
              <a:off x="1634464" y="2916771"/>
              <a:ext cx="1718732" cy="2325554"/>
            </a:xfrm>
            <a:custGeom>
              <a:avLst/>
              <a:gdLst>
                <a:gd name="T0" fmla="*/ 1421288 w 697"/>
                <a:gd name="T1" fmla="*/ 1361256 h 971"/>
                <a:gd name="T2" fmla="*/ 1362068 w 697"/>
                <a:gd name="T3" fmla="*/ 1284566 h 971"/>
                <a:gd name="T4" fmla="*/ 1313814 w 697"/>
                <a:gd name="T5" fmla="*/ 1199354 h 971"/>
                <a:gd name="T6" fmla="*/ 1272141 w 697"/>
                <a:gd name="T7" fmla="*/ 1112012 h 971"/>
                <a:gd name="T8" fmla="*/ 1241434 w 697"/>
                <a:gd name="T9" fmla="*/ 1022540 h 971"/>
                <a:gd name="T10" fmla="*/ 1219500 w 697"/>
                <a:gd name="T11" fmla="*/ 928807 h 971"/>
                <a:gd name="T12" fmla="*/ 1208534 w 697"/>
                <a:gd name="T13" fmla="*/ 835074 h 971"/>
                <a:gd name="T14" fmla="*/ 1206340 w 697"/>
                <a:gd name="T15" fmla="*/ 739211 h 971"/>
                <a:gd name="T16" fmla="*/ 1215114 w 697"/>
                <a:gd name="T17" fmla="*/ 643348 h 971"/>
                <a:gd name="T18" fmla="*/ 1526569 w 697"/>
                <a:gd name="T19" fmla="*/ 783947 h 971"/>
                <a:gd name="T20" fmla="*/ 976039 w 697"/>
                <a:gd name="T21" fmla="*/ 0 h 971"/>
                <a:gd name="T22" fmla="*/ 0 w 697"/>
                <a:gd name="T23" fmla="*/ 93733 h 971"/>
                <a:gd name="T24" fmla="*/ 324615 w 697"/>
                <a:gd name="T25" fmla="*/ 240723 h 971"/>
                <a:gd name="T26" fmla="*/ 291715 w 697"/>
                <a:gd name="T27" fmla="*/ 368540 h 971"/>
                <a:gd name="T28" fmla="*/ 265395 w 697"/>
                <a:gd name="T29" fmla="*/ 496358 h 971"/>
                <a:gd name="T30" fmla="*/ 254428 w 697"/>
                <a:gd name="T31" fmla="*/ 628436 h 971"/>
                <a:gd name="T32" fmla="*/ 245655 w 697"/>
                <a:gd name="T33" fmla="*/ 760514 h 971"/>
                <a:gd name="T34" fmla="*/ 250041 w 697"/>
                <a:gd name="T35" fmla="*/ 890462 h 971"/>
                <a:gd name="T36" fmla="*/ 263201 w 697"/>
                <a:gd name="T37" fmla="*/ 1020410 h 971"/>
                <a:gd name="T38" fmla="*/ 287328 w 697"/>
                <a:gd name="T39" fmla="*/ 1150358 h 971"/>
                <a:gd name="T40" fmla="*/ 318035 w 697"/>
                <a:gd name="T41" fmla="*/ 1276045 h 971"/>
                <a:gd name="T42" fmla="*/ 357515 w 697"/>
                <a:gd name="T43" fmla="*/ 1403862 h 971"/>
                <a:gd name="T44" fmla="*/ 410156 w 697"/>
                <a:gd name="T45" fmla="*/ 1525289 h 971"/>
                <a:gd name="T46" fmla="*/ 469376 w 697"/>
                <a:gd name="T47" fmla="*/ 1642455 h 971"/>
                <a:gd name="T48" fmla="*/ 535176 w 697"/>
                <a:gd name="T49" fmla="*/ 1757491 h 971"/>
                <a:gd name="T50" fmla="*/ 609750 w 697"/>
                <a:gd name="T51" fmla="*/ 1866135 h 971"/>
                <a:gd name="T52" fmla="*/ 693097 w 697"/>
                <a:gd name="T53" fmla="*/ 1970520 h 971"/>
                <a:gd name="T54" fmla="*/ 783024 w 697"/>
                <a:gd name="T55" fmla="*/ 2066383 h 971"/>
                <a:gd name="T56" fmla="*/ 875145 w 697"/>
                <a:gd name="T57" fmla="*/ 1555113 h 971"/>
                <a:gd name="T58" fmla="*/ 1421288 w 697"/>
                <a:gd name="T59" fmla="*/ 1361256 h 97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97"/>
                <a:gd name="T91" fmla="*/ 0 h 971"/>
                <a:gd name="T92" fmla="*/ 697 w 697"/>
                <a:gd name="T93" fmla="*/ 971 h 97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97" h="971">
                  <a:moveTo>
                    <a:pt x="648" y="639"/>
                  </a:moveTo>
                  <a:lnTo>
                    <a:pt x="621" y="603"/>
                  </a:lnTo>
                  <a:lnTo>
                    <a:pt x="599" y="563"/>
                  </a:lnTo>
                  <a:lnTo>
                    <a:pt x="580" y="522"/>
                  </a:lnTo>
                  <a:lnTo>
                    <a:pt x="566" y="480"/>
                  </a:lnTo>
                  <a:lnTo>
                    <a:pt x="556" y="436"/>
                  </a:lnTo>
                  <a:lnTo>
                    <a:pt x="551" y="392"/>
                  </a:lnTo>
                  <a:lnTo>
                    <a:pt x="550" y="347"/>
                  </a:lnTo>
                  <a:lnTo>
                    <a:pt x="554" y="302"/>
                  </a:lnTo>
                  <a:lnTo>
                    <a:pt x="696" y="368"/>
                  </a:lnTo>
                  <a:lnTo>
                    <a:pt x="445" y="0"/>
                  </a:lnTo>
                  <a:lnTo>
                    <a:pt x="0" y="44"/>
                  </a:lnTo>
                  <a:lnTo>
                    <a:pt x="148" y="113"/>
                  </a:lnTo>
                  <a:lnTo>
                    <a:pt x="133" y="173"/>
                  </a:lnTo>
                  <a:lnTo>
                    <a:pt x="121" y="233"/>
                  </a:lnTo>
                  <a:lnTo>
                    <a:pt x="116" y="295"/>
                  </a:lnTo>
                  <a:lnTo>
                    <a:pt x="112" y="357"/>
                  </a:lnTo>
                  <a:lnTo>
                    <a:pt x="114" y="418"/>
                  </a:lnTo>
                  <a:lnTo>
                    <a:pt x="120" y="479"/>
                  </a:lnTo>
                  <a:lnTo>
                    <a:pt x="131" y="540"/>
                  </a:lnTo>
                  <a:lnTo>
                    <a:pt x="145" y="599"/>
                  </a:lnTo>
                  <a:lnTo>
                    <a:pt x="163" y="659"/>
                  </a:lnTo>
                  <a:lnTo>
                    <a:pt x="187" y="716"/>
                  </a:lnTo>
                  <a:lnTo>
                    <a:pt x="214" y="771"/>
                  </a:lnTo>
                  <a:lnTo>
                    <a:pt x="244" y="825"/>
                  </a:lnTo>
                  <a:lnTo>
                    <a:pt x="278" y="876"/>
                  </a:lnTo>
                  <a:lnTo>
                    <a:pt x="316" y="925"/>
                  </a:lnTo>
                  <a:lnTo>
                    <a:pt x="357" y="970"/>
                  </a:lnTo>
                  <a:lnTo>
                    <a:pt x="399" y="730"/>
                  </a:lnTo>
                  <a:lnTo>
                    <a:pt x="648" y="63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8" name="Rectangle 9"/>
            <p:cNvSpPr>
              <a:spLocks noChangeArrowheads="1"/>
            </p:cNvSpPr>
            <p:nvPr/>
          </p:nvSpPr>
          <p:spPr bwMode="blackWhite">
            <a:xfrm>
              <a:off x="2019973" y="3723117"/>
              <a:ext cx="895954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9" name="Rectangle 10"/>
            <p:cNvSpPr>
              <a:spLocks noChangeArrowheads="1"/>
            </p:cNvSpPr>
            <p:nvPr/>
          </p:nvSpPr>
          <p:spPr bwMode="blackWhite">
            <a:xfrm>
              <a:off x="2894511" y="2207125"/>
              <a:ext cx="1145820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0" name="Rectangle 11"/>
            <p:cNvSpPr>
              <a:spLocks noChangeArrowheads="1"/>
            </p:cNvSpPr>
            <p:nvPr/>
          </p:nvSpPr>
          <p:spPr bwMode="blackWhite">
            <a:xfrm>
              <a:off x="4739962" y="2556939"/>
              <a:ext cx="945542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1" name="Rectangle 12"/>
            <p:cNvSpPr>
              <a:spLocks noChangeArrowheads="1"/>
            </p:cNvSpPr>
            <p:nvPr/>
          </p:nvSpPr>
          <p:spPr bwMode="blackWhite">
            <a:xfrm>
              <a:off x="4989088" y="4443634"/>
              <a:ext cx="894169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2" name="Rectangle 13"/>
            <p:cNvSpPr>
              <a:spLocks noChangeArrowheads="1"/>
            </p:cNvSpPr>
            <p:nvPr/>
          </p:nvSpPr>
          <p:spPr bwMode="blackWhite">
            <a:xfrm>
              <a:off x="3303222" y="5169843"/>
              <a:ext cx="890601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8660267"/>
      </p:ext>
    </p:extLst>
  </p:cSld>
  <p:clrMapOvr>
    <a:masterClrMapping/>
  </p:clrMapOvr>
  <p:transition spd="med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E34AF8-CFF4-A098-001B-22E003F49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031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E34AF8-CFF4-A098-001B-22E003F49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77D49E65-A2ED-9BD5-F08B-C213462B7D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FC72C6F5-86D7-DBD3-B3A0-A79F145D9C91}"/>
              </a:ext>
            </a:extLst>
          </p:cNvPr>
          <p:cNvSpPr>
            <a:spLocks/>
          </p:cNvSpPr>
          <p:nvPr/>
        </p:nvSpPr>
        <p:spPr bwMode="blackWhite">
          <a:xfrm>
            <a:off x="4607874" y="4140224"/>
            <a:ext cx="1604259" cy="1484936"/>
          </a:xfrm>
          <a:custGeom>
            <a:avLst/>
            <a:gdLst>
              <a:gd name="T0" fmla="*/ 133431 w 1025"/>
              <a:gd name="T1" fmla="*/ 463346 h 967"/>
              <a:gd name="T2" fmla="*/ 173909 w 1025"/>
              <a:gd name="T3" fmla="*/ 429515 h 967"/>
              <a:gd name="T4" fmla="*/ 214388 w 1025"/>
              <a:gd name="T5" fmla="*/ 391270 h 967"/>
              <a:gd name="T6" fmla="*/ 251869 w 1025"/>
              <a:gd name="T7" fmla="*/ 354497 h 967"/>
              <a:gd name="T8" fmla="*/ 287850 w 1025"/>
              <a:gd name="T9" fmla="*/ 313310 h 967"/>
              <a:gd name="T10" fmla="*/ 320833 w 1025"/>
              <a:gd name="T11" fmla="*/ 272124 h 967"/>
              <a:gd name="T12" fmla="*/ 350817 w 1025"/>
              <a:gd name="T13" fmla="*/ 227996 h 967"/>
              <a:gd name="T14" fmla="*/ 379302 w 1025"/>
              <a:gd name="T15" fmla="*/ 183868 h 967"/>
              <a:gd name="T16" fmla="*/ 404789 w 1025"/>
              <a:gd name="T17" fmla="*/ 136798 h 967"/>
              <a:gd name="T18" fmla="*/ 427278 w 1025"/>
              <a:gd name="T19" fmla="*/ 89727 h 967"/>
              <a:gd name="T20" fmla="*/ 448267 w 1025"/>
              <a:gd name="T21" fmla="*/ 41186 h 967"/>
              <a:gd name="T22" fmla="*/ 464758 w 1025"/>
              <a:gd name="T23" fmla="*/ 0 h 967"/>
              <a:gd name="T24" fmla="*/ 999979 w 1025"/>
              <a:gd name="T25" fmla="*/ 342729 h 967"/>
              <a:gd name="T26" fmla="*/ 1535201 w 1025"/>
              <a:gd name="T27" fmla="*/ 7355 h 967"/>
              <a:gd name="T28" fmla="*/ 1514211 w 1025"/>
              <a:gd name="T29" fmla="*/ 110321 h 967"/>
              <a:gd name="T30" fmla="*/ 1488725 w 1025"/>
              <a:gd name="T31" fmla="*/ 214757 h 967"/>
              <a:gd name="T32" fmla="*/ 1457241 w 1025"/>
              <a:gd name="T33" fmla="*/ 314781 h 967"/>
              <a:gd name="T34" fmla="*/ 1419761 w 1025"/>
              <a:gd name="T35" fmla="*/ 414805 h 967"/>
              <a:gd name="T36" fmla="*/ 1379282 w 1025"/>
              <a:gd name="T37" fmla="*/ 511888 h 967"/>
              <a:gd name="T38" fmla="*/ 1331307 w 1025"/>
              <a:gd name="T39" fmla="*/ 606028 h 967"/>
              <a:gd name="T40" fmla="*/ 1280333 w 1025"/>
              <a:gd name="T41" fmla="*/ 697226 h 967"/>
              <a:gd name="T42" fmla="*/ 1223363 w 1025"/>
              <a:gd name="T43" fmla="*/ 788425 h 967"/>
              <a:gd name="T44" fmla="*/ 1163394 w 1025"/>
              <a:gd name="T45" fmla="*/ 873739 h 967"/>
              <a:gd name="T46" fmla="*/ 1097429 w 1025"/>
              <a:gd name="T47" fmla="*/ 957583 h 967"/>
              <a:gd name="T48" fmla="*/ 1026965 w 1025"/>
              <a:gd name="T49" fmla="*/ 1038484 h 967"/>
              <a:gd name="T50" fmla="*/ 952004 w 1025"/>
              <a:gd name="T51" fmla="*/ 1116444 h 967"/>
              <a:gd name="T52" fmla="*/ 874045 w 1025"/>
              <a:gd name="T53" fmla="*/ 1189991 h 967"/>
              <a:gd name="T54" fmla="*/ 790089 w 1025"/>
              <a:gd name="T55" fmla="*/ 1259126 h 967"/>
              <a:gd name="T56" fmla="*/ 923519 w 1025"/>
              <a:gd name="T57" fmla="*/ 1420929 h 967"/>
              <a:gd name="T58" fmla="*/ 86955 w 1025"/>
              <a:gd name="T59" fmla="*/ 1142921 h 967"/>
              <a:gd name="T60" fmla="*/ 0 w 1025"/>
              <a:gd name="T61" fmla="*/ 303014 h 967"/>
              <a:gd name="T62" fmla="*/ 133431 w 1025"/>
              <a:gd name="T63" fmla="*/ 463346 h 96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5"/>
              <a:gd name="T97" fmla="*/ 0 h 967"/>
              <a:gd name="T98" fmla="*/ 1025 w 1025"/>
              <a:gd name="T99" fmla="*/ 967 h 967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5" h="967">
                <a:moveTo>
                  <a:pt x="89" y="315"/>
                </a:moveTo>
                <a:lnTo>
                  <a:pt x="116" y="292"/>
                </a:lnTo>
                <a:lnTo>
                  <a:pt x="143" y="266"/>
                </a:lnTo>
                <a:lnTo>
                  <a:pt x="168" y="241"/>
                </a:lnTo>
                <a:lnTo>
                  <a:pt x="192" y="213"/>
                </a:lnTo>
                <a:lnTo>
                  <a:pt x="214" y="185"/>
                </a:lnTo>
                <a:lnTo>
                  <a:pt x="234" y="155"/>
                </a:lnTo>
                <a:lnTo>
                  <a:pt x="253" y="125"/>
                </a:lnTo>
                <a:lnTo>
                  <a:pt x="270" y="93"/>
                </a:lnTo>
                <a:lnTo>
                  <a:pt x="285" y="61"/>
                </a:lnTo>
                <a:lnTo>
                  <a:pt x="299" y="28"/>
                </a:lnTo>
                <a:lnTo>
                  <a:pt x="310" y="0"/>
                </a:lnTo>
                <a:lnTo>
                  <a:pt x="667" y="233"/>
                </a:lnTo>
                <a:lnTo>
                  <a:pt x="1024" y="5"/>
                </a:lnTo>
                <a:lnTo>
                  <a:pt x="1010" y="75"/>
                </a:lnTo>
                <a:lnTo>
                  <a:pt x="993" y="146"/>
                </a:lnTo>
                <a:lnTo>
                  <a:pt x="972" y="214"/>
                </a:lnTo>
                <a:lnTo>
                  <a:pt x="947" y="282"/>
                </a:lnTo>
                <a:lnTo>
                  <a:pt x="920" y="348"/>
                </a:lnTo>
                <a:lnTo>
                  <a:pt x="888" y="412"/>
                </a:lnTo>
                <a:lnTo>
                  <a:pt x="854" y="474"/>
                </a:lnTo>
                <a:lnTo>
                  <a:pt x="816" y="536"/>
                </a:lnTo>
                <a:lnTo>
                  <a:pt x="776" y="594"/>
                </a:lnTo>
                <a:lnTo>
                  <a:pt x="732" y="651"/>
                </a:lnTo>
                <a:lnTo>
                  <a:pt x="685" y="706"/>
                </a:lnTo>
                <a:lnTo>
                  <a:pt x="635" y="759"/>
                </a:lnTo>
                <a:lnTo>
                  <a:pt x="583" y="809"/>
                </a:lnTo>
                <a:lnTo>
                  <a:pt x="527" y="856"/>
                </a:lnTo>
                <a:lnTo>
                  <a:pt x="616" y="966"/>
                </a:lnTo>
                <a:lnTo>
                  <a:pt x="58" y="777"/>
                </a:lnTo>
                <a:lnTo>
                  <a:pt x="0" y="206"/>
                </a:lnTo>
                <a:lnTo>
                  <a:pt x="89" y="315"/>
                </a:lnTo>
              </a:path>
            </a:pathLst>
          </a:custGeom>
          <a:solidFill>
            <a:schemeClr val="accent4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43EEDCD4-82F7-1D9B-5F8E-E5C1662EA7E6}"/>
              </a:ext>
            </a:extLst>
          </p:cNvPr>
          <p:cNvSpPr>
            <a:spLocks/>
          </p:cNvSpPr>
          <p:nvPr/>
        </p:nvSpPr>
        <p:spPr bwMode="blackWhite">
          <a:xfrm>
            <a:off x="3391420" y="4554335"/>
            <a:ext cx="1885999" cy="1471676"/>
          </a:xfrm>
          <a:custGeom>
            <a:avLst/>
            <a:gdLst>
              <a:gd name="T0" fmla="*/ 564835 w 1209"/>
              <a:gd name="T1" fmla="*/ 203067 h 958"/>
              <a:gd name="T2" fmla="*/ 617134 w 1209"/>
              <a:gd name="T3" fmla="*/ 211896 h 958"/>
              <a:gd name="T4" fmla="*/ 672422 w 1209"/>
              <a:gd name="T5" fmla="*/ 219254 h 958"/>
              <a:gd name="T6" fmla="*/ 726216 w 1209"/>
              <a:gd name="T7" fmla="*/ 223669 h 958"/>
              <a:gd name="T8" fmla="*/ 780010 w 1209"/>
              <a:gd name="T9" fmla="*/ 225140 h 958"/>
              <a:gd name="T10" fmla="*/ 833804 w 1209"/>
              <a:gd name="T11" fmla="*/ 225140 h 958"/>
              <a:gd name="T12" fmla="*/ 887598 w 1209"/>
              <a:gd name="T13" fmla="*/ 220726 h 958"/>
              <a:gd name="T14" fmla="*/ 939897 w 1209"/>
              <a:gd name="T15" fmla="*/ 213368 h 958"/>
              <a:gd name="T16" fmla="*/ 993691 w 1209"/>
              <a:gd name="T17" fmla="*/ 203067 h 958"/>
              <a:gd name="T18" fmla="*/ 1044496 w 1209"/>
              <a:gd name="T19" fmla="*/ 191295 h 958"/>
              <a:gd name="T20" fmla="*/ 1096796 w 1209"/>
              <a:gd name="T21" fmla="*/ 176580 h 958"/>
              <a:gd name="T22" fmla="*/ 1138635 w 1209"/>
              <a:gd name="T23" fmla="*/ 163337 h 958"/>
              <a:gd name="T24" fmla="*/ 1204383 w 1209"/>
              <a:gd name="T25" fmla="*/ 787254 h 958"/>
              <a:gd name="T26" fmla="*/ 1805081 w 1209"/>
              <a:gd name="T27" fmla="*/ 984436 h 958"/>
              <a:gd name="T28" fmla="*/ 1709447 w 1209"/>
              <a:gd name="T29" fmla="*/ 1032995 h 958"/>
              <a:gd name="T30" fmla="*/ 1612320 w 1209"/>
              <a:gd name="T31" fmla="*/ 1080083 h 958"/>
              <a:gd name="T32" fmla="*/ 1513697 w 1209"/>
              <a:gd name="T33" fmla="*/ 1118342 h 958"/>
              <a:gd name="T34" fmla="*/ 1410593 w 1209"/>
              <a:gd name="T35" fmla="*/ 1153659 h 958"/>
              <a:gd name="T36" fmla="*/ 1308982 w 1209"/>
              <a:gd name="T37" fmla="*/ 1183089 h 958"/>
              <a:gd name="T38" fmla="*/ 1204383 w 1209"/>
              <a:gd name="T39" fmla="*/ 1206633 h 958"/>
              <a:gd name="T40" fmla="*/ 1099784 w 1209"/>
              <a:gd name="T41" fmla="*/ 1224291 h 958"/>
              <a:gd name="T42" fmla="*/ 992197 w 1209"/>
              <a:gd name="T43" fmla="*/ 1239006 h 958"/>
              <a:gd name="T44" fmla="*/ 887598 w 1209"/>
              <a:gd name="T45" fmla="*/ 1246363 h 958"/>
              <a:gd name="T46" fmla="*/ 780010 w 1209"/>
              <a:gd name="T47" fmla="*/ 1249306 h 958"/>
              <a:gd name="T48" fmla="*/ 672422 w 1209"/>
              <a:gd name="T49" fmla="*/ 1246363 h 958"/>
              <a:gd name="T50" fmla="*/ 563341 w 1209"/>
              <a:gd name="T51" fmla="*/ 1237534 h 958"/>
              <a:gd name="T52" fmla="*/ 455753 w 1209"/>
              <a:gd name="T53" fmla="*/ 1224291 h 958"/>
              <a:gd name="T54" fmla="*/ 349660 w 1209"/>
              <a:gd name="T55" fmla="*/ 1203690 h 958"/>
              <a:gd name="T56" fmla="*/ 304831 w 1209"/>
              <a:gd name="T57" fmla="*/ 1408228 h 958"/>
              <a:gd name="T58" fmla="*/ 0 w 1209"/>
              <a:gd name="T59" fmla="*/ 594487 h 958"/>
              <a:gd name="T60" fmla="*/ 608169 w 1209"/>
              <a:gd name="T61" fmla="*/ 0 h 958"/>
              <a:gd name="T62" fmla="*/ 564835 w 1209"/>
              <a:gd name="T63" fmla="*/ 203067 h 9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9"/>
              <a:gd name="T97" fmla="*/ 0 h 958"/>
              <a:gd name="T98" fmla="*/ 1209 w 1209"/>
              <a:gd name="T99" fmla="*/ 958 h 95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9" h="958">
                <a:moveTo>
                  <a:pt x="378" y="138"/>
                </a:moveTo>
                <a:lnTo>
                  <a:pt x="413" y="144"/>
                </a:lnTo>
                <a:lnTo>
                  <a:pt x="450" y="149"/>
                </a:lnTo>
                <a:lnTo>
                  <a:pt x="486" y="152"/>
                </a:lnTo>
                <a:lnTo>
                  <a:pt x="522" y="153"/>
                </a:lnTo>
                <a:lnTo>
                  <a:pt x="558" y="153"/>
                </a:lnTo>
                <a:lnTo>
                  <a:pt x="594" y="150"/>
                </a:lnTo>
                <a:lnTo>
                  <a:pt x="629" y="145"/>
                </a:lnTo>
                <a:lnTo>
                  <a:pt x="665" y="138"/>
                </a:lnTo>
                <a:lnTo>
                  <a:pt x="699" y="130"/>
                </a:lnTo>
                <a:lnTo>
                  <a:pt x="734" y="120"/>
                </a:lnTo>
                <a:lnTo>
                  <a:pt x="762" y="111"/>
                </a:lnTo>
                <a:lnTo>
                  <a:pt x="806" y="535"/>
                </a:lnTo>
                <a:lnTo>
                  <a:pt x="1208" y="669"/>
                </a:lnTo>
                <a:lnTo>
                  <a:pt x="1144" y="702"/>
                </a:lnTo>
                <a:lnTo>
                  <a:pt x="1079" y="734"/>
                </a:lnTo>
                <a:lnTo>
                  <a:pt x="1013" y="760"/>
                </a:lnTo>
                <a:lnTo>
                  <a:pt x="944" y="784"/>
                </a:lnTo>
                <a:lnTo>
                  <a:pt x="876" y="804"/>
                </a:lnTo>
                <a:lnTo>
                  <a:pt x="806" y="820"/>
                </a:lnTo>
                <a:lnTo>
                  <a:pt x="736" y="832"/>
                </a:lnTo>
                <a:lnTo>
                  <a:pt x="664" y="842"/>
                </a:lnTo>
                <a:lnTo>
                  <a:pt x="594" y="847"/>
                </a:lnTo>
                <a:lnTo>
                  <a:pt x="522" y="849"/>
                </a:lnTo>
                <a:lnTo>
                  <a:pt x="450" y="847"/>
                </a:lnTo>
                <a:lnTo>
                  <a:pt x="377" y="841"/>
                </a:lnTo>
                <a:lnTo>
                  <a:pt x="305" y="832"/>
                </a:lnTo>
                <a:lnTo>
                  <a:pt x="234" y="818"/>
                </a:lnTo>
                <a:lnTo>
                  <a:pt x="204" y="957"/>
                </a:lnTo>
                <a:lnTo>
                  <a:pt x="0" y="404"/>
                </a:lnTo>
                <a:lnTo>
                  <a:pt x="407" y="0"/>
                </a:lnTo>
                <a:lnTo>
                  <a:pt x="378" y="138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452D045E-4562-C4BC-C2E2-6FEDA22CDB6E}"/>
              </a:ext>
            </a:extLst>
          </p:cNvPr>
          <p:cNvSpPr>
            <a:spLocks/>
          </p:cNvSpPr>
          <p:nvPr/>
        </p:nvSpPr>
        <p:spPr bwMode="blackWhite">
          <a:xfrm>
            <a:off x="2225153" y="4072783"/>
            <a:ext cx="1574428" cy="1700384"/>
          </a:xfrm>
          <a:custGeom>
            <a:avLst/>
            <a:gdLst>
              <a:gd name="T0" fmla="*/ 1115026 w 1009"/>
              <a:gd name="T1" fmla="*/ 185557 h 1106"/>
              <a:gd name="T2" fmla="*/ 1140436 w 1009"/>
              <a:gd name="T3" fmla="*/ 231209 h 1106"/>
              <a:gd name="T4" fmla="*/ 1170329 w 1009"/>
              <a:gd name="T5" fmla="*/ 278335 h 1106"/>
              <a:gd name="T6" fmla="*/ 1198728 w 1009"/>
              <a:gd name="T7" fmla="*/ 322515 h 1106"/>
              <a:gd name="T8" fmla="*/ 1233105 w 1009"/>
              <a:gd name="T9" fmla="*/ 365223 h 1106"/>
              <a:gd name="T10" fmla="*/ 1265988 w 1009"/>
              <a:gd name="T11" fmla="*/ 404985 h 1106"/>
              <a:gd name="T12" fmla="*/ 1304850 w 1009"/>
              <a:gd name="T13" fmla="*/ 443274 h 1106"/>
              <a:gd name="T14" fmla="*/ 1342216 w 1009"/>
              <a:gd name="T15" fmla="*/ 480091 h 1106"/>
              <a:gd name="T16" fmla="*/ 1384067 w 1009"/>
              <a:gd name="T17" fmla="*/ 513962 h 1106"/>
              <a:gd name="T18" fmla="*/ 1425918 w 1009"/>
              <a:gd name="T19" fmla="*/ 546361 h 1106"/>
              <a:gd name="T20" fmla="*/ 1469264 w 1009"/>
              <a:gd name="T21" fmla="*/ 575815 h 1106"/>
              <a:gd name="T22" fmla="*/ 1506630 w 1009"/>
              <a:gd name="T23" fmla="*/ 600850 h 1106"/>
              <a:gd name="T24" fmla="*/ 1055239 w 1009"/>
              <a:gd name="T25" fmla="*/ 1044124 h 1106"/>
              <a:gd name="T26" fmla="*/ 1277945 w 1009"/>
              <a:gd name="T27" fmla="*/ 1627302 h 1106"/>
              <a:gd name="T28" fmla="*/ 1180792 w 1009"/>
              <a:gd name="T29" fmla="*/ 1586068 h 1106"/>
              <a:gd name="T30" fmla="*/ 1082143 w 1009"/>
              <a:gd name="T31" fmla="*/ 1540415 h 1106"/>
              <a:gd name="T32" fmla="*/ 987979 w 1009"/>
              <a:gd name="T33" fmla="*/ 1488871 h 1106"/>
              <a:gd name="T34" fmla="*/ 896804 w 1009"/>
              <a:gd name="T35" fmla="*/ 1431437 h 1106"/>
              <a:gd name="T36" fmla="*/ 808618 w 1009"/>
              <a:gd name="T37" fmla="*/ 1372530 h 1106"/>
              <a:gd name="T38" fmla="*/ 724916 w 1009"/>
              <a:gd name="T39" fmla="*/ 1307732 h 1106"/>
              <a:gd name="T40" fmla="*/ 645699 w 1009"/>
              <a:gd name="T41" fmla="*/ 1238517 h 1106"/>
              <a:gd name="T42" fmla="*/ 566481 w 1009"/>
              <a:gd name="T43" fmla="*/ 1164883 h 1106"/>
              <a:gd name="T44" fmla="*/ 494737 w 1009"/>
              <a:gd name="T45" fmla="*/ 1089777 h 1106"/>
              <a:gd name="T46" fmla="*/ 424487 w 1009"/>
              <a:gd name="T47" fmla="*/ 1008780 h 1106"/>
              <a:gd name="T48" fmla="*/ 358722 w 1009"/>
              <a:gd name="T49" fmla="*/ 924838 h 1106"/>
              <a:gd name="T50" fmla="*/ 295945 w 1009"/>
              <a:gd name="T51" fmla="*/ 836478 h 1106"/>
              <a:gd name="T52" fmla="*/ 239148 w 1009"/>
              <a:gd name="T53" fmla="*/ 746644 h 1106"/>
              <a:gd name="T54" fmla="*/ 188329 w 1009"/>
              <a:gd name="T55" fmla="*/ 650921 h 1106"/>
              <a:gd name="T56" fmla="*/ 0 w 1009"/>
              <a:gd name="T57" fmla="*/ 745172 h 1106"/>
              <a:gd name="T58" fmla="*/ 449897 w 1009"/>
              <a:gd name="T59" fmla="*/ 0 h 1106"/>
              <a:gd name="T60" fmla="*/ 1301860 w 1009"/>
              <a:gd name="T61" fmla="*/ 91306 h 1106"/>
              <a:gd name="T62" fmla="*/ 1115026 w 1009"/>
              <a:gd name="T63" fmla="*/ 185557 h 11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09"/>
              <a:gd name="T97" fmla="*/ 0 h 1106"/>
              <a:gd name="T98" fmla="*/ 1009 w 1009"/>
              <a:gd name="T99" fmla="*/ 1106 h 11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09" h="1106">
                <a:moveTo>
                  <a:pt x="746" y="126"/>
                </a:moveTo>
                <a:lnTo>
                  <a:pt x="763" y="157"/>
                </a:lnTo>
                <a:lnTo>
                  <a:pt x="783" y="189"/>
                </a:lnTo>
                <a:lnTo>
                  <a:pt x="802" y="219"/>
                </a:lnTo>
                <a:lnTo>
                  <a:pt x="825" y="248"/>
                </a:lnTo>
                <a:lnTo>
                  <a:pt x="847" y="275"/>
                </a:lnTo>
                <a:lnTo>
                  <a:pt x="873" y="301"/>
                </a:lnTo>
                <a:lnTo>
                  <a:pt x="898" y="326"/>
                </a:lnTo>
                <a:lnTo>
                  <a:pt x="926" y="349"/>
                </a:lnTo>
                <a:lnTo>
                  <a:pt x="954" y="371"/>
                </a:lnTo>
                <a:lnTo>
                  <a:pt x="983" y="391"/>
                </a:lnTo>
                <a:lnTo>
                  <a:pt x="1008" y="408"/>
                </a:lnTo>
                <a:lnTo>
                  <a:pt x="706" y="709"/>
                </a:lnTo>
                <a:lnTo>
                  <a:pt x="855" y="1105"/>
                </a:lnTo>
                <a:lnTo>
                  <a:pt x="790" y="1077"/>
                </a:lnTo>
                <a:lnTo>
                  <a:pt x="724" y="1046"/>
                </a:lnTo>
                <a:lnTo>
                  <a:pt x="661" y="1011"/>
                </a:lnTo>
                <a:lnTo>
                  <a:pt x="600" y="972"/>
                </a:lnTo>
                <a:lnTo>
                  <a:pt x="541" y="932"/>
                </a:lnTo>
                <a:lnTo>
                  <a:pt x="485" y="888"/>
                </a:lnTo>
                <a:lnTo>
                  <a:pt x="432" y="841"/>
                </a:lnTo>
                <a:lnTo>
                  <a:pt x="379" y="791"/>
                </a:lnTo>
                <a:lnTo>
                  <a:pt x="331" y="740"/>
                </a:lnTo>
                <a:lnTo>
                  <a:pt x="284" y="685"/>
                </a:lnTo>
                <a:lnTo>
                  <a:pt x="240" y="628"/>
                </a:lnTo>
                <a:lnTo>
                  <a:pt x="198" y="568"/>
                </a:lnTo>
                <a:lnTo>
                  <a:pt x="160" y="507"/>
                </a:lnTo>
                <a:lnTo>
                  <a:pt x="126" y="442"/>
                </a:lnTo>
                <a:lnTo>
                  <a:pt x="0" y="506"/>
                </a:lnTo>
                <a:lnTo>
                  <a:pt x="301" y="0"/>
                </a:lnTo>
                <a:lnTo>
                  <a:pt x="871" y="62"/>
                </a:lnTo>
                <a:lnTo>
                  <a:pt x="746" y="126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7">
            <a:extLst>
              <a:ext uri="{FF2B5EF4-FFF2-40B4-BE49-F238E27FC236}">
                <a16:creationId xmlns:a16="http://schemas.microsoft.com/office/drawing/2014/main" id="{94FC2AAE-2F27-462F-AB3A-002D0FD267CF}"/>
              </a:ext>
            </a:extLst>
          </p:cNvPr>
          <p:cNvSpPr>
            <a:spLocks/>
          </p:cNvSpPr>
          <p:nvPr/>
        </p:nvSpPr>
        <p:spPr bwMode="blackWhite">
          <a:xfrm>
            <a:off x="2234629" y="2851103"/>
            <a:ext cx="1392126" cy="1718614"/>
          </a:xfrm>
          <a:custGeom>
            <a:avLst/>
            <a:gdLst>
              <a:gd name="T0" fmla="*/ 1140434 w 891"/>
              <a:gd name="T1" fmla="*/ 631696 h 1118"/>
              <a:gd name="T2" fmla="*/ 1119482 w 891"/>
              <a:gd name="T3" fmla="*/ 678815 h 1118"/>
              <a:gd name="T4" fmla="*/ 1100025 w 891"/>
              <a:gd name="T5" fmla="*/ 730352 h 1118"/>
              <a:gd name="T6" fmla="*/ 1082066 w 891"/>
              <a:gd name="T7" fmla="*/ 780417 h 1118"/>
              <a:gd name="T8" fmla="*/ 1068596 w 891"/>
              <a:gd name="T9" fmla="*/ 831954 h 1118"/>
              <a:gd name="T10" fmla="*/ 1056623 w 891"/>
              <a:gd name="T11" fmla="*/ 883491 h 1118"/>
              <a:gd name="T12" fmla="*/ 1050636 w 891"/>
              <a:gd name="T13" fmla="*/ 936500 h 1118"/>
              <a:gd name="T14" fmla="*/ 1044650 w 891"/>
              <a:gd name="T15" fmla="*/ 988037 h 1118"/>
              <a:gd name="T16" fmla="*/ 1041657 w 891"/>
              <a:gd name="T17" fmla="*/ 1041047 h 1118"/>
              <a:gd name="T18" fmla="*/ 1043153 w 891"/>
              <a:gd name="T19" fmla="*/ 1094056 h 1118"/>
              <a:gd name="T20" fmla="*/ 1046147 w 891"/>
              <a:gd name="T21" fmla="*/ 1147066 h 1118"/>
              <a:gd name="T22" fmla="*/ 1049140 w 891"/>
              <a:gd name="T23" fmla="*/ 1191240 h 1118"/>
              <a:gd name="T24" fmla="*/ 416064 w 891"/>
              <a:gd name="T25" fmla="*/ 1113198 h 1118"/>
              <a:gd name="T26" fmla="*/ 85308 w 891"/>
              <a:gd name="T27" fmla="*/ 1644766 h 1118"/>
              <a:gd name="T28" fmla="*/ 58369 w 891"/>
              <a:gd name="T29" fmla="*/ 1543164 h 1118"/>
              <a:gd name="T30" fmla="*/ 34423 w 891"/>
              <a:gd name="T31" fmla="*/ 1438617 h 1118"/>
              <a:gd name="T32" fmla="*/ 17960 w 891"/>
              <a:gd name="T33" fmla="*/ 1334071 h 1118"/>
              <a:gd name="T34" fmla="*/ 7483 w 891"/>
              <a:gd name="T35" fmla="*/ 1228052 h 1118"/>
              <a:gd name="T36" fmla="*/ 0 w 891"/>
              <a:gd name="T37" fmla="*/ 1123506 h 1118"/>
              <a:gd name="T38" fmla="*/ 1497 w 891"/>
              <a:gd name="T39" fmla="*/ 1018959 h 1118"/>
              <a:gd name="T40" fmla="*/ 7483 w 891"/>
              <a:gd name="T41" fmla="*/ 914413 h 1118"/>
              <a:gd name="T42" fmla="*/ 17960 w 891"/>
              <a:gd name="T43" fmla="*/ 808394 h 1118"/>
              <a:gd name="T44" fmla="*/ 32926 w 891"/>
              <a:gd name="T45" fmla="*/ 705320 h 1118"/>
              <a:gd name="T46" fmla="*/ 55375 w 891"/>
              <a:gd name="T47" fmla="*/ 600774 h 1118"/>
              <a:gd name="T48" fmla="*/ 82315 w 891"/>
              <a:gd name="T49" fmla="*/ 497700 h 1118"/>
              <a:gd name="T50" fmla="*/ 113744 w 891"/>
              <a:gd name="T51" fmla="*/ 396098 h 1118"/>
              <a:gd name="T52" fmla="*/ 151160 w 891"/>
              <a:gd name="T53" fmla="*/ 295969 h 1118"/>
              <a:gd name="T54" fmla="*/ 196059 w 891"/>
              <a:gd name="T55" fmla="*/ 197313 h 1118"/>
              <a:gd name="T56" fmla="*/ 4490 w 891"/>
              <a:gd name="T57" fmla="*/ 108964 h 1118"/>
              <a:gd name="T58" fmla="*/ 878524 w 891"/>
              <a:gd name="T59" fmla="*/ 0 h 1118"/>
              <a:gd name="T60" fmla="*/ 1332003 w 891"/>
              <a:gd name="T61" fmla="*/ 718572 h 1118"/>
              <a:gd name="T62" fmla="*/ 1140434 w 891"/>
              <a:gd name="T63" fmla="*/ 631696 h 111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91"/>
              <a:gd name="T97" fmla="*/ 0 h 1118"/>
              <a:gd name="T98" fmla="*/ 891 w 891"/>
              <a:gd name="T99" fmla="*/ 1118 h 111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91" h="1118">
                <a:moveTo>
                  <a:pt x="762" y="429"/>
                </a:moveTo>
                <a:lnTo>
                  <a:pt x="748" y="461"/>
                </a:lnTo>
                <a:lnTo>
                  <a:pt x="735" y="496"/>
                </a:lnTo>
                <a:lnTo>
                  <a:pt x="723" y="530"/>
                </a:lnTo>
                <a:lnTo>
                  <a:pt x="714" y="565"/>
                </a:lnTo>
                <a:lnTo>
                  <a:pt x="706" y="600"/>
                </a:lnTo>
                <a:lnTo>
                  <a:pt x="702" y="636"/>
                </a:lnTo>
                <a:lnTo>
                  <a:pt x="698" y="671"/>
                </a:lnTo>
                <a:lnTo>
                  <a:pt x="696" y="707"/>
                </a:lnTo>
                <a:lnTo>
                  <a:pt x="697" y="743"/>
                </a:lnTo>
                <a:lnTo>
                  <a:pt x="699" y="779"/>
                </a:lnTo>
                <a:lnTo>
                  <a:pt x="701" y="809"/>
                </a:lnTo>
                <a:lnTo>
                  <a:pt x="278" y="756"/>
                </a:lnTo>
                <a:lnTo>
                  <a:pt x="57" y="1117"/>
                </a:lnTo>
                <a:lnTo>
                  <a:pt x="39" y="1048"/>
                </a:lnTo>
                <a:lnTo>
                  <a:pt x="23" y="977"/>
                </a:lnTo>
                <a:lnTo>
                  <a:pt x="12" y="906"/>
                </a:lnTo>
                <a:lnTo>
                  <a:pt x="5" y="834"/>
                </a:lnTo>
                <a:lnTo>
                  <a:pt x="0" y="763"/>
                </a:lnTo>
                <a:lnTo>
                  <a:pt x="1" y="692"/>
                </a:lnTo>
                <a:lnTo>
                  <a:pt x="5" y="621"/>
                </a:lnTo>
                <a:lnTo>
                  <a:pt x="12" y="549"/>
                </a:lnTo>
                <a:lnTo>
                  <a:pt x="22" y="479"/>
                </a:lnTo>
                <a:lnTo>
                  <a:pt x="37" y="408"/>
                </a:lnTo>
                <a:lnTo>
                  <a:pt x="55" y="338"/>
                </a:lnTo>
                <a:lnTo>
                  <a:pt x="76" y="269"/>
                </a:lnTo>
                <a:lnTo>
                  <a:pt x="101" y="201"/>
                </a:lnTo>
                <a:lnTo>
                  <a:pt x="131" y="134"/>
                </a:lnTo>
                <a:lnTo>
                  <a:pt x="3" y="74"/>
                </a:lnTo>
                <a:lnTo>
                  <a:pt x="587" y="0"/>
                </a:lnTo>
                <a:lnTo>
                  <a:pt x="890" y="488"/>
                </a:lnTo>
                <a:lnTo>
                  <a:pt x="762" y="429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reeform 8">
            <a:extLst>
              <a:ext uri="{FF2B5EF4-FFF2-40B4-BE49-F238E27FC236}">
                <a16:creationId xmlns:a16="http://schemas.microsoft.com/office/drawing/2014/main" id="{28A811C0-D230-33B6-D171-4DCBDCEEE480}"/>
              </a:ext>
            </a:extLst>
          </p:cNvPr>
          <p:cNvSpPr>
            <a:spLocks/>
          </p:cNvSpPr>
          <p:nvPr/>
        </p:nvSpPr>
        <p:spPr bwMode="blackWhite">
          <a:xfrm>
            <a:off x="2525844" y="1805351"/>
            <a:ext cx="1877714" cy="1544598"/>
          </a:xfrm>
          <a:custGeom>
            <a:avLst/>
            <a:gdLst>
              <a:gd name="T0" fmla="*/ 1462234 w 1203"/>
              <a:gd name="T1" fmla="*/ 1195700 h 1006"/>
              <a:gd name="T2" fmla="*/ 1411400 w 1203"/>
              <a:gd name="T3" fmla="*/ 1208937 h 1006"/>
              <a:gd name="T4" fmla="*/ 1359070 w 1203"/>
              <a:gd name="T5" fmla="*/ 1228056 h 1006"/>
              <a:gd name="T6" fmla="*/ 1308236 w 1203"/>
              <a:gd name="T7" fmla="*/ 1245705 h 1006"/>
              <a:gd name="T8" fmla="*/ 1258897 w 1203"/>
              <a:gd name="T9" fmla="*/ 1267766 h 1006"/>
              <a:gd name="T10" fmla="*/ 1211053 w 1203"/>
              <a:gd name="T11" fmla="*/ 1291297 h 1006"/>
              <a:gd name="T12" fmla="*/ 1164704 w 1203"/>
              <a:gd name="T13" fmla="*/ 1319241 h 1006"/>
              <a:gd name="T14" fmla="*/ 1119850 w 1203"/>
              <a:gd name="T15" fmla="*/ 1347185 h 1006"/>
              <a:gd name="T16" fmla="*/ 1077987 w 1203"/>
              <a:gd name="T17" fmla="*/ 1379541 h 1006"/>
              <a:gd name="T18" fmla="*/ 1036123 w 1203"/>
              <a:gd name="T19" fmla="*/ 1411897 h 1006"/>
              <a:gd name="T20" fmla="*/ 997250 w 1203"/>
              <a:gd name="T21" fmla="*/ 1447194 h 1006"/>
              <a:gd name="T22" fmla="*/ 964357 w 1203"/>
              <a:gd name="T23" fmla="*/ 1478079 h 1006"/>
              <a:gd name="T24" fmla="*/ 627953 w 1203"/>
              <a:gd name="T25" fmla="*/ 945677 h 1006"/>
              <a:gd name="T26" fmla="*/ 0 w 1203"/>
              <a:gd name="T27" fmla="*/ 1028037 h 1006"/>
              <a:gd name="T28" fmla="*/ 62795 w 1203"/>
              <a:gd name="T29" fmla="*/ 942735 h 1006"/>
              <a:gd name="T30" fmla="*/ 131571 w 1203"/>
              <a:gd name="T31" fmla="*/ 858904 h 1006"/>
              <a:gd name="T32" fmla="*/ 201842 w 1203"/>
              <a:gd name="T33" fmla="*/ 780955 h 1006"/>
              <a:gd name="T34" fmla="*/ 279589 w 1203"/>
              <a:gd name="T35" fmla="*/ 705948 h 1006"/>
              <a:gd name="T36" fmla="*/ 357335 w 1203"/>
              <a:gd name="T37" fmla="*/ 635354 h 1006"/>
              <a:gd name="T38" fmla="*/ 441063 w 1203"/>
              <a:gd name="T39" fmla="*/ 569171 h 1006"/>
              <a:gd name="T40" fmla="*/ 526285 w 1203"/>
              <a:gd name="T41" fmla="*/ 508871 h 1006"/>
              <a:gd name="T42" fmla="*/ 617487 w 1203"/>
              <a:gd name="T43" fmla="*/ 448571 h 1006"/>
              <a:gd name="T44" fmla="*/ 708690 w 1203"/>
              <a:gd name="T45" fmla="*/ 397096 h 1006"/>
              <a:gd name="T46" fmla="*/ 804378 w 1203"/>
              <a:gd name="T47" fmla="*/ 348562 h 1006"/>
              <a:gd name="T48" fmla="*/ 901562 w 1203"/>
              <a:gd name="T49" fmla="*/ 304440 h 1006"/>
              <a:gd name="T50" fmla="*/ 1003230 w 1203"/>
              <a:gd name="T51" fmla="*/ 264731 h 1006"/>
              <a:gd name="T52" fmla="*/ 1104899 w 1203"/>
              <a:gd name="T53" fmla="*/ 230904 h 1006"/>
              <a:gd name="T54" fmla="*/ 1211053 w 1203"/>
              <a:gd name="T55" fmla="*/ 202960 h 1006"/>
              <a:gd name="T56" fmla="*/ 1160219 w 1203"/>
              <a:gd name="T57" fmla="*/ 0 h 1006"/>
              <a:gd name="T58" fmla="*/ 1797143 w 1203"/>
              <a:gd name="T59" fmla="*/ 598585 h 1006"/>
              <a:gd name="T60" fmla="*/ 1514564 w 1203"/>
              <a:gd name="T61" fmla="*/ 1395719 h 1006"/>
              <a:gd name="T62" fmla="*/ 1462234 w 1203"/>
              <a:gd name="T63" fmla="*/ 1195700 h 10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3"/>
              <a:gd name="T97" fmla="*/ 0 h 1006"/>
              <a:gd name="T98" fmla="*/ 1203 w 1203"/>
              <a:gd name="T99" fmla="*/ 1006 h 10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3" h="1006">
                <a:moveTo>
                  <a:pt x="978" y="813"/>
                </a:moveTo>
                <a:lnTo>
                  <a:pt x="944" y="822"/>
                </a:lnTo>
                <a:lnTo>
                  <a:pt x="909" y="835"/>
                </a:lnTo>
                <a:lnTo>
                  <a:pt x="875" y="847"/>
                </a:lnTo>
                <a:lnTo>
                  <a:pt x="842" y="862"/>
                </a:lnTo>
                <a:lnTo>
                  <a:pt x="810" y="878"/>
                </a:lnTo>
                <a:lnTo>
                  <a:pt x="779" y="897"/>
                </a:lnTo>
                <a:lnTo>
                  <a:pt x="749" y="916"/>
                </a:lnTo>
                <a:lnTo>
                  <a:pt x="721" y="938"/>
                </a:lnTo>
                <a:lnTo>
                  <a:pt x="693" y="960"/>
                </a:lnTo>
                <a:lnTo>
                  <a:pt x="667" y="984"/>
                </a:lnTo>
                <a:lnTo>
                  <a:pt x="645" y="1005"/>
                </a:lnTo>
                <a:lnTo>
                  <a:pt x="420" y="643"/>
                </a:lnTo>
                <a:lnTo>
                  <a:pt x="0" y="699"/>
                </a:lnTo>
                <a:lnTo>
                  <a:pt x="42" y="641"/>
                </a:lnTo>
                <a:lnTo>
                  <a:pt x="88" y="584"/>
                </a:lnTo>
                <a:lnTo>
                  <a:pt x="135" y="531"/>
                </a:lnTo>
                <a:lnTo>
                  <a:pt x="187" y="480"/>
                </a:lnTo>
                <a:lnTo>
                  <a:pt x="239" y="432"/>
                </a:lnTo>
                <a:lnTo>
                  <a:pt x="295" y="387"/>
                </a:lnTo>
                <a:lnTo>
                  <a:pt x="352" y="346"/>
                </a:lnTo>
                <a:lnTo>
                  <a:pt x="413" y="305"/>
                </a:lnTo>
                <a:lnTo>
                  <a:pt x="474" y="270"/>
                </a:lnTo>
                <a:lnTo>
                  <a:pt x="538" y="237"/>
                </a:lnTo>
                <a:lnTo>
                  <a:pt x="603" y="207"/>
                </a:lnTo>
                <a:lnTo>
                  <a:pt x="671" y="180"/>
                </a:lnTo>
                <a:lnTo>
                  <a:pt x="739" y="157"/>
                </a:lnTo>
                <a:lnTo>
                  <a:pt x="810" y="138"/>
                </a:lnTo>
                <a:lnTo>
                  <a:pt x="776" y="0"/>
                </a:lnTo>
                <a:lnTo>
                  <a:pt x="1202" y="407"/>
                </a:lnTo>
                <a:lnTo>
                  <a:pt x="1013" y="949"/>
                </a:lnTo>
                <a:lnTo>
                  <a:pt x="978" y="813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7215C0DE-56AA-821C-E248-70411262818A}"/>
              </a:ext>
            </a:extLst>
          </p:cNvPr>
          <p:cNvSpPr>
            <a:spLocks/>
          </p:cNvSpPr>
          <p:nvPr/>
        </p:nvSpPr>
        <p:spPr bwMode="blackWhite">
          <a:xfrm>
            <a:off x="3996799" y="1966830"/>
            <a:ext cx="1605917" cy="1468362"/>
          </a:xfrm>
          <a:custGeom>
            <a:avLst/>
            <a:gdLst>
              <a:gd name="T0" fmla="*/ 765406 w 1029"/>
              <a:gd name="T1" fmla="*/ 1241571 h 955"/>
              <a:gd name="T2" fmla="*/ 723548 w 1029"/>
              <a:gd name="T3" fmla="*/ 1210643 h 955"/>
              <a:gd name="T4" fmla="*/ 677205 w 1029"/>
              <a:gd name="T5" fmla="*/ 1179714 h 955"/>
              <a:gd name="T6" fmla="*/ 632357 w 1029"/>
              <a:gd name="T7" fmla="*/ 1153203 h 955"/>
              <a:gd name="T8" fmla="*/ 583024 w 1029"/>
              <a:gd name="T9" fmla="*/ 1128166 h 955"/>
              <a:gd name="T10" fmla="*/ 535186 w 1029"/>
              <a:gd name="T11" fmla="*/ 1104601 h 955"/>
              <a:gd name="T12" fmla="*/ 484359 w 1029"/>
              <a:gd name="T13" fmla="*/ 1086927 h 955"/>
              <a:gd name="T14" fmla="*/ 433531 w 1029"/>
              <a:gd name="T15" fmla="*/ 1069254 h 955"/>
              <a:gd name="T16" fmla="*/ 381208 w 1029"/>
              <a:gd name="T17" fmla="*/ 1055998 h 955"/>
              <a:gd name="T18" fmla="*/ 330380 w 1029"/>
              <a:gd name="T19" fmla="*/ 1044216 h 955"/>
              <a:gd name="T20" fmla="*/ 278058 w 1029"/>
              <a:gd name="T21" fmla="*/ 1035379 h 955"/>
              <a:gd name="T22" fmla="*/ 233210 w 1029"/>
              <a:gd name="T23" fmla="*/ 1028015 h 955"/>
              <a:gd name="T24" fmla="*/ 452965 w 1029"/>
              <a:gd name="T25" fmla="*/ 438895 h 955"/>
              <a:gd name="T26" fmla="*/ 0 w 1029"/>
              <a:gd name="T27" fmla="*/ 2946 h 955"/>
              <a:gd name="T28" fmla="*/ 106140 w 1029"/>
              <a:gd name="T29" fmla="*/ 0 h 955"/>
              <a:gd name="T30" fmla="*/ 215270 w 1029"/>
              <a:gd name="T31" fmla="*/ 0 h 955"/>
              <a:gd name="T32" fmla="*/ 321411 w 1029"/>
              <a:gd name="T33" fmla="*/ 7364 h 955"/>
              <a:gd name="T34" fmla="*/ 429046 w 1029"/>
              <a:gd name="T35" fmla="*/ 20619 h 955"/>
              <a:gd name="T36" fmla="*/ 535186 w 1029"/>
              <a:gd name="T37" fmla="*/ 38293 h 955"/>
              <a:gd name="T38" fmla="*/ 638337 w 1029"/>
              <a:gd name="T39" fmla="*/ 63330 h 955"/>
              <a:gd name="T40" fmla="*/ 739992 w 1029"/>
              <a:gd name="T41" fmla="*/ 91314 h 955"/>
              <a:gd name="T42" fmla="*/ 843143 w 1029"/>
              <a:gd name="T43" fmla="*/ 125188 h 955"/>
              <a:gd name="T44" fmla="*/ 941808 w 1029"/>
              <a:gd name="T45" fmla="*/ 163481 h 955"/>
              <a:gd name="T46" fmla="*/ 1038979 w 1029"/>
              <a:gd name="T47" fmla="*/ 207665 h 955"/>
              <a:gd name="T48" fmla="*/ 1134655 w 1029"/>
              <a:gd name="T49" fmla="*/ 256267 h 955"/>
              <a:gd name="T50" fmla="*/ 1228835 w 1029"/>
              <a:gd name="T51" fmla="*/ 310761 h 955"/>
              <a:gd name="T52" fmla="*/ 1320026 w 1029"/>
              <a:gd name="T53" fmla="*/ 368200 h 955"/>
              <a:gd name="T54" fmla="*/ 1406733 w 1029"/>
              <a:gd name="T55" fmla="*/ 433004 h 955"/>
              <a:gd name="T56" fmla="*/ 1536792 w 1029"/>
              <a:gd name="T57" fmla="*/ 269523 h 955"/>
              <a:gd name="T58" fmla="*/ 1450086 w 1029"/>
              <a:gd name="T59" fmla="*/ 1132584 h 955"/>
              <a:gd name="T60" fmla="*/ 636842 w 1029"/>
              <a:gd name="T61" fmla="*/ 1405052 h 955"/>
              <a:gd name="T62" fmla="*/ 765406 w 1029"/>
              <a:gd name="T63" fmla="*/ 1241571 h 95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9"/>
              <a:gd name="T97" fmla="*/ 0 h 955"/>
              <a:gd name="T98" fmla="*/ 1029 w 1029"/>
              <a:gd name="T99" fmla="*/ 955 h 95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9" h="955">
                <a:moveTo>
                  <a:pt x="512" y="843"/>
                </a:moveTo>
                <a:lnTo>
                  <a:pt x="484" y="822"/>
                </a:lnTo>
                <a:lnTo>
                  <a:pt x="453" y="801"/>
                </a:lnTo>
                <a:lnTo>
                  <a:pt x="423" y="783"/>
                </a:lnTo>
                <a:lnTo>
                  <a:pt x="390" y="766"/>
                </a:lnTo>
                <a:lnTo>
                  <a:pt x="358" y="750"/>
                </a:lnTo>
                <a:lnTo>
                  <a:pt x="324" y="738"/>
                </a:lnTo>
                <a:lnTo>
                  <a:pt x="290" y="726"/>
                </a:lnTo>
                <a:lnTo>
                  <a:pt x="255" y="717"/>
                </a:lnTo>
                <a:lnTo>
                  <a:pt x="221" y="709"/>
                </a:lnTo>
                <a:lnTo>
                  <a:pt x="186" y="703"/>
                </a:lnTo>
                <a:lnTo>
                  <a:pt x="156" y="698"/>
                </a:lnTo>
                <a:lnTo>
                  <a:pt x="303" y="298"/>
                </a:lnTo>
                <a:lnTo>
                  <a:pt x="0" y="2"/>
                </a:lnTo>
                <a:lnTo>
                  <a:pt x="71" y="0"/>
                </a:lnTo>
                <a:lnTo>
                  <a:pt x="144" y="0"/>
                </a:lnTo>
                <a:lnTo>
                  <a:pt x="215" y="5"/>
                </a:lnTo>
                <a:lnTo>
                  <a:pt x="287" y="14"/>
                </a:lnTo>
                <a:lnTo>
                  <a:pt x="358" y="26"/>
                </a:lnTo>
                <a:lnTo>
                  <a:pt x="427" y="43"/>
                </a:lnTo>
                <a:lnTo>
                  <a:pt x="495" y="62"/>
                </a:lnTo>
                <a:lnTo>
                  <a:pt x="564" y="85"/>
                </a:lnTo>
                <a:lnTo>
                  <a:pt x="630" y="111"/>
                </a:lnTo>
                <a:lnTo>
                  <a:pt x="695" y="141"/>
                </a:lnTo>
                <a:lnTo>
                  <a:pt x="759" y="174"/>
                </a:lnTo>
                <a:lnTo>
                  <a:pt x="822" y="211"/>
                </a:lnTo>
                <a:lnTo>
                  <a:pt x="883" y="250"/>
                </a:lnTo>
                <a:lnTo>
                  <a:pt x="941" y="294"/>
                </a:lnTo>
                <a:lnTo>
                  <a:pt x="1028" y="183"/>
                </a:lnTo>
                <a:lnTo>
                  <a:pt x="970" y="769"/>
                </a:lnTo>
                <a:lnTo>
                  <a:pt x="426" y="954"/>
                </a:lnTo>
                <a:lnTo>
                  <a:pt x="512" y="843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reeform 10">
            <a:extLst>
              <a:ext uri="{FF2B5EF4-FFF2-40B4-BE49-F238E27FC236}">
                <a16:creationId xmlns:a16="http://schemas.microsoft.com/office/drawing/2014/main" id="{7047D47E-BA8C-D638-EC0A-6511AD75921C}"/>
              </a:ext>
            </a:extLst>
          </p:cNvPr>
          <p:cNvSpPr>
            <a:spLocks/>
          </p:cNvSpPr>
          <p:nvPr/>
        </p:nvSpPr>
        <p:spPr bwMode="blackWhite">
          <a:xfrm>
            <a:off x="4892674" y="2535496"/>
            <a:ext cx="1528024" cy="1900916"/>
          </a:xfrm>
          <a:custGeom>
            <a:avLst/>
            <a:gdLst>
              <a:gd name="T0" fmla="*/ 209310 w 979"/>
              <a:gd name="T1" fmla="*/ 1364911 h 1238"/>
              <a:gd name="T2" fmla="*/ 207815 w 979"/>
              <a:gd name="T3" fmla="*/ 1311962 h 1238"/>
              <a:gd name="T4" fmla="*/ 201835 w 979"/>
              <a:gd name="T5" fmla="*/ 1257542 h 1238"/>
              <a:gd name="T6" fmla="*/ 195854 w 979"/>
              <a:gd name="T7" fmla="*/ 1206064 h 1238"/>
              <a:gd name="T8" fmla="*/ 183894 w 979"/>
              <a:gd name="T9" fmla="*/ 1153114 h 1238"/>
              <a:gd name="T10" fmla="*/ 171933 w 979"/>
              <a:gd name="T11" fmla="*/ 1101636 h 1238"/>
              <a:gd name="T12" fmla="*/ 153992 w 979"/>
              <a:gd name="T13" fmla="*/ 1051629 h 1238"/>
              <a:gd name="T14" fmla="*/ 136052 w 979"/>
              <a:gd name="T15" fmla="*/ 1003092 h 1238"/>
              <a:gd name="T16" fmla="*/ 115121 w 979"/>
              <a:gd name="T17" fmla="*/ 954555 h 1238"/>
              <a:gd name="T18" fmla="*/ 91199 w 979"/>
              <a:gd name="T19" fmla="*/ 907489 h 1238"/>
              <a:gd name="T20" fmla="*/ 64288 w 979"/>
              <a:gd name="T21" fmla="*/ 861894 h 1238"/>
              <a:gd name="T22" fmla="*/ 41862 w 979"/>
              <a:gd name="T23" fmla="*/ 823653 h 1238"/>
              <a:gd name="T24" fmla="*/ 644376 w 979"/>
              <a:gd name="T25" fmla="*/ 620681 h 1238"/>
              <a:gd name="T26" fmla="*/ 705674 w 979"/>
              <a:gd name="T27" fmla="*/ 0 h 1238"/>
              <a:gd name="T28" fmla="*/ 774447 w 979"/>
              <a:gd name="T29" fmla="*/ 79424 h 1238"/>
              <a:gd name="T30" fmla="*/ 843220 w 979"/>
              <a:gd name="T31" fmla="*/ 163260 h 1238"/>
              <a:gd name="T32" fmla="*/ 903023 w 979"/>
              <a:gd name="T33" fmla="*/ 250038 h 1238"/>
              <a:gd name="T34" fmla="*/ 959836 w 979"/>
              <a:gd name="T35" fmla="*/ 339757 h 1238"/>
              <a:gd name="T36" fmla="*/ 1013659 w 979"/>
              <a:gd name="T37" fmla="*/ 430947 h 1238"/>
              <a:gd name="T38" fmla="*/ 1060006 w 979"/>
              <a:gd name="T39" fmla="*/ 526550 h 1238"/>
              <a:gd name="T40" fmla="*/ 1100373 w 979"/>
              <a:gd name="T41" fmla="*/ 622152 h 1238"/>
              <a:gd name="T42" fmla="*/ 1139245 w 979"/>
              <a:gd name="T43" fmla="*/ 722167 h 1238"/>
              <a:gd name="T44" fmla="*/ 1170641 w 979"/>
              <a:gd name="T45" fmla="*/ 820712 h 1238"/>
              <a:gd name="T46" fmla="*/ 1197552 w 979"/>
              <a:gd name="T47" fmla="*/ 923668 h 1238"/>
              <a:gd name="T48" fmla="*/ 1218483 w 979"/>
              <a:gd name="T49" fmla="*/ 1028096 h 1238"/>
              <a:gd name="T50" fmla="*/ 1234929 w 979"/>
              <a:gd name="T51" fmla="*/ 1133994 h 1238"/>
              <a:gd name="T52" fmla="*/ 1246890 w 979"/>
              <a:gd name="T53" fmla="*/ 1239892 h 1238"/>
              <a:gd name="T54" fmla="*/ 1249880 w 979"/>
              <a:gd name="T55" fmla="*/ 1347261 h 1238"/>
              <a:gd name="T56" fmla="*/ 1462180 w 979"/>
              <a:gd name="T57" fmla="*/ 1342849 h 1238"/>
              <a:gd name="T58" fmla="*/ 725110 w 979"/>
              <a:gd name="T59" fmla="*/ 1819391 h 1238"/>
              <a:gd name="T60" fmla="*/ 0 w 979"/>
              <a:gd name="T61" fmla="*/ 1369323 h 1238"/>
              <a:gd name="T62" fmla="*/ 209310 w 979"/>
              <a:gd name="T63" fmla="*/ 1364911 h 123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979"/>
              <a:gd name="T97" fmla="*/ 0 h 1238"/>
              <a:gd name="T98" fmla="*/ 979 w 979"/>
              <a:gd name="T99" fmla="*/ 1238 h 123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979" h="1238">
                <a:moveTo>
                  <a:pt x="140" y="928"/>
                </a:moveTo>
                <a:lnTo>
                  <a:pt x="139" y="892"/>
                </a:lnTo>
                <a:lnTo>
                  <a:pt x="135" y="855"/>
                </a:lnTo>
                <a:lnTo>
                  <a:pt x="131" y="820"/>
                </a:lnTo>
                <a:lnTo>
                  <a:pt x="123" y="784"/>
                </a:lnTo>
                <a:lnTo>
                  <a:pt x="115" y="749"/>
                </a:lnTo>
                <a:lnTo>
                  <a:pt x="103" y="715"/>
                </a:lnTo>
                <a:lnTo>
                  <a:pt x="91" y="682"/>
                </a:lnTo>
                <a:lnTo>
                  <a:pt x="77" y="649"/>
                </a:lnTo>
                <a:lnTo>
                  <a:pt x="61" y="617"/>
                </a:lnTo>
                <a:lnTo>
                  <a:pt x="43" y="586"/>
                </a:lnTo>
                <a:lnTo>
                  <a:pt x="28" y="560"/>
                </a:lnTo>
                <a:lnTo>
                  <a:pt x="431" y="422"/>
                </a:lnTo>
                <a:lnTo>
                  <a:pt x="472" y="0"/>
                </a:lnTo>
                <a:lnTo>
                  <a:pt x="518" y="54"/>
                </a:lnTo>
                <a:lnTo>
                  <a:pt x="564" y="111"/>
                </a:lnTo>
                <a:lnTo>
                  <a:pt x="604" y="170"/>
                </a:lnTo>
                <a:lnTo>
                  <a:pt x="642" y="231"/>
                </a:lnTo>
                <a:lnTo>
                  <a:pt x="678" y="293"/>
                </a:lnTo>
                <a:lnTo>
                  <a:pt x="709" y="358"/>
                </a:lnTo>
                <a:lnTo>
                  <a:pt x="736" y="423"/>
                </a:lnTo>
                <a:lnTo>
                  <a:pt x="762" y="491"/>
                </a:lnTo>
                <a:lnTo>
                  <a:pt x="783" y="558"/>
                </a:lnTo>
                <a:lnTo>
                  <a:pt x="801" y="628"/>
                </a:lnTo>
                <a:lnTo>
                  <a:pt x="815" y="699"/>
                </a:lnTo>
                <a:lnTo>
                  <a:pt x="826" y="771"/>
                </a:lnTo>
                <a:lnTo>
                  <a:pt x="834" y="843"/>
                </a:lnTo>
                <a:lnTo>
                  <a:pt x="836" y="916"/>
                </a:lnTo>
                <a:lnTo>
                  <a:pt x="978" y="913"/>
                </a:lnTo>
                <a:lnTo>
                  <a:pt x="485" y="1237"/>
                </a:lnTo>
                <a:lnTo>
                  <a:pt x="0" y="931"/>
                </a:lnTo>
                <a:lnTo>
                  <a:pt x="140" y="928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4DFB6B5C-7486-D83F-3313-BC15973A8922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364833" y="3348174"/>
            <a:ext cx="906539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7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ACE33AC4-7DA6-C1B7-F2F7-53A5E9A06A1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245123" y="2431692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 1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3515059E-F09F-5296-B26D-B2F2B862E623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420706" y="2512899"/>
            <a:ext cx="992718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2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013567F4-DC72-6503-9EE4-1A27212DDA85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5144114" y="3552022"/>
            <a:ext cx="101426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3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A47A2523-8A42-BD62-5556-68E49C2CF80F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870661" y="4745274"/>
            <a:ext cx="8501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4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id="{DB8F2F33-26D6-BB10-D2E1-E7C773F91BAC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620057" y="4559657"/>
            <a:ext cx="838590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6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A3280624-FF41-1AA1-91E0-FA3DE201F56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665808" y="5182799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5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0151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063380C-F6C0-43A9-DFF5-E7BDF490DC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46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3380C-F6C0-43A9-DFF5-E7BDF490DC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0A2D472-3D25-30EF-327E-5EAA3C321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4C2A3B0-77B9-F85D-89F2-E94E410CF2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82755-0F87-9FC1-AAEC-8FF39534A3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9</a:t>
            </a:fld>
            <a:endParaRPr lang="en-GB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681D0137-EC5F-9681-D1B5-58EEACF4AF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391E5D05-C7F9-1334-062A-CB87B85E45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4095658"/>
              </p:ext>
            </p:extLst>
          </p:nvPr>
        </p:nvGraphicFramePr>
        <p:xfrm>
          <a:off x="3459163" y="1938704"/>
          <a:ext cx="5273674" cy="39594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45ADB0D-7D52-9EB4-6277-108287EF3732}"/>
              </a:ext>
            </a:extLst>
          </p:cNvPr>
          <p:cNvGrpSpPr/>
          <p:nvPr/>
        </p:nvGrpSpPr>
        <p:grpSpPr>
          <a:xfrm>
            <a:off x="5222508" y="3137859"/>
            <a:ext cx="1739044" cy="1702318"/>
            <a:chOff x="3371188" y="2893521"/>
            <a:chExt cx="1745838" cy="1413343"/>
          </a:xfrm>
        </p:grpSpPr>
        <p:sp>
          <p:nvSpPr>
            <p:cNvPr id="8" name="Arc 18">
              <a:extLst>
                <a:ext uri="{FF2B5EF4-FFF2-40B4-BE49-F238E27FC236}">
                  <a16:creationId xmlns:a16="http://schemas.microsoft.com/office/drawing/2014/main" id="{00EC922D-9842-8D39-DDD3-8CE4DDF00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1188" y="3524434"/>
              <a:ext cx="862329" cy="778705"/>
            </a:xfrm>
            <a:custGeom>
              <a:avLst/>
              <a:gdLst>
                <a:gd name="T0" fmla="*/ 816063 w 21600"/>
                <a:gd name="T1" fmla="*/ 995362 h 23749"/>
                <a:gd name="T2" fmla="*/ 4943 w 21600"/>
                <a:gd name="T3" fmla="*/ 0 h 23749"/>
                <a:gd name="T4" fmla="*/ 904875 w 21600"/>
                <a:gd name="T5" fmla="*/ 94427 h 2374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3749"/>
                <a:gd name="T11" fmla="*/ 21600 w 21600"/>
                <a:gd name="T12" fmla="*/ 23749 h 2374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3749" fill="none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</a:path>
                <a:path w="21600" h="23749" stroke="0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  <a:lnTo>
                    <a:pt x="21600" y="2253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Arc 19">
              <a:extLst>
                <a:ext uri="{FF2B5EF4-FFF2-40B4-BE49-F238E27FC236}">
                  <a16:creationId xmlns:a16="http://schemas.microsoft.com/office/drawing/2014/main" id="{C57B4C2D-8303-7C69-1D4F-7800EF95C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856" y="2893521"/>
              <a:ext cx="1490164" cy="709155"/>
            </a:xfrm>
            <a:custGeom>
              <a:avLst/>
              <a:gdLst>
                <a:gd name="T0" fmla="*/ 0 w 37273"/>
                <a:gd name="T1" fmla="*/ 713839 h 21600"/>
                <a:gd name="T2" fmla="*/ 1563687 w 37273"/>
                <a:gd name="T3" fmla="*/ 305301 h 21600"/>
                <a:gd name="T4" fmla="*/ 885487 w 37273"/>
                <a:gd name="T5" fmla="*/ 906462 h 21600"/>
                <a:gd name="T6" fmla="*/ 0 60000 65536"/>
                <a:gd name="T7" fmla="*/ 0 60000 65536"/>
                <a:gd name="T8" fmla="*/ 0 60000 65536"/>
                <a:gd name="T9" fmla="*/ 0 w 37273"/>
                <a:gd name="T10" fmla="*/ 0 h 21600"/>
                <a:gd name="T11" fmla="*/ 37273 w 37273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7273" h="21600" fill="none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</a:path>
                <a:path w="37273" h="21600" stroke="0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  <a:lnTo>
                    <a:pt x="21107" y="21600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Arc 20">
              <a:extLst>
                <a:ext uri="{FF2B5EF4-FFF2-40B4-BE49-F238E27FC236}">
                  <a16:creationId xmlns:a16="http://schemas.microsoft.com/office/drawing/2014/main" id="{B06E9919-35C1-0F7A-A9E6-EF8384121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3185" y="3191590"/>
              <a:ext cx="863841" cy="1115274"/>
            </a:xfrm>
            <a:custGeom>
              <a:avLst/>
              <a:gdLst>
                <a:gd name="T0" fmla="*/ 740319 w 21600"/>
                <a:gd name="T1" fmla="*/ 0 h 33966"/>
                <a:gd name="T2" fmla="*/ 86240 w 21600"/>
                <a:gd name="T3" fmla="*/ 1425575 h 33966"/>
                <a:gd name="T4" fmla="*/ 0 w 21600"/>
                <a:gd name="T5" fmla="*/ 523122 h 33966"/>
                <a:gd name="T6" fmla="*/ 0 60000 65536"/>
                <a:gd name="T7" fmla="*/ 0 60000 65536"/>
                <a:gd name="T8" fmla="*/ 0 60000 65536"/>
                <a:gd name="T9" fmla="*/ 0 w 21600"/>
                <a:gd name="T10" fmla="*/ 0 h 33966"/>
                <a:gd name="T11" fmla="*/ 21600 w 21600"/>
                <a:gd name="T12" fmla="*/ 33966 h 3396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33966" fill="none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</a:path>
                <a:path w="21600" h="33966" stroke="0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  <a:lnTo>
                    <a:pt x="0" y="12464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77D7DFFB-72FA-D06A-CADD-0244C7BDC204}"/>
              </a:ext>
            </a:extLst>
          </p:cNvPr>
          <p:cNvSpPr txBox="1"/>
          <p:nvPr/>
        </p:nvSpPr>
        <p:spPr>
          <a:xfrm>
            <a:off x="739266" y="2224454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y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7362DC2-0678-4411-D616-6B1DF1EE405D}"/>
              </a:ext>
            </a:extLst>
          </p:cNvPr>
          <p:cNvSpPr txBox="1"/>
          <p:nvPr/>
        </p:nvSpPr>
        <p:spPr>
          <a:xfrm>
            <a:off x="739266" y="4834696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ource | Organisation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1371D7A-5BEF-625A-9BCC-3DC4EA66CC92}"/>
              </a:ext>
            </a:extLst>
          </p:cNvPr>
          <p:cNvSpPr txBox="1"/>
          <p:nvPr/>
        </p:nvSpPr>
        <p:spPr>
          <a:xfrm>
            <a:off x="739266" y="3529575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682717F-C7EF-DA77-8B7D-02C40AB26D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27541532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77426C1-5883-C06D-4EB0-12C31D7E82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097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7426C1-5883-C06D-4EB0-12C31D7E8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8948529-415C-31A9-DB8C-9F0E3E74BA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83912635-C200-3BA8-8723-46F60768D7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3C829C-16EA-9DD0-356C-9CE1195211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0961891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A79B6E5-7C3E-A050-A0D4-9ECEAE742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367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9B6E5-7C3E-A050-A0D4-9ECEAE742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A5BA26C-DDB5-D087-B8BF-1B1A9BCB1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8A863C-2406-BBF0-8685-D9D809736D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9014A01-EE68-77DE-4F15-3B4F53181C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0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69CB50F-A945-C530-1C0C-67B0736E00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48EB526-25FC-F969-D333-C3F3BC07E2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0048AEB-399A-1311-7D8D-8EF9039664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5313863"/>
            <a:ext cx="6958315" cy="61600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tIns="104255" bIns="104255" anchor="ctr">
            <a:normAutofit/>
          </a:bodyPr>
          <a:lstStyle/>
          <a:p>
            <a:pPr algn="ctr" defTabSz="1042507" eaLnBrk="0" hangingPunct="0">
              <a:defRPr/>
            </a:pPr>
            <a:r>
              <a:rPr lang="en-GB" sz="1596" b="1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b="1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592431E1-D0BA-7E75-A7D4-5AE019AE02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6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19" name="AutoShape 6">
            <a:extLst>
              <a:ext uri="{FF2B5EF4-FFF2-40B4-BE49-F238E27FC236}">
                <a16:creationId xmlns:a16="http://schemas.microsoft.com/office/drawing/2014/main" id="{3EDF72DE-6DA2-E221-414D-42262842C4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1815312"/>
            <a:ext cx="6958315" cy="92807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ctr"/>
          <a:lstStyle/>
          <a:p>
            <a:pPr algn="ctr" defTabSz="102621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EE146E86-C572-79DE-ABBE-4FEAAEE4C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3828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02F39614-04A6-DD7A-9462-4F782DDB70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8896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2" name="Rectangle 9">
            <a:extLst>
              <a:ext uri="{FF2B5EF4-FFF2-40B4-BE49-F238E27FC236}">
                <a16:creationId xmlns:a16="http://schemas.microsoft.com/office/drawing/2014/main" id="{C78AA5A3-6500-781C-4F55-66399FD89F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5691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3" name="Rectangle 10">
            <a:extLst>
              <a:ext uri="{FF2B5EF4-FFF2-40B4-BE49-F238E27FC236}">
                <a16:creationId xmlns:a16="http://schemas.microsoft.com/office/drawing/2014/main" id="{51B4FFD8-60E4-4EB5-FC84-0DCA754D8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87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</p:spTree>
    <p:extLst>
      <p:ext uri="{BB962C8B-B14F-4D97-AF65-F5344CB8AC3E}">
        <p14:creationId xmlns:p14="http://schemas.microsoft.com/office/powerpoint/2010/main" val="182070324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66" name="Object 6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353866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6866" name="Object 6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2A354E1-4E5A-4D3C-A030-CF1181BFAF1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868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36869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6870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A38327-0512-4F4E-82E7-43B1FDF28C9B}" type="slidenum">
              <a:rPr lang="en-GB" smtClean="0"/>
              <a:pPr/>
              <a:t>51</a:t>
            </a:fld>
            <a:endParaRPr lang="en-GB" dirty="0"/>
          </a:p>
        </p:txBody>
      </p:sp>
      <p:sp>
        <p:nvSpPr>
          <p:cNvPr id="36871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B283AEC-B11D-4EF5-8B2C-ABF3131ED0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" name="Textplatzhalter 2"/>
          <p:cNvSpPr txBox="1">
            <a:spLocks/>
          </p:cNvSpPr>
          <p:nvPr/>
        </p:nvSpPr>
        <p:spPr bwMode="auto">
          <a:xfrm>
            <a:off x="4321175" y="1791030"/>
            <a:ext cx="3544888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levant project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ole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sponsibility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16" name="Textplatzhalter 2"/>
          <p:cNvSpPr txBox="1">
            <a:spLocks/>
          </p:cNvSpPr>
          <p:nvPr/>
        </p:nvSpPr>
        <p:spPr bwMode="auto">
          <a:xfrm>
            <a:off x="759541" y="1791030"/>
            <a:ext cx="3337797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chemeClr val="accent6"/>
                </a:solidFill>
                <a:latin typeface="Arial"/>
              </a:rPr>
              <a:t>	</a:t>
            </a:r>
            <a:r>
              <a:rPr lang="en-GB" sz="1596" b="1" dirty="0">
                <a:solidFill>
                  <a:schemeClr val="accent2"/>
                </a:solidFill>
                <a:latin typeface="Arial"/>
              </a:rPr>
              <a:t>&lt;Name, Surname&gt;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rgbClr val="000000"/>
                </a:solidFill>
                <a:latin typeface="Arial"/>
              </a:rPr>
              <a:t>	</a:t>
            </a:r>
            <a:r>
              <a:rPr lang="en-GB" sz="1596" dirty="0">
                <a:solidFill>
                  <a:schemeClr val="tx1"/>
                </a:solidFill>
                <a:latin typeface="Arial"/>
              </a:rPr>
              <a:t>More details </a:t>
            </a:r>
            <a:br>
              <a:rPr lang="en-GB" sz="1596" dirty="0">
                <a:solidFill>
                  <a:schemeClr val="tx1"/>
                </a:solidFill>
                <a:latin typeface="Arial"/>
              </a:rPr>
            </a:br>
            <a:r>
              <a:rPr lang="en-GB" sz="1596" dirty="0">
                <a:solidFill>
                  <a:schemeClr val="tx1"/>
                </a:solidFill>
                <a:latin typeface="Arial"/>
              </a:rPr>
              <a:t>	(if required)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marL="85725" indent="-85725" defTabSz="1042507">
              <a:spcBef>
                <a:spcPts val="1368"/>
              </a:spcBef>
              <a:tabLst>
                <a:tab pos="1326664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Main focus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Professional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51CAB20-E01A-6DA0-A6B8-C5E8DB8A39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11229"/>
      </p:ext>
    </p:extLst>
  </p:cSld>
  <p:clrMapOvr>
    <a:masterClrMapping/>
  </p:clrMapOvr>
  <p:transition spd="med"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6A2D20D-A96F-F94C-22BF-A5898BF261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125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A2D20D-A96F-F94C-22BF-A5898BF261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2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EA47F4C-CBF9-090A-2372-2430D3DEA7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8758237"/>
              </p:ext>
            </p:extLst>
          </p:nvPr>
        </p:nvGraphicFramePr>
        <p:xfrm>
          <a:off x="554606" y="1636711"/>
          <a:ext cx="1106646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61544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357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990960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9251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  <a:gridCol w="1747354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4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Position 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9F58624E-CDA7-E150-1899-C6D65160BAC2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48268339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11AF7F-336F-FF07-F92B-EE29EB793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72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11AF7F-336F-FF07-F92B-EE29EB793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3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E9EE38D-57E1-1E6C-5B4D-897EF6CE5B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280723"/>
              </p:ext>
            </p:extLst>
          </p:nvPr>
        </p:nvGraphicFramePr>
        <p:xfrm>
          <a:off x="554607" y="1636711"/>
          <a:ext cx="731780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74185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285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358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3410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Position 1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3E8803A-2C9D-854C-126F-B0B6B2D543E7}"/>
              </a:ext>
            </a:extLst>
          </p:cNvPr>
          <p:cNvSpPr txBox="1">
            <a:spLocks/>
          </p:cNvSpPr>
          <p:nvPr/>
        </p:nvSpPr>
        <p:spPr>
          <a:xfrm>
            <a:off x="8092007" y="1636714"/>
            <a:ext cx="3533255" cy="4099473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6EB3CBC-79B1-5474-E64F-A12EAAB99A81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12466965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7029222-0E6A-A0BB-47F6-52A7F4C2C7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1951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029222-0E6A-A0BB-47F6-52A7F4C2C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B33BE1BE-E37A-40B2-F9EA-C06A35753466}"/>
              </a:ext>
            </a:extLst>
          </p:cNvPr>
          <p:cNvSpPr/>
          <p:nvPr/>
        </p:nvSpPr>
        <p:spPr>
          <a:xfrm>
            <a:off x="8116350" y="300344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E4EF69C-B806-4914-CC04-9A2FB9666896}"/>
              </a:ext>
            </a:extLst>
          </p:cNvPr>
          <p:cNvSpPr/>
          <p:nvPr/>
        </p:nvSpPr>
        <p:spPr>
          <a:xfrm>
            <a:off x="8116351" y="344404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7298C29-789E-28D9-3B99-99BF00A90D5F}"/>
              </a:ext>
            </a:extLst>
          </p:cNvPr>
          <p:cNvSpPr/>
          <p:nvPr/>
        </p:nvSpPr>
        <p:spPr>
          <a:xfrm>
            <a:off x="8116351" y="388465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3D472D4-CD50-7F40-CB6E-266C251EF981}"/>
              </a:ext>
            </a:extLst>
          </p:cNvPr>
          <p:cNvSpPr/>
          <p:nvPr/>
        </p:nvSpPr>
        <p:spPr>
          <a:xfrm>
            <a:off x="8116351" y="4321515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501890-6174-EBDD-809C-26AD1717B9E2}"/>
              </a:ext>
            </a:extLst>
          </p:cNvPr>
          <p:cNvSpPr/>
          <p:nvPr/>
        </p:nvSpPr>
        <p:spPr>
          <a:xfrm>
            <a:off x="8116350" y="256283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4</a:t>
            </a:fld>
            <a:endParaRPr lang="en-GB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1FEE4A9F-A6A2-BA13-E705-43C910E739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7773285"/>
              </p:ext>
            </p:extLst>
          </p:nvPr>
        </p:nvGraphicFramePr>
        <p:xfrm>
          <a:off x="554606" y="1636711"/>
          <a:ext cx="11066464" cy="308629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61530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3529888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ject 1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escriptio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Deadline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Status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gres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Market analys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01.07.2025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Strategy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9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Campaig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.11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Implement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5.12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Optimiz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1.2026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168EFD6-CBA3-5E15-E353-F731BA076F76}"/>
              </a:ext>
            </a:extLst>
          </p:cNvPr>
          <p:cNvSpPr/>
          <p:nvPr/>
        </p:nvSpPr>
        <p:spPr>
          <a:xfrm>
            <a:off x="6228826" y="2562838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BEF84DD-2E56-0EE7-A0AA-2E749FB36DF5}"/>
              </a:ext>
            </a:extLst>
          </p:cNvPr>
          <p:cNvSpPr/>
          <p:nvPr/>
        </p:nvSpPr>
        <p:spPr>
          <a:xfrm>
            <a:off x="6228826" y="3003443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45654A5-FBF0-9926-4182-71E1B98EC1C4}"/>
              </a:ext>
            </a:extLst>
          </p:cNvPr>
          <p:cNvSpPr/>
          <p:nvPr/>
        </p:nvSpPr>
        <p:spPr>
          <a:xfrm>
            <a:off x="6228826" y="3444048"/>
            <a:ext cx="360000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70A6E03-CDCF-91C1-1EDE-98E842C56A44}"/>
              </a:ext>
            </a:extLst>
          </p:cNvPr>
          <p:cNvSpPr/>
          <p:nvPr/>
        </p:nvSpPr>
        <p:spPr>
          <a:xfrm>
            <a:off x="6228826" y="3884653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BBDC935-E69A-18A0-630D-EA1B60048BE1}"/>
              </a:ext>
            </a:extLst>
          </p:cNvPr>
          <p:cNvSpPr/>
          <p:nvPr/>
        </p:nvSpPr>
        <p:spPr>
          <a:xfrm>
            <a:off x="6228826" y="4325258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BA733B9-1970-AE37-5FCF-8FC1A3568200}"/>
              </a:ext>
            </a:extLst>
          </p:cNvPr>
          <p:cNvSpPr/>
          <p:nvPr/>
        </p:nvSpPr>
        <p:spPr>
          <a:xfrm>
            <a:off x="8116350" y="2562838"/>
            <a:ext cx="3504719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FA009B7-3BCA-98C5-035C-69FF6A31C56D}"/>
              </a:ext>
            </a:extLst>
          </p:cNvPr>
          <p:cNvSpPr/>
          <p:nvPr/>
        </p:nvSpPr>
        <p:spPr>
          <a:xfrm>
            <a:off x="8116351" y="3003443"/>
            <a:ext cx="2843866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CDE2772-FB69-D1E5-0125-8B1B8662FAF9}"/>
              </a:ext>
            </a:extLst>
          </p:cNvPr>
          <p:cNvSpPr/>
          <p:nvPr/>
        </p:nvSpPr>
        <p:spPr>
          <a:xfrm>
            <a:off x="8116350" y="3444048"/>
            <a:ext cx="1753297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2AD9892-56F9-FBD7-A343-F4DEBF0847C0}"/>
              </a:ext>
            </a:extLst>
          </p:cNvPr>
          <p:cNvSpPr/>
          <p:nvPr/>
        </p:nvSpPr>
        <p:spPr>
          <a:xfrm>
            <a:off x="8116350" y="3884653"/>
            <a:ext cx="876647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DA3F07-ABEA-7F89-C098-58677B2DEF4A}"/>
              </a:ext>
            </a:extLst>
          </p:cNvPr>
          <p:cNvSpPr/>
          <p:nvPr/>
        </p:nvSpPr>
        <p:spPr>
          <a:xfrm>
            <a:off x="8116351" y="4325258"/>
            <a:ext cx="612394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621028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EF5D97F-15A7-C1E4-79B3-7DAD6DE52F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079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F5D97F-15A7-C1E4-79B3-7DAD6DE52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813BBE5-FFFC-DFF8-8F9B-27EBB37C6C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074851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DBCEBB7C-F8E4-1E91-E4C2-59CA510242BC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96603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55D39BD-0F4B-107E-49C5-F6ADD12C55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42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5D39BD-0F4B-107E-49C5-F6ADD12C5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0352A73-C689-E5A1-2ADA-7DA08068FA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9112064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241254C7-5BCA-1F7C-544F-B776E5378603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5819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36E148D-CF01-1484-874C-10A1A7CC4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049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6E148D-CF01-1484-874C-10A1A7CC4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63513D1-19C5-6EF0-CE5E-8B31E2E529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67213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B1C14B07-9202-2EB4-8B20-4342B2CABF36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29558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FC0294-7100-47DA-0C4F-69BB1628DB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664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FC0294-7100-47DA-0C4F-69BB1628D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78991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F5EB8D-6AC3-BD22-0088-CC7A36727A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63BF2CA-0AE5-A501-ABF6-05A75BE7F817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m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07643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58" name="Object 6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21350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58" name="Object 6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1B89213-89DF-4010-80AC-00598C00518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0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4506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506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B5DF61-A23C-43CA-905D-F0FE176EC321}" type="slidenum">
              <a:rPr lang="en-GB" smtClean="0"/>
              <a:pPr/>
              <a:t>59</a:t>
            </a:fld>
            <a:endParaRPr lang="en-GB" dirty="0"/>
          </a:p>
        </p:txBody>
      </p:sp>
      <p:sp>
        <p:nvSpPr>
          <p:cNvPr id="4506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6A68E70-9BBD-4528-912F-B713B08BBC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13890129"/>
              </p:ext>
            </p:extLst>
          </p:nvPr>
        </p:nvGraphicFramePr>
        <p:xfrm>
          <a:off x="759540" y="2146134"/>
          <a:ext cx="7306845" cy="375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771EF0EC-2200-4A48-6238-2262D142CA47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389526712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8D17662-170C-ECE4-6699-A38A8F83F3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213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D17662-170C-ECE4-6699-A38A8F83F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A6F1EAD-9117-8B28-8DD3-2A382B8113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B0C6F6E-BFD4-EB45-7C44-A8E3EA2C047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4E2C342-7B41-F00F-C6F8-7CDFD13F03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02446944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A2A1EDB-621B-B541-A123-EC01AF8EE1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5714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2A1EDB-621B-B541-A123-EC01AF8EE1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0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37E1DA4-EF59-1137-DFF7-BC2E6C8F25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1622247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3AD9D9B-C48D-0991-5646-BDEBC134E27D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06887369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CFDF08-E1A0-39CA-1795-504DC7ADCE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7626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CFDF08-E1A0-39CA-1795-504DC7ADC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C98824A-1A73-EAB0-AEA5-26A7C7382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8216261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A16479C-D0DC-68CC-A193-162353DE40FE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38443214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B38045B-1DC4-A847-71EA-E9C9798634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18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38045B-1DC4-A847-71EA-E9C979863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CDA7B3-5885-E652-9AD8-CCD51E5FE8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4290733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C8609AF1-0CCB-4AB3-2D46-256554BDFA68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243757315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703E05A-BA44-E4FB-900E-97610BE44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346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03E05A-BA44-E4FB-900E-97610BE44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13AD8EF-54D1-89D8-EEA7-AEEC0E2F4E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3990511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1FA0AAA4-B161-F24A-B5E7-3067A01BBCE8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50949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130C028-ECBE-A41D-E490-BBC4B7CD60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6237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30C028-ECBE-A41D-E490-BBC4B7CD60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C075CC4-C0C3-AFB0-3C8B-8AC31E2F3A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9914582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DCA9998C-B46E-163B-AF20-83CEC8EA2E15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64641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B1CB9F1-15E7-D0BE-EE6A-0F27ABAB6E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25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1CB9F1-15E7-D0BE-EE6A-0F27ABAB6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86E64E6-8A49-FD53-1F58-BB1652AF82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0604336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9BBFF6B9-AB14-6775-208A-C28D6B699F2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1597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357C37D-9808-E3A5-04ED-C2574E3AB9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46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57C37D-9808-E3A5-04ED-C2574E3AB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2A22DA3-A5F3-F4C3-125B-18191B575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61538B5-6734-8DB7-6376-DBF6B9EA06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3C23E-E541-EA54-D599-87E322C4C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6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E29C8B-82E6-9797-638E-E4D9BA90BD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F6D7C85-2320-17C0-5167-4ED3C7B50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28" name="Textfeld 1127">
            <a:extLst>
              <a:ext uri="{FF2B5EF4-FFF2-40B4-BE49-F238E27FC236}">
                <a16:creationId xmlns:a16="http://schemas.microsoft.com/office/drawing/2014/main" id="{C986212A-751C-E150-FC97-8A269B216FF8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1133" name="Textfeld 1132">
            <a:extLst>
              <a:ext uri="{FF2B5EF4-FFF2-40B4-BE49-F238E27FC236}">
                <a16:creationId xmlns:a16="http://schemas.microsoft.com/office/drawing/2014/main" id="{B74B04B4-2A3C-57AA-671E-86E48EED737D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1134" name="Rechteck 1133">
            <a:extLst>
              <a:ext uri="{FF2B5EF4-FFF2-40B4-BE49-F238E27FC236}">
                <a16:creationId xmlns:a16="http://schemas.microsoft.com/office/drawing/2014/main" id="{A5DB553F-99A3-28B5-E079-E859CAB87FA8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35" name="Rechteck 1134">
            <a:extLst>
              <a:ext uri="{FF2B5EF4-FFF2-40B4-BE49-F238E27FC236}">
                <a16:creationId xmlns:a16="http://schemas.microsoft.com/office/drawing/2014/main" id="{E0A61D18-8AB8-D2D0-9AF2-F49AA4F454CE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F47221A-5B3B-ACB5-F331-17CDD10628D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latin typeface="Arial" pitchFamily="34" charset="0"/>
                <a:cs typeface="Arial" pitchFamily="34" charset="0"/>
              </a:rPr>
              <a:t>Locations worldwide</a:t>
            </a:r>
            <a:endParaRPr lang="en-GB" sz="10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413D8031-70F0-346D-0D35-D0C43AC95716}"/>
              </a:ext>
            </a:extLst>
          </p:cNvPr>
          <p:cNvGrpSpPr/>
          <p:nvPr/>
        </p:nvGrpSpPr>
        <p:grpSpPr>
          <a:xfrm>
            <a:off x="639385" y="2198962"/>
            <a:ext cx="7228135" cy="3339112"/>
            <a:chOff x="639385" y="2198962"/>
            <a:chExt cx="7228135" cy="3339112"/>
          </a:xfrm>
        </p:grpSpPr>
        <p:grpSp>
          <p:nvGrpSpPr>
            <p:cNvPr id="9" name="Grafik 9">
              <a:extLst>
                <a:ext uri="{FF2B5EF4-FFF2-40B4-BE49-F238E27FC236}">
                  <a16:creationId xmlns:a16="http://schemas.microsoft.com/office/drawing/2014/main" id="{243DFB1B-550B-42BB-8390-CE8BC6A7DE5C}"/>
                </a:ext>
              </a:extLst>
            </p:cNvPr>
            <p:cNvGrpSpPr/>
            <p:nvPr/>
          </p:nvGrpSpPr>
          <p:grpSpPr>
            <a:xfrm>
              <a:off x="3042415" y="2198962"/>
              <a:ext cx="897730" cy="478666"/>
              <a:chOff x="3042415" y="2198962"/>
              <a:chExt cx="897730" cy="478666"/>
            </a:xfrm>
            <a:solidFill>
              <a:schemeClr val="accent6"/>
            </a:solidFill>
          </p:grpSpPr>
          <p:sp>
            <p:nvSpPr>
              <p:cNvPr id="2053" name="Freihandform: Form 2052">
                <a:extLst>
                  <a:ext uri="{FF2B5EF4-FFF2-40B4-BE49-F238E27FC236}">
                    <a16:creationId xmlns:a16="http://schemas.microsoft.com/office/drawing/2014/main" id="{6B06DCC1-585C-3BC2-5B17-07A70DA1DD16}"/>
                  </a:ext>
                </a:extLst>
              </p:cNvPr>
              <p:cNvSpPr/>
              <p:nvPr/>
            </p:nvSpPr>
            <p:spPr>
              <a:xfrm>
                <a:off x="3669644" y="2524568"/>
                <a:ext cx="176777" cy="69741"/>
              </a:xfrm>
              <a:custGeom>
                <a:avLst/>
                <a:gdLst>
                  <a:gd name="connsiteX0" fmla="*/ 42321 w 176777"/>
                  <a:gd name="connsiteY0" fmla="*/ 60043 h 69741"/>
                  <a:gd name="connsiteX1" fmla="*/ 33857 w 176777"/>
                  <a:gd name="connsiteY1" fmla="*/ 60924 h 69741"/>
                  <a:gd name="connsiteX2" fmla="*/ 31829 w 176777"/>
                  <a:gd name="connsiteY2" fmla="*/ 61277 h 69741"/>
                  <a:gd name="connsiteX3" fmla="*/ 25393 w 176777"/>
                  <a:gd name="connsiteY3" fmla="*/ 61806 h 69741"/>
                  <a:gd name="connsiteX4" fmla="*/ 20455 w 176777"/>
                  <a:gd name="connsiteY4" fmla="*/ 63305 h 69741"/>
                  <a:gd name="connsiteX5" fmla="*/ 18427 w 176777"/>
                  <a:gd name="connsiteY5" fmla="*/ 62159 h 69741"/>
                  <a:gd name="connsiteX6" fmla="*/ 17281 w 176777"/>
                  <a:gd name="connsiteY6" fmla="*/ 60660 h 69741"/>
                  <a:gd name="connsiteX7" fmla="*/ 17281 w 176777"/>
                  <a:gd name="connsiteY7" fmla="*/ 59778 h 69741"/>
                  <a:gd name="connsiteX8" fmla="*/ 20720 w 176777"/>
                  <a:gd name="connsiteY8" fmla="*/ 59514 h 69741"/>
                  <a:gd name="connsiteX9" fmla="*/ 23100 w 176777"/>
                  <a:gd name="connsiteY9" fmla="*/ 56869 h 69741"/>
                  <a:gd name="connsiteX10" fmla="*/ 26274 w 176777"/>
                  <a:gd name="connsiteY10" fmla="*/ 55458 h 69741"/>
                  <a:gd name="connsiteX11" fmla="*/ 29184 w 176777"/>
                  <a:gd name="connsiteY11" fmla="*/ 55987 h 69741"/>
                  <a:gd name="connsiteX12" fmla="*/ 34474 w 176777"/>
                  <a:gd name="connsiteY12" fmla="*/ 53695 h 69741"/>
                  <a:gd name="connsiteX13" fmla="*/ 36502 w 176777"/>
                  <a:gd name="connsiteY13" fmla="*/ 51314 h 69741"/>
                  <a:gd name="connsiteX14" fmla="*/ 40293 w 176777"/>
                  <a:gd name="connsiteY14" fmla="*/ 48404 h 69741"/>
                  <a:gd name="connsiteX15" fmla="*/ 38794 w 176777"/>
                  <a:gd name="connsiteY15" fmla="*/ 48669 h 69741"/>
                  <a:gd name="connsiteX16" fmla="*/ 34474 w 176777"/>
                  <a:gd name="connsiteY16" fmla="*/ 49022 h 69741"/>
                  <a:gd name="connsiteX17" fmla="*/ 36766 w 176777"/>
                  <a:gd name="connsiteY17" fmla="*/ 46377 h 69741"/>
                  <a:gd name="connsiteX18" fmla="*/ 40910 w 176777"/>
                  <a:gd name="connsiteY18" fmla="*/ 43996 h 69741"/>
                  <a:gd name="connsiteX19" fmla="*/ 39411 w 176777"/>
                  <a:gd name="connsiteY19" fmla="*/ 43732 h 69741"/>
                  <a:gd name="connsiteX20" fmla="*/ 33857 w 176777"/>
                  <a:gd name="connsiteY20" fmla="*/ 45230 h 69741"/>
                  <a:gd name="connsiteX21" fmla="*/ 30065 w 176777"/>
                  <a:gd name="connsiteY21" fmla="*/ 43467 h 69741"/>
                  <a:gd name="connsiteX22" fmla="*/ 29801 w 176777"/>
                  <a:gd name="connsiteY22" fmla="*/ 41086 h 69741"/>
                  <a:gd name="connsiteX23" fmla="*/ 26010 w 176777"/>
                  <a:gd name="connsiteY23" fmla="*/ 40558 h 69741"/>
                  <a:gd name="connsiteX24" fmla="*/ 23365 w 176777"/>
                  <a:gd name="connsiteY24" fmla="*/ 39059 h 69741"/>
                  <a:gd name="connsiteX25" fmla="*/ 18427 w 176777"/>
                  <a:gd name="connsiteY25" fmla="*/ 39676 h 69741"/>
                  <a:gd name="connsiteX26" fmla="*/ 15165 w 176777"/>
                  <a:gd name="connsiteY26" fmla="*/ 37912 h 69741"/>
                  <a:gd name="connsiteX27" fmla="*/ 13137 w 176777"/>
                  <a:gd name="connsiteY27" fmla="*/ 39059 h 69741"/>
                  <a:gd name="connsiteX28" fmla="*/ 10228 w 176777"/>
                  <a:gd name="connsiteY28" fmla="*/ 39411 h 69741"/>
                  <a:gd name="connsiteX29" fmla="*/ 2910 w 176777"/>
                  <a:gd name="connsiteY29" fmla="*/ 41704 h 69741"/>
                  <a:gd name="connsiteX30" fmla="*/ 1499 w 176777"/>
                  <a:gd name="connsiteY30" fmla="*/ 40822 h 69741"/>
                  <a:gd name="connsiteX31" fmla="*/ 0 w 176777"/>
                  <a:gd name="connsiteY31" fmla="*/ 37295 h 69741"/>
                  <a:gd name="connsiteX32" fmla="*/ 7583 w 176777"/>
                  <a:gd name="connsiteY32" fmla="*/ 37031 h 69741"/>
                  <a:gd name="connsiteX33" fmla="*/ 8200 w 176777"/>
                  <a:gd name="connsiteY33" fmla="*/ 38177 h 69741"/>
                  <a:gd name="connsiteX34" fmla="*/ 14900 w 176777"/>
                  <a:gd name="connsiteY34" fmla="*/ 36149 h 69741"/>
                  <a:gd name="connsiteX35" fmla="*/ 16664 w 176777"/>
                  <a:gd name="connsiteY35" fmla="*/ 34738 h 69741"/>
                  <a:gd name="connsiteX36" fmla="*/ 18692 w 176777"/>
                  <a:gd name="connsiteY36" fmla="*/ 35885 h 69741"/>
                  <a:gd name="connsiteX37" fmla="*/ 21337 w 176777"/>
                  <a:gd name="connsiteY37" fmla="*/ 34738 h 69741"/>
                  <a:gd name="connsiteX38" fmla="*/ 26010 w 176777"/>
                  <a:gd name="connsiteY38" fmla="*/ 34121 h 69741"/>
                  <a:gd name="connsiteX39" fmla="*/ 27773 w 176777"/>
                  <a:gd name="connsiteY39" fmla="*/ 32622 h 69741"/>
                  <a:gd name="connsiteX40" fmla="*/ 32093 w 176777"/>
                  <a:gd name="connsiteY40" fmla="*/ 34738 h 69741"/>
                  <a:gd name="connsiteX41" fmla="*/ 35620 w 176777"/>
                  <a:gd name="connsiteY41" fmla="*/ 33857 h 69741"/>
                  <a:gd name="connsiteX42" fmla="*/ 38530 w 176777"/>
                  <a:gd name="connsiteY42" fmla="*/ 32975 h 69741"/>
                  <a:gd name="connsiteX43" fmla="*/ 36149 w 176777"/>
                  <a:gd name="connsiteY43" fmla="*/ 31829 h 69741"/>
                  <a:gd name="connsiteX44" fmla="*/ 33240 w 176777"/>
                  <a:gd name="connsiteY44" fmla="*/ 31212 h 69741"/>
                  <a:gd name="connsiteX45" fmla="*/ 30683 w 176777"/>
                  <a:gd name="connsiteY45" fmla="*/ 30947 h 69741"/>
                  <a:gd name="connsiteX46" fmla="*/ 28302 w 176777"/>
                  <a:gd name="connsiteY46" fmla="*/ 28038 h 69741"/>
                  <a:gd name="connsiteX47" fmla="*/ 32093 w 176777"/>
                  <a:gd name="connsiteY47" fmla="*/ 28038 h 69741"/>
                  <a:gd name="connsiteX48" fmla="*/ 35885 w 176777"/>
                  <a:gd name="connsiteY48" fmla="*/ 27420 h 69741"/>
                  <a:gd name="connsiteX49" fmla="*/ 38794 w 176777"/>
                  <a:gd name="connsiteY49" fmla="*/ 26803 h 69741"/>
                  <a:gd name="connsiteX50" fmla="*/ 41175 w 176777"/>
                  <a:gd name="connsiteY50" fmla="*/ 25393 h 69741"/>
                  <a:gd name="connsiteX51" fmla="*/ 38530 w 176777"/>
                  <a:gd name="connsiteY51" fmla="*/ 23012 h 69741"/>
                  <a:gd name="connsiteX52" fmla="*/ 36766 w 176777"/>
                  <a:gd name="connsiteY52" fmla="*/ 24511 h 69741"/>
                  <a:gd name="connsiteX53" fmla="*/ 35885 w 176777"/>
                  <a:gd name="connsiteY53" fmla="*/ 24511 h 69741"/>
                  <a:gd name="connsiteX54" fmla="*/ 36502 w 176777"/>
                  <a:gd name="connsiteY54" fmla="*/ 22747 h 69741"/>
                  <a:gd name="connsiteX55" fmla="*/ 34738 w 176777"/>
                  <a:gd name="connsiteY55" fmla="*/ 23365 h 69741"/>
                  <a:gd name="connsiteX56" fmla="*/ 33857 w 176777"/>
                  <a:gd name="connsiteY56" fmla="*/ 24246 h 69741"/>
                  <a:gd name="connsiteX57" fmla="*/ 32358 w 176777"/>
                  <a:gd name="connsiteY57" fmla="*/ 21601 h 69741"/>
                  <a:gd name="connsiteX58" fmla="*/ 32711 w 176777"/>
                  <a:gd name="connsiteY58" fmla="*/ 23012 h 69741"/>
                  <a:gd name="connsiteX59" fmla="*/ 30683 w 176777"/>
                  <a:gd name="connsiteY59" fmla="*/ 22130 h 69741"/>
                  <a:gd name="connsiteX60" fmla="*/ 29801 w 176777"/>
                  <a:gd name="connsiteY60" fmla="*/ 23365 h 69741"/>
                  <a:gd name="connsiteX61" fmla="*/ 29801 w 176777"/>
                  <a:gd name="connsiteY61" fmla="*/ 21337 h 69741"/>
                  <a:gd name="connsiteX62" fmla="*/ 28302 w 176777"/>
                  <a:gd name="connsiteY62" fmla="*/ 21337 h 69741"/>
                  <a:gd name="connsiteX63" fmla="*/ 28302 w 176777"/>
                  <a:gd name="connsiteY63" fmla="*/ 22747 h 69741"/>
                  <a:gd name="connsiteX64" fmla="*/ 28038 w 176777"/>
                  <a:gd name="connsiteY64" fmla="*/ 24511 h 69741"/>
                  <a:gd name="connsiteX65" fmla="*/ 26892 w 176777"/>
                  <a:gd name="connsiteY65" fmla="*/ 23894 h 69741"/>
                  <a:gd name="connsiteX66" fmla="*/ 27421 w 176777"/>
                  <a:gd name="connsiteY66" fmla="*/ 22747 h 69741"/>
                  <a:gd name="connsiteX67" fmla="*/ 26274 w 176777"/>
                  <a:gd name="connsiteY67" fmla="*/ 21601 h 69741"/>
                  <a:gd name="connsiteX68" fmla="*/ 24246 w 176777"/>
                  <a:gd name="connsiteY68" fmla="*/ 22483 h 69741"/>
                  <a:gd name="connsiteX69" fmla="*/ 21337 w 176777"/>
                  <a:gd name="connsiteY69" fmla="*/ 21866 h 69741"/>
                  <a:gd name="connsiteX70" fmla="*/ 18956 w 176777"/>
                  <a:gd name="connsiteY70" fmla="*/ 23012 h 69741"/>
                  <a:gd name="connsiteX71" fmla="*/ 16664 w 176777"/>
                  <a:gd name="connsiteY71" fmla="*/ 25040 h 69741"/>
                  <a:gd name="connsiteX72" fmla="*/ 15518 w 176777"/>
                  <a:gd name="connsiteY72" fmla="*/ 25040 h 69741"/>
                  <a:gd name="connsiteX73" fmla="*/ 16928 w 176777"/>
                  <a:gd name="connsiteY73" fmla="*/ 22747 h 69741"/>
                  <a:gd name="connsiteX74" fmla="*/ 15518 w 176777"/>
                  <a:gd name="connsiteY74" fmla="*/ 21866 h 69741"/>
                  <a:gd name="connsiteX75" fmla="*/ 15518 w 176777"/>
                  <a:gd name="connsiteY75" fmla="*/ 23012 h 69741"/>
                  <a:gd name="connsiteX76" fmla="*/ 13755 w 176777"/>
                  <a:gd name="connsiteY76" fmla="*/ 25657 h 69741"/>
                  <a:gd name="connsiteX77" fmla="*/ 12873 w 176777"/>
                  <a:gd name="connsiteY77" fmla="*/ 23365 h 69741"/>
                  <a:gd name="connsiteX78" fmla="*/ 11374 w 176777"/>
                  <a:gd name="connsiteY78" fmla="*/ 25040 h 69741"/>
                  <a:gd name="connsiteX79" fmla="*/ 9081 w 176777"/>
                  <a:gd name="connsiteY79" fmla="*/ 25040 h 69741"/>
                  <a:gd name="connsiteX80" fmla="*/ 6172 w 176777"/>
                  <a:gd name="connsiteY80" fmla="*/ 24246 h 69741"/>
                  <a:gd name="connsiteX81" fmla="*/ 3791 w 176777"/>
                  <a:gd name="connsiteY81" fmla="*/ 25040 h 69741"/>
                  <a:gd name="connsiteX82" fmla="*/ 0 w 176777"/>
                  <a:gd name="connsiteY82" fmla="*/ 23012 h 69741"/>
                  <a:gd name="connsiteX83" fmla="*/ 617 w 176777"/>
                  <a:gd name="connsiteY83" fmla="*/ 21866 h 69741"/>
                  <a:gd name="connsiteX84" fmla="*/ 4673 w 176777"/>
                  <a:gd name="connsiteY84" fmla="*/ 22130 h 69741"/>
                  <a:gd name="connsiteX85" fmla="*/ 5819 w 176777"/>
                  <a:gd name="connsiteY85" fmla="*/ 22747 h 69741"/>
                  <a:gd name="connsiteX86" fmla="*/ 9081 w 176777"/>
                  <a:gd name="connsiteY86" fmla="*/ 22483 h 69741"/>
                  <a:gd name="connsiteX87" fmla="*/ 7318 w 176777"/>
                  <a:gd name="connsiteY87" fmla="*/ 21866 h 69741"/>
                  <a:gd name="connsiteX88" fmla="*/ 6436 w 176777"/>
                  <a:gd name="connsiteY88" fmla="*/ 19221 h 69741"/>
                  <a:gd name="connsiteX89" fmla="*/ 9346 w 176777"/>
                  <a:gd name="connsiteY89" fmla="*/ 18692 h 69741"/>
                  <a:gd name="connsiteX90" fmla="*/ 12256 w 176777"/>
                  <a:gd name="connsiteY90" fmla="*/ 20720 h 69741"/>
                  <a:gd name="connsiteX91" fmla="*/ 13755 w 176777"/>
                  <a:gd name="connsiteY91" fmla="*/ 20720 h 69741"/>
                  <a:gd name="connsiteX92" fmla="*/ 14636 w 176777"/>
                  <a:gd name="connsiteY92" fmla="*/ 20102 h 69741"/>
                  <a:gd name="connsiteX93" fmla="*/ 16928 w 176777"/>
                  <a:gd name="connsiteY93" fmla="*/ 18956 h 69741"/>
                  <a:gd name="connsiteX94" fmla="*/ 14284 w 176777"/>
                  <a:gd name="connsiteY94" fmla="*/ 17810 h 69741"/>
                  <a:gd name="connsiteX95" fmla="*/ 12873 w 176777"/>
                  <a:gd name="connsiteY95" fmla="*/ 16311 h 69741"/>
                  <a:gd name="connsiteX96" fmla="*/ 16311 w 176777"/>
                  <a:gd name="connsiteY96" fmla="*/ 15782 h 69741"/>
                  <a:gd name="connsiteX97" fmla="*/ 13755 w 176777"/>
                  <a:gd name="connsiteY97" fmla="*/ 13666 h 69741"/>
                  <a:gd name="connsiteX98" fmla="*/ 14284 w 176777"/>
                  <a:gd name="connsiteY98" fmla="*/ 12255 h 69741"/>
                  <a:gd name="connsiteX99" fmla="*/ 15518 w 176777"/>
                  <a:gd name="connsiteY99" fmla="*/ 11374 h 69741"/>
                  <a:gd name="connsiteX100" fmla="*/ 18427 w 176777"/>
                  <a:gd name="connsiteY100" fmla="*/ 9875 h 69741"/>
                  <a:gd name="connsiteX101" fmla="*/ 18075 w 176777"/>
                  <a:gd name="connsiteY101" fmla="*/ 11991 h 69741"/>
                  <a:gd name="connsiteX102" fmla="*/ 20455 w 176777"/>
                  <a:gd name="connsiteY102" fmla="*/ 9875 h 69741"/>
                  <a:gd name="connsiteX103" fmla="*/ 23100 w 176777"/>
                  <a:gd name="connsiteY103" fmla="*/ 11109 h 69741"/>
                  <a:gd name="connsiteX104" fmla="*/ 25128 w 176777"/>
                  <a:gd name="connsiteY104" fmla="*/ 13402 h 69741"/>
                  <a:gd name="connsiteX105" fmla="*/ 27773 w 176777"/>
                  <a:gd name="connsiteY105" fmla="*/ 13666 h 69741"/>
                  <a:gd name="connsiteX106" fmla="*/ 30330 w 176777"/>
                  <a:gd name="connsiteY106" fmla="*/ 14548 h 69741"/>
                  <a:gd name="connsiteX107" fmla="*/ 32358 w 176777"/>
                  <a:gd name="connsiteY107" fmla="*/ 14019 h 69741"/>
                  <a:gd name="connsiteX108" fmla="*/ 31212 w 176777"/>
                  <a:gd name="connsiteY108" fmla="*/ 11109 h 69741"/>
                  <a:gd name="connsiteX109" fmla="*/ 28567 w 176777"/>
                  <a:gd name="connsiteY109" fmla="*/ 8729 h 69741"/>
                  <a:gd name="connsiteX110" fmla="*/ 32093 w 176777"/>
                  <a:gd name="connsiteY110" fmla="*/ 7318 h 69741"/>
                  <a:gd name="connsiteX111" fmla="*/ 31829 w 176777"/>
                  <a:gd name="connsiteY111" fmla="*/ 6084 h 69741"/>
                  <a:gd name="connsiteX112" fmla="*/ 27156 w 176777"/>
                  <a:gd name="connsiteY112" fmla="*/ 5555 h 69741"/>
                  <a:gd name="connsiteX113" fmla="*/ 23894 w 176777"/>
                  <a:gd name="connsiteY113" fmla="*/ 4056 h 69741"/>
                  <a:gd name="connsiteX114" fmla="*/ 28919 w 176777"/>
                  <a:gd name="connsiteY114" fmla="*/ 2292 h 69741"/>
                  <a:gd name="connsiteX115" fmla="*/ 33240 w 176777"/>
                  <a:gd name="connsiteY115" fmla="*/ 3791 h 69741"/>
                  <a:gd name="connsiteX116" fmla="*/ 31829 w 176777"/>
                  <a:gd name="connsiteY116" fmla="*/ 3174 h 69741"/>
                  <a:gd name="connsiteX117" fmla="*/ 32093 w 176777"/>
                  <a:gd name="connsiteY117" fmla="*/ 0 h 69741"/>
                  <a:gd name="connsiteX118" fmla="*/ 34121 w 176777"/>
                  <a:gd name="connsiteY118" fmla="*/ 2028 h 69741"/>
                  <a:gd name="connsiteX119" fmla="*/ 35620 w 176777"/>
                  <a:gd name="connsiteY119" fmla="*/ 4056 h 69741"/>
                  <a:gd name="connsiteX120" fmla="*/ 37031 w 176777"/>
                  <a:gd name="connsiteY120" fmla="*/ 4937 h 69741"/>
                  <a:gd name="connsiteX121" fmla="*/ 38530 w 176777"/>
                  <a:gd name="connsiteY121" fmla="*/ 6965 h 69741"/>
                  <a:gd name="connsiteX122" fmla="*/ 40293 w 176777"/>
                  <a:gd name="connsiteY122" fmla="*/ 6436 h 69741"/>
                  <a:gd name="connsiteX123" fmla="*/ 42056 w 176777"/>
                  <a:gd name="connsiteY123" fmla="*/ 8729 h 69741"/>
                  <a:gd name="connsiteX124" fmla="*/ 40293 w 176777"/>
                  <a:gd name="connsiteY124" fmla="*/ 9875 h 69741"/>
                  <a:gd name="connsiteX125" fmla="*/ 43732 w 176777"/>
                  <a:gd name="connsiteY125" fmla="*/ 9346 h 69741"/>
                  <a:gd name="connsiteX126" fmla="*/ 46994 w 176777"/>
                  <a:gd name="connsiteY126" fmla="*/ 11374 h 69741"/>
                  <a:gd name="connsiteX127" fmla="*/ 46377 w 176777"/>
                  <a:gd name="connsiteY127" fmla="*/ 13666 h 69741"/>
                  <a:gd name="connsiteX128" fmla="*/ 49022 w 176777"/>
                  <a:gd name="connsiteY128" fmla="*/ 13402 h 69741"/>
                  <a:gd name="connsiteX129" fmla="*/ 49022 w 176777"/>
                  <a:gd name="connsiteY129" fmla="*/ 15782 h 69741"/>
                  <a:gd name="connsiteX130" fmla="*/ 50168 w 176777"/>
                  <a:gd name="connsiteY130" fmla="*/ 16928 h 69741"/>
                  <a:gd name="connsiteX131" fmla="*/ 48140 w 176777"/>
                  <a:gd name="connsiteY131" fmla="*/ 18692 h 69741"/>
                  <a:gd name="connsiteX132" fmla="*/ 46112 w 176777"/>
                  <a:gd name="connsiteY132" fmla="*/ 20102 h 69741"/>
                  <a:gd name="connsiteX133" fmla="*/ 48140 w 176777"/>
                  <a:gd name="connsiteY133" fmla="*/ 22130 h 69741"/>
                  <a:gd name="connsiteX134" fmla="*/ 47258 w 176777"/>
                  <a:gd name="connsiteY134" fmla="*/ 25040 h 69741"/>
                  <a:gd name="connsiteX135" fmla="*/ 50785 w 176777"/>
                  <a:gd name="connsiteY135" fmla="*/ 26803 h 69741"/>
                  <a:gd name="connsiteX136" fmla="*/ 53078 w 176777"/>
                  <a:gd name="connsiteY136" fmla="*/ 28038 h 69741"/>
                  <a:gd name="connsiteX137" fmla="*/ 55458 w 176777"/>
                  <a:gd name="connsiteY137" fmla="*/ 24775 h 69741"/>
                  <a:gd name="connsiteX138" fmla="*/ 58103 w 176777"/>
                  <a:gd name="connsiteY138" fmla="*/ 25040 h 69741"/>
                  <a:gd name="connsiteX139" fmla="*/ 57486 w 176777"/>
                  <a:gd name="connsiteY139" fmla="*/ 19838 h 69741"/>
                  <a:gd name="connsiteX140" fmla="*/ 59514 w 176777"/>
                  <a:gd name="connsiteY140" fmla="*/ 21866 h 69741"/>
                  <a:gd name="connsiteX141" fmla="*/ 61277 w 176777"/>
                  <a:gd name="connsiteY141" fmla="*/ 19573 h 69741"/>
                  <a:gd name="connsiteX142" fmla="*/ 63922 w 176777"/>
                  <a:gd name="connsiteY142" fmla="*/ 22483 h 69741"/>
                  <a:gd name="connsiteX143" fmla="*/ 66479 w 176777"/>
                  <a:gd name="connsiteY143" fmla="*/ 18339 h 69741"/>
                  <a:gd name="connsiteX144" fmla="*/ 70006 w 176777"/>
                  <a:gd name="connsiteY144" fmla="*/ 16047 h 69741"/>
                  <a:gd name="connsiteX145" fmla="*/ 69124 w 176777"/>
                  <a:gd name="connsiteY145" fmla="*/ 12520 h 69741"/>
                  <a:gd name="connsiteX146" fmla="*/ 71769 w 176777"/>
                  <a:gd name="connsiteY146" fmla="*/ 11991 h 69741"/>
                  <a:gd name="connsiteX147" fmla="*/ 73797 w 176777"/>
                  <a:gd name="connsiteY147" fmla="*/ 12520 h 69741"/>
                  <a:gd name="connsiteX148" fmla="*/ 74414 w 176777"/>
                  <a:gd name="connsiteY148" fmla="*/ 14283 h 69741"/>
                  <a:gd name="connsiteX149" fmla="*/ 74062 w 176777"/>
                  <a:gd name="connsiteY149" fmla="*/ 17193 h 69741"/>
                  <a:gd name="connsiteX150" fmla="*/ 77853 w 176777"/>
                  <a:gd name="connsiteY150" fmla="*/ 20455 h 69741"/>
                  <a:gd name="connsiteX151" fmla="*/ 80498 w 176777"/>
                  <a:gd name="connsiteY151" fmla="*/ 18692 h 69741"/>
                  <a:gd name="connsiteX152" fmla="*/ 79616 w 176777"/>
                  <a:gd name="connsiteY152" fmla="*/ 17193 h 69741"/>
                  <a:gd name="connsiteX153" fmla="*/ 84642 w 176777"/>
                  <a:gd name="connsiteY153" fmla="*/ 15429 h 69741"/>
                  <a:gd name="connsiteX154" fmla="*/ 82878 w 176777"/>
                  <a:gd name="connsiteY154" fmla="*/ 13666 h 69741"/>
                  <a:gd name="connsiteX155" fmla="*/ 83760 w 176777"/>
                  <a:gd name="connsiteY155" fmla="*/ 10492 h 69741"/>
                  <a:gd name="connsiteX156" fmla="*/ 88080 w 176777"/>
                  <a:gd name="connsiteY156" fmla="*/ 10492 h 69741"/>
                  <a:gd name="connsiteX157" fmla="*/ 93635 w 176777"/>
                  <a:gd name="connsiteY157" fmla="*/ 11638 h 69741"/>
                  <a:gd name="connsiteX158" fmla="*/ 94781 w 176777"/>
                  <a:gd name="connsiteY158" fmla="*/ 11109 h 69741"/>
                  <a:gd name="connsiteX159" fmla="*/ 100336 w 176777"/>
                  <a:gd name="connsiteY159" fmla="*/ 15429 h 69741"/>
                  <a:gd name="connsiteX160" fmla="*/ 101835 w 176777"/>
                  <a:gd name="connsiteY160" fmla="*/ 16311 h 69741"/>
                  <a:gd name="connsiteX161" fmla="*/ 102981 w 176777"/>
                  <a:gd name="connsiteY161" fmla="*/ 19838 h 69741"/>
                  <a:gd name="connsiteX162" fmla="*/ 103598 w 176777"/>
                  <a:gd name="connsiteY162" fmla="*/ 17457 h 69741"/>
                  <a:gd name="connsiteX163" fmla="*/ 101835 w 176777"/>
                  <a:gd name="connsiteY163" fmla="*/ 14283 h 69741"/>
                  <a:gd name="connsiteX164" fmla="*/ 103598 w 176777"/>
                  <a:gd name="connsiteY164" fmla="*/ 12873 h 69741"/>
                  <a:gd name="connsiteX165" fmla="*/ 107037 w 176777"/>
                  <a:gd name="connsiteY165" fmla="*/ 11374 h 69741"/>
                  <a:gd name="connsiteX166" fmla="*/ 112591 w 176777"/>
                  <a:gd name="connsiteY166" fmla="*/ 13666 h 69741"/>
                  <a:gd name="connsiteX167" fmla="*/ 116647 w 176777"/>
                  <a:gd name="connsiteY167" fmla="*/ 11991 h 69741"/>
                  <a:gd name="connsiteX168" fmla="*/ 119557 w 176777"/>
                  <a:gd name="connsiteY168" fmla="*/ 13137 h 69741"/>
                  <a:gd name="connsiteX169" fmla="*/ 121673 w 176777"/>
                  <a:gd name="connsiteY169" fmla="*/ 14283 h 69741"/>
                  <a:gd name="connsiteX170" fmla="*/ 120791 w 176777"/>
                  <a:gd name="connsiteY170" fmla="*/ 12255 h 69741"/>
                  <a:gd name="connsiteX171" fmla="*/ 123083 w 176777"/>
                  <a:gd name="connsiteY171" fmla="*/ 10492 h 69741"/>
                  <a:gd name="connsiteX172" fmla="*/ 128109 w 176777"/>
                  <a:gd name="connsiteY172" fmla="*/ 11109 h 69741"/>
                  <a:gd name="connsiteX173" fmla="*/ 128902 w 176777"/>
                  <a:gd name="connsiteY173" fmla="*/ 10228 h 69741"/>
                  <a:gd name="connsiteX174" fmla="*/ 131547 w 176777"/>
                  <a:gd name="connsiteY174" fmla="*/ 8729 h 69741"/>
                  <a:gd name="connsiteX175" fmla="*/ 132782 w 176777"/>
                  <a:gd name="connsiteY175" fmla="*/ 7318 h 69741"/>
                  <a:gd name="connsiteX176" fmla="*/ 133046 w 176777"/>
                  <a:gd name="connsiteY176" fmla="*/ 4408 h 69741"/>
                  <a:gd name="connsiteX177" fmla="*/ 134457 w 176777"/>
                  <a:gd name="connsiteY177" fmla="*/ 3527 h 69741"/>
                  <a:gd name="connsiteX178" fmla="*/ 134192 w 176777"/>
                  <a:gd name="connsiteY178" fmla="*/ 529 h 69741"/>
                  <a:gd name="connsiteX179" fmla="*/ 136220 w 176777"/>
                  <a:gd name="connsiteY179" fmla="*/ 265 h 69741"/>
                  <a:gd name="connsiteX180" fmla="*/ 137719 w 176777"/>
                  <a:gd name="connsiteY180" fmla="*/ 2028 h 69741"/>
                  <a:gd name="connsiteX181" fmla="*/ 141510 w 176777"/>
                  <a:gd name="connsiteY181" fmla="*/ 5290 h 69741"/>
                  <a:gd name="connsiteX182" fmla="*/ 143803 w 176777"/>
                  <a:gd name="connsiteY182" fmla="*/ 5290 h 69741"/>
                  <a:gd name="connsiteX183" fmla="*/ 148211 w 176777"/>
                  <a:gd name="connsiteY183" fmla="*/ 8729 h 69741"/>
                  <a:gd name="connsiteX184" fmla="*/ 151121 w 176777"/>
                  <a:gd name="connsiteY184" fmla="*/ 7847 h 69741"/>
                  <a:gd name="connsiteX185" fmla="*/ 154030 w 176777"/>
                  <a:gd name="connsiteY185" fmla="*/ 6701 h 69741"/>
                  <a:gd name="connsiteX186" fmla="*/ 160467 w 176777"/>
                  <a:gd name="connsiteY186" fmla="*/ 4673 h 69741"/>
                  <a:gd name="connsiteX187" fmla="*/ 163376 w 176777"/>
                  <a:gd name="connsiteY187" fmla="*/ 4673 h 69741"/>
                  <a:gd name="connsiteX188" fmla="*/ 162495 w 176777"/>
                  <a:gd name="connsiteY188" fmla="*/ 5819 h 69741"/>
                  <a:gd name="connsiteX189" fmla="*/ 162495 w 176777"/>
                  <a:gd name="connsiteY189" fmla="*/ 6965 h 69741"/>
                  <a:gd name="connsiteX190" fmla="*/ 159585 w 176777"/>
                  <a:gd name="connsiteY190" fmla="*/ 6436 h 69741"/>
                  <a:gd name="connsiteX191" fmla="*/ 156323 w 176777"/>
                  <a:gd name="connsiteY191" fmla="*/ 10228 h 69741"/>
                  <a:gd name="connsiteX192" fmla="*/ 158968 w 176777"/>
                  <a:gd name="connsiteY192" fmla="*/ 12520 h 69741"/>
                  <a:gd name="connsiteX193" fmla="*/ 155176 w 176777"/>
                  <a:gd name="connsiteY193" fmla="*/ 16576 h 69741"/>
                  <a:gd name="connsiteX194" fmla="*/ 159585 w 176777"/>
                  <a:gd name="connsiteY194" fmla="*/ 14019 h 69741"/>
                  <a:gd name="connsiteX195" fmla="*/ 159849 w 176777"/>
                  <a:gd name="connsiteY195" fmla="*/ 15782 h 69741"/>
                  <a:gd name="connsiteX196" fmla="*/ 159849 w 176777"/>
                  <a:gd name="connsiteY196" fmla="*/ 17810 h 69741"/>
                  <a:gd name="connsiteX197" fmla="*/ 162495 w 176777"/>
                  <a:gd name="connsiteY197" fmla="*/ 18339 h 69741"/>
                  <a:gd name="connsiteX198" fmla="*/ 165139 w 176777"/>
                  <a:gd name="connsiteY198" fmla="*/ 20984 h 69741"/>
                  <a:gd name="connsiteX199" fmla="*/ 165139 w 176777"/>
                  <a:gd name="connsiteY199" fmla="*/ 22483 h 69741"/>
                  <a:gd name="connsiteX200" fmla="*/ 167696 w 176777"/>
                  <a:gd name="connsiteY200" fmla="*/ 23012 h 69741"/>
                  <a:gd name="connsiteX201" fmla="*/ 167167 w 176777"/>
                  <a:gd name="connsiteY201" fmla="*/ 19221 h 69741"/>
                  <a:gd name="connsiteX202" fmla="*/ 168314 w 176777"/>
                  <a:gd name="connsiteY202" fmla="*/ 20720 h 69741"/>
                  <a:gd name="connsiteX203" fmla="*/ 170959 w 176777"/>
                  <a:gd name="connsiteY203" fmla="*/ 21601 h 69741"/>
                  <a:gd name="connsiteX204" fmla="*/ 172722 w 176777"/>
                  <a:gd name="connsiteY204" fmla="*/ 23629 h 69741"/>
                  <a:gd name="connsiteX205" fmla="*/ 175279 w 176777"/>
                  <a:gd name="connsiteY205" fmla="*/ 24511 h 69741"/>
                  <a:gd name="connsiteX206" fmla="*/ 174485 w 176777"/>
                  <a:gd name="connsiteY206" fmla="*/ 27420 h 69741"/>
                  <a:gd name="connsiteX207" fmla="*/ 174133 w 176777"/>
                  <a:gd name="connsiteY207" fmla="*/ 28831 h 69741"/>
                  <a:gd name="connsiteX208" fmla="*/ 173251 w 176777"/>
                  <a:gd name="connsiteY208" fmla="*/ 30065 h 69741"/>
                  <a:gd name="connsiteX209" fmla="*/ 173868 w 176777"/>
                  <a:gd name="connsiteY209" fmla="*/ 30594 h 69741"/>
                  <a:gd name="connsiteX210" fmla="*/ 175279 w 176777"/>
                  <a:gd name="connsiteY210" fmla="*/ 30947 h 69741"/>
                  <a:gd name="connsiteX211" fmla="*/ 176778 w 176777"/>
                  <a:gd name="connsiteY211" fmla="*/ 32358 h 69741"/>
                  <a:gd name="connsiteX212" fmla="*/ 174133 w 176777"/>
                  <a:gd name="connsiteY212" fmla="*/ 33504 h 69741"/>
                  <a:gd name="connsiteX213" fmla="*/ 170959 w 176777"/>
                  <a:gd name="connsiteY213" fmla="*/ 33504 h 69741"/>
                  <a:gd name="connsiteX214" fmla="*/ 168049 w 176777"/>
                  <a:gd name="connsiteY214" fmla="*/ 32358 h 69741"/>
                  <a:gd name="connsiteX215" fmla="*/ 169195 w 176777"/>
                  <a:gd name="connsiteY215" fmla="*/ 33504 h 69741"/>
                  <a:gd name="connsiteX216" fmla="*/ 170694 w 176777"/>
                  <a:gd name="connsiteY216" fmla="*/ 34738 h 69741"/>
                  <a:gd name="connsiteX217" fmla="*/ 172105 w 176777"/>
                  <a:gd name="connsiteY217" fmla="*/ 36149 h 69741"/>
                  <a:gd name="connsiteX218" fmla="*/ 171223 w 176777"/>
                  <a:gd name="connsiteY218" fmla="*/ 37648 h 69741"/>
                  <a:gd name="connsiteX219" fmla="*/ 169724 w 176777"/>
                  <a:gd name="connsiteY219" fmla="*/ 39676 h 69741"/>
                  <a:gd name="connsiteX220" fmla="*/ 165139 w 176777"/>
                  <a:gd name="connsiteY220" fmla="*/ 40558 h 69741"/>
                  <a:gd name="connsiteX221" fmla="*/ 160114 w 176777"/>
                  <a:gd name="connsiteY221" fmla="*/ 36766 h 69741"/>
                  <a:gd name="connsiteX222" fmla="*/ 163112 w 176777"/>
                  <a:gd name="connsiteY222" fmla="*/ 40558 h 69741"/>
                  <a:gd name="connsiteX223" fmla="*/ 162495 w 176777"/>
                  <a:gd name="connsiteY223" fmla="*/ 41439 h 69741"/>
                  <a:gd name="connsiteX224" fmla="*/ 160996 w 176777"/>
                  <a:gd name="connsiteY224" fmla="*/ 43996 h 69741"/>
                  <a:gd name="connsiteX225" fmla="*/ 159849 w 176777"/>
                  <a:gd name="connsiteY225" fmla="*/ 46112 h 69741"/>
                  <a:gd name="connsiteX226" fmla="*/ 159232 w 176777"/>
                  <a:gd name="connsiteY226" fmla="*/ 45495 h 69741"/>
                  <a:gd name="connsiteX227" fmla="*/ 157822 w 176777"/>
                  <a:gd name="connsiteY227" fmla="*/ 47875 h 69741"/>
                  <a:gd name="connsiteX228" fmla="*/ 155794 w 176777"/>
                  <a:gd name="connsiteY228" fmla="*/ 48404 h 69741"/>
                  <a:gd name="connsiteX229" fmla="*/ 155176 w 176777"/>
                  <a:gd name="connsiteY229" fmla="*/ 49286 h 69741"/>
                  <a:gd name="connsiteX230" fmla="*/ 153149 w 176777"/>
                  <a:gd name="connsiteY230" fmla="*/ 49903 h 69741"/>
                  <a:gd name="connsiteX231" fmla="*/ 149622 w 176777"/>
                  <a:gd name="connsiteY231" fmla="*/ 46641 h 69741"/>
                  <a:gd name="connsiteX232" fmla="*/ 148740 w 176777"/>
                  <a:gd name="connsiteY232" fmla="*/ 49286 h 69741"/>
                  <a:gd name="connsiteX233" fmla="*/ 147065 w 176777"/>
                  <a:gd name="connsiteY233" fmla="*/ 50168 h 69741"/>
                  <a:gd name="connsiteX234" fmla="*/ 143274 w 176777"/>
                  <a:gd name="connsiteY234" fmla="*/ 51314 h 69741"/>
                  <a:gd name="connsiteX235" fmla="*/ 140629 w 176777"/>
                  <a:gd name="connsiteY235" fmla="*/ 51314 h 69741"/>
                  <a:gd name="connsiteX236" fmla="*/ 140364 w 176777"/>
                  <a:gd name="connsiteY236" fmla="*/ 54576 h 69741"/>
                  <a:gd name="connsiteX237" fmla="*/ 136573 w 176777"/>
                  <a:gd name="connsiteY237" fmla="*/ 53959 h 69741"/>
                  <a:gd name="connsiteX238" fmla="*/ 130666 w 176777"/>
                  <a:gd name="connsiteY238" fmla="*/ 55722 h 69741"/>
                  <a:gd name="connsiteX239" fmla="*/ 127756 w 176777"/>
                  <a:gd name="connsiteY239" fmla="*/ 57133 h 69741"/>
                  <a:gd name="connsiteX240" fmla="*/ 126874 w 176777"/>
                  <a:gd name="connsiteY240" fmla="*/ 58632 h 69741"/>
                  <a:gd name="connsiteX241" fmla="*/ 120791 w 176777"/>
                  <a:gd name="connsiteY241" fmla="*/ 60043 h 69741"/>
                  <a:gd name="connsiteX242" fmla="*/ 116647 w 176777"/>
                  <a:gd name="connsiteY242" fmla="*/ 60043 h 69741"/>
                  <a:gd name="connsiteX243" fmla="*/ 114090 w 176777"/>
                  <a:gd name="connsiteY243" fmla="*/ 61806 h 69741"/>
                  <a:gd name="connsiteX244" fmla="*/ 113208 w 176777"/>
                  <a:gd name="connsiteY244" fmla="*/ 61806 h 69741"/>
                  <a:gd name="connsiteX245" fmla="*/ 113737 w 176777"/>
                  <a:gd name="connsiteY245" fmla="*/ 63305 h 69741"/>
                  <a:gd name="connsiteX246" fmla="*/ 111709 w 176777"/>
                  <a:gd name="connsiteY246" fmla="*/ 62423 h 69741"/>
                  <a:gd name="connsiteX247" fmla="*/ 109681 w 176777"/>
                  <a:gd name="connsiteY247" fmla="*/ 63834 h 69741"/>
                  <a:gd name="connsiteX248" fmla="*/ 108271 w 176777"/>
                  <a:gd name="connsiteY248" fmla="*/ 62423 h 69741"/>
                  <a:gd name="connsiteX249" fmla="*/ 107654 w 176777"/>
                  <a:gd name="connsiteY249" fmla="*/ 63834 h 69741"/>
                  <a:gd name="connsiteX250" fmla="*/ 106155 w 176777"/>
                  <a:gd name="connsiteY250" fmla="*/ 63305 h 69741"/>
                  <a:gd name="connsiteX251" fmla="*/ 104744 w 176777"/>
                  <a:gd name="connsiteY251" fmla="*/ 65068 h 69741"/>
                  <a:gd name="connsiteX252" fmla="*/ 102981 w 176777"/>
                  <a:gd name="connsiteY252" fmla="*/ 63569 h 69741"/>
                  <a:gd name="connsiteX253" fmla="*/ 100336 w 176777"/>
                  <a:gd name="connsiteY253" fmla="*/ 65950 h 69741"/>
                  <a:gd name="connsiteX254" fmla="*/ 98572 w 176777"/>
                  <a:gd name="connsiteY254" fmla="*/ 66743 h 69741"/>
                  <a:gd name="connsiteX255" fmla="*/ 97162 w 176777"/>
                  <a:gd name="connsiteY255" fmla="*/ 68860 h 69741"/>
                  <a:gd name="connsiteX256" fmla="*/ 96280 w 176777"/>
                  <a:gd name="connsiteY256" fmla="*/ 66743 h 69741"/>
                  <a:gd name="connsiteX257" fmla="*/ 93900 w 176777"/>
                  <a:gd name="connsiteY257" fmla="*/ 63834 h 69741"/>
                  <a:gd name="connsiteX258" fmla="*/ 94781 w 176777"/>
                  <a:gd name="connsiteY258" fmla="*/ 68507 h 69741"/>
                  <a:gd name="connsiteX259" fmla="*/ 92753 w 176777"/>
                  <a:gd name="connsiteY259" fmla="*/ 69389 h 69741"/>
                  <a:gd name="connsiteX260" fmla="*/ 91607 w 176777"/>
                  <a:gd name="connsiteY260" fmla="*/ 68242 h 69741"/>
                  <a:gd name="connsiteX261" fmla="*/ 91607 w 176777"/>
                  <a:gd name="connsiteY261" fmla="*/ 69389 h 69741"/>
                  <a:gd name="connsiteX262" fmla="*/ 88080 w 176777"/>
                  <a:gd name="connsiteY262" fmla="*/ 68507 h 69741"/>
                  <a:gd name="connsiteX263" fmla="*/ 86670 w 176777"/>
                  <a:gd name="connsiteY263" fmla="*/ 69741 h 69741"/>
                  <a:gd name="connsiteX264" fmla="*/ 82614 w 176777"/>
                  <a:gd name="connsiteY264" fmla="*/ 68507 h 69741"/>
                  <a:gd name="connsiteX265" fmla="*/ 81732 w 176777"/>
                  <a:gd name="connsiteY265" fmla="*/ 69741 h 69741"/>
                  <a:gd name="connsiteX266" fmla="*/ 78823 w 176777"/>
                  <a:gd name="connsiteY266" fmla="*/ 68507 h 69741"/>
                  <a:gd name="connsiteX267" fmla="*/ 75296 w 176777"/>
                  <a:gd name="connsiteY267" fmla="*/ 67096 h 69741"/>
                  <a:gd name="connsiteX268" fmla="*/ 73797 w 176777"/>
                  <a:gd name="connsiteY268" fmla="*/ 68242 h 69741"/>
                  <a:gd name="connsiteX269" fmla="*/ 70270 w 176777"/>
                  <a:gd name="connsiteY269" fmla="*/ 67096 h 69741"/>
                  <a:gd name="connsiteX270" fmla="*/ 65068 w 176777"/>
                  <a:gd name="connsiteY270" fmla="*/ 64187 h 69741"/>
                  <a:gd name="connsiteX271" fmla="*/ 62159 w 176777"/>
                  <a:gd name="connsiteY271" fmla="*/ 66214 h 69741"/>
                  <a:gd name="connsiteX272" fmla="*/ 55722 w 176777"/>
                  <a:gd name="connsiteY272" fmla="*/ 63305 h 69741"/>
                  <a:gd name="connsiteX273" fmla="*/ 51402 w 176777"/>
                  <a:gd name="connsiteY273" fmla="*/ 62159 h 69741"/>
                  <a:gd name="connsiteX274" fmla="*/ 50521 w 176777"/>
                  <a:gd name="connsiteY274" fmla="*/ 61277 h 69741"/>
                  <a:gd name="connsiteX275" fmla="*/ 46994 w 176777"/>
                  <a:gd name="connsiteY275" fmla="*/ 5916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76777" h="69741">
                    <a:moveTo>
                      <a:pt x="42321" y="60043"/>
                    </a:moveTo>
                    <a:lnTo>
                      <a:pt x="33857" y="60924"/>
                    </a:lnTo>
                    <a:lnTo>
                      <a:pt x="31829" y="61277"/>
                    </a:lnTo>
                    <a:lnTo>
                      <a:pt x="25393" y="61806"/>
                    </a:lnTo>
                    <a:lnTo>
                      <a:pt x="20455" y="63305"/>
                    </a:lnTo>
                    <a:lnTo>
                      <a:pt x="18427" y="62159"/>
                    </a:lnTo>
                    <a:lnTo>
                      <a:pt x="17281" y="60660"/>
                    </a:lnTo>
                    <a:lnTo>
                      <a:pt x="17281" y="59778"/>
                    </a:lnTo>
                    <a:lnTo>
                      <a:pt x="20720" y="59514"/>
                    </a:lnTo>
                    <a:lnTo>
                      <a:pt x="23100" y="56869"/>
                    </a:lnTo>
                    <a:lnTo>
                      <a:pt x="26274" y="55458"/>
                    </a:lnTo>
                    <a:lnTo>
                      <a:pt x="29184" y="55987"/>
                    </a:lnTo>
                    <a:lnTo>
                      <a:pt x="34474" y="53695"/>
                    </a:lnTo>
                    <a:lnTo>
                      <a:pt x="36502" y="51314"/>
                    </a:lnTo>
                    <a:lnTo>
                      <a:pt x="40293" y="48404"/>
                    </a:lnTo>
                    <a:lnTo>
                      <a:pt x="38794" y="48669"/>
                    </a:lnTo>
                    <a:lnTo>
                      <a:pt x="34474" y="49022"/>
                    </a:lnTo>
                    <a:lnTo>
                      <a:pt x="36766" y="46377"/>
                    </a:lnTo>
                    <a:lnTo>
                      <a:pt x="40910" y="43996"/>
                    </a:lnTo>
                    <a:lnTo>
                      <a:pt x="39411" y="43732"/>
                    </a:lnTo>
                    <a:lnTo>
                      <a:pt x="33857" y="45230"/>
                    </a:lnTo>
                    <a:lnTo>
                      <a:pt x="30065" y="43467"/>
                    </a:lnTo>
                    <a:lnTo>
                      <a:pt x="29801" y="41086"/>
                    </a:lnTo>
                    <a:lnTo>
                      <a:pt x="26010" y="40558"/>
                    </a:lnTo>
                    <a:lnTo>
                      <a:pt x="23365" y="39059"/>
                    </a:lnTo>
                    <a:lnTo>
                      <a:pt x="18427" y="39676"/>
                    </a:lnTo>
                    <a:lnTo>
                      <a:pt x="15165" y="37912"/>
                    </a:lnTo>
                    <a:lnTo>
                      <a:pt x="13137" y="39059"/>
                    </a:lnTo>
                    <a:lnTo>
                      <a:pt x="10228" y="39411"/>
                    </a:lnTo>
                    <a:lnTo>
                      <a:pt x="2910" y="41704"/>
                    </a:lnTo>
                    <a:lnTo>
                      <a:pt x="1499" y="40822"/>
                    </a:lnTo>
                    <a:lnTo>
                      <a:pt x="0" y="37295"/>
                    </a:lnTo>
                    <a:lnTo>
                      <a:pt x="7583" y="37031"/>
                    </a:lnTo>
                    <a:lnTo>
                      <a:pt x="8200" y="38177"/>
                    </a:lnTo>
                    <a:lnTo>
                      <a:pt x="14900" y="36149"/>
                    </a:lnTo>
                    <a:lnTo>
                      <a:pt x="16664" y="34738"/>
                    </a:lnTo>
                    <a:lnTo>
                      <a:pt x="18692" y="35885"/>
                    </a:lnTo>
                    <a:lnTo>
                      <a:pt x="21337" y="34738"/>
                    </a:lnTo>
                    <a:lnTo>
                      <a:pt x="26010" y="34121"/>
                    </a:lnTo>
                    <a:lnTo>
                      <a:pt x="27773" y="32622"/>
                    </a:lnTo>
                    <a:lnTo>
                      <a:pt x="32093" y="34738"/>
                    </a:lnTo>
                    <a:lnTo>
                      <a:pt x="35620" y="33857"/>
                    </a:lnTo>
                    <a:lnTo>
                      <a:pt x="38530" y="32975"/>
                    </a:lnTo>
                    <a:lnTo>
                      <a:pt x="36149" y="31829"/>
                    </a:lnTo>
                    <a:lnTo>
                      <a:pt x="33240" y="31212"/>
                    </a:lnTo>
                    <a:lnTo>
                      <a:pt x="30683" y="30947"/>
                    </a:lnTo>
                    <a:lnTo>
                      <a:pt x="28302" y="28038"/>
                    </a:lnTo>
                    <a:lnTo>
                      <a:pt x="32093" y="28038"/>
                    </a:lnTo>
                    <a:lnTo>
                      <a:pt x="35885" y="27420"/>
                    </a:lnTo>
                    <a:lnTo>
                      <a:pt x="38794" y="26803"/>
                    </a:lnTo>
                    <a:lnTo>
                      <a:pt x="41175" y="25393"/>
                    </a:lnTo>
                    <a:lnTo>
                      <a:pt x="38530" y="23012"/>
                    </a:lnTo>
                    <a:lnTo>
                      <a:pt x="36766" y="24511"/>
                    </a:lnTo>
                    <a:lnTo>
                      <a:pt x="35885" y="24511"/>
                    </a:lnTo>
                    <a:lnTo>
                      <a:pt x="36502" y="22747"/>
                    </a:lnTo>
                    <a:lnTo>
                      <a:pt x="34738" y="23365"/>
                    </a:lnTo>
                    <a:lnTo>
                      <a:pt x="33857" y="24246"/>
                    </a:lnTo>
                    <a:lnTo>
                      <a:pt x="32358" y="21601"/>
                    </a:lnTo>
                    <a:lnTo>
                      <a:pt x="32711" y="23012"/>
                    </a:lnTo>
                    <a:lnTo>
                      <a:pt x="30683" y="22130"/>
                    </a:lnTo>
                    <a:lnTo>
                      <a:pt x="29801" y="23365"/>
                    </a:lnTo>
                    <a:lnTo>
                      <a:pt x="29801" y="21337"/>
                    </a:lnTo>
                    <a:lnTo>
                      <a:pt x="28302" y="21337"/>
                    </a:lnTo>
                    <a:lnTo>
                      <a:pt x="28302" y="22747"/>
                    </a:lnTo>
                    <a:lnTo>
                      <a:pt x="28038" y="24511"/>
                    </a:lnTo>
                    <a:lnTo>
                      <a:pt x="26892" y="23894"/>
                    </a:lnTo>
                    <a:lnTo>
                      <a:pt x="27421" y="22747"/>
                    </a:lnTo>
                    <a:lnTo>
                      <a:pt x="26274" y="21601"/>
                    </a:lnTo>
                    <a:lnTo>
                      <a:pt x="24246" y="22483"/>
                    </a:lnTo>
                    <a:lnTo>
                      <a:pt x="21337" y="21866"/>
                    </a:lnTo>
                    <a:lnTo>
                      <a:pt x="18956" y="23012"/>
                    </a:lnTo>
                    <a:lnTo>
                      <a:pt x="16664" y="25040"/>
                    </a:lnTo>
                    <a:lnTo>
                      <a:pt x="15518" y="25040"/>
                    </a:lnTo>
                    <a:lnTo>
                      <a:pt x="16928" y="22747"/>
                    </a:lnTo>
                    <a:lnTo>
                      <a:pt x="15518" y="21866"/>
                    </a:lnTo>
                    <a:lnTo>
                      <a:pt x="15518" y="23012"/>
                    </a:lnTo>
                    <a:lnTo>
                      <a:pt x="13755" y="25657"/>
                    </a:lnTo>
                    <a:lnTo>
                      <a:pt x="12873" y="23365"/>
                    </a:lnTo>
                    <a:lnTo>
                      <a:pt x="11374" y="25040"/>
                    </a:lnTo>
                    <a:lnTo>
                      <a:pt x="9081" y="25040"/>
                    </a:lnTo>
                    <a:lnTo>
                      <a:pt x="6172" y="24246"/>
                    </a:lnTo>
                    <a:lnTo>
                      <a:pt x="3791" y="25040"/>
                    </a:lnTo>
                    <a:lnTo>
                      <a:pt x="0" y="23012"/>
                    </a:lnTo>
                    <a:lnTo>
                      <a:pt x="617" y="21866"/>
                    </a:lnTo>
                    <a:lnTo>
                      <a:pt x="4673" y="22130"/>
                    </a:lnTo>
                    <a:lnTo>
                      <a:pt x="5819" y="22747"/>
                    </a:lnTo>
                    <a:lnTo>
                      <a:pt x="9081" y="22483"/>
                    </a:lnTo>
                    <a:lnTo>
                      <a:pt x="7318" y="21866"/>
                    </a:lnTo>
                    <a:lnTo>
                      <a:pt x="6436" y="19221"/>
                    </a:lnTo>
                    <a:lnTo>
                      <a:pt x="9346" y="18692"/>
                    </a:lnTo>
                    <a:lnTo>
                      <a:pt x="12256" y="20720"/>
                    </a:lnTo>
                    <a:lnTo>
                      <a:pt x="13755" y="20720"/>
                    </a:lnTo>
                    <a:lnTo>
                      <a:pt x="14636" y="20102"/>
                    </a:lnTo>
                    <a:lnTo>
                      <a:pt x="16928" y="18956"/>
                    </a:lnTo>
                    <a:lnTo>
                      <a:pt x="14284" y="17810"/>
                    </a:lnTo>
                    <a:lnTo>
                      <a:pt x="12873" y="16311"/>
                    </a:lnTo>
                    <a:lnTo>
                      <a:pt x="16311" y="15782"/>
                    </a:lnTo>
                    <a:lnTo>
                      <a:pt x="13755" y="13666"/>
                    </a:lnTo>
                    <a:lnTo>
                      <a:pt x="14284" y="12255"/>
                    </a:lnTo>
                    <a:lnTo>
                      <a:pt x="15518" y="11374"/>
                    </a:lnTo>
                    <a:lnTo>
                      <a:pt x="18427" y="9875"/>
                    </a:lnTo>
                    <a:lnTo>
                      <a:pt x="18075" y="11991"/>
                    </a:lnTo>
                    <a:lnTo>
                      <a:pt x="20455" y="9875"/>
                    </a:lnTo>
                    <a:lnTo>
                      <a:pt x="23100" y="11109"/>
                    </a:lnTo>
                    <a:lnTo>
                      <a:pt x="25128" y="13402"/>
                    </a:lnTo>
                    <a:lnTo>
                      <a:pt x="27773" y="13666"/>
                    </a:lnTo>
                    <a:lnTo>
                      <a:pt x="30330" y="14548"/>
                    </a:lnTo>
                    <a:lnTo>
                      <a:pt x="32358" y="14019"/>
                    </a:lnTo>
                    <a:lnTo>
                      <a:pt x="31212" y="11109"/>
                    </a:lnTo>
                    <a:lnTo>
                      <a:pt x="28567" y="8729"/>
                    </a:lnTo>
                    <a:lnTo>
                      <a:pt x="32093" y="7318"/>
                    </a:lnTo>
                    <a:lnTo>
                      <a:pt x="31829" y="6084"/>
                    </a:lnTo>
                    <a:lnTo>
                      <a:pt x="27156" y="5555"/>
                    </a:lnTo>
                    <a:lnTo>
                      <a:pt x="23894" y="4056"/>
                    </a:lnTo>
                    <a:lnTo>
                      <a:pt x="28919" y="2292"/>
                    </a:lnTo>
                    <a:lnTo>
                      <a:pt x="33240" y="3791"/>
                    </a:lnTo>
                    <a:lnTo>
                      <a:pt x="31829" y="3174"/>
                    </a:lnTo>
                    <a:lnTo>
                      <a:pt x="32093" y="0"/>
                    </a:lnTo>
                    <a:lnTo>
                      <a:pt x="34121" y="2028"/>
                    </a:lnTo>
                    <a:lnTo>
                      <a:pt x="35620" y="4056"/>
                    </a:lnTo>
                    <a:lnTo>
                      <a:pt x="37031" y="4937"/>
                    </a:lnTo>
                    <a:lnTo>
                      <a:pt x="38530" y="6965"/>
                    </a:lnTo>
                    <a:lnTo>
                      <a:pt x="40293" y="6436"/>
                    </a:lnTo>
                    <a:lnTo>
                      <a:pt x="42056" y="8729"/>
                    </a:lnTo>
                    <a:lnTo>
                      <a:pt x="40293" y="9875"/>
                    </a:lnTo>
                    <a:lnTo>
                      <a:pt x="43732" y="9346"/>
                    </a:lnTo>
                    <a:lnTo>
                      <a:pt x="46994" y="11374"/>
                    </a:lnTo>
                    <a:lnTo>
                      <a:pt x="46377" y="13666"/>
                    </a:lnTo>
                    <a:lnTo>
                      <a:pt x="49022" y="13402"/>
                    </a:lnTo>
                    <a:lnTo>
                      <a:pt x="49022" y="15782"/>
                    </a:lnTo>
                    <a:lnTo>
                      <a:pt x="50168" y="16928"/>
                    </a:lnTo>
                    <a:lnTo>
                      <a:pt x="48140" y="18692"/>
                    </a:lnTo>
                    <a:lnTo>
                      <a:pt x="46112" y="20102"/>
                    </a:lnTo>
                    <a:lnTo>
                      <a:pt x="48140" y="22130"/>
                    </a:lnTo>
                    <a:lnTo>
                      <a:pt x="47258" y="25040"/>
                    </a:lnTo>
                    <a:lnTo>
                      <a:pt x="50785" y="26803"/>
                    </a:lnTo>
                    <a:lnTo>
                      <a:pt x="53078" y="28038"/>
                    </a:lnTo>
                    <a:lnTo>
                      <a:pt x="55458" y="24775"/>
                    </a:lnTo>
                    <a:lnTo>
                      <a:pt x="58103" y="25040"/>
                    </a:lnTo>
                    <a:lnTo>
                      <a:pt x="57486" y="19838"/>
                    </a:lnTo>
                    <a:lnTo>
                      <a:pt x="59514" y="21866"/>
                    </a:lnTo>
                    <a:lnTo>
                      <a:pt x="61277" y="19573"/>
                    </a:lnTo>
                    <a:lnTo>
                      <a:pt x="63922" y="22483"/>
                    </a:lnTo>
                    <a:lnTo>
                      <a:pt x="66479" y="18339"/>
                    </a:lnTo>
                    <a:lnTo>
                      <a:pt x="70006" y="16047"/>
                    </a:lnTo>
                    <a:lnTo>
                      <a:pt x="69124" y="12520"/>
                    </a:lnTo>
                    <a:lnTo>
                      <a:pt x="71769" y="11991"/>
                    </a:lnTo>
                    <a:lnTo>
                      <a:pt x="73797" y="12520"/>
                    </a:lnTo>
                    <a:lnTo>
                      <a:pt x="74414" y="14283"/>
                    </a:lnTo>
                    <a:lnTo>
                      <a:pt x="74062" y="17193"/>
                    </a:lnTo>
                    <a:lnTo>
                      <a:pt x="77853" y="20455"/>
                    </a:lnTo>
                    <a:lnTo>
                      <a:pt x="80498" y="18692"/>
                    </a:lnTo>
                    <a:lnTo>
                      <a:pt x="79616" y="17193"/>
                    </a:lnTo>
                    <a:lnTo>
                      <a:pt x="84642" y="15429"/>
                    </a:lnTo>
                    <a:lnTo>
                      <a:pt x="82878" y="13666"/>
                    </a:lnTo>
                    <a:lnTo>
                      <a:pt x="83760" y="10492"/>
                    </a:lnTo>
                    <a:lnTo>
                      <a:pt x="88080" y="10492"/>
                    </a:lnTo>
                    <a:lnTo>
                      <a:pt x="93635" y="11638"/>
                    </a:lnTo>
                    <a:lnTo>
                      <a:pt x="94781" y="11109"/>
                    </a:lnTo>
                    <a:lnTo>
                      <a:pt x="100336" y="15429"/>
                    </a:lnTo>
                    <a:lnTo>
                      <a:pt x="101835" y="16311"/>
                    </a:lnTo>
                    <a:lnTo>
                      <a:pt x="102981" y="19838"/>
                    </a:lnTo>
                    <a:lnTo>
                      <a:pt x="103598" y="17457"/>
                    </a:lnTo>
                    <a:lnTo>
                      <a:pt x="101835" y="14283"/>
                    </a:lnTo>
                    <a:lnTo>
                      <a:pt x="103598" y="12873"/>
                    </a:lnTo>
                    <a:lnTo>
                      <a:pt x="107037" y="11374"/>
                    </a:lnTo>
                    <a:lnTo>
                      <a:pt x="112591" y="13666"/>
                    </a:lnTo>
                    <a:lnTo>
                      <a:pt x="116647" y="11991"/>
                    </a:lnTo>
                    <a:lnTo>
                      <a:pt x="119557" y="13137"/>
                    </a:lnTo>
                    <a:lnTo>
                      <a:pt x="121673" y="14283"/>
                    </a:lnTo>
                    <a:lnTo>
                      <a:pt x="120791" y="12255"/>
                    </a:lnTo>
                    <a:lnTo>
                      <a:pt x="123083" y="10492"/>
                    </a:lnTo>
                    <a:lnTo>
                      <a:pt x="128109" y="11109"/>
                    </a:lnTo>
                    <a:lnTo>
                      <a:pt x="128902" y="10228"/>
                    </a:lnTo>
                    <a:lnTo>
                      <a:pt x="131547" y="8729"/>
                    </a:lnTo>
                    <a:lnTo>
                      <a:pt x="132782" y="7318"/>
                    </a:lnTo>
                    <a:lnTo>
                      <a:pt x="133046" y="4408"/>
                    </a:lnTo>
                    <a:lnTo>
                      <a:pt x="134457" y="3527"/>
                    </a:lnTo>
                    <a:lnTo>
                      <a:pt x="134192" y="529"/>
                    </a:lnTo>
                    <a:lnTo>
                      <a:pt x="136220" y="265"/>
                    </a:lnTo>
                    <a:lnTo>
                      <a:pt x="137719" y="2028"/>
                    </a:lnTo>
                    <a:lnTo>
                      <a:pt x="141510" y="5290"/>
                    </a:lnTo>
                    <a:lnTo>
                      <a:pt x="143803" y="5290"/>
                    </a:lnTo>
                    <a:lnTo>
                      <a:pt x="148211" y="8729"/>
                    </a:lnTo>
                    <a:lnTo>
                      <a:pt x="151121" y="7847"/>
                    </a:lnTo>
                    <a:lnTo>
                      <a:pt x="154030" y="6701"/>
                    </a:lnTo>
                    <a:lnTo>
                      <a:pt x="160467" y="4673"/>
                    </a:lnTo>
                    <a:lnTo>
                      <a:pt x="163376" y="4673"/>
                    </a:lnTo>
                    <a:lnTo>
                      <a:pt x="162495" y="5819"/>
                    </a:lnTo>
                    <a:lnTo>
                      <a:pt x="162495" y="6965"/>
                    </a:lnTo>
                    <a:lnTo>
                      <a:pt x="159585" y="6436"/>
                    </a:lnTo>
                    <a:lnTo>
                      <a:pt x="156323" y="10228"/>
                    </a:lnTo>
                    <a:lnTo>
                      <a:pt x="158968" y="12520"/>
                    </a:lnTo>
                    <a:lnTo>
                      <a:pt x="155176" y="16576"/>
                    </a:lnTo>
                    <a:lnTo>
                      <a:pt x="159585" y="14019"/>
                    </a:lnTo>
                    <a:lnTo>
                      <a:pt x="159849" y="15782"/>
                    </a:lnTo>
                    <a:lnTo>
                      <a:pt x="159849" y="17810"/>
                    </a:lnTo>
                    <a:lnTo>
                      <a:pt x="162495" y="18339"/>
                    </a:lnTo>
                    <a:lnTo>
                      <a:pt x="165139" y="20984"/>
                    </a:lnTo>
                    <a:lnTo>
                      <a:pt x="165139" y="22483"/>
                    </a:lnTo>
                    <a:lnTo>
                      <a:pt x="167696" y="23012"/>
                    </a:lnTo>
                    <a:lnTo>
                      <a:pt x="167167" y="19221"/>
                    </a:lnTo>
                    <a:lnTo>
                      <a:pt x="168314" y="20720"/>
                    </a:lnTo>
                    <a:lnTo>
                      <a:pt x="170959" y="21601"/>
                    </a:lnTo>
                    <a:lnTo>
                      <a:pt x="172722" y="23629"/>
                    </a:lnTo>
                    <a:lnTo>
                      <a:pt x="175279" y="24511"/>
                    </a:lnTo>
                    <a:lnTo>
                      <a:pt x="174485" y="27420"/>
                    </a:lnTo>
                    <a:lnTo>
                      <a:pt x="174133" y="28831"/>
                    </a:lnTo>
                    <a:lnTo>
                      <a:pt x="173251" y="30065"/>
                    </a:lnTo>
                    <a:lnTo>
                      <a:pt x="173868" y="30594"/>
                    </a:lnTo>
                    <a:lnTo>
                      <a:pt x="175279" y="30947"/>
                    </a:lnTo>
                    <a:lnTo>
                      <a:pt x="176778" y="32358"/>
                    </a:lnTo>
                    <a:lnTo>
                      <a:pt x="174133" y="33504"/>
                    </a:lnTo>
                    <a:lnTo>
                      <a:pt x="170959" y="33504"/>
                    </a:lnTo>
                    <a:lnTo>
                      <a:pt x="168049" y="32358"/>
                    </a:lnTo>
                    <a:lnTo>
                      <a:pt x="169195" y="33504"/>
                    </a:lnTo>
                    <a:lnTo>
                      <a:pt x="170694" y="34738"/>
                    </a:lnTo>
                    <a:lnTo>
                      <a:pt x="172105" y="36149"/>
                    </a:lnTo>
                    <a:lnTo>
                      <a:pt x="171223" y="37648"/>
                    </a:lnTo>
                    <a:lnTo>
                      <a:pt x="169724" y="39676"/>
                    </a:lnTo>
                    <a:lnTo>
                      <a:pt x="165139" y="40558"/>
                    </a:lnTo>
                    <a:lnTo>
                      <a:pt x="160114" y="36766"/>
                    </a:lnTo>
                    <a:lnTo>
                      <a:pt x="163112" y="40558"/>
                    </a:lnTo>
                    <a:lnTo>
                      <a:pt x="162495" y="41439"/>
                    </a:lnTo>
                    <a:lnTo>
                      <a:pt x="160996" y="43996"/>
                    </a:lnTo>
                    <a:lnTo>
                      <a:pt x="159849" y="46112"/>
                    </a:lnTo>
                    <a:lnTo>
                      <a:pt x="159232" y="45495"/>
                    </a:lnTo>
                    <a:lnTo>
                      <a:pt x="157822" y="47875"/>
                    </a:lnTo>
                    <a:lnTo>
                      <a:pt x="155794" y="48404"/>
                    </a:lnTo>
                    <a:lnTo>
                      <a:pt x="155176" y="49286"/>
                    </a:lnTo>
                    <a:lnTo>
                      <a:pt x="153149" y="49903"/>
                    </a:lnTo>
                    <a:lnTo>
                      <a:pt x="149622" y="46641"/>
                    </a:lnTo>
                    <a:lnTo>
                      <a:pt x="148740" y="49286"/>
                    </a:lnTo>
                    <a:lnTo>
                      <a:pt x="147065" y="50168"/>
                    </a:lnTo>
                    <a:lnTo>
                      <a:pt x="143274" y="51314"/>
                    </a:lnTo>
                    <a:lnTo>
                      <a:pt x="140629" y="51314"/>
                    </a:lnTo>
                    <a:lnTo>
                      <a:pt x="140364" y="54576"/>
                    </a:lnTo>
                    <a:lnTo>
                      <a:pt x="136573" y="53959"/>
                    </a:lnTo>
                    <a:lnTo>
                      <a:pt x="130666" y="55722"/>
                    </a:lnTo>
                    <a:lnTo>
                      <a:pt x="127756" y="57133"/>
                    </a:lnTo>
                    <a:lnTo>
                      <a:pt x="126874" y="58632"/>
                    </a:lnTo>
                    <a:lnTo>
                      <a:pt x="120791" y="60043"/>
                    </a:lnTo>
                    <a:lnTo>
                      <a:pt x="116647" y="60043"/>
                    </a:lnTo>
                    <a:lnTo>
                      <a:pt x="114090" y="61806"/>
                    </a:lnTo>
                    <a:lnTo>
                      <a:pt x="113208" y="61806"/>
                    </a:lnTo>
                    <a:lnTo>
                      <a:pt x="113737" y="63305"/>
                    </a:lnTo>
                    <a:lnTo>
                      <a:pt x="111709" y="62423"/>
                    </a:lnTo>
                    <a:lnTo>
                      <a:pt x="109681" y="63834"/>
                    </a:lnTo>
                    <a:lnTo>
                      <a:pt x="108271" y="62423"/>
                    </a:lnTo>
                    <a:lnTo>
                      <a:pt x="107654" y="63834"/>
                    </a:lnTo>
                    <a:lnTo>
                      <a:pt x="106155" y="63305"/>
                    </a:lnTo>
                    <a:lnTo>
                      <a:pt x="104744" y="65068"/>
                    </a:lnTo>
                    <a:lnTo>
                      <a:pt x="102981" y="63569"/>
                    </a:lnTo>
                    <a:lnTo>
                      <a:pt x="100336" y="65950"/>
                    </a:lnTo>
                    <a:lnTo>
                      <a:pt x="98572" y="66743"/>
                    </a:lnTo>
                    <a:lnTo>
                      <a:pt x="97162" y="68860"/>
                    </a:lnTo>
                    <a:lnTo>
                      <a:pt x="96280" y="66743"/>
                    </a:lnTo>
                    <a:lnTo>
                      <a:pt x="93900" y="63834"/>
                    </a:lnTo>
                    <a:lnTo>
                      <a:pt x="94781" y="68507"/>
                    </a:lnTo>
                    <a:lnTo>
                      <a:pt x="92753" y="69389"/>
                    </a:lnTo>
                    <a:lnTo>
                      <a:pt x="91607" y="68242"/>
                    </a:lnTo>
                    <a:lnTo>
                      <a:pt x="91607" y="69389"/>
                    </a:lnTo>
                    <a:lnTo>
                      <a:pt x="88080" y="68507"/>
                    </a:lnTo>
                    <a:lnTo>
                      <a:pt x="86670" y="69741"/>
                    </a:lnTo>
                    <a:lnTo>
                      <a:pt x="82614" y="68507"/>
                    </a:lnTo>
                    <a:lnTo>
                      <a:pt x="81732" y="69741"/>
                    </a:lnTo>
                    <a:lnTo>
                      <a:pt x="78823" y="68507"/>
                    </a:lnTo>
                    <a:lnTo>
                      <a:pt x="75296" y="67096"/>
                    </a:lnTo>
                    <a:lnTo>
                      <a:pt x="73797" y="68242"/>
                    </a:lnTo>
                    <a:lnTo>
                      <a:pt x="70270" y="67096"/>
                    </a:lnTo>
                    <a:lnTo>
                      <a:pt x="65068" y="64187"/>
                    </a:lnTo>
                    <a:lnTo>
                      <a:pt x="62159" y="66214"/>
                    </a:lnTo>
                    <a:lnTo>
                      <a:pt x="55722" y="63305"/>
                    </a:lnTo>
                    <a:lnTo>
                      <a:pt x="51402" y="62159"/>
                    </a:lnTo>
                    <a:lnTo>
                      <a:pt x="50521" y="61277"/>
                    </a:lnTo>
                    <a:lnTo>
                      <a:pt x="46994" y="59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4" name="Freihandform: Form 2053">
                <a:extLst>
                  <a:ext uri="{FF2B5EF4-FFF2-40B4-BE49-F238E27FC236}">
                    <a16:creationId xmlns:a16="http://schemas.microsoft.com/office/drawing/2014/main" id="{83A019D9-7471-6ABB-17F0-363F135CA179}"/>
                  </a:ext>
                </a:extLst>
              </p:cNvPr>
              <p:cNvSpPr/>
              <p:nvPr/>
            </p:nvSpPr>
            <p:spPr>
              <a:xfrm>
                <a:off x="3042415" y="2198962"/>
                <a:ext cx="897730" cy="478666"/>
              </a:xfrm>
              <a:custGeom>
                <a:avLst/>
                <a:gdLst>
                  <a:gd name="connsiteX0" fmla="*/ 690535 w 897730"/>
                  <a:gd name="connsiteY0" fmla="*/ 191766 h 478666"/>
                  <a:gd name="connsiteX1" fmla="*/ 694590 w 897730"/>
                  <a:gd name="connsiteY1" fmla="*/ 202258 h 478666"/>
                  <a:gd name="connsiteX2" fmla="*/ 686126 w 897730"/>
                  <a:gd name="connsiteY2" fmla="*/ 203140 h 478666"/>
                  <a:gd name="connsiteX3" fmla="*/ 680307 w 897730"/>
                  <a:gd name="connsiteY3" fmla="*/ 204903 h 478666"/>
                  <a:gd name="connsiteX4" fmla="*/ 676516 w 897730"/>
                  <a:gd name="connsiteY4" fmla="*/ 204903 h 478666"/>
                  <a:gd name="connsiteX5" fmla="*/ 673254 w 897730"/>
                  <a:gd name="connsiteY5" fmla="*/ 201729 h 478666"/>
                  <a:gd name="connsiteX6" fmla="*/ 666289 w 897730"/>
                  <a:gd name="connsiteY6" fmla="*/ 197321 h 478666"/>
                  <a:gd name="connsiteX7" fmla="*/ 670697 w 897730"/>
                  <a:gd name="connsiteY7" fmla="*/ 192031 h 478666"/>
                  <a:gd name="connsiteX8" fmla="*/ 682952 w 897730"/>
                  <a:gd name="connsiteY8" fmla="*/ 191766 h 478666"/>
                  <a:gd name="connsiteX9" fmla="*/ 690535 w 897730"/>
                  <a:gd name="connsiteY9" fmla="*/ 191766 h 478666"/>
                  <a:gd name="connsiteX10" fmla="*/ 639485 w 897730"/>
                  <a:gd name="connsiteY10" fmla="*/ 232236 h 478666"/>
                  <a:gd name="connsiteX11" fmla="*/ 638604 w 897730"/>
                  <a:gd name="connsiteY11" fmla="*/ 238319 h 478666"/>
                  <a:gd name="connsiteX12" fmla="*/ 631550 w 897730"/>
                  <a:gd name="connsiteY12" fmla="*/ 238584 h 478666"/>
                  <a:gd name="connsiteX13" fmla="*/ 629522 w 897730"/>
                  <a:gd name="connsiteY13" fmla="*/ 241493 h 478666"/>
                  <a:gd name="connsiteX14" fmla="*/ 626613 w 897730"/>
                  <a:gd name="connsiteY14" fmla="*/ 240347 h 478666"/>
                  <a:gd name="connsiteX15" fmla="*/ 619295 w 897730"/>
                  <a:gd name="connsiteY15" fmla="*/ 241229 h 478666"/>
                  <a:gd name="connsiteX16" fmla="*/ 619030 w 897730"/>
                  <a:gd name="connsiteY16" fmla="*/ 246431 h 478666"/>
                  <a:gd name="connsiteX17" fmla="*/ 612330 w 897730"/>
                  <a:gd name="connsiteY17" fmla="*/ 245902 h 478666"/>
                  <a:gd name="connsiteX18" fmla="*/ 603336 w 897730"/>
                  <a:gd name="connsiteY18" fmla="*/ 247665 h 478666"/>
                  <a:gd name="connsiteX19" fmla="*/ 597517 w 897730"/>
                  <a:gd name="connsiteY19" fmla="*/ 247048 h 478666"/>
                  <a:gd name="connsiteX20" fmla="*/ 593726 w 897730"/>
                  <a:gd name="connsiteY20" fmla="*/ 243257 h 478666"/>
                  <a:gd name="connsiteX21" fmla="*/ 599281 w 897730"/>
                  <a:gd name="connsiteY21" fmla="*/ 239730 h 478666"/>
                  <a:gd name="connsiteX22" fmla="*/ 603336 w 897730"/>
                  <a:gd name="connsiteY22" fmla="*/ 234792 h 478666"/>
                  <a:gd name="connsiteX23" fmla="*/ 608626 w 897730"/>
                  <a:gd name="connsiteY23" fmla="*/ 231266 h 478666"/>
                  <a:gd name="connsiteX24" fmla="*/ 609244 w 897730"/>
                  <a:gd name="connsiteY24" fmla="*/ 228621 h 478666"/>
                  <a:gd name="connsiteX25" fmla="*/ 616826 w 897730"/>
                  <a:gd name="connsiteY25" fmla="*/ 221920 h 478666"/>
                  <a:gd name="connsiteX26" fmla="*/ 622645 w 897730"/>
                  <a:gd name="connsiteY26" fmla="*/ 222802 h 478666"/>
                  <a:gd name="connsiteX27" fmla="*/ 629346 w 897730"/>
                  <a:gd name="connsiteY27" fmla="*/ 224829 h 478666"/>
                  <a:gd name="connsiteX28" fmla="*/ 634901 w 897730"/>
                  <a:gd name="connsiteY28" fmla="*/ 228885 h 478666"/>
                  <a:gd name="connsiteX29" fmla="*/ 634283 w 897730"/>
                  <a:gd name="connsiteY29" fmla="*/ 232412 h 478666"/>
                  <a:gd name="connsiteX30" fmla="*/ 639485 w 897730"/>
                  <a:gd name="connsiteY30" fmla="*/ 232236 h 478666"/>
                  <a:gd name="connsiteX31" fmla="*/ 672989 w 897730"/>
                  <a:gd name="connsiteY31" fmla="*/ 184977 h 478666"/>
                  <a:gd name="connsiteX32" fmla="*/ 676781 w 897730"/>
                  <a:gd name="connsiteY32" fmla="*/ 186123 h 478666"/>
                  <a:gd name="connsiteX33" fmla="*/ 675017 w 897730"/>
                  <a:gd name="connsiteY33" fmla="*/ 183478 h 478666"/>
                  <a:gd name="connsiteX34" fmla="*/ 672989 w 897730"/>
                  <a:gd name="connsiteY34" fmla="*/ 184977 h 478666"/>
                  <a:gd name="connsiteX35" fmla="*/ 698734 w 897730"/>
                  <a:gd name="connsiteY35" fmla="*/ 206050 h 478666"/>
                  <a:gd name="connsiteX36" fmla="*/ 695825 w 897730"/>
                  <a:gd name="connsiteY36" fmla="*/ 206314 h 478666"/>
                  <a:gd name="connsiteX37" fmla="*/ 692915 w 897730"/>
                  <a:gd name="connsiteY37" fmla="*/ 206050 h 478666"/>
                  <a:gd name="connsiteX38" fmla="*/ 696089 w 897730"/>
                  <a:gd name="connsiteY38" fmla="*/ 204286 h 478666"/>
                  <a:gd name="connsiteX39" fmla="*/ 697853 w 897730"/>
                  <a:gd name="connsiteY39" fmla="*/ 202787 h 478666"/>
                  <a:gd name="connsiteX40" fmla="*/ 700145 w 897730"/>
                  <a:gd name="connsiteY40" fmla="*/ 203052 h 478666"/>
                  <a:gd name="connsiteX41" fmla="*/ 698734 w 897730"/>
                  <a:gd name="connsiteY41" fmla="*/ 206050 h 478666"/>
                  <a:gd name="connsiteX42" fmla="*/ 754986 w 897730"/>
                  <a:gd name="connsiteY42" fmla="*/ 163464 h 478666"/>
                  <a:gd name="connsiteX43" fmla="*/ 750930 w 897730"/>
                  <a:gd name="connsiteY43" fmla="*/ 166374 h 478666"/>
                  <a:gd name="connsiteX44" fmla="*/ 744494 w 897730"/>
                  <a:gd name="connsiteY44" fmla="*/ 164875 h 478666"/>
                  <a:gd name="connsiteX45" fmla="*/ 748021 w 897730"/>
                  <a:gd name="connsiteY45" fmla="*/ 161084 h 478666"/>
                  <a:gd name="connsiteX46" fmla="*/ 750313 w 897730"/>
                  <a:gd name="connsiteY46" fmla="*/ 163464 h 478666"/>
                  <a:gd name="connsiteX47" fmla="*/ 754986 w 897730"/>
                  <a:gd name="connsiteY47" fmla="*/ 163464 h 478666"/>
                  <a:gd name="connsiteX48" fmla="*/ 782142 w 897730"/>
                  <a:gd name="connsiteY48" fmla="*/ 152090 h 478666"/>
                  <a:gd name="connsiteX49" fmla="*/ 772796 w 897730"/>
                  <a:gd name="connsiteY49" fmla="*/ 152972 h 478666"/>
                  <a:gd name="connsiteX50" fmla="*/ 763185 w 897730"/>
                  <a:gd name="connsiteY50" fmla="*/ 152090 h 478666"/>
                  <a:gd name="connsiteX51" fmla="*/ 765830 w 897730"/>
                  <a:gd name="connsiteY51" fmla="*/ 146536 h 478666"/>
                  <a:gd name="connsiteX52" fmla="*/ 773413 w 897730"/>
                  <a:gd name="connsiteY52" fmla="*/ 144773 h 478666"/>
                  <a:gd name="connsiteX53" fmla="*/ 782142 w 897730"/>
                  <a:gd name="connsiteY53" fmla="*/ 152090 h 478666"/>
                  <a:gd name="connsiteX54" fmla="*/ 771297 w 897730"/>
                  <a:gd name="connsiteY54" fmla="*/ 123171 h 478666"/>
                  <a:gd name="connsiteX55" fmla="*/ 771297 w 897730"/>
                  <a:gd name="connsiteY55" fmla="*/ 127580 h 478666"/>
                  <a:gd name="connsiteX56" fmla="*/ 768652 w 897730"/>
                  <a:gd name="connsiteY56" fmla="*/ 125287 h 478666"/>
                  <a:gd name="connsiteX57" fmla="*/ 768387 w 897730"/>
                  <a:gd name="connsiteY57" fmla="*/ 121496 h 478666"/>
                  <a:gd name="connsiteX58" fmla="*/ 771297 w 897730"/>
                  <a:gd name="connsiteY58" fmla="*/ 123171 h 478666"/>
                  <a:gd name="connsiteX59" fmla="*/ 766359 w 897730"/>
                  <a:gd name="connsiteY59" fmla="*/ 22836 h 478666"/>
                  <a:gd name="connsiteX60" fmla="*/ 764596 w 897730"/>
                  <a:gd name="connsiteY60" fmla="*/ 21337 h 478666"/>
                  <a:gd name="connsiteX61" fmla="*/ 766624 w 897730"/>
                  <a:gd name="connsiteY61" fmla="*/ 21337 h 478666"/>
                  <a:gd name="connsiteX62" fmla="*/ 768123 w 897730"/>
                  <a:gd name="connsiteY62" fmla="*/ 22218 h 478666"/>
                  <a:gd name="connsiteX63" fmla="*/ 766359 w 897730"/>
                  <a:gd name="connsiteY63" fmla="*/ 22836 h 478666"/>
                  <a:gd name="connsiteX64" fmla="*/ 804007 w 897730"/>
                  <a:gd name="connsiteY64" fmla="*/ 77147 h 478666"/>
                  <a:gd name="connsiteX65" fmla="*/ 801980 w 897730"/>
                  <a:gd name="connsiteY65" fmla="*/ 78294 h 478666"/>
                  <a:gd name="connsiteX66" fmla="*/ 798806 w 897730"/>
                  <a:gd name="connsiteY66" fmla="*/ 79440 h 478666"/>
                  <a:gd name="connsiteX67" fmla="*/ 796160 w 897730"/>
                  <a:gd name="connsiteY67" fmla="*/ 80057 h 478666"/>
                  <a:gd name="connsiteX68" fmla="*/ 796160 w 897730"/>
                  <a:gd name="connsiteY68" fmla="*/ 79704 h 478666"/>
                  <a:gd name="connsiteX69" fmla="*/ 797307 w 897730"/>
                  <a:gd name="connsiteY69" fmla="*/ 77059 h 478666"/>
                  <a:gd name="connsiteX70" fmla="*/ 798717 w 897730"/>
                  <a:gd name="connsiteY70" fmla="*/ 75560 h 478666"/>
                  <a:gd name="connsiteX71" fmla="*/ 801627 w 897730"/>
                  <a:gd name="connsiteY71" fmla="*/ 75825 h 478666"/>
                  <a:gd name="connsiteX72" fmla="*/ 804007 w 897730"/>
                  <a:gd name="connsiteY72" fmla="*/ 77147 h 478666"/>
                  <a:gd name="connsiteX73" fmla="*/ 788843 w 897730"/>
                  <a:gd name="connsiteY73" fmla="*/ 97779 h 478666"/>
                  <a:gd name="connsiteX74" fmla="*/ 795279 w 897730"/>
                  <a:gd name="connsiteY74" fmla="*/ 95751 h 478666"/>
                  <a:gd name="connsiteX75" fmla="*/ 795014 w 897730"/>
                  <a:gd name="connsiteY75" fmla="*/ 97779 h 478666"/>
                  <a:gd name="connsiteX76" fmla="*/ 794133 w 897730"/>
                  <a:gd name="connsiteY76" fmla="*/ 99542 h 478666"/>
                  <a:gd name="connsiteX77" fmla="*/ 794662 w 897730"/>
                  <a:gd name="connsiteY77" fmla="*/ 102452 h 478666"/>
                  <a:gd name="connsiteX78" fmla="*/ 791487 w 897730"/>
                  <a:gd name="connsiteY78" fmla="*/ 102452 h 478666"/>
                  <a:gd name="connsiteX79" fmla="*/ 790077 w 897730"/>
                  <a:gd name="connsiteY79" fmla="*/ 102452 h 478666"/>
                  <a:gd name="connsiteX80" fmla="*/ 790958 w 897730"/>
                  <a:gd name="connsiteY80" fmla="*/ 99542 h 478666"/>
                  <a:gd name="connsiteX81" fmla="*/ 788843 w 897730"/>
                  <a:gd name="connsiteY81" fmla="*/ 97779 h 478666"/>
                  <a:gd name="connsiteX82" fmla="*/ 174309 w 897730"/>
                  <a:gd name="connsiteY82" fmla="*/ 246519 h 478666"/>
                  <a:gd name="connsiteX83" fmla="*/ 177835 w 897730"/>
                  <a:gd name="connsiteY83" fmla="*/ 247136 h 478666"/>
                  <a:gd name="connsiteX84" fmla="*/ 185418 w 897730"/>
                  <a:gd name="connsiteY84" fmla="*/ 248018 h 478666"/>
                  <a:gd name="connsiteX85" fmla="*/ 194147 w 897730"/>
                  <a:gd name="connsiteY85" fmla="*/ 250927 h 478666"/>
                  <a:gd name="connsiteX86" fmla="*/ 199701 w 897730"/>
                  <a:gd name="connsiteY86" fmla="*/ 254718 h 478666"/>
                  <a:gd name="connsiteX87" fmla="*/ 209047 w 897730"/>
                  <a:gd name="connsiteY87" fmla="*/ 256746 h 478666"/>
                  <a:gd name="connsiteX88" fmla="*/ 205256 w 897730"/>
                  <a:gd name="connsiteY88" fmla="*/ 260802 h 478666"/>
                  <a:gd name="connsiteX89" fmla="*/ 198820 w 897730"/>
                  <a:gd name="connsiteY89" fmla="*/ 263976 h 478666"/>
                  <a:gd name="connsiteX90" fmla="*/ 187975 w 897730"/>
                  <a:gd name="connsiteY90" fmla="*/ 265122 h 478666"/>
                  <a:gd name="connsiteX91" fmla="*/ 181539 w 897730"/>
                  <a:gd name="connsiteY91" fmla="*/ 267150 h 478666"/>
                  <a:gd name="connsiteX92" fmla="*/ 171928 w 897730"/>
                  <a:gd name="connsiteY92" fmla="*/ 267767 h 478666"/>
                  <a:gd name="connsiteX93" fmla="*/ 168402 w 897730"/>
                  <a:gd name="connsiteY93" fmla="*/ 262565 h 478666"/>
                  <a:gd name="connsiteX94" fmla="*/ 160819 w 897730"/>
                  <a:gd name="connsiteY94" fmla="*/ 261067 h 478666"/>
                  <a:gd name="connsiteX95" fmla="*/ 161965 w 897730"/>
                  <a:gd name="connsiteY95" fmla="*/ 256658 h 478666"/>
                  <a:gd name="connsiteX96" fmla="*/ 165756 w 897730"/>
                  <a:gd name="connsiteY96" fmla="*/ 254630 h 478666"/>
                  <a:gd name="connsiteX97" fmla="*/ 175984 w 897730"/>
                  <a:gd name="connsiteY97" fmla="*/ 248547 h 478666"/>
                  <a:gd name="connsiteX98" fmla="*/ 174309 w 897730"/>
                  <a:gd name="connsiteY98" fmla="*/ 246519 h 478666"/>
                  <a:gd name="connsiteX99" fmla="*/ 423120 w 897730"/>
                  <a:gd name="connsiteY99" fmla="*/ 10933 h 478666"/>
                  <a:gd name="connsiteX100" fmla="*/ 426294 w 897730"/>
                  <a:gd name="connsiteY100" fmla="*/ 8905 h 478666"/>
                  <a:gd name="connsiteX101" fmla="*/ 427176 w 897730"/>
                  <a:gd name="connsiteY101" fmla="*/ 10051 h 478666"/>
                  <a:gd name="connsiteX102" fmla="*/ 430967 w 897730"/>
                  <a:gd name="connsiteY102" fmla="*/ 12344 h 478666"/>
                  <a:gd name="connsiteX103" fmla="*/ 424002 w 897730"/>
                  <a:gd name="connsiteY103" fmla="*/ 14989 h 478666"/>
                  <a:gd name="connsiteX104" fmla="*/ 422238 w 897730"/>
                  <a:gd name="connsiteY104" fmla="*/ 14107 h 478666"/>
                  <a:gd name="connsiteX105" fmla="*/ 417830 w 897730"/>
                  <a:gd name="connsiteY105" fmla="*/ 14107 h 478666"/>
                  <a:gd name="connsiteX106" fmla="*/ 421886 w 897730"/>
                  <a:gd name="connsiteY106" fmla="*/ 12344 h 478666"/>
                  <a:gd name="connsiteX107" fmla="*/ 423120 w 897730"/>
                  <a:gd name="connsiteY107" fmla="*/ 10933 h 478666"/>
                  <a:gd name="connsiteX108" fmla="*/ 443751 w 897730"/>
                  <a:gd name="connsiteY108" fmla="*/ 338126 h 478666"/>
                  <a:gd name="connsiteX109" fmla="*/ 446661 w 897730"/>
                  <a:gd name="connsiteY109" fmla="*/ 333188 h 478666"/>
                  <a:gd name="connsiteX110" fmla="*/ 452833 w 897730"/>
                  <a:gd name="connsiteY110" fmla="*/ 334335 h 478666"/>
                  <a:gd name="connsiteX111" fmla="*/ 458652 w 897730"/>
                  <a:gd name="connsiteY111" fmla="*/ 329926 h 478666"/>
                  <a:gd name="connsiteX112" fmla="*/ 464471 w 897730"/>
                  <a:gd name="connsiteY112" fmla="*/ 329926 h 478666"/>
                  <a:gd name="connsiteX113" fmla="*/ 470907 w 897730"/>
                  <a:gd name="connsiteY113" fmla="*/ 325518 h 478666"/>
                  <a:gd name="connsiteX114" fmla="*/ 470555 w 897730"/>
                  <a:gd name="connsiteY114" fmla="*/ 323490 h 478666"/>
                  <a:gd name="connsiteX115" fmla="*/ 472935 w 897730"/>
                  <a:gd name="connsiteY115" fmla="*/ 324636 h 478666"/>
                  <a:gd name="connsiteX116" fmla="*/ 472671 w 897730"/>
                  <a:gd name="connsiteY116" fmla="*/ 317671 h 478666"/>
                  <a:gd name="connsiteX117" fmla="*/ 473552 w 897730"/>
                  <a:gd name="connsiteY117" fmla="*/ 321462 h 478666"/>
                  <a:gd name="connsiteX118" fmla="*/ 477079 w 897730"/>
                  <a:gd name="connsiteY118" fmla="*/ 322961 h 478666"/>
                  <a:gd name="connsiteX119" fmla="*/ 478578 w 897730"/>
                  <a:gd name="connsiteY119" fmla="*/ 323225 h 478666"/>
                  <a:gd name="connsiteX120" fmla="*/ 481223 w 897730"/>
                  <a:gd name="connsiteY120" fmla="*/ 313879 h 478666"/>
                  <a:gd name="connsiteX121" fmla="*/ 488188 w 897730"/>
                  <a:gd name="connsiteY121" fmla="*/ 319699 h 478666"/>
                  <a:gd name="connsiteX122" fmla="*/ 488453 w 897730"/>
                  <a:gd name="connsiteY122" fmla="*/ 314144 h 478666"/>
                  <a:gd name="connsiteX123" fmla="*/ 491979 w 897730"/>
                  <a:gd name="connsiteY123" fmla="*/ 307179 h 478666"/>
                  <a:gd name="connsiteX124" fmla="*/ 490833 w 897730"/>
                  <a:gd name="connsiteY124" fmla="*/ 304005 h 478666"/>
                  <a:gd name="connsiteX125" fmla="*/ 494360 w 897730"/>
                  <a:gd name="connsiteY125" fmla="*/ 304886 h 478666"/>
                  <a:gd name="connsiteX126" fmla="*/ 501325 w 897730"/>
                  <a:gd name="connsiteY126" fmla="*/ 305151 h 478666"/>
                  <a:gd name="connsiteX127" fmla="*/ 506527 w 897730"/>
                  <a:gd name="connsiteY127" fmla="*/ 299861 h 478666"/>
                  <a:gd name="connsiteX128" fmla="*/ 511817 w 897730"/>
                  <a:gd name="connsiteY128" fmla="*/ 296069 h 478666"/>
                  <a:gd name="connsiteX129" fmla="*/ 514992 w 897730"/>
                  <a:gd name="connsiteY129" fmla="*/ 300742 h 478666"/>
                  <a:gd name="connsiteX130" fmla="*/ 515256 w 897730"/>
                  <a:gd name="connsiteY130" fmla="*/ 294042 h 478666"/>
                  <a:gd name="connsiteX131" fmla="*/ 515256 w 897730"/>
                  <a:gd name="connsiteY131" fmla="*/ 289633 h 478666"/>
                  <a:gd name="connsiteX132" fmla="*/ 519929 w 897730"/>
                  <a:gd name="connsiteY132" fmla="*/ 291397 h 478666"/>
                  <a:gd name="connsiteX133" fmla="*/ 530421 w 897730"/>
                  <a:gd name="connsiteY133" fmla="*/ 291661 h 478666"/>
                  <a:gd name="connsiteX134" fmla="*/ 533948 w 897730"/>
                  <a:gd name="connsiteY134" fmla="*/ 291044 h 478666"/>
                  <a:gd name="connsiteX135" fmla="*/ 534212 w 897730"/>
                  <a:gd name="connsiteY135" fmla="*/ 293336 h 478666"/>
                  <a:gd name="connsiteX136" fmla="*/ 540296 w 897730"/>
                  <a:gd name="connsiteY136" fmla="*/ 295100 h 478666"/>
                  <a:gd name="connsiteX137" fmla="*/ 544352 w 897730"/>
                  <a:gd name="connsiteY137" fmla="*/ 292719 h 478666"/>
                  <a:gd name="connsiteX138" fmla="*/ 544352 w 897730"/>
                  <a:gd name="connsiteY138" fmla="*/ 295364 h 478666"/>
                  <a:gd name="connsiteX139" fmla="*/ 551934 w 897730"/>
                  <a:gd name="connsiteY139" fmla="*/ 293601 h 478666"/>
                  <a:gd name="connsiteX140" fmla="*/ 559516 w 897730"/>
                  <a:gd name="connsiteY140" fmla="*/ 290691 h 478666"/>
                  <a:gd name="connsiteX141" fmla="*/ 564807 w 897730"/>
                  <a:gd name="connsiteY141" fmla="*/ 287164 h 478666"/>
                  <a:gd name="connsiteX142" fmla="*/ 571772 w 897730"/>
                  <a:gd name="connsiteY142" fmla="*/ 289457 h 478666"/>
                  <a:gd name="connsiteX143" fmla="*/ 572037 w 897730"/>
                  <a:gd name="connsiteY143" fmla="*/ 292102 h 478666"/>
                  <a:gd name="connsiteX144" fmla="*/ 573800 w 897730"/>
                  <a:gd name="connsiteY144" fmla="*/ 289192 h 478666"/>
                  <a:gd name="connsiteX145" fmla="*/ 576445 w 897730"/>
                  <a:gd name="connsiteY145" fmla="*/ 287782 h 478666"/>
                  <a:gd name="connsiteX146" fmla="*/ 582881 w 897730"/>
                  <a:gd name="connsiteY146" fmla="*/ 290691 h 478666"/>
                  <a:gd name="connsiteX147" fmla="*/ 586055 w 897730"/>
                  <a:gd name="connsiteY147" fmla="*/ 282227 h 478666"/>
                  <a:gd name="connsiteX148" fmla="*/ 596283 w 897730"/>
                  <a:gd name="connsiteY148" fmla="*/ 284255 h 478666"/>
                  <a:gd name="connsiteX149" fmla="*/ 605011 w 897730"/>
                  <a:gd name="connsiteY149" fmla="*/ 282491 h 478666"/>
                  <a:gd name="connsiteX150" fmla="*/ 607039 w 897730"/>
                  <a:gd name="connsiteY150" fmla="*/ 277554 h 478666"/>
                  <a:gd name="connsiteX151" fmla="*/ 610213 w 897730"/>
                  <a:gd name="connsiteY151" fmla="*/ 280816 h 478666"/>
                  <a:gd name="connsiteX152" fmla="*/ 615503 w 897730"/>
                  <a:gd name="connsiteY152" fmla="*/ 279670 h 478666"/>
                  <a:gd name="connsiteX153" fmla="*/ 624849 w 897730"/>
                  <a:gd name="connsiteY153" fmla="*/ 278524 h 478666"/>
                  <a:gd name="connsiteX154" fmla="*/ 631550 w 897730"/>
                  <a:gd name="connsiteY154" fmla="*/ 273851 h 478666"/>
                  <a:gd name="connsiteX155" fmla="*/ 637105 w 897730"/>
                  <a:gd name="connsiteY155" fmla="*/ 270324 h 478666"/>
                  <a:gd name="connsiteX156" fmla="*/ 638868 w 897730"/>
                  <a:gd name="connsiteY156" fmla="*/ 269178 h 478666"/>
                  <a:gd name="connsiteX157" fmla="*/ 640896 w 897730"/>
                  <a:gd name="connsiteY157" fmla="*/ 269795 h 478666"/>
                  <a:gd name="connsiteX158" fmla="*/ 643541 w 897730"/>
                  <a:gd name="connsiteY158" fmla="*/ 272969 h 478666"/>
                  <a:gd name="connsiteX159" fmla="*/ 643805 w 897730"/>
                  <a:gd name="connsiteY159" fmla="*/ 268561 h 478666"/>
                  <a:gd name="connsiteX160" fmla="*/ 644070 w 897730"/>
                  <a:gd name="connsiteY160" fmla="*/ 265916 h 478666"/>
                  <a:gd name="connsiteX161" fmla="*/ 645833 w 897730"/>
                  <a:gd name="connsiteY161" fmla="*/ 267415 h 478666"/>
                  <a:gd name="connsiteX162" fmla="*/ 648478 w 897730"/>
                  <a:gd name="connsiteY162" fmla="*/ 270589 h 478666"/>
                  <a:gd name="connsiteX163" fmla="*/ 650859 w 897730"/>
                  <a:gd name="connsiteY163" fmla="*/ 267679 h 478666"/>
                  <a:gd name="connsiteX164" fmla="*/ 653504 w 897730"/>
                  <a:gd name="connsiteY164" fmla="*/ 267679 h 478666"/>
                  <a:gd name="connsiteX165" fmla="*/ 655796 w 897730"/>
                  <a:gd name="connsiteY165" fmla="*/ 267415 h 478666"/>
                  <a:gd name="connsiteX166" fmla="*/ 655532 w 897730"/>
                  <a:gd name="connsiteY166" fmla="*/ 263623 h 478666"/>
                  <a:gd name="connsiteX167" fmla="*/ 659323 w 897730"/>
                  <a:gd name="connsiteY167" fmla="*/ 263888 h 478666"/>
                  <a:gd name="connsiteX168" fmla="*/ 662497 w 897730"/>
                  <a:gd name="connsiteY168" fmla="*/ 264770 h 478666"/>
                  <a:gd name="connsiteX169" fmla="*/ 661616 w 897730"/>
                  <a:gd name="connsiteY169" fmla="*/ 258333 h 478666"/>
                  <a:gd name="connsiteX170" fmla="*/ 667435 w 897730"/>
                  <a:gd name="connsiteY170" fmla="*/ 258951 h 478666"/>
                  <a:gd name="connsiteX171" fmla="*/ 675899 w 897730"/>
                  <a:gd name="connsiteY171" fmla="*/ 255776 h 478666"/>
                  <a:gd name="connsiteX172" fmla="*/ 677045 w 897730"/>
                  <a:gd name="connsiteY172" fmla="*/ 254630 h 478666"/>
                  <a:gd name="connsiteX173" fmla="*/ 671755 w 897730"/>
                  <a:gd name="connsiteY173" fmla="*/ 250839 h 478666"/>
                  <a:gd name="connsiteX174" fmla="*/ 653063 w 897730"/>
                  <a:gd name="connsiteY174" fmla="*/ 247929 h 478666"/>
                  <a:gd name="connsiteX175" fmla="*/ 642307 w 897730"/>
                  <a:gd name="connsiteY175" fmla="*/ 252602 h 478666"/>
                  <a:gd name="connsiteX176" fmla="*/ 628023 w 897730"/>
                  <a:gd name="connsiteY176" fmla="*/ 252602 h 478666"/>
                  <a:gd name="connsiteX177" fmla="*/ 608186 w 897730"/>
                  <a:gd name="connsiteY177" fmla="*/ 249693 h 478666"/>
                  <a:gd name="connsiteX178" fmla="*/ 597429 w 897730"/>
                  <a:gd name="connsiteY178" fmla="*/ 252602 h 478666"/>
                  <a:gd name="connsiteX179" fmla="*/ 585438 w 897730"/>
                  <a:gd name="connsiteY179" fmla="*/ 250575 h 478666"/>
                  <a:gd name="connsiteX180" fmla="*/ 586937 w 897730"/>
                  <a:gd name="connsiteY180" fmla="*/ 244755 h 478666"/>
                  <a:gd name="connsiteX181" fmla="*/ 593021 w 897730"/>
                  <a:gd name="connsiteY181" fmla="*/ 240083 h 478666"/>
                  <a:gd name="connsiteX182" fmla="*/ 596547 w 897730"/>
                  <a:gd name="connsiteY182" fmla="*/ 233382 h 478666"/>
                  <a:gd name="connsiteX183" fmla="*/ 603248 w 897730"/>
                  <a:gd name="connsiteY183" fmla="*/ 229855 h 478666"/>
                  <a:gd name="connsiteX184" fmla="*/ 602631 w 897730"/>
                  <a:gd name="connsiteY184" fmla="*/ 224918 h 478666"/>
                  <a:gd name="connsiteX185" fmla="*/ 605540 w 897730"/>
                  <a:gd name="connsiteY185" fmla="*/ 223154 h 478666"/>
                  <a:gd name="connsiteX186" fmla="*/ 607568 w 897730"/>
                  <a:gd name="connsiteY186" fmla="*/ 222008 h 478666"/>
                  <a:gd name="connsiteX187" fmla="*/ 610213 w 897730"/>
                  <a:gd name="connsiteY187" fmla="*/ 218834 h 478666"/>
                  <a:gd name="connsiteX188" fmla="*/ 604659 w 897730"/>
                  <a:gd name="connsiteY188" fmla="*/ 215043 h 478666"/>
                  <a:gd name="connsiteX189" fmla="*/ 609861 w 897730"/>
                  <a:gd name="connsiteY189" fmla="*/ 213896 h 478666"/>
                  <a:gd name="connsiteX190" fmla="*/ 614798 w 897730"/>
                  <a:gd name="connsiteY190" fmla="*/ 215924 h 478666"/>
                  <a:gd name="connsiteX191" fmla="*/ 622645 w 897730"/>
                  <a:gd name="connsiteY191" fmla="*/ 218834 h 478666"/>
                  <a:gd name="connsiteX192" fmla="*/ 625290 w 897730"/>
                  <a:gd name="connsiteY192" fmla="*/ 217688 h 478666"/>
                  <a:gd name="connsiteX193" fmla="*/ 636047 w 897730"/>
                  <a:gd name="connsiteY193" fmla="*/ 225270 h 478666"/>
                  <a:gd name="connsiteX194" fmla="*/ 648038 w 897730"/>
                  <a:gd name="connsiteY194" fmla="*/ 227298 h 478666"/>
                  <a:gd name="connsiteX195" fmla="*/ 657031 w 897730"/>
                  <a:gd name="connsiteY195" fmla="*/ 229943 h 478666"/>
                  <a:gd name="connsiteX196" fmla="*/ 655003 w 897730"/>
                  <a:gd name="connsiteY196" fmla="*/ 233999 h 478666"/>
                  <a:gd name="connsiteX197" fmla="*/ 660557 w 897730"/>
                  <a:gd name="connsiteY197" fmla="*/ 239554 h 478666"/>
                  <a:gd name="connsiteX198" fmla="*/ 668140 w 897730"/>
                  <a:gd name="connsiteY198" fmla="*/ 244844 h 478666"/>
                  <a:gd name="connsiteX199" fmla="*/ 681012 w 897730"/>
                  <a:gd name="connsiteY199" fmla="*/ 244579 h 478666"/>
                  <a:gd name="connsiteX200" fmla="*/ 690358 w 897730"/>
                  <a:gd name="connsiteY200" fmla="*/ 243433 h 478666"/>
                  <a:gd name="connsiteX201" fmla="*/ 696177 w 897730"/>
                  <a:gd name="connsiteY201" fmla="*/ 245813 h 478666"/>
                  <a:gd name="connsiteX202" fmla="*/ 694150 w 897730"/>
                  <a:gd name="connsiteY202" fmla="*/ 240876 h 478666"/>
                  <a:gd name="connsiteX203" fmla="*/ 696530 w 897730"/>
                  <a:gd name="connsiteY203" fmla="*/ 241493 h 478666"/>
                  <a:gd name="connsiteX204" fmla="*/ 694767 w 897730"/>
                  <a:gd name="connsiteY204" fmla="*/ 239113 h 478666"/>
                  <a:gd name="connsiteX205" fmla="*/ 695913 w 897730"/>
                  <a:gd name="connsiteY205" fmla="*/ 238848 h 478666"/>
                  <a:gd name="connsiteX206" fmla="*/ 698823 w 897730"/>
                  <a:gd name="connsiteY206" fmla="*/ 234175 h 478666"/>
                  <a:gd name="connsiteX207" fmla="*/ 699087 w 897730"/>
                  <a:gd name="connsiteY207" fmla="*/ 228621 h 478666"/>
                  <a:gd name="connsiteX208" fmla="*/ 697676 w 897730"/>
                  <a:gd name="connsiteY208" fmla="*/ 223948 h 478666"/>
                  <a:gd name="connsiteX209" fmla="*/ 694414 w 897730"/>
                  <a:gd name="connsiteY209" fmla="*/ 220156 h 478666"/>
                  <a:gd name="connsiteX210" fmla="*/ 690006 w 897730"/>
                  <a:gd name="connsiteY210" fmla="*/ 216365 h 478666"/>
                  <a:gd name="connsiteX211" fmla="*/ 686479 w 897730"/>
                  <a:gd name="connsiteY211" fmla="*/ 214337 h 478666"/>
                  <a:gd name="connsiteX212" fmla="*/ 681806 w 897730"/>
                  <a:gd name="connsiteY212" fmla="*/ 214602 h 478666"/>
                  <a:gd name="connsiteX213" fmla="*/ 681189 w 897730"/>
                  <a:gd name="connsiteY213" fmla="*/ 211692 h 478666"/>
                  <a:gd name="connsiteX214" fmla="*/ 672989 w 897730"/>
                  <a:gd name="connsiteY214" fmla="*/ 209047 h 478666"/>
                  <a:gd name="connsiteX215" fmla="*/ 667435 w 897730"/>
                  <a:gd name="connsiteY215" fmla="*/ 206755 h 478666"/>
                  <a:gd name="connsiteX216" fmla="*/ 662497 w 897730"/>
                  <a:gd name="connsiteY216" fmla="*/ 202964 h 478666"/>
                  <a:gd name="connsiteX217" fmla="*/ 661616 w 897730"/>
                  <a:gd name="connsiteY217" fmla="*/ 204727 h 478666"/>
                  <a:gd name="connsiteX218" fmla="*/ 657207 w 897730"/>
                  <a:gd name="connsiteY218" fmla="*/ 203845 h 478666"/>
                  <a:gd name="connsiteX219" fmla="*/ 655444 w 897730"/>
                  <a:gd name="connsiteY219" fmla="*/ 205609 h 478666"/>
                  <a:gd name="connsiteX220" fmla="*/ 655179 w 897730"/>
                  <a:gd name="connsiteY220" fmla="*/ 203581 h 478666"/>
                  <a:gd name="connsiteX221" fmla="*/ 659235 w 897730"/>
                  <a:gd name="connsiteY221" fmla="*/ 195381 h 478666"/>
                  <a:gd name="connsiteX222" fmla="*/ 656325 w 897730"/>
                  <a:gd name="connsiteY222" fmla="*/ 192472 h 478666"/>
                  <a:gd name="connsiteX223" fmla="*/ 643188 w 897730"/>
                  <a:gd name="connsiteY223" fmla="*/ 194764 h 478666"/>
                  <a:gd name="connsiteX224" fmla="*/ 641160 w 897730"/>
                  <a:gd name="connsiteY224" fmla="*/ 195646 h 478666"/>
                  <a:gd name="connsiteX225" fmla="*/ 635870 w 897730"/>
                  <a:gd name="connsiteY225" fmla="*/ 196792 h 478666"/>
                  <a:gd name="connsiteX226" fmla="*/ 634724 w 897730"/>
                  <a:gd name="connsiteY226" fmla="*/ 194764 h 478666"/>
                  <a:gd name="connsiteX227" fmla="*/ 638515 w 897730"/>
                  <a:gd name="connsiteY227" fmla="*/ 194499 h 478666"/>
                  <a:gd name="connsiteX228" fmla="*/ 638515 w 897730"/>
                  <a:gd name="connsiteY228" fmla="*/ 192736 h 478666"/>
                  <a:gd name="connsiteX229" fmla="*/ 641160 w 897730"/>
                  <a:gd name="connsiteY229" fmla="*/ 189562 h 478666"/>
                  <a:gd name="connsiteX230" fmla="*/ 634195 w 897730"/>
                  <a:gd name="connsiteY230" fmla="*/ 187799 h 478666"/>
                  <a:gd name="connsiteX231" fmla="*/ 631903 w 897730"/>
                  <a:gd name="connsiteY231" fmla="*/ 186035 h 478666"/>
                  <a:gd name="connsiteX232" fmla="*/ 628993 w 897730"/>
                  <a:gd name="connsiteY232" fmla="*/ 186917 h 478666"/>
                  <a:gd name="connsiteX233" fmla="*/ 627230 w 897730"/>
                  <a:gd name="connsiteY233" fmla="*/ 186300 h 478666"/>
                  <a:gd name="connsiteX234" fmla="*/ 628993 w 897730"/>
                  <a:gd name="connsiteY234" fmla="*/ 184801 h 478666"/>
                  <a:gd name="connsiteX235" fmla="*/ 634283 w 897730"/>
                  <a:gd name="connsiteY235" fmla="*/ 184536 h 478666"/>
                  <a:gd name="connsiteX236" fmla="*/ 648038 w 897730"/>
                  <a:gd name="connsiteY236" fmla="*/ 184801 h 478666"/>
                  <a:gd name="connsiteX237" fmla="*/ 655355 w 897730"/>
                  <a:gd name="connsiteY237" fmla="*/ 180393 h 478666"/>
                  <a:gd name="connsiteX238" fmla="*/ 662056 w 897730"/>
                  <a:gd name="connsiteY238" fmla="*/ 182685 h 478666"/>
                  <a:gd name="connsiteX239" fmla="*/ 666729 w 897730"/>
                  <a:gd name="connsiteY239" fmla="*/ 180040 h 478666"/>
                  <a:gd name="connsiteX240" fmla="*/ 674047 w 897730"/>
                  <a:gd name="connsiteY240" fmla="*/ 175984 h 478666"/>
                  <a:gd name="connsiteX241" fmla="*/ 684804 w 897730"/>
                  <a:gd name="connsiteY241" fmla="*/ 179775 h 478666"/>
                  <a:gd name="connsiteX242" fmla="*/ 686567 w 897730"/>
                  <a:gd name="connsiteY242" fmla="*/ 176866 h 478666"/>
                  <a:gd name="connsiteX243" fmla="*/ 689212 w 897730"/>
                  <a:gd name="connsiteY243" fmla="*/ 179511 h 478666"/>
                  <a:gd name="connsiteX244" fmla="*/ 691857 w 897730"/>
                  <a:gd name="connsiteY244" fmla="*/ 178894 h 478666"/>
                  <a:gd name="connsiteX245" fmla="*/ 693885 w 897730"/>
                  <a:gd name="connsiteY245" fmla="*/ 183831 h 478666"/>
                  <a:gd name="connsiteX246" fmla="*/ 701732 w 897730"/>
                  <a:gd name="connsiteY246" fmla="*/ 184713 h 478666"/>
                  <a:gd name="connsiteX247" fmla="*/ 709315 w 897730"/>
                  <a:gd name="connsiteY247" fmla="*/ 183831 h 478666"/>
                  <a:gd name="connsiteX248" fmla="*/ 708785 w 897730"/>
                  <a:gd name="connsiteY248" fmla="*/ 181539 h 478666"/>
                  <a:gd name="connsiteX249" fmla="*/ 711431 w 897730"/>
                  <a:gd name="connsiteY249" fmla="*/ 179511 h 478666"/>
                  <a:gd name="connsiteX250" fmla="*/ 715222 w 897730"/>
                  <a:gd name="connsiteY250" fmla="*/ 181010 h 478666"/>
                  <a:gd name="connsiteX251" fmla="*/ 717602 w 897730"/>
                  <a:gd name="connsiteY251" fmla="*/ 181627 h 478666"/>
                  <a:gd name="connsiteX252" fmla="*/ 725185 w 897730"/>
                  <a:gd name="connsiteY252" fmla="*/ 185154 h 478666"/>
                  <a:gd name="connsiteX253" fmla="*/ 730122 w 897730"/>
                  <a:gd name="connsiteY253" fmla="*/ 182244 h 478666"/>
                  <a:gd name="connsiteX254" fmla="*/ 730122 w 897730"/>
                  <a:gd name="connsiteY254" fmla="*/ 175720 h 478666"/>
                  <a:gd name="connsiteX255" fmla="*/ 725185 w 897730"/>
                  <a:gd name="connsiteY255" fmla="*/ 175984 h 478666"/>
                  <a:gd name="connsiteX256" fmla="*/ 722275 w 897730"/>
                  <a:gd name="connsiteY256" fmla="*/ 174485 h 478666"/>
                  <a:gd name="connsiteX257" fmla="*/ 720777 w 897730"/>
                  <a:gd name="connsiteY257" fmla="*/ 172722 h 478666"/>
                  <a:gd name="connsiteX258" fmla="*/ 716721 w 897730"/>
                  <a:gd name="connsiteY258" fmla="*/ 172986 h 478666"/>
                  <a:gd name="connsiteX259" fmla="*/ 714957 w 897730"/>
                  <a:gd name="connsiteY259" fmla="*/ 169812 h 478666"/>
                  <a:gd name="connsiteX260" fmla="*/ 713811 w 897730"/>
                  <a:gd name="connsiteY260" fmla="*/ 166286 h 478666"/>
                  <a:gd name="connsiteX261" fmla="*/ 710637 w 897730"/>
                  <a:gd name="connsiteY261" fmla="*/ 165404 h 478666"/>
                  <a:gd name="connsiteX262" fmla="*/ 731357 w 897730"/>
                  <a:gd name="connsiteY262" fmla="*/ 168578 h 478666"/>
                  <a:gd name="connsiteX263" fmla="*/ 719366 w 897730"/>
                  <a:gd name="connsiteY263" fmla="*/ 164787 h 478666"/>
                  <a:gd name="connsiteX264" fmla="*/ 737176 w 897730"/>
                  <a:gd name="connsiteY264" fmla="*/ 166815 h 478666"/>
                  <a:gd name="connsiteX265" fmla="*/ 742113 w 897730"/>
                  <a:gd name="connsiteY265" fmla="*/ 163288 h 478666"/>
                  <a:gd name="connsiteX266" fmla="*/ 735677 w 897730"/>
                  <a:gd name="connsiteY266" fmla="*/ 161524 h 478666"/>
                  <a:gd name="connsiteX267" fmla="*/ 737440 w 897730"/>
                  <a:gd name="connsiteY267" fmla="*/ 160378 h 478666"/>
                  <a:gd name="connsiteX268" fmla="*/ 739468 w 897730"/>
                  <a:gd name="connsiteY268" fmla="*/ 157469 h 478666"/>
                  <a:gd name="connsiteX269" fmla="*/ 742378 w 897730"/>
                  <a:gd name="connsiteY269" fmla="*/ 158350 h 478666"/>
                  <a:gd name="connsiteX270" fmla="*/ 740350 w 897730"/>
                  <a:gd name="connsiteY270" fmla="*/ 155176 h 478666"/>
                  <a:gd name="connsiteX271" fmla="*/ 733914 w 897730"/>
                  <a:gd name="connsiteY271" fmla="*/ 153148 h 478666"/>
                  <a:gd name="connsiteX272" fmla="*/ 731269 w 897730"/>
                  <a:gd name="connsiteY272" fmla="*/ 150239 h 478666"/>
                  <a:gd name="connsiteX273" fmla="*/ 728623 w 897730"/>
                  <a:gd name="connsiteY273" fmla="*/ 148211 h 478666"/>
                  <a:gd name="connsiteX274" fmla="*/ 724832 w 897730"/>
                  <a:gd name="connsiteY274" fmla="*/ 149710 h 478666"/>
                  <a:gd name="connsiteX275" fmla="*/ 722804 w 897730"/>
                  <a:gd name="connsiteY275" fmla="*/ 145654 h 478666"/>
                  <a:gd name="connsiteX276" fmla="*/ 722187 w 897730"/>
                  <a:gd name="connsiteY276" fmla="*/ 144508 h 478666"/>
                  <a:gd name="connsiteX277" fmla="*/ 725978 w 897730"/>
                  <a:gd name="connsiteY277" fmla="*/ 144508 h 478666"/>
                  <a:gd name="connsiteX278" fmla="*/ 728271 w 897730"/>
                  <a:gd name="connsiteY278" fmla="*/ 143009 h 478666"/>
                  <a:gd name="connsiteX279" fmla="*/ 730563 w 897730"/>
                  <a:gd name="connsiteY279" fmla="*/ 144155 h 478666"/>
                  <a:gd name="connsiteX280" fmla="*/ 724127 w 897730"/>
                  <a:gd name="connsiteY280" fmla="*/ 143274 h 478666"/>
                  <a:gd name="connsiteX281" fmla="*/ 732327 w 897730"/>
                  <a:gd name="connsiteY281" fmla="*/ 143538 h 478666"/>
                  <a:gd name="connsiteX282" fmla="*/ 744847 w 897730"/>
                  <a:gd name="connsiteY282" fmla="*/ 147594 h 478666"/>
                  <a:gd name="connsiteX283" fmla="*/ 747492 w 897730"/>
                  <a:gd name="connsiteY283" fmla="*/ 144067 h 478666"/>
                  <a:gd name="connsiteX284" fmla="*/ 753046 w 897730"/>
                  <a:gd name="connsiteY284" fmla="*/ 144596 h 478666"/>
                  <a:gd name="connsiteX285" fmla="*/ 754809 w 897730"/>
                  <a:gd name="connsiteY285" fmla="*/ 140188 h 478666"/>
                  <a:gd name="connsiteX286" fmla="*/ 748109 w 897730"/>
                  <a:gd name="connsiteY286" fmla="*/ 136396 h 478666"/>
                  <a:gd name="connsiteX287" fmla="*/ 753663 w 897730"/>
                  <a:gd name="connsiteY287" fmla="*/ 129431 h 478666"/>
                  <a:gd name="connsiteX288" fmla="*/ 745464 w 897730"/>
                  <a:gd name="connsiteY288" fmla="*/ 127051 h 478666"/>
                  <a:gd name="connsiteX289" fmla="*/ 740526 w 897730"/>
                  <a:gd name="connsiteY289" fmla="*/ 130842 h 478666"/>
                  <a:gd name="connsiteX290" fmla="*/ 739909 w 897730"/>
                  <a:gd name="connsiteY290" fmla="*/ 127668 h 478666"/>
                  <a:gd name="connsiteX291" fmla="*/ 742201 w 897730"/>
                  <a:gd name="connsiteY291" fmla="*/ 123259 h 478666"/>
                  <a:gd name="connsiteX292" fmla="*/ 731445 w 897730"/>
                  <a:gd name="connsiteY292" fmla="*/ 120967 h 478666"/>
                  <a:gd name="connsiteX293" fmla="*/ 721482 w 897730"/>
                  <a:gd name="connsiteY293" fmla="*/ 119468 h 478666"/>
                  <a:gd name="connsiteX294" fmla="*/ 722099 w 897730"/>
                  <a:gd name="connsiteY294" fmla="*/ 116823 h 478666"/>
                  <a:gd name="connsiteX295" fmla="*/ 727301 w 897730"/>
                  <a:gd name="connsiteY295" fmla="*/ 114178 h 478666"/>
                  <a:gd name="connsiteX296" fmla="*/ 736911 w 897730"/>
                  <a:gd name="connsiteY296" fmla="*/ 112415 h 478666"/>
                  <a:gd name="connsiteX297" fmla="*/ 751459 w 897730"/>
                  <a:gd name="connsiteY297" fmla="*/ 115589 h 478666"/>
                  <a:gd name="connsiteX298" fmla="*/ 760805 w 897730"/>
                  <a:gd name="connsiteY298" fmla="*/ 116735 h 478666"/>
                  <a:gd name="connsiteX299" fmla="*/ 772443 w 897730"/>
                  <a:gd name="connsiteY299" fmla="*/ 113825 h 478666"/>
                  <a:gd name="connsiteX300" fmla="*/ 777733 w 897730"/>
                  <a:gd name="connsiteY300" fmla="*/ 116470 h 478666"/>
                  <a:gd name="connsiteX301" fmla="*/ 780026 w 897730"/>
                  <a:gd name="connsiteY301" fmla="*/ 113825 h 478666"/>
                  <a:gd name="connsiteX302" fmla="*/ 784434 w 897730"/>
                  <a:gd name="connsiteY302" fmla="*/ 113208 h 478666"/>
                  <a:gd name="connsiteX303" fmla="*/ 777998 w 897730"/>
                  <a:gd name="connsiteY303" fmla="*/ 107654 h 478666"/>
                  <a:gd name="connsiteX304" fmla="*/ 774471 w 897730"/>
                  <a:gd name="connsiteY304" fmla="*/ 106507 h 478666"/>
                  <a:gd name="connsiteX305" fmla="*/ 774207 w 897730"/>
                  <a:gd name="connsiteY305" fmla="*/ 102099 h 478666"/>
                  <a:gd name="connsiteX306" fmla="*/ 771562 w 897730"/>
                  <a:gd name="connsiteY306" fmla="*/ 99189 h 478666"/>
                  <a:gd name="connsiteX307" fmla="*/ 769798 w 897730"/>
                  <a:gd name="connsiteY307" fmla="*/ 97691 h 478666"/>
                  <a:gd name="connsiteX308" fmla="*/ 765478 w 897730"/>
                  <a:gd name="connsiteY308" fmla="*/ 97426 h 478666"/>
                  <a:gd name="connsiteX309" fmla="*/ 763097 w 897730"/>
                  <a:gd name="connsiteY309" fmla="*/ 96280 h 478666"/>
                  <a:gd name="connsiteX310" fmla="*/ 759923 w 897730"/>
                  <a:gd name="connsiteY310" fmla="*/ 96897 h 478666"/>
                  <a:gd name="connsiteX311" fmla="*/ 758424 w 897730"/>
                  <a:gd name="connsiteY311" fmla="*/ 96015 h 478666"/>
                  <a:gd name="connsiteX312" fmla="*/ 758953 w 897730"/>
                  <a:gd name="connsiteY312" fmla="*/ 93106 h 478666"/>
                  <a:gd name="connsiteX313" fmla="*/ 755779 w 897730"/>
                  <a:gd name="connsiteY313" fmla="*/ 94252 h 478666"/>
                  <a:gd name="connsiteX314" fmla="*/ 757278 w 897730"/>
                  <a:gd name="connsiteY314" fmla="*/ 92489 h 478666"/>
                  <a:gd name="connsiteX315" fmla="*/ 753487 w 897730"/>
                  <a:gd name="connsiteY315" fmla="*/ 94252 h 478666"/>
                  <a:gd name="connsiteX316" fmla="*/ 750313 w 897730"/>
                  <a:gd name="connsiteY316" fmla="*/ 94252 h 478666"/>
                  <a:gd name="connsiteX317" fmla="*/ 746522 w 897730"/>
                  <a:gd name="connsiteY317" fmla="*/ 95398 h 478666"/>
                  <a:gd name="connsiteX318" fmla="*/ 743877 w 897730"/>
                  <a:gd name="connsiteY318" fmla="*/ 98925 h 478666"/>
                  <a:gd name="connsiteX319" fmla="*/ 738939 w 897730"/>
                  <a:gd name="connsiteY319" fmla="*/ 101834 h 478666"/>
                  <a:gd name="connsiteX320" fmla="*/ 736294 w 897730"/>
                  <a:gd name="connsiteY320" fmla="*/ 98660 h 478666"/>
                  <a:gd name="connsiteX321" fmla="*/ 736294 w 897730"/>
                  <a:gd name="connsiteY321" fmla="*/ 93370 h 478666"/>
                  <a:gd name="connsiteX322" fmla="*/ 736559 w 897730"/>
                  <a:gd name="connsiteY322" fmla="*/ 92224 h 478666"/>
                  <a:gd name="connsiteX323" fmla="*/ 738322 w 897730"/>
                  <a:gd name="connsiteY323" fmla="*/ 89932 h 478666"/>
                  <a:gd name="connsiteX324" fmla="*/ 737440 w 897730"/>
                  <a:gd name="connsiteY324" fmla="*/ 90549 h 478666"/>
                  <a:gd name="connsiteX325" fmla="*/ 741849 w 897730"/>
                  <a:gd name="connsiteY325" fmla="*/ 90549 h 478666"/>
                  <a:gd name="connsiteX326" fmla="*/ 746257 w 897730"/>
                  <a:gd name="connsiteY326" fmla="*/ 88521 h 478666"/>
                  <a:gd name="connsiteX327" fmla="*/ 751812 w 897730"/>
                  <a:gd name="connsiteY327" fmla="*/ 84113 h 478666"/>
                  <a:gd name="connsiteX328" fmla="*/ 761687 w 897730"/>
                  <a:gd name="connsiteY328" fmla="*/ 79175 h 478666"/>
                  <a:gd name="connsiteX329" fmla="*/ 769269 w 897730"/>
                  <a:gd name="connsiteY329" fmla="*/ 77764 h 478666"/>
                  <a:gd name="connsiteX330" fmla="*/ 776235 w 897730"/>
                  <a:gd name="connsiteY330" fmla="*/ 75119 h 478666"/>
                  <a:gd name="connsiteX331" fmla="*/ 780026 w 897730"/>
                  <a:gd name="connsiteY331" fmla="*/ 70711 h 478666"/>
                  <a:gd name="connsiteX332" fmla="*/ 784434 w 897730"/>
                  <a:gd name="connsiteY332" fmla="*/ 66303 h 478666"/>
                  <a:gd name="connsiteX333" fmla="*/ 787608 w 897730"/>
                  <a:gd name="connsiteY333" fmla="*/ 62511 h 478666"/>
                  <a:gd name="connsiteX334" fmla="*/ 781172 w 897730"/>
                  <a:gd name="connsiteY334" fmla="*/ 63658 h 478666"/>
                  <a:gd name="connsiteX335" fmla="*/ 771297 w 897730"/>
                  <a:gd name="connsiteY335" fmla="*/ 63040 h 478666"/>
                  <a:gd name="connsiteX336" fmla="*/ 777733 w 897730"/>
                  <a:gd name="connsiteY336" fmla="*/ 59514 h 478666"/>
                  <a:gd name="connsiteX337" fmla="*/ 782935 w 897730"/>
                  <a:gd name="connsiteY337" fmla="*/ 59249 h 478666"/>
                  <a:gd name="connsiteX338" fmla="*/ 791399 w 897730"/>
                  <a:gd name="connsiteY338" fmla="*/ 61013 h 478666"/>
                  <a:gd name="connsiteX339" fmla="*/ 797218 w 897730"/>
                  <a:gd name="connsiteY339" fmla="*/ 65421 h 478666"/>
                  <a:gd name="connsiteX340" fmla="*/ 807181 w 897730"/>
                  <a:gd name="connsiteY340" fmla="*/ 65685 h 478666"/>
                  <a:gd name="connsiteX341" fmla="*/ 810973 w 897730"/>
                  <a:gd name="connsiteY341" fmla="*/ 63658 h 478666"/>
                  <a:gd name="connsiteX342" fmla="*/ 808945 w 897730"/>
                  <a:gd name="connsiteY342" fmla="*/ 59249 h 478666"/>
                  <a:gd name="connsiteX343" fmla="*/ 814500 w 897730"/>
                  <a:gd name="connsiteY343" fmla="*/ 56604 h 478666"/>
                  <a:gd name="connsiteX344" fmla="*/ 817409 w 897730"/>
                  <a:gd name="connsiteY344" fmla="*/ 55987 h 478666"/>
                  <a:gd name="connsiteX345" fmla="*/ 825344 w 897730"/>
                  <a:gd name="connsiteY345" fmla="*/ 54929 h 478666"/>
                  <a:gd name="connsiteX346" fmla="*/ 831780 w 897730"/>
                  <a:gd name="connsiteY346" fmla="*/ 53783 h 478666"/>
                  <a:gd name="connsiteX347" fmla="*/ 836718 w 897730"/>
                  <a:gd name="connsiteY347" fmla="*/ 51755 h 478666"/>
                  <a:gd name="connsiteX348" fmla="*/ 841126 w 897730"/>
                  <a:gd name="connsiteY348" fmla="*/ 48228 h 478666"/>
                  <a:gd name="connsiteX349" fmla="*/ 846681 w 897730"/>
                  <a:gd name="connsiteY349" fmla="*/ 44437 h 478666"/>
                  <a:gd name="connsiteX350" fmla="*/ 848444 w 897730"/>
                  <a:gd name="connsiteY350" fmla="*/ 37119 h 478666"/>
                  <a:gd name="connsiteX351" fmla="*/ 850472 w 897730"/>
                  <a:gd name="connsiteY351" fmla="*/ 46994 h 478666"/>
                  <a:gd name="connsiteX352" fmla="*/ 855762 w 897730"/>
                  <a:gd name="connsiteY352" fmla="*/ 44701 h 478666"/>
                  <a:gd name="connsiteX353" fmla="*/ 860171 w 897730"/>
                  <a:gd name="connsiteY353" fmla="*/ 41439 h 478666"/>
                  <a:gd name="connsiteX354" fmla="*/ 864844 w 897730"/>
                  <a:gd name="connsiteY354" fmla="*/ 41792 h 478666"/>
                  <a:gd name="connsiteX355" fmla="*/ 870663 w 897730"/>
                  <a:gd name="connsiteY355" fmla="*/ 43555 h 478666"/>
                  <a:gd name="connsiteX356" fmla="*/ 872955 w 897730"/>
                  <a:gd name="connsiteY356" fmla="*/ 40910 h 478666"/>
                  <a:gd name="connsiteX357" fmla="*/ 879039 w 897730"/>
                  <a:gd name="connsiteY357" fmla="*/ 40293 h 478666"/>
                  <a:gd name="connsiteX358" fmla="*/ 885210 w 897730"/>
                  <a:gd name="connsiteY358" fmla="*/ 40293 h 478666"/>
                  <a:gd name="connsiteX359" fmla="*/ 892529 w 897730"/>
                  <a:gd name="connsiteY359" fmla="*/ 41439 h 478666"/>
                  <a:gd name="connsiteX360" fmla="*/ 892793 w 897730"/>
                  <a:gd name="connsiteY360" fmla="*/ 37912 h 478666"/>
                  <a:gd name="connsiteX361" fmla="*/ 897731 w 897730"/>
                  <a:gd name="connsiteY361" fmla="*/ 36766 h 478666"/>
                  <a:gd name="connsiteX362" fmla="*/ 894556 w 897730"/>
                  <a:gd name="connsiteY362" fmla="*/ 34121 h 478666"/>
                  <a:gd name="connsiteX363" fmla="*/ 889002 w 897730"/>
                  <a:gd name="connsiteY363" fmla="*/ 31829 h 478666"/>
                  <a:gd name="connsiteX364" fmla="*/ 880802 w 897730"/>
                  <a:gd name="connsiteY364" fmla="*/ 32975 h 478666"/>
                  <a:gd name="connsiteX365" fmla="*/ 874366 w 897730"/>
                  <a:gd name="connsiteY365" fmla="*/ 31212 h 478666"/>
                  <a:gd name="connsiteX366" fmla="*/ 865637 w 897730"/>
                  <a:gd name="connsiteY366" fmla="*/ 30330 h 478666"/>
                  <a:gd name="connsiteX367" fmla="*/ 860347 w 897730"/>
                  <a:gd name="connsiteY367" fmla="*/ 32093 h 478666"/>
                  <a:gd name="connsiteX368" fmla="*/ 840774 w 897730"/>
                  <a:gd name="connsiteY368" fmla="*/ 30065 h 478666"/>
                  <a:gd name="connsiteX369" fmla="*/ 832309 w 897730"/>
                  <a:gd name="connsiteY369" fmla="*/ 32093 h 478666"/>
                  <a:gd name="connsiteX370" fmla="*/ 829929 w 897730"/>
                  <a:gd name="connsiteY370" fmla="*/ 29801 h 478666"/>
                  <a:gd name="connsiteX371" fmla="*/ 826138 w 897730"/>
                  <a:gd name="connsiteY371" fmla="*/ 30947 h 478666"/>
                  <a:gd name="connsiteX372" fmla="*/ 821200 w 897730"/>
                  <a:gd name="connsiteY372" fmla="*/ 32358 h 478666"/>
                  <a:gd name="connsiteX373" fmla="*/ 817409 w 897730"/>
                  <a:gd name="connsiteY373" fmla="*/ 33504 h 478666"/>
                  <a:gd name="connsiteX374" fmla="*/ 814147 w 897730"/>
                  <a:gd name="connsiteY374" fmla="*/ 35003 h 478666"/>
                  <a:gd name="connsiteX375" fmla="*/ 810973 w 897730"/>
                  <a:gd name="connsiteY375" fmla="*/ 32622 h 478666"/>
                  <a:gd name="connsiteX376" fmla="*/ 809209 w 897730"/>
                  <a:gd name="connsiteY376" fmla="*/ 31123 h 478666"/>
                  <a:gd name="connsiteX377" fmla="*/ 806300 w 897730"/>
                  <a:gd name="connsiteY377" fmla="*/ 27332 h 478666"/>
                  <a:gd name="connsiteX378" fmla="*/ 804007 w 897730"/>
                  <a:gd name="connsiteY378" fmla="*/ 29360 h 478666"/>
                  <a:gd name="connsiteX379" fmla="*/ 804889 w 897730"/>
                  <a:gd name="connsiteY379" fmla="*/ 31741 h 478666"/>
                  <a:gd name="connsiteX380" fmla="*/ 802861 w 897730"/>
                  <a:gd name="connsiteY380" fmla="*/ 32622 h 478666"/>
                  <a:gd name="connsiteX381" fmla="*/ 798453 w 897730"/>
                  <a:gd name="connsiteY381" fmla="*/ 35267 h 478666"/>
                  <a:gd name="connsiteX382" fmla="*/ 794133 w 897730"/>
                  <a:gd name="connsiteY382" fmla="*/ 35267 h 478666"/>
                  <a:gd name="connsiteX383" fmla="*/ 784522 w 897730"/>
                  <a:gd name="connsiteY383" fmla="*/ 36414 h 478666"/>
                  <a:gd name="connsiteX384" fmla="*/ 789195 w 897730"/>
                  <a:gd name="connsiteY384" fmla="*/ 32622 h 478666"/>
                  <a:gd name="connsiteX385" fmla="*/ 795367 w 897730"/>
                  <a:gd name="connsiteY385" fmla="*/ 30594 h 478666"/>
                  <a:gd name="connsiteX386" fmla="*/ 793339 w 897730"/>
                  <a:gd name="connsiteY386" fmla="*/ 26803 h 478666"/>
                  <a:gd name="connsiteX387" fmla="*/ 788931 w 897730"/>
                  <a:gd name="connsiteY387" fmla="*/ 24775 h 478666"/>
                  <a:gd name="connsiteX388" fmla="*/ 785404 w 897730"/>
                  <a:gd name="connsiteY388" fmla="*/ 24511 h 478666"/>
                  <a:gd name="connsiteX389" fmla="*/ 783112 w 897730"/>
                  <a:gd name="connsiteY389" fmla="*/ 28919 h 478666"/>
                  <a:gd name="connsiteX390" fmla="*/ 777910 w 897730"/>
                  <a:gd name="connsiteY390" fmla="*/ 32093 h 478666"/>
                  <a:gd name="connsiteX391" fmla="*/ 769710 w 897730"/>
                  <a:gd name="connsiteY391" fmla="*/ 36766 h 478666"/>
                  <a:gd name="connsiteX392" fmla="*/ 764420 w 897730"/>
                  <a:gd name="connsiteY392" fmla="*/ 37031 h 478666"/>
                  <a:gd name="connsiteX393" fmla="*/ 764155 w 897730"/>
                  <a:gd name="connsiteY393" fmla="*/ 32358 h 478666"/>
                  <a:gd name="connsiteX394" fmla="*/ 764155 w 897730"/>
                  <a:gd name="connsiteY394" fmla="*/ 29448 h 478666"/>
                  <a:gd name="connsiteX395" fmla="*/ 764772 w 897730"/>
                  <a:gd name="connsiteY395" fmla="*/ 26539 h 478666"/>
                  <a:gd name="connsiteX396" fmla="*/ 763274 w 897730"/>
                  <a:gd name="connsiteY396" fmla="*/ 25921 h 478666"/>
                  <a:gd name="connsiteX397" fmla="*/ 762392 w 897730"/>
                  <a:gd name="connsiteY397" fmla="*/ 22747 h 478666"/>
                  <a:gd name="connsiteX398" fmla="*/ 760893 w 897730"/>
                  <a:gd name="connsiteY398" fmla="*/ 20984 h 478666"/>
                  <a:gd name="connsiteX399" fmla="*/ 764949 w 897730"/>
                  <a:gd name="connsiteY399" fmla="*/ 14548 h 478666"/>
                  <a:gd name="connsiteX400" fmla="*/ 761158 w 897730"/>
                  <a:gd name="connsiteY400" fmla="*/ 13402 h 478666"/>
                  <a:gd name="connsiteX401" fmla="*/ 757102 w 897730"/>
                  <a:gd name="connsiteY401" fmla="*/ 15429 h 478666"/>
                  <a:gd name="connsiteX402" fmla="*/ 753311 w 897730"/>
                  <a:gd name="connsiteY402" fmla="*/ 15429 h 478666"/>
                  <a:gd name="connsiteX403" fmla="*/ 750136 w 897730"/>
                  <a:gd name="connsiteY403" fmla="*/ 14283 h 478666"/>
                  <a:gd name="connsiteX404" fmla="*/ 746345 w 897730"/>
                  <a:gd name="connsiteY404" fmla="*/ 14019 h 478666"/>
                  <a:gd name="connsiteX405" fmla="*/ 736735 w 897730"/>
                  <a:gd name="connsiteY405" fmla="*/ 13402 h 478666"/>
                  <a:gd name="connsiteX406" fmla="*/ 738498 w 897730"/>
                  <a:gd name="connsiteY406" fmla="*/ 13666 h 478666"/>
                  <a:gd name="connsiteX407" fmla="*/ 737617 w 897730"/>
                  <a:gd name="connsiteY407" fmla="*/ 9610 h 478666"/>
                  <a:gd name="connsiteX408" fmla="*/ 732415 w 897730"/>
                  <a:gd name="connsiteY408" fmla="*/ 10228 h 478666"/>
                  <a:gd name="connsiteX409" fmla="*/ 733296 w 897730"/>
                  <a:gd name="connsiteY409" fmla="*/ 7053 h 478666"/>
                  <a:gd name="connsiteX410" fmla="*/ 725714 w 897730"/>
                  <a:gd name="connsiteY410" fmla="*/ 8817 h 478666"/>
                  <a:gd name="connsiteX411" fmla="*/ 723950 w 897730"/>
                  <a:gd name="connsiteY411" fmla="*/ 8552 h 478666"/>
                  <a:gd name="connsiteX412" fmla="*/ 717250 w 897730"/>
                  <a:gd name="connsiteY412" fmla="*/ 7935 h 478666"/>
                  <a:gd name="connsiteX413" fmla="*/ 714076 w 897730"/>
                  <a:gd name="connsiteY413" fmla="*/ 5907 h 478666"/>
                  <a:gd name="connsiteX414" fmla="*/ 708521 w 897730"/>
                  <a:gd name="connsiteY414" fmla="*/ 5643 h 478666"/>
                  <a:gd name="connsiteX415" fmla="*/ 705259 w 897730"/>
                  <a:gd name="connsiteY415" fmla="*/ 6524 h 478666"/>
                  <a:gd name="connsiteX416" fmla="*/ 701203 w 897730"/>
                  <a:gd name="connsiteY416" fmla="*/ 4761 h 478666"/>
                  <a:gd name="connsiteX417" fmla="*/ 696530 w 897730"/>
                  <a:gd name="connsiteY417" fmla="*/ 4497 h 478666"/>
                  <a:gd name="connsiteX418" fmla="*/ 679602 w 897730"/>
                  <a:gd name="connsiteY418" fmla="*/ 3350 h 478666"/>
                  <a:gd name="connsiteX419" fmla="*/ 689829 w 897730"/>
                  <a:gd name="connsiteY419" fmla="*/ 1852 h 478666"/>
                  <a:gd name="connsiteX420" fmla="*/ 674664 w 897730"/>
                  <a:gd name="connsiteY420" fmla="*/ 1234 h 478666"/>
                  <a:gd name="connsiteX421" fmla="*/ 661263 w 897730"/>
                  <a:gd name="connsiteY421" fmla="*/ 4144 h 478666"/>
                  <a:gd name="connsiteX422" fmla="*/ 650506 w 897730"/>
                  <a:gd name="connsiteY422" fmla="*/ 2998 h 478666"/>
                  <a:gd name="connsiteX423" fmla="*/ 637369 w 897730"/>
                  <a:gd name="connsiteY423" fmla="*/ 2381 h 478666"/>
                  <a:gd name="connsiteX424" fmla="*/ 622821 w 897730"/>
                  <a:gd name="connsiteY424" fmla="*/ 1763 h 478666"/>
                  <a:gd name="connsiteX425" fmla="*/ 603248 w 897730"/>
                  <a:gd name="connsiteY425" fmla="*/ 2910 h 478666"/>
                  <a:gd name="connsiteX426" fmla="*/ 598575 w 897730"/>
                  <a:gd name="connsiteY426" fmla="*/ 4673 h 478666"/>
                  <a:gd name="connsiteX427" fmla="*/ 593638 w 897730"/>
                  <a:gd name="connsiteY427" fmla="*/ 2028 h 478666"/>
                  <a:gd name="connsiteX428" fmla="*/ 582000 w 897730"/>
                  <a:gd name="connsiteY428" fmla="*/ 0 h 478666"/>
                  <a:gd name="connsiteX429" fmla="*/ 582264 w 897730"/>
                  <a:gd name="connsiteY429" fmla="*/ 2645 h 478666"/>
                  <a:gd name="connsiteX430" fmla="*/ 578737 w 897730"/>
                  <a:gd name="connsiteY430" fmla="*/ 7053 h 478666"/>
                  <a:gd name="connsiteX431" fmla="*/ 576357 w 897730"/>
                  <a:gd name="connsiteY431" fmla="*/ 3262 h 478666"/>
                  <a:gd name="connsiteX432" fmla="*/ 569656 w 897730"/>
                  <a:gd name="connsiteY432" fmla="*/ 4144 h 478666"/>
                  <a:gd name="connsiteX433" fmla="*/ 562338 w 897730"/>
                  <a:gd name="connsiteY433" fmla="*/ 5643 h 478666"/>
                  <a:gd name="connsiteX434" fmla="*/ 555902 w 897730"/>
                  <a:gd name="connsiteY434" fmla="*/ 4497 h 478666"/>
                  <a:gd name="connsiteX435" fmla="*/ 553609 w 897730"/>
                  <a:gd name="connsiteY435" fmla="*/ 5378 h 478666"/>
                  <a:gd name="connsiteX436" fmla="*/ 549818 w 897730"/>
                  <a:gd name="connsiteY436" fmla="*/ 5995 h 478666"/>
                  <a:gd name="connsiteX437" fmla="*/ 544880 w 897730"/>
                  <a:gd name="connsiteY437" fmla="*/ 3350 h 478666"/>
                  <a:gd name="connsiteX438" fmla="*/ 545762 w 897730"/>
                  <a:gd name="connsiteY438" fmla="*/ 4849 h 478666"/>
                  <a:gd name="connsiteX439" fmla="*/ 537915 w 897730"/>
                  <a:gd name="connsiteY439" fmla="*/ 5731 h 478666"/>
                  <a:gd name="connsiteX440" fmla="*/ 527688 w 897730"/>
                  <a:gd name="connsiteY440" fmla="*/ 4849 h 478666"/>
                  <a:gd name="connsiteX441" fmla="*/ 514110 w 897730"/>
                  <a:gd name="connsiteY441" fmla="*/ 8552 h 478666"/>
                  <a:gd name="connsiteX442" fmla="*/ 512082 w 897730"/>
                  <a:gd name="connsiteY442" fmla="*/ 5643 h 478666"/>
                  <a:gd name="connsiteX443" fmla="*/ 508026 w 897730"/>
                  <a:gd name="connsiteY443" fmla="*/ 5643 h 478666"/>
                  <a:gd name="connsiteX444" fmla="*/ 488188 w 897730"/>
                  <a:gd name="connsiteY444" fmla="*/ 5290 h 478666"/>
                  <a:gd name="connsiteX445" fmla="*/ 480606 w 897730"/>
                  <a:gd name="connsiteY445" fmla="*/ 2645 h 478666"/>
                  <a:gd name="connsiteX446" fmla="*/ 475933 w 897730"/>
                  <a:gd name="connsiteY446" fmla="*/ 5290 h 478666"/>
                  <a:gd name="connsiteX447" fmla="*/ 463677 w 897730"/>
                  <a:gd name="connsiteY447" fmla="*/ 4408 h 478666"/>
                  <a:gd name="connsiteX448" fmla="*/ 459357 w 897730"/>
                  <a:gd name="connsiteY448" fmla="*/ 5555 h 478666"/>
                  <a:gd name="connsiteX449" fmla="*/ 452304 w 897730"/>
                  <a:gd name="connsiteY449" fmla="*/ 6084 h 478666"/>
                  <a:gd name="connsiteX450" fmla="*/ 441283 w 897730"/>
                  <a:gd name="connsiteY450" fmla="*/ 6701 h 478666"/>
                  <a:gd name="connsiteX451" fmla="*/ 443575 w 897730"/>
                  <a:gd name="connsiteY451" fmla="*/ 9346 h 478666"/>
                  <a:gd name="connsiteX452" fmla="*/ 460768 w 897730"/>
                  <a:gd name="connsiteY452" fmla="*/ 8200 h 478666"/>
                  <a:gd name="connsiteX453" fmla="*/ 465705 w 897730"/>
                  <a:gd name="connsiteY453" fmla="*/ 9346 h 478666"/>
                  <a:gd name="connsiteX454" fmla="*/ 461650 w 897730"/>
                  <a:gd name="connsiteY454" fmla="*/ 10228 h 478666"/>
                  <a:gd name="connsiteX455" fmla="*/ 456712 w 897730"/>
                  <a:gd name="connsiteY455" fmla="*/ 13402 h 478666"/>
                  <a:gd name="connsiteX456" fmla="*/ 448513 w 897730"/>
                  <a:gd name="connsiteY456" fmla="*/ 15165 h 478666"/>
                  <a:gd name="connsiteX457" fmla="*/ 446132 w 897730"/>
                  <a:gd name="connsiteY457" fmla="*/ 12520 h 478666"/>
                  <a:gd name="connsiteX458" fmla="*/ 441195 w 897730"/>
                  <a:gd name="connsiteY458" fmla="*/ 13402 h 478666"/>
                  <a:gd name="connsiteX459" fmla="*/ 436522 w 897730"/>
                  <a:gd name="connsiteY459" fmla="*/ 14548 h 478666"/>
                  <a:gd name="connsiteX460" fmla="*/ 430085 w 897730"/>
                  <a:gd name="connsiteY460" fmla="*/ 14548 h 478666"/>
                  <a:gd name="connsiteX461" fmla="*/ 432995 w 897730"/>
                  <a:gd name="connsiteY461" fmla="*/ 17457 h 478666"/>
                  <a:gd name="connsiteX462" fmla="*/ 448777 w 897730"/>
                  <a:gd name="connsiteY462" fmla="*/ 20984 h 478666"/>
                  <a:gd name="connsiteX463" fmla="*/ 437668 w 897730"/>
                  <a:gd name="connsiteY463" fmla="*/ 20720 h 478666"/>
                  <a:gd name="connsiteX464" fmla="*/ 433259 w 897730"/>
                  <a:gd name="connsiteY464" fmla="*/ 19309 h 478666"/>
                  <a:gd name="connsiteX465" fmla="*/ 430085 w 897730"/>
                  <a:gd name="connsiteY465" fmla="*/ 19926 h 478666"/>
                  <a:gd name="connsiteX466" fmla="*/ 424266 w 897730"/>
                  <a:gd name="connsiteY466" fmla="*/ 21072 h 478666"/>
                  <a:gd name="connsiteX467" fmla="*/ 420740 w 897730"/>
                  <a:gd name="connsiteY467" fmla="*/ 18427 h 478666"/>
                  <a:gd name="connsiteX468" fmla="*/ 414656 w 897730"/>
                  <a:gd name="connsiteY468" fmla="*/ 17546 h 478666"/>
                  <a:gd name="connsiteX469" fmla="*/ 406809 w 897730"/>
                  <a:gd name="connsiteY469" fmla="*/ 15782 h 478666"/>
                  <a:gd name="connsiteX470" fmla="*/ 401871 w 897730"/>
                  <a:gd name="connsiteY470" fmla="*/ 17546 h 478666"/>
                  <a:gd name="connsiteX471" fmla="*/ 398962 w 897730"/>
                  <a:gd name="connsiteY471" fmla="*/ 14283 h 478666"/>
                  <a:gd name="connsiteX472" fmla="*/ 394289 w 897730"/>
                  <a:gd name="connsiteY472" fmla="*/ 12255 h 478666"/>
                  <a:gd name="connsiteX473" fmla="*/ 390233 w 897730"/>
                  <a:gd name="connsiteY473" fmla="*/ 14019 h 478666"/>
                  <a:gd name="connsiteX474" fmla="*/ 382033 w 897730"/>
                  <a:gd name="connsiteY474" fmla="*/ 13402 h 478666"/>
                  <a:gd name="connsiteX475" fmla="*/ 381417 w 897730"/>
                  <a:gd name="connsiteY475" fmla="*/ 16576 h 478666"/>
                  <a:gd name="connsiteX476" fmla="*/ 381417 w 897730"/>
                  <a:gd name="connsiteY476" fmla="*/ 19662 h 478666"/>
                  <a:gd name="connsiteX477" fmla="*/ 377890 w 897730"/>
                  <a:gd name="connsiteY477" fmla="*/ 24952 h 478666"/>
                  <a:gd name="connsiteX478" fmla="*/ 369690 w 897730"/>
                  <a:gd name="connsiteY478" fmla="*/ 20014 h 478666"/>
                  <a:gd name="connsiteX479" fmla="*/ 363606 w 897730"/>
                  <a:gd name="connsiteY479" fmla="*/ 16840 h 478666"/>
                  <a:gd name="connsiteX480" fmla="*/ 348441 w 897730"/>
                  <a:gd name="connsiteY480" fmla="*/ 16576 h 478666"/>
                  <a:gd name="connsiteX481" fmla="*/ 347295 w 897730"/>
                  <a:gd name="connsiteY481" fmla="*/ 21778 h 478666"/>
                  <a:gd name="connsiteX482" fmla="*/ 352497 w 897730"/>
                  <a:gd name="connsiteY482" fmla="*/ 24070 h 478666"/>
                  <a:gd name="connsiteX483" fmla="*/ 350998 w 897730"/>
                  <a:gd name="connsiteY483" fmla="*/ 27861 h 478666"/>
                  <a:gd name="connsiteX484" fmla="*/ 342270 w 897730"/>
                  <a:gd name="connsiteY484" fmla="*/ 23453 h 478666"/>
                  <a:gd name="connsiteX485" fmla="*/ 344562 w 897730"/>
                  <a:gd name="connsiteY485" fmla="*/ 19044 h 478666"/>
                  <a:gd name="connsiteX486" fmla="*/ 342270 w 897730"/>
                  <a:gd name="connsiteY486" fmla="*/ 15253 h 478666"/>
                  <a:gd name="connsiteX487" fmla="*/ 336715 w 897730"/>
                  <a:gd name="connsiteY487" fmla="*/ 17898 h 478666"/>
                  <a:gd name="connsiteX488" fmla="*/ 321815 w 897730"/>
                  <a:gd name="connsiteY488" fmla="*/ 17281 h 478666"/>
                  <a:gd name="connsiteX489" fmla="*/ 312733 w 897730"/>
                  <a:gd name="connsiteY489" fmla="*/ 14371 h 478666"/>
                  <a:gd name="connsiteX490" fmla="*/ 305768 w 897730"/>
                  <a:gd name="connsiteY490" fmla="*/ 18780 h 478666"/>
                  <a:gd name="connsiteX491" fmla="*/ 300566 w 897730"/>
                  <a:gd name="connsiteY491" fmla="*/ 16135 h 478666"/>
                  <a:gd name="connsiteX492" fmla="*/ 301183 w 897730"/>
                  <a:gd name="connsiteY492" fmla="*/ 19926 h 478666"/>
                  <a:gd name="connsiteX493" fmla="*/ 292984 w 897730"/>
                  <a:gd name="connsiteY493" fmla="*/ 17898 h 478666"/>
                  <a:gd name="connsiteX494" fmla="*/ 289457 w 897730"/>
                  <a:gd name="connsiteY494" fmla="*/ 20543 h 478666"/>
                  <a:gd name="connsiteX495" fmla="*/ 289457 w 897730"/>
                  <a:gd name="connsiteY495" fmla="*/ 17634 h 478666"/>
                  <a:gd name="connsiteX496" fmla="*/ 291220 w 897730"/>
                  <a:gd name="connsiteY496" fmla="*/ 14724 h 478666"/>
                  <a:gd name="connsiteX497" fmla="*/ 287164 w 897730"/>
                  <a:gd name="connsiteY497" fmla="*/ 18251 h 478666"/>
                  <a:gd name="connsiteX498" fmla="*/ 283373 w 897730"/>
                  <a:gd name="connsiteY498" fmla="*/ 20543 h 478666"/>
                  <a:gd name="connsiteX499" fmla="*/ 284872 w 897730"/>
                  <a:gd name="connsiteY499" fmla="*/ 18251 h 478666"/>
                  <a:gd name="connsiteX500" fmla="*/ 282580 w 897730"/>
                  <a:gd name="connsiteY500" fmla="*/ 17105 h 478666"/>
                  <a:gd name="connsiteX501" fmla="*/ 272969 w 897730"/>
                  <a:gd name="connsiteY501" fmla="*/ 21513 h 478666"/>
                  <a:gd name="connsiteX502" fmla="*/ 265387 w 897730"/>
                  <a:gd name="connsiteY502" fmla="*/ 20896 h 478666"/>
                  <a:gd name="connsiteX503" fmla="*/ 261595 w 897730"/>
                  <a:gd name="connsiteY503" fmla="*/ 21778 h 478666"/>
                  <a:gd name="connsiteX504" fmla="*/ 261860 w 897730"/>
                  <a:gd name="connsiteY504" fmla="*/ 24423 h 478666"/>
                  <a:gd name="connsiteX505" fmla="*/ 260361 w 897730"/>
                  <a:gd name="connsiteY505" fmla="*/ 25304 h 478666"/>
                  <a:gd name="connsiteX506" fmla="*/ 256306 w 897730"/>
                  <a:gd name="connsiteY506" fmla="*/ 20896 h 478666"/>
                  <a:gd name="connsiteX507" fmla="*/ 251897 w 897730"/>
                  <a:gd name="connsiteY507" fmla="*/ 22395 h 478666"/>
                  <a:gd name="connsiteX508" fmla="*/ 241670 w 897730"/>
                  <a:gd name="connsiteY508" fmla="*/ 23276 h 478666"/>
                  <a:gd name="connsiteX509" fmla="*/ 235233 w 897730"/>
                  <a:gd name="connsiteY509" fmla="*/ 27068 h 478666"/>
                  <a:gd name="connsiteX510" fmla="*/ 232941 w 897730"/>
                  <a:gd name="connsiteY510" fmla="*/ 30594 h 478666"/>
                  <a:gd name="connsiteX511" fmla="*/ 236732 w 897730"/>
                  <a:gd name="connsiteY511" fmla="*/ 33768 h 478666"/>
                  <a:gd name="connsiteX512" fmla="*/ 264681 w 897730"/>
                  <a:gd name="connsiteY512" fmla="*/ 35532 h 478666"/>
                  <a:gd name="connsiteX513" fmla="*/ 272529 w 897730"/>
                  <a:gd name="connsiteY513" fmla="*/ 40469 h 478666"/>
                  <a:gd name="connsiteX514" fmla="*/ 258245 w 897730"/>
                  <a:gd name="connsiteY514" fmla="*/ 40205 h 478666"/>
                  <a:gd name="connsiteX515" fmla="*/ 252955 w 897730"/>
                  <a:gd name="connsiteY515" fmla="*/ 38177 h 478666"/>
                  <a:gd name="connsiteX516" fmla="*/ 238407 w 897730"/>
                  <a:gd name="connsiteY516" fmla="*/ 37560 h 478666"/>
                  <a:gd name="connsiteX517" fmla="*/ 228180 w 897730"/>
                  <a:gd name="connsiteY517" fmla="*/ 36414 h 478666"/>
                  <a:gd name="connsiteX518" fmla="*/ 227034 w 897730"/>
                  <a:gd name="connsiteY518" fmla="*/ 34650 h 478666"/>
                  <a:gd name="connsiteX519" fmla="*/ 216542 w 897730"/>
                  <a:gd name="connsiteY519" fmla="*/ 34650 h 478666"/>
                  <a:gd name="connsiteX520" fmla="*/ 214249 w 897730"/>
                  <a:gd name="connsiteY520" fmla="*/ 33151 h 478666"/>
                  <a:gd name="connsiteX521" fmla="*/ 200848 w 897730"/>
                  <a:gd name="connsiteY521" fmla="*/ 32534 h 478666"/>
                  <a:gd name="connsiteX522" fmla="*/ 193265 w 897730"/>
                  <a:gd name="connsiteY522" fmla="*/ 36325 h 478666"/>
                  <a:gd name="connsiteX523" fmla="*/ 183655 w 897730"/>
                  <a:gd name="connsiteY523" fmla="*/ 36325 h 478666"/>
                  <a:gd name="connsiteX524" fmla="*/ 176690 w 897730"/>
                  <a:gd name="connsiteY524" fmla="*/ 36943 h 478666"/>
                  <a:gd name="connsiteX525" fmla="*/ 169371 w 897730"/>
                  <a:gd name="connsiteY525" fmla="*/ 42497 h 478666"/>
                  <a:gd name="connsiteX526" fmla="*/ 164081 w 897730"/>
                  <a:gd name="connsiteY526" fmla="*/ 42497 h 478666"/>
                  <a:gd name="connsiteX527" fmla="*/ 147770 w 897730"/>
                  <a:gd name="connsiteY527" fmla="*/ 43643 h 478666"/>
                  <a:gd name="connsiteX528" fmla="*/ 133751 w 897730"/>
                  <a:gd name="connsiteY528" fmla="*/ 46906 h 478666"/>
                  <a:gd name="connsiteX529" fmla="*/ 125287 w 897730"/>
                  <a:gd name="connsiteY529" fmla="*/ 48669 h 478666"/>
                  <a:gd name="connsiteX530" fmla="*/ 124758 w 897730"/>
                  <a:gd name="connsiteY530" fmla="*/ 50697 h 478666"/>
                  <a:gd name="connsiteX531" fmla="*/ 127403 w 897730"/>
                  <a:gd name="connsiteY531" fmla="*/ 53342 h 478666"/>
                  <a:gd name="connsiteX532" fmla="*/ 129696 w 897730"/>
                  <a:gd name="connsiteY532" fmla="*/ 53959 h 478666"/>
                  <a:gd name="connsiteX533" fmla="*/ 132076 w 897730"/>
                  <a:gd name="connsiteY533" fmla="*/ 51579 h 478666"/>
                  <a:gd name="connsiteX534" fmla="*/ 137631 w 897730"/>
                  <a:gd name="connsiteY534" fmla="*/ 50961 h 478666"/>
                  <a:gd name="connsiteX535" fmla="*/ 143450 w 897730"/>
                  <a:gd name="connsiteY535" fmla="*/ 52989 h 478666"/>
                  <a:gd name="connsiteX536" fmla="*/ 145213 w 897730"/>
                  <a:gd name="connsiteY536" fmla="*/ 55370 h 478666"/>
                  <a:gd name="connsiteX537" fmla="*/ 153942 w 897730"/>
                  <a:gd name="connsiteY537" fmla="*/ 56251 h 478666"/>
                  <a:gd name="connsiteX538" fmla="*/ 139659 w 897730"/>
                  <a:gd name="connsiteY538" fmla="*/ 58015 h 478666"/>
                  <a:gd name="connsiteX539" fmla="*/ 135250 w 897730"/>
                  <a:gd name="connsiteY539" fmla="*/ 59161 h 478666"/>
                  <a:gd name="connsiteX540" fmla="*/ 124141 w 897730"/>
                  <a:gd name="connsiteY540" fmla="*/ 60660 h 478666"/>
                  <a:gd name="connsiteX541" fmla="*/ 134369 w 897730"/>
                  <a:gd name="connsiteY541" fmla="*/ 62952 h 478666"/>
                  <a:gd name="connsiteX542" fmla="*/ 134986 w 897730"/>
                  <a:gd name="connsiteY542" fmla="*/ 64980 h 478666"/>
                  <a:gd name="connsiteX543" fmla="*/ 131459 w 897730"/>
                  <a:gd name="connsiteY543" fmla="*/ 68771 h 478666"/>
                  <a:gd name="connsiteX544" fmla="*/ 128285 w 897730"/>
                  <a:gd name="connsiteY544" fmla="*/ 71945 h 478666"/>
                  <a:gd name="connsiteX545" fmla="*/ 122730 w 897730"/>
                  <a:gd name="connsiteY545" fmla="*/ 70447 h 478666"/>
                  <a:gd name="connsiteX546" fmla="*/ 115148 w 897730"/>
                  <a:gd name="connsiteY546" fmla="*/ 68419 h 478666"/>
                  <a:gd name="connsiteX547" fmla="*/ 102628 w 897730"/>
                  <a:gd name="connsiteY547" fmla="*/ 69036 h 478666"/>
                  <a:gd name="connsiteX548" fmla="*/ 95927 w 897730"/>
                  <a:gd name="connsiteY548" fmla="*/ 70799 h 478666"/>
                  <a:gd name="connsiteX549" fmla="*/ 90725 w 897730"/>
                  <a:gd name="connsiteY549" fmla="*/ 73180 h 478666"/>
                  <a:gd name="connsiteX550" fmla="*/ 88080 w 897730"/>
                  <a:gd name="connsiteY550" fmla="*/ 70799 h 478666"/>
                  <a:gd name="connsiteX551" fmla="*/ 83407 w 897730"/>
                  <a:gd name="connsiteY551" fmla="*/ 75208 h 478666"/>
                  <a:gd name="connsiteX552" fmla="*/ 78470 w 897730"/>
                  <a:gd name="connsiteY552" fmla="*/ 73444 h 478666"/>
                  <a:gd name="connsiteX553" fmla="*/ 76442 w 897730"/>
                  <a:gd name="connsiteY553" fmla="*/ 74326 h 478666"/>
                  <a:gd name="connsiteX554" fmla="*/ 70887 w 897730"/>
                  <a:gd name="connsiteY554" fmla="*/ 74061 h 478666"/>
                  <a:gd name="connsiteX555" fmla="*/ 63569 w 897730"/>
                  <a:gd name="connsiteY555" fmla="*/ 78999 h 478666"/>
                  <a:gd name="connsiteX556" fmla="*/ 46024 w 897730"/>
                  <a:gd name="connsiteY556" fmla="*/ 77500 h 478666"/>
                  <a:gd name="connsiteX557" fmla="*/ 33768 w 897730"/>
                  <a:gd name="connsiteY557" fmla="*/ 77500 h 478666"/>
                  <a:gd name="connsiteX558" fmla="*/ 25569 w 897730"/>
                  <a:gd name="connsiteY558" fmla="*/ 77764 h 478666"/>
                  <a:gd name="connsiteX559" fmla="*/ 22395 w 897730"/>
                  <a:gd name="connsiteY559" fmla="*/ 81556 h 478666"/>
                  <a:gd name="connsiteX560" fmla="*/ 13930 w 897730"/>
                  <a:gd name="connsiteY560" fmla="*/ 83584 h 478666"/>
                  <a:gd name="connsiteX561" fmla="*/ 9258 w 897730"/>
                  <a:gd name="connsiteY561" fmla="*/ 87110 h 478666"/>
                  <a:gd name="connsiteX562" fmla="*/ 13930 w 897730"/>
                  <a:gd name="connsiteY562" fmla="*/ 89403 h 478666"/>
                  <a:gd name="connsiteX563" fmla="*/ 13666 w 897730"/>
                  <a:gd name="connsiteY563" fmla="*/ 92312 h 478666"/>
                  <a:gd name="connsiteX564" fmla="*/ 20102 w 897730"/>
                  <a:gd name="connsiteY564" fmla="*/ 94605 h 478666"/>
                  <a:gd name="connsiteX565" fmla="*/ 27685 w 897730"/>
                  <a:gd name="connsiteY565" fmla="*/ 93459 h 478666"/>
                  <a:gd name="connsiteX566" fmla="*/ 32093 w 897730"/>
                  <a:gd name="connsiteY566" fmla="*/ 97514 h 478666"/>
                  <a:gd name="connsiteX567" fmla="*/ 38794 w 897730"/>
                  <a:gd name="connsiteY567" fmla="*/ 99895 h 478666"/>
                  <a:gd name="connsiteX568" fmla="*/ 41704 w 897730"/>
                  <a:gd name="connsiteY568" fmla="*/ 99278 h 478666"/>
                  <a:gd name="connsiteX569" fmla="*/ 50697 w 897730"/>
                  <a:gd name="connsiteY569" fmla="*/ 100776 h 478666"/>
                  <a:gd name="connsiteX570" fmla="*/ 58896 w 897730"/>
                  <a:gd name="connsiteY570" fmla="*/ 99895 h 478666"/>
                  <a:gd name="connsiteX571" fmla="*/ 64716 w 897730"/>
                  <a:gd name="connsiteY571" fmla="*/ 98396 h 478666"/>
                  <a:gd name="connsiteX572" fmla="*/ 71681 w 897730"/>
                  <a:gd name="connsiteY572" fmla="*/ 100688 h 478666"/>
                  <a:gd name="connsiteX573" fmla="*/ 69917 w 897730"/>
                  <a:gd name="connsiteY573" fmla="*/ 102716 h 478666"/>
                  <a:gd name="connsiteX574" fmla="*/ 65509 w 897730"/>
                  <a:gd name="connsiteY574" fmla="*/ 102716 h 478666"/>
                  <a:gd name="connsiteX575" fmla="*/ 62335 w 897730"/>
                  <a:gd name="connsiteY575" fmla="*/ 100953 h 478666"/>
                  <a:gd name="connsiteX576" fmla="*/ 57662 w 897730"/>
                  <a:gd name="connsiteY576" fmla="*/ 102981 h 478666"/>
                  <a:gd name="connsiteX577" fmla="*/ 56516 w 897730"/>
                  <a:gd name="connsiteY577" fmla="*/ 104744 h 478666"/>
                  <a:gd name="connsiteX578" fmla="*/ 60043 w 897730"/>
                  <a:gd name="connsiteY578" fmla="*/ 106507 h 478666"/>
                  <a:gd name="connsiteX579" fmla="*/ 59425 w 897730"/>
                  <a:gd name="connsiteY579" fmla="*/ 106772 h 478666"/>
                  <a:gd name="connsiteX580" fmla="*/ 48052 w 897730"/>
                  <a:gd name="connsiteY580" fmla="*/ 104127 h 478666"/>
                  <a:gd name="connsiteX581" fmla="*/ 38706 w 897730"/>
                  <a:gd name="connsiteY581" fmla="*/ 103245 h 478666"/>
                  <a:gd name="connsiteX582" fmla="*/ 28831 w 897730"/>
                  <a:gd name="connsiteY582" fmla="*/ 101217 h 478666"/>
                  <a:gd name="connsiteX583" fmla="*/ 25304 w 897730"/>
                  <a:gd name="connsiteY583" fmla="*/ 103862 h 478666"/>
                  <a:gd name="connsiteX584" fmla="*/ 18339 w 897730"/>
                  <a:gd name="connsiteY584" fmla="*/ 103598 h 478666"/>
                  <a:gd name="connsiteX585" fmla="*/ 23629 w 897730"/>
                  <a:gd name="connsiteY585" fmla="*/ 98660 h 478666"/>
                  <a:gd name="connsiteX586" fmla="*/ 23894 w 897730"/>
                  <a:gd name="connsiteY586" fmla="*/ 96368 h 478666"/>
                  <a:gd name="connsiteX587" fmla="*/ 19838 w 897730"/>
                  <a:gd name="connsiteY587" fmla="*/ 99013 h 478666"/>
                  <a:gd name="connsiteX588" fmla="*/ 11109 w 897730"/>
                  <a:gd name="connsiteY588" fmla="*/ 97867 h 478666"/>
                  <a:gd name="connsiteX589" fmla="*/ 1499 w 897730"/>
                  <a:gd name="connsiteY589" fmla="*/ 100776 h 478666"/>
                  <a:gd name="connsiteX590" fmla="*/ 0 w 897730"/>
                  <a:gd name="connsiteY590" fmla="*/ 104303 h 478666"/>
                  <a:gd name="connsiteX591" fmla="*/ 882 w 897730"/>
                  <a:gd name="connsiteY591" fmla="*/ 114531 h 478666"/>
                  <a:gd name="connsiteX592" fmla="*/ 7318 w 897730"/>
                  <a:gd name="connsiteY592" fmla="*/ 112503 h 478666"/>
                  <a:gd name="connsiteX593" fmla="*/ 5819 w 897730"/>
                  <a:gd name="connsiteY593" fmla="*/ 108447 h 478666"/>
                  <a:gd name="connsiteX594" fmla="*/ 9610 w 897730"/>
                  <a:gd name="connsiteY594" fmla="*/ 105538 h 478666"/>
                  <a:gd name="connsiteX595" fmla="*/ 14019 w 897730"/>
                  <a:gd name="connsiteY595" fmla="*/ 104920 h 478666"/>
                  <a:gd name="connsiteX596" fmla="*/ 15782 w 897730"/>
                  <a:gd name="connsiteY596" fmla="*/ 111621 h 478666"/>
                  <a:gd name="connsiteX597" fmla="*/ 17545 w 897730"/>
                  <a:gd name="connsiteY597" fmla="*/ 114002 h 478666"/>
                  <a:gd name="connsiteX598" fmla="*/ 23100 w 897730"/>
                  <a:gd name="connsiteY598" fmla="*/ 116382 h 478666"/>
                  <a:gd name="connsiteX599" fmla="*/ 27156 w 897730"/>
                  <a:gd name="connsiteY599" fmla="*/ 114619 h 478666"/>
                  <a:gd name="connsiteX600" fmla="*/ 28919 w 897730"/>
                  <a:gd name="connsiteY600" fmla="*/ 120438 h 478666"/>
                  <a:gd name="connsiteX601" fmla="*/ 30683 w 897730"/>
                  <a:gd name="connsiteY601" fmla="*/ 124494 h 478666"/>
                  <a:gd name="connsiteX602" fmla="*/ 38882 w 897730"/>
                  <a:gd name="connsiteY602" fmla="*/ 130048 h 478666"/>
                  <a:gd name="connsiteX603" fmla="*/ 48493 w 897730"/>
                  <a:gd name="connsiteY603" fmla="*/ 130930 h 478666"/>
                  <a:gd name="connsiteX604" fmla="*/ 56692 w 897730"/>
                  <a:gd name="connsiteY604" fmla="*/ 131547 h 478666"/>
                  <a:gd name="connsiteX605" fmla="*/ 56957 w 897730"/>
                  <a:gd name="connsiteY605" fmla="*/ 128020 h 478666"/>
                  <a:gd name="connsiteX606" fmla="*/ 61012 w 897730"/>
                  <a:gd name="connsiteY606" fmla="*/ 130930 h 478666"/>
                  <a:gd name="connsiteX607" fmla="*/ 67713 w 897730"/>
                  <a:gd name="connsiteY607" fmla="*/ 130048 h 478666"/>
                  <a:gd name="connsiteX608" fmla="*/ 69741 w 897730"/>
                  <a:gd name="connsiteY608" fmla="*/ 126522 h 478666"/>
                  <a:gd name="connsiteX609" fmla="*/ 73268 w 897730"/>
                  <a:gd name="connsiteY609" fmla="*/ 123348 h 478666"/>
                  <a:gd name="connsiteX610" fmla="*/ 73885 w 897730"/>
                  <a:gd name="connsiteY610" fmla="*/ 128020 h 478666"/>
                  <a:gd name="connsiteX611" fmla="*/ 75913 w 897730"/>
                  <a:gd name="connsiteY611" fmla="*/ 129167 h 478666"/>
                  <a:gd name="connsiteX612" fmla="*/ 75031 w 897730"/>
                  <a:gd name="connsiteY612" fmla="*/ 125640 h 478666"/>
                  <a:gd name="connsiteX613" fmla="*/ 83495 w 897730"/>
                  <a:gd name="connsiteY613" fmla="*/ 130313 h 478666"/>
                  <a:gd name="connsiteX614" fmla="*/ 85788 w 897730"/>
                  <a:gd name="connsiteY614" fmla="*/ 125904 h 478666"/>
                  <a:gd name="connsiteX615" fmla="*/ 87551 w 897730"/>
                  <a:gd name="connsiteY615" fmla="*/ 128549 h 478666"/>
                  <a:gd name="connsiteX616" fmla="*/ 93635 w 897730"/>
                  <a:gd name="connsiteY616" fmla="*/ 127051 h 478666"/>
                  <a:gd name="connsiteX617" fmla="*/ 100688 w 897730"/>
                  <a:gd name="connsiteY617" fmla="*/ 122995 h 478666"/>
                  <a:gd name="connsiteX618" fmla="*/ 104480 w 897730"/>
                  <a:gd name="connsiteY618" fmla="*/ 128285 h 478666"/>
                  <a:gd name="connsiteX619" fmla="*/ 105978 w 897730"/>
                  <a:gd name="connsiteY619" fmla="*/ 125375 h 478666"/>
                  <a:gd name="connsiteX620" fmla="*/ 114443 w 897730"/>
                  <a:gd name="connsiteY620" fmla="*/ 129167 h 478666"/>
                  <a:gd name="connsiteX621" fmla="*/ 114707 w 897730"/>
                  <a:gd name="connsiteY621" fmla="*/ 132958 h 478666"/>
                  <a:gd name="connsiteX622" fmla="*/ 113825 w 897730"/>
                  <a:gd name="connsiteY622" fmla="*/ 137631 h 478666"/>
                  <a:gd name="connsiteX623" fmla="*/ 114090 w 897730"/>
                  <a:gd name="connsiteY623" fmla="*/ 144332 h 478666"/>
                  <a:gd name="connsiteX624" fmla="*/ 119380 w 897730"/>
                  <a:gd name="connsiteY624" fmla="*/ 137014 h 478666"/>
                  <a:gd name="connsiteX625" fmla="*/ 118234 w 897730"/>
                  <a:gd name="connsiteY625" fmla="*/ 128020 h 478666"/>
                  <a:gd name="connsiteX626" fmla="*/ 120526 w 897730"/>
                  <a:gd name="connsiteY626" fmla="*/ 123348 h 478666"/>
                  <a:gd name="connsiteX627" fmla="*/ 122554 w 897730"/>
                  <a:gd name="connsiteY627" fmla="*/ 123083 h 478666"/>
                  <a:gd name="connsiteX628" fmla="*/ 122025 w 897730"/>
                  <a:gd name="connsiteY628" fmla="*/ 127139 h 478666"/>
                  <a:gd name="connsiteX629" fmla="*/ 124053 w 897730"/>
                  <a:gd name="connsiteY629" fmla="*/ 123612 h 478666"/>
                  <a:gd name="connsiteX630" fmla="*/ 128726 w 897730"/>
                  <a:gd name="connsiteY630" fmla="*/ 126522 h 478666"/>
                  <a:gd name="connsiteX631" fmla="*/ 140717 w 897730"/>
                  <a:gd name="connsiteY631" fmla="*/ 125023 h 478666"/>
                  <a:gd name="connsiteX632" fmla="*/ 140981 w 897730"/>
                  <a:gd name="connsiteY632" fmla="*/ 128549 h 478666"/>
                  <a:gd name="connsiteX633" fmla="*/ 149446 w 897730"/>
                  <a:gd name="connsiteY633" fmla="*/ 130313 h 478666"/>
                  <a:gd name="connsiteX634" fmla="*/ 158791 w 897730"/>
                  <a:gd name="connsiteY634" fmla="*/ 129696 h 478666"/>
                  <a:gd name="connsiteX635" fmla="*/ 164346 w 897730"/>
                  <a:gd name="connsiteY635" fmla="*/ 135515 h 478666"/>
                  <a:gd name="connsiteX636" fmla="*/ 171399 w 897730"/>
                  <a:gd name="connsiteY636" fmla="*/ 134633 h 478666"/>
                  <a:gd name="connsiteX637" fmla="*/ 178365 w 897730"/>
                  <a:gd name="connsiteY637" fmla="*/ 136396 h 478666"/>
                  <a:gd name="connsiteX638" fmla="*/ 179511 w 897730"/>
                  <a:gd name="connsiteY638" fmla="*/ 141334 h 478666"/>
                  <a:gd name="connsiteX639" fmla="*/ 174573 w 897730"/>
                  <a:gd name="connsiteY639" fmla="*/ 141863 h 478666"/>
                  <a:gd name="connsiteX640" fmla="*/ 174309 w 897730"/>
                  <a:gd name="connsiteY640" fmla="*/ 145390 h 478666"/>
                  <a:gd name="connsiteX641" fmla="*/ 176337 w 897730"/>
                  <a:gd name="connsiteY641" fmla="*/ 150327 h 478666"/>
                  <a:gd name="connsiteX642" fmla="*/ 179246 w 897730"/>
                  <a:gd name="connsiteY642" fmla="*/ 153589 h 478666"/>
                  <a:gd name="connsiteX643" fmla="*/ 185947 w 897730"/>
                  <a:gd name="connsiteY643" fmla="*/ 151209 h 478666"/>
                  <a:gd name="connsiteX644" fmla="*/ 185418 w 897730"/>
                  <a:gd name="connsiteY644" fmla="*/ 156499 h 478666"/>
                  <a:gd name="connsiteX645" fmla="*/ 185418 w 897730"/>
                  <a:gd name="connsiteY645" fmla="*/ 159673 h 478666"/>
                  <a:gd name="connsiteX646" fmla="*/ 183038 w 897730"/>
                  <a:gd name="connsiteY646" fmla="*/ 163729 h 478666"/>
                  <a:gd name="connsiteX647" fmla="*/ 183655 w 897730"/>
                  <a:gd name="connsiteY647" fmla="*/ 166903 h 478666"/>
                  <a:gd name="connsiteX648" fmla="*/ 195293 w 897730"/>
                  <a:gd name="connsiteY648" fmla="*/ 170694 h 478666"/>
                  <a:gd name="connsiteX649" fmla="*/ 183038 w 897730"/>
                  <a:gd name="connsiteY649" fmla="*/ 170959 h 478666"/>
                  <a:gd name="connsiteX650" fmla="*/ 178629 w 897730"/>
                  <a:gd name="connsiteY650" fmla="*/ 179423 h 478666"/>
                  <a:gd name="connsiteX651" fmla="*/ 182420 w 897730"/>
                  <a:gd name="connsiteY651" fmla="*/ 180569 h 478666"/>
                  <a:gd name="connsiteX652" fmla="*/ 187358 w 897730"/>
                  <a:gd name="connsiteY652" fmla="*/ 180304 h 478666"/>
                  <a:gd name="connsiteX653" fmla="*/ 184184 w 897730"/>
                  <a:gd name="connsiteY653" fmla="*/ 184713 h 478666"/>
                  <a:gd name="connsiteX654" fmla="*/ 180657 w 897730"/>
                  <a:gd name="connsiteY654" fmla="*/ 186212 h 478666"/>
                  <a:gd name="connsiteX655" fmla="*/ 187622 w 897730"/>
                  <a:gd name="connsiteY655" fmla="*/ 187358 h 478666"/>
                  <a:gd name="connsiteX656" fmla="*/ 190532 w 897730"/>
                  <a:gd name="connsiteY656" fmla="*/ 190003 h 478666"/>
                  <a:gd name="connsiteX657" fmla="*/ 187358 w 897730"/>
                  <a:gd name="connsiteY657" fmla="*/ 191502 h 478666"/>
                  <a:gd name="connsiteX658" fmla="*/ 182685 w 897730"/>
                  <a:gd name="connsiteY658" fmla="*/ 193794 h 478666"/>
                  <a:gd name="connsiteX659" fmla="*/ 177747 w 897730"/>
                  <a:gd name="connsiteY659" fmla="*/ 193794 h 478666"/>
                  <a:gd name="connsiteX660" fmla="*/ 177130 w 897730"/>
                  <a:gd name="connsiteY660" fmla="*/ 199349 h 478666"/>
                  <a:gd name="connsiteX661" fmla="*/ 180392 w 897730"/>
                  <a:gd name="connsiteY661" fmla="*/ 203404 h 478666"/>
                  <a:gd name="connsiteX662" fmla="*/ 178012 w 897730"/>
                  <a:gd name="connsiteY662" fmla="*/ 205432 h 478666"/>
                  <a:gd name="connsiteX663" fmla="*/ 174485 w 897730"/>
                  <a:gd name="connsiteY663" fmla="*/ 210105 h 478666"/>
                  <a:gd name="connsiteX664" fmla="*/ 169195 w 897730"/>
                  <a:gd name="connsiteY664" fmla="*/ 212133 h 478666"/>
                  <a:gd name="connsiteX665" fmla="*/ 169812 w 897730"/>
                  <a:gd name="connsiteY665" fmla="*/ 217688 h 478666"/>
                  <a:gd name="connsiteX666" fmla="*/ 166285 w 897730"/>
                  <a:gd name="connsiteY666" fmla="*/ 222361 h 478666"/>
                  <a:gd name="connsiteX667" fmla="*/ 159320 w 897730"/>
                  <a:gd name="connsiteY667" fmla="*/ 225535 h 478666"/>
                  <a:gd name="connsiteX668" fmla="*/ 167167 w 897730"/>
                  <a:gd name="connsiteY668" fmla="*/ 225535 h 478666"/>
                  <a:gd name="connsiteX669" fmla="*/ 169812 w 897730"/>
                  <a:gd name="connsiteY669" fmla="*/ 228180 h 478666"/>
                  <a:gd name="connsiteX670" fmla="*/ 177395 w 897730"/>
                  <a:gd name="connsiteY670" fmla="*/ 226681 h 478666"/>
                  <a:gd name="connsiteX671" fmla="*/ 186123 w 897730"/>
                  <a:gd name="connsiteY671" fmla="*/ 223154 h 478666"/>
                  <a:gd name="connsiteX672" fmla="*/ 194323 w 897730"/>
                  <a:gd name="connsiteY672" fmla="*/ 220245 h 478666"/>
                  <a:gd name="connsiteX673" fmla="*/ 203934 w 897730"/>
                  <a:gd name="connsiteY673" fmla="*/ 217600 h 478666"/>
                  <a:gd name="connsiteX674" fmla="*/ 208871 w 897730"/>
                  <a:gd name="connsiteY674" fmla="*/ 217600 h 478666"/>
                  <a:gd name="connsiteX675" fmla="*/ 214955 w 897730"/>
                  <a:gd name="connsiteY675" fmla="*/ 217864 h 478666"/>
                  <a:gd name="connsiteX676" fmla="*/ 214955 w 897730"/>
                  <a:gd name="connsiteY676" fmla="*/ 219892 h 478666"/>
                  <a:gd name="connsiteX677" fmla="*/ 209400 w 897730"/>
                  <a:gd name="connsiteY677" fmla="*/ 221655 h 478666"/>
                  <a:gd name="connsiteX678" fmla="*/ 208518 w 897730"/>
                  <a:gd name="connsiteY678" fmla="*/ 224829 h 478666"/>
                  <a:gd name="connsiteX679" fmla="*/ 197144 w 897730"/>
                  <a:gd name="connsiteY679" fmla="*/ 222802 h 478666"/>
                  <a:gd name="connsiteX680" fmla="*/ 230120 w 897730"/>
                  <a:gd name="connsiteY680" fmla="*/ 229238 h 478666"/>
                  <a:gd name="connsiteX681" fmla="*/ 196880 w 897730"/>
                  <a:gd name="connsiteY681" fmla="*/ 225711 h 478666"/>
                  <a:gd name="connsiteX682" fmla="*/ 188151 w 897730"/>
                  <a:gd name="connsiteY682" fmla="*/ 229767 h 478666"/>
                  <a:gd name="connsiteX683" fmla="*/ 199790 w 897730"/>
                  <a:gd name="connsiteY683" fmla="*/ 229150 h 478666"/>
                  <a:gd name="connsiteX684" fmla="*/ 210017 w 897730"/>
                  <a:gd name="connsiteY684" fmla="*/ 228532 h 478666"/>
                  <a:gd name="connsiteX685" fmla="*/ 220509 w 897730"/>
                  <a:gd name="connsiteY685" fmla="*/ 229679 h 478666"/>
                  <a:gd name="connsiteX686" fmla="*/ 222272 w 897730"/>
                  <a:gd name="connsiteY686" fmla="*/ 233205 h 478666"/>
                  <a:gd name="connsiteX687" fmla="*/ 221920 w 897730"/>
                  <a:gd name="connsiteY687" fmla="*/ 238143 h 478666"/>
                  <a:gd name="connsiteX688" fmla="*/ 216101 w 897730"/>
                  <a:gd name="connsiteY688" fmla="*/ 238760 h 478666"/>
                  <a:gd name="connsiteX689" fmla="*/ 213191 w 897730"/>
                  <a:gd name="connsiteY689" fmla="*/ 236379 h 478666"/>
                  <a:gd name="connsiteX690" fmla="*/ 204462 w 897730"/>
                  <a:gd name="connsiteY690" fmla="*/ 235498 h 478666"/>
                  <a:gd name="connsiteX691" fmla="*/ 206490 w 897730"/>
                  <a:gd name="connsiteY691" fmla="*/ 235498 h 478666"/>
                  <a:gd name="connsiteX692" fmla="*/ 198643 w 897730"/>
                  <a:gd name="connsiteY692" fmla="*/ 236027 h 478666"/>
                  <a:gd name="connsiteX693" fmla="*/ 192560 w 897730"/>
                  <a:gd name="connsiteY693" fmla="*/ 234263 h 478666"/>
                  <a:gd name="connsiteX694" fmla="*/ 180040 w 897730"/>
                  <a:gd name="connsiteY694" fmla="*/ 236291 h 478666"/>
                  <a:gd name="connsiteX695" fmla="*/ 177395 w 897730"/>
                  <a:gd name="connsiteY695" fmla="*/ 238672 h 478666"/>
                  <a:gd name="connsiteX696" fmla="*/ 183478 w 897730"/>
                  <a:gd name="connsiteY696" fmla="*/ 242199 h 478666"/>
                  <a:gd name="connsiteX697" fmla="*/ 189915 w 897730"/>
                  <a:gd name="connsiteY697" fmla="*/ 243697 h 478666"/>
                  <a:gd name="connsiteX698" fmla="*/ 197497 w 897730"/>
                  <a:gd name="connsiteY698" fmla="*/ 243962 h 478666"/>
                  <a:gd name="connsiteX699" fmla="*/ 202435 w 897730"/>
                  <a:gd name="connsiteY699" fmla="*/ 246607 h 478666"/>
                  <a:gd name="connsiteX700" fmla="*/ 205961 w 897730"/>
                  <a:gd name="connsiteY700" fmla="*/ 251280 h 478666"/>
                  <a:gd name="connsiteX701" fmla="*/ 215307 w 897730"/>
                  <a:gd name="connsiteY701" fmla="*/ 251544 h 478666"/>
                  <a:gd name="connsiteX702" fmla="*/ 222361 w 897730"/>
                  <a:gd name="connsiteY702" fmla="*/ 253308 h 478666"/>
                  <a:gd name="connsiteX703" fmla="*/ 229062 w 897730"/>
                  <a:gd name="connsiteY703" fmla="*/ 259127 h 478666"/>
                  <a:gd name="connsiteX704" fmla="*/ 225535 w 897730"/>
                  <a:gd name="connsiteY704" fmla="*/ 264417 h 478666"/>
                  <a:gd name="connsiteX705" fmla="*/ 220862 w 897730"/>
                  <a:gd name="connsiteY705" fmla="*/ 267327 h 478666"/>
                  <a:gd name="connsiteX706" fmla="*/ 218569 w 897730"/>
                  <a:gd name="connsiteY706" fmla="*/ 270853 h 478666"/>
                  <a:gd name="connsiteX707" fmla="*/ 214161 w 897730"/>
                  <a:gd name="connsiteY707" fmla="*/ 275791 h 478666"/>
                  <a:gd name="connsiteX708" fmla="*/ 211251 w 897730"/>
                  <a:gd name="connsiteY708" fmla="*/ 278700 h 478666"/>
                  <a:gd name="connsiteX709" fmla="*/ 210634 w 897730"/>
                  <a:gd name="connsiteY709" fmla="*/ 283638 h 478666"/>
                  <a:gd name="connsiteX710" fmla="*/ 199525 w 897730"/>
                  <a:gd name="connsiteY710" fmla="*/ 283373 h 478666"/>
                  <a:gd name="connsiteX711" fmla="*/ 193706 w 897730"/>
                  <a:gd name="connsiteY711" fmla="*/ 279317 h 478666"/>
                  <a:gd name="connsiteX712" fmla="*/ 186123 w 897730"/>
                  <a:gd name="connsiteY712" fmla="*/ 279317 h 478666"/>
                  <a:gd name="connsiteX713" fmla="*/ 180921 w 897730"/>
                  <a:gd name="connsiteY713" fmla="*/ 279935 h 478666"/>
                  <a:gd name="connsiteX714" fmla="*/ 178541 w 897730"/>
                  <a:gd name="connsiteY714" fmla="*/ 281698 h 478666"/>
                  <a:gd name="connsiteX715" fmla="*/ 172105 w 897730"/>
                  <a:gd name="connsiteY715" fmla="*/ 289545 h 478666"/>
                  <a:gd name="connsiteX716" fmla="*/ 174485 w 897730"/>
                  <a:gd name="connsiteY716" fmla="*/ 286900 h 478666"/>
                  <a:gd name="connsiteX717" fmla="*/ 181186 w 897730"/>
                  <a:gd name="connsiteY717" fmla="*/ 289809 h 478666"/>
                  <a:gd name="connsiteX718" fmla="*/ 189650 w 897730"/>
                  <a:gd name="connsiteY718" fmla="*/ 290338 h 478666"/>
                  <a:gd name="connsiteX719" fmla="*/ 200759 w 897730"/>
                  <a:gd name="connsiteY719" fmla="*/ 289809 h 478666"/>
                  <a:gd name="connsiteX720" fmla="*/ 207460 w 897730"/>
                  <a:gd name="connsiteY720" fmla="*/ 291573 h 478666"/>
                  <a:gd name="connsiteX721" fmla="*/ 205697 w 897730"/>
                  <a:gd name="connsiteY721" fmla="*/ 294747 h 478666"/>
                  <a:gd name="connsiteX722" fmla="*/ 195822 w 897730"/>
                  <a:gd name="connsiteY722" fmla="*/ 295364 h 478666"/>
                  <a:gd name="connsiteX723" fmla="*/ 182420 w 897730"/>
                  <a:gd name="connsiteY723" fmla="*/ 294747 h 478666"/>
                  <a:gd name="connsiteX724" fmla="*/ 176601 w 897730"/>
                  <a:gd name="connsiteY724" fmla="*/ 295629 h 478666"/>
                  <a:gd name="connsiteX725" fmla="*/ 167873 w 897730"/>
                  <a:gd name="connsiteY725" fmla="*/ 292984 h 478666"/>
                  <a:gd name="connsiteX726" fmla="*/ 166374 w 897730"/>
                  <a:gd name="connsiteY726" fmla="*/ 297039 h 478666"/>
                  <a:gd name="connsiteX727" fmla="*/ 159937 w 897730"/>
                  <a:gd name="connsiteY727" fmla="*/ 300566 h 478666"/>
                  <a:gd name="connsiteX728" fmla="*/ 170165 w 897730"/>
                  <a:gd name="connsiteY728" fmla="*/ 301183 h 478666"/>
                  <a:gd name="connsiteX729" fmla="*/ 178012 w 897730"/>
                  <a:gd name="connsiteY729" fmla="*/ 298538 h 478666"/>
                  <a:gd name="connsiteX730" fmla="*/ 181274 w 897730"/>
                  <a:gd name="connsiteY730" fmla="*/ 300566 h 478666"/>
                  <a:gd name="connsiteX731" fmla="*/ 192648 w 897730"/>
                  <a:gd name="connsiteY731" fmla="*/ 299684 h 478666"/>
                  <a:gd name="connsiteX732" fmla="*/ 200230 w 897730"/>
                  <a:gd name="connsiteY732" fmla="*/ 300302 h 478666"/>
                  <a:gd name="connsiteX733" fmla="*/ 205520 w 897730"/>
                  <a:gd name="connsiteY733" fmla="*/ 300919 h 478666"/>
                  <a:gd name="connsiteX734" fmla="*/ 208783 w 897730"/>
                  <a:gd name="connsiteY734" fmla="*/ 302418 h 478666"/>
                  <a:gd name="connsiteX735" fmla="*/ 209047 w 897730"/>
                  <a:gd name="connsiteY735" fmla="*/ 304710 h 478666"/>
                  <a:gd name="connsiteX736" fmla="*/ 201994 w 897730"/>
                  <a:gd name="connsiteY736" fmla="*/ 304974 h 478666"/>
                  <a:gd name="connsiteX737" fmla="*/ 186564 w 897730"/>
                  <a:gd name="connsiteY737" fmla="*/ 304357 h 478666"/>
                  <a:gd name="connsiteX738" fmla="*/ 153854 w 897730"/>
                  <a:gd name="connsiteY738" fmla="*/ 305239 h 478666"/>
                  <a:gd name="connsiteX739" fmla="*/ 152090 w 897730"/>
                  <a:gd name="connsiteY739" fmla="*/ 307267 h 478666"/>
                  <a:gd name="connsiteX740" fmla="*/ 179511 w 897730"/>
                  <a:gd name="connsiteY740" fmla="*/ 308149 h 478666"/>
                  <a:gd name="connsiteX741" fmla="*/ 186212 w 897730"/>
                  <a:gd name="connsiteY741" fmla="*/ 308766 h 478666"/>
                  <a:gd name="connsiteX742" fmla="*/ 169019 w 897730"/>
                  <a:gd name="connsiteY742" fmla="*/ 310265 h 478666"/>
                  <a:gd name="connsiteX743" fmla="*/ 166109 w 897730"/>
                  <a:gd name="connsiteY743" fmla="*/ 311411 h 478666"/>
                  <a:gd name="connsiteX744" fmla="*/ 151209 w 897730"/>
                  <a:gd name="connsiteY744" fmla="*/ 309912 h 478666"/>
                  <a:gd name="connsiteX745" fmla="*/ 150327 w 897730"/>
                  <a:gd name="connsiteY745" fmla="*/ 313439 h 478666"/>
                  <a:gd name="connsiteX746" fmla="*/ 151209 w 897730"/>
                  <a:gd name="connsiteY746" fmla="*/ 315467 h 478666"/>
                  <a:gd name="connsiteX747" fmla="*/ 157645 w 897730"/>
                  <a:gd name="connsiteY747" fmla="*/ 316348 h 478666"/>
                  <a:gd name="connsiteX748" fmla="*/ 150062 w 897730"/>
                  <a:gd name="connsiteY748" fmla="*/ 318993 h 478666"/>
                  <a:gd name="connsiteX749" fmla="*/ 164081 w 897730"/>
                  <a:gd name="connsiteY749" fmla="*/ 319875 h 478666"/>
                  <a:gd name="connsiteX750" fmla="*/ 164346 w 897730"/>
                  <a:gd name="connsiteY750" fmla="*/ 322520 h 478666"/>
                  <a:gd name="connsiteX751" fmla="*/ 163200 w 897730"/>
                  <a:gd name="connsiteY751" fmla="*/ 324548 h 478666"/>
                  <a:gd name="connsiteX752" fmla="*/ 156499 w 897730"/>
                  <a:gd name="connsiteY752" fmla="*/ 325430 h 478666"/>
                  <a:gd name="connsiteX753" fmla="*/ 148916 w 897730"/>
                  <a:gd name="connsiteY753" fmla="*/ 325165 h 478666"/>
                  <a:gd name="connsiteX754" fmla="*/ 149181 w 897730"/>
                  <a:gd name="connsiteY754" fmla="*/ 328339 h 478666"/>
                  <a:gd name="connsiteX755" fmla="*/ 142480 w 897730"/>
                  <a:gd name="connsiteY755" fmla="*/ 332130 h 478666"/>
                  <a:gd name="connsiteX756" fmla="*/ 150327 w 897730"/>
                  <a:gd name="connsiteY756" fmla="*/ 332130 h 478666"/>
                  <a:gd name="connsiteX757" fmla="*/ 153501 w 897730"/>
                  <a:gd name="connsiteY757" fmla="*/ 329485 h 478666"/>
                  <a:gd name="connsiteX758" fmla="*/ 166374 w 897730"/>
                  <a:gd name="connsiteY758" fmla="*/ 327986 h 478666"/>
                  <a:gd name="connsiteX759" fmla="*/ 170429 w 897730"/>
                  <a:gd name="connsiteY759" fmla="*/ 327722 h 478666"/>
                  <a:gd name="connsiteX760" fmla="*/ 177747 w 897730"/>
                  <a:gd name="connsiteY760" fmla="*/ 325958 h 478666"/>
                  <a:gd name="connsiteX761" fmla="*/ 193177 w 897730"/>
                  <a:gd name="connsiteY761" fmla="*/ 322167 h 478666"/>
                  <a:gd name="connsiteX762" fmla="*/ 201906 w 897730"/>
                  <a:gd name="connsiteY762" fmla="*/ 320139 h 478666"/>
                  <a:gd name="connsiteX763" fmla="*/ 201641 w 897730"/>
                  <a:gd name="connsiteY763" fmla="*/ 321286 h 478666"/>
                  <a:gd name="connsiteX764" fmla="*/ 194059 w 897730"/>
                  <a:gd name="connsiteY764" fmla="*/ 323049 h 478666"/>
                  <a:gd name="connsiteX765" fmla="*/ 175720 w 897730"/>
                  <a:gd name="connsiteY765" fmla="*/ 329485 h 478666"/>
                  <a:gd name="connsiteX766" fmla="*/ 170165 w 897730"/>
                  <a:gd name="connsiteY766" fmla="*/ 332395 h 478666"/>
                  <a:gd name="connsiteX767" fmla="*/ 167255 w 897730"/>
                  <a:gd name="connsiteY767" fmla="*/ 333805 h 478666"/>
                  <a:gd name="connsiteX768" fmla="*/ 161172 w 897730"/>
                  <a:gd name="connsiteY768" fmla="*/ 333805 h 478666"/>
                  <a:gd name="connsiteX769" fmla="*/ 156499 w 897730"/>
                  <a:gd name="connsiteY769" fmla="*/ 333541 h 478666"/>
                  <a:gd name="connsiteX770" fmla="*/ 144508 w 897730"/>
                  <a:gd name="connsiteY770" fmla="*/ 335833 h 478666"/>
                  <a:gd name="connsiteX771" fmla="*/ 150944 w 897730"/>
                  <a:gd name="connsiteY771" fmla="*/ 339360 h 478666"/>
                  <a:gd name="connsiteX772" fmla="*/ 151561 w 897730"/>
                  <a:gd name="connsiteY772" fmla="*/ 342534 h 478666"/>
                  <a:gd name="connsiteX773" fmla="*/ 147770 w 897730"/>
                  <a:gd name="connsiteY773" fmla="*/ 345444 h 478666"/>
                  <a:gd name="connsiteX774" fmla="*/ 144861 w 897730"/>
                  <a:gd name="connsiteY774" fmla="*/ 350734 h 478666"/>
                  <a:gd name="connsiteX775" fmla="*/ 148652 w 897730"/>
                  <a:gd name="connsiteY775" fmla="*/ 349235 h 478666"/>
                  <a:gd name="connsiteX776" fmla="*/ 155353 w 897730"/>
                  <a:gd name="connsiteY776" fmla="*/ 355319 h 478666"/>
                  <a:gd name="connsiteX777" fmla="*/ 154824 w 897730"/>
                  <a:gd name="connsiteY777" fmla="*/ 352673 h 478666"/>
                  <a:gd name="connsiteX778" fmla="*/ 154824 w 897730"/>
                  <a:gd name="connsiteY778" fmla="*/ 348618 h 478666"/>
                  <a:gd name="connsiteX779" fmla="*/ 166197 w 897730"/>
                  <a:gd name="connsiteY779" fmla="*/ 349500 h 478666"/>
                  <a:gd name="connsiteX780" fmla="*/ 172017 w 897730"/>
                  <a:gd name="connsiteY780" fmla="*/ 345708 h 478666"/>
                  <a:gd name="connsiteX781" fmla="*/ 175543 w 897730"/>
                  <a:gd name="connsiteY781" fmla="*/ 348353 h 478666"/>
                  <a:gd name="connsiteX782" fmla="*/ 172898 w 897730"/>
                  <a:gd name="connsiteY782" fmla="*/ 350381 h 478666"/>
                  <a:gd name="connsiteX783" fmla="*/ 158615 w 897730"/>
                  <a:gd name="connsiteY783" fmla="*/ 354437 h 478666"/>
                  <a:gd name="connsiteX784" fmla="*/ 156852 w 897730"/>
                  <a:gd name="connsiteY784" fmla="*/ 361755 h 478666"/>
                  <a:gd name="connsiteX785" fmla="*/ 154824 w 897730"/>
                  <a:gd name="connsiteY785" fmla="*/ 367838 h 478666"/>
                  <a:gd name="connsiteX786" fmla="*/ 154206 w 897730"/>
                  <a:gd name="connsiteY786" fmla="*/ 373129 h 478666"/>
                  <a:gd name="connsiteX787" fmla="*/ 151032 w 897730"/>
                  <a:gd name="connsiteY787" fmla="*/ 376655 h 478666"/>
                  <a:gd name="connsiteX788" fmla="*/ 158615 w 897730"/>
                  <a:gd name="connsiteY788" fmla="*/ 374010 h 478666"/>
                  <a:gd name="connsiteX789" fmla="*/ 168578 w 897730"/>
                  <a:gd name="connsiteY789" fmla="*/ 369602 h 478666"/>
                  <a:gd name="connsiteX790" fmla="*/ 181979 w 897730"/>
                  <a:gd name="connsiteY790" fmla="*/ 366957 h 478666"/>
                  <a:gd name="connsiteX791" fmla="*/ 177571 w 897730"/>
                  <a:gd name="connsiteY791" fmla="*/ 370748 h 478666"/>
                  <a:gd name="connsiteX792" fmla="*/ 170253 w 897730"/>
                  <a:gd name="connsiteY792" fmla="*/ 372511 h 478666"/>
                  <a:gd name="connsiteX793" fmla="*/ 158879 w 897730"/>
                  <a:gd name="connsiteY793" fmla="*/ 376920 h 478666"/>
                  <a:gd name="connsiteX794" fmla="*/ 159497 w 897730"/>
                  <a:gd name="connsiteY794" fmla="*/ 379565 h 478666"/>
                  <a:gd name="connsiteX795" fmla="*/ 161260 w 897730"/>
                  <a:gd name="connsiteY795" fmla="*/ 382474 h 478666"/>
                  <a:gd name="connsiteX796" fmla="*/ 170253 w 897730"/>
                  <a:gd name="connsiteY796" fmla="*/ 380094 h 478666"/>
                  <a:gd name="connsiteX797" fmla="*/ 173515 w 897730"/>
                  <a:gd name="connsiteY797" fmla="*/ 382739 h 478666"/>
                  <a:gd name="connsiteX798" fmla="*/ 167696 w 897730"/>
                  <a:gd name="connsiteY798" fmla="*/ 386530 h 478666"/>
                  <a:gd name="connsiteX799" fmla="*/ 167167 w 897730"/>
                  <a:gd name="connsiteY799" fmla="*/ 386178 h 478666"/>
                  <a:gd name="connsiteX800" fmla="*/ 161084 w 897730"/>
                  <a:gd name="connsiteY800" fmla="*/ 386530 h 478666"/>
                  <a:gd name="connsiteX801" fmla="*/ 155529 w 897730"/>
                  <a:gd name="connsiteY801" fmla="*/ 390057 h 478666"/>
                  <a:gd name="connsiteX802" fmla="*/ 160202 w 897730"/>
                  <a:gd name="connsiteY802" fmla="*/ 390057 h 478666"/>
                  <a:gd name="connsiteX803" fmla="*/ 163993 w 897730"/>
                  <a:gd name="connsiteY803" fmla="*/ 388029 h 478666"/>
                  <a:gd name="connsiteX804" fmla="*/ 166903 w 897730"/>
                  <a:gd name="connsiteY804" fmla="*/ 390674 h 478666"/>
                  <a:gd name="connsiteX805" fmla="*/ 163729 w 897730"/>
                  <a:gd name="connsiteY805" fmla="*/ 393584 h 478666"/>
                  <a:gd name="connsiteX806" fmla="*/ 161701 w 897730"/>
                  <a:gd name="connsiteY806" fmla="*/ 397992 h 478666"/>
                  <a:gd name="connsiteX807" fmla="*/ 165756 w 897730"/>
                  <a:gd name="connsiteY807" fmla="*/ 401254 h 478666"/>
                  <a:gd name="connsiteX808" fmla="*/ 167255 w 897730"/>
                  <a:gd name="connsiteY808" fmla="*/ 401254 h 478666"/>
                  <a:gd name="connsiteX809" fmla="*/ 169019 w 897730"/>
                  <a:gd name="connsiteY809" fmla="*/ 406192 h 478666"/>
                  <a:gd name="connsiteX810" fmla="*/ 173075 w 897730"/>
                  <a:gd name="connsiteY810" fmla="*/ 408837 h 478666"/>
                  <a:gd name="connsiteX811" fmla="*/ 177747 w 897730"/>
                  <a:gd name="connsiteY811" fmla="*/ 408572 h 478666"/>
                  <a:gd name="connsiteX812" fmla="*/ 175102 w 897730"/>
                  <a:gd name="connsiteY812" fmla="*/ 411217 h 478666"/>
                  <a:gd name="connsiteX813" fmla="*/ 176249 w 897730"/>
                  <a:gd name="connsiteY813" fmla="*/ 413245 h 478666"/>
                  <a:gd name="connsiteX814" fmla="*/ 180921 w 897730"/>
                  <a:gd name="connsiteY814" fmla="*/ 411746 h 478666"/>
                  <a:gd name="connsiteX815" fmla="*/ 186741 w 897730"/>
                  <a:gd name="connsiteY815" fmla="*/ 410600 h 478666"/>
                  <a:gd name="connsiteX816" fmla="*/ 196086 w 897730"/>
                  <a:gd name="connsiteY816" fmla="*/ 410865 h 478666"/>
                  <a:gd name="connsiteX817" fmla="*/ 189650 w 897730"/>
                  <a:gd name="connsiteY817" fmla="*/ 412011 h 478666"/>
                  <a:gd name="connsiteX818" fmla="*/ 182332 w 897730"/>
                  <a:gd name="connsiteY818" fmla="*/ 412893 h 478666"/>
                  <a:gd name="connsiteX819" fmla="*/ 178805 w 897730"/>
                  <a:gd name="connsiteY819" fmla="*/ 413774 h 478666"/>
                  <a:gd name="connsiteX820" fmla="*/ 174750 w 897730"/>
                  <a:gd name="connsiteY820" fmla="*/ 415273 h 478666"/>
                  <a:gd name="connsiteX821" fmla="*/ 165404 w 897730"/>
                  <a:gd name="connsiteY821" fmla="*/ 416155 h 478666"/>
                  <a:gd name="connsiteX822" fmla="*/ 167432 w 897730"/>
                  <a:gd name="connsiteY822" fmla="*/ 419946 h 478666"/>
                  <a:gd name="connsiteX823" fmla="*/ 173868 w 897730"/>
                  <a:gd name="connsiteY823" fmla="*/ 420563 h 478666"/>
                  <a:gd name="connsiteX824" fmla="*/ 174750 w 897730"/>
                  <a:gd name="connsiteY824" fmla="*/ 426118 h 478666"/>
                  <a:gd name="connsiteX825" fmla="*/ 176513 w 897730"/>
                  <a:gd name="connsiteY825" fmla="*/ 429645 h 478666"/>
                  <a:gd name="connsiteX826" fmla="*/ 178276 w 897730"/>
                  <a:gd name="connsiteY826" fmla="*/ 432290 h 478666"/>
                  <a:gd name="connsiteX827" fmla="*/ 180304 w 897730"/>
                  <a:gd name="connsiteY827" fmla="*/ 434582 h 478666"/>
                  <a:gd name="connsiteX828" fmla="*/ 180304 w 897730"/>
                  <a:gd name="connsiteY828" fmla="*/ 438726 h 478666"/>
                  <a:gd name="connsiteX829" fmla="*/ 181450 w 897730"/>
                  <a:gd name="connsiteY829" fmla="*/ 442253 h 478666"/>
                  <a:gd name="connsiteX830" fmla="*/ 184625 w 897730"/>
                  <a:gd name="connsiteY830" fmla="*/ 446661 h 478666"/>
                  <a:gd name="connsiteX831" fmla="*/ 187270 w 897730"/>
                  <a:gd name="connsiteY831" fmla="*/ 448953 h 478666"/>
                  <a:gd name="connsiteX832" fmla="*/ 189650 w 897730"/>
                  <a:gd name="connsiteY832" fmla="*/ 452480 h 478666"/>
                  <a:gd name="connsiteX833" fmla="*/ 190532 w 897730"/>
                  <a:gd name="connsiteY833" fmla="*/ 460327 h 478666"/>
                  <a:gd name="connsiteX834" fmla="*/ 192560 w 897730"/>
                  <a:gd name="connsiteY834" fmla="*/ 461209 h 478666"/>
                  <a:gd name="connsiteX835" fmla="*/ 193970 w 897730"/>
                  <a:gd name="connsiteY835" fmla="*/ 453626 h 478666"/>
                  <a:gd name="connsiteX836" fmla="*/ 195998 w 897730"/>
                  <a:gd name="connsiteY836" fmla="*/ 456007 h 478666"/>
                  <a:gd name="connsiteX837" fmla="*/ 199525 w 897730"/>
                  <a:gd name="connsiteY837" fmla="*/ 458035 h 478666"/>
                  <a:gd name="connsiteX838" fmla="*/ 207372 w 897730"/>
                  <a:gd name="connsiteY838" fmla="*/ 458652 h 478666"/>
                  <a:gd name="connsiteX839" fmla="*/ 217864 w 897730"/>
                  <a:gd name="connsiteY839" fmla="*/ 456889 h 478666"/>
                  <a:gd name="connsiteX840" fmla="*/ 222801 w 897730"/>
                  <a:gd name="connsiteY840" fmla="*/ 454244 h 478666"/>
                  <a:gd name="connsiteX841" fmla="*/ 223948 w 897730"/>
                  <a:gd name="connsiteY841" fmla="*/ 456889 h 478666"/>
                  <a:gd name="connsiteX842" fmla="*/ 227474 w 897730"/>
                  <a:gd name="connsiteY842" fmla="*/ 456360 h 478666"/>
                  <a:gd name="connsiteX843" fmla="*/ 230120 w 897730"/>
                  <a:gd name="connsiteY843" fmla="*/ 458387 h 478666"/>
                  <a:gd name="connsiteX844" fmla="*/ 231266 w 897730"/>
                  <a:gd name="connsiteY844" fmla="*/ 460415 h 478666"/>
                  <a:gd name="connsiteX845" fmla="*/ 235674 w 897730"/>
                  <a:gd name="connsiteY845" fmla="*/ 455742 h 478666"/>
                  <a:gd name="connsiteX846" fmla="*/ 234792 w 897730"/>
                  <a:gd name="connsiteY846" fmla="*/ 458035 h 478666"/>
                  <a:gd name="connsiteX847" fmla="*/ 233911 w 897730"/>
                  <a:gd name="connsiteY847" fmla="*/ 460327 h 478666"/>
                  <a:gd name="connsiteX848" fmla="*/ 233293 w 897730"/>
                  <a:gd name="connsiteY848" fmla="*/ 464118 h 478666"/>
                  <a:gd name="connsiteX849" fmla="*/ 236556 w 897730"/>
                  <a:gd name="connsiteY849" fmla="*/ 467028 h 478666"/>
                  <a:gd name="connsiteX850" fmla="*/ 234792 w 897730"/>
                  <a:gd name="connsiteY850" fmla="*/ 469937 h 478666"/>
                  <a:gd name="connsiteX851" fmla="*/ 237966 w 897730"/>
                  <a:gd name="connsiteY851" fmla="*/ 473464 h 478666"/>
                  <a:gd name="connsiteX852" fmla="*/ 244667 w 897730"/>
                  <a:gd name="connsiteY852" fmla="*/ 473729 h 478666"/>
                  <a:gd name="connsiteX853" fmla="*/ 248458 w 897730"/>
                  <a:gd name="connsiteY853" fmla="*/ 476903 h 478666"/>
                  <a:gd name="connsiteX854" fmla="*/ 254013 w 897730"/>
                  <a:gd name="connsiteY854" fmla="*/ 478666 h 478666"/>
                  <a:gd name="connsiteX855" fmla="*/ 256394 w 897730"/>
                  <a:gd name="connsiteY855" fmla="*/ 474258 h 478666"/>
                  <a:gd name="connsiteX856" fmla="*/ 258686 w 897730"/>
                  <a:gd name="connsiteY856" fmla="*/ 470731 h 478666"/>
                  <a:gd name="connsiteX857" fmla="*/ 258422 w 897730"/>
                  <a:gd name="connsiteY857" fmla="*/ 475404 h 478666"/>
                  <a:gd name="connsiteX858" fmla="*/ 261595 w 897730"/>
                  <a:gd name="connsiteY858" fmla="*/ 478313 h 478666"/>
                  <a:gd name="connsiteX859" fmla="*/ 265387 w 897730"/>
                  <a:gd name="connsiteY859" fmla="*/ 474258 h 478666"/>
                  <a:gd name="connsiteX860" fmla="*/ 270324 w 897730"/>
                  <a:gd name="connsiteY860" fmla="*/ 471613 h 478666"/>
                  <a:gd name="connsiteX861" fmla="*/ 270589 w 897730"/>
                  <a:gd name="connsiteY861" fmla="*/ 468086 h 478666"/>
                  <a:gd name="connsiteX862" fmla="*/ 274115 w 897730"/>
                  <a:gd name="connsiteY862" fmla="*/ 465705 h 478666"/>
                  <a:gd name="connsiteX863" fmla="*/ 279317 w 897730"/>
                  <a:gd name="connsiteY863" fmla="*/ 463942 h 478666"/>
                  <a:gd name="connsiteX864" fmla="*/ 281081 w 897730"/>
                  <a:gd name="connsiteY864" fmla="*/ 460680 h 478666"/>
                  <a:gd name="connsiteX865" fmla="*/ 281963 w 897730"/>
                  <a:gd name="connsiteY865" fmla="*/ 457241 h 478666"/>
                  <a:gd name="connsiteX866" fmla="*/ 283990 w 897730"/>
                  <a:gd name="connsiteY866" fmla="*/ 454332 h 478666"/>
                  <a:gd name="connsiteX867" fmla="*/ 286635 w 897730"/>
                  <a:gd name="connsiteY867" fmla="*/ 450805 h 478666"/>
                  <a:gd name="connsiteX868" fmla="*/ 291044 w 897730"/>
                  <a:gd name="connsiteY868" fmla="*/ 447014 h 478666"/>
                  <a:gd name="connsiteX869" fmla="*/ 295100 w 897730"/>
                  <a:gd name="connsiteY869" fmla="*/ 442341 h 478666"/>
                  <a:gd name="connsiteX870" fmla="*/ 299508 w 897730"/>
                  <a:gd name="connsiteY870" fmla="*/ 437403 h 478666"/>
                  <a:gd name="connsiteX871" fmla="*/ 301007 w 897730"/>
                  <a:gd name="connsiteY871" fmla="*/ 434494 h 478666"/>
                  <a:gd name="connsiteX872" fmla="*/ 301888 w 897730"/>
                  <a:gd name="connsiteY872" fmla="*/ 430703 h 478666"/>
                  <a:gd name="connsiteX873" fmla="*/ 300478 w 897730"/>
                  <a:gd name="connsiteY873" fmla="*/ 430703 h 478666"/>
                  <a:gd name="connsiteX874" fmla="*/ 294659 w 897730"/>
                  <a:gd name="connsiteY874" fmla="*/ 428410 h 478666"/>
                  <a:gd name="connsiteX875" fmla="*/ 297304 w 897730"/>
                  <a:gd name="connsiteY875" fmla="*/ 428146 h 478666"/>
                  <a:gd name="connsiteX876" fmla="*/ 301095 w 897730"/>
                  <a:gd name="connsiteY876" fmla="*/ 428146 h 478666"/>
                  <a:gd name="connsiteX877" fmla="*/ 302858 w 897730"/>
                  <a:gd name="connsiteY877" fmla="*/ 424354 h 478666"/>
                  <a:gd name="connsiteX878" fmla="*/ 304357 w 897730"/>
                  <a:gd name="connsiteY878" fmla="*/ 420563 h 478666"/>
                  <a:gd name="connsiteX879" fmla="*/ 303211 w 897730"/>
                  <a:gd name="connsiteY879" fmla="*/ 418800 h 478666"/>
                  <a:gd name="connsiteX880" fmla="*/ 306738 w 897730"/>
                  <a:gd name="connsiteY880" fmla="*/ 416772 h 478666"/>
                  <a:gd name="connsiteX881" fmla="*/ 307355 w 897730"/>
                  <a:gd name="connsiteY881" fmla="*/ 414744 h 478666"/>
                  <a:gd name="connsiteX882" fmla="*/ 314673 w 897730"/>
                  <a:gd name="connsiteY882" fmla="*/ 410688 h 478666"/>
                  <a:gd name="connsiteX883" fmla="*/ 319610 w 897730"/>
                  <a:gd name="connsiteY883" fmla="*/ 410071 h 478666"/>
                  <a:gd name="connsiteX884" fmla="*/ 321109 w 897730"/>
                  <a:gd name="connsiteY884" fmla="*/ 406544 h 478666"/>
                  <a:gd name="connsiteX885" fmla="*/ 322873 w 897730"/>
                  <a:gd name="connsiteY885" fmla="*/ 404781 h 478666"/>
                  <a:gd name="connsiteX886" fmla="*/ 326047 w 897730"/>
                  <a:gd name="connsiteY886" fmla="*/ 402136 h 478666"/>
                  <a:gd name="connsiteX887" fmla="*/ 328074 w 897730"/>
                  <a:gd name="connsiteY887" fmla="*/ 401519 h 478666"/>
                  <a:gd name="connsiteX888" fmla="*/ 335040 w 897730"/>
                  <a:gd name="connsiteY888" fmla="*/ 402401 h 478666"/>
                  <a:gd name="connsiteX889" fmla="*/ 331513 w 897730"/>
                  <a:gd name="connsiteY889" fmla="*/ 399226 h 478666"/>
                  <a:gd name="connsiteX890" fmla="*/ 335304 w 897730"/>
                  <a:gd name="connsiteY890" fmla="*/ 396052 h 478666"/>
                  <a:gd name="connsiteX891" fmla="*/ 346414 w 897730"/>
                  <a:gd name="connsiteY891" fmla="*/ 391997 h 478666"/>
                  <a:gd name="connsiteX892" fmla="*/ 339977 w 897730"/>
                  <a:gd name="connsiteY892" fmla="*/ 391997 h 478666"/>
                  <a:gd name="connsiteX893" fmla="*/ 339096 w 897730"/>
                  <a:gd name="connsiteY893" fmla="*/ 389352 h 478666"/>
                  <a:gd name="connsiteX894" fmla="*/ 342005 w 897730"/>
                  <a:gd name="connsiteY894" fmla="*/ 385825 h 478666"/>
                  <a:gd name="connsiteX895" fmla="*/ 345796 w 897730"/>
                  <a:gd name="connsiteY895" fmla="*/ 378242 h 478666"/>
                  <a:gd name="connsiteX896" fmla="*/ 351616 w 897730"/>
                  <a:gd name="connsiteY896" fmla="*/ 369514 h 478666"/>
                  <a:gd name="connsiteX897" fmla="*/ 352762 w 897730"/>
                  <a:gd name="connsiteY897" fmla="*/ 366869 h 478666"/>
                  <a:gd name="connsiteX898" fmla="*/ 353026 w 897730"/>
                  <a:gd name="connsiteY898" fmla="*/ 365722 h 478666"/>
                  <a:gd name="connsiteX899" fmla="*/ 355407 w 897730"/>
                  <a:gd name="connsiteY899" fmla="*/ 364841 h 478666"/>
                  <a:gd name="connsiteX900" fmla="*/ 356288 w 897730"/>
                  <a:gd name="connsiteY900" fmla="*/ 367750 h 478666"/>
                  <a:gd name="connsiteX901" fmla="*/ 358933 w 897730"/>
                  <a:gd name="connsiteY901" fmla="*/ 367486 h 478666"/>
                  <a:gd name="connsiteX902" fmla="*/ 357787 w 897730"/>
                  <a:gd name="connsiteY902" fmla="*/ 365987 h 478666"/>
                  <a:gd name="connsiteX903" fmla="*/ 345267 w 897730"/>
                  <a:gd name="connsiteY903" fmla="*/ 359903 h 478666"/>
                  <a:gd name="connsiteX904" fmla="*/ 357258 w 897730"/>
                  <a:gd name="connsiteY904" fmla="*/ 361667 h 478666"/>
                  <a:gd name="connsiteX905" fmla="*/ 360432 w 897730"/>
                  <a:gd name="connsiteY905" fmla="*/ 361050 h 478666"/>
                  <a:gd name="connsiteX906" fmla="*/ 361843 w 897730"/>
                  <a:gd name="connsiteY906" fmla="*/ 358404 h 478666"/>
                  <a:gd name="connsiteX907" fmla="*/ 366252 w 897730"/>
                  <a:gd name="connsiteY907" fmla="*/ 357523 h 478666"/>
                  <a:gd name="connsiteX908" fmla="*/ 370307 w 897730"/>
                  <a:gd name="connsiteY908" fmla="*/ 354878 h 478666"/>
                  <a:gd name="connsiteX909" fmla="*/ 370307 w 897730"/>
                  <a:gd name="connsiteY909" fmla="*/ 348177 h 478666"/>
                  <a:gd name="connsiteX910" fmla="*/ 384061 w 897730"/>
                  <a:gd name="connsiteY910" fmla="*/ 350205 h 478666"/>
                  <a:gd name="connsiteX911" fmla="*/ 384943 w 897730"/>
                  <a:gd name="connsiteY911" fmla="*/ 345796 h 478666"/>
                  <a:gd name="connsiteX912" fmla="*/ 391644 w 897730"/>
                  <a:gd name="connsiteY912" fmla="*/ 347824 h 478666"/>
                  <a:gd name="connsiteX913" fmla="*/ 398962 w 897730"/>
                  <a:gd name="connsiteY913" fmla="*/ 340506 h 478666"/>
                  <a:gd name="connsiteX914" fmla="*/ 407691 w 897730"/>
                  <a:gd name="connsiteY914" fmla="*/ 333541 h 478666"/>
                  <a:gd name="connsiteX915" fmla="*/ 413245 w 897730"/>
                  <a:gd name="connsiteY915" fmla="*/ 332924 h 478666"/>
                  <a:gd name="connsiteX916" fmla="*/ 409454 w 897730"/>
                  <a:gd name="connsiteY916" fmla="*/ 339625 h 478666"/>
                  <a:gd name="connsiteX917" fmla="*/ 408572 w 897730"/>
                  <a:gd name="connsiteY917" fmla="*/ 342799 h 478666"/>
                  <a:gd name="connsiteX918" fmla="*/ 403282 w 897730"/>
                  <a:gd name="connsiteY918" fmla="*/ 345973 h 478666"/>
                  <a:gd name="connsiteX919" fmla="*/ 399755 w 897730"/>
                  <a:gd name="connsiteY919" fmla="*/ 349764 h 478666"/>
                  <a:gd name="connsiteX920" fmla="*/ 409630 w 897730"/>
                  <a:gd name="connsiteY920" fmla="*/ 348265 h 478666"/>
                  <a:gd name="connsiteX921" fmla="*/ 414920 w 897730"/>
                  <a:gd name="connsiteY921" fmla="*/ 348265 h 478666"/>
                  <a:gd name="connsiteX922" fmla="*/ 419858 w 897730"/>
                  <a:gd name="connsiteY922" fmla="*/ 343592 h 478666"/>
                  <a:gd name="connsiteX923" fmla="*/ 424531 w 897730"/>
                  <a:gd name="connsiteY923" fmla="*/ 341829 h 478666"/>
                  <a:gd name="connsiteX924" fmla="*/ 430967 w 897730"/>
                  <a:gd name="connsiteY924" fmla="*/ 340947 h 478666"/>
                  <a:gd name="connsiteX925" fmla="*/ 436257 w 897730"/>
                  <a:gd name="connsiteY925" fmla="*/ 338655 h 478666"/>
                  <a:gd name="connsiteX926" fmla="*/ 438020 w 897730"/>
                  <a:gd name="connsiteY926" fmla="*/ 331689 h 478666"/>
                  <a:gd name="connsiteX927" fmla="*/ 439784 w 897730"/>
                  <a:gd name="connsiteY927" fmla="*/ 336627 h 478666"/>
                  <a:gd name="connsiteX928" fmla="*/ 443751 w 897730"/>
                  <a:gd name="connsiteY928" fmla="*/ 338126 h 478666"/>
                  <a:gd name="connsiteX929" fmla="*/ 329750 w 897730"/>
                  <a:gd name="connsiteY929" fmla="*/ 20808 h 478666"/>
                  <a:gd name="connsiteX930" fmla="*/ 330367 w 897730"/>
                  <a:gd name="connsiteY930" fmla="*/ 22307 h 478666"/>
                  <a:gd name="connsiteX931" fmla="*/ 334423 w 897730"/>
                  <a:gd name="connsiteY931" fmla="*/ 21689 h 478666"/>
                  <a:gd name="connsiteX932" fmla="*/ 329750 w 897730"/>
                  <a:gd name="connsiteY932" fmla="*/ 20808 h 478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</a:cxnLst>
                <a:rect l="l" t="t" r="r" b="b"/>
                <a:pathLst>
                  <a:path w="897730" h="478666">
                    <a:moveTo>
                      <a:pt x="690535" y="191766"/>
                    </a:moveTo>
                    <a:lnTo>
                      <a:pt x="694590" y="202258"/>
                    </a:lnTo>
                    <a:lnTo>
                      <a:pt x="686126" y="203140"/>
                    </a:lnTo>
                    <a:lnTo>
                      <a:pt x="680307" y="204903"/>
                    </a:lnTo>
                    <a:lnTo>
                      <a:pt x="676516" y="204903"/>
                    </a:lnTo>
                    <a:lnTo>
                      <a:pt x="673254" y="201729"/>
                    </a:lnTo>
                    <a:lnTo>
                      <a:pt x="666289" y="197321"/>
                    </a:lnTo>
                    <a:lnTo>
                      <a:pt x="670697" y="192031"/>
                    </a:lnTo>
                    <a:lnTo>
                      <a:pt x="682952" y="191766"/>
                    </a:lnTo>
                    <a:lnTo>
                      <a:pt x="690535" y="191766"/>
                    </a:lnTo>
                    <a:close/>
                    <a:moveTo>
                      <a:pt x="639485" y="232236"/>
                    </a:moveTo>
                    <a:lnTo>
                      <a:pt x="638604" y="238319"/>
                    </a:lnTo>
                    <a:lnTo>
                      <a:pt x="631550" y="238584"/>
                    </a:lnTo>
                    <a:lnTo>
                      <a:pt x="629522" y="241493"/>
                    </a:lnTo>
                    <a:lnTo>
                      <a:pt x="626613" y="240347"/>
                    </a:lnTo>
                    <a:lnTo>
                      <a:pt x="619295" y="241229"/>
                    </a:lnTo>
                    <a:lnTo>
                      <a:pt x="619030" y="246431"/>
                    </a:lnTo>
                    <a:lnTo>
                      <a:pt x="612330" y="245902"/>
                    </a:lnTo>
                    <a:lnTo>
                      <a:pt x="603336" y="247665"/>
                    </a:lnTo>
                    <a:lnTo>
                      <a:pt x="597517" y="247048"/>
                    </a:lnTo>
                    <a:lnTo>
                      <a:pt x="593726" y="243257"/>
                    </a:lnTo>
                    <a:lnTo>
                      <a:pt x="599281" y="239730"/>
                    </a:lnTo>
                    <a:lnTo>
                      <a:pt x="603336" y="234792"/>
                    </a:lnTo>
                    <a:lnTo>
                      <a:pt x="608626" y="231266"/>
                    </a:lnTo>
                    <a:lnTo>
                      <a:pt x="609244" y="228621"/>
                    </a:lnTo>
                    <a:lnTo>
                      <a:pt x="616826" y="221920"/>
                    </a:lnTo>
                    <a:lnTo>
                      <a:pt x="622645" y="222802"/>
                    </a:lnTo>
                    <a:lnTo>
                      <a:pt x="629346" y="224829"/>
                    </a:lnTo>
                    <a:lnTo>
                      <a:pt x="634901" y="228885"/>
                    </a:lnTo>
                    <a:lnTo>
                      <a:pt x="634283" y="232412"/>
                    </a:lnTo>
                    <a:lnTo>
                      <a:pt x="639485" y="232236"/>
                    </a:lnTo>
                    <a:close/>
                    <a:moveTo>
                      <a:pt x="672989" y="184977"/>
                    </a:moveTo>
                    <a:lnTo>
                      <a:pt x="676781" y="186123"/>
                    </a:lnTo>
                    <a:lnTo>
                      <a:pt x="675017" y="183478"/>
                    </a:lnTo>
                    <a:lnTo>
                      <a:pt x="672989" y="184977"/>
                    </a:lnTo>
                    <a:close/>
                    <a:moveTo>
                      <a:pt x="698734" y="206050"/>
                    </a:moveTo>
                    <a:lnTo>
                      <a:pt x="695825" y="206314"/>
                    </a:lnTo>
                    <a:lnTo>
                      <a:pt x="692915" y="206050"/>
                    </a:lnTo>
                    <a:lnTo>
                      <a:pt x="696089" y="204286"/>
                    </a:lnTo>
                    <a:lnTo>
                      <a:pt x="697853" y="202787"/>
                    </a:lnTo>
                    <a:lnTo>
                      <a:pt x="700145" y="203052"/>
                    </a:lnTo>
                    <a:lnTo>
                      <a:pt x="698734" y="206050"/>
                    </a:lnTo>
                    <a:close/>
                    <a:moveTo>
                      <a:pt x="754986" y="163464"/>
                    </a:moveTo>
                    <a:lnTo>
                      <a:pt x="750930" y="166374"/>
                    </a:lnTo>
                    <a:lnTo>
                      <a:pt x="744494" y="164875"/>
                    </a:lnTo>
                    <a:lnTo>
                      <a:pt x="748021" y="161084"/>
                    </a:lnTo>
                    <a:lnTo>
                      <a:pt x="750313" y="163464"/>
                    </a:lnTo>
                    <a:lnTo>
                      <a:pt x="754986" y="163464"/>
                    </a:lnTo>
                    <a:close/>
                    <a:moveTo>
                      <a:pt x="782142" y="152090"/>
                    </a:moveTo>
                    <a:lnTo>
                      <a:pt x="772796" y="152972"/>
                    </a:lnTo>
                    <a:lnTo>
                      <a:pt x="763185" y="152090"/>
                    </a:lnTo>
                    <a:lnTo>
                      <a:pt x="765830" y="146536"/>
                    </a:lnTo>
                    <a:lnTo>
                      <a:pt x="773413" y="144773"/>
                    </a:lnTo>
                    <a:lnTo>
                      <a:pt x="782142" y="152090"/>
                    </a:lnTo>
                    <a:close/>
                    <a:moveTo>
                      <a:pt x="771297" y="123171"/>
                    </a:moveTo>
                    <a:lnTo>
                      <a:pt x="771297" y="127580"/>
                    </a:lnTo>
                    <a:lnTo>
                      <a:pt x="768652" y="125287"/>
                    </a:lnTo>
                    <a:lnTo>
                      <a:pt x="768387" y="121496"/>
                    </a:lnTo>
                    <a:lnTo>
                      <a:pt x="771297" y="123171"/>
                    </a:lnTo>
                    <a:close/>
                    <a:moveTo>
                      <a:pt x="766359" y="22836"/>
                    </a:moveTo>
                    <a:lnTo>
                      <a:pt x="764596" y="21337"/>
                    </a:lnTo>
                    <a:lnTo>
                      <a:pt x="766624" y="21337"/>
                    </a:lnTo>
                    <a:lnTo>
                      <a:pt x="768123" y="22218"/>
                    </a:lnTo>
                    <a:lnTo>
                      <a:pt x="766359" y="22836"/>
                    </a:lnTo>
                    <a:close/>
                    <a:moveTo>
                      <a:pt x="804007" y="77147"/>
                    </a:moveTo>
                    <a:lnTo>
                      <a:pt x="801980" y="78294"/>
                    </a:lnTo>
                    <a:lnTo>
                      <a:pt x="798806" y="79440"/>
                    </a:lnTo>
                    <a:lnTo>
                      <a:pt x="796160" y="80057"/>
                    </a:lnTo>
                    <a:lnTo>
                      <a:pt x="796160" y="79704"/>
                    </a:lnTo>
                    <a:lnTo>
                      <a:pt x="797307" y="77059"/>
                    </a:lnTo>
                    <a:lnTo>
                      <a:pt x="798717" y="75560"/>
                    </a:lnTo>
                    <a:lnTo>
                      <a:pt x="801627" y="75825"/>
                    </a:lnTo>
                    <a:lnTo>
                      <a:pt x="804007" y="77147"/>
                    </a:lnTo>
                    <a:close/>
                    <a:moveTo>
                      <a:pt x="788843" y="97779"/>
                    </a:moveTo>
                    <a:lnTo>
                      <a:pt x="795279" y="95751"/>
                    </a:lnTo>
                    <a:lnTo>
                      <a:pt x="795014" y="97779"/>
                    </a:lnTo>
                    <a:lnTo>
                      <a:pt x="794133" y="99542"/>
                    </a:lnTo>
                    <a:lnTo>
                      <a:pt x="794662" y="102452"/>
                    </a:lnTo>
                    <a:lnTo>
                      <a:pt x="791487" y="102452"/>
                    </a:lnTo>
                    <a:lnTo>
                      <a:pt x="790077" y="102452"/>
                    </a:lnTo>
                    <a:lnTo>
                      <a:pt x="790958" y="99542"/>
                    </a:lnTo>
                    <a:lnTo>
                      <a:pt x="788843" y="97779"/>
                    </a:lnTo>
                    <a:close/>
                    <a:moveTo>
                      <a:pt x="174309" y="246519"/>
                    </a:moveTo>
                    <a:lnTo>
                      <a:pt x="177835" y="247136"/>
                    </a:lnTo>
                    <a:lnTo>
                      <a:pt x="185418" y="248018"/>
                    </a:lnTo>
                    <a:lnTo>
                      <a:pt x="194147" y="250927"/>
                    </a:lnTo>
                    <a:lnTo>
                      <a:pt x="199701" y="254718"/>
                    </a:lnTo>
                    <a:lnTo>
                      <a:pt x="209047" y="256746"/>
                    </a:lnTo>
                    <a:lnTo>
                      <a:pt x="205256" y="260802"/>
                    </a:lnTo>
                    <a:lnTo>
                      <a:pt x="198820" y="263976"/>
                    </a:lnTo>
                    <a:lnTo>
                      <a:pt x="187975" y="265122"/>
                    </a:lnTo>
                    <a:lnTo>
                      <a:pt x="181539" y="267150"/>
                    </a:lnTo>
                    <a:lnTo>
                      <a:pt x="171928" y="267767"/>
                    </a:lnTo>
                    <a:lnTo>
                      <a:pt x="168402" y="262565"/>
                    </a:lnTo>
                    <a:lnTo>
                      <a:pt x="160819" y="261067"/>
                    </a:lnTo>
                    <a:lnTo>
                      <a:pt x="161965" y="256658"/>
                    </a:lnTo>
                    <a:lnTo>
                      <a:pt x="165756" y="254630"/>
                    </a:lnTo>
                    <a:lnTo>
                      <a:pt x="175984" y="248547"/>
                    </a:lnTo>
                    <a:lnTo>
                      <a:pt x="174309" y="246519"/>
                    </a:lnTo>
                    <a:close/>
                    <a:moveTo>
                      <a:pt x="423120" y="10933"/>
                    </a:moveTo>
                    <a:lnTo>
                      <a:pt x="426294" y="8905"/>
                    </a:lnTo>
                    <a:lnTo>
                      <a:pt x="427176" y="10051"/>
                    </a:lnTo>
                    <a:lnTo>
                      <a:pt x="430967" y="12344"/>
                    </a:lnTo>
                    <a:lnTo>
                      <a:pt x="424002" y="14989"/>
                    </a:lnTo>
                    <a:lnTo>
                      <a:pt x="422238" y="14107"/>
                    </a:lnTo>
                    <a:lnTo>
                      <a:pt x="417830" y="14107"/>
                    </a:lnTo>
                    <a:lnTo>
                      <a:pt x="421886" y="12344"/>
                    </a:lnTo>
                    <a:lnTo>
                      <a:pt x="423120" y="10933"/>
                    </a:lnTo>
                    <a:close/>
                    <a:moveTo>
                      <a:pt x="443751" y="338126"/>
                    </a:moveTo>
                    <a:lnTo>
                      <a:pt x="446661" y="333188"/>
                    </a:lnTo>
                    <a:lnTo>
                      <a:pt x="452833" y="334335"/>
                    </a:lnTo>
                    <a:lnTo>
                      <a:pt x="458652" y="329926"/>
                    </a:lnTo>
                    <a:lnTo>
                      <a:pt x="464471" y="329926"/>
                    </a:lnTo>
                    <a:lnTo>
                      <a:pt x="470907" y="325518"/>
                    </a:lnTo>
                    <a:lnTo>
                      <a:pt x="470555" y="323490"/>
                    </a:lnTo>
                    <a:lnTo>
                      <a:pt x="472935" y="324636"/>
                    </a:lnTo>
                    <a:lnTo>
                      <a:pt x="472671" y="317671"/>
                    </a:lnTo>
                    <a:lnTo>
                      <a:pt x="473552" y="321462"/>
                    </a:lnTo>
                    <a:lnTo>
                      <a:pt x="477079" y="322961"/>
                    </a:lnTo>
                    <a:lnTo>
                      <a:pt x="478578" y="323225"/>
                    </a:lnTo>
                    <a:lnTo>
                      <a:pt x="481223" y="313879"/>
                    </a:lnTo>
                    <a:lnTo>
                      <a:pt x="488188" y="319699"/>
                    </a:lnTo>
                    <a:lnTo>
                      <a:pt x="488453" y="314144"/>
                    </a:lnTo>
                    <a:lnTo>
                      <a:pt x="491979" y="307179"/>
                    </a:lnTo>
                    <a:lnTo>
                      <a:pt x="490833" y="304005"/>
                    </a:lnTo>
                    <a:lnTo>
                      <a:pt x="494360" y="304886"/>
                    </a:lnTo>
                    <a:lnTo>
                      <a:pt x="501325" y="305151"/>
                    </a:lnTo>
                    <a:lnTo>
                      <a:pt x="506527" y="299861"/>
                    </a:lnTo>
                    <a:lnTo>
                      <a:pt x="511817" y="296069"/>
                    </a:lnTo>
                    <a:lnTo>
                      <a:pt x="514992" y="300742"/>
                    </a:lnTo>
                    <a:lnTo>
                      <a:pt x="515256" y="294042"/>
                    </a:lnTo>
                    <a:lnTo>
                      <a:pt x="515256" y="289633"/>
                    </a:lnTo>
                    <a:lnTo>
                      <a:pt x="519929" y="291397"/>
                    </a:lnTo>
                    <a:lnTo>
                      <a:pt x="530421" y="291661"/>
                    </a:lnTo>
                    <a:lnTo>
                      <a:pt x="533948" y="291044"/>
                    </a:lnTo>
                    <a:lnTo>
                      <a:pt x="534212" y="293336"/>
                    </a:lnTo>
                    <a:lnTo>
                      <a:pt x="540296" y="295100"/>
                    </a:lnTo>
                    <a:lnTo>
                      <a:pt x="544352" y="292719"/>
                    </a:lnTo>
                    <a:lnTo>
                      <a:pt x="544352" y="295364"/>
                    </a:lnTo>
                    <a:lnTo>
                      <a:pt x="551934" y="293601"/>
                    </a:lnTo>
                    <a:lnTo>
                      <a:pt x="559516" y="290691"/>
                    </a:lnTo>
                    <a:lnTo>
                      <a:pt x="564807" y="287164"/>
                    </a:lnTo>
                    <a:lnTo>
                      <a:pt x="571772" y="289457"/>
                    </a:lnTo>
                    <a:lnTo>
                      <a:pt x="572037" y="292102"/>
                    </a:lnTo>
                    <a:lnTo>
                      <a:pt x="573800" y="289192"/>
                    </a:lnTo>
                    <a:lnTo>
                      <a:pt x="576445" y="287782"/>
                    </a:lnTo>
                    <a:lnTo>
                      <a:pt x="582881" y="290691"/>
                    </a:lnTo>
                    <a:lnTo>
                      <a:pt x="586055" y="282227"/>
                    </a:lnTo>
                    <a:lnTo>
                      <a:pt x="596283" y="284255"/>
                    </a:lnTo>
                    <a:lnTo>
                      <a:pt x="605011" y="282491"/>
                    </a:lnTo>
                    <a:lnTo>
                      <a:pt x="607039" y="277554"/>
                    </a:lnTo>
                    <a:lnTo>
                      <a:pt x="610213" y="280816"/>
                    </a:lnTo>
                    <a:lnTo>
                      <a:pt x="615503" y="279670"/>
                    </a:lnTo>
                    <a:lnTo>
                      <a:pt x="624849" y="278524"/>
                    </a:lnTo>
                    <a:lnTo>
                      <a:pt x="631550" y="273851"/>
                    </a:lnTo>
                    <a:lnTo>
                      <a:pt x="637105" y="270324"/>
                    </a:lnTo>
                    <a:lnTo>
                      <a:pt x="638868" y="269178"/>
                    </a:lnTo>
                    <a:lnTo>
                      <a:pt x="640896" y="269795"/>
                    </a:lnTo>
                    <a:lnTo>
                      <a:pt x="643541" y="272969"/>
                    </a:lnTo>
                    <a:lnTo>
                      <a:pt x="643805" y="268561"/>
                    </a:lnTo>
                    <a:lnTo>
                      <a:pt x="644070" y="265916"/>
                    </a:lnTo>
                    <a:lnTo>
                      <a:pt x="645833" y="267415"/>
                    </a:lnTo>
                    <a:lnTo>
                      <a:pt x="648478" y="270589"/>
                    </a:lnTo>
                    <a:lnTo>
                      <a:pt x="650859" y="267679"/>
                    </a:lnTo>
                    <a:lnTo>
                      <a:pt x="653504" y="267679"/>
                    </a:lnTo>
                    <a:lnTo>
                      <a:pt x="655796" y="267415"/>
                    </a:lnTo>
                    <a:lnTo>
                      <a:pt x="655532" y="263623"/>
                    </a:lnTo>
                    <a:lnTo>
                      <a:pt x="659323" y="263888"/>
                    </a:lnTo>
                    <a:lnTo>
                      <a:pt x="662497" y="264770"/>
                    </a:lnTo>
                    <a:lnTo>
                      <a:pt x="661616" y="258333"/>
                    </a:lnTo>
                    <a:lnTo>
                      <a:pt x="667435" y="258951"/>
                    </a:lnTo>
                    <a:lnTo>
                      <a:pt x="675899" y="255776"/>
                    </a:lnTo>
                    <a:lnTo>
                      <a:pt x="677045" y="254630"/>
                    </a:lnTo>
                    <a:lnTo>
                      <a:pt x="671755" y="250839"/>
                    </a:lnTo>
                    <a:lnTo>
                      <a:pt x="653063" y="247929"/>
                    </a:lnTo>
                    <a:lnTo>
                      <a:pt x="642307" y="252602"/>
                    </a:lnTo>
                    <a:lnTo>
                      <a:pt x="628023" y="252602"/>
                    </a:lnTo>
                    <a:lnTo>
                      <a:pt x="608186" y="249693"/>
                    </a:lnTo>
                    <a:lnTo>
                      <a:pt x="597429" y="252602"/>
                    </a:lnTo>
                    <a:lnTo>
                      <a:pt x="585438" y="250575"/>
                    </a:lnTo>
                    <a:lnTo>
                      <a:pt x="586937" y="244755"/>
                    </a:lnTo>
                    <a:lnTo>
                      <a:pt x="593021" y="240083"/>
                    </a:lnTo>
                    <a:lnTo>
                      <a:pt x="596547" y="233382"/>
                    </a:lnTo>
                    <a:lnTo>
                      <a:pt x="603248" y="229855"/>
                    </a:lnTo>
                    <a:lnTo>
                      <a:pt x="602631" y="224918"/>
                    </a:lnTo>
                    <a:lnTo>
                      <a:pt x="605540" y="223154"/>
                    </a:lnTo>
                    <a:lnTo>
                      <a:pt x="607568" y="222008"/>
                    </a:lnTo>
                    <a:lnTo>
                      <a:pt x="610213" y="218834"/>
                    </a:lnTo>
                    <a:lnTo>
                      <a:pt x="604659" y="215043"/>
                    </a:lnTo>
                    <a:lnTo>
                      <a:pt x="609861" y="213896"/>
                    </a:lnTo>
                    <a:lnTo>
                      <a:pt x="614798" y="215924"/>
                    </a:lnTo>
                    <a:lnTo>
                      <a:pt x="622645" y="218834"/>
                    </a:lnTo>
                    <a:lnTo>
                      <a:pt x="625290" y="217688"/>
                    </a:lnTo>
                    <a:lnTo>
                      <a:pt x="636047" y="225270"/>
                    </a:lnTo>
                    <a:lnTo>
                      <a:pt x="648038" y="227298"/>
                    </a:lnTo>
                    <a:lnTo>
                      <a:pt x="657031" y="229943"/>
                    </a:lnTo>
                    <a:lnTo>
                      <a:pt x="655003" y="233999"/>
                    </a:lnTo>
                    <a:lnTo>
                      <a:pt x="660557" y="239554"/>
                    </a:lnTo>
                    <a:lnTo>
                      <a:pt x="668140" y="244844"/>
                    </a:lnTo>
                    <a:lnTo>
                      <a:pt x="681012" y="244579"/>
                    </a:lnTo>
                    <a:lnTo>
                      <a:pt x="690358" y="243433"/>
                    </a:lnTo>
                    <a:lnTo>
                      <a:pt x="696177" y="245813"/>
                    </a:lnTo>
                    <a:lnTo>
                      <a:pt x="694150" y="240876"/>
                    </a:lnTo>
                    <a:lnTo>
                      <a:pt x="696530" y="241493"/>
                    </a:lnTo>
                    <a:lnTo>
                      <a:pt x="694767" y="239113"/>
                    </a:lnTo>
                    <a:lnTo>
                      <a:pt x="695913" y="238848"/>
                    </a:lnTo>
                    <a:lnTo>
                      <a:pt x="698823" y="234175"/>
                    </a:lnTo>
                    <a:lnTo>
                      <a:pt x="699087" y="228621"/>
                    </a:lnTo>
                    <a:lnTo>
                      <a:pt x="697676" y="223948"/>
                    </a:lnTo>
                    <a:lnTo>
                      <a:pt x="694414" y="220156"/>
                    </a:lnTo>
                    <a:lnTo>
                      <a:pt x="690006" y="216365"/>
                    </a:lnTo>
                    <a:lnTo>
                      <a:pt x="686479" y="214337"/>
                    </a:lnTo>
                    <a:lnTo>
                      <a:pt x="681806" y="214602"/>
                    </a:lnTo>
                    <a:lnTo>
                      <a:pt x="681189" y="211692"/>
                    </a:lnTo>
                    <a:lnTo>
                      <a:pt x="672989" y="209047"/>
                    </a:lnTo>
                    <a:lnTo>
                      <a:pt x="667435" y="206755"/>
                    </a:lnTo>
                    <a:lnTo>
                      <a:pt x="662497" y="202964"/>
                    </a:lnTo>
                    <a:lnTo>
                      <a:pt x="661616" y="204727"/>
                    </a:lnTo>
                    <a:lnTo>
                      <a:pt x="657207" y="203845"/>
                    </a:lnTo>
                    <a:lnTo>
                      <a:pt x="655444" y="205609"/>
                    </a:lnTo>
                    <a:lnTo>
                      <a:pt x="655179" y="203581"/>
                    </a:lnTo>
                    <a:lnTo>
                      <a:pt x="659235" y="195381"/>
                    </a:lnTo>
                    <a:lnTo>
                      <a:pt x="656325" y="192472"/>
                    </a:lnTo>
                    <a:lnTo>
                      <a:pt x="643188" y="194764"/>
                    </a:lnTo>
                    <a:lnTo>
                      <a:pt x="641160" y="195646"/>
                    </a:lnTo>
                    <a:lnTo>
                      <a:pt x="635870" y="196792"/>
                    </a:lnTo>
                    <a:lnTo>
                      <a:pt x="634724" y="194764"/>
                    </a:lnTo>
                    <a:lnTo>
                      <a:pt x="638515" y="194499"/>
                    </a:lnTo>
                    <a:lnTo>
                      <a:pt x="638515" y="192736"/>
                    </a:lnTo>
                    <a:lnTo>
                      <a:pt x="641160" y="189562"/>
                    </a:lnTo>
                    <a:lnTo>
                      <a:pt x="634195" y="187799"/>
                    </a:lnTo>
                    <a:lnTo>
                      <a:pt x="631903" y="186035"/>
                    </a:lnTo>
                    <a:lnTo>
                      <a:pt x="628993" y="186917"/>
                    </a:lnTo>
                    <a:lnTo>
                      <a:pt x="627230" y="186300"/>
                    </a:lnTo>
                    <a:lnTo>
                      <a:pt x="628993" y="184801"/>
                    </a:lnTo>
                    <a:lnTo>
                      <a:pt x="634283" y="184536"/>
                    </a:lnTo>
                    <a:lnTo>
                      <a:pt x="648038" y="184801"/>
                    </a:lnTo>
                    <a:lnTo>
                      <a:pt x="655355" y="180393"/>
                    </a:lnTo>
                    <a:lnTo>
                      <a:pt x="662056" y="182685"/>
                    </a:lnTo>
                    <a:lnTo>
                      <a:pt x="666729" y="180040"/>
                    </a:lnTo>
                    <a:lnTo>
                      <a:pt x="674047" y="175984"/>
                    </a:lnTo>
                    <a:lnTo>
                      <a:pt x="684804" y="179775"/>
                    </a:lnTo>
                    <a:lnTo>
                      <a:pt x="686567" y="176866"/>
                    </a:lnTo>
                    <a:lnTo>
                      <a:pt x="689212" y="179511"/>
                    </a:lnTo>
                    <a:lnTo>
                      <a:pt x="691857" y="178894"/>
                    </a:lnTo>
                    <a:lnTo>
                      <a:pt x="693885" y="183831"/>
                    </a:lnTo>
                    <a:lnTo>
                      <a:pt x="701732" y="184713"/>
                    </a:lnTo>
                    <a:lnTo>
                      <a:pt x="709315" y="183831"/>
                    </a:lnTo>
                    <a:lnTo>
                      <a:pt x="708785" y="181539"/>
                    </a:lnTo>
                    <a:lnTo>
                      <a:pt x="711431" y="179511"/>
                    </a:lnTo>
                    <a:lnTo>
                      <a:pt x="715222" y="181010"/>
                    </a:lnTo>
                    <a:lnTo>
                      <a:pt x="717602" y="181627"/>
                    </a:lnTo>
                    <a:lnTo>
                      <a:pt x="725185" y="185154"/>
                    </a:lnTo>
                    <a:lnTo>
                      <a:pt x="730122" y="182244"/>
                    </a:lnTo>
                    <a:lnTo>
                      <a:pt x="730122" y="175720"/>
                    </a:lnTo>
                    <a:lnTo>
                      <a:pt x="725185" y="175984"/>
                    </a:lnTo>
                    <a:lnTo>
                      <a:pt x="722275" y="174485"/>
                    </a:lnTo>
                    <a:lnTo>
                      <a:pt x="720777" y="172722"/>
                    </a:lnTo>
                    <a:lnTo>
                      <a:pt x="716721" y="172986"/>
                    </a:lnTo>
                    <a:lnTo>
                      <a:pt x="714957" y="169812"/>
                    </a:lnTo>
                    <a:lnTo>
                      <a:pt x="713811" y="166286"/>
                    </a:lnTo>
                    <a:lnTo>
                      <a:pt x="710637" y="165404"/>
                    </a:lnTo>
                    <a:lnTo>
                      <a:pt x="731357" y="168578"/>
                    </a:lnTo>
                    <a:lnTo>
                      <a:pt x="719366" y="164787"/>
                    </a:lnTo>
                    <a:lnTo>
                      <a:pt x="737176" y="166815"/>
                    </a:lnTo>
                    <a:lnTo>
                      <a:pt x="742113" y="163288"/>
                    </a:lnTo>
                    <a:lnTo>
                      <a:pt x="735677" y="161524"/>
                    </a:lnTo>
                    <a:lnTo>
                      <a:pt x="737440" y="160378"/>
                    </a:lnTo>
                    <a:lnTo>
                      <a:pt x="739468" y="157469"/>
                    </a:lnTo>
                    <a:lnTo>
                      <a:pt x="742378" y="158350"/>
                    </a:lnTo>
                    <a:lnTo>
                      <a:pt x="740350" y="155176"/>
                    </a:lnTo>
                    <a:lnTo>
                      <a:pt x="733914" y="153148"/>
                    </a:lnTo>
                    <a:lnTo>
                      <a:pt x="731269" y="150239"/>
                    </a:lnTo>
                    <a:lnTo>
                      <a:pt x="728623" y="148211"/>
                    </a:lnTo>
                    <a:lnTo>
                      <a:pt x="724832" y="149710"/>
                    </a:lnTo>
                    <a:lnTo>
                      <a:pt x="722804" y="145654"/>
                    </a:lnTo>
                    <a:lnTo>
                      <a:pt x="722187" y="144508"/>
                    </a:lnTo>
                    <a:lnTo>
                      <a:pt x="725978" y="144508"/>
                    </a:lnTo>
                    <a:lnTo>
                      <a:pt x="728271" y="143009"/>
                    </a:lnTo>
                    <a:lnTo>
                      <a:pt x="730563" y="144155"/>
                    </a:lnTo>
                    <a:lnTo>
                      <a:pt x="724127" y="143274"/>
                    </a:lnTo>
                    <a:lnTo>
                      <a:pt x="732327" y="143538"/>
                    </a:lnTo>
                    <a:lnTo>
                      <a:pt x="744847" y="147594"/>
                    </a:lnTo>
                    <a:lnTo>
                      <a:pt x="747492" y="144067"/>
                    </a:lnTo>
                    <a:lnTo>
                      <a:pt x="753046" y="144596"/>
                    </a:lnTo>
                    <a:lnTo>
                      <a:pt x="754809" y="140188"/>
                    </a:lnTo>
                    <a:lnTo>
                      <a:pt x="748109" y="136396"/>
                    </a:lnTo>
                    <a:lnTo>
                      <a:pt x="753663" y="129431"/>
                    </a:lnTo>
                    <a:lnTo>
                      <a:pt x="745464" y="127051"/>
                    </a:lnTo>
                    <a:lnTo>
                      <a:pt x="740526" y="130842"/>
                    </a:lnTo>
                    <a:lnTo>
                      <a:pt x="739909" y="127668"/>
                    </a:lnTo>
                    <a:lnTo>
                      <a:pt x="742201" y="123259"/>
                    </a:lnTo>
                    <a:lnTo>
                      <a:pt x="731445" y="120967"/>
                    </a:lnTo>
                    <a:lnTo>
                      <a:pt x="721482" y="119468"/>
                    </a:lnTo>
                    <a:lnTo>
                      <a:pt x="722099" y="116823"/>
                    </a:lnTo>
                    <a:lnTo>
                      <a:pt x="727301" y="114178"/>
                    </a:lnTo>
                    <a:lnTo>
                      <a:pt x="736911" y="112415"/>
                    </a:lnTo>
                    <a:lnTo>
                      <a:pt x="751459" y="115589"/>
                    </a:lnTo>
                    <a:lnTo>
                      <a:pt x="760805" y="116735"/>
                    </a:lnTo>
                    <a:lnTo>
                      <a:pt x="772443" y="113825"/>
                    </a:lnTo>
                    <a:lnTo>
                      <a:pt x="777733" y="116470"/>
                    </a:lnTo>
                    <a:lnTo>
                      <a:pt x="780026" y="113825"/>
                    </a:lnTo>
                    <a:lnTo>
                      <a:pt x="784434" y="113208"/>
                    </a:lnTo>
                    <a:lnTo>
                      <a:pt x="777998" y="107654"/>
                    </a:lnTo>
                    <a:lnTo>
                      <a:pt x="774471" y="106507"/>
                    </a:lnTo>
                    <a:lnTo>
                      <a:pt x="774207" y="102099"/>
                    </a:lnTo>
                    <a:lnTo>
                      <a:pt x="771562" y="99189"/>
                    </a:lnTo>
                    <a:lnTo>
                      <a:pt x="769798" y="97691"/>
                    </a:lnTo>
                    <a:lnTo>
                      <a:pt x="765478" y="97426"/>
                    </a:lnTo>
                    <a:lnTo>
                      <a:pt x="763097" y="96280"/>
                    </a:lnTo>
                    <a:lnTo>
                      <a:pt x="759923" y="96897"/>
                    </a:lnTo>
                    <a:lnTo>
                      <a:pt x="758424" y="96015"/>
                    </a:lnTo>
                    <a:lnTo>
                      <a:pt x="758953" y="93106"/>
                    </a:lnTo>
                    <a:lnTo>
                      <a:pt x="755779" y="94252"/>
                    </a:lnTo>
                    <a:lnTo>
                      <a:pt x="757278" y="92489"/>
                    </a:lnTo>
                    <a:lnTo>
                      <a:pt x="753487" y="94252"/>
                    </a:lnTo>
                    <a:lnTo>
                      <a:pt x="750313" y="94252"/>
                    </a:lnTo>
                    <a:lnTo>
                      <a:pt x="746522" y="95398"/>
                    </a:lnTo>
                    <a:lnTo>
                      <a:pt x="743877" y="98925"/>
                    </a:lnTo>
                    <a:lnTo>
                      <a:pt x="738939" y="101834"/>
                    </a:lnTo>
                    <a:lnTo>
                      <a:pt x="736294" y="98660"/>
                    </a:lnTo>
                    <a:lnTo>
                      <a:pt x="736294" y="93370"/>
                    </a:lnTo>
                    <a:lnTo>
                      <a:pt x="736559" y="92224"/>
                    </a:lnTo>
                    <a:lnTo>
                      <a:pt x="738322" y="89932"/>
                    </a:lnTo>
                    <a:lnTo>
                      <a:pt x="737440" y="90549"/>
                    </a:lnTo>
                    <a:lnTo>
                      <a:pt x="741849" y="90549"/>
                    </a:lnTo>
                    <a:lnTo>
                      <a:pt x="746257" y="88521"/>
                    </a:lnTo>
                    <a:lnTo>
                      <a:pt x="751812" y="84113"/>
                    </a:lnTo>
                    <a:lnTo>
                      <a:pt x="761687" y="79175"/>
                    </a:lnTo>
                    <a:lnTo>
                      <a:pt x="769269" y="77764"/>
                    </a:lnTo>
                    <a:lnTo>
                      <a:pt x="776235" y="75119"/>
                    </a:lnTo>
                    <a:lnTo>
                      <a:pt x="780026" y="70711"/>
                    </a:lnTo>
                    <a:lnTo>
                      <a:pt x="784434" y="66303"/>
                    </a:lnTo>
                    <a:lnTo>
                      <a:pt x="787608" y="62511"/>
                    </a:lnTo>
                    <a:lnTo>
                      <a:pt x="781172" y="63658"/>
                    </a:lnTo>
                    <a:lnTo>
                      <a:pt x="771297" y="63040"/>
                    </a:lnTo>
                    <a:lnTo>
                      <a:pt x="777733" y="59514"/>
                    </a:lnTo>
                    <a:lnTo>
                      <a:pt x="782935" y="59249"/>
                    </a:lnTo>
                    <a:lnTo>
                      <a:pt x="791399" y="61013"/>
                    </a:lnTo>
                    <a:lnTo>
                      <a:pt x="797218" y="65421"/>
                    </a:lnTo>
                    <a:lnTo>
                      <a:pt x="807181" y="65685"/>
                    </a:lnTo>
                    <a:lnTo>
                      <a:pt x="810973" y="63658"/>
                    </a:lnTo>
                    <a:lnTo>
                      <a:pt x="808945" y="59249"/>
                    </a:lnTo>
                    <a:lnTo>
                      <a:pt x="814500" y="56604"/>
                    </a:lnTo>
                    <a:lnTo>
                      <a:pt x="817409" y="55987"/>
                    </a:lnTo>
                    <a:lnTo>
                      <a:pt x="825344" y="54929"/>
                    </a:lnTo>
                    <a:lnTo>
                      <a:pt x="831780" y="53783"/>
                    </a:lnTo>
                    <a:lnTo>
                      <a:pt x="836718" y="51755"/>
                    </a:lnTo>
                    <a:lnTo>
                      <a:pt x="841126" y="48228"/>
                    </a:lnTo>
                    <a:lnTo>
                      <a:pt x="846681" y="44437"/>
                    </a:lnTo>
                    <a:lnTo>
                      <a:pt x="848444" y="37119"/>
                    </a:lnTo>
                    <a:lnTo>
                      <a:pt x="850472" y="46994"/>
                    </a:lnTo>
                    <a:lnTo>
                      <a:pt x="855762" y="44701"/>
                    </a:lnTo>
                    <a:lnTo>
                      <a:pt x="860171" y="41439"/>
                    </a:lnTo>
                    <a:lnTo>
                      <a:pt x="864844" y="41792"/>
                    </a:lnTo>
                    <a:lnTo>
                      <a:pt x="870663" y="43555"/>
                    </a:lnTo>
                    <a:lnTo>
                      <a:pt x="872955" y="40910"/>
                    </a:lnTo>
                    <a:lnTo>
                      <a:pt x="879039" y="40293"/>
                    </a:lnTo>
                    <a:lnTo>
                      <a:pt x="885210" y="40293"/>
                    </a:lnTo>
                    <a:lnTo>
                      <a:pt x="892529" y="41439"/>
                    </a:lnTo>
                    <a:lnTo>
                      <a:pt x="892793" y="37912"/>
                    </a:lnTo>
                    <a:lnTo>
                      <a:pt x="897731" y="36766"/>
                    </a:lnTo>
                    <a:lnTo>
                      <a:pt x="894556" y="34121"/>
                    </a:lnTo>
                    <a:lnTo>
                      <a:pt x="889002" y="31829"/>
                    </a:lnTo>
                    <a:lnTo>
                      <a:pt x="880802" y="32975"/>
                    </a:lnTo>
                    <a:lnTo>
                      <a:pt x="874366" y="31212"/>
                    </a:lnTo>
                    <a:lnTo>
                      <a:pt x="865637" y="30330"/>
                    </a:lnTo>
                    <a:lnTo>
                      <a:pt x="860347" y="32093"/>
                    </a:lnTo>
                    <a:lnTo>
                      <a:pt x="840774" y="30065"/>
                    </a:lnTo>
                    <a:lnTo>
                      <a:pt x="832309" y="32093"/>
                    </a:lnTo>
                    <a:lnTo>
                      <a:pt x="829929" y="29801"/>
                    </a:lnTo>
                    <a:lnTo>
                      <a:pt x="826138" y="30947"/>
                    </a:lnTo>
                    <a:lnTo>
                      <a:pt x="821200" y="32358"/>
                    </a:lnTo>
                    <a:lnTo>
                      <a:pt x="817409" y="33504"/>
                    </a:lnTo>
                    <a:lnTo>
                      <a:pt x="814147" y="35003"/>
                    </a:lnTo>
                    <a:lnTo>
                      <a:pt x="810973" y="32622"/>
                    </a:lnTo>
                    <a:lnTo>
                      <a:pt x="809209" y="31123"/>
                    </a:lnTo>
                    <a:lnTo>
                      <a:pt x="806300" y="27332"/>
                    </a:lnTo>
                    <a:lnTo>
                      <a:pt x="804007" y="29360"/>
                    </a:lnTo>
                    <a:lnTo>
                      <a:pt x="804889" y="31741"/>
                    </a:lnTo>
                    <a:lnTo>
                      <a:pt x="802861" y="32622"/>
                    </a:lnTo>
                    <a:lnTo>
                      <a:pt x="798453" y="35267"/>
                    </a:lnTo>
                    <a:lnTo>
                      <a:pt x="794133" y="35267"/>
                    </a:lnTo>
                    <a:lnTo>
                      <a:pt x="784522" y="36414"/>
                    </a:lnTo>
                    <a:lnTo>
                      <a:pt x="789195" y="32622"/>
                    </a:lnTo>
                    <a:lnTo>
                      <a:pt x="795367" y="30594"/>
                    </a:lnTo>
                    <a:lnTo>
                      <a:pt x="793339" y="26803"/>
                    </a:lnTo>
                    <a:lnTo>
                      <a:pt x="788931" y="24775"/>
                    </a:lnTo>
                    <a:lnTo>
                      <a:pt x="785404" y="24511"/>
                    </a:lnTo>
                    <a:lnTo>
                      <a:pt x="783112" y="28919"/>
                    </a:lnTo>
                    <a:lnTo>
                      <a:pt x="777910" y="32093"/>
                    </a:lnTo>
                    <a:lnTo>
                      <a:pt x="769710" y="36766"/>
                    </a:lnTo>
                    <a:lnTo>
                      <a:pt x="764420" y="37031"/>
                    </a:lnTo>
                    <a:lnTo>
                      <a:pt x="764155" y="32358"/>
                    </a:lnTo>
                    <a:lnTo>
                      <a:pt x="764155" y="29448"/>
                    </a:lnTo>
                    <a:lnTo>
                      <a:pt x="764772" y="26539"/>
                    </a:lnTo>
                    <a:lnTo>
                      <a:pt x="763274" y="25921"/>
                    </a:lnTo>
                    <a:lnTo>
                      <a:pt x="762392" y="22747"/>
                    </a:lnTo>
                    <a:lnTo>
                      <a:pt x="760893" y="20984"/>
                    </a:lnTo>
                    <a:lnTo>
                      <a:pt x="764949" y="14548"/>
                    </a:lnTo>
                    <a:lnTo>
                      <a:pt x="761158" y="13402"/>
                    </a:lnTo>
                    <a:lnTo>
                      <a:pt x="757102" y="15429"/>
                    </a:lnTo>
                    <a:lnTo>
                      <a:pt x="753311" y="15429"/>
                    </a:lnTo>
                    <a:lnTo>
                      <a:pt x="750136" y="14283"/>
                    </a:lnTo>
                    <a:lnTo>
                      <a:pt x="746345" y="14019"/>
                    </a:lnTo>
                    <a:lnTo>
                      <a:pt x="736735" y="13402"/>
                    </a:lnTo>
                    <a:lnTo>
                      <a:pt x="738498" y="13666"/>
                    </a:lnTo>
                    <a:lnTo>
                      <a:pt x="737617" y="9610"/>
                    </a:lnTo>
                    <a:lnTo>
                      <a:pt x="732415" y="10228"/>
                    </a:lnTo>
                    <a:lnTo>
                      <a:pt x="733296" y="7053"/>
                    </a:lnTo>
                    <a:lnTo>
                      <a:pt x="725714" y="8817"/>
                    </a:lnTo>
                    <a:lnTo>
                      <a:pt x="723950" y="8552"/>
                    </a:lnTo>
                    <a:lnTo>
                      <a:pt x="717250" y="7935"/>
                    </a:lnTo>
                    <a:lnTo>
                      <a:pt x="714076" y="5907"/>
                    </a:lnTo>
                    <a:lnTo>
                      <a:pt x="708521" y="5643"/>
                    </a:lnTo>
                    <a:lnTo>
                      <a:pt x="705259" y="6524"/>
                    </a:lnTo>
                    <a:lnTo>
                      <a:pt x="701203" y="4761"/>
                    </a:lnTo>
                    <a:lnTo>
                      <a:pt x="696530" y="4497"/>
                    </a:lnTo>
                    <a:lnTo>
                      <a:pt x="679602" y="3350"/>
                    </a:lnTo>
                    <a:lnTo>
                      <a:pt x="689829" y="1852"/>
                    </a:lnTo>
                    <a:lnTo>
                      <a:pt x="674664" y="1234"/>
                    </a:lnTo>
                    <a:lnTo>
                      <a:pt x="661263" y="4144"/>
                    </a:lnTo>
                    <a:lnTo>
                      <a:pt x="650506" y="2998"/>
                    </a:lnTo>
                    <a:lnTo>
                      <a:pt x="637369" y="2381"/>
                    </a:lnTo>
                    <a:lnTo>
                      <a:pt x="622821" y="1763"/>
                    </a:lnTo>
                    <a:lnTo>
                      <a:pt x="603248" y="2910"/>
                    </a:lnTo>
                    <a:lnTo>
                      <a:pt x="598575" y="4673"/>
                    </a:lnTo>
                    <a:lnTo>
                      <a:pt x="593638" y="2028"/>
                    </a:lnTo>
                    <a:lnTo>
                      <a:pt x="582000" y="0"/>
                    </a:lnTo>
                    <a:lnTo>
                      <a:pt x="582264" y="2645"/>
                    </a:lnTo>
                    <a:lnTo>
                      <a:pt x="578737" y="7053"/>
                    </a:lnTo>
                    <a:lnTo>
                      <a:pt x="576357" y="3262"/>
                    </a:lnTo>
                    <a:lnTo>
                      <a:pt x="569656" y="4144"/>
                    </a:lnTo>
                    <a:lnTo>
                      <a:pt x="562338" y="5643"/>
                    </a:lnTo>
                    <a:lnTo>
                      <a:pt x="555902" y="4497"/>
                    </a:lnTo>
                    <a:lnTo>
                      <a:pt x="553609" y="5378"/>
                    </a:lnTo>
                    <a:lnTo>
                      <a:pt x="549818" y="5995"/>
                    </a:lnTo>
                    <a:lnTo>
                      <a:pt x="544880" y="3350"/>
                    </a:lnTo>
                    <a:lnTo>
                      <a:pt x="545762" y="4849"/>
                    </a:lnTo>
                    <a:lnTo>
                      <a:pt x="537915" y="5731"/>
                    </a:lnTo>
                    <a:lnTo>
                      <a:pt x="527688" y="4849"/>
                    </a:lnTo>
                    <a:lnTo>
                      <a:pt x="514110" y="8552"/>
                    </a:lnTo>
                    <a:lnTo>
                      <a:pt x="512082" y="5643"/>
                    </a:lnTo>
                    <a:lnTo>
                      <a:pt x="508026" y="5643"/>
                    </a:lnTo>
                    <a:lnTo>
                      <a:pt x="488188" y="5290"/>
                    </a:lnTo>
                    <a:lnTo>
                      <a:pt x="480606" y="2645"/>
                    </a:lnTo>
                    <a:lnTo>
                      <a:pt x="475933" y="5290"/>
                    </a:lnTo>
                    <a:lnTo>
                      <a:pt x="463677" y="4408"/>
                    </a:lnTo>
                    <a:lnTo>
                      <a:pt x="459357" y="5555"/>
                    </a:lnTo>
                    <a:lnTo>
                      <a:pt x="452304" y="6084"/>
                    </a:lnTo>
                    <a:lnTo>
                      <a:pt x="441283" y="6701"/>
                    </a:lnTo>
                    <a:lnTo>
                      <a:pt x="443575" y="9346"/>
                    </a:lnTo>
                    <a:lnTo>
                      <a:pt x="460768" y="8200"/>
                    </a:lnTo>
                    <a:lnTo>
                      <a:pt x="465705" y="9346"/>
                    </a:lnTo>
                    <a:lnTo>
                      <a:pt x="461650" y="10228"/>
                    </a:lnTo>
                    <a:lnTo>
                      <a:pt x="456712" y="13402"/>
                    </a:lnTo>
                    <a:lnTo>
                      <a:pt x="448513" y="15165"/>
                    </a:lnTo>
                    <a:lnTo>
                      <a:pt x="446132" y="12520"/>
                    </a:lnTo>
                    <a:lnTo>
                      <a:pt x="441195" y="13402"/>
                    </a:lnTo>
                    <a:lnTo>
                      <a:pt x="436522" y="14548"/>
                    </a:lnTo>
                    <a:lnTo>
                      <a:pt x="430085" y="14548"/>
                    </a:lnTo>
                    <a:lnTo>
                      <a:pt x="432995" y="17457"/>
                    </a:lnTo>
                    <a:lnTo>
                      <a:pt x="448777" y="20984"/>
                    </a:lnTo>
                    <a:lnTo>
                      <a:pt x="437668" y="20720"/>
                    </a:lnTo>
                    <a:lnTo>
                      <a:pt x="433259" y="19309"/>
                    </a:lnTo>
                    <a:lnTo>
                      <a:pt x="430085" y="19926"/>
                    </a:lnTo>
                    <a:lnTo>
                      <a:pt x="424266" y="21072"/>
                    </a:lnTo>
                    <a:lnTo>
                      <a:pt x="420740" y="18427"/>
                    </a:lnTo>
                    <a:lnTo>
                      <a:pt x="414656" y="17546"/>
                    </a:lnTo>
                    <a:lnTo>
                      <a:pt x="406809" y="15782"/>
                    </a:lnTo>
                    <a:lnTo>
                      <a:pt x="401871" y="17546"/>
                    </a:lnTo>
                    <a:lnTo>
                      <a:pt x="398962" y="14283"/>
                    </a:lnTo>
                    <a:lnTo>
                      <a:pt x="394289" y="12255"/>
                    </a:lnTo>
                    <a:lnTo>
                      <a:pt x="390233" y="14019"/>
                    </a:lnTo>
                    <a:lnTo>
                      <a:pt x="382033" y="13402"/>
                    </a:lnTo>
                    <a:lnTo>
                      <a:pt x="381417" y="16576"/>
                    </a:lnTo>
                    <a:lnTo>
                      <a:pt x="381417" y="19662"/>
                    </a:lnTo>
                    <a:lnTo>
                      <a:pt x="377890" y="24952"/>
                    </a:lnTo>
                    <a:lnTo>
                      <a:pt x="369690" y="20014"/>
                    </a:lnTo>
                    <a:lnTo>
                      <a:pt x="363606" y="16840"/>
                    </a:lnTo>
                    <a:lnTo>
                      <a:pt x="348441" y="16576"/>
                    </a:lnTo>
                    <a:lnTo>
                      <a:pt x="347295" y="21778"/>
                    </a:lnTo>
                    <a:lnTo>
                      <a:pt x="352497" y="24070"/>
                    </a:lnTo>
                    <a:lnTo>
                      <a:pt x="350998" y="27861"/>
                    </a:lnTo>
                    <a:lnTo>
                      <a:pt x="342270" y="23453"/>
                    </a:lnTo>
                    <a:lnTo>
                      <a:pt x="344562" y="19044"/>
                    </a:lnTo>
                    <a:lnTo>
                      <a:pt x="342270" y="15253"/>
                    </a:lnTo>
                    <a:lnTo>
                      <a:pt x="336715" y="17898"/>
                    </a:lnTo>
                    <a:lnTo>
                      <a:pt x="321815" y="17281"/>
                    </a:lnTo>
                    <a:lnTo>
                      <a:pt x="312733" y="14371"/>
                    </a:lnTo>
                    <a:lnTo>
                      <a:pt x="305768" y="18780"/>
                    </a:lnTo>
                    <a:lnTo>
                      <a:pt x="300566" y="16135"/>
                    </a:lnTo>
                    <a:lnTo>
                      <a:pt x="301183" y="19926"/>
                    </a:lnTo>
                    <a:lnTo>
                      <a:pt x="292984" y="17898"/>
                    </a:lnTo>
                    <a:lnTo>
                      <a:pt x="289457" y="20543"/>
                    </a:lnTo>
                    <a:lnTo>
                      <a:pt x="289457" y="17634"/>
                    </a:lnTo>
                    <a:lnTo>
                      <a:pt x="291220" y="14724"/>
                    </a:lnTo>
                    <a:lnTo>
                      <a:pt x="287164" y="18251"/>
                    </a:lnTo>
                    <a:lnTo>
                      <a:pt x="283373" y="20543"/>
                    </a:lnTo>
                    <a:lnTo>
                      <a:pt x="284872" y="18251"/>
                    </a:lnTo>
                    <a:lnTo>
                      <a:pt x="282580" y="17105"/>
                    </a:lnTo>
                    <a:lnTo>
                      <a:pt x="272969" y="21513"/>
                    </a:lnTo>
                    <a:lnTo>
                      <a:pt x="265387" y="20896"/>
                    </a:lnTo>
                    <a:lnTo>
                      <a:pt x="261595" y="21778"/>
                    </a:lnTo>
                    <a:lnTo>
                      <a:pt x="261860" y="24423"/>
                    </a:lnTo>
                    <a:lnTo>
                      <a:pt x="260361" y="25304"/>
                    </a:lnTo>
                    <a:lnTo>
                      <a:pt x="256306" y="20896"/>
                    </a:lnTo>
                    <a:lnTo>
                      <a:pt x="251897" y="22395"/>
                    </a:lnTo>
                    <a:lnTo>
                      <a:pt x="241670" y="23276"/>
                    </a:lnTo>
                    <a:lnTo>
                      <a:pt x="235233" y="27068"/>
                    </a:lnTo>
                    <a:lnTo>
                      <a:pt x="232941" y="30594"/>
                    </a:lnTo>
                    <a:lnTo>
                      <a:pt x="236732" y="33768"/>
                    </a:lnTo>
                    <a:lnTo>
                      <a:pt x="264681" y="35532"/>
                    </a:lnTo>
                    <a:lnTo>
                      <a:pt x="272529" y="40469"/>
                    </a:lnTo>
                    <a:lnTo>
                      <a:pt x="258245" y="40205"/>
                    </a:lnTo>
                    <a:lnTo>
                      <a:pt x="252955" y="38177"/>
                    </a:lnTo>
                    <a:lnTo>
                      <a:pt x="238407" y="37560"/>
                    </a:lnTo>
                    <a:lnTo>
                      <a:pt x="228180" y="36414"/>
                    </a:lnTo>
                    <a:lnTo>
                      <a:pt x="227034" y="34650"/>
                    </a:lnTo>
                    <a:lnTo>
                      <a:pt x="216542" y="34650"/>
                    </a:lnTo>
                    <a:lnTo>
                      <a:pt x="214249" y="33151"/>
                    </a:lnTo>
                    <a:lnTo>
                      <a:pt x="200848" y="32534"/>
                    </a:lnTo>
                    <a:lnTo>
                      <a:pt x="193265" y="36325"/>
                    </a:lnTo>
                    <a:lnTo>
                      <a:pt x="183655" y="36325"/>
                    </a:lnTo>
                    <a:lnTo>
                      <a:pt x="176690" y="36943"/>
                    </a:lnTo>
                    <a:lnTo>
                      <a:pt x="169371" y="42497"/>
                    </a:lnTo>
                    <a:lnTo>
                      <a:pt x="164081" y="42497"/>
                    </a:lnTo>
                    <a:lnTo>
                      <a:pt x="147770" y="43643"/>
                    </a:lnTo>
                    <a:lnTo>
                      <a:pt x="133751" y="46906"/>
                    </a:lnTo>
                    <a:lnTo>
                      <a:pt x="125287" y="48669"/>
                    </a:lnTo>
                    <a:lnTo>
                      <a:pt x="124758" y="50697"/>
                    </a:lnTo>
                    <a:lnTo>
                      <a:pt x="127403" y="53342"/>
                    </a:lnTo>
                    <a:lnTo>
                      <a:pt x="129696" y="53959"/>
                    </a:lnTo>
                    <a:lnTo>
                      <a:pt x="132076" y="51579"/>
                    </a:lnTo>
                    <a:lnTo>
                      <a:pt x="137631" y="50961"/>
                    </a:lnTo>
                    <a:lnTo>
                      <a:pt x="143450" y="52989"/>
                    </a:lnTo>
                    <a:lnTo>
                      <a:pt x="145213" y="55370"/>
                    </a:lnTo>
                    <a:lnTo>
                      <a:pt x="153942" y="56251"/>
                    </a:lnTo>
                    <a:lnTo>
                      <a:pt x="139659" y="58015"/>
                    </a:lnTo>
                    <a:lnTo>
                      <a:pt x="135250" y="59161"/>
                    </a:lnTo>
                    <a:lnTo>
                      <a:pt x="124141" y="60660"/>
                    </a:lnTo>
                    <a:lnTo>
                      <a:pt x="134369" y="62952"/>
                    </a:lnTo>
                    <a:lnTo>
                      <a:pt x="134986" y="64980"/>
                    </a:lnTo>
                    <a:lnTo>
                      <a:pt x="131459" y="68771"/>
                    </a:lnTo>
                    <a:lnTo>
                      <a:pt x="128285" y="71945"/>
                    </a:lnTo>
                    <a:lnTo>
                      <a:pt x="122730" y="70447"/>
                    </a:lnTo>
                    <a:lnTo>
                      <a:pt x="115148" y="68419"/>
                    </a:lnTo>
                    <a:lnTo>
                      <a:pt x="102628" y="69036"/>
                    </a:lnTo>
                    <a:lnTo>
                      <a:pt x="95927" y="70799"/>
                    </a:lnTo>
                    <a:lnTo>
                      <a:pt x="90725" y="73180"/>
                    </a:lnTo>
                    <a:lnTo>
                      <a:pt x="88080" y="70799"/>
                    </a:lnTo>
                    <a:lnTo>
                      <a:pt x="83407" y="75208"/>
                    </a:lnTo>
                    <a:lnTo>
                      <a:pt x="78470" y="73444"/>
                    </a:lnTo>
                    <a:lnTo>
                      <a:pt x="76442" y="74326"/>
                    </a:lnTo>
                    <a:lnTo>
                      <a:pt x="70887" y="74061"/>
                    </a:lnTo>
                    <a:lnTo>
                      <a:pt x="63569" y="78999"/>
                    </a:lnTo>
                    <a:lnTo>
                      <a:pt x="46024" y="77500"/>
                    </a:lnTo>
                    <a:lnTo>
                      <a:pt x="33768" y="77500"/>
                    </a:lnTo>
                    <a:lnTo>
                      <a:pt x="25569" y="77764"/>
                    </a:lnTo>
                    <a:lnTo>
                      <a:pt x="22395" y="81556"/>
                    </a:lnTo>
                    <a:lnTo>
                      <a:pt x="13930" y="83584"/>
                    </a:lnTo>
                    <a:lnTo>
                      <a:pt x="9258" y="87110"/>
                    </a:lnTo>
                    <a:lnTo>
                      <a:pt x="13930" y="89403"/>
                    </a:lnTo>
                    <a:lnTo>
                      <a:pt x="13666" y="92312"/>
                    </a:lnTo>
                    <a:lnTo>
                      <a:pt x="20102" y="94605"/>
                    </a:lnTo>
                    <a:lnTo>
                      <a:pt x="27685" y="93459"/>
                    </a:lnTo>
                    <a:lnTo>
                      <a:pt x="32093" y="97514"/>
                    </a:lnTo>
                    <a:lnTo>
                      <a:pt x="38794" y="99895"/>
                    </a:lnTo>
                    <a:lnTo>
                      <a:pt x="41704" y="99278"/>
                    </a:lnTo>
                    <a:lnTo>
                      <a:pt x="50697" y="100776"/>
                    </a:lnTo>
                    <a:lnTo>
                      <a:pt x="58896" y="99895"/>
                    </a:lnTo>
                    <a:lnTo>
                      <a:pt x="64716" y="98396"/>
                    </a:lnTo>
                    <a:lnTo>
                      <a:pt x="71681" y="100688"/>
                    </a:lnTo>
                    <a:lnTo>
                      <a:pt x="69917" y="102716"/>
                    </a:lnTo>
                    <a:lnTo>
                      <a:pt x="65509" y="102716"/>
                    </a:lnTo>
                    <a:lnTo>
                      <a:pt x="62335" y="100953"/>
                    </a:lnTo>
                    <a:lnTo>
                      <a:pt x="57662" y="102981"/>
                    </a:lnTo>
                    <a:lnTo>
                      <a:pt x="56516" y="104744"/>
                    </a:lnTo>
                    <a:lnTo>
                      <a:pt x="60043" y="106507"/>
                    </a:lnTo>
                    <a:lnTo>
                      <a:pt x="59425" y="106772"/>
                    </a:lnTo>
                    <a:lnTo>
                      <a:pt x="48052" y="104127"/>
                    </a:lnTo>
                    <a:lnTo>
                      <a:pt x="38706" y="103245"/>
                    </a:lnTo>
                    <a:lnTo>
                      <a:pt x="28831" y="101217"/>
                    </a:lnTo>
                    <a:lnTo>
                      <a:pt x="25304" y="103862"/>
                    </a:lnTo>
                    <a:lnTo>
                      <a:pt x="18339" y="103598"/>
                    </a:lnTo>
                    <a:lnTo>
                      <a:pt x="23629" y="98660"/>
                    </a:lnTo>
                    <a:lnTo>
                      <a:pt x="23894" y="96368"/>
                    </a:lnTo>
                    <a:lnTo>
                      <a:pt x="19838" y="99013"/>
                    </a:lnTo>
                    <a:lnTo>
                      <a:pt x="11109" y="97867"/>
                    </a:lnTo>
                    <a:lnTo>
                      <a:pt x="1499" y="100776"/>
                    </a:lnTo>
                    <a:lnTo>
                      <a:pt x="0" y="104303"/>
                    </a:lnTo>
                    <a:lnTo>
                      <a:pt x="882" y="114531"/>
                    </a:lnTo>
                    <a:lnTo>
                      <a:pt x="7318" y="112503"/>
                    </a:lnTo>
                    <a:lnTo>
                      <a:pt x="5819" y="108447"/>
                    </a:lnTo>
                    <a:lnTo>
                      <a:pt x="9610" y="105538"/>
                    </a:lnTo>
                    <a:lnTo>
                      <a:pt x="14019" y="104920"/>
                    </a:lnTo>
                    <a:lnTo>
                      <a:pt x="15782" y="111621"/>
                    </a:lnTo>
                    <a:lnTo>
                      <a:pt x="17545" y="114002"/>
                    </a:lnTo>
                    <a:lnTo>
                      <a:pt x="23100" y="116382"/>
                    </a:lnTo>
                    <a:lnTo>
                      <a:pt x="27156" y="114619"/>
                    </a:lnTo>
                    <a:lnTo>
                      <a:pt x="28919" y="120438"/>
                    </a:lnTo>
                    <a:lnTo>
                      <a:pt x="30683" y="124494"/>
                    </a:lnTo>
                    <a:lnTo>
                      <a:pt x="38882" y="130048"/>
                    </a:lnTo>
                    <a:lnTo>
                      <a:pt x="48493" y="130930"/>
                    </a:lnTo>
                    <a:lnTo>
                      <a:pt x="56692" y="131547"/>
                    </a:lnTo>
                    <a:lnTo>
                      <a:pt x="56957" y="128020"/>
                    </a:lnTo>
                    <a:lnTo>
                      <a:pt x="61012" y="130930"/>
                    </a:lnTo>
                    <a:lnTo>
                      <a:pt x="67713" y="130048"/>
                    </a:lnTo>
                    <a:lnTo>
                      <a:pt x="69741" y="126522"/>
                    </a:lnTo>
                    <a:lnTo>
                      <a:pt x="73268" y="123348"/>
                    </a:lnTo>
                    <a:lnTo>
                      <a:pt x="73885" y="128020"/>
                    </a:lnTo>
                    <a:lnTo>
                      <a:pt x="75913" y="129167"/>
                    </a:lnTo>
                    <a:lnTo>
                      <a:pt x="75031" y="125640"/>
                    </a:lnTo>
                    <a:lnTo>
                      <a:pt x="83495" y="130313"/>
                    </a:lnTo>
                    <a:lnTo>
                      <a:pt x="85788" y="125904"/>
                    </a:lnTo>
                    <a:lnTo>
                      <a:pt x="87551" y="128549"/>
                    </a:lnTo>
                    <a:lnTo>
                      <a:pt x="93635" y="127051"/>
                    </a:lnTo>
                    <a:lnTo>
                      <a:pt x="100688" y="122995"/>
                    </a:lnTo>
                    <a:lnTo>
                      <a:pt x="104480" y="128285"/>
                    </a:lnTo>
                    <a:lnTo>
                      <a:pt x="105978" y="125375"/>
                    </a:lnTo>
                    <a:lnTo>
                      <a:pt x="114443" y="129167"/>
                    </a:lnTo>
                    <a:lnTo>
                      <a:pt x="114707" y="132958"/>
                    </a:lnTo>
                    <a:lnTo>
                      <a:pt x="113825" y="137631"/>
                    </a:lnTo>
                    <a:lnTo>
                      <a:pt x="114090" y="144332"/>
                    </a:lnTo>
                    <a:lnTo>
                      <a:pt x="119380" y="137014"/>
                    </a:lnTo>
                    <a:lnTo>
                      <a:pt x="118234" y="128020"/>
                    </a:lnTo>
                    <a:lnTo>
                      <a:pt x="120526" y="123348"/>
                    </a:lnTo>
                    <a:lnTo>
                      <a:pt x="122554" y="123083"/>
                    </a:lnTo>
                    <a:lnTo>
                      <a:pt x="122025" y="127139"/>
                    </a:lnTo>
                    <a:lnTo>
                      <a:pt x="124053" y="123612"/>
                    </a:lnTo>
                    <a:lnTo>
                      <a:pt x="128726" y="126522"/>
                    </a:lnTo>
                    <a:lnTo>
                      <a:pt x="140717" y="125023"/>
                    </a:lnTo>
                    <a:lnTo>
                      <a:pt x="140981" y="128549"/>
                    </a:lnTo>
                    <a:lnTo>
                      <a:pt x="149446" y="130313"/>
                    </a:lnTo>
                    <a:lnTo>
                      <a:pt x="158791" y="129696"/>
                    </a:lnTo>
                    <a:lnTo>
                      <a:pt x="164346" y="135515"/>
                    </a:lnTo>
                    <a:lnTo>
                      <a:pt x="171399" y="134633"/>
                    </a:lnTo>
                    <a:lnTo>
                      <a:pt x="178365" y="136396"/>
                    </a:lnTo>
                    <a:lnTo>
                      <a:pt x="179511" y="141334"/>
                    </a:lnTo>
                    <a:lnTo>
                      <a:pt x="174573" y="141863"/>
                    </a:lnTo>
                    <a:lnTo>
                      <a:pt x="174309" y="145390"/>
                    </a:lnTo>
                    <a:lnTo>
                      <a:pt x="176337" y="150327"/>
                    </a:lnTo>
                    <a:lnTo>
                      <a:pt x="179246" y="153589"/>
                    </a:lnTo>
                    <a:lnTo>
                      <a:pt x="185947" y="151209"/>
                    </a:lnTo>
                    <a:lnTo>
                      <a:pt x="185418" y="156499"/>
                    </a:lnTo>
                    <a:lnTo>
                      <a:pt x="185418" y="159673"/>
                    </a:lnTo>
                    <a:lnTo>
                      <a:pt x="183038" y="163729"/>
                    </a:lnTo>
                    <a:lnTo>
                      <a:pt x="183655" y="166903"/>
                    </a:lnTo>
                    <a:lnTo>
                      <a:pt x="195293" y="170694"/>
                    </a:lnTo>
                    <a:lnTo>
                      <a:pt x="183038" y="170959"/>
                    </a:lnTo>
                    <a:lnTo>
                      <a:pt x="178629" y="179423"/>
                    </a:lnTo>
                    <a:lnTo>
                      <a:pt x="182420" y="180569"/>
                    </a:lnTo>
                    <a:lnTo>
                      <a:pt x="187358" y="180304"/>
                    </a:lnTo>
                    <a:lnTo>
                      <a:pt x="184184" y="184713"/>
                    </a:lnTo>
                    <a:lnTo>
                      <a:pt x="180657" y="186212"/>
                    </a:lnTo>
                    <a:lnTo>
                      <a:pt x="187622" y="187358"/>
                    </a:lnTo>
                    <a:lnTo>
                      <a:pt x="190532" y="190003"/>
                    </a:lnTo>
                    <a:lnTo>
                      <a:pt x="187358" y="191502"/>
                    </a:lnTo>
                    <a:lnTo>
                      <a:pt x="182685" y="193794"/>
                    </a:lnTo>
                    <a:lnTo>
                      <a:pt x="177747" y="193794"/>
                    </a:lnTo>
                    <a:lnTo>
                      <a:pt x="177130" y="199349"/>
                    </a:lnTo>
                    <a:lnTo>
                      <a:pt x="180392" y="203404"/>
                    </a:lnTo>
                    <a:lnTo>
                      <a:pt x="178012" y="205432"/>
                    </a:lnTo>
                    <a:lnTo>
                      <a:pt x="174485" y="210105"/>
                    </a:lnTo>
                    <a:lnTo>
                      <a:pt x="169195" y="212133"/>
                    </a:lnTo>
                    <a:lnTo>
                      <a:pt x="169812" y="217688"/>
                    </a:lnTo>
                    <a:lnTo>
                      <a:pt x="166285" y="222361"/>
                    </a:lnTo>
                    <a:lnTo>
                      <a:pt x="159320" y="225535"/>
                    </a:lnTo>
                    <a:lnTo>
                      <a:pt x="167167" y="225535"/>
                    </a:lnTo>
                    <a:lnTo>
                      <a:pt x="169812" y="228180"/>
                    </a:lnTo>
                    <a:lnTo>
                      <a:pt x="177395" y="226681"/>
                    </a:lnTo>
                    <a:lnTo>
                      <a:pt x="186123" y="223154"/>
                    </a:lnTo>
                    <a:lnTo>
                      <a:pt x="194323" y="220245"/>
                    </a:lnTo>
                    <a:lnTo>
                      <a:pt x="203934" y="217600"/>
                    </a:lnTo>
                    <a:lnTo>
                      <a:pt x="208871" y="217600"/>
                    </a:lnTo>
                    <a:lnTo>
                      <a:pt x="214955" y="217864"/>
                    </a:lnTo>
                    <a:lnTo>
                      <a:pt x="214955" y="219892"/>
                    </a:lnTo>
                    <a:lnTo>
                      <a:pt x="209400" y="221655"/>
                    </a:lnTo>
                    <a:lnTo>
                      <a:pt x="208518" y="224829"/>
                    </a:lnTo>
                    <a:lnTo>
                      <a:pt x="197144" y="222802"/>
                    </a:lnTo>
                    <a:lnTo>
                      <a:pt x="230120" y="229238"/>
                    </a:lnTo>
                    <a:lnTo>
                      <a:pt x="196880" y="225711"/>
                    </a:lnTo>
                    <a:lnTo>
                      <a:pt x="188151" y="229767"/>
                    </a:lnTo>
                    <a:lnTo>
                      <a:pt x="199790" y="229150"/>
                    </a:lnTo>
                    <a:lnTo>
                      <a:pt x="210017" y="228532"/>
                    </a:lnTo>
                    <a:lnTo>
                      <a:pt x="220509" y="229679"/>
                    </a:lnTo>
                    <a:lnTo>
                      <a:pt x="222272" y="233205"/>
                    </a:lnTo>
                    <a:lnTo>
                      <a:pt x="221920" y="238143"/>
                    </a:lnTo>
                    <a:lnTo>
                      <a:pt x="216101" y="238760"/>
                    </a:lnTo>
                    <a:lnTo>
                      <a:pt x="213191" y="236379"/>
                    </a:lnTo>
                    <a:lnTo>
                      <a:pt x="204462" y="235498"/>
                    </a:lnTo>
                    <a:lnTo>
                      <a:pt x="206490" y="235498"/>
                    </a:lnTo>
                    <a:lnTo>
                      <a:pt x="198643" y="236027"/>
                    </a:lnTo>
                    <a:lnTo>
                      <a:pt x="192560" y="234263"/>
                    </a:lnTo>
                    <a:lnTo>
                      <a:pt x="180040" y="236291"/>
                    </a:lnTo>
                    <a:lnTo>
                      <a:pt x="177395" y="238672"/>
                    </a:lnTo>
                    <a:lnTo>
                      <a:pt x="183478" y="242199"/>
                    </a:lnTo>
                    <a:lnTo>
                      <a:pt x="189915" y="243697"/>
                    </a:lnTo>
                    <a:lnTo>
                      <a:pt x="197497" y="243962"/>
                    </a:lnTo>
                    <a:lnTo>
                      <a:pt x="202435" y="246607"/>
                    </a:lnTo>
                    <a:lnTo>
                      <a:pt x="205961" y="251280"/>
                    </a:lnTo>
                    <a:lnTo>
                      <a:pt x="215307" y="251544"/>
                    </a:lnTo>
                    <a:lnTo>
                      <a:pt x="222361" y="253308"/>
                    </a:lnTo>
                    <a:lnTo>
                      <a:pt x="229062" y="259127"/>
                    </a:lnTo>
                    <a:lnTo>
                      <a:pt x="225535" y="264417"/>
                    </a:lnTo>
                    <a:lnTo>
                      <a:pt x="220862" y="267327"/>
                    </a:lnTo>
                    <a:lnTo>
                      <a:pt x="218569" y="270853"/>
                    </a:lnTo>
                    <a:lnTo>
                      <a:pt x="214161" y="275791"/>
                    </a:lnTo>
                    <a:lnTo>
                      <a:pt x="211251" y="278700"/>
                    </a:lnTo>
                    <a:lnTo>
                      <a:pt x="210634" y="283638"/>
                    </a:lnTo>
                    <a:lnTo>
                      <a:pt x="199525" y="283373"/>
                    </a:lnTo>
                    <a:lnTo>
                      <a:pt x="193706" y="279317"/>
                    </a:lnTo>
                    <a:lnTo>
                      <a:pt x="186123" y="279317"/>
                    </a:lnTo>
                    <a:lnTo>
                      <a:pt x="180921" y="279935"/>
                    </a:lnTo>
                    <a:lnTo>
                      <a:pt x="178541" y="281698"/>
                    </a:lnTo>
                    <a:lnTo>
                      <a:pt x="172105" y="289545"/>
                    </a:lnTo>
                    <a:lnTo>
                      <a:pt x="174485" y="286900"/>
                    </a:lnTo>
                    <a:lnTo>
                      <a:pt x="181186" y="289809"/>
                    </a:lnTo>
                    <a:lnTo>
                      <a:pt x="189650" y="290338"/>
                    </a:lnTo>
                    <a:lnTo>
                      <a:pt x="200759" y="289809"/>
                    </a:lnTo>
                    <a:lnTo>
                      <a:pt x="207460" y="291573"/>
                    </a:lnTo>
                    <a:lnTo>
                      <a:pt x="205697" y="294747"/>
                    </a:lnTo>
                    <a:lnTo>
                      <a:pt x="195822" y="295364"/>
                    </a:lnTo>
                    <a:lnTo>
                      <a:pt x="182420" y="294747"/>
                    </a:lnTo>
                    <a:lnTo>
                      <a:pt x="176601" y="295629"/>
                    </a:lnTo>
                    <a:lnTo>
                      <a:pt x="167873" y="292984"/>
                    </a:lnTo>
                    <a:lnTo>
                      <a:pt x="166374" y="297039"/>
                    </a:lnTo>
                    <a:lnTo>
                      <a:pt x="159937" y="300566"/>
                    </a:lnTo>
                    <a:lnTo>
                      <a:pt x="170165" y="301183"/>
                    </a:lnTo>
                    <a:lnTo>
                      <a:pt x="178012" y="298538"/>
                    </a:lnTo>
                    <a:lnTo>
                      <a:pt x="181274" y="300566"/>
                    </a:lnTo>
                    <a:lnTo>
                      <a:pt x="192648" y="299684"/>
                    </a:lnTo>
                    <a:lnTo>
                      <a:pt x="200230" y="300302"/>
                    </a:lnTo>
                    <a:lnTo>
                      <a:pt x="205520" y="300919"/>
                    </a:lnTo>
                    <a:lnTo>
                      <a:pt x="208783" y="302418"/>
                    </a:lnTo>
                    <a:lnTo>
                      <a:pt x="209047" y="304710"/>
                    </a:lnTo>
                    <a:lnTo>
                      <a:pt x="201994" y="304974"/>
                    </a:lnTo>
                    <a:lnTo>
                      <a:pt x="186564" y="304357"/>
                    </a:lnTo>
                    <a:lnTo>
                      <a:pt x="153854" y="305239"/>
                    </a:lnTo>
                    <a:lnTo>
                      <a:pt x="152090" y="307267"/>
                    </a:lnTo>
                    <a:lnTo>
                      <a:pt x="179511" y="308149"/>
                    </a:lnTo>
                    <a:lnTo>
                      <a:pt x="186212" y="308766"/>
                    </a:lnTo>
                    <a:lnTo>
                      <a:pt x="169019" y="310265"/>
                    </a:lnTo>
                    <a:lnTo>
                      <a:pt x="166109" y="311411"/>
                    </a:lnTo>
                    <a:lnTo>
                      <a:pt x="151209" y="309912"/>
                    </a:lnTo>
                    <a:lnTo>
                      <a:pt x="150327" y="313439"/>
                    </a:lnTo>
                    <a:lnTo>
                      <a:pt x="151209" y="315467"/>
                    </a:lnTo>
                    <a:lnTo>
                      <a:pt x="157645" y="316348"/>
                    </a:lnTo>
                    <a:lnTo>
                      <a:pt x="150062" y="318993"/>
                    </a:lnTo>
                    <a:lnTo>
                      <a:pt x="164081" y="319875"/>
                    </a:lnTo>
                    <a:lnTo>
                      <a:pt x="164346" y="322520"/>
                    </a:lnTo>
                    <a:lnTo>
                      <a:pt x="163200" y="324548"/>
                    </a:lnTo>
                    <a:lnTo>
                      <a:pt x="156499" y="325430"/>
                    </a:lnTo>
                    <a:lnTo>
                      <a:pt x="148916" y="325165"/>
                    </a:lnTo>
                    <a:lnTo>
                      <a:pt x="149181" y="328339"/>
                    </a:lnTo>
                    <a:lnTo>
                      <a:pt x="142480" y="332130"/>
                    </a:lnTo>
                    <a:lnTo>
                      <a:pt x="150327" y="332130"/>
                    </a:lnTo>
                    <a:lnTo>
                      <a:pt x="153501" y="329485"/>
                    </a:lnTo>
                    <a:lnTo>
                      <a:pt x="166374" y="327986"/>
                    </a:lnTo>
                    <a:lnTo>
                      <a:pt x="170429" y="327722"/>
                    </a:lnTo>
                    <a:lnTo>
                      <a:pt x="177747" y="325958"/>
                    </a:lnTo>
                    <a:lnTo>
                      <a:pt x="193177" y="322167"/>
                    </a:lnTo>
                    <a:lnTo>
                      <a:pt x="201906" y="320139"/>
                    </a:lnTo>
                    <a:lnTo>
                      <a:pt x="201641" y="321286"/>
                    </a:lnTo>
                    <a:lnTo>
                      <a:pt x="194059" y="323049"/>
                    </a:lnTo>
                    <a:lnTo>
                      <a:pt x="175720" y="329485"/>
                    </a:lnTo>
                    <a:lnTo>
                      <a:pt x="170165" y="332395"/>
                    </a:lnTo>
                    <a:lnTo>
                      <a:pt x="167255" y="333805"/>
                    </a:lnTo>
                    <a:lnTo>
                      <a:pt x="161172" y="333805"/>
                    </a:lnTo>
                    <a:lnTo>
                      <a:pt x="156499" y="333541"/>
                    </a:lnTo>
                    <a:lnTo>
                      <a:pt x="144508" y="335833"/>
                    </a:lnTo>
                    <a:lnTo>
                      <a:pt x="150944" y="339360"/>
                    </a:lnTo>
                    <a:lnTo>
                      <a:pt x="151561" y="342534"/>
                    </a:lnTo>
                    <a:lnTo>
                      <a:pt x="147770" y="345444"/>
                    </a:lnTo>
                    <a:lnTo>
                      <a:pt x="144861" y="350734"/>
                    </a:lnTo>
                    <a:lnTo>
                      <a:pt x="148652" y="349235"/>
                    </a:lnTo>
                    <a:lnTo>
                      <a:pt x="155353" y="355319"/>
                    </a:lnTo>
                    <a:lnTo>
                      <a:pt x="154824" y="352673"/>
                    </a:lnTo>
                    <a:lnTo>
                      <a:pt x="154824" y="348618"/>
                    </a:lnTo>
                    <a:lnTo>
                      <a:pt x="166197" y="349500"/>
                    </a:lnTo>
                    <a:lnTo>
                      <a:pt x="172017" y="345708"/>
                    </a:lnTo>
                    <a:lnTo>
                      <a:pt x="175543" y="348353"/>
                    </a:lnTo>
                    <a:lnTo>
                      <a:pt x="172898" y="350381"/>
                    </a:lnTo>
                    <a:lnTo>
                      <a:pt x="158615" y="354437"/>
                    </a:lnTo>
                    <a:lnTo>
                      <a:pt x="156852" y="361755"/>
                    </a:lnTo>
                    <a:lnTo>
                      <a:pt x="154824" y="367838"/>
                    </a:lnTo>
                    <a:lnTo>
                      <a:pt x="154206" y="373129"/>
                    </a:lnTo>
                    <a:lnTo>
                      <a:pt x="151032" y="376655"/>
                    </a:lnTo>
                    <a:lnTo>
                      <a:pt x="158615" y="374010"/>
                    </a:lnTo>
                    <a:lnTo>
                      <a:pt x="168578" y="369602"/>
                    </a:lnTo>
                    <a:lnTo>
                      <a:pt x="181979" y="366957"/>
                    </a:lnTo>
                    <a:lnTo>
                      <a:pt x="177571" y="370748"/>
                    </a:lnTo>
                    <a:lnTo>
                      <a:pt x="170253" y="372511"/>
                    </a:lnTo>
                    <a:lnTo>
                      <a:pt x="158879" y="376920"/>
                    </a:lnTo>
                    <a:lnTo>
                      <a:pt x="159497" y="379565"/>
                    </a:lnTo>
                    <a:lnTo>
                      <a:pt x="161260" y="382474"/>
                    </a:lnTo>
                    <a:lnTo>
                      <a:pt x="170253" y="380094"/>
                    </a:lnTo>
                    <a:lnTo>
                      <a:pt x="173515" y="382739"/>
                    </a:lnTo>
                    <a:lnTo>
                      <a:pt x="167696" y="386530"/>
                    </a:lnTo>
                    <a:lnTo>
                      <a:pt x="167167" y="386178"/>
                    </a:lnTo>
                    <a:lnTo>
                      <a:pt x="161084" y="386530"/>
                    </a:lnTo>
                    <a:lnTo>
                      <a:pt x="155529" y="390057"/>
                    </a:lnTo>
                    <a:lnTo>
                      <a:pt x="160202" y="390057"/>
                    </a:lnTo>
                    <a:lnTo>
                      <a:pt x="163993" y="388029"/>
                    </a:lnTo>
                    <a:lnTo>
                      <a:pt x="166903" y="390674"/>
                    </a:lnTo>
                    <a:lnTo>
                      <a:pt x="163729" y="393584"/>
                    </a:lnTo>
                    <a:lnTo>
                      <a:pt x="161701" y="397992"/>
                    </a:lnTo>
                    <a:lnTo>
                      <a:pt x="165756" y="401254"/>
                    </a:lnTo>
                    <a:lnTo>
                      <a:pt x="167255" y="401254"/>
                    </a:lnTo>
                    <a:lnTo>
                      <a:pt x="169019" y="406192"/>
                    </a:lnTo>
                    <a:lnTo>
                      <a:pt x="173075" y="408837"/>
                    </a:lnTo>
                    <a:lnTo>
                      <a:pt x="177747" y="408572"/>
                    </a:lnTo>
                    <a:lnTo>
                      <a:pt x="175102" y="411217"/>
                    </a:lnTo>
                    <a:lnTo>
                      <a:pt x="176249" y="413245"/>
                    </a:lnTo>
                    <a:lnTo>
                      <a:pt x="180921" y="411746"/>
                    </a:lnTo>
                    <a:lnTo>
                      <a:pt x="186741" y="410600"/>
                    </a:lnTo>
                    <a:lnTo>
                      <a:pt x="196086" y="410865"/>
                    </a:lnTo>
                    <a:lnTo>
                      <a:pt x="189650" y="412011"/>
                    </a:lnTo>
                    <a:lnTo>
                      <a:pt x="182332" y="412893"/>
                    </a:lnTo>
                    <a:lnTo>
                      <a:pt x="178805" y="413774"/>
                    </a:lnTo>
                    <a:lnTo>
                      <a:pt x="174750" y="415273"/>
                    </a:lnTo>
                    <a:lnTo>
                      <a:pt x="165404" y="416155"/>
                    </a:lnTo>
                    <a:lnTo>
                      <a:pt x="167432" y="419946"/>
                    </a:lnTo>
                    <a:lnTo>
                      <a:pt x="173868" y="420563"/>
                    </a:lnTo>
                    <a:lnTo>
                      <a:pt x="174750" y="426118"/>
                    </a:lnTo>
                    <a:lnTo>
                      <a:pt x="176513" y="429645"/>
                    </a:lnTo>
                    <a:lnTo>
                      <a:pt x="178276" y="432290"/>
                    </a:lnTo>
                    <a:lnTo>
                      <a:pt x="180304" y="434582"/>
                    </a:lnTo>
                    <a:lnTo>
                      <a:pt x="180304" y="438726"/>
                    </a:lnTo>
                    <a:lnTo>
                      <a:pt x="181450" y="442253"/>
                    </a:lnTo>
                    <a:lnTo>
                      <a:pt x="184625" y="446661"/>
                    </a:lnTo>
                    <a:lnTo>
                      <a:pt x="187270" y="448953"/>
                    </a:lnTo>
                    <a:lnTo>
                      <a:pt x="189650" y="452480"/>
                    </a:lnTo>
                    <a:lnTo>
                      <a:pt x="190532" y="460327"/>
                    </a:lnTo>
                    <a:lnTo>
                      <a:pt x="192560" y="461209"/>
                    </a:lnTo>
                    <a:lnTo>
                      <a:pt x="193970" y="453626"/>
                    </a:lnTo>
                    <a:lnTo>
                      <a:pt x="195998" y="456007"/>
                    </a:lnTo>
                    <a:lnTo>
                      <a:pt x="199525" y="458035"/>
                    </a:lnTo>
                    <a:lnTo>
                      <a:pt x="207372" y="458652"/>
                    </a:lnTo>
                    <a:lnTo>
                      <a:pt x="217864" y="456889"/>
                    </a:lnTo>
                    <a:lnTo>
                      <a:pt x="222801" y="454244"/>
                    </a:lnTo>
                    <a:lnTo>
                      <a:pt x="223948" y="456889"/>
                    </a:lnTo>
                    <a:lnTo>
                      <a:pt x="227474" y="456360"/>
                    </a:lnTo>
                    <a:lnTo>
                      <a:pt x="230120" y="458387"/>
                    </a:lnTo>
                    <a:lnTo>
                      <a:pt x="231266" y="460415"/>
                    </a:lnTo>
                    <a:lnTo>
                      <a:pt x="235674" y="455742"/>
                    </a:lnTo>
                    <a:lnTo>
                      <a:pt x="234792" y="458035"/>
                    </a:lnTo>
                    <a:lnTo>
                      <a:pt x="233911" y="460327"/>
                    </a:lnTo>
                    <a:lnTo>
                      <a:pt x="233293" y="464118"/>
                    </a:lnTo>
                    <a:lnTo>
                      <a:pt x="236556" y="467028"/>
                    </a:lnTo>
                    <a:lnTo>
                      <a:pt x="234792" y="469937"/>
                    </a:lnTo>
                    <a:lnTo>
                      <a:pt x="237966" y="473464"/>
                    </a:lnTo>
                    <a:lnTo>
                      <a:pt x="244667" y="473729"/>
                    </a:lnTo>
                    <a:lnTo>
                      <a:pt x="248458" y="476903"/>
                    </a:lnTo>
                    <a:lnTo>
                      <a:pt x="254013" y="478666"/>
                    </a:lnTo>
                    <a:lnTo>
                      <a:pt x="256394" y="474258"/>
                    </a:lnTo>
                    <a:lnTo>
                      <a:pt x="258686" y="470731"/>
                    </a:lnTo>
                    <a:lnTo>
                      <a:pt x="258422" y="475404"/>
                    </a:lnTo>
                    <a:lnTo>
                      <a:pt x="261595" y="478313"/>
                    </a:lnTo>
                    <a:lnTo>
                      <a:pt x="265387" y="474258"/>
                    </a:lnTo>
                    <a:lnTo>
                      <a:pt x="270324" y="471613"/>
                    </a:lnTo>
                    <a:lnTo>
                      <a:pt x="270589" y="468086"/>
                    </a:lnTo>
                    <a:lnTo>
                      <a:pt x="274115" y="465705"/>
                    </a:lnTo>
                    <a:lnTo>
                      <a:pt x="279317" y="463942"/>
                    </a:lnTo>
                    <a:lnTo>
                      <a:pt x="281081" y="460680"/>
                    </a:lnTo>
                    <a:lnTo>
                      <a:pt x="281963" y="457241"/>
                    </a:lnTo>
                    <a:lnTo>
                      <a:pt x="283990" y="454332"/>
                    </a:lnTo>
                    <a:lnTo>
                      <a:pt x="286635" y="450805"/>
                    </a:lnTo>
                    <a:lnTo>
                      <a:pt x="291044" y="447014"/>
                    </a:lnTo>
                    <a:lnTo>
                      <a:pt x="295100" y="442341"/>
                    </a:lnTo>
                    <a:lnTo>
                      <a:pt x="299508" y="437403"/>
                    </a:lnTo>
                    <a:lnTo>
                      <a:pt x="301007" y="434494"/>
                    </a:lnTo>
                    <a:lnTo>
                      <a:pt x="301888" y="430703"/>
                    </a:lnTo>
                    <a:lnTo>
                      <a:pt x="300478" y="430703"/>
                    </a:lnTo>
                    <a:lnTo>
                      <a:pt x="294659" y="428410"/>
                    </a:lnTo>
                    <a:lnTo>
                      <a:pt x="297304" y="428146"/>
                    </a:lnTo>
                    <a:lnTo>
                      <a:pt x="301095" y="428146"/>
                    </a:lnTo>
                    <a:lnTo>
                      <a:pt x="302858" y="424354"/>
                    </a:lnTo>
                    <a:lnTo>
                      <a:pt x="304357" y="420563"/>
                    </a:lnTo>
                    <a:lnTo>
                      <a:pt x="303211" y="418800"/>
                    </a:lnTo>
                    <a:lnTo>
                      <a:pt x="306738" y="416772"/>
                    </a:lnTo>
                    <a:lnTo>
                      <a:pt x="307355" y="414744"/>
                    </a:lnTo>
                    <a:lnTo>
                      <a:pt x="314673" y="410688"/>
                    </a:lnTo>
                    <a:lnTo>
                      <a:pt x="319610" y="410071"/>
                    </a:lnTo>
                    <a:lnTo>
                      <a:pt x="321109" y="406544"/>
                    </a:lnTo>
                    <a:lnTo>
                      <a:pt x="322873" y="404781"/>
                    </a:lnTo>
                    <a:lnTo>
                      <a:pt x="326047" y="402136"/>
                    </a:lnTo>
                    <a:lnTo>
                      <a:pt x="328074" y="401519"/>
                    </a:lnTo>
                    <a:lnTo>
                      <a:pt x="335040" y="402401"/>
                    </a:lnTo>
                    <a:lnTo>
                      <a:pt x="331513" y="399226"/>
                    </a:lnTo>
                    <a:lnTo>
                      <a:pt x="335304" y="396052"/>
                    </a:lnTo>
                    <a:lnTo>
                      <a:pt x="346414" y="391997"/>
                    </a:lnTo>
                    <a:lnTo>
                      <a:pt x="339977" y="391997"/>
                    </a:lnTo>
                    <a:lnTo>
                      <a:pt x="339096" y="389352"/>
                    </a:lnTo>
                    <a:lnTo>
                      <a:pt x="342005" y="385825"/>
                    </a:lnTo>
                    <a:lnTo>
                      <a:pt x="345796" y="378242"/>
                    </a:lnTo>
                    <a:lnTo>
                      <a:pt x="351616" y="369514"/>
                    </a:lnTo>
                    <a:lnTo>
                      <a:pt x="352762" y="366869"/>
                    </a:lnTo>
                    <a:lnTo>
                      <a:pt x="353026" y="365722"/>
                    </a:lnTo>
                    <a:lnTo>
                      <a:pt x="355407" y="364841"/>
                    </a:lnTo>
                    <a:lnTo>
                      <a:pt x="356288" y="367750"/>
                    </a:lnTo>
                    <a:lnTo>
                      <a:pt x="358933" y="367486"/>
                    </a:lnTo>
                    <a:lnTo>
                      <a:pt x="357787" y="365987"/>
                    </a:lnTo>
                    <a:lnTo>
                      <a:pt x="345267" y="359903"/>
                    </a:lnTo>
                    <a:lnTo>
                      <a:pt x="357258" y="361667"/>
                    </a:lnTo>
                    <a:lnTo>
                      <a:pt x="360432" y="361050"/>
                    </a:lnTo>
                    <a:lnTo>
                      <a:pt x="361843" y="358404"/>
                    </a:lnTo>
                    <a:lnTo>
                      <a:pt x="366252" y="357523"/>
                    </a:lnTo>
                    <a:lnTo>
                      <a:pt x="370307" y="354878"/>
                    </a:lnTo>
                    <a:lnTo>
                      <a:pt x="370307" y="348177"/>
                    </a:lnTo>
                    <a:lnTo>
                      <a:pt x="384061" y="350205"/>
                    </a:lnTo>
                    <a:lnTo>
                      <a:pt x="384943" y="345796"/>
                    </a:lnTo>
                    <a:lnTo>
                      <a:pt x="391644" y="347824"/>
                    </a:lnTo>
                    <a:lnTo>
                      <a:pt x="398962" y="340506"/>
                    </a:lnTo>
                    <a:lnTo>
                      <a:pt x="407691" y="333541"/>
                    </a:lnTo>
                    <a:lnTo>
                      <a:pt x="413245" y="332924"/>
                    </a:lnTo>
                    <a:lnTo>
                      <a:pt x="409454" y="339625"/>
                    </a:lnTo>
                    <a:lnTo>
                      <a:pt x="408572" y="342799"/>
                    </a:lnTo>
                    <a:lnTo>
                      <a:pt x="403282" y="345973"/>
                    </a:lnTo>
                    <a:lnTo>
                      <a:pt x="399755" y="349764"/>
                    </a:lnTo>
                    <a:lnTo>
                      <a:pt x="409630" y="348265"/>
                    </a:lnTo>
                    <a:lnTo>
                      <a:pt x="414920" y="348265"/>
                    </a:lnTo>
                    <a:lnTo>
                      <a:pt x="419858" y="343592"/>
                    </a:lnTo>
                    <a:lnTo>
                      <a:pt x="424531" y="341829"/>
                    </a:lnTo>
                    <a:lnTo>
                      <a:pt x="430967" y="340947"/>
                    </a:lnTo>
                    <a:lnTo>
                      <a:pt x="436257" y="338655"/>
                    </a:lnTo>
                    <a:lnTo>
                      <a:pt x="438020" y="331689"/>
                    </a:lnTo>
                    <a:lnTo>
                      <a:pt x="439784" y="336627"/>
                    </a:lnTo>
                    <a:lnTo>
                      <a:pt x="443751" y="338126"/>
                    </a:lnTo>
                    <a:close/>
                    <a:moveTo>
                      <a:pt x="329750" y="20808"/>
                    </a:moveTo>
                    <a:lnTo>
                      <a:pt x="330367" y="22307"/>
                    </a:lnTo>
                    <a:lnTo>
                      <a:pt x="334423" y="21689"/>
                    </a:lnTo>
                    <a:lnTo>
                      <a:pt x="329750" y="208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" name="Grafik 9">
              <a:extLst>
                <a:ext uri="{FF2B5EF4-FFF2-40B4-BE49-F238E27FC236}">
                  <a16:creationId xmlns:a16="http://schemas.microsoft.com/office/drawing/2014/main" id="{F8E7F389-8EC7-BB92-81E7-0589DD7D15C8}"/>
                </a:ext>
              </a:extLst>
            </p:cNvPr>
            <p:cNvGrpSpPr/>
            <p:nvPr/>
          </p:nvGrpSpPr>
          <p:grpSpPr>
            <a:xfrm>
              <a:off x="639385" y="3553140"/>
              <a:ext cx="7228135" cy="1799957"/>
              <a:chOff x="639385" y="3553140"/>
              <a:chExt cx="7228135" cy="1799957"/>
            </a:xfrm>
            <a:solidFill>
              <a:schemeClr val="accent6"/>
            </a:solidFill>
          </p:grpSpPr>
          <p:grpSp>
            <p:nvGrpSpPr>
              <p:cNvPr id="2015" name="Grafik 9">
                <a:extLst>
                  <a:ext uri="{FF2B5EF4-FFF2-40B4-BE49-F238E27FC236}">
                    <a16:creationId xmlns:a16="http://schemas.microsoft.com/office/drawing/2014/main" id="{53D30E16-84B4-6156-0ED9-4DA1AB02E7DE}"/>
                  </a:ext>
                </a:extLst>
              </p:cNvPr>
              <p:cNvGrpSpPr/>
              <p:nvPr/>
            </p:nvGrpSpPr>
            <p:grpSpPr>
              <a:xfrm>
                <a:off x="856103" y="3553140"/>
                <a:ext cx="67184" cy="51049"/>
                <a:chOff x="856103" y="3553140"/>
                <a:chExt cx="67184" cy="51049"/>
              </a:xfrm>
              <a:grpFill/>
            </p:grpSpPr>
            <p:sp>
              <p:nvSpPr>
                <p:cNvPr id="2045" name="Freihandform: Form 2044">
                  <a:extLst>
                    <a:ext uri="{FF2B5EF4-FFF2-40B4-BE49-F238E27FC236}">
                      <a16:creationId xmlns:a16="http://schemas.microsoft.com/office/drawing/2014/main" id="{5D803883-628F-AA66-031B-8C65D6446B12}"/>
                    </a:ext>
                  </a:extLst>
                </p:cNvPr>
                <p:cNvSpPr/>
                <p:nvPr/>
              </p:nvSpPr>
              <p:spPr>
                <a:xfrm>
                  <a:off x="861305" y="3553140"/>
                  <a:ext cx="6259" cy="5290"/>
                </a:xfrm>
                <a:custGeom>
                  <a:avLst/>
                  <a:gdLst>
                    <a:gd name="connsiteX0" fmla="*/ 705 w 6259"/>
                    <a:gd name="connsiteY0" fmla="*/ 1411 h 5290"/>
                    <a:gd name="connsiteX1" fmla="*/ 2733 w 6259"/>
                    <a:gd name="connsiteY1" fmla="*/ 0 h 5290"/>
                    <a:gd name="connsiteX2" fmla="*/ 5290 w 6259"/>
                    <a:gd name="connsiteY2" fmla="*/ 705 h 5290"/>
                    <a:gd name="connsiteX3" fmla="*/ 6260 w 6259"/>
                    <a:gd name="connsiteY3" fmla="*/ 2204 h 5290"/>
                    <a:gd name="connsiteX4" fmla="*/ 4849 w 6259"/>
                    <a:gd name="connsiteY4" fmla="*/ 4761 h 5290"/>
                    <a:gd name="connsiteX5" fmla="*/ 1940 w 6259"/>
                    <a:gd name="connsiteY5" fmla="*/ 5290 h 5290"/>
                    <a:gd name="connsiteX6" fmla="*/ 0 w 6259"/>
                    <a:gd name="connsiteY6" fmla="*/ 3527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59" h="5290">
                      <a:moveTo>
                        <a:pt x="705" y="1411"/>
                      </a:moveTo>
                      <a:lnTo>
                        <a:pt x="2733" y="0"/>
                      </a:lnTo>
                      <a:lnTo>
                        <a:pt x="5290" y="705"/>
                      </a:lnTo>
                      <a:lnTo>
                        <a:pt x="6260" y="2204"/>
                      </a:lnTo>
                      <a:lnTo>
                        <a:pt x="4849" y="4761"/>
                      </a:lnTo>
                      <a:lnTo>
                        <a:pt x="1940" y="5290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6" name="Freihandform: Form 2045">
                  <a:extLst>
                    <a:ext uri="{FF2B5EF4-FFF2-40B4-BE49-F238E27FC236}">
                      <a16:creationId xmlns:a16="http://schemas.microsoft.com/office/drawing/2014/main" id="{4D32CB69-895A-71CC-43F6-7C06AE9A3B2E}"/>
                    </a:ext>
                  </a:extLst>
                </p:cNvPr>
                <p:cNvSpPr/>
                <p:nvPr/>
              </p:nvSpPr>
              <p:spPr>
                <a:xfrm>
                  <a:off x="879821" y="3560952"/>
                  <a:ext cx="8046" cy="6824"/>
                </a:xfrm>
                <a:custGeom>
                  <a:avLst/>
                  <a:gdLst>
                    <a:gd name="connsiteX0" fmla="*/ 0 w 8046"/>
                    <a:gd name="connsiteY0" fmla="*/ 2063 h 6824"/>
                    <a:gd name="connsiteX1" fmla="*/ 1675 w 8046"/>
                    <a:gd name="connsiteY1" fmla="*/ 2063 h 6824"/>
                    <a:gd name="connsiteX2" fmla="*/ 3879 w 8046"/>
                    <a:gd name="connsiteY2" fmla="*/ 36 h 6824"/>
                    <a:gd name="connsiteX3" fmla="*/ 6172 w 8046"/>
                    <a:gd name="connsiteY3" fmla="*/ 4885 h 6824"/>
                    <a:gd name="connsiteX4" fmla="*/ 8023 w 8046"/>
                    <a:gd name="connsiteY4" fmla="*/ 6825 h 6824"/>
                    <a:gd name="connsiteX5" fmla="*/ 5026 w 8046"/>
                    <a:gd name="connsiteY5" fmla="*/ 6825 h 6824"/>
                    <a:gd name="connsiteX6" fmla="*/ 2910 w 8046"/>
                    <a:gd name="connsiteY6" fmla="*/ 5855 h 6824"/>
                    <a:gd name="connsiteX7" fmla="*/ 1411 w 8046"/>
                    <a:gd name="connsiteY7" fmla="*/ 5326 h 6824"/>
                    <a:gd name="connsiteX8" fmla="*/ 0 w 8046"/>
                    <a:gd name="connsiteY8" fmla="*/ 2063 h 6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46" h="6824">
                      <a:moveTo>
                        <a:pt x="0" y="2063"/>
                      </a:moveTo>
                      <a:lnTo>
                        <a:pt x="1675" y="2063"/>
                      </a:lnTo>
                      <a:cubicBezTo>
                        <a:pt x="1675" y="2063"/>
                        <a:pt x="3879" y="-317"/>
                        <a:pt x="3879" y="36"/>
                      </a:cubicBezTo>
                      <a:cubicBezTo>
                        <a:pt x="3879" y="300"/>
                        <a:pt x="6172" y="4885"/>
                        <a:pt x="6172" y="4885"/>
                      </a:cubicBezTo>
                      <a:cubicBezTo>
                        <a:pt x="6172" y="4885"/>
                        <a:pt x="8288" y="6825"/>
                        <a:pt x="8023" y="6825"/>
                      </a:cubicBezTo>
                      <a:cubicBezTo>
                        <a:pt x="7759" y="6825"/>
                        <a:pt x="5026" y="6825"/>
                        <a:pt x="5026" y="6825"/>
                      </a:cubicBezTo>
                      <a:lnTo>
                        <a:pt x="2910" y="5855"/>
                      </a:lnTo>
                      <a:lnTo>
                        <a:pt x="1411" y="5326"/>
                      </a:lnTo>
                      <a:lnTo>
                        <a:pt x="0" y="206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7" name="Freihandform: Form 2046">
                  <a:extLst>
                    <a:ext uri="{FF2B5EF4-FFF2-40B4-BE49-F238E27FC236}">
                      <a16:creationId xmlns:a16="http://schemas.microsoft.com/office/drawing/2014/main" id="{4345371C-D6EA-4435-6CC7-D7AFE642A515}"/>
                    </a:ext>
                  </a:extLst>
                </p:cNvPr>
                <p:cNvSpPr/>
                <p:nvPr/>
              </p:nvSpPr>
              <p:spPr>
                <a:xfrm>
                  <a:off x="891547" y="3568658"/>
                  <a:ext cx="8023" cy="2733"/>
                </a:xfrm>
                <a:custGeom>
                  <a:avLst/>
                  <a:gdLst>
                    <a:gd name="connsiteX0" fmla="*/ 0 w 8023"/>
                    <a:gd name="connsiteY0" fmla="*/ 1763 h 2733"/>
                    <a:gd name="connsiteX1" fmla="*/ 1763 w 8023"/>
                    <a:gd name="connsiteY1" fmla="*/ 0 h 2733"/>
                    <a:gd name="connsiteX2" fmla="*/ 3879 w 8023"/>
                    <a:gd name="connsiteY2" fmla="*/ 441 h 2733"/>
                    <a:gd name="connsiteX3" fmla="*/ 4761 w 8023"/>
                    <a:gd name="connsiteY3" fmla="*/ 0 h 2733"/>
                    <a:gd name="connsiteX4" fmla="*/ 5202 w 8023"/>
                    <a:gd name="connsiteY4" fmla="*/ 882 h 2733"/>
                    <a:gd name="connsiteX5" fmla="*/ 8023 w 8023"/>
                    <a:gd name="connsiteY5" fmla="*/ 882 h 2733"/>
                    <a:gd name="connsiteX6" fmla="*/ 5555 w 8023"/>
                    <a:gd name="connsiteY6" fmla="*/ 2733 h 2733"/>
                    <a:gd name="connsiteX7" fmla="*/ 2381 w 8023"/>
                    <a:gd name="connsiteY7" fmla="*/ 1323 h 2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023" h="2733">
                      <a:moveTo>
                        <a:pt x="0" y="1763"/>
                      </a:moveTo>
                      <a:lnTo>
                        <a:pt x="1763" y="0"/>
                      </a:lnTo>
                      <a:lnTo>
                        <a:pt x="3879" y="441"/>
                      </a:lnTo>
                      <a:lnTo>
                        <a:pt x="4761" y="0"/>
                      </a:lnTo>
                      <a:lnTo>
                        <a:pt x="5202" y="882"/>
                      </a:lnTo>
                      <a:lnTo>
                        <a:pt x="8023" y="882"/>
                      </a:lnTo>
                      <a:lnTo>
                        <a:pt x="5555" y="2733"/>
                      </a:lnTo>
                      <a:lnTo>
                        <a:pt x="2381" y="132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8" name="Freihandform: Form 2047">
                  <a:extLst>
                    <a:ext uri="{FF2B5EF4-FFF2-40B4-BE49-F238E27FC236}">
                      <a16:creationId xmlns:a16="http://schemas.microsoft.com/office/drawing/2014/main" id="{625D1095-AF7A-12A4-80F5-0A1E19D754B3}"/>
                    </a:ext>
                  </a:extLst>
                </p:cNvPr>
                <p:cNvSpPr/>
                <p:nvPr/>
              </p:nvSpPr>
              <p:spPr>
                <a:xfrm>
                  <a:off x="899570" y="3571391"/>
                  <a:ext cx="8904" cy="6877"/>
                </a:xfrm>
                <a:custGeom>
                  <a:avLst/>
                  <a:gdLst>
                    <a:gd name="connsiteX0" fmla="*/ 0 w 8904"/>
                    <a:gd name="connsiteY0" fmla="*/ 2469 h 6877"/>
                    <a:gd name="connsiteX1" fmla="*/ 0 w 8904"/>
                    <a:gd name="connsiteY1" fmla="*/ 882 h 6877"/>
                    <a:gd name="connsiteX2" fmla="*/ 1234 w 8904"/>
                    <a:gd name="connsiteY2" fmla="*/ 0 h 6877"/>
                    <a:gd name="connsiteX3" fmla="*/ 2733 w 8904"/>
                    <a:gd name="connsiteY3" fmla="*/ 1852 h 6877"/>
                    <a:gd name="connsiteX4" fmla="*/ 5290 w 8904"/>
                    <a:gd name="connsiteY4" fmla="*/ 1234 h 6877"/>
                    <a:gd name="connsiteX5" fmla="*/ 7230 w 8904"/>
                    <a:gd name="connsiteY5" fmla="*/ 3439 h 6877"/>
                    <a:gd name="connsiteX6" fmla="*/ 8905 w 8904"/>
                    <a:gd name="connsiteY6" fmla="*/ 4144 h 6877"/>
                    <a:gd name="connsiteX7" fmla="*/ 7759 w 8904"/>
                    <a:gd name="connsiteY7" fmla="*/ 5467 h 6877"/>
                    <a:gd name="connsiteX8" fmla="*/ 3350 w 8904"/>
                    <a:gd name="connsiteY8" fmla="*/ 6877 h 6877"/>
                    <a:gd name="connsiteX9" fmla="*/ 2469 w 8904"/>
                    <a:gd name="connsiteY9" fmla="*/ 4408 h 68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904" h="6877">
                      <a:moveTo>
                        <a:pt x="0" y="2469"/>
                      </a:moveTo>
                      <a:lnTo>
                        <a:pt x="0" y="882"/>
                      </a:lnTo>
                      <a:lnTo>
                        <a:pt x="1234" y="0"/>
                      </a:lnTo>
                      <a:lnTo>
                        <a:pt x="2733" y="1852"/>
                      </a:lnTo>
                      <a:lnTo>
                        <a:pt x="5290" y="1234"/>
                      </a:lnTo>
                      <a:lnTo>
                        <a:pt x="7230" y="3439"/>
                      </a:lnTo>
                      <a:lnTo>
                        <a:pt x="8905" y="4144"/>
                      </a:lnTo>
                      <a:lnTo>
                        <a:pt x="7759" y="5467"/>
                      </a:lnTo>
                      <a:lnTo>
                        <a:pt x="3350" y="6877"/>
                      </a:lnTo>
                      <a:lnTo>
                        <a:pt x="2469" y="440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9" name="Freihandform: Form 2048">
                  <a:extLst>
                    <a:ext uri="{FF2B5EF4-FFF2-40B4-BE49-F238E27FC236}">
                      <a16:creationId xmlns:a16="http://schemas.microsoft.com/office/drawing/2014/main" id="{4845AB06-4B28-1172-3BD9-4A513EAAA2F6}"/>
                    </a:ext>
                  </a:extLst>
                </p:cNvPr>
                <p:cNvSpPr/>
                <p:nvPr/>
              </p:nvSpPr>
              <p:spPr>
                <a:xfrm>
                  <a:off x="907770" y="3582941"/>
                  <a:ext cx="15517" cy="21248"/>
                </a:xfrm>
                <a:custGeom>
                  <a:avLst/>
                  <a:gdLst>
                    <a:gd name="connsiteX0" fmla="*/ 1499 w 15517"/>
                    <a:gd name="connsiteY0" fmla="*/ 0 h 21248"/>
                    <a:gd name="connsiteX1" fmla="*/ 2998 w 15517"/>
                    <a:gd name="connsiteY1" fmla="*/ 0 h 21248"/>
                    <a:gd name="connsiteX2" fmla="*/ 9434 w 15517"/>
                    <a:gd name="connsiteY2" fmla="*/ 3879 h 21248"/>
                    <a:gd name="connsiteX3" fmla="*/ 12520 w 15517"/>
                    <a:gd name="connsiteY3" fmla="*/ 5995 h 21248"/>
                    <a:gd name="connsiteX4" fmla="*/ 13313 w 15517"/>
                    <a:gd name="connsiteY4" fmla="*/ 9434 h 21248"/>
                    <a:gd name="connsiteX5" fmla="*/ 15518 w 15517"/>
                    <a:gd name="connsiteY5" fmla="*/ 11197 h 21248"/>
                    <a:gd name="connsiteX6" fmla="*/ 11726 w 15517"/>
                    <a:gd name="connsiteY6" fmla="*/ 14548 h 21248"/>
                    <a:gd name="connsiteX7" fmla="*/ 8993 w 15517"/>
                    <a:gd name="connsiteY7" fmla="*/ 14548 h 21248"/>
                    <a:gd name="connsiteX8" fmla="*/ 6789 w 15517"/>
                    <a:gd name="connsiteY8" fmla="*/ 17369 h 21248"/>
                    <a:gd name="connsiteX9" fmla="*/ 5555 w 15517"/>
                    <a:gd name="connsiteY9" fmla="*/ 19926 h 21248"/>
                    <a:gd name="connsiteX10" fmla="*/ 4320 w 15517"/>
                    <a:gd name="connsiteY10" fmla="*/ 21248 h 21248"/>
                    <a:gd name="connsiteX11" fmla="*/ 3086 w 15517"/>
                    <a:gd name="connsiteY11" fmla="*/ 18868 h 21248"/>
                    <a:gd name="connsiteX12" fmla="*/ 1499 w 15517"/>
                    <a:gd name="connsiteY12" fmla="*/ 18515 h 21248"/>
                    <a:gd name="connsiteX13" fmla="*/ 2204 w 15517"/>
                    <a:gd name="connsiteY13" fmla="*/ 13313 h 21248"/>
                    <a:gd name="connsiteX14" fmla="*/ 705 w 15517"/>
                    <a:gd name="connsiteY14" fmla="*/ 9169 h 21248"/>
                    <a:gd name="connsiteX15" fmla="*/ 0 w 15517"/>
                    <a:gd name="connsiteY15" fmla="*/ 7053 h 21248"/>
                    <a:gd name="connsiteX16" fmla="*/ 1852 w 15517"/>
                    <a:gd name="connsiteY16" fmla="*/ 4320 h 21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517" h="21248">
                      <a:moveTo>
                        <a:pt x="1499" y="0"/>
                      </a:moveTo>
                      <a:lnTo>
                        <a:pt x="2998" y="0"/>
                      </a:lnTo>
                      <a:lnTo>
                        <a:pt x="9434" y="3879"/>
                      </a:lnTo>
                      <a:lnTo>
                        <a:pt x="12520" y="5995"/>
                      </a:lnTo>
                      <a:lnTo>
                        <a:pt x="13313" y="9434"/>
                      </a:lnTo>
                      <a:lnTo>
                        <a:pt x="15518" y="11197"/>
                      </a:lnTo>
                      <a:lnTo>
                        <a:pt x="11726" y="14548"/>
                      </a:lnTo>
                      <a:lnTo>
                        <a:pt x="8993" y="14548"/>
                      </a:lnTo>
                      <a:lnTo>
                        <a:pt x="6789" y="17369"/>
                      </a:lnTo>
                      <a:lnTo>
                        <a:pt x="5555" y="19926"/>
                      </a:lnTo>
                      <a:lnTo>
                        <a:pt x="4320" y="21248"/>
                      </a:lnTo>
                      <a:lnTo>
                        <a:pt x="3086" y="18868"/>
                      </a:lnTo>
                      <a:lnTo>
                        <a:pt x="1499" y="18515"/>
                      </a:lnTo>
                      <a:lnTo>
                        <a:pt x="2204" y="13313"/>
                      </a:lnTo>
                      <a:lnTo>
                        <a:pt x="705" y="9169"/>
                      </a:lnTo>
                      <a:lnTo>
                        <a:pt x="0" y="7053"/>
                      </a:lnTo>
                      <a:lnTo>
                        <a:pt x="1852" y="432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0" name="Freihandform: Form 2049">
                  <a:extLst>
                    <a:ext uri="{FF2B5EF4-FFF2-40B4-BE49-F238E27FC236}">
                      <a16:creationId xmlns:a16="http://schemas.microsoft.com/office/drawing/2014/main" id="{95BCC1FF-DD89-FF0E-887A-B43377502BFD}"/>
                    </a:ext>
                  </a:extLst>
                </p:cNvPr>
                <p:cNvSpPr/>
                <p:nvPr/>
              </p:nvSpPr>
              <p:spPr>
                <a:xfrm>
                  <a:off x="898953" y="3578268"/>
                  <a:ext cx="2116" cy="1057"/>
                </a:xfrm>
                <a:custGeom>
                  <a:avLst/>
                  <a:gdLst>
                    <a:gd name="connsiteX0" fmla="*/ 0 w 2116"/>
                    <a:gd name="connsiteY0" fmla="*/ 1058 h 1057"/>
                    <a:gd name="connsiteX1" fmla="*/ 2116 w 2116"/>
                    <a:gd name="connsiteY1" fmla="*/ 0 h 1057"/>
                    <a:gd name="connsiteX2" fmla="*/ 2116 w 2116"/>
                    <a:gd name="connsiteY2" fmla="*/ 1058 h 1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16" h="1057">
                      <a:moveTo>
                        <a:pt x="0" y="1058"/>
                      </a:moveTo>
                      <a:lnTo>
                        <a:pt x="2116" y="0"/>
                      </a:lnTo>
                      <a:lnTo>
                        <a:pt x="2116" y="105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1" name="Freihandform: Form 2050">
                  <a:extLst>
                    <a:ext uri="{FF2B5EF4-FFF2-40B4-BE49-F238E27FC236}">
                      <a16:creationId xmlns:a16="http://schemas.microsoft.com/office/drawing/2014/main" id="{5397FD92-412E-D190-E7F8-77C4D7C8F2E9}"/>
                    </a:ext>
                  </a:extLst>
                </p:cNvPr>
                <p:cNvSpPr/>
                <p:nvPr/>
              </p:nvSpPr>
              <p:spPr>
                <a:xfrm>
                  <a:off x="894721" y="3573066"/>
                  <a:ext cx="2909" cy="2826"/>
                </a:xfrm>
                <a:custGeom>
                  <a:avLst/>
                  <a:gdLst>
                    <a:gd name="connsiteX0" fmla="*/ 1323 w 2909"/>
                    <a:gd name="connsiteY0" fmla="*/ 2821 h 2826"/>
                    <a:gd name="connsiteX1" fmla="*/ 2910 w 2909"/>
                    <a:gd name="connsiteY1" fmla="*/ 1763 h 2826"/>
                    <a:gd name="connsiteX2" fmla="*/ 1675 w 2909"/>
                    <a:gd name="connsiteY2" fmla="*/ 0 h 2826"/>
                    <a:gd name="connsiteX3" fmla="*/ 0 w 2909"/>
                    <a:gd name="connsiteY3" fmla="*/ 0 h 2826"/>
                    <a:gd name="connsiteX4" fmla="*/ 1323 w 2909"/>
                    <a:gd name="connsiteY4" fmla="*/ 2821 h 28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09" h="2826">
                      <a:moveTo>
                        <a:pt x="1323" y="2821"/>
                      </a:moveTo>
                      <a:cubicBezTo>
                        <a:pt x="1587" y="2910"/>
                        <a:pt x="2910" y="1763"/>
                        <a:pt x="2910" y="1763"/>
                      </a:cubicBezTo>
                      <a:lnTo>
                        <a:pt x="1675" y="0"/>
                      </a:lnTo>
                      <a:lnTo>
                        <a:pt x="0" y="0"/>
                      </a:lnTo>
                      <a:lnTo>
                        <a:pt x="1323" y="2821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2" name="Freihandform: Form 2051">
                  <a:extLst>
                    <a:ext uri="{FF2B5EF4-FFF2-40B4-BE49-F238E27FC236}">
                      <a16:creationId xmlns:a16="http://schemas.microsoft.com/office/drawing/2014/main" id="{E63E1892-4768-3679-86B1-5A7BC5D6F1E2}"/>
                    </a:ext>
                  </a:extLst>
                </p:cNvPr>
                <p:cNvSpPr/>
                <p:nvPr/>
              </p:nvSpPr>
              <p:spPr>
                <a:xfrm>
                  <a:off x="856103" y="3556314"/>
                  <a:ext cx="1939" cy="3791"/>
                </a:xfrm>
                <a:custGeom>
                  <a:avLst/>
                  <a:gdLst>
                    <a:gd name="connsiteX0" fmla="*/ 0 w 1939"/>
                    <a:gd name="connsiteY0" fmla="*/ 3791 h 3791"/>
                    <a:gd name="connsiteX1" fmla="*/ 705 w 1939"/>
                    <a:gd name="connsiteY1" fmla="*/ 2116 h 3791"/>
                    <a:gd name="connsiteX2" fmla="*/ 1940 w 1939"/>
                    <a:gd name="connsiteY2" fmla="*/ 2116 h 3791"/>
                    <a:gd name="connsiteX3" fmla="*/ 1940 w 1939"/>
                    <a:gd name="connsiteY3" fmla="*/ 0 h 3791"/>
                    <a:gd name="connsiteX4" fmla="*/ 0 w 1939"/>
                    <a:gd name="connsiteY4" fmla="*/ 194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39" h="3791">
                      <a:moveTo>
                        <a:pt x="0" y="3791"/>
                      </a:moveTo>
                      <a:lnTo>
                        <a:pt x="705" y="2116"/>
                      </a:lnTo>
                      <a:lnTo>
                        <a:pt x="1940" y="2116"/>
                      </a:lnTo>
                      <a:lnTo>
                        <a:pt x="1940" y="0"/>
                      </a:lnTo>
                      <a:lnTo>
                        <a:pt x="0" y="194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016" name="Freihandform: Form 2015">
                <a:extLst>
                  <a:ext uri="{FF2B5EF4-FFF2-40B4-BE49-F238E27FC236}">
                    <a16:creationId xmlns:a16="http://schemas.microsoft.com/office/drawing/2014/main" id="{BE65DA33-CABA-A42E-E98F-7DF2C9DB491C}"/>
                  </a:ext>
                </a:extLst>
              </p:cNvPr>
              <p:cNvSpPr/>
              <p:nvPr/>
            </p:nvSpPr>
            <p:spPr>
              <a:xfrm>
                <a:off x="643882" y="4288288"/>
                <a:ext cx="5995" cy="7318"/>
              </a:xfrm>
              <a:custGeom>
                <a:avLst/>
                <a:gdLst>
                  <a:gd name="connsiteX0" fmla="*/ 2381 w 5995"/>
                  <a:gd name="connsiteY0" fmla="*/ 3703 h 7318"/>
                  <a:gd name="connsiteX1" fmla="*/ 0 w 5995"/>
                  <a:gd name="connsiteY1" fmla="*/ 1323 h 7318"/>
                  <a:gd name="connsiteX2" fmla="*/ 5290 w 5995"/>
                  <a:gd name="connsiteY2" fmla="*/ 0 h 7318"/>
                  <a:gd name="connsiteX3" fmla="*/ 5290 w 5995"/>
                  <a:gd name="connsiteY3" fmla="*/ 2733 h 7318"/>
                  <a:gd name="connsiteX4" fmla="*/ 5995 w 5995"/>
                  <a:gd name="connsiteY4" fmla="*/ 6348 h 7318"/>
                  <a:gd name="connsiteX5" fmla="*/ 4144 w 5995"/>
                  <a:gd name="connsiteY5" fmla="*/ 7318 h 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7318">
                    <a:moveTo>
                      <a:pt x="2381" y="3703"/>
                    </a:moveTo>
                    <a:lnTo>
                      <a:pt x="0" y="1323"/>
                    </a:lnTo>
                    <a:lnTo>
                      <a:pt x="5290" y="0"/>
                    </a:lnTo>
                    <a:lnTo>
                      <a:pt x="5290" y="2733"/>
                    </a:lnTo>
                    <a:lnTo>
                      <a:pt x="5995" y="6348"/>
                    </a:lnTo>
                    <a:lnTo>
                      <a:pt x="4144" y="731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7" name="Freihandform: Form 2016">
                <a:extLst>
                  <a:ext uri="{FF2B5EF4-FFF2-40B4-BE49-F238E27FC236}">
                    <a16:creationId xmlns:a16="http://schemas.microsoft.com/office/drawing/2014/main" id="{ECEDA79A-32D1-037C-2DD9-82FEE7F277F7}"/>
                  </a:ext>
                </a:extLst>
              </p:cNvPr>
              <p:cNvSpPr/>
              <p:nvPr/>
            </p:nvSpPr>
            <p:spPr>
              <a:xfrm>
                <a:off x="639385" y="4312094"/>
                <a:ext cx="7494" cy="7670"/>
              </a:xfrm>
              <a:custGeom>
                <a:avLst/>
                <a:gdLst>
                  <a:gd name="connsiteX0" fmla="*/ 0 w 7494"/>
                  <a:gd name="connsiteY0" fmla="*/ 1675 h 7670"/>
                  <a:gd name="connsiteX1" fmla="*/ 3791 w 7494"/>
                  <a:gd name="connsiteY1" fmla="*/ 0 h 7670"/>
                  <a:gd name="connsiteX2" fmla="*/ 5202 w 7494"/>
                  <a:gd name="connsiteY2" fmla="*/ 2557 h 7670"/>
                  <a:gd name="connsiteX3" fmla="*/ 7494 w 7494"/>
                  <a:gd name="connsiteY3" fmla="*/ 3791 h 7670"/>
                  <a:gd name="connsiteX4" fmla="*/ 7494 w 7494"/>
                  <a:gd name="connsiteY4" fmla="*/ 6348 h 7670"/>
                  <a:gd name="connsiteX5" fmla="*/ 3703 w 7494"/>
                  <a:gd name="connsiteY5" fmla="*/ 7671 h 7670"/>
                  <a:gd name="connsiteX6" fmla="*/ 2645 w 7494"/>
                  <a:gd name="connsiteY6" fmla="*/ 5643 h 7670"/>
                  <a:gd name="connsiteX7" fmla="*/ 3703 w 7494"/>
                  <a:gd name="connsiteY7" fmla="*/ 3791 h 7670"/>
                  <a:gd name="connsiteX8" fmla="*/ 882 w 7494"/>
                  <a:gd name="connsiteY8" fmla="*/ 3086 h 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94" h="7670">
                    <a:moveTo>
                      <a:pt x="0" y="1675"/>
                    </a:moveTo>
                    <a:lnTo>
                      <a:pt x="3791" y="0"/>
                    </a:lnTo>
                    <a:lnTo>
                      <a:pt x="5202" y="2557"/>
                    </a:lnTo>
                    <a:lnTo>
                      <a:pt x="7494" y="3791"/>
                    </a:lnTo>
                    <a:lnTo>
                      <a:pt x="7494" y="6348"/>
                    </a:lnTo>
                    <a:lnTo>
                      <a:pt x="3703" y="7671"/>
                    </a:lnTo>
                    <a:lnTo>
                      <a:pt x="2645" y="5643"/>
                    </a:lnTo>
                    <a:lnTo>
                      <a:pt x="3703" y="3791"/>
                    </a:lnTo>
                    <a:lnTo>
                      <a:pt x="882" y="308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8" name="Freihandform: Form 2017">
                <a:extLst>
                  <a:ext uri="{FF2B5EF4-FFF2-40B4-BE49-F238E27FC236}">
                    <a16:creationId xmlns:a16="http://schemas.microsoft.com/office/drawing/2014/main" id="{4EE4220F-9B29-61E0-C748-0C4B985348DA}"/>
                  </a:ext>
                </a:extLst>
              </p:cNvPr>
              <p:cNvSpPr/>
              <p:nvPr/>
            </p:nvSpPr>
            <p:spPr>
              <a:xfrm>
                <a:off x="664602" y="4324437"/>
                <a:ext cx="5995" cy="5466"/>
              </a:xfrm>
              <a:custGeom>
                <a:avLst/>
                <a:gdLst>
                  <a:gd name="connsiteX0" fmla="*/ 0 w 5995"/>
                  <a:gd name="connsiteY0" fmla="*/ 2733 h 5466"/>
                  <a:gd name="connsiteX1" fmla="*/ 1763 w 5995"/>
                  <a:gd name="connsiteY1" fmla="*/ 1322 h 5466"/>
                  <a:gd name="connsiteX2" fmla="*/ 2557 w 5995"/>
                  <a:gd name="connsiteY2" fmla="*/ 0 h 5466"/>
                  <a:gd name="connsiteX3" fmla="*/ 5290 w 5995"/>
                  <a:gd name="connsiteY3" fmla="*/ 0 h 5466"/>
                  <a:gd name="connsiteX4" fmla="*/ 5995 w 5995"/>
                  <a:gd name="connsiteY4" fmla="*/ 2733 h 5466"/>
                  <a:gd name="connsiteX5" fmla="*/ 5995 w 5995"/>
                  <a:gd name="connsiteY5" fmla="*/ 5466 h 5466"/>
                  <a:gd name="connsiteX6" fmla="*/ 2998 w 5995"/>
                  <a:gd name="connsiteY6" fmla="*/ 4585 h 5466"/>
                  <a:gd name="connsiteX7" fmla="*/ 705 w 5995"/>
                  <a:gd name="connsiteY7" fmla="*/ 4585 h 5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95" h="5466">
                    <a:moveTo>
                      <a:pt x="0" y="2733"/>
                    </a:moveTo>
                    <a:lnTo>
                      <a:pt x="1763" y="1322"/>
                    </a:lnTo>
                    <a:lnTo>
                      <a:pt x="2557" y="0"/>
                    </a:lnTo>
                    <a:lnTo>
                      <a:pt x="5290" y="0"/>
                    </a:lnTo>
                    <a:lnTo>
                      <a:pt x="5995" y="2733"/>
                    </a:lnTo>
                    <a:lnTo>
                      <a:pt x="5995" y="5466"/>
                    </a:lnTo>
                    <a:lnTo>
                      <a:pt x="2998" y="4585"/>
                    </a:lnTo>
                    <a:lnTo>
                      <a:pt x="705" y="458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9" name="Freihandform: Form 2018">
                <a:extLst>
                  <a:ext uri="{FF2B5EF4-FFF2-40B4-BE49-F238E27FC236}">
                    <a16:creationId xmlns:a16="http://schemas.microsoft.com/office/drawing/2014/main" id="{0BD3050A-3AF4-7569-0CEB-9ADAD7CEAAD6}"/>
                  </a:ext>
                </a:extLst>
              </p:cNvPr>
              <p:cNvSpPr/>
              <p:nvPr/>
            </p:nvSpPr>
            <p:spPr>
              <a:xfrm>
                <a:off x="724115" y="4311124"/>
                <a:ext cx="5995" cy="4761"/>
              </a:xfrm>
              <a:custGeom>
                <a:avLst/>
                <a:gdLst>
                  <a:gd name="connsiteX0" fmla="*/ 0 w 5995"/>
                  <a:gd name="connsiteY0" fmla="*/ 4761 h 4761"/>
                  <a:gd name="connsiteX1" fmla="*/ 705 w 5995"/>
                  <a:gd name="connsiteY1" fmla="*/ 0 h 4761"/>
                  <a:gd name="connsiteX2" fmla="*/ 3086 w 5995"/>
                  <a:gd name="connsiteY2" fmla="*/ 0 h 4761"/>
                  <a:gd name="connsiteX3" fmla="*/ 5995 w 5995"/>
                  <a:gd name="connsiteY3" fmla="*/ 2381 h 4761"/>
                  <a:gd name="connsiteX4" fmla="*/ 4320 w 5995"/>
                  <a:gd name="connsiteY4" fmla="*/ 4761 h 4761"/>
                  <a:gd name="connsiteX5" fmla="*/ 0 w 5995"/>
                  <a:gd name="connsiteY5" fmla="*/ 4761 h 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4761">
                    <a:moveTo>
                      <a:pt x="0" y="4761"/>
                    </a:moveTo>
                    <a:cubicBezTo>
                      <a:pt x="0" y="4056"/>
                      <a:pt x="705" y="0"/>
                      <a:pt x="705" y="0"/>
                    </a:cubicBezTo>
                    <a:lnTo>
                      <a:pt x="3086" y="0"/>
                    </a:lnTo>
                    <a:lnTo>
                      <a:pt x="5995" y="2381"/>
                    </a:lnTo>
                    <a:lnTo>
                      <a:pt x="4320" y="4761"/>
                    </a:lnTo>
                    <a:lnTo>
                      <a:pt x="0" y="476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0" name="Freihandform: Form 2019">
                <a:extLst>
                  <a:ext uri="{FF2B5EF4-FFF2-40B4-BE49-F238E27FC236}">
                    <a16:creationId xmlns:a16="http://schemas.microsoft.com/office/drawing/2014/main" id="{1E8A475F-1190-0A17-F369-72A192A53CC8}"/>
                  </a:ext>
                </a:extLst>
              </p:cNvPr>
              <p:cNvSpPr/>
              <p:nvPr/>
            </p:nvSpPr>
            <p:spPr>
              <a:xfrm>
                <a:off x="739368" y="4304511"/>
                <a:ext cx="5819" cy="5554"/>
              </a:xfrm>
              <a:custGeom>
                <a:avLst/>
                <a:gdLst>
                  <a:gd name="connsiteX0" fmla="*/ 0 w 5819"/>
                  <a:gd name="connsiteY0" fmla="*/ 3968 h 5554"/>
                  <a:gd name="connsiteX1" fmla="*/ 1234 w 5819"/>
                  <a:gd name="connsiteY1" fmla="*/ 1763 h 5554"/>
                  <a:gd name="connsiteX2" fmla="*/ 617 w 5819"/>
                  <a:gd name="connsiteY2" fmla="*/ 0 h 5554"/>
                  <a:gd name="connsiteX3" fmla="*/ 5819 w 5819"/>
                  <a:gd name="connsiteY3" fmla="*/ 0 h 5554"/>
                  <a:gd name="connsiteX4" fmla="*/ 5819 w 5819"/>
                  <a:gd name="connsiteY4" fmla="*/ 2733 h 5554"/>
                  <a:gd name="connsiteX5" fmla="*/ 2910 w 5819"/>
                  <a:gd name="connsiteY5" fmla="*/ 3968 h 5554"/>
                  <a:gd name="connsiteX6" fmla="*/ 1234 w 5819"/>
                  <a:gd name="connsiteY6" fmla="*/ 5555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19" h="5554">
                    <a:moveTo>
                      <a:pt x="0" y="3968"/>
                    </a:moveTo>
                    <a:lnTo>
                      <a:pt x="1234" y="1763"/>
                    </a:lnTo>
                    <a:lnTo>
                      <a:pt x="617" y="0"/>
                    </a:lnTo>
                    <a:lnTo>
                      <a:pt x="5819" y="0"/>
                    </a:lnTo>
                    <a:lnTo>
                      <a:pt x="5819" y="2733"/>
                    </a:lnTo>
                    <a:lnTo>
                      <a:pt x="2910" y="3968"/>
                    </a:lnTo>
                    <a:lnTo>
                      <a:pt x="1234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1" name="Freihandform: Form 2020">
                <a:extLst>
                  <a:ext uri="{FF2B5EF4-FFF2-40B4-BE49-F238E27FC236}">
                    <a16:creationId xmlns:a16="http://schemas.microsoft.com/office/drawing/2014/main" id="{4A7752A8-3BFF-A9B2-F68B-B83A98E76A54}"/>
                  </a:ext>
                </a:extLst>
              </p:cNvPr>
              <p:cNvSpPr/>
              <p:nvPr/>
            </p:nvSpPr>
            <p:spPr>
              <a:xfrm>
                <a:off x="743953" y="4313593"/>
                <a:ext cx="3614" cy="4320"/>
              </a:xfrm>
              <a:custGeom>
                <a:avLst/>
                <a:gdLst>
                  <a:gd name="connsiteX0" fmla="*/ 0 w 3614"/>
                  <a:gd name="connsiteY0" fmla="*/ 2292 h 4320"/>
                  <a:gd name="connsiteX1" fmla="*/ 1234 w 3614"/>
                  <a:gd name="connsiteY1" fmla="*/ 0 h 4320"/>
                  <a:gd name="connsiteX2" fmla="*/ 3615 w 3614"/>
                  <a:gd name="connsiteY2" fmla="*/ 2292 h 4320"/>
                  <a:gd name="connsiteX3" fmla="*/ 1852 w 3614"/>
                  <a:gd name="connsiteY3" fmla="*/ 4320 h 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14" h="4320">
                    <a:moveTo>
                      <a:pt x="0" y="2292"/>
                    </a:moveTo>
                    <a:lnTo>
                      <a:pt x="1234" y="0"/>
                    </a:lnTo>
                    <a:lnTo>
                      <a:pt x="3615" y="2292"/>
                    </a:lnTo>
                    <a:lnTo>
                      <a:pt x="1852" y="43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2" name="Freihandform: Form 2021">
                <a:extLst>
                  <a:ext uri="{FF2B5EF4-FFF2-40B4-BE49-F238E27FC236}">
                    <a16:creationId xmlns:a16="http://schemas.microsoft.com/office/drawing/2014/main" id="{90CEAAAD-10C4-FD46-ECBC-6E537A41694B}"/>
                  </a:ext>
                </a:extLst>
              </p:cNvPr>
              <p:cNvSpPr/>
              <p:nvPr/>
            </p:nvSpPr>
            <p:spPr>
              <a:xfrm>
                <a:off x="748891" y="4317031"/>
                <a:ext cx="5995" cy="4496"/>
              </a:xfrm>
              <a:custGeom>
                <a:avLst/>
                <a:gdLst>
                  <a:gd name="connsiteX0" fmla="*/ 0 w 5995"/>
                  <a:gd name="connsiteY0" fmla="*/ 1763 h 4496"/>
                  <a:gd name="connsiteX1" fmla="*/ 3968 w 5995"/>
                  <a:gd name="connsiteY1" fmla="*/ 0 h 4496"/>
                  <a:gd name="connsiteX2" fmla="*/ 5995 w 5995"/>
                  <a:gd name="connsiteY2" fmla="*/ 1940 h 4496"/>
                  <a:gd name="connsiteX3" fmla="*/ 4320 w 5995"/>
                  <a:gd name="connsiteY3" fmla="*/ 4497 h 4496"/>
                  <a:gd name="connsiteX4" fmla="*/ 705 w 5995"/>
                  <a:gd name="connsiteY4" fmla="*/ 4497 h 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95" h="4496">
                    <a:moveTo>
                      <a:pt x="0" y="1763"/>
                    </a:moveTo>
                    <a:lnTo>
                      <a:pt x="3968" y="0"/>
                    </a:lnTo>
                    <a:lnTo>
                      <a:pt x="5995" y="1940"/>
                    </a:lnTo>
                    <a:lnTo>
                      <a:pt x="4320" y="4497"/>
                    </a:lnTo>
                    <a:lnTo>
                      <a:pt x="705" y="449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3" name="Freihandform: Form 2022">
                <a:extLst>
                  <a:ext uri="{FF2B5EF4-FFF2-40B4-BE49-F238E27FC236}">
                    <a16:creationId xmlns:a16="http://schemas.microsoft.com/office/drawing/2014/main" id="{39DFA2BC-619F-2443-4835-C1E06A615E67}"/>
                  </a:ext>
                </a:extLst>
              </p:cNvPr>
              <p:cNvSpPr/>
              <p:nvPr/>
            </p:nvSpPr>
            <p:spPr>
              <a:xfrm>
                <a:off x="753034" y="4323027"/>
                <a:ext cx="5642" cy="9434"/>
              </a:xfrm>
              <a:custGeom>
                <a:avLst/>
                <a:gdLst>
                  <a:gd name="connsiteX0" fmla="*/ 0 w 5642"/>
                  <a:gd name="connsiteY0" fmla="*/ 705 h 9434"/>
                  <a:gd name="connsiteX1" fmla="*/ 1852 w 5642"/>
                  <a:gd name="connsiteY1" fmla="*/ 0 h 9434"/>
                  <a:gd name="connsiteX2" fmla="*/ 5643 w 5642"/>
                  <a:gd name="connsiteY2" fmla="*/ 4144 h 9434"/>
                  <a:gd name="connsiteX3" fmla="*/ 5643 w 5642"/>
                  <a:gd name="connsiteY3" fmla="*/ 7759 h 9434"/>
                  <a:gd name="connsiteX4" fmla="*/ 2821 w 5642"/>
                  <a:gd name="connsiteY4" fmla="*/ 9434 h 9434"/>
                  <a:gd name="connsiteX5" fmla="*/ 0 w 5642"/>
                  <a:gd name="connsiteY5" fmla="*/ 6877 h 9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42" h="9434">
                    <a:moveTo>
                      <a:pt x="0" y="705"/>
                    </a:moveTo>
                    <a:lnTo>
                      <a:pt x="1852" y="0"/>
                    </a:lnTo>
                    <a:lnTo>
                      <a:pt x="5643" y="4144"/>
                    </a:lnTo>
                    <a:lnTo>
                      <a:pt x="5643" y="7759"/>
                    </a:lnTo>
                    <a:lnTo>
                      <a:pt x="2821" y="9434"/>
                    </a:lnTo>
                    <a:lnTo>
                      <a:pt x="0" y="687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4" name="Freihandform: Form 2023">
                <a:extLst>
                  <a:ext uri="{FF2B5EF4-FFF2-40B4-BE49-F238E27FC236}">
                    <a16:creationId xmlns:a16="http://schemas.microsoft.com/office/drawing/2014/main" id="{6B6576AB-C3DC-3725-8A4F-B7AC20287482}"/>
                  </a:ext>
                </a:extLst>
              </p:cNvPr>
              <p:cNvSpPr/>
              <p:nvPr/>
            </p:nvSpPr>
            <p:spPr>
              <a:xfrm>
                <a:off x="766612" y="4323027"/>
                <a:ext cx="6612" cy="5819"/>
              </a:xfrm>
              <a:custGeom>
                <a:avLst/>
                <a:gdLst>
                  <a:gd name="connsiteX0" fmla="*/ 0 w 6612"/>
                  <a:gd name="connsiteY0" fmla="*/ 1411 h 5819"/>
                  <a:gd name="connsiteX1" fmla="*/ 4937 w 6612"/>
                  <a:gd name="connsiteY1" fmla="*/ 0 h 5819"/>
                  <a:gd name="connsiteX2" fmla="*/ 6613 w 6612"/>
                  <a:gd name="connsiteY2" fmla="*/ 4144 h 5819"/>
                  <a:gd name="connsiteX3" fmla="*/ 3262 w 6612"/>
                  <a:gd name="connsiteY3" fmla="*/ 5819 h 5819"/>
                  <a:gd name="connsiteX4" fmla="*/ 2381 w 6612"/>
                  <a:gd name="connsiteY4" fmla="*/ 2910 h 5819"/>
                  <a:gd name="connsiteX5" fmla="*/ 0 w 6612"/>
                  <a:gd name="connsiteY5" fmla="*/ 291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12" h="5819">
                    <a:moveTo>
                      <a:pt x="0" y="1411"/>
                    </a:moveTo>
                    <a:lnTo>
                      <a:pt x="4937" y="0"/>
                    </a:lnTo>
                    <a:lnTo>
                      <a:pt x="6613" y="4144"/>
                    </a:lnTo>
                    <a:lnTo>
                      <a:pt x="3262" y="5819"/>
                    </a:lnTo>
                    <a:lnTo>
                      <a:pt x="2381" y="2910"/>
                    </a:lnTo>
                    <a:lnTo>
                      <a:pt x="0" y="29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5" name="Freihandform: Form 2024">
                <a:extLst>
                  <a:ext uri="{FF2B5EF4-FFF2-40B4-BE49-F238E27FC236}">
                    <a16:creationId xmlns:a16="http://schemas.microsoft.com/office/drawing/2014/main" id="{6FB62584-426E-D41D-1CA6-0A40D56F6371}"/>
                  </a:ext>
                </a:extLst>
              </p:cNvPr>
              <p:cNvSpPr/>
              <p:nvPr/>
            </p:nvSpPr>
            <p:spPr>
              <a:xfrm>
                <a:off x="818808" y="4334048"/>
                <a:ext cx="4143" cy="3879"/>
              </a:xfrm>
              <a:custGeom>
                <a:avLst/>
                <a:gdLst>
                  <a:gd name="connsiteX0" fmla="*/ 0 w 4143"/>
                  <a:gd name="connsiteY0" fmla="*/ 2116 h 3879"/>
                  <a:gd name="connsiteX1" fmla="*/ 1587 w 4143"/>
                  <a:gd name="connsiteY1" fmla="*/ 0 h 3879"/>
                  <a:gd name="connsiteX2" fmla="*/ 4144 w 4143"/>
                  <a:gd name="connsiteY2" fmla="*/ 2116 h 3879"/>
                  <a:gd name="connsiteX3" fmla="*/ 2028 w 4143"/>
                  <a:gd name="connsiteY3" fmla="*/ 3879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43" h="3879">
                    <a:moveTo>
                      <a:pt x="0" y="2116"/>
                    </a:moveTo>
                    <a:lnTo>
                      <a:pt x="1587" y="0"/>
                    </a:lnTo>
                    <a:lnTo>
                      <a:pt x="4144" y="2116"/>
                    </a:lnTo>
                    <a:lnTo>
                      <a:pt x="2028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6" name="Freihandform: Form 2025">
                <a:extLst>
                  <a:ext uri="{FF2B5EF4-FFF2-40B4-BE49-F238E27FC236}">
                    <a16:creationId xmlns:a16="http://schemas.microsoft.com/office/drawing/2014/main" id="{9AFE516F-40F2-A4B2-0ED8-4F1AE4B037AD}"/>
                  </a:ext>
                </a:extLst>
              </p:cNvPr>
              <p:cNvSpPr/>
              <p:nvPr/>
            </p:nvSpPr>
            <p:spPr>
              <a:xfrm>
                <a:off x="778603" y="4357148"/>
                <a:ext cx="3262" cy="2204"/>
              </a:xfrm>
              <a:custGeom>
                <a:avLst/>
                <a:gdLst>
                  <a:gd name="connsiteX0" fmla="*/ 0 w 3262"/>
                  <a:gd name="connsiteY0" fmla="*/ 0 h 2204"/>
                  <a:gd name="connsiteX1" fmla="*/ 2557 w 3262"/>
                  <a:gd name="connsiteY1" fmla="*/ 0 h 2204"/>
                  <a:gd name="connsiteX2" fmla="*/ 3262 w 3262"/>
                  <a:gd name="connsiteY2" fmla="*/ 2204 h 2204"/>
                  <a:gd name="connsiteX3" fmla="*/ 970 w 3262"/>
                  <a:gd name="connsiteY3" fmla="*/ 2204 h 2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62" h="2204">
                    <a:moveTo>
                      <a:pt x="0" y="0"/>
                    </a:moveTo>
                    <a:lnTo>
                      <a:pt x="2557" y="0"/>
                    </a:lnTo>
                    <a:lnTo>
                      <a:pt x="3262" y="2204"/>
                    </a:lnTo>
                    <a:lnTo>
                      <a:pt x="970" y="220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7" name="Freihandform: Form 2026">
                <a:extLst>
                  <a:ext uri="{FF2B5EF4-FFF2-40B4-BE49-F238E27FC236}">
                    <a16:creationId xmlns:a16="http://schemas.microsoft.com/office/drawing/2014/main" id="{EB22F495-FF29-1207-67E5-4E1431EC8651}"/>
                  </a:ext>
                </a:extLst>
              </p:cNvPr>
              <p:cNvSpPr/>
              <p:nvPr/>
            </p:nvSpPr>
            <p:spPr>
              <a:xfrm>
                <a:off x="804966" y="4350447"/>
                <a:ext cx="8905" cy="7758"/>
              </a:xfrm>
              <a:custGeom>
                <a:avLst/>
                <a:gdLst>
                  <a:gd name="connsiteX0" fmla="*/ 0 w 8905"/>
                  <a:gd name="connsiteY0" fmla="*/ 1058 h 7758"/>
                  <a:gd name="connsiteX1" fmla="*/ 8905 w 8905"/>
                  <a:gd name="connsiteY1" fmla="*/ 0 h 7758"/>
                  <a:gd name="connsiteX2" fmla="*/ 8905 w 8905"/>
                  <a:gd name="connsiteY2" fmla="*/ 1763 h 7758"/>
                  <a:gd name="connsiteX3" fmla="*/ 7582 w 8905"/>
                  <a:gd name="connsiteY3" fmla="*/ 3791 h 7758"/>
                  <a:gd name="connsiteX4" fmla="*/ 5643 w 8905"/>
                  <a:gd name="connsiteY4" fmla="*/ 7759 h 7758"/>
                  <a:gd name="connsiteX5" fmla="*/ 0 w 8905"/>
                  <a:gd name="connsiteY5" fmla="*/ 3879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5" h="7758">
                    <a:moveTo>
                      <a:pt x="0" y="1058"/>
                    </a:moveTo>
                    <a:lnTo>
                      <a:pt x="8905" y="0"/>
                    </a:lnTo>
                    <a:lnTo>
                      <a:pt x="8905" y="1763"/>
                    </a:lnTo>
                    <a:lnTo>
                      <a:pt x="7582" y="3791"/>
                    </a:lnTo>
                    <a:lnTo>
                      <a:pt x="5643" y="7759"/>
                    </a:lnTo>
                    <a:lnTo>
                      <a:pt x="0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8" name="Freihandform: Form 2027">
                <a:extLst>
                  <a:ext uri="{FF2B5EF4-FFF2-40B4-BE49-F238E27FC236}">
                    <a16:creationId xmlns:a16="http://schemas.microsoft.com/office/drawing/2014/main" id="{E2218E39-64CF-BC0B-5F26-44E31D30B414}"/>
                  </a:ext>
                </a:extLst>
              </p:cNvPr>
              <p:cNvSpPr/>
              <p:nvPr/>
            </p:nvSpPr>
            <p:spPr>
              <a:xfrm>
                <a:off x="817309" y="4352485"/>
                <a:ext cx="21953" cy="15860"/>
              </a:xfrm>
              <a:custGeom>
                <a:avLst/>
                <a:gdLst>
                  <a:gd name="connsiteX0" fmla="*/ 2381 w 21953"/>
                  <a:gd name="connsiteY0" fmla="*/ 78 h 15860"/>
                  <a:gd name="connsiteX1" fmla="*/ 9258 w 21953"/>
                  <a:gd name="connsiteY1" fmla="*/ 78 h 15860"/>
                  <a:gd name="connsiteX2" fmla="*/ 12696 w 21953"/>
                  <a:gd name="connsiteY2" fmla="*/ 3693 h 15860"/>
                  <a:gd name="connsiteX3" fmla="*/ 12696 w 21953"/>
                  <a:gd name="connsiteY3" fmla="*/ 6779 h 15860"/>
                  <a:gd name="connsiteX4" fmla="*/ 15958 w 21953"/>
                  <a:gd name="connsiteY4" fmla="*/ 8454 h 15860"/>
                  <a:gd name="connsiteX5" fmla="*/ 19750 w 21953"/>
                  <a:gd name="connsiteY5" fmla="*/ 9160 h 15860"/>
                  <a:gd name="connsiteX6" fmla="*/ 21954 w 21953"/>
                  <a:gd name="connsiteY6" fmla="*/ 12951 h 15860"/>
                  <a:gd name="connsiteX7" fmla="*/ 19573 w 21953"/>
                  <a:gd name="connsiteY7" fmla="*/ 15861 h 15860"/>
                  <a:gd name="connsiteX8" fmla="*/ 13931 w 21953"/>
                  <a:gd name="connsiteY8" fmla="*/ 14803 h 15860"/>
                  <a:gd name="connsiteX9" fmla="*/ 11197 w 21953"/>
                  <a:gd name="connsiteY9" fmla="*/ 11364 h 15860"/>
                  <a:gd name="connsiteX10" fmla="*/ 4497 w 21953"/>
                  <a:gd name="connsiteY10" fmla="*/ 11364 h 15860"/>
                  <a:gd name="connsiteX11" fmla="*/ 0 w 21953"/>
                  <a:gd name="connsiteY11" fmla="*/ 7925 h 15860"/>
                  <a:gd name="connsiteX12" fmla="*/ 0 w 21953"/>
                  <a:gd name="connsiteY12" fmla="*/ 3341 h 15860"/>
                  <a:gd name="connsiteX13" fmla="*/ 2381 w 21953"/>
                  <a:gd name="connsiteY13" fmla="*/ 78 h 15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953" h="15860">
                    <a:moveTo>
                      <a:pt x="2381" y="78"/>
                    </a:moveTo>
                    <a:cubicBezTo>
                      <a:pt x="2910" y="-98"/>
                      <a:pt x="9258" y="78"/>
                      <a:pt x="9258" y="78"/>
                    </a:cubicBezTo>
                    <a:lnTo>
                      <a:pt x="12696" y="3693"/>
                    </a:lnTo>
                    <a:lnTo>
                      <a:pt x="12696" y="6779"/>
                    </a:lnTo>
                    <a:lnTo>
                      <a:pt x="15958" y="8454"/>
                    </a:lnTo>
                    <a:lnTo>
                      <a:pt x="19750" y="9160"/>
                    </a:lnTo>
                    <a:lnTo>
                      <a:pt x="21954" y="12951"/>
                    </a:lnTo>
                    <a:lnTo>
                      <a:pt x="19573" y="15861"/>
                    </a:lnTo>
                    <a:lnTo>
                      <a:pt x="13931" y="14803"/>
                    </a:lnTo>
                    <a:lnTo>
                      <a:pt x="11197" y="11364"/>
                    </a:lnTo>
                    <a:lnTo>
                      <a:pt x="4497" y="11364"/>
                    </a:lnTo>
                    <a:lnTo>
                      <a:pt x="0" y="7925"/>
                    </a:lnTo>
                    <a:lnTo>
                      <a:pt x="0" y="3341"/>
                    </a:lnTo>
                    <a:lnTo>
                      <a:pt x="2381" y="7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9" name="Freihandform: Form 2028">
                <a:extLst>
                  <a:ext uri="{FF2B5EF4-FFF2-40B4-BE49-F238E27FC236}">
                    <a16:creationId xmlns:a16="http://schemas.microsoft.com/office/drawing/2014/main" id="{8A14398E-E0A8-2AFB-FCE7-D8AB9C459847}"/>
                  </a:ext>
                </a:extLst>
              </p:cNvPr>
              <p:cNvSpPr/>
              <p:nvPr/>
            </p:nvSpPr>
            <p:spPr>
              <a:xfrm>
                <a:off x="7320609" y="5021144"/>
                <a:ext cx="393848" cy="331954"/>
              </a:xfrm>
              <a:custGeom>
                <a:avLst/>
                <a:gdLst>
                  <a:gd name="connsiteX0" fmla="*/ 244138 w 393848"/>
                  <a:gd name="connsiteY0" fmla="*/ 167432 h 331954"/>
                  <a:gd name="connsiteX1" fmla="*/ 244138 w 393848"/>
                  <a:gd name="connsiteY1" fmla="*/ 166903 h 331954"/>
                  <a:gd name="connsiteX2" fmla="*/ 247665 w 393848"/>
                  <a:gd name="connsiteY2" fmla="*/ 163112 h 331954"/>
                  <a:gd name="connsiteX3" fmla="*/ 250927 w 393848"/>
                  <a:gd name="connsiteY3" fmla="*/ 162759 h 331954"/>
                  <a:gd name="connsiteX4" fmla="*/ 244138 w 393848"/>
                  <a:gd name="connsiteY4" fmla="*/ 167432 h 331954"/>
                  <a:gd name="connsiteX5" fmla="*/ 250575 w 393848"/>
                  <a:gd name="connsiteY5" fmla="*/ 174221 h 331954"/>
                  <a:gd name="connsiteX6" fmla="*/ 247929 w 393848"/>
                  <a:gd name="connsiteY6" fmla="*/ 174485 h 331954"/>
                  <a:gd name="connsiteX7" fmla="*/ 251456 w 393848"/>
                  <a:gd name="connsiteY7" fmla="*/ 172722 h 331954"/>
                  <a:gd name="connsiteX8" fmla="*/ 250927 w 393848"/>
                  <a:gd name="connsiteY8" fmla="*/ 172458 h 331954"/>
                  <a:gd name="connsiteX9" fmla="*/ 252691 w 393848"/>
                  <a:gd name="connsiteY9" fmla="*/ 171840 h 331954"/>
                  <a:gd name="connsiteX10" fmla="*/ 250575 w 393848"/>
                  <a:gd name="connsiteY10" fmla="*/ 174221 h 331954"/>
                  <a:gd name="connsiteX11" fmla="*/ 24246 w 393848"/>
                  <a:gd name="connsiteY11" fmla="*/ 275350 h 331954"/>
                  <a:gd name="connsiteX12" fmla="*/ 23100 w 393848"/>
                  <a:gd name="connsiteY12" fmla="*/ 274204 h 331954"/>
                  <a:gd name="connsiteX13" fmla="*/ 26362 w 393848"/>
                  <a:gd name="connsiteY13" fmla="*/ 271559 h 331954"/>
                  <a:gd name="connsiteX14" fmla="*/ 25833 w 393848"/>
                  <a:gd name="connsiteY14" fmla="*/ 272441 h 331954"/>
                  <a:gd name="connsiteX15" fmla="*/ 24952 w 393848"/>
                  <a:gd name="connsiteY15" fmla="*/ 275085 h 331954"/>
                  <a:gd name="connsiteX16" fmla="*/ 24246 w 393848"/>
                  <a:gd name="connsiteY16" fmla="*/ 275350 h 331954"/>
                  <a:gd name="connsiteX17" fmla="*/ 9963 w 393848"/>
                  <a:gd name="connsiteY17" fmla="*/ 285842 h 331954"/>
                  <a:gd name="connsiteX18" fmla="*/ 7318 w 393848"/>
                  <a:gd name="connsiteY18" fmla="*/ 284343 h 331954"/>
                  <a:gd name="connsiteX19" fmla="*/ 10228 w 393848"/>
                  <a:gd name="connsiteY19" fmla="*/ 282933 h 331954"/>
                  <a:gd name="connsiteX20" fmla="*/ 12256 w 393848"/>
                  <a:gd name="connsiteY20" fmla="*/ 283197 h 331954"/>
                  <a:gd name="connsiteX21" fmla="*/ 11109 w 393848"/>
                  <a:gd name="connsiteY21" fmla="*/ 285225 h 331954"/>
                  <a:gd name="connsiteX22" fmla="*/ 9963 w 393848"/>
                  <a:gd name="connsiteY22" fmla="*/ 285842 h 331954"/>
                  <a:gd name="connsiteX23" fmla="*/ 39676 w 393848"/>
                  <a:gd name="connsiteY23" fmla="*/ 304534 h 331954"/>
                  <a:gd name="connsiteX24" fmla="*/ 37383 w 393848"/>
                  <a:gd name="connsiteY24" fmla="*/ 305415 h 331954"/>
                  <a:gd name="connsiteX25" fmla="*/ 35620 w 393848"/>
                  <a:gd name="connsiteY25" fmla="*/ 304534 h 331954"/>
                  <a:gd name="connsiteX26" fmla="*/ 33857 w 393848"/>
                  <a:gd name="connsiteY26" fmla="*/ 303387 h 331954"/>
                  <a:gd name="connsiteX27" fmla="*/ 32358 w 393848"/>
                  <a:gd name="connsiteY27" fmla="*/ 304269 h 331954"/>
                  <a:gd name="connsiteX28" fmla="*/ 31212 w 393848"/>
                  <a:gd name="connsiteY28" fmla="*/ 305415 h 331954"/>
                  <a:gd name="connsiteX29" fmla="*/ 30066 w 393848"/>
                  <a:gd name="connsiteY29" fmla="*/ 304005 h 331954"/>
                  <a:gd name="connsiteX30" fmla="*/ 28037 w 393848"/>
                  <a:gd name="connsiteY30" fmla="*/ 304005 h 331954"/>
                  <a:gd name="connsiteX31" fmla="*/ 26539 w 393848"/>
                  <a:gd name="connsiteY31" fmla="*/ 301624 h 331954"/>
                  <a:gd name="connsiteX32" fmla="*/ 26275 w 393848"/>
                  <a:gd name="connsiteY32" fmla="*/ 300125 h 331954"/>
                  <a:gd name="connsiteX33" fmla="*/ 24511 w 393848"/>
                  <a:gd name="connsiteY33" fmla="*/ 299244 h 331954"/>
                  <a:gd name="connsiteX34" fmla="*/ 24775 w 393848"/>
                  <a:gd name="connsiteY34" fmla="*/ 297216 h 331954"/>
                  <a:gd name="connsiteX35" fmla="*/ 23012 w 393848"/>
                  <a:gd name="connsiteY35" fmla="*/ 296687 h 331954"/>
                  <a:gd name="connsiteX36" fmla="*/ 22483 w 393848"/>
                  <a:gd name="connsiteY36" fmla="*/ 296687 h 331954"/>
                  <a:gd name="connsiteX37" fmla="*/ 21601 w 393848"/>
                  <a:gd name="connsiteY37" fmla="*/ 294394 h 331954"/>
                  <a:gd name="connsiteX38" fmla="*/ 20720 w 393848"/>
                  <a:gd name="connsiteY38" fmla="*/ 296070 h 331954"/>
                  <a:gd name="connsiteX39" fmla="*/ 19574 w 393848"/>
                  <a:gd name="connsiteY39" fmla="*/ 295541 h 331954"/>
                  <a:gd name="connsiteX40" fmla="*/ 18692 w 393848"/>
                  <a:gd name="connsiteY40" fmla="*/ 296070 h 331954"/>
                  <a:gd name="connsiteX41" fmla="*/ 16400 w 393848"/>
                  <a:gd name="connsiteY41" fmla="*/ 295805 h 331954"/>
                  <a:gd name="connsiteX42" fmla="*/ 11727 w 393848"/>
                  <a:gd name="connsiteY42" fmla="*/ 294659 h 331954"/>
                  <a:gd name="connsiteX43" fmla="*/ 10845 w 393848"/>
                  <a:gd name="connsiteY43" fmla="*/ 293160 h 331954"/>
                  <a:gd name="connsiteX44" fmla="*/ 9963 w 393848"/>
                  <a:gd name="connsiteY44" fmla="*/ 293777 h 331954"/>
                  <a:gd name="connsiteX45" fmla="*/ 6172 w 393848"/>
                  <a:gd name="connsiteY45" fmla="*/ 294394 h 331954"/>
                  <a:gd name="connsiteX46" fmla="*/ 6789 w 393848"/>
                  <a:gd name="connsiteY46" fmla="*/ 293513 h 331954"/>
                  <a:gd name="connsiteX47" fmla="*/ 6789 w 393848"/>
                  <a:gd name="connsiteY47" fmla="*/ 292366 h 331954"/>
                  <a:gd name="connsiteX48" fmla="*/ 8288 w 393848"/>
                  <a:gd name="connsiteY48" fmla="*/ 291485 h 331954"/>
                  <a:gd name="connsiteX49" fmla="*/ 6260 w 393848"/>
                  <a:gd name="connsiteY49" fmla="*/ 292366 h 331954"/>
                  <a:gd name="connsiteX50" fmla="*/ 4849 w 393848"/>
                  <a:gd name="connsiteY50" fmla="*/ 293248 h 331954"/>
                  <a:gd name="connsiteX51" fmla="*/ 6260 w 393848"/>
                  <a:gd name="connsiteY51" fmla="*/ 291485 h 331954"/>
                  <a:gd name="connsiteX52" fmla="*/ 5995 w 393848"/>
                  <a:gd name="connsiteY52" fmla="*/ 290339 h 331954"/>
                  <a:gd name="connsiteX53" fmla="*/ 4849 w 393848"/>
                  <a:gd name="connsiteY53" fmla="*/ 288928 h 331954"/>
                  <a:gd name="connsiteX54" fmla="*/ 7142 w 393848"/>
                  <a:gd name="connsiteY54" fmla="*/ 286547 h 331954"/>
                  <a:gd name="connsiteX55" fmla="*/ 8641 w 393848"/>
                  <a:gd name="connsiteY55" fmla="*/ 287429 h 331954"/>
                  <a:gd name="connsiteX56" fmla="*/ 14725 w 393848"/>
                  <a:gd name="connsiteY56" fmla="*/ 285137 h 331954"/>
                  <a:gd name="connsiteX57" fmla="*/ 12167 w 393848"/>
                  <a:gd name="connsiteY57" fmla="*/ 285401 h 331954"/>
                  <a:gd name="connsiteX58" fmla="*/ 14460 w 393848"/>
                  <a:gd name="connsiteY58" fmla="*/ 282756 h 331954"/>
                  <a:gd name="connsiteX59" fmla="*/ 16487 w 393848"/>
                  <a:gd name="connsiteY59" fmla="*/ 282139 h 331954"/>
                  <a:gd name="connsiteX60" fmla="*/ 18780 w 393848"/>
                  <a:gd name="connsiteY60" fmla="*/ 281874 h 331954"/>
                  <a:gd name="connsiteX61" fmla="*/ 17369 w 393848"/>
                  <a:gd name="connsiteY61" fmla="*/ 280993 h 331954"/>
                  <a:gd name="connsiteX62" fmla="*/ 12961 w 393848"/>
                  <a:gd name="connsiteY62" fmla="*/ 281874 h 331954"/>
                  <a:gd name="connsiteX63" fmla="*/ 15606 w 393848"/>
                  <a:gd name="connsiteY63" fmla="*/ 278700 h 331954"/>
                  <a:gd name="connsiteX64" fmla="*/ 17634 w 393848"/>
                  <a:gd name="connsiteY64" fmla="*/ 276672 h 331954"/>
                  <a:gd name="connsiteX65" fmla="*/ 19397 w 393848"/>
                  <a:gd name="connsiteY65" fmla="*/ 276408 h 331954"/>
                  <a:gd name="connsiteX66" fmla="*/ 22924 w 393848"/>
                  <a:gd name="connsiteY66" fmla="*/ 276143 h 331954"/>
                  <a:gd name="connsiteX67" fmla="*/ 24070 w 393848"/>
                  <a:gd name="connsiteY67" fmla="*/ 276761 h 331954"/>
                  <a:gd name="connsiteX68" fmla="*/ 25217 w 393848"/>
                  <a:gd name="connsiteY68" fmla="*/ 279406 h 331954"/>
                  <a:gd name="connsiteX69" fmla="*/ 25217 w 393848"/>
                  <a:gd name="connsiteY69" fmla="*/ 277378 h 331954"/>
                  <a:gd name="connsiteX70" fmla="*/ 24599 w 393848"/>
                  <a:gd name="connsiteY70" fmla="*/ 276232 h 331954"/>
                  <a:gd name="connsiteX71" fmla="*/ 26362 w 393848"/>
                  <a:gd name="connsiteY71" fmla="*/ 275614 h 331954"/>
                  <a:gd name="connsiteX72" fmla="*/ 27508 w 393848"/>
                  <a:gd name="connsiteY72" fmla="*/ 275614 h 331954"/>
                  <a:gd name="connsiteX73" fmla="*/ 28390 w 393848"/>
                  <a:gd name="connsiteY73" fmla="*/ 276232 h 331954"/>
                  <a:gd name="connsiteX74" fmla="*/ 29889 w 393848"/>
                  <a:gd name="connsiteY74" fmla="*/ 275614 h 331954"/>
                  <a:gd name="connsiteX75" fmla="*/ 26627 w 393848"/>
                  <a:gd name="connsiteY75" fmla="*/ 274468 h 331954"/>
                  <a:gd name="connsiteX76" fmla="*/ 29008 w 393848"/>
                  <a:gd name="connsiteY76" fmla="*/ 271823 h 331954"/>
                  <a:gd name="connsiteX77" fmla="*/ 29625 w 393848"/>
                  <a:gd name="connsiteY77" fmla="*/ 269531 h 331954"/>
                  <a:gd name="connsiteX78" fmla="*/ 33416 w 393848"/>
                  <a:gd name="connsiteY78" fmla="*/ 266886 h 331954"/>
                  <a:gd name="connsiteX79" fmla="*/ 35179 w 393848"/>
                  <a:gd name="connsiteY79" fmla="*/ 266886 h 331954"/>
                  <a:gd name="connsiteX80" fmla="*/ 37207 w 393848"/>
                  <a:gd name="connsiteY80" fmla="*/ 266269 h 331954"/>
                  <a:gd name="connsiteX81" fmla="*/ 37472 w 393848"/>
                  <a:gd name="connsiteY81" fmla="*/ 265651 h 331954"/>
                  <a:gd name="connsiteX82" fmla="*/ 40999 w 393848"/>
                  <a:gd name="connsiteY82" fmla="*/ 264505 h 331954"/>
                  <a:gd name="connsiteX83" fmla="*/ 40381 w 393848"/>
                  <a:gd name="connsiteY83" fmla="*/ 266269 h 331954"/>
                  <a:gd name="connsiteX84" fmla="*/ 40117 w 393848"/>
                  <a:gd name="connsiteY84" fmla="*/ 268032 h 331954"/>
                  <a:gd name="connsiteX85" fmla="*/ 41880 w 393848"/>
                  <a:gd name="connsiteY85" fmla="*/ 264858 h 331954"/>
                  <a:gd name="connsiteX86" fmla="*/ 42497 w 393848"/>
                  <a:gd name="connsiteY86" fmla="*/ 263976 h 331954"/>
                  <a:gd name="connsiteX87" fmla="*/ 44261 w 393848"/>
                  <a:gd name="connsiteY87" fmla="*/ 262477 h 331954"/>
                  <a:gd name="connsiteX88" fmla="*/ 46906 w 393848"/>
                  <a:gd name="connsiteY88" fmla="*/ 263359 h 331954"/>
                  <a:gd name="connsiteX89" fmla="*/ 47788 w 393848"/>
                  <a:gd name="connsiteY89" fmla="*/ 260449 h 331954"/>
                  <a:gd name="connsiteX90" fmla="*/ 50433 w 393848"/>
                  <a:gd name="connsiteY90" fmla="*/ 258951 h 331954"/>
                  <a:gd name="connsiteX91" fmla="*/ 52725 w 393848"/>
                  <a:gd name="connsiteY91" fmla="*/ 258334 h 331954"/>
                  <a:gd name="connsiteX92" fmla="*/ 55370 w 393848"/>
                  <a:gd name="connsiteY92" fmla="*/ 255953 h 331954"/>
                  <a:gd name="connsiteX93" fmla="*/ 56869 w 393848"/>
                  <a:gd name="connsiteY93" fmla="*/ 254807 h 331954"/>
                  <a:gd name="connsiteX94" fmla="*/ 61542 w 393848"/>
                  <a:gd name="connsiteY94" fmla="*/ 253043 h 331954"/>
                  <a:gd name="connsiteX95" fmla="*/ 61542 w 393848"/>
                  <a:gd name="connsiteY95" fmla="*/ 252162 h 331954"/>
                  <a:gd name="connsiteX96" fmla="*/ 63834 w 393848"/>
                  <a:gd name="connsiteY96" fmla="*/ 251897 h 331954"/>
                  <a:gd name="connsiteX97" fmla="*/ 65862 w 393848"/>
                  <a:gd name="connsiteY97" fmla="*/ 250751 h 331954"/>
                  <a:gd name="connsiteX98" fmla="*/ 67626 w 393848"/>
                  <a:gd name="connsiteY98" fmla="*/ 249605 h 331954"/>
                  <a:gd name="connsiteX99" fmla="*/ 70799 w 393848"/>
                  <a:gd name="connsiteY99" fmla="*/ 246960 h 331954"/>
                  <a:gd name="connsiteX100" fmla="*/ 72563 w 393848"/>
                  <a:gd name="connsiteY100" fmla="*/ 247577 h 331954"/>
                  <a:gd name="connsiteX101" fmla="*/ 74855 w 393848"/>
                  <a:gd name="connsiteY101" fmla="*/ 245549 h 331954"/>
                  <a:gd name="connsiteX102" fmla="*/ 75120 w 393848"/>
                  <a:gd name="connsiteY102" fmla="*/ 244050 h 331954"/>
                  <a:gd name="connsiteX103" fmla="*/ 77765 w 393848"/>
                  <a:gd name="connsiteY103" fmla="*/ 242551 h 331954"/>
                  <a:gd name="connsiteX104" fmla="*/ 80057 w 393848"/>
                  <a:gd name="connsiteY104" fmla="*/ 242551 h 331954"/>
                  <a:gd name="connsiteX105" fmla="*/ 82085 w 393848"/>
                  <a:gd name="connsiteY105" fmla="*/ 240788 h 331954"/>
                  <a:gd name="connsiteX106" fmla="*/ 83584 w 393848"/>
                  <a:gd name="connsiteY106" fmla="*/ 242816 h 331954"/>
                  <a:gd name="connsiteX107" fmla="*/ 83848 w 393848"/>
                  <a:gd name="connsiteY107" fmla="*/ 243698 h 331954"/>
                  <a:gd name="connsiteX108" fmla="*/ 85612 w 393848"/>
                  <a:gd name="connsiteY108" fmla="*/ 243433 h 331954"/>
                  <a:gd name="connsiteX109" fmla="*/ 87639 w 393848"/>
                  <a:gd name="connsiteY109" fmla="*/ 242551 h 331954"/>
                  <a:gd name="connsiteX110" fmla="*/ 91166 w 393848"/>
                  <a:gd name="connsiteY110" fmla="*/ 239377 h 331954"/>
                  <a:gd name="connsiteX111" fmla="*/ 94429 w 393848"/>
                  <a:gd name="connsiteY111" fmla="*/ 238760 h 331954"/>
                  <a:gd name="connsiteX112" fmla="*/ 96721 w 393848"/>
                  <a:gd name="connsiteY112" fmla="*/ 238231 h 331954"/>
                  <a:gd name="connsiteX113" fmla="*/ 97338 w 393848"/>
                  <a:gd name="connsiteY113" fmla="*/ 237085 h 331954"/>
                  <a:gd name="connsiteX114" fmla="*/ 99630 w 393848"/>
                  <a:gd name="connsiteY114" fmla="*/ 236820 h 331954"/>
                  <a:gd name="connsiteX115" fmla="*/ 100247 w 393848"/>
                  <a:gd name="connsiteY115" fmla="*/ 235321 h 331954"/>
                  <a:gd name="connsiteX116" fmla="*/ 103774 w 393848"/>
                  <a:gd name="connsiteY116" fmla="*/ 234175 h 331954"/>
                  <a:gd name="connsiteX117" fmla="*/ 107830 w 393848"/>
                  <a:gd name="connsiteY117" fmla="*/ 234175 h 331954"/>
                  <a:gd name="connsiteX118" fmla="*/ 109329 w 393848"/>
                  <a:gd name="connsiteY118" fmla="*/ 233029 h 331954"/>
                  <a:gd name="connsiteX119" fmla="*/ 112503 w 393848"/>
                  <a:gd name="connsiteY119" fmla="*/ 232765 h 331954"/>
                  <a:gd name="connsiteX120" fmla="*/ 113737 w 393848"/>
                  <a:gd name="connsiteY120" fmla="*/ 231619 h 331954"/>
                  <a:gd name="connsiteX121" fmla="*/ 115765 w 393848"/>
                  <a:gd name="connsiteY121" fmla="*/ 231090 h 331954"/>
                  <a:gd name="connsiteX122" fmla="*/ 118675 w 393848"/>
                  <a:gd name="connsiteY122" fmla="*/ 228797 h 331954"/>
                  <a:gd name="connsiteX123" fmla="*/ 121320 w 393848"/>
                  <a:gd name="connsiteY123" fmla="*/ 228533 h 331954"/>
                  <a:gd name="connsiteX124" fmla="*/ 123347 w 393848"/>
                  <a:gd name="connsiteY124" fmla="*/ 227386 h 331954"/>
                  <a:gd name="connsiteX125" fmla="*/ 126522 w 393848"/>
                  <a:gd name="connsiteY125" fmla="*/ 225359 h 331954"/>
                  <a:gd name="connsiteX126" fmla="*/ 128285 w 393848"/>
                  <a:gd name="connsiteY126" fmla="*/ 224741 h 331954"/>
                  <a:gd name="connsiteX127" fmla="*/ 130666 w 393848"/>
                  <a:gd name="connsiteY127" fmla="*/ 222449 h 331954"/>
                  <a:gd name="connsiteX128" fmla="*/ 134722 w 393848"/>
                  <a:gd name="connsiteY128" fmla="*/ 221567 h 331954"/>
                  <a:gd name="connsiteX129" fmla="*/ 136485 w 393848"/>
                  <a:gd name="connsiteY129" fmla="*/ 220068 h 331954"/>
                  <a:gd name="connsiteX130" fmla="*/ 141422 w 393848"/>
                  <a:gd name="connsiteY130" fmla="*/ 219187 h 331954"/>
                  <a:gd name="connsiteX131" fmla="*/ 142569 w 393848"/>
                  <a:gd name="connsiteY131" fmla="*/ 218041 h 331954"/>
                  <a:gd name="connsiteX132" fmla="*/ 144332 w 393848"/>
                  <a:gd name="connsiteY132" fmla="*/ 217423 h 331954"/>
                  <a:gd name="connsiteX133" fmla="*/ 148740 w 393848"/>
                  <a:gd name="connsiteY133" fmla="*/ 217423 h 331954"/>
                  <a:gd name="connsiteX134" fmla="*/ 151032 w 393848"/>
                  <a:gd name="connsiteY134" fmla="*/ 215925 h 331954"/>
                  <a:gd name="connsiteX135" fmla="*/ 151297 w 393848"/>
                  <a:gd name="connsiteY135" fmla="*/ 214778 h 331954"/>
                  <a:gd name="connsiteX136" fmla="*/ 153590 w 393848"/>
                  <a:gd name="connsiteY136" fmla="*/ 213015 h 331954"/>
                  <a:gd name="connsiteX137" fmla="*/ 156235 w 393848"/>
                  <a:gd name="connsiteY137" fmla="*/ 210370 h 331954"/>
                  <a:gd name="connsiteX138" fmla="*/ 158880 w 393848"/>
                  <a:gd name="connsiteY138" fmla="*/ 209224 h 331954"/>
                  <a:gd name="connsiteX139" fmla="*/ 160290 w 393848"/>
                  <a:gd name="connsiteY139" fmla="*/ 206050 h 331954"/>
                  <a:gd name="connsiteX140" fmla="*/ 163817 w 393848"/>
                  <a:gd name="connsiteY140" fmla="*/ 204551 h 331954"/>
                  <a:gd name="connsiteX141" fmla="*/ 165051 w 393848"/>
                  <a:gd name="connsiteY141" fmla="*/ 204286 h 331954"/>
                  <a:gd name="connsiteX142" fmla="*/ 166727 w 393848"/>
                  <a:gd name="connsiteY142" fmla="*/ 201641 h 331954"/>
                  <a:gd name="connsiteX143" fmla="*/ 168225 w 393848"/>
                  <a:gd name="connsiteY143" fmla="*/ 201906 h 331954"/>
                  <a:gd name="connsiteX144" fmla="*/ 169372 w 393848"/>
                  <a:gd name="connsiteY144" fmla="*/ 198996 h 331954"/>
                  <a:gd name="connsiteX145" fmla="*/ 172546 w 393848"/>
                  <a:gd name="connsiteY145" fmla="*/ 196351 h 331954"/>
                  <a:gd name="connsiteX146" fmla="*/ 175191 w 393848"/>
                  <a:gd name="connsiteY146" fmla="*/ 194323 h 331954"/>
                  <a:gd name="connsiteX147" fmla="*/ 176337 w 393848"/>
                  <a:gd name="connsiteY147" fmla="*/ 191943 h 331954"/>
                  <a:gd name="connsiteX148" fmla="*/ 179864 w 393848"/>
                  <a:gd name="connsiteY148" fmla="*/ 189915 h 331954"/>
                  <a:gd name="connsiteX149" fmla="*/ 183920 w 393848"/>
                  <a:gd name="connsiteY149" fmla="*/ 188504 h 331954"/>
                  <a:gd name="connsiteX150" fmla="*/ 187711 w 393848"/>
                  <a:gd name="connsiteY150" fmla="*/ 187887 h 331954"/>
                  <a:gd name="connsiteX151" fmla="*/ 189739 w 393848"/>
                  <a:gd name="connsiteY151" fmla="*/ 187270 h 331954"/>
                  <a:gd name="connsiteX152" fmla="*/ 191766 w 393848"/>
                  <a:gd name="connsiteY152" fmla="*/ 185506 h 331954"/>
                  <a:gd name="connsiteX153" fmla="*/ 194411 w 393848"/>
                  <a:gd name="connsiteY153" fmla="*/ 183126 h 331954"/>
                  <a:gd name="connsiteX154" fmla="*/ 196439 w 393848"/>
                  <a:gd name="connsiteY154" fmla="*/ 181098 h 331954"/>
                  <a:gd name="connsiteX155" fmla="*/ 200495 w 393848"/>
                  <a:gd name="connsiteY155" fmla="*/ 179335 h 331954"/>
                  <a:gd name="connsiteX156" fmla="*/ 201994 w 393848"/>
                  <a:gd name="connsiteY156" fmla="*/ 176425 h 331954"/>
                  <a:gd name="connsiteX157" fmla="*/ 204639 w 393848"/>
                  <a:gd name="connsiteY157" fmla="*/ 172634 h 331954"/>
                  <a:gd name="connsiteX158" fmla="*/ 207549 w 393848"/>
                  <a:gd name="connsiteY158" fmla="*/ 169989 h 331954"/>
                  <a:gd name="connsiteX159" fmla="*/ 208695 w 393848"/>
                  <a:gd name="connsiteY159" fmla="*/ 167961 h 331954"/>
                  <a:gd name="connsiteX160" fmla="*/ 210723 w 393848"/>
                  <a:gd name="connsiteY160" fmla="*/ 166815 h 331954"/>
                  <a:gd name="connsiteX161" fmla="*/ 213368 w 393848"/>
                  <a:gd name="connsiteY161" fmla="*/ 164258 h 331954"/>
                  <a:gd name="connsiteX162" fmla="*/ 215131 w 393848"/>
                  <a:gd name="connsiteY162" fmla="*/ 164258 h 331954"/>
                  <a:gd name="connsiteX163" fmla="*/ 216013 w 393848"/>
                  <a:gd name="connsiteY163" fmla="*/ 163905 h 331954"/>
                  <a:gd name="connsiteX164" fmla="*/ 218305 w 393848"/>
                  <a:gd name="connsiteY164" fmla="*/ 161260 h 331954"/>
                  <a:gd name="connsiteX165" fmla="*/ 221215 w 393848"/>
                  <a:gd name="connsiteY165" fmla="*/ 160996 h 331954"/>
                  <a:gd name="connsiteX166" fmla="*/ 224389 w 393848"/>
                  <a:gd name="connsiteY166" fmla="*/ 159497 h 331954"/>
                  <a:gd name="connsiteX167" fmla="*/ 224124 w 393848"/>
                  <a:gd name="connsiteY167" fmla="*/ 159761 h 331954"/>
                  <a:gd name="connsiteX168" fmla="*/ 223860 w 393848"/>
                  <a:gd name="connsiteY168" fmla="*/ 160378 h 331954"/>
                  <a:gd name="connsiteX169" fmla="*/ 227034 w 393848"/>
                  <a:gd name="connsiteY169" fmla="*/ 158880 h 331954"/>
                  <a:gd name="connsiteX170" fmla="*/ 226769 w 393848"/>
                  <a:gd name="connsiteY170" fmla="*/ 158615 h 331954"/>
                  <a:gd name="connsiteX171" fmla="*/ 226152 w 393848"/>
                  <a:gd name="connsiteY171" fmla="*/ 158615 h 331954"/>
                  <a:gd name="connsiteX172" fmla="*/ 226416 w 393848"/>
                  <a:gd name="connsiteY172" fmla="*/ 158351 h 331954"/>
                  <a:gd name="connsiteX173" fmla="*/ 228797 w 393848"/>
                  <a:gd name="connsiteY173" fmla="*/ 157204 h 331954"/>
                  <a:gd name="connsiteX174" fmla="*/ 232853 w 393848"/>
                  <a:gd name="connsiteY174" fmla="*/ 157204 h 331954"/>
                  <a:gd name="connsiteX175" fmla="*/ 235145 w 393848"/>
                  <a:gd name="connsiteY175" fmla="*/ 157822 h 331954"/>
                  <a:gd name="connsiteX176" fmla="*/ 234616 w 393848"/>
                  <a:gd name="connsiteY176" fmla="*/ 158086 h 331954"/>
                  <a:gd name="connsiteX177" fmla="*/ 229943 w 393848"/>
                  <a:gd name="connsiteY177" fmla="*/ 157822 h 331954"/>
                  <a:gd name="connsiteX178" fmla="*/ 226416 w 393848"/>
                  <a:gd name="connsiteY178" fmla="*/ 165933 h 331954"/>
                  <a:gd name="connsiteX179" fmla="*/ 229062 w 393848"/>
                  <a:gd name="connsiteY179" fmla="*/ 164434 h 331954"/>
                  <a:gd name="connsiteX180" fmla="*/ 230208 w 393848"/>
                  <a:gd name="connsiteY180" fmla="*/ 164170 h 331954"/>
                  <a:gd name="connsiteX181" fmla="*/ 230825 w 393848"/>
                  <a:gd name="connsiteY181" fmla="*/ 164170 h 331954"/>
                  <a:gd name="connsiteX182" fmla="*/ 230208 w 393848"/>
                  <a:gd name="connsiteY182" fmla="*/ 166197 h 331954"/>
                  <a:gd name="connsiteX183" fmla="*/ 228180 w 393848"/>
                  <a:gd name="connsiteY183" fmla="*/ 168843 h 331954"/>
                  <a:gd name="connsiteX184" fmla="*/ 227563 w 393848"/>
                  <a:gd name="connsiteY184" fmla="*/ 170341 h 331954"/>
                  <a:gd name="connsiteX185" fmla="*/ 226064 w 393848"/>
                  <a:gd name="connsiteY185" fmla="*/ 171223 h 331954"/>
                  <a:gd name="connsiteX186" fmla="*/ 223771 w 393848"/>
                  <a:gd name="connsiteY186" fmla="*/ 172987 h 331954"/>
                  <a:gd name="connsiteX187" fmla="*/ 222890 w 393848"/>
                  <a:gd name="connsiteY187" fmla="*/ 176778 h 331954"/>
                  <a:gd name="connsiteX188" fmla="*/ 224653 w 393848"/>
                  <a:gd name="connsiteY188" fmla="*/ 177042 h 331954"/>
                  <a:gd name="connsiteX189" fmla="*/ 226416 w 393848"/>
                  <a:gd name="connsiteY189" fmla="*/ 176425 h 331954"/>
                  <a:gd name="connsiteX190" fmla="*/ 229326 w 393848"/>
                  <a:gd name="connsiteY190" fmla="*/ 174662 h 331954"/>
                  <a:gd name="connsiteX191" fmla="*/ 231354 w 393848"/>
                  <a:gd name="connsiteY191" fmla="*/ 175543 h 331954"/>
                  <a:gd name="connsiteX192" fmla="*/ 232500 w 393848"/>
                  <a:gd name="connsiteY192" fmla="*/ 173251 h 331954"/>
                  <a:gd name="connsiteX193" fmla="*/ 235145 w 393848"/>
                  <a:gd name="connsiteY193" fmla="*/ 171488 h 331954"/>
                  <a:gd name="connsiteX194" fmla="*/ 238055 w 393848"/>
                  <a:gd name="connsiteY194" fmla="*/ 171223 h 331954"/>
                  <a:gd name="connsiteX195" fmla="*/ 240083 w 393848"/>
                  <a:gd name="connsiteY195" fmla="*/ 170959 h 331954"/>
                  <a:gd name="connsiteX196" fmla="*/ 241229 w 393848"/>
                  <a:gd name="connsiteY196" fmla="*/ 169812 h 331954"/>
                  <a:gd name="connsiteX197" fmla="*/ 239466 w 393848"/>
                  <a:gd name="connsiteY197" fmla="*/ 170430 h 331954"/>
                  <a:gd name="connsiteX198" fmla="*/ 240612 w 393848"/>
                  <a:gd name="connsiteY198" fmla="*/ 169548 h 331954"/>
                  <a:gd name="connsiteX199" fmla="*/ 248458 w 393848"/>
                  <a:gd name="connsiteY199" fmla="*/ 166903 h 331954"/>
                  <a:gd name="connsiteX200" fmla="*/ 248458 w 393848"/>
                  <a:gd name="connsiteY200" fmla="*/ 168049 h 331954"/>
                  <a:gd name="connsiteX201" fmla="*/ 246078 w 393848"/>
                  <a:gd name="connsiteY201" fmla="*/ 168666 h 331954"/>
                  <a:gd name="connsiteX202" fmla="*/ 242022 w 393848"/>
                  <a:gd name="connsiteY202" fmla="*/ 169812 h 331954"/>
                  <a:gd name="connsiteX203" fmla="*/ 241758 w 393848"/>
                  <a:gd name="connsiteY203" fmla="*/ 171576 h 331954"/>
                  <a:gd name="connsiteX204" fmla="*/ 244667 w 393848"/>
                  <a:gd name="connsiteY204" fmla="*/ 170694 h 331954"/>
                  <a:gd name="connsiteX205" fmla="*/ 238495 w 393848"/>
                  <a:gd name="connsiteY205" fmla="*/ 175367 h 331954"/>
                  <a:gd name="connsiteX206" fmla="*/ 237350 w 393848"/>
                  <a:gd name="connsiteY206" fmla="*/ 176513 h 331954"/>
                  <a:gd name="connsiteX207" fmla="*/ 246078 w 393848"/>
                  <a:gd name="connsiteY207" fmla="*/ 173868 h 331954"/>
                  <a:gd name="connsiteX208" fmla="*/ 243169 w 393848"/>
                  <a:gd name="connsiteY208" fmla="*/ 174133 h 331954"/>
                  <a:gd name="connsiteX209" fmla="*/ 241141 w 393848"/>
                  <a:gd name="connsiteY209" fmla="*/ 174133 h 331954"/>
                  <a:gd name="connsiteX210" fmla="*/ 242375 w 393848"/>
                  <a:gd name="connsiteY210" fmla="*/ 172722 h 331954"/>
                  <a:gd name="connsiteX211" fmla="*/ 246078 w 393848"/>
                  <a:gd name="connsiteY211" fmla="*/ 171840 h 331954"/>
                  <a:gd name="connsiteX212" fmla="*/ 250751 w 393848"/>
                  <a:gd name="connsiteY212" fmla="*/ 170430 h 331954"/>
                  <a:gd name="connsiteX213" fmla="*/ 253043 w 393848"/>
                  <a:gd name="connsiteY213" fmla="*/ 169812 h 331954"/>
                  <a:gd name="connsiteX214" fmla="*/ 244579 w 393848"/>
                  <a:gd name="connsiteY214" fmla="*/ 175103 h 331954"/>
                  <a:gd name="connsiteX215" fmla="*/ 245990 w 393848"/>
                  <a:gd name="connsiteY215" fmla="*/ 175984 h 331954"/>
                  <a:gd name="connsiteX216" fmla="*/ 247136 w 393848"/>
                  <a:gd name="connsiteY216" fmla="*/ 176249 h 331954"/>
                  <a:gd name="connsiteX217" fmla="*/ 244491 w 393848"/>
                  <a:gd name="connsiteY217" fmla="*/ 177395 h 331954"/>
                  <a:gd name="connsiteX218" fmla="*/ 246254 w 393848"/>
                  <a:gd name="connsiteY218" fmla="*/ 179423 h 331954"/>
                  <a:gd name="connsiteX219" fmla="*/ 242463 w 393848"/>
                  <a:gd name="connsiteY219" fmla="*/ 180304 h 331954"/>
                  <a:gd name="connsiteX220" fmla="*/ 238408 w 393848"/>
                  <a:gd name="connsiteY220" fmla="*/ 182332 h 331954"/>
                  <a:gd name="connsiteX221" fmla="*/ 239289 w 393848"/>
                  <a:gd name="connsiteY221" fmla="*/ 182068 h 331954"/>
                  <a:gd name="connsiteX222" fmla="*/ 239289 w 393848"/>
                  <a:gd name="connsiteY222" fmla="*/ 184096 h 331954"/>
                  <a:gd name="connsiteX223" fmla="*/ 237790 w 393848"/>
                  <a:gd name="connsiteY223" fmla="*/ 186124 h 331954"/>
                  <a:gd name="connsiteX224" fmla="*/ 235762 w 393848"/>
                  <a:gd name="connsiteY224" fmla="*/ 189915 h 331954"/>
                  <a:gd name="connsiteX225" fmla="*/ 233117 w 393848"/>
                  <a:gd name="connsiteY225" fmla="*/ 191678 h 331954"/>
                  <a:gd name="connsiteX226" fmla="*/ 232500 w 393848"/>
                  <a:gd name="connsiteY226" fmla="*/ 194059 h 331954"/>
                  <a:gd name="connsiteX227" fmla="*/ 231619 w 393848"/>
                  <a:gd name="connsiteY227" fmla="*/ 194940 h 331954"/>
                  <a:gd name="connsiteX228" fmla="*/ 229591 w 393848"/>
                  <a:gd name="connsiteY228" fmla="*/ 195822 h 331954"/>
                  <a:gd name="connsiteX229" fmla="*/ 228709 w 393848"/>
                  <a:gd name="connsiteY229" fmla="*/ 197321 h 331954"/>
                  <a:gd name="connsiteX230" fmla="*/ 226064 w 393848"/>
                  <a:gd name="connsiteY230" fmla="*/ 198203 h 331954"/>
                  <a:gd name="connsiteX231" fmla="*/ 224036 w 393848"/>
                  <a:gd name="connsiteY231" fmla="*/ 199349 h 331954"/>
                  <a:gd name="connsiteX232" fmla="*/ 222273 w 393848"/>
                  <a:gd name="connsiteY232" fmla="*/ 199349 h 331954"/>
                  <a:gd name="connsiteX233" fmla="*/ 220245 w 393848"/>
                  <a:gd name="connsiteY233" fmla="*/ 202523 h 331954"/>
                  <a:gd name="connsiteX234" fmla="*/ 219099 w 393848"/>
                  <a:gd name="connsiteY234" fmla="*/ 204022 h 331954"/>
                  <a:gd name="connsiteX235" fmla="*/ 217071 w 393848"/>
                  <a:gd name="connsiteY235" fmla="*/ 205521 h 331954"/>
                  <a:gd name="connsiteX236" fmla="*/ 214426 w 393848"/>
                  <a:gd name="connsiteY236" fmla="*/ 206050 h 331954"/>
                  <a:gd name="connsiteX237" fmla="*/ 213544 w 393848"/>
                  <a:gd name="connsiteY237" fmla="*/ 208695 h 331954"/>
                  <a:gd name="connsiteX238" fmla="*/ 210899 w 393848"/>
                  <a:gd name="connsiteY238" fmla="*/ 208959 h 331954"/>
                  <a:gd name="connsiteX239" fmla="*/ 211516 w 393848"/>
                  <a:gd name="connsiteY239" fmla="*/ 208342 h 331954"/>
                  <a:gd name="connsiteX240" fmla="*/ 208342 w 393848"/>
                  <a:gd name="connsiteY240" fmla="*/ 209753 h 331954"/>
                  <a:gd name="connsiteX241" fmla="*/ 207725 w 393848"/>
                  <a:gd name="connsiteY241" fmla="*/ 210634 h 331954"/>
                  <a:gd name="connsiteX242" fmla="*/ 206314 w 393848"/>
                  <a:gd name="connsiteY242" fmla="*/ 210017 h 331954"/>
                  <a:gd name="connsiteX243" fmla="*/ 204816 w 393848"/>
                  <a:gd name="connsiteY243" fmla="*/ 213544 h 331954"/>
                  <a:gd name="connsiteX244" fmla="*/ 203669 w 393848"/>
                  <a:gd name="connsiteY244" fmla="*/ 214690 h 331954"/>
                  <a:gd name="connsiteX245" fmla="*/ 201024 w 393848"/>
                  <a:gd name="connsiteY245" fmla="*/ 216454 h 331954"/>
                  <a:gd name="connsiteX246" fmla="*/ 196880 w 393848"/>
                  <a:gd name="connsiteY246" fmla="*/ 219363 h 331954"/>
                  <a:gd name="connsiteX247" fmla="*/ 196880 w 393848"/>
                  <a:gd name="connsiteY247" fmla="*/ 219980 h 331954"/>
                  <a:gd name="connsiteX248" fmla="*/ 194588 w 393848"/>
                  <a:gd name="connsiteY248" fmla="*/ 221126 h 331954"/>
                  <a:gd name="connsiteX249" fmla="*/ 193177 w 393848"/>
                  <a:gd name="connsiteY249" fmla="*/ 221126 h 331954"/>
                  <a:gd name="connsiteX250" fmla="*/ 191061 w 393848"/>
                  <a:gd name="connsiteY250" fmla="*/ 222537 h 331954"/>
                  <a:gd name="connsiteX251" fmla="*/ 189650 w 393848"/>
                  <a:gd name="connsiteY251" fmla="*/ 223154 h 331954"/>
                  <a:gd name="connsiteX252" fmla="*/ 187887 w 393848"/>
                  <a:gd name="connsiteY252" fmla="*/ 224300 h 331954"/>
                  <a:gd name="connsiteX253" fmla="*/ 185507 w 393848"/>
                  <a:gd name="connsiteY253" fmla="*/ 224918 h 331954"/>
                  <a:gd name="connsiteX254" fmla="*/ 184096 w 393848"/>
                  <a:gd name="connsiteY254" fmla="*/ 225182 h 331954"/>
                  <a:gd name="connsiteX255" fmla="*/ 182332 w 393848"/>
                  <a:gd name="connsiteY255" fmla="*/ 225447 h 331954"/>
                  <a:gd name="connsiteX256" fmla="*/ 179687 w 393848"/>
                  <a:gd name="connsiteY256" fmla="*/ 225711 h 331954"/>
                  <a:gd name="connsiteX257" fmla="*/ 178541 w 393848"/>
                  <a:gd name="connsiteY257" fmla="*/ 227210 h 331954"/>
                  <a:gd name="connsiteX258" fmla="*/ 176513 w 393848"/>
                  <a:gd name="connsiteY258" fmla="*/ 229238 h 331954"/>
                  <a:gd name="connsiteX259" fmla="*/ 176777 w 393848"/>
                  <a:gd name="connsiteY259" fmla="*/ 232148 h 331954"/>
                  <a:gd name="connsiteX260" fmla="*/ 174486 w 393848"/>
                  <a:gd name="connsiteY260" fmla="*/ 233911 h 331954"/>
                  <a:gd name="connsiteX261" fmla="*/ 175896 w 393848"/>
                  <a:gd name="connsiteY261" fmla="*/ 235321 h 331954"/>
                  <a:gd name="connsiteX262" fmla="*/ 175632 w 393848"/>
                  <a:gd name="connsiteY262" fmla="*/ 237085 h 331954"/>
                  <a:gd name="connsiteX263" fmla="*/ 177042 w 393848"/>
                  <a:gd name="connsiteY263" fmla="*/ 237967 h 331954"/>
                  <a:gd name="connsiteX264" fmla="*/ 176777 w 393848"/>
                  <a:gd name="connsiteY264" fmla="*/ 239730 h 331954"/>
                  <a:gd name="connsiteX265" fmla="*/ 174486 w 393848"/>
                  <a:gd name="connsiteY265" fmla="*/ 239730 h 331954"/>
                  <a:gd name="connsiteX266" fmla="*/ 172457 w 393848"/>
                  <a:gd name="connsiteY266" fmla="*/ 239994 h 331954"/>
                  <a:gd name="connsiteX267" fmla="*/ 171840 w 393848"/>
                  <a:gd name="connsiteY267" fmla="*/ 238231 h 331954"/>
                  <a:gd name="connsiteX268" fmla="*/ 171840 w 393848"/>
                  <a:gd name="connsiteY268" fmla="*/ 237349 h 331954"/>
                  <a:gd name="connsiteX269" fmla="*/ 169548 w 393848"/>
                  <a:gd name="connsiteY269" fmla="*/ 239994 h 331954"/>
                  <a:gd name="connsiteX270" fmla="*/ 168049 w 393848"/>
                  <a:gd name="connsiteY270" fmla="*/ 240612 h 331954"/>
                  <a:gd name="connsiteX271" fmla="*/ 166903 w 393848"/>
                  <a:gd name="connsiteY271" fmla="*/ 238848 h 331954"/>
                  <a:gd name="connsiteX272" fmla="*/ 163640 w 393848"/>
                  <a:gd name="connsiteY272" fmla="*/ 237967 h 331954"/>
                  <a:gd name="connsiteX273" fmla="*/ 162759 w 393848"/>
                  <a:gd name="connsiteY273" fmla="*/ 239465 h 331954"/>
                  <a:gd name="connsiteX274" fmla="*/ 162142 w 393848"/>
                  <a:gd name="connsiteY274" fmla="*/ 240876 h 331954"/>
                  <a:gd name="connsiteX275" fmla="*/ 155970 w 393848"/>
                  <a:gd name="connsiteY275" fmla="*/ 242375 h 331954"/>
                  <a:gd name="connsiteX276" fmla="*/ 152179 w 393848"/>
                  <a:gd name="connsiteY276" fmla="*/ 244138 h 331954"/>
                  <a:gd name="connsiteX277" fmla="*/ 150768 w 393848"/>
                  <a:gd name="connsiteY277" fmla="*/ 244138 h 331954"/>
                  <a:gd name="connsiteX278" fmla="*/ 147859 w 393848"/>
                  <a:gd name="connsiteY278" fmla="*/ 244756 h 331954"/>
                  <a:gd name="connsiteX279" fmla="*/ 146095 w 393848"/>
                  <a:gd name="connsiteY279" fmla="*/ 246166 h 331954"/>
                  <a:gd name="connsiteX280" fmla="*/ 143450 w 393848"/>
                  <a:gd name="connsiteY280" fmla="*/ 246783 h 331954"/>
                  <a:gd name="connsiteX281" fmla="*/ 139923 w 393848"/>
                  <a:gd name="connsiteY281" fmla="*/ 249164 h 331954"/>
                  <a:gd name="connsiteX282" fmla="*/ 137014 w 393848"/>
                  <a:gd name="connsiteY282" fmla="*/ 250046 h 331954"/>
                  <a:gd name="connsiteX283" fmla="*/ 136132 w 393848"/>
                  <a:gd name="connsiteY283" fmla="*/ 250663 h 331954"/>
                  <a:gd name="connsiteX284" fmla="*/ 132077 w 393848"/>
                  <a:gd name="connsiteY284" fmla="*/ 251280 h 331954"/>
                  <a:gd name="connsiteX285" fmla="*/ 130048 w 393848"/>
                  <a:gd name="connsiteY285" fmla="*/ 252779 h 331954"/>
                  <a:gd name="connsiteX286" fmla="*/ 127668 w 393848"/>
                  <a:gd name="connsiteY286" fmla="*/ 256306 h 331954"/>
                  <a:gd name="connsiteX287" fmla="*/ 124141 w 393848"/>
                  <a:gd name="connsiteY287" fmla="*/ 257452 h 331954"/>
                  <a:gd name="connsiteX288" fmla="*/ 123260 w 393848"/>
                  <a:gd name="connsiteY288" fmla="*/ 259832 h 331954"/>
                  <a:gd name="connsiteX289" fmla="*/ 121496 w 393848"/>
                  <a:gd name="connsiteY289" fmla="*/ 260714 h 331954"/>
                  <a:gd name="connsiteX290" fmla="*/ 120614 w 393848"/>
                  <a:gd name="connsiteY290" fmla="*/ 263624 h 331954"/>
                  <a:gd name="connsiteX291" fmla="*/ 118587 w 393848"/>
                  <a:gd name="connsiteY291" fmla="*/ 264241 h 331954"/>
                  <a:gd name="connsiteX292" fmla="*/ 116206 w 393848"/>
                  <a:gd name="connsiteY292" fmla="*/ 265740 h 331954"/>
                  <a:gd name="connsiteX293" fmla="*/ 115324 w 393848"/>
                  <a:gd name="connsiteY293" fmla="*/ 266004 h 331954"/>
                  <a:gd name="connsiteX294" fmla="*/ 112679 w 393848"/>
                  <a:gd name="connsiteY294" fmla="*/ 268649 h 331954"/>
                  <a:gd name="connsiteX295" fmla="*/ 111268 w 393848"/>
                  <a:gd name="connsiteY295" fmla="*/ 268914 h 331954"/>
                  <a:gd name="connsiteX296" fmla="*/ 109241 w 393848"/>
                  <a:gd name="connsiteY296" fmla="*/ 271294 h 331954"/>
                  <a:gd name="connsiteX297" fmla="*/ 106596 w 393848"/>
                  <a:gd name="connsiteY297" fmla="*/ 273587 h 331954"/>
                  <a:gd name="connsiteX298" fmla="*/ 104832 w 393848"/>
                  <a:gd name="connsiteY298" fmla="*/ 273851 h 331954"/>
                  <a:gd name="connsiteX299" fmla="*/ 102452 w 393848"/>
                  <a:gd name="connsiteY299" fmla="*/ 276496 h 331954"/>
                  <a:gd name="connsiteX300" fmla="*/ 100424 w 393848"/>
                  <a:gd name="connsiteY300" fmla="*/ 279670 h 331954"/>
                  <a:gd name="connsiteX301" fmla="*/ 98396 w 393848"/>
                  <a:gd name="connsiteY301" fmla="*/ 279670 h 331954"/>
                  <a:gd name="connsiteX302" fmla="*/ 95751 w 393848"/>
                  <a:gd name="connsiteY302" fmla="*/ 280023 h 331954"/>
                  <a:gd name="connsiteX303" fmla="*/ 95134 w 393848"/>
                  <a:gd name="connsiteY303" fmla="*/ 281522 h 331954"/>
                  <a:gd name="connsiteX304" fmla="*/ 92489 w 393848"/>
                  <a:gd name="connsiteY304" fmla="*/ 284431 h 331954"/>
                  <a:gd name="connsiteX305" fmla="*/ 90197 w 393848"/>
                  <a:gd name="connsiteY305" fmla="*/ 284696 h 331954"/>
                  <a:gd name="connsiteX306" fmla="*/ 81732 w 393848"/>
                  <a:gd name="connsiteY306" fmla="*/ 289633 h 331954"/>
                  <a:gd name="connsiteX307" fmla="*/ 84377 w 393848"/>
                  <a:gd name="connsiteY307" fmla="*/ 289104 h 331954"/>
                  <a:gd name="connsiteX308" fmla="*/ 87904 w 393848"/>
                  <a:gd name="connsiteY308" fmla="*/ 287341 h 331954"/>
                  <a:gd name="connsiteX309" fmla="*/ 87904 w 393848"/>
                  <a:gd name="connsiteY309" fmla="*/ 287605 h 331954"/>
                  <a:gd name="connsiteX310" fmla="*/ 84113 w 393848"/>
                  <a:gd name="connsiteY310" fmla="*/ 290250 h 331954"/>
                  <a:gd name="connsiteX311" fmla="*/ 81203 w 393848"/>
                  <a:gd name="connsiteY311" fmla="*/ 290250 h 331954"/>
                  <a:gd name="connsiteX312" fmla="*/ 78823 w 393848"/>
                  <a:gd name="connsiteY312" fmla="*/ 290868 h 331954"/>
                  <a:gd name="connsiteX313" fmla="*/ 77676 w 393848"/>
                  <a:gd name="connsiteY313" fmla="*/ 292631 h 331954"/>
                  <a:gd name="connsiteX314" fmla="*/ 75031 w 393848"/>
                  <a:gd name="connsiteY314" fmla="*/ 295012 h 331954"/>
                  <a:gd name="connsiteX315" fmla="*/ 73268 w 393848"/>
                  <a:gd name="connsiteY315" fmla="*/ 295893 h 331954"/>
                  <a:gd name="connsiteX316" fmla="*/ 73004 w 393848"/>
                  <a:gd name="connsiteY316" fmla="*/ 295893 h 331954"/>
                  <a:gd name="connsiteX317" fmla="*/ 70094 w 393848"/>
                  <a:gd name="connsiteY317" fmla="*/ 296158 h 331954"/>
                  <a:gd name="connsiteX318" fmla="*/ 68330 w 393848"/>
                  <a:gd name="connsiteY318" fmla="*/ 296158 h 331954"/>
                  <a:gd name="connsiteX319" fmla="*/ 66303 w 393848"/>
                  <a:gd name="connsiteY319" fmla="*/ 298186 h 331954"/>
                  <a:gd name="connsiteX320" fmla="*/ 64804 w 393848"/>
                  <a:gd name="connsiteY320" fmla="*/ 298450 h 331954"/>
                  <a:gd name="connsiteX321" fmla="*/ 62423 w 393848"/>
                  <a:gd name="connsiteY321" fmla="*/ 300742 h 331954"/>
                  <a:gd name="connsiteX322" fmla="*/ 62776 w 393848"/>
                  <a:gd name="connsiteY322" fmla="*/ 301624 h 331954"/>
                  <a:gd name="connsiteX323" fmla="*/ 60131 w 393848"/>
                  <a:gd name="connsiteY323" fmla="*/ 302241 h 331954"/>
                  <a:gd name="connsiteX324" fmla="*/ 56957 w 393848"/>
                  <a:gd name="connsiteY324" fmla="*/ 302506 h 331954"/>
                  <a:gd name="connsiteX325" fmla="*/ 55811 w 393848"/>
                  <a:gd name="connsiteY325" fmla="*/ 304005 h 331954"/>
                  <a:gd name="connsiteX326" fmla="*/ 54312 w 393848"/>
                  <a:gd name="connsiteY326" fmla="*/ 304269 h 331954"/>
                  <a:gd name="connsiteX327" fmla="*/ 52284 w 393848"/>
                  <a:gd name="connsiteY327" fmla="*/ 303123 h 331954"/>
                  <a:gd name="connsiteX328" fmla="*/ 51667 w 393848"/>
                  <a:gd name="connsiteY328" fmla="*/ 304269 h 331954"/>
                  <a:gd name="connsiteX329" fmla="*/ 49022 w 393848"/>
                  <a:gd name="connsiteY329" fmla="*/ 305151 h 331954"/>
                  <a:gd name="connsiteX330" fmla="*/ 47259 w 393848"/>
                  <a:gd name="connsiteY330" fmla="*/ 303740 h 331954"/>
                  <a:gd name="connsiteX331" fmla="*/ 46112 w 393848"/>
                  <a:gd name="connsiteY331" fmla="*/ 305151 h 331954"/>
                  <a:gd name="connsiteX332" fmla="*/ 43732 w 393848"/>
                  <a:gd name="connsiteY332" fmla="*/ 306562 h 331954"/>
                  <a:gd name="connsiteX333" fmla="*/ 39941 w 393848"/>
                  <a:gd name="connsiteY333" fmla="*/ 306562 h 331954"/>
                  <a:gd name="connsiteX334" fmla="*/ 39676 w 393848"/>
                  <a:gd name="connsiteY334" fmla="*/ 304534 h 331954"/>
                  <a:gd name="connsiteX335" fmla="*/ 617 w 393848"/>
                  <a:gd name="connsiteY335" fmla="*/ 317935 h 331954"/>
                  <a:gd name="connsiteX336" fmla="*/ 0 w 393848"/>
                  <a:gd name="connsiteY336" fmla="*/ 316789 h 331954"/>
                  <a:gd name="connsiteX337" fmla="*/ 3174 w 393848"/>
                  <a:gd name="connsiteY337" fmla="*/ 315378 h 331954"/>
                  <a:gd name="connsiteX338" fmla="*/ 5202 w 393848"/>
                  <a:gd name="connsiteY338" fmla="*/ 313351 h 331954"/>
                  <a:gd name="connsiteX339" fmla="*/ 7495 w 393848"/>
                  <a:gd name="connsiteY339" fmla="*/ 314232 h 331954"/>
                  <a:gd name="connsiteX340" fmla="*/ 8376 w 393848"/>
                  <a:gd name="connsiteY340" fmla="*/ 312469 h 331954"/>
                  <a:gd name="connsiteX341" fmla="*/ 9522 w 393848"/>
                  <a:gd name="connsiteY341" fmla="*/ 310441 h 331954"/>
                  <a:gd name="connsiteX342" fmla="*/ 13049 w 393848"/>
                  <a:gd name="connsiteY342" fmla="*/ 309824 h 331954"/>
                  <a:gd name="connsiteX343" fmla="*/ 13931 w 393848"/>
                  <a:gd name="connsiteY343" fmla="*/ 308060 h 331954"/>
                  <a:gd name="connsiteX344" fmla="*/ 15429 w 393848"/>
                  <a:gd name="connsiteY344" fmla="*/ 304886 h 331954"/>
                  <a:gd name="connsiteX345" fmla="*/ 18339 w 393848"/>
                  <a:gd name="connsiteY345" fmla="*/ 304005 h 331954"/>
                  <a:gd name="connsiteX346" fmla="*/ 19838 w 393848"/>
                  <a:gd name="connsiteY346" fmla="*/ 304886 h 331954"/>
                  <a:gd name="connsiteX347" fmla="*/ 19221 w 393848"/>
                  <a:gd name="connsiteY347" fmla="*/ 308060 h 331954"/>
                  <a:gd name="connsiteX348" fmla="*/ 18604 w 393848"/>
                  <a:gd name="connsiteY348" fmla="*/ 310441 h 331954"/>
                  <a:gd name="connsiteX349" fmla="*/ 17193 w 393848"/>
                  <a:gd name="connsiteY349" fmla="*/ 312469 h 331954"/>
                  <a:gd name="connsiteX350" fmla="*/ 18604 w 393848"/>
                  <a:gd name="connsiteY350" fmla="*/ 312733 h 331954"/>
                  <a:gd name="connsiteX351" fmla="*/ 18604 w 393848"/>
                  <a:gd name="connsiteY351" fmla="*/ 313880 h 331954"/>
                  <a:gd name="connsiteX352" fmla="*/ 16311 w 393848"/>
                  <a:gd name="connsiteY352" fmla="*/ 313615 h 331954"/>
                  <a:gd name="connsiteX353" fmla="*/ 14548 w 393848"/>
                  <a:gd name="connsiteY353" fmla="*/ 315114 h 331954"/>
                  <a:gd name="connsiteX354" fmla="*/ 11638 w 393848"/>
                  <a:gd name="connsiteY354" fmla="*/ 314761 h 331954"/>
                  <a:gd name="connsiteX355" fmla="*/ 11903 w 393848"/>
                  <a:gd name="connsiteY355" fmla="*/ 316525 h 331954"/>
                  <a:gd name="connsiteX356" fmla="*/ 9522 w 393848"/>
                  <a:gd name="connsiteY356" fmla="*/ 316789 h 331954"/>
                  <a:gd name="connsiteX357" fmla="*/ 7230 w 393848"/>
                  <a:gd name="connsiteY357" fmla="*/ 317671 h 331954"/>
                  <a:gd name="connsiteX358" fmla="*/ 4320 w 393848"/>
                  <a:gd name="connsiteY358" fmla="*/ 319434 h 331954"/>
                  <a:gd name="connsiteX359" fmla="*/ 2821 w 393848"/>
                  <a:gd name="connsiteY359" fmla="*/ 319434 h 331954"/>
                  <a:gd name="connsiteX360" fmla="*/ 1411 w 393848"/>
                  <a:gd name="connsiteY360" fmla="*/ 319170 h 331954"/>
                  <a:gd name="connsiteX361" fmla="*/ 529 w 393848"/>
                  <a:gd name="connsiteY361" fmla="*/ 318905 h 331954"/>
                  <a:gd name="connsiteX362" fmla="*/ 529 w 393848"/>
                  <a:gd name="connsiteY362" fmla="*/ 317935 h 331954"/>
                  <a:gd name="connsiteX363" fmla="*/ 318817 w 393848"/>
                  <a:gd name="connsiteY363" fmla="*/ 617 h 331954"/>
                  <a:gd name="connsiteX364" fmla="*/ 318552 w 393848"/>
                  <a:gd name="connsiteY364" fmla="*/ 617 h 331954"/>
                  <a:gd name="connsiteX365" fmla="*/ 319434 w 393848"/>
                  <a:gd name="connsiteY365" fmla="*/ 0 h 331954"/>
                  <a:gd name="connsiteX366" fmla="*/ 318817 w 393848"/>
                  <a:gd name="connsiteY366" fmla="*/ 617 h 331954"/>
                  <a:gd name="connsiteX367" fmla="*/ 349764 w 393848"/>
                  <a:gd name="connsiteY367" fmla="*/ 51402 h 331954"/>
                  <a:gd name="connsiteX368" fmla="*/ 348882 w 393848"/>
                  <a:gd name="connsiteY368" fmla="*/ 51402 h 331954"/>
                  <a:gd name="connsiteX369" fmla="*/ 350029 w 393848"/>
                  <a:gd name="connsiteY369" fmla="*/ 50168 h 331954"/>
                  <a:gd name="connsiteX370" fmla="*/ 351792 w 393848"/>
                  <a:gd name="connsiteY370" fmla="*/ 53078 h 331954"/>
                  <a:gd name="connsiteX371" fmla="*/ 351263 w 393848"/>
                  <a:gd name="connsiteY371" fmla="*/ 52813 h 331954"/>
                  <a:gd name="connsiteX372" fmla="*/ 350381 w 393848"/>
                  <a:gd name="connsiteY372" fmla="*/ 51050 h 331954"/>
                  <a:gd name="connsiteX373" fmla="*/ 349764 w 393848"/>
                  <a:gd name="connsiteY373" fmla="*/ 51402 h 331954"/>
                  <a:gd name="connsiteX374" fmla="*/ 354702 w 393848"/>
                  <a:gd name="connsiteY374" fmla="*/ 52813 h 331954"/>
                  <a:gd name="connsiteX375" fmla="*/ 353820 w 393848"/>
                  <a:gd name="connsiteY375" fmla="*/ 53078 h 331954"/>
                  <a:gd name="connsiteX376" fmla="*/ 353203 w 393848"/>
                  <a:gd name="connsiteY376" fmla="*/ 53695 h 331954"/>
                  <a:gd name="connsiteX377" fmla="*/ 353203 w 393848"/>
                  <a:gd name="connsiteY377" fmla="*/ 51931 h 331954"/>
                  <a:gd name="connsiteX378" fmla="*/ 352056 w 393848"/>
                  <a:gd name="connsiteY378" fmla="*/ 50521 h 331954"/>
                  <a:gd name="connsiteX379" fmla="*/ 352938 w 393848"/>
                  <a:gd name="connsiteY379" fmla="*/ 49903 h 331954"/>
                  <a:gd name="connsiteX380" fmla="*/ 354085 w 393848"/>
                  <a:gd name="connsiteY380" fmla="*/ 49639 h 331954"/>
                  <a:gd name="connsiteX381" fmla="*/ 354702 w 393848"/>
                  <a:gd name="connsiteY381" fmla="*/ 51138 h 331954"/>
                  <a:gd name="connsiteX382" fmla="*/ 354085 w 393848"/>
                  <a:gd name="connsiteY382" fmla="*/ 51138 h 331954"/>
                  <a:gd name="connsiteX383" fmla="*/ 354349 w 393848"/>
                  <a:gd name="connsiteY383" fmla="*/ 52020 h 331954"/>
                  <a:gd name="connsiteX384" fmla="*/ 354702 w 393848"/>
                  <a:gd name="connsiteY384" fmla="*/ 52813 h 331954"/>
                  <a:gd name="connsiteX385" fmla="*/ 338655 w 393848"/>
                  <a:gd name="connsiteY385" fmla="*/ 57486 h 331954"/>
                  <a:gd name="connsiteX386" fmla="*/ 339272 w 393848"/>
                  <a:gd name="connsiteY386" fmla="*/ 55987 h 331954"/>
                  <a:gd name="connsiteX387" fmla="*/ 340154 w 393848"/>
                  <a:gd name="connsiteY387" fmla="*/ 55987 h 331954"/>
                  <a:gd name="connsiteX388" fmla="*/ 339801 w 393848"/>
                  <a:gd name="connsiteY388" fmla="*/ 56869 h 331954"/>
                  <a:gd name="connsiteX389" fmla="*/ 338655 w 393848"/>
                  <a:gd name="connsiteY389" fmla="*/ 57486 h 331954"/>
                  <a:gd name="connsiteX390" fmla="*/ 341564 w 393848"/>
                  <a:gd name="connsiteY390" fmla="*/ 65950 h 331954"/>
                  <a:gd name="connsiteX391" fmla="*/ 341829 w 393848"/>
                  <a:gd name="connsiteY391" fmla="*/ 63570 h 331954"/>
                  <a:gd name="connsiteX392" fmla="*/ 343592 w 393848"/>
                  <a:gd name="connsiteY392" fmla="*/ 62159 h 331954"/>
                  <a:gd name="connsiteX393" fmla="*/ 343592 w 393848"/>
                  <a:gd name="connsiteY393" fmla="*/ 63570 h 331954"/>
                  <a:gd name="connsiteX394" fmla="*/ 341829 w 393848"/>
                  <a:gd name="connsiteY394" fmla="*/ 64716 h 331954"/>
                  <a:gd name="connsiteX395" fmla="*/ 341564 w 393848"/>
                  <a:gd name="connsiteY395" fmla="*/ 65950 h 331954"/>
                  <a:gd name="connsiteX396" fmla="*/ 362284 w 393848"/>
                  <a:gd name="connsiteY396" fmla="*/ 91607 h 331954"/>
                  <a:gd name="connsiteX397" fmla="*/ 361667 w 393848"/>
                  <a:gd name="connsiteY397" fmla="*/ 91872 h 331954"/>
                  <a:gd name="connsiteX398" fmla="*/ 362284 w 393848"/>
                  <a:gd name="connsiteY398" fmla="*/ 91607 h 331954"/>
                  <a:gd name="connsiteX399" fmla="*/ 261067 w 393848"/>
                  <a:gd name="connsiteY399" fmla="*/ 188504 h 331954"/>
                  <a:gd name="connsiteX400" fmla="*/ 259656 w 393848"/>
                  <a:gd name="connsiteY400" fmla="*/ 187358 h 331954"/>
                  <a:gd name="connsiteX401" fmla="*/ 259127 w 393848"/>
                  <a:gd name="connsiteY401" fmla="*/ 185066 h 331954"/>
                  <a:gd name="connsiteX402" fmla="*/ 261772 w 393848"/>
                  <a:gd name="connsiteY402" fmla="*/ 182773 h 331954"/>
                  <a:gd name="connsiteX403" fmla="*/ 262654 w 393848"/>
                  <a:gd name="connsiteY403" fmla="*/ 181010 h 331954"/>
                  <a:gd name="connsiteX404" fmla="*/ 263006 w 393848"/>
                  <a:gd name="connsiteY404" fmla="*/ 179864 h 331954"/>
                  <a:gd name="connsiteX405" fmla="*/ 260626 w 393848"/>
                  <a:gd name="connsiteY405" fmla="*/ 180128 h 331954"/>
                  <a:gd name="connsiteX406" fmla="*/ 258246 w 393848"/>
                  <a:gd name="connsiteY406" fmla="*/ 181274 h 331954"/>
                  <a:gd name="connsiteX407" fmla="*/ 255336 w 393848"/>
                  <a:gd name="connsiteY407" fmla="*/ 182156 h 331954"/>
                  <a:gd name="connsiteX408" fmla="*/ 257628 w 393848"/>
                  <a:gd name="connsiteY408" fmla="*/ 177747 h 331954"/>
                  <a:gd name="connsiteX409" fmla="*/ 259392 w 393848"/>
                  <a:gd name="connsiteY409" fmla="*/ 176249 h 331954"/>
                  <a:gd name="connsiteX410" fmla="*/ 260537 w 393848"/>
                  <a:gd name="connsiteY410" fmla="*/ 174750 h 331954"/>
                  <a:gd name="connsiteX411" fmla="*/ 258157 w 393848"/>
                  <a:gd name="connsiteY411" fmla="*/ 175014 h 331954"/>
                  <a:gd name="connsiteX412" fmla="*/ 257540 w 393848"/>
                  <a:gd name="connsiteY412" fmla="*/ 176161 h 331954"/>
                  <a:gd name="connsiteX413" fmla="*/ 255512 w 393848"/>
                  <a:gd name="connsiteY413" fmla="*/ 178188 h 331954"/>
                  <a:gd name="connsiteX414" fmla="*/ 253484 w 393848"/>
                  <a:gd name="connsiteY414" fmla="*/ 180216 h 331954"/>
                  <a:gd name="connsiteX415" fmla="*/ 253749 w 393848"/>
                  <a:gd name="connsiteY415" fmla="*/ 176954 h 331954"/>
                  <a:gd name="connsiteX416" fmla="*/ 254366 w 393848"/>
                  <a:gd name="connsiteY416" fmla="*/ 175191 h 331954"/>
                  <a:gd name="connsiteX417" fmla="*/ 255248 w 393848"/>
                  <a:gd name="connsiteY417" fmla="*/ 174662 h 331954"/>
                  <a:gd name="connsiteX418" fmla="*/ 257540 w 393848"/>
                  <a:gd name="connsiteY418" fmla="*/ 173780 h 331954"/>
                  <a:gd name="connsiteX419" fmla="*/ 261067 w 393848"/>
                  <a:gd name="connsiteY419" fmla="*/ 172634 h 331954"/>
                  <a:gd name="connsiteX420" fmla="*/ 263976 w 393848"/>
                  <a:gd name="connsiteY420" fmla="*/ 170606 h 331954"/>
                  <a:gd name="connsiteX421" fmla="*/ 263095 w 393848"/>
                  <a:gd name="connsiteY421" fmla="*/ 171223 h 331954"/>
                  <a:gd name="connsiteX422" fmla="*/ 264241 w 393848"/>
                  <a:gd name="connsiteY422" fmla="*/ 169460 h 331954"/>
                  <a:gd name="connsiteX423" fmla="*/ 266269 w 393848"/>
                  <a:gd name="connsiteY423" fmla="*/ 168314 h 331954"/>
                  <a:gd name="connsiteX424" fmla="*/ 268296 w 393848"/>
                  <a:gd name="connsiteY424" fmla="*/ 165668 h 331954"/>
                  <a:gd name="connsiteX425" fmla="*/ 269443 w 393848"/>
                  <a:gd name="connsiteY425" fmla="*/ 165668 h 331954"/>
                  <a:gd name="connsiteX426" fmla="*/ 271206 w 393848"/>
                  <a:gd name="connsiteY426" fmla="*/ 164522 h 331954"/>
                  <a:gd name="connsiteX427" fmla="*/ 273234 w 393848"/>
                  <a:gd name="connsiteY427" fmla="*/ 164170 h 331954"/>
                  <a:gd name="connsiteX428" fmla="*/ 273851 w 393848"/>
                  <a:gd name="connsiteY428" fmla="*/ 162406 h 331954"/>
                  <a:gd name="connsiteX429" fmla="*/ 277642 w 393848"/>
                  <a:gd name="connsiteY429" fmla="*/ 159144 h 331954"/>
                  <a:gd name="connsiteX430" fmla="*/ 280552 w 393848"/>
                  <a:gd name="connsiteY430" fmla="*/ 156234 h 331954"/>
                  <a:gd name="connsiteX431" fmla="*/ 281698 w 393848"/>
                  <a:gd name="connsiteY431" fmla="*/ 153589 h 331954"/>
                  <a:gd name="connsiteX432" fmla="*/ 281081 w 393848"/>
                  <a:gd name="connsiteY432" fmla="*/ 150944 h 331954"/>
                  <a:gd name="connsiteX433" fmla="*/ 280817 w 393848"/>
                  <a:gd name="connsiteY433" fmla="*/ 151209 h 331954"/>
                  <a:gd name="connsiteX434" fmla="*/ 283109 w 393848"/>
                  <a:gd name="connsiteY434" fmla="*/ 149446 h 331954"/>
                  <a:gd name="connsiteX435" fmla="*/ 286018 w 393848"/>
                  <a:gd name="connsiteY435" fmla="*/ 148299 h 331954"/>
                  <a:gd name="connsiteX436" fmla="*/ 281346 w 393848"/>
                  <a:gd name="connsiteY436" fmla="*/ 147153 h 331954"/>
                  <a:gd name="connsiteX437" fmla="*/ 280728 w 393848"/>
                  <a:gd name="connsiteY437" fmla="*/ 145654 h 331954"/>
                  <a:gd name="connsiteX438" fmla="*/ 278965 w 393848"/>
                  <a:gd name="connsiteY438" fmla="*/ 144155 h 331954"/>
                  <a:gd name="connsiteX439" fmla="*/ 277466 w 393848"/>
                  <a:gd name="connsiteY439" fmla="*/ 142128 h 331954"/>
                  <a:gd name="connsiteX440" fmla="*/ 275967 w 393848"/>
                  <a:gd name="connsiteY440" fmla="*/ 141246 h 331954"/>
                  <a:gd name="connsiteX441" fmla="*/ 273939 w 393848"/>
                  <a:gd name="connsiteY441" fmla="*/ 142392 h 331954"/>
                  <a:gd name="connsiteX442" fmla="*/ 272793 w 393848"/>
                  <a:gd name="connsiteY442" fmla="*/ 141510 h 331954"/>
                  <a:gd name="connsiteX443" fmla="*/ 273939 w 393848"/>
                  <a:gd name="connsiteY443" fmla="*/ 139747 h 331954"/>
                  <a:gd name="connsiteX444" fmla="*/ 272441 w 393848"/>
                  <a:gd name="connsiteY444" fmla="*/ 138865 h 331954"/>
                  <a:gd name="connsiteX445" fmla="*/ 273322 w 393848"/>
                  <a:gd name="connsiteY445" fmla="*/ 136573 h 331954"/>
                  <a:gd name="connsiteX446" fmla="*/ 271559 w 393848"/>
                  <a:gd name="connsiteY446" fmla="*/ 136573 h 331954"/>
                  <a:gd name="connsiteX447" fmla="*/ 268914 w 393848"/>
                  <a:gd name="connsiteY447" fmla="*/ 136573 h 331954"/>
                  <a:gd name="connsiteX448" fmla="*/ 268649 w 393848"/>
                  <a:gd name="connsiteY448" fmla="*/ 134810 h 331954"/>
                  <a:gd name="connsiteX449" fmla="*/ 268385 w 393848"/>
                  <a:gd name="connsiteY449" fmla="*/ 133399 h 331954"/>
                  <a:gd name="connsiteX450" fmla="*/ 267503 w 393848"/>
                  <a:gd name="connsiteY450" fmla="*/ 130137 h 331954"/>
                  <a:gd name="connsiteX451" fmla="*/ 268120 w 393848"/>
                  <a:gd name="connsiteY451" fmla="*/ 126610 h 331954"/>
                  <a:gd name="connsiteX452" fmla="*/ 269884 w 393848"/>
                  <a:gd name="connsiteY452" fmla="*/ 125993 h 331954"/>
                  <a:gd name="connsiteX453" fmla="*/ 272176 w 393848"/>
                  <a:gd name="connsiteY453" fmla="*/ 124494 h 331954"/>
                  <a:gd name="connsiteX454" fmla="*/ 274204 w 393848"/>
                  <a:gd name="connsiteY454" fmla="*/ 124229 h 331954"/>
                  <a:gd name="connsiteX455" fmla="*/ 274821 w 393848"/>
                  <a:gd name="connsiteY455" fmla="*/ 122202 h 331954"/>
                  <a:gd name="connsiteX456" fmla="*/ 276849 w 393848"/>
                  <a:gd name="connsiteY456" fmla="*/ 122819 h 331954"/>
                  <a:gd name="connsiteX457" fmla="*/ 280640 w 393848"/>
                  <a:gd name="connsiteY457" fmla="*/ 120174 h 331954"/>
                  <a:gd name="connsiteX458" fmla="*/ 283550 w 393848"/>
                  <a:gd name="connsiteY458" fmla="*/ 120174 h 331954"/>
                  <a:gd name="connsiteX459" fmla="*/ 286195 w 393848"/>
                  <a:gd name="connsiteY459" fmla="*/ 120438 h 331954"/>
                  <a:gd name="connsiteX460" fmla="*/ 286459 w 393848"/>
                  <a:gd name="connsiteY460" fmla="*/ 119027 h 331954"/>
                  <a:gd name="connsiteX461" fmla="*/ 288222 w 393848"/>
                  <a:gd name="connsiteY461" fmla="*/ 118763 h 331954"/>
                  <a:gd name="connsiteX462" fmla="*/ 290251 w 393848"/>
                  <a:gd name="connsiteY462" fmla="*/ 118763 h 331954"/>
                  <a:gd name="connsiteX463" fmla="*/ 292278 w 393848"/>
                  <a:gd name="connsiteY463" fmla="*/ 116382 h 331954"/>
                  <a:gd name="connsiteX464" fmla="*/ 296687 w 393848"/>
                  <a:gd name="connsiteY464" fmla="*/ 115236 h 331954"/>
                  <a:gd name="connsiteX465" fmla="*/ 294394 w 393848"/>
                  <a:gd name="connsiteY465" fmla="*/ 112591 h 331954"/>
                  <a:gd name="connsiteX466" fmla="*/ 296158 w 393848"/>
                  <a:gd name="connsiteY466" fmla="*/ 110299 h 331954"/>
                  <a:gd name="connsiteX467" fmla="*/ 296158 w 393848"/>
                  <a:gd name="connsiteY467" fmla="*/ 108536 h 331954"/>
                  <a:gd name="connsiteX468" fmla="*/ 298450 w 393848"/>
                  <a:gd name="connsiteY468" fmla="*/ 107389 h 331954"/>
                  <a:gd name="connsiteX469" fmla="*/ 299332 w 393848"/>
                  <a:gd name="connsiteY469" fmla="*/ 107389 h 331954"/>
                  <a:gd name="connsiteX470" fmla="*/ 301095 w 393848"/>
                  <a:gd name="connsiteY470" fmla="*/ 105097 h 331954"/>
                  <a:gd name="connsiteX471" fmla="*/ 304005 w 393848"/>
                  <a:gd name="connsiteY471" fmla="*/ 101835 h 331954"/>
                  <a:gd name="connsiteX472" fmla="*/ 307267 w 393848"/>
                  <a:gd name="connsiteY472" fmla="*/ 100953 h 331954"/>
                  <a:gd name="connsiteX473" fmla="*/ 308413 w 393848"/>
                  <a:gd name="connsiteY473" fmla="*/ 98308 h 331954"/>
                  <a:gd name="connsiteX474" fmla="*/ 309912 w 393848"/>
                  <a:gd name="connsiteY474" fmla="*/ 94781 h 331954"/>
                  <a:gd name="connsiteX475" fmla="*/ 311676 w 393848"/>
                  <a:gd name="connsiteY475" fmla="*/ 93635 h 331954"/>
                  <a:gd name="connsiteX476" fmla="*/ 313438 w 393848"/>
                  <a:gd name="connsiteY476" fmla="*/ 91607 h 331954"/>
                  <a:gd name="connsiteX477" fmla="*/ 314585 w 393848"/>
                  <a:gd name="connsiteY477" fmla="*/ 88698 h 331954"/>
                  <a:gd name="connsiteX478" fmla="*/ 316613 w 393848"/>
                  <a:gd name="connsiteY478" fmla="*/ 88962 h 331954"/>
                  <a:gd name="connsiteX479" fmla="*/ 316348 w 393848"/>
                  <a:gd name="connsiteY479" fmla="*/ 86052 h 331954"/>
                  <a:gd name="connsiteX480" fmla="*/ 315996 w 393848"/>
                  <a:gd name="connsiteY480" fmla="*/ 85171 h 331954"/>
                  <a:gd name="connsiteX481" fmla="*/ 317142 w 393848"/>
                  <a:gd name="connsiteY481" fmla="*/ 84554 h 331954"/>
                  <a:gd name="connsiteX482" fmla="*/ 318288 w 393848"/>
                  <a:gd name="connsiteY482" fmla="*/ 81909 h 331954"/>
                  <a:gd name="connsiteX483" fmla="*/ 319434 w 393848"/>
                  <a:gd name="connsiteY483" fmla="*/ 78999 h 331954"/>
                  <a:gd name="connsiteX484" fmla="*/ 319170 w 393848"/>
                  <a:gd name="connsiteY484" fmla="*/ 76707 h 331954"/>
                  <a:gd name="connsiteX485" fmla="*/ 319434 w 393848"/>
                  <a:gd name="connsiteY485" fmla="*/ 76707 h 331954"/>
                  <a:gd name="connsiteX486" fmla="*/ 318288 w 393848"/>
                  <a:gd name="connsiteY486" fmla="*/ 73533 h 331954"/>
                  <a:gd name="connsiteX487" fmla="*/ 320316 w 393848"/>
                  <a:gd name="connsiteY487" fmla="*/ 71769 h 331954"/>
                  <a:gd name="connsiteX488" fmla="*/ 320581 w 393848"/>
                  <a:gd name="connsiteY488" fmla="*/ 68860 h 331954"/>
                  <a:gd name="connsiteX489" fmla="*/ 322344 w 393848"/>
                  <a:gd name="connsiteY489" fmla="*/ 69477 h 331954"/>
                  <a:gd name="connsiteX490" fmla="*/ 322344 w 393848"/>
                  <a:gd name="connsiteY490" fmla="*/ 66567 h 331954"/>
                  <a:gd name="connsiteX491" fmla="*/ 322697 w 393848"/>
                  <a:gd name="connsiteY491" fmla="*/ 65068 h 331954"/>
                  <a:gd name="connsiteX492" fmla="*/ 322344 w 393848"/>
                  <a:gd name="connsiteY492" fmla="*/ 63658 h 331954"/>
                  <a:gd name="connsiteX493" fmla="*/ 322344 w 393848"/>
                  <a:gd name="connsiteY493" fmla="*/ 60395 h 331954"/>
                  <a:gd name="connsiteX494" fmla="*/ 322961 w 393848"/>
                  <a:gd name="connsiteY494" fmla="*/ 59514 h 331954"/>
                  <a:gd name="connsiteX495" fmla="*/ 322344 w 393848"/>
                  <a:gd name="connsiteY495" fmla="*/ 58015 h 331954"/>
                  <a:gd name="connsiteX496" fmla="*/ 323226 w 393848"/>
                  <a:gd name="connsiteY496" fmla="*/ 55370 h 331954"/>
                  <a:gd name="connsiteX497" fmla="*/ 323226 w 393848"/>
                  <a:gd name="connsiteY497" fmla="*/ 54841 h 331954"/>
                  <a:gd name="connsiteX498" fmla="*/ 322344 w 393848"/>
                  <a:gd name="connsiteY498" fmla="*/ 54576 h 331954"/>
                  <a:gd name="connsiteX499" fmla="*/ 320845 w 393848"/>
                  <a:gd name="connsiteY499" fmla="*/ 54312 h 331954"/>
                  <a:gd name="connsiteX500" fmla="*/ 321197 w 393848"/>
                  <a:gd name="connsiteY500" fmla="*/ 52813 h 331954"/>
                  <a:gd name="connsiteX501" fmla="*/ 320316 w 393848"/>
                  <a:gd name="connsiteY501" fmla="*/ 51314 h 331954"/>
                  <a:gd name="connsiteX502" fmla="*/ 321197 w 393848"/>
                  <a:gd name="connsiteY502" fmla="*/ 48669 h 331954"/>
                  <a:gd name="connsiteX503" fmla="*/ 321462 w 393848"/>
                  <a:gd name="connsiteY503" fmla="*/ 46906 h 331954"/>
                  <a:gd name="connsiteX504" fmla="*/ 321462 w 393848"/>
                  <a:gd name="connsiteY504" fmla="*/ 45142 h 331954"/>
                  <a:gd name="connsiteX505" fmla="*/ 322344 w 393848"/>
                  <a:gd name="connsiteY505" fmla="*/ 41615 h 331954"/>
                  <a:gd name="connsiteX506" fmla="*/ 320845 w 393848"/>
                  <a:gd name="connsiteY506" fmla="*/ 40999 h 331954"/>
                  <a:gd name="connsiteX507" fmla="*/ 319346 w 393848"/>
                  <a:gd name="connsiteY507" fmla="*/ 38971 h 331954"/>
                  <a:gd name="connsiteX508" fmla="*/ 320228 w 393848"/>
                  <a:gd name="connsiteY508" fmla="*/ 36678 h 331954"/>
                  <a:gd name="connsiteX509" fmla="*/ 319346 w 393848"/>
                  <a:gd name="connsiteY509" fmla="*/ 35532 h 331954"/>
                  <a:gd name="connsiteX510" fmla="*/ 318817 w 393848"/>
                  <a:gd name="connsiteY510" fmla="*/ 34033 h 331954"/>
                  <a:gd name="connsiteX511" fmla="*/ 319346 w 393848"/>
                  <a:gd name="connsiteY511" fmla="*/ 31124 h 331954"/>
                  <a:gd name="connsiteX512" fmla="*/ 317054 w 393848"/>
                  <a:gd name="connsiteY512" fmla="*/ 29360 h 331954"/>
                  <a:gd name="connsiteX513" fmla="*/ 318200 w 393848"/>
                  <a:gd name="connsiteY513" fmla="*/ 27597 h 331954"/>
                  <a:gd name="connsiteX514" fmla="*/ 318200 w 393848"/>
                  <a:gd name="connsiteY514" fmla="*/ 26451 h 331954"/>
                  <a:gd name="connsiteX515" fmla="*/ 318464 w 393848"/>
                  <a:gd name="connsiteY515" fmla="*/ 24158 h 331954"/>
                  <a:gd name="connsiteX516" fmla="*/ 317935 w 393848"/>
                  <a:gd name="connsiteY516" fmla="*/ 23277 h 331954"/>
                  <a:gd name="connsiteX517" fmla="*/ 321110 w 393848"/>
                  <a:gd name="connsiteY517" fmla="*/ 21513 h 331954"/>
                  <a:gd name="connsiteX518" fmla="*/ 321726 w 393848"/>
                  <a:gd name="connsiteY518" fmla="*/ 19221 h 331954"/>
                  <a:gd name="connsiteX519" fmla="*/ 321374 w 393848"/>
                  <a:gd name="connsiteY519" fmla="*/ 17193 h 331954"/>
                  <a:gd name="connsiteX520" fmla="*/ 320757 w 393848"/>
                  <a:gd name="connsiteY520" fmla="*/ 14900 h 331954"/>
                  <a:gd name="connsiteX521" fmla="*/ 319875 w 393848"/>
                  <a:gd name="connsiteY521" fmla="*/ 12256 h 331954"/>
                  <a:gd name="connsiteX522" fmla="*/ 320492 w 393848"/>
                  <a:gd name="connsiteY522" fmla="*/ 10845 h 331954"/>
                  <a:gd name="connsiteX523" fmla="*/ 320228 w 393848"/>
                  <a:gd name="connsiteY523" fmla="*/ 8817 h 331954"/>
                  <a:gd name="connsiteX524" fmla="*/ 320845 w 393848"/>
                  <a:gd name="connsiteY524" fmla="*/ 7054 h 331954"/>
                  <a:gd name="connsiteX525" fmla="*/ 320581 w 393848"/>
                  <a:gd name="connsiteY525" fmla="*/ 5026 h 331954"/>
                  <a:gd name="connsiteX526" fmla="*/ 321462 w 393848"/>
                  <a:gd name="connsiteY526" fmla="*/ 2998 h 331954"/>
                  <a:gd name="connsiteX527" fmla="*/ 323226 w 393848"/>
                  <a:gd name="connsiteY527" fmla="*/ 2998 h 331954"/>
                  <a:gd name="connsiteX528" fmla="*/ 324989 w 393848"/>
                  <a:gd name="connsiteY528" fmla="*/ 2381 h 331954"/>
                  <a:gd name="connsiteX529" fmla="*/ 327017 w 393848"/>
                  <a:gd name="connsiteY529" fmla="*/ 2381 h 331954"/>
                  <a:gd name="connsiteX530" fmla="*/ 327634 w 393848"/>
                  <a:gd name="connsiteY530" fmla="*/ 4761 h 331954"/>
                  <a:gd name="connsiteX531" fmla="*/ 328251 w 393848"/>
                  <a:gd name="connsiteY531" fmla="*/ 5907 h 331954"/>
                  <a:gd name="connsiteX532" fmla="*/ 327105 w 393848"/>
                  <a:gd name="connsiteY532" fmla="*/ 7054 h 331954"/>
                  <a:gd name="connsiteX533" fmla="*/ 325959 w 393848"/>
                  <a:gd name="connsiteY533" fmla="*/ 8200 h 331954"/>
                  <a:gd name="connsiteX534" fmla="*/ 324813 w 393848"/>
                  <a:gd name="connsiteY534" fmla="*/ 12873 h 331954"/>
                  <a:gd name="connsiteX535" fmla="*/ 326576 w 393848"/>
                  <a:gd name="connsiteY535" fmla="*/ 14900 h 331954"/>
                  <a:gd name="connsiteX536" fmla="*/ 326840 w 393848"/>
                  <a:gd name="connsiteY536" fmla="*/ 15782 h 331954"/>
                  <a:gd name="connsiteX537" fmla="*/ 328868 w 393848"/>
                  <a:gd name="connsiteY537" fmla="*/ 14284 h 331954"/>
                  <a:gd name="connsiteX538" fmla="*/ 331778 w 393848"/>
                  <a:gd name="connsiteY538" fmla="*/ 16311 h 331954"/>
                  <a:gd name="connsiteX539" fmla="*/ 331778 w 393848"/>
                  <a:gd name="connsiteY539" fmla="*/ 17810 h 331954"/>
                  <a:gd name="connsiteX540" fmla="*/ 332395 w 393848"/>
                  <a:gd name="connsiteY540" fmla="*/ 18956 h 331954"/>
                  <a:gd name="connsiteX541" fmla="*/ 333012 w 393848"/>
                  <a:gd name="connsiteY541" fmla="*/ 18692 h 331954"/>
                  <a:gd name="connsiteX542" fmla="*/ 334423 w 393848"/>
                  <a:gd name="connsiteY542" fmla="*/ 16664 h 331954"/>
                  <a:gd name="connsiteX543" fmla="*/ 334423 w 393848"/>
                  <a:gd name="connsiteY543" fmla="*/ 17810 h 331954"/>
                  <a:gd name="connsiteX544" fmla="*/ 333894 w 393848"/>
                  <a:gd name="connsiteY544" fmla="*/ 18956 h 331954"/>
                  <a:gd name="connsiteX545" fmla="*/ 333894 w 393848"/>
                  <a:gd name="connsiteY545" fmla="*/ 20103 h 331954"/>
                  <a:gd name="connsiteX546" fmla="*/ 336539 w 393848"/>
                  <a:gd name="connsiteY546" fmla="*/ 19573 h 331954"/>
                  <a:gd name="connsiteX547" fmla="*/ 337421 w 393848"/>
                  <a:gd name="connsiteY547" fmla="*/ 18956 h 331954"/>
                  <a:gd name="connsiteX548" fmla="*/ 338038 w 393848"/>
                  <a:gd name="connsiteY548" fmla="*/ 20455 h 331954"/>
                  <a:gd name="connsiteX549" fmla="*/ 338919 w 393848"/>
                  <a:gd name="connsiteY549" fmla="*/ 21954 h 331954"/>
                  <a:gd name="connsiteX550" fmla="*/ 340154 w 393848"/>
                  <a:gd name="connsiteY550" fmla="*/ 23365 h 331954"/>
                  <a:gd name="connsiteX551" fmla="*/ 341300 w 393848"/>
                  <a:gd name="connsiteY551" fmla="*/ 23629 h 331954"/>
                  <a:gd name="connsiteX552" fmla="*/ 343063 w 393848"/>
                  <a:gd name="connsiteY552" fmla="*/ 23894 h 331954"/>
                  <a:gd name="connsiteX553" fmla="*/ 344827 w 393848"/>
                  <a:gd name="connsiteY553" fmla="*/ 24423 h 331954"/>
                  <a:gd name="connsiteX554" fmla="*/ 344297 w 393848"/>
                  <a:gd name="connsiteY554" fmla="*/ 27068 h 331954"/>
                  <a:gd name="connsiteX555" fmla="*/ 344827 w 393848"/>
                  <a:gd name="connsiteY555" fmla="*/ 28478 h 331954"/>
                  <a:gd name="connsiteX556" fmla="*/ 344562 w 393848"/>
                  <a:gd name="connsiteY556" fmla="*/ 30506 h 331954"/>
                  <a:gd name="connsiteX557" fmla="*/ 344562 w 393848"/>
                  <a:gd name="connsiteY557" fmla="*/ 32534 h 331954"/>
                  <a:gd name="connsiteX558" fmla="*/ 343681 w 393848"/>
                  <a:gd name="connsiteY558" fmla="*/ 34827 h 331954"/>
                  <a:gd name="connsiteX559" fmla="*/ 343063 w 393848"/>
                  <a:gd name="connsiteY559" fmla="*/ 35708 h 331954"/>
                  <a:gd name="connsiteX560" fmla="*/ 342799 w 393848"/>
                  <a:gd name="connsiteY560" fmla="*/ 37736 h 331954"/>
                  <a:gd name="connsiteX561" fmla="*/ 343063 w 393848"/>
                  <a:gd name="connsiteY561" fmla="*/ 38618 h 331954"/>
                  <a:gd name="connsiteX562" fmla="*/ 341917 w 393848"/>
                  <a:gd name="connsiteY562" fmla="*/ 38353 h 331954"/>
                  <a:gd name="connsiteX563" fmla="*/ 339889 w 393848"/>
                  <a:gd name="connsiteY563" fmla="*/ 41263 h 331954"/>
                  <a:gd name="connsiteX564" fmla="*/ 341388 w 393848"/>
                  <a:gd name="connsiteY564" fmla="*/ 40646 h 331954"/>
                  <a:gd name="connsiteX565" fmla="*/ 337861 w 393848"/>
                  <a:gd name="connsiteY565" fmla="*/ 41528 h 331954"/>
                  <a:gd name="connsiteX566" fmla="*/ 339360 w 393848"/>
                  <a:gd name="connsiteY566" fmla="*/ 43026 h 331954"/>
                  <a:gd name="connsiteX567" fmla="*/ 337332 w 393848"/>
                  <a:gd name="connsiteY567" fmla="*/ 43291 h 331954"/>
                  <a:gd name="connsiteX568" fmla="*/ 336451 w 393848"/>
                  <a:gd name="connsiteY568" fmla="*/ 45583 h 331954"/>
                  <a:gd name="connsiteX569" fmla="*/ 337068 w 393848"/>
                  <a:gd name="connsiteY569" fmla="*/ 47611 h 331954"/>
                  <a:gd name="connsiteX570" fmla="*/ 337685 w 393848"/>
                  <a:gd name="connsiteY570" fmla="*/ 48757 h 331954"/>
                  <a:gd name="connsiteX571" fmla="*/ 339096 w 393848"/>
                  <a:gd name="connsiteY571" fmla="*/ 49639 h 331954"/>
                  <a:gd name="connsiteX572" fmla="*/ 339096 w 393848"/>
                  <a:gd name="connsiteY572" fmla="*/ 50873 h 331954"/>
                  <a:gd name="connsiteX573" fmla="*/ 338479 w 393848"/>
                  <a:gd name="connsiteY573" fmla="*/ 52637 h 331954"/>
                  <a:gd name="connsiteX574" fmla="*/ 337597 w 393848"/>
                  <a:gd name="connsiteY574" fmla="*/ 52637 h 331954"/>
                  <a:gd name="connsiteX575" fmla="*/ 336098 w 393848"/>
                  <a:gd name="connsiteY575" fmla="*/ 54136 h 331954"/>
                  <a:gd name="connsiteX576" fmla="*/ 335216 w 393848"/>
                  <a:gd name="connsiteY576" fmla="*/ 55282 h 331954"/>
                  <a:gd name="connsiteX577" fmla="*/ 334335 w 393848"/>
                  <a:gd name="connsiteY577" fmla="*/ 55899 h 331954"/>
                  <a:gd name="connsiteX578" fmla="*/ 334070 w 393848"/>
                  <a:gd name="connsiteY578" fmla="*/ 57662 h 331954"/>
                  <a:gd name="connsiteX579" fmla="*/ 332307 w 393848"/>
                  <a:gd name="connsiteY579" fmla="*/ 58279 h 331954"/>
                  <a:gd name="connsiteX580" fmla="*/ 332571 w 393848"/>
                  <a:gd name="connsiteY580" fmla="*/ 61453 h 331954"/>
                  <a:gd name="connsiteX581" fmla="*/ 331954 w 393848"/>
                  <a:gd name="connsiteY581" fmla="*/ 64628 h 331954"/>
                  <a:gd name="connsiteX582" fmla="*/ 333453 w 393848"/>
                  <a:gd name="connsiteY582" fmla="*/ 65509 h 331954"/>
                  <a:gd name="connsiteX583" fmla="*/ 335481 w 393848"/>
                  <a:gd name="connsiteY583" fmla="*/ 63481 h 331954"/>
                  <a:gd name="connsiteX584" fmla="*/ 337509 w 393848"/>
                  <a:gd name="connsiteY584" fmla="*/ 63129 h 331954"/>
                  <a:gd name="connsiteX585" fmla="*/ 336010 w 393848"/>
                  <a:gd name="connsiteY585" fmla="*/ 65509 h 331954"/>
                  <a:gd name="connsiteX586" fmla="*/ 336892 w 393848"/>
                  <a:gd name="connsiteY586" fmla="*/ 66920 h 331954"/>
                  <a:gd name="connsiteX587" fmla="*/ 337156 w 393848"/>
                  <a:gd name="connsiteY587" fmla="*/ 68330 h 331954"/>
                  <a:gd name="connsiteX588" fmla="*/ 336274 w 393848"/>
                  <a:gd name="connsiteY588" fmla="*/ 70976 h 331954"/>
                  <a:gd name="connsiteX589" fmla="*/ 337773 w 393848"/>
                  <a:gd name="connsiteY589" fmla="*/ 73004 h 331954"/>
                  <a:gd name="connsiteX590" fmla="*/ 337773 w 393848"/>
                  <a:gd name="connsiteY590" fmla="*/ 74502 h 331954"/>
                  <a:gd name="connsiteX591" fmla="*/ 338919 w 393848"/>
                  <a:gd name="connsiteY591" fmla="*/ 72210 h 331954"/>
                  <a:gd name="connsiteX592" fmla="*/ 339537 w 393848"/>
                  <a:gd name="connsiteY592" fmla="*/ 69036 h 331954"/>
                  <a:gd name="connsiteX593" fmla="*/ 342181 w 393848"/>
                  <a:gd name="connsiteY593" fmla="*/ 67537 h 331954"/>
                  <a:gd name="connsiteX594" fmla="*/ 343945 w 393848"/>
                  <a:gd name="connsiteY594" fmla="*/ 64363 h 331954"/>
                  <a:gd name="connsiteX595" fmla="*/ 345708 w 393848"/>
                  <a:gd name="connsiteY595" fmla="*/ 62071 h 331954"/>
                  <a:gd name="connsiteX596" fmla="*/ 344827 w 393848"/>
                  <a:gd name="connsiteY596" fmla="*/ 58897 h 331954"/>
                  <a:gd name="connsiteX597" fmla="*/ 345973 w 393848"/>
                  <a:gd name="connsiteY597" fmla="*/ 57133 h 331954"/>
                  <a:gd name="connsiteX598" fmla="*/ 347119 w 393848"/>
                  <a:gd name="connsiteY598" fmla="*/ 57133 h 331954"/>
                  <a:gd name="connsiteX599" fmla="*/ 349764 w 393848"/>
                  <a:gd name="connsiteY599" fmla="*/ 58544 h 331954"/>
                  <a:gd name="connsiteX600" fmla="*/ 348618 w 393848"/>
                  <a:gd name="connsiteY600" fmla="*/ 61453 h 331954"/>
                  <a:gd name="connsiteX601" fmla="*/ 349235 w 393848"/>
                  <a:gd name="connsiteY601" fmla="*/ 64363 h 331954"/>
                  <a:gd name="connsiteX602" fmla="*/ 348618 w 393848"/>
                  <a:gd name="connsiteY602" fmla="*/ 67273 h 331954"/>
                  <a:gd name="connsiteX603" fmla="*/ 348882 w 393848"/>
                  <a:gd name="connsiteY603" fmla="*/ 69036 h 331954"/>
                  <a:gd name="connsiteX604" fmla="*/ 348265 w 393848"/>
                  <a:gd name="connsiteY604" fmla="*/ 71328 h 331954"/>
                  <a:gd name="connsiteX605" fmla="*/ 346237 w 393848"/>
                  <a:gd name="connsiteY605" fmla="*/ 72474 h 331954"/>
                  <a:gd name="connsiteX606" fmla="*/ 346237 w 393848"/>
                  <a:gd name="connsiteY606" fmla="*/ 74502 h 331954"/>
                  <a:gd name="connsiteX607" fmla="*/ 344739 w 393848"/>
                  <a:gd name="connsiteY607" fmla="*/ 76530 h 331954"/>
                  <a:gd name="connsiteX608" fmla="*/ 343857 w 393848"/>
                  <a:gd name="connsiteY608" fmla="*/ 79175 h 331954"/>
                  <a:gd name="connsiteX609" fmla="*/ 342975 w 393848"/>
                  <a:gd name="connsiteY609" fmla="*/ 82085 h 331954"/>
                  <a:gd name="connsiteX610" fmla="*/ 342710 w 393848"/>
                  <a:gd name="connsiteY610" fmla="*/ 83584 h 331954"/>
                  <a:gd name="connsiteX611" fmla="*/ 344210 w 393848"/>
                  <a:gd name="connsiteY611" fmla="*/ 85612 h 331954"/>
                  <a:gd name="connsiteX612" fmla="*/ 346237 w 393848"/>
                  <a:gd name="connsiteY612" fmla="*/ 87375 h 331954"/>
                  <a:gd name="connsiteX613" fmla="*/ 347119 w 393848"/>
                  <a:gd name="connsiteY613" fmla="*/ 89403 h 331954"/>
                  <a:gd name="connsiteX614" fmla="*/ 346590 w 393848"/>
                  <a:gd name="connsiteY614" fmla="*/ 90020 h 331954"/>
                  <a:gd name="connsiteX615" fmla="*/ 349500 w 393848"/>
                  <a:gd name="connsiteY615" fmla="*/ 88521 h 331954"/>
                  <a:gd name="connsiteX616" fmla="*/ 352674 w 393848"/>
                  <a:gd name="connsiteY616" fmla="*/ 90902 h 331954"/>
                  <a:gd name="connsiteX617" fmla="*/ 354437 w 393848"/>
                  <a:gd name="connsiteY617" fmla="*/ 91519 h 331954"/>
                  <a:gd name="connsiteX618" fmla="*/ 357347 w 393848"/>
                  <a:gd name="connsiteY618" fmla="*/ 92665 h 331954"/>
                  <a:gd name="connsiteX619" fmla="*/ 357082 w 393848"/>
                  <a:gd name="connsiteY619" fmla="*/ 93547 h 331954"/>
                  <a:gd name="connsiteX620" fmla="*/ 357347 w 393848"/>
                  <a:gd name="connsiteY620" fmla="*/ 95310 h 331954"/>
                  <a:gd name="connsiteX621" fmla="*/ 359374 w 393848"/>
                  <a:gd name="connsiteY621" fmla="*/ 94429 h 331954"/>
                  <a:gd name="connsiteX622" fmla="*/ 360873 w 393848"/>
                  <a:gd name="connsiteY622" fmla="*/ 95310 h 331954"/>
                  <a:gd name="connsiteX623" fmla="*/ 363783 w 393848"/>
                  <a:gd name="connsiteY623" fmla="*/ 95575 h 331954"/>
                  <a:gd name="connsiteX624" fmla="*/ 366164 w 393848"/>
                  <a:gd name="connsiteY624" fmla="*/ 94958 h 331954"/>
                  <a:gd name="connsiteX625" fmla="*/ 368191 w 393848"/>
                  <a:gd name="connsiteY625" fmla="*/ 94693 h 331954"/>
                  <a:gd name="connsiteX626" fmla="*/ 369602 w 393848"/>
                  <a:gd name="connsiteY626" fmla="*/ 93547 h 331954"/>
                  <a:gd name="connsiteX627" fmla="*/ 370748 w 393848"/>
                  <a:gd name="connsiteY627" fmla="*/ 91254 h 331954"/>
                  <a:gd name="connsiteX628" fmla="*/ 373922 w 393848"/>
                  <a:gd name="connsiteY628" fmla="*/ 89756 h 331954"/>
                  <a:gd name="connsiteX629" fmla="*/ 377185 w 393848"/>
                  <a:gd name="connsiteY629" fmla="*/ 87463 h 331954"/>
                  <a:gd name="connsiteX630" fmla="*/ 380359 w 393848"/>
                  <a:gd name="connsiteY630" fmla="*/ 86581 h 331954"/>
                  <a:gd name="connsiteX631" fmla="*/ 383268 w 393848"/>
                  <a:gd name="connsiteY631" fmla="*/ 85964 h 331954"/>
                  <a:gd name="connsiteX632" fmla="*/ 385032 w 393848"/>
                  <a:gd name="connsiteY632" fmla="*/ 85083 h 331954"/>
                  <a:gd name="connsiteX633" fmla="*/ 387677 w 393848"/>
                  <a:gd name="connsiteY633" fmla="*/ 84201 h 331954"/>
                  <a:gd name="connsiteX634" fmla="*/ 389175 w 393848"/>
                  <a:gd name="connsiteY634" fmla="*/ 83584 h 331954"/>
                  <a:gd name="connsiteX635" fmla="*/ 390674 w 393848"/>
                  <a:gd name="connsiteY635" fmla="*/ 83584 h 331954"/>
                  <a:gd name="connsiteX636" fmla="*/ 393584 w 393848"/>
                  <a:gd name="connsiteY636" fmla="*/ 83231 h 331954"/>
                  <a:gd name="connsiteX637" fmla="*/ 393849 w 393848"/>
                  <a:gd name="connsiteY637" fmla="*/ 84377 h 331954"/>
                  <a:gd name="connsiteX638" fmla="*/ 392967 w 393848"/>
                  <a:gd name="connsiteY638" fmla="*/ 87022 h 331954"/>
                  <a:gd name="connsiteX639" fmla="*/ 392085 w 393848"/>
                  <a:gd name="connsiteY639" fmla="*/ 89050 h 331954"/>
                  <a:gd name="connsiteX640" fmla="*/ 393231 w 393848"/>
                  <a:gd name="connsiteY640" fmla="*/ 89932 h 331954"/>
                  <a:gd name="connsiteX641" fmla="*/ 392349 w 393848"/>
                  <a:gd name="connsiteY641" fmla="*/ 92224 h 331954"/>
                  <a:gd name="connsiteX642" fmla="*/ 390322 w 393848"/>
                  <a:gd name="connsiteY642" fmla="*/ 92489 h 331954"/>
                  <a:gd name="connsiteX643" fmla="*/ 390674 w 393848"/>
                  <a:gd name="connsiteY643" fmla="*/ 93635 h 331954"/>
                  <a:gd name="connsiteX644" fmla="*/ 389175 w 393848"/>
                  <a:gd name="connsiteY644" fmla="*/ 93900 h 331954"/>
                  <a:gd name="connsiteX645" fmla="*/ 387677 w 393848"/>
                  <a:gd name="connsiteY645" fmla="*/ 94164 h 331954"/>
                  <a:gd name="connsiteX646" fmla="*/ 387412 w 393848"/>
                  <a:gd name="connsiteY646" fmla="*/ 95046 h 331954"/>
                  <a:gd name="connsiteX647" fmla="*/ 388294 w 393848"/>
                  <a:gd name="connsiteY647" fmla="*/ 97073 h 331954"/>
                  <a:gd name="connsiteX648" fmla="*/ 387412 w 393848"/>
                  <a:gd name="connsiteY648" fmla="*/ 97691 h 331954"/>
                  <a:gd name="connsiteX649" fmla="*/ 384767 w 393848"/>
                  <a:gd name="connsiteY649" fmla="*/ 98837 h 331954"/>
                  <a:gd name="connsiteX650" fmla="*/ 384150 w 393848"/>
                  <a:gd name="connsiteY650" fmla="*/ 99719 h 331954"/>
                  <a:gd name="connsiteX651" fmla="*/ 383268 w 393848"/>
                  <a:gd name="connsiteY651" fmla="*/ 101217 h 331954"/>
                  <a:gd name="connsiteX652" fmla="*/ 380976 w 393848"/>
                  <a:gd name="connsiteY652" fmla="*/ 102716 h 331954"/>
                  <a:gd name="connsiteX653" fmla="*/ 380976 w 393848"/>
                  <a:gd name="connsiteY653" fmla="*/ 104127 h 331954"/>
                  <a:gd name="connsiteX654" fmla="*/ 380359 w 393848"/>
                  <a:gd name="connsiteY654" fmla="*/ 104744 h 331954"/>
                  <a:gd name="connsiteX655" fmla="*/ 377714 w 393848"/>
                  <a:gd name="connsiteY655" fmla="*/ 107301 h 331954"/>
                  <a:gd name="connsiteX656" fmla="*/ 377096 w 393848"/>
                  <a:gd name="connsiteY656" fmla="*/ 108447 h 331954"/>
                  <a:gd name="connsiteX657" fmla="*/ 376567 w 393848"/>
                  <a:gd name="connsiteY657" fmla="*/ 108095 h 331954"/>
                  <a:gd name="connsiteX658" fmla="*/ 374804 w 393848"/>
                  <a:gd name="connsiteY658" fmla="*/ 110387 h 331954"/>
                  <a:gd name="connsiteX659" fmla="*/ 372423 w 393848"/>
                  <a:gd name="connsiteY659" fmla="*/ 112415 h 331954"/>
                  <a:gd name="connsiteX660" fmla="*/ 370395 w 393848"/>
                  <a:gd name="connsiteY660" fmla="*/ 114443 h 331954"/>
                  <a:gd name="connsiteX661" fmla="*/ 367486 w 393848"/>
                  <a:gd name="connsiteY661" fmla="*/ 114795 h 331954"/>
                  <a:gd name="connsiteX662" fmla="*/ 366075 w 393848"/>
                  <a:gd name="connsiteY662" fmla="*/ 116559 h 331954"/>
                  <a:gd name="connsiteX663" fmla="*/ 363695 w 393848"/>
                  <a:gd name="connsiteY663" fmla="*/ 118058 h 331954"/>
                  <a:gd name="connsiteX664" fmla="*/ 361314 w 393848"/>
                  <a:gd name="connsiteY664" fmla="*/ 118322 h 331954"/>
                  <a:gd name="connsiteX665" fmla="*/ 360168 w 393848"/>
                  <a:gd name="connsiteY665" fmla="*/ 120350 h 331954"/>
                  <a:gd name="connsiteX666" fmla="*/ 361314 w 393848"/>
                  <a:gd name="connsiteY666" fmla="*/ 121496 h 331954"/>
                  <a:gd name="connsiteX667" fmla="*/ 358669 w 393848"/>
                  <a:gd name="connsiteY667" fmla="*/ 123524 h 331954"/>
                  <a:gd name="connsiteX668" fmla="*/ 357258 w 393848"/>
                  <a:gd name="connsiteY668" fmla="*/ 125552 h 331954"/>
                  <a:gd name="connsiteX669" fmla="*/ 355760 w 393848"/>
                  <a:gd name="connsiteY669" fmla="*/ 126434 h 331954"/>
                  <a:gd name="connsiteX670" fmla="*/ 354878 w 393848"/>
                  <a:gd name="connsiteY670" fmla="*/ 126786 h 331954"/>
                  <a:gd name="connsiteX671" fmla="*/ 353732 w 393848"/>
                  <a:gd name="connsiteY671" fmla="*/ 126434 h 331954"/>
                  <a:gd name="connsiteX672" fmla="*/ 354614 w 393848"/>
                  <a:gd name="connsiteY672" fmla="*/ 124670 h 331954"/>
                  <a:gd name="connsiteX673" fmla="*/ 355760 w 393848"/>
                  <a:gd name="connsiteY673" fmla="*/ 124317 h 331954"/>
                  <a:gd name="connsiteX674" fmla="*/ 356377 w 393848"/>
                  <a:gd name="connsiteY674" fmla="*/ 123436 h 331954"/>
                  <a:gd name="connsiteX675" fmla="*/ 357787 w 393848"/>
                  <a:gd name="connsiteY675" fmla="*/ 121408 h 331954"/>
                  <a:gd name="connsiteX676" fmla="*/ 354614 w 393848"/>
                  <a:gd name="connsiteY676" fmla="*/ 123171 h 331954"/>
                  <a:gd name="connsiteX677" fmla="*/ 352321 w 393848"/>
                  <a:gd name="connsiteY677" fmla="*/ 124053 h 331954"/>
                  <a:gd name="connsiteX678" fmla="*/ 349147 w 393848"/>
                  <a:gd name="connsiteY678" fmla="*/ 124935 h 331954"/>
                  <a:gd name="connsiteX679" fmla="*/ 344739 w 393848"/>
                  <a:gd name="connsiteY679" fmla="*/ 124935 h 331954"/>
                  <a:gd name="connsiteX680" fmla="*/ 339801 w 393848"/>
                  <a:gd name="connsiteY680" fmla="*/ 126963 h 331954"/>
                  <a:gd name="connsiteX681" fmla="*/ 333982 w 393848"/>
                  <a:gd name="connsiteY681" fmla="*/ 128990 h 331954"/>
                  <a:gd name="connsiteX682" fmla="*/ 331337 w 393848"/>
                  <a:gd name="connsiteY682" fmla="*/ 133399 h 331954"/>
                  <a:gd name="connsiteX683" fmla="*/ 331954 w 393848"/>
                  <a:gd name="connsiteY683" fmla="*/ 136926 h 331954"/>
                  <a:gd name="connsiteX684" fmla="*/ 330455 w 393848"/>
                  <a:gd name="connsiteY684" fmla="*/ 137543 h 331954"/>
                  <a:gd name="connsiteX685" fmla="*/ 325165 w 393848"/>
                  <a:gd name="connsiteY685" fmla="*/ 144508 h 331954"/>
                  <a:gd name="connsiteX686" fmla="*/ 322520 w 393848"/>
                  <a:gd name="connsiteY686" fmla="*/ 146272 h 331954"/>
                  <a:gd name="connsiteX687" fmla="*/ 318993 w 393848"/>
                  <a:gd name="connsiteY687" fmla="*/ 148035 h 331954"/>
                  <a:gd name="connsiteX688" fmla="*/ 318112 w 393848"/>
                  <a:gd name="connsiteY688" fmla="*/ 149181 h 331954"/>
                  <a:gd name="connsiteX689" fmla="*/ 317230 w 393848"/>
                  <a:gd name="connsiteY689" fmla="*/ 151209 h 331954"/>
                  <a:gd name="connsiteX690" fmla="*/ 315202 w 393848"/>
                  <a:gd name="connsiteY690" fmla="*/ 154118 h 331954"/>
                  <a:gd name="connsiteX691" fmla="*/ 311676 w 393848"/>
                  <a:gd name="connsiteY691" fmla="*/ 155617 h 331954"/>
                  <a:gd name="connsiteX692" fmla="*/ 310794 w 393848"/>
                  <a:gd name="connsiteY692" fmla="*/ 155882 h 331954"/>
                  <a:gd name="connsiteX693" fmla="*/ 306121 w 393848"/>
                  <a:gd name="connsiteY693" fmla="*/ 159056 h 331954"/>
                  <a:gd name="connsiteX694" fmla="*/ 304093 w 393848"/>
                  <a:gd name="connsiteY694" fmla="*/ 159409 h 331954"/>
                  <a:gd name="connsiteX695" fmla="*/ 301801 w 393848"/>
                  <a:gd name="connsiteY695" fmla="*/ 163200 h 331954"/>
                  <a:gd name="connsiteX696" fmla="*/ 300919 w 393848"/>
                  <a:gd name="connsiteY696" fmla="*/ 164610 h 331954"/>
                  <a:gd name="connsiteX697" fmla="*/ 298274 w 393848"/>
                  <a:gd name="connsiteY697" fmla="*/ 165757 h 331954"/>
                  <a:gd name="connsiteX698" fmla="*/ 295893 w 393848"/>
                  <a:gd name="connsiteY698" fmla="*/ 166638 h 331954"/>
                  <a:gd name="connsiteX699" fmla="*/ 293248 w 393848"/>
                  <a:gd name="connsiteY699" fmla="*/ 167520 h 331954"/>
                  <a:gd name="connsiteX700" fmla="*/ 291749 w 393848"/>
                  <a:gd name="connsiteY700" fmla="*/ 169548 h 331954"/>
                  <a:gd name="connsiteX701" fmla="*/ 290603 w 393848"/>
                  <a:gd name="connsiteY701" fmla="*/ 171047 h 331954"/>
                  <a:gd name="connsiteX702" fmla="*/ 290074 w 393848"/>
                  <a:gd name="connsiteY702" fmla="*/ 172458 h 331954"/>
                  <a:gd name="connsiteX703" fmla="*/ 290956 w 393848"/>
                  <a:gd name="connsiteY703" fmla="*/ 174221 h 331954"/>
                  <a:gd name="connsiteX704" fmla="*/ 288311 w 393848"/>
                  <a:gd name="connsiteY704" fmla="*/ 173604 h 331954"/>
                  <a:gd name="connsiteX705" fmla="*/ 286018 w 393848"/>
                  <a:gd name="connsiteY705" fmla="*/ 175367 h 331954"/>
                  <a:gd name="connsiteX706" fmla="*/ 283991 w 393848"/>
                  <a:gd name="connsiteY706" fmla="*/ 176866 h 331954"/>
                  <a:gd name="connsiteX707" fmla="*/ 282844 w 393848"/>
                  <a:gd name="connsiteY707" fmla="*/ 178365 h 331954"/>
                  <a:gd name="connsiteX708" fmla="*/ 278788 w 393848"/>
                  <a:gd name="connsiteY708" fmla="*/ 178629 h 331954"/>
                  <a:gd name="connsiteX709" fmla="*/ 275614 w 393848"/>
                  <a:gd name="connsiteY709" fmla="*/ 180393 h 331954"/>
                  <a:gd name="connsiteX710" fmla="*/ 273234 w 393848"/>
                  <a:gd name="connsiteY710" fmla="*/ 181010 h 331954"/>
                  <a:gd name="connsiteX711" fmla="*/ 270060 w 393848"/>
                  <a:gd name="connsiteY711" fmla="*/ 182156 h 331954"/>
                  <a:gd name="connsiteX712" fmla="*/ 267150 w 393848"/>
                  <a:gd name="connsiteY712" fmla="*/ 183038 h 331954"/>
                  <a:gd name="connsiteX713" fmla="*/ 264770 w 393848"/>
                  <a:gd name="connsiteY713" fmla="*/ 183567 h 331954"/>
                  <a:gd name="connsiteX714" fmla="*/ 263624 w 393848"/>
                  <a:gd name="connsiteY714" fmla="*/ 184713 h 331954"/>
                  <a:gd name="connsiteX715" fmla="*/ 262477 w 393848"/>
                  <a:gd name="connsiteY715" fmla="*/ 187005 h 331954"/>
                  <a:gd name="connsiteX716" fmla="*/ 261067 w 393848"/>
                  <a:gd name="connsiteY716" fmla="*/ 188504 h 331954"/>
                  <a:gd name="connsiteX717" fmla="*/ 210017 w 393848"/>
                  <a:gd name="connsiteY717" fmla="*/ 331954 h 331954"/>
                  <a:gd name="connsiteX718" fmla="*/ 209753 w 393848"/>
                  <a:gd name="connsiteY718" fmla="*/ 331954 h 331954"/>
                  <a:gd name="connsiteX719" fmla="*/ 210370 w 393848"/>
                  <a:gd name="connsiteY719" fmla="*/ 331954 h 331954"/>
                  <a:gd name="connsiteX720" fmla="*/ 210017 w 393848"/>
                  <a:gd name="connsiteY720" fmla="*/ 331954 h 331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</a:cxnLst>
                <a:rect l="l" t="t" r="r" b="b"/>
                <a:pathLst>
                  <a:path w="393848" h="331954">
                    <a:moveTo>
                      <a:pt x="244138" y="167432"/>
                    </a:moveTo>
                    <a:lnTo>
                      <a:pt x="244138" y="166903"/>
                    </a:lnTo>
                    <a:lnTo>
                      <a:pt x="247665" y="163112"/>
                    </a:lnTo>
                    <a:lnTo>
                      <a:pt x="250927" y="162759"/>
                    </a:lnTo>
                    <a:lnTo>
                      <a:pt x="244138" y="167432"/>
                    </a:lnTo>
                    <a:close/>
                    <a:moveTo>
                      <a:pt x="250575" y="174221"/>
                    </a:moveTo>
                    <a:lnTo>
                      <a:pt x="247929" y="174485"/>
                    </a:lnTo>
                    <a:lnTo>
                      <a:pt x="251456" y="172722"/>
                    </a:lnTo>
                    <a:lnTo>
                      <a:pt x="250927" y="172458"/>
                    </a:lnTo>
                    <a:lnTo>
                      <a:pt x="252691" y="171840"/>
                    </a:lnTo>
                    <a:lnTo>
                      <a:pt x="250575" y="174221"/>
                    </a:lnTo>
                    <a:close/>
                    <a:moveTo>
                      <a:pt x="24246" y="275350"/>
                    </a:moveTo>
                    <a:lnTo>
                      <a:pt x="23100" y="274204"/>
                    </a:lnTo>
                    <a:lnTo>
                      <a:pt x="26362" y="271559"/>
                    </a:lnTo>
                    <a:lnTo>
                      <a:pt x="25833" y="272441"/>
                    </a:lnTo>
                    <a:lnTo>
                      <a:pt x="24952" y="275085"/>
                    </a:lnTo>
                    <a:lnTo>
                      <a:pt x="24246" y="275350"/>
                    </a:lnTo>
                    <a:close/>
                    <a:moveTo>
                      <a:pt x="9963" y="285842"/>
                    </a:moveTo>
                    <a:lnTo>
                      <a:pt x="7318" y="284343"/>
                    </a:lnTo>
                    <a:lnTo>
                      <a:pt x="10228" y="282933"/>
                    </a:lnTo>
                    <a:lnTo>
                      <a:pt x="12256" y="283197"/>
                    </a:lnTo>
                    <a:lnTo>
                      <a:pt x="11109" y="285225"/>
                    </a:lnTo>
                    <a:lnTo>
                      <a:pt x="9963" y="285842"/>
                    </a:lnTo>
                    <a:close/>
                    <a:moveTo>
                      <a:pt x="39676" y="304534"/>
                    </a:moveTo>
                    <a:lnTo>
                      <a:pt x="37383" y="305415"/>
                    </a:lnTo>
                    <a:lnTo>
                      <a:pt x="35620" y="304534"/>
                    </a:lnTo>
                    <a:lnTo>
                      <a:pt x="33857" y="303387"/>
                    </a:lnTo>
                    <a:lnTo>
                      <a:pt x="32358" y="304269"/>
                    </a:lnTo>
                    <a:lnTo>
                      <a:pt x="31212" y="305415"/>
                    </a:lnTo>
                    <a:lnTo>
                      <a:pt x="30066" y="304005"/>
                    </a:lnTo>
                    <a:lnTo>
                      <a:pt x="28037" y="304005"/>
                    </a:lnTo>
                    <a:lnTo>
                      <a:pt x="26539" y="301624"/>
                    </a:lnTo>
                    <a:lnTo>
                      <a:pt x="26275" y="300125"/>
                    </a:lnTo>
                    <a:lnTo>
                      <a:pt x="24511" y="299244"/>
                    </a:lnTo>
                    <a:lnTo>
                      <a:pt x="24775" y="297216"/>
                    </a:lnTo>
                    <a:lnTo>
                      <a:pt x="23012" y="296687"/>
                    </a:lnTo>
                    <a:lnTo>
                      <a:pt x="22483" y="296687"/>
                    </a:lnTo>
                    <a:lnTo>
                      <a:pt x="21601" y="294394"/>
                    </a:lnTo>
                    <a:lnTo>
                      <a:pt x="20720" y="296070"/>
                    </a:lnTo>
                    <a:lnTo>
                      <a:pt x="19574" y="295541"/>
                    </a:lnTo>
                    <a:lnTo>
                      <a:pt x="18692" y="296070"/>
                    </a:lnTo>
                    <a:lnTo>
                      <a:pt x="16400" y="295805"/>
                    </a:lnTo>
                    <a:lnTo>
                      <a:pt x="11727" y="294659"/>
                    </a:lnTo>
                    <a:lnTo>
                      <a:pt x="10845" y="293160"/>
                    </a:lnTo>
                    <a:lnTo>
                      <a:pt x="9963" y="293777"/>
                    </a:lnTo>
                    <a:lnTo>
                      <a:pt x="6172" y="294394"/>
                    </a:lnTo>
                    <a:lnTo>
                      <a:pt x="6789" y="293513"/>
                    </a:lnTo>
                    <a:lnTo>
                      <a:pt x="6789" y="292366"/>
                    </a:lnTo>
                    <a:lnTo>
                      <a:pt x="8288" y="291485"/>
                    </a:lnTo>
                    <a:lnTo>
                      <a:pt x="6260" y="292366"/>
                    </a:lnTo>
                    <a:lnTo>
                      <a:pt x="4849" y="293248"/>
                    </a:lnTo>
                    <a:lnTo>
                      <a:pt x="6260" y="291485"/>
                    </a:lnTo>
                    <a:lnTo>
                      <a:pt x="5995" y="290339"/>
                    </a:lnTo>
                    <a:lnTo>
                      <a:pt x="4849" y="288928"/>
                    </a:lnTo>
                    <a:lnTo>
                      <a:pt x="7142" y="286547"/>
                    </a:lnTo>
                    <a:lnTo>
                      <a:pt x="8641" y="287429"/>
                    </a:lnTo>
                    <a:lnTo>
                      <a:pt x="14725" y="285137"/>
                    </a:lnTo>
                    <a:lnTo>
                      <a:pt x="12167" y="285401"/>
                    </a:lnTo>
                    <a:lnTo>
                      <a:pt x="14460" y="282756"/>
                    </a:lnTo>
                    <a:lnTo>
                      <a:pt x="16487" y="282139"/>
                    </a:lnTo>
                    <a:lnTo>
                      <a:pt x="18780" y="281874"/>
                    </a:lnTo>
                    <a:lnTo>
                      <a:pt x="17369" y="280993"/>
                    </a:lnTo>
                    <a:lnTo>
                      <a:pt x="12961" y="281874"/>
                    </a:lnTo>
                    <a:lnTo>
                      <a:pt x="15606" y="278700"/>
                    </a:lnTo>
                    <a:lnTo>
                      <a:pt x="17634" y="276672"/>
                    </a:lnTo>
                    <a:lnTo>
                      <a:pt x="19397" y="276408"/>
                    </a:lnTo>
                    <a:lnTo>
                      <a:pt x="22924" y="276143"/>
                    </a:lnTo>
                    <a:lnTo>
                      <a:pt x="24070" y="276761"/>
                    </a:lnTo>
                    <a:lnTo>
                      <a:pt x="25217" y="279406"/>
                    </a:lnTo>
                    <a:lnTo>
                      <a:pt x="25217" y="277378"/>
                    </a:lnTo>
                    <a:lnTo>
                      <a:pt x="24599" y="276232"/>
                    </a:lnTo>
                    <a:lnTo>
                      <a:pt x="26362" y="275614"/>
                    </a:lnTo>
                    <a:lnTo>
                      <a:pt x="27508" y="275614"/>
                    </a:lnTo>
                    <a:lnTo>
                      <a:pt x="28390" y="276232"/>
                    </a:lnTo>
                    <a:lnTo>
                      <a:pt x="29889" y="275614"/>
                    </a:lnTo>
                    <a:lnTo>
                      <a:pt x="26627" y="274468"/>
                    </a:lnTo>
                    <a:lnTo>
                      <a:pt x="29008" y="271823"/>
                    </a:lnTo>
                    <a:lnTo>
                      <a:pt x="29625" y="269531"/>
                    </a:lnTo>
                    <a:lnTo>
                      <a:pt x="33416" y="266886"/>
                    </a:lnTo>
                    <a:lnTo>
                      <a:pt x="35179" y="266886"/>
                    </a:lnTo>
                    <a:lnTo>
                      <a:pt x="37207" y="266269"/>
                    </a:lnTo>
                    <a:lnTo>
                      <a:pt x="37472" y="265651"/>
                    </a:lnTo>
                    <a:lnTo>
                      <a:pt x="40999" y="264505"/>
                    </a:lnTo>
                    <a:lnTo>
                      <a:pt x="40381" y="266269"/>
                    </a:lnTo>
                    <a:lnTo>
                      <a:pt x="40117" y="268032"/>
                    </a:lnTo>
                    <a:lnTo>
                      <a:pt x="41880" y="264858"/>
                    </a:lnTo>
                    <a:lnTo>
                      <a:pt x="42497" y="263976"/>
                    </a:lnTo>
                    <a:lnTo>
                      <a:pt x="44261" y="262477"/>
                    </a:lnTo>
                    <a:lnTo>
                      <a:pt x="46906" y="263359"/>
                    </a:lnTo>
                    <a:lnTo>
                      <a:pt x="47788" y="260449"/>
                    </a:lnTo>
                    <a:lnTo>
                      <a:pt x="50433" y="258951"/>
                    </a:lnTo>
                    <a:lnTo>
                      <a:pt x="52725" y="258334"/>
                    </a:lnTo>
                    <a:lnTo>
                      <a:pt x="55370" y="255953"/>
                    </a:lnTo>
                    <a:lnTo>
                      <a:pt x="56869" y="254807"/>
                    </a:lnTo>
                    <a:lnTo>
                      <a:pt x="61542" y="253043"/>
                    </a:lnTo>
                    <a:lnTo>
                      <a:pt x="61542" y="252162"/>
                    </a:lnTo>
                    <a:lnTo>
                      <a:pt x="63834" y="251897"/>
                    </a:lnTo>
                    <a:lnTo>
                      <a:pt x="65862" y="250751"/>
                    </a:lnTo>
                    <a:lnTo>
                      <a:pt x="67626" y="249605"/>
                    </a:lnTo>
                    <a:lnTo>
                      <a:pt x="70799" y="246960"/>
                    </a:lnTo>
                    <a:lnTo>
                      <a:pt x="72563" y="247577"/>
                    </a:lnTo>
                    <a:lnTo>
                      <a:pt x="74855" y="245549"/>
                    </a:lnTo>
                    <a:lnTo>
                      <a:pt x="75120" y="244050"/>
                    </a:lnTo>
                    <a:lnTo>
                      <a:pt x="77765" y="242551"/>
                    </a:lnTo>
                    <a:lnTo>
                      <a:pt x="80057" y="242551"/>
                    </a:lnTo>
                    <a:lnTo>
                      <a:pt x="82085" y="240788"/>
                    </a:lnTo>
                    <a:lnTo>
                      <a:pt x="83584" y="242816"/>
                    </a:lnTo>
                    <a:lnTo>
                      <a:pt x="83848" y="243698"/>
                    </a:lnTo>
                    <a:lnTo>
                      <a:pt x="85612" y="243433"/>
                    </a:lnTo>
                    <a:lnTo>
                      <a:pt x="87639" y="242551"/>
                    </a:lnTo>
                    <a:lnTo>
                      <a:pt x="91166" y="239377"/>
                    </a:lnTo>
                    <a:lnTo>
                      <a:pt x="94429" y="238760"/>
                    </a:lnTo>
                    <a:lnTo>
                      <a:pt x="96721" y="238231"/>
                    </a:lnTo>
                    <a:lnTo>
                      <a:pt x="97338" y="237085"/>
                    </a:lnTo>
                    <a:lnTo>
                      <a:pt x="99630" y="236820"/>
                    </a:lnTo>
                    <a:lnTo>
                      <a:pt x="100247" y="235321"/>
                    </a:lnTo>
                    <a:lnTo>
                      <a:pt x="103774" y="234175"/>
                    </a:lnTo>
                    <a:lnTo>
                      <a:pt x="107830" y="234175"/>
                    </a:lnTo>
                    <a:lnTo>
                      <a:pt x="109329" y="233029"/>
                    </a:lnTo>
                    <a:lnTo>
                      <a:pt x="112503" y="232765"/>
                    </a:lnTo>
                    <a:lnTo>
                      <a:pt x="113737" y="231619"/>
                    </a:lnTo>
                    <a:lnTo>
                      <a:pt x="115765" y="231090"/>
                    </a:lnTo>
                    <a:lnTo>
                      <a:pt x="118675" y="228797"/>
                    </a:lnTo>
                    <a:lnTo>
                      <a:pt x="121320" y="228533"/>
                    </a:lnTo>
                    <a:lnTo>
                      <a:pt x="123347" y="227386"/>
                    </a:lnTo>
                    <a:lnTo>
                      <a:pt x="126522" y="225359"/>
                    </a:lnTo>
                    <a:lnTo>
                      <a:pt x="128285" y="224741"/>
                    </a:lnTo>
                    <a:lnTo>
                      <a:pt x="130666" y="222449"/>
                    </a:lnTo>
                    <a:lnTo>
                      <a:pt x="134722" y="221567"/>
                    </a:lnTo>
                    <a:lnTo>
                      <a:pt x="136485" y="220068"/>
                    </a:lnTo>
                    <a:lnTo>
                      <a:pt x="141422" y="219187"/>
                    </a:lnTo>
                    <a:lnTo>
                      <a:pt x="142569" y="218041"/>
                    </a:lnTo>
                    <a:lnTo>
                      <a:pt x="144332" y="217423"/>
                    </a:lnTo>
                    <a:lnTo>
                      <a:pt x="148740" y="217423"/>
                    </a:lnTo>
                    <a:lnTo>
                      <a:pt x="151032" y="215925"/>
                    </a:lnTo>
                    <a:lnTo>
                      <a:pt x="151297" y="214778"/>
                    </a:lnTo>
                    <a:lnTo>
                      <a:pt x="153590" y="213015"/>
                    </a:lnTo>
                    <a:lnTo>
                      <a:pt x="156235" y="210370"/>
                    </a:lnTo>
                    <a:lnTo>
                      <a:pt x="158880" y="209224"/>
                    </a:lnTo>
                    <a:lnTo>
                      <a:pt x="160290" y="206050"/>
                    </a:lnTo>
                    <a:lnTo>
                      <a:pt x="163817" y="204551"/>
                    </a:lnTo>
                    <a:lnTo>
                      <a:pt x="165051" y="204286"/>
                    </a:lnTo>
                    <a:lnTo>
                      <a:pt x="166727" y="201641"/>
                    </a:lnTo>
                    <a:lnTo>
                      <a:pt x="168225" y="201906"/>
                    </a:lnTo>
                    <a:lnTo>
                      <a:pt x="169372" y="198996"/>
                    </a:lnTo>
                    <a:lnTo>
                      <a:pt x="172546" y="196351"/>
                    </a:lnTo>
                    <a:lnTo>
                      <a:pt x="175191" y="194323"/>
                    </a:lnTo>
                    <a:lnTo>
                      <a:pt x="176337" y="191943"/>
                    </a:lnTo>
                    <a:lnTo>
                      <a:pt x="179864" y="189915"/>
                    </a:lnTo>
                    <a:lnTo>
                      <a:pt x="183920" y="188504"/>
                    </a:lnTo>
                    <a:lnTo>
                      <a:pt x="187711" y="187887"/>
                    </a:lnTo>
                    <a:lnTo>
                      <a:pt x="189739" y="187270"/>
                    </a:lnTo>
                    <a:lnTo>
                      <a:pt x="191766" y="185506"/>
                    </a:lnTo>
                    <a:lnTo>
                      <a:pt x="194411" y="183126"/>
                    </a:lnTo>
                    <a:lnTo>
                      <a:pt x="196439" y="181098"/>
                    </a:lnTo>
                    <a:lnTo>
                      <a:pt x="200495" y="179335"/>
                    </a:lnTo>
                    <a:lnTo>
                      <a:pt x="201994" y="176425"/>
                    </a:lnTo>
                    <a:lnTo>
                      <a:pt x="204639" y="172634"/>
                    </a:lnTo>
                    <a:lnTo>
                      <a:pt x="207549" y="169989"/>
                    </a:lnTo>
                    <a:lnTo>
                      <a:pt x="208695" y="167961"/>
                    </a:lnTo>
                    <a:lnTo>
                      <a:pt x="210723" y="166815"/>
                    </a:lnTo>
                    <a:lnTo>
                      <a:pt x="213368" y="164258"/>
                    </a:lnTo>
                    <a:lnTo>
                      <a:pt x="215131" y="164258"/>
                    </a:lnTo>
                    <a:lnTo>
                      <a:pt x="216013" y="163905"/>
                    </a:lnTo>
                    <a:lnTo>
                      <a:pt x="218305" y="161260"/>
                    </a:lnTo>
                    <a:lnTo>
                      <a:pt x="221215" y="160996"/>
                    </a:lnTo>
                    <a:lnTo>
                      <a:pt x="224389" y="159497"/>
                    </a:lnTo>
                    <a:lnTo>
                      <a:pt x="224124" y="159761"/>
                    </a:lnTo>
                    <a:lnTo>
                      <a:pt x="223860" y="160378"/>
                    </a:lnTo>
                    <a:lnTo>
                      <a:pt x="227034" y="158880"/>
                    </a:lnTo>
                    <a:lnTo>
                      <a:pt x="226769" y="158615"/>
                    </a:lnTo>
                    <a:lnTo>
                      <a:pt x="226152" y="158615"/>
                    </a:lnTo>
                    <a:lnTo>
                      <a:pt x="226416" y="158351"/>
                    </a:lnTo>
                    <a:lnTo>
                      <a:pt x="228797" y="157204"/>
                    </a:lnTo>
                    <a:lnTo>
                      <a:pt x="232853" y="157204"/>
                    </a:lnTo>
                    <a:lnTo>
                      <a:pt x="235145" y="157822"/>
                    </a:lnTo>
                    <a:lnTo>
                      <a:pt x="234616" y="158086"/>
                    </a:lnTo>
                    <a:lnTo>
                      <a:pt x="229943" y="157822"/>
                    </a:lnTo>
                    <a:lnTo>
                      <a:pt x="226416" y="165933"/>
                    </a:lnTo>
                    <a:lnTo>
                      <a:pt x="229062" y="164434"/>
                    </a:lnTo>
                    <a:lnTo>
                      <a:pt x="230208" y="164170"/>
                    </a:lnTo>
                    <a:lnTo>
                      <a:pt x="230825" y="164170"/>
                    </a:lnTo>
                    <a:lnTo>
                      <a:pt x="230208" y="166197"/>
                    </a:lnTo>
                    <a:lnTo>
                      <a:pt x="228180" y="168843"/>
                    </a:lnTo>
                    <a:lnTo>
                      <a:pt x="227563" y="170341"/>
                    </a:lnTo>
                    <a:lnTo>
                      <a:pt x="226064" y="171223"/>
                    </a:lnTo>
                    <a:lnTo>
                      <a:pt x="223771" y="172987"/>
                    </a:lnTo>
                    <a:lnTo>
                      <a:pt x="222890" y="176778"/>
                    </a:lnTo>
                    <a:lnTo>
                      <a:pt x="224653" y="177042"/>
                    </a:lnTo>
                    <a:lnTo>
                      <a:pt x="226416" y="176425"/>
                    </a:lnTo>
                    <a:lnTo>
                      <a:pt x="229326" y="174662"/>
                    </a:lnTo>
                    <a:lnTo>
                      <a:pt x="231354" y="175543"/>
                    </a:lnTo>
                    <a:lnTo>
                      <a:pt x="232500" y="173251"/>
                    </a:lnTo>
                    <a:lnTo>
                      <a:pt x="235145" y="171488"/>
                    </a:lnTo>
                    <a:lnTo>
                      <a:pt x="238055" y="171223"/>
                    </a:lnTo>
                    <a:lnTo>
                      <a:pt x="240083" y="170959"/>
                    </a:lnTo>
                    <a:lnTo>
                      <a:pt x="241229" y="169812"/>
                    </a:lnTo>
                    <a:lnTo>
                      <a:pt x="239466" y="170430"/>
                    </a:lnTo>
                    <a:lnTo>
                      <a:pt x="240612" y="169548"/>
                    </a:lnTo>
                    <a:lnTo>
                      <a:pt x="248458" y="166903"/>
                    </a:lnTo>
                    <a:lnTo>
                      <a:pt x="248458" y="168049"/>
                    </a:lnTo>
                    <a:lnTo>
                      <a:pt x="246078" y="168666"/>
                    </a:lnTo>
                    <a:lnTo>
                      <a:pt x="242022" y="169812"/>
                    </a:lnTo>
                    <a:lnTo>
                      <a:pt x="241758" y="171576"/>
                    </a:lnTo>
                    <a:lnTo>
                      <a:pt x="244667" y="170694"/>
                    </a:lnTo>
                    <a:lnTo>
                      <a:pt x="238495" y="175367"/>
                    </a:lnTo>
                    <a:lnTo>
                      <a:pt x="237350" y="176513"/>
                    </a:lnTo>
                    <a:lnTo>
                      <a:pt x="246078" y="173868"/>
                    </a:lnTo>
                    <a:lnTo>
                      <a:pt x="243169" y="174133"/>
                    </a:lnTo>
                    <a:lnTo>
                      <a:pt x="241141" y="174133"/>
                    </a:lnTo>
                    <a:lnTo>
                      <a:pt x="242375" y="172722"/>
                    </a:lnTo>
                    <a:lnTo>
                      <a:pt x="246078" y="171840"/>
                    </a:lnTo>
                    <a:lnTo>
                      <a:pt x="250751" y="170430"/>
                    </a:lnTo>
                    <a:lnTo>
                      <a:pt x="253043" y="169812"/>
                    </a:lnTo>
                    <a:lnTo>
                      <a:pt x="244579" y="175103"/>
                    </a:lnTo>
                    <a:lnTo>
                      <a:pt x="245990" y="175984"/>
                    </a:lnTo>
                    <a:lnTo>
                      <a:pt x="247136" y="176249"/>
                    </a:lnTo>
                    <a:lnTo>
                      <a:pt x="244491" y="177395"/>
                    </a:lnTo>
                    <a:lnTo>
                      <a:pt x="246254" y="179423"/>
                    </a:lnTo>
                    <a:lnTo>
                      <a:pt x="242463" y="180304"/>
                    </a:lnTo>
                    <a:lnTo>
                      <a:pt x="238408" y="182332"/>
                    </a:lnTo>
                    <a:lnTo>
                      <a:pt x="239289" y="182068"/>
                    </a:lnTo>
                    <a:lnTo>
                      <a:pt x="239289" y="184096"/>
                    </a:lnTo>
                    <a:lnTo>
                      <a:pt x="237790" y="186124"/>
                    </a:lnTo>
                    <a:lnTo>
                      <a:pt x="235762" y="189915"/>
                    </a:lnTo>
                    <a:lnTo>
                      <a:pt x="233117" y="191678"/>
                    </a:lnTo>
                    <a:lnTo>
                      <a:pt x="232500" y="194059"/>
                    </a:lnTo>
                    <a:lnTo>
                      <a:pt x="231619" y="194940"/>
                    </a:lnTo>
                    <a:lnTo>
                      <a:pt x="229591" y="195822"/>
                    </a:lnTo>
                    <a:lnTo>
                      <a:pt x="228709" y="197321"/>
                    </a:lnTo>
                    <a:lnTo>
                      <a:pt x="226064" y="198203"/>
                    </a:lnTo>
                    <a:lnTo>
                      <a:pt x="224036" y="199349"/>
                    </a:lnTo>
                    <a:lnTo>
                      <a:pt x="222273" y="199349"/>
                    </a:lnTo>
                    <a:lnTo>
                      <a:pt x="220245" y="202523"/>
                    </a:lnTo>
                    <a:lnTo>
                      <a:pt x="219099" y="204022"/>
                    </a:lnTo>
                    <a:lnTo>
                      <a:pt x="217071" y="205521"/>
                    </a:lnTo>
                    <a:lnTo>
                      <a:pt x="214426" y="206050"/>
                    </a:lnTo>
                    <a:lnTo>
                      <a:pt x="213544" y="208695"/>
                    </a:lnTo>
                    <a:lnTo>
                      <a:pt x="210899" y="208959"/>
                    </a:lnTo>
                    <a:lnTo>
                      <a:pt x="211516" y="208342"/>
                    </a:lnTo>
                    <a:lnTo>
                      <a:pt x="208342" y="209753"/>
                    </a:lnTo>
                    <a:lnTo>
                      <a:pt x="207725" y="210634"/>
                    </a:lnTo>
                    <a:lnTo>
                      <a:pt x="206314" y="210017"/>
                    </a:lnTo>
                    <a:lnTo>
                      <a:pt x="204816" y="213544"/>
                    </a:lnTo>
                    <a:lnTo>
                      <a:pt x="203669" y="214690"/>
                    </a:lnTo>
                    <a:lnTo>
                      <a:pt x="201024" y="216454"/>
                    </a:lnTo>
                    <a:lnTo>
                      <a:pt x="196880" y="219363"/>
                    </a:lnTo>
                    <a:lnTo>
                      <a:pt x="196880" y="219980"/>
                    </a:lnTo>
                    <a:lnTo>
                      <a:pt x="194588" y="221126"/>
                    </a:lnTo>
                    <a:lnTo>
                      <a:pt x="193177" y="221126"/>
                    </a:lnTo>
                    <a:lnTo>
                      <a:pt x="191061" y="222537"/>
                    </a:lnTo>
                    <a:lnTo>
                      <a:pt x="189650" y="223154"/>
                    </a:lnTo>
                    <a:lnTo>
                      <a:pt x="187887" y="224300"/>
                    </a:lnTo>
                    <a:lnTo>
                      <a:pt x="185507" y="224918"/>
                    </a:lnTo>
                    <a:lnTo>
                      <a:pt x="184096" y="225182"/>
                    </a:lnTo>
                    <a:lnTo>
                      <a:pt x="182332" y="225447"/>
                    </a:lnTo>
                    <a:lnTo>
                      <a:pt x="179687" y="225711"/>
                    </a:lnTo>
                    <a:lnTo>
                      <a:pt x="178541" y="227210"/>
                    </a:lnTo>
                    <a:lnTo>
                      <a:pt x="176513" y="229238"/>
                    </a:lnTo>
                    <a:lnTo>
                      <a:pt x="176777" y="232148"/>
                    </a:lnTo>
                    <a:lnTo>
                      <a:pt x="174486" y="233911"/>
                    </a:lnTo>
                    <a:lnTo>
                      <a:pt x="175896" y="235321"/>
                    </a:lnTo>
                    <a:lnTo>
                      <a:pt x="175632" y="237085"/>
                    </a:lnTo>
                    <a:lnTo>
                      <a:pt x="177042" y="237967"/>
                    </a:lnTo>
                    <a:lnTo>
                      <a:pt x="176777" y="239730"/>
                    </a:lnTo>
                    <a:lnTo>
                      <a:pt x="174486" y="239730"/>
                    </a:lnTo>
                    <a:lnTo>
                      <a:pt x="172457" y="239994"/>
                    </a:lnTo>
                    <a:lnTo>
                      <a:pt x="171840" y="238231"/>
                    </a:lnTo>
                    <a:lnTo>
                      <a:pt x="171840" y="237349"/>
                    </a:lnTo>
                    <a:lnTo>
                      <a:pt x="169548" y="239994"/>
                    </a:lnTo>
                    <a:lnTo>
                      <a:pt x="168049" y="240612"/>
                    </a:lnTo>
                    <a:lnTo>
                      <a:pt x="166903" y="238848"/>
                    </a:lnTo>
                    <a:lnTo>
                      <a:pt x="163640" y="237967"/>
                    </a:lnTo>
                    <a:lnTo>
                      <a:pt x="162759" y="239465"/>
                    </a:lnTo>
                    <a:lnTo>
                      <a:pt x="162142" y="240876"/>
                    </a:lnTo>
                    <a:lnTo>
                      <a:pt x="155970" y="242375"/>
                    </a:lnTo>
                    <a:lnTo>
                      <a:pt x="152179" y="244138"/>
                    </a:lnTo>
                    <a:lnTo>
                      <a:pt x="150768" y="244138"/>
                    </a:lnTo>
                    <a:lnTo>
                      <a:pt x="147859" y="244756"/>
                    </a:lnTo>
                    <a:lnTo>
                      <a:pt x="146095" y="246166"/>
                    </a:lnTo>
                    <a:lnTo>
                      <a:pt x="143450" y="246783"/>
                    </a:lnTo>
                    <a:lnTo>
                      <a:pt x="139923" y="249164"/>
                    </a:lnTo>
                    <a:lnTo>
                      <a:pt x="137014" y="250046"/>
                    </a:lnTo>
                    <a:lnTo>
                      <a:pt x="136132" y="250663"/>
                    </a:lnTo>
                    <a:lnTo>
                      <a:pt x="132077" y="251280"/>
                    </a:lnTo>
                    <a:lnTo>
                      <a:pt x="130048" y="252779"/>
                    </a:lnTo>
                    <a:lnTo>
                      <a:pt x="127668" y="256306"/>
                    </a:lnTo>
                    <a:lnTo>
                      <a:pt x="124141" y="257452"/>
                    </a:lnTo>
                    <a:lnTo>
                      <a:pt x="123260" y="259832"/>
                    </a:lnTo>
                    <a:lnTo>
                      <a:pt x="121496" y="260714"/>
                    </a:lnTo>
                    <a:lnTo>
                      <a:pt x="120614" y="263624"/>
                    </a:lnTo>
                    <a:lnTo>
                      <a:pt x="118587" y="264241"/>
                    </a:lnTo>
                    <a:lnTo>
                      <a:pt x="116206" y="265740"/>
                    </a:lnTo>
                    <a:lnTo>
                      <a:pt x="115324" y="266004"/>
                    </a:lnTo>
                    <a:lnTo>
                      <a:pt x="112679" y="268649"/>
                    </a:lnTo>
                    <a:lnTo>
                      <a:pt x="111268" y="268914"/>
                    </a:lnTo>
                    <a:lnTo>
                      <a:pt x="109241" y="271294"/>
                    </a:lnTo>
                    <a:lnTo>
                      <a:pt x="106596" y="273587"/>
                    </a:lnTo>
                    <a:lnTo>
                      <a:pt x="104832" y="273851"/>
                    </a:lnTo>
                    <a:lnTo>
                      <a:pt x="102452" y="276496"/>
                    </a:lnTo>
                    <a:lnTo>
                      <a:pt x="100424" y="279670"/>
                    </a:lnTo>
                    <a:lnTo>
                      <a:pt x="98396" y="279670"/>
                    </a:lnTo>
                    <a:lnTo>
                      <a:pt x="95751" y="280023"/>
                    </a:lnTo>
                    <a:lnTo>
                      <a:pt x="95134" y="281522"/>
                    </a:lnTo>
                    <a:lnTo>
                      <a:pt x="92489" y="284431"/>
                    </a:lnTo>
                    <a:lnTo>
                      <a:pt x="90197" y="284696"/>
                    </a:lnTo>
                    <a:lnTo>
                      <a:pt x="81732" y="289633"/>
                    </a:lnTo>
                    <a:lnTo>
                      <a:pt x="84377" y="289104"/>
                    </a:lnTo>
                    <a:lnTo>
                      <a:pt x="87904" y="287341"/>
                    </a:lnTo>
                    <a:lnTo>
                      <a:pt x="87904" y="287605"/>
                    </a:lnTo>
                    <a:lnTo>
                      <a:pt x="84113" y="290250"/>
                    </a:lnTo>
                    <a:lnTo>
                      <a:pt x="81203" y="290250"/>
                    </a:lnTo>
                    <a:lnTo>
                      <a:pt x="78823" y="290868"/>
                    </a:lnTo>
                    <a:lnTo>
                      <a:pt x="77676" y="292631"/>
                    </a:lnTo>
                    <a:lnTo>
                      <a:pt x="75031" y="295012"/>
                    </a:lnTo>
                    <a:lnTo>
                      <a:pt x="73268" y="295893"/>
                    </a:lnTo>
                    <a:lnTo>
                      <a:pt x="73004" y="295893"/>
                    </a:lnTo>
                    <a:lnTo>
                      <a:pt x="70094" y="296158"/>
                    </a:lnTo>
                    <a:lnTo>
                      <a:pt x="68330" y="296158"/>
                    </a:lnTo>
                    <a:lnTo>
                      <a:pt x="66303" y="298186"/>
                    </a:lnTo>
                    <a:lnTo>
                      <a:pt x="64804" y="298450"/>
                    </a:lnTo>
                    <a:lnTo>
                      <a:pt x="62423" y="300742"/>
                    </a:lnTo>
                    <a:lnTo>
                      <a:pt x="62776" y="301624"/>
                    </a:lnTo>
                    <a:lnTo>
                      <a:pt x="60131" y="302241"/>
                    </a:lnTo>
                    <a:lnTo>
                      <a:pt x="56957" y="302506"/>
                    </a:lnTo>
                    <a:lnTo>
                      <a:pt x="55811" y="304005"/>
                    </a:lnTo>
                    <a:lnTo>
                      <a:pt x="54312" y="304269"/>
                    </a:lnTo>
                    <a:lnTo>
                      <a:pt x="52284" y="303123"/>
                    </a:lnTo>
                    <a:lnTo>
                      <a:pt x="51667" y="304269"/>
                    </a:lnTo>
                    <a:lnTo>
                      <a:pt x="49022" y="305151"/>
                    </a:lnTo>
                    <a:lnTo>
                      <a:pt x="47259" y="303740"/>
                    </a:lnTo>
                    <a:lnTo>
                      <a:pt x="46112" y="305151"/>
                    </a:lnTo>
                    <a:lnTo>
                      <a:pt x="43732" y="306562"/>
                    </a:lnTo>
                    <a:lnTo>
                      <a:pt x="39941" y="306562"/>
                    </a:lnTo>
                    <a:lnTo>
                      <a:pt x="39676" y="304534"/>
                    </a:lnTo>
                    <a:close/>
                    <a:moveTo>
                      <a:pt x="617" y="317935"/>
                    </a:moveTo>
                    <a:lnTo>
                      <a:pt x="0" y="316789"/>
                    </a:lnTo>
                    <a:lnTo>
                      <a:pt x="3174" y="315378"/>
                    </a:lnTo>
                    <a:lnTo>
                      <a:pt x="5202" y="313351"/>
                    </a:lnTo>
                    <a:lnTo>
                      <a:pt x="7495" y="314232"/>
                    </a:lnTo>
                    <a:lnTo>
                      <a:pt x="8376" y="312469"/>
                    </a:lnTo>
                    <a:lnTo>
                      <a:pt x="9522" y="310441"/>
                    </a:lnTo>
                    <a:lnTo>
                      <a:pt x="13049" y="309824"/>
                    </a:lnTo>
                    <a:lnTo>
                      <a:pt x="13931" y="308060"/>
                    </a:lnTo>
                    <a:lnTo>
                      <a:pt x="15429" y="304886"/>
                    </a:lnTo>
                    <a:lnTo>
                      <a:pt x="18339" y="304005"/>
                    </a:lnTo>
                    <a:lnTo>
                      <a:pt x="19838" y="304886"/>
                    </a:lnTo>
                    <a:lnTo>
                      <a:pt x="19221" y="308060"/>
                    </a:lnTo>
                    <a:lnTo>
                      <a:pt x="18604" y="310441"/>
                    </a:lnTo>
                    <a:lnTo>
                      <a:pt x="17193" y="312469"/>
                    </a:lnTo>
                    <a:lnTo>
                      <a:pt x="18604" y="312733"/>
                    </a:lnTo>
                    <a:lnTo>
                      <a:pt x="18604" y="313880"/>
                    </a:lnTo>
                    <a:lnTo>
                      <a:pt x="16311" y="313615"/>
                    </a:lnTo>
                    <a:lnTo>
                      <a:pt x="14548" y="315114"/>
                    </a:lnTo>
                    <a:lnTo>
                      <a:pt x="11638" y="314761"/>
                    </a:lnTo>
                    <a:lnTo>
                      <a:pt x="11903" y="316525"/>
                    </a:lnTo>
                    <a:lnTo>
                      <a:pt x="9522" y="316789"/>
                    </a:lnTo>
                    <a:lnTo>
                      <a:pt x="7230" y="317671"/>
                    </a:lnTo>
                    <a:lnTo>
                      <a:pt x="4320" y="319434"/>
                    </a:lnTo>
                    <a:lnTo>
                      <a:pt x="2821" y="319434"/>
                    </a:lnTo>
                    <a:lnTo>
                      <a:pt x="1411" y="319170"/>
                    </a:lnTo>
                    <a:lnTo>
                      <a:pt x="529" y="318905"/>
                    </a:lnTo>
                    <a:lnTo>
                      <a:pt x="529" y="317935"/>
                    </a:lnTo>
                    <a:close/>
                    <a:moveTo>
                      <a:pt x="318817" y="617"/>
                    </a:moveTo>
                    <a:lnTo>
                      <a:pt x="318552" y="617"/>
                    </a:lnTo>
                    <a:lnTo>
                      <a:pt x="319434" y="0"/>
                    </a:lnTo>
                    <a:lnTo>
                      <a:pt x="318817" y="617"/>
                    </a:lnTo>
                    <a:close/>
                    <a:moveTo>
                      <a:pt x="349764" y="51402"/>
                    </a:moveTo>
                    <a:lnTo>
                      <a:pt x="348882" y="51402"/>
                    </a:lnTo>
                    <a:lnTo>
                      <a:pt x="350029" y="50168"/>
                    </a:lnTo>
                    <a:lnTo>
                      <a:pt x="351792" y="53078"/>
                    </a:lnTo>
                    <a:lnTo>
                      <a:pt x="351263" y="52813"/>
                    </a:lnTo>
                    <a:lnTo>
                      <a:pt x="350381" y="51050"/>
                    </a:lnTo>
                    <a:lnTo>
                      <a:pt x="349764" y="51402"/>
                    </a:lnTo>
                    <a:close/>
                    <a:moveTo>
                      <a:pt x="354702" y="52813"/>
                    </a:moveTo>
                    <a:lnTo>
                      <a:pt x="353820" y="53078"/>
                    </a:lnTo>
                    <a:lnTo>
                      <a:pt x="353203" y="53695"/>
                    </a:lnTo>
                    <a:lnTo>
                      <a:pt x="353203" y="51931"/>
                    </a:lnTo>
                    <a:lnTo>
                      <a:pt x="352056" y="50521"/>
                    </a:lnTo>
                    <a:lnTo>
                      <a:pt x="352938" y="49903"/>
                    </a:lnTo>
                    <a:lnTo>
                      <a:pt x="354085" y="49639"/>
                    </a:lnTo>
                    <a:lnTo>
                      <a:pt x="354702" y="51138"/>
                    </a:lnTo>
                    <a:lnTo>
                      <a:pt x="354085" y="51138"/>
                    </a:lnTo>
                    <a:lnTo>
                      <a:pt x="354349" y="52020"/>
                    </a:lnTo>
                    <a:lnTo>
                      <a:pt x="354702" y="52813"/>
                    </a:lnTo>
                    <a:close/>
                    <a:moveTo>
                      <a:pt x="338655" y="57486"/>
                    </a:moveTo>
                    <a:lnTo>
                      <a:pt x="339272" y="55987"/>
                    </a:lnTo>
                    <a:lnTo>
                      <a:pt x="340154" y="55987"/>
                    </a:lnTo>
                    <a:lnTo>
                      <a:pt x="339801" y="56869"/>
                    </a:lnTo>
                    <a:lnTo>
                      <a:pt x="338655" y="57486"/>
                    </a:lnTo>
                    <a:close/>
                    <a:moveTo>
                      <a:pt x="341564" y="65950"/>
                    </a:moveTo>
                    <a:lnTo>
                      <a:pt x="341829" y="63570"/>
                    </a:lnTo>
                    <a:lnTo>
                      <a:pt x="343592" y="62159"/>
                    </a:lnTo>
                    <a:lnTo>
                      <a:pt x="343592" y="63570"/>
                    </a:lnTo>
                    <a:lnTo>
                      <a:pt x="341829" y="64716"/>
                    </a:lnTo>
                    <a:lnTo>
                      <a:pt x="341564" y="65950"/>
                    </a:lnTo>
                    <a:close/>
                    <a:moveTo>
                      <a:pt x="362284" y="91607"/>
                    </a:moveTo>
                    <a:lnTo>
                      <a:pt x="361667" y="91872"/>
                    </a:lnTo>
                    <a:lnTo>
                      <a:pt x="362284" y="91607"/>
                    </a:lnTo>
                    <a:close/>
                    <a:moveTo>
                      <a:pt x="261067" y="188504"/>
                    </a:moveTo>
                    <a:lnTo>
                      <a:pt x="259656" y="187358"/>
                    </a:lnTo>
                    <a:lnTo>
                      <a:pt x="259127" y="185066"/>
                    </a:lnTo>
                    <a:lnTo>
                      <a:pt x="261772" y="182773"/>
                    </a:lnTo>
                    <a:lnTo>
                      <a:pt x="262654" y="181010"/>
                    </a:lnTo>
                    <a:lnTo>
                      <a:pt x="263006" y="179864"/>
                    </a:lnTo>
                    <a:lnTo>
                      <a:pt x="260626" y="180128"/>
                    </a:lnTo>
                    <a:lnTo>
                      <a:pt x="258246" y="181274"/>
                    </a:lnTo>
                    <a:lnTo>
                      <a:pt x="255336" y="182156"/>
                    </a:lnTo>
                    <a:lnTo>
                      <a:pt x="257628" y="177747"/>
                    </a:lnTo>
                    <a:lnTo>
                      <a:pt x="259392" y="176249"/>
                    </a:lnTo>
                    <a:lnTo>
                      <a:pt x="260537" y="174750"/>
                    </a:lnTo>
                    <a:lnTo>
                      <a:pt x="258157" y="175014"/>
                    </a:lnTo>
                    <a:lnTo>
                      <a:pt x="257540" y="176161"/>
                    </a:lnTo>
                    <a:lnTo>
                      <a:pt x="255512" y="178188"/>
                    </a:lnTo>
                    <a:lnTo>
                      <a:pt x="253484" y="180216"/>
                    </a:lnTo>
                    <a:lnTo>
                      <a:pt x="253749" y="176954"/>
                    </a:lnTo>
                    <a:lnTo>
                      <a:pt x="254366" y="175191"/>
                    </a:lnTo>
                    <a:lnTo>
                      <a:pt x="255248" y="174662"/>
                    </a:lnTo>
                    <a:lnTo>
                      <a:pt x="257540" y="173780"/>
                    </a:lnTo>
                    <a:lnTo>
                      <a:pt x="261067" y="172634"/>
                    </a:lnTo>
                    <a:lnTo>
                      <a:pt x="263976" y="170606"/>
                    </a:lnTo>
                    <a:lnTo>
                      <a:pt x="263095" y="171223"/>
                    </a:lnTo>
                    <a:lnTo>
                      <a:pt x="264241" y="169460"/>
                    </a:lnTo>
                    <a:lnTo>
                      <a:pt x="266269" y="168314"/>
                    </a:lnTo>
                    <a:lnTo>
                      <a:pt x="268296" y="165668"/>
                    </a:lnTo>
                    <a:lnTo>
                      <a:pt x="269443" y="165668"/>
                    </a:lnTo>
                    <a:lnTo>
                      <a:pt x="271206" y="164522"/>
                    </a:lnTo>
                    <a:lnTo>
                      <a:pt x="273234" y="164170"/>
                    </a:lnTo>
                    <a:lnTo>
                      <a:pt x="273851" y="162406"/>
                    </a:lnTo>
                    <a:lnTo>
                      <a:pt x="277642" y="159144"/>
                    </a:lnTo>
                    <a:lnTo>
                      <a:pt x="280552" y="156234"/>
                    </a:lnTo>
                    <a:lnTo>
                      <a:pt x="281698" y="153589"/>
                    </a:lnTo>
                    <a:lnTo>
                      <a:pt x="281081" y="150944"/>
                    </a:lnTo>
                    <a:lnTo>
                      <a:pt x="280817" y="151209"/>
                    </a:lnTo>
                    <a:lnTo>
                      <a:pt x="283109" y="149446"/>
                    </a:lnTo>
                    <a:lnTo>
                      <a:pt x="286018" y="148299"/>
                    </a:lnTo>
                    <a:lnTo>
                      <a:pt x="281346" y="147153"/>
                    </a:lnTo>
                    <a:lnTo>
                      <a:pt x="280728" y="145654"/>
                    </a:lnTo>
                    <a:lnTo>
                      <a:pt x="278965" y="144155"/>
                    </a:lnTo>
                    <a:lnTo>
                      <a:pt x="277466" y="142128"/>
                    </a:lnTo>
                    <a:lnTo>
                      <a:pt x="275967" y="141246"/>
                    </a:lnTo>
                    <a:lnTo>
                      <a:pt x="273939" y="142392"/>
                    </a:lnTo>
                    <a:lnTo>
                      <a:pt x="272793" y="141510"/>
                    </a:lnTo>
                    <a:lnTo>
                      <a:pt x="273939" y="139747"/>
                    </a:lnTo>
                    <a:lnTo>
                      <a:pt x="272441" y="138865"/>
                    </a:lnTo>
                    <a:lnTo>
                      <a:pt x="273322" y="136573"/>
                    </a:lnTo>
                    <a:lnTo>
                      <a:pt x="271559" y="136573"/>
                    </a:lnTo>
                    <a:lnTo>
                      <a:pt x="268914" y="136573"/>
                    </a:lnTo>
                    <a:lnTo>
                      <a:pt x="268649" y="134810"/>
                    </a:lnTo>
                    <a:lnTo>
                      <a:pt x="268385" y="133399"/>
                    </a:lnTo>
                    <a:lnTo>
                      <a:pt x="267503" y="130137"/>
                    </a:lnTo>
                    <a:lnTo>
                      <a:pt x="268120" y="126610"/>
                    </a:lnTo>
                    <a:lnTo>
                      <a:pt x="269884" y="125993"/>
                    </a:lnTo>
                    <a:lnTo>
                      <a:pt x="272176" y="124494"/>
                    </a:lnTo>
                    <a:lnTo>
                      <a:pt x="274204" y="124229"/>
                    </a:lnTo>
                    <a:lnTo>
                      <a:pt x="274821" y="122202"/>
                    </a:lnTo>
                    <a:lnTo>
                      <a:pt x="276849" y="122819"/>
                    </a:lnTo>
                    <a:lnTo>
                      <a:pt x="280640" y="120174"/>
                    </a:lnTo>
                    <a:lnTo>
                      <a:pt x="283550" y="120174"/>
                    </a:lnTo>
                    <a:lnTo>
                      <a:pt x="286195" y="120438"/>
                    </a:lnTo>
                    <a:lnTo>
                      <a:pt x="286459" y="119027"/>
                    </a:lnTo>
                    <a:lnTo>
                      <a:pt x="288222" y="118763"/>
                    </a:lnTo>
                    <a:lnTo>
                      <a:pt x="290251" y="118763"/>
                    </a:lnTo>
                    <a:lnTo>
                      <a:pt x="292278" y="116382"/>
                    </a:lnTo>
                    <a:lnTo>
                      <a:pt x="296687" y="115236"/>
                    </a:lnTo>
                    <a:lnTo>
                      <a:pt x="294394" y="112591"/>
                    </a:lnTo>
                    <a:lnTo>
                      <a:pt x="296158" y="110299"/>
                    </a:lnTo>
                    <a:lnTo>
                      <a:pt x="296158" y="108536"/>
                    </a:lnTo>
                    <a:lnTo>
                      <a:pt x="298450" y="107389"/>
                    </a:lnTo>
                    <a:lnTo>
                      <a:pt x="299332" y="107389"/>
                    </a:lnTo>
                    <a:lnTo>
                      <a:pt x="301095" y="105097"/>
                    </a:lnTo>
                    <a:lnTo>
                      <a:pt x="304005" y="101835"/>
                    </a:lnTo>
                    <a:lnTo>
                      <a:pt x="307267" y="100953"/>
                    </a:lnTo>
                    <a:lnTo>
                      <a:pt x="308413" y="98308"/>
                    </a:lnTo>
                    <a:lnTo>
                      <a:pt x="309912" y="94781"/>
                    </a:lnTo>
                    <a:lnTo>
                      <a:pt x="311676" y="93635"/>
                    </a:lnTo>
                    <a:lnTo>
                      <a:pt x="313438" y="91607"/>
                    </a:lnTo>
                    <a:lnTo>
                      <a:pt x="314585" y="88698"/>
                    </a:lnTo>
                    <a:lnTo>
                      <a:pt x="316613" y="88962"/>
                    </a:lnTo>
                    <a:lnTo>
                      <a:pt x="316348" y="86052"/>
                    </a:lnTo>
                    <a:lnTo>
                      <a:pt x="315996" y="85171"/>
                    </a:lnTo>
                    <a:lnTo>
                      <a:pt x="317142" y="84554"/>
                    </a:lnTo>
                    <a:lnTo>
                      <a:pt x="318288" y="81909"/>
                    </a:lnTo>
                    <a:lnTo>
                      <a:pt x="319434" y="78999"/>
                    </a:lnTo>
                    <a:lnTo>
                      <a:pt x="319170" y="76707"/>
                    </a:lnTo>
                    <a:lnTo>
                      <a:pt x="319434" y="76707"/>
                    </a:lnTo>
                    <a:lnTo>
                      <a:pt x="318288" y="73533"/>
                    </a:lnTo>
                    <a:lnTo>
                      <a:pt x="320316" y="71769"/>
                    </a:lnTo>
                    <a:lnTo>
                      <a:pt x="320581" y="68860"/>
                    </a:lnTo>
                    <a:lnTo>
                      <a:pt x="322344" y="69477"/>
                    </a:lnTo>
                    <a:lnTo>
                      <a:pt x="322344" y="66567"/>
                    </a:lnTo>
                    <a:lnTo>
                      <a:pt x="322697" y="65068"/>
                    </a:lnTo>
                    <a:lnTo>
                      <a:pt x="322344" y="63658"/>
                    </a:lnTo>
                    <a:lnTo>
                      <a:pt x="322344" y="60395"/>
                    </a:lnTo>
                    <a:lnTo>
                      <a:pt x="322961" y="59514"/>
                    </a:lnTo>
                    <a:lnTo>
                      <a:pt x="322344" y="58015"/>
                    </a:lnTo>
                    <a:lnTo>
                      <a:pt x="323226" y="55370"/>
                    </a:lnTo>
                    <a:lnTo>
                      <a:pt x="323226" y="54841"/>
                    </a:lnTo>
                    <a:lnTo>
                      <a:pt x="322344" y="54576"/>
                    </a:lnTo>
                    <a:lnTo>
                      <a:pt x="320845" y="54312"/>
                    </a:lnTo>
                    <a:lnTo>
                      <a:pt x="321197" y="52813"/>
                    </a:lnTo>
                    <a:lnTo>
                      <a:pt x="320316" y="51314"/>
                    </a:lnTo>
                    <a:lnTo>
                      <a:pt x="321197" y="48669"/>
                    </a:lnTo>
                    <a:lnTo>
                      <a:pt x="321462" y="46906"/>
                    </a:lnTo>
                    <a:lnTo>
                      <a:pt x="321462" y="45142"/>
                    </a:lnTo>
                    <a:lnTo>
                      <a:pt x="322344" y="41615"/>
                    </a:lnTo>
                    <a:lnTo>
                      <a:pt x="320845" y="40999"/>
                    </a:lnTo>
                    <a:lnTo>
                      <a:pt x="319346" y="38971"/>
                    </a:lnTo>
                    <a:lnTo>
                      <a:pt x="320228" y="36678"/>
                    </a:lnTo>
                    <a:lnTo>
                      <a:pt x="319346" y="35532"/>
                    </a:lnTo>
                    <a:lnTo>
                      <a:pt x="318817" y="34033"/>
                    </a:lnTo>
                    <a:lnTo>
                      <a:pt x="319346" y="31124"/>
                    </a:lnTo>
                    <a:lnTo>
                      <a:pt x="317054" y="29360"/>
                    </a:lnTo>
                    <a:lnTo>
                      <a:pt x="318200" y="27597"/>
                    </a:lnTo>
                    <a:lnTo>
                      <a:pt x="318200" y="26451"/>
                    </a:lnTo>
                    <a:lnTo>
                      <a:pt x="318464" y="24158"/>
                    </a:lnTo>
                    <a:lnTo>
                      <a:pt x="317935" y="23277"/>
                    </a:lnTo>
                    <a:lnTo>
                      <a:pt x="321110" y="21513"/>
                    </a:lnTo>
                    <a:lnTo>
                      <a:pt x="321726" y="19221"/>
                    </a:lnTo>
                    <a:lnTo>
                      <a:pt x="321374" y="17193"/>
                    </a:lnTo>
                    <a:lnTo>
                      <a:pt x="320757" y="14900"/>
                    </a:lnTo>
                    <a:lnTo>
                      <a:pt x="319875" y="12256"/>
                    </a:lnTo>
                    <a:lnTo>
                      <a:pt x="320492" y="10845"/>
                    </a:lnTo>
                    <a:lnTo>
                      <a:pt x="320228" y="8817"/>
                    </a:lnTo>
                    <a:lnTo>
                      <a:pt x="320845" y="7054"/>
                    </a:lnTo>
                    <a:lnTo>
                      <a:pt x="320581" y="5026"/>
                    </a:lnTo>
                    <a:lnTo>
                      <a:pt x="321462" y="2998"/>
                    </a:lnTo>
                    <a:lnTo>
                      <a:pt x="323226" y="2998"/>
                    </a:lnTo>
                    <a:lnTo>
                      <a:pt x="324989" y="2381"/>
                    </a:lnTo>
                    <a:lnTo>
                      <a:pt x="327017" y="2381"/>
                    </a:lnTo>
                    <a:lnTo>
                      <a:pt x="327634" y="4761"/>
                    </a:lnTo>
                    <a:lnTo>
                      <a:pt x="328251" y="5907"/>
                    </a:lnTo>
                    <a:lnTo>
                      <a:pt x="327105" y="7054"/>
                    </a:lnTo>
                    <a:lnTo>
                      <a:pt x="325959" y="8200"/>
                    </a:lnTo>
                    <a:lnTo>
                      <a:pt x="324813" y="12873"/>
                    </a:lnTo>
                    <a:lnTo>
                      <a:pt x="326576" y="14900"/>
                    </a:lnTo>
                    <a:lnTo>
                      <a:pt x="326840" y="15782"/>
                    </a:lnTo>
                    <a:lnTo>
                      <a:pt x="328868" y="14284"/>
                    </a:lnTo>
                    <a:lnTo>
                      <a:pt x="331778" y="16311"/>
                    </a:lnTo>
                    <a:lnTo>
                      <a:pt x="331778" y="17810"/>
                    </a:lnTo>
                    <a:lnTo>
                      <a:pt x="332395" y="18956"/>
                    </a:lnTo>
                    <a:lnTo>
                      <a:pt x="333012" y="18692"/>
                    </a:lnTo>
                    <a:lnTo>
                      <a:pt x="334423" y="16664"/>
                    </a:lnTo>
                    <a:lnTo>
                      <a:pt x="334423" y="17810"/>
                    </a:lnTo>
                    <a:lnTo>
                      <a:pt x="333894" y="18956"/>
                    </a:lnTo>
                    <a:lnTo>
                      <a:pt x="333894" y="20103"/>
                    </a:lnTo>
                    <a:lnTo>
                      <a:pt x="336539" y="19573"/>
                    </a:lnTo>
                    <a:lnTo>
                      <a:pt x="337421" y="18956"/>
                    </a:lnTo>
                    <a:lnTo>
                      <a:pt x="338038" y="20455"/>
                    </a:lnTo>
                    <a:lnTo>
                      <a:pt x="338919" y="21954"/>
                    </a:lnTo>
                    <a:lnTo>
                      <a:pt x="340154" y="23365"/>
                    </a:lnTo>
                    <a:lnTo>
                      <a:pt x="341300" y="23629"/>
                    </a:lnTo>
                    <a:lnTo>
                      <a:pt x="343063" y="23894"/>
                    </a:lnTo>
                    <a:lnTo>
                      <a:pt x="344827" y="24423"/>
                    </a:lnTo>
                    <a:lnTo>
                      <a:pt x="344297" y="27068"/>
                    </a:lnTo>
                    <a:lnTo>
                      <a:pt x="344827" y="28478"/>
                    </a:lnTo>
                    <a:lnTo>
                      <a:pt x="344562" y="30506"/>
                    </a:lnTo>
                    <a:lnTo>
                      <a:pt x="344562" y="32534"/>
                    </a:lnTo>
                    <a:lnTo>
                      <a:pt x="343681" y="34827"/>
                    </a:lnTo>
                    <a:lnTo>
                      <a:pt x="343063" y="35708"/>
                    </a:lnTo>
                    <a:lnTo>
                      <a:pt x="342799" y="37736"/>
                    </a:lnTo>
                    <a:lnTo>
                      <a:pt x="343063" y="38618"/>
                    </a:lnTo>
                    <a:lnTo>
                      <a:pt x="341917" y="38353"/>
                    </a:lnTo>
                    <a:lnTo>
                      <a:pt x="339889" y="41263"/>
                    </a:lnTo>
                    <a:lnTo>
                      <a:pt x="341388" y="40646"/>
                    </a:lnTo>
                    <a:lnTo>
                      <a:pt x="337861" y="41528"/>
                    </a:lnTo>
                    <a:lnTo>
                      <a:pt x="339360" y="43026"/>
                    </a:lnTo>
                    <a:lnTo>
                      <a:pt x="337332" y="43291"/>
                    </a:lnTo>
                    <a:lnTo>
                      <a:pt x="336451" y="45583"/>
                    </a:lnTo>
                    <a:lnTo>
                      <a:pt x="337068" y="47611"/>
                    </a:lnTo>
                    <a:lnTo>
                      <a:pt x="337685" y="48757"/>
                    </a:lnTo>
                    <a:lnTo>
                      <a:pt x="339096" y="49639"/>
                    </a:lnTo>
                    <a:lnTo>
                      <a:pt x="339096" y="50873"/>
                    </a:lnTo>
                    <a:lnTo>
                      <a:pt x="338479" y="52637"/>
                    </a:lnTo>
                    <a:lnTo>
                      <a:pt x="337597" y="52637"/>
                    </a:lnTo>
                    <a:lnTo>
                      <a:pt x="336098" y="54136"/>
                    </a:lnTo>
                    <a:lnTo>
                      <a:pt x="335216" y="55282"/>
                    </a:lnTo>
                    <a:lnTo>
                      <a:pt x="334335" y="55899"/>
                    </a:lnTo>
                    <a:lnTo>
                      <a:pt x="334070" y="57662"/>
                    </a:lnTo>
                    <a:lnTo>
                      <a:pt x="332307" y="58279"/>
                    </a:lnTo>
                    <a:lnTo>
                      <a:pt x="332571" y="61453"/>
                    </a:lnTo>
                    <a:lnTo>
                      <a:pt x="331954" y="64628"/>
                    </a:lnTo>
                    <a:lnTo>
                      <a:pt x="333453" y="65509"/>
                    </a:lnTo>
                    <a:lnTo>
                      <a:pt x="335481" y="63481"/>
                    </a:lnTo>
                    <a:lnTo>
                      <a:pt x="337509" y="63129"/>
                    </a:lnTo>
                    <a:lnTo>
                      <a:pt x="336010" y="65509"/>
                    </a:lnTo>
                    <a:lnTo>
                      <a:pt x="336892" y="66920"/>
                    </a:lnTo>
                    <a:lnTo>
                      <a:pt x="337156" y="68330"/>
                    </a:lnTo>
                    <a:lnTo>
                      <a:pt x="336274" y="70976"/>
                    </a:lnTo>
                    <a:lnTo>
                      <a:pt x="337773" y="73004"/>
                    </a:lnTo>
                    <a:lnTo>
                      <a:pt x="337773" y="74502"/>
                    </a:lnTo>
                    <a:lnTo>
                      <a:pt x="338919" y="72210"/>
                    </a:lnTo>
                    <a:lnTo>
                      <a:pt x="339537" y="69036"/>
                    </a:lnTo>
                    <a:lnTo>
                      <a:pt x="342181" y="67537"/>
                    </a:lnTo>
                    <a:lnTo>
                      <a:pt x="343945" y="64363"/>
                    </a:lnTo>
                    <a:lnTo>
                      <a:pt x="345708" y="62071"/>
                    </a:lnTo>
                    <a:lnTo>
                      <a:pt x="344827" y="58897"/>
                    </a:lnTo>
                    <a:lnTo>
                      <a:pt x="345973" y="57133"/>
                    </a:lnTo>
                    <a:lnTo>
                      <a:pt x="347119" y="57133"/>
                    </a:lnTo>
                    <a:lnTo>
                      <a:pt x="349764" y="58544"/>
                    </a:lnTo>
                    <a:lnTo>
                      <a:pt x="348618" y="61453"/>
                    </a:lnTo>
                    <a:lnTo>
                      <a:pt x="349235" y="64363"/>
                    </a:lnTo>
                    <a:lnTo>
                      <a:pt x="348618" y="67273"/>
                    </a:lnTo>
                    <a:lnTo>
                      <a:pt x="348882" y="69036"/>
                    </a:lnTo>
                    <a:lnTo>
                      <a:pt x="348265" y="71328"/>
                    </a:lnTo>
                    <a:lnTo>
                      <a:pt x="346237" y="72474"/>
                    </a:lnTo>
                    <a:lnTo>
                      <a:pt x="346237" y="74502"/>
                    </a:lnTo>
                    <a:lnTo>
                      <a:pt x="344739" y="76530"/>
                    </a:lnTo>
                    <a:lnTo>
                      <a:pt x="343857" y="79175"/>
                    </a:lnTo>
                    <a:lnTo>
                      <a:pt x="342975" y="82085"/>
                    </a:lnTo>
                    <a:lnTo>
                      <a:pt x="342710" y="83584"/>
                    </a:lnTo>
                    <a:lnTo>
                      <a:pt x="344210" y="85612"/>
                    </a:lnTo>
                    <a:lnTo>
                      <a:pt x="346237" y="87375"/>
                    </a:lnTo>
                    <a:lnTo>
                      <a:pt x="347119" y="89403"/>
                    </a:lnTo>
                    <a:lnTo>
                      <a:pt x="346590" y="90020"/>
                    </a:lnTo>
                    <a:lnTo>
                      <a:pt x="349500" y="88521"/>
                    </a:lnTo>
                    <a:lnTo>
                      <a:pt x="352674" y="90902"/>
                    </a:lnTo>
                    <a:lnTo>
                      <a:pt x="354437" y="91519"/>
                    </a:lnTo>
                    <a:lnTo>
                      <a:pt x="357347" y="92665"/>
                    </a:lnTo>
                    <a:lnTo>
                      <a:pt x="357082" y="93547"/>
                    </a:lnTo>
                    <a:lnTo>
                      <a:pt x="357347" y="95310"/>
                    </a:lnTo>
                    <a:lnTo>
                      <a:pt x="359374" y="94429"/>
                    </a:lnTo>
                    <a:lnTo>
                      <a:pt x="360873" y="95310"/>
                    </a:lnTo>
                    <a:lnTo>
                      <a:pt x="363783" y="95575"/>
                    </a:lnTo>
                    <a:lnTo>
                      <a:pt x="366164" y="94958"/>
                    </a:lnTo>
                    <a:lnTo>
                      <a:pt x="368191" y="94693"/>
                    </a:lnTo>
                    <a:lnTo>
                      <a:pt x="369602" y="93547"/>
                    </a:lnTo>
                    <a:lnTo>
                      <a:pt x="370748" y="91254"/>
                    </a:lnTo>
                    <a:lnTo>
                      <a:pt x="373922" y="89756"/>
                    </a:lnTo>
                    <a:lnTo>
                      <a:pt x="377185" y="87463"/>
                    </a:lnTo>
                    <a:lnTo>
                      <a:pt x="380359" y="86581"/>
                    </a:lnTo>
                    <a:lnTo>
                      <a:pt x="383268" y="85964"/>
                    </a:lnTo>
                    <a:lnTo>
                      <a:pt x="385032" y="85083"/>
                    </a:lnTo>
                    <a:lnTo>
                      <a:pt x="387677" y="84201"/>
                    </a:lnTo>
                    <a:lnTo>
                      <a:pt x="389175" y="83584"/>
                    </a:lnTo>
                    <a:lnTo>
                      <a:pt x="390674" y="83584"/>
                    </a:lnTo>
                    <a:lnTo>
                      <a:pt x="393584" y="83231"/>
                    </a:lnTo>
                    <a:lnTo>
                      <a:pt x="393849" y="84377"/>
                    </a:lnTo>
                    <a:lnTo>
                      <a:pt x="392967" y="87022"/>
                    </a:lnTo>
                    <a:lnTo>
                      <a:pt x="392085" y="89050"/>
                    </a:lnTo>
                    <a:lnTo>
                      <a:pt x="393231" y="89932"/>
                    </a:lnTo>
                    <a:lnTo>
                      <a:pt x="392349" y="92224"/>
                    </a:lnTo>
                    <a:lnTo>
                      <a:pt x="390322" y="92489"/>
                    </a:lnTo>
                    <a:lnTo>
                      <a:pt x="390674" y="93635"/>
                    </a:lnTo>
                    <a:lnTo>
                      <a:pt x="389175" y="93900"/>
                    </a:lnTo>
                    <a:lnTo>
                      <a:pt x="387677" y="94164"/>
                    </a:lnTo>
                    <a:lnTo>
                      <a:pt x="387412" y="95046"/>
                    </a:lnTo>
                    <a:lnTo>
                      <a:pt x="388294" y="97073"/>
                    </a:lnTo>
                    <a:lnTo>
                      <a:pt x="387412" y="97691"/>
                    </a:lnTo>
                    <a:lnTo>
                      <a:pt x="384767" y="98837"/>
                    </a:lnTo>
                    <a:lnTo>
                      <a:pt x="384150" y="99719"/>
                    </a:lnTo>
                    <a:lnTo>
                      <a:pt x="383268" y="101217"/>
                    </a:lnTo>
                    <a:lnTo>
                      <a:pt x="380976" y="102716"/>
                    </a:lnTo>
                    <a:lnTo>
                      <a:pt x="380976" y="104127"/>
                    </a:lnTo>
                    <a:lnTo>
                      <a:pt x="380359" y="104744"/>
                    </a:lnTo>
                    <a:lnTo>
                      <a:pt x="377714" y="107301"/>
                    </a:lnTo>
                    <a:lnTo>
                      <a:pt x="377096" y="108447"/>
                    </a:lnTo>
                    <a:lnTo>
                      <a:pt x="376567" y="108095"/>
                    </a:lnTo>
                    <a:lnTo>
                      <a:pt x="374804" y="110387"/>
                    </a:lnTo>
                    <a:lnTo>
                      <a:pt x="372423" y="112415"/>
                    </a:lnTo>
                    <a:lnTo>
                      <a:pt x="370395" y="114443"/>
                    </a:lnTo>
                    <a:lnTo>
                      <a:pt x="367486" y="114795"/>
                    </a:lnTo>
                    <a:lnTo>
                      <a:pt x="366075" y="116559"/>
                    </a:lnTo>
                    <a:lnTo>
                      <a:pt x="363695" y="118058"/>
                    </a:lnTo>
                    <a:lnTo>
                      <a:pt x="361314" y="118322"/>
                    </a:lnTo>
                    <a:lnTo>
                      <a:pt x="360168" y="120350"/>
                    </a:lnTo>
                    <a:lnTo>
                      <a:pt x="361314" y="121496"/>
                    </a:lnTo>
                    <a:lnTo>
                      <a:pt x="358669" y="123524"/>
                    </a:lnTo>
                    <a:lnTo>
                      <a:pt x="357258" y="125552"/>
                    </a:lnTo>
                    <a:lnTo>
                      <a:pt x="355760" y="126434"/>
                    </a:lnTo>
                    <a:lnTo>
                      <a:pt x="354878" y="126786"/>
                    </a:lnTo>
                    <a:lnTo>
                      <a:pt x="353732" y="126434"/>
                    </a:lnTo>
                    <a:lnTo>
                      <a:pt x="354614" y="124670"/>
                    </a:lnTo>
                    <a:lnTo>
                      <a:pt x="355760" y="124317"/>
                    </a:lnTo>
                    <a:lnTo>
                      <a:pt x="356377" y="123436"/>
                    </a:lnTo>
                    <a:lnTo>
                      <a:pt x="357787" y="121408"/>
                    </a:lnTo>
                    <a:lnTo>
                      <a:pt x="354614" y="123171"/>
                    </a:lnTo>
                    <a:lnTo>
                      <a:pt x="352321" y="124053"/>
                    </a:lnTo>
                    <a:lnTo>
                      <a:pt x="349147" y="124935"/>
                    </a:lnTo>
                    <a:lnTo>
                      <a:pt x="344739" y="124935"/>
                    </a:lnTo>
                    <a:lnTo>
                      <a:pt x="339801" y="126963"/>
                    </a:lnTo>
                    <a:lnTo>
                      <a:pt x="333982" y="128990"/>
                    </a:lnTo>
                    <a:lnTo>
                      <a:pt x="331337" y="133399"/>
                    </a:lnTo>
                    <a:lnTo>
                      <a:pt x="331954" y="136926"/>
                    </a:lnTo>
                    <a:lnTo>
                      <a:pt x="330455" y="137543"/>
                    </a:lnTo>
                    <a:lnTo>
                      <a:pt x="325165" y="144508"/>
                    </a:lnTo>
                    <a:lnTo>
                      <a:pt x="322520" y="146272"/>
                    </a:lnTo>
                    <a:lnTo>
                      <a:pt x="318993" y="148035"/>
                    </a:lnTo>
                    <a:lnTo>
                      <a:pt x="318112" y="149181"/>
                    </a:lnTo>
                    <a:lnTo>
                      <a:pt x="317230" y="151209"/>
                    </a:lnTo>
                    <a:lnTo>
                      <a:pt x="315202" y="154118"/>
                    </a:lnTo>
                    <a:lnTo>
                      <a:pt x="311676" y="155617"/>
                    </a:lnTo>
                    <a:lnTo>
                      <a:pt x="310794" y="155882"/>
                    </a:lnTo>
                    <a:lnTo>
                      <a:pt x="306121" y="159056"/>
                    </a:lnTo>
                    <a:lnTo>
                      <a:pt x="304093" y="159409"/>
                    </a:lnTo>
                    <a:lnTo>
                      <a:pt x="301801" y="163200"/>
                    </a:lnTo>
                    <a:lnTo>
                      <a:pt x="300919" y="164610"/>
                    </a:lnTo>
                    <a:lnTo>
                      <a:pt x="298274" y="165757"/>
                    </a:lnTo>
                    <a:lnTo>
                      <a:pt x="295893" y="166638"/>
                    </a:lnTo>
                    <a:lnTo>
                      <a:pt x="293248" y="167520"/>
                    </a:lnTo>
                    <a:lnTo>
                      <a:pt x="291749" y="169548"/>
                    </a:lnTo>
                    <a:lnTo>
                      <a:pt x="290603" y="171047"/>
                    </a:lnTo>
                    <a:lnTo>
                      <a:pt x="290074" y="172458"/>
                    </a:lnTo>
                    <a:lnTo>
                      <a:pt x="290956" y="174221"/>
                    </a:lnTo>
                    <a:lnTo>
                      <a:pt x="288311" y="173604"/>
                    </a:lnTo>
                    <a:lnTo>
                      <a:pt x="286018" y="175367"/>
                    </a:lnTo>
                    <a:lnTo>
                      <a:pt x="283991" y="176866"/>
                    </a:lnTo>
                    <a:lnTo>
                      <a:pt x="282844" y="178365"/>
                    </a:lnTo>
                    <a:lnTo>
                      <a:pt x="278788" y="178629"/>
                    </a:lnTo>
                    <a:lnTo>
                      <a:pt x="275614" y="180393"/>
                    </a:lnTo>
                    <a:lnTo>
                      <a:pt x="273234" y="181010"/>
                    </a:lnTo>
                    <a:lnTo>
                      <a:pt x="270060" y="182156"/>
                    </a:lnTo>
                    <a:lnTo>
                      <a:pt x="267150" y="183038"/>
                    </a:lnTo>
                    <a:lnTo>
                      <a:pt x="264770" y="183567"/>
                    </a:lnTo>
                    <a:lnTo>
                      <a:pt x="263624" y="184713"/>
                    </a:lnTo>
                    <a:lnTo>
                      <a:pt x="262477" y="187005"/>
                    </a:lnTo>
                    <a:lnTo>
                      <a:pt x="261067" y="188504"/>
                    </a:lnTo>
                    <a:close/>
                    <a:moveTo>
                      <a:pt x="210017" y="331954"/>
                    </a:moveTo>
                    <a:lnTo>
                      <a:pt x="209753" y="331954"/>
                    </a:lnTo>
                    <a:lnTo>
                      <a:pt x="210370" y="331954"/>
                    </a:lnTo>
                    <a:lnTo>
                      <a:pt x="210017" y="33195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0" name="Freihandform: Form 2029">
                <a:extLst>
                  <a:ext uri="{FF2B5EF4-FFF2-40B4-BE49-F238E27FC236}">
                    <a16:creationId xmlns:a16="http://schemas.microsoft.com/office/drawing/2014/main" id="{550A9AD8-4087-9E29-0098-A026221761FC}"/>
                  </a:ext>
                </a:extLst>
              </p:cNvPr>
              <p:cNvSpPr/>
              <p:nvPr/>
            </p:nvSpPr>
            <p:spPr>
              <a:xfrm>
                <a:off x="6465904" y="4407933"/>
                <a:ext cx="939786" cy="840509"/>
              </a:xfrm>
              <a:custGeom>
                <a:avLst/>
                <a:gdLst>
                  <a:gd name="connsiteX0" fmla="*/ 538180 w 939786"/>
                  <a:gd name="connsiteY0" fmla="*/ 837864 h 840509"/>
                  <a:gd name="connsiteX1" fmla="*/ 537034 w 939786"/>
                  <a:gd name="connsiteY1" fmla="*/ 837247 h 840509"/>
                  <a:gd name="connsiteX2" fmla="*/ 535623 w 939786"/>
                  <a:gd name="connsiteY2" fmla="*/ 837511 h 840509"/>
                  <a:gd name="connsiteX3" fmla="*/ 536240 w 939786"/>
                  <a:gd name="connsiteY3" fmla="*/ 835484 h 840509"/>
                  <a:gd name="connsiteX4" fmla="*/ 538533 w 939786"/>
                  <a:gd name="connsiteY4" fmla="*/ 833720 h 840509"/>
                  <a:gd name="connsiteX5" fmla="*/ 542060 w 939786"/>
                  <a:gd name="connsiteY5" fmla="*/ 831428 h 840509"/>
                  <a:gd name="connsiteX6" fmla="*/ 542324 w 939786"/>
                  <a:gd name="connsiteY6" fmla="*/ 831428 h 840509"/>
                  <a:gd name="connsiteX7" fmla="*/ 541707 w 939786"/>
                  <a:gd name="connsiteY7" fmla="*/ 834073 h 840509"/>
                  <a:gd name="connsiteX8" fmla="*/ 541707 w 939786"/>
                  <a:gd name="connsiteY8" fmla="*/ 834690 h 840509"/>
                  <a:gd name="connsiteX9" fmla="*/ 541354 w 939786"/>
                  <a:gd name="connsiteY9" fmla="*/ 835043 h 840509"/>
                  <a:gd name="connsiteX10" fmla="*/ 538709 w 939786"/>
                  <a:gd name="connsiteY10" fmla="*/ 837335 h 840509"/>
                  <a:gd name="connsiteX11" fmla="*/ 538444 w 939786"/>
                  <a:gd name="connsiteY11" fmla="*/ 837600 h 840509"/>
                  <a:gd name="connsiteX12" fmla="*/ 538092 w 939786"/>
                  <a:gd name="connsiteY12" fmla="*/ 837600 h 840509"/>
                  <a:gd name="connsiteX13" fmla="*/ 538092 w 939786"/>
                  <a:gd name="connsiteY13" fmla="*/ 837864 h 840509"/>
                  <a:gd name="connsiteX14" fmla="*/ 543735 w 939786"/>
                  <a:gd name="connsiteY14" fmla="*/ 831428 h 840509"/>
                  <a:gd name="connsiteX15" fmla="*/ 543999 w 939786"/>
                  <a:gd name="connsiteY15" fmla="*/ 828783 h 840509"/>
                  <a:gd name="connsiteX16" fmla="*/ 543999 w 939786"/>
                  <a:gd name="connsiteY16" fmla="*/ 828518 h 840509"/>
                  <a:gd name="connsiteX17" fmla="*/ 545763 w 939786"/>
                  <a:gd name="connsiteY17" fmla="*/ 827372 h 840509"/>
                  <a:gd name="connsiteX18" fmla="*/ 546644 w 939786"/>
                  <a:gd name="connsiteY18" fmla="*/ 826755 h 840509"/>
                  <a:gd name="connsiteX19" fmla="*/ 546909 w 939786"/>
                  <a:gd name="connsiteY19" fmla="*/ 826490 h 840509"/>
                  <a:gd name="connsiteX20" fmla="*/ 546909 w 939786"/>
                  <a:gd name="connsiteY20" fmla="*/ 827637 h 840509"/>
                  <a:gd name="connsiteX21" fmla="*/ 546909 w 939786"/>
                  <a:gd name="connsiteY21" fmla="*/ 827901 h 840509"/>
                  <a:gd name="connsiteX22" fmla="*/ 546027 w 939786"/>
                  <a:gd name="connsiteY22" fmla="*/ 829929 h 840509"/>
                  <a:gd name="connsiteX23" fmla="*/ 545674 w 939786"/>
                  <a:gd name="connsiteY23" fmla="*/ 830194 h 840509"/>
                  <a:gd name="connsiteX24" fmla="*/ 545410 w 939786"/>
                  <a:gd name="connsiteY24" fmla="*/ 830811 h 840509"/>
                  <a:gd name="connsiteX25" fmla="*/ 545145 w 939786"/>
                  <a:gd name="connsiteY25" fmla="*/ 831075 h 840509"/>
                  <a:gd name="connsiteX26" fmla="*/ 543735 w 939786"/>
                  <a:gd name="connsiteY26" fmla="*/ 831428 h 840509"/>
                  <a:gd name="connsiteX27" fmla="*/ 565689 w 939786"/>
                  <a:gd name="connsiteY27" fmla="*/ 818291 h 840509"/>
                  <a:gd name="connsiteX28" fmla="*/ 565953 w 939786"/>
                  <a:gd name="connsiteY28" fmla="*/ 818026 h 840509"/>
                  <a:gd name="connsiteX29" fmla="*/ 567452 w 939786"/>
                  <a:gd name="connsiteY29" fmla="*/ 815998 h 840509"/>
                  <a:gd name="connsiteX30" fmla="*/ 567716 w 939786"/>
                  <a:gd name="connsiteY30" fmla="*/ 815381 h 840509"/>
                  <a:gd name="connsiteX31" fmla="*/ 567981 w 939786"/>
                  <a:gd name="connsiteY31" fmla="*/ 815117 h 840509"/>
                  <a:gd name="connsiteX32" fmla="*/ 568245 w 939786"/>
                  <a:gd name="connsiteY32" fmla="*/ 815117 h 840509"/>
                  <a:gd name="connsiteX33" fmla="*/ 569656 w 939786"/>
                  <a:gd name="connsiteY33" fmla="*/ 814235 h 840509"/>
                  <a:gd name="connsiteX34" fmla="*/ 570009 w 939786"/>
                  <a:gd name="connsiteY34" fmla="*/ 814235 h 840509"/>
                  <a:gd name="connsiteX35" fmla="*/ 570626 w 939786"/>
                  <a:gd name="connsiteY35" fmla="*/ 814235 h 840509"/>
                  <a:gd name="connsiteX36" fmla="*/ 570890 w 939786"/>
                  <a:gd name="connsiteY36" fmla="*/ 814235 h 840509"/>
                  <a:gd name="connsiteX37" fmla="*/ 570626 w 939786"/>
                  <a:gd name="connsiteY37" fmla="*/ 815998 h 840509"/>
                  <a:gd name="connsiteX38" fmla="*/ 570626 w 939786"/>
                  <a:gd name="connsiteY38" fmla="*/ 816263 h 840509"/>
                  <a:gd name="connsiteX39" fmla="*/ 570361 w 939786"/>
                  <a:gd name="connsiteY39" fmla="*/ 816263 h 840509"/>
                  <a:gd name="connsiteX40" fmla="*/ 570097 w 939786"/>
                  <a:gd name="connsiteY40" fmla="*/ 816263 h 840509"/>
                  <a:gd name="connsiteX41" fmla="*/ 568951 w 939786"/>
                  <a:gd name="connsiteY41" fmla="*/ 816263 h 840509"/>
                  <a:gd name="connsiteX42" fmla="*/ 566923 w 939786"/>
                  <a:gd name="connsiteY42" fmla="*/ 818026 h 840509"/>
                  <a:gd name="connsiteX43" fmla="*/ 565689 w 939786"/>
                  <a:gd name="connsiteY43" fmla="*/ 818291 h 840509"/>
                  <a:gd name="connsiteX44" fmla="*/ 578826 w 939786"/>
                  <a:gd name="connsiteY44" fmla="*/ 808328 h 840509"/>
                  <a:gd name="connsiteX45" fmla="*/ 577944 w 939786"/>
                  <a:gd name="connsiteY45" fmla="*/ 807799 h 840509"/>
                  <a:gd name="connsiteX46" fmla="*/ 577679 w 939786"/>
                  <a:gd name="connsiteY46" fmla="*/ 807446 h 840509"/>
                  <a:gd name="connsiteX47" fmla="*/ 577944 w 939786"/>
                  <a:gd name="connsiteY47" fmla="*/ 807181 h 840509"/>
                  <a:gd name="connsiteX48" fmla="*/ 577944 w 939786"/>
                  <a:gd name="connsiteY48" fmla="*/ 806917 h 840509"/>
                  <a:gd name="connsiteX49" fmla="*/ 578208 w 939786"/>
                  <a:gd name="connsiteY49" fmla="*/ 806917 h 840509"/>
                  <a:gd name="connsiteX50" fmla="*/ 578473 w 939786"/>
                  <a:gd name="connsiteY50" fmla="*/ 806917 h 840509"/>
                  <a:gd name="connsiteX51" fmla="*/ 579090 w 939786"/>
                  <a:gd name="connsiteY51" fmla="*/ 806917 h 840509"/>
                  <a:gd name="connsiteX52" fmla="*/ 579707 w 939786"/>
                  <a:gd name="connsiteY52" fmla="*/ 807181 h 840509"/>
                  <a:gd name="connsiteX53" fmla="*/ 579443 w 939786"/>
                  <a:gd name="connsiteY53" fmla="*/ 808063 h 840509"/>
                  <a:gd name="connsiteX54" fmla="*/ 579178 w 939786"/>
                  <a:gd name="connsiteY54" fmla="*/ 808328 h 840509"/>
                  <a:gd name="connsiteX55" fmla="*/ 578826 w 939786"/>
                  <a:gd name="connsiteY55" fmla="*/ 808328 h 840509"/>
                  <a:gd name="connsiteX56" fmla="*/ 523103 w 939786"/>
                  <a:gd name="connsiteY56" fmla="*/ 839628 h 840509"/>
                  <a:gd name="connsiteX57" fmla="*/ 521693 w 939786"/>
                  <a:gd name="connsiteY57" fmla="*/ 840245 h 840509"/>
                  <a:gd name="connsiteX58" fmla="*/ 520811 w 939786"/>
                  <a:gd name="connsiteY58" fmla="*/ 840509 h 840509"/>
                  <a:gd name="connsiteX59" fmla="*/ 521075 w 939786"/>
                  <a:gd name="connsiteY59" fmla="*/ 839892 h 840509"/>
                  <a:gd name="connsiteX60" fmla="*/ 521075 w 939786"/>
                  <a:gd name="connsiteY60" fmla="*/ 839628 h 840509"/>
                  <a:gd name="connsiteX61" fmla="*/ 520811 w 939786"/>
                  <a:gd name="connsiteY61" fmla="*/ 839628 h 840509"/>
                  <a:gd name="connsiteX62" fmla="*/ 520546 w 939786"/>
                  <a:gd name="connsiteY62" fmla="*/ 839628 h 840509"/>
                  <a:gd name="connsiteX63" fmla="*/ 519929 w 939786"/>
                  <a:gd name="connsiteY63" fmla="*/ 839628 h 840509"/>
                  <a:gd name="connsiteX64" fmla="*/ 518431 w 939786"/>
                  <a:gd name="connsiteY64" fmla="*/ 839275 h 840509"/>
                  <a:gd name="connsiteX65" fmla="*/ 517548 w 939786"/>
                  <a:gd name="connsiteY65" fmla="*/ 838129 h 840509"/>
                  <a:gd name="connsiteX66" fmla="*/ 516138 w 939786"/>
                  <a:gd name="connsiteY66" fmla="*/ 837864 h 840509"/>
                  <a:gd name="connsiteX67" fmla="*/ 511730 w 939786"/>
                  <a:gd name="connsiteY67" fmla="*/ 837511 h 840509"/>
                  <a:gd name="connsiteX68" fmla="*/ 511465 w 939786"/>
                  <a:gd name="connsiteY68" fmla="*/ 837511 h 840509"/>
                  <a:gd name="connsiteX69" fmla="*/ 511465 w 939786"/>
                  <a:gd name="connsiteY69" fmla="*/ 837247 h 840509"/>
                  <a:gd name="connsiteX70" fmla="*/ 511465 w 939786"/>
                  <a:gd name="connsiteY70" fmla="*/ 836982 h 840509"/>
                  <a:gd name="connsiteX71" fmla="*/ 511730 w 939786"/>
                  <a:gd name="connsiteY71" fmla="*/ 836718 h 840509"/>
                  <a:gd name="connsiteX72" fmla="*/ 511730 w 939786"/>
                  <a:gd name="connsiteY72" fmla="*/ 836453 h 840509"/>
                  <a:gd name="connsiteX73" fmla="*/ 511465 w 939786"/>
                  <a:gd name="connsiteY73" fmla="*/ 836453 h 840509"/>
                  <a:gd name="connsiteX74" fmla="*/ 511201 w 939786"/>
                  <a:gd name="connsiteY74" fmla="*/ 836453 h 840509"/>
                  <a:gd name="connsiteX75" fmla="*/ 508291 w 939786"/>
                  <a:gd name="connsiteY75" fmla="*/ 837071 h 840509"/>
                  <a:gd name="connsiteX76" fmla="*/ 507145 w 939786"/>
                  <a:gd name="connsiteY76" fmla="*/ 836806 h 840509"/>
                  <a:gd name="connsiteX77" fmla="*/ 506880 w 939786"/>
                  <a:gd name="connsiteY77" fmla="*/ 833897 h 840509"/>
                  <a:gd name="connsiteX78" fmla="*/ 506880 w 939786"/>
                  <a:gd name="connsiteY78" fmla="*/ 833632 h 840509"/>
                  <a:gd name="connsiteX79" fmla="*/ 507145 w 939786"/>
                  <a:gd name="connsiteY79" fmla="*/ 833632 h 840509"/>
                  <a:gd name="connsiteX80" fmla="*/ 507145 w 939786"/>
                  <a:gd name="connsiteY80" fmla="*/ 833367 h 840509"/>
                  <a:gd name="connsiteX81" fmla="*/ 508908 w 939786"/>
                  <a:gd name="connsiteY81" fmla="*/ 832750 h 840509"/>
                  <a:gd name="connsiteX82" fmla="*/ 510672 w 939786"/>
                  <a:gd name="connsiteY82" fmla="*/ 833015 h 840509"/>
                  <a:gd name="connsiteX83" fmla="*/ 510936 w 939786"/>
                  <a:gd name="connsiteY83" fmla="*/ 833015 h 840509"/>
                  <a:gd name="connsiteX84" fmla="*/ 510936 w 939786"/>
                  <a:gd name="connsiteY84" fmla="*/ 833279 h 840509"/>
                  <a:gd name="connsiteX85" fmla="*/ 511553 w 939786"/>
                  <a:gd name="connsiteY85" fmla="*/ 833544 h 840509"/>
                  <a:gd name="connsiteX86" fmla="*/ 512699 w 939786"/>
                  <a:gd name="connsiteY86" fmla="*/ 834161 h 840509"/>
                  <a:gd name="connsiteX87" fmla="*/ 512964 w 939786"/>
                  <a:gd name="connsiteY87" fmla="*/ 834161 h 840509"/>
                  <a:gd name="connsiteX88" fmla="*/ 512964 w 939786"/>
                  <a:gd name="connsiteY88" fmla="*/ 833897 h 840509"/>
                  <a:gd name="connsiteX89" fmla="*/ 513228 w 939786"/>
                  <a:gd name="connsiteY89" fmla="*/ 833897 h 840509"/>
                  <a:gd name="connsiteX90" fmla="*/ 514110 w 939786"/>
                  <a:gd name="connsiteY90" fmla="*/ 832398 h 840509"/>
                  <a:gd name="connsiteX91" fmla="*/ 514110 w 939786"/>
                  <a:gd name="connsiteY91" fmla="*/ 832133 h 840509"/>
                  <a:gd name="connsiteX92" fmla="*/ 513493 w 939786"/>
                  <a:gd name="connsiteY92" fmla="*/ 831252 h 840509"/>
                  <a:gd name="connsiteX93" fmla="*/ 513228 w 939786"/>
                  <a:gd name="connsiteY93" fmla="*/ 831252 h 840509"/>
                  <a:gd name="connsiteX94" fmla="*/ 512964 w 939786"/>
                  <a:gd name="connsiteY94" fmla="*/ 831252 h 840509"/>
                  <a:gd name="connsiteX95" fmla="*/ 512347 w 939786"/>
                  <a:gd name="connsiteY95" fmla="*/ 832133 h 840509"/>
                  <a:gd name="connsiteX96" fmla="*/ 512082 w 939786"/>
                  <a:gd name="connsiteY96" fmla="*/ 832398 h 840509"/>
                  <a:gd name="connsiteX97" fmla="*/ 511730 w 939786"/>
                  <a:gd name="connsiteY97" fmla="*/ 832398 h 840509"/>
                  <a:gd name="connsiteX98" fmla="*/ 511465 w 939786"/>
                  <a:gd name="connsiteY98" fmla="*/ 832662 h 840509"/>
                  <a:gd name="connsiteX99" fmla="*/ 506792 w 939786"/>
                  <a:gd name="connsiteY99" fmla="*/ 831780 h 840509"/>
                  <a:gd name="connsiteX100" fmla="*/ 506527 w 939786"/>
                  <a:gd name="connsiteY100" fmla="*/ 831780 h 840509"/>
                  <a:gd name="connsiteX101" fmla="*/ 506263 w 939786"/>
                  <a:gd name="connsiteY101" fmla="*/ 831516 h 840509"/>
                  <a:gd name="connsiteX102" fmla="*/ 506880 w 939786"/>
                  <a:gd name="connsiteY102" fmla="*/ 828607 h 840509"/>
                  <a:gd name="connsiteX103" fmla="*/ 506880 w 939786"/>
                  <a:gd name="connsiteY103" fmla="*/ 827460 h 840509"/>
                  <a:gd name="connsiteX104" fmla="*/ 506880 w 939786"/>
                  <a:gd name="connsiteY104" fmla="*/ 823405 h 840509"/>
                  <a:gd name="connsiteX105" fmla="*/ 506880 w 939786"/>
                  <a:gd name="connsiteY105" fmla="*/ 823140 h 840509"/>
                  <a:gd name="connsiteX106" fmla="*/ 506616 w 939786"/>
                  <a:gd name="connsiteY106" fmla="*/ 822876 h 840509"/>
                  <a:gd name="connsiteX107" fmla="*/ 506351 w 939786"/>
                  <a:gd name="connsiteY107" fmla="*/ 822876 h 840509"/>
                  <a:gd name="connsiteX108" fmla="*/ 506087 w 939786"/>
                  <a:gd name="connsiteY108" fmla="*/ 822876 h 840509"/>
                  <a:gd name="connsiteX109" fmla="*/ 505469 w 939786"/>
                  <a:gd name="connsiteY109" fmla="*/ 823140 h 840509"/>
                  <a:gd name="connsiteX110" fmla="*/ 505205 w 939786"/>
                  <a:gd name="connsiteY110" fmla="*/ 822876 h 840509"/>
                  <a:gd name="connsiteX111" fmla="*/ 505469 w 939786"/>
                  <a:gd name="connsiteY111" fmla="*/ 821377 h 840509"/>
                  <a:gd name="connsiteX112" fmla="*/ 505734 w 939786"/>
                  <a:gd name="connsiteY112" fmla="*/ 819966 h 840509"/>
                  <a:gd name="connsiteX113" fmla="*/ 506351 w 939786"/>
                  <a:gd name="connsiteY113" fmla="*/ 818202 h 840509"/>
                  <a:gd name="connsiteX114" fmla="*/ 507497 w 939786"/>
                  <a:gd name="connsiteY114" fmla="*/ 815293 h 840509"/>
                  <a:gd name="connsiteX115" fmla="*/ 507497 w 939786"/>
                  <a:gd name="connsiteY115" fmla="*/ 815029 h 840509"/>
                  <a:gd name="connsiteX116" fmla="*/ 507233 w 939786"/>
                  <a:gd name="connsiteY116" fmla="*/ 814147 h 840509"/>
                  <a:gd name="connsiteX117" fmla="*/ 506351 w 939786"/>
                  <a:gd name="connsiteY117" fmla="*/ 814147 h 840509"/>
                  <a:gd name="connsiteX118" fmla="*/ 506351 w 939786"/>
                  <a:gd name="connsiteY118" fmla="*/ 813882 h 840509"/>
                  <a:gd name="connsiteX119" fmla="*/ 508379 w 939786"/>
                  <a:gd name="connsiteY119" fmla="*/ 810091 h 840509"/>
                  <a:gd name="connsiteX120" fmla="*/ 509790 w 939786"/>
                  <a:gd name="connsiteY120" fmla="*/ 806564 h 840509"/>
                  <a:gd name="connsiteX121" fmla="*/ 510054 w 939786"/>
                  <a:gd name="connsiteY121" fmla="*/ 806035 h 840509"/>
                  <a:gd name="connsiteX122" fmla="*/ 510936 w 939786"/>
                  <a:gd name="connsiteY122" fmla="*/ 804889 h 840509"/>
                  <a:gd name="connsiteX123" fmla="*/ 511818 w 939786"/>
                  <a:gd name="connsiteY123" fmla="*/ 804360 h 840509"/>
                  <a:gd name="connsiteX124" fmla="*/ 511818 w 939786"/>
                  <a:gd name="connsiteY124" fmla="*/ 805154 h 840509"/>
                  <a:gd name="connsiteX125" fmla="*/ 511818 w 939786"/>
                  <a:gd name="connsiteY125" fmla="*/ 805506 h 840509"/>
                  <a:gd name="connsiteX126" fmla="*/ 512435 w 939786"/>
                  <a:gd name="connsiteY126" fmla="*/ 806652 h 840509"/>
                  <a:gd name="connsiteX127" fmla="*/ 513052 w 939786"/>
                  <a:gd name="connsiteY127" fmla="*/ 807270 h 840509"/>
                  <a:gd name="connsiteX128" fmla="*/ 513581 w 939786"/>
                  <a:gd name="connsiteY128" fmla="*/ 807887 h 840509"/>
                  <a:gd name="connsiteX129" fmla="*/ 513934 w 939786"/>
                  <a:gd name="connsiteY129" fmla="*/ 808240 h 840509"/>
                  <a:gd name="connsiteX130" fmla="*/ 513581 w 939786"/>
                  <a:gd name="connsiteY130" fmla="*/ 808504 h 840509"/>
                  <a:gd name="connsiteX131" fmla="*/ 513581 w 939786"/>
                  <a:gd name="connsiteY131" fmla="*/ 808769 h 840509"/>
                  <a:gd name="connsiteX132" fmla="*/ 513317 w 939786"/>
                  <a:gd name="connsiteY132" fmla="*/ 809033 h 840509"/>
                  <a:gd name="connsiteX133" fmla="*/ 512699 w 939786"/>
                  <a:gd name="connsiteY133" fmla="*/ 809915 h 840509"/>
                  <a:gd name="connsiteX134" fmla="*/ 512699 w 939786"/>
                  <a:gd name="connsiteY134" fmla="*/ 810179 h 840509"/>
                  <a:gd name="connsiteX135" fmla="*/ 512170 w 939786"/>
                  <a:gd name="connsiteY135" fmla="*/ 811061 h 840509"/>
                  <a:gd name="connsiteX136" fmla="*/ 512170 w 939786"/>
                  <a:gd name="connsiteY136" fmla="*/ 811325 h 840509"/>
                  <a:gd name="connsiteX137" fmla="*/ 512170 w 939786"/>
                  <a:gd name="connsiteY137" fmla="*/ 811590 h 840509"/>
                  <a:gd name="connsiteX138" fmla="*/ 512170 w 939786"/>
                  <a:gd name="connsiteY138" fmla="*/ 811855 h 840509"/>
                  <a:gd name="connsiteX139" fmla="*/ 512170 w 939786"/>
                  <a:gd name="connsiteY139" fmla="*/ 811590 h 840509"/>
                  <a:gd name="connsiteX140" fmla="*/ 516579 w 939786"/>
                  <a:gd name="connsiteY140" fmla="*/ 807534 h 840509"/>
                  <a:gd name="connsiteX141" fmla="*/ 516843 w 939786"/>
                  <a:gd name="connsiteY141" fmla="*/ 807270 h 840509"/>
                  <a:gd name="connsiteX142" fmla="*/ 516314 w 939786"/>
                  <a:gd name="connsiteY142" fmla="*/ 806652 h 840509"/>
                  <a:gd name="connsiteX143" fmla="*/ 516050 w 939786"/>
                  <a:gd name="connsiteY143" fmla="*/ 806652 h 840509"/>
                  <a:gd name="connsiteX144" fmla="*/ 515785 w 939786"/>
                  <a:gd name="connsiteY144" fmla="*/ 806652 h 840509"/>
                  <a:gd name="connsiteX145" fmla="*/ 515256 w 939786"/>
                  <a:gd name="connsiteY145" fmla="*/ 806652 h 840509"/>
                  <a:gd name="connsiteX146" fmla="*/ 514110 w 939786"/>
                  <a:gd name="connsiteY146" fmla="*/ 802861 h 840509"/>
                  <a:gd name="connsiteX147" fmla="*/ 514110 w 939786"/>
                  <a:gd name="connsiteY147" fmla="*/ 801980 h 840509"/>
                  <a:gd name="connsiteX148" fmla="*/ 514727 w 939786"/>
                  <a:gd name="connsiteY148" fmla="*/ 801715 h 840509"/>
                  <a:gd name="connsiteX149" fmla="*/ 514992 w 939786"/>
                  <a:gd name="connsiteY149" fmla="*/ 801451 h 840509"/>
                  <a:gd name="connsiteX150" fmla="*/ 514992 w 939786"/>
                  <a:gd name="connsiteY150" fmla="*/ 800834 h 840509"/>
                  <a:gd name="connsiteX151" fmla="*/ 515344 w 939786"/>
                  <a:gd name="connsiteY151" fmla="*/ 800569 h 840509"/>
                  <a:gd name="connsiteX152" fmla="*/ 515609 w 939786"/>
                  <a:gd name="connsiteY152" fmla="*/ 800304 h 840509"/>
                  <a:gd name="connsiteX153" fmla="*/ 515873 w 939786"/>
                  <a:gd name="connsiteY153" fmla="*/ 799423 h 840509"/>
                  <a:gd name="connsiteX154" fmla="*/ 515873 w 939786"/>
                  <a:gd name="connsiteY154" fmla="*/ 799158 h 840509"/>
                  <a:gd name="connsiteX155" fmla="*/ 516138 w 939786"/>
                  <a:gd name="connsiteY155" fmla="*/ 796778 h 840509"/>
                  <a:gd name="connsiteX156" fmla="*/ 514992 w 939786"/>
                  <a:gd name="connsiteY156" fmla="*/ 794485 h 840509"/>
                  <a:gd name="connsiteX157" fmla="*/ 514992 w 939786"/>
                  <a:gd name="connsiteY157" fmla="*/ 790958 h 840509"/>
                  <a:gd name="connsiteX158" fmla="*/ 515873 w 939786"/>
                  <a:gd name="connsiteY158" fmla="*/ 786638 h 840509"/>
                  <a:gd name="connsiteX159" fmla="*/ 516755 w 939786"/>
                  <a:gd name="connsiteY159" fmla="*/ 782583 h 840509"/>
                  <a:gd name="connsiteX160" fmla="*/ 517020 w 939786"/>
                  <a:gd name="connsiteY160" fmla="*/ 780555 h 840509"/>
                  <a:gd name="connsiteX161" fmla="*/ 517284 w 939786"/>
                  <a:gd name="connsiteY161" fmla="*/ 778527 h 840509"/>
                  <a:gd name="connsiteX162" fmla="*/ 517284 w 939786"/>
                  <a:gd name="connsiteY162" fmla="*/ 778262 h 840509"/>
                  <a:gd name="connsiteX163" fmla="*/ 517637 w 939786"/>
                  <a:gd name="connsiteY163" fmla="*/ 778262 h 840509"/>
                  <a:gd name="connsiteX164" fmla="*/ 517637 w 939786"/>
                  <a:gd name="connsiteY164" fmla="*/ 777910 h 840509"/>
                  <a:gd name="connsiteX165" fmla="*/ 517901 w 939786"/>
                  <a:gd name="connsiteY165" fmla="*/ 777910 h 840509"/>
                  <a:gd name="connsiteX166" fmla="*/ 517901 w 939786"/>
                  <a:gd name="connsiteY166" fmla="*/ 777645 h 840509"/>
                  <a:gd name="connsiteX167" fmla="*/ 518254 w 939786"/>
                  <a:gd name="connsiteY167" fmla="*/ 777292 h 840509"/>
                  <a:gd name="connsiteX168" fmla="*/ 518254 w 939786"/>
                  <a:gd name="connsiteY168" fmla="*/ 777028 h 840509"/>
                  <a:gd name="connsiteX169" fmla="*/ 519400 w 939786"/>
                  <a:gd name="connsiteY169" fmla="*/ 774736 h 840509"/>
                  <a:gd name="connsiteX170" fmla="*/ 519400 w 939786"/>
                  <a:gd name="connsiteY170" fmla="*/ 774471 h 840509"/>
                  <a:gd name="connsiteX171" fmla="*/ 519400 w 939786"/>
                  <a:gd name="connsiteY171" fmla="*/ 774207 h 840509"/>
                  <a:gd name="connsiteX172" fmla="*/ 519664 w 939786"/>
                  <a:gd name="connsiteY172" fmla="*/ 773942 h 840509"/>
                  <a:gd name="connsiteX173" fmla="*/ 519400 w 939786"/>
                  <a:gd name="connsiteY173" fmla="*/ 773325 h 840509"/>
                  <a:gd name="connsiteX174" fmla="*/ 520546 w 939786"/>
                  <a:gd name="connsiteY174" fmla="*/ 770944 h 840509"/>
                  <a:gd name="connsiteX175" fmla="*/ 520811 w 939786"/>
                  <a:gd name="connsiteY175" fmla="*/ 770680 h 840509"/>
                  <a:gd name="connsiteX176" fmla="*/ 521693 w 939786"/>
                  <a:gd name="connsiteY176" fmla="*/ 770063 h 840509"/>
                  <a:gd name="connsiteX177" fmla="*/ 521957 w 939786"/>
                  <a:gd name="connsiteY177" fmla="*/ 770063 h 840509"/>
                  <a:gd name="connsiteX178" fmla="*/ 522222 w 939786"/>
                  <a:gd name="connsiteY178" fmla="*/ 769798 h 840509"/>
                  <a:gd name="connsiteX179" fmla="*/ 522751 w 939786"/>
                  <a:gd name="connsiteY179" fmla="*/ 769798 h 840509"/>
                  <a:gd name="connsiteX180" fmla="*/ 523103 w 939786"/>
                  <a:gd name="connsiteY180" fmla="*/ 769534 h 840509"/>
                  <a:gd name="connsiteX181" fmla="*/ 523103 w 939786"/>
                  <a:gd name="connsiteY181" fmla="*/ 769269 h 840509"/>
                  <a:gd name="connsiteX182" fmla="*/ 523720 w 939786"/>
                  <a:gd name="connsiteY182" fmla="*/ 769005 h 840509"/>
                  <a:gd name="connsiteX183" fmla="*/ 524338 w 939786"/>
                  <a:gd name="connsiteY183" fmla="*/ 768123 h 840509"/>
                  <a:gd name="connsiteX184" fmla="*/ 525219 w 939786"/>
                  <a:gd name="connsiteY184" fmla="*/ 766360 h 840509"/>
                  <a:gd name="connsiteX185" fmla="*/ 526983 w 939786"/>
                  <a:gd name="connsiteY185" fmla="*/ 765478 h 840509"/>
                  <a:gd name="connsiteX186" fmla="*/ 531391 w 939786"/>
                  <a:gd name="connsiteY186" fmla="*/ 766095 h 840509"/>
                  <a:gd name="connsiteX187" fmla="*/ 532008 w 939786"/>
                  <a:gd name="connsiteY187" fmla="*/ 766977 h 840509"/>
                  <a:gd name="connsiteX188" fmla="*/ 532272 w 939786"/>
                  <a:gd name="connsiteY188" fmla="*/ 767594 h 840509"/>
                  <a:gd name="connsiteX189" fmla="*/ 532626 w 939786"/>
                  <a:gd name="connsiteY189" fmla="*/ 767858 h 840509"/>
                  <a:gd name="connsiteX190" fmla="*/ 532890 w 939786"/>
                  <a:gd name="connsiteY190" fmla="*/ 768123 h 840509"/>
                  <a:gd name="connsiteX191" fmla="*/ 533243 w 939786"/>
                  <a:gd name="connsiteY191" fmla="*/ 768123 h 840509"/>
                  <a:gd name="connsiteX192" fmla="*/ 536769 w 939786"/>
                  <a:gd name="connsiteY192" fmla="*/ 767506 h 840509"/>
                  <a:gd name="connsiteX193" fmla="*/ 537386 w 939786"/>
                  <a:gd name="connsiteY193" fmla="*/ 768387 h 840509"/>
                  <a:gd name="connsiteX194" fmla="*/ 537651 w 939786"/>
                  <a:gd name="connsiteY194" fmla="*/ 768652 h 840509"/>
                  <a:gd name="connsiteX195" fmla="*/ 540825 w 939786"/>
                  <a:gd name="connsiteY195" fmla="*/ 769798 h 840509"/>
                  <a:gd name="connsiteX196" fmla="*/ 543735 w 939786"/>
                  <a:gd name="connsiteY196" fmla="*/ 772179 h 840509"/>
                  <a:gd name="connsiteX197" fmla="*/ 545498 w 939786"/>
                  <a:gd name="connsiteY197" fmla="*/ 773589 h 840509"/>
                  <a:gd name="connsiteX198" fmla="*/ 549906 w 939786"/>
                  <a:gd name="connsiteY198" fmla="*/ 776499 h 840509"/>
                  <a:gd name="connsiteX199" fmla="*/ 550259 w 939786"/>
                  <a:gd name="connsiteY199" fmla="*/ 776499 h 840509"/>
                  <a:gd name="connsiteX200" fmla="*/ 550523 w 939786"/>
                  <a:gd name="connsiteY200" fmla="*/ 776499 h 840509"/>
                  <a:gd name="connsiteX201" fmla="*/ 551141 w 939786"/>
                  <a:gd name="connsiteY201" fmla="*/ 776764 h 840509"/>
                  <a:gd name="connsiteX202" fmla="*/ 553698 w 939786"/>
                  <a:gd name="connsiteY202" fmla="*/ 777028 h 840509"/>
                  <a:gd name="connsiteX203" fmla="*/ 554315 w 939786"/>
                  <a:gd name="connsiteY203" fmla="*/ 777028 h 840509"/>
                  <a:gd name="connsiteX204" fmla="*/ 554932 w 939786"/>
                  <a:gd name="connsiteY204" fmla="*/ 777028 h 840509"/>
                  <a:gd name="connsiteX205" fmla="*/ 555549 w 939786"/>
                  <a:gd name="connsiteY205" fmla="*/ 776764 h 840509"/>
                  <a:gd name="connsiteX206" fmla="*/ 555814 w 939786"/>
                  <a:gd name="connsiteY206" fmla="*/ 776764 h 840509"/>
                  <a:gd name="connsiteX207" fmla="*/ 556695 w 939786"/>
                  <a:gd name="connsiteY207" fmla="*/ 776499 h 840509"/>
                  <a:gd name="connsiteX208" fmla="*/ 557313 w 939786"/>
                  <a:gd name="connsiteY208" fmla="*/ 776235 h 840509"/>
                  <a:gd name="connsiteX209" fmla="*/ 557930 w 939786"/>
                  <a:gd name="connsiteY209" fmla="*/ 777116 h 840509"/>
                  <a:gd name="connsiteX210" fmla="*/ 558282 w 939786"/>
                  <a:gd name="connsiteY210" fmla="*/ 777381 h 840509"/>
                  <a:gd name="connsiteX211" fmla="*/ 558547 w 939786"/>
                  <a:gd name="connsiteY211" fmla="*/ 776499 h 840509"/>
                  <a:gd name="connsiteX212" fmla="*/ 558811 w 939786"/>
                  <a:gd name="connsiteY212" fmla="*/ 776499 h 840509"/>
                  <a:gd name="connsiteX213" fmla="*/ 558811 w 939786"/>
                  <a:gd name="connsiteY213" fmla="*/ 776235 h 840509"/>
                  <a:gd name="connsiteX214" fmla="*/ 561456 w 939786"/>
                  <a:gd name="connsiteY214" fmla="*/ 774736 h 840509"/>
                  <a:gd name="connsiteX215" fmla="*/ 562955 w 939786"/>
                  <a:gd name="connsiteY215" fmla="*/ 774471 h 840509"/>
                  <a:gd name="connsiteX216" fmla="*/ 563573 w 939786"/>
                  <a:gd name="connsiteY216" fmla="*/ 774471 h 840509"/>
                  <a:gd name="connsiteX217" fmla="*/ 563837 w 939786"/>
                  <a:gd name="connsiteY217" fmla="*/ 774471 h 840509"/>
                  <a:gd name="connsiteX218" fmla="*/ 564102 w 939786"/>
                  <a:gd name="connsiteY218" fmla="*/ 774471 h 840509"/>
                  <a:gd name="connsiteX219" fmla="*/ 564102 w 939786"/>
                  <a:gd name="connsiteY219" fmla="*/ 774736 h 840509"/>
                  <a:gd name="connsiteX220" fmla="*/ 564102 w 939786"/>
                  <a:gd name="connsiteY220" fmla="*/ 775353 h 840509"/>
                  <a:gd name="connsiteX221" fmla="*/ 563837 w 939786"/>
                  <a:gd name="connsiteY221" fmla="*/ 775970 h 840509"/>
                  <a:gd name="connsiteX222" fmla="*/ 563837 w 939786"/>
                  <a:gd name="connsiteY222" fmla="*/ 776235 h 840509"/>
                  <a:gd name="connsiteX223" fmla="*/ 563573 w 939786"/>
                  <a:gd name="connsiteY223" fmla="*/ 776235 h 840509"/>
                  <a:gd name="connsiteX224" fmla="*/ 563308 w 939786"/>
                  <a:gd name="connsiteY224" fmla="*/ 776499 h 840509"/>
                  <a:gd name="connsiteX225" fmla="*/ 563308 w 939786"/>
                  <a:gd name="connsiteY225" fmla="*/ 776764 h 840509"/>
                  <a:gd name="connsiteX226" fmla="*/ 563573 w 939786"/>
                  <a:gd name="connsiteY226" fmla="*/ 776764 h 840509"/>
                  <a:gd name="connsiteX227" fmla="*/ 564454 w 939786"/>
                  <a:gd name="connsiteY227" fmla="*/ 776764 h 840509"/>
                  <a:gd name="connsiteX228" fmla="*/ 566218 w 939786"/>
                  <a:gd name="connsiteY228" fmla="*/ 777028 h 840509"/>
                  <a:gd name="connsiteX229" fmla="*/ 566218 w 939786"/>
                  <a:gd name="connsiteY229" fmla="*/ 776764 h 840509"/>
                  <a:gd name="connsiteX230" fmla="*/ 566218 w 939786"/>
                  <a:gd name="connsiteY230" fmla="*/ 776146 h 840509"/>
                  <a:gd name="connsiteX231" fmla="*/ 566218 w 939786"/>
                  <a:gd name="connsiteY231" fmla="*/ 775882 h 840509"/>
                  <a:gd name="connsiteX232" fmla="*/ 565953 w 939786"/>
                  <a:gd name="connsiteY232" fmla="*/ 775882 h 840509"/>
                  <a:gd name="connsiteX233" fmla="*/ 565689 w 939786"/>
                  <a:gd name="connsiteY233" fmla="*/ 775882 h 840509"/>
                  <a:gd name="connsiteX234" fmla="*/ 564454 w 939786"/>
                  <a:gd name="connsiteY234" fmla="*/ 775882 h 840509"/>
                  <a:gd name="connsiteX235" fmla="*/ 563837 w 939786"/>
                  <a:gd name="connsiteY235" fmla="*/ 775617 h 840509"/>
                  <a:gd name="connsiteX236" fmla="*/ 563573 w 939786"/>
                  <a:gd name="connsiteY236" fmla="*/ 775353 h 840509"/>
                  <a:gd name="connsiteX237" fmla="*/ 563837 w 939786"/>
                  <a:gd name="connsiteY237" fmla="*/ 775088 h 840509"/>
                  <a:gd name="connsiteX238" fmla="*/ 564454 w 939786"/>
                  <a:gd name="connsiteY238" fmla="*/ 774207 h 840509"/>
                  <a:gd name="connsiteX239" fmla="*/ 564719 w 939786"/>
                  <a:gd name="connsiteY239" fmla="*/ 773942 h 840509"/>
                  <a:gd name="connsiteX240" fmla="*/ 565600 w 939786"/>
                  <a:gd name="connsiteY240" fmla="*/ 773325 h 840509"/>
                  <a:gd name="connsiteX241" fmla="*/ 565865 w 939786"/>
                  <a:gd name="connsiteY241" fmla="*/ 773325 h 840509"/>
                  <a:gd name="connsiteX242" fmla="*/ 566129 w 939786"/>
                  <a:gd name="connsiteY242" fmla="*/ 773325 h 840509"/>
                  <a:gd name="connsiteX243" fmla="*/ 569921 w 939786"/>
                  <a:gd name="connsiteY243" fmla="*/ 771914 h 840509"/>
                  <a:gd name="connsiteX244" fmla="*/ 571067 w 939786"/>
                  <a:gd name="connsiteY244" fmla="*/ 772443 h 840509"/>
                  <a:gd name="connsiteX245" fmla="*/ 571332 w 939786"/>
                  <a:gd name="connsiteY245" fmla="*/ 772443 h 840509"/>
                  <a:gd name="connsiteX246" fmla="*/ 571596 w 939786"/>
                  <a:gd name="connsiteY246" fmla="*/ 772708 h 840509"/>
                  <a:gd name="connsiteX247" fmla="*/ 571861 w 939786"/>
                  <a:gd name="connsiteY247" fmla="*/ 772708 h 840509"/>
                  <a:gd name="connsiteX248" fmla="*/ 572125 w 939786"/>
                  <a:gd name="connsiteY248" fmla="*/ 772708 h 840509"/>
                  <a:gd name="connsiteX249" fmla="*/ 572390 w 939786"/>
                  <a:gd name="connsiteY249" fmla="*/ 772708 h 840509"/>
                  <a:gd name="connsiteX250" fmla="*/ 572654 w 939786"/>
                  <a:gd name="connsiteY250" fmla="*/ 772708 h 840509"/>
                  <a:gd name="connsiteX251" fmla="*/ 573271 w 939786"/>
                  <a:gd name="connsiteY251" fmla="*/ 772708 h 840509"/>
                  <a:gd name="connsiteX252" fmla="*/ 576710 w 939786"/>
                  <a:gd name="connsiteY252" fmla="*/ 771914 h 840509"/>
                  <a:gd name="connsiteX253" fmla="*/ 577327 w 939786"/>
                  <a:gd name="connsiteY253" fmla="*/ 773060 h 840509"/>
                  <a:gd name="connsiteX254" fmla="*/ 577591 w 939786"/>
                  <a:gd name="connsiteY254" fmla="*/ 773060 h 840509"/>
                  <a:gd name="connsiteX255" fmla="*/ 578737 w 939786"/>
                  <a:gd name="connsiteY255" fmla="*/ 772796 h 840509"/>
                  <a:gd name="connsiteX256" fmla="*/ 579355 w 939786"/>
                  <a:gd name="connsiteY256" fmla="*/ 772531 h 840509"/>
                  <a:gd name="connsiteX257" fmla="*/ 579355 w 939786"/>
                  <a:gd name="connsiteY257" fmla="*/ 772267 h 840509"/>
                  <a:gd name="connsiteX258" fmla="*/ 579972 w 939786"/>
                  <a:gd name="connsiteY258" fmla="*/ 772002 h 840509"/>
                  <a:gd name="connsiteX259" fmla="*/ 580501 w 939786"/>
                  <a:gd name="connsiteY259" fmla="*/ 771385 h 840509"/>
                  <a:gd name="connsiteX260" fmla="*/ 581647 w 939786"/>
                  <a:gd name="connsiteY260" fmla="*/ 770768 h 840509"/>
                  <a:gd name="connsiteX261" fmla="*/ 582793 w 939786"/>
                  <a:gd name="connsiteY261" fmla="*/ 769622 h 840509"/>
                  <a:gd name="connsiteX262" fmla="*/ 583058 w 939786"/>
                  <a:gd name="connsiteY262" fmla="*/ 769357 h 840509"/>
                  <a:gd name="connsiteX263" fmla="*/ 583675 w 939786"/>
                  <a:gd name="connsiteY263" fmla="*/ 769093 h 840509"/>
                  <a:gd name="connsiteX264" fmla="*/ 583675 w 939786"/>
                  <a:gd name="connsiteY264" fmla="*/ 768828 h 840509"/>
                  <a:gd name="connsiteX265" fmla="*/ 584204 w 939786"/>
                  <a:gd name="connsiteY265" fmla="*/ 768828 h 840509"/>
                  <a:gd name="connsiteX266" fmla="*/ 584204 w 939786"/>
                  <a:gd name="connsiteY266" fmla="*/ 768564 h 840509"/>
                  <a:gd name="connsiteX267" fmla="*/ 585702 w 939786"/>
                  <a:gd name="connsiteY267" fmla="*/ 768299 h 840509"/>
                  <a:gd name="connsiteX268" fmla="*/ 585967 w 939786"/>
                  <a:gd name="connsiteY268" fmla="*/ 768564 h 840509"/>
                  <a:gd name="connsiteX269" fmla="*/ 585967 w 939786"/>
                  <a:gd name="connsiteY269" fmla="*/ 768828 h 840509"/>
                  <a:gd name="connsiteX270" fmla="*/ 585967 w 939786"/>
                  <a:gd name="connsiteY270" fmla="*/ 769093 h 840509"/>
                  <a:gd name="connsiteX271" fmla="*/ 585967 w 939786"/>
                  <a:gd name="connsiteY271" fmla="*/ 769357 h 840509"/>
                  <a:gd name="connsiteX272" fmla="*/ 587466 w 939786"/>
                  <a:gd name="connsiteY272" fmla="*/ 769975 h 840509"/>
                  <a:gd name="connsiteX273" fmla="*/ 587731 w 939786"/>
                  <a:gd name="connsiteY273" fmla="*/ 769975 h 840509"/>
                  <a:gd name="connsiteX274" fmla="*/ 587995 w 939786"/>
                  <a:gd name="connsiteY274" fmla="*/ 769975 h 840509"/>
                  <a:gd name="connsiteX275" fmla="*/ 588260 w 939786"/>
                  <a:gd name="connsiteY275" fmla="*/ 769975 h 840509"/>
                  <a:gd name="connsiteX276" fmla="*/ 588789 w 939786"/>
                  <a:gd name="connsiteY276" fmla="*/ 769710 h 840509"/>
                  <a:gd name="connsiteX277" fmla="*/ 589406 w 939786"/>
                  <a:gd name="connsiteY277" fmla="*/ 769445 h 840509"/>
                  <a:gd name="connsiteX278" fmla="*/ 589670 w 939786"/>
                  <a:gd name="connsiteY278" fmla="*/ 769445 h 840509"/>
                  <a:gd name="connsiteX279" fmla="*/ 590287 w 939786"/>
                  <a:gd name="connsiteY279" fmla="*/ 769181 h 840509"/>
                  <a:gd name="connsiteX280" fmla="*/ 590905 w 939786"/>
                  <a:gd name="connsiteY280" fmla="*/ 768564 h 840509"/>
                  <a:gd name="connsiteX281" fmla="*/ 591169 w 939786"/>
                  <a:gd name="connsiteY281" fmla="*/ 768299 h 840509"/>
                  <a:gd name="connsiteX282" fmla="*/ 591434 w 939786"/>
                  <a:gd name="connsiteY282" fmla="*/ 768035 h 840509"/>
                  <a:gd name="connsiteX283" fmla="*/ 591698 w 939786"/>
                  <a:gd name="connsiteY283" fmla="*/ 767770 h 840509"/>
                  <a:gd name="connsiteX284" fmla="*/ 591963 w 939786"/>
                  <a:gd name="connsiteY284" fmla="*/ 767506 h 840509"/>
                  <a:gd name="connsiteX285" fmla="*/ 592580 w 939786"/>
                  <a:gd name="connsiteY285" fmla="*/ 766889 h 840509"/>
                  <a:gd name="connsiteX286" fmla="*/ 592580 w 939786"/>
                  <a:gd name="connsiteY286" fmla="*/ 766624 h 840509"/>
                  <a:gd name="connsiteX287" fmla="*/ 592844 w 939786"/>
                  <a:gd name="connsiteY287" fmla="*/ 766624 h 840509"/>
                  <a:gd name="connsiteX288" fmla="*/ 593109 w 939786"/>
                  <a:gd name="connsiteY288" fmla="*/ 766360 h 840509"/>
                  <a:gd name="connsiteX289" fmla="*/ 593374 w 939786"/>
                  <a:gd name="connsiteY289" fmla="*/ 766360 h 840509"/>
                  <a:gd name="connsiteX290" fmla="*/ 593990 w 939786"/>
                  <a:gd name="connsiteY290" fmla="*/ 766360 h 840509"/>
                  <a:gd name="connsiteX291" fmla="*/ 594255 w 939786"/>
                  <a:gd name="connsiteY291" fmla="*/ 766360 h 840509"/>
                  <a:gd name="connsiteX292" fmla="*/ 595137 w 939786"/>
                  <a:gd name="connsiteY292" fmla="*/ 766889 h 840509"/>
                  <a:gd name="connsiteX293" fmla="*/ 596900 w 939786"/>
                  <a:gd name="connsiteY293" fmla="*/ 768916 h 840509"/>
                  <a:gd name="connsiteX294" fmla="*/ 597165 w 939786"/>
                  <a:gd name="connsiteY294" fmla="*/ 770415 h 840509"/>
                  <a:gd name="connsiteX295" fmla="*/ 596900 w 939786"/>
                  <a:gd name="connsiteY295" fmla="*/ 771914 h 840509"/>
                  <a:gd name="connsiteX296" fmla="*/ 596900 w 939786"/>
                  <a:gd name="connsiteY296" fmla="*/ 772531 h 840509"/>
                  <a:gd name="connsiteX297" fmla="*/ 596900 w 939786"/>
                  <a:gd name="connsiteY297" fmla="*/ 772796 h 840509"/>
                  <a:gd name="connsiteX298" fmla="*/ 596548 w 939786"/>
                  <a:gd name="connsiteY298" fmla="*/ 773060 h 840509"/>
                  <a:gd name="connsiteX299" fmla="*/ 594784 w 939786"/>
                  <a:gd name="connsiteY299" fmla="*/ 774824 h 840509"/>
                  <a:gd name="connsiteX300" fmla="*/ 593903 w 939786"/>
                  <a:gd name="connsiteY300" fmla="*/ 775706 h 840509"/>
                  <a:gd name="connsiteX301" fmla="*/ 593550 w 939786"/>
                  <a:gd name="connsiteY301" fmla="*/ 775970 h 840509"/>
                  <a:gd name="connsiteX302" fmla="*/ 593021 w 939786"/>
                  <a:gd name="connsiteY302" fmla="*/ 776587 h 840509"/>
                  <a:gd name="connsiteX303" fmla="*/ 592756 w 939786"/>
                  <a:gd name="connsiteY303" fmla="*/ 777204 h 840509"/>
                  <a:gd name="connsiteX304" fmla="*/ 592492 w 939786"/>
                  <a:gd name="connsiteY304" fmla="*/ 777204 h 840509"/>
                  <a:gd name="connsiteX305" fmla="*/ 592227 w 939786"/>
                  <a:gd name="connsiteY305" fmla="*/ 777821 h 840509"/>
                  <a:gd name="connsiteX306" fmla="*/ 591963 w 939786"/>
                  <a:gd name="connsiteY306" fmla="*/ 778174 h 840509"/>
                  <a:gd name="connsiteX307" fmla="*/ 591698 w 939786"/>
                  <a:gd name="connsiteY307" fmla="*/ 778791 h 840509"/>
                  <a:gd name="connsiteX308" fmla="*/ 591963 w 939786"/>
                  <a:gd name="connsiteY308" fmla="*/ 779056 h 840509"/>
                  <a:gd name="connsiteX309" fmla="*/ 591963 w 939786"/>
                  <a:gd name="connsiteY309" fmla="*/ 779673 h 840509"/>
                  <a:gd name="connsiteX310" fmla="*/ 591963 w 939786"/>
                  <a:gd name="connsiteY310" fmla="*/ 779937 h 840509"/>
                  <a:gd name="connsiteX311" fmla="*/ 590816 w 939786"/>
                  <a:gd name="connsiteY311" fmla="*/ 781701 h 840509"/>
                  <a:gd name="connsiteX312" fmla="*/ 588789 w 939786"/>
                  <a:gd name="connsiteY312" fmla="*/ 783993 h 840509"/>
                  <a:gd name="connsiteX313" fmla="*/ 588260 w 939786"/>
                  <a:gd name="connsiteY313" fmla="*/ 784610 h 840509"/>
                  <a:gd name="connsiteX314" fmla="*/ 587995 w 939786"/>
                  <a:gd name="connsiteY314" fmla="*/ 784875 h 840509"/>
                  <a:gd name="connsiteX315" fmla="*/ 587731 w 939786"/>
                  <a:gd name="connsiteY315" fmla="*/ 785139 h 840509"/>
                  <a:gd name="connsiteX316" fmla="*/ 586849 w 939786"/>
                  <a:gd name="connsiteY316" fmla="*/ 786903 h 840509"/>
                  <a:gd name="connsiteX317" fmla="*/ 586849 w 939786"/>
                  <a:gd name="connsiteY317" fmla="*/ 787167 h 840509"/>
                  <a:gd name="connsiteX318" fmla="*/ 586849 w 939786"/>
                  <a:gd name="connsiteY318" fmla="*/ 787432 h 840509"/>
                  <a:gd name="connsiteX319" fmla="*/ 586849 w 939786"/>
                  <a:gd name="connsiteY319" fmla="*/ 787696 h 840509"/>
                  <a:gd name="connsiteX320" fmla="*/ 586585 w 939786"/>
                  <a:gd name="connsiteY320" fmla="*/ 787961 h 840509"/>
                  <a:gd name="connsiteX321" fmla="*/ 586585 w 939786"/>
                  <a:gd name="connsiteY321" fmla="*/ 788225 h 840509"/>
                  <a:gd name="connsiteX322" fmla="*/ 586320 w 939786"/>
                  <a:gd name="connsiteY322" fmla="*/ 788843 h 840509"/>
                  <a:gd name="connsiteX323" fmla="*/ 584027 w 939786"/>
                  <a:gd name="connsiteY323" fmla="*/ 791752 h 840509"/>
                  <a:gd name="connsiteX324" fmla="*/ 582882 w 939786"/>
                  <a:gd name="connsiteY324" fmla="*/ 792898 h 840509"/>
                  <a:gd name="connsiteX325" fmla="*/ 582617 w 939786"/>
                  <a:gd name="connsiteY325" fmla="*/ 793427 h 840509"/>
                  <a:gd name="connsiteX326" fmla="*/ 582000 w 939786"/>
                  <a:gd name="connsiteY326" fmla="*/ 793780 h 840509"/>
                  <a:gd name="connsiteX327" fmla="*/ 582000 w 939786"/>
                  <a:gd name="connsiteY327" fmla="*/ 794044 h 840509"/>
                  <a:gd name="connsiteX328" fmla="*/ 579090 w 939786"/>
                  <a:gd name="connsiteY328" fmla="*/ 799599 h 840509"/>
                  <a:gd name="connsiteX329" fmla="*/ 578826 w 939786"/>
                  <a:gd name="connsiteY329" fmla="*/ 800216 h 840509"/>
                  <a:gd name="connsiteX330" fmla="*/ 578826 w 939786"/>
                  <a:gd name="connsiteY330" fmla="*/ 799599 h 840509"/>
                  <a:gd name="connsiteX331" fmla="*/ 578826 w 939786"/>
                  <a:gd name="connsiteY331" fmla="*/ 799864 h 840509"/>
                  <a:gd name="connsiteX332" fmla="*/ 578826 w 939786"/>
                  <a:gd name="connsiteY332" fmla="*/ 800128 h 840509"/>
                  <a:gd name="connsiteX333" fmla="*/ 579090 w 939786"/>
                  <a:gd name="connsiteY333" fmla="*/ 800393 h 840509"/>
                  <a:gd name="connsiteX334" fmla="*/ 579090 w 939786"/>
                  <a:gd name="connsiteY334" fmla="*/ 800745 h 840509"/>
                  <a:gd name="connsiteX335" fmla="*/ 577327 w 939786"/>
                  <a:gd name="connsiteY335" fmla="*/ 803390 h 840509"/>
                  <a:gd name="connsiteX336" fmla="*/ 577062 w 939786"/>
                  <a:gd name="connsiteY336" fmla="*/ 803655 h 840509"/>
                  <a:gd name="connsiteX337" fmla="*/ 577062 w 939786"/>
                  <a:gd name="connsiteY337" fmla="*/ 803919 h 840509"/>
                  <a:gd name="connsiteX338" fmla="*/ 576533 w 939786"/>
                  <a:gd name="connsiteY338" fmla="*/ 804184 h 840509"/>
                  <a:gd name="connsiteX339" fmla="*/ 575916 w 939786"/>
                  <a:gd name="connsiteY339" fmla="*/ 804713 h 840509"/>
                  <a:gd name="connsiteX340" fmla="*/ 575299 w 939786"/>
                  <a:gd name="connsiteY340" fmla="*/ 805065 h 840509"/>
                  <a:gd name="connsiteX341" fmla="*/ 574946 w 939786"/>
                  <a:gd name="connsiteY341" fmla="*/ 805065 h 840509"/>
                  <a:gd name="connsiteX342" fmla="*/ 574681 w 939786"/>
                  <a:gd name="connsiteY342" fmla="*/ 804448 h 840509"/>
                  <a:gd name="connsiteX343" fmla="*/ 574946 w 939786"/>
                  <a:gd name="connsiteY343" fmla="*/ 803919 h 840509"/>
                  <a:gd name="connsiteX344" fmla="*/ 575563 w 939786"/>
                  <a:gd name="connsiteY344" fmla="*/ 803302 h 840509"/>
                  <a:gd name="connsiteX345" fmla="*/ 575828 w 939786"/>
                  <a:gd name="connsiteY345" fmla="*/ 803302 h 840509"/>
                  <a:gd name="connsiteX346" fmla="*/ 576092 w 939786"/>
                  <a:gd name="connsiteY346" fmla="*/ 803038 h 840509"/>
                  <a:gd name="connsiteX347" fmla="*/ 576445 w 939786"/>
                  <a:gd name="connsiteY347" fmla="*/ 802773 h 840509"/>
                  <a:gd name="connsiteX348" fmla="*/ 577327 w 939786"/>
                  <a:gd name="connsiteY348" fmla="*/ 801627 h 840509"/>
                  <a:gd name="connsiteX349" fmla="*/ 578208 w 939786"/>
                  <a:gd name="connsiteY349" fmla="*/ 797836 h 840509"/>
                  <a:gd name="connsiteX350" fmla="*/ 578473 w 939786"/>
                  <a:gd name="connsiteY350" fmla="*/ 797836 h 840509"/>
                  <a:gd name="connsiteX351" fmla="*/ 578473 w 939786"/>
                  <a:gd name="connsiteY351" fmla="*/ 796337 h 840509"/>
                  <a:gd name="connsiteX352" fmla="*/ 578208 w 939786"/>
                  <a:gd name="connsiteY352" fmla="*/ 796337 h 840509"/>
                  <a:gd name="connsiteX353" fmla="*/ 577944 w 939786"/>
                  <a:gd name="connsiteY353" fmla="*/ 796337 h 840509"/>
                  <a:gd name="connsiteX354" fmla="*/ 573271 w 939786"/>
                  <a:gd name="connsiteY354" fmla="*/ 800745 h 840509"/>
                  <a:gd name="connsiteX355" fmla="*/ 573006 w 939786"/>
                  <a:gd name="connsiteY355" fmla="*/ 801010 h 840509"/>
                  <a:gd name="connsiteX356" fmla="*/ 572654 w 939786"/>
                  <a:gd name="connsiteY356" fmla="*/ 801274 h 840509"/>
                  <a:gd name="connsiteX357" fmla="*/ 564454 w 939786"/>
                  <a:gd name="connsiteY357" fmla="*/ 811149 h 840509"/>
                  <a:gd name="connsiteX358" fmla="*/ 564454 w 939786"/>
                  <a:gd name="connsiteY358" fmla="*/ 811414 h 840509"/>
                  <a:gd name="connsiteX359" fmla="*/ 563044 w 939786"/>
                  <a:gd name="connsiteY359" fmla="*/ 812031 h 840509"/>
                  <a:gd name="connsiteX360" fmla="*/ 562779 w 939786"/>
                  <a:gd name="connsiteY360" fmla="*/ 812295 h 840509"/>
                  <a:gd name="connsiteX361" fmla="*/ 561633 w 939786"/>
                  <a:gd name="connsiteY361" fmla="*/ 813794 h 840509"/>
                  <a:gd name="connsiteX362" fmla="*/ 561368 w 939786"/>
                  <a:gd name="connsiteY362" fmla="*/ 814676 h 840509"/>
                  <a:gd name="connsiteX363" fmla="*/ 560751 w 939786"/>
                  <a:gd name="connsiteY363" fmla="*/ 815205 h 840509"/>
                  <a:gd name="connsiteX364" fmla="*/ 560134 w 939786"/>
                  <a:gd name="connsiteY364" fmla="*/ 816351 h 840509"/>
                  <a:gd name="connsiteX365" fmla="*/ 559252 w 939786"/>
                  <a:gd name="connsiteY365" fmla="*/ 816968 h 840509"/>
                  <a:gd name="connsiteX366" fmla="*/ 558900 w 939786"/>
                  <a:gd name="connsiteY366" fmla="*/ 816968 h 840509"/>
                  <a:gd name="connsiteX367" fmla="*/ 558282 w 939786"/>
                  <a:gd name="connsiteY367" fmla="*/ 817233 h 840509"/>
                  <a:gd name="connsiteX368" fmla="*/ 558018 w 939786"/>
                  <a:gd name="connsiteY368" fmla="*/ 817497 h 840509"/>
                  <a:gd name="connsiteX369" fmla="*/ 557753 w 939786"/>
                  <a:gd name="connsiteY369" fmla="*/ 817497 h 840509"/>
                  <a:gd name="connsiteX370" fmla="*/ 557489 w 939786"/>
                  <a:gd name="connsiteY370" fmla="*/ 817762 h 840509"/>
                  <a:gd name="connsiteX371" fmla="*/ 555197 w 939786"/>
                  <a:gd name="connsiteY371" fmla="*/ 820054 h 840509"/>
                  <a:gd name="connsiteX372" fmla="*/ 554844 w 939786"/>
                  <a:gd name="connsiteY372" fmla="*/ 820319 h 840509"/>
                  <a:gd name="connsiteX373" fmla="*/ 554844 w 939786"/>
                  <a:gd name="connsiteY373" fmla="*/ 820583 h 840509"/>
                  <a:gd name="connsiteX374" fmla="*/ 555197 w 939786"/>
                  <a:gd name="connsiteY374" fmla="*/ 820583 h 840509"/>
                  <a:gd name="connsiteX375" fmla="*/ 555726 w 939786"/>
                  <a:gd name="connsiteY375" fmla="*/ 820583 h 840509"/>
                  <a:gd name="connsiteX376" fmla="*/ 555990 w 939786"/>
                  <a:gd name="connsiteY376" fmla="*/ 820583 h 840509"/>
                  <a:gd name="connsiteX377" fmla="*/ 556255 w 939786"/>
                  <a:gd name="connsiteY377" fmla="*/ 820583 h 840509"/>
                  <a:gd name="connsiteX378" fmla="*/ 555990 w 939786"/>
                  <a:gd name="connsiteY378" fmla="*/ 820319 h 840509"/>
                  <a:gd name="connsiteX379" fmla="*/ 555990 w 939786"/>
                  <a:gd name="connsiteY379" fmla="*/ 820054 h 840509"/>
                  <a:gd name="connsiteX380" fmla="*/ 555990 w 939786"/>
                  <a:gd name="connsiteY380" fmla="*/ 819790 h 840509"/>
                  <a:gd name="connsiteX381" fmla="*/ 556255 w 939786"/>
                  <a:gd name="connsiteY381" fmla="*/ 819790 h 840509"/>
                  <a:gd name="connsiteX382" fmla="*/ 556255 w 939786"/>
                  <a:gd name="connsiteY382" fmla="*/ 819525 h 840509"/>
                  <a:gd name="connsiteX383" fmla="*/ 556872 w 939786"/>
                  <a:gd name="connsiteY383" fmla="*/ 819525 h 840509"/>
                  <a:gd name="connsiteX384" fmla="*/ 556872 w 939786"/>
                  <a:gd name="connsiteY384" fmla="*/ 819261 h 840509"/>
                  <a:gd name="connsiteX385" fmla="*/ 557224 w 939786"/>
                  <a:gd name="connsiteY385" fmla="*/ 819525 h 840509"/>
                  <a:gd name="connsiteX386" fmla="*/ 557753 w 939786"/>
                  <a:gd name="connsiteY386" fmla="*/ 820142 h 840509"/>
                  <a:gd name="connsiteX387" fmla="*/ 557753 w 939786"/>
                  <a:gd name="connsiteY387" fmla="*/ 820407 h 840509"/>
                  <a:gd name="connsiteX388" fmla="*/ 557753 w 939786"/>
                  <a:gd name="connsiteY388" fmla="*/ 820936 h 840509"/>
                  <a:gd name="connsiteX389" fmla="*/ 557753 w 939786"/>
                  <a:gd name="connsiteY389" fmla="*/ 821288 h 840509"/>
                  <a:gd name="connsiteX390" fmla="*/ 556607 w 939786"/>
                  <a:gd name="connsiteY390" fmla="*/ 822787 h 840509"/>
                  <a:gd name="connsiteX391" fmla="*/ 556607 w 939786"/>
                  <a:gd name="connsiteY391" fmla="*/ 823052 h 840509"/>
                  <a:gd name="connsiteX392" fmla="*/ 556343 w 939786"/>
                  <a:gd name="connsiteY392" fmla="*/ 823052 h 840509"/>
                  <a:gd name="connsiteX393" fmla="*/ 555726 w 939786"/>
                  <a:gd name="connsiteY393" fmla="*/ 823316 h 840509"/>
                  <a:gd name="connsiteX394" fmla="*/ 555461 w 939786"/>
                  <a:gd name="connsiteY394" fmla="*/ 823316 h 840509"/>
                  <a:gd name="connsiteX395" fmla="*/ 555197 w 939786"/>
                  <a:gd name="connsiteY395" fmla="*/ 823581 h 840509"/>
                  <a:gd name="connsiteX396" fmla="*/ 554844 w 939786"/>
                  <a:gd name="connsiteY396" fmla="*/ 823845 h 840509"/>
                  <a:gd name="connsiteX397" fmla="*/ 553698 w 939786"/>
                  <a:gd name="connsiteY397" fmla="*/ 825609 h 840509"/>
                  <a:gd name="connsiteX398" fmla="*/ 553698 w 939786"/>
                  <a:gd name="connsiteY398" fmla="*/ 825873 h 840509"/>
                  <a:gd name="connsiteX399" fmla="*/ 553433 w 939786"/>
                  <a:gd name="connsiteY399" fmla="*/ 826755 h 840509"/>
                  <a:gd name="connsiteX400" fmla="*/ 553168 w 939786"/>
                  <a:gd name="connsiteY400" fmla="*/ 827901 h 840509"/>
                  <a:gd name="connsiteX401" fmla="*/ 552287 w 939786"/>
                  <a:gd name="connsiteY401" fmla="*/ 829400 h 840509"/>
                  <a:gd name="connsiteX402" fmla="*/ 552023 w 939786"/>
                  <a:gd name="connsiteY402" fmla="*/ 829400 h 840509"/>
                  <a:gd name="connsiteX403" fmla="*/ 551758 w 939786"/>
                  <a:gd name="connsiteY403" fmla="*/ 829400 h 840509"/>
                  <a:gd name="connsiteX404" fmla="*/ 551494 w 939786"/>
                  <a:gd name="connsiteY404" fmla="*/ 829400 h 840509"/>
                  <a:gd name="connsiteX405" fmla="*/ 550876 w 939786"/>
                  <a:gd name="connsiteY405" fmla="*/ 828254 h 840509"/>
                  <a:gd name="connsiteX406" fmla="*/ 550876 w 939786"/>
                  <a:gd name="connsiteY406" fmla="*/ 827901 h 840509"/>
                  <a:gd name="connsiteX407" fmla="*/ 548848 w 939786"/>
                  <a:gd name="connsiteY407" fmla="*/ 828783 h 840509"/>
                  <a:gd name="connsiteX408" fmla="*/ 547438 w 939786"/>
                  <a:gd name="connsiteY408" fmla="*/ 829929 h 840509"/>
                  <a:gd name="connsiteX409" fmla="*/ 547085 w 939786"/>
                  <a:gd name="connsiteY409" fmla="*/ 827637 h 840509"/>
                  <a:gd name="connsiteX410" fmla="*/ 547438 w 939786"/>
                  <a:gd name="connsiteY410" fmla="*/ 825344 h 840509"/>
                  <a:gd name="connsiteX411" fmla="*/ 547967 w 939786"/>
                  <a:gd name="connsiteY411" fmla="*/ 824110 h 840509"/>
                  <a:gd name="connsiteX412" fmla="*/ 547967 w 939786"/>
                  <a:gd name="connsiteY412" fmla="*/ 823845 h 840509"/>
                  <a:gd name="connsiteX413" fmla="*/ 548319 w 939786"/>
                  <a:gd name="connsiteY413" fmla="*/ 823845 h 840509"/>
                  <a:gd name="connsiteX414" fmla="*/ 550347 w 939786"/>
                  <a:gd name="connsiteY414" fmla="*/ 822082 h 840509"/>
                  <a:gd name="connsiteX415" fmla="*/ 550612 w 939786"/>
                  <a:gd name="connsiteY415" fmla="*/ 821817 h 840509"/>
                  <a:gd name="connsiteX416" fmla="*/ 550876 w 939786"/>
                  <a:gd name="connsiteY416" fmla="*/ 821817 h 840509"/>
                  <a:gd name="connsiteX417" fmla="*/ 551141 w 939786"/>
                  <a:gd name="connsiteY417" fmla="*/ 821817 h 840509"/>
                  <a:gd name="connsiteX418" fmla="*/ 551405 w 939786"/>
                  <a:gd name="connsiteY418" fmla="*/ 821817 h 840509"/>
                  <a:gd name="connsiteX419" fmla="*/ 551405 w 939786"/>
                  <a:gd name="connsiteY419" fmla="*/ 822082 h 840509"/>
                  <a:gd name="connsiteX420" fmla="*/ 551405 w 939786"/>
                  <a:gd name="connsiteY420" fmla="*/ 822346 h 840509"/>
                  <a:gd name="connsiteX421" fmla="*/ 551141 w 939786"/>
                  <a:gd name="connsiteY421" fmla="*/ 822611 h 840509"/>
                  <a:gd name="connsiteX422" fmla="*/ 550876 w 939786"/>
                  <a:gd name="connsiteY422" fmla="*/ 822876 h 840509"/>
                  <a:gd name="connsiteX423" fmla="*/ 550612 w 939786"/>
                  <a:gd name="connsiteY423" fmla="*/ 823140 h 840509"/>
                  <a:gd name="connsiteX424" fmla="*/ 550347 w 939786"/>
                  <a:gd name="connsiteY424" fmla="*/ 823405 h 840509"/>
                  <a:gd name="connsiteX425" fmla="*/ 550347 w 939786"/>
                  <a:gd name="connsiteY425" fmla="*/ 823669 h 840509"/>
                  <a:gd name="connsiteX426" fmla="*/ 550612 w 939786"/>
                  <a:gd name="connsiteY426" fmla="*/ 824286 h 840509"/>
                  <a:gd name="connsiteX427" fmla="*/ 550612 w 939786"/>
                  <a:gd name="connsiteY427" fmla="*/ 824551 h 840509"/>
                  <a:gd name="connsiteX428" fmla="*/ 550876 w 939786"/>
                  <a:gd name="connsiteY428" fmla="*/ 824551 h 840509"/>
                  <a:gd name="connsiteX429" fmla="*/ 551141 w 939786"/>
                  <a:gd name="connsiteY429" fmla="*/ 824903 h 840509"/>
                  <a:gd name="connsiteX430" fmla="*/ 551405 w 939786"/>
                  <a:gd name="connsiteY430" fmla="*/ 824903 h 840509"/>
                  <a:gd name="connsiteX431" fmla="*/ 552552 w 939786"/>
                  <a:gd name="connsiteY431" fmla="*/ 824551 h 840509"/>
                  <a:gd name="connsiteX432" fmla="*/ 553433 w 939786"/>
                  <a:gd name="connsiteY432" fmla="*/ 823934 h 840509"/>
                  <a:gd name="connsiteX433" fmla="*/ 553698 w 939786"/>
                  <a:gd name="connsiteY433" fmla="*/ 823934 h 840509"/>
                  <a:gd name="connsiteX434" fmla="*/ 553698 w 939786"/>
                  <a:gd name="connsiteY434" fmla="*/ 821641 h 840509"/>
                  <a:gd name="connsiteX435" fmla="*/ 550788 w 939786"/>
                  <a:gd name="connsiteY435" fmla="*/ 818996 h 840509"/>
                  <a:gd name="connsiteX436" fmla="*/ 550788 w 939786"/>
                  <a:gd name="connsiteY436" fmla="*/ 818732 h 840509"/>
                  <a:gd name="connsiteX437" fmla="*/ 550523 w 939786"/>
                  <a:gd name="connsiteY437" fmla="*/ 818732 h 840509"/>
                  <a:gd name="connsiteX438" fmla="*/ 549906 w 939786"/>
                  <a:gd name="connsiteY438" fmla="*/ 818996 h 840509"/>
                  <a:gd name="connsiteX439" fmla="*/ 548496 w 939786"/>
                  <a:gd name="connsiteY439" fmla="*/ 819261 h 840509"/>
                  <a:gd name="connsiteX440" fmla="*/ 548231 w 939786"/>
                  <a:gd name="connsiteY440" fmla="*/ 819525 h 840509"/>
                  <a:gd name="connsiteX441" fmla="*/ 548231 w 939786"/>
                  <a:gd name="connsiteY441" fmla="*/ 819790 h 840509"/>
                  <a:gd name="connsiteX442" fmla="*/ 547878 w 939786"/>
                  <a:gd name="connsiteY442" fmla="*/ 819790 h 840509"/>
                  <a:gd name="connsiteX443" fmla="*/ 547349 w 939786"/>
                  <a:gd name="connsiteY443" fmla="*/ 821288 h 840509"/>
                  <a:gd name="connsiteX444" fmla="*/ 547349 w 939786"/>
                  <a:gd name="connsiteY444" fmla="*/ 821906 h 840509"/>
                  <a:gd name="connsiteX445" fmla="*/ 547349 w 939786"/>
                  <a:gd name="connsiteY445" fmla="*/ 822170 h 840509"/>
                  <a:gd name="connsiteX446" fmla="*/ 547349 w 939786"/>
                  <a:gd name="connsiteY446" fmla="*/ 822435 h 840509"/>
                  <a:gd name="connsiteX447" fmla="*/ 547349 w 939786"/>
                  <a:gd name="connsiteY447" fmla="*/ 822699 h 840509"/>
                  <a:gd name="connsiteX448" fmla="*/ 546997 w 939786"/>
                  <a:gd name="connsiteY448" fmla="*/ 822964 h 840509"/>
                  <a:gd name="connsiteX449" fmla="*/ 546115 w 939786"/>
                  <a:gd name="connsiteY449" fmla="*/ 823581 h 840509"/>
                  <a:gd name="connsiteX450" fmla="*/ 545851 w 939786"/>
                  <a:gd name="connsiteY450" fmla="*/ 823845 h 840509"/>
                  <a:gd name="connsiteX451" fmla="*/ 545498 w 939786"/>
                  <a:gd name="connsiteY451" fmla="*/ 823845 h 840509"/>
                  <a:gd name="connsiteX452" fmla="*/ 544616 w 939786"/>
                  <a:gd name="connsiteY452" fmla="*/ 824110 h 840509"/>
                  <a:gd name="connsiteX453" fmla="*/ 543470 w 939786"/>
                  <a:gd name="connsiteY453" fmla="*/ 824374 h 840509"/>
                  <a:gd name="connsiteX454" fmla="*/ 543470 w 939786"/>
                  <a:gd name="connsiteY454" fmla="*/ 824110 h 840509"/>
                  <a:gd name="connsiteX455" fmla="*/ 543470 w 939786"/>
                  <a:gd name="connsiteY455" fmla="*/ 823228 h 840509"/>
                  <a:gd name="connsiteX456" fmla="*/ 543735 w 939786"/>
                  <a:gd name="connsiteY456" fmla="*/ 822964 h 840509"/>
                  <a:gd name="connsiteX457" fmla="*/ 543999 w 939786"/>
                  <a:gd name="connsiteY457" fmla="*/ 822964 h 840509"/>
                  <a:gd name="connsiteX458" fmla="*/ 544352 w 939786"/>
                  <a:gd name="connsiteY458" fmla="*/ 822964 h 840509"/>
                  <a:gd name="connsiteX459" fmla="*/ 545851 w 939786"/>
                  <a:gd name="connsiteY459" fmla="*/ 820319 h 840509"/>
                  <a:gd name="connsiteX460" fmla="*/ 544969 w 939786"/>
                  <a:gd name="connsiteY460" fmla="*/ 819437 h 840509"/>
                  <a:gd name="connsiteX461" fmla="*/ 544705 w 939786"/>
                  <a:gd name="connsiteY461" fmla="*/ 819172 h 840509"/>
                  <a:gd name="connsiteX462" fmla="*/ 544087 w 939786"/>
                  <a:gd name="connsiteY462" fmla="*/ 820583 h 840509"/>
                  <a:gd name="connsiteX463" fmla="*/ 543206 w 939786"/>
                  <a:gd name="connsiteY463" fmla="*/ 821729 h 840509"/>
                  <a:gd name="connsiteX464" fmla="*/ 542060 w 939786"/>
                  <a:gd name="connsiteY464" fmla="*/ 823228 h 840509"/>
                  <a:gd name="connsiteX465" fmla="*/ 540913 w 939786"/>
                  <a:gd name="connsiteY465" fmla="*/ 823757 h 840509"/>
                  <a:gd name="connsiteX466" fmla="*/ 539767 w 939786"/>
                  <a:gd name="connsiteY466" fmla="*/ 824639 h 840509"/>
                  <a:gd name="connsiteX467" fmla="*/ 538004 w 939786"/>
                  <a:gd name="connsiteY467" fmla="*/ 826667 h 840509"/>
                  <a:gd name="connsiteX468" fmla="*/ 537739 w 939786"/>
                  <a:gd name="connsiteY468" fmla="*/ 827019 h 840509"/>
                  <a:gd name="connsiteX469" fmla="*/ 537739 w 939786"/>
                  <a:gd name="connsiteY469" fmla="*/ 827284 h 840509"/>
                  <a:gd name="connsiteX470" fmla="*/ 537475 w 939786"/>
                  <a:gd name="connsiteY470" fmla="*/ 827284 h 840509"/>
                  <a:gd name="connsiteX471" fmla="*/ 537475 w 939786"/>
                  <a:gd name="connsiteY471" fmla="*/ 828166 h 840509"/>
                  <a:gd name="connsiteX472" fmla="*/ 537122 w 939786"/>
                  <a:gd name="connsiteY472" fmla="*/ 828518 h 840509"/>
                  <a:gd name="connsiteX473" fmla="*/ 537122 w 939786"/>
                  <a:gd name="connsiteY473" fmla="*/ 828783 h 840509"/>
                  <a:gd name="connsiteX474" fmla="*/ 536857 w 939786"/>
                  <a:gd name="connsiteY474" fmla="*/ 829047 h 840509"/>
                  <a:gd name="connsiteX475" fmla="*/ 535976 w 939786"/>
                  <a:gd name="connsiteY475" fmla="*/ 829929 h 840509"/>
                  <a:gd name="connsiteX476" fmla="*/ 535711 w 939786"/>
                  <a:gd name="connsiteY476" fmla="*/ 830194 h 840509"/>
                  <a:gd name="connsiteX477" fmla="*/ 535094 w 939786"/>
                  <a:gd name="connsiteY477" fmla="*/ 830458 h 840509"/>
                  <a:gd name="connsiteX478" fmla="*/ 534830 w 939786"/>
                  <a:gd name="connsiteY478" fmla="*/ 830458 h 840509"/>
                  <a:gd name="connsiteX479" fmla="*/ 534565 w 939786"/>
                  <a:gd name="connsiteY479" fmla="*/ 830458 h 840509"/>
                  <a:gd name="connsiteX480" fmla="*/ 534301 w 939786"/>
                  <a:gd name="connsiteY480" fmla="*/ 830458 h 840509"/>
                  <a:gd name="connsiteX481" fmla="*/ 534036 w 939786"/>
                  <a:gd name="connsiteY481" fmla="*/ 830194 h 840509"/>
                  <a:gd name="connsiteX482" fmla="*/ 533154 w 939786"/>
                  <a:gd name="connsiteY482" fmla="*/ 829312 h 840509"/>
                  <a:gd name="connsiteX483" fmla="*/ 532890 w 939786"/>
                  <a:gd name="connsiteY483" fmla="*/ 828166 h 840509"/>
                  <a:gd name="connsiteX484" fmla="*/ 532890 w 939786"/>
                  <a:gd name="connsiteY484" fmla="*/ 827901 h 840509"/>
                  <a:gd name="connsiteX485" fmla="*/ 532890 w 939786"/>
                  <a:gd name="connsiteY485" fmla="*/ 827549 h 840509"/>
                  <a:gd name="connsiteX486" fmla="*/ 533507 w 939786"/>
                  <a:gd name="connsiteY486" fmla="*/ 827019 h 840509"/>
                  <a:gd name="connsiteX487" fmla="*/ 533772 w 939786"/>
                  <a:gd name="connsiteY487" fmla="*/ 826402 h 840509"/>
                  <a:gd name="connsiteX488" fmla="*/ 533772 w 939786"/>
                  <a:gd name="connsiteY488" fmla="*/ 826138 h 840509"/>
                  <a:gd name="connsiteX489" fmla="*/ 533772 w 939786"/>
                  <a:gd name="connsiteY489" fmla="*/ 825873 h 840509"/>
                  <a:gd name="connsiteX490" fmla="*/ 533507 w 939786"/>
                  <a:gd name="connsiteY490" fmla="*/ 825873 h 840509"/>
                  <a:gd name="connsiteX491" fmla="*/ 533154 w 939786"/>
                  <a:gd name="connsiteY491" fmla="*/ 826138 h 840509"/>
                  <a:gd name="connsiteX492" fmla="*/ 532890 w 939786"/>
                  <a:gd name="connsiteY492" fmla="*/ 826138 h 840509"/>
                  <a:gd name="connsiteX493" fmla="*/ 532626 w 939786"/>
                  <a:gd name="connsiteY493" fmla="*/ 826755 h 840509"/>
                  <a:gd name="connsiteX494" fmla="*/ 532272 w 939786"/>
                  <a:gd name="connsiteY494" fmla="*/ 826755 h 840509"/>
                  <a:gd name="connsiteX495" fmla="*/ 532008 w 939786"/>
                  <a:gd name="connsiteY495" fmla="*/ 827372 h 840509"/>
                  <a:gd name="connsiteX496" fmla="*/ 531656 w 939786"/>
                  <a:gd name="connsiteY496" fmla="*/ 827637 h 840509"/>
                  <a:gd name="connsiteX497" fmla="*/ 531391 w 939786"/>
                  <a:gd name="connsiteY497" fmla="*/ 828254 h 840509"/>
                  <a:gd name="connsiteX498" fmla="*/ 531391 w 939786"/>
                  <a:gd name="connsiteY498" fmla="*/ 828607 h 840509"/>
                  <a:gd name="connsiteX499" fmla="*/ 531391 w 939786"/>
                  <a:gd name="connsiteY499" fmla="*/ 828871 h 840509"/>
                  <a:gd name="connsiteX500" fmla="*/ 531391 w 939786"/>
                  <a:gd name="connsiteY500" fmla="*/ 829136 h 840509"/>
                  <a:gd name="connsiteX501" fmla="*/ 531656 w 939786"/>
                  <a:gd name="connsiteY501" fmla="*/ 829136 h 840509"/>
                  <a:gd name="connsiteX502" fmla="*/ 531656 w 939786"/>
                  <a:gd name="connsiteY502" fmla="*/ 829400 h 840509"/>
                  <a:gd name="connsiteX503" fmla="*/ 532272 w 939786"/>
                  <a:gd name="connsiteY503" fmla="*/ 830017 h 840509"/>
                  <a:gd name="connsiteX504" fmla="*/ 532626 w 939786"/>
                  <a:gd name="connsiteY504" fmla="*/ 830634 h 840509"/>
                  <a:gd name="connsiteX505" fmla="*/ 532626 w 939786"/>
                  <a:gd name="connsiteY505" fmla="*/ 830987 h 840509"/>
                  <a:gd name="connsiteX506" fmla="*/ 532272 w 939786"/>
                  <a:gd name="connsiteY506" fmla="*/ 830987 h 840509"/>
                  <a:gd name="connsiteX507" fmla="*/ 530245 w 939786"/>
                  <a:gd name="connsiteY507" fmla="*/ 832750 h 840509"/>
                  <a:gd name="connsiteX508" fmla="*/ 528217 w 939786"/>
                  <a:gd name="connsiteY508" fmla="*/ 834161 h 840509"/>
                  <a:gd name="connsiteX509" fmla="*/ 527952 w 939786"/>
                  <a:gd name="connsiteY509" fmla="*/ 834161 h 840509"/>
                  <a:gd name="connsiteX510" fmla="*/ 525307 w 939786"/>
                  <a:gd name="connsiteY510" fmla="*/ 836806 h 840509"/>
                  <a:gd name="connsiteX511" fmla="*/ 523897 w 939786"/>
                  <a:gd name="connsiteY511" fmla="*/ 838570 h 840509"/>
                  <a:gd name="connsiteX512" fmla="*/ 523632 w 939786"/>
                  <a:gd name="connsiteY512" fmla="*/ 838834 h 840509"/>
                  <a:gd name="connsiteX513" fmla="*/ 523368 w 939786"/>
                  <a:gd name="connsiteY513" fmla="*/ 839187 h 840509"/>
                  <a:gd name="connsiteX514" fmla="*/ 523103 w 939786"/>
                  <a:gd name="connsiteY514" fmla="*/ 839187 h 840509"/>
                  <a:gd name="connsiteX515" fmla="*/ 534477 w 939786"/>
                  <a:gd name="connsiteY515" fmla="*/ 766977 h 840509"/>
                  <a:gd name="connsiteX516" fmla="*/ 534477 w 939786"/>
                  <a:gd name="connsiteY516" fmla="*/ 766977 h 840509"/>
                  <a:gd name="connsiteX517" fmla="*/ 534477 w 939786"/>
                  <a:gd name="connsiteY517" fmla="*/ 766712 h 840509"/>
                  <a:gd name="connsiteX518" fmla="*/ 535094 w 939786"/>
                  <a:gd name="connsiteY518" fmla="*/ 765566 h 840509"/>
                  <a:gd name="connsiteX519" fmla="*/ 536857 w 939786"/>
                  <a:gd name="connsiteY519" fmla="*/ 764067 h 840509"/>
                  <a:gd name="connsiteX520" fmla="*/ 537122 w 939786"/>
                  <a:gd name="connsiteY520" fmla="*/ 764067 h 840509"/>
                  <a:gd name="connsiteX521" fmla="*/ 537739 w 939786"/>
                  <a:gd name="connsiteY521" fmla="*/ 765213 h 840509"/>
                  <a:gd name="connsiteX522" fmla="*/ 537739 w 939786"/>
                  <a:gd name="connsiteY522" fmla="*/ 766095 h 840509"/>
                  <a:gd name="connsiteX523" fmla="*/ 535359 w 939786"/>
                  <a:gd name="connsiteY523" fmla="*/ 766712 h 840509"/>
                  <a:gd name="connsiteX524" fmla="*/ 534477 w 939786"/>
                  <a:gd name="connsiteY524" fmla="*/ 766977 h 840509"/>
                  <a:gd name="connsiteX525" fmla="*/ 599457 w 939786"/>
                  <a:gd name="connsiteY525" fmla="*/ 762921 h 840509"/>
                  <a:gd name="connsiteX526" fmla="*/ 599193 w 939786"/>
                  <a:gd name="connsiteY526" fmla="*/ 762657 h 840509"/>
                  <a:gd name="connsiteX527" fmla="*/ 598575 w 939786"/>
                  <a:gd name="connsiteY527" fmla="*/ 762039 h 840509"/>
                  <a:gd name="connsiteX528" fmla="*/ 598575 w 939786"/>
                  <a:gd name="connsiteY528" fmla="*/ 761422 h 840509"/>
                  <a:gd name="connsiteX529" fmla="*/ 598575 w 939786"/>
                  <a:gd name="connsiteY529" fmla="*/ 761158 h 840509"/>
                  <a:gd name="connsiteX530" fmla="*/ 598840 w 939786"/>
                  <a:gd name="connsiteY530" fmla="*/ 761158 h 840509"/>
                  <a:gd name="connsiteX531" fmla="*/ 599986 w 939786"/>
                  <a:gd name="connsiteY531" fmla="*/ 760541 h 840509"/>
                  <a:gd name="connsiteX532" fmla="*/ 601485 w 939786"/>
                  <a:gd name="connsiteY532" fmla="*/ 760276 h 840509"/>
                  <a:gd name="connsiteX533" fmla="*/ 601485 w 939786"/>
                  <a:gd name="connsiteY533" fmla="*/ 761158 h 840509"/>
                  <a:gd name="connsiteX534" fmla="*/ 599986 w 939786"/>
                  <a:gd name="connsiteY534" fmla="*/ 762657 h 840509"/>
                  <a:gd name="connsiteX535" fmla="*/ 599722 w 939786"/>
                  <a:gd name="connsiteY535" fmla="*/ 762921 h 840509"/>
                  <a:gd name="connsiteX536" fmla="*/ 599457 w 939786"/>
                  <a:gd name="connsiteY536" fmla="*/ 762921 h 840509"/>
                  <a:gd name="connsiteX537" fmla="*/ 533595 w 939786"/>
                  <a:gd name="connsiteY537" fmla="*/ 763450 h 840509"/>
                  <a:gd name="connsiteX538" fmla="*/ 533595 w 939786"/>
                  <a:gd name="connsiteY538" fmla="*/ 763450 h 840509"/>
                  <a:gd name="connsiteX539" fmla="*/ 533595 w 939786"/>
                  <a:gd name="connsiteY539" fmla="*/ 762921 h 840509"/>
                  <a:gd name="connsiteX540" fmla="*/ 534477 w 939786"/>
                  <a:gd name="connsiteY540" fmla="*/ 761158 h 840509"/>
                  <a:gd name="connsiteX541" fmla="*/ 537122 w 939786"/>
                  <a:gd name="connsiteY541" fmla="*/ 758865 h 840509"/>
                  <a:gd name="connsiteX542" fmla="*/ 537386 w 939786"/>
                  <a:gd name="connsiteY542" fmla="*/ 758865 h 840509"/>
                  <a:gd name="connsiteX543" fmla="*/ 537386 w 939786"/>
                  <a:gd name="connsiteY543" fmla="*/ 759130 h 840509"/>
                  <a:gd name="connsiteX544" fmla="*/ 536505 w 939786"/>
                  <a:gd name="connsiteY544" fmla="*/ 760276 h 840509"/>
                  <a:gd name="connsiteX545" fmla="*/ 536240 w 939786"/>
                  <a:gd name="connsiteY545" fmla="*/ 760893 h 840509"/>
                  <a:gd name="connsiteX546" fmla="*/ 535976 w 939786"/>
                  <a:gd name="connsiteY546" fmla="*/ 761158 h 840509"/>
                  <a:gd name="connsiteX547" fmla="*/ 534477 w 939786"/>
                  <a:gd name="connsiteY547" fmla="*/ 762921 h 840509"/>
                  <a:gd name="connsiteX548" fmla="*/ 533860 w 939786"/>
                  <a:gd name="connsiteY548" fmla="*/ 763450 h 840509"/>
                  <a:gd name="connsiteX549" fmla="*/ 533595 w 939786"/>
                  <a:gd name="connsiteY549" fmla="*/ 763450 h 840509"/>
                  <a:gd name="connsiteX550" fmla="*/ 538533 w 939786"/>
                  <a:gd name="connsiteY550" fmla="*/ 760541 h 840509"/>
                  <a:gd name="connsiteX551" fmla="*/ 538180 w 939786"/>
                  <a:gd name="connsiteY551" fmla="*/ 760276 h 840509"/>
                  <a:gd name="connsiteX552" fmla="*/ 537915 w 939786"/>
                  <a:gd name="connsiteY552" fmla="*/ 760276 h 840509"/>
                  <a:gd name="connsiteX553" fmla="*/ 537915 w 939786"/>
                  <a:gd name="connsiteY553" fmla="*/ 760012 h 840509"/>
                  <a:gd name="connsiteX554" fmla="*/ 537915 w 939786"/>
                  <a:gd name="connsiteY554" fmla="*/ 759483 h 840509"/>
                  <a:gd name="connsiteX555" fmla="*/ 539679 w 939786"/>
                  <a:gd name="connsiteY555" fmla="*/ 758336 h 840509"/>
                  <a:gd name="connsiteX556" fmla="*/ 539679 w 939786"/>
                  <a:gd name="connsiteY556" fmla="*/ 758072 h 840509"/>
                  <a:gd name="connsiteX557" fmla="*/ 539943 w 939786"/>
                  <a:gd name="connsiteY557" fmla="*/ 758072 h 840509"/>
                  <a:gd name="connsiteX558" fmla="*/ 541089 w 939786"/>
                  <a:gd name="connsiteY558" fmla="*/ 758336 h 840509"/>
                  <a:gd name="connsiteX559" fmla="*/ 541089 w 939786"/>
                  <a:gd name="connsiteY559" fmla="*/ 758954 h 840509"/>
                  <a:gd name="connsiteX560" fmla="*/ 540825 w 939786"/>
                  <a:gd name="connsiteY560" fmla="*/ 759218 h 840509"/>
                  <a:gd name="connsiteX561" fmla="*/ 539943 w 939786"/>
                  <a:gd name="connsiteY561" fmla="*/ 760100 h 840509"/>
                  <a:gd name="connsiteX562" fmla="*/ 539679 w 939786"/>
                  <a:gd name="connsiteY562" fmla="*/ 760100 h 840509"/>
                  <a:gd name="connsiteX563" fmla="*/ 538533 w 939786"/>
                  <a:gd name="connsiteY563" fmla="*/ 760541 h 840509"/>
                  <a:gd name="connsiteX564" fmla="*/ 601837 w 939786"/>
                  <a:gd name="connsiteY564" fmla="*/ 760805 h 840509"/>
                  <a:gd name="connsiteX565" fmla="*/ 602455 w 939786"/>
                  <a:gd name="connsiteY565" fmla="*/ 759923 h 840509"/>
                  <a:gd name="connsiteX566" fmla="*/ 602719 w 939786"/>
                  <a:gd name="connsiteY566" fmla="*/ 759659 h 840509"/>
                  <a:gd name="connsiteX567" fmla="*/ 602719 w 939786"/>
                  <a:gd name="connsiteY567" fmla="*/ 759394 h 840509"/>
                  <a:gd name="connsiteX568" fmla="*/ 602719 w 939786"/>
                  <a:gd name="connsiteY568" fmla="*/ 759042 h 840509"/>
                  <a:gd name="connsiteX569" fmla="*/ 602455 w 939786"/>
                  <a:gd name="connsiteY569" fmla="*/ 759042 h 840509"/>
                  <a:gd name="connsiteX570" fmla="*/ 602190 w 939786"/>
                  <a:gd name="connsiteY570" fmla="*/ 759042 h 840509"/>
                  <a:gd name="connsiteX571" fmla="*/ 598399 w 939786"/>
                  <a:gd name="connsiteY571" fmla="*/ 759394 h 840509"/>
                  <a:gd name="connsiteX572" fmla="*/ 598046 w 939786"/>
                  <a:gd name="connsiteY572" fmla="*/ 759394 h 840509"/>
                  <a:gd name="connsiteX573" fmla="*/ 597782 w 939786"/>
                  <a:gd name="connsiteY573" fmla="*/ 759659 h 840509"/>
                  <a:gd name="connsiteX574" fmla="*/ 597517 w 939786"/>
                  <a:gd name="connsiteY574" fmla="*/ 759659 h 840509"/>
                  <a:gd name="connsiteX575" fmla="*/ 597165 w 939786"/>
                  <a:gd name="connsiteY575" fmla="*/ 759659 h 840509"/>
                  <a:gd name="connsiteX576" fmla="*/ 596019 w 939786"/>
                  <a:gd name="connsiteY576" fmla="*/ 759042 h 840509"/>
                  <a:gd name="connsiteX577" fmla="*/ 596019 w 939786"/>
                  <a:gd name="connsiteY577" fmla="*/ 758777 h 840509"/>
                  <a:gd name="connsiteX578" fmla="*/ 596283 w 939786"/>
                  <a:gd name="connsiteY578" fmla="*/ 758424 h 840509"/>
                  <a:gd name="connsiteX579" fmla="*/ 596283 w 939786"/>
                  <a:gd name="connsiteY579" fmla="*/ 758160 h 840509"/>
                  <a:gd name="connsiteX580" fmla="*/ 596548 w 939786"/>
                  <a:gd name="connsiteY580" fmla="*/ 757895 h 840509"/>
                  <a:gd name="connsiteX581" fmla="*/ 596812 w 939786"/>
                  <a:gd name="connsiteY581" fmla="*/ 757543 h 840509"/>
                  <a:gd name="connsiteX582" fmla="*/ 597077 w 939786"/>
                  <a:gd name="connsiteY582" fmla="*/ 757543 h 840509"/>
                  <a:gd name="connsiteX583" fmla="*/ 598575 w 939786"/>
                  <a:gd name="connsiteY583" fmla="*/ 756661 h 840509"/>
                  <a:gd name="connsiteX584" fmla="*/ 599193 w 939786"/>
                  <a:gd name="connsiteY584" fmla="*/ 756661 h 840509"/>
                  <a:gd name="connsiteX585" fmla="*/ 599457 w 939786"/>
                  <a:gd name="connsiteY585" fmla="*/ 756661 h 840509"/>
                  <a:gd name="connsiteX586" fmla="*/ 599722 w 939786"/>
                  <a:gd name="connsiteY586" fmla="*/ 756661 h 840509"/>
                  <a:gd name="connsiteX587" fmla="*/ 599986 w 939786"/>
                  <a:gd name="connsiteY587" fmla="*/ 756661 h 840509"/>
                  <a:gd name="connsiteX588" fmla="*/ 600250 w 939786"/>
                  <a:gd name="connsiteY588" fmla="*/ 756661 h 840509"/>
                  <a:gd name="connsiteX589" fmla="*/ 600868 w 939786"/>
                  <a:gd name="connsiteY589" fmla="*/ 757278 h 840509"/>
                  <a:gd name="connsiteX590" fmla="*/ 601132 w 939786"/>
                  <a:gd name="connsiteY590" fmla="*/ 757278 h 840509"/>
                  <a:gd name="connsiteX591" fmla="*/ 601397 w 939786"/>
                  <a:gd name="connsiteY591" fmla="*/ 757014 h 840509"/>
                  <a:gd name="connsiteX592" fmla="*/ 603424 w 939786"/>
                  <a:gd name="connsiteY592" fmla="*/ 756132 h 840509"/>
                  <a:gd name="connsiteX593" fmla="*/ 604042 w 939786"/>
                  <a:gd name="connsiteY593" fmla="*/ 755868 h 840509"/>
                  <a:gd name="connsiteX594" fmla="*/ 604571 w 939786"/>
                  <a:gd name="connsiteY594" fmla="*/ 755868 h 840509"/>
                  <a:gd name="connsiteX595" fmla="*/ 604835 w 939786"/>
                  <a:gd name="connsiteY595" fmla="*/ 755868 h 840509"/>
                  <a:gd name="connsiteX596" fmla="*/ 605717 w 939786"/>
                  <a:gd name="connsiteY596" fmla="*/ 758777 h 840509"/>
                  <a:gd name="connsiteX597" fmla="*/ 605717 w 939786"/>
                  <a:gd name="connsiteY597" fmla="*/ 759042 h 840509"/>
                  <a:gd name="connsiteX598" fmla="*/ 605453 w 939786"/>
                  <a:gd name="connsiteY598" fmla="*/ 759394 h 840509"/>
                  <a:gd name="connsiteX599" fmla="*/ 605100 w 939786"/>
                  <a:gd name="connsiteY599" fmla="*/ 759394 h 840509"/>
                  <a:gd name="connsiteX600" fmla="*/ 605100 w 939786"/>
                  <a:gd name="connsiteY600" fmla="*/ 759042 h 840509"/>
                  <a:gd name="connsiteX601" fmla="*/ 603953 w 939786"/>
                  <a:gd name="connsiteY601" fmla="*/ 759659 h 840509"/>
                  <a:gd name="connsiteX602" fmla="*/ 603689 w 939786"/>
                  <a:gd name="connsiteY602" fmla="*/ 759659 h 840509"/>
                  <a:gd name="connsiteX603" fmla="*/ 602190 w 939786"/>
                  <a:gd name="connsiteY603" fmla="*/ 760541 h 840509"/>
                  <a:gd name="connsiteX604" fmla="*/ 601837 w 939786"/>
                  <a:gd name="connsiteY604" fmla="*/ 760805 h 840509"/>
                  <a:gd name="connsiteX605" fmla="*/ 600691 w 939786"/>
                  <a:gd name="connsiteY605" fmla="*/ 756485 h 840509"/>
                  <a:gd name="connsiteX606" fmla="*/ 600691 w 939786"/>
                  <a:gd name="connsiteY606" fmla="*/ 756485 h 840509"/>
                  <a:gd name="connsiteX607" fmla="*/ 600427 w 939786"/>
                  <a:gd name="connsiteY607" fmla="*/ 756220 h 840509"/>
                  <a:gd name="connsiteX608" fmla="*/ 599898 w 939786"/>
                  <a:gd name="connsiteY608" fmla="*/ 755956 h 840509"/>
                  <a:gd name="connsiteX609" fmla="*/ 599633 w 939786"/>
                  <a:gd name="connsiteY609" fmla="*/ 755956 h 840509"/>
                  <a:gd name="connsiteX610" fmla="*/ 599633 w 939786"/>
                  <a:gd name="connsiteY610" fmla="*/ 755691 h 840509"/>
                  <a:gd name="connsiteX611" fmla="*/ 600250 w 939786"/>
                  <a:gd name="connsiteY611" fmla="*/ 753928 h 840509"/>
                  <a:gd name="connsiteX612" fmla="*/ 600250 w 939786"/>
                  <a:gd name="connsiteY612" fmla="*/ 753663 h 840509"/>
                  <a:gd name="connsiteX613" fmla="*/ 600515 w 939786"/>
                  <a:gd name="connsiteY613" fmla="*/ 753399 h 840509"/>
                  <a:gd name="connsiteX614" fmla="*/ 600779 w 939786"/>
                  <a:gd name="connsiteY614" fmla="*/ 753399 h 840509"/>
                  <a:gd name="connsiteX615" fmla="*/ 600779 w 939786"/>
                  <a:gd name="connsiteY615" fmla="*/ 753134 h 840509"/>
                  <a:gd name="connsiteX616" fmla="*/ 600779 w 939786"/>
                  <a:gd name="connsiteY616" fmla="*/ 748991 h 840509"/>
                  <a:gd name="connsiteX617" fmla="*/ 599898 w 939786"/>
                  <a:gd name="connsiteY617" fmla="*/ 747580 h 840509"/>
                  <a:gd name="connsiteX618" fmla="*/ 599898 w 939786"/>
                  <a:gd name="connsiteY618" fmla="*/ 747315 h 840509"/>
                  <a:gd name="connsiteX619" fmla="*/ 599281 w 939786"/>
                  <a:gd name="connsiteY619" fmla="*/ 747051 h 840509"/>
                  <a:gd name="connsiteX620" fmla="*/ 599281 w 939786"/>
                  <a:gd name="connsiteY620" fmla="*/ 746786 h 840509"/>
                  <a:gd name="connsiteX621" fmla="*/ 599281 w 939786"/>
                  <a:gd name="connsiteY621" fmla="*/ 746522 h 840509"/>
                  <a:gd name="connsiteX622" fmla="*/ 600162 w 939786"/>
                  <a:gd name="connsiteY622" fmla="*/ 745905 h 840509"/>
                  <a:gd name="connsiteX623" fmla="*/ 603689 w 939786"/>
                  <a:gd name="connsiteY623" fmla="*/ 743612 h 840509"/>
                  <a:gd name="connsiteX624" fmla="*/ 604835 w 939786"/>
                  <a:gd name="connsiteY624" fmla="*/ 743083 h 840509"/>
                  <a:gd name="connsiteX625" fmla="*/ 605982 w 939786"/>
                  <a:gd name="connsiteY625" fmla="*/ 742730 h 840509"/>
                  <a:gd name="connsiteX626" fmla="*/ 605982 w 939786"/>
                  <a:gd name="connsiteY626" fmla="*/ 743083 h 840509"/>
                  <a:gd name="connsiteX627" fmla="*/ 605982 w 939786"/>
                  <a:gd name="connsiteY627" fmla="*/ 743348 h 840509"/>
                  <a:gd name="connsiteX628" fmla="*/ 606334 w 939786"/>
                  <a:gd name="connsiteY628" fmla="*/ 745640 h 840509"/>
                  <a:gd name="connsiteX629" fmla="*/ 606951 w 939786"/>
                  <a:gd name="connsiteY629" fmla="*/ 747933 h 840509"/>
                  <a:gd name="connsiteX630" fmla="*/ 607216 w 939786"/>
                  <a:gd name="connsiteY630" fmla="*/ 748285 h 840509"/>
                  <a:gd name="connsiteX631" fmla="*/ 607569 w 939786"/>
                  <a:gd name="connsiteY631" fmla="*/ 748550 h 840509"/>
                  <a:gd name="connsiteX632" fmla="*/ 608098 w 939786"/>
                  <a:gd name="connsiteY632" fmla="*/ 748814 h 840509"/>
                  <a:gd name="connsiteX633" fmla="*/ 608979 w 939786"/>
                  <a:gd name="connsiteY633" fmla="*/ 748814 h 840509"/>
                  <a:gd name="connsiteX634" fmla="*/ 608715 w 939786"/>
                  <a:gd name="connsiteY634" fmla="*/ 749696 h 840509"/>
                  <a:gd name="connsiteX635" fmla="*/ 606422 w 939786"/>
                  <a:gd name="connsiteY635" fmla="*/ 754633 h 840509"/>
                  <a:gd name="connsiteX636" fmla="*/ 606069 w 939786"/>
                  <a:gd name="connsiteY636" fmla="*/ 755250 h 840509"/>
                  <a:gd name="connsiteX637" fmla="*/ 605805 w 939786"/>
                  <a:gd name="connsiteY637" fmla="*/ 755515 h 840509"/>
                  <a:gd name="connsiteX638" fmla="*/ 605453 w 939786"/>
                  <a:gd name="connsiteY638" fmla="*/ 755779 h 840509"/>
                  <a:gd name="connsiteX639" fmla="*/ 605188 w 939786"/>
                  <a:gd name="connsiteY639" fmla="*/ 755779 h 840509"/>
                  <a:gd name="connsiteX640" fmla="*/ 604924 w 939786"/>
                  <a:gd name="connsiteY640" fmla="*/ 755779 h 840509"/>
                  <a:gd name="connsiteX641" fmla="*/ 602278 w 939786"/>
                  <a:gd name="connsiteY641" fmla="*/ 756308 h 840509"/>
                  <a:gd name="connsiteX642" fmla="*/ 600691 w 939786"/>
                  <a:gd name="connsiteY642" fmla="*/ 756485 h 840509"/>
                  <a:gd name="connsiteX643" fmla="*/ 518695 w 939786"/>
                  <a:gd name="connsiteY643" fmla="*/ 752693 h 840509"/>
                  <a:gd name="connsiteX644" fmla="*/ 518431 w 939786"/>
                  <a:gd name="connsiteY644" fmla="*/ 752693 h 840509"/>
                  <a:gd name="connsiteX645" fmla="*/ 518166 w 939786"/>
                  <a:gd name="connsiteY645" fmla="*/ 752076 h 840509"/>
                  <a:gd name="connsiteX646" fmla="*/ 518783 w 939786"/>
                  <a:gd name="connsiteY646" fmla="*/ 750930 h 840509"/>
                  <a:gd name="connsiteX647" fmla="*/ 519047 w 939786"/>
                  <a:gd name="connsiteY647" fmla="*/ 750666 h 840509"/>
                  <a:gd name="connsiteX648" fmla="*/ 519312 w 939786"/>
                  <a:gd name="connsiteY648" fmla="*/ 750666 h 840509"/>
                  <a:gd name="connsiteX649" fmla="*/ 519312 w 939786"/>
                  <a:gd name="connsiteY649" fmla="*/ 750401 h 840509"/>
                  <a:gd name="connsiteX650" fmla="*/ 520193 w 939786"/>
                  <a:gd name="connsiteY650" fmla="*/ 748991 h 840509"/>
                  <a:gd name="connsiteX651" fmla="*/ 520193 w 939786"/>
                  <a:gd name="connsiteY651" fmla="*/ 748726 h 840509"/>
                  <a:gd name="connsiteX652" fmla="*/ 520458 w 939786"/>
                  <a:gd name="connsiteY652" fmla="*/ 748462 h 840509"/>
                  <a:gd name="connsiteX653" fmla="*/ 520193 w 939786"/>
                  <a:gd name="connsiteY653" fmla="*/ 748197 h 840509"/>
                  <a:gd name="connsiteX654" fmla="*/ 519929 w 939786"/>
                  <a:gd name="connsiteY654" fmla="*/ 747844 h 840509"/>
                  <a:gd name="connsiteX655" fmla="*/ 519929 w 939786"/>
                  <a:gd name="connsiteY655" fmla="*/ 747580 h 840509"/>
                  <a:gd name="connsiteX656" fmla="*/ 519929 w 939786"/>
                  <a:gd name="connsiteY656" fmla="*/ 747315 h 840509"/>
                  <a:gd name="connsiteX657" fmla="*/ 520811 w 939786"/>
                  <a:gd name="connsiteY657" fmla="*/ 746081 h 840509"/>
                  <a:gd name="connsiteX658" fmla="*/ 523456 w 939786"/>
                  <a:gd name="connsiteY658" fmla="*/ 742025 h 840509"/>
                  <a:gd name="connsiteX659" fmla="*/ 523720 w 939786"/>
                  <a:gd name="connsiteY659" fmla="*/ 741761 h 840509"/>
                  <a:gd name="connsiteX660" fmla="*/ 523985 w 939786"/>
                  <a:gd name="connsiteY660" fmla="*/ 741761 h 840509"/>
                  <a:gd name="connsiteX661" fmla="*/ 524867 w 939786"/>
                  <a:gd name="connsiteY661" fmla="*/ 741408 h 840509"/>
                  <a:gd name="connsiteX662" fmla="*/ 525396 w 939786"/>
                  <a:gd name="connsiteY662" fmla="*/ 741143 h 840509"/>
                  <a:gd name="connsiteX663" fmla="*/ 525396 w 939786"/>
                  <a:gd name="connsiteY663" fmla="*/ 740879 h 840509"/>
                  <a:gd name="connsiteX664" fmla="*/ 525748 w 939786"/>
                  <a:gd name="connsiteY664" fmla="*/ 740879 h 840509"/>
                  <a:gd name="connsiteX665" fmla="*/ 526101 w 939786"/>
                  <a:gd name="connsiteY665" fmla="*/ 740526 h 840509"/>
                  <a:gd name="connsiteX666" fmla="*/ 526365 w 939786"/>
                  <a:gd name="connsiteY666" fmla="*/ 740262 h 840509"/>
                  <a:gd name="connsiteX667" fmla="*/ 526630 w 939786"/>
                  <a:gd name="connsiteY667" fmla="*/ 739909 h 840509"/>
                  <a:gd name="connsiteX668" fmla="*/ 526630 w 939786"/>
                  <a:gd name="connsiteY668" fmla="*/ 739645 h 840509"/>
                  <a:gd name="connsiteX669" fmla="*/ 526894 w 939786"/>
                  <a:gd name="connsiteY669" fmla="*/ 739380 h 840509"/>
                  <a:gd name="connsiteX670" fmla="*/ 526894 w 939786"/>
                  <a:gd name="connsiteY670" fmla="*/ 739116 h 840509"/>
                  <a:gd name="connsiteX671" fmla="*/ 526894 w 939786"/>
                  <a:gd name="connsiteY671" fmla="*/ 738851 h 840509"/>
                  <a:gd name="connsiteX672" fmla="*/ 527159 w 939786"/>
                  <a:gd name="connsiteY672" fmla="*/ 738498 h 840509"/>
                  <a:gd name="connsiteX673" fmla="*/ 528041 w 939786"/>
                  <a:gd name="connsiteY673" fmla="*/ 738234 h 840509"/>
                  <a:gd name="connsiteX674" fmla="*/ 528305 w 939786"/>
                  <a:gd name="connsiteY674" fmla="*/ 738498 h 840509"/>
                  <a:gd name="connsiteX675" fmla="*/ 529187 w 939786"/>
                  <a:gd name="connsiteY675" fmla="*/ 739380 h 840509"/>
                  <a:gd name="connsiteX676" fmla="*/ 529452 w 939786"/>
                  <a:gd name="connsiteY676" fmla="*/ 739380 h 840509"/>
                  <a:gd name="connsiteX677" fmla="*/ 529452 w 939786"/>
                  <a:gd name="connsiteY677" fmla="*/ 740526 h 840509"/>
                  <a:gd name="connsiteX678" fmla="*/ 529452 w 939786"/>
                  <a:gd name="connsiteY678" fmla="*/ 740879 h 840509"/>
                  <a:gd name="connsiteX679" fmla="*/ 527423 w 939786"/>
                  <a:gd name="connsiteY679" fmla="*/ 744406 h 840509"/>
                  <a:gd name="connsiteX680" fmla="*/ 527423 w 939786"/>
                  <a:gd name="connsiteY680" fmla="*/ 744670 h 840509"/>
                  <a:gd name="connsiteX681" fmla="*/ 526277 w 939786"/>
                  <a:gd name="connsiteY681" fmla="*/ 747315 h 840509"/>
                  <a:gd name="connsiteX682" fmla="*/ 526277 w 939786"/>
                  <a:gd name="connsiteY682" fmla="*/ 747580 h 840509"/>
                  <a:gd name="connsiteX683" fmla="*/ 525396 w 939786"/>
                  <a:gd name="connsiteY683" fmla="*/ 748726 h 840509"/>
                  <a:gd name="connsiteX684" fmla="*/ 525396 w 939786"/>
                  <a:gd name="connsiteY684" fmla="*/ 748991 h 840509"/>
                  <a:gd name="connsiteX685" fmla="*/ 523985 w 939786"/>
                  <a:gd name="connsiteY685" fmla="*/ 750137 h 840509"/>
                  <a:gd name="connsiteX686" fmla="*/ 521075 w 939786"/>
                  <a:gd name="connsiteY686" fmla="*/ 751547 h 840509"/>
                  <a:gd name="connsiteX687" fmla="*/ 519664 w 939786"/>
                  <a:gd name="connsiteY687" fmla="*/ 751812 h 840509"/>
                  <a:gd name="connsiteX688" fmla="*/ 518695 w 939786"/>
                  <a:gd name="connsiteY688" fmla="*/ 752693 h 840509"/>
                  <a:gd name="connsiteX689" fmla="*/ 604747 w 939786"/>
                  <a:gd name="connsiteY689" fmla="*/ 735501 h 840509"/>
                  <a:gd name="connsiteX690" fmla="*/ 604747 w 939786"/>
                  <a:gd name="connsiteY690" fmla="*/ 735501 h 840509"/>
                  <a:gd name="connsiteX691" fmla="*/ 604482 w 939786"/>
                  <a:gd name="connsiteY691" fmla="*/ 735501 h 840509"/>
                  <a:gd name="connsiteX692" fmla="*/ 604218 w 939786"/>
                  <a:gd name="connsiteY692" fmla="*/ 735501 h 840509"/>
                  <a:gd name="connsiteX693" fmla="*/ 603953 w 939786"/>
                  <a:gd name="connsiteY693" fmla="*/ 735236 h 840509"/>
                  <a:gd name="connsiteX694" fmla="*/ 604218 w 939786"/>
                  <a:gd name="connsiteY694" fmla="*/ 734972 h 840509"/>
                  <a:gd name="connsiteX695" fmla="*/ 604482 w 939786"/>
                  <a:gd name="connsiteY695" fmla="*/ 734707 h 840509"/>
                  <a:gd name="connsiteX696" fmla="*/ 605100 w 939786"/>
                  <a:gd name="connsiteY696" fmla="*/ 734355 h 840509"/>
                  <a:gd name="connsiteX697" fmla="*/ 605364 w 939786"/>
                  <a:gd name="connsiteY697" fmla="*/ 734355 h 840509"/>
                  <a:gd name="connsiteX698" fmla="*/ 605717 w 939786"/>
                  <a:gd name="connsiteY698" fmla="*/ 734707 h 840509"/>
                  <a:gd name="connsiteX699" fmla="*/ 605364 w 939786"/>
                  <a:gd name="connsiteY699" fmla="*/ 734972 h 840509"/>
                  <a:gd name="connsiteX700" fmla="*/ 604747 w 939786"/>
                  <a:gd name="connsiteY700" fmla="*/ 735501 h 840509"/>
                  <a:gd name="connsiteX701" fmla="*/ 603601 w 939786"/>
                  <a:gd name="connsiteY701" fmla="*/ 735148 h 840509"/>
                  <a:gd name="connsiteX702" fmla="*/ 603601 w 939786"/>
                  <a:gd name="connsiteY702" fmla="*/ 735148 h 840509"/>
                  <a:gd name="connsiteX703" fmla="*/ 603601 w 939786"/>
                  <a:gd name="connsiteY703" fmla="*/ 734884 h 840509"/>
                  <a:gd name="connsiteX704" fmla="*/ 604218 w 939786"/>
                  <a:gd name="connsiteY704" fmla="*/ 734002 h 840509"/>
                  <a:gd name="connsiteX705" fmla="*/ 604482 w 939786"/>
                  <a:gd name="connsiteY705" fmla="*/ 734002 h 840509"/>
                  <a:gd name="connsiteX706" fmla="*/ 604482 w 939786"/>
                  <a:gd name="connsiteY706" fmla="*/ 733737 h 840509"/>
                  <a:gd name="connsiteX707" fmla="*/ 604747 w 939786"/>
                  <a:gd name="connsiteY707" fmla="*/ 733737 h 840509"/>
                  <a:gd name="connsiteX708" fmla="*/ 604747 w 939786"/>
                  <a:gd name="connsiteY708" fmla="*/ 734002 h 840509"/>
                  <a:gd name="connsiteX709" fmla="*/ 604218 w 939786"/>
                  <a:gd name="connsiteY709" fmla="*/ 734884 h 840509"/>
                  <a:gd name="connsiteX710" fmla="*/ 603953 w 939786"/>
                  <a:gd name="connsiteY710" fmla="*/ 734884 h 840509"/>
                  <a:gd name="connsiteX711" fmla="*/ 603953 w 939786"/>
                  <a:gd name="connsiteY711" fmla="*/ 735148 h 840509"/>
                  <a:gd name="connsiteX712" fmla="*/ 603601 w 939786"/>
                  <a:gd name="connsiteY712" fmla="*/ 735148 h 840509"/>
                  <a:gd name="connsiteX713" fmla="*/ 712048 w 939786"/>
                  <a:gd name="connsiteY713" fmla="*/ 3439 h 840509"/>
                  <a:gd name="connsiteX714" fmla="*/ 711784 w 939786"/>
                  <a:gd name="connsiteY714" fmla="*/ 3439 h 840509"/>
                  <a:gd name="connsiteX715" fmla="*/ 710902 w 939786"/>
                  <a:gd name="connsiteY715" fmla="*/ 2292 h 840509"/>
                  <a:gd name="connsiteX716" fmla="*/ 710902 w 939786"/>
                  <a:gd name="connsiteY716" fmla="*/ 1940 h 840509"/>
                  <a:gd name="connsiteX717" fmla="*/ 711166 w 939786"/>
                  <a:gd name="connsiteY717" fmla="*/ 1411 h 840509"/>
                  <a:gd name="connsiteX718" fmla="*/ 712048 w 939786"/>
                  <a:gd name="connsiteY718" fmla="*/ 264 h 840509"/>
                  <a:gd name="connsiteX719" fmla="*/ 712313 w 939786"/>
                  <a:gd name="connsiteY719" fmla="*/ 0 h 840509"/>
                  <a:gd name="connsiteX720" fmla="*/ 712313 w 939786"/>
                  <a:gd name="connsiteY720" fmla="*/ 264 h 840509"/>
                  <a:gd name="connsiteX721" fmla="*/ 712577 w 939786"/>
                  <a:gd name="connsiteY721" fmla="*/ 264 h 840509"/>
                  <a:gd name="connsiteX722" fmla="*/ 712930 w 939786"/>
                  <a:gd name="connsiteY722" fmla="*/ 793 h 840509"/>
                  <a:gd name="connsiteX723" fmla="*/ 713194 w 939786"/>
                  <a:gd name="connsiteY723" fmla="*/ 793 h 840509"/>
                  <a:gd name="connsiteX724" fmla="*/ 713194 w 939786"/>
                  <a:gd name="connsiteY724" fmla="*/ 1146 h 840509"/>
                  <a:gd name="connsiteX725" fmla="*/ 713194 w 939786"/>
                  <a:gd name="connsiteY725" fmla="*/ 1411 h 840509"/>
                  <a:gd name="connsiteX726" fmla="*/ 712930 w 939786"/>
                  <a:gd name="connsiteY726" fmla="*/ 2557 h 840509"/>
                  <a:gd name="connsiteX727" fmla="*/ 712930 w 939786"/>
                  <a:gd name="connsiteY727" fmla="*/ 2821 h 840509"/>
                  <a:gd name="connsiteX728" fmla="*/ 712313 w 939786"/>
                  <a:gd name="connsiteY728" fmla="*/ 3439 h 840509"/>
                  <a:gd name="connsiteX729" fmla="*/ 712048 w 939786"/>
                  <a:gd name="connsiteY729" fmla="*/ 3439 h 840509"/>
                  <a:gd name="connsiteX730" fmla="*/ 714693 w 939786"/>
                  <a:gd name="connsiteY730" fmla="*/ 5466 h 840509"/>
                  <a:gd name="connsiteX731" fmla="*/ 714693 w 939786"/>
                  <a:gd name="connsiteY731" fmla="*/ 5466 h 840509"/>
                  <a:gd name="connsiteX732" fmla="*/ 713194 w 939786"/>
                  <a:gd name="connsiteY732" fmla="*/ 4849 h 840509"/>
                  <a:gd name="connsiteX733" fmla="*/ 713194 w 939786"/>
                  <a:gd name="connsiteY733" fmla="*/ 4585 h 840509"/>
                  <a:gd name="connsiteX734" fmla="*/ 712930 w 939786"/>
                  <a:gd name="connsiteY734" fmla="*/ 4320 h 840509"/>
                  <a:gd name="connsiteX735" fmla="*/ 712930 w 939786"/>
                  <a:gd name="connsiteY735" fmla="*/ 3703 h 840509"/>
                  <a:gd name="connsiteX736" fmla="*/ 713547 w 939786"/>
                  <a:gd name="connsiteY736" fmla="*/ 2821 h 840509"/>
                  <a:gd name="connsiteX737" fmla="*/ 713547 w 939786"/>
                  <a:gd name="connsiteY737" fmla="*/ 2557 h 840509"/>
                  <a:gd name="connsiteX738" fmla="*/ 713811 w 939786"/>
                  <a:gd name="connsiteY738" fmla="*/ 2292 h 840509"/>
                  <a:gd name="connsiteX739" fmla="*/ 714958 w 939786"/>
                  <a:gd name="connsiteY739" fmla="*/ 2292 h 840509"/>
                  <a:gd name="connsiteX740" fmla="*/ 715839 w 939786"/>
                  <a:gd name="connsiteY740" fmla="*/ 2557 h 840509"/>
                  <a:gd name="connsiteX741" fmla="*/ 715839 w 939786"/>
                  <a:gd name="connsiteY741" fmla="*/ 3174 h 840509"/>
                  <a:gd name="connsiteX742" fmla="*/ 716104 w 939786"/>
                  <a:gd name="connsiteY742" fmla="*/ 3439 h 840509"/>
                  <a:gd name="connsiteX743" fmla="*/ 716104 w 939786"/>
                  <a:gd name="connsiteY743" fmla="*/ 3703 h 840509"/>
                  <a:gd name="connsiteX744" fmla="*/ 714958 w 939786"/>
                  <a:gd name="connsiteY744" fmla="*/ 5202 h 840509"/>
                  <a:gd name="connsiteX745" fmla="*/ 714693 w 939786"/>
                  <a:gd name="connsiteY745" fmla="*/ 5466 h 840509"/>
                  <a:gd name="connsiteX746" fmla="*/ 714693 w 939786"/>
                  <a:gd name="connsiteY746" fmla="*/ 12432 h 840509"/>
                  <a:gd name="connsiteX747" fmla="*/ 714693 w 939786"/>
                  <a:gd name="connsiteY747" fmla="*/ 12432 h 840509"/>
                  <a:gd name="connsiteX748" fmla="*/ 714429 w 939786"/>
                  <a:gd name="connsiteY748" fmla="*/ 12432 h 840509"/>
                  <a:gd name="connsiteX749" fmla="*/ 714164 w 939786"/>
                  <a:gd name="connsiteY749" fmla="*/ 12167 h 840509"/>
                  <a:gd name="connsiteX750" fmla="*/ 714164 w 939786"/>
                  <a:gd name="connsiteY750" fmla="*/ 11903 h 840509"/>
                  <a:gd name="connsiteX751" fmla="*/ 714781 w 939786"/>
                  <a:gd name="connsiteY751" fmla="*/ 11638 h 840509"/>
                  <a:gd name="connsiteX752" fmla="*/ 715046 w 939786"/>
                  <a:gd name="connsiteY752" fmla="*/ 11638 h 840509"/>
                  <a:gd name="connsiteX753" fmla="*/ 715046 w 939786"/>
                  <a:gd name="connsiteY753" fmla="*/ 11903 h 840509"/>
                  <a:gd name="connsiteX754" fmla="*/ 715046 w 939786"/>
                  <a:gd name="connsiteY754" fmla="*/ 12167 h 840509"/>
                  <a:gd name="connsiteX755" fmla="*/ 714693 w 939786"/>
                  <a:gd name="connsiteY755" fmla="*/ 12432 h 840509"/>
                  <a:gd name="connsiteX756" fmla="*/ 712665 w 939786"/>
                  <a:gd name="connsiteY756" fmla="*/ 12696 h 840509"/>
                  <a:gd name="connsiteX757" fmla="*/ 712048 w 939786"/>
                  <a:gd name="connsiteY757" fmla="*/ 12961 h 840509"/>
                  <a:gd name="connsiteX758" fmla="*/ 711784 w 939786"/>
                  <a:gd name="connsiteY758" fmla="*/ 12961 h 840509"/>
                  <a:gd name="connsiteX759" fmla="*/ 711784 w 939786"/>
                  <a:gd name="connsiteY759" fmla="*/ 12696 h 840509"/>
                  <a:gd name="connsiteX760" fmla="*/ 712048 w 939786"/>
                  <a:gd name="connsiteY760" fmla="*/ 12432 h 840509"/>
                  <a:gd name="connsiteX761" fmla="*/ 712048 w 939786"/>
                  <a:gd name="connsiteY761" fmla="*/ 12167 h 840509"/>
                  <a:gd name="connsiteX762" fmla="*/ 712665 w 939786"/>
                  <a:gd name="connsiteY762" fmla="*/ 11903 h 840509"/>
                  <a:gd name="connsiteX763" fmla="*/ 713018 w 939786"/>
                  <a:gd name="connsiteY763" fmla="*/ 11903 h 840509"/>
                  <a:gd name="connsiteX764" fmla="*/ 713018 w 939786"/>
                  <a:gd name="connsiteY764" fmla="*/ 12167 h 840509"/>
                  <a:gd name="connsiteX765" fmla="*/ 712665 w 939786"/>
                  <a:gd name="connsiteY765" fmla="*/ 12696 h 840509"/>
                  <a:gd name="connsiteX766" fmla="*/ 713547 w 939786"/>
                  <a:gd name="connsiteY766" fmla="*/ 14812 h 840509"/>
                  <a:gd name="connsiteX767" fmla="*/ 713547 w 939786"/>
                  <a:gd name="connsiteY767" fmla="*/ 14812 h 840509"/>
                  <a:gd name="connsiteX768" fmla="*/ 713282 w 939786"/>
                  <a:gd name="connsiteY768" fmla="*/ 14812 h 840509"/>
                  <a:gd name="connsiteX769" fmla="*/ 713282 w 939786"/>
                  <a:gd name="connsiteY769" fmla="*/ 14548 h 840509"/>
                  <a:gd name="connsiteX770" fmla="*/ 713018 w 939786"/>
                  <a:gd name="connsiteY770" fmla="*/ 14283 h 840509"/>
                  <a:gd name="connsiteX771" fmla="*/ 713018 w 939786"/>
                  <a:gd name="connsiteY771" fmla="*/ 14019 h 840509"/>
                  <a:gd name="connsiteX772" fmla="*/ 713018 w 939786"/>
                  <a:gd name="connsiteY772" fmla="*/ 13754 h 840509"/>
                  <a:gd name="connsiteX773" fmla="*/ 713018 w 939786"/>
                  <a:gd name="connsiteY773" fmla="*/ 13490 h 840509"/>
                  <a:gd name="connsiteX774" fmla="*/ 713282 w 939786"/>
                  <a:gd name="connsiteY774" fmla="*/ 13490 h 840509"/>
                  <a:gd name="connsiteX775" fmla="*/ 713282 w 939786"/>
                  <a:gd name="connsiteY775" fmla="*/ 13137 h 840509"/>
                  <a:gd name="connsiteX776" fmla="*/ 713547 w 939786"/>
                  <a:gd name="connsiteY776" fmla="*/ 13137 h 840509"/>
                  <a:gd name="connsiteX777" fmla="*/ 713811 w 939786"/>
                  <a:gd name="connsiteY777" fmla="*/ 13137 h 840509"/>
                  <a:gd name="connsiteX778" fmla="*/ 714076 w 939786"/>
                  <a:gd name="connsiteY778" fmla="*/ 13137 h 840509"/>
                  <a:gd name="connsiteX779" fmla="*/ 714340 w 939786"/>
                  <a:gd name="connsiteY779" fmla="*/ 13137 h 840509"/>
                  <a:gd name="connsiteX780" fmla="*/ 714340 w 939786"/>
                  <a:gd name="connsiteY780" fmla="*/ 13490 h 840509"/>
                  <a:gd name="connsiteX781" fmla="*/ 714605 w 939786"/>
                  <a:gd name="connsiteY781" fmla="*/ 13490 h 840509"/>
                  <a:gd name="connsiteX782" fmla="*/ 714605 w 939786"/>
                  <a:gd name="connsiteY782" fmla="*/ 13754 h 840509"/>
                  <a:gd name="connsiteX783" fmla="*/ 714605 w 939786"/>
                  <a:gd name="connsiteY783" fmla="*/ 14019 h 840509"/>
                  <a:gd name="connsiteX784" fmla="*/ 714340 w 939786"/>
                  <a:gd name="connsiteY784" fmla="*/ 14283 h 840509"/>
                  <a:gd name="connsiteX785" fmla="*/ 714340 w 939786"/>
                  <a:gd name="connsiteY785" fmla="*/ 14548 h 840509"/>
                  <a:gd name="connsiteX786" fmla="*/ 714076 w 939786"/>
                  <a:gd name="connsiteY786" fmla="*/ 14548 h 840509"/>
                  <a:gd name="connsiteX787" fmla="*/ 713547 w 939786"/>
                  <a:gd name="connsiteY787" fmla="*/ 14812 h 840509"/>
                  <a:gd name="connsiteX788" fmla="*/ 711166 w 939786"/>
                  <a:gd name="connsiteY788" fmla="*/ 17722 h 840509"/>
                  <a:gd name="connsiteX789" fmla="*/ 711166 w 939786"/>
                  <a:gd name="connsiteY789" fmla="*/ 17986 h 840509"/>
                  <a:gd name="connsiteX790" fmla="*/ 710284 w 939786"/>
                  <a:gd name="connsiteY790" fmla="*/ 17457 h 840509"/>
                  <a:gd name="connsiteX791" fmla="*/ 710020 w 939786"/>
                  <a:gd name="connsiteY791" fmla="*/ 16840 h 840509"/>
                  <a:gd name="connsiteX792" fmla="*/ 709667 w 939786"/>
                  <a:gd name="connsiteY792" fmla="*/ 16487 h 840509"/>
                  <a:gd name="connsiteX793" fmla="*/ 709667 w 939786"/>
                  <a:gd name="connsiteY793" fmla="*/ 16223 h 840509"/>
                  <a:gd name="connsiteX794" fmla="*/ 710020 w 939786"/>
                  <a:gd name="connsiteY794" fmla="*/ 15077 h 840509"/>
                  <a:gd name="connsiteX795" fmla="*/ 710020 w 939786"/>
                  <a:gd name="connsiteY795" fmla="*/ 14812 h 840509"/>
                  <a:gd name="connsiteX796" fmla="*/ 710284 w 939786"/>
                  <a:gd name="connsiteY796" fmla="*/ 14812 h 840509"/>
                  <a:gd name="connsiteX797" fmla="*/ 711431 w 939786"/>
                  <a:gd name="connsiteY797" fmla="*/ 14195 h 840509"/>
                  <a:gd name="connsiteX798" fmla="*/ 712313 w 939786"/>
                  <a:gd name="connsiteY798" fmla="*/ 13931 h 840509"/>
                  <a:gd name="connsiteX799" fmla="*/ 713194 w 939786"/>
                  <a:gd name="connsiteY799" fmla="*/ 15694 h 840509"/>
                  <a:gd name="connsiteX800" fmla="*/ 712930 w 939786"/>
                  <a:gd name="connsiteY800" fmla="*/ 16840 h 840509"/>
                  <a:gd name="connsiteX801" fmla="*/ 712577 w 939786"/>
                  <a:gd name="connsiteY801" fmla="*/ 16487 h 840509"/>
                  <a:gd name="connsiteX802" fmla="*/ 711960 w 939786"/>
                  <a:gd name="connsiteY802" fmla="*/ 16840 h 840509"/>
                  <a:gd name="connsiteX803" fmla="*/ 711695 w 939786"/>
                  <a:gd name="connsiteY803" fmla="*/ 16840 h 840509"/>
                  <a:gd name="connsiteX804" fmla="*/ 711695 w 939786"/>
                  <a:gd name="connsiteY804" fmla="*/ 17105 h 840509"/>
                  <a:gd name="connsiteX805" fmla="*/ 711431 w 939786"/>
                  <a:gd name="connsiteY805" fmla="*/ 17369 h 840509"/>
                  <a:gd name="connsiteX806" fmla="*/ 711166 w 939786"/>
                  <a:gd name="connsiteY806" fmla="*/ 17722 h 840509"/>
                  <a:gd name="connsiteX807" fmla="*/ 586937 w 939786"/>
                  <a:gd name="connsiteY807" fmla="*/ 34915 h 840509"/>
                  <a:gd name="connsiteX808" fmla="*/ 586320 w 939786"/>
                  <a:gd name="connsiteY808" fmla="*/ 34915 h 840509"/>
                  <a:gd name="connsiteX809" fmla="*/ 586056 w 939786"/>
                  <a:gd name="connsiteY809" fmla="*/ 34915 h 840509"/>
                  <a:gd name="connsiteX810" fmla="*/ 586056 w 939786"/>
                  <a:gd name="connsiteY810" fmla="*/ 34650 h 840509"/>
                  <a:gd name="connsiteX811" fmla="*/ 586320 w 939786"/>
                  <a:gd name="connsiteY811" fmla="*/ 33769 h 840509"/>
                  <a:gd name="connsiteX812" fmla="*/ 586585 w 939786"/>
                  <a:gd name="connsiteY812" fmla="*/ 33769 h 840509"/>
                  <a:gd name="connsiteX813" fmla="*/ 589847 w 939786"/>
                  <a:gd name="connsiteY813" fmla="*/ 29095 h 840509"/>
                  <a:gd name="connsiteX814" fmla="*/ 592139 w 939786"/>
                  <a:gd name="connsiteY814" fmla="*/ 24775 h 840509"/>
                  <a:gd name="connsiteX815" fmla="*/ 592403 w 939786"/>
                  <a:gd name="connsiteY815" fmla="*/ 24775 h 840509"/>
                  <a:gd name="connsiteX816" fmla="*/ 592403 w 939786"/>
                  <a:gd name="connsiteY816" fmla="*/ 24423 h 840509"/>
                  <a:gd name="connsiteX817" fmla="*/ 593021 w 939786"/>
                  <a:gd name="connsiteY817" fmla="*/ 24158 h 840509"/>
                  <a:gd name="connsiteX818" fmla="*/ 593285 w 939786"/>
                  <a:gd name="connsiteY818" fmla="*/ 24158 h 840509"/>
                  <a:gd name="connsiteX819" fmla="*/ 593285 w 939786"/>
                  <a:gd name="connsiteY819" fmla="*/ 24423 h 840509"/>
                  <a:gd name="connsiteX820" fmla="*/ 591786 w 939786"/>
                  <a:gd name="connsiteY820" fmla="*/ 28478 h 840509"/>
                  <a:gd name="connsiteX821" fmla="*/ 591786 w 939786"/>
                  <a:gd name="connsiteY821" fmla="*/ 28743 h 840509"/>
                  <a:gd name="connsiteX822" fmla="*/ 587378 w 939786"/>
                  <a:gd name="connsiteY822" fmla="*/ 34298 h 840509"/>
                  <a:gd name="connsiteX823" fmla="*/ 587113 w 939786"/>
                  <a:gd name="connsiteY823" fmla="*/ 34562 h 840509"/>
                  <a:gd name="connsiteX824" fmla="*/ 587113 w 939786"/>
                  <a:gd name="connsiteY824" fmla="*/ 34827 h 840509"/>
                  <a:gd name="connsiteX825" fmla="*/ 586937 w 939786"/>
                  <a:gd name="connsiteY825" fmla="*/ 34827 h 840509"/>
                  <a:gd name="connsiteX826" fmla="*/ 502913 w 939786"/>
                  <a:gd name="connsiteY826" fmla="*/ 30506 h 840509"/>
                  <a:gd name="connsiteX827" fmla="*/ 502031 w 939786"/>
                  <a:gd name="connsiteY827" fmla="*/ 32005 h 840509"/>
                  <a:gd name="connsiteX828" fmla="*/ 501767 w 939786"/>
                  <a:gd name="connsiteY828" fmla="*/ 31741 h 840509"/>
                  <a:gd name="connsiteX829" fmla="*/ 501502 w 939786"/>
                  <a:gd name="connsiteY829" fmla="*/ 31388 h 840509"/>
                  <a:gd name="connsiteX830" fmla="*/ 501149 w 939786"/>
                  <a:gd name="connsiteY830" fmla="*/ 29007 h 840509"/>
                  <a:gd name="connsiteX831" fmla="*/ 500885 w 939786"/>
                  <a:gd name="connsiteY831" fmla="*/ 26980 h 840509"/>
                  <a:gd name="connsiteX832" fmla="*/ 500885 w 939786"/>
                  <a:gd name="connsiteY832" fmla="*/ 24952 h 840509"/>
                  <a:gd name="connsiteX833" fmla="*/ 502648 w 939786"/>
                  <a:gd name="connsiteY833" fmla="*/ 24070 h 840509"/>
                  <a:gd name="connsiteX834" fmla="*/ 502913 w 939786"/>
                  <a:gd name="connsiteY834" fmla="*/ 25216 h 840509"/>
                  <a:gd name="connsiteX835" fmla="*/ 503177 w 939786"/>
                  <a:gd name="connsiteY835" fmla="*/ 26362 h 840509"/>
                  <a:gd name="connsiteX836" fmla="*/ 503177 w 939786"/>
                  <a:gd name="connsiteY836" fmla="*/ 27773 h 840509"/>
                  <a:gd name="connsiteX837" fmla="*/ 503177 w 939786"/>
                  <a:gd name="connsiteY837" fmla="*/ 28919 h 840509"/>
                  <a:gd name="connsiteX838" fmla="*/ 502913 w 939786"/>
                  <a:gd name="connsiteY838" fmla="*/ 30065 h 840509"/>
                  <a:gd name="connsiteX839" fmla="*/ 502913 w 939786"/>
                  <a:gd name="connsiteY839" fmla="*/ 30506 h 840509"/>
                  <a:gd name="connsiteX840" fmla="*/ 465000 w 939786"/>
                  <a:gd name="connsiteY840" fmla="*/ 46906 h 840509"/>
                  <a:gd name="connsiteX841" fmla="*/ 465000 w 939786"/>
                  <a:gd name="connsiteY841" fmla="*/ 46906 h 840509"/>
                  <a:gd name="connsiteX842" fmla="*/ 463501 w 939786"/>
                  <a:gd name="connsiteY842" fmla="*/ 45142 h 840509"/>
                  <a:gd name="connsiteX843" fmla="*/ 463237 w 939786"/>
                  <a:gd name="connsiteY843" fmla="*/ 44790 h 840509"/>
                  <a:gd name="connsiteX844" fmla="*/ 462972 w 939786"/>
                  <a:gd name="connsiteY844" fmla="*/ 44790 h 840509"/>
                  <a:gd name="connsiteX845" fmla="*/ 462443 w 939786"/>
                  <a:gd name="connsiteY845" fmla="*/ 44790 h 840509"/>
                  <a:gd name="connsiteX846" fmla="*/ 462179 w 939786"/>
                  <a:gd name="connsiteY846" fmla="*/ 44525 h 840509"/>
                  <a:gd name="connsiteX847" fmla="*/ 459534 w 939786"/>
                  <a:gd name="connsiteY847" fmla="*/ 43026 h 840509"/>
                  <a:gd name="connsiteX848" fmla="*/ 459269 w 939786"/>
                  <a:gd name="connsiteY848" fmla="*/ 43026 h 840509"/>
                  <a:gd name="connsiteX849" fmla="*/ 456360 w 939786"/>
                  <a:gd name="connsiteY849" fmla="*/ 40117 h 840509"/>
                  <a:gd name="connsiteX850" fmla="*/ 456007 w 939786"/>
                  <a:gd name="connsiteY850" fmla="*/ 39588 h 840509"/>
                  <a:gd name="connsiteX851" fmla="*/ 455742 w 939786"/>
                  <a:gd name="connsiteY851" fmla="*/ 39588 h 840509"/>
                  <a:gd name="connsiteX852" fmla="*/ 455742 w 939786"/>
                  <a:gd name="connsiteY852" fmla="*/ 39323 h 840509"/>
                  <a:gd name="connsiteX853" fmla="*/ 454861 w 939786"/>
                  <a:gd name="connsiteY853" fmla="*/ 34650 h 840509"/>
                  <a:gd name="connsiteX854" fmla="*/ 454332 w 939786"/>
                  <a:gd name="connsiteY854" fmla="*/ 29977 h 840509"/>
                  <a:gd name="connsiteX855" fmla="*/ 454332 w 939786"/>
                  <a:gd name="connsiteY855" fmla="*/ 29095 h 840509"/>
                  <a:gd name="connsiteX856" fmla="*/ 454332 w 939786"/>
                  <a:gd name="connsiteY856" fmla="*/ 28831 h 840509"/>
                  <a:gd name="connsiteX857" fmla="*/ 454596 w 939786"/>
                  <a:gd name="connsiteY857" fmla="*/ 27949 h 840509"/>
                  <a:gd name="connsiteX858" fmla="*/ 454861 w 939786"/>
                  <a:gd name="connsiteY858" fmla="*/ 27597 h 840509"/>
                  <a:gd name="connsiteX859" fmla="*/ 455213 w 939786"/>
                  <a:gd name="connsiteY859" fmla="*/ 27597 h 840509"/>
                  <a:gd name="connsiteX860" fmla="*/ 457858 w 939786"/>
                  <a:gd name="connsiteY860" fmla="*/ 30506 h 840509"/>
                  <a:gd name="connsiteX861" fmla="*/ 458476 w 939786"/>
                  <a:gd name="connsiteY861" fmla="*/ 32270 h 840509"/>
                  <a:gd name="connsiteX862" fmla="*/ 461385 w 939786"/>
                  <a:gd name="connsiteY862" fmla="*/ 33151 h 840509"/>
                  <a:gd name="connsiteX863" fmla="*/ 463678 w 939786"/>
                  <a:gd name="connsiteY863" fmla="*/ 32534 h 840509"/>
                  <a:gd name="connsiteX864" fmla="*/ 464295 w 939786"/>
                  <a:gd name="connsiteY864" fmla="*/ 32534 h 840509"/>
                  <a:gd name="connsiteX865" fmla="*/ 464559 w 939786"/>
                  <a:gd name="connsiteY865" fmla="*/ 32270 h 840509"/>
                  <a:gd name="connsiteX866" fmla="*/ 464824 w 939786"/>
                  <a:gd name="connsiteY866" fmla="*/ 32005 h 840509"/>
                  <a:gd name="connsiteX867" fmla="*/ 465441 w 939786"/>
                  <a:gd name="connsiteY867" fmla="*/ 31123 h 840509"/>
                  <a:gd name="connsiteX868" fmla="*/ 465705 w 939786"/>
                  <a:gd name="connsiteY868" fmla="*/ 31123 h 840509"/>
                  <a:gd name="connsiteX869" fmla="*/ 467204 w 939786"/>
                  <a:gd name="connsiteY869" fmla="*/ 31741 h 840509"/>
                  <a:gd name="connsiteX870" fmla="*/ 467821 w 939786"/>
                  <a:gd name="connsiteY870" fmla="*/ 32270 h 840509"/>
                  <a:gd name="connsiteX871" fmla="*/ 468968 w 939786"/>
                  <a:gd name="connsiteY871" fmla="*/ 31123 h 840509"/>
                  <a:gd name="connsiteX872" fmla="*/ 469232 w 939786"/>
                  <a:gd name="connsiteY872" fmla="*/ 31123 h 840509"/>
                  <a:gd name="connsiteX873" fmla="*/ 470379 w 939786"/>
                  <a:gd name="connsiteY873" fmla="*/ 30242 h 840509"/>
                  <a:gd name="connsiteX874" fmla="*/ 470643 w 939786"/>
                  <a:gd name="connsiteY874" fmla="*/ 29977 h 840509"/>
                  <a:gd name="connsiteX875" fmla="*/ 470908 w 939786"/>
                  <a:gd name="connsiteY875" fmla="*/ 29977 h 840509"/>
                  <a:gd name="connsiteX876" fmla="*/ 471172 w 939786"/>
                  <a:gd name="connsiteY876" fmla="*/ 29977 h 840509"/>
                  <a:gd name="connsiteX877" fmla="*/ 471172 w 939786"/>
                  <a:gd name="connsiteY877" fmla="*/ 30242 h 840509"/>
                  <a:gd name="connsiteX878" fmla="*/ 471172 w 939786"/>
                  <a:gd name="connsiteY878" fmla="*/ 30859 h 840509"/>
                  <a:gd name="connsiteX879" fmla="*/ 471172 w 939786"/>
                  <a:gd name="connsiteY879" fmla="*/ 31123 h 840509"/>
                  <a:gd name="connsiteX880" fmla="*/ 471437 w 939786"/>
                  <a:gd name="connsiteY880" fmla="*/ 31741 h 840509"/>
                  <a:gd name="connsiteX881" fmla="*/ 471437 w 939786"/>
                  <a:gd name="connsiteY881" fmla="*/ 32005 h 840509"/>
                  <a:gd name="connsiteX882" fmla="*/ 472054 w 939786"/>
                  <a:gd name="connsiteY882" fmla="*/ 33769 h 840509"/>
                  <a:gd name="connsiteX883" fmla="*/ 472318 w 939786"/>
                  <a:gd name="connsiteY883" fmla="*/ 33769 h 840509"/>
                  <a:gd name="connsiteX884" fmla="*/ 472318 w 939786"/>
                  <a:gd name="connsiteY884" fmla="*/ 33504 h 840509"/>
                  <a:gd name="connsiteX885" fmla="*/ 472318 w 939786"/>
                  <a:gd name="connsiteY885" fmla="*/ 33239 h 840509"/>
                  <a:gd name="connsiteX886" fmla="*/ 472318 w 939786"/>
                  <a:gd name="connsiteY886" fmla="*/ 32534 h 840509"/>
                  <a:gd name="connsiteX887" fmla="*/ 472318 w 939786"/>
                  <a:gd name="connsiteY887" fmla="*/ 31917 h 840509"/>
                  <a:gd name="connsiteX888" fmla="*/ 472054 w 939786"/>
                  <a:gd name="connsiteY888" fmla="*/ 30771 h 840509"/>
                  <a:gd name="connsiteX889" fmla="*/ 472318 w 939786"/>
                  <a:gd name="connsiteY889" fmla="*/ 29625 h 840509"/>
                  <a:gd name="connsiteX890" fmla="*/ 472318 w 939786"/>
                  <a:gd name="connsiteY890" fmla="*/ 29360 h 840509"/>
                  <a:gd name="connsiteX891" fmla="*/ 472935 w 939786"/>
                  <a:gd name="connsiteY891" fmla="*/ 28743 h 840509"/>
                  <a:gd name="connsiteX892" fmla="*/ 473553 w 939786"/>
                  <a:gd name="connsiteY892" fmla="*/ 28478 h 840509"/>
                  <a:gd name="connsiteX893" fmla="*/ 473817 w 939786"/>
                  <a:gd name="connsiteY893" fmla="*/ 28478 h 840509"/>
                  <a:gd name="connsiteX894" fmla="*/ 473817 w 939786"/>
                  <a:gd name="connsiteY894" fmla="*/ 28214 h 840509"/>
                  <a:gd name="connsiteX895" fmla="*/ 474082 w 939786"/>
                  <a:gd name="connsiteY895" fmla="*/ 28214 h 840509"/>
                  <a:gd name="connsiteX896" fmla="*/ 476726 w 939786"/>
                  <a:gd name="connsiteY896" fmla="*/ 29713 h 840509"/>
                  <a:gd name="connsiteX897" fmla="*/ 476991 w 939786"/>
                  <a:gd name="connsiteY897" fmla="*/ 29713 h 840509"/>
                  <a:gd name="connsiteX898" fmla="*/ 476991 w 939786"/>
                  <a:gd name="connsiteY898" fmla="*/ 29977 h 840509"/>
                  <a:gd name="connsiteX899" fmla="*/ 478755 w 939786"/>
                  <a:gd name="connsiteY899" fmla="*/ 33151 h 840509"/>
                  <a:gd name="connsiteX900" fmla="*/ 479019 w 939786"/>
                  <a:gd name="connsiteY900" fmla="*/ 33416 h 840509"/>
                  <a:gd name="connsiteX901" fmla="*/ 479019 w 939786"/>
                  <a:gd name="connsiteY901" fmla="*/ 34298 h 840509"/>
                  <a:gd name="connsiteX902" fmla="*/ 479019 w 939786"/>
                  <a:gd name="connsiteY902" fmla="*/ 34827 h 840509"/>
                  <a:gd name="connsiteX903" fmla="*/ 478755 w 939786"/>
                  <a:gd name="connsiteY903" fmla="*/ 35179 h 840509"/>
                  <a:gd name="connsiteX904" fmla="*/ 478755 w 939786"/>
                  <a:gd name="connsiteY904" fmla="*/ 35444 h 840509"/>
                  <a:gd name="connsiteX905" fmla="*/ 478402 w 939786"/>
                  <a:gd name="connsiteY905" fmla="*/ 35444 h 840509"/>
                  <a:gd name="connsiteX906" fmla="*/ 476991 w 939786"/>
                  <a:gd name="connsiteY906" fmla="*/ 37472 h 840509"/>
                  <a:gd name="connsiteX907" fmla="*/ 472583 w 939786"/>
                  <a:gd name="connsiteY907" fmla="*/ 41527 h 840509"/>
                  <a:gd name="connsiteX908" fmla="*/ 472230 w 939786"/>
                  <a:gd name="connsiteY908" fmla="*/ 41527 h 840509"/>
                  <a:gd name="connsiteX909" fmla="*/ 471966 w 939786"/>
                  <a:gd name="connsiteY909" fmla="*/ 41792 h 840509"/>
                  <a:gd name="connsiteX910" fmla="*/ 471701 w 939786"/>
                  <a:gd name="connsiteY910" fmla="*/ 41792 h 840509"/>
                  <a:gd name="connsiteX911" fmla="*/ 469056 w 939786"/>
                  <a:gd name="connsiteY911" fmla="*/ 43555 h 840509"/>
                  <a:gd name="connsiteX912" fmla="*/ 467028 w 939786"/>
                  <a:gd name="connsiteY912" fmla="*/ 45319 h 840509"/>
                  <a:gd name="connsiteX913" fmla="*/ 465265 w 939786"/>
                  <a:gd name="connsiteY913" fmla="*/ 46817 h 840509"/>
                  <a:gd name="connsiteX914" fmla="*/ 465000 w 939786"/>
                  <a:gd name="connsiteY914" fmla="*/ 46817 h 840509"/>
                  <a:gd name="connsiteX915" fmla="*/ 519312 w 939786"/>
                  <a:gd name="connsiteY915" fmla="*/ 36678 h 840509"/>
                  <a:gd name="connsiteX916" fmla="*/ 518695 w 939786"/>
                  <a:gd name="connsiteY916" fmla="*/ 36943 h 840509"/>
                  <a:gd name="connsiteX917" fmla="*/ 518959 w 939786"/>
                  <a:gd name="connsiteY917" fmla="*/ 36061 h 840509"/>
                  <a:gd name="connsiteX918" fmla="*/ 520458 w 939786"/>
                  <a:gd name="connsiteY918" fmla="*/ 35179 h 840509"/>
                  <a:gd name="connsiteX919" fmla="*/ 520722 w 939786"/>
                  <a:gd name="connsiteY919" fmla="*/ 34827 h 840509"/>
                  <a:gd name="connsiteX920" fmla="*/ 520722 w 939786"/>
                  <a:gd name="connsiteY920" fmla="*/ 35179 h 840509"/>
                  <a:gd name="connsiteX921" fmla="*/ 521340 w 939786"/>
                  <a:gd name="connsiteY921" fmla="*/ 36061 h 840509"/>
                  <a:gd name="connsiteX922" fmla="*/ 521340 w 939786"/>
                  <a:gd name="connsiteY922" fmla="*/ 36325 h 840509"/>
                  <a:gd name="connsiteX923" fmla="*/ 521075 w 939786"/>
                  <a:gd name="connsiteY923" fmla="*/ 36325 h 840509"/>
                  <a:gd name="connsiteX924" fmla="*/ 520546 w 939786"/>
                  <a:gd name="connsiteY924" fmla="*/ 36325 h 840509"/>
                  <a:gd name="connsiteX925" fmla="*/ 520282 w 939786"/>
                  <a:gd name="connsiteY925" fmla="*/ 36325 h 840509"/>
                  <a:gd name="connsiteX926" fmla="*/ 520282 w 939786"/>
                  <a:gd name="connsiteY926" fmla="*/ 36061 h 840509"/>
                  <a:gd name="connsiteX927" fmla="*/ 520017 w 939786"/>
                  <a:gd name="connsiteY927" fmla="*/ 36061 h 840509"/>
                  <a:gd name="connsiteX928" fmla="*/ 519753 w 939786"/>
                  <a:gd name="connsiteY928" fmla="*/ 36325 h 840509"/>
                  <a:gd name="connsiteX929" fmla="*/ 519312 w 939786"/>
                  <a:gd name="connsiteY929" fmla="*/ 36678 h 840509"/>
                  <a:gd name="connsiteX930" fmla="*/ 579090 w 939786"/>
                  <a:gd name="connsiteY930" fmla="*/ 40469 h 840509"/>
                  <a:gd name="connsiteX931" fmla="*/ 578826 w 939786"/>
                  <a:gd name="connsiteY931" fmla="*/ 40734 h 840509"/>
                  <a:gd name="connsiteX932" fmla="*/ 578561 w 939786"/>
                  <a:gd name="connsiteY932" fmla="*/ 40734 h 840509"/>
                  <a:gd name="connsiteX933" fmla="*/ 578826 w 939786"/>
                  <a:gd name="connsiteY933" fmla="*/ 39588 h 840509"/>
                  <a:gd name="connsiteX934" fmla="*/ 580853 w 939786"/>
                  <a:gd name="connsiteY934" fmla="*/ 37824 h 840509"/>
                  <a:gd name="connsiteX935" fmla="*/ 581206 w 939786"/>
                  <a:gd name="connsiteY935" fmla="*/ 37824 h 840509"/>
                  <a:gd name="connsiteX936" fmla="*/ 581471 w 939786"/>
                  <a:gd name="connsiteY936" fmla="*/ 37824 h 840509"/>
                  <a:gd name="connsiteX937" fmla="*/ 582617 w 939786"/>
                  <a:gd name="connsiteY937" fmla="*/ 37824 h 840509"/>
                  <a:gd name="connsiteX938" fmla="*/ 584380 w 939786"/>
                  <a:gd name="connsiteY938" fmla="*/ 36325 h 840509"/>
                  <a:gd name="connsiteX939" fmla="*/ 584645 w 939786"/>
                  <a:gd name="connsiteY939" fmla="*/ 36325 h 840509"/>
                  <a:gd name="connsiteX940" fmla="*/ 584909 w 939786"/>
                  <a:gd name="connsiteY940" fmla="*/ 35796 h 840509"/>
                  <a:gd name="connsiteX941" fmla="*/ 585791 w 939786"/>
                  <a:gd name="connsiteY941" fmla="*/ 35179 h 840509"/>
                  <a:gd name="connsiteX942" fmla="*/ 585527 w 939786"/>
                  <a:gd name="connsiteY942" fmla="*/ 36061 h 840509"/>
                  <a:gd name="connsiteX943" fmla="*/ 585527 w 939786"/>
                  <a:gd name="connsiteY943" fmla="*/ 36325 h 840509"/>
                  <a:gd name="connsiteX944" fmla="*/ 583146 w 939786"/>
                  <a:gd name="connsiteY944" fmla="*/ 38353 h 840509"/>
                  <a:gd name="connsiteX945" fmla="*/ 582264 w 939786"/>
                  <a:gd name="connsiteY945" fmla="*/ 38618 h 840509"/>
                  <a:gd name="connsiteX946" fmla="*/ 580501 w 939786"/>
                  <a:gd name="connsiteY946" fmla="*/ 39764 h 840509"/>
                  <a:gd name="connsiteX947" fmla="*/ 579090 w 939786"/>
                  <a:gd name="connsiteY947" fmla="*/ 40469 h 840509"/>
                  <a:gd name="connsiteX948" fmla="*/ 520458 w 939786"/>
                  <a:gd name="connsiteY948" fmla="*/ 38706 h 840509"/>
                  <a:gd name="connsiteX949" fmla="*/ 518077 w 939786"/>
                  <a:gd name="connsiteY949" fmla="*/ 40205 h 840509"/>
                  <a:gd name="connsiteX950" fmla="*/ 517813 w 939786"/>
                  <a:gd name="connsiteY950" fmla="*/ 40205 h 840509"/>
                  <a:gd name="connsiteX951" fmla="*/ 517813 w 939786"/>
                  <a:gd name="connsiteY951" fmla="*/ 39323 h 840509"/>
                  <a:gd name="connsiteX952" fmla="*/ 517813 w 939786"/>
                  <a:gd name="connsiteY952" fmla="*/ 38971 h 840509"/>
                  <a:gd name="connsiteX953" fmla="*/ 518077 w 939786"/>
                  <a:gd name="connsiteY953" fmla="*/ 38706 h 840509"/>
                  <a:gd name="connsiteX954" fmla="*/ 518959 w 939786"/>
                  <a:gd name="connsiteY954" fmla="*/ 38177 h 840509"/>
                  <a:gd name="connsiteX955" fmla="*/ 519224 w 939786"/>
                  <a:gd name="connsiteY955" fmla="*/ 38177 h 840509"/>
                  <a:gd name="connsiteX956" fmla="*/ 519488 w 939786"/>
                  <a:gd name="connsiteY956" fmla="*/ 38177 h 840509"/>
                  <a:gd name="connsiteX957" fmla="*/ 520370 w 939786"/>
                  <a:gd name="connsiteY957" fmla="*/ 38177 h 840509"/>
                  <a:gd name="connsiteX958" fmla="*/ 520635 w 939786"/>
                  <a:gd name="connsiteY958" fmla="*/ 38177 h 840509"/>
                  <a:gd name="connsiteX959" fmla="*/ 520635 w 939786"/>
                  <a:gd name="connsiteY959" fmla="*/ 38442 h 840509"/>
                  <a:gd name="connsiteX960" fmla="*/ 520458 w 939786"/>
                  <a:gd name="connsiteY960" fmla="*/ 38706 h 840509"/>
                  <a:gd name="connsiteX961" fmla="*/ 501502 w 939786"/>
                  <a:gd name="connsiteY961" fmla="*/ 41351 h 840509"/>
                  <a:gd name="connsiteX962" fmla="*/ 500356 w 939786"/>
                  <a:gd name="connsiteY962" fmla="*/ 41615 h 840509"/>
                  <a:gd name="connsiteX963" fmla="*/ 500003 w 939786"/>
                  <a:gd name="connsiteY963" fmla="*/ 41615 h 840509"/>
                  <a:gd name="connsiteX964" fmla="*/ 500003 w 939786"/>
                  <a:gd name="connsiteY964" fmla="*/ 41351 h 840509"/>
                  <a:gd name="connsiteX965" fmla="*/ 499386 w 939786"/>
                  <a:gd name="connsiteY965" fmla="*/ 40469 h 840509"/>
                  <a:gd name="connsiteX966" fmla="*/ 499122 w 939786"/>
                  <a:gd name="connsiteY966" fmla="*/ 40469 h 840509"/>
                  <a:gd name="connsiteX967" fmla="*/ 499122 w 939786"/>
                  <a:gd name="connsiteY967" fmla="*/ 40205 h 840509"/>
                  <a:gd name="connsiteX968" fmla="*/ 499386 w 939786"/>
                  <a:gd name="connsiteY968" fmla="*/ 39940 h 840509"/>
                  <a:gd name="connsiteX969" fmla="*/ 499386 w 939786"/>
                  <a:gd name="connsiteY969" fmla="*/ 39676 h 840509"/>
                  <a:gd name="connsiteX970" fmla="*/ 499651 w 939786"/>
                  <a:gd name="connsiteY970" fmla="*/ 39411 h 840509"/>
                  <a:gd name="connsiteX971" fmla="*/ 499915 w 939786"/>
                  <a:gd name="connsiteY971" fmla="*/ 39411 h 840509"/>
                  <a:gd name="connsiteX972" fmla="*/ 501943 w 939786"/>
                  <a:gd name="connsiteY972" fmla="*/ 39676 h 840509"/>
                  <a:gd name="connsiteX973" fmla="*/ 502207 w 939786"/>
                  <a:gd name="connsiteY973" fmla="*/ 39676 h 840509"/>
                  <a:gd name="connsiteX974" fmla="*/ 502207 w 939786"/>
                  <a:gd name="connsiteY974" fmla="*/ 39940 h 840509"/>
                  <a:gd name="connsiteX975" fmla="*/ 501943 w 939786"/>
                  <a:gd name="connsiteY975" fmla="*/ 40558 h 840509"/>
                  <a:gd name="connsiteX976" fmla="*/ 501943 w 939786"/>
                  <a:gd name="connsiteY976" fmla="*/ 40822 h 840509"/>
                  <a:gd name="connsiteX977" fmla="*/ 501678 w 939786"/>
                  <a:gd name="connsiteY977" fmla="*/ 41439 h 840509"/>
                  <a:gd name="connsiteX978" fmla="*/ 501502 w 939786"/>
                  <a:gd name="connsiteY978" fmla="*/ 41439 h 840509"/>
                  <a:gd name="connsiteX979" fmla="*/ 574946 w 939786"/>
                  <a:gd name="connsiteY979" fmla="*/ 41351 h 840509"/>
                  <a:gd name="connsiteX980" fmla="*/ 574594 w 939786"/>
                  <a:gd name="connsiteY980" fmla="*/ 41351 h 840509"/>
                  <a:gd name="connsiteX981" fmla="*/ 574065 w 939786"/>
                  <a:gd name="connsiteY981" fmla="*/ 41351 h 840509"/>
                  <a:gd name="connsiteX982" fmla="*/ 573800 w 939786"/>
                  <a:gd name="connsiteY982" fmla="*/ 41351 h 840509"/>
                  <a:gd name="connsiteX983" fmla="*/ 573800 w 939786"/>
                  <a:gd name="connsiteY983" fmla="*/ 40998 h 840509"/>
                  <a:gd name="connsiteX984" fmla="*/ 573800 w 939786"/>
                  <a:gd name="connsiteY984" fmla="*/ 40734 h 840509"/>
                  <a:gd name="connsiteX985" fmla="*/ 573800 w 939786"/>
                  <a:gd name="connsiteY985" fmla="*/ 40469 h 840509"/>
                  <a:gd name="connsiteX986" fmla="*/ 574065 w 939786"/>
                  <a:gd name="connsiteY986" fmla="*/ 40469 h 840509"/>
                  <a:gd name="connsiteX987" fmla="*/ 574065 w 939786"/>
                  <a:gd name="connsiteY987" fmla="*/ 40205 h 840509"/>
                  <a:gd name="connsiteX988" fmla="*/ 575210 w 939786"/>
                  <a:gd name="connsiteY988" fmla="*/ 39940 h 840509"/>
                  <a:gd name="connsiteX989" fmla="*/ 575828 w 939786"/>
                  <a:gd name="connsiteY989" fmla="*/ 39940 h 840509"/>
                  <a:gd name="connsiteX990" fmla="*/ 575828 w 939786"/>
                  <a:gd name="connsiteY990" fmla="*/ 40205 h 840509"/>
                  <a:gd name="connsiteX991" fmla="*/ 575210 w 939786"/>
                  <a:gd name="connsiteY991" fmla="*/ 41086 h 840509"/>
                  <a:gd name="connsiteX992" fmla="*/ 574946 w 939786"/>
                  <a:gd name="connsiteY992" fmla="*/ 41351 h 840509"/>
                  <a:gd name="connsiteX993" fmla="*/ 587202 w 939786"/>
                  <a:gd name="connsiteY993" fmla="*/ 43026 h 840509"/>
                  <a:gd name="connsiteX994" fmla="*/ 585791 w 939786"/>
                  <a:gd name="connsiteY994" fmla="*/ 43643 h 840509"/>
                  <a:gd name="connsiteX995" fmla="*/ 585527 w 939786"/>
                  <a:gd name="connsiteY995" fmla="*/ 43379 h 840509"/>
                  <a:gd name="connsiteX996" fmla="*/ 585791 w 939786"/>
                  <a:gd name="connsiteY996" fmla="*/ 43114 h 840509"/>
                  <a:gd name="connsiteX997" fmla="*/ 586056 w 939786"/>
                  <a:gd name="connsiteY997" fmla="*/ 42850 h 840509"/>
                  <a:gd name="connsiteX998" fmla="*/ 587819 w 939786"/>
                  <a:gd name="connsiteY998" fmla="*/ 41968 h 840509"/>
                  <a:gd name="connsiteX999" fmla="*/ 588083 w 939786"/>
                  <a:gd name="connsiteY999" fmla="*/ 41968 h 840509"/>
                  <a:gd name="connsiteX1000" fmla="*/ 588083 w 939786"/>
                  <a:gd name="connsiteY1000" fmla="*/ 42233 h 840509"/>
                  <a:gd name="connsiteX1001" fmla="*/ 587819 w 939786"/>
                  <a:gd name="connsiteY1001" fmla="*/ 42497 h 840509"/>
                  <a:gd name="connsiteX1002" fmla="*/ 587202 w 939786"/>
                  <a:gd name="connsiteY1002" fmla="*/ 43026 h 840509"/>
                  <a:gd name="connsiteX1003" fmla="*/ 456889 w 939786"/>
                  <a:gd name="connsiteY1003" fmla="*/ 44260 h 840509"/>
                  <a:gd name="connsiteX1004" fmla="*/ 455478 w 939786"/>
                  <a:gd name="connsiteY1004" fmla="*/ 44525 h 840509"/>
                  <a:gd name="connsiteX1005" fmla="*/ 451951 w 939786"/>
                  <a:gd name="connsiteY1005" fmla="*/ 42762 h 840509"/>
                  <a:gd name="connsiteX1006" fmla="*/ 451599 w 939786"/>
                  <a:gd name="connsiteY1006" fmla="*/ 42762 h 840509"/>
                  <a:gd name="connsiteX1007" fmla="*/ 449835 w 939786"/>
                  <a:gd name="connsiteY1007" fmla="*/ 43379 h 840509"/>
                  <a:gd name="connsiteX1008" fmla="*/ 449570 w 939786"/>
                  <a:gd name="connsiteY1008" fmla="*/ 43379 h 840509"/>
                  <a:gd name="connsiteX1009" fmla="*/ 449041 w 939786"/>
                  <a:gd name="connsiteY1009" fmla="*/ 43643 h 840509"/>
                  <a:gd name="connsiteX1010" fmla="*/ 448777 w 939786"/>
                  <a:gd name="connsiteY1010" fmla="*/ 43643 h 840509"/>
                  <a:gd name="connsiteX1011" fmla="*/ 448513 w 939786"/>
                  <a:gd name="connsiteY1011" fmla="*/ 43908 h 840509"/>
                  <a:gd name="connsiteX1012" fmla="*/ 447279 w 939786"/>
                  <a:gd name="connsiteY1012" fmla="*/ 44172 h 840509"/>
                  <a:gd name="connsiteX1013" fmla="*/ 446750 w 939786"/>
                  <a:gd name="connsiteY1013" fmla="*/ 44172 h 840509"/>
                  <a:gd name="connsiteX1014" fmla="*/ 445603 w 939786"/>
                  <a:gd name="connsiteY1014" fmla="*/ 43908 h 840509"/>
                  <a:gd name="connsiteX1015" fmla="*/ 445339 w 939786"/>
                  <a:gd name="connsiteY1015" fmla="*/ 43291 h 840509"/>
                  <a:gd name="connsiteX1016" fmla="*/ 445339 w 939786"/>
                  <a:gd name="connsiteY1016" fmla="*/ 42673 h 840509"/>
                  <a:gd name="connsiteX1017" fmla="*/ 446837 w 939786"/>
                  <a:gd name="connsiteY1017" fmla="*/ 40381 h 840509"/>
                  <a:gd name="connsiteX1018" fmla="*/ 446837 w 939786"/>
                  <a:gd name="connsiteY1018" fmla="*/ 40117 h 840509"/>
                  <a:gd name="connsiteX1019" fmla="*/ 447102 w 939786"/>
                  <a:gd name="connsiteY1019" fmla="*/ 40117 h 840509"/>
                  <a:gd name="connsiteX1020" fmla="*/ 447102 w 939786"/>
                  <a:gd name="connsiteY1020" fmla="*/ 40381 h 840509"/>
                  <a:gd name="connsiteX1021" fmla="*/ 447366 w 939786"/>
                  <a:gd name="connsiteY1021" fmla="*/ 40381 h 840509"/>
                  <a:gd name="connsiteX1022" fmla="*/ 447366 w 939786"/>
                  <a:gd name="connsiteY1022" fmla="*/ 40646 h 840509"/>
                  <a:gd name="connsiteX1023" fmla="*/ 447631 w 939786"/>
                  <a:gd name="connsiteY1023" fmla="*/ 40910 h 840509"/>
                  <a:gd name="connsiteX1024" fmla="*/ 448513 w 939786"/>
                  <a:gd name="connsiteY1024" fmla="*/ 40910 h 840509"/>
                  <a:gd name="connsiteX1025" fmla="*/ 448777 w 939786"/>
                  <a:gd name="connsiteY1025" fmla="*/ 40646 h 840509"/>
                  <a:gd name="connsiteX1026" fmla="*/ 449041 w 939786"/>
                  <a:gd name="connsiteY1026" fmla="*/ 40381 h 840509"/>
                  <a:gd name="connsiteX1027" fmla="*/ 449306 w 939786"/>
                  <a:gd name="connsiteY1027" fmla="*/ 40117 h 840509"/>
                  <a:gd name="connsiteX1028" fmla="*/ 449306 w 939786"/>
                  <a:gd name="connsiteY1028" fmla="*/ 39852 h 840509"/>
                  <a:gd name="connsiteX1029" fmla="*/ 449570 w 939786"/>
                  <a:gd name="connsiteY1029" fmla="*/ 36678 h 840509"/>
                  <a:gd name="connsiteX1030" fmla="*/ 449306 w 939786"/>
                  <a:gd name="connsiteY1030" fmla="*/ 35532 h 840509"/>
                  <a:gd name="connsiteX1031" fmla="*/ 451599 w 939786"/>
                  <a:gd name="connsiteY1031" fmla="*/ 32270 h 840509"/>
                  <a:gd name="connsiteX1032" fmla="*/ 451599 w 939786"/>
                  <a:gd name="connsiteY1032" fmla="*/ 32005 h 840509"/>
                  <a:gd name="connsiteX1033" fmla="*/ 453362 w 939786"/>
                  <a:gd name="connsiteY1033" fmla="*/ 31741 h 840509"/>
                  <a:gd name="connsiteX1034" fmla="*/ 453626 w 939786"/>
                  <a:gd name="connsiteY1034" fmla="*/ 31741 h 840509"/>
                  <a:gd name="connsiteX1035" fmla="*/ 454244 w 939786"/>
                  <a:gd name="connsiteY1035" fmla="*/ 34386 h 840509"/>
                  <a:gd name="connsiteX1036" fmla="*/ 454244 w 939786"/>
                  <a:gd name="connsiteY1036" fmla="*/ 34650 h 840509"/>
                  <a:gd name="connsiteX1037" fmla="*/ 454244 w 939786"/>
                  <a:gd name="connsiteY1037" fmla="*/ 34915 h 840509"/>
                  <a:gd name="connsiteX1038" fmla="*/ 454773 w 939786"/>
                  <a:gd name="connsiteY1038" fmla="*/ 37295 h 840509"/>
                  <a:gd name="connsiteX1039" fmla="*/ 455654 w 939786"/>
                  <a:gd name="connsiteY1039" fmla="*/ 40822 h 840509"/>
                  <a:gd name="connsiteX1040" fmla="*/ 457153 w 939786"/>
                  <a:gd name="connsiteY1040" fmla="*/ 41086 h 840509"/>
                  <a:gd name="connsiteX1041" fmla="*/ 457418 w 939786"/>
                  <a:gd name="connsiteY1041" fmla="*/ 41439 h 840509"/>
                  <a:gd name="connsiteX1042" fmla="*/ 458035 w 939786"/>
                  <a:gd name="connsiteY1042" fmla="*/ 42056 h 840509"/>
                  <a:gd name="connsiteX1043" fmla="*/ 458035 w 939786"/>
                  <a:gd name="connsiteY1043" fmla="*/ 42321 h 840509"/>
                  <a:gd name="connsiteX1044" fmla="*/ 458300 w 939786"/>
                  <a:gd name="connsiteY1044" fmla="*/ 42321 h 840509"/>
                  <a:gd name="connsiteX1045" fmla="*/ 458564 w 939786"/>
                  <a:gd name="connsiteY1045" fmla="*/ 42585 h 840509"/>
                  <a:gd name="connsiteX1046" fmla="*/ 458564 w 939786"/>
                  <a:gd name="connsiteY1046" fmla="*/ 42850 h 840509"/>
                  <a:gd name="connsiteX1047" fmla="*/ 458300 w 939786"/>
                  <a:gd name="connsiteY1047" fmla="*/ 43467 h 840509"/>
                  <a:gd name="connsiteX1048" fmla="*/ 458035 w 939786"/>
                  <a:gd name="connsiteY1048" fmla="*/ 44084 h 840509"/>
                  <a:gd name="connsiteX1049" fmla="*/ 457771 w 939786"/>
                  <a:gd name="connsiteY1049" fmla="*/ 44084 h 840509"/>
                  <a:gd name="connsiteX1050" fmla="*/ 456889 w 939786"/>
                  <a:gd name="connsiteY1050" fmla="*/ 44260 h 840509"/>
                  <a:gd name="connsiteX1051" fmla="*/ 584292 w 939786"/>
                  <a:gd name="connsiteY1051" fmla="*/ 46288 h 840509"/>
                  <a:gd name="connsiteX1052" fmla="*/ 584027 w 939786"/>
                  <a:gd name="connsiteY1052" fmla="*/ 46288 h 840509"/>
                  <a:gd name="connsiteX1053" fmla="*/ 584027 w 939786"/>
                  <a:gd name="connsiteY1053" fmla="*/ 46024 h 840509"/>
                  <a:gd name="connsiteX1054" fmla="*/ 584027 w 939786"/>
                  <a:gd name="connsiteY1054" fmla="*/ 45759 h 840509"/>
                  <a:gd name="connsiteX1055" fmla="*/ 584292 w 939786"/>
                  <a:gd name="connsiteY1055" fmla="*/ 44613 h 840509"/>
                  <a:gd name="connsiteX1056" fmla="*/ 584292 w 939786"/>
                  <a:gd name="connsiteY1056" fmla="*/ 44349 h 840509"/>
                  <a:gd name="connsiteX1057" fmla="*/ 584557 w 939786"/>
                  <a:gd name="connsiteY1057" fmla="*/ 44084 h 840509"/>
                  <a:gd name="connsiteX1058" fmla="*/ 584557 w 939786"/>
                  <a:gd name="connsiteY1058" fmla="*/ 43820 h 840509"/>
                  <a:gd name="connsiteX1059" fmla="*/ 584821 w 939786"/>
                  <a:gd name="connsiteY1059" fmla="*/ 43820 h 840509"/>
                  <a:gd name="connsiteX1060" fmla="*/ 585174 w 939786"/>
                  <a:gd name="connsiteY1060" fmla="*/ 43555 h 840509"/>
                  <a:gd name="connsiteX1061" fmla="*/ 585174 w 939786"/>
                  <a:gd name="connsiteY1061" fmla="*/ 43820 h 840509"/>
                  <a:gd name="connsiteX1062" fmla="*/ 585174 w 939786"/>
                  <a:gd name="connsiteY1062" fmla="*/ 44084 h 840509"/>
                  <a:gd name="connsiteX1063" fmla="*/ 584557 w 939786"/>
                  <a:gd name="connsiteY1063" fmla="*/ 45848 h 840509"/>
                  <a:gd name="connsiteX1064" fmla="*/ 584292 w 939786"/>
                  <a:gd name="connsiteY1064" fmla="*/ 46112 h 840509"/>
                  <a:gd name="connsiteX1065" fmla="*/ 584292 w 939786"/>
                  <a:gd name="connsiteY1065" fmla="*/ 46288 h 840509"/>
                  <a:gd name="connsiteX1066" fmla="*/ 554844 w 939786"/>
                  <a:gd name="connsiteY1066" fmla="*/ 46906 h 840509"/>
                  <a:gd name="connsiteX1067" fmla="*/ 553345 w 939786"/>
                  <a:gd name="connsiteY1067" fmla="*/ 47170 h 840509"/>
                  <a:gd name="connsiteX1068" fmla="*/ 553345 w 939786"/>
                  <a:gd name="connsiteY1068" fmla="*/ 46906 h 840509"/>
                  <a:gd name="connsiteX1069" fmla="*/ 553610 w 939786"/>
                  <a:gd name="connsiteY1069" fmla="*/ 46641 h 840509"/>
                  <a:gd name="connsiteX1070" fmla="*/ 553610 w 939786"/>
                  <a:gd name="connsiteY1070" fmla="*/ 46377 h 840509"/>
                  <a:gd name="connsiteX1071" fmla="*/ 554756 w 939786"/>
                  <a:gd name="connsiteY1071" fmla="*/ 46377 h 840509"/>
                  <a:gd name="connsiteX1072" fmla="*/ 554756 w 939786"/>
                  <a:gd name="connsiteY1072" fmla="*/ 46112 h 840509"/>
                  <a:gd name="connsiteX1073" fmla="*/ 555020 w 939786"/>
                  <a:gd name="connsiteY1073" fmla="*/ 46377 h 840509"/>
                  <a:gd name="connsiteX1074" fmla="*/ 555020 w 939786"/>
                  <a:gd name="connsiteY1074" fmla="*/ 46641 h 840509"/>
                  <a:gd name="connsiteX1075" fmla="*/ 554844 w 939786"/>
                  <a:gd name="connsiteY1075" fmla="*/ 46906 h 840509"/>
                  <a:gd name="connsiteX1076" fmla="*/ 579707 w 939786"/>
                  <a:gd name="connsiteY1076" fmla="*/ 49198 h 840509"/>
                  <a:gd name="connsiteX1077" fmla="*/ 577679 w 939786"/>
                  <a:gd name="connsiteY1077" fmla="*/ 50344 h 840509"/>
                  <a:gd name="connsiteX1078" fmla="*/ 577062 w 939786"/>
                  <a:gd name="connsiteY1078" fmla="*/ 50080 h 840509"/>
                  <a:gd name="connsiteX1079" fmla="*/ 577062 w 939786"/>
                  <a:gd name="connsiteY1079" fmla="*/ 49463 h 840509"/>
                  <a:gd name="connsiteX1080" fmla="*/ 579972 w 939786"/>
                  <a:gd name="connsiteY1080" fmla="*/ 48052 h 840509"/>
                  <a:gd name="connsiteX1081" fmla="*/ 580236 w 939786"/>
                  <a:gd name="connsiteY1081" fmla="*/ 47699 h 840509"/>
                  <a:gd name="connsiteX1082" fmla="*/ 580501 w 939786"/>
                  <a:gd name="connsiteY1082" fmla="*/ 47699 h 840509"/>
                  <a:gd name="connsiteX1083" fmla="*/ 580501 w 939786"/>
                  <a:gd name="connsiteY1083" fmla="*/ 48052 h 840509"/>
                  <a:gd name="connsiteX1084" fmla="*/ 580501 w 939786"/>
                  <a:gd name="connsiteY1084" fmla="*/ 48316 h 840509"/>
                  <a:gd name="connsiteX1085" fmla="*/ 580501 w 939786"/>
                  <a:gd name="connsiteY1085" fmla="*/ 48581 h 840509"/>
                  <a:gd name="connsiteX1086" fmla="*/ 579972 w 939786"/>
                  <a:gd name="connsiteY1086" fmla="*/ 49198 h 840509"/>
                  <a:gd name="connsiteX1087" fmla="*/ 579707 w 939786"/>
                  <a:gd name="connsiteY1087" fmla="*/ 49198 h 840509"/>
                  <a:gd name="connsiteX1088" fmla="*/ 551670 w 939786"/>
                  <a:gd name="connsiteY1088" fmla="*/ 49198 h 840509"/>
                  <a:gd name="connsiteX1089" fmla="*/ 550788 w 939786"/>
                  <a:gd name="connsiteY1089" fmla="*/ 49727 h 840509"/>
                  <a:gd name="connsiteX1090" fmla="*/ 550171 w 939786"/>
                  <a:gd name="connsiteY1090" fmla="*/ 49198 h 840509"/>
                  <a:gd name="connsiteX1091" fmla="*/ 550171 w 939786"/>
                  <a:gd name="connsiteY1091" fmla="*/ 48845 h 840509"/>
                  <a:gd name="connsiteX1092" fmla="*/ 550523 w 939786"/>
                  <a:gd name="connsiteY1092" fmla="*/ 48845 h 840509"/>
                  <a:gd name="connsiteX1093" fmla="*/ 550788 w 939786"/>
                  <a:gd name="connsiteY1093" fmla="*/ 48581 h 840509"/>
                  <a:gd name="connsiteX1094" fmla="*/ 551405 w 939786"/>
                  <a:gd name="connsiteY1094" fmla="*/ 48581 h 840509"/>
                  <a:gd name="connsiteX1095" fmla="*/ 551670 w 939786"/>
                  <a:gd name="connsiteY1095" fmla="*/ 48845 h 840509"/>
                  <a:gd name="connsiteX1096" fmla="*/ 551934 w 939786"/>
                  <a:gd name="connsiteY1096" fmla="*/ 48845 h 840509"/>
                  <a:gd name="connsiteX1097" fmla="*/ 551934 w 939786"/>
                  <a:gd name="connsiteY1097" fmla="*/ 49198 h 840509"/>
                  <a:gd name="connsiteX1098" fmla="*/ 551670 w 939786"/>
                  <a:gd name="connsiteY1098" fmla="*/ 49198 h 840509"/>
                  <a:gd name="connsiteX1099" fmla="*/ 549906 w 939786"/>
                  <a:gd name="connsiteY1099" fmla="*/ 51490 h 840509"/>
                  <a:gd name="connsiteX1100" fmla="*/ 549642 w 939786"/>
                  <a:gd name="connsiteY1100" fmla="*/ 51490 h 840509"/>
                  <a:gd name="connsiteX1101" fmla="*/ 549289 w 939786"/>
                  <a:gd name="connsiteY1101" fmla="*/ 51490 h 840509"/>
                  <a:gd name="connsiteX1102" fmla="*/ 549289 w 939786"/>
                  <a:gd name="connsiteY1102" fmla="*/ 51226 h 840509"/>
                  <a:gd name="connsiteX1103" fmla="*/ 549025 w 939786"/>
                  <a:gd name="connsiteY1103" fmla="*/ 50961 h 840509"/>
                  <a:gd name="connsiteX1104" fmla="*/ 549025 w 939786"/>
                  <a:gd name="connsiteY1104" fmla="*/ 50080 h 840509"/>
                  <a:gd name="connsiteX1105" fmla="*/ 549289 w 939786"/>
                  <a:gd name="connsiteY1105" fmla="*/ 49815 h 840509"/>
                  <a:gd name="connsiteX1106" fmla="*/ 550171 w 939786"/>
                  <a:gd name="connsiteY1106" fmla="*/ 50080 h 840509"/>
                  <a:gd name="connsiteX1107" fmla="*/ 550523 w 939786"/>
                  <a:gd name="connsiteY1107" fmla="*/ 50080 h 840509"/>
                  <a:gd name="connsiteX1108" fmla="*/ 550523 w 939786"/>
                  <a:gd name="connsiteY1108" fmla="*/ 50344 h 840509"/>
                  <a:gd name="connsiteX1109" fmla="*/ 550523 w 939786"/>
                  <a:gd name="connsiteY1109" fmla="*/ 50609 h 840509"/>
                  <a:gd name="connsiteX1110" fmla="*/ 550171 w 939786"/>
                  <a:gd name="connsiteY1110" fmla="*/ 50873 h 840509"/>
                  <a:gd name="connsiteX1111" fmla="*/ 549906 w 939786"/>
                  <a:gd name="connsiteY1111" fmla="*/ 51138 h 840509"/>
                  <a:gd name="connsiteX1112" fmla="*/ 549906 w 939786"/>
                  <a:gd name="connsiteY1112" fmla="*/ 51490 h 840509"/>
                  <a:gd name="connsiteX1113" fmla="*/ 495683 w 939786"/>
                  <a:gd name="connsiteY1113" fmla="*/ 51843 h 840509"/>
                  <a:gd name="connsiteX1114" fmla="*/ 495683 w 939786"/>
                  <a:gd name="connsiteY1114" fmla="*/ 51843 h 840509"/>
                  <a:gd name="connsiteX1115" fmla="*/ 495418 w 939786"/>
                  <a:gd name="connsiteY1115" fmla="*/ 51843 h 840509"/>
                  <a:gd name="connsiteX1116" fmla="*/ 495154 w 939786"/>
                  <a:gd name="connsiteY1116" fmla="*/ 51579 h 840509"/>
                  <a:gd name="connsiteX1117" fmla="*/ 494625 w 939786"/>
                  <a:gd name="connsiteY1117" fmla="*/ 50961 h 840509"/>
                  <a:gd name="connsiteX1118" fmla="*/ 494625 w 939786"/>
                  <a:gd name="connsiteY1118" fmla="*/ 50697 h 840509"/>
                  <a:gd name="connsiteX1119" fmla="*/ 495771 w 939786"/>
                  <a:gd name="connsiteY1119" fmla="*/ 50080 h 840509"/>
                  <a:gd name="connsiteX1120" fmla="*/ 496035 w 939786"/>
                  <a:gd name="connsiteY1120" fmla="*/ 50080 h 840509"/>
                  <a:gd name="connsiteX1121" fmla="*/ 496035 w 939786"/>
                  <a:gd name="connsiteY1121" fmla="*/ 50344 h 840509"/>
                  <a:gd name="connsiteX1122" fmla="*/ 496035 w 939786"/>
                  <a:gd name="connsiteY1122" fmla="*/ 50961 h 840509"/>
                  <a:gd name="connsiteX1123" fmla="*/ 496035 w 939786"/>
                  <a:gd name="connsiteY1123" fmla="*/ 51579 h 840509"/>
                  <a:gd name="connsiteX1124" fmla="*/ 495683 w 939786"/>
                  <a:gd name="connsiteY1124" fmla="*/ 51843 h 840509"/>
                  <a:gd name="connsiteX1125" fmla="*/ 590993 w 939786"/>
                  <a:gd name="connsiteY1125" fmla="*/ 51843 h 840509"/>
                  <a:gd name="connsiteX1126" fmla="*/ 590993 w 939786"/>
                  <a:gd name="connsiteY1126" fmla="*/ 51843 h 840509"/>
                  <a:gd name="connsiteX1127" fmla="*/ 590728 w 939786"/>
                  <a:gd name="connsiteY1127" fmla="*/ 51843 h 840509"/>
                  <a:gd name="connsiteX1128" fmla="*/ 590728 w 939786"/>
                  <a:gd name="connsiteY1128" fmla="*/ 51579 h 840509"/>
                  <a:gd name="connsiteX1129" fmla="*/ 590728 w 939786"/>
                  <a:gd name="connsiteY1129" fmla="*/ 50961 h 840509"/>
                  <a:gd name="connsiteX1130" fmla="*/ 590728 w 939786"/>
                  <a:gd name="connsiteY1130" fmla="*/ 50697 h 840509"/>
                  <a:gd name="connsiteX1131" fmla="*/ 591345 w 939786"/>
                  <a:gd name="connsiteY1131" fmla="*/ 50080 h 840509"/>
                  <a:gd name="connsiteX1132" fmla="*/ 591345 w 939786"/>
                  <a:gd name="connsiteY1132" fmla="*/ 50344 h 840509"/>
                  <a:gd name="connsiteX1133" fmla="*/ 591345 w 939786"/>
                  <a:gd name="connsiteY1133" fmla="*/ 51226 h 840509"/>
                  <a:gd name="connsiteX1134" fmla="*/ 591345 w 939786"/>
                  <a:gd name="connsiteY1134" fmla="*/ 51490 h 840509"/>
                  <a:gd name="connsiteX1135" fmla="*/ 591345 w 939786"/>
                  <a:gd name="connsiteY1135" fmla="*/ 51755 h 840509"/>
                  <a:gd name="connsiteX1136" fmla="*/ 590993 w 939786"/>
                  <a:gd name="connsiteY1136" fmla="*/ 51755 h 840509"/>
                  <a:gd name="connsiteX1137" fmla="*/ 572037 w 939786"/>
                  <a:gd name="connsiteY1137" fmla="*/ 85347 h 840509"/>
                  <a:gd name="connsiteX1138" fmla="*/ 572301 w 939786"/>
                  <a:gd name="connsiteY1138" fmla="*/ 86581 h 840509"/>
                  <a:gd name="connsiteX1139" fmla="*/ 571684 w 939786"/>
                  <a:gd name="connsiteY1139" fmla="*/ 85082 h 840509"/>
                  <a:gd name="connsiteX1140" fmla="*/ 571419 w 939786"/>
                  <a:gd name="connsiteY1140" fmla="*/ 82173 h 840509"/>
                  <a:gd name="connsiteX1141" fmla="*/ 571684 w 939786"/>
                  <a:gd name="connsiteY1141" fmla="*/ 82173 h 840509"/>
                  <a:gd name="connsiteX1142" fmla="*/ 571948 w 939786"/>
                  <a:gd name="connsiteY1142" fmla="*/ 82437 h 840509"/>
                  <a:gd name="connsiteX1143" fmla="*/ 572213 w 939786"/>
                  <a:gd name="connsiteY1143" fmla="*/ 82437 h 840509"/>
                  <a:gd name="connsiteX1144" fmla="*/ 572477 w 939786"/>
                  <a:gd name="connsiteY1144" fmla="*/ 82702 h 840509"/>
                  <a:gd name="connsiteX1145" fmla="*/ 572742 w 939786"/>
                  <a:gd name="connsiteY1145" fmla="*/ 84201 h 840509"/>
                  <a:gd name="connsiteX1146" fmla="*/ 572477 w 939786"/>
                  <a:gd name="connsiteY1146" fmla="*/ 84818 h 840509"/>
                  <a:gd name="connsiteX1147" fmla="*/ 572213 w 939786"/>
                  <a:gd name="connsiteY1147" fmla="*/ 85082 h 840509"/>
                  <a:gd name="connsiteX1148" fmla="*/ 571948 w 939786"/>
                  <a:gd name="connsiteY1148" fmla="*/ 85082 h 840509"/>
                  <a:gd name="connsiteX1149" fmla="*/ 571948 w 939786"/>
                  <a:gd name="connsiteY1149" fmla="*/ 85347 h 840509"/>
                  <a:gd name="connsiteX1150" fmla="*/ 572037 w 939786"/>
                  <a:gd name="connsiteY1150" fmla="*/ 94428 h 840509"/>
                  <a:gd name="connsiteX1151" fmla="*/ 572037 w 939786"/>
                  <a:gd name="connsiteY1151" fmla="*/ 94693 h 840509"/>
                  <a:gd name="connsiteX1152" fmla="*/ 572037 w 939786"/>
                  <a:gd name="connsiteY1152" fmla="*/ 93811 h 840509"/>
                  <a:gd name="connsiteX1153" fmla="*/ 572037 w 939786"/>
                  <a:gd name="connsiteY1153" fmla="*/ 93547 h 840509"/>
                  <a:gd name="connsiteX1154" fmla="*/ 572037 w 939786"/>
                  <a:gd name="connsiteY1154" fmla="*/ 92665 h 840509"/>
                  <a:gd name="connsiteX1155" fmla="*/ 571772 w 939786"/>
                  <a:gd name="connsiteY1155" fmla="*/ 92665 h 840509"/>
                  <a:gd name="connsiteX1156" fmla="*/ 571772 w 939786"/>
                  <a:gd name="connsiteY1156" fmla="*/ 92401 h 840509"/>
                  <a:gd name="connsiteX1157" fmla="*/ 571508 w 939786"/>
                  <a:gd name="connsiteY1157" fmla="*/ 92401 h 840509"/>
                  <a:gd name="connsiteX1158" fmla="*/ 571243 w 939786"/>
                  <a:gd name="connsiteY1158" fmla="*/ 92401 h 840509"/>
                  <a:gd name="connsiteX1159" fmla="*/ 571243 w 939786"/>
                  <a:gd name="connsiteY1159" fmla="*/ 92665 h 840509"/>
                  <a:gd name="connsiteX1160" fmla="*/ 570979 w 939786"/>
                  <a:gd name="connsiteY1160" fmla="*/ 92665 h 840509"/>
                  <a:gd name="connsiteX1161" fmla="*/ 570979 w 939786"/>
                  <a:gd name="connsiteY1161" fmla="*/ 92930 h 840509"/>
                  <a:gd name="connsiteX1162" fmla="*/ 571243 w 939786"/>
                  <a:gd name="connsiteY1162" fmla="*/ 93194 h 840509"/>
                  <a:gd name="connsiteX1163" fmla="*/ 571243 w 939786"/>
                  <a:gd name="connsiteY1163" fmla="*/ 93547 h 840509"/>
                  <a:gd name="connsiteX1164" fmla="*/ 571243 w 939786"/>
                  <a:gd name="connsiteY1164" fmla="*/ 93811 h 840509"/>
                  <a:gd name="connsiteX1165" fmla="*/ 571243 w 939786"/>
                  <a:gd name="connsiteY1165" fmla="*/ 94076 h 840509"/>
                  <a:gd name="connsiteX1166" fmla="*/ 570979 w 939786"/>
                  <a:gd name="connsiteY1166" fmla="*/ 94076 h 840509"/>
                  <a:gd name="connsiteX1167" fmla="*/ 570450 w 939786"/>
                  <a:gd name="connsiteY1167" fmla="*/ 93811 h 840509"/>
                  <a:gd name="connsiteX1168" fmla="*/ 570185 w 939786"/>
                  <a:gd name="connsiteY1168" fmla="*/ 93547 h 840509"/>
                  <a:gd name="connsiteX1169" fmla="*/ 570185 w 939786"/>
                  <a:gd name="connsiteY1169" fmla="*/ 93194 h 840509"/>
                  <a:gd name="connsiteX1170" fmla="*/ 570450 w 939786"/>
                  <a:gd name="connsiteY1170" fmla="*/ 91431 h 840509"/>
                  <a:gd name="connsiteX1171" fmla="*/ 570714 w 939786"/>
                  <a:gd name="connsiteY1171" fmla="*/ 91431 h 840509"/>
                  <a:gd name="connsiteX1172" fmla="*/ 570714 w 939786"/>
                  <a:gd name="connsiteY1172" fmla="*/ 91078 h 840509"/>
                  <a:gd name="connsiteX1173" fmla="*/ 572477 w 939786"/>
                  <a:gd name="connsiteY1173" fmla="*/ 89932 h 840509"/>
                  <a:gd name="connsiteX1174" fmla="*/ 572742 w 939786"/>
                  <a:gd name="connsiteY1174" fmla="*/ 89667 h 840509"/>
                  <a:gd name="connsiteX1175" fmla="*/ 573623 w 939786"/>
                  <a:gd name="connsiteY1175" fmla="*/ 89667 h 840509"/>
                  <a:gd name="connsiteX1176" fmla="*/ 573623 w 939786"/>
                  <a:gd name="connsiteY1176" fmla="*/ 89932 h 840509"/>
                  <a:gd name="connsiteX1177" fmla="*/ 574241 w 939786"/>
                  <a:gd name="connsiteY1177" fmla="*/ 90813 h 840509"/>
                  <a:gd name="connsiteX1178" fmla="*/ 574505 w 939786"/>
                  <a:gd name="connsiteY1178" fmla="*/ 90813 h 840509"/>
                  <a:gd name="connsiteX1179" fmla="*/ 574505 w 939786"/>
                  <a:gd name="connsiteY1179" fmla="*/ 91078 h 840509"/>
                  <a:gd name="connsiteX1180" fmla="*/ 574505 w 939786"/>
                  <a:gd name="connsiteY1180" fmla="*/ 91431 h 840509"/>
                  <a:gd name="connsiteX1181" fmla="*/ 573976 w 939786"/>
                  <a:gd name="connsiteY1181" fmla="*/ 92841 h 840509"/>
                  <a:gd name="connsiteX1182" fmla="*/ 573094 w 939786"/>
                  <a:gd name="connsiteY1182" fmla="*/ 93988 h 840509"/>
                  <a:gd name="connsiteX1183" fmla="*/ 572037 w 939786"/>
                  <a:gd name="connsiteY1183" fmla="*/ 94428 h 840509"/>
                  <a:gd name="connsiteX1184" fmla="*/ 364929 w 939786"/>
                  <a:gd name="connsiteY1184" fmla="*/ 95574 h 840509"/>
                  <a:gd name="connsiteX1185" fmla="*/ 364665 w 939786"/>
                  <a:gd name="connsiteY1185" fmla="*/ 95839 h 840509"/>
                  <a:gd name="connsiteX1186" fmla="*/ 364400 w 939786"/>
                  <a:gd name="connsiteY1186" fmla="*/ 95574 h 840509"/>
                  <a:gd name="connsiteX1187" fmla="*/ 363783 w 939786"/>
                  <a:gd name="connsiteY1187" fmla="*/ 95574 h 840509"/>
                  <a:gd name="connsiteX1188" fmla="*/ 363519 w 939786"/>
                  <a:gd name="connsiteY1188" fmla="*/ 95574 h 840509"/>
                  <a:gd name="connsiteX1189" fmla="*/ 362901 w 939786"/>
                  <a:gd name="connsiteY1189" fmla="*/ 95839 h 840509"/>
                  <a:gd name="connsiteX1190" fmla="*/ 362901 w 939786"/>
                  <a:gd name="connsiteY1190" fmla="*/ 95574 h 840509"/>
                  <a:gd name="connsiteX1191" fmla="*/ 362548 w 939786"/>
                  <a:gd name="connsiteY1191" fmla="*/ 95222 h 840509"/>
                  <a:gd name="connsiteX1192" fmla="*/ 362548 w 939786"/>
                  <a:gd name="connsiteY1192" fmla="*/ 94869 h 840509"/>
                  <a:gd name="connsiteX1193" fmla="*/ 362901 w 939786"/>
                  <a:gd name="connsiteY1193" fmla="*/ 94869 h 840509"/>
                  <a:gd name="connsiteX1194" fmla="*/ 363166 w 939786"/>
                  <a:gd name="connsiteY1194" fmla="*/ 94869 h 840509"/>
                  <a:gd name="connsiteX1195" fmla="*/ 363430 w 939786"/>
                  <a:gd name="connsiteY1195" fmla="*/ 94869 h 840509"/>
                  <a:gd name="connsiteX1196" fmla="*/ 363695 w 939786"/>
                  <a:gd name="connsiteY1196" fmla="*/ 94869 h 840509"/>
                  <a:gd name="connsiteX1197" fmla="*/ 364929 w 939786"/>
                  <a:gd name="connsiteY1197" fmla="*/ 95574 h 840509"/>
                  <a:gd name="connsiteX1198" fmla="*/ 585527 w 939786"/>
                  <a:gd name="connsiteY1198" fmla="*/ 105449 h 840509"/>
                  <a:gd name="connsiteX1199" fmla="*/ 585262 w 939786"/>
                  <a:gd name="connsiteY1199" fmla="*/ 105449 h 840509"/>
                  <a:gd name="connsiteX1200" fmla="*/ 584909 w 939786"/>
                  <a:gd name="connsiteY1200" fmla="*/ 105449 h 840509"/>
                  <a:gd name="connsiteX1201" fmla="*/ 584909 w 939786"/>
                  <a:gd name="connsiteY1201" fmla="*/ 105185 h 840509"/>
                  <a:gd name="connsiteX1202" fmla="*/ 584645 w 939786"/>
                  <a:gd name="connsiteY1202" fmla="*/ 104920 h 840509"/>
                  <a:gd name="connsiteX1203" fmla="*/ 582617 w 939786"/>
                  <a:gd name="connsiteY1203" fmla="*/ 104656 h 840509"/>
                  <a:gd name="connsiteX1204" fmla="*/ 582264 w 939786"/>
                  <a:gd name="connsiteY1204" fmla="*/ 104656 h 840509"/>
                  <a:gd name="connsiteX1205" fmla="*/ 582000 w 939786"/>
                  <a:gd name="connsiteY1205" fmla="*/ 104656 h 840509"/>
                  <a:gd name="connsiteX1206" fmla="*/ 581382 w 939786"/>
                  <a:gd name="connsiteY1206" fmla="*/ 104656 h 840509"/>
                  <a:gd name="connsiteX1207" fmla="*/ 581118 w 939786"/>
                  <a:gd name="connsiteY1207" fmla="*/ 104656 h 840509"/>
                  <a:gd name="connsiteX1208" fmla="*/ 579707 w 939786"/>
                  <a:gd name="connsiteY1208" fmla="*/ 104920 h 840509"/>
                  <a:gd name="connsiteX1209" fmla="*/ 574417 w 939786"/>
                  <a:gd name="connsiteY1209" fmla="*/ 103422 h 840509"/>
                  <a:gd name="connsiteX1210" fmla="*/ 575916 w 939786"/>
                  <a:gd name="connsiteY1210" fmla="*/ 99101 h 840509"/>
                  <a:gd name="connsiteX1211" fmla="*/ 575916 w 939786"/>
                  <a:gd name="connsiteY1211" fmla="*/ 97338 h 840509"/>
                  <a:gd name="connsiteX1212" fmla="*/ 576798 w 939786"/>
                  <a:gd name="connsiteY1212" fmla="*/ 95310 h 840509"/>
                  <a:gd name="connsiteX1213" fmla="*/ 577679 w 939786"/>
                  <a:gd name="connsiteY1213" fmla="*/ 94164 h 840509"/>
                  <a:gd name="connsiteX1214" fmla="*/ 579707 w 939786"/>
                  <a:gd name="connsiteY1214" fmla="*/ 93635 h 840509"/>
                  <a:gd name="connsiteX1215" fmla="*/ 580589 w 939786"/>
                  <a:gd name="connsiteY1215" fmla="*/ 93635 h 840509"/>
                  <a:gd name="connsiteX1216" fmla="*/ 581471 w 939786"/>
                  <a:gd name="connsiteY1216" fmla="*/ 93018 h 840509"/>
                  <a:gd name="connsiteX1217" fmla="*/ 581471 w 939786"/>
                  <a:gd name="connsiteY1217" fmla="*/ 92753 h 840509"/>
                  <a:gd name="connsiteX1218" fmla="*/ 581471 w 939786"/>
                  <a:gd name="connsiteY1218" fmla="*/ 92489 h 840509"/>
                  <a:gd name="connsiteX1219" fmla="*/ 580853 w 939786"/>
                  <a:gd name="connsiteY1219" fmla="*/ 91343 h 840509"/>
                  <a:gd name="connsiteX1220" fmla="*/ 582882 w 939786"/>
                  <a:gd name="connsiteY1220" fmla="*/ 89579 h 840509"/>
                  <a:gd name="connsiteX1221" fmla="*/ 583763 w 939786"/>
                  <a:gd name="connsiteY1221" fmla="*/ 89579 h 840509"/>
                  <a:gd name="connsiteX1222" fmla="*/ 584116 w 939786"/>
                  <a:gd name="connsiteY1222" fmla="*/ 89579 h 840509"/>
                  <a:gd name="connsiteX1223" fmla="*/ 584116 w 939786"/>
                  <a:gd name="connsiteY1223" fmla="*/ 89844 h 840509"/>
                  <a:gd name="connsiteX1224" fmla="*/ 583763 w 939786"/>
                  <a:gd name="connsiteY1224" fmla="*/ 90108 h 840509"/>
                  <a:gd name="connsiteX1225" fmla="*/ 583498 w 939786"/>
                  <a:gd name="connsiteY1225" fmla="*/ 90725 h 840509"/>
                  <a:gd name="connsiteX1226" fmla="*/ 583498 w 939786"/>
                  <a:gd name="connsiteY1226" fmla="*/ 90990 h 840509"/>
                  <a:gd name="connsiteX1227" fmla="*/ 582882 w 939786"/>
                  <a:gd name="connsiteY1227" fmla="*/ 91254 h 840509"/>
                  <a:gd name="connsiteX1228" fmla="*/ 582617 w 939786"/>
                  <a:gd name="connsiteY1228" fmla="*/ 91254 h 840509"/>
                  <a:gd name="connsiteX1229" fmla="*/ 582617 w 939786"/>
                  <a:gd name="connsiteY1229" fmla="*/ 91607 h 840509"/>
                  <a:gd name="connsiteX1230" fmla="*/ 582617 w 939786"/>
                  <a:gd name="connsiteY1230" fmla="*/ 91872 h 840509"/>
                  <a:gd name="connsiteX1231" fmla="*/ 583146 w 939786"/>
                  <a:gd name="connsiteY1231" fmla="*/ 93899 h 840509"/>
                  <a:gd name="connsiteX1232" fmla="*/ 583146 w 939786"/>
                  <a:gd name="connsiteY1232" fmla="*/ 94164 h 840509"/>
                  <a:gd name="connsiteX1233" fmla="*/ 584645 w 939786"/>
                  <a:gd name="connsiteY1233" fmla="*/ 94428 h 840509"/>
                  <a:gd name="connsiteX1234" fmla="*/ 584909 w 939786"/>
                  <a:gd name="connsiteY1234" fmla="*/ 94428 h 840509"/>
                  <a:gd name="connsiteX1235" fmla="*/ 585262 w 939786"/>
                  <a:gd name="connsiteY1235" fmla="*/ 94428 h 840509"/>
                  <a:gd name="connsiteX1236" fmla="*/ 585527 w 939786"/>
                  <a:gd name="connsiteY1236" fmla="*/ 94164 h 840509"/>
                  <a:gd name="connsiteX1237" fmla="*/ 585791 w 939786"/>
                  <a:gd name="connsiteY1237" fmla="*/ 94164 h 840509"/>
                  <a:gd name="connsiteX1238" fmla="*/ 585791 w 939786"/>
                  <a:gd name="connsiteY1238" fmla="*/ 93899 h 840509"/>
                  <a:gd name="connsiteX1239" fmla="*/ 585791 w 939786"/>
                  <a:gd name="connsiteY1239" fmla="*/ 93635 h 840509"/>
                  <a:gd name="connsiteX1240" fmla="*/ 586056 w 939786"/>
                  <a:gd name="connsiteY1240" fmla="*/ 93282 h 840509"/>
                  <a:gd name="connsiteX1241" fmla="*/ 585791 w 939786"/>
                  <a:gd name="connsiteY1241" fmla="*/ 93282 h 840509"/>
                  <a:gd name="connsiteX1242" fmla="*/ 585791 w 939786"/>
                  <a:gd name="connsiteY1242" fmla="*/ 93018 h 840509"/>
                  <a:gd name="connsiteX1243" fmla="*/ 585791 w 939786"/>
                  <a:gd name="connsiteY1243" fmla="*/ 92753 h 840509"/>
                  <a:gd name="connsiteX1244" fmla="*/ 586320 w 939786"/>
                  <a:gd name="connsiteY1244" fmla="*/ 92136 h 840509"/>
                  <a:gd name="connsiteX1245" fmla="*/ 586937 w 939786"/>
                  <a:gd name="connsiteY1245" fmla="*/ 91872 h 840509"/>
                  <a:gd name="connsiteX1246" fmla="*/ 587202 w 939786"/>
                  <a:gd name="connsiteY1246" fmla="*/ 92136 h 840509"/>
                  <a:gd name="connsiteX1247" fmla="*/ 587466 w 939786"/>
                  <a:gd name="connsiteY1247" fmla="*/ 92401 h 840509"/>
                  <a:gd name="connsiteX1248" fmla="*/ 587466 w 939786"/>
                  <a:gd name="connsiteY1248" fmla="*/ 92665 h 840509"/>
                  <a:gd name="connsiteX1249" fmla="*/ 587466 w 939786"/>
                  <a:gd name="connsiteY1249" fmla="*/ 93282 h 840509"/>
                  <a:gd name="connsiteX1250" fmla="*/ 586320 w 939786"/>
                  <a:gd name="connsiteY1250" fmla="*/ 94428 h 840509"/>
                  <a:gd name="connsiteX1251" fmla="*/ 585174 w 939786"/>
                  <a:gd name="connsiteY1251" fmla="*/ 95927 h 840509"/>
                  <a:gd name="connsiteX1252" fmla="*/ 584821 w 939786"/>
                  <a:gd name="connsiteY1252" fmla="*/ 95927 h 840509"/>
                  <a:gd name="connsiteX1253" fmla="*/ 584557 w 939786"/>
                  <a:gd name="connsiteY1253" fmla="*/ 95927 h 840509"/>
                  <a:gd name="connsiteX1254" fmla="*/ 584292 w 939786"/>
                  <a:gd name="connsiteY1254" fmla="*/ 96192 h 840509"/>
                  <a:gd name="connsiteX1255" fmla="*/ 584027 w 939786"/>
                  <a:gd name="connsiteY1255" fmla="*/ 96544 h 840509"/>
                  <a:gd name="connsiteX1256" fmla="*/ 583675 w 939786"/>
                  <a:gd name="connsiteY1256" fmla="*/ 96809 h 840509"/>
                  <a:gd name="connsiteX1257" fmla="*/ 581911 w 939786"/>
                  <a:gd name="connsiteY1257" fmla="*/ 99983 h 840509"/>
                  <a:gd name="connsiteX1258" fmla="*/ 581647 w 939786"/>
                  <a:gd name="connsiteY1258" fmla="*/ 100865 h 840509"/>
                  <a:gd name="connsiteX1259" fmla="*/ 581647 w 939786"/>
                  <a:gd name="connsiteY1259" fmla="*/ 101129 h 840509"/>
                  <a:gd name="connsiteX1260" fmla="*/ 581647 w 939786"/>
                  <a:gd name="connsiteY1260" fmla="*/ 102011 h 840509"/>
                  <a:gd name="connsiteX1261" fmla="*/ 581647 w 939786"/>
                  <a:gd name="connsiteY1261" fmla="*/ 102275 h 840509"/>
                  <a:gd name="connsiteX1262" fmla="*/ 581911 w 939786"/>
                  <a:gd name="connsiteY1262" fmla="*/ 102540 h 840509"/>
                  <a:gd name="connsiteX1263" fmla="*/ 581911 w 939786"/>
                  <a:gd name="connsiteY1263" fmla="*/ 102804 h 840509"/>
                  <a:gd name="connsiteX1264" fmla="*/ 582176 w 939786"/>
                  <a:gd name="connsiteY1264" fmla="*/ 102804 h 840509"/>
                  <a:gd name="connsiteX1265" fmla="*/ 583058 w 939786"/>
                  <a:gd name="connsiteY1265" fmla="*/ 102804 h 840509"/>
                  <a:gd name="connsiteX1266" fmla="*/ 584821 w 939786"/>
                  <a:gd name="connsiteY1266" fmla="*/ 103069 h 840509"/>
                  <a:gd name="connsiteX1267" fmla="*/ 585174 w 939786"/>
                  <a:gd name="connsiteY1267" fmla="*/ 103069 h 840509"/>
                  <a:gd name="connsiteX1268" fmla="*/ 585438 w 939786"/>
                  <a:gd name="connsiteY1268" fmla="*/ 103069 h 840509"/>
                  <a:gd name="connsiteX1269" fmla="*/ 585702 w 939786"/>
                  <a:gd name="connsiteY1269" fmla="*/ 102804 h 840509"/>
                  <a:gd name="connsiteX1270" fmla="*/ 585967 w 939786"/>
                  <a:gd name="connsiteY1270" fmla="*/ 102540 h 840509"/>
                  <a:gd name="connsiteX1271" fmla="*/ 585967 w 939786"/>
                  <a:gd name="connsiteY1271" fmla="*/ 102275 h 840509"/>
                  <a:gd name="connsiteX1272" fmla="*/ 586231 w 939786"/>
                  <a:gd name="connsiteY1272" fmla="*/ 102011 h 840509"/>
                  <a:gd name="connsiteX1273" fmla="*/ 587113 w 939786"/>
                  <a:gd name="connsiteY1273" fmla="*/ 101658 h 840509"/>
                  <a:gd name="connsiteX1274" fmla="*/ 587378 w 939786"/>
                  <a:gd name="connsiteY1274" fmla="*/ 101658 h 840509"/>
                  <a:gd name="connsiteX1275" fmla="*/ 586231 w 939786"/>
                  <a:gd name="connsiteY1275" fmla="*/ 104832 h 840509"/>
                  <a:gd name="connsiteX1276" fmla="*/ 585967 w 939786"/>
                  <a:gd name="connsiteY1276" fmla="*/ 105097 h 840509"/>
                  <a:gd name="connsiteX1277" fmla="*/ 585527 w 939786"/>
                  <a:gd name="connsiteY1277" fmla="*/ 105449 h 840509"/>
                  <a:gd name="connsiteX1278" fmla="*/ 331160 w 939786"/>
                  <a:gd name="connsiteY1278" fmla="*/ 113385 h 840509"/>
                  <a:gd name="connsiteX1279" fmla="*/ 330896 w 939786"/>
                  <a:gd name="connsiteY1279" fmla="*/ 114266 h 840509"/>
                  <a:gd name="connsiteX1280" fmla="*/ 330631 w 939786"/>
                  <a:gd name="connsiteY1280" fmla="*/ 114266 h 840509"/>
                  <a:gd name="connsiteX1281" fmla="*/ 329750 w 939786"/>
                  <a:gd name="connsiteY1281" fmla="*/ 113649 h 840509"/>
                  <a:gd name="connsiteX1282" fmla="*/ 329750 w 939786"/>
                  <a:gd name="connsiteY1282" fmla="*/ 113296 h 840509"/>
                  <a:gd name="connsiteX1283" fmla="*/ 329750 w 939786"/>
                  <a:gd name="connsiteY1283" fmla="*/ 113032 h 840509"/>
                  <a:gd name="connsiteX1284" fmla="*/ 330367 w 939786"/>
                  <a:gd name="connsiteY1284" fmla="*/ 111533 h 840509"/>
                  <a:gd name="connsiteX1285" fmla="*/ 330984 w 939786"/>
                  <a:gd name="connsiteY1285" fmla="*/ 110122 h 840509"/>
                  <a:gd name="connsiteX1286" fmla="*/ 331866 w 939786"/>
                  <a:gd name="connsiteY1286" fmla="*/ 108976 h 840509"/>
                  <a:gd name="connsiteX1287" fmla="*/ 332131 w 939786"/>
                  <a:gd name="connsiteY1287" fmla="*/ 108976 h 840509"/>
                  <a:gd name="connsiteX1288" fmla="*/ 332483 w 939786"/>
                  <a:gd name="connsiteY1288" fmla="*/ 108976 h 840509"/>
                  <a:gd name="connsiteX1289" fmla="*/ 333100 w 939786"/>
                  <a:gd name="connsiteY1289" fmla="*/ 109858 h 840509"/>
                  <a:gd name="connsiteX1290" fmla="*/ 333100 w 939786"/>
                  <a:gd name="connsiteY1290" fmla="*/ 110210 h 840509"/>
                  <a:gd name="connsiteX1291" fmla="*/ 332218 w 939786"/>
                  <a:gd name="connsiteY1291" fmla="*/ 112855 h 840509"/>
                  <a:gd name="connsiteX1292" fmla="*/ 331337 w 939786"/>
                  <a:gd name="connsiteY1292" fmla="*/ 113120 h 840509"/>
                  <a:gd name="connsiteX1293" fmla="*/ 331337 w 939786"/>
                  <a:gd name="connsiteY1293" fmla="*/ 113385 h 840509"/>
                  <a:gd name="connsiteX1294" fmla="*/ 425677 w 939786"/>
                  <a:gd name="connsiteY1294" fmla="*/ 120614 h 840509"/>
                  <a:gd name="connsiteX1295" fmla="*/ 425677 w 939786"/>
                  <a:gd name="connsiteY1295" fmla="*/ 122025 h 840509"/>
                  <a:gd name="connsiteX1296" fmla="*/ 425060 w 939786"/>
                  <a:gd name="connsiteY1296" fmla="*/ 120879 h 840509"/>
                  <a:gd name="connsiteX1297" fmla="*/ 425060 w 939786"/>
                  <a:gd name="connsiteY1297" fmla="*/ 120614 h 840509"/>
                  <a:gd name="connsiteX1298" fmla="*/ 424531 w 939786"/>
                  <a:gd name="connsiteY1298" fmla="*/ 119468 h 840509"/>
                  <a:gd name="connsiteX1299" fmla="*/ 424531 w 939786"/>
                  <a:gd name="connsiteY1299" fmla="*/ 118587 h 840509"/>
                  <a:gd name="connsiteX1300" fmla="*/ 424266 w 939786"/>
                  <a:gd name="connsiteY1300" fmla="*/ 117969 h 840509"/>
                  <a:gd name="connsiteX1301" fmla="*/ 424266 w 939786"/>
                  <a:gd name="connsiteY1301" fmla="*/ 117705 h 840509"/>
                  <a:gd name="connsiteX1302" fmla="*/ 424531 w 939786"/>
                  <a:gd name="connsiteY1302" fmla="*/ 117440 h 840509"/>
                  <a:gd name="connsiteX1303" fmla="*/ 424795 w 939786"/>
                  <a:gd name="connsiteY1303" fmla="*/ 117705 h 840509"/>
                  <a:gd name="connsiteX1304" fmla="*/ 424795 w 939786"/>
                  <a:gd name="connsiteY1304" fmla="*/ 117969 h 840509"/>
                  <a:gd name="connsiteX1305" fmla="*/ 425412 w 939786"/>
                  <a:gd name="connsiteY1305" fmla="*/ 119116 h 840509"/>
                  <a:gd name="connsiteX1306" fmla="*/ 425765 w 939786"/>
                  <a:gd name="connsiteY1306" fmla="*/ 119380 h 840509"/>
                  <a:gd name="connsiteX1307" fmla="*/ 425765 w 939786"/>
                  <a:gd name="connsiteY1307" fmla="*/ 120262 h 840509"/>
                  <a:gd name="connsiteX1308" fmla="*/ 425765 w 939786"/>
                  <a:gd name="connsiteY1308" fmla="*/ 120614 h 840509"/>
                  <a:gd name="connsiteX1309" fmla="*/ 426823 w 939786"/>
                  <a:gd name="connsiteY1309" fmla="*/ 119733 h 840509"/>
                  <a:gd name="connsiteX1310" fmla="*/ 426559 w 939786"/>
                  <a:gd name="connsiteY1310" fmla="*/ 119733 h 840509"/>
                  <a:gd name="connsiteX1311" fmla="*/ 426294 w 939786"/>
                  <a:gd name="connsiteY1311" fmla="*/ 119733 h 840509"/>
                  <a:gd name="connsiteX1312" fmla="*/ 426030 w 939786"/>
                  <a:gd name="connsiteY1312" fmla="*/ 118851 h 840509"/>
                  <a:gd name="connsiteX1313" fmla="*/ 426030 w 939786"/>
                  <a:gd name="connsiteY1313" fmla="*/ 118587 h 840509"/>
                  <a:gd name="connsiteX1314" fmla="*/ 426030 w 939786"/>
                  <a:gd name="connsiteY1314" fmla="*/ 118322 h 840509"/>
                  <a:gd name="connsiteX1315" fmla="*/ 426030 w 939786"/>
                  <a:gd name="connsiteY1315" fmla="*/ 118058 h 840509"/>
                  <a:gd name="connsiteX1316" fmla="*/ 426294 w 939786"/>
                  <a:gd name="connsiteY1316" fmla="*/ 118058 h 840509"/>
                  <a:gd name="connsiteX1317" fmla="*/ 426559 w 939786"/>
                  <a:gd name="connsiteY1317" fmla="*/ 118675 h 840509"/>
                  <a:gd name="connsiteX1318" fmla="*/ 426823 w 939786"/>
                  <a:gd name="connsiteY1318" fmla="*/ 118939 h 840509"/>
                  <a:gd name="connsiteX1319" fmla="*/ 426823 w 939786"/>
                  <a:gd name="connsiteY1319" fmla="*/ 119204 h 840509"/>
                  <a:gd name="connsiteX1320" fmla="*/ 426823 w 939786"/>
                  <a:gd name="connsiteY1320" fmla="*/ 119733 h 840509"/>
                  <a:gd name="connsiteX1321" fmla="*/ 558635 w 939786"/>
                  <a:gd name="connsiteY1321" fmla="*/ 120350 h 840509"/>
                  <a:gd name="connsiteX1322" fmla="*/ 557136 w 939786"/>
                  <a:gd name="connsiteY1322" fmla="*/ 120614 h 840509"/>
                  <a:gd name="connsiteX1323" fmla="*/ 558018 w 939786"/>
                  <a:gd name="connsiteY1323" fmla="*/ 118851 h 840509"/>
                  <a:gd name="connsiteX1324" fmla="*/ 558282 w 939786"/>
                  <a:gd name="connsiteY1324" fmla="*/ 118851 h 840509"/>
                  <a:gd name="connsiteX1325" fmla="*/ 558282 w 939786"/>
                  <a:gd name="connsiteY1325" fmla="*/ 118587 h 840509"/>
                  <a:gd name="connsiteX1326" fmla="*/ 558547 w 939786"/>
                  <a:gd name="connsiteY1326" fmla="*/ 118851 h 840509"/>
                  <a:gd name="connsiteX1327" fmla="*/ 558811 w 939786"/>
                  <a:gd name="connsiteY1327" fmla="*/ 119116 h 840509"/>
                  <a:gd name="connsiteX1328" fmla="*/ 558811 w 939786"/>
                  <a:gd name="connsiteY1328" fmla="*/ 119380 h 840509"/>
                  <a:gd name="connsiteX1329" fmla="*/ 558811 w 939786"/>
                  <a:gd name="connsiteY1329" fmla="*/ 119997 h 840509"/>
                  <a:gd name="connsiteX1330" fmla="*/ 558811 w 939786"/>
                  <a:gd name="connsiteY1330" fmla="*/ 120262 h 840509"/>
                  <a:gd name="connsiteX1331" fmla="*/ 558635 w 939786"/>
                  <a:gd name="connsiteY1331" fmla="*/ 120262 h 840509"/>
                  <a:gd name="connsiteX1332" fmla="*/ 400549 w 939786"/>
                  <a:gd name="connsiteY1332" fmla="*/ 123876 h 840509"/>
                  <a:gd name="connsiteX1333" fmla="*/ 400285 w 939786"/>
                  <a:gd name="connsiteY1333" fmla="*/ 123876 h 840509"/>
                  <a:gd name="connsiteX1334" fmla="*/ 400020 w 939786"/>
                  <a:gd name="connsiteY1334" fmla="*/ 123259 h 840509"/>
                  <a:gd name="connsiteX1335" fmla="*/ 399138 w 939786"/>
                  <a:gd name="connsiteY1335" fmla="*/ 121761 h 840509"/>
                  <a:gd name="connsiteX1336" fmla="*/ 399138 w 939786"/>
                  <a:gd name="connsiteY1336" fmla="*/ 120262 h 840509"/>
                  <a:gd name="connsiteX1337" fmla="*/ 399138 w 939786"/>
                  <a:gd name="connsiteY1337" fmla="*/ 119645 h 840509"/>
                  <a:gd name="connsiteX1338" fmla="*/ 399403 w 939786"/>
                  <a:gd name="connsiteY1338" fmla="*/ 119380 h 840509"/>
                  <a:gd name="connsiteX1339" fmla="*/ 399403 w 939786"/>
                  <a:gd name="connsiteY1339" fmla="*/ 119645 h 840509"/>
                  <a:gd name="connsiteX1340" fmla="*/ 399667 w 939786"/>
                  <a:gd name="connsiteY1340" fmla="*/ 120262 h 840509"/>
                  <a:gd name="connsiteX1341" fmla="*/ 400020 w 939786"/>
                  <a:gd name="connsiteY1341" fmla="*/ 120526 h 840509"/>
                  <a:gd name="connsiteX1342" fmla="*/ 400020 w 939786"/>
                  <a:gd name="connsiteY1342" fmla="*/ 120791 h 840509"/>
                  <a:gd name="connsiteX1343" fmla="*/ 400637 w 939786"/>
                  <a:gd name="connsiteY1343" fmla="*/ 122554 h 840509"/>
                  <a:gd name="connsiteX1344" fmla="*/ 400637 w 939786"/>
                  <a:gd name="connsiteY1344" fmla="*/ 122818 h 840509"/>
                  <a:gd name="connsiteX1345" fmla="*/ 400637 w 939786"/>
                  <a:gd name="connsiteY1345" fmla="*/ 123876 h 840509"/>
                  <a:gd name="connsiteX1346" fmla="*/ 325342 w 939786"/>
                  <a:gd name="connsiteY1346" fmla="*/ 123524 h 840509"/>
                  <a:gd name="connsiteX1347" fmla="*/ 325077 w 939786"/>
                  <a:gd name="connsiteY1347" fmla="*/ 123524 h 840509"/>
                  <a:gd name="connsiteX1348" fmla="*/ 324813 w 939786"/>
                  <a:gd name="connsiteY1348" fmla="*/ 123524 h 840509"/>
                  <a:gd name="connsiteX1349" fmla="*/ 324548 w 939786"/>
                  <a:gd name="connsiteY1349" fmla="*/ 123524 h 840509"/>
                  <a:gd name="connsiteX1350" fmla="*/ 323666 w 939786"/>
                  <a:gd name="connsiteY1350" fmla="*/ 122642 h 840509"/>
                  <a:gd name="connsiteX1351" fmla="*/ 323666 w 939786"/>
                  <a:gd name="connsiteY1351" fmla="*/ 122290 h 840509"/>
                  <a:gd name="connsiteX1352" fmla="*/ 323666 w 939786"/>
                  <a:gd name="connsiteY1352" fmla="*/ 122025 h 840509"/>
                  <a:gd name="connsiteX1353" fmla="*/ 323931 w 939786"/>
                  <a:gd name="connsiteY1353" fmla="*/ 121761 h 840509"/>
                  <a:gd name="connsiteX1354" fmla="*/ 324195 w 939786"/>
                  <a:gd name="connsiteY1354" fmla="*/ 121496 h 840509"/>
                  <a:gd name="connsiteX1355" fmla="*/ 325077 w 939786"/>
                  <a:gd name="connsiteY1355" fmla="*/ 121496 h 840509"/>
                  <a:gd name="connsiteX1356" fmla="*/ 325342 w 939786"/>
                  <a:gd name="connsiteY1356" fmla="*/ 123259 h 840509"/>
                  <a:gd name="connsiteX1357" fmla="*/ 325342 w 939786"/>
                  <a:gd name="connsiteY1357" fmla="*/ 123524 h 840509"/>
                  <a:gd name="connsiteX1358" fmla="*/ 394465 w 939786"/>
                  <a:gd name="connsiteY1358" fmla="*/ 127668 h 840509"/>
                  <a:gd name="connsiteX1359" fmla="*/ 394465 w 939786"/>
                  <a:gd name="connsiteY1359" fmla="*/ 127668 h 840509"/>
                  <a:gd name="connsiteX1360" fmla="*/ 393320 w 939786"/>
                  <a:gd name="connsiteY1360" fmla="*/ 126522 h 840509"/>
                  <a:gd name="connsiteX1361" fmla="*/ 393320 w 939786"/>
                  <a:gd name="connsiteY1361" fmla="*/ 126169 h 840509"/>
                  <a:gd name="connsiteX1362" fmla="*/ 393320 w 939786"/>
                  <a:gd name="connsiteY1362" fmla="*/ 125904 h 840509"/>
                  <a:gd name="connsiteX1363" fmla="*/ 393584 w 939786"/>
                  <a:gd name="connsiteY1363" fmla="*/ 124141 h 840509"/>
                  <a:gd name="connsiteX1364" fmla="*/ 393584 w 939786"/>
                  <a:gd name="connsiteY1364" fmla="*/ 123788 h 840509"/>
                  <a:gd name="connsiteX1365" fmla="*/ 393849 w 939786"/>
                  <a:gd name="connsiteY1365" fmla="*/ 123788 h 840509"/>
                  <a:gd name="connsiteX1366" fmla="*/ 394113 w 939786"/>
                  <a:gd name="connsiteY1366" fmla="*/ 123788 h 840509"/>
                  <a:gd name="connsiteX1367" fmla="*/ 394113 w 939786"/>
                  <a:gd name="connsiteY1367" fmla="*/ 124141 h 840509"/>
                  <a:gd name="connsiteX1368" fmla="*/ 394730 w 939786"/>
                  <a:gd name="connsiteY1368" fmla="*/ 125552 h 840509"/>
                  <a:gd name="connsiteX1369" fmla="*/ 394730 w 939786"/>
                  <a:gd name="connsiteY1369" fmla="*/ 125816 h 840509"/>
                  <a:gd name="connsiteX1370" fmla="*/ 394730 w 939786"/>
                  <a:gd name="connsiteY1370" fmla="*/ 126962 h 840509"/>
                  <a:gd name="connsiteX1371" fmla="*/ 394730 w 939786"/>
                  <a:gd name="connsiteY1371" fmla="*/ 127227 h 840509"/>
                  <a:gd name="connsiteX1372" fmla="*/ 394465 w 939786"/>
                  <a:gd name="connsiteY1372" fmla="*/ 127668 h 840509"/>
                  <a:gd name="connsiteX1373" fmla="*/ 321462 w 939786"/>
                  <a:gd name="connsiteY1373" fmla="*/ 129696 h 840509"/>
                  <a:gd name="connsiteX1374" fmla="*/ 321197 w 939786"/>
                  <a:gd name="connsiteY1374" fmla="*/ 129960 h 840509"/>
                  <a:gd name="connsiteX1375" fmla="*/ 321197 w 939786"/>
                  <a:gd name="connsiteY1375" fmla="*/ 129696 h 840509"/>
                  <a:gd name="connsiteX1376" fmla="*/ 321197 w 939786"/>
                  <a:gd name="connsiteY1376" fmla="*/ 129079 h 840509"/>
                  <a:gd name="connsiteX1377" fmla="*/ 321197 w 939786"/>
                  <a:gd name="connsiteY1377" fmla="*/ 128814 h 840509"/>
                  <a:gd name="connsiteX1378" fmla="*/ 321462 w 939786"/>
                  <a:gd name="connsiteY1378" fmla="*/ 128814 h 840509"/>
                  <a:gd name="connsiteX1379" fmla="*/ 321815 w 939786"/>
                  <a:gd name="connsiteY1379" fmla="*/ 128814 h 840509"/>
                  <a:gd name="connsiteX1380" fmla="*/ 322079 w 939786"/>
                  <a:gd name="connsiteY1380" fmla="*/ 128814 h 840509"/>
                  <a:gd name="connsiteX1381" fmla="*/ 322344 w 939786"/>
                  <a:gd name="connsiteY1381" fmla="*/ 128814 h 840509"/>
                  <a:gd name="connsiteX1382" fmla="*/ 322344 w 939786"/>
                  <a:gd name="connsiteY1382" fmla="*/ 129079 h 840509"/>
                  <a:gd name="connsiteX1383" fmla="*/ 322079 w 939786"/>
                  <a:gd name="connsiteY1383" fmla="*/ 129696 h 840509"/>
                  <a:gd name="connsiteX1384" fmla="*/ 321815 w 939786"/>
                  <a:gd name="connsiteY1384" fmla="*/ 129696 h 840509"/>
                  <a:gd name="connsiteX1385" fmla="*/ 321462 w 939786"/>
                  <a:gd name="connsiteY1385" fmla="*/ 129696 h 840509"/>
                  <a:gd name="connsiteX1386" fmla="*/ 313086 w 939786"/>
                  <a:gd name="connsiteY1386" fmla="*/ 130577 h 840509"/>
                  <a:gd name="connsiteX1387" fmla="*/ 312205 w 939786"/>
                  <a:gd name="connsiteY1387" fmla="*/ 130930 h 840509"/>
                  <a:gd name="connsiteX1388" fmla="*/ 311940 w 939786"/>
                  <a:gd name="connsiteY1388" fmla="*/ 130930 h 840509"/>
                  <a:gd name="connsiteX1389" fmla="*/ 311676 w 939786"/>
                  <a:gd name="connsiteY1389" fmla="*/ 130577 h 840509"/>
                  <a:gd name="connsiteX1390" fmla="*/ 311411 w 939786"/>
                  <a:gd name="connsiteY1390" fmla="*/ 130577 h 840509"/>
                  <a:gd name="connsiteX1391" fmla="*/ 311411 w 939786"/>
                  <a:gd name="connsiteY1391" fmla="*/ 130313 h 840509"/>
                  <a:gd name="connsiteX1392" fmla="*/ 311411 w 939786"/>
                  <a:gd name="connsiteY1392" fmla="*/ 130048 h 840509"/>
                  <a:gd name="connsiteX1393" fmla="*/ 313439 w 939786"/>
                  <a:gd name="connsiteY1393" fmla="*/ 129167 h 840509"/>
                  <a:gd name="connsiteX1394" fmla="*/ 313703 w 939786"/>
                  <a:gd name="connsiteY1394" fmla="*/ 129167 h 840509"/>
                  <a:gd name="connsiteX1395" fmla="*/ 313703 w 939786"/>
                  <a:gd name="connsiteY1395" fmla="*/ 129431 h 840509"/>
                  <a:gd name="connsiteX1396" fmla="*/ 313703 w 939786"/>
                  <a:gd name="connsiteY1396" fmla="*/ 129696 h 840509"/>
                  <a:gd name="connsiteX1397" fmla="*/ 313439 w 939786"/>
                  <a:gd name="connsiteY1397" fmla="*/ 130313 h 840509"/>
                  <a:gd name="connsiteX1398" fmla="*/ 313086 w 939786"/>
                  <a:gd name="connsiteY1398" fmla="*/ 130577 h 840509"/>
                  <a:gd name="connsiteX1399" fmla="*/ 316877 w 939786"/>
                  <a:gd name="connsiteY1399" fmla="*/ 133223 h 840509"/>
                  <a:gd name="connsiteX1400" fmla="*/ 314497 w 939786"/>
                  <a:gd name="connsiteY1400" fmla="*/ 133840 h 840509"/>
                  <a:gd name="connsiteX1401" fmla="*/ 314497 w 939786"/>
                  <a:gd name="connsiteY1401" fmla="*/ 133223 h 840509"/>
                  <a:gd name="connsiteX1402" fmla="*/ 313615 w 939786"/>
                  <a:gd name="connsiteY1402" fmla="*/ 132076 h 840509"/>
                  <a:gd name="connsiteX1403" fmla="*/ 313968 w 939786"/>
                  <a:gd name="connsiteY1403" fmla="*/ 130930 h 840509"/>
                  <a:gd name="connsiteX1404" fmla="*/ 314497 w 939786"/>
                  <a:gd name="connsiteY1404" fmla="*/ 130048 h 840509"/>
                  <a:gd name="connsiteX1405" fmla="*/ 314849 w 939786"/>
                  <a:gd name="connsiteY1405" fmla="*/ 130048 h 840509"/>
                  <a:gd name="connsiteX1406" fmla="*/ 315731 w 939786"/>
                  <a:gd name="connsiteY1406" fmla="*/ 129431 h 840509"/>
                  <a:gd name="connsiteX1407" fmla="*/ 316348 w 939786"/>
                  <a:gd name="connsiteY1407" fmla="*/ 129431 h 840509"/>
                  <a:gd name="connsiteX1408" fmla="*/ 317494 w 939786"/>
                  <a:gd name="connsiteY1408" fmla="*/ 132605 h 840509"/>
                  <a:gd name="connsiteX1409" fmla="*/ 317494 w 939786"/>
                  <a:gd name="connsiteY1409" fmla="*/ 132870 h 840509"/>
                  <a:gd name="connsiteX1410" fmla="*/ 317230 w 939786"/>
                  <a:gd name="connsiteY1410" fmla="*/ 132870 h 840509"/>
                  <a:gd name="connsiteX1411" fmla="*/ 316877 w 939786"/>
                  <a:gd name="connsiteY1411" fmla="*/ 133223 h 840509"/>
                  <a:gd name="connsiteX1412" fmla="*/ 579090 w 939786"/>
                  <a:gd name="connsiteY1412" fmla="*/ 138424 h 840509"/>
                  <a:gd name="connsiteX1413" fmla="*/ 579090 w 939786"/>
                  <a:gd name="connsiteY1413" fmla="*/ 138689 h 840509"/>
                  <a:gd name="connsiteX1414" fmla="*/ 579090 w 939786"/>
                  <a:gd name="connsiteY1414" fmla="*/ 138424 h 840509"/>
                  <a:gd name="connsiteX1415" fmla="*/ 579090 w 939786"/>
                  <a:gd name="connsiteY1415" fmla="*/ 137807 h 840509"/>
                  <a:gd name="connsiteX1416" fmla="*/ 579090 w 939786"/>
                  <a:gd name="connsiteY1416" fmla="*/ 137543 h 840509"/>
                  <a:gd name="connsiteX1417" fmla="*/ 579355 w 939786"/>
                  <a:gd name="connsiteY1417" fmla="*/ 136397 h 840509"/>
                  <a:gd name="connsiteX1418" fmla="*/ 579972 w 939786"/>
                  <a:gd name="connsiteY1418" fmla="*/ 135779 h 840509"/>
                  <a:gd name="connsiteX1419" fmla="*/ 580236 w 939786"/>
                  <a:gd name="connsiteY1419" fmla="*/ 135515 h 840509"/>
                  <a:gd name="connsiteX1420" fmla="*/ 580236 w 939786"/>
                  <a:gd name="connsiteY1420" fmla="*/ 135250 h 840509"/>
                  <a:gd name="connsiteX1421" fmla="*/ 580236 w 939786"/>
                  <a:gd name="connsiteY1421" fmla="*/ 137014 h 840509"/>
                  <a:gd name="connsiteX1422" fmla="*/ 579972 w 939786"/>
                  <a:gd name="connsiteY1422" fmla="*/ 137631 h 840509"/>
                  <a:gd name="connsiteX1423" fmla="*/ 579707 w 939786"/>
                  <a:gd name="connsiteY1423" fmla="*/ 138248 h 840509"/>
                  <a:gd name="connsiteX1424" fmla="*/ 579707 w 939786"/>
                  <a:gd name="connsiteY1424" fmla="*/ 138601 h 840509"/>
                  <a:gd name="connsiteX1425" fmla="*/ 579090 w 939786"/>
                  <a:gd name="connsiteY1425" fmla="*/ 138601 h 840509"/>
                  <a:gd name="connsiteX1426" fmla="*/ 572390 w 939786"/>
                  <a:gd name="connsiteY1426" fmla="*/ 138689 h 840509"/>
                  <a:gd name="connsiteX1427" fmla="*/ 572125 w 939786"/>
                  <a:gd name="connsiteY1427" fmla="*/ 138953 h 840509"/>
                  <a:gd name="connsiteX1428" fmla="*/ 572125 w 939786"/>
                  <a:gd name="connsiteY1428" fmla="*/ 138689 h 840509"/>
                  <a:gd name="connsiteX1429" fmla="*/ 571508 w 939786"/>
                  <a:gd name="connsiteY1429" fmla="*/ 138424 h 840509"/>
                  <a:gd name="connsiteX1430" fmla="*/ 572390 w 939786"/>
                  <a:gd name="connsiteY1430" fmla="*/ 136397 h 840509"/>
                  <a:gd name="connsiteX1431" fmla="*/ 573888 w 939786"/>
                  <a:gd name="connsiteY1431" fmla="*/ 135515 h 840509"/>
                  <a:gd name="connsiteX1432" fmla="*/ 574417 w 939786"/>
                  <a:gd name="connsiteY1432" fmla="*/ 135779 h 840509"/>
                  <a:gd name="connsiteX1433" fmla="*/ 574417 w 939786"/>
                  <a:gd name="connsiteY1433" fmla="*/ 136397 h 840509"/>
                  <a:gd name="connsiteX1434" fmla="*/ 573888 w 939786"/>
                  <a:gd name="connsiteY1434" fmla="*/ 137895 h 840509"/>
                  <a:gd name="connsiteX1435" fmla="*/ 573888 w 939786"/>
                  <a:gd name="connsiteY1435" fmla="*/ 138160 h 840509"/>
                  <a:gd name="connsiteX1436" fmla="*/ 573536 w 939786"/>
                  <a:gd name="connsiteY1436" fmla="*/ 138777 h 840509"/>
                  <a:gd name="connsiteX1437" fmla="*/ 572390 w 939786"/>
                  <a:gd name="connsiteY1437" fmla="*/ 138777 h 840509"/>
                  <a:gd name="connsiteX1438" fmla="*/ 583146 w 939786"/>
                  <a:gd name="connsiteY1438" fmla="*/ 143362 h 840509"/>
                  <a:gd name="connsiteX1439" fmla="*/ 582882 w 939786"/>
                  <a:gd name="connsiteY1439" fmla="*/ 143362 h 840509"/>
                  <a:gd name="connsiteX1440" fmla="*/ 582617 w 939786"/>
                  <a:gd name="connsiteY1440" fmla="*/ 143362 h 840509"/>
                  <a:gd name="connsiteX1441" fmla="*/ 581735 w 939786"/>
                  <a:gd name="connsiteY1441" fmla="*/ 142480 h 840509"/>
                  <a:gd name="connsiteX1442" fmla="*/ 580853 w 939786"/>
                  <a:gd name="connsiteY1442" fmla="*/ 140717 h 840509"/>
                  <a:gd name="connsiteX1443" fmla="*/ 580853 w 939786"/>
                  <a:gd name="connsiteY1443" fmla="*/ 140188 h 840509"/>
                  <a:gd name="connsiteX1444" fmla="*/ 580853 w 939786"/>
                  <a:gd name="connsiteY1444" fmla="*/ 139923 h 840509"/>
                  <a:gd name="connsiteX1445" fmla="*/ 580853 w 939786"/>
                  <a:gd name="connsiteY1445" fmla="*/ 139659 h 840509"/>
                  <a:gd name="connsiteX1446" fmla="*/ 581471 w 939786"/>
                  <a:gd name="connsiteY1446" fmla="*/ 139041 h 840509"/>
                  <a:gd name="connsiteX1447" fmla="*/ 582353 w 939786"/>
                  <a:gd name="connsiteY1447" fmla="*/ 137631 h 840509"/>
                  <a:gd name="connsiteX1448" fmla="*/ 582705 w 939786"/>
                  <a:gd name="connsiteY1448" fmla="*/ 137631 h 840509"/>
                  <a:gd name="connsiteX1449" fmla="*/ 582969 w 939786"/>
                  <a:gd name="connsiteY1449" fmla="*/ 137631 h 840509"/>
                  <a:gd name="connsiteX1450" fmla="*/ 583587 w 939786"/>
                  <a:gd name="connsiteY1450" fmla="*/ 139041 h 840509"/>
                  <a:gd name="connsiteX1451" fmla="*/ 583851 w 939786"/>
                  <a:gd name="connsiteY1451" fmla="*/ 139923 h 840509"/>
                  <a:gd name="connsiteX1452" fmla="*/ 583851 w 939786"/>
                  <a:gd name="connsiteY1452" fmla="*/ 141951 h 840509"/>
                  <a:gd name="connsiteX1453" fmla="*/ 583851 w 939786"/>
                  <a:gd name="connsiteY1453" fmla="*/ 142216 h 840509"/>
                  <a:gd name="connsiteX1454" fmla="*/ 583851 w 939786"/>
                  <a:gd name="connsiteY1454" fmla="*/ 142480 h 840509"/>
                  <a:gd name="connsiteX1455" fmla="*/ 583146 w 939786"/>
                  <a:gd name="connsiteY1455" fmla="*/ 143362 h 840509"/>
                  <a:gd name="connsiteX1456" fmla="*/ 576445 w 939786"/>
                  <a:gd name="connsiteY1456" fmla="*/ 141687 h 840509"/>
                  <a:gd name="connsiteX1457" fmla="*/ 576181 w 939786"/>
                  <a:gd name="connsiteY1457" fmla="*/ 141687 h 840509"/>
                  <a:gd name="connsiteX1458" fmla="*/ 576181 w 939786"/>
                  <a:gd name="connsiteY1458" fmla="*/ 141334 h 840509"/>
                  <a:gd name="connsiteX1459" fmla="*/ 576181 w 939786"/>
                  <a:gd name="connsiteY1459" fmla="*/ 141069 h 840509"/>
                  <a:gd name="connsiteX1460" fmla="*/ 576445 w 939786"/>
                  <a:gd name="connsiteY1460" fmla="*/ 139041 h 840509"/>
                  <a:gd name="connsiteX1461" fmla="*/ 576798 w 939786"/>
                  <a:gd name="connsiteY1461" fmla="*/ 139041 h 840509"/>
                  <a:gd name="connsiteX1462" fmla="*/ 576798 w 939786"/>
                  <a:gd name="connsiteY1462" fmla="*/ 138777 h 840509"/>
                  <a:gd name="connsiteX1463" fmla="*/ 577327 w 939786"/>
                  <a:gd name="connsiteY1463" fmla="*/ 138777 h 840509"/>
                  <a:gd name="connsiteX1464" fmla="*/ 577944 w 939786"/>
                  <a:gd name="connsiteY1464" fmla="*/ 139041 h 840509"/>
                  <a:gd name="connsiteX1465" fmla="*/ 578208 w 939786"/>
                  <a:gd name="connsiteY1465" fmla="*/ 139041 h 840509"/>
                  <a:gd name="connsiteX1466" fmla="*/ 578473 w 939786"/>
                  <a:gd name="connsiteY1466" fmla="*/ 139394 h 840509"/>
                  <a:gd name="connsiteX1467" fmla="*/ 578473 w 939786"/>
                  <a:gd name="connsiteY1467" fmla="*/ 139659 h 840509"/>
                  <a:gd name="connsiteX1468" fmla="*/ 578473 w 939786"/>
                  <a:gd name="connsiteY1468" fmla="*/ 139923 h 840509"/>
                  <a:gd name="connsiteX1469" fmla="*/ 578473 w 939786"/>
                  <a:gd name="connsiteY1469" fmla="*/ 140188 h 840509"/>
                  <a:gd name="connsiteX1470" fmla="*/ 577591 w 939786"/>
                  <a:gd name="connsiteY1470" fmla="*/ 140717 h 840509"/>
                  <a:gd name="connsiteX1471" fmla="*/ 576974 w 939786"/>
                  <a:gd name="connsiteY1471" fmla="*/ 141246 h 840509"/>
                  <a:gd name="connsiteX1472" fmla="*/ 576445 w 939786"/>
                  <a:gd name="connsiteY1472" fmla="*/ 141687 h 840509"/>
                  <a:gd name="connsiteX1473" fmla="*/ 574681 w 939786"/>
                  <a:gd name="connsiteY1473" fmla="*/ 142216 h 840509"/>
                  <a:gd name="connsiteX1474" fmla="*/ 574417 w 939786"/>
                  <a:gd name="connsiteY1474" fmla="*/ 142216 h 840509"/>
                  <a:gd name="connsiteX1475" fmla="*/ 574152 w 939786"/>
                  <a:gd name="connsiteY1475" fmla="*/ 141951 h 840509"/>
                  <a:gd name="connsiteX1476" fmla="*/ 574152 w 939786"/>
                  <a:gd name="connsiteY1476" fmla="*/ 141687 h 840509"/>
                  <a:gd name="connsiteX1477" fmla="*/ 573888 w 939786"/>
                  <a:gd name="connsiteY1477" fmla="*/ 141069 h 840509"/>
                  <a:gd name="connsiteX1478" fmla="*/ 573536 w 939786"/>
                  <a:gd name="connsiteY1478" fmla="*/ 141069 h 840509"/>
                  <a:gd name="connsiteX1479" fmla="*/ 573536 w 939786"/>
                  <a:gd name="connsiteY1479" fmla="*/ 140805 h 840509"/>
                  <a:gd name="connsiteX1480" fmla="*/ 573888 w 939786"/>
                  <a:gd name="connsiteY1480" fmla="*/ 140805 h 840509"/>
                  <a:gd name="connsiteX1481" fmla="*/ 573888 w 939786"/>
                  <a:gd name="connsiteY1481" fmla="*/ 140540 h 840509"/>
                  <a:gd name="connsiteX1482" fmla="*/ 574417 w 939786"/>
                  <a:gd name="connsiteY1482" fmla="*/ 139659 h 840509"/>
                  <a:gd name="connsiteX1483" fmla="*/ 575034 w 939786"/>
                  <a:gd name="connsiteY1483" fmla="*/ 139659 h 840509"/>
                  <a:gd name="connsiteX1484" fmla="*/ 575916 w 939786"/>
                  <a:gd name="connsiteY1484" fmla="*/ 140276 h 840509"/>
                  <a:gd name="connsiteX1485" fmla="*/ 575916 w 939786"/>
                  <a:gd name="connsiteY1485" fmla="*/ 140540 h 840509"/>
                  <a:gd name="connsiteX1486" fmla="*/ 575034 w 939786"/>
                  <a:gd name="connsiteY1486" fmla="*/ 141951 h 840509"/>
                  <a:gd name="connsiteX1487" fmla="*/ 574681 w 939786"/>
                  <a:gd name="connsiteY1487" fmla="*/ 142216 h 840509"/>
                  <a:gd name="connsiteX1488" fmla="*/ 624585 w 939786"/>
                  <a:gd name="connsiteY1488" fmla="*/ 165845 h 840509"/>
                  <a:gd name="connsiteX1489" fmla="*/ 623703 w 939786"/>
                  <a:gd name="connsiteY1489" fmla="*/ 166462 h 840509"/>
                  <a:gd name="connsiteX1490" fmla="*/ 623703 w 939786"/>
                  <a:gd name="connsiteY1490" fmla="*/ 165580 h 840509"/>
                  <a:gd name="connsiteX1491" fmla="*/ 623703 w 939786"/>
                  <a:gd name="connsiteY1491" fmla="*/ 164963 h 840509"/>
                  <a:gd name="connsiteX1492" fmla="*/ 624585 w 939786"/>
                  <a:gd name="connsiteY1492" fmla="*/ 162935 h 840509"/>
                  <a:gd name="connsiteX1493" fmla="*/ 624849 w 939786"/>
                  <a:gd name="connsiteY1493" fmla="*/ 162671 h 840509"/>
                  <a:gd name="connsiteX1494" fmla="*/ 626349 w 939786"/>
                  <a:gd name="connsiteY1494" fmla="*/ 160643 h 840509"/>
                  <a:gd name="connsiteX1495" fmla="*/ 627847 w 939786"/>
                  <a:gd name="connsiteY1495" fmla="*/ 159761 h 840509"/>
                  <a:gd name="connsiteX1496" fmla="*/ 628111 w 939786"/>
                  <a:gd name="connsiteY1496" fmla="*/ 159409 h 840509"/>
                  <a:gd name="connsiteX1497" fmla="*/ 628376 w 939786"/>
                  <a:gd name="connsiteY1497" fmla="*/ 159144 h 840509"/>
                  <a:gd name="connsiteX1498" fmla="*/ 628641 w 939786"/>
                  <a:gd name="connsiteY1498" fmla="*/ 159144 h 840509"/>
                  <a:gd name="connsiteX1499" fmla="*/ 629787 w 939786"/>
                  <a:gd name="connsiteY1499" fmla="*/ 159144 h 840509"/>
                  <a:gd name="connsiteX1500" fmla="*/ 631550 w 939786"/>
                  <a:gd name="connsiteY1500" fmla="*/ 158791 h 840509"/>
                  <a:gd name="connsiteX1501" fmla="*/ 632079 w 939786"/>
                  <a:gd name="connsiteY1501" fmla="*/ 158527 h 840509"/>
                  <a:gd name="connsiteX1502" fmla="*/ 633490 w 939786"/>
                  <a:gd name="connsiteY1502" fmla="*/ 157910 h 840509"/>
                  <a:gd name="connsiteX1503" fmla="*/ 637281 w 939786"/>
                  <a:gd name="connsiteY1503" fmla="*/ 158527 h 840509"/>
                  <a:gd name="connsiteX1504" fmla="*/ 637546 w 939786"/>
                  <a:gd name="connsiteY1504" fmla="*/ 158791 h 840509"/>
                  <a:gd name="connsiteX1505" fmla="*/ 637546 w 939786"/>
                  <a:gd name="connsiteY1505" fmla="*/ 159409 h 840509"/>
                  <a:gd name="connsiteX1506" fmla="*/ 637546 w 939786"/>
                  <a:gd name="connsiteY1506" fmla="*/ 159761 h 840509"/>
                  <a:gd name="connsiteX1507" fmla="*/ 637281 w 939786"/>
                  <a:gd name="connsiteY1507" fmla="*/ 160026 h 840509"/>
                  <a:gd name="connsiteX1508" fmla="*/ 637281 w 939786"/>
                  <a:gd name="connsiteY1508" fmla="*/ 160290 h 840509"/>
                  <a:gd name="connsiteX1509" fmla="*/ 636399 w 939786"/>
                  <a:gd name="connsiteY1509" fmla="*/ 160643 h 840509"/>
                  <a:gd name="connsiteX1510" fmla="*/ 634901 w 939786"/>
                  <a:gd name="connsiteY1510" fmla="*/ 160907 h 840509"/>
                  <a:gd name="connsiteX1511" fmla="*/ 634019 w 939786"/>
                  <a:gd name="connsiteY1511" fmla="*/ 160026 h 840509"/>
                  <a:gd name="connsiteX1512" fmla="*/ 631991 w 939786"/>
                  <a:gd name="connsiteY1512" fmla="*/ 160907 h 840509"/>
                  <a:gd name="connsiteX1513" fmla="*/ 631991 w 939786"/>
                  <a:gd name="connsiteY1513" fmla="*/ 161789 h 840509"/>
                  <a:gd name="connsiteX1514" fmla="*/ 630492 w 939786"/>
                  <a:gd name="connsiteY1514" fmla="*/ 164169 h 840509"/>
                  <a:gd name="connsiteX1515" fmla="*/ 630228 w 939786"/>
                  <a:gd name="connsiteY1515" fmla="*/ 164169 h 840509"/>
                  <a:gd name="connsiteX1516" fmla="*/ 627582 w 939786"/>
                  <a:gd name="connsiteY1516" fmla="*/ 165316 h 840509"/>
                  <a:gd name="connsiteX1517" fmla="*/ 625555 w 939786"/>
                  <a:gd name="connsiteY1517" fmla="*/ 165933 h 840509"/>
                  <a:gd name="connsiteX1518" fmla="*/ 624585 w 939786"/>
                  <a:gd name="connsiteY1518" fmla="*/ 165933 h 840509"/>
                  <a:gd name="connsiteX1519" fmla="*/ 622557 w 939786"/>
                  <a:gd name="connsiteY1519" fmla="*/ 169019 h 840509"/>
                  <a:gd name="connsiteX1520" fmla="*/ 621940 w 939786"/>
                  <a:gd name="connsiteY1520" fmla="*/ 169019 h 840509"/>
                  <a:gd name="connsiteX1521" fmla="*/ 622204 w 939786"/>
                  <a:gd name="connsiteY1521" fmla="*/ 168137 h 840509"/>
                  <a:gd name="connsiteX1522" fmla="*/ 623086 w 939786"/>
                  <a:gd name="connsiteY1522" fmla="*/ 167520 h 840509"/>
                  <a:gd name="connsiteX1523" fmla="*/ 623351 w 939786"/>
                  <a:gd name="connsiteY1523" fmla="*/ 167873 h 840509"/>
                  <a:gd name="connsiteX1524" fmla="*/ 623351 w 939786"/>
                  <a:gd name="connsiteY1524" fmla="*/ 168137 h 840509"/>
                  <a:gd name="connsiteX1525" fmla="*/ 623615 w 939786"/>
                  <a:gd name="connsiteY1525" fmla="*/ 168137 h 840509"/>
                  <a:gd name="connsiteX1526" fmla="*/ 623351 w 939786"/>
                  <a:gd name="connsiteY1526" fmla="*/ 168402 h 840509"/>
                  <a:gd name="connsiteX1527" fmla="*/ 622557 w 939786"/>
                  <a:gd name="connsiteY1527" fmla="*/ 169019 h 840509"/>
                  <a:gd name="connsiteX1528" fmla="*/ 628111 w 939786"/>
                  <a:gd name="connsiteY1528" fmla="*/ 175808 h 840509"/>
                  <a:gd name="connsiteX1529" fmla="*/ 628111 w 939786"/>
                  <a:gd name="connsiteY1529" fmla="*/ 176072 h 840509"/>
                  <a:gd name="connsiteX1530" fmla="*/ 627847 w 939786"/>
                  <a:gd name="connsiteY1530" fmla="*/ 176072 h 840509"/>
                  <a:gd name="connsiteX1531" fmla="*/ 627847 w 939786"/>
                  <a:gd name="connsiteY1531" fmla="*/ 175808 h 840509"/>
                  <a:gd name="connsiteX1532" fmla="*/ 627847 w 939786"/>
                  <a:gd name="connsiteY1532" fmla="*/ 175543 h 840509"/>
                  <a:gd name="connsiteX1533" fmla="*/ 627582 w 939786"/>
                  <a:gd name="connsiteY1533" fmla="*/ 174662 h 840509"/>
                  <a:gd name="connsiteX1534" fmla="*/ 627847 w 939786"/>
                  <a:gd name="connsiteY1534" fmla="*/ 174662 h 840509"/>
                  <a:gd name="connsiteX1535" fmla="*/ 630140 w 939786"/>
                  <a:gd name="connsiteY1535" fmla="*/ 172369 h 840509"/>
                  <a:gd name="connsiteX1536" fmla="*/ 631021 w 939786"/>
                  <a:gd name="connsiteY1536" fmla="*/ 172986 h 840509"/>
                  <a:gd name="connsiteX1537" fmla="*/ 631021 w 939786"/>
                  <a:gd name="connsiteY1537" fmla="*/ 173251 h 840509"/>
                  <a:gd name="connsiteX1538" fmla="*/ 631286 w 939786"/>
                  <a:gd name="connsiteY1538" fmla="*/ 173251 h 840509"/>
                  <a:gd name="connsiteX1539" fmla="*/ 631286 w 939786"/>
                  <a:gd name="connsiteY1539" fmla="*/ 173515 h 840509"/>
                  <a:gd name="connsiteX1540" fmla="*/ 631286 w 939786"/>
                  <a:gd name="connsiteY1540" fmla="*/ 175014 h 840509"/>
                  <a:gd name="connsiteX1541" fmla="*/ 631286 w 939786"/>
                  <a:gd name="connsiteY1541" fmla="*/ 175279 h 840509"/>
                  <a:gd name="connsiteX1542" fmla="*/ 631021 w 939786"/>
                  <a:gd name="connsiteY1542" fmla="*/ 175279 h 840509"/>
                  <a:gd name="connsiteX1543" fmla="*/ 630140 w 939786"/>
                  <a:gd name="connsiteY1543" fmla="*/ 175279 h 840509"/>
                  <a:gd name="connsiteX1544" fmla="*/ 629258 w 939786"/>
                  <a:gd name="connsiteY1544" fmla="*/ 175014 h 840509"/>
                  <a:gd name="connsiteX1545" fmla="*/ 628993 w 939786"/>
                  <a:gd name="connsiteY1545" fmla="*/ 175014 h 840509"/>
                  <a:gd name="connsiteX1546" fmla="*/ 628729 w 939786"/>
                  <a:gd name="connsiteY1546" fmla="*/ 175014 h 840509"/>
                  <a:gd name="connsiteX1547" fmla="*/ 628464 w 939786"/>
                  <a:gd name="connsiteY1547" fmla="*/ 175279 h 840509"/>
                  <a:gd name="connsiteX1548" fmla="*/ 628200 w 939786"/>
                  <a:gd name="connsiteY1548" fmla="*/ 175632 h 840509"/>
                  <a:gd name="connsiteX1549" fmla="*/ 628200 w 939786"/>
                  <a:gd name="connsiteY1549" fmla="*/ 175808 h 840509"/>
                  <a:gd name="connsiteX1550" fmla="*/ 768652 w 939786"/>
                  <a:gd name="connsiteY1550" fmla="*/ 209312 h 840509"/>
                  <a:gd name="connsiteX1551" fmla="*/ 768388 w 939786"/>
                  <a:gd name="connsiteY1551" fmla="*/ 209576 h 840509"/>
                  <a:gd name="connsiteX1552" fmla="*/ 767506 w 939786"/>
                  <a:gd name="connsiteY1552" fmla="*/ 209047 h 840509"/>
                  <a:gd name="connsiteX1553" fmla="*/ 767241 w 939786"/>
                  <a:gd name="connsiteY1553" fmla="*/ 209047 h 840509"/>
                  <a:gd name="connsiteX1554" fmla="*/ 766977 w 939786"/>
                  <a:gd name="connsiteY1554" fmla="*/ 208783 h 840509"/>
                  <a:gd name="connsiteX1555" fmla="*/ 766977 w 939786"/>
                  <a:gd name="connsiteY1555" fmla="*/ 208518 h 840509"/>
                  <a:gd name="connsiteX1556" fmla="*/ 766977 w 939786"/>
                  <a:gd name="connsiteY1556" fmla="*/ 208254 h 840509"/>
                  <a:gd name="connsiteX1557" fmla="*/ 766977 w 939786"/>
                  <a:gd name="connsiteY1557" fmla="*/ 207901 h 840509"/>
                  <a:gd name="connsiteX1558" fmla="*/ 767241 w 939786"/>
                  <a:gd name="connsiteY1558" fmla="*/ 207284 h 840509"/>
                  <a:gd name="connsiteX1559" fmla="*/ 767241 w 939786"/>
                  <a:gd name="connsiteY1559" fmla="*/ 207019 h 840509"/>
                  <a:gd name="connsiteX1560" fmla="*/ 767241 w 939786"/>
                  <a:gd name="connsiteY1560" fmla="*/ 206755 h 840509"/>
                  <a:gd name="connsiteX1561" fmla="*/ 766977 w 939786"/>
                  <a:gd name="connsiteY1561" fmla="*/ 206490 h 840509"/>
                  <a:gd name="connsiteX1562" fmla="*/ 766712 w 939786"/>
                  <a:gd name="connsiteY1562" fmla="*/ 205344 h 840509"/>
                  <a:gd name="connsiteX1563" fmla="*/ 766448 w 939786"/>
                  <a:gd name="connsiteY1563" fmla="*/ 205344 h 840509"/>
                  <a:gd name="connsiteX1564" fmla="*/ 766095 w 939786"/>
                  <a:gd name="connsiteY1564" fmla="*/ 205080 h 840509"/>
                  <a:gd name="connsiteX1565" fmla="*/ 765831 w 939786"/>
                  <a:gd name="connsiteY1565" fmla="*/ 205080 h 840509"/>
                  <a:gd name="connsiteX1566" fmla="*/ 765831 w 939786"/>
                  <a:gd name="connsiteY1566" fmla="*/ 204727 h 840509"/>
                  <a:gd name="connsiteX1567" fmla="*/ 765478 w 939786"/>
                  <a:gd name="connsiteY1567" fmla="*/ 204463 h 840509"/>
                  <a:gd name="connsiteX1568" fmla="*/ 765214 w 939786"/>
                  <a:gd name="connsiteY1568" fmla="*/ 203845 h 840509"/>
                  <a:gd name="connsiteX1569" fmla="*/ 765478 w 939786"/>
                  <a:gd name="connsiteY1569" fmla="*/ 203581 h 840509"/>
                  <a:gd name="connsiteX1570" fmla="*/ 766007 w 939786"/>
                  <a:gd name="connsiteY1570" fmla="*/ 203581 h 840509"/>
                  <a:gd name="connsiteX1571" fmla="*/ 766360 w 939786"/>
                  <a:gd name="connsiteY1571" fmla="*/ 203581 h 840509"/>
                  <a:gd name="connsiteX1572" fmla="*/ 768123 w 939786"/>
                  <a:gd name="connsiteY1572" fmla="*/ 204463 h 840509"/>
                  <a:gd name="connsiteX1573" fmla="*/ 769005 w 939786"/>
                  <a:gd name="connsiteY1573" fmla="*/ 205080 h 840509"/>
                  <a:gd name="connsiteX1574" fmla="*/ 770151 w 939786"/>
                  <a:gd name="connsiteY1574" fmla="*/ 207725 h 840509"/>
                  <a:gd name="connsiteX1575" fmla="*/ 770151 w 939786"/>
                  <a:gd name="connsiteY1575" fmla="*/ 207989 h 840509"/>
                  <a:gd name="connsiteX1576" fmla="*/ 769269 w 939786"/>
                  <a:gd name="connsiteY1576" fmla="*/ 209135 h 840509"/>
                  <a:gd name="connsiteX1577" fmla="*/ 768652 w 939786"/>
                  <a:gd name="connsiteY1577" fmla="*/ 209312 h 840509"/>
                  <a:gd name="connsiteX1578" fmla="*/ 777116 w 939786"/>
                  <a:gd name="connsiteY1578" fmla="*/ 226240 h 840509"/>
                  <a:gd name="connsiteX1579" fmla="*/ 775882 w 939786"/>
                  <a:gd name="connsiteY1579" fmla="*/ 226505 h 840509"/>
                  <a:gd name="connsiteX1580" fmla="*/ 775618 w 939786"/>
                  <a:gd name="connsiteY1580" fmla="*/ 226505 h 840509"/>
                  <a:gd name="connsiteX1581" fmla="*/ 775353 w 939786"/>
                  <a:gd name="connsiteY1581" fmla="*/ 225623 h 840509"/>
                  <a:gd name="connsiteX1582" fmla="*/ 775353 w 939786"/>
                  <a:gd name="connsiteY1582" fmla="*/ 225270 h 840509"/>
                  <a:gd name="connsiteX1583" fmla="*/ 775618 w 939786"/>
                  <a:gd name="connsiteY1583" fmla="*/ 225006 h 840509"/>
                  <a:gd name="connsiteX1584" fmla="*/ 777381 w 939786"/>
                  <a:gd name="connsiteY1584" fmla="*/ 224741 h 840509"/>
                  <a:gd name="connsiteX1585" fmla="*/ 777733 w 939786"/>
                  <a:gd name="connsiteY1585" fmla="*/ 224741 h 840509"/>
                  <a:gd name="connsiteX1586" fmla="*/ 777733 w 939786"/>
                  <a:gd name="connsiteY1586" fmla="*/ 225006 h 840509"/>
                  <a:gd name="connsiteX1587" fmla="*/ 777381 w 939786"/>
                  <a:gd name="connsiteY1587" fmla="*/ 225270 h 840509"/>
                  <a:gd name="connsiteX1588" fmla="*/ 777116 w 939786"/>
                  <a:gd name="connsiteY1588" fmla="*/ 226240 h 840509"/>
                  <a:gd name="connsiteX1589" fmla="*/ 806565 w 939786"/>
                  <a:gd name="connsiteY1589" fmla="*/ 248106 h 840509"/>
                  <a:gd name="connsiteX1590" fmla="*/ 806300 w 939786"/>
                  <a:gd name="connsiteY1590" fmla="*/ 248106 h 840509"/>
                  <a:gd name="connsiteX1591" fmla="*/ 805947 w 939786"/>
                  <a:gd name="connsiteY1591" fmla="*/ 247841 h 840509"/>
                  <a:gd name="connsiteX1592" fmla="*/ 806300 w 939786"/>
                  <a:gd name="connsiteY1592" fmla="*/ 246695 h 840509"/>
                  <a:gd name="connsiteX1593" fmla="*/ 806300 w 939786"/>
                  <a:gd name="connsiteY1593" fmla="*/ 246431 h 840509"/>
                  <a:gd name="connsiteX1594" fmla="*/ 806565 w 939786"/>
                  <a:gd name="connsiteY1594" fmla="*/ 246431 h 840509"/>
                  <a:gd name="connsiteX1595" fmla="*/ 806565 w 939786"/>
                  <a:gd name="connsiteY1595" fmla="*/ 246078 h 840509"/>
                  <a:gd name="connsiteX1596" fmla="*/ 806565 w 939786"/>
                  <a:gd name="connsiteY1596" fmla="*/ 246431 h 840509"/>
                  <a:gd name="connsiteX1597" fmla="*/ 806917 w 939786"/>
                  <a:gd name="connsiteY1597" fmla="*/ 247312 h 840509"/>
                  <a:gd name="connsiteX1598" fmla="*/ 806565 w 939786"/>
                  <a:gd name="connsiteY1598" fmla="*/ 247929 h 840509"/>
                  <a:gd name="connsiteX1599" fmla="*/ 806565 w 939786"/>
                  <a:gd name="connsiteY1599" fmla="*/ 248106 h 840509"/>
                  <a:gd name="connsiteX1600" fmla="*/ 815646 w 939786"/>
                  <a:gd name="connsiteY1600" fmla="*/ 251280 h 840509"/>
                  <a:gd name="connsiteX1601" fmla="*/ 815646 w 939786"/>
                  <a:gd name="connsiteY1601" fmla="*/ 251280 h 840509"/>
                  <a:gd name="connsiteX1602" fmla="*/ 814764 w 939786"/>
                  <a:gd name="connsiteY1602" fmla="*/ 250663 h 840509"/>
                  <a:gd name="connsiteX1603" fmla="*/ 814764 w 939786"/>
                  <a:gd name="connsiteY1603" fmla="*/ 250398 h 840509"/>
                  <a:gd name="connsiteX1604" fmla="*/ 814764 w 939786"/>
                  <a:gd name="connsiteY1604" fmla="*/ 250046 h 840509"/>
                  <a:gd name="connsiteX1605" fmla="*/ 815646 w 939786"/>
                  <a:gd name="connsiteY1605" fmla="*/ 248635 h 840509"/>
                  <a:gd name="connsiteX1606" fmla="*/ 815911 w 939786"/>
                  <a:gd name="connsiteY1606" fmla="*/ 248370 h 840509"/>
                  <a:gd name="connsiteX1607" fmla="*/ 817057 w 939786"/>
                  <a:gd name="connsiteY1607" fmla="*/ 248018 h 840509"/>
                  <a:gd name="connsiteX1608" fmla="*/ 817321 w 939786"/>
                  <a:gd name="connsiteY1608" fmla="*/ 248370 h 840509"/>
                  <a:gd name="connsiteX1609" fmla="*/ 817057 w 939786"/>
                  <a:gd name="connsiteY1609" fmla="*/ 248635 h 840509"/>
                  <a:gd name="connsiteX1610" fmla="*/ 816175 w 939786"/>
                  <a:gd name="connsiteY1610" fmla="*/ 250398 h 840509"/>
                  <a:gd name="connsiteX1611" fmla="*/ 815646 w 939786"/>
                  <a:gd name="connsiteY1611" fmla="*/ 251280 h 840509"/>
                  <a:gd name="connsiteX1612" fmla="*/ 816528 w 939786"/>
                  <a:gd name="connsiteY1612" fmla="*/ 254807 h 840509"/>
                  <a:gd name="connsiteX1613" fmla="*/ 815646 w 939786"/>
                  <a:gd name="connsiteY1613" fmla="*/ 255071 h 840509"/>
                  <a:gd name="connsiteX1614" fmla="*/ 815646 w 939786"/>
                  <a:gd name="connsiteY1614" fmla="*/ 254190 h 840509"/>
                  <a:gd name="connsiteX1615" fmla="*/ 815911 w 939786"/>
                  <a:gd name="connsiteY1615" fmla="*/ 252426 h 840509"/>
                  <a:gd name="connsiteX1616" fmla="*/ 816175 w 939786"/>
                  <a:gd name="connsiteY1616" fmla="*/ 251280 h 840509"/>
                  <a:gd name="connsiteX1617" fmla="*/ 816440 w 939786"/>
                  <a:gd name="connsiteY1617" fmla="*/ 251015 h 840509"/>
                  <a:gd name="connsiteX1618" fmla="*/ 816440 w 939786"/>
                  <a:gd name="connsiteY1618" fmla="*/ 250663 h 840509"/>
                  <a:gd name="connsiteX1619" fmla="*/ 816704 w 939786"/>
                  <a:gd name="connsiteY1619" fmla="*/ 250663 h 840509"/>
                  <a:gd name="connsiteX1620" fmla="*/ 816704 w 939786"/>
                  <a:gd name="connsiteY1620" fmla="*/ 251544 h 840509"/>
                  <a:gd name="connsiteX1621" fmla="*/ 817233 w 939786"/>
                  <a:gd name="connsiteY1621" fmla="*/ 253572 h 840509"/>
                  <a:gd name="connsiteX1622" fmla="*/ 816528 w 939786"/>
                  <a:gd name="connsiteY1622" fmla="*/ 254807 h 840509"/>
                  <a:gd name="connsiteX1623" fmla="*/ 816528 w 939786"/>
                  <a:gd name="connsiteY1623" fmla="*/ 260097 h 840509"/>
                  <a:gd name="connsiteX1624" fmla="*/ 816528 w 939786"/>
                  <a:gd name="connsiteY1624" fmla="*/ 260097 h 840509"/>
                  <a:gd name="connsiteX1625" fmla="*/ 816263 w 939786"/>
                  <a:gd name="connsiteY1625" fmla="*/ 260097 h 840509"/>
                  <a:gd name="connsiteX1626" fmla="*/ 816263 w 939786"/>
                  <a:gd name="connsiteY1626" fmla="*/ 259832 h 840509"/>
                  <a:gd name="connsiteX1627" fmla="*/ 815999 w 939786"/>
                  <a:gd name="connsiteY1627" fmla="*/ 259832 h 840509"/>
                  <a:gd name="connsiteX1628" fmla="*/ 815999 w 939786"/>
                  <a:gd name="connsiteY1628" fmla="*/ 259479 h 840509"/>
                  <a:gd name="connsiteX1629" fmla="*/ 816263 w 939786"/>
                  <a:gd name="connsiteY1629" fmla="*/ 259215 h 840509"/>
                  <a:gd name="connsiteX1630" fmla="*/ 817144 w 939786"/>
                  <a:gd name="connsiteY1630" fmla="*/ 258950 h 840509"/>
                  <a:gd name="connsiteX1631" fmla="*/ 817144 w 939786"/>
                  <a:gd name="connsiteY1631" fmla="*/ 259215 h 840509"/>
                  <a:gd name="connsiteX1632" fmla="*/ 816880 w 939786"/>
                  <a:gd name="connsiteY1632" fmla="*/ 259832 h 840509"/>
                  <a:gd name="connsiteX1633" fmla="*/ 816880 w 939786"/>
                  <a:gd name="connsiteY1633" fmla="*/ 260097 h 840509"/>
                  <a:gd name="connsiteX1634" fmla="*/ 816528 w 939786"/>
                  <a:gd name="connsiteY1634" fmla="*/ 260097 h 840509"/>
                  <a:gd name="connsiteX1635" fmla="*/ 93723 w 939786"/>
                  <a:gd name="connsiteY1635" fmla="*/ 274644 h 840509"/>
                  <a:gd name="connsiteX1636" fmla="*/ 93371 w 939786"/>
                  <a:gd name="connsiteY1636" fmla="*/ 274909 h 840509"/>
                  <a:gd name="connsiteX1637" fmla="*/ 93371 w 939786"/>
                  <a:gd name="connsiteY1637" fmla="*/ 274292 h 840509"/>
                  <a:gd name="connsiteX1638" fmla="*/ 93106 w 939786"/>
                  <a:gd name="connsiteY1638" fmla="*/ 274027 h 840509"/>
                  <a:gd name="connsiteX1639" fmla="*/ 92842 w 939786"/>
                  <a:gd name="connsiteY1639" fmla="*/ 274027 h 840509"/>
                  <a:gd name="connsiteX1640" fmla="*/ 92842 w 939786"/>
                  <a:gd name="connsiteY1640" fmla="*/ 274292 h 840509"/>
                  <a:gd name="connsiteX1641" fmla="*/ 92489 w 939786"/>
                  <a:gd name="connsiteY1641" fmla="*/ 274644 h 840509"/>
                  <a:gd name="connsiteX1642" fmla="*/ 92224 w 939786"/>
                  <a:gd name="connsiteY1642" fmla="*/ 274909 h 840509"/>
                  <a:gd name="connsiteX1643" fmla="*/ 92224 w 939786"/>
                  <a:gd name="connsiteY1643" fmla="*/ 274644 h 840509"/>
                  <a:gd name="connsiteX1644" fmla="*/ 91960 w 939786"/>
                  <a:gd name="connsiteY1644" fmla="*/ 274292 h 840509"/>
                  <a:gd name="connsiteX1645" fmla="*/ 92224 w 939786"/>
                  <a:gd name="connsiteY1645" fmla="*/ 273675 h 840509"/>
                  <a:gd name="connsiteX1646" fmla="*/ 92224 w 939786"/>
                  <a:gd name="connsiteY1646" fmla="*/ 273410 h 840509"/>
                  <a:gd name="connsiteX1647" fmla="*/ 92489 w 939786"/>
                  <a:gd name="connsiteY1647" fmla="*/ 273146 h 840509"/>
                  <a:gd name="connsiteX1648" fmla="*/ 92489 w 939786"/>
                  <a:gd name="connsiteY1648" fmla="*/ 272881 h 840509"/>
                  <a:gd name="connsiteX1649" fmla="*/ 93371 w 939786"/>
                  <a:gd name="connsiteY1649" fmla="*/ 272000 h 840509"/>
                  <a:gd name="connsiteX1650" fmla="*/ 95134 w 939786"/>
                  <a:gd name="connsiteY1650" fmla="*/ 270236 h 840509"/>
                  <a:gd name="connsiteX1651" fmla="*/ 95134 w 939786"/>
                  <a:gd name="connsiteY1651" fmla="*/ 269972 h 840509"/>
                  <a:gd name="connsiteX1652" fmla="*/ 95751 w 939786"/>
                  <a:gd name="connsiteY1652" fmla="*/ 269707 h 840509"/>
                  <a:gd name="connsiteX1653" fmla="*/ 96015 w 939786"/>
                  <a:gd name="connsiteY1653" fmla="*/ 269707 h 840509"/>
                  <a:gd name="connsiteX1654" fmla="*/ 96015 w 939786"/>
                  <a:gd name="connsiteY1654" fmla="*/ 269972 h 840509"/>
                  <a:gd name="connsiteX1655" fmla="*/ 96015 w 939786"/>
                  <a:gd name="connsiteY1655" fmla="*/ 271471 h 840509"/>
                  <a:gd name="connsiteX1656" fmla="*/ 96015 w 939786"/>
                  <a:gd name="connsiteY1656" fmla="*/ 272088 h 840509"/>
                  <a:gd name="connsiteX1657" fmla="*/ 96015 w 939786"/>
                  <a:gd name="connsiteY1657" fmla="*/ 272352 h 840509"/>
                  <a:gd name="connsiteX1658" fmla="*/ 95751 w 939786"/>
                  <a:gd name="connsiteY1658" fmla="*/ 272705 h 840509"/>
                  <a:gd name="connsiteX1659" fmla="*/ 94252 w 939786"/>
                  <a:gd name="connsiteY1659" fmla="*/ 274468 h 840509"/>
                  <a:gd name="connsiteX1660" fmla="*/ 93723 w 939786"/>
                  <a:gd name="connsiteY1660" fmla="*/ 274644 h 840509"/>
                  <a:gd name="connsiteX1661" fmla="*/ 836013 w 939786"/>
                  <a:gd name="connsiteY1661" fmla="*/ 288928 h 840509"/>
                  <a:gd name="connsiteX1662" fmla="*/ 835748 w 939786"/>
                  <a:gd name="connsiteY1662" fmla="*/ 288928 h 840509"/>
                  <a:gd name="connsiteX1663" fmla="*/ 835131 w 939786"/>
                  <a:gd name="connsiteY1663" fmla="*/ 288399 h 840509"/>
                  <a:gd name="connsiteX1664" fmla="*/ 835131 w 939786"/>
                  <a:gd name="connsiteY1664" fmla="*/ 287782 h 840509"/>
                  <a:gd name="connsiteX1665" fmla="*/ 835395 w 939786"/>
                  <a:gd name="connsiteY1665" fmla="*/ 287517 h 840509"/>
                  <a:gd name="connsiteX1666" fmla="*/ 836277 w 939786"/>
                  <a:gd name="connsiteY1666" fmla="*/ 288046 h 840509"/>
                  <a:gd name="connsiteX1667" fmla="*/ 836277 w 939786"/>
                  <a:gd name="connsiteY1667" fmla="*/ 288399 h 840509"/>
                  <a:gd name="connsiteX1668" fmla="*/ 836277 w 939786"/>
                  <a:gd name="connsiteY1668" fmla="*/ 288663 h 840509"/>
                  <a:gd name="connsiteX1669" fmla="*/ 836013 w 939786"/>
                  <a:gd name="connsiteY1669" fmla="*/ 288928 h 840509"/>
                  <a:gd name="connsiteX1670" fmla="*/ 836366 w 939786"/>
                  <a:gd name="connsiteY1670" fmla="*/ 290956 h 840509"/>
                  <a:gd name="connsiteX1671" fmla="*/ 836366 w 939786"/>
                  <a:gd name="connsiteY1671" fmla="*/ 290956 h 840509"/>
                  <a:gd name="connsiteX1672" fmla="*/ 835748 w 939786"/>
                  <a:gd name="connsiteY1672" fmla="*/ 290338 h 840509"/>
                  <a:gd name="connsiteX1673" fmla="*/ 835748 w 939786"/>
                  <a:gd name="connsiteY1673" fmla="*/ 290074 h 840509"/>
                  <a:gd name="connsiteX1674" fmla="*/ 836013 w 939786"/>
                  <a:gd name="connsiteY1674" fmla="*/ 290074 h 840509"/>
                  <a:gd name="connsiteX1675" fmla="*/ 837159 w 939786"/>
                  <a:gd name="connsiteY1675" fmla="*/ 289809 h 840509"/>
                  <a:gd name="connsiteX1676" fmla="*/ 837159 w 939786"/>
                  <a:gd name="connsiteY1676" fmla="*/ 290074 h 840509"/>
                  <a:gd name="connsiteX1677" fmla="*/ 836895 w 939786"/>
                  <a:gd name="connsiteY1677" fmla="*/ 290338 h 840509"/>
                  <a:gd name="connsiteX1678" fmla="*/ 836630 w 939786"/>
                  <a:gd name="connsiteY1678" fmla="*/ 290603 h 840509"/>
                  <a:gd name="connsiteX1679" fmla="*/ 836630 w 939786"/>
                  <a:gd name="connsiteY1679" fmla="*/ 290956 h 840509"/>
                  <a:gd name="connsiteX1680" fmla="*/ 836366 w 939786"/>
                  <a:gd name="connsiteY1680" fmla="*/ 290956 h 840509"/>
                  <a:gd name="connsiteX1681" fmla="*/ 824374 w 939786"/>
                  <a:gd name="connsiteY1681" fmla="*/ 302329 h 840509"/>
                  <a:gd name="connsiteX1682" fmla="*/ 824374 w 939786"/>
                  <a:gd name="connsiteY1682" fmla="*/ 302329 h 840509"/>
                  <a:gd name="connsiteX1683" fmla="*/ 824110 w 939786"/>
                  <a:gd name="connsiteY1683" fmla="*/ 302329 h 840509"/>
                  <a:gd name="connsiteX1684" fmla="*/ 824110 w 939786"/>
                  <a:gd name="connsiteY1684" fmla="*/ 302065 h 840509"/>
                  <a:gd name="connsiteX1685" fmla="*/ 823757 w 939786"/>
                  <a:gd name="connsiteY1685" fmla="*/ 302065 h 840509"/>
                  <a:gd name="connsiteX1686" fmla="*/ 824110 w 939786"/>
                  <a:gd name="connsiteY1686" fmla="*/ 301183 h 840509"/>
                  <a:gd name="connsiteX1687" fmla="*/ 824110 w 939786"/>
                  <a:gd name="connsiteY1687" fmla="*/ 300919 h 840509"/>
                  <a:gd name="connsiteX1688" fmla="*/ 824727 w 939786"/>
                  <a:gd name="connsiteY1688" fmla="*/ 299155 h 840509"/>
                  <a:gd name="connsiteX1689" fmla="*/ 824992 w 939786"/>
                  <a:gd name="connsiteY1689" fmla="*/ 298274 h 840509"/>
                  <a:gd name="connsiteX1690" fmla="*/ 825256 w 939786"/>
                  <a:gd name="connsiteY1690" fmla="*/ 298274 h 840509"/>
                  <a:gd name="connsiteX1691" fmla="*/ 825256 w 939786"/>
                  <a:gd name="connsiteY1691" fmla="*/ 298009 h 840509"/>
                  <a:gd name="connsiteX1692" fmla="*/ 825521 w 939786"/>
                  <a:gd name="connsiteY1692" fmla="*/ 298009 h 840509"/>
                  <a:gd name="connsiteX1693" fmla="*/ 825521 w 939786"/>
                  <a:gd name="connsiteY1693" fmla="*/ 297745 h 840509"/>
                  <a:gd name="connsiteX1694" fmla="*/ 825785 w 939786"/>
                  <a:gd name="connsiteY1694" fmla="*/ 297745 h 840509"/>
                  <a:gd name="connsiteX1695" fmla="*/ 825785 w 939786"/>
                  <a:gd name="connsiteY1695" fmla="*/ 299773 h 840509"/>
                  <a:gd name="connsiteX1696" fmla="*/ 825785 w 939786"/>
                  <a:gd name="connsiteY1696" fmla="*/ 300125 h 840509"/>
                  <a:gd name="connsiteX1697" fmla="*/ 825256 w 939786"/>
                  <a:gd name="connsiteY1697" fmla="*/ 301271 h 840509"/>
                  <a:gd name="connsiteX1698" fmla="*/ 824992 w 939786"/>
                  <a:gd name="connsiteY1698" fmla="*/ 301536 h 840509"/>
                  <a:gd name="connsiteX1699" fmla="*/ 824727 w 939786"/>
                  <a:gd name="connsiteY1699" fmla="*/ 302153 h 840509"/>
                  <a:gd name="connsiteX1700" fmla="*/ 824374 w 939786"/>
                  <a:gd name="connsiteY1700" fmla="*/ 302329 h 840509"/>
                  <a:gd name="connsiteX1701" fmla="*/ 836366 w 939786"/>
                  <a:gd name="connsiteY1701" fmla="*/ 305239 h 840509"/>
                  <a:gd name="connsiteX1702" fmla="*/ 836101 w 939786"/>
                  <a:gd name="connsiteY1702" fmla="*/ 305239 h 840509"/>
                  <a:gd name="connsiteX1703" fmla="*/ 835837 w 939786"/>
                  <a:gd name="connsiteY1703" fmla="*/ 304357 h 840509"/>
                  <a:gd name="connsiteX1704" fmla="*/ 836101 w 939786"/>
                  <a:gd name="connsiteY1704" fmla="*/ 304093 h 840509"/>
                  <a:gd name="connsiteX1705" fmla="*/ 836718 w 939786"/>
                  <a:gd name="connsiteY1705" fmla="*/ 302329 h 840509"/>
                  <a:gd name="connsiteX1706" fmla="*/ 836982 w 939786"/>
                  <a:gd name="connsiteY1706" fmla="*/ 302065 h 840509"/>
                  <a:gd name="connsiteX1707" fmla="*/ 836982 w 939786"/>
                  <a:gd name="connsiteY1707" fmla="*/ 301800 h 840509"/>
                  <a:gd name="connsiteX1708" fmla="*/ 837247 w 939786"/>
                  <a:gd name="connsiteY1708" fmla="*/ 301800 h 840509"/>
                  <a:gd name="connsiteX1709" fmla="*/ 837511 w 939786"/>
                  <a:gd name="connsiteY1709" fmla="*/ 302065 h 840509"/>
                  <a:gd name="connsiteX1710" fmla="*/ 838129 w 939786"/>
                  <a:gd name="connsiteY1710" fmla="*/ 303828 h 840509"/>
                  <a:gd name="connsiteX1711" fmla="*/ 838129 w 939786"/>
                  <a:gd name="connsiteY1711" fmla="*/ 304093 h 840509"/>
                  <a:gd name="connsiteX1712" fmla="*/ 837864 w 939786"/>
                  <a:gd name="connsiteY1712" fmla="*/ 304357 h 840509"/>
                  <a:gd name="connsiteX1713" fmla="*/ 836982 w 939786"/>
                  <a:gd name="connsiteY1713" fmla="*/ 304974 h 840509"/>
                  <a:gd name="connsiteX1714" fmla="*/ 836718 w 939786"/>
                  <a:gd name="connsiteY1714" fmla="*/ 305327 h 840509"/>
                  <a:gd name="connsiteX1715" fmla="*/ 836366 w 939786"/>
                  <a:gd name="connsiteY1715" fmla="*/ 305327 h 840509"/>
                  <a:gd name="connsiteX1716" fmla="*/ 819702 w 939786"/>
                  <a:gd name="connsiteY1716" fmla="*/ 307002 h 840509"/>
                  <a:gd name="connsiteX1717" fmla="*/ 819437 w 939786"/>
                  <a:gd name="connsiteY1717" fmla="*/ 307620 h 840509"/>
                  <a:gd name="connsiteX1718" fmla="*/ 819437 w 939786"/>
                  <a:gd name="connsiteY1718" fmla="*/ 307355 h 840509"/>
                  <a:gd name="connsiteX1719" fmla="*/ 819173 w 939786"/>
                  <a:gd name="connsiteY1719" fmla="*/ 307355 h 840509"/>
                  <a:gd name="connsiteX1720" fmla="*/ 819437 w 939786"/>
                  <a:gd name="connsiteY1720" fmla="*/ 307091 h 840509"/>
                  <a:gd name="connsiteX1721" fmla="*/ 819437 w 939786"/>
                  <a:gd name="connsiteY1721" fmla="*/ 306209 h 840509"/>
                  <a:gd name="connsiteX1722" fmla="*/ 819702 w 939786"/>
                  <a:gd name="connsiteY1722" fmla="*/ 305327 h 840509"/>
                  <a:gd name="connsiteX1723" fmla="*/ 819966 w 939786"/>
                  <a:gd name="connsiteY1723" fmla="*/ 305327 h 840509"/>
                  <a:gd name="connsiteX1724" fmla="*/ 819966 w 939786"/>
                  <a:gd name="connsiteY1724" fmla="*/ 304974 h 840509"/>
                  <a:gd name="connsiteX1725" fmla="*/ 820583 w 939786"/>
                  <a:gd name="connsiteY1725" fmla="*/ 303564 h 840509"/>
                  <a:gd name="connsiteX1726" fmla="*/ 821465 w 939786"/>
                  <a:gd name="connsiteY1726" fmla="*/ 303299 h 840509"/>
                  <a:gd name="connsiteX1727" fmla="*/ 820319 w 939786"/>
                  <a:gd name="connsiteY1727" fmla="*/ 305063 h 840509"/>
                  <a:gd name="connsiteX1728" fmla="*/ 820671 w 939786"/>
                  <a:gd name="connsiteY1728" fmla="*/ 305680 h 840509"/>
                  <a:gd name="connsiteX1729" fmla="*/ 820319 w 939786"/>
                  <a:gd name="connsiteY1729" fmla="*/ 306826 h 840509"/>
                  <a:gd name="connsiteX1730" fmla="*/ 819702 w 939786"/>
                  <a:gd name="connsiteY1730" fmla="*/ 307002 h 840509"/>
                  <a:gd name="connsiteX1731" fmla="*/ 841567 w 939786"/>
                  <a:gd name="connsiteY1731" fmla="*/ 326223 h 840509"/>
                  <a:gd name="connsiteX1732" fmla="*/ 840950 w 939786"/>
                  <a:gd name="connsiteY1732" fmla="*/ 326223 h 840509"/>
                  <a:gd name="connsiteX1733" fmla="*/ 840950 w 939786"/>
                  <a:gd name="connsiteY1733" fmla="*/ 325959 h 840509"/>
                  <a:gd name="connsiteX1734" fmla="*/ 840950 w 939786"/>
                  <a:gd name="connsiteY1734" fmla="*/ 325694 h 840509"/>
                  <a:gd name="connsiteX1735" fmla="*/ 841567 w 939786"/>
                  <a:gd name="connsiteY1735" fmla="*/ 325077 h 840509"/>
                  <a:gd name="connsiteX1736" fmla="*/ 841832 w 939786"/>
                  <a:gd name="connsiteY1736" fmla="*/ 325077 h 840509"/>
                  <a:gd name="connsiteX1737" fmla="*/ 841832 w 939786"/>
                  <a:gd name="connsiteY1737" fmla="*/ 325341 h 840509"/>
                  <a:gd name="connsiteX1738" fmla="*/ 841832 w 939786"/>
                  <a:gd name="connsiteY1738" fmla="*/ 325959 h 840509"/>
                  <a:gd name="connsiteX1739" fmla="*/ 841832 w 939786"/>
                  <a:gd name="connsiteY1739" fmla="*/ 326223 h 840509"/>
                  <a:gd name="connsiteX1740" fmla="*/ 841567 w 939786"/>
                  <a:gd name="connsiteY1740" fmla="*/ 326223 h 840509"/>
                  <a:gd name="connsiteX1741" fmla="*/ 844212 w 939786"/>
                  <a:gd name="connsiteY1741" fmla="*/ 340859 h 840509"/>
                  <a:gd name="connsiteX1742" fmla="*/ 843066 w 939786"/>
                  <a:gd name="connsiteY1742" fmla="*/ 340859 h 840509"/>
                  <a:gd name="connsiteX1743" fmla="*/ 842802 w 939786"/>
                  <a:gd name="connsiteY1743" fmla="*/ 340859 h 840509"/>
                  <a:gd name="connsiteX1744" fmla="*/ 842537 w 939786"/>
                  <a:gd name="connsiteY1744" fmla="*/ 339977 h 840509"/>
                  <a:gd name="connsiteX1745" fmla="*/ 842273 w 939786"/>
                  <a:gd name="connsiteY1745" fmla="*/ 339713 h 840509"/>
                  <a:gd name="connsiteX1746" fmla="*/ 842273 w 939786"/>
                  <a:gd name="connsiteY1746" fmla="*/ 339096 h 840509"/>
                  <a:gd name="connsiteX1747" fmla="*/ 842008 w 939786"/>
                  <a:gd name="connsiteY1747" fmla="*/ 337950 h 840509"/>
                  <a:gd name="connsiteX1748" fmla="*/ 840862 w 939786"/>
                  <a:gd name="connsiteY1748" fmla="*/ 336539 h 840509"/>
                  <a:gd name="connsiteX1749" fmla="*/ 840862 w 939786"/>
                  <a:gd name="connsiteY1749" fmla="*/ 335657 h 840509"/>
                  <a:gd name="connsiteX1750" fmla="*/ 840862 w 939786"/>
                  <a:gd name="connsiteY1750" fmla="*/ 335393 h 840509"/>
                  <a:gd name="connsiteX1751" fmla="*/ 840598 w 939786"/>
                  <a:gd name="connsiteY1751" fmla="*/ 334511 h 840509"/>
                  <a:gd name="connsiteX1752" fmla="*/ 840862 w 939786"/>
                  <a:gd name="connsiteY1752" fmla="*/ 332747 h 840509"/>
                  <a:gd name="connsiteX1753" fmla="*/ 841744 w 939786"/>
                  <a:gd name="connsiteY1753" fmla="*/ 332483 h 840509"/>
                  <a:gd name="connsiteX1754" fmla="*/ 842008 w 939786"/>
                  <a:gd name="connsiteY1754" fmla="*/ 332483 h 840509"/>
                  <a:gd name="connsiteX1755" fmla="*/ 843154 w 939786"/>
                  <a:gd name="connsiteY1755" fmla="*/ 333629 h 840509"/>
                  <a:gd name="connsiteX1756" fmla="*/ 844300 w 939786"/>
                  <a:gd name="connsiteY1756" fmla="*/ 334511 h 840509"/>
                  <a:gd name="connsiteX1757" fmla="*/ 844565 w 939786"/>
                  <a:gd name="connsiteY1757" fmla="*/ 335393 h 840509"/>
                  <a:gd name="connsiteX1758" fmla="*/ 845183 w 939786"/>
                  <a:gd name="connsiteY1758" fmla="*/ 338038 h 840509"/>
                  <a:gd name="connsiteX1759" fmla="*/ 845183 w 939786"/>
                  <a:gd name="connsiteY1759" fmla="*/ 338390 h 840509"/>
                  <a:gd name="connsiteX1760" fmla="*/ 845183 w 939786"/>
                  <a:gd name="connsiteY1760" fmla="*/ 340154 h 840509"/>
                  <a:gd name="connsiteX1761" fmla="*/ 844918 w 939786"/>
                  <a:gd name="connsiteY1761" fmla="*/ 340154 h 840509"/>
                  <a:gd name="connsiteX1762" fmla="*/ 844212 w 939786"/>
                  <a:gd name="connsiteY1762" fmla="*/ 340859 h 840509"/>
                  <a:gd name="connsiteX1763" fmla="*/ 845976 w 939786"/>
                  <a:gd name="connsiteY1763" fmla="*/ 343151 h 840509"/>
                  <a:gd name="connsiteX1764" fmla="*/ 845711 w 939786"/>
                  <a:gd name="connsiteY1764" fmla="*/ 343416 h 840509"/>
                  <a:gd name="connsiteX1765" fmla="*/ 845711 w 939786"/>
                  <a:gd name="connsiteY1765" fmla="*/ 343151 h 840509"/>
                  <a:gd name="connsiteX1766" fmla="*/ 845447 w 939786"/>
                  <a:gd name="connsiteY1766" fmla="*/ 343151 h 840509"/>
                  <a:gd name="connsiteX1767" fmla="*/ 845183 w 939786"/>
                  <a:gd name="connsiteY1767" fmla="*/ 341388 h 840509"/>
                  <a:gd name="connsiteX1768" fmla="*/ 845183 w 939786"/>
                  <a:gd name="connsiteY1768" fmla="*/ 340506 h 840509"/>
                  <a:gd name="connsiteX1769" fmla="*/ 845183 w 939786"/>
                  <a:gd name="connsiteY1769" fmla="*/ 340242 h 840509"/>
                  <a:gd name="connsiteX1770" fmla="*/ 845447 w 939786"/>
                  <a:gd name="connsiteY1770" fmla="*/ 340242 h 840509"/>
                  <a:gd name="connsiteX1771" fmla="*/ 845447 w 939786"/>
                  <a:gd name="connsiteY1771" fmla="*/ 339977 h 840509"/>
                  <a:gd name="connsiteX1772" fmla="*/ 845711 w 939786"/>
                  <a:gd name="connsiteY1772" fmla="*/ 339977 h 840509"/>
                  <a:gd name="connsiteX1773" fmla="*/ 845976 w 939786"/>
                  <a:gd name="connsiteY1773" fmla="*/ 342005 h 840509"/>
                  <a:gd name="connsiteX1774" fmla="*/ 846240 w 939786"/>
                  <a:gd name="connsiteY1774" fmla="*/ 342270 h 840509"/>
                  <a:gd name="connsiteX1775" fmla="*/ 846240 w 939786"/>
                  <a:gd name="connsiteY1775" fmla="*/ 342799 h 840509"/>
                  <a:gd name="connsiteX1776" fmla="*/ 845976 w 939786"/>
                  <a:gd name="connsiteY1776" fmla="*/ 342799 h 840509"/>
                  <a:gd name="connsiteX1777" fmla="*/ 845976 w 939786"/>
                  <a:gd name="connsiteY1777" fmla="*/ 343151 h 840509"/>
                  <a:gd name="connsiteX1778" fmla="*/ 867577 w 939786"/>
                  <a:gd name="connsiteY1778" fmla="*/ 388382 h 840509"/>
                  <a:gd name="connsiteX1779" fmla="*/ 866696 w 939786"/>
                  <a:gd name="connsiteY1779" fmla="*/ 389528 h 840509"/>
                  <a:gd name="connsiteX1780" fmla="*/ 866431 w 939786"/>
                  <a:gd name="connsiteY1780" fmla="*/ 390145 h 840509"/>
                  <a:gd name="connsiteX1781" fmla="*/ 865285 w 939786"/>
                  <a:gd name="connsiteY1781" fmla="*/ 390674 h 840509"/>
                  <a:gd name="connsiteX1782" fmla="*/ 863786 w 939786"/>
                  <a:gd name="connsiteY1782" fmla="*/ 389528 h 840509"/>
                  <a:gd name="connsiteX1783" fmla="*/ 863257 w 939786"/>
                  <a:gd name="connsiteY1783" fmla="*/ 388382 h 840509"/>
                  <a:gd name="connsiteX1784" fmla="*/ 863257 w 939786"/>
                  <a:gd name="connsiteY1784" fmla="*/ 387236 h 840509"/>
                  <a:gd name="connsiteX1785" fmla="*/ 863521 w 939786"/>
                  <a:gd name="connsiteY1785" fmla="*/ 385472 h 840509"/>
                  <a:gd name="connsiteX1786" fmla="*/ 863786 w 939786"/>
                  <a:gd name="connsiteY1786" fmla="*/ 384238 h 840509"/>
                  <a:gd name="connsiteX1787" fmla="*/ 864050 w 939786"/>
                  <a:gd name="connsiteY1787" fmla="*/ 383356 h 840509"/>
                  <a:gd name="connsiteX1788" fmla="*/ 865196 w 939786"/>
                  <a:gd name="connsiteY1788" fmla="*/ 382827 h 840509"/>
                  <a:gd name="connsiteX1789" fmla="*/ 866078 w 939786"/>
                  <a:gd name="connsiteY1789" fmla="*/ 382210 h 840509"/>
                  <a:gd name="connsiteX1790" fmla="*/ 866607 w 939786"/>
                  <a:gd name="connsiteY1790" fmla="*/ 380711 h 840509"/>
                  <a:gd name="connsiteX1791" fmla="*/ 866343 w 939786"/>
                  <a:gd name="connsiteY1791" fmla="*/ 380094 h 840509"/>
                  <a:gd name="connsiteX1792" fmla="*/ 867489 w 939786"/>
                  <a:gd name="connsiteY1792" fmla="*/ 378948 h 840509"/>
                  <a:gd name="connsiteX1793" fmla="*/ 868370 w 939786"/>
                  <a:gd name="connsiteY1793" fmla="*/ 378683 h 840509"/>
                  <a:gd name="connsiteX1794" fmla="*/ 868900 w 939786"/>
                  <a:gd name="connsiteY1794" fmla="*/ 379300 h 840509"/>
                  <a:gd name="connsiteX1795" fmla="*/ 869164 w 939786"/>
                  <a:gd name="connsiteY1795" fmla="*/ 380447 h 840509"/>
                  <a:gd name="connsiteX1796" fmla="*/ 870046 w 939786"/>
                  <a:gd name="connsiteY1796" fmla="*/ 381593 h 840509"/>
                  <a:gd name="connsiteX1797" fmla="*/ 870928 w 939786"/>
                  <a:gd name="connsiteY1797" fmla="*/ 381328 h 840509"/>
                  <a:gd name="connsiteX1798" fmla="*/ 870928 w 939786"/>
                  <a:gd name="connsiteY1798" fmla="*/ 382474 h 840509"/>
                  <a:gd name="connsiteX1799" fmla="*/ 870575 w 939786"/>
                  <a:gd name="connsiteY1799" fmla="*/ 383092 h 840509"/>
                  <a:gd name="connsiteX1800" fmla="*/ 870046 w 939786"/>
                  <a:gd name="connsiteY1800" fmla="*/ 383973 h 840509"/>
                  <a:gd name="connsiteX1801" fmla="*/ 868900 w 939786"/>
                  <a:gd name="connsiteY1801" fmla="*/ 384590 h 840509"/>
                  <a:gd name="connsiteX1802" fmla="*/ 868370 w 939786"/>
                  <a:gd name="connsiteY1802" fmla="*/ 385737 h 840509"/>
                  <a:gd name="connsiteX1803" fmla="*/ 867754 w 939786"/>
                  <a:gd name="connsiteY1803" fmla="*/ 387236 h 840509"/>
                  <a:gd name="connsiteX1804" fmla="*/ 867577 w 939786"/>
                  <a:gd name="connsiteY1804" fmla="*/ 388382 h 840509"/>
                  <a:gd name="connsiteX1805" fmla="*/ 29801 w 939786"/>
                  <a:gd name="connsiteY1805" fmla="*/ 369161 h 840509"/>
                  <a:gd name="connsiteX1806" fmla="*/ 28919 w 939786"/>
                  <a:gd name="connsiteY1806" fmla="*/ 370924 h 840509"/>
                  <a:gd name="connsiteX1807" fmla="*/ 28919 w 939786"/>
                  <a:gd name="connsiteY1807" fmla="*/ 370043 h 840509"/>
                  <a:gd name="connsiteX1808" fmla="*/ 29537 w 939786"/>
                  <a:gd name="connsiteY1808" fmla="*/ 367750 h 840509"/>
                  <a:gd name="connsiteX1809" fmla="*/ 29537 w 939786"/>
                  <a:gd name="connsiteY1809" fmla="*/ 367486 h 840509"/>
                  <a:gd name="connsiteX1810" fmla="*/ 30683 w 939786"/>
                  <a:gd name="connsiteY1810" fmla="*/ 365194 h 840509"/>
                  <a:gd name="connsiteX1811" fmla="*/ 30683 w 939786"/>
                  <a:gd name="connsiteY1811" fmla="*/ 365458 h 840509"/>
                  <a:gd name="connsiteX1812" fmla="*/ 30683 w 939786"/>
                  <a:gd name="connsiteY1812" fmla="*/ 365723 h 840509"/>
                  <a:gd name="connsiteX1813" fmla="*/ 30683 w 939786"/>
                  <a:gd name="connsiteY1813" fmla="*/ 365987 h 840509"/>
                  <a:gd name="connsiteX1814" fmla="*/ 29801 w 939786"/>
                  <a:gd name="connsiteY1814" fmla="*/ 369161 h 840509"/>
                  <a:gd name="connsiteX1815" fmla="*/ 26627 w 939786"/>
                  <a:gd name="connsiteY1815" fmla="*/ 376744 h 840509"/>
                  <a:gd name="connsiteX1816" fmla="*/ 26010 w 939786"/>
                  <a:gd name="connsiteY1816" fmla="*/ 377890 h 840509"/>
                  <a:gd name="connsiteX1817" fmla="*/ 26010 w 939786"/>
                  <a:gd name="connsiteY1817" fmla="*/ 377625 h 840509"/>
                  <a:gd name="connsiteX1818" fmla="*/ 26010 w 939786"/>
                  <a:gd name="connsiteY1818" fmla="*/ 377361 h 840509"/>
                  <a:gd name="connsiteX1819" fmla="*/ 26010 w 939786"/>
                  <a:gd name="connsiteY1819" fmla="*/ 377096 h 840509"/>
                  <a:gd name="connsiteX1820" fmla="*/ 27421 w 939786"/>
                  <a:gd name="connsiteY1820" fmla="*/ 374187 h 840509"/>
                  <a:gd name="connsiteX1821" fmla="*/ 28037 w 939786"/>
                  <a:gd name="connsiteY1821" fmla="*/ 373658 h 840509"/>
                  <a:gd name="connsiteX1822" fmla="*/ 26627 w 939786"/>
                  <a:gd name="connsiteY1822" fmla="*/ 376744 h 840509"/>
                  <a:gd name="connsiteX1823" fmla="*/ 871368 w 939786"/>
                  <a:gd name="connsiteY1823" fmla="*/ 380535 h 840509"/>
                  <a:gd name="connsiteX1824" fmla="*/ 870222 w 939786"/>
                  <a:gd name="connsiteY1824" fmla="*/ 380270 h 840509"/>
                  <a:gd name="connsiteX1825" fmla="*/ 870222 w 939786"/>
                  <a:gd name="connsiteY1825" fmla="*/ 379389 h 840509"/>
                  <a:gd name="connsiteX1826" fmla="*/ 869870 w 939786"/>
                  <a:gd name="connsiteY1826" fmla="*/ 378507 h 840509"/>
                  <a:gd name="connsiteX1827" fmla="*/ 869605 w 939786"/>
                  <a:gd name="connsiteY1827" fmla="*/ 378242 h 840509"/>
                  <a:gd name="connsiteX1828" fmla="*/ 869605 w 939786"/>
                  <a:gd name="connsiteY1828" fmla="*/ 377978 h 840509"/>
                  <a:gd name="connsiteX1829" fmla="*/ 869870 w 939786"/>
                  <a:gd name="connsiteY1829" fmla="*/ 377978 h 840509"/>
                  <a:gd name="connsiteX1830" fmla="*/ 869252 w 939786"/>
                  <a:gd name="connsiteY1830" fmla="*/ 377978 h 840509"/>
                  <a:gd name="connsiteX1831" fmla="*/ 868988 w 939786"/>
                  <a:gd name="connsiteY1831" fmla="*/ 377361 h 840509"/>
                  <a:gd name="connsiteX1832" fmla="*/ 868723 w 939786"/>
                  <a:gd name="connsiteY1832" fmla="*/ 376479 h 840509"/>
                  <a:gd name="connsiteX1833" fmla="*/ 868723 w 939786"/>
                  <a:gd name="connsiteY1833" fmla="*/ 375333 h 840509"/>
                  <a:gd name="connsiteX1834" fmla="*/ 868988 w 939786"/>
                  <a:gd name="connsiteY1834" fmla="*/ 373922 h 840509"/>
                  <a:gd name="connsiteX1835" fmla="*/ 869870 w 939786"/>
                  <a:gd name="connsiteY1835" fmla="*/ 373040 h 840509"/>
                  <a:gd name="connsiteX1836" fmla="*/ 870751 w 939786"/>
                  <a:gd name="connsiteY1836" fmla="*/ 372688 h 840509"/>
                  <a:gd name="connsiteX1837" fmla="*/ 871368 w 939786"/>
                  <a:gd name="connsiteY1837" fmla="*/ 373305 h 840509"/>
                  <a:gd name="connsiteX1838" fmla="*/ 871633 w 939786"/>
                  <a:gd name="connsiteY1838" fmla="*/ 374451 h 840509"/>
                  <a:gd name="connsiteX1839" fmla="*/ 871985 w 939786"/>
                  <a:gd name="connsiteY1839" fmla="*/ 375597 h 840509"/>
                  <a:gd name="connsiteX1840" fmla="*/ 872250 w 939786"/>
                  <a:gd name="connsiteY1840" fmla="*/ 376479 h 840509"/>
                  <a:gd name="connsiteX1841" fmla="*/ 872779 w 939786"/>
                  <a:gd name="connsiteY1841" fmla="*/ 376479 h 840509"/>
                  <a:gd name="connsiteX1842" fmla="*/ 873396 w 939786"/>
                  <a:gd name="connsiteY1842" fmla="*/ 377361 h 840509"/>
                  <a:gd name="connsiteX1843" fmla="*/ 873396 w 939786"/>
                  <a:gd name="connsiteY1843" fmla="*/ 379124 h 840509"/>
                  <a:gd name="connsiteX1844" fmla="*/ 872779 w 939786"/>
                  <a:gd name="connsiteY1844" fmla="*/ 379389 h 840509"/>
                  <a:gd name="connsiteX1845" fmla="*/ 872250 w 939786"/>
                  <a:gd name="connsiteY1845" fmla="*/ 380270 h 840509"/>
                  <a:gd name="connsiteX1846" fmla="*/ 871368 w 939786"/>
                  <a:gd name="connsiteY1846" fmla="*/ 380535 h 840509"/>
                  <a:gd name="connsiteX1847" fmla="*/ 24246 w 939786"/>
                  <a:gd name="connsiteY1847" fmla="*/ 399491 h 840509"/>
                  <a:gd name="connsiteX1848" fmla="*/ 24246 w 939786"/>
                  <a:gd name="connsiteY1848" fmla="*/ 399491 h 840509"/>
                  <a:gd name="connsiteX1849" fmla="*/ 23629 w 939786"/>
                  <a:gd name="connsiteY1849" fmla="*/ 398874 h 840509"/>
                  <a:gd name="connsiteX1850" fmla="*/ 21601 w 939786"/>
                  <a:gd name="connsiteY1850" fmla="*/ 393936 h 840509"/>
                  <a:gd name="connsiteX1851" fmla="*/ 21072 w 939786"/>
                  <a:gd name="connsiteY1851" fmla="*/ 390410 h 840509"/>
                  <a:gd name="connsiteX1852" fmla="*/ 20720 w 939786"/>
                  <a:gd name="connsiteY1852" fmla="*/ 386618 h 840509"/>
                  <a:gd name="connsiteX1853" fmla="*/ 21072 w 939786"/>
                  <a:gd name="connsiteY1853" fmla="*/ 385472 h 840509"/>
                  <a:gd name="connsiteX1854" fmla="*/ 21337 w 939786"/>
                  <a:gd name="connsiteY1854" fmla="*/ 385208 h 840509"/>
                  <a:gd name="connsiteX1855" fmla="*/ 21601 w 939786"/>
                  <a:gd name="connsiteY1855" fmla="*/ 384326 h 840509"/>
                  <a:gd name="connsiteX1856" fmla="*/ 21601 w 939786"/>
                  <a:gd name="connsiteY1856" fmla="*/ 384061 h 840509"/>
                  <a:gd name="connsiteX1857" fmla="*/ 22483 w 939786"/>
                  <a:gd name="connsiteY1857" fmla="*/ 383444 h 840509"/>
                  <a:gd name="connsiteX1858" fmla="*/ 22483 w 939786"/>
                  <a:gd name="connsiteY1858" fmla="*/ 383180 h 840509"/>
                  <a:gd name="connsiteX1859" fmla="*/ 22748 w 939786"/>
                  <a:gd name="connsiteY1859" fmla="*/ 383180 h 840509"/>
                  <a:gd name="connsiteX1860" fmla="*/ 23629 w 939786"/>
                  <a:gd name="connsiteY1860" fmla="*/ 383444 h 840509"/>
                  <a:gd name="connsiteX1861" fmla="*/ 23365 w 939786"/>
                  <a:gd name="connsiteY1861" fmla="*/ 383797 h 840509"/>
                  <a:gd name="connsiteX1862" fmla="*/ 23012 w 939786"/>
                  <a:gd name="connsiteY1862" fmla="*/ 384061 h 840509"/>
                  <a:gd name="connsiteX1863" fmla="*/ 23012 w 939786"/>
                  <a:gd name="connsiteY1863" fmla="*/ 384326 h 840509"/>
                  <a:gd name="connsiteX1864" fmla="*/ 23012 w 939786"/>
                  <a:gd name="connsiteY1864" fmla="*/ 384679 h 840509"/>
                  <a:gd name="connsiteX1865" fmla="*/ 22748 w 939786"/>
                  <a:gd name="connsiteY1865" fmla="*/ 384943 h 840509"/>
                  <a:gd name="connsiteX1866" fmla="*/ 22748 w 939786"/>
                  <a:gd name="connsiteY1866" fmla="*/ 385208 h 840509"/>
                  <a:gd name="connsiteX1867" fmla="*/ 23365 w 939786"/>
                  <a:gd name="connsiteY1867" fmla="*/ 387236 h 840509"/>
                  <a:gd name="connsiteX1868" fmla="*/ 23629 w 939786"/>
                  <a:gd name="connsiteY1868" fmla="*/ 390410 h 840509"/>
                  <a:gd name="connsiteX1869" fmla="*/ 23629 w 939786"/>
                  <a:gd name="connsiteY1869" fmla="*/ 392173 h 840509"/>
                  <a:gd name="connsiteX1870" fmla="*/ 23629 w 939786"/>
                  <a:gd name="connsiteY1870" fmla="*/ 392790 h 840509"/>
                  <a:gd name="connsiteX1871" fmla="*/ 24246 w 939786"/>
                  <a:gd name="connsiteY1871" fmla="*/ 395347 h 840509"/>
                  <a:gd name="connsiteX1872" fmla="*/ 24599 w 939786"/>
                  <a:gd name="connsiteY1872" fmla="*/ 395611 h 840509"/>
                  <a:gd name="connsiteX1873" fmla="*/ 24599 w 939786"/>
                  <a:gd name="connsiteY1873" fmla="*/ 395964 h 840509"/>
                  <a:gd name="connsiteX1874" fmla="*/ 24864 w 939786"/>
                  <a:gd name="connsiteY1874" fmla="*/ 396229 h 840509"/>
                  <a:gd name="connsiteX1875" fmla="*/ 24864 w 939786"/>
                  <a:gd name="connsiteY1875" fmla="*/ 396758 h 840509"/>
                  <a:gd name="connsiteX1876" fmla="*/ 24864 w 939786"/>
                  <a:gd name="connsiteY1876" fmla="*/ 398257 h 840509"/>
                  <a:gd name="connsiteX1877" fmla="*/ 24864 w 939786"/>
                  <a:gd name="connsiteY1877" fmla="*/ 398521 h 840509"/>
                  <a:gd name="connsiteX1878" fmla="*/ 24246 w 939786"/>
                  <a:gd name="connsiteY1878" fmla="*/ 399491 h 840509"/>
                  <a:gd name="connsiteX1879" fmla="*/ 864050 w 939786"/>
                  <a:gd name="connsiteY1879" fmla="*/ 426559 h 840509"/>
                  <a:gd name="connsiteX1880" fmla="*/ 862904 w 939786"/>
                  <a:gd name="connsiteY1880" fmla="*/ 429733 h 840509"/>
                  <a:gd name="connsiteX1881" fmla="*/ 863257 w 939786"/>
                  <a:gd name="connsiteY1881" fmla="*/ 427969 h 840509"/>
                  <a:gd name="connsiteX1882" fmla="*/ 864050 w 939786"/>
                  <a:gd name="connsiteY1882" fmla="*/ 426559 h 840509"/>
                  <a:gd name="connsiteX1883" fmla="*/ 860259 w 939786"/>
                  <a:gd name="connsiteY1883" fmla="*/ 438814 h 840509"/>
                  <a:gd name="connsiteX1884" fmla="*/ 859377 w 939786"/>
                  <a:gd name="connsiteY1884" fmla="*/ 438814 h 840509"/>
                  <a:gd name="connsiteX1885" fmla="*/ 859113 w 939786"/>
                  <a:gd name="connsiteY1885" fmla="*/ 438814 h 840509"/>
                  <a:gd name="connsiteX1886" fmla="*/ 859113 w 939786"/>
                  <a:gd name="connsiteY1886" fmla="*/ 438549 h 840509"/>
                  <a:gd name="connsiteX1887" fmla="*/ 859113 w 939786"/>
                  <a:gd name="connsiteY1887" fmla="*/ 438285 h 840509"/>
                  <a:gd name="connsiteX1888" fmla="*/ 859377 w 939786"/>
                  <a:gd name="connsiteY1888" fmla="*/ 438020 h 840509"/>
                  <a:gd name="connsiteX1889" fmla="*/ 860259 w 939786"/>
                  <a:gd name="connsiteY1889" fmla="*/ 435993 h 840509"/>
                  <a:gd name="connsiteX1890" fmla="*/ 860259 w 939786"/>
                  <a:gd name="connsiteY1890" fmla="*/ 435728 h 840509"/>
                  <a:gd name="connsiteX1891" fmla="*/ 861141 w 939786"/>
                  <a:gd name="connsiteY1891" fmla="*/ 433700 h 840509"/>
                  <a:gd name="connsiteX1892" fmla="*/ 862640 w 939786"/>
                  <a:gd name="connsiteY1892" fmla="*/ 431055 h 840509"/>
                  <a:gd name="connsiteX1893" fmla="*/ 863521 w 939786"/>
                  <a:gd name="connsiteY1893" fmla="*/ 430791 h 840509"/>
                  <a:gd name="connsiteX1894" fmla="*/ 865020 w 939786"/>
                  <a:gd name="connsiteY1894" fmla="*/ 431055 h 840509"/>
                  <a:gd name="connsiteX1895" fmla="*/ 865020 w 939786"/>
                  <a:gd name="connsiteY1895" fmla="*/ 431408 h 840509"/>
                  <a:gd name="connsiteX1896" fmla="*/ 864138 w 939786"/>
                  <a:gd name="connsiteY1896" fmla="*/ 432290 h 840509"/>
                  <a:gd name="connsiteX1897" fmla="*/ 863874 w 939786"/>
                  <a:gd name="connsiteY1897" fmla="*/ 433171 h 840509"/>
                  <a:gd name="connsiteX1898" fmla="*/ 862728 w 939786"/>
                  <a:gd name="connsiteY1898" fmla="*/ 434935 h 840509"/>
                  <a:gd name="connsiteX1899" fmla="*/ 861846 w 939786"/>
                  <a:gd name="connsiteY1899" fmla="*/ 436081 h 840509"/>
                  <a:gd name="connsiteX1900" fmla="*/ 861582 w 939786"/>
                  <a:gd name="connsiteY1900" fmla="*/ 436962 h 840509"/>
                  <a:gd name="connsiteX1901" fmla="*/ 860964 w 939786"/>
                  <a:gd name="connsiteY1901" fmla="*/ 437844 h 840509"/>
                  <a:gd name="connsiteX1902" fmla="*/ 860700 w 939786"/>
                  <a:gd name="connsiteY1902" fmla="*/ 438726 h 840509"/>
                  <a:gd name="connsiteX1903" fmla="*/ 860259 w 939786"/>
                  <a:gd name="connsiteY1903" fmla="*/ 438814 h 840509"/>
                  <a:gd name="connsiteX1904" fmla="*/ 938993 w 939786"/>
                  <a:gd name="connsiteY1904" fmla="*/ 534829 h 840509"/>
                  <a:gd name="connsiteX1905" fmla="*/ 938729 w 939786"/>
                  <a:gd name="connsiteY1905" fmla="*/ 534829 h 840509"/>
                  <a:gd name="connsiteX1906" fmla="*/ 939258 w 939786"/>
                  <a:gd name="connsiteY1906" fmla="*/ 534300 h 840509"/>
                  <a:gd name="connsiteX1907" fmla="*/ 939522 w 939786"/>
                  <a:gd name="connsiteY1907" fmla="*/ 534036 h 840509"/>
                  <a:gd name="connsiteX1908" fmla="*/ 939522 w 939786"/>
                  <a:gd name="connsiteY1908" fmla="*/ 533419 h 840509"/>
                  <a:gd name="connsiteX1909" fmla="*/ 939258 w 939786"/>
                  <a:gd name="connsiteY1909" fmla="*/ 533066 h 840509"/>
                  <a:gd name="connsiteX1910" fmla="*/ 938993 w 939786"/>
                  <a:gd name="connsiteY1910" fmla="*/ 533066 h 840509"/>
                  <a:gd name="connsiteX1911" fmla="*/ 939258 w 939786"/>
                  <a:gd name="connsiteY1911" fmla="*/ 533066 h 840509"/>
                  <a:gd name="connsiteX1912" fmla="*/ 939258 w 939786"/>
                  <a:gd name="connsiteY1912" fmla="*/ 532801 h 840509"/>
                  <a:gd name="connsiteX1913" fmla="*/ 939522 w 939786"/>
                  <a:gd name="connsiteY1913" fmla="*/ 532801 h 840509"/>
                  <a:gd name="connsiteX1914" fmla="*/ 939522 w 939786"/>
                  <a:gd name="connsiteY1914" fmla="*/ 533066 h 840509"/>
                  <a:gd name="connsiteX1915" fmla="*/ 939787 w 939786"/>
                  <a:gd name="connsiteY1915" fmla="*/ 533419 h 840509"/>
                  <a:gd name="connsiteX1916" fmla="*/ 939787 w 939786"/>
                  <a:gd name="connsiteY1916" fmla="*/ 533683 h 840509"/>
                  <a:gd name="connsiteX1917" fmla="*/ 939787 w 939786"/>
                  <a:gd name="connsiteY1917" fmla="*/ 534300 h 840509"/>
                  <a:gd name="connsiteX1918" fmla="*/ 939522 w 939786"/>
                  <a:gd name="connsiteY1918" fmla="*/ 534300 h 840509"/>
                  <a:gd name="connsiteX1919" fmla="*/ 939258 w 939786"/>
                  <a:gd name="connsiteY1919" fmla="*/ 534565 h 840509"/>
                  <a:gd name="connsiteX1920" fmla="*/ 938993 w 939786"/>
                  <a:gd name="connsiteY1920" fmla="*/ 534829 h 840509"/>
                  <a:gd name="connsiteX1921" fmla="*/ 32446 w 939786"/>
                  <a:gd name="connsiteY1921" fmla="*/ 550523 h 840509"/>
                  <a:gd name="connsiteX1922" fmla="*/ 32182 w 939786"/>
                  <a:gd name="connsiteY1922" fmla="*/ 550788 h 840509"/>
                  <a:gd name="connsiteX1923" fmla="*/ 31829 w 939786"/>
                  <a:gd name="connsiteY1923" fmla="*/ 550523 h 840509"/>
                  <a:gd name="connsiteX1924" fmla="*/ 31829 w 939786"/>
                  <a:gd name="connsiteY1924" fmla="*/ 549024 h 840509"/>
                  <a:gd name="connsiteX1925" fmla="*/ 32182 w 939786"/>
                  <a:gd name="connsiteY1925" fmla="*/ 549024 h 840509"/>
                  <a:gd name="connsiteX1926" fmla="*/ 32182 w 939786"/>
                  <a:gd name="connsiteY1926" fmla="*/ 548760 h 840509"/>
                  <a:gd name="connsiteX1927" fmla="*/ 32182 w 939786"/>
                  <a:gd name="connsiteY1927" fmla="*/ 548495 h 840509"/>
                  <a:gd name="connsiteX1928" fmla="*/ 32446 w 939786"/>
                  <a:gd name="connsiteY1928" fmla="*/ 548495 h 840509"/>
                  <a:gd name="connsiteX1929" fmla="*/ 32446 w 939786"/>
                  <a:gd name="connsiteY1929" fmla="*/ 550259 h 840509"/>
                  <a:gd name="connsiteX1930" fmla="*/ 32446 w 939786"/>
                  <a:gd name="connsiteY1930" fmla="*/ 550523 h 840509"/>
                  <a:gd name="connsiteX1931" fmla="*/ 402577 w 939786"/>
                  <a:gd name="connsiteY1931" fmla="*/ 552551 h 840509"/>
                  <a:gd name="connsiteX1932" fmla="*/ 401960 w 939786"/>
                  <a:gd name="connsiteY1932" fmla="*/ 552816 h 840509"/>
                  <a:gd name="connsiteX1933" fmla="*/ 401695 w 939786"/>
                  <a:gd name="connsiteY1933" fmla="*/ 552551 h 840509"/>
                  <a:gd name="connsiteX1934" fmla="*/ 401431 w 939786"/>
                  <a:gd name="connsiteY1934" fmla="*/ 552551 h 840509"/>
                  <a:gd name="connsiteX1935" fmla="*/ 401431 w 939786"/>
                  <a:gd name="connsiteY1935" fmla="*/ 552287 h 840509"/>
                  <a:gd name="connsiteX1936" fmla="*/ 401695 w 939786"/>
                  <a:gd name="connsiteY1936" fmla="*/ 552022 h 840509"/>
                  <a:gd name="connsiteX1937" fmla="*/ 402577 w 939786"/>
                  <a:gd name="connsiteY1937" fmla="*/ 551405 h 840509"/>
                  <a:gd name="connsiteX1938" fmla="*/ 404076 w 939786"/>
                  <a:gd name="connsiteY1938" fmla="*/ 550788 h 840509"/>
                  <a:gd name="connsiteX1939" fmla="*/ 404957 w 939786"/>
                  <a:gd name="connsiteY1939" fmla="*/ 550523 h 840509"/>
                  <a:gd name="connsiteX1940" fmla="*/ 405222 w 939786"/>
                  <a:gd name="connsiteY1940" fmla="*/ 550788 h 840509"/>
                  <a:gd name="connsiteX1941" fmla="*/ 403723 w 939786"/>
                  <a:gd name="connsiteY1941" fmla="*/ 551670 h 840509"/>
                  <a:gd name="connsiteX1942" fmla="*/ 402577 w 939786"/>
                  <a:gd name="connsiteY1942" fmla="*/ 552551 h 840509"/>
                  <a:gd name="connsiteX1943" fmla="*/ 406104 w 939786"/>
                  <a:gd name="connsiteY1943" fmla="*/ 589053 h 840509"/>
                  <a:gd name="connsiteX1944" fmla="*/ 405839 w 939786"/>
                  <a:gd name="connsiteY1944" fmla="*/ 589053 h 840509"/>
                  <a:gd name="connsiteX1945" fmla="*/ 405575 w 939786"/>
                  <a:gd name="connsiteY1945" fmla="*/ 589053 h 840509"/>
                  <a:gd name="connsiteX1946" fmla="*/ 405575 w 939786"/>
                  <a:gd name="connsiteY1946" fmla="*/ 588788 h 840509"/>
                  <a:gd name="connsiteX1947" fmla="*/ 406721 w 939786"/>
                  <a:gd name="connsiteY1947" fmla="*/ 587290 h 840509"/>
                  <a:gd name="connsiteX1948" fmla="*/ 407867 w 939786"/>
                  <a:gd name="connsiteY1948" fmla="*/ 586673 h 840509"/>
                  <a:gd name="connsiteX1949" fmla="*/ 407867 w 939786"/>
                  <a:gd name="connsiteY1949" fmla="*/ 586937 h 840509"/>
                  <a:gd name="connsiteX1950" fmla="*/ 407867 w 939786"/>
                  <a:gd name="connsiteY1950" fmla="*/ 587554 h 840509"/>
                  <a:gd name="connsiteX1951" fmla="*/ 407867 w 939786"/>
                  <a:gd name="connsiteY1951" fmla="*/ 587819 h 840509"/>
                  <a:gd name="connsiteX1952" fmla="*/ 407603 w 939786"/>
                  <a:gd name="connsiteY1952" fmla="*/ 588083 h 840509"/>
                  <a:gd name="connsiteX1953" fmla="*/ 406104 w 939786"/>
                  <a:gd name="connsiteY1953" fmla="*/ 589053 h 840509"/>
                  <a:gd name="connsiteX1954" fmla="*/ 170165 w 939786"/>
                  <a:gd name="connsiteY1954" fmla="*/ 597253 h 840509"/>
                  <a:gd name="connsiteX1955" fmla="*/ 169636 w 939786"/>
                  <a:gd name="connsiteY1955" fmla="*/ 597253 h 840509"/>
                  <a:gd name="connsiteX1956" fmla="*/ 169636 w 939786"/>
                  <a:gd name="connsiteY1956" fmla="*/ 596636 h 840509"/>
                  <a:gd name="connsiteX1957" fmla="*/ 169901 w 939786"/>
                  <a:gd name="connsiteY1957" fmla="*/ 596636 h 840509"/>
                  <a:gd name="connsiteX1958" fmla="*/ 170782 w 939786"/>
                  <a:gd name="connsiteY1958" fmla="*/ 596371 h 840509"/>
                  <a:gd name="connsiteX1959" fmla="*/ 170782 w 939786"/>
                  <a:gd name="connsiteY1959" fmla="*/ 596636 h 840509"/>
                  <a:gd name="connsiteX1960" fmla="*/ 170782 w 939786"/>
                  <a:gd name="connsiteY1960" fmla="*/ 596988 h 840509"/>
                  <a:gd name="connsiteX1961" fmla="*/ 170518 w 939786"/>
                  <a:gd name="connsiteY1961" fmla="*/ 597253 h 840509"/>
                  <a:gd name="connsiteX1962" fmla="*/ 170165 w 939786"/>
                  <a:gd name="connsiteY1962" fmla="*/ 597253 h 840509"/>
                  <a:gd name="connsiteX1963" fmla="*/ 150063 w 939786"/>
                  <a:gd name="connsiteY1963" fmla="*/ 598134 h 840509"/>
                  <a:gd name="connsiteX1964" fmla="*/ 150063 w 939786"/>
                  <a:gd name="connsiteY1964" fmla="*/ 598399 h 840509"/>
                  <a:gd name="connsiteX1965" fmla="*/ 149798 w 939786"/>
                  <a:gd name="connsiteY1965" fmla="*/ 598399 h 840509"/>
                  <a:gd name="connsiteX1966" fmla="*/ 149798 w 939786"/>
                  <a:gd name="connsiteY1966" fmla="*/ 598134 h 840509"/>
                  <a:gd name="connsiteX1967" fmla="*/ 150063 w 939786"/>
                  <a:gd name="connsiteY1967" fmla="*/ 597605 h 840509"/>
                  <a:gd name="connsiteX1968" fmla="*/ 150063 w 939786"/>
                  <a:gd name="connsiteY1968" fmla="*/ 597341 h 840509"/>
                  <a:gd name="connsiteX1969" fmla="*/ 150328 w 939786"/>
                  <a:gd name="connsiteY1969" fmla="*/ 597341 h 840509"/>
                  <a:gd name="connsiteX1970" fmla="*/ 150592 w 939786"/>
                  <a:gd name="connsiteY1970" fmla="*/ 597605 h 840509"/>
                  <a:gd name="connsiteX1971" fmla="*/ 150063 w 939786"/>
                  <a:gd name="connsiteY1971" fmla="*/ 598134 h 840509"/>
                  <a:gd name="connsiteX1972" fmla="*/ 456536 w 939786"/>
                  <a:gd name="connsiteY1972" fmla="*/ 607745 h 840509"/>
                  <a:gd name="connsiteX1973" fmla="*/ 456536 w 939786"/>
                  <a:gd name="connsiteY1973" fmla="*/ 607745 h 840509"/>
                  <a:gd name="connsiteX1974" fmla="*/ 456271 w 939786"/>
                  <a:gd name="connsiteY1974" fmla="*/ 607745 h 840509"/>
                  <a:gd name="connsiteX1975" fmla="*/ 456271 w 939786"/>
                  <a:gd name="connsiteY1975" fmla="*/ 607480 h 840509"/>
                  <a:gd name="connsiteX1976" fmla="*/ 456536 w 939786"/>
                  <a:gd name="connsiteY1976" fmla="*/ 607216 h 840509"/>
                  <a:gd name="connsiteX1977" fmla="*/ 456536 w 939786"/>
                  <a:gd name="connsiteY1977" fmla="*/ 606951 h 840509"/>
                  <a:gd name="connsiteX1978" fmla="*/ 456800 w 939786"/>
                  <a:gd name="connsiteY1978" fmla="*/ 606951 h 840509"/>
                  <a:gd name="connsiteX1979" fmla="*/ 457153 w 939786"/>
                  <a:gd name="connsiteY1979" fmla="*/ 606334 h 840509"/>
                  <a:gd name="connsiteX1980" fmla="*/ 457418 w 939786"/>
                  <a:gd name="connsiteY1980" fmla="*/ 606334 h 840509"/>
                  <a:gd name="connsiteX1981" fmla="*/ 457418 w 939786"/>
                  <a:gd name="connsiteY1981" fmla="*/ 606951 h 840509"/>
                  <a:gd name="connsiteX1982" fmla="*/ 457418 w 939786"/>
                  <a:gd name="connsiteY1982" fmla="*/ 607216 h 840509"/>
                  <a:gd name="connsiteX1983" fmla="*/ 457153 w 939786"/>
                  <a:gd name="connsiteY1983" fmla="*/ 607480 h 840509"/>
                  <a:gd name="connsiteX1984" fmla="*/ 456800 w 939786"/>
                  <a:gd name="connsiteY1984" fmla="*/ 607745 h 840509"/>
                  <a:gd name="connsiteX1985" fmla="*/ 456536 w 939786"/>
                  <a:gd name="connsiteY1985" fmla="*/ 607745 h 840509"/>
                  <a:gd name="connsiteX1986" fmla="*/ 64804 w 939786"/>
                  <a:gd name="connsiteY1986" fmla="*/ 617619 h 840509"/>
                  <a:gd name="connsiteX1987" fmla="*/ 64539 w 939786"/>
                  <a:gd name="connsiteY1987" fmla="*/ 617619 h 840509"/>
                  <a:gd name="connsiteX1988" fmla="*/ 64275 w 939786"/>
                  <a:gd name="connsiteY1988" fmla="*/ 617619 h 840509"/>
                  <a:gd name="connsiteX1989" fmla="*/ 64275 w 939786"/>
                  <a:gd name="connsiteY1989" fmla="*/ 617267 h 840509"/>
                  <a:gd name="connsiteX1990" fmla="*/ 64010 w 939786"/>
                  <a:gd name="connsiteY1990" fmla="*/ 617002 h 840509"/>
                  <a:gd name="connsiteX1991" fmla="*/ 64275 w 939786"/>
                  <a:gd name="connsiteY1991" fmla="*/ 616738 h 840509"/>
                  <a:gd name="connsiteX1992" fmla="*/ 64539 w 939786"/>
                  <a:gd name="connsiteY1992" fmla="*/ 616738 h 840509"/>
                  <a:gd name="connsiteX1993" fmla="*/ 64804 w 939786"/>
                  <a:gd name="connsiteY1993" fmla="*/ 617002 h 840509"/>
                  <a:gd name="connsiteX1994" fmla="*/ 65068 w 939786"/>
                  <a:gd name="connsiteY1994" fmla="*/ 617002 h 840509"/>
                  <a:gd name="connsiteX1995" fmla="*/ 65068 w 939786"/>
                  <a:gd name="connsiteY1995" fmla="*/ 617267 h 840509"/>
                  <a:gd name="connsiteX1996" fmla="*/ 64804 w 939786"/>
                  <a:gd name="connsiteY1996" fmla="*/ 617619 h 840509"/>
                  <a:gd name="connsiteX1997" fmla="*/ 426823 w 939786"/>
                  <a:gd name="connsiteY1997" fmla="*/ 621146 h 840509"/>
                  <a:gd name="connsiteX1998" fmla="*/ 426559 w 939786"/>
                  <a:gd name="connsiteY1998" fmla="*/ 621146 h 840509"/>
                  <a:gd name="connsiteX1999" fmla="*/ 425941 w 939786"/>
                  <a:gd name="connsiteY1999" fmla="*/ 620882 h 840509"/>
                  <a:gd name="connsiteX2000" fmla="*/ 425677 w 939786"/>
                  <a:gd name="connsiteY2000" fmla="*/ 618237 h 840509"/>
                  <a:gd name="connsiteX2001" fmla="*/ 425677 w 939786"/>
                  <a:gd name="connsiteY2001" fmla="*/ 617884 h 840509"/>
                  <a:gd name="connsiteX2002" fmla="*/ 425941 w 939786"/>
                  <a:gd name="connsiteY2002" fmla="*/ 617884 h 840509"/>
                  <a:gd name="connsiteX2003" fmla="*/ 426206 w 939786"/>
                  <a:gd name="connsiteY2003" fmla="*/ 617619 h 840509"/>
                  <a:gd name="connsiteX2004" fmla="*/ 426470 w 939786"/>
                  <a:gd name="connsiteY2004" fmla="*/ 617619 h 840509"/>
                  <a:gd name="connsiteX2005" fmla="*/ 426470 w 939786"/>
                  <a:gd name="connsiteY2005" fmla="*/ 617884 h 840509"/>
                  <a:gd name="connsiteX2006" fmla="*/ 426470 w 939786"/>
                  <a:gd name="connsiteY2006" fmla="*/ 618237 h 840509"/>
                  <a:gd name="connsiteX2007" fmla="*/ 427088 w 939786"/>
                  <a:gd name="connsiteY2007" fmla="*/ 620000 h 840509"/>
                  <a:gd name="connsiteX2008" fmla="*/ 427088 w 939786"/>
                  <a:gd name="connsiteY2008" fmla="*/ 620882 h 840509"/>
                  <a:gd name="connsiteX2009" fmla="*/ 426823 w 939786"/>
                  <a:gd name="connsiteY2009" fmla="*/ 621146 h 840509"/>
                  <a:gd name="connsiteX2010" fmla="*/ 431761 w 939786"/>
                  <a:gd name="connsiteY2010" fmla="*/ 623439 h 840509"/>
                  <a:gd name="connsiteX2011" fmla="*/ 431496 w 939786"/>
                  <a:gd name="connsiteY2011" fmla="*/ 623703 h 840509"/>
                  <a:gd name="connsiteX2012" fmla="*/ 430967 w 939786"/>
                  <a:gd name="connsiteY2012" fmla="*/ 623439 h 840509"/>
                  <a:gd name="connsiteX2013" fmla="*/ 430703 w 939786"/>
                  <a:gd name="connsiteY2013" fmla="*/ 623439 h 840509"/>
                  <a:gd name="connsiteX2014" fmla="*/ 430703 w 939786"/>
                  <a:gd name="connsiteY2014" fmla="*/ 623174 h 840509"/>
                  <a:gd name="connsiteX2015" fmla="*/ 430703 w 939786"/>
                  <a:gd name="connsiteY2015" fmla="*/ 622910 h 840509"/>
                  <a:gd name="connsiteX2016" fmla="*/ 431584 w 939786"/>
                  <a:gd name="connsiteY2016" fmla="*/ 622645 h 840509"/>
                  <a:gd name="connsiteX2017" fmla="*/ 431584 w 939786"/>
                  <a:gd name="connsiteY2017" fmla="*/ 622910 h 840509"/>
                  <a:gd name="connsiteX2018" fmla="*/ 431761 w 939786"/>
                  <a:gd name="connsiteY2018" fmla="*/ 623439 h 840509"/>
                  <a:gd name="connsiteX2019" fmla="*/ 440842 w 939786"/>
                  <a:gd name="connsiteY2019" fmla="*/ 649448 h 840509"/>
                  <a:gd name="connsiteX2020" fmla="*/ 440578 w 939786"/>
                  <a:gd name="connsiteY2020" fmla="*/ 649448 h 840509"/>
                  <a:gd name="connsiteX2021" fmla="*/ 439960 w 939786"/>
                  <a:gd name="connsiteY2021" fmla="*/ 648567 h 840509"/>
                  <a:gd name="connsiteX2022" fmla="*/ 439960 w 939786"/>
                  <a:gd name="connsiteY2022" fmla="*/ 648302 h 840509"/>
                  <a:gd name="connsiteX2023" fmla="*/ 439696 w 939786"/>
                  <a:gd name="connsiteY2023" fmla="*/ 647685 h 840509"/>
                  <a:gd name="connsiteX2024" fmla="*/ 439696 w 939786"/>
                  <a:gd name="connsiteY2024" fmla="*/ 647420 h 840509"/>
                  <a:gd name="connsiteX2025" fmla="*/ 439431 w 939786"/>
                  <a:gd name="connsiteY2025" fmla="*/ 647420 h 840509"/>
                  <a:gd name="connsiteX2026" fmla="*/ 437404 w 939786"/>
                  <a:gd name="connsiteY2026" fmla="*/ 647156 h 840509"/>
                  <a:gd name="connsiteX2027" fmla="*/ 437139 w 939786"/>
                  <a:gd name="connsiteY2027" fmla="*/ 647156 h 840509"/>
                  <a:gd name="connsiteX2028" fmla="*/ 436875 w 939786"/>
                  <a:gd name="connsiteY2028" fmla="*/ 647156 h 840509"/>
                  <a:gd name="connsiteX2029" fmla="*/ 436610 w 939786"/>
                  <a:gd name="connsiteY2029" fmla="*/ 647156 h 840509"/>
                  <a:gd name="connsiteX2030" fmla="*/ 436258 w 939786"/>
                  <a:gd name="connsiteY2030" fmla="*/ 647156 h 840509"/>
                  <a:gd name="connsiteX2031" fmla="*/ 436258 w 939786"/>
                  <a:gd name="connsiteY2031" fmla="*/ 647420 h 840509"/>
                  <a:gd name="connsiteX2032" fmla="*/ 435993 w 939786"/>
                  <a:gd name="connsiteY2032" fmla="*/ 647420 h 840509"/>
                  <a:gd name="connsiteX2033" fmla="*/ 435993 w 939786"/>
                  <a:gd name="connsiteY2033" fmla="*/ 647685 h 840509"/>
                  <a:gd name="connsiteX2034" fmla="*/ 435993 w 939786"/>
                  <a:gd name="connsiteY2034" fmla="*/ 647949 h 840509"/>
                  <a:gd name="connsiteX2035" fmla="*/ 435729 w 939786"/>
                  <a:gd name="connsiteY2035" fmla="*/ 648302 h 840509"/>
                  <a:gd name="connsiteX2036" fmla="*/ 435376 w 939786"/>
                  <a:gd name="connsiteY2036" fmla="*/ 648302 h 840509"/>
                  <a:gd name="connsiteX2037" fmla="*/ 435111 w 939786"/>
                  <a:gd name="connsiteY2037" fmla="*/ 648567 h 840509"/>
                  <a:gd name="connsiteX2038" fmla="*/ 434847 w 939786"/>
                  <a:gd name="connsiteY2038" fmla="*/ 648567 h 840509"/>
                  <a:gd name="connsiteX2039" fmla="*/ 432819 w 939786"/>
                  <a:gd name="connsiteY2039" fmla="*/ 648302 h 840509"/>
                  <a:gd name="connsiteX2040" fmla="*/ 429909 w 939786"/>
                  <a:gd name="connsiteY2040" fmla="*/ 648919 h 840509"/>
                  <a:gd name="connsiteX2041" fmla="*/ 426735 w 939786"/>
                  <a:gd name="connsiteY2041" fmla="*/ 648919 h 840509"/>
                  <a:gd name="connsiteX2042" fmla="*/ 425854 w 939786"/>
                  <a:gd name="connsiteY2042" fmla="*/ 648919 h 840509"/>
                  <a:gd name="connsiteX2043" fmla="*/ 425854 w 939786"/>
                  <a:gd name="connsiteY2043" fmla="*/ 648038 h 840509"/>
                  <a:gd name="connsiteX2044" fmla="*/ 425854 w 939786"/>
                  <a:gd name="connsiteY2044" fmla="*/ 647773 h 840509"/>
                  <a:gd name="connsiteX2045" fmla="*/ 424972 w 939786"/>
                  <a:gd name="connsiteY2045" fmla="*/ 646627 h 840509"/>
                  <a:gd name="connsiteX2046" fmla="*/ 424707 w 939786"/>
                  <a:gd name="connsiteY2046" fmla="*/ 646010 h 840509"/>
                  <a:gd name="connsiteX2047" fmla="*/ 424090 w 939786"/>
                  <a:gd name="connsiteY2047" fmla="*/ 645393 h 840509"/>
                  <a:gd name="connsiteX2048" fmla="*/ 424443 w 939786"/>
                  <a:gd name="connsiteY2048" fmla="*/ 644511 h 840509"/>
                  <a:gd name="connsiteX2049" fmla="*/ 426470 w 939786"/>
                  <a:gd name="connsiteY2049" fmla="*/ 641866 h 840509"/>
                  <a:gd name="connsiteX2050" fmla="*/ 426735 w 939786"/>
                  <a:gd name="connsiteY2050" fmla="*/ 641601 h 840509"/>
                  <a:gd name="connsiteX2051" fmla="*/ 426999 w 939786"/>
                  <a:gd name="connsiteY2051" fmla="*/ 641601 h 840509"/>
                  <a:gd name="connsiteX2052" fmla="*/ 427264 w 939786"/>
                  <a:gd name="connsiteY2052" fmla="*/ 641601 h 840509"/>
                  <a:gd name="connsiteX2053" fmla="*/ 434229 w 939786"/>
                  <a:gd name="connsiteY2053" fmla="*/ 639838 h 840509"/>
                  <a:gd name="connsiteX2054" fmla="*/ 435111 w 939786"/>
                  <a:gd name="connsiteY2054" fmla="*/ 639574 h 840509"/>
                  <a:gd name="connsiteX2055" fmla="*/ 436258 w 939786"/>
                  <a:gd name="connsiteY2055" fmla="*/ 639574 h 840509"/>
                  <a:gd name="connsiteX2056" fmla="*/ 436610 w 939786"/>
                  <a:gd name="connsiteY2056" fmla="*/ 639574 h 840509"/>
                  <a:gd name="connsiteX2057" fmla="*/ 436875 w 939786"/>
                  <a:gd name="connsiteY2057" fmla="*/ 639574 h 840509"/>
                  <a:gd name="connsiteX2058" fmla="*/ 437756 w 939786"/>
                  <a:gd name="connsiteY2058" fmla="*/ 639574 h 840509"/>
                  <a:gd name="connsiteX2059" fmla="*/ 438902 w 939786"/>
                  <a:gd name="connsiteY2059" fmla="*/ 638956 h 840509"/>
                  <a:gd name="connsiteX2060" fmla="*/ 441547 w 939786"/>
                  <a:gd name="connsiteY2060" fmla="*/ 638075 h 840509"/>
                  <a:gd name="connsiteX2061" fmla="*/ 443575 w 939786"/>
                  <a:gd name="connsiteY2061" fmla="*/ 637193 h 840509"/>
                  <a:gd name="connsiteX2062" fmla="*/ 443928 w 939786"/>
                  <a:gd name="connsiteY2062" fmla="*/ 637193 h 840509"/>
                  <a:gd name="connsiteX2063" fmla="*/ 444192 w 939786"/>
                  <a:gd name="connsiteY2063" fmla="*/ 637193 h 840509"/>
                  <a:gd name="connsiteX2064" fmla="*/ 447984 w 939786"/>
                  <a:gd name="connsiteY2064" fmla="*/ 637810 h 840509"/>
                  <a:gd name="connsiteX2065" fmla="*/ 448601 w 939786"/>
                  <a:gd name="connsiteY2065" fmla="*/ 638692 h 840509"/>
                  <a:gd name="connsiteX2066" fmla="*/ 447719 w 939786"/>
                  <a:gd name="connsiteY2066" fmla="*/ 640720 h 840509"/>
                  <a:gd name="connsiteX2067" fmla="*/ 447719 w 939786"/>
                  <a:gd name="connsiteY2067" fmla="*/ 641072 h 840509"/>
                  <a:gd name="connsiteX2068" fmla="*/ 447719 w 939786"/>
                  <a:gd name="connsiteY2068" fmla="*/ 641337 h 840509"/>
                  <a:gd name="connsiteX2069" fmla="*/ 449483 w 939786"/>
                  <a:gd name="connsiteY2069" fmla="*/ 641601 h 840509"/>
                  <a:gd name="connsiteX2070" fmla="*/ 450893 w 939786"/>
                  <a:gd name="connsiteY2070" fmla="*/ 642483 h 840509"/>
                  <a:gd name="connsiteX2071" fmla="*/ 450893 w 939786"/>
                  <a:gd name="connsiteY2071" fmla="*/ 642747 h 840509"/>
                  <a:gd name="connsiteX2072" fmla="*/ 451158 w 939786"/>
                  <a:gd name="connsiteY2072" fmla="*/ 642747 h 840509"/>
                  <a:gd name="connsiteX2073" fmla="*/ 451775 w 939786"/>
                  <a:gd name="connsiteY2073" fmla="*/ 642747 h 840509"/>
                  <a:gd name="connsiteX2074" fmla="*/ 452128 w 939786"/>
                  <a:gd name="connsiteY2074" fmla="*/ 642747 h 840509"/>
                  <a:gd name="connsiteX2075" fmla="*/ 452392 w 939786"/>
                  <a:gd name="connsiteY2075" fmla="*/ 642747 h 840509"/>
                  <a:gd name="connsiteX2076" fmla="*/ 452657 w 939786"/>
                  <a:gd name="connsiteY2076" fmla="*/ 642483 h 840509"/>
                  <a:gd name="connsiteX2077" fmla="*/ 452921 w 939786"/>
                  <a:gd name="connsiteY2077" fmla="*/ 642130 h 840509"/>
                  <a:gd name="connsiteX2078" fmla="*/ 453186 w 939786"/>
                  <a:gd name="connsiteY2078" fmla="*/ 641866 h 840509"/>
                  <a:gd name="connsiteX2079" fmla="*/ 453450 w 939786"/>
                  <a:gd name="connsiteY2079" fmla="*/ 641601 h 840509"/>
                  <a:gd name="connsiteX2080" fmla="*/ 454332 w 939786"/>
                  <a:gd name="connsiteY2080" fmla="*/ 640720 h 840509"/>
                  <a:gd name="connsiteX2081" fmla="*/ 455213 w 939786"/>
                  <a:gd name="connsiteY2081" fmla="*/ 641072 h 840509"/>
                  <a:gd name="connsiteX2082" fmla="*/ 456360 w 939786"/>
                  <a:gd name="connsiteY2082" fmla="*/ 641337 h 840509"/>
                  <a:gd name="connsiteX2083" fmla="*/ 456624 w 939786"/>
                  <a:gd name="connsiteY2083" fmla="*/ 641337 h 840509"/>
                  <a:gd name="connsiteX2084" fmla="*/ 456889 w 939786"/>
                  <a:gd name="connsiteY2084" fmla="*/ 641601 h 840509"/>
                  <a:gd name="connsiteX2085" fmla="*/ 457242 w 939786"/>
                  <a:gd name="connsiteY2085" fmla="*/ 643100 h 840509"/>
                  <a:gd name="connsiteX2086" fmla="*/ 456624 w 939786"/>
                  <a:gd name="connsiteY2086" fmla="*/ 644246 h 840509"/>
                  <a:gd name="connsiteX2087" fmla="*/ 454861 w 939786"/>
                  <a:gd name="connsiteY2087" fmla="*/ 645393 h 840509"/>
                  <a:gd name="connsiteX2088" fmla="*/ 454596 w 939786"/>
                  <a:gd name="connsiteY2088" fmla="*/ 645657 h 840509"/>
                  <a:gd name="connsiteX2089" fmla="*/ 454332 w 939786"/>
                  <a:gd name="connsiteY2089" fmla="*/ 645657 h 840509"/>
                  <a:gd name="connsiteX2090" fmla="*/ 453715 w 939786"/>
                  <a:gd name="connsiteY2090" fmla="*/ 645128 h 840509"/>
                  <a:gd name="connsiteX2091" fmla="*/ 453450 w 939786"/>
                  <a:gd name="connsiteY2091" fmla="*/ 645128 h 840509"/>
                  <a:gd name="connsiteX2092" fmla="*/ 453186 w 939786"/>
                  <a:gd name="connsiteY2092" fmla="*/ 644864 h 840509"/>
                  <a:gd name="connsiteX2093" fmla="*/ 452921 w 939786"/>
                  <a:gd name="connsiteY2093" fmla="*/ 644599 h 840509"/>
                  <a:gd name="connsiteX2094" fmla="*/ 452657 w 939786"/>
                  <a:gd name="connsiteY2094" fmla="*/ 644335 h 840509"/>
                  <a:gd name="connsiteX2095" fmla="*/ 450893 w 939786"/>
                  <a:gd name="connsiteY2095" fmla="*/ 644335 h 840509"/>
                  <a:gd name="connsiteX2096" fmla="*/ 450276 w 939786"/>
                  <a:gd name="connsiteY2096" fmla="*/ 644335 h 840509"/>
                  <a:gd name="connsiteX2097" fmla="*/ 449659 w 939786"/>
                  <a:gd name="connsiteY2097" fmla="*/ 644335 h 840509"/>
                  <a:gd name="connsiteX2098" fmla="*/ 449395 w 939786"/>
                  <a:gd name="connsiteY2098" fmla="*/ 644335 h 840509"/>
                  <a:gd name="connsiteX2099" fmla="*/ 446132 w 939786"/>
                  <a:gd name="connsiteY2099" fmla="*/ 645481 h 840509"/>
                  <a:gd name="connsiteX2100" fmla="*/ 445515 w 939786"/>
                  <a:gd name="connsiteY2100" fmla="*/ 645745 h 840509"/>
                  <a:gd name="connsiteX2101" fmla="*/ 445250 w 939786"/>
                  <a:gd name="connsiteY2101" fmla="*/ 646010 h 840509"/>
                  <a:gd name="connsiteX2102" fmla="*/ 445250 w 939786"/>
                  <a:gd name="connsiteY2102" fmla="*/ 646362 h 840509"/>
                  <a:gd name="connsiteX2103" fmla="*/ 445250 w 939786"/>
                  <a:gd name="connsiteY2103" fmla="*/ 646627 h 840509"/>
                  <a:gd name="connsiteX2104" fmla="*/ 445250 w 939786"/>
                  <a:gd name="connsiteY2104" fmla="*/ 646891 h 840509"/>
                  <a:gd name="connsiteX2105" fmla="*/ 445250 w 939786"/>
                  <a:gd name="connsiteY2105" fmla="*/ 647156 h 840509"/>
                  <a:gd name="connsiteX2106" fmla="*/ 444986 w 939786"/>
                  <a:gd name="connsiteY2106" fmla="*/ 647420 h 840509"/>
                  <a:gd name="connsiteX2107" fmla="*/ 444721 w 939786"/>
                  <a:gd name="connsiteY2107" fmla="*/ 647685 h 840509"/>
                  <a:gd name="connsiteX2108" fmla="*/ 444457 w 939786"/>
                  <a:gd name="connsiteY2108" fmla="*/ 647949 h 840509"/>
                  <a:gd name="connsiteX2109" fmla="*/ 444104 w 939786"/>
                  <a:gd name="connsiteY2109" fmla="*/ 648302 h 840509"/>
                  <a:gd name="connsiteX2110" fmla="*/ 441459 w 939786"/>
                  <a:gd name="connsiteY2110" fmla="*/ 649184 h 840509"/>
                  <a:gd name="connsiteX2111" fmla="*/ 440842 w 939786"/>
                  <a:gd name="connsiteY2111" fmla="*/ 649448 h 840509"/>
                  <a:gd name="connsiteX2112" fmla="*/ 571155 w 939786"/>
                  <a:gd name="connsiteY2112" fmla="*/ 703936 h 840509"/>
                  <a:gd name="connsiteX2113" fmla="*/ 570890 w 939786"/>
                  <a:gd name="connsiteY2113" fmla="*/ 704201 h 840509"/>
                  <a:gd name="connsiteX2114" fmla="*/ 570361 w 939786"/>
                  <a:gd name="connsiteY2114" fmla="*/ 703936 h 840509"/>
                  <a:gd name="connsiteX2115" fmla="*/ 569744 w 939786"/>
                  <a:gd name="connsiteY2115" fmla="*/ 703672 h 840509"/>
                  <a:gd name="connsiteX2116" fmla="*/ 570097 w 939786"/>
                  <a:gd name="connsiteY2116" fmla="*/ 702790 h 840509"/>
                  <a:gd name="connsiteX2117" fmla="*/ 570097 w 939786"/>
                  <a:gd name="connsiteY2117" fmla="*/ 702526 h 840509"/>
                  <a:gd name="connsiteX2118" fmla="*/ 571508 w 939786"/>
                  <a:gd name="connsiteY2118" fmla="*/ 700762 h 840509"/>
                  <a:gd name="connsiteX2119" fmla="*/ 571772 w 939786"/>
                  <a:gd name="connsiteY2119" fmla="*/ 700762 h 840509"/>
                  <a:gd name="connsiteX2120" fmla="*/ 574152 w 939786"/>
                  <a:gd name="connsiteY2120" fmla="*/ 701291 h 840509"/>
                  <a:gd name="connsiteX2121" fmla="*/ 574417 w 939786"/>
                  <a:gd name="connsiteY2121" fmla="*/ 701291 h 840509"/>
                  <a:gd name="connsiteX2122" fmla="*/ 574417 w 939786"/>
                  <a:gd name="connsiteY2122" fmla="*/ 701644 h 840509"/>
                  <a:gd name="connsiteX2123" fmla="*/ 574681 w 939786"/>
                  <a:gd name="connsiteY2123" fmla="*/ 702173 h 840509"/>
                  <a:gd name="connsiteX2124" fmla="*/ 574681 w 939786"/>
                  <a:gd name="connsiteY2124" fmla="*/ 702526 h 840509"/>
                  <a:gd name="connsiteX2125" fmla="*/ 574417 w 939786"/>
                  <a:gd name="connsiteY2125" fmla="*/ 702526 h 840509"/>
                  <a:gd name="connsiteX2126" fmla="*/ 574417 w 939786"/>
                  <a:gd name="connsiteY2126" fmla="*/ 702790 h 840509"/>
                  <a:gd name="connsiteX2127" fmla="*/ 574152 w 939786"/>
                  <a:gd name="connsiteY2127" fmla="*/ 702790 h 840509"/>
                  <a:gd name="connsiteX2128" fmla="*/ 573888 w 939786"/>
                  <a:gd name="connsiteY2128" fmla="*/ 702790 h 840509"/>
                  <a:gd name="connsiteX2129" fmla="*/ 573006 w 939786"/>
                  <a:gd name="connsiteY2129" fmla="*/ 702790 h 840509"/>
                  <a:gd name="connsiteX2130" fmla="*/ 572742 w 939786"/>
                  <a:gd name="connsiteY2130" fmla="*/ 703055 h 840509"/>
                  <a:gd name="connsiteX2131" fmla="*/ 571155 w 939786"/>
                  <a:gd name="connsiteY2131" fmla="*/ 703936 h 840509"/>
                  <a:gd name="connsiteX2132" fmla="*/ 569127 w 939786"/>
                  <a:gd name="connsiteY2132" fmla="*/ 707463 h 840509"/>
                  <a:gd name="connsiteX2133" fmla="*/ 568863 w 939786"/>
                  <a:gd name="connsiteY2133" fmla="*/ 707463 h 840509"/>
                  <a:gd name="connsiteX2134" fmla="*/ 568863 w 939786"/>
                  <a:gd name="connsiteY2134" fmla="*/ 707111 h 840509"/>
                  <a:gd name="connsiteX2135" fmla="*/ 568598 w 939786"/>
                  <a:gd name="connsiteY2135" fmla="*/ 706846 h 840509"/>
                  <a:gd name="connsiteX2136" fmla="*/ 568598 w 939786"/>
                  <a:gd name="connsiteY2136" fmla="*/ 706582 h 840509"/>
                  <a:gd name="connsiteX2137" fmla="*/ 568334 w 939786"/>
                  <a:gd name="connsiteY2137" fmla="*/ 706582 h 840509"/>
                  <a:gd name="connsiteX2138" fmla="*/ 568069 w 939786"/>
                  <a:gd name="connsiteY2138" fmla="*/ 706317 h 840509"/>
                  <a:gd name="connsiteX2139" fmla="*/ 567805 w 939786"/>
                  <a:gd name="connsiteY2139" fmla="*/ 706317 h 840509"/>
                  <a:gd name="connsiteX2140" fmla="*/ 567540 w 939786"/>
                  <a:gd name="connsiteY2140" fmla="*/ 706317 h 840509"/>
                  <a:gd name="connsiteX2141" fmla="*/ 566923 w 939786"/>
                  <a:gd name="connsiteY2141" fmla="*/ 706582 h 840509"/>
                  <a:gd name="connsiteX2142" fmla="*/ 566041 w 939786"/>
                  <a:gd name="connsiteY2142" fmla="*/ 706582 h 840509"/>
                  <a:gd name="connsiteX2143" fmla="*/ 564895 w 939786"/>
                  <a:gd name="connsiteY2143" fmla="*/ 706582 h 840509"/>
                  <a:gd name="connsiteX2144" fmla="*/ 564454 w 939786"/>
                  <a:gd name="connsiteY2144" fmla="*/ 706582 h 840509"/>
                  <a:gd name="connsiteX2145" fmla="*/ 564719 w 939786"/>
                  <a:gd name="connsiteY2145" fmla="*/ 706317 h 840509"/>
                  <a:gd name="connsiteX2146" fmla="*/ 566218 w 939786"/>
                  <a:gd name="connsiteY2146" fmla="*/ 705435 h 840509"/>
                  <a:gd name="connsiteX2147" fmla="*/ 566835 w 939786"/>
                  <a:gd name="connsiteY2147" fmla="*/ 705171 h 840509"/>
                  <a:gd name="connsiteX2148" fmla="*/ 567099 w 939786"/>
                  <a:gd name="connsiteY2148" fmla="*/ 705171 h 840509"/>
                  <a:gd name="connsiteX2149" fmla="*/ 567364 w 939786"/>
                  <a:gd name="connsiteY2149" fmla="*/ 704906 h 840509"/>
                  <a:gd name="connsiteX2150" fmla="*/ 568510 w 939786"/>
                  <a:gd name="connsiteY2150" fmla="*/ 704906 h 840509"/>
                  <a:gd name="connsiteX2151" fmla="*/ 568774 w 939786"/>
                  <a:gd name="connsiteY2151" fmla="*/ 704642 h 840509"/>
                  <a:gd name="connsiteX2152" fmla="*/ 569039 w 939786"/>
                  <a:gd name="connsiteY2152" fmla="*/ 704642 h 840509"/>
                  <a:gd name="connsiteX2153" fmla="*/ 569039 w 939786"/>
                  <a:gd name="connsiteY2153" fmla="*/ 704906 h 840509"/>
                  <a:gd name="connsiteX2154" fmla="*/ 569303 w 939786"/>
                  <a:gd name="connsiteY2154" fmla="*/ 704906 h 840509"/>
                  <a:gd name="connsiteX2155" fmla="*/ 569303 w 939786"/>
                  <a:gd name="connsiteY2155" fmla="*/ 705171 h 840509"/>
                  <a:gd name="connsiteX2156" fmla="*/ 569127 w 939786"/>
                  <a:gd name="connsiteY2156" fmla="*/ 707463 h 840509"/>
                  <a:gd name="connsiteX2157" fmla="*/ 590464 w 939786"/>
                  <a:gd name="connsiteY2157" fmla="*/ 712753 h 840509"/>
                  <a:gd name="connsiteX2158" fmla="*/ 589582 w 939786"/>
                  <a:gd name="connsiteY2158" fmla="*/ 713370 h 840509"/>
                  <a:gd name="connsiteX2159" fmla="*/ 588965 w 939786"/>
                  <a:gd name="connsiteY2159" fmla="*/ 712753 h 840509"/>
                  <a:gd name="connsiteX2160" fmla="*/ 588700 w 939786"/>
                  <a:gd name="connsiteY2160" fmla="*/ 712753 h 840509"/>
                  <a:gd name="connsiteX2161" fmla="*/ 588700 w 939786"/>
                  <a:gd name="connsiteY2161" fmla="*/ 712489 h 840509"/>
                  <a:gd name="connsiteX2162" fmla="*/ 588700 w 939786"/>
                  <a:gd name="connsiteY2162" fmla="*/ 712224 h 840509"/>
                  <a:gd name="connsiteX2163" fmla="*/ 588965 w 939786"/>
                  <a:gd name="connsiteY2163" fmla="*/ 711960 h 840509"/>
                  <a:gd name="connsiteX2164" fmla="*/ 589229 w 939786"/>
                  <a:gd name="connsiteY2164" fmla="*/ 711960 h 840509"/>
                  <a:gd name="connsiteX2165" fmla="*/ 590993 w 939786"/>
                  <a:gd name="connsiteY2165" fmla="*/ 711960 h 840509"/>
                  <a:gd name="connsiteX2166" fmla="*/ 591345 w 939786"/>
                  <a:gd name="connsiteY2166" fmla="*/ 711960 h 840509"/>
                  <a:gd name="connsiteX2167" fmla="*/ 592492 w 939786"/>
                  <a:gd name="connsiteY2167" fmla="*/ 712224 h 840509"/>
                  <a:gd name="connsiteX2168" fmla="*/ 592492 w 939786"/>
                  <a:gd name="connsiteY2168" fmla="*/ 712489 h 840509"/>
                  <a:gd name="connsiteX2169" fmla="*/ 592227 w 939786"/>
                  <a:gd name="connsiteY2169" fmla="*/ 712489 h 840509"/>
                  <a:gd name="connsiteX2170" fmla="*/ 591963 w 939786"/>
                  <a:gd name="connsiteY2170" fmla="*/ 712753 h 840509"/>
                  <a:gd name="connsiteX2171" fmla="*/ 591698 w 939786"/>
                  <a:gd name="connsiteY2171" fmla="*/ 712489 h 840509"/>
                  <a:gd name="connsiteX2172" fmla="*/ 591434 w 939786"/>
                  <a:gd name="connsiteY2172" fmla="*/ 712489 h 840509"/>
                  <a:gd name="connsiteX2173" fmla="*/ 591081 w 939786"/>
                  <a:gd name="connsiteY2173" fmla="*/ 712489 h 840509"/>
                  <a:gd name="connsiteX2174" fmla="*/ 590816 w 939786"/>
                  <a:gd name="connsiteY2174" fmla="*/ 712753 h 840509"/>
                  <a:gd name="connsiteX2175" fmla="*/ 590464 w 939786"/>
                  <a:gd name="connsiteY2175" fmla="*/ 712753 h 840509"/>
                  <a:gd name="connsiteX2176" fmla="*/ 540560 w 939786"/>
                  <a:gd name="connsiteY2176" fmla="*/ 710108 h 840509"/>
                  <a:gd name="connsiteX2177" fmla="*/ 538533 w 939786"/>
                  <a:gd name="connsiteY2177" fmla="*/ 709226 h 840509"/>
                  <a:gd name="connsiteX2178" fmla="*/ 538180 w 939786"/>
                  <a:gd name="connsiteY2178" fmla="*/ 709491 h 840509"/>
                  <a:gd name="connsiteX2179" fmla="*/ 536769 w 939786"/>
                  <a:gd name="connsiteY2179" fmla="*/ 715663 h 840509"/>
                  <a:gd name="connsiteX2180" fmla="*/ 535623 w 939786"/>
                  <a:gd name="connsiteY2180" fmla="*/ 718308 h 840509"/>
                  <a:gd name="connsiteX2181" fmla="*/ 533243 w 939786"/>
                  <a:gd name="connsiteY2181" fmla="*/ 718925 h 840509"/>
                  <a:gd name="connsiteX2182" fmla="*/ 530068 w 939786"/>
                  <a:gd name="connsiteY2182" fmla="*/ 718308 h 840509"/>
                  <a:gd name="connsiteX2183" fmla="*/ 527423 w 939786"/>
                  <a:gd name="connsiteY2183" fmla="*/ 719190 h 840509"/>
                  <a:gd name="connsiteX2184" fmla="*/ 525660 w 939786"/>
                  <a:gd name="connsiteY2184" fmla="*/ 716897 h 840509"/>
                  <a:gd name="connsiteX2185" fmla="*/ 525043 w 939786"/>
                  <a:gd name="connsiteY2185" fmla="*/ 715751 h 840509"/>
                  <a:gd name="connsiteX2186" fmla="*/ 518959 w 939786"/>
                  <a:gd name="connsiteY2186" fmla="*/ 714605 h 840509"/>
                  <a:gd name="connsiteX2187" fmla="*/ 517460 w 939786"/>
                  <a:gd name="connsiteY2187" fmla="*/ 711431 h 840509"/>
                  <a:gd name="connsiteX2188" fmla="*/ 513669 w 939786"/>
                  <a:gd name="connsiteY2188" fmla="*/ 708786 h 840509"/>
                  <a:gd name="connsiteX2189" fmla="*/ 509878 w 939786"/>
                  <a:gd name="connsiteY2189" fmla="*/ 707022 h 840509"/>
                  <a:gd name="connsiteX2190" fmla="*/ 505822 w 939786"/>
                  <a:gd name="connsiteY2190" fmla="*/ 709050 h 840509"/>
                  <a:gd name="connsiteX2191" fmla="*/ 505205 w 939786"/>
                  <a:gd name="connsiteY2191" fmla="*/ 702614 h 840509"/>
                  <a:gd name="connsiteX2192" fmla="*/ 502913 w 939786"/>
                  <a:gd name="connsiteY2192" fmla="*/ 707551 h 840509"/>
                  <a:gd name="connsiteX2193" fmla="*/ 500267 w 939786"/>
                  <a:gd name="connsiteY2193" fmla="*/ 706670 h 840509"/>
                  <a:gd name="connsiteX2194" fmla="*/ 498240 w 939786"/>
                  <a:gd name="connsiteY2194" fmla="*/ 705523 h 840509"/>
                  <a:gd name="connsiteX2195" fmla="*/ 496476 w 939786"/>
                  <a:gd name="connsiteY2195" fmla="*/ 706141 h 840509"/>
                  <a:gd name="connsiteX2196" fmla="*/ 495330 w 939786"/>
                  <a:gd name="connsiteY2196" fmla="*/ 708169 h 840509"/>
                  <a:gd name="connsiteX2197" fmla="*/ 493302 w 939786"/>
                  <a:gd name="connsiteY2197" fmla="*/ 707287 h 840509"/>
                  <a:gd name="connsiteX2198" fmla="*/ 492156 w 939786"/>
                  <a:gd name="connsiteY2198" fmla="*/ 705259 h 840509"/>
                  <a:gd name="connsiteX2199" fmla="*/ 490657 w 939786"/>
                  <a:gd name="connsiteY2199" fmla="*/ 703848 h 840509"/>
                  <a:gd name="connsiteX2200" fmla="*/ 489159 w 939786"/>
                  <a:gd name="connsiteY2200" fmla="*/ 704113 h 840509"/>
                  <a:gd name="connsiteX2201" fmla="*/ 487130 w 939786"/>
                  <a:gd name="connsiteY2201" fmla="*/ 701203 h 840509"/>
                  <a:gd name="connsiteX2202" fmla="*/ 484750 w 939786"/>
                  <a:gd name="connsiteY2202" fmla="*/ 700586 h 840509"/>
                  <a:gd name="connsiteX2203" fmla="*/ 483339 w 939786"/>
                  <a:gd name="connsiteY2203" fmla="*/ 699969 h 840509"/>
                  <a:gd name="connsiteX2204" fmla="*/ 478931 w 939786"/>
                  <a:gd name="connsiteY2204" fmla="*/ 699087 h 840509"/>
                  <a:gd name="connsiteX2205" fmla="*/ 478049 w 939786"/>
                  <a:gd name="connsiteY2205" fmla="*/ 695296 h 840509"/>
                  <a:gd name="connsiteX2206" fmla="*/ 476551 w 939786"/>
                  <a:gd name="connsiteY2206" fmla="*/ 694414 h 840509"/>
                  <a:gd name="connsiteX2207" fmla="*/ 476815 w 939786"/>
                  <a:gd name="connsiteY2207" fmla="*/ 694062 h 840509"/>
                  <a:gd name="connsiteX2208" fmla="*/ 476286 w 939786"/>
                  <a:gd name="connsiteY2208" fmla="*/ 691417 h 840509"/>
                  <a:gd name="connsiteX2209" fmla="*/ 476815 w 939786"/>
                  <a:gd name="connsiteY2209" fmla="*/ 689124 h 840509"/>
                  <a:gd name="connsiteX2210" fmla="*/ 475933 w 939786"/>
                  <a:gd name="connsiteY2210" fmla="*/ 688860 h 840509"/>
                  <a:gd name="connsiteX2211" fmla="*/ 476286 w 939786"/>
                  <a:gd name="connsiteY2211" fmla="*/ 684187 h 840509"/>
                  <a:gd name="connsiteX2212" fmla="*/ 476551 w 939786"/>
                  <a:gd name="connsiteY2212" fmla="*/ 685950 h 840509"/>
                  <a:gd name="connsiteX2213" fmla="*/ 475404 w 939786"/>
                  <a:gd name="connsiteY2213" fmla="*/ 683922 h 840509"/>
                  <a:gd name="connsiteX2214" fmla="*/ 476021 w 939786"/>
                  <a:gd name="connsiteY2214" fmla="*/ 680484 h 840509"/>
                  <a:gd name="connsiteX2215" fmla="*/ 476021 w 939786"/>
                  <a:gd name="connsiteY2215" fmla="*/ 681365 h 840509"/>
                  <a:gd name="connsiteX2216" fmla="*/ 475404 w 939786"/>
                  <a:gd name="connsiteY2216" fmla="*/ 675282 h 840509"/>
                  <a:gd name="connsiteX2217" fmla="*/ 475404 w 939786"/>
                  <a:gd name="connsiteY2217" fmla="*/ 675899 h 840509"/>
                  <a:gd name="connsiteX2218" fmla="*/ 474522 w 939786"/>
                  <a:gd name="connsiteY2218" fmla="*/ 677398 h 840509"/>
                  <a:gd name="connsiteX2219" fmla="*/ 473905 w 939786"/>
                  <a:gd name="connsiteY2219" fmla="*/ 672989 h 840509"/>
                  <a:gd name="connsiteX2220" fmla="*/ 474170 w 939786"/>
                  <a:gd name="connsiteY2220" fmla="*/ 672989 h 840509"/>
                  <a:gd name="connsiteX2221" fmla="*/ 474434 w 939786"/>
                  <a:gd name="connsiteY2221" fmla="*/ 672725 h 840509"/>
                  <a:gd name="connsiteX2222" fmla="*/ 474434 w 939786"/>
                  <a:gd name="connsiteY2222" fmla="*/ 672460 h 840509"/>
                  <a:gd name="connsiteX2223" fmla="*/ 475051 w 939786"/>
                  <a:gd name="connsiteY2223" fmla="*/ 671579 h 840509"/>
                  <a:gd name="connsiteX2224" fmla="*/ 475051 w 939786"/>
                  <a:gd name="connsiteY2224" fmla="*/ 669551 h 840509"/>
                  <a:gd name="connsiteX2225" fmla="*/ 475051 w 939786"/>
                  <a:gd name="connsiteY2225" fmla="*/ 669286 h 840509"/>
                  <a:gd name="connsiteX2226" fmla="*/ 476815 w 939786"/>
                  <a:gd name="connsiteY2226" fmla="*/ 667258 h 840509"/>
                  <a:gd name="connsiteX2227" fmla="*/ 477696 w 939786"/>
                  <a:gd name="connsiteY2227" fmla="*/ 666641 h 840509"/>
                  <a:gd name="connsiteX2228" fmla="*/ 477961 w 939786"/>
                  <a:gd name="connsiteY2228" fmla="*/ 666377 h 840509"/>
                  <a:gd name="connsiteX2229" fmla="*/ 478578 w 939786"/>
                  <a:gd name="connsiteY2229" fmla="*/ 666112 h 840509"/>
                  <a:gd name="connsiteX2230" fmla="*/ 478842 w 939786"/>
                  <a:gd name="connsiteY2230" fmla="*/ 665848 h 840509"/>
                  <a:gd name="connsiteX2231" fmla="*/ 479460 w 939786"/>
                  <a:gd name="connsiteY2231" fmla="*/ 665583 h 840509"/>
                  <a:gd name="connsiteX2232" fmla="*/ 479813 w 939786"/>
                  <a:gd name="connsiteY2232" fmla="*/ 665054 h 840509"/>
                  <a:gd name="connsiteX2233" fmla="*/ 480077 w 939786"/>
                  <a:gd name="connsiteY2233" fmla="*/ 664702 h 840509"/>
                  <a:gd name="connsiteX2234" fmla="*/ 480342 w 939786"/>
                  <a:gd name="connsiteY2234" fmla="*/ 664084 h 840509"/>
                  <a:gd name="connsiteX2235" fmla="*/ 480694 w 939786"/>
                  <a:gd name="connsiteY2235" fmla="*/ 663820 h 840509"/>
                  <a:gd name="connsiteX2236" fmla="*/ 480959 w 939786"/>
                  <a:gd name="connsiteY2236" fmla="*/ 663555 h 840509"/>
                  <a:gd name="connsiteX2237" fmla="*/ 481223 w 939786"/>
                  <a:gd name="connsiteY2237" fmla="*/ 662938 h 840509"/>
                  <a:gd name="connsiteX2238" fmla="*/ 481488 w 939786"/>
                  <a:gd name="connsiteY2238" fmla="*/ 662321 h 840509"/>
                  <a:gd name="connsiteX2239" fmla="*/ 482105 w 939786"/>
                  <a:gd name="connsiteY2239" fmla="*/ 660910 h 840509"/>
                  <a:gd name="connsiteX2240" fmla="*/ 482458 w 939786"/>
                  <a:gd name="connsiteY2240" fmla="*/ 660646 h 840509"/>
                  <a:gd name="connsiteX2241" fmla="*/ 482458 w 939786"/>
                  <a:gd name="connsiteY2241" fmla="*/ 660029 h 840509"/>
                  <a:gd name="connsiteX2242" fmla="*/ 482722 w 939786"/>
                  <a:gd name="connsiteY2242" fmla="*/ 658618 h 840509"/>
                  <a:gd name="connsiteX2243" fmla="*/ 482722 w 939786"/>
                  <a:gd name="connsiteY2243" fmla="*/ 658265 h 840509"/>
                  <a:gd name="connsiteX2244" fmla="*/ 482722 w 939786"/>
                  <a:gd name="connsiteY2244" fmla="*/ 658001 h 840509"/>
                  <a:gd name="connsiteX2245" fmla="*/ 483339 w 939786"/>
                  <a:gd name="connsiteY2245" fmla="*/ 650683 h 840509"/>
                  <a:gd name="connsiteX2246" fmla="*/ 483604 w 939786"/>
                  <a:gd name="connsiteY2246" fmla="*/ 649537 h 840509"/>
                  <a:gd name="connsiteX2247" fmla="*/ 482458 w 939786"/>
                  <a:gd name="connsiteY2247" fmla="*/ 645745 h 840509"/>
                  <a:gd name="connsiteX2248" fmla="*/ 482458 w 939786"/>
                  <a:gd name="connsiteY2248" fmla="*/ 645128 h 840509"/>
                  <a:gd name="connsiteX2249" fmla="*/ 481840 w 939786"/>
                  <a:gd name="connsiteY2249" fmla="*/ 643365 h 840509"/>
                  <a:gd name="connsiteX2250" fmla="*/ 481840 w 939786"/>
                  <a:gd name="connsiteY2250" fmla="*/ 643100 h 840509"/>
                  <a:gd name="connsiteX2251" fmla="*/ 481576 w 939786"/>
                  <a:gd name="connsiteY2251" fmla="*/ 642218 h 840509"/>
                  <a:gd name="connsiteX2252" fmla="*/ 480959 w 939786"/>
                  <a:gd name="connsiteY2252" fmla="*/ 641072 h 840509"/>
                  <a:gd name="connsiteX2253" fmla="*/ 480694 w 939786"/>
                  <a:gd name="connsiteY2253" fmla="*/ 640455 h 840509"/>
                  <a:gd name="connsiteX2254" fmla="*/ 479548 w 939786"/>
                  <a:gd name="connsiteY2254" fmla="*/ 638163 h 840509"/>
                  <a:gd name="connsiteX2255" fmla="*/ 478137 w 939786"/>
                  <a:gd name="connsiteY2255" fmla="*/ 636399 h 840509"/>
                  <a:gd name="connsiteX2256" fmla="*/ 478402 w 939786"/>
                  <a:gd name="connsiteY2256" fmla="*/ 636399 h 840509"/>
                  <a:gd name="connsiteX2257" fmla="*/ 478755 w 939786"/>
                  <a:gd name="connsiteY2257" fmla="*/ 636399 h 840509"/>
                  <a:gd name="connsiteX2258" fmla="*/ 479019 w 939786"/>
                  <a:gd name="connsiteY2258" fmla="*/ 636399 h 840509"/>
                  <a:gd name="connsiteX2259" fmla="*/ 479019 w 939786"/>
                  <a:gd name="connsiteY2259" fmla="*/ 636752 h 840509"/>
                  <a:gd name="connsiteX2260" fmla="*/ 479371 w 939786"/>
                  <a:gd name="connsiteY2260" fmla="*/ 636752 h 840509"/>
                  <a:gd name="connsiteX2261" fmla="*/ 482017 w 939786"/>
                  <a:gd name="connsiteY2261" fmla="*/ 640543 h 840509"/>
                  <a:gd name="connsiteX2262" fmla="*/ 482634 w 939786"/>
                  <a:gd name="connsiteY2262" fmla="*/ 641689 h 840509"/>
                  <a:gd name="connsiteX2263" fmla="*/ 483163 w 939786"/>
                  <a:gd name="connsiteY2263" fmla="*/ 643453 h 840509"/>
                  <a:gd name="connsiteX2264" fmla="*/ 483780 w 939786"/>
                  <a:gd name="connsiteY2264" fmla="*/ 646362 h 840509"/>
                  <a:gd name="connsiteX2265" fmla="*/ 483780 w 939786"/>
                  <a:gd name="connsiteY2265" fmla="*/ 646715 h 840509"/>
                  <a:gd name="connsiteX2266" fmla="*/ 484045 w 939786"/>
                  <a:gd name="connsiteY2266" fmla="*/ 647509 h 840509"/>
                  <a:gd name="connsiteX2267" fmla="*/ 483780 w 939786"/>
                  <a:gd name="connsiteY2267" fmla="*/ 649008 h 840509"/>
                  <a:gd name="connsiteX2268" fmla="*/ 483780 w 939786"/>
                  <a:gd name="connsiteY2268" fmla="*/ 649625 h 840509"/>
                  <a:gd name="connsiteX2269" fmla="*/ 483780 w 939786"/>
                  <a:gd name="connsiteY2269" fmla="*/ 649713 h 840509"/>
                  <a:gd name="connsiteX2270" fmla="*/ 483780 w 939786"/>
                  <a:gd name="connsiteY2270" fmla="*/ 649448 h 840509"/>
                  <a:gd name="connsiteX2271" fmla="*/ 484045 w 939786"/>
                  <a:gd name="connsiteY2271" fmla="*/ 649184 h 840509"/>
                  <a:gd name="connsiteX2272" fmla="*/ 484309 w 939786"/>
                  <a:gd name="connsiteY2272" fmla="*/ 648567 h 840509"/>
                  <a:gd name="connsiteX2273" fmla="*/ 484309 w 939786"/>
                  <a:gd name="connsiteY2273" fmla="*/ 647685 h 840509"/>
                  <a:gd name="connsiteX2274" fmla="*/ 484926 w 939786"/>
                  <a:gd name="connsiteY2274" fmla="*/ 645040 h 840509"/>
                  <a:gd name="connsiteX2275" fmla="*/ 484662 w 939786"/>
                  <a:gd name="connsiteY2275" fmla="*/ 644423 h 840509"/>
                  <a:gd name="connsiteX2276" fmla="*/ 484662 w 939786"/>
                  <a:gd name="connsiteY2276" fmla="*/ 643805 h 840509"/>
                  <a:gd name="connsiteX2277" fmla="*/ 484662 w 939786"/>
                  <a:gd name="connsiteY2277" fmla="*/ 643541 h 840509"/>
                  <a:gd name="connsiteX2278" fmla="*/ 484397 w 939786"/>
                  <a:gd name="connsiteY2278" fmla="*/ 643276 h 840509"/>
                  <a:gd name="connsiteX2279" fmla="*/ 483780 w 939786"/>
                  <a:gd name="connsiteY2279" fmla="*/ 641778 h 840509"/>
                  <a:gd name="connsiteX2280" fmla="*/ 483516 w 939786"/>
                  <a:gd name="connsiteY2280" fmla="*/ 640984 h 840509"/>
                  <a:gd name="connsiteX2281" fmla="*/ 481752 w 939786"/>
                  <a:gd name="connsiteY2281" fmla="*/ 638339 h 840509"/>
                  <a:gd name="connsiteX2282" fmla="*/ 480606 w 939786"/>
                  <a:gd name="connsiteY2282" fmla="*/ 635959 h 840509"/>
                  <a:gd name="connsiteX2283" fmla="*/ 480342 w 939786"/>
                  <a:gd name="connsiteY2283" fmla="*/ 635430 h 840509"/>
                  <a:gd name="connsiteX2284" fmla="*/ 480077 w 939786"/>
                  <a:gd name="connsiteY2284" fmla="*/ 635077 h 840509"/>
                  <a:gd name="connsiteX2285" fmla="*/ 479724 w 939786"/>
                  <a:gd name="connsiteY2285" fmla="*/ 634812 h 840509"/>
                  <a:gd name="connsiteX2286" fmla="*/ 479724 w 939786"/>
                  <a:gd name="connsiteY2286" fmla="*/ 634548 h 840509"/>
                  <a:gd name="connsiteX2287" fmla="*/ 479460 w 939786"/>
                  <a:gd name="connsiteY2287" fmla="*/ 634548 h 840509"/>
                  <a:gd name="connsiteX2288" fmla="*/ 479724 w 939786"/>
                  <a:gd name="connsiteY2288" fmla="*/ 634548 h 840509"/>
                  <a:gd name="connsiteX2289" fmla="*/ 479724 w 939786"/>
                  <a:gd name="connsiteY2289" fmla="*/ 634283 h 840509"/>
                  <a:gd name="connsiteX2290" fmla="*/ 480606 w 939786"/>
                  <a:gd name="connsiteY2290" fmla="*/ 632255 h 840509"/>
                  <a:gd name="connsiteX2291" fmla="*/ 480959 w 939786"/>
                  <a:gd name="connsiteY2291" fmla="*/ 631991 h 840509"/>
                  <a:gd name="connsiteX2292" fmla="*/ 481576 w 939786"/>
                  <a:gd name="connsiteY2292" fmla="*/ 631991 h 840509"/>
                  <a:gd name="connsiteX2293" fmla="*/ 481576 w 939786"/>
                  <a:gd name="connsiteY2293" fmla="*/ 631726 h 840509"/>
                  <a:gd name="connsiteX2294" fmla="*/ 481840 w 939786"/>
                  <a:gd name="connsiteY2294" fmla="*/ 631726 h 840509"/>
                  <a:gd name="connsiteX2295" fmla="*/ 482105 w 939786"/>
                  <a:gd name="connsiteY2295" fmla="*/ 631726 h 840509"/>
                  <a:gd name="connsiteX2296" fmla="*/ 482369 w 939786"/>
                  <a:gd name="connsiteY2296" fmla="*/ 631726 h 840509"/>
                  <a:gd name="connsiteX2297" fmla="*/ 482987 w 939786"/>
                  <a:gd name="connsiteY2297" fmla="*/ 632873 h 840509"/>
                  <a:gd name="connsiteX2298" fmla="*/ 483251 w 939786"/>
                  <a:gd name="connsiteY2298" fmla="*/ 632873 h 840509"/>
                  <a:gd name="connsiteX2299" fmla="*/ 483251 w 939786"/>
                  <a:gd name="connsiteY2299" fmla="*/ 633225 h 840509"/>
                  <a:gd name="connsiteX2300" fmla="*/ 482987 w 939786"/>
                  <a:gd name="connsiteY2300" fmla="*/ 633754 h 840509"/>
                  <a:gd name="connsiteX2301" fmla="*/ 482722 w 939786"/>
                  <a:gd name="connsiteY2301" fmla="*/ 634107 h 840509"/>
                  <a:gd name="connsiteX2302" fmla="*/ 481576 w 939786"/>
                  <a:gd name="connsiteY2302" fmla="*/ 636135 h 840509"/>
                  <a:gd name="connsiteX2303" fmla="*/ 481576 w 939786"/>
                  <a:gd name="connsiteY2303" fmla="*/ 636488 h 840509"/>
                  <a:gd name="connsiteX2304" fmla="*/ 481576 w 939786"/>
                  <a:gd name="connsiteY2304" fmla="*/ 636752 h 840509"/>
                  <a:gd name="connsiteX2305" fmla="*/ 481840 w 939786"/>
                  <a:gd name="connsiteY2305" fmla="*/ 636752 h 840509"/>
                  <a:gd name="connsiteX2306" fmla="*/ 483251 w 939786"/>
                  <a:gd name="connsiteY2306" fmla="*/ 636752 h 840509"/>
                  <a:gd name="connsiteX2307" fmla="*/ 483604 w 939786"/>
                  <a:gd name="connsiteY2307" fmla="*/ 636752 h 840509"/>
                  <a:gd name="connsiteX2308" fmla="*/ 483604 w 939786"/>
                  <a:gd name="connsiteY2308" fmla="*/ 636488 h 840509"/>
                  <a:gd name="connsiteX2309" fmla="*/ 483868 w 939786"/>
                  <a:gd name="connsiteY2309" fmla="*/ 636135 h 840509"/>
                  <a:gd name="connsiteX2310" fmla="*/ 485367 w 939786"/>
                  <a:gd name="connsiteY2310" fmla="*/ 634460 h 840509"/>
                  <a:gd name="connsiteX2311" fmla="*/ 487130 w 939786"/>
                  <a:gd name="connsiteY2311" fmla="*/ 631286 h 840509"/>
                  <a:gd name="connsiteX2312" fmla="*/ 487130 w 939786"/>
                  <a:gd name="connsiteY2312" fmla="*/ 631021 h 840509"/>
                  <a:gd name="connsiteX2313" fmla="*/ 488012 w 939786"/>
                  <a:gd name="connsiteY2313" fmla="*/ 628729 h 840509"/>
                  <a:gd name="connsiteX2314" fmla="*/ 486249 w 939786"/>
                  <a:gd name="connsiteY2314" fmla="*/ 627495 h 840509"/>
                  <a:gd name="connsiteX2315" fmla="*/ 485984 w 939786"/>
                  <a:gd name="connsiteY2315" fmla="*/ 627230 h 840509"/>
                  <a:gd name="connsiteX2316" fmla="*/ 485720 w 939786"/>
                  <a:gd name="connsiteY2316" fmla="*/ 627230 h 840509"/>
                  <a:gd name="connsiteX2317" fmla="*/ 485103 w 939786"/>
                  <a:gd name="connsiteY2317" fmla="*/ 627230 h 840509"/>
                  <a:gd name="connsiteX2318" fmla="*/ 484838 w 939786"/>
                  <a:gd name="connsiteY2318" fmla="*/ 627495 h 840509"/>
                  <a:gd name="connsiteX2319" fmla="*/ 485103 w 939786"/>
                  <a:gd name="connsiteY2319" fmla="*/ 627847 h 840509"/>
                  <a:gd name="connsiteX2320" fmla="*/ 483339 w 939786"/>
                  <a:gd name="connsiteY2320" fmla="*/ 628729 h 840509"/>
                  <a:gd name="connsiteX2321" fmla="*/ 483075 w 939786"/>
                  <a:gd name="connsiteY2321" fmla="*/ 628993 h 840509"/>
                  <a:gd name="connsiteX2322" fmla="*/ 482193 w 939786"/>
                  <a:gd name="connsiteY2322" fmla="*/ 629258 h 840509"/>
                  <a:gd name="connsiteX2323" fmla="*/ 481929 w 939786"/>
                  <a:gd name="connsiteY2323" fmla="*/ 629258 h 840509"/>
                  <a:gd name="connsiteX2324" fmla="*/ 481664 w 939786"/>
                  <a:gd name="connsiteY2324" fmla="*/ 629258 h 840509"/>
                  <a:gd name="connsiteX2325" fmla="*/ 481400 w 939786"/>
                  <a:gd name="connsiteY2325" fmla="*/ 629258 h 840509"/>
                  <a:gd name="connsiteX2326" fmla="*/ 481135 w 939786"/>
                  <a:gd name="connsiteY2326" fmla="*/ 629258 h 840509"/>
                  <a:gd name="connsiteX2327" fmla="*/ 480782 w 939786"/>
                  <a:gd name="connsiteY2327" fmla="*/ 629258 h 840509"/>
                  <a:gd name="connsiteX2328" fmla="*/ 480253 w 939786"/>
                  <a:gd name="connsiteY2328" fmla="*/ 629258 h 840509"/>
                  <a:gd name="connsiteX2329" fmla="*/ 479900 w 939786"/>
                  <a:gd name="connsiteY2329" fmla="*/ 629258 h 840509"/>
                  <a:gd name="connsiteX2330" fmla="*/ 479636 w 939786"/>
                  <a:gd name="connsiteY2330" fmla="*/ 629522 h 840509"/>
                  <a:gd name="connsiteX2331" fmla="*/ 479019 w 939786"/>
                  <a:gd name="connsiteY2331" fmla="*/ 630139 h 840509"/>
                  <a:gd name="connsiteX2332" fmla="*/ 478666 w 939786"/>
                  <a:gd name="connsiteY2332" fmla="*/ 630404 h 840509"/>
                  <a:gd name="connsiteX2333" fmla="*/ 478666 w 939786"/>
                  <a:gd name="connsiteY2333" fmla="*/ 630757 h 840509"/>
                  <a:gd name="connsiteX2334" fmla="*/ 478402 w 939786"/>
                  <a:gd name="connsiteY2334" fmla="*/ 631021 h 840509"/>
                  <a:gd name="connsiteX2335" fmla="*/ 478402 w 939786"/>
                  <a:gd name="connsiteY2335" fmla="*/ 631286 h 840509"/>
                  <a:gd name="connsiteX2336" fmla="*/ 478666 w 939786"/>
                  <a:gd name="connsiteY2336" fmla="*/ 631286 h 840509"/>
                  <a:gd name="connsiteX2337" fmla="*/ 479019 w 939786"/>
                  <a:gd name="connsiteY2337" fmla="*/ 631550 h 840509"/>
                  <a:gd name="connsiteX2338" fmla="*/ 479284 w 939786"/>
                  <a:gd name="connsiteY2338" fmla="*/ 631550 h 840509"/>
                  <a:gd name="connsiteX2339" fmla="*/ 479636 w 939786"/>
                  <a:gd name="connsiteY2339" fmla="*/ 631550 h 840509"/>
                  <a:gd name="connsiteX2340" fmla="*/ 479900 w 939786"/>
                  <a:gd name="connsiteY2340" fmla="*/ 631815 h 840509"/>
                  <a:gd name="connsiteX2341" fmla="*/ 479636 w 939786"/>
                  <a:gd name="connsiteY2341" fmla="*/ 632079 h 840509"/>
                  <a:gd name="connsiteX2342" fmla="*/ 478490 w 939786"/>
                  <a:gd name="connsiteY2342" fmla="*/ 632961 h 840509"/>
                  <a:gd name="connsiteX2343" fmla="*/ 478490 w 939786"/>
                  <a:gd name="connsiteY2343" fmla="*/ 633314 h 840509"/>
                  <a:gd name="connsiteX2344" fmla="*/ 478225 w 939786"/>
                  <a:gd name="connsiteY2344" fmla="*/ 633314 h 840509"/>
                  <a:gd name="connsiteX2345" fmla="*/ 477961 w 939786"/>
                  <a:gd name="connsiteY2345" fmla="*/ 633314 h 840509"/>
                  <a:gd name="connsiteX2346" fmla="*/ 476462 w 939786"/>
                  <a:gd name="connsiteY2346" fmla="*/ 633314 h 840509"/>
                  <a:gd name="connsiteX2347" fmla="*/ 475316 w 939786"/>
                  <a:gd name="connsiteY2347" fmla="*/ 632961 h 840509"/>
                  <a:gd name="connsiteX2348" fmla="*/ 474963 w 939786"/>
                  <a:gd name="connsiteY2348" fmla="*/ 632696 h 840509"/>
                  <a:gd name="connsiteX2349" fmla="*/ 474699 w 939786"/>
                  <a:gd name="connsiteY2349" fmla="*/ 632696 h 840509"/>
                  <a:gd name="connsiteX2350" fmla="*/ 474082 w 939786"/>
                  <a:gd name="connsiteY2350" fmla="*/ 632696 h 840509"/>
                  <a:gd name="connsiteX2351" fmla="*/ 473200 w 939786"/>
                  <a:gd name="connsiteY2351" fmla="*/ 632696 h 840509"/>
                  <a:gd name="connsiteX2352" fmla="*/ 472935 w 939786"/>
                  <a:gd name="connsiteY2352" fmla="*/ 632696 h 840509"/>
                  <a:gd name="connsiteX2353" fmla="*/ 471437 w 939786"/>
                  <a:gd name="connsiteY2353" fmla="*/ 633314 h 840509"/>
                  <a:gd name="connsiteX2354" fmla="*/ 471172 w 939786"/>
                  <a:gd name="connsiteY2354" fmla="*/ 633314 h 840509"/>
                  <a:gd name="connsiteX2355" fmla="*/ 470908 w 939786"/>
                  <a:gd name="connsiteY2355" fmla="*/ 633578 h 840509"/>
                  <a:gd name="connsiteX2356" fmla="*/ 470379 w 939786"/>
                  <a:gd name="connsiteY2356" fmla="*/ 633843 h 840509"/>
                  <a:gd name="connsiteX2357" fmla="*/ 470379 w 939786"/>
                  <a:gd name="connsiteY2357" fmla="*/ 634195 h 840509"/>
                  <a:gd name="connsiteX2358" fmla="*/ 469761 w 939786"/>
                  <a:gd name="connsiteY2358" fmla="*/ 634460 h 840509"/>
                  <a:gd name="connsiteX2359" fmla="*/ 469497 w 939786"/>
                  <a:gd name="connsiteY2359" fmla="*/ 634724 h 840509"/>
                  <a:gd name="connsiteX2360" fmla="*/ 469232 w 939786"/>
                  <a:gd name="connsiteY2360" fmla="*/ 634989 h 840509"/>
                  <a:gd name="connsiteX2361" fmla="*/ 468350 w 939786"/>
                  <a:gd name="connsiteY2361" fmla="*/ 635253 h 840509"/>
                  <a:gd name="connsiteX2362" fmla="*/ 468086 w 939786"/>
                  <a:gd name="connsiteY2362" fmla="*/ 635606 h 840509"/>
                  <a:gd name="connsiteX2363" fmla="*/ 467821 w 939786"/>
                  <a:gd name="connsiteY2363" fmla="*/ 635606 h 840509"/>
                  <a:gd name="connsiteX2364" fmla="*/ 461121 w 939786"/>
                  <a:gd name="connsiteY2364" fmla="*/ 635870 h 840509"/>
                  <a:gd name="connsiteX2365" fmla="*/ 460592 w 939786"/>
                  <a:gd name="connsiteY2365" fmla="*/ 635870 h 840509"/>
                  <a:gd name="connsiteX2366" fmla="*/ 460327 w 939786"/>
                  <a:gd name="connsiteY2366" fmla="*/ 635870 h 840509"/>
                  <a:gd name="connsiteX2367" fmla="*/ 459975 w 939786"/>
                  <a:gd name="connsiteY2367" fmla="*/ 635606 h 840509"/>
                  <a:gd name="connsiteX2368" fmla="*/ 459358 w 939786"/>
                  <a:gd name="connsiteY2368" fmla="*/ 634724 h 840509"/>
                  <a:gd name="connsiteX2369" fmla="*/ 460856 w 939786"/>
                  <a:gd name="connsiteY2369" fmla="*/ 633314 h 840509"/>
                  <a:gd name="connsiteX2370" fmla="*/ 461121 w 939786"/>
                  <a:gd name="connsiteY2370" fmla="*/ 632961 h 840509"/>
                  <a:gd name="connsiteX2371" fmla="*/ 461385 w 939786"/>
                  <a:gd name="connsiteY2371" fmla="*/ 632696 h 840509"/>
                  <a:gd name="connsiteX2372" fmla="*/ 461650 w 939786"/>
                  <a:gd name="connsiteY2372" fmla="*/ 632432 h 840509"/>
                  <a:gd name="connsiteX2373" fmla="*/ 462532 w 939786"/>
                  <a:gd name="connsiteY2373" fmla="*/ 632432 h 840509"/>
                  <a:gd name="connsiteX2374" fmla="*/ 463149 w 939786"/>
                  <a:gd name="connsiteY2374" fmla="*/ 632167 h 840509"/>
                  <a:gd name="connsiteX2375" fmla="*/ 464295 w 939786"/>
                  <a:gd name="connsiteY2375" fmla="*/ 631638 h 840509"/>
                  <a:gd name="connsiteX2376" fmla="*/ 464824 w 939786"/>
                  <a:gd name="connsiteY2376" fmla="*/ 631374 h 840509"/>
                  <a:gd name="connsiteX2377" fmla="*/ 465088 w 939786"/>
                  <a:gd name="connsiteY2377" fmla="*/ 631374 h 840509"/>
                  <a:gd name="connsiteX2378" fmla="*/ 469144 w 939786"/>
                  <a:gd name="connsiteY2378" fmla="*/ 628464 h 840509"/>
                  <a:gd name="connsiteX2379" fmla="*/ 469408 w 939786"/>
                  <a:gd name="connsiteY2379" fmla="*/ 628111 h 840509"/>
                  <a:gd name="connsiteX2380" fmla="*/ 469673 w 939786"/>
                  <a:gd name="connsiteY2380" fmla="*/ 627847 h 840509"/>
                  <a:gd name="connsiteX2381" fmla="*/ 469673 w 939786"/>
                  <a:gd name="connsiteY2381" fmla="*/ 627495 h 840509"/>
                  <a:gd name="connsiteX2382" fmla="*/ 471437 w 939786"/>
                  <a:gd name="connsiteY2382" fmla="*/ 625202 h 840509"/>
                  <a:gd name="connsiteX2383" fmla="*/ 471701 w 939786"/>
                  <a:gd name="connsiteY2383" fmla="*/ 624673 h 840509"/>
                  <a:gd name="connsiteX2384" fmla="*/ 471701 w 939786"/>
                  <a:gd name="connsiteY2384" fmla="*/ 624320 h 840509"/>
                  <a:gd name="connsiteX2385" fmla="*/ 471701 w 939786"/>
                  <a:gd name="connsiteY2385" fmla="*/ 623968 h 840509"/>
                  <a:gd name="connsiteX2386" fmla="*/ 471701 w 939786"/>
                  <a:gd name="connsiteY2386" fmla="*/ 623703 h 840509"/>
                  <a:gd name="connsiteX2387" fmla="*/ 471966 w 939786"/>
                  <a:gd name="connsiteY2387" fmla="*/ 623703 h 840509"/>
                  <a:gd name="connsiteX2388" fmla="*/ 472583 w 939786"/>
                  <a:gd name="connsiteY2388" fmla="*/ 622293 h 840509"/>
                  <a:gd name="connsiteX2389" fmla="*/ 472935 w 939786"/>
                  <a:gd name="connsiteY2389" fmla="*/ 622293 h 840509"/>
                  <a:gd name="connsiteX2390" fmla="*/ 473200 w 939786"/>
                  <a:gd name="connsiteY2390" fmla="*/ 621675 h 840509"/>
                  <a:gd name="connsiteX2391" fmla="*/ 473817 w 939786"/>
                  <a:gd name="connsiteY2391" fmla="*/ 621411 h 840509"/>
                  <a:gd name="connsiteX2392" fmla="*/ 473817 w 939786"/>
                  <a:gd name="connsiteY2392" fmla="*/ 621146 h 840509"/>
                  <a:gd name="connsiteX2393" fmla="*/ 474346 w 939786"/>
                  <a:gd name="connsiteY2393" fmla="*/ 620882 h 840509"/>
                  <a:gd name="connsiteX2394" fmla="*/ 474611 w 939786"/>
                  <a:gd name="connsiteY2394" fmla="*/ 620529 h 840509"/>
                  <a:gd name="connsiteX2395" fmla="*/ 474611 w 939786"/>
                  <a:gd name="connsiteY2395" fmla="*/ 620265 h 840509"/>
                  <a:gd name="connsiteX2396" fmla="*/ 474875 w 939786"/>
                  <a:gd name="connsiteY2396" fmla="*/ 619912 h 840509"/>
                  <a:gd name="connsiteX2397" fmla="*/ 474875 w 939786"/>
                  <a:gd name="connsiteY2397" fmla="*/ 619647 h 840509"/>
                  <a:gd name="connsiteX2398" fmla="*/ 475492 w 939786"/>
                  <a:gd name="connsiteY2398" fmla="*/ 617884 h 840509"/>
                  <a:gd name="connsiteX2399" fmla="*/ 475845 w 939786"/>
                  <a:gd name="connsiteY2399" fmla="*/ 616738 h 840509"/>
                  <a:gd name="connsiteX2400" fmla="*/ 475845 w 939786"/>
                  <a:gd name="connsiteY2400" fmla="*/ 616121 h 840509"/>
                  <a:gd name="connsiteX2401" fmla="*/ 476109 w 939786"/>
                  <a:gd name="connsiteY2401" fmla="*/ 615856 h 840509"/>
                  <a:gd name="connsiteX2402" fmla="*/ 476991 w 939786"/>
                  <a:gd name="connsiteY2402" fmla="*/ 614093 h 840509"/>
                  <a:gd name="connsiteX2403" fmla="*/ 477255 w 939786"/>
                  <a:gd name="connsiteY2403" fmla="*/ 614093 h 840509"/>
                  <a:gd name="connsiteX2404" fmla="*/ 477520 w 939786"/>
                  <a:gd name="connsiteY2404" fmla="*/ 613828 h 840509"/>
                  <a:gd name="connsiteX2405" fmla="*/ 477784 w 939786"/>
                  <a:gd name="connsiteY2405" fmla="*/ 612682 h 840509"/>
                  <a:gd name="connsiteX2406" fmla="*/ 477520 w 939786"/>
                  <a:gd name="connsiteY2406" fmla="*/ 610654 h 840509"/>
                  <a:gd name="connsiteX2407" fmla="*/ 477520 w 939786"/>
                  <a:gd name="connsiteY2407" fmla="*/ 610390 h 840509"/>
                  <a:gd name="connsiteX2408" fmla="*/ 477255 w 939786"/>
                  <a:gd name="connsiteY2408" fmla="*/ 610125 h 840509"/>
                  <a:gd name="connsiteX2409" fmla="*/ 476374 w 939786"/>
                  <a:gd name="connsiteY2409" fmla="*/ 607216 h 840509"/>
                  <a:gd name="connsiteX2410" fmla="*/ 476109 w 939786"/>
                  <a:gd name="connsiteY2410" fmla="*/ 606863 h 840509"/>
                  <a:gd name="connsiteX2411" fmla="*/ 476109 w 939786"/>
                  <a:gd name="connsiteY2411" fmla="*/ 606598 h 840509"/>
                  <a:gd name="connsiteX2412" fmla="*/ 476109 w 939786"/>
                  <a:gd name="connsiteY2412" fmla="*/ 605981 h 840509"/>
                  <a:gd name="connsiteX2413" fmla="*/ 476726 w 939786"/>
                  <a:gd name="connsiteY2413" fmla="*/ 604218 h 840509"/>
                  <a:gd name="connsiteX2414" fmla="*/ 476726 w 939786"/>
                  <a:gd name="connsiteY2414" fmla="*/ 603601 h 840509"/>
                  <a:gd name="connsiteX2415" fmla="*/ 476991 w 939786"/>
                  <a:gd name="connsiteY2415" fmla="*/ 602719 h 840509"/>
                  <a:gd name="connsiteX2416" fmla="*/ 476991 w 939786"/>
                  <a:gd name="connsiteY2416" fmla="*/ 602455 h 840509"/>
                  <a:gd name="connsiteX2417" fmla="*/ 476991 w 939786"/>
                  <a:gd name="connsiteY2417" fmla="*/ 602190 h 840509"/>
                  <a:gd name="connsiteX2418" fmla="*/ 476726 w 939786"/>
                  <a:gd name="connsiteY2418" fmla="*/ 599810 h 840509"/>
                  <a:gd name="connsiteX2419" fmla="*/ 476374 w 939786"/>
                  <a:gd name="connsiteY2419" fmla="*/ 598046 h 840509"/>
                  <a:gd name="connsiteX2420" fmla="*/ 476374 w 939786"/>
                  <a:gd name="connsiteY2420" fmla="*/ 597782 h 840509"/>
                  <a:gd name="connsiteX2421" fmla="*/ 476109 w 939786"/>
                  <a:gd name="connsiteY2421" fmla="*/ 597782 h 840509"/>
                  <a:gd name="connsiteX2422" fmla="*/ 475845 w 939786"/>
                  <a:gd name="connsiteY2422" fmla="*/ 598046 h 840509"/>
                  <a:gd name="connsiteX2423" fmla="*/ 475492 w 939786"/>
                  <a:gd name="connsiteY2423" fmla="*/ 598311 h 840509"/>
                  <a:gd name="connsiteX2424" fmla="*/ 473464 w 939786"/>
                  <a:gd name="connsiteY2424" fmla="*/ 600603 h 840509"/>
                  <a:gd name="connsiteX2425" fmla="*/ 473200 w 939786"/>
                  <a:gd name="connsiteY2425" fmla="*/ 600867 h 840509"/>
                  <a:gd name="connsiteX2426" fmla="*/ 473200 w 939786"/>
                  <a:gd name="connsiteY2426" fmla="*/ 601485 h 840509"/>
                  <a:gd name="connsiteX2427" fmla="*/ 473200 w 939786"/>
                  <a:gd name="connsiteY2427" fmla="*/ 601749 h 840509"/>
                  <a:gd name="connsiteX2428" fmla="*/ 473464 w 939786"/>
                  <a:gd name="connsiteY2428" fmla="*/ 601749 h 840509"/>
                  <a:gd name="connsiteX2429" fmla="*/ 473200 w 939786"/>
                  <a:gd name="connsiteY2429" fmla="*/ 602366 h 840509"/>
                  <a:gd name="connsiteX2430" fmla="*/ 472935 w 939786"/>
                  <a:gd name="connsiteY2430" fmla="*/ 602366 h 840509"/>
                  <a:gd name="connsiteX2431" fmla="*/ 472583 w 939786"/>
                  <a:gd name="connsiteY2431" fmla="*/ 602984 h 840509"/>
                  <a:gd name="connsiteX2432" fmla="*/ 472318 w 939786"/>
                  <a:gd name="connsiteY2432" fmla="*/ 603336 h 840509"/>
                  <a:gd name="connsiteX2433" fmla="*/ 471437 w 939786"/>
                  <a:gd name="connsiteY2433" fmla="*/ 603865 h 840509"/>
                  <a:gd name="connsiteX2434" fmla="*/ 471172 w 939786"/>
                  <a:gd name="connsiteY2434" fmla="*/ 604218 h 840509"/>
                  <a:gd name="connsiteX2435" fmla="*/ 470290 w 939786"/>
                  <a:gd name="connsiteY2435" fmla="*/ 604835 h 840509"/>
                  <a:gd name="connsiteX2436" fmla="*/ 469938 w 939786"/>
                  <a:gd name="connsiteY2436" fmla="*/ 604835 h 840509"/>
                  <a:gd name="connsiteX2437" fmla="*/ 469673 w 939786"/>
                  <a:gd name="connsiteY2437" fmla="*/ 605100 h 840509"/>
                  <a:gd name="connsiteX2438" fmla="*/ 469408 w 939786"/>
                  <a:gd name="connsiteY2438" fmla="*/ 605364 h 840509"/>
                  <a:gd name="connsiteX2439" fmla="*/ 467910 w 939786"/>
                  <a:gd name="connsiteY2439" fmla="*/ 607392 h 840509"/>
                  <a:gd name="connsiteX2440" fmla="*/ 467645 w 939786"/>
                  <a:gd name="connsiteY2440" fmla="*/ 607921 h 840509"/>
                  <a:gd name="connsiteX2441" fmla="*/ 466763 w 939786"/>
                  <a:gd name="connsiteY2441" fmla="*/ 609420 h 840509"/>
                  <a:gd name="connsiteX2442" fmla="*/ 466763 w 939786"/>
                  <a:gd name="connsiteY2442" fmla="*/ 609684 h 840509"/>
                  <a:gd name="connsiteX2443" fmla="*/ 466146 w 939786"/>
                  <a:gd name="connsiteY2443" fmla="*/ 610831 h 840509"/>
                  <a:gd name="connsiteX2444" fmla="*/ 465265 w 939786"/>
                  <a:gd name="connsiteY2444" fmla="*/ 612330 h 840509"/>
                  <a:gd name="connsiteX2445" fmla="*/ 463237 w 939786"/>
                  <a:gd name="connsiteY2445" fmla="*/ 614974 h 840509"/>
                  <a:gd name="connsiteX2446" fmla="*/ 462972 w 939786"/>
                  <a:gd name="connsiteY2446" fmla="*/ 615503 h 840509"/>
                  <a:gd name="connsiteX2447" fmla="*/ 462708 w 939786"/>
                  <a:gd name="connsiteY2447" fmla="*/ 615503 h 840509"/>
                  <a:gd name="connsiteX2448" fmla="*/ 462091 w 939786"/>
                  <a:gd name="connsiteY2448" fmla="*/ 616385 h 840509"/>
                  <a:gd name="connsiteX2449" fmla="*/ 458917 w 939786"/>
                  <a:gd name="connsiteY2449" fmla="*/ 620794 h 840509"/>
                  <a:gd name="connsiteX2450" fmla="*/ 458387 w 939786"/>
                  <a:gd name="connsiteY2450" fmla="*/ 621675 h 840509"/>
                  <a:gd name="connsiteX2451" fmla="*/ 458387 w 939786"/>
                  <a:gd name="connsiteY2451" fmla="*/ 621940 h 840509"/>
                  <a:gd name="connsiteX2452" fmla="*/ 458123 w 939786"/>
                  <a:gd name="connsiteY2452" fmla="*/ 622557 h 840509"/>
                  <a:gd name="connsiteX2453" fmla="*/ 457771 w 939786"/>
                  <a:gd name="connsiteY2453" fmla="*/ 622910 h 840509"/>
                  <a:gd name="connsiteX2454" fmla="*/ 456007 w 939786"/>
                  <a:gd name="connsiteY2454" fmla="*/ 624056 h 840509"/>
                  <a:gd name="connsiteX2455" fmla="*/ 455742 w 939786"/>
                  <a:gd name="connsiteY2455" fmla="*/ 624056 h 840509"/>
                  <a:gd name="connsiteX2456" fmla="*/ 455478 w 939786"/>
                  <a:gd name="connsiteY2456" fmla="*/ 624056 h 840509"/>
                  <a:gd name="connsiteX2457" fmla="*/ 455125 w 939786"/>
                  <a:gd name="connsiteY2457" fmla="*/ 624056 h 840509"/>
                  <a:gd name="connsiteX2458" fmla="*/ 455125 w 939786"/>
                  <a:gd name="connsiteY2458" fmla="*/ 623791 h 840509"/>
                  <a:gd name="connsiteX2459" fmla="*/ 454861 w 939786"/>
                  <a:gd name="connsiteY2459" fmla="*/ 623791 h 840509"/>
                  <a:gd name="connsiteX2460" fmla="*/ 454596 w 939786"/>
                  <a:gd name="connsiteY2460" fmla="*/ 623262 h 840509"/>
                  <a:gd name="connsiteX2461" fmla="*/ 454244 w 939786"/>
                  <a:gd name="connsiteY2461" fmla="*/ 622998 h 840509"/>
                  <a:gd name="connsiteX2462" fmla="*/ 453979 w 939786"/>
                  <a:gd name="connsiteY2462" fmla="*/ 622998 h 840509"/>
                  <a:gd name="connsiteX2463" fmla="*/ 453450 w 939786"/>
                  <a:gd name="connsiteY2463" fmla="*/ 622645 h 840509"/>
                  <a:gd name="connsiteX2464" fmla="*/ 452304 w 939786"/>
                  <a:gd name="connsiteY2464" fmla="*/ 622381 h 840509"/>
                  <a:gd name="connsiteX2465" fmla="*/ 451951 w 939786"/>
                  <a:gd name="connsiteY2465" fmla="*/ 622381 h 840509"/>
                  <a:gd name="connsiteX2466" fmla="*/ 451334 w 939786"/>
                  <a:gd name="connsiteY2466" fmla="*/ 622645 h 840509"/>
                  <a:gd name="connsiteX2467" fmla="*/ 446926 w 939786"/>
                  <a:gd name="connsiteY2467" fmla="*/ 623791 h 840509"/>
                  <a:gd name="connsiteX2468" fmla="*/ 446573 w 939786"/>
                  <a:gd name="connsiteY2468" fmla="*/ 624056 h 840509"/>
                  <a:gd name="connsiteX2469" fmla="*/ 446308 w 939786"/>
                  <a:gd name="connsiteY2469" fmla="*/ 624056 h 840509"/>
                  <a:gd name="connsiteX2470" fmla="*/ 446044 w 939786"/>
                  <a:gd name="connsiteY2470" fmla="*/ 624409 h 840509"/>
                  <a:gd name="connsiteX2471" fmla="*/ 445779 w 939786"/>
                  <a:gd name="connsiteY2471" fmla="*/ 624761 h 840509"/>
                  <a:gd name="connsiteX2472" fmla="*/ 445515 w 939786"/>
                  <a:gd name="connsiteY2472" fmla="*/ 625026 h 840509"/>
                  <a:gd name="connsiteX2473" fmla="*/ 445515 w 939786"/>
                  <a:gd name="connsiteY2473" fmla="*/ 625290 h 840509"/>
                  <a:gd name="connsiteX2474" fmla="*/ 445250 w 939786"/>
                  <a:gd name="connsiteY2474" fmla="*/ 625555 h 840509"/>
                  <a:gd name="connsiteX2475" fmla="*/ 444986 w 939786"/>
                  <a:gd name="connsiteY2475" fmla="*/ 625555 h 840509"/>
                  <a:gd name="connsiteX2476" fmla="*/ 444721 w 939786"/>
                  <a:gd name="connsiteY2476" fmla="*/ 625819 h 840509"/>
                  <a:gd name="connsiteX2477" fmla="*/ 444369 w 939786"/>
                  <a:gd name="connsiteY2477" fmla="*/ 625819 h 840509"/>
                  <a:gd name="connsiteX2478" fmla="*/ 444104 w 939786"/>
                  <a:gd name="connsiteY2478" fmla="*/ 625819 h 840509"/>
                  <a:gd name="connsiteX2479" fmla="*/ 443487 w 939786"/>
                  <a:gd name="connsiteY2479" fmla="*/ 625555 h 840509"/>
                  <a:gd name="connsiteX2480" fmla="*/ 443223 w 939786"/>
                  <a:gd name="connsiteY2480" fmla="*/ 625290 h 840509"/>
                  <a:gd name="connsiteX2481" fmla="*/ 442958 w 939786"/>
                  <a:gd name="connsiteY2481" fmla="*/ 625290 h 840509"/>
                  <a:gd name="connsiteX2482" fmla="*/ 442694 w 939786"/>
                  <a:gd name="connsiteY2482" fmla="*/ 625290 h 840509"/>
                  <a:gd name="connsiteX2483" fmla="*/ 442076 w 939786"/>
                  <a:gd name="connsiteY2483" fmla="*/ 625290 h 840509"/>
                  <a:gd name="connsiteX2484" fmla="*/ 441812 w 939786"/>
                  <a:gd name="connsiteY2484" fmla="*/ 625290 h 840509"/>
                  <a:gd name="connsiteX2485" fmla="*/ 441547 w 939786"/>
                  <a:gd name="connsiteY2485" fmla="*/ 625555 h 840509"/>
                  <a:gd name="connsiteX2486" fmla="*/ 440401 w 939786"/>
                  <a:gd name="connsiteY2486" fmla="*/ 626084 h 840509"/>
                  <a:gd name="connsiteX2487" fmla="*/ 440401 w 939786"/>
                  <a:gd name="connsiteY2487" fmla="*/ 626436 h 840509"/>
                  <a:gd name="connsiteX2488" fmla="*/ 440137 w 939786"/>
                  <a:gd name="connsiteY2488" fmla="*/ 626436 h 840509"/>
                  <a:gd name="connsiteX2489" fmla="*/ 439520 w 939786"/>
                  <a:gd name="connsiteY2489" fmla="*/ 626701 h 840509"/>
                  <a:gd name="connsiteX2490" fmla="*/ 438638 w 939786"/>
                  <a:gd name="connsiteY2490" fmla="*/ 627054 h 840509"/>
                  <a:gd name="connsiteX2491" fmla="*/ 438373 w 939786"/>
                  <a:gd name="connsiteY2491" fmla="*/ 627054 h 840509"/>
                  <a:gd name="connsiteX2492" fmla="*/ 438109 w 939786"/>
                  <a:gd name="connsiteY2492" fmla="*/ 626701 h 840509"/>
                  <a:gd name="connsiteX2493" fmla="*/ 437844 w 939786"/>
                  <a:gd name="connsiteY2493" fmla="*/ 625819 h 840509"/>
                  <a:gd name="connsiteX2494" fmla="*/ 438726 w 939786"/>
                  <a:gd name="connsiteY2494" fmla="*/ 624673 h 840509"/>
                  <a:gd name="connsiteX2495" fmla="*/ 439343 w 939786"/>
                  <a:gd name="connsiteY2495" fmla="*/ 624673 h 840509"/>
                  <a:gd name="connsiteX2496" fmla="*/ 439608 w 939786"/>
                  <a:gd name="connsiteY2496" fmla="*/ 624320 h 840509"/>
                  <a:gd name="connsiteX2497" fmla="*/ 439872 w 939786"/>
                  <a:gd name="connsiteY2497" fmla="*/ 624320 h 840509"/>
                  <a:gd name="connsiteX2498" fmla="*/ 439872 w 939786"/>
                  <a:gd name="connsiteY2498" fmla="*/ 623968 h 840509"/>
                  <a:gd name="connsiteX2499" fmla="*/ 441283 w 939786"/>
                  <a:gd name="connsiteY2499" fmla="*/ 623086 h 840509"/>
                  <a:gd name="connsiteX2500" fmla="*/ 442165 w 939786"/>
                  <a:gd name="connsiteY2500" fmla="*/ 621940 h 840509"/>
                  <a:gd name="connsiteX2501" fmla="*/ 442429 w 939786"/>
                  <a:gd name="connsiteY2501" fmla="*/ 621675 h 840509"/>
                  <a:gd name="connsiteX2502" fmla="*/ 442429 w 939786"/>
                  <a:gd name="connsiteY2502" fmla="*/ 621411 h 840509"/>
                  <a:gd name="connsiteX2503" fmla="*/ 442694 w 939786"/>
                  <a:gd name="connsiteY2503" fmla="*/ 621146 h 840509"/>
                  <a:gd name="connsiteX2504" fmla="*/ 442694 w 939786"/>
                  <a:gd name="connsiteY2504" fmla="*/ 620882 h 840509"/>
                  <a:gd name="connsiteX2505" fmla="*/ 442429 w 939786"/>
                  <a:gd name="connsiteY2505" fmla="*/ 620882 h 840509"/>
                  <a:gd name="connsiteX2506" fmla="*/ 444192 w 939786"/>
                  <a:gd name="connsiteY2506" fmla="*/ 618589 h 840509"/>
                  <a:gd name="connsiteX2507" fmla="*/ 445692 w 939786"/>
                  <a:gd name="connsiteY2507" fmla="*/ 617090 h 840509"/>
                  <a:gd name="connsiteX2508" fmla="*/ 445956 w 939786"/>
                  <a:gd name="connsiteY2508" fmla="*/ 617090 h 840509"/>
                  <a:gd name="connsiteX2509" fmla="*/ 446221 w 939786"/>
                  <a:gd name="connsiteY2509" fmla="*/ 617355 h 840509"/>
                  <a:gd name="connsiteX2510" fmla="*/ 446837 w 939786"/>
                  <a:gd name="connsiteY2510" fmla="*/ 617619 h 840509"/>
                  <a:gd name="connsiteX2511" fmla="*/ 447190 w 939786"/>
                  <a:gd name="connsiteY2511" fmla="*/ 617619 h 840509"/>
                  <a:gd name="connsiteX2512" fmla="*/ 447455 w 939786"/>
                  <a:gd name="connsiteY2512" fmla="*/ 617972 h 840509"/>
                  <a:gd name="connsiteX2513" fmla="*/ 447719 w 939786"/>
                  <a:gd name="connsiteY2513" fmla="*/ 617619 h 840509"/>
                  <a:gd name="connsiteX2514" fmla="*/ 447984 w 939786"/>
                  <a:gd name="connsiteY2514" fmla="*/ 617619 h 840509"/>
                  <a:gd name="connsiteX2515" fmla="*/ 449130 w 939786"/>
                  <a:gd name="connsiteY2515" fmla="*/ 617355 h 840509"/>
                  <a:gd name="connsiteX2516" fmla="*/ 449395 w 939786"/>
                  <a:gd name="connsiteY2516" fmla="*/ 617355 h 840509"/>
                  <a:gd name="connsiteX2517" fmla="*/ 450805 w 939786"/>
                  <a:gd name="connsiteY2517" fmla="*/ 617090 h 840509"/>
                  <a:gd name="connsiteX2518" fmla="*/ 451070 w 939786"/>
                  <a:gd name="connsiteY2518" fmla="*/ 617090 h 840509"/>
                  <a:gd name="connsiteX2519" fmla="*/ 451070 w 939786"/>
                  <a:gd name="connsiteY2519" fmla="*/ 617355 h 840509"/>
                  <a:gd name="connsiteX2520" fmla="*/ 451070 w 939786"/>
                  <a:gd name="connsiteY2520" fmla="*/ 617619 h 840509"/>
                  <a:gd name="connsiteX2521" fmla="*/ 451070 w 939786"/>
                  <a:gd name="connsiteY2521" fmla="*/ 617972 h 840509"/>
                  <a:gd name="connsiteX2522" fmla="*/ 452216 w 939786"/>
                  <a:gd name="connsiteY2522" fmla="*/ 618589 h 840509"/>
                  <a:gd name="connsiteX2523" fmla="*/ 452480 w 939786"/>
                  <a:gd name="connsiteY2523" fmla="*/ 618589 h 840509"/>
                  <a:gd name="connsiteX2524" fmla="*/ 452745 w 939786"/>
                  <a:gd name="connsiteY2524" fmla="*/ 618589 h 840509"/>
                  <a:gd name="connsiteX2525" fmla="*/ 453362 w 939786"/>
                  <a:gd name="connsiteY2525" fmla="*/ 618237 h 840509"/>
                  <a:gd name="connsiteX2526" fmla="*/ 453626 w 939786"/>
                  <a:gd name="connsiteY2526" fmla="*/ 617972 h 840509"/>
                  <a:gd name="connsiteX2527" fmla="*/ 453891 w 939786"/>
                  <a:gd name="connsiteY2527" fmla="*/ 617619 h 840509"/>
                  <a:gd name="connsiteX2528" fmla="*/ 454155 w 939786"/>
                  <a:gd name="connsiteY2528" fmla="*/ 617355 h 840509"/>
                  <a:gd name="connsiteX2529" fmla="*/ 454508 w 939786"/>
                  <a:gd name="connsiteY2529" fmla="*/ 617090 h 840509"/>
                  <a:gd name="connsiteX2530" fmla="*/ 458300 w 939786"/>
                  <a:gd name="connsiteY2530" fmla="*/ 610919 h 840509"/>
                  <a:gd name="connsiteX2531" fmla="*/ 460063 w 939786"/>
                  <a:gd name="connsiteY2531" fmla="*/ 606246 h 840509"/>
                  <a:gd name="connsiteX2532" fmla="*/ 462355 w 939786"/>
                  <a:gd name="connsiteY2532" fmla="*/ 601837 h 840509"/>
                  <a:gd name="connsiteX2533" fmla="*/ 462620 w 939786"/>
                  <a:gd name="connsiteY2533" fmla="*/ 600691 h 840509"/>
                  <a:gd name="connsiteX2534" fmla="*/ 462884 w 939786"/>
                  <a:gd name="connsiteY2534" fmla="*/ 599545 h 840509"/>
                  <a:gd name="connsiteX2535" fmla="*/ 462884 w 939786"/>
                  <a:gd name="connsiteY2535" fmla="*/ 599192 h 840509"/>
                  <a:gd name="connsiteX2536" fmla="*/ 462620 w 939786"/>
                  <a:gd name="connsiteY2536" fmla="*/ 598928 h 840509"/>
                  <a:gd name="connsiteX2537" fmla="*/ 462620 w 939786"/>
                  <a:gd name="connsiteY2537" fmla="*/ 598663 h 840509"/>
                  <a:gd name="connsiteX2538" fmla="*/ 462884 w 939786"/>
                  <a:gd name="connsiteY2538" fmla="*/ 598663 h 840509"/>
                  <a:gd name="connsiteX2539" fmla="*/ 462884 w 939786"/>
                  <a:gd name="connsiteY2539" fmla="*/ 598399 h 840509"/>
                  <a:gd name="connsiteX2540" fmla="*/ 463149 w 939786"/>
                  <a:gd name="connsiteY2540" fmla="*/ 598134 h 840509"/>
                  <a:gd name="connsiteX2541" fmla="*/ 463413 w 939786"/>
                  <a:gd name="connsiteY2541" fmla="*/ 598134 h 840509"/>
                  <a:gd name="connsiteX2542" fmla="*/ 463413 w 939786"/>
                  <a:gd name="connsiteY2542" fmla="*/ 598399 h 840509"/>
                  <a:gd name="connsiteX2543" fmla="*/ 464030 w 939786"/>
                  <a:gd name="connsiteY2543" fmla="*/ 598399 h 840509"/>
                  <a:gd name="connsiteX2544" fmla="*/ 464295 w 939786"/>
                  <a:gd name="connsiteY2544" fmla="*/ 598134 h 840509"/>
                  <a:gd name="connsiteX2545" fmla="*/ 465176 w 939786"/>
                  <a:gd name="connsiteY2545" fmla="*/ 597253 h 840509"/>
                  <a:gd name="connsiteX2546" fmla="*/ 465441 w 939786"/>
                  <a:gd name="connsiteY2546" fmla="*/ 596900 h 840509"/>
                  <a:gd name="connsiteX2547" fmla="*/ 466058 w 939786"/>
                  <a:gd name="connsiteY2547" fmla="*/ 596283 h 840509"/>
                  <a:gd name="connsiteX2548" fmla="*/ 467821 w 939786"/>
                  <a:gd name="connsiteY2548" fmla="*/ 593638 h 840509"/>
                  <a:gd name="connsiteX2549" fmla="*/ 468968 w 939786"/>
                  <a:gd name="connsiteY2549" fmla="*/ 591874 h 840509"/>
                  <a:gd name="connsiteX2550" fmla="*/ 468968 w 939786"/>
                  <a:gd name="connsiteY2550" fmla="*/ 591610 h 840509"/>
                  <a:gd name="connsiteX2551" fmla="*/ 469850 w 939786"/>
                  <a:gd name="connsiteY2551" fmla="*/ 590728 h 840509"/>
                  <a:gd name="connsiteX2552" fmla="*/ 474522 w 939786"/>
                  <a:gd name="connsiteY2552" fmla="*/ 587201 h 840509"/>
                  <a:gd name="connsiteX2553" fmla="*/ 474787 w 939786"/>
                  <a:gd name="connsiteY2553" fmla="*/ 586937 h 840509"/>
                  <a:gd name="connsiteX2554" fmla="*/ 477696 w 939786"/>
                  <a:gd name="connsiteY2554" fmla="*/ 584909 h 840509"/>
                  <a:gd name="connsiteX2555" fmla="*/ 477961 w 939786"/>
                  <a:gd name="connsiteY2555" fmla="*/ 584645 h 840509"/>
                  <a:gd name="connsiteX2556" fmla="*/ 478225 w 939786"/>
                  <a:gd name="connsiteY2556" fmla="*/ 584645 h 840509"/>
                  <a:gd name="connsiteX2557" fmla="*/ 478842 w 939786"/>
                  <a:gd name="connsiteY2557" fmla="*/ 584645 h 840509"/>
                  <a:gd name="connsiteX2558" fmla="*/ 479460 w 939786"/>
                  <a:gd name="connsiteY2558" fmla="*/ 584027 h 840509"/>
                  <a:gd name="connsiteX2559" fmla="*/ 479724 w 939786"/>
                  <a:gd name="connsiteY2559" fmla="*/ 583763 h 840509"/>
                  <a:gd name="connsiteX2560" fmla="*/ 479724 w 939786"/>
                  <a:gd name="connsiteY2560" fmla="*/ 583498 h 840509"/>
                  <a:gd name="connsiteX2561" fmla="*/ 480077 w 939786"/>
                  <a:gd name="connsiteY2561" fmla="*/ 582617 h 840509"/>
                  <a:gd name="connsiteX2562" fmla="*/ 480342 w 939786"/>
                  <a:gd name="connsiteY2562" fmla="*/ 580853 h 840509"/>
                  <a:gd name="connsiteX2563" fmla="*/ 480077 w 939786"/>
                  <a:gd name="connsiteY2563" fmla="*/ 577944 h 840509"/>
                  <a:gd name="connsiteX2564" fmla="*/ 479724 w 939786"/>
                  <a:gd name="connsiteY2564" fmla="*/ 577062 h 840509"/>
                  <a:gd name="connsiteX2565" fmla="*/ 479724 w 939786"/>
                  <a:gd name="connsiteY2565" fmla="*/ 576798 h 840509"/>
                  <a:gd name="connsiteX2566" fmla="*/ 480077 w 939786"/>
                  <a:gd name="connsiteY2566" fmla="*/ 576533 h 840509"/>
                  <a:gd name="connsiteX2567" fmla="*/ 480606 w 939786"/>
                  <a:gd name="connsiteY2567" fmla="*/ 575651 h 840509"/>
                  <a:gd name="connsiteX2568" fmla="*/ 480959 w 939786"/>
                  <a:gd name="connsiteY2568" fmla="*/ 575299 h 840509"/>
                  <a:gd name="connsiteX2569" fmla="*/ 481223 w 939786"/>
                  <a:gd name="connsiteY2569" fmla="*/ 575034 h 840509"/>
                  <a:gd name="connsiteX2570" fmla="*/ 481488 w 939786"/>
                  <a:gd name="connsiteY2570" fmla="*/ 574681 h 840509"/>
                  <a:gd name="connsiteX2571" fmla="*/ 482898 w 939786"/>
                  <a:gd name="connsiteY2571" fmla="*/ 573800 h 840509"/>
                  <a:gd name="connsiteX2572" fmla="*/ 484045 w 939786"/>
                  <a:gd name="connsiteY2572" fmla="*/ 573535 h 840509"/>
                  <a:gd name="connsiteX2573" fmla="*/ 485191 w 939786"/>
                  <a:gd name="connsiteY2573" fmla="*/ 573535 h 840509"/>
                  <a:gd name="connsiteX2574" fmla="*/ 485455 w 939786"/>
                  <a:gd name="connsiteY2574" fmla="*/ 573535 h 840509"/>
                  <a:gd name="connsiteX2575" fmla="*/ 485720 w 939786"/>
                  <a:gd name="connsiteY2575" fmla="*/ 573183 h 840509"/>
                  <a:gd name="connsiteX2576" fmla="*/ 485984 w 939786"/>
                  <a:gd name="connsiteY2576" fmla="*/ 573183 h 840509"/>
                  <a:gd name="connsiteX2577" fmla="*/ 485984 w 939786"/>
                  <a:gd name="connsiteY2577" fmla="*/ 572918 h 840509"/>
                  <a:gd name="connsiteX2578" fmla="*/ 486249 w 939786"/>
                  <a:gd name="connsiteY2578" fmla="*/ 572918 h 840509"/>
                  <a:gd name="connsiteX2579" fmla="*/ 486513 w 939786"/>
                  <a:gd name="connsiteY2579" fmla="*/ 571772 h 840509"/>
                  <a:gd name="connsiteX2580" fmla="*/ 486513 w 939786"/>
                  <a:gd name="connsiteY2580" fmla="*/ 570626 h 840509"/>
                  <a:gd name="connsiteX2581" fmla="*/ 486249 w 939786"/>
                  <a:gd name="connsiteY2581" fmla="*/ 570273 h 840509"/>
                  <a:gd name="connsiteX2582" fmla="*/ 485984 w 939786"/>
                  <a:gd name="connsiteY2582" fmla="*/ 570273 h 840509"/>
                  <a:gd name="connsiteX2583" fmla="*/ 485720 w 939786"/>
                  <a:gd name="connsiteY2583" fmla="*/ 570273 h 840509"/>
                  <a:gd name="connsiteX2584" fmla="*/ 485455 w 939786"/>
                  <a:gd name="connsiteY2584" fmla="*/ 570273 h 840509"/>
                  <a:gd name="connsiteX2585" fmla="*/ 485455 w 939786"/>
                  <a:gd name="connsiteY2585" fmla="*/ 570009 h 840509"/>
                  <a:gd name="connsiteX2586" fmla="*/ 485455 w 939786"/>
                  <a:gd name="connsiteY2586" fmla="*/ 569656 h 840509"/>
                  <a:gd name="connsiteX2587" fmla="*/ 486601 w 939786"/>
                  <a:gd name="connsiteY2587" fmla="*/ 564454 h 840509"/>
                  <a:gd name="connsiteX2588" fmla="*/ 486601 w 939786"/>
                  <a:gd name="connsiteY2588" fmla="*/ 562162 h 840509"/>
                  <a:gd name="connsiteX2589" fmla="*/ 486954 w 939786"/>
                  <a:gd name="connsiteY2589" fmla="*/ 560663 h 840509"/>
                  <a:gd name="connsiteX2590" fmla="*/ 487219 w 939786"/>
                  <a:gd name="connsiteY2590" fmla="*/ 559252 h 840509"/>
                  <a:gd name="connsiteX2591" fmla="*/ 487219 w 939786"/>
                  <a:gd name="connsiteY2591" fmla="*/ 558988 h 840509"/>
                  <a:gd name="connsiteX2592" fmla="*/ 486954 w 939786"/>
                  <a:gd name="connsiteY2592" fmla="*/ 558106 h 840509"/>
                  <a:gd name="connsiteX2593" fmla="*/ 486601 w 939786"/>
                  <a:gd name="connsiteY2593" fmla="*/ 558106 h 840509"/>
                  <a:gd name="connsiteX2594" fmla="*/ 486337 w 939786"/>
                  <a:gd name="connsiteY2594" fmla="*/ 558635 h 840509"/>
                  <a:gd name="connsiteX2595" fmla="*/ 486072 w 939786"/>
                  <a:gd name="connsiteY2595" fmla="*/ 559252 h 840509"/>
                  <a:gd name="connsiteX2596" fmla="*/ 484926 w 939786"/>
                  <a:gd name="connsiteY2596" fmla="*/ 561897 h 840509"/>
                  <a:gd name="connsiteX2597" fmla="*/ 484662 w 939786"/>
                  <a:gd name="connsiteY2597" fmla="*/ 562250 h 840509"/>
                  <a:gd name="connsiteX2598" fmla="*/ 484662 w 939786"/>
                  <a:gd name="connsiteY2598" fmla="*/ 562514 h 840509"/>
                  <a:gd name="connsiteX2599" fmla="*/ 484926 w 939786"/>
                  <a:gd name="connsiteY2599" fmla="*/ 562514 h 840509"/>
                  <a:gd name="connsiteX2600" fmla="*/ 485191 w 939786"/>
                  <a:gd name="connsiteY2600" fmla="*/ 562514 h 840509"/>
                  <a:gd name="connsiteX2601" fmla="*/ 485191 w 939786"/>
                  <a:gd name="connsiteY2601" fmla="*/ 562779 h 840509"/>
                  <a:gd name="connsiteX2602" fmla="*/ 485191 w 939786"/>
                  <a:gd name="connsiteY2602" fmla="*/ 563131 h 840509"/>
                  <a:gd name="connsiteX2603" fmla="*/ 485191 w 939786"/>
                  <a:gd name="connsiteY2603" fmla="*/ 563396 h 840509"/>
                  <a:gd name="connsiteX2604" fmla="*/ 485191 w 939786"/>
                  <a:gd name="connsiteY2604" fmla="*/ 563660 h 840509"/>
                  <a:gd name="connsiteX2605" fmla="*/ 484309 w 939786"/>
                  <a:gd name="connsiteY2605" fmla="*/ 565953 h 840509"/>
                  <a:gd name="connsiteX2606" fmla="*/ 484045 w 939786"/>
                  <a:gd name="connsiteY2606" fmla="*/ 566217 h 840509"/>
                  <a:gd name="connsiteX2607" fmla="*/ 482281 w 939786"/>
                  <a:gd name="connsiteY2607" fmla="*/ 569392 h 840509"/>
                  <a:gd name="connsiteX2608" fmla="*/ 482017 w 939786"/>
                  <a:gd name="connsiteY2608" fmla="*/ 569656 h 840509"/>
                  <a:gd name="connsiteX2609" fmla="*/ 481752 w 939786"/>
                  <a:gd name="connsiteY2609" fmla="*/ 569656 h 840509"/>
                  <a:gd name="connsiteX2610" fmla="*/ 480871 w 939786"/>
                  <a:gd name="connsiteY2610" fmla="*/ 569656 h 840509"/>
                  <a:gd name="connsiteX2611" fmla="*/ 477961 w 939786"/>
                  <a:gd name="connsiteY2611" fmla="*/ 570538 h 840509"/>
                  <a:gd name="connsiteX2612" fmla="*/ 474699 w 939786"/>
                  <a:gd name="connsiteY2612" fmla="*/ 572830 h 840509"/>
                  <a:gd name="connsiteX2613" fmla="*/ 472935 w 939786"/>
                  <a:gd name="connsiteY2613" fmla="*/ 574593 h 840509"/>
                  <a:gd name="connsiteX2614" fmla="*/ 470908 w 939786"/>
                  <a:gd name="connsiteY2614" fmla="*/ 576886 h 840509"/>
                  <a:gd name="connsiteX2615" fmla="*/ 470643 w 939786"/>
                  <a:gd name="connsiteY2615" fmla="*/ 577238 h 840509"/>
                  <a:gd name="connsiteX2616" fmla="*/ 470379 w 939786"/>
                  <a:gd name="connsiteY2616" fmla="*/ 577767 h 840509"/>
                  <a:gd name="connsiteX2617" fmla="*/ 470114 w 939786"/>
                  <a:gd name="connsiteY2617" fmla="*/ 578032 h 840509"/>
                  <a:gd name="connsiteX2618" fmla="*/ 470114 w 939786"/>
                  <a:gd name="connsiteY2618" fmla="*/ 578296 h 840509"/>
                  <a:gd name="connsiteX2619" fmla="*/ 469761 w 939786"/>
                  <a:gd name="connsiteY2619" fmla="*/ 578561 h 840509"/>
                  <a:gd name="connsiteX2620" fmla="*/ 469761 w 939786"/>
                  <a:gd name="connsiteY2620" fmla="*/ 579178 h 840509"/>
                  <a:gd name="connsiteX2621" fmla="*/ 468879 w 939786"/>
                  <a:gd name="connsiteY2621" fmla="*/ 580060 h 840509"/>
                  <a:gd name="connsiteX2622" fmla="*/ 468615 w 939786"/>
                  <a:gd name="connsiteY2622" fmla="*/ 580324 h 840509"/>
                  <a:gd name="connsiteX2623" fmla="*/ 465970 w 939786"/>
                  <a:gd name="connsiteY2623" fmla="*/ 583234 h 840509"/>
                  <a:gd name="connsiteX2624" fmla="*/ 465353 w 939786"/>
                  <a:gd name="connsiteY2624" fmla="*/ 583763 h 840509"/>
                  <a:gd name="connsiteX2625" fmla="*/ 463589 w 939786"/>
                  <a:gd name="connsiteY2625" fmla="*/ 585526 h 840509"/>
                  <a:gd name="connsiteX2626" fmla="*/ 462972 w 939786"/>
                  <a:gd name="connsiteY2626" fmla="*/ 586144 h 840509"/>
                  <a:gd name="connsiteX2627" fmla="*/ 461826 w 939786"/>
                  <a:gd name="connsiteY2627" fmla="*/ 586937 h 840509"/>
                  <a:gd name="connsiteX2628" fmla="*/ 461562 w 939786"/>
                  <a:gd name="connsiteY2628" fmla="*/ 586937 h 840509"/>
                  <a:gd name="connsiteX2629" fmla="*/ 461297 w 939786"/>
                  <a:gd name="connsiteY2629" fmla="*/ 587201 h 840509"/>
                  <a:gd name="connsiteX2630" fmla="*/ 461033 w 939786"/>
                  <a:gd name="connsiteY2630" fmla="*/ 587201 h 840509"/>
                  <a:gd name="connsiteX2631" fmla="*/ 459005 w 939786"/>
                  <a:gd name="connsiteY2631" fmla="*/ 587466 h 840509"/>
                  <a:gd name="connsiteX2632" fmla="*/ 458740 w 939786"/>
                  <a:gd name="connsiteY2632" fmla="*/ 587466 h 840509"/>
                  <a:gd name="connsiteX2633" fmla="*/ 458740 w 939786"/>
                  <a:gd name="connsiteY2633" fmla="*/ 587201 h 840509"/>
                  <a:gd name="connsiteX2634" fmla="*/ 458211 w 939786"/>
                  <a:gd name="connsiteY2634" fmla="*/ 586937 h 840509"/>
                  <a:gd name="connsiteX2635" fmla="*/ 458211 w 939786"/>
                  <a:gd name="connsiteY2635" fmla="*/ 586673 h 840509"/>
                  <a:gd name="connsiteX2636" fmla="*/ 458211 w 939786"/>
                  <a:gd name="connsiteY2636" fmla="*/ 586408 h 840509"/>
                  <a:gd name="connsiteX2637" fmla="*/ 457947 w 939786"/>
                  <a:gd name="connsiteY2637" fmla="*/ 586408 h 840509"/>
                  <a:gd name="connsiteX2638" fmla="*/ 457594 w 939786"/>
                  <a:gd name="connsiteY2638" fmla="*/ 586408 h 840509"/>
                  <a:gd name="connsiteX2639" fmla="*/ 455566 w 939786"/>
                  <a:gd name="connsiteY2639" fmla="*/ 588171 h 840509"/>
                  <a:gd name="connsiteX2640" fmla="*/ 455302 w 939786"/>
                  <a:gd name="connsiteY2640" fmla="*/ 588524 h 840509"/>
                  <a:gd name="connsiteX2641" fmla="*/ 455302 w 939786"/>
                  <a:gd name="connsiteY2641" fmla="*/ 588788 h 840509"/>
                  <a:gd name="connsiteX2642" fmla="*/ 455566 w 939786"/>
                  <a:gd name="connsiteY2642" fmla="*/ 588788 h 840509"/>
                  <a:gd name="connsiteX2643" fmla="*/ 455831 w 939786"/>
                  <a:gd name="connsiteY2643" fmla="*/ 588788 h 840509"/>
                  <a:gd name="connsiteX2644" fmla="*/ 454420 w 939786"/>
                  <a:gd name="connsiteY2644" fmla="*/ 589670 h 840509"/>
                  <a:gd name="connsiteX2645" fmla="*/ 449483 w 939786"/>
                  <a:gd name="connsiteY2645" fmla="*/ 591698 h 840509"/>
                  <a:gd name="connsiteX2646" fmla="*/ 447455 w 939786"/>
                  <a:gd name="connsiteY2646" fmla="*/ 592844 h 840509"/>
                  <a:gd name="connsiteX2647" fmla="*/ 442782 w 939786"/>
                  <a:gd name="connsiteY2647" fmla="*/ 595225 h 840509"/>
                  <a:gd name="connsiteX2648" fmla="*/ 442517 w 939786"/>
                  <a:gd name="connsiteY2648" fmla="*/ 595489 h 840509"/>
                  <a:gd name="connsiteX2649" fmla="*/ 441371 w 939786"/>
                  <a:gd name="connsiteY2649" fmla="*/ 596371 h 840509"/>
                  <a:gd name="connsiteX2650" fmla="*/ 441107 w 939786"/>
                  <a:gd name="connsiteY2650" fmla="*/ 596636 h 840509"/>
                  <a:gd name="connsiteX2651" fmla="*/ 440842 w 939786"/>
                  <a:gd name="connsiteY2651" fmla="*/ 596988 h 840509"/>
                  <a:gd name="connsiteX2652" fmla="*/ 440842 w 939786"/>
                  <a:gd name="connsiteY2652" fmla="*/ 597253 h 840509"/>
                  <a:gd name="connsiteX2653" fmla="*/ 440578 w 939786"/>
                  <a:gd name="connsiteY2653" fmla="*/ 597517 h 840509"/>
                  <a:gd name="connsiteX2654" fmla="*/ 439431 w 939786"/>
                  <a:gd name="connsiteY2654" fmla="*/ 598928 h 840509"/>
                  <a:gd name="connsiteX2655" fmla="*/ 439167 w 939786"/>
                  <a:gd name="connsiteY2655" fmla="*/ 599281 h 840509"/>
                  <a:gd name="connsiteX2656" fmla="*/ 438814 w 939786"/>
                  <a:gd name="connsiteY2656" fmla="*/ 599281 h 840509"/>
                  <a:gd name="connsiteX2657" fmla="*/ 437051 w 939786"/>
                  <a:gd name="connsiteY2657" fmla="*/ 601044 h 840509"/>
                  <a:gd name="connsiteX2658" fmla="*/ 436787 w 939786"/>
                  <a:gd name="connsiteY2658" fmla="*/ 601308 h 840509"/>
                  <a:gd name="connsiteX2659" fmla="*/ 436433 w 939786"/>
                  <a:gd name="connsiteY2659" fmla="*/ 601925 h 840509"/>
                  <a:gd name="connsiteX2660" fmla="*/ 435552 w 939786"/>
                  <a:gd name="connsiteY2660" fmla="*/ 602543 h 840509"/>
                  <a:gd name="connsiteX2661" fmla="*/ 435287 w 939786"/>
                  <a:gd name="connsiteY2661" fmla="*/ 602807 h 840509"/>
                  <a:gd name="connsiteX2662" fmla="*/ 435023 w 939786"/>
                  <a:gd name="connsiteY2662" fmla="*/ 602807 h 840509"/>
                  <a:gd name="connsiteX2663" fmla="*/ 434758 w 939786"/>
                  <a:gd name="connsiteY2663" fmla="*/ 602807 h 840509"/>
                  <a:gd name="connsiteX2664" fmla="*/ 434141 w 939786"/>
                  <a:gd name="connsiteY2664" fmla="*/ 603160 h 840509"/>
                  <a:gd name="connsiteX2665" fmla="*/ 433877 w 939786"/>
                  <a:gd name="connsiteY2665" fmla="*/ 603160 h 840509"/>
                  <a:gd name="connsiteX2666" fmla="*/ 433612 w 939786"/>
                  <a:gd name="connsiteY2666" fmla="*/ 603160 h 840509"/>
                  <a:gd name="connsiteX2667" fmla="*/ 433348 w 939786"/>
                  <a:gd name="connsiteY2667" fmla="*/ 603424 h 840509"/>
                  <a:gd name="connsiteX2668" fmla="*/ 430438 w 939786"/>
                  <a:gd name="connsiteY2668" fmla="*/ 606334 h 840509"/>
                  <a:gd name="connsiteX2669" fmla="*/ 430174 w 939786"/>
                  <a:gd name="connsiteY2669" fmla="*/ 606598 h 840509"/>
                  <a:gd name="connsiteX2670" fmla="*/ 428763 w 939786"/>
                  <a:gd name="connsiteY2670" fmla="*/ 607216 h 840509"/>
                  <a:gd name="connsiteX2671" fmla="*/ 428499 w 939786"/>
                  <a:gd name="connsiteY2671" fmla="*/ 607216 h 840509"/>
                  <a:gd name="connsiteX2672" fmla="*/ 427881 w 939786"/>
                  <a:gd name="connsiteY2672" fmla="*/ 607480 h 840509"/>
                  <a:gd name="connsiteX2673" fmla="*/ 427881 w 939786"/>
                  <a:gd name="connsiteY2673" fmla="*/ 607745 h 840509"/>
                  <a:gd name="connsiteX2674" fmla="*/ 427617 w 939786"/>
                  <a:gd name="connsiteY2674" fmla="*/ 607745 h 840509"/>
                  <a:gd name="connsiteX2675" fmla="*/ 425236 w 939786"/>
                  <a:gd name="connsiteY2675" fmla="*/ 610390 h 840509"/>
                  <a:gd name="connsiteX2676" fmla="*/ 421710 w 939786"/>
                  <a:gd name="connsiteY2676" fmla="*/ 614445 h 840509"/>
                  <a:gd name="connsiteX2677" fmla="*/ 421710 w 939786"/>
                  <a:gd name="connsiteY2677" fmla="*/ 614798 h 840509"/>
                  <a:gd name="connsiteX2678" fmla="*/ 421974 w 939786"/>
                  <a:gd name="connsiteY2678" fmla="*/ 614798 h 840509"/>
                  <a:gd name="connsiteX2679" fmla="*/ 422239 w 939786"/>
                  <a:gd name="connsiteY2679" fmla="*/ 614798 h 840509"/>
                  <a:gd name="connsiteX2680" fmla="*/ 422856 w 939786"/>
                  <a:gd name="connsiteY2680" fmla="*/ 614798 h 840509"/>
                  <a:gd name="connsiteX2681" fmla="*/ 423120 w 939786"/>
                  <a:gd name="connsiteY2681" fmla="*/ 614798 h 840509"/>
                  <a:gd name="connsiteX2682" fmla="*/ 423737 w 939786"/>
                  <a:gd name="connsiteY2682" fmla="*/ 614445 h 840509"/>
                  <a:gd name="connsiteX2683" fmla="*/ 424090 w 939786"/>
                  <a:gd name="connsiteY2683" fmla="*/ 614445 h 840509"/>
                  <a:gd name="connsiteX2684" fmla="*/ 425589 w 939786"/>
                  <a:gd name="connsiteY2684" fmla="*/ 613564 h 840509"/>
                  <a:gd name="connsiteX2685" fmla="*/ 426470 w 939786"/>
                  <a:gd name="connsiteY2685" fmla="*/ 612682 h 840509"/>
                  <a:gd name="connsiteX2686" fmla="*/ 426735 w 939786"/>
                  <a:gd name="connsiteY2686" fmla="*/ 612682 h 840509"/>
                  <a:gd name="connsiteX2687" fmla="*/ 426999 w 939786"/>
                  <a:gd name="connsiteY2687" fmla="*/ 612947 h 840509"/>
                  <a:gd name="connsiteX2688" fmla="*/ 426735 w 939786"/>
                  <a:gd name="connsiteY2688" fmla="*/ 612947 h 840509"/>
                  <a:gd name="connsiteX2689" fmla="*/ 426470 w 939786"/>
                  <a:gd name="connsiteY2689" fmla="*/ 613828 h 840509"/>
                  <a:gd name="connsiteX2690" fmla="*/ 426470 w 939786"/>
                  <a:gd name="connsiteY2690" fmla="*/ 614445 h 840509"/>
                  <a:gd name="connsiteX2691" fmla="*/ 424178 w 939786"/>
                  <a:gd name="connsiteY2691" fmla="*/ 618854 h 840509"/>
                  <a:gd name="connsiteX2692" fmla="*/ 423825 w 939786"/>
                  <a:gd name="connsiteY2692" fmla="*/ 619118 h 840509"/>
                  <a:gd name="connsiteX2693" fmla="*/ 422944 w 939786"/>
                  <a:gd name="connsiteY2693" fmla="*/ 619383 h 840509"/>
                  <a:gd name="connsiteX2694" fmla="*/ 422679 w 939786"/>
                  <a:gd name="connsiteY2694" fmla="*/ 619383 h 840509"/>
                  <a:gd name="connsiteX2695" fmla="*/ 422679 w 939786"/>
                  <a:gd name="connsiteY2695" fmla="*/ 618766 h 840509"/>
                  <a:gd name="connsiteX2696" fmla="*/ 422679 w 939786"/>
                  <a:gd name="connsiteY2696" fmla="*/ 618501 h 840509"/>
                  <a:gd name="connsiteX2697" fmla="*/ 422679 w 939786"/>
                  <a:gd name="connsiteY2697" fmla="*/ 618237 h 840509"/>
                  <a:gd name="connsiteX2698" fmla="*/ 421798 w 939786"/>
                  <a:gd name="connsiteY2698" fmla="*/ 616473 h 840509"/>
                  <a:gd name="connsiteX2699" fmla="*/ 421533 w 939786"/>
                  <a:gd name="connsiteY2699" fmla="*/ 616209 h 840509"/>
                  <a:gd name="connsiteX2700" fmla="*/ 421269 w 939786"/>
                  <a:gd name="connsiteY2700" fmla="*/ 615944 h 840509"/>
                  <a:gd name="connsiteX2701" fmla="*/ 420916 w 939786"/>
                  <a:gd name="connsiteY2701" fmla="*/ 615944 h 840509"/>
                  <a:gd name="connsiteX2702" fmla="*/ 420652 w 939786"/>
                  <a:gd name="connsiteY2702" fmla="*/ 615680 h 840509"/>
                  <a:gd name="connsiteX2703" fmla="*/ 420299 w 939786"/>
                  <a:gd name="connsiteY2703" fmla="*/ 615680 h 840509"/>
                  <a:gd name="connsiteX2704" fmla="*/ 420034 w 939786"/>
                  <a:gd name="connsiteY2704" fmla="*/ 615944 h 840509"/>
                  <a:gd name="connsiteX2705" fmla="*/ 419770 w 939786"/>
                  <a:gd name="connsiteY2705" fmla="*/ 615944 h 840509"/>
                  <a:gd name="connsiteX2706" fmla="*/ 419417 w 939786"/>
                  <a:gd name="connsiteY2706" fmla="*/ 615944 h 840509"/>
                  <a:gd name="connsiteX2707" fmla="*/ 419153 w 939786"/>
                  <a:gd name="connsiteY2707" fmla="*/ 616209 h 840509"/>
                  <a:gd name="connsiteX2708" fmla="*/ 419153 w 939786"/>
                  <a:gd name="connsiteY2708" fmla="*/ 616473 h 840509"/>
                  <a:gd name="connsiteX2709" fmla="*/ 418888 w 939786"/>
                  <a:gd name="connsiteY2709" fmla="*/ 616473 h 840509"/>
                  <a:gd name="connsiteX2710" fmla="*/ 418624 w 939786"/>
                  <a:gd name="connsiteY2710" fmla="*/ 617090 h 840509"/>
                  <a:gd name="connsiteX2711" fmla="*/ 418095 w 939786"/>
                  <a:gd name="connsiteY2711" fmla="*/ 617972 h 840509"/>
                  <a:gd name="connsiteX2712" fmla="*/ 417830 w 939786"/>
                  <a:gd name="connsiteY2712" fmla="*/ 617972 h 840509"/>
                  <a:gd name="connsiteX2713" fmla="*/ 417830 w 939786"/>
                  <a:gd name="connsiteY2713" fmla="*/ 618325 h 840509"/>
                  <a:gd name="connsiteX2714" fmla="*/ 417566 w 939786"/>
                  <a:gd name="connsiteY2714" fmla="*/ 618325 h 840509"/>
                  <a:gd name="connsiteX2715" fmla="*/ 416949 w 939786"/>
                  <a:gd name="connsiteY2715" fmla="*/ 617972 h 840509"/>
                  <a:gd name="connsiteX2716" fmla="*/ 416949 w 939786"/>
                  <a:gd name="connsiteY2716" fmla="*/ 617355 h 840509"/>
                  <a:gd name="connsiteX2717" fmla="*/ 416949 w 939786"/>
                  <a:gd name="connsiteY2717" fmla="*/ 616473 h 840509"/>
                  <a:gd name="connsiteX2718" fmla="*/ 416949 w 939786"/>
                  <a:gd name="connsiteY2718" fmla="*/ 615856 h 840509"/>
                  <a:gd name="connsiteX2719" fmla="*/ 415802 w 939786"/>
                  <a:gd name="connsiteY2719" fmla="*/ 612947 h 840509"/>
                  <a:gd name="connsiteX2720" fmla="*/ 414303 w 939786"/>
                  <a:gd name="connsiteY2720" fmla="*/ 610037 h 840509"/>
                  <a:gd name="connsiteX2721" fmla="*/ 414303 w 939786"/>
                  <a:gd name="connsiteY2721" fmla="*/ 609773 h 840509"/>
                  <a:gd name="connsiteX2722" fmla="*/ 413422 w 939786"/>
                  <a:gd name="connsiteY2722" fmla="*/ 608626 h 840509"/>
                  <a:gd name="connsiteX2723" fmla="*/ 413157 w 939786"/>
                  <a:gd name="connsiteY2723" fmla="*/ 608626 h 840509"/>
                  <a:gd name="connsiteX2724" fmla="*/ 412893 w 939786"/>
                  <a:gd name="connsiteY2724" fmla="*/ 608362 h 840509"/>
                  <a:gd name="connsiteX2725" fmla="*/ 412628 w 939786"/>
                  <a:gd name="connsiteY2725" fmla="*/ 608362 h 840509"/>
                  <a:gd name="connsiteX2726" fmla="*/ 411217 w 939786"/>
                  <a:gd name="connsiteY2726" fmla="*/ 608891 h 840509"/>
                  <a:gd name="connsiteX2727" fmla="*/ 410953 w 939786"/>
                  <a:gd name="connsiteY2727" fmla="*/ 609155 h 840509"/>
                  <a:gd name="connsiteX2728" fmla="*/ 410600 w 939786"/>
                  <a:gd name="connsiteY2728" fmla="*/ 609420 h 840509"/>
                  <a:gd name="connsiteX2729" fmla="*/ 410336 w 939786"/>
                  <a:gd name="connsiteY2729" fmla="*/ 609420 h 840509"/>
                  <a:gd name="connsiteX2730" fmla="*/ 410071 w 939786"/>
                  <a:gd name="connsiteY2730" fmla="*/ 609420 h 840509"/>
                  <a:gd name="connsiteX2731" fmla="*/ 410071 w 939786"/>
                  <a:gd name="connsiteY2731" fmla="*/ 609155 h 840509"/>
                  <a:gd name="connsiteX2732" fmla="*/ 410688 w 939786"/>
                  <a:gd name="connsiteY2732" fmla="*/ 608891 h 840509"/>
                  <a:gd name="connsiteX2733" fmla="*/ 412099 w 939786"/>
                  <a:gd name="connsiteY2733" fmla="*/ 606863 h 840509"/>
                  <a:gd name="connsiteX2734" fmla="*/ 413862 w 939786"/>
                  <a:gd name="connsiteY2734" fmla="*/ 605364 h 840509"/>
                  <a:gd name="connsiteX2735" fmla="*/ 414127 w 939786"/>
                  <a:gd name="connsiteY2735" fmla="*/ 605100 h 840509"/>
                  <a:gd name="connsiteX2736" fmla="*/ 413862 w 939786"/>
                  <a:gd name="connsiteY2736" fmla="*/ 605717 h 840509"/>
                  <a:gd name="connsiteX2737" fmla="*/ 413862 w 939786"/>
                  <a:gd name="connsiteY2737" fmla="*/ 605981 h 840509"/>
                  <a:gd name="connsiteX2738" fmla="*/ 413598 w 939786"/>
                  <a:gd name="connsiteY2738" fmla="*/ 606246 h 840509"/>
                  <a:gd name="connsiteX2739" fmla="*/ 413598 w 939786"/>
                  <a:gd name="connsiteY2739" fmla="*/ 606510 h 840509"/>
                  <a:gd name="connsiteX2740" fmla="*/ 413598 w 939786"/>
                  <a:gd name="connsiteY2740" fmla="*/ 606863 h 840509"/>
                  <a:gd name="connsiteX2741" fmla="*/ 415097 w 939786"/>
                  <a:gd name="connsiteY2741" fmla="*/ 609773 h 840509"/>
                  <a:gd name="connsiteX2742" fmla="*/ 415362 w 939786"/>
                  <a:gd name="connsiteY2742" fmla="*/ 610390 h 840509"/>
                  <a:gd name="connsiteX2743" fmla="*/ 415626 w 939786"/>
                  <a:gd name="connsiteY2743" fmla="*/ 610390 h 840509"/>
                  <a:gd name="connsiteX2744" fmla="*/ 415891 w 939786"/>
                  <a:gd name="connsiteY2744" fmla="*/ 610390 h 840509"/>
                  <a:gd name="connsiteX2745" fmla="*/ 417918 w 939786"/>
                  <a:gd name="connsiteY2745" fmla="*/ 610125 h 840509"/>
                  <a:gd name="connsiteX2746" fmla="*/ 418183 w 939786"/>
                  <a:gd name="connsiteY2746" fmla="*/ 609861 h 840509"/>
                  <a:gd name="connsiteX2747" fmla="*/ 417918 w 939786"/>
                  <a:gd name="connsiteY2747" fmla="*/ 609596 h 840509"/>
                  <a:gd name="connsiteX2748" fmla="*/ 417037 w 939786"/>
                  <a:gd name="connsiteY2748" fmla="*/ 609596 h 840509"/>
                  <a:gd name="connsiteX2749" fmla="*/ 416155 w 939786"/>
                  <a:gd name="connsiteY2749" fmla="*/ 608979 h 840509"/>
                  <a:gd name="connsiteX2750" fmla="*/ 416420 w 939786"/>
                  <a:gd name="connsiteY2750" fmla="*/ 608097 h 840509"/>
                  <a:gd name="connsiteX2751" fmla="*/ 416420 w 939786"/>
                  <a:gd name="connsiteY2751" fmla="*/ 607745 h 840509"/>
                  <a:gd name="connsiteX2752" fmla="*/ 416420 w 939786"/>
                  <a:gd name="connsiteY2752" fmla="*/ 607480 h 840509"/>
                  <a:gd name="connsiteX2753" fmla="*/ 416772 w 939786"/>
                  <a:gd name="connsiteY2753" fmla="*/ 607216 h 840509"/>
                  <a:gd name="connsiteX2754" fmla="*/ 417037 w 939786"/>
                  <a:gd name="connsiteY2754" fmla="*/ 606951 h 840509"/>
                  <a:gd name="connsiteX2755" fmla="*/ 417301 w 939786"/>
                  <a:gd name="connsiteY2755" fmla="*/ 606598 h 840509"/>
                  <a:gd name="connsiteX2756" fmla="*/ 417301 w 939786"/>
                  <a:gd name="connsiteY2756" fmla="*/ 606334 h 840509"/>
                  <a:gd name="connsiteX2757" fmla="*/ 418447 w 939786"/>
                  <a:gd name="connsiteY2757" fmla="*/ 601661 h 840509"/>
                  <a:gd name="connsiteX2758" fmla="*/ 418712 w 939786"/>
                  <a:gd name="connsiteY2758" fmla="*/ 599369 h 840509"/>
                  <a:gd name="connsiteX2759" fmla="*/ 418712 w 939786"/>
                  <a:gd name="connsiteY2759" fmla="*/ 597605 h 840509"/>
                  <a:gd name="connsiteX2760" fmla="*/ 418712 w 939786"/>
                  <a:gd name="connsiteY2760" fmla="*/ 597341 h 840509"/>
                  <a:gd name="connsiteX2761" fmla="*/ 419858 w 939786"/>
                  <a:gd name="connsiteY2761" fmla="*/ 595048 h 840509"/>
                  <a:gd name="connsiteX2762" fmla="*/ 419858 w 939786"/>
                  <a:gd name="connsiteY2762" fmla="*/ 594696 h 840509"/>
                  <a:gd name="connsiteX2763" fmla="*/ 419858 w 939786"/>
                  <a:gd name="connsiteY2763" fmla="*/ 594431 h 840509"/>
                  <a:gd name="connsiteX2764" fmla="*/ 419329 w 939786"/>
                  <a:gd name="connsiteY2764" fmla="*/ 592403 h 840509"/>
                  <a:gd name="connsiteX2765" fmla="*/ 418183 w 939786"/>
                  <a:gd name="connsiteY2765" fmla="*/ 589229 h 840509"/>
                  <a:gd name="connsiteX2766" fmla="*/ 417918 w 939786"/>
                  <a:gd name="connsiteY2766" fmla="*/ 588965 h 840509"/>
                  <a:gd name="connsiteX2767" fmla="*/ 417037 w 939786"/>
                  <a:gd name="connsiteY2767" fmla="*/ 588083 h 840509"/>
                  <a:gd name="connsiteX2768" fmla="*/ 416420 w 939786"/>
                  <a:gd name="connsiteY2768" fmla="*/ 587201 h 840509"/>
                  <a:gd name="connsiteX2769" fmla="*/ 415273 w 939786"/>
                  <a:gd name="connsiteY2769" fmla="*/ 585791 h 840509"/>
                  <a:gd name="connsiteX2770" fmla="*/ 415273 w 939786"/>
                  <a:gd name="connsiteY2770" fmla="*/ 585526 h 840509"/>
                  <a:gd name="connsiteX2771" fmla="*/ 415891 w 939786"/>
                  <a:gd name="connsiteY2771" fmla="*/ 584645 h 840509"/>
                  <a:gd name="connsiteX2772" fmla="*/ 415891 w 939786"/>
                  <a:gd name="connsiteY2772" fmla="*/ 584380 h 840509"/>
                  <a:gd name="connsiteX2773" fmla="*/ 416507 w 939786"/>
                  <a:gd name="connsiteY2773" fmla="*/ 584027 h 840509"/>
                  <a:gd name="connsiteX2774" fmla="*/ 416507 w 939786"/>
                  <a:gd name="connsiteY2774" fmla="*/ 583763 h 840509"/>
                  <a:gd name="connsiteX2775" fmla="*/ 416860 w 939786"/>
                  <a:gd name="connsiteY2775" fmla="*/ 583498 h 840509"/>
                  <a:gd name="connsiteX2776" fmla="*/ 416860 w 939786"/>
                  <a:gd name="connsiteY2776" fmla="*/ 583234 h 840509"/>
                  <a:gd name="connsiteX2777" fmla="*/ 417125 w 939786"/>
                  <a:gd name="connsiteY2777" fmla="*/ 583234 h 840509"/>
                  <a:gd name="connsiteX2778" fmla="*/ 417389 w 939786"/>
                  <a:gd name="connsiteY2778" fmla="*/ 582088 h 840509"/>
                  <a:gd name="connsiteX2779" fmla="*/ 417389 w 939786"/>
                  <a:gd name="connsiteY2779" fmla="*/ 581559 h 840509"/>
                  <a:gd name="connsiteX2780" fmla="*/ 417654 w 939786"/>
                  <a:gd name="connsiteY2780" fmla="*/ 579795 h 840509"/>
                  <a:gd name="connsiteX2781" fmla="*/ 417654 w 939786"/>
                  <a:gd name="connsiteY2781" fmla="*/ 578649 h 840509"/>
                  <a:gd name="connsiteX2782" fmla="*/ 417389 w 939786"/>
                  <a:gd name="connsiteY2782" fmla="*/ 574329 h 840509"/>
                  <a:gd name="connsiteX2783" fmla="*/ 417125 w 939786"/>
                  <a:gd name="connsiteY2783" fmla="*/ 573976 h 840509"/>
                  <a:gd name="connsiteX2784" fmla="*/ 415362 w 939786"/>
                  <a:gd name="connsiteY2784" fmla="*/ 573359 h 840509"/>
                  <a:gd name="connsiteX2785" fmla="*/ 411570 w 939786"/>
                  <a:gd name="connsiteY2785" fmla="*/ 573976 h 840509"/>
                  <a:gd name="connsiteX2786" fmla="*/ 411306 w 939786"/>
                  <a:gd name="connsiteY2786" fmla="*/ 573976 h 840509"/>
                  <a:gd name="connsiteX2787" fmla="*/ 411041 w 939786"/>
                  <a:gd name="connsiteY2787" fmla="*/ 574329 h 840509"/>
                  <a:gd name="connsiteX2788" fmla="*/ 410688 w 939786"/>
                  <a:gd name="connsiteY2788" fmla="*/ 574593 h 840509"/>
                  <a:gd name="connsiteX2789" fmla="*/ 409542 w 939786"/>
                  <a:gd name="connsiteY2789" fmla="*/ 575210 h 840509"/>
                  <a:gd name="connsiteX2790" fmla="*/ 409190 w 939786"/>
                  <a:gd name="connsiteY2790" fmla="*/ 574858 h 840509"/>
                  <a:gd name="connsiteX2791" fmla="*/ 408573 w 939786"/>
                  <a:gd name="connsiteY2791" fmla="*/ 573976 h 840509"/>
                  <a:gd name="connsiteX2792" fmla="*/ 408573 w 939786"/>
                  <a:gd name="connsiteY2792" fmla="*/ 573712 h 840509"/>
                  <a:gd name="connsiteX2793" fmla="*/ 408573 w 939786"/>
                  <a:gd name="connsiteY2793" fmla="*/ 573359 h 840509"/>
                  <a:gd name="connsiteX2794" fmla="*/ 408925 w 939786"/>
                  <a:gd name="connsiteY2794" fmla="*/ 573094 h 840509"/>
                  <a:gd name="connsiteX2795" fmla="*/ 408925 w 939786"/>
                  <a:gd name="connsiteY2795" fmla="*/ 572830 h 840509"/>
                  <a:gd name="connsiteX2796" fmla="*/ 409190 w 939786"/>
                  <a:gd name="connsiteY2796" fmla="*/ 569039 h 840509"/>
                  <a:gd name="connsiteX2797" fmla="*/ 409190 w 939786"/>
                  <a:gd name="connsiteY2797" fmla="*/ 568774 h 840509"/>
                  <a:gd name="connsiteX2798" fmla="*/ 408925 w 939786"/>
                  <a:gd name="connsiteY2798" fmla="*/ 566129 h 840509"/>
                  <a:gd name="connsiteX2799" fmla="*/ 408925 w 939786"/>
                  <a:gd name="connsiteY2799" fmla="*/ 563484 h 840509"/>
                  <a:gd name="connsiteX2800" fmla="*/ 408925 w 939786"/>
                  <a:gd name="connsiteY2800" fmla="*/ 563220 h 840509"/>
                  <a:gd name="connsiteX2801" fmla="*/ 408925 w 939786"/>
                  <a:gd name="connsiteY2801" fmla="*/ 562867 h 840509"/>
                  <a:gd name="connsiteX2802" fmla="*/ 409190 w 939786"/>
                  <a:gd name="connsiteY2802" fmla="*/ 562867 h 840509"/>
                  <a:gd name="connsiteX2803" fmla="*/ 409542 w 939786"/>
                  <a:gd name="connsiteY2803" fmla="*/ 562867 h 840509"/>
                  <a:gd name="connsiteX2804" fmla="*/ 410688 w 939786"/>
                  <a:gd name="connsiteY2804" fmla="*/ 563220 h 840509"/>
                  <a:gd name="connsiteX2805" fmla="*/ 411306 w 939786"/>
                  <a:gd name="connsiteY2805" fmla="*/ 563484 h 840509"/>
                  <a:gd name="connsiteX2806" fmla="*/ 411306 w 939786"/>
                  <a:gd name="connsiteY2806" fmla="*/ 563749 h 840509"/>
                  <a:gd name="connsiteX2807" fmla="*/ 411041 w 939786"/>
                  <a:gd name="connsiteY2807" fmla="*/ 564013 h 840509"/>
                  <a:gd name="connsiteX2808" fmla="*/ 411041 w 939786"/>
                  <a:gd name="connsiteY2808" fmla="*/ 564630 h 840509"/>
                  <a:gd name="connsiteX2809" fmla="*/ 410688 w 939786"/>
                  <a:gd name="connsiteY2809" fmla="*/ 565248 h 840509"/>
                  <a:gd name="connsiteX2810" fmla="*/ 411041 w 939786"/>
                  <a:gd name="connsiteY2810" fmla="*/ 565248 h 840509"/>
                  <a:gd name="connsiteX2811" fmla="*/ 411306 w 939786"/>
                  <a:gd name="connsiteY2811" fmla="*/ 565248 h 840509"/>
                  <a:gd name="connsiteX2812" fmla="*/ 411570 w 939786"/>
                  <a:gd name="connsiteY2812" fmla="*/ 564630 h 840509"/>
                  <a:gd name="connsiteX2813" fmla="*/ 413069 w 939786"/>
                  <a:gd name="connsiteY2813" fmla="*/ 563131 h 840509"/>
                  <a:gd name="connsiteX2814" fmla="*/ 413333 w 939786"/>
                  <a:gd name="connsiteY2814" fmla="*/ 563131 h 840509"/>
                  <a:gd name="connsiteX2815" fmla="*/ 414215 w 939786"/>
                  <a:gd name="connsiteY2815" fmla="*/ 561985 h 840509"/>
                  <a:gd name="connsiteX2816" fmla="*/ 414568 w 939786"/>
                  <a:gd name="connsiteY2816" fmla="*/ 559957 h 840509"/>
                  <a:gd name="connsiteX2817" fmla="*/ 414568 w 939786"/>
                  <a:gd name="connsiteY2817" fmla="*/ 559693 h 840509"/>
                  <a:gd name="connsiteX2818" fmla="*/ 414215 w 939786"/>
                  <a:gd name="connsiteY2818" fmla="*/ 558282 h 840509"/>
                  <a:gd name="connsiteX2819" fmla="*/ 413951 w 939786"/>
                  <a:gd name="connsiteY2819" fmla="*/ 557665 h 840509"/>
                  <a:gd name="connsiteX2820" fmla="*/ 413686 w 939786"/>
                  <a:gd name="connsiteY2820" fmla="*/ 557401 h 840509"/>
                  <a:gd name="connsiteX2821" fmla="*/ 413157 w 939786"/>
                  <a:gd name="connsiteY2821" fmla="*/ 556519 h 840509"/>
                  <a:gd name="connsiteX2822" fmla="*/ 412893 w 939786"/>
                  <a:gd name="connsiteY2822" fmla="*/ 556519 h 840509"/>
                  <a:gd name="connsiteX2823" fmla="*/ 412628 w 939786"/>
                  <a:gd name="connsiteY2823" fmla="*/ 556519 h 840509"/>
                  <a:gd name="connsiteX2824" fmla="*/ 409102 w 939786"/>
                  <a:gd name="connsiteY2824" fmla="*/ 557401 h 840509"/>
                  <a:gd name="connsiteX2825" fmla="*/ 407603 w 939786"/>
                  <a:gd name="connsiteY2825" fmla="*/ 558547 h 840509"/>
                  <a:gd name="connsiteX2826" fmla="*/ 407338 w 939786"/>
                  <a:gd name="connsiteY2826" fmla="*/ 558811 h 840509"/>
                  <a:gd name="connsiteX2827" fmla="*/ 407074 w 939786"/>
                  <a:gd name="connsiteY2827" fmla="*/ 558811 h 840509"/>
                  <a:gd name="connsiteX2828" fmla="*/ 406457 w 939786"/>
                  <a:gd name="connsiteY2828" fmla="*/ 558811 h 840509"/>
                  <a:gd name="connsiteX2829" fmla="*/ 406457 w 939786"/>
                  <a:gd name="connsiteY2829" fmla="*/ 558547 h 840509"/>
                  <a:gd name="connsiteX2830" fmla="*/ 407338 w 939786"/>
                  <a:gd name="connsiteY2830" fmla="*/ 556783 h 840509"/>
                  <a:gd name="connsiteX2831" fmla="*/ 407338 w 939786"/>
                  <a:gd name="connsiteY2831" fmla="*/ 556519 h 840509"/>
                  <a:gd name="connsiteX2832" fmla="*/ 408220 w 939786"/>
                  <a:gd name="connsiteY2832" fmla="*/ 555373 h 840509"/>
                  <a:gd name="connsiteX2833" fmla="*/ 408484 w 939786"/>
                  <a:gd name="connsiteY2833" fmla="*/ 555373 h 840509"/>
                  <a:gd name="connsiteX2834" fmla="*/ 408484 w 939786"/>
                  <a:gd name="connsiteY2834" fmla="*/ 555108 h 840509"/>
                  <a:gd name="connsiteX2835" fmla="*/ 408749 w 939786"/>
                  <a:gd name="connsiteY2835" fmla="*/ 555108 h 840509"/>
                  <a:gd name="connsiteX2836" fmla="*/ 408749 w 939786"/>
                  <a:gd name="connsiteY2836" fmla="*/ 555373 h 840509"/>
                  <a:gd name="connsiteX2837" fmla="*/ 408749 w 939786"/>
                  <a:gd name="connsiteY2837" fmla="*/ 555637 h 840509"/>
                  <a:gd name="connsiteX2838" fmla="*/ 409102 w 939786"/>
                  <a:gd name="connsiteY2838" fmla="*/ 555637 h 840509"/>
                  <a:gd name="connsiteX2839" fmla="*/ 409366 w 939786"/>
                  <a:gd name="connsiteY2839" fmla="*/ 555637 h 840509"/>
                  <a:gd name="connsiteX2840" fmla="*/ 409719 w 939786"/>
                  <a:gd name="connsiteY2840" fmla="*/ 555637 h 840509"/>
                  <a:gd name="connsiteX2841" fmla="*/ 409983 w 939786"/>
                  <a:gd name="connsiteY2841" fmla="*/ 555373 h 840509"/>
                  <a:gd name="connsiteX2842" fmla="*/ 409983 w 939786"/>
                  <a:gd name="connsiteY2842" fmla="*/ 555108 h 840509"/>
                  <a:gd name="connsiteX2843" fmla="*/ 409983 w 939786"/>
                  <a:gd name="connsiteY2843" fmla="*/ 554844 h 840509"/>
                  <a:gd name="connsiteX2844" fmla="*/ 409719 w 939786"/>
                  <a:gd name="connsiteY2844" fmla="*/ 553345 h 840509"/>
                  <a:gd name="connsiteX2845" fmla="*/ 409366 w 939786"/>
                  <a:gd name="connsiteY2845" fmla="*/ 552816 h 840509"/>
                  <a:gd name="connsiteX2846" fmla="*/ 408749 w 939786"/>
                  <a:gd name="connsiteY2846" fmla="*/ 551317 h 840509"/>
                  <a:gd name="connsiteX2847" fmla="*/ 407603 w 939786"/>
                  <a:gd name="connsiteY2847" fmla="*/ 550435 h 840509"/>
                  <a:gd name="connsiteX2848" fmla="*/ 407338 w 939786"/>
                  <a:gd name="connsiteY2848" fmla="*/ 550171 h 840509"/>
                  <a:gd name="connsiteX2849" fmla="*/ 406721 w 939786"/>
                  <a:gd name="connsiteY2849" fmla="*/ 549818 h 840509"/>
                  <a:gd name="connsiteX2850" fmla="*/ 406457 w 939786"/>
                  <a:gd name="connsiteY2850" fmla="*/ 549201 h 840509"/>
                  <a:gd name="connsiteX2851" fmla="*/ 406457 w 939786"/>
                  <a:gd name="connsiteY2851" fmla="*/ 548936 h 840509"/>
                  <a:gd name="connsiteX2852" fmla="*/ 406457 w 939786"/>
                  <a:gd name="connsiteY2852" fmla="*/ 548672 h 840509"/>
                  <a:gd name="connsiteX2853" fmla="*/ 407074 w 939786"/>
                  <a:gd name="connsiteY2853" fmla="*/ 548319 h 840509"/>
                  <a:gd name="connsiteX2854" fmla="*/ 407074 w 939786"/>
                  <a:gd name="connsiteY2854" fmla="*/ 548055 h 840509"/>
                  <a:gd name="connsiteX2855" fmla="*/ 406192 w 939786"/>
                  <a:gd name="connsiteY2855" fmla="*/ 547526 h 840509"/>
                  <a:gd name="connsiteX2856" fmla="*/ 405928 w 939786"/>
                  <a:gd name="connsiteY2856" fmla="*/ 547526 h 840509"/>
                  <a:gd name="connsiteX2857" fmla="*/ 405663 w 939786"/>
                  <a:gd name="connsiteY2857" fmla="*/ 547526 h 840509"/>
                  <a:gd name="connsiteX2858" fmla="*/ 405663 w 939786"/>
                  <a:gd name="connsiteY2858" fmla="*/ 547790 h 840509"/>
                  <a:gd name="connsiteX2859" fmla="*/ 405399 w 939786"/>
                  <a:gd name="connsiteY2859" fmla="*/ 547790 h 840509"/>
                  <a:gd name="connsiteX2860" fmla="*/ 405134 w 939786"/>
                  <a:gd name="connsiteY2860" fmla="*/ 548055 h 840509"/>
                  <a:gd name="connsiteX2861" fmla="*/ 404870 w 939786"/>
                  <a:gd name="connsiteY2861" fmla="*/ 548936 h 840509"/>
                  <a:gd name="connsiteX2862" fmla="*/ 404605 w 939786"/>
                  <a:gd name="connsiteY2862" fmla="*/ 548936 h 840509"/>
                  <a:gd name="connsiteX2863" fmla="*/ 404605 w 939786"/>
                  <a:gd name="connsiteY2863" fmla="*/ 549201 h 840509"/>
                  <a:gd name="connsiteX2864" fmla="*/ 404341 w 939786"/>
                  <a:gd name="connsiteY2864" fmla="*/ 549465 h 840509"/>
                  <a:gd name="connsiteX2865" fmla="*/ 402577 w 939786"/>
                  <a:gd name="connsiteY2865" fmla="*/ 550347 h 840509"/>
                  <a:gd name="connsiteX2866" fmla="*/ 402312 w 939786"/>
                  <a:gd name="connsiteY2866" fmla="*/ 550347 h 840509"/>
                  <a:gd name="connsiteX2867" fmla="*/ 400814 w 939786"/>
                  <a:gd name="connsiteY2867" fmla="*/ 550347 h 840509"/>
                  <a:gd name="connsiteX2868" fmla="*/ 397022 w 939786"/>
                  <a:gd name="connsiteY2868" fmla="*/ 550083 h 840509"/>
                  <a:gd name="connsiteX2869" fmla="*/ 395876 w 939786"/>
                  <a:gd name="connsiteY2869" fmla="*/ 549730 h 840509"/>
                  <a:gd name="connsiteX2870" fmla="*/ 395259 w 939786"/>
                  <a:gd name="connsiteY2870" fmla="*/ 549730 h 840509"/>
                  <a:gd name="connsiteX2871" fmla="*/ 394642 w 939786"/>
                  <a:gd name="connsiteY2871" fmla="*/ 548584 h 840509"/>
                  <a:gd name="connsiteX2872" fmla="*/ 394642 w 939786"/>
                  <a:gd name="connsiteY2872" fmla="*/ 548231 h 840509"/>
                  <a:gd name="connsiteX2873" fmla="*/ 394378 w 939786"/>
                  <a:gd name="connsiteY2873" fmla="*/ 547966 h 840509"/>
                  <a:gd name="connsiteX2874" fmla="*/ 394113 w 939786"/>
                  <a:gd name="connsiteY2874" fmla="*/ 547702 h 840509"/>
                  <a:gd name="connsiteX2875" fmla="*/ 393760 w 939786"/>
                  <a:gd name="connsiteY2875" fmla="*/ 547702 h 840509"/>
                  <a:gd name="connsiteX2876" fmla="*/ 392878 w 939786"/>
                  <a:gd name="connsiteY2876" fmla="*/ 547437 h 840509"/>
                  <a:gd name="connsiteX2877" fmla="*/ 391468 w 939786"/>
                  <a:gd name="connsiteY2877" fmla="*/ 545410 h 840509"/>
                  <a:gd name="connsiteX2878" fmla="*/ 391203 w 939786"/>
                  <a:gd name="connsiteY2878" fmla="*/ 544528 h 840509"/>
                  <a:gd name="connsiteX2879" fmla="*/ 390322 w 939786"/>
                  <a:gd name="connsiteY2879" fmla="*/ 544264 h 840509"/>
                  <a:gd name="connsiteX2880" fmla="*/ 390322 w 939786"/>
                  <a:gd name="connsiteY2880" fmla="*/ 543999 h 840509"/>
                  <a:gd name="connsiteX2881" fmla="*/ 389969 w 939786"/>
                  <a:gd name="connsiteY2881" fmla="*/ 543999 h 840509"/>
                  <a:gd name="connsiteX2882" fmla="*/ 386442 w 939786"/>
                  <a:gd name="connsiteY2882" fmla="*/ 543735 h 840509"/>
                  <a:gd name="connsiteX2883" fmla="*/ 386178 w 939786"/>
                  <a:gd name="connsiteY2883" fmla="*/ 543735 h 840509"/>
                  <a:gd name="connsiteX2884" fmla="*/ 385561 w 939786"/>
                  <a:gd name="connsiteY2884" fmla="*/ 543735 h 840509"/>
                  <a:gd name="connsiteX2885" fmla="*/ 384679 w 939786"/>
                  <a:gd name="connsiteY2885" fmla="*/ 543735 h 840509"/>
                  <a:gd name="connsiteX2886" fmla="*/ 384061 w 939786"/>
                  <a:gd name="connsiteY2886" fmla="*/ 543999 h 840509"/>
                  <a:gd name="connsiteX2887" fmla="*/ 383444 w 939786"/>
                  <a:gd name="connsiteY2887" fmla="*/ 544264 h 840509"/>
                  <a:gd name="connsiteX2888" fmla="*/ 383180 w 939786"/>
                  <a:gd name="connsiteY2888" fmla="*/ 544264 h 840509"/>
                  <a:gd name="connsiteX2889" fmla="*/ 383180 w 939786"/>
                  <a:gd name="connsiteY2889" fmla="*/ 544528 h 840509"/>
                  <a:gd name="connsiteX2890" fmla="*/ 382915 w 939786"/>
                  <a:gd name="connsiteY2890" fmla="*/ 544528 h 840509"/>
                  <a:gd name="connsiteX2891" fmla="*/ 382034 w 939786"/>
                  <a:gd name="connsiteY2891" fmla="*/ 545410 h 840509"/>
                  <a:gd name="connsiteX2892" fmla="*/ 380006 w 939786"/>
                  <a:gd name="connsiteY2892" fmla="*/ 546027 h 840509"/>
                  <a:gd name="connsiteX2893" fmla="*/ 378595 w 939786"/>
                  <a:gd name="connsiteY2893" fmla="*/ 546379 h 840509"/>
                  <a:gd name="connsiteX2894" fmla="*/ 377449 w 939786"/>
                  <a:gd name="connsiteY2894" fmla="*/ 546027 h 840509"/>
                  <a:gd name="connsiteX2895" fmla="*/ 377185 w 939786"/>
                  <a:gd name="connsiteY2895" fmla="*/ 545762 h 840509"/>
                  <a:gd name="connsiteX2896" fmla="*/ 377185 w 939786"/>
                  <a:gd name="connsiteY2896" fmla="*/ 545498 h 840509"/>
                  <a:gd name="connsiteX2897" fmla="*/ 376920 w 939786"/>
                  <a:gd name="connsiteY2897" fmla="*/ 544881 h 840509"/>
                  <a:gd name="connsiteX2898" fmla="*/ 376656 w 939786"/>
                  <a:gd name="connsiteY2898" fmla="*/ 544616 h 840509"/>
                  <a:gd name="connsiteX2899" fmla="*/ 375509 w 939786"/>
                  <a:gd name="connsiteY2899" fmla="*/ 542324 h 840509"/>
                  <a:gd name="connsiteX2900" fmla="*/ 372335 w 939786"/>
                  <a:gd name="connsiteY2900" fmla="*/ 539150 h 840509"/>
                  <a:gd name="connsiteX2901" fmla="*/ 371453 w 939786"/>
                  <a:gd name="connsiteY2901" fmla="*/ 538268 h 840509"/>
                  <a:gd name="connsiteX2902" fmla="*/ 369955 w 939786"/>
                  <a:gd name="connsiteY2902" fmla="*/ 537122 h 840509"/>
                  <a:gd name="connsiteX2903" fmla="*/ 367045 w 939786"/>
                  <a:gd name="connsiteY2903" fmla="*/ 535358 h 840509"/>
                  <a:gd name="connsiteX2904" fmla="*/ 366693 w 939786"/>
                  <a:gd name="connsiteY2904" fmla="*/ 535094 h 840509"/>
                  <a:gd name="connsiteX2905" fmla="*/ 364665 w 939786"/>
                  <a:gd name="connsiteY2905" fmla="*/ 533948 h 840509"/>
                  <a:gd name="connsiteX2906" fmla="*/ 363166 w 939786"/>
                  <a:gd name="connsiteY2906" fmla="*/ 533330 h 840509"/>
                  <a:gd name="connsiteX2907" fmla="*/ 361402 w 939786"/>
                  <a:gd name="connsiteY2907" fmla="*/ 532449 h 840509"/>
                  <a:gd name="connsiteX2908" fmla="*/ 361050 w 939786"/>
                  <a:gd name="connsiteY2908" fmla="*/ 532185 h 840509"/>
                  <a:gd name="connsiteX2909" fmla="*/ 360785 w 939786"/>
                  <a:gd name="connsiteY2909" fmla="*/ 532185 h 840509"/>
                  <a:gd name="connsiteX2910" fmla="*/ 360521 w 939786"/>
                  <a:gd name="connsiteY2910" fmla="*/ 532185 h 840509"/>
                  <a:gd name="connsiteX2911" fmla="*/ 360256 w 939786"/>
                  <a:gd name="connsiteY2911" fmla="*/ 532449 h 840509"/>
                  <a:gd name="connsiteX2912" fmla="*/ 359992 w 939786"/>
                  <a:gd name="connsiteY2912" fmla="*/ 532449 h 840509"/>
                  <a:gd name="connsiteX2913" fmla="*/ 359727 w 939786"/>
                  <a:gd name="connsiteY2913" fmla="*/ 532713 h 840509"/>
                  <a:gd name="connsiteX2914" fmla="*/ 359110 w 939786"/>
                  <a:gd name="connsiteY2914" fmla="*/ 532978 h 840509"/>
                  <a:gd name="connsiteX2915" fmla="*/ 358228 w 939786"/>
                  <a:gd name="connsiteY2915" fmla="*/ 533507 h 840509"/>
                  <a:gd name="connsiteX2916" fmla="*/ 357964 w 939786"/>
                  <a:gd name="connsiteY2916" fmla="*/ 533859 h 840509"/>
                  <a:gd name="connsiteX2917" fmla="*/ 357699 w 939786"/>
                  <a:gd name="connsiteY2917" fmla="*/ 534124 h 840509"/>
                  <a:gd name="connsiteX2918" fmla="*/ 357347 w 939786"/>
                  <a:gd name="connsiteY2918" fmla="*/ 534124 h 840509"/>
                  <a:gd name="connsiteX2919" fmla="*/ 353556 w 939786"/>
                  <a:gd name="connsiteY2919" fmla="*/ 535270 h 840509"/>
                  <a:gd name="connsiteX2920" fmla="*/ 353291 w 939786"/>
                  <a:gd name="connsiteY2920" fmla="*/ 535535 h 840509"/>
                  <a:gd name="connsiteX2921" fmla="*/ 352409 w 939786"/>
                  <a:gd name="connsiteY2921" fmla="*/ 535535 h 840509"/>
                  <a:gd name="connsiteX2922" fmla="*/ 351792 w 939786"/>
                  <a:gd name="connsiteY2922" fmla="*/ 535535 h 840509"/>
                  <a:gd name="connsiteX2923" fmla="*/ 351527 w 939786"/>
                  <a:gd name="connsiteY2923" fmla="*/ 535535 h 840509"/>
                  <a:gd name="connsiteX2924" fmla="*/ 350911 w 939786"/>
                  <a:gd name="connsiteY2924" fmla="*/ 535535 h 840509"/>
                  <a:gd name="connsiteX2925" fmla="*/ 350293 w 939786"/>
                  <a:gd name="connsiteY2925" fmla="*/ 535535 h 840509"/>
                  <a:gd name="connsiteX2926" fmla="*/ 349147 w 939786"/>
                  <a:gd name="connsiteY2926" fmla="*/ 535270 h 840509"/>
                  <a:gd name="connsiteX2927" fmla="*/ 341564 w 939786"/>
                  <a:gd name="connsiteY2927" fmla="*/ 534741 h 840509"/>
                  <a:gd name="connsiteX2928" fmla="*/ 340948 w 939786"/>
                  <a:gd name="connsiteY2928" fmla="*/ 534741 h 840509"/>
                  <a:gd name="connsiteX2929" fmla="*/ 339184 w 939786"/>
                  <a:gd name="connsiteY2929" fmla="*/ 534741 h 840509"/>
                  <a:gd name="connsiteX2930" fmla="*/ 334511 w 939786"/>
                  <a:gd name="connsiteY2930" fmla="*/ 535270 h 840509"/>
                  <a:gd name="connsiteX2931" fmla="*/ 333894 w 939786"/>
                  <a:gd name="connsiteY2931" fmla="*/ 535270 h 840509"/>
                  <a:gd name="connsiteX2932" fmla="*/ 333629 w 939786"/>
                  <a:gd name="connsiteY2932" fmla="*/ 535270 h 840509"/>
                  <a:gd name="connsiteX2933" fmla="*/ 333365 w 939786"/>
                  <a:gd name="connsiteY2933" fmla="*/ 535270 h 840509"/>
                  <a:gd name="connsiteX2934" fmla="*/ 333365 w 939786"/>
                  <a:gd name="connsiteY2934" fmla="*/ 535094 h 840509"/>
                  <a:gd name="connsiteX2935" fmla="*/ 332218 w 939786"/>
                  <a:gd name="connsiteY2935" fmla="*/ 535094 h 840509"/>
                  <a:gd name="connsiteX2936" fmla="*/ 329309 w 939786"/>
                  <a:gd name="connsiteY2936" fmla="*/ 535358 h 840509"/>
                  <a:gd name="connsiteX2937" fmla="*/ 324636 w 939786"/>
                  <a:gd name="connsiteY2937" fmla="*/ 535711 h 840509"/>
                  <a:gd name="connsiteX2938" fmla="*/ 319346 w 939786"/>
                  <a:gd name="connsiteY2938" fmla="*/ 536328 h 840509"/>
                  <a:gd name="connsiteX2939" fmla="*/ 315555 w 939786"/>
                  <a:gd name="connsiteY2939" fmla="*/ 536857 h 840509"/>
                  <a:gd name="connsiteX2940" fmla="*/ 315026 w 939786"/>
                  <a:gd name="connsiteY2940" fmla="*/ 537210 h 840509"/>
                  <a:gd name="connsiteX2941" fmla="*/ 314144 w 939786"/>
                  <a:gd name="connsiteY2941" fmla="*/ 537210 h 840509"/>
                  <a:gd name="connsiteX2942" fmla="*/ 313792 w 939786"/>
                  <a:gd name="connsiteY2942" fmla="*/ 537210 h 840509"/>
                  <a:gd name="connsiteX2943" fmla="*/ 313527 w 939786"/>
                  <a:gd name="connsiteY2943" fmla="*/ 537210 h 840509"/>
                  <a:gd name="connsiteX2944" fmla="*/ 313174 w 939786"/>
                  <a:gd name="connsiteY2944" fmla="*/ 537474 h 840509"/>
                  <a:gd name="connsiteX2945" fmla="*/ 309118 w 939786"/>
                  <a:gd name="connsiteY2945" fmla="*/ 538973 h 840509"/>
                  <a:gd name="connsiteX2946" fmla="*/ 308501 w 939786"/>
                  <a:gd name="connsiteY2946" fmla="*/ 539326 h 840509"/>
                  <a:gd name="connsiteX2947" fmla="*/ 306738 w 939786"/>
                  <a:gd name="connsiteY2947" fmla="*/ 540208 h 840509"/>
                  <a:gd name="connsiteX2948" fmla="*/ 302947 w 939786"/>
                  <a:gd name="connsiteY2948" fmla="*/ 542236 h 840509"/>
                  <a:gd name="connsiteX2949" fmla="*/ 293865 w 939786"/>
                  <a:gd name="connsiteY2949" fmla="*/ 545674 h 840509"/>
                  <a:gd name="connsiteX2950" fmla="*/ 290074 w 939786"/>
                  <a:gd name="connsiteY2950" fmla="*/ 547173 h 840509"/>
                  <a:gd name="connsiteX2951" fmla="*/ 289809 w 939786"/>
                  <a:gd name="connsiteY2951" fmla="*/ 547173 h 840509"/>
                  <a:gd name="connsiteX2952" fmla="*/ 288311 w 939786"/>
                  <a:gd name="connsiteY2952" fmla="*/ 547437 h 840509"/>
                  <a:gd name="connsiteX2953" fmla="*/ 285666 w 939786"/>
                  <a:gd name="connsiteY2953" fmla="*/ 547702 h 840509"/>
                  <a:gd name="connsiteX2954" fmla="*/ 283638 w 939786"/>
                  <a:gd name="connsiteY2954" fmla="*/ 548319 h 840509"/>
                  <a:gd name="connsiteX2955" fmla="*/ 281081 w 939786"/>
                  <a:gd name="connsiteY2955" fmla="*/ 549201 h 840509"/>
                  <a:gd name="connsiteX2956" fmla="*/ 279053 w 939786"/>
                  <a:gd name="connsiteY2956" fmla="*/ 549818 h 840509"/>
                  <a:gd name="connsiteX2957" fmla="*/ 274116 w 939786"/>
                  <a:gd name="connsiteY2957" fmla="*/ 551581 h 840509"/>
                  <a:gd name="connsiteX2958" fmla="*/ 272617 w 939786"/>
                  <a:gd name="connsiteY2958" fmla="*/ 551846 h 840509"/>
                  <a:gd name="connsiteX2959" fmla="*/ 270325 w 939786"/>
                  <a:gd name="connsiteY2959" fmla="*/ 552199 h 840509"/>
                  <a:gd name="connsiteX2960" fmla="*/ 269443 w 939786"/>
                  <a:gd name="connsiteY2960" fmla="*/ 552463 h 840509"/>
                  <a:gd name="connsiteX2961" fmla="*/ 267415 w 939786"/>
                  <a:gd name="connsiteY2961" fmla="*/ 552463 h 840509"/>
                  <a:gd name="connsiteX2962" fmla="*/ 266798 w 939786"/>
                  <a:gd name="connsiteY2962" fmla="*/ 552463 h 840509"/>
                  <a:gd name="connsiteX2963" fmla="*/ 260361 w 939786"/>
                  <a:gd name="connsiteY2963" fmla="*/ 552728 h 840509"/>
                  <a:gd name="connsiteX2964" fmla="*/ 259215 w 939786"/>
                  <a:gd name="connsiteY2964" fmla="*/ 552728 h 840509"/>
                  <a:gd name="connsiteX2965" fmla="*/ 258069 w 939786"/>
                  <a:gd name="connsiteY2965" fmla="*/ 552463 h 840509"/>
                  <a:gd name="connsiteX2966" fmla="*/ 255688 w 939786"/>
                  <a:gd name="connsiteY2966" fmla="*/ 552463 h 840509"/>
                  <a:gd name="connsiteX2967" fmla="*/ 254542 w 939786"/>
                  <a:gd name="connsiteY2967" fmla="*/ 552199 h 840509"/>
                  <a:gd name="connsiteX2968" fmla="*/ 253396 w 939786"/>
                  <a:gd name="connsiteY2968" fmla="*/ 551581 h 840509"/>
                  <a:gd name="connsiteX2969" fmla="*/ 252867 w 939786"/>
                  <a:gd name="connsiteY2969" fmla="*/ 551317 h 840509"/>
                  <a:gd name="connsiteX2970" fmla="*/ 252603 w 939786"/>
                  <a:gd name="connsiteY2970" fmla="*/ 551317 h 840509"/>
                  <a:gd name="connsiteX2971" fmla="*/ 252338 w 939786"/>
                  <a:gd name="connsiteY2971" fmla="*/ 551317 h 840509"/>
                  <a:gd name="connsiteX2972" fmla="*/ 251721 w 939786"/>
                  <a:gd name="connsiteY2972" fmla="*/ 551052 h 840509"/>
                  <a:gd name="connsiteX2973" fmla="*/ 251104 w 939786"/>
                  <a:gd name="connsiteY2973" fmla="*/ 551052 h 840509"/>
                  <a:gd name="connsiteX2974" fmla="*/ 250839 w 939786"/>
                  <a:gd name="connsiteY2974" fmla="*/ 550788 h 840509"/>
                  <a:gd name="connsiteX2975" fmla="*/ 250575 w 939786"/>
                  <a:gd name="connsiteY2975" fmla="*/ 550788 h 840509"/>
                  <a:gd name="connsiteX2976" fmla="*/ 250310 w 939786"/>
                  <a:gd name="connsiteY2976" fmla="*/ 551052 h 840509"/>
                  <a:gd name="connsiteX2977" fmla="*/ 249958 w 939786"/>
                  <a:gd name="connsiteY2977" fmla="*/ 551052 h 840509"/>
                  <a:gd name="connsiteX2978" fmla="*/ 249693 w 939786"/>
                  <a:gd name="connsiteY2978" fmla="*/ 551052 h 840509"/>
                  <a:gd name="connsiteX2979" fmla="*/ 249429 w 939786"/>
                  <a:gd name="connsiteY2979" fmla="*/ 551317 h 840509"/>
                  <a:gd name="connsiteX2980" fmla="*/ 248547 w 939786"/>
                  <a:gd name="connsiteY2980" fmla="*/ 551934 h 840509"/>
                  <a:gd name="connsiteX2981" fmla="*/ 248194 w 939786"/>
                  <a:gd name="connsiteY2981" fmla="*/ 551934 h 840509"/>
                  <a:gd name="connsiteX2982" fmla="*/ 247577 w 939786"/>
                  <a:gd name="connsiteY2982" fmla="*/ 551934 h 840509"/>
                  <a:gd name="connsiteX2983" fmla="*/ 247313 w 939786"/>
                  <a:gd name="connsiteY2983" fmla="*/ 551934 h 840509"/>
                  <a:gd name="connsiteX2984" fmla="*/ 246695 w 939786"/>
                  <a:gd name="connsiteY2984" fmla="*/ 551670 h 840509"/>
                  <a:gd name="connsiteX2985" fmla="*/ 246078 w 939786"/>
                  <a:gd name="connsiteY2985" fmla="*/ 551670 h 840509"/>
                  <a:gd name="connsiteX2986" fmla="*/ 245813 w 939786"/>
                  <a:gd name="connsiteY2986" fmla="*/ 551670 h 840509"/>
                  <a:gd name="connsiteX2987" fmla="*/ 242022 w 939786"/>
                  <a:gd name="connsiteY2987" fmla="*/ 553433 h 840509"/>
                  <a:gd name="connsiteX2988" fmla="*/ 241758 w 939786"/>
                  <a:gd name="connsiteY2988" fmla="*/ 553433 h 840509"/>
                  <a:gd name="connsiteX2989" fmla="*/ 236821 w 939786"/>
                  <a:gd name="connsiteY2989" fmla="*/ 556607 h 840509"/>
                  <a:gd name="connsiteX2990" fmla="*/ 235939 w 939786"/>
                  <a:gd name="connsiteY2990" fmla="*/ 556872 h 840509"/>
                  <a:gd name="connsiteX2991" fmla="*/ 235939 w 939786"/>
                  <a:gd name="connsiteY2991" fmla="*/ 557224 h 840509"/>
                  <a:gd name="connsiteX2992" fmla="*/ 235674 w 939786"/>
                  <a:gd name="connsiteY2992" fmla="*/ 557224 h 840509"/>
                  <a:gd name="connsiteX2993" fmla="*/ 235674 w 939786"/>
                  <a:gd name="connsiteY2993" fmla="*/ 557489 h 840509"/>
                  <a:gd name="connsiteX2994" fmla="*/ 235410 w 939786"/>
                  <a:gd name="connsiteY2994" fmla="*/ 557753 h 840509"/>
                  <a:gd name="connsiteX2995" fmla="*/ 235145 w 939786"/>
                  <a:gd name="connsiteY2995" fmla="*/ 557753 h 840509"/>
                  <a:gd name="connsiteX2996" fmla="*/ 234616 w 939786"/>
                  <a:gd name="connsiteY2996" fmla="*/ 558106 h 840509"/>
                  <a:gd name="connsiteX2997" fmla="*/ 234352 w 939786"/>
                  <a:gd name="connsiteY2997" fmla="*/ 558371 h 840509"/>
                  <a:gd name="connsiteX2998" fmla="*/ 233734 w 939786"/>
                  <a:gd name="connsiteY2998" fmla="*/ 558635 h 840509"/>
                  <a:gd name="connsiteX2999" fmla="*/ 232588 w 939786"/>
                  <a:gd name="connsiteY2999" fmla="*/ 559252 h 840509"/>
                  <a:gd name="connsiteX3000" fmla="*/ 232324 w 939786"/>
                  <a:gd name="connsiteY3000" fmla="*/ 559252 h 840509"/>
                  <a:gd name="connsiteX3001" fmla="*/ 231442 w 939786"/>
                  <a:gd name="connsiteY3001" fmla="*/ 559516 h 840509"/>
                  <a:gd name="connsiteX3002" fmla="*/ 230913 w 939786"/>
                  <a:gd name="connsiteY3002" fmla="*/ 559516 h 840509"/>
                  <a:gd name="connsiteX3003" fmla="*/ 230032 w 939786"/>
                  <a:gd name="connsiteY3003" fmla="*/ 559516 h 840509"/>
                  <a:gd name="connsiteX3004" fmla="*/ 229414 w 939786"/>
                  <a:gd name="connsiteY3004" fmla="*/ 559781 h 840509"/>
                  <a:gd name="connsiteX3005" fmla="*/ 229150 w 939786"/>
                  <a:gd name="connsiteY3005" fmla="*/ 559781 h 840509"/>
                  <a:gd name="connsiteX3006" fmla="*/ 227739 w 939786"/>
                  <a:gd name="connsiteY3006" fmla="*/ 560398 h 840509"/>
                  <a:gd name="connsiteX3007" fmla="*/ 221567 w 939786"/>
                  <a:gd name="connsiteY3007" fmla="*/ 563308 h 840509"/>
                  <a:gd name="connsiteX3008" fmla="*/ 220068 w 939786"/>
                  <a:gd name="connsiteY3008" fmla="*/ 564189 h 840509"/>
                  <a:gd name="connsiteX3009" fmla="*/ 219804 w 939786"/>
                  <a:gd name="connsiteY3009" fmla="*/ 564454 h 840509"/>
                  <a:gd name="connsiteX3010" fmla="*/ 219451 w 939786"/>
                  <a:gd name="connsiteY3010" fmla="*/ 564454 h 840509"/>
                  <a:gd name="connsiteX3011" fmla="*/ 219187 w 939786"/>
                  <a:gd name="connsiteY3011" fmla="*/ 564718 h 840509"/>
                  <a:gd name="connsiteX3012" fmla="*/ 218922 w 939786"/>
                  <a:gd name="connsiteY3012" fmla="*/ 565071 h 840509"/>
                  <a:gd name="connsiteX3013" fmla="*/ 218658 w 939786"/>
                  <a:gd name="connsiteY3013" fmla="*/ 565336 h 840509"/>
                  <a:gd name="connsiteX3014" fmla="*/ 218393 w 939786"/>
                  <a:gd name="connsiteY3014" fmla="*/ 565336 h 840509"/>
                  <a:gd name="connsiteX3015" fmla="*/ 218041 w 939786"/>
                  <a:gd name="connsiteY3015" fmla="*/ 565600 h 840509"/>
                  <a:gd name="connsiteX3016" fmla="*/ 215131 w 939786"/>
                  <a:gd name="connsiteY3016" fmla="*/ 567099 h 840509"/>
                  <a:gd name="connsiteX3017" fmla="*/ 214866 w 939786"/>
                  <a:gd name="connsiteY3017" fmla="*/ 567364 h 840509"/>
                  <a:gd name="connsiteX3018" fmla="*/ 213985 w 939786"/>
                  <a:gd name="connsiteY3018" fmla="*/ 567628 h 840509"/>
                  <a:gd name="connsiteX3019" fmla="*/ 213103 w 939786"/>
                  <a:gd name="connsiteY3019" fmla="*/ 567628 h 840509"/>
                  <a:gd name="connsiteX3020" fmla="*/ 211075 w 939786"/>
                  <a:gd name="connsiteY3020" fmla="*/ 567893 h 840509"/>
                  <a:gd name="connsiteX3021" fmla="*/ 209312 w 939786"/>
                  <a:gd name="connsiteY3021" fmla="*/ 568157 h 840509"/>
                  <a:gd name="connsiteX3022" fmla="*/ 208430 w 939786"/>
                  <a:gd name="connsiteY3022" fmla="*/ 568157 h 840509"/>
                  <a:gd name="connsiteX3023" fmla="*/ 207284 w 939786"/>
                  <a:gd name="connsiteY3023" fmla="*/ 568422 h 840509"/>
                  <a:gd name="connsiteX3024" fmla="*/ 206138 w 939786"/>
                  <a:gd name="connsiteY3024" fmla="*/ 568686 h 840509"/>
                  <a:gd name="connsiteX3025" fmla="*/ 205520 w 939786"/>
                  <a:gd name="connsiteY3025" fmla="*/ 568686 h 840509"/>
                  <a:gd name="connsiteX3026" fmla="*/ 204903 w 939786"/>
                  <a:gd name="connsiteY3026" fmla="*/ 568951 h 840509"/>
                  <a:gd name="connsiteX3027" fmla="*/ 204287 w 939786"/>
                  <a:gd name="connsiteY3027" fmla="*/ 569215 h 840509"/>
                  <a:gd name="connsiteX3028" fmla="*/ 201994 w 939786"/>
                  <a:gd name="connsiteY3028" fmla="*/ 570626 h 840509"/>
                  <a:gd name="connsiteX3029" fmla="*/ 201729 w 939786"/>
                  <a:gd name="connsiteY3029" fmla="*/ 570890 h 840509"/>
                  <a:gd name="connsiteX3030" fmla="*/ 200848 w 939786"/>
                  <a:gd name="connsiteY3030" fmla="*/ 571508 h 840509"/>
                  <a:gd name="connsiteX3031" fmla="*/ 200583 w 939786"/>
                  <a:gd name="connsiteY3031" fmla="*/ 571772 h 840509"/>
                  <a:gd name="connsiteX3032" fmla="*/ 200583 w 939786"/>
                  <a:gd name="connsiteY3032" fmla="*/ 572037 h 840509"/>
                  <a:gd name="connsiteX3033" fmla="*/ 199437 w 939786"/>
                  <a:gd name="connsiteY3033" fmla="*/ 572918 h 840509"/>
                  <a:gd name="connsiteX3034" fmla="*/ 198820 w 939786"/>
                  <a:gd name="connsiteY3034" fmla="*/ 573535 h 840509"/>
                  <a:gd name="connsiteX3035" fmla="*/ 194764 w 939786"/>
                  <a:gd name="connsiteY3035" fmla="*/ 579354 h 840509"/>
                  <a:gd name="connsiteX3036" fmla="*/ 192736 w 939786"/>
                  <a:gd name="connsiteY3036" fmla="*/ 582881 h 840509"/>
                  <a:gd name="connsiteX3037" fmla="*/ 192383 w 939786"/>
                  <a:gd name="connsiteY3037" fmla="*/ 583146 h 840509"/>
                  <a:gd name="connsiteX3038" fmla="*/ 192119 w 939786"/>
                  <a:gd name="connsiteY3038" fmla="*/ 583410 h 840509"/>
                  <a:gd name="connsiteX3039" fmla="*/ 191854 w 939786"/>
                  <a:gd name="connsiteY3039" fmla="*/ 583675 h 840509"/>
                  <a:gd name="connsiteX3040" fmla="*/ 191325 w 939786"/>
                  <a:gd name="connsiteY3040" fmla="*/ 584027 h 840509"/>
                  <a:gd name="connsiteX3041" fmla="*/ 189562 w 939786"/>
                  <a:gd name="connsiteY3041" fmla="*/ 584909 h 840509"/>
                  <a:gd name="connsiteX3042" fmla="*/ 187534 w 939786"/>
                  <a:gd name="connsiteY3042" fmla="*/ 586408 h 840509"/>
                  <a:gd name="connsiteX3043" fmla="*/ 186917 w 939786"/>
                  <a:gd name="connsiteY3043" fmla="*/ 586673 h 840509"/>
                  <a:gd name="connsiteX3044" fmla="*/ 186653 w 939786"/>
                  <a:gd name="connsiteY3044" fmla="*/ 587290 h 840509"/>
                  <a:gd name="connsiteX3045" fmla="*/ 186036 w 939786"/>
                  <a:gd name="connsiteY3045" fmla="*/ 587907 h 840509"/>
                  <a:gd name="connsiteX3046" fmla="*/ 185771 w 939786"/>
                  <a:gd name="connsiteY3046" fmla="*/ 588171 h 840509"/>
                  <a:gd name="connsiteX3047" fmla="*/ 185507 w 939786"/>
                  <a:gd name="connsiteY3047" fmla="*/ 588788 h 840509"/>
                  <a:gd name="connsiteX3048" fmla="*/ 185507 w 939786"/>
                  <a:gd name="connsiteY3048" fmla="*/ 589053 h 840509"/>
                  <a:gd name="connsiteX3049" fmla="*/ 184360 w 939786"/>
                  <a:gd name="connsiteY3049" fmla="*/ 589935 h 840509"/>
                  <a:gd name="connsiteX3050" fmla="*/ 183214 w 939786"/>
                  <a:gd name="connsiteY3050" fmla="*/ 590552 h 840509"/>
                  <a:gd name="connsiteX3051" fmla="*/ 180304 w 939786"/>
                  <a:gd name="connsiteY3051" fmla="*/ 592051 h 840509"/>
                  <a:gd name="connsiteX3052" fmla="*/ 178894 w 939786"/>
                  <a:gd name="connsiteY3052" fmla="*/ 592315 h 840509"/>
                  <a:gd name="connsiteX3053" fmla="*/ 178894 w 939786"/>
                  <a:gd name="connsiteY3053" fmla="*/ 592051 h 840509"/>
                  <a:gd name="connsiteX3054" fmla="*/ 178629 w 939786"/>
                  <a:gd name="connsiteY3054" fmla="*/ 592051 h 840509"/>
                  <a:gd name="connsiteX3055" fmla="*/ 178277 w 939786"/>
                  <a:gd name="connsiteY3055" fmla="*/ 592051 h 840509"/>
                  <a:gd name="connsiteX3056" fmla="*/ 177660 w 939786"/>
                  <a:gd name="connsiteY3056" fmla="*/ 591786 h 840509"/>
                  <a:gd name="connsiteX3057" fmla="*/ 177131 w 939786"/>
                  <a:gd name="connsiteY3057" fmla="*/ 591786 h 840509"/>
                  <a:gd name="connsiteX3058" fmla="*/ 176866 w 939786"/>
                  <a:gd name="connsiteY3058" fmla="*/ 591786 h 840509"/>
                  <a:gd name="connsiteX3059" fmla="*/ 176602 w 939786"/>
                  <a:gd name="connsiteY3059" fmla="*/ 592051 h 840509"/>
                  <a:gd name="connsiteX3060" fmla="*/ 176249 w 939786"/>
                  <a:gd name="connsiteY3060" fmla="*/ 592051 h 840509"/>
                  <a:gd name="connsiteX3061" fmla="*/ 175103 w 939786"/>
                  <a:gd name="connsiteY3061" fmla="*/ 592932 h 840509"/>
                  <a:gd name="connsiteX3062" fmla="*/ 174486 w 939786"/>
                  <a:gd name="connsiteY3062" fmla="*/ 593550 h 840509"/>
                  <a:gd name="connsiteX3063" fmla="*/ 174486 w 939786"/>
                  <a:gd name="connsiteY3063" fmla="*/ 593814 h 840509"/>
                  <a:gd name="connsiteX3064" fmla="*/ 173868 w 939786"/>
                  <a:gd name="connsiteY3064" fmla="*/ 594079 h 840509"/>
                  <a:gd name="connsiteX3065" fmla="*/ 172986 w 939786"/>
                  <a:gd name="connsiteY3065" fmla="*/ 594343 h 840509"/>
                  <a:gd name="connsiteX3066" fmla="*/ 171488 w 939786"/>
                  <a:gd name="connsiteY3066" fmla="*/ 594960 h 840509"/>
                  <a:gd name="connsiteX3067" fmla="*/ 171488 w 939786"/>
                  <a:gd name="connsiteY3067" fmla="*/ 593197 h 840509"/>
                  <a:gd name="connsiteX3068" fmla="*/ 171488 w 939786"/>
                  <a:gd name="connsiteY3068" fmla="*/ 591698 h 840509"/>
                  <a:gd name="connsiteX3069" fmla="*/ 171223 w 939786"/>
                  <a:gd name="connsiteY3069" fmla="*/ 591434 h 840509"/>
                  <a:gd name="connsiteX3070" fmla="*/ 170959 w 939786"/>
                  <a:gd name="connsiteY3070" fmla="*/ 591434 h 840509"/>
                  <a:gd name="connsiteX3071" fmla="*/ 170077 w 939786"/>
                  <a:gd name="connsiteY3071" fmla="*/ 590816 h 840509"/>
                  <a:gd name="connsiteX3072" fmla="*/ 169812 w 939786"/>
                  <a:gd name="connsiteY3072" fmla="*/ 590816 h 840509"/>
                  <a:gd name="connsiteX3073" fmla="*/ 167785 w 939786"/>
                  <a:gd name="connsiteY3073" fmla="*/ 591698 h 840509"/>
                  <a:gd name="connsiteX3074" fmla="*/ 166021 w 939786"/>
                  <a:gd name="connsiteY3074" fmla="*/ 591963 h 840509"/>
                  <a:gd name="connsiteX3075" fmla="*/ 165757 w 939786"/>
                  <a:gd name="connsiteY3075" fmla="*/ 591963 h 840509"/>
                  <a:gd name="connsiteX3076" fmla="*/ 165492 w 939786"/>
                  <a:gd name="connsiteY3076" fmla="*/ 592227 h 840509"/>
                  <a:gd name="connsiteX3077" fmla="*/ 165492 w 939786"/>
                  <a:gd name="connsiteY3077" fmla="*/ 591963 h 840509"/>
                  <a:gd name="connsiteX3078" fmla="*/ 163729 w 939786"/>
                  <a:gd name="connsiteY3078" fmla="*/ 591698 h 840509"/>
                  <a:gd name="connsiteX3079" fmla="*/ 161084 w 939786"/>
                  <a:gd name="connsiteY3079" fmla="*/ 591698 h 840509"/>
                  <a:gd name="connsiteX3080" fmla="*/ 160819 w 939786"/>
                  <a:gd name="connsiteY3080" fmla="*/ 591963 h 840509"/>
                  <a:gd name="connsiteX3081" fmla="*/ 160555 w 939786"/>
                  <a:gd name="connsiteY3081" fmla="*/ 592227 h 840509"/>
                  <a:gd name="connsiteX3082" fmla="*/ 157645 w 939786"/>
                  <a:gd name="connsiteY3082" fmla="*/ 592492 h 840509"/>
                  <a:gd name="connsiteX3083" fmla="*/ 157381 w 939786"/>
                  <a:gd name="connsiteY3083" fmla="*/ 592492 h 840509"/>
                  <a:gd name="connsiteX3084" fmla="*/ 156499 w 939786"/>
                  <a:gd name="connsiteY3084" fmla="*/ 592227 h 840509"/>
                  <a:gd name="connsiteX3085" fmla="*/ 156235 w 939786"/>
                  <a:gd name="connsiteY3085" fmla="*/ 592227 h 840509"/>
                  <a:gd name="connsiteX3086" fmla="*/ 155970 w 939786"/>
                  <a:gd name="connsiteY3086" fmla="*/ 592227 h 840509"/>
                  <a:gd name="connsiteX3087" fmla="*/ 154824 w 939786"/>
                  <a:gd name="connsiteY3087" fmla="*/ 592492 h 840509"/>
                  <a:gd name="connsiteX3088" fmla="*/ 154559 w 939786"/>
                  <a:gd name="connsiteY3088" fmla="*/ 592756 h 840509"/>
                  <a:gd name="connsiteX3089" fmla="*/ 153942 w 939786"/>
                  <a:gd name="connsiteY3089" fmla="*/ 593021 h 840509"/>
                  <a:gd name="connsiteX3090" fmla="*/ 153677 w 939786"/>
                  <a:gd name="connsiteY3090" fmla="*/ 593285 h 840509"/>
                  <a:gd name="connsiteX3091" fmla="*/ 153325 w 939786"/>
                  <a:gd name="connsiteY3091" fmla="*/ 593550 h 840509"/>
                  <a:gd name="connsiteX3092" fmla="*/ 153325 w 939786"/>
                  <a:gd name="connsiteY3092" fmla="*/ 594431 h 840509"/>
                  <a:gd name="connsiteX3093" fmla="*/ 153061 w 939786"/>
                  <a:gd name="connsiteY3093" fmla="*/ 594431 h 840509"/>
                  <a:gd name="connsiteX3094" fmla="*/ 153061 w 939786"/>
                  <a:gd name="connsiteY3094" fmla="*/ 594784 h 840509"/>
                  <a:gd name="connsiteX3095" fmla="*/ 152708 w 939786"/>
                  <a:gd name="connsiteY3095" fmla="*/ 594784 h 840509"/>
                  <a:gd name="connsiteX3096" fmla="*/ 152443 w 939786"/>
                  <a:gd name="connsiteY3096" fmla="*/ 594784 h 840509"/>
                  <a:gd name="connsiteX3097" fmla="*/ 150151 w 939786"/>
                  <a:gd name="connsiteY3097" fmla="*/ 595048 h 840509"/>
                  <a:gd name="connsiteX3098" fmla="*/ 149534 w 939786"/>
                  <a:gd name="connsiteY3098" fmla="*/ 594784 h 840509"/>
                  <a:gd name="connsiteX3099" fmla="*/ 149269 w 939786"/>
                  <a:gd name="connsiteY3099" fmla="*/ 594784 h 840509"/>
                  <a:gd name="connsiteX3100" fmla="*/ 149269 w 939786"/>
                  <a:gd name="connsiteY3100" fmla="*/ 594431 h 840509"/>
                  <a:gd name="connsiteX3101" fmla="*/ 149534 w 939786"/>
                  <a:gd name="connsiteY3101" fmla="*/ 594167 h 840509"/>
                  <a:gd name="connsiteX3102" fmla="*/ 149798 w 939786"/>
                  <a:gd name="connsiteY3102" fmla="*/ 593902 h 840509"/>
                  <a:gd name="connsiteX3103" fmla="*/ 150063 w 939786"/>
                  <a:gd name="connsiteY3103" fmla="*/ 593902 h 840509"/>
                  <a:gd name="connsiteX3104" fmla="*/ 150063 w 939786"/>
                  <a:gd name="connsiteY3104" fmla="*/ 593638 h 840509"/>
                  <a:gd name="connsiteX3105" fmla="*/ 150328 w 939786"/>
                  <a:gd name="connsiteY3105" fmla="*/ 592492 h 840509"/>
                  <a:gd name="connsiteX3106" fmla="*/ 150328 w 939786"/>
                  <a:gd name="connsiteY3106" fmla="*/ 591874 h 840509"/>
                  <a:gd name="connsiteX3107" fmla="*/ 150328 w 939786"/>
                  <a:gd name="connsiteY3107" fmla="*/ 591610 h 840509"/>
                  <a:gd name="connsiteX3108" fmla="*/ 150063 w 939786"/>
                  <a:gd name="connsiteY3108" fmla="*/ 591081 h 840509"/>
                  <a:gd name="connsiteX3109" fmla="*/ 150063 w 939786"/>
                  <a:gd name="connsiteY3109" fmla="*/ 590728 h 840509"/>
                  <a:gd name="connsiteX3110" fmla="*/ 149798 w 939786"/>
                  <a:gd name="connsiteY3110" fmla="*/ 590199 h 840509"/>
                  <a:gd name="connsiteX3111" fmla="*/ 149534 w 939786"/>
                  <a:gd name="connsiteY3111" fmla="*/ 589846 h 840509"/>
                  <a:gd name="connsiteX3112" fmla="*/ 149269 w 939786"/>
                  <a:gd name="connsiteY3112" fmla="*/ 589846 h 840509"/>
                  <a:gd name="connsiteX3113" fmla="*/ 147770 w 939786"/>
                  <a:gd name="connsiteY3113" fmla="*/ 590199 h 840509"/>
                  <a:gd name="connsiteX3114" fmla="*/ 147506 w 939786"/>
                  <a:gd name="connsiteY3114" fmla="*/ 590464 h 840509"/>
                  <a:gd name="connsiteX3115" fmla="*/ 147241 w 939786"/>
                  <a:gd name="connsiteY3115" fmla="*/ 590464 h 840509"/>
                  <a:gd name="connsiteX3116" fmla="*/ 146977 w 939786"/>
                  <a:gd name="connsiteY3116" fmla="*/ 590728 h 840509"/>
                  <a:gd name="connsiteX3117" fmla="*/ 146712 w 939786"/>
                  <a:gd name="connsiteY3117" fmla="*/ 591081 h 840509"/>
                  <a:gd name="connsiteX3118" fmla="*/ 146095 w 939786"/>
                  <a:gd name="connsiteY3118" fmla="*/ 591345 h 840509"/>
                  <a:gd name="connsiteX3119" fmla="*/ 145831 w 939786"/>
                  <a:gd name="connsiteY3119" fmla="*/ 591610 h 840509"/>
                  <a:gd name="connsiteX3120" fmla="*/ 145566 w 939786"/>
                  <a:gd name="connsiteY3120" fmla="*/ 591610 h 840509"/>
                  <a:gd name="connsiteX3121" fmla="*/ 144685 w 939786"/>
                  <a:gd name="connsiteY3121" fmla="*/ 591874 h 840509"/>
                  <a:gd name="connsiteX3122" fmla="*/ 144420 w 939786"/>
                  <a:gd name="connsiteY3122" fmla="*/ 591874 h 840509"/>
                  <a:gd name="connsiteX3123" fmla="*/ 142656 w 939786"/>
                  <a:gd name="connsiteY3123" fmla="*/ 590728 h 840509"/>
                  <a:gd name="connsiteX3124" fmla="*/ 140011 w 939786"/>
                  <a:gd name="connsiteY3124" fmla="*/ 589846 h 840509"/>
                  <a:gd name="connsiteX3125" fmla="*/ 139747 w 939786"/>
                  <a:gd name="connsiteY3125" fmla="*/ 589846 h 840509"/>
                  <a:gd name="connsiteX3126" fmla="*/ 138601 w 939786"/>
                  <a:gd name="connsiteY3126" fmla="*/ 589846 h 840509"/>
                  <a:gd name="connsiteX3127" fmla="*/ 136838 w 939786"/>
                  <a:gd name="connsiteY3127" fmla="*/ 589846 h 840509"/>
                  <a:gd name="connsiteX3128" fmla="*/ 136220 w 939786"/>
                  <a:gd name="connsiteY3128" fmla="*/ 589846 h 840509"/>
                  <a:gd name="connsiteX3129" fmla="*/ 135956 w 939786"/>
                  <a:gd name="connsiteY3129" fmla="*/ 589846 h 840509"/>
                  <a:gd name="connsiteX3130" fmla="*/ 133311 w 939786"/>
                  <a:gd name="connsiteY3130" fmla="*/ 590464 h 840509"/>
                  <a:gd name="connsiteX3131" fmla="*/ 129784 w 939786"/>
                  <a:gd name="connsiteY3131" fmla="*/ 590728 h 840509"/>
                  <a:gd name="connsiteX3132" fmla="*/ 127227 w 939786"/>
                  <a:gd name="connsiteY3132" fmla="*/ 591081 h 840509"/>
                  <a:gd name="connsiteX3133" fmla="*/ 126610 w 939786"/>
                  <a:gd name="connsiteY3133" fmla="*/ 590728 h 840509"/>
                  <a:gd name="connsiteX3134" fmla="*/ 126345 w 939786"/>
                  <a:gd name="connsiteY3134" fmla="*/ 590728 h 840509"/>
                  <a:gd name="connsiteX3135" fmla="*/ 126081 w 939786"/>
                  <a:gd name="connsiteY3135" fmla="*/ 590728 h 840509"/>
                  <a:gd name="connsiteX3136" fmla="*/ 125728 w 939786"/>
                  <a:gd name="connsiteY3136" fmla="*/ 590728 h 840509"/>
                  <a:gd name="connsiteX3137" fmla="*/ 125199 w 939786"/>
                  <a:gd name="connsiteY3137" fmla="*/ 591081 h 840509"/>
                  <a:gd name="connsiteX3138" fmla="*/ 124847 w 939786"/>
                  <a:gd name="connsiteY3138" fmla="*/ 591345 h 840509"/>
                  <a:gd name="connsiteX3139" fmla="*/ 124582 w 939786"/>
                  <a:gd name="connsiteY3139" fmla="*/ 591345 h 840509"/>
                  <a:gd name="connsiteX3140" fmla="*/ 124318 w 939786"/>
                  <a:gd name="connsiteY3140" fmla="*/ 591610 h 840509"/>
                  <a:gd name="connsiteX3141" fmla="*/ 124053 w 939786"/>
                  <a:gd name="connsiteY3141" fmla="*/ 591610 h 840509"/>
                  <a:gd name="connsiteX3142" fmla="*/ 122907 w 939786"/>
                  <a:gd name="connsiteY3142" fmla="*/ 591610 h 840509"/>
                  <a:gd name="connsiteX3143" fmla="*/ 122025 w 939786"/>
                  <a:gd name="connsiteY3143" fmla="*/ 591610 h 840509"/>
                  <a:gd name="connsiteX3144" fmla="*/ 118763 w 939786"/>
                  <a:gd name="connsiteY3144" fmla="*/ 592227 h 840509"/>
                  <a:gd name="connsiteX3145" fmla="*/ 117352 w 939786"/>
                  <a:gd name="connsiteY3145" fmla="*/ 593109 h 840509"/>
                  <a:gd name="connsiteX3146" fmla="*/ 116206 w 939786"/>
                  <a:gd name="connsiteY3146" fmla="*/ 593726 h 840509"/>
                  <a:gd name="connsiteX3147" fmla="*/ 115853 w 939786"/>
                  <a:gd name="connsiteY3147" fmla="*/ 593726 h 840509"/>
                  <a:gd name="connsiteX3148" fmla="*/ 115589 w 939786"/>
                  <a:gd name="connsiteY3148" fmla="*/ 593726 h 840509"/>
                  <a:gd name="connsiteX3149" fmla="*/ 114707 w 939786"/>
                  <a:gd name="connsiteY3149" fmla="*/ 593461 h 840509"/>
                  <a:gd name="connsiteX3150" fmla="*/ 113297 w 939786"/>
                  <a:gd name="connsiteY3150" fmla="*/ 593197 h 840509"/>
                  <a:gd name="connsiteX3151" fmla="*/ 112679 w 939786"/>
                  <a:gd name="connsiteY3151" fmla="*/ 592932 h 840509"/>
                  <a:gd name="connsiteX3152" fmla="*/ 112062 w 939786"/>
                  <a:gd name="connsiteY3152" fmla="*/ 592932 h 840509"/>
                  <a:gd name="connsiteX3153" fmla="*/ 108271 w 939786"/>
                  <a:gd name="connsiteY3153" fmla="*/ 592668 h 840509"/>
                  <a:gd name="connsiteX3154" fmla="*/ 108006 w 939786"/>
                  <a:gd name="connsiteY3154" fmla="*/ 592668 h 840509"/>
                  <a:gd name="connsiteX3155" fmla="*/ 105979 w 939786"/>
                  <a:gd name="connsiteY3155" fmla="*/ 592668 h 840509"/>
                  <a:gd name="connsiteX3156" fmla="*/ 105361 w 939786"/>
                  <a:gd name="connsiteY3156" fmla="*/ 592932 h 840509"/>
                  <a:gd name="connsiteX3157" fmla="*/ 101570 w 939786"/>
                  <a:gd name="connsiteY3157" fmla="*/ 593814 h 840509"/>
                  <a:gd name="connsiteX3158" fmla="*/ 101305 w 939786"/>
                  <a:gd name="connsiteY3158" fmla="*/ 594079 h 840509"/>
                  <a:gd name="connsiteX3159" fmla="*/ 101041 w 939786"/>
                  <a:gd name="connsiteY3159" fmla="*/ 594079 h 840509"/>
                  <a:gd name="connsiteX3160" fmla="*/ 100776 w 939786"/>
                  <a:gd name="connsiteY3160" fmla="*/ 594343 h 840509"/>
                  <a:gd name="connsiteX3161" fmla="*/ 100160 w 939786"/>
                  <a:gd name="connsiteY3161" fmla="*/ 594608 h 840509"/>
                  <a:gd name="connsiteX3162" fmla="*/ 99895 w 939786"/>
                  <a:gd name="connsiteY3162" fmla="*/ 595225 h 840509"/>
                  <a:gd name="connsiteX3163" fmla="*/ 99542 w 939786"/>
                  <a:gd name="connsiteY3163" fmla="*/ 595225 h 840509"/>
                  <a:gd name="connsiteX3164" fmla="*/ 99278 w 939786"/>
                  <a:gd name="connsiteY3164" fmla="*/ 595489 h 840509"/>
                  <a:gd name="connsiteX3165" fmla="*/ 98660 w 939786"/>
                  <a:gd name="connsiteY3165" fmla="*/ 595754 h 840509"/>
                  <a:gd name="connsiteX3166" fmla="*/ 98396 w 939786"/>
                  <a:gd name="connsiteY3166" fmla="*/ 596018 h 840509"/>
                  <a:gd name="connsiteX3167" fmla="*/ 97514 w 939786"/>
                  <a:gd name="connsiteY3167" fmla="*/ 596283 h 840509"/>
                  <a:gd name="connsiteX3168" fmla="*/ 96897 w 939786"/>
                  <a:gd name="connsiteY3168" fmla="*/ 596547 h 840509"/>
                  <a:gd name="connsiteX3169" fmla="*/ 96280 w 939786"/>
                  <a:gd name="connsiteY3169" fmla="*/ 596900 h 840509"/>
                  <a:gd name="connsiteX3170" fmla="*/ 94869 w 939786"/>
                  <a:gd name="connsiteY3170" fmla="*/ 598046 h 840509"/>
                  <a:gd name="connsiteX3171" fmla="*/ 94605 w 939786"/>
                  <a:gd name="connsiteY3171" fmla="*/ 598046 h 840509"/>
                  <a:gd name="connsiteX3172" fmla="*/ 91960 w 939786"/>
                  <a:gd name="connsiteY3172" fmla="*/ 600691 h 840509"/>
                  <a:gd name="connsiteX3173" fmla="*/ 91695 w 939786"/>
                  <a:gd name="connsiteY3173" fmla="*/ 600956 h 840509"/>
                  <a:gd name="connsiteX3174" fmla="*/ 91695 w 939786"/>
                  <a:gd name="connsiteY3174" fmla="*/ 601220 h 840509"/>
                  <a:gd name="connsiteX3175" fmla="*/ 91078 w 939786"/>
                  <a:gd name="connsiteY3175" fmla="*/ 602366 h 840509"/>
                  <a:gd name="connsiteX3176" fmla="*/ 90814 w 939786"/>
                  <a:gd name="connsiteY3176" fmla="*/ 602631 h 840509"/>
                  <a:gd name="connsiteX3177" fmla="*/ 86758 w 939786"/>
                  <a:gd name="connsiteY3177" fmla="*/ 605276 h 840509"/>
                  <a:gd name="connsiteX3178" fmla="*/ 83848 w 939786"/>
                  <a:gd name="connsiteY3178" fmla="*/ 606775 h 840509"/>
                  <a:gd name="connsiteX3179" fmla="*/ 83496 w 939786"/>
                  <a:gd name="connsiteY3179" fmla="*/ 606422 h 840509"/>
                  <a:gd name="connsiteX3180" fmla="*/ 82085 w 939786"/>
                  <a:gd name="connsiteY3180" fmla="*/ 606158 h 840509"/>
                  <a:gd name="connsiteX3181" fmla="*/ 81467 w 939786"/>
                  <a:gd name="connsiteY3181" fmla="*/ 605893 h 840509"/>
                  <a:gd name="connsiteX3182" fmla="*/ 78823 w 939786"/>
                  <a:gd name="connsiteY3182" fmla="*/ 605629 h 840509"/>
                  <a:gd name="connsiteX3183" fmla="*/ 78205 w 939786"/>
                  <a:gd name="connsiteY3183" fmla="*/ 605629 h 840509"/>
                  <a:gd name="connsiteX3184" fmla="*/ 77676 w 939786"/>
                  <a:gd name="connsiteY3184" fmla="*/ 605893 h 840509"/>
                  <a:gd name="connsiteX3185" fmla="*/ 74767 w 939786"/>
                  <a:gd name="connsiteY3185" fmla="*/ 607304 h 840509"/>
                  <a:gd name="connsiteX3186" fmla="*/ 74150 w 939786"/>
                  <a:gd name="connsiteY3186" fmla="*/ 607568 h 840509"/>
                  <a:gd name="connsiteX3187" fmla="*/ 73885 w 939786"/>
                  <a:gd name="connsiteY3187" fmla="*/ 607921 h 840509"/>
                  <a:gd name="connsiteX3188" fmla="*/ 73268 w 939786"/>
                  <a:gd name="connsiteY3188" fmla="*/ 608538 h 840509"/>
                  <a:gd name="connsiteX3189" fmla="*/ 72915 w 939786"/>
                  <a:gd name="connsiteY3189" fmla="*/ 608538 h 840509"/>
                  <a:gd name="connsiteX3190" fmla="*/ 73533 w 939786"/>
                  <a:gd name="connsiteY3190" fmla="*/ 609420 h 840509"/>
                  <a:gd name="connsiteX3191" fmla="*/ 72915 w 939786"/>
                  <a:gd name="connsiteY3191" fmla="*/ 609684 h 840509"/>
                  <a:gd name="connsiteX3192" fmla="*/ 72651 w 939786"/>
                  <a:gd name="connsiteY3192" fmla="*/ 609949 h 840509"/>
                  <a:gd name="connsiteX3193" fmla="*/ 72386 w 939786"/>
                  <a:gd name="connsiteY3193" fmla="*/ 610213 h 840509"/>
                  <a:gd name="connsiteX3194" fmla="*/ 71769 w 939786"/>
                  <a:gd name="connsiteY3194" fmla="*/ 610478 h 840509"/>
                  <a:gd name="connsiteX3195" fmla="*/ 70623 w 939786"/>
                  <a:gd name="connsiteY3195" fmla="*/ 611095 h 840509"/>
                  <a:gd name="connsiteX3196" fmla="*/ 70359 w 939786"/>
                  <a:gd name="connsiteY3196" fmla="*/ 611095 h 840509"/>
                  <a:gd name="connsiteX3197" fmla="*/ 69741 w 939786"/>
                  <a:gd name="connsiteY3197" fmla="*/ 611360 h 840509"/>
                  <a:gd name="connsiteX3198" fmla="*/ 69388 w 939786"/>
                  <a:gd name="connsiteY3198" fmla="*/ 611360 h 840509"/>
                  <a:gd name="connsiteX3199" fmla="*/ 68859 w 939786"/>
                  <a:gd name="connsiteY3199" fmla="*/ 611360 h 840509"/>
                  <a:gd name="connsiteX3200" fmla="*/ 67713 w 939786"/>
                  <a:gd name="connsiteY3200" fmla="*/ 611977 h 840509"/>
                  <a:gd name="connsiteX3201" fmla="*/ 66832 w 939786"/>
                  <a:gd name="connsiteY3201" fmla="*/ 612241 h 840509"/>
                  <a:gd name="connsiteX3202" fmla="*/ 66568 w 939786"/>
                  <a:gd name="connsiteY3202" fmla="*/ 612241 h 840509"/>
                  <a:gd name="connsiteX3203" fmla="*/ 65950 w 939786"/>
                  <a:gd name="connsiteY3203" fmla="*/ 612506 h 840509"/>
                  <a:gd name="connsiteX3204" fmla="*/ 65686 w 939786"/>
                  <a:gd name="connsiteY3204" fmla="*/ 612770 h 840509"/>
                  <a:gd name="connsiteX3205" fmla="*/ 64804 w 939786"/>
                  <a:gd name="connsiteY3205" fmla="*/ 613299 h 840509"/>
                  <a:gd name="connsiteX3206" fmla="*/ 64187 w 939786"/>
                  <a:gd name="connsiteY3206" fmla="*/ 613917 h 840509"/>
                  <a:gd name="connsiteX3207" fmla="*/ 63922 w 939786"/>
                  <a:gd name="connsiteY3207" fmla="*/ 614798 h 840509"/>
                  <a:gd name="connsiteX3208" fmla="*/ 63658 w 939786"/>
                  <a:gd name="connsiteY3208" fmla="*/ 615063 h 840509"/>
                  <a:gd name="connsiteX3209" fmla="*/ 60748 w 939786"/>
                  <a:gd name="connsiteY3209" fmla="*/ 616561 h 840509"/>
                  <a:gd name="connsiteX3210" fmla="*/ 55811 w 939786"/>
                  <a:gd name="connsiteY3210" fmla="*/ 618854 h 840509"/>
                  <a:gd name="connsiteX3211" fmla="*/ 50785 w 939786"/>
                  <a:gd name="connsiteY3211" fmla="*/ 619736 h 840509"/>
                  <a:gd name="connsiteX3212" fmla="*/ 50521 w 939786"/>
                  <a:gd name="connsiteY3212" fmla="*/ 619736 h 840509"/>
                  <a:gd name="connsiteX3213" fmla="*/ 50256 w 939786"/>
                  <a:gd name="connsiteY3213" fmla="*/ 619736 h 840509"/>
                  <a:gd name="connsiteX3214" fmla="*/ 50256 w 939786"/>
                  <a:gd name="connsiteY3214" fmla="*/ 620000 h 840509"/>
                  <a:gd name="connsiteX3215" fmla="*/ 50256 w 939786"/>
                  <a:gd name="connsiteY3215" fmla="*/ 620353 h 840509"/>
                  <a:gd name="connsiteX3216" fmla="*/ 50256 w 939786"/>
                  <a:gd name="connsiteY3216" fmla="*/ 620617 h 840509"/>
                  <a:gd name="connsiteX3217" fmla="*/ 50521 w 939786"/>
                  <a:gd name="connsiteY3217" fmla="*/ 620882 h 840509"/>
                  <a:gd name="connsiteX3218" fmla="*/ 50785 w 939786"/>
                  <a:gd name="connsiteY3218" fmla="*/ 620882 h 840509"/>
                  <a:gd name="connsiteX3219" fmla="*/ 51138 w 939786"/>
                  <a:gd name="connsiteY3219" fmla="*/ 620882 h 840509"/>
                  <a:gd name="connsiteX3220" fmla="*/ 52020 w 939786"/>
                  <a:gd name="connsiteY3220" fmla="*/ 621146 h 840509"/>
                  <a:gd name="connsiteX3221" fmla="*/ 52284 w 939786"/>
                  <a:gd name="connsiteY3221" fmla="*/ 621146 h 840509"/>
                  <a:gd name="connsiteX3222" fmla="*/ 52901 w 939786"/>
                  <a:gd name="connsiteY3222" fmla="*/ 620882 h 840509"/>
                  <a:gd name="connsiteX3223" fmla="*/ 53166 w 939786"/>
                  <a:gd name="connsiteY3223" fmla="*/ 621146 h 840509"/>
                  <a:gd name="connsiteX3224" fmla="*/ 53166 w 939786"/>
                  <a:gd name="connsiteY3224" fmla="*/ 621411 h 840509"/>
                  <a:gd name="connsiteX3225" fmla="*/ 51667 w 939786"/>
                  <a:gd name="connsiteY3225" fmla="*/ 622028 h 840509"/>
                  <a:gd name="connsiteX3226" fmla="*/ 51314 w 939786"/>
                  <a:gd name="connsiteY3226" fmla="*/ 622028 h 840509"/>
                  <a:gd name="connsiteX3227" fmla="*/ 50168 w 939786"/>
                  <a:gd name="connsiteY3227" fmla="*/ 621763 h 840509"/>
                  <a:gd name="connsiteX3228" fmla="*/ 49904 w 939786"/>
                  <a:gd name="connsiteY3228" fmla="*/ 621763 h 840509"/>
                  <a:gd name="connsiteX3229" fmla="*/ 49904 w 939786"/>
                  <a:gd name="connsiteY3229" fmla="*/ 621411 h 840509"/>
                  <a:gd name="connsiteX3230" fmla="*/ 49286 w 939786"/>
                  <a:gd name="connsiteY3230" fmla="*/ 620882 h 840509"/>
                  <a:gd name="connsiteX3231" fmla="*/ 49022 w 939786"/>
                  <a:gd name="connsiteY3231" fmla="*/ 620617 h 840509"/>
                  <a:gd name="connsiteX3232" fmla="*/ 48404 w 939786"/>
                  <a:gd name="connsiteY3232" fmla="*/ 620353 h 840509"/>
                  <a:gd name="connsiteX3233" fmla="*/ 48140 w 939786"/>
                  <a:gd name="connsiteY3233" fmla="*/ 620000 h 840509"/>
                  <a:gd name="connsiteX3234" fmla="*/ 46994 w 939786"/>
                  <a:gd name="connsiteY3234" fmla="*/ 620000 h 840509"/>
                  <a:gd name="connsiteX3235" fmla="*/ 46730 w 939786"/>
                  <a:gd name="connsiteY3235" fmla="*/ 620353 h 840509"/>
                  <a:gd name="connsiteX3236" fmla="*/ 46465 w 939786"/>
                  <a:gd name="connsiteY3236" fmla="*/ 620353 h 840509"/>
                  <a:gd name="connsiteX3237" fmla="*/ 46200 w 939786"/>
                  <a:gd name="connsiteY3237" fmla="*/ 620617 h 840509"/>
                  <a:gd name="connsiteX3238" fmla="*/ 45936 w 939786"/>
                  <a:gd name="connsiteY3238" fmla="*/ 620882 h 840509"/>
                  <a:gd name="connsiteX3239" fmla="*/ 45583 w 939786"/>
                  <a:gd name="connsiteY3239" fmla="*/ 620882 h 840509"/>
                  <a:gd name="connsiteX3240" fmla="*/ 45319 w 939786"/>
                  <a:gd name="connsiteY3240" fmla="*/ 621411 h 840509"/>
                  <a:gd name="connsiteX3241" fmla="*/ 44701 w 939786"/>
                  <a:gd name="connsiteY3241" fmla="*/ 622293 h 840509"/>
                  <a:gd name="connsiteX3242" fmla="*/ 44084 w 939786"/>
                  <a:gd name="connsiteY3242" fmla="*/ 621411 h 840509"/>
                  <a:gd name="connsiteX3243" fmla="*/ 43820 w 939786"/>
                  <a:gd name="connsiteY3243" fmla="*/ 621146 h 840509"/>
                  <a:gd name="connsiteX3244" fmla="*/ 40910 w 939786"/>
                  <a:gd name="connsiteY3244" fmla="*/ 619647 h 840509"/>
                  <a:gd name="connsiteX3245" fmla="*/ 40646 w 939786"/>
                  <a:gd name="connsiteY3245" fmla="*/ 619295 h 840509"/>
                  <a:gd name="connsiteX3246" fmla="*/ 40381 w 939786"/>
                  <a:gd name="connsiteY3246" fmla="*/ 619295 h 840509"/>
                  <a:gd name="connsiteX3247" fmla="*/ 37472 w 939786"/>
                  <a:gd name="connsiteY3247" fmla="*/ 619030 h 840509"/>
                  <a:gd name="connsiteX3248" fmla="*/ 32799 w 939786"/>
                  <a:gd name="connsiteY3248" fmla="*/ 619295 h 840509"/>
                  <a:gd name="connsiteX3249" fmla="*/ 32534 w 939786"/>
                  <a:gd name="connsiteY3249" fmla="*/ 619295 h 840509"/>
                  <a:gd name="connsiteX3250" fmla="*/ 32270 w 939786"/>
                  <a:gd name="connsiteY3250" fmla="*/ 619295 h 840509"/>
                  <a:gd name="connsiteX3251" fmla="*/ 31917 w 939786"/>
                  <a:gd name="connsiteY3251" fmla="*/ 619647 h 840509"/>
                  <a:gd name="connsiteX3252" fmla="*/ 31564 w 939786"/>
                  <a:gd name="connsiteY3252" fmla="*/ 619912 h 840509"/>
                  <a:gd name="connsiteX3253" fmla="*/ 31300 w 939786"/>
                  <a:gd name="connsiteY3253" fmla="*/ 620265 h 840509"/>
                  <a:gd name="connsiteX3254" fmla="*/ 31035 w 939786"/>
                  <a:gd name="connsiteY3254" fmla="*/ 620265 h 840509"/>
                  <a:gd name="connsiteX3255" fmla="*/ 30771 w 939786"/>
                  <a:gd name="connsiteY3255" fmla="*/ 620265 h 840509"/>
                  <a:gd name="connsiteX3256" fmla="*/ 30506 w 939786"/>
                  <a:gd name="connsiteY3256" fmla="*/ 620265 h 840509"/>
                  <a:gd name="connsiteX3257" fmla="*/ 29889 w 939786"/>
                  <a:gd name="connsiteY3257" fmla="*/ 620265 h 840509"/>
                  <a:gd name="connsiteX3258" fmla="*/ 29889 w 939786"/>
                  <a:gd name="connsiteY3258" fmla="*/ 619912 h 840509"/>
                  <a:gd name="connsiteX3259" fmla="*/ 29625 w 939786"/>
                  <a:gd name="connsiteY3259" fmla="*/ 619912 h 840509"/>
                  <a:gd name="connsiteX3260" fmla="*/ 27862 w 939786"/>
                  <a:gd name="connsiteY3260" fmla="*/ 619295 h 840509"/>
                  <a:gd name="connsiteX3261" fmla="*/ 26451 w 939786"/>
                  <a:gd name="connsiteY3261" fmla="*/ 619647 h 840509"/>
                  <a:gd name="connsiteX3262" fmla="*/ 25304 w 939786"/>
                  <a:gd name="connsiteY3262" fmla="*/ 619647 h 840509"/>
                  <a:gd name="connsiteX3263" fmla="*/ 22659 w 939786"/>
                  <a:gd name="connsiteY3263" fmla="*/ 618766 h 840509"/>
                  <a:gd name="connsiteX3264" fmla="*/ 21513 w 939786"/>
                  <a:gd name="connsiteY3264" fmla="*/ 617619 h 840509"/>
                  <a:gd name="connsiteX3265" fmla="*/ 20632 w 939786"/>
                  <a:gd name="connsiteY3265" fmla="*/ 616738 h 840509"/>
                  <a:gd name="connsiteX3266" fmla="*/ 19750 w 939786"/>
                  <a:gd name="connsiteY3266" fmla="*/ 616121 h 840509"/>
                  <a:gd name="connsiteX3267" fmla="*/ 19485 w 939786"/>
                  <a:gd name="connsiteY3267" fmla="*/ 615856 h 840509"/>
                  <a:gd name="connsiteX3268" fmla="*/ 19221 w 939786"/>
                  <a:gd name="connsiteY3268" fmla="*/ 615592 h 840509"/>
                  <a:gd name="connsiteX3269" fmla="*/ 18339 w 939786"/>
                  <a:gd name="connsiteY3269" fmla="*/ 615327 h 840509"/>
                  <a:gd name="connsiteX3270" fmla="*/ 16929 w 939786"/>
                  <a:gd name="connsiteY3270" fmla="*/ 614974 h 840509"/>
                  <a:gd name="connsiteX3271" fmla="*/ 14548 w 939786"/>
                  <a:gd name="connsiteY3271" fmla="*/ 614445 h 840509"/>
                  <a:gd name="connsiteX3272" fmla="*/ 14548 w 939786"/>
                  <a:gd name="connsiteY3272" fmla="*/ 613299 h 840509"/>
                  <a:gd name="connsiteX3273" fmla="*/ 14548 w 939786"/>
                  <a:gd name="connsiteY3273" fmla="*/ 612770 h 840509"/>
                  <a:gd name="connsiteX3274" fmla="*/ 14548 w 939786"/>
                  <a:gd name="connsiteY3274" fmla="*/ 611624 h 840509"/>
                  <a:gd name="connsiteX3275" fmla="*/ 13402 w 939786"/>
                  <a:gd name="connsiteY3275" fmla="*/ 609332 h 840509"/>
                  <a:gd name="connsiteX3276" fmla="*/ 13049 w 939786"/>
                  <a:gd name="connsiteY3276" fmla="*/ 609067 h 840509"/>
                  <a:gd name="connsiteX3277" fmla="*/ 12785 w 939786"/>
                  <a:gd name="connsiteY3277" fmla="*/ 608803 h 840509"/>
                  <a:gd name="connsiteX3278" fmla="*/ 11286 w 939786"/>
                  <a:gd name="connsiteY3278" fmla="*/ 605893 h 840509"/>
                  <a:gd name="connsiteX3279" fmla="*/ 8993 w 939786"/>
                  <a:gd name="connsiteY3279" fmla="*/ 603865 h 840509"/>
                  <a:gd name="connsiteX3280" fmla="*/ 8641 w 939786"/>
                  <a:gd name="connsiteY3280" fmla="*/ 603865 h 840509"/>
                  <a:gd name="connsiteX3281" fmla="*/ 7230 w 939786"/>
                  <a:gd name="connsiteY3281" fmla="*/ 602719 h 840509"/>
                  <a:gd name="connsiteX3282" fmla="*/ 6966 w 939786"/>
                  <a:gd name="connsiteY3282" fmla="*/ 602455 h 840509"/>
                  <a:gd name="connsiteX3283" fmla="*/ 6084 w 939786"/>
                  <a:gd name="connsiteY3283" fmla="*/ 601837 h 840509"/>
                  <a:gd name="connsiteX3284" fmla="*/ 5731 w 939786"/>
                  <a:gd name="connsiteY3284" fmla="*/ 601837 h 840509"/>
                  <a:gd name="connsiteX3285" fmla="*/ 4585 w 939786"/>
                  <a:gd name="connsiteY3285" fmla="*/ 601837 h 840509"/>
                  <a:gd name="connsiteX3286" fmla="*/ 4320 w 939786"/>
                  <a:gd name="connsiteY3286" fmla="*/ 601837 h 840509"/>
                  <a:gd name="connsiteX3287" fmla="*/ 4056 w 939786"/>
                  <a:gd name="connsiteY3287" fmla="*/ 601837 h 840509"/>
                  <a:gd name="connsiteX3288" fmla="*/ 3439 w 939786"/>
                  <a:gd name="connsiteY3288" fmla="*/ 601837 h 840509"/>
                  <a:gd name="connsiteX3289" fmla="*/ 3174 w 939786"/>
                  <a:gd name="connsiteY3289" fmla="*/ 601837 h 840509"/>
                  <a:gd name="connsiteX3290" fmla="*/ 2910 w 939786"/>
                  <a:gd name="connsiteY3290" fmla="*/ 602102 h 840509"/>
                  <a:gd name="connsiteX3291" fmla="*/ 2645 w 939786"/>
                  <a:gd name="connsiteY3291" fmla="*/ 602102 h 840509"/>
                  <a:gd name="connsiteX3292" fmla="*/ 2381 w 939786"/>
                  <a:gd name="connsiteY3292" fmla="*/ 602366 h 840509"/>
                  <a:gd name="connsiteX3293" fmla="*/ 2028 w 939786"/>
                  <a:gd name="connsiteY3293" fmla="*/ 602984 h 840509"/>
                  <a:gd name="connsiteX3294" fmla="*/ 1499 w 939786"/>
                  <a:gd name="connsiteY3294" fmla="*/ 603248 h 840509"/>
                  <a:gd name="connsiteX3295" fmla="*/ 882 w 939786"/>
                  <a:gd name="connsiteY3295" fmla="*/ 602366 h 840509"/>
                  <a:gd name="connsiteX3296" fmla="*/ 0 w 939786"/>
                  <a:gd name="connsiteY3296" fmla="*/ 600867 h 840509"/>
                  <a:gd name="connsiteX3297" fmla="*/ 0 w 939786"/>
                  <a:gd name="connsiteY3297" fmla="*/ 600603 h 840509"/>
                  <a:gd name="connsiteX3298" fmla="*/ 265 w 939786"/>
                  <a:gd name="connsiteY3298" fmla="*/ 599986 h 840509"/>
                  <a:gd name="connsiteX3299" fmla="*/ 265 w 939786"/>
                  <a:gd name="connsiteY3299" fmla="*/ 599721 h 840509"/>
                  <a:gd name="connsiteX3300" fmla="*/ 529 w 939786"/>
                  <a:gd name="connsiteY3300" fmla="*/ 599457 h 840509"/>
                  <a:gd name="connsiteX3301" fmla="*/ 529 w 939786"/>
                  <a:gd name="connsiteY3301" fmla="*/ 599192 h 840509"/>
                  <a:gd name="connsiteX3302" fmla="*/ 794 w 939786"/>
                  <a:gd name="connsiteY3302" fmla="*/ 598840 h 840509"/>
                  <a:gd name="connsiteX3303" fmla="*/ 794 w 939786"/>
                  <a:gd name="connsiteY3303" fmla="*/ 598575 h 840509"/>
                  <a:gd name="connsiteX3304" fmla="*/ 1675 w 939786"/>
                  <a:gd name="connsiteY3304" fmla="*/ 594784 h 840509"/>
                  <a:gd name="connsiteX3305" fmla="*/ 2557 w 939786"/>
                  <a:gd name="connsiteY3305" fmla="*/ 590993 h 840509"/>
                  <a:gd name="connsiteX3306" fmla="*/ 4056 w 939786"/>
                  <a:gd name="connsiteY3306" fmla="*/ 586584 h 840509"/>
                  <a:gd name="connsiteX3307" fmla="*/ 4320 w 939786"/>
                  <a:gd name="connsiteY3307" fmla="*/ 586584 h 840509"/>
                  <a:gd name="connsiteX3308" fmla="*/ 6348 w 939786"/>
                  <a:gd name="connsiteY3308" fmla="*/ 582529 h 840509"/>
                  <a:gd name="connsiteX3309" fmla="*/ 6613 w 939786"/>
                  <a:gd name="connsiteY3309" fmla="*/ 582529 h 840509"/>
                  <a:gd name="connsiteX3310" fmla="*/ 6877 w 939786"/>
                  <a:gd name="connsiteY3310" fmla="*/ 582529 h 840509"/>
                  <a:gd name="connsiteX3311" fmla="*/ 7142 w 939786"/>
                  <a:gd name="connsiteY3311" fmla="*/ 582529 h 840509"/>
                  <a:gd name="connsiteX3312" fmla="*/ 7406 w 939786"/>
                  <a:gd name="connsiteY3312" fmla="*/ 582793 h 840509"/>
                  <a:gd name="connsiteX3313" fmla="*/ 7671 w 939786"/>
                  <a:gd name="connsiteY3313" fmla="*/ 583410 h 840509"/>
                  <a:gd name="connsiteX3314" fmla="*/ 7671 w 939786"/>
                  <a:gd name="connsiteY3314" fmla="*/ 583675 h 840509"/>
                  <a:gd name="connsiteX3315" fmla="*/ 7671 w 939786"/>
                  <a:gd name="connsiteY3315" fmla="*/ 584027 h 840509"/>
                  <a:gd name="connsiteX3316" fmla="*/ 7671 w 939786"/>
                  <a:gd name="connsiteY3316" fmla="*/ 584292 h 840509"/>
                  <a:gd name="connsiteX3317" fmla="*/ 7671 w 939786"/>
                  <a:gd name="connsiteY3317" fmla="*/ 584556 h 840509"/>
                  <a:gd name="connsiteX3318" fmla="*/ 7935 w 939786"/>
                  <a:gd name="connsiteY3318" fmla="*/ 584821 h 840509"/>
                  <a:gd name="connsiteX3319" fmla="*/ 8817 w 939786"/>
                  <a:gd name="connsiteY3319" fmla="*/ 585086 h 840509"/>
                  <a:gd name="connsiteX3320" fmla="*/ 9699 w 939786"/>
                  <a:gd name="connsiteY3320" fmla="*/ 585703 h 840509"/>
                  <a:gd name="connsiteX3321" fmla="*/ 9963 w 939786"/>
                  <a:gd name="connsiteY3321" fmla="*/ 585703 h 840509"/>
                  <a:gd name="connsiteX3322" fmla="*/ 10845 w 939786"/>
                  <a:gd name="connsiteY3322" fmla="*/ 585703 h 840509"/>
                  <a:gd name="connsiteX3323" fmla="*/ 11109 w 939786"/>
                  <a:gd name="connsiteY3323" fmla="*/ 585703 h 840509"/>
                  <a:gd name="connsiteX3324" fmla="*/ 11727 w 939786"/>
                  <a:gd name="connsiteY3324" fmla="*/ 585438 h 840509"/>
                  <a:gd name="connsiteX3325" fmla="*/ 11991 w 939786"/>
                  <a:gd name="connsiteY3325" fmla="*/ 585438 h 840509"/>
                  <a:gd name="connsiteX3326" fmla="*/ 12873 w 939786"/>
                  <a:gd name="connsiteY3326" fmla="*/ 585174 h 840509"/>
                  <a:gd name="connsiteX3327" fmla="*/ 13754 w 939786"/>
                  <a:gd name="connsiteY3327" fmla="*/ 584909 h 840509"/>
                  <a:gd name="connsiteX3328" fmla="*/ 14636 w 939786"/>
                  <a:gd name="connsiteY3328" fmla="*/ 584645 h 840509"/>
                  <a:gd name="connsiteX3329" fmla="*/ 21954 w 939786"/>
                  <a:gd name="connsiteY3329" fmla="*/ 577327 h 840509"/>
                  <a:gd name="connsiteX3330" fmla="*/ 22219 w 939786"/>
                  <a:gd name="connsiteY3330" fmla="*/ 577327 h 840509"/>
                  <a:gd name="connsiteX3331" fmla="*/ 22483 w 939786"/>
                  <a:gd name="connsiteY3331" fmla="*/ 577062 h 840509"/>
                  <a:gd name="connsiteX3332" fmla="*/ 22748 w 939786"/>
                  <a:gd name="connsiteY3332" fmla="*/ 577062 h 840509"/>
                  <a:gd name="connsiteX3333" fmla="*/ 23012 w 939786"/>
                  <a:gd name="connsiteY3333" fmla="*/ 576709 h 840509"/>
                  <a:gd name="connsiteX3334" fmla="*/ 23365 w 939786"/>
                  <a:gd name="connsiteY3334" fmla="*/ 576445 h 840509"/>
                  <a:gd name="connsiteX3335" fmla="*/ 23365 w 939786"/>
                  <a:gd name="connsiteY3335" fmla="*/ 576180 h 840509"/>
                  <a:gd name="connsiteX3336" fmla="*/ 23629 w 939786"/>
                  <a:gd name="connsiteY3336" fmla="*/ 575916 h 840509"/>
                  <a:gd name="connsiteX3337" fmla="*/ 23629 w 939786"/>
                  <a:gd name="connsiteY3337" fmla="*/ 575651 h 840509"/>
                  <a:gd name="connsiteX3338" fmla="*/ 25128 w 939786"/>
                  <a:gd name="connsiteY3338" fmla="*/ 569215 h 840509"/>
                  <a:gd name="connsiteX3339" fmla="*/ 25393 w 939786"/>
                  <a:gd name="connsiteY3339" fmla="*/ 567716 h 840509"/>
                  <a:gd name="connsiteX3340" fmla="*/ 25393 w 939786"/>
                  <a:gd name="connsiteY3340" fmla="*/ 566217 h 840509"/>
                  <a:gd name="connsiteX3341" fmla="*/ 25657 w 939786"/>
                  <a:gd name="connsiteY3341" fmla="*/ 564807 h 840509"/>
                  <a:gd name="connsiteX3342" fmla="*/ 26186 w 939786"/>
                  <a:gd name="connsiteY3342" fmla="*/ 561544 h 840509"/>
                  <a:gd name="connsiteX3343" fmla="*/ 26186 w 939786"/>
                  <a:gd name="connsiteY3343" fmla="*/ 561280 h 840509"/>
                  <a:gd name="connsiteX3344" fmla="*/ 26627 w 939786"/>
                  <a:gd name="connsiteY3344" fmla="*/ 561280 h 840509"/>
                  <a:gd name="connsiteX3345" fmla="*/ 27508 w 939786"/>
                  <a:gd name="connsiteY3345" fmla="*/ 559781 h 840509"/>
                  <a:gd name="connsiteX3346" fmla="*/ 27508 w 939786"/>
                  <a:gd name="connsiteY3346" fmla="*/ 559516 h 840509"/>
                  <a:gd name="connsiteX3347" fmla="*/ 29537 w 939786"/>
                  <a:gd name="connsiteY3347" fmla="*/ 557841 h 840509"/>
                  <a:gd name="connsiteX3348" fmla="*/ 29801 w 939786"/>
                  <a:gd name="connsiteY3348" fmla="*/ 557489 h 840509"/>
                  <a:gd name="connsiteX3349" fmla="*/ 29801 w 939786"/>
                  <a:gd name="connsiteY3349" fmla="*/ 558106 h 840509"/>
                  <a:gd name="connsiteX3350" fmla="*/ 29537 w 939786"/>
                  <a:gd name="connsiteY3350" fmla="*/ 558371 h 840509"/>
                  <a:gd name="connsiteX3351" fmla="*/ 29272 w 939786"/>
                  <a:gd name="connsiteY3351" fmla="*/ 558635 h 840509"/>
                  <a:gd name="connsiteX3352" fmla="*/ 28390 w 939786"/>
                  <a:gd name="connsiteY3352" fmla="*/ 559164 h 840509"/>
                  <a:gd name="connsiteX3353" fmla="*/ 27773 w 939786"/>
                  <a:gd name="connsiteY3353" fmla="*/ 559429 h 840509"/>
                  <a:gd name="connsiteX3354" fmla="*/ 27773 w 939786"/>
                  <a:gd name="connsiteY3354" fmla="*/ 559693 h 840509"/>
                  <a:gd name="connsiteX3355" fmla="*/ 27508 w 939786"/>
                  <a:gd name="connsiteY3355" fmla="*/ 560575 h 840509"/>
                  <a:gd name="connsiteX3356" fmla="*/ 27508 w 939786"/>
                  <a:gd name="connsiteY3356" fmla="*/ 560839 h 840509"/>
                  <a:gd name="connsiteX3357" fmla="*/ 27508 w 939786"/>
                  <a:gd name="connsiteY3357" fmla="*/ 562867 h 840509"/>
                  <a:gd name="connsiteX3358" fmla="*/ 27508 w 939786"/>
                  <a:gd name="connsiteY3358" fmla="*/ 563131 h 840509"/>
                  <a:gd name="connsiteX3359" fmla="*/ 27508 w 939786"/>
                  <a:gd name="connsiteY3359" fmla="*/ 563749 h 840509"/>
                  <a:gd name="connsiteX3360" fmla="*/ 27508 w 939786"/>
                  <a:gd name="connsiteY3360" fmla="*/ 564013 h 840509"/>
                  <a:gd name="connsiteX3361" fmla="*/ 27773 w 939786"/>
                  <a:gd name="connsiteY3361" fmla="*/ 564013 h 840509"/>
                  <a:gd name="connsiteX3362" fmla="*/ 28126 w 939786"/>
                  <a:gd name="connsiteY3362" fmla="*/ 563749 h 840509"/>
                  <a:gd name="connsiteX3363" fmla="*/ 28390 w 939786"/>
                  <a:gd name="connsiteY3363" fmla="*/ 563396 h 840509"/>
                  <a:gd name="connsiteX3364" fmla="*/ 28655 w 939786"/>
                  <a:gd name="connsiteY3364" fmla="*/ 562250 h 840509"/>
                  <a:gd name="connsiteX3365" fmla="*/ 29537 w 939786"/>
                  <a:gd name="connsiteY3365" fmla="*/ 560486 h 840509"/>
                  <a:gd name="connsiteX3366" fmla="*/ 30683 w 939786"/>
                  <a:gd name="connsiteY3366" fmla="*/ 558723 h 840509"/>
                  <a:gd name="connsiteX3367" fmla="*/ 31564 w 939786"/>
                  <a:gd name="connsiteY3367" fmla="*/ 555549 h 840509"/>
                  <a:gd name="connsiteX3368" fmla="*/ 32446 w 939786"/>
                  <a:gd name="connsiteY3368" fmla="*/ 552287 h 840509"/>
                  <a:gd name="connsiteX3369" fmla="*/ 32711 w 939786"/>
                  <a:gd name="connsiteY3369" fmla="*/ 551141 h 840509"/>
                  <a:gd name="connsiteX3370" fmla="*/ 32975 w 939786"/>
                  <a:gd name="connsiteY3370" fmla="*/ 550876 h 840509"/>
                  <a:gd name="connsiteX3371" fmla="*/ 33857 w 939786"/>
                  <a:gd name="connsiteY3371" fmla="*/ 549465 h 840509"/>
                  <a:gd name="connsiteX3372" fmla="*/ 33857 w 939786"/>
                  <a:gd name="connsiteY3372" fmla="*/ 549113 h 840509"/>
                  <a:gd name="connsiteX3373" fmla="*/ 34474 w 939786"/>
                  <a:gd name="connsiteY3373" fmla="*/ 546820 h 840509"/>
                  <a:gd name="connsiteX3374" fmla="*/ 35620 w 939786"/>
                  <a:gd name="connsiteY3374" fmla="*/ 543029 h 840509"/>
                  <a:gd name="connsiteX3375" fmla="*/ 35973 w 939786"/>
                  <a:gd name="connsiteY3375" fmla="*/ 542765 h 840509"/>
                  <a:gd name="connsiteX3376" fmla="*/ 36238 w 939786"/>
                  <a:gd name="connsiteY3376" fmla="*/ 542147 h 840509"/>
                  <a:gd name="connsiteX3377" fmla="*/ 36238 w 939786"/>
                  <a:gd name="connsiteY3377" fmla="*/ 541883 h 840509"/>
                  <a:gd name="connsiteX3378" fmla="*/ 36238 w 939786"/>
                  <a:gd name="connsiteY3378" fmla="*/ 541266 h 840509"/>
                  <a:gd name="connsiteX3379" fmla="*/ 36854 w 939786"/>
                  <a:gd name="connsiteY3379" fmla="*/ 537739 h 840509"/>
                  <a:gd name="connsiteX3380" fmla="*/ 36854 w 939786"/>
                  <a:gd name="connsiteY3380" fmla="*/ 537122 h 840509"/>
                  <a:gd name="connsiteX3381" fmla="*/ 36854 w 939786"/>
                  <a:gd name="connsiteY3381" fmla="*/ 536505 h 840509"/>
                  <a:gd name="connsiteX3382" fmla="*/ 36854 w 939786"/>
                  <a:gd name="connsiteY3382" fmla="*/ 535976 h 840509"/>
                  <a:gd name="connsiteX3383" fmla="*/ 36590 w 939786"/>
                  <a:gd name="connsiteY3383" fmla="*/ 534477 h 840509"/>
                  <a:gd name="connsiteX3384" fmla="*/ 35973 w 939786"/>
                  <a:gd name="connsiteY3384" fmla="*/ 531567 h 840509"/>
                  <a:gd name="connsiteX3385" fmla="*/ 35091 w 939786"/>
                  <a:gd name="connsiteY3385" fmla="*/ 527159 h 840509"/>
                  <a:gd name="connsiteX3386" fmla="*/ 35091 w 939786"/>
                  <a:gd name="connsiteY3386" fmla="*/ 526542 h 840509"/>
                  <a:gd name="connsiteX3387" fmla="*/ 35091 w 939786"/>
                  <a:gd name="connsiteY3387" fmla="*/ 526277 h 840509"/>
                  <a:gd name="connsiteX3388" fmla="*/ 34827 w 939786"/>
                  <a:gd name="connsiteY3388" fmla="*/ 524249 h 840509"/>
                  <a:gd name="connsiteX3389" fmla="*/ 34827 w 939786"/>
                  <a:gd name="connsiteY3389" fmla="*/ 522486 h 840509"/>
                  <a:gd name="connsiteX3390" fmla="*/ 35091 w 939786"/>
                  <a:gd name="connsiteY3390" fmla="*/ 522221 h 840509"/>
                  <a:gd name="connsiteX3391" fmla="*/ 34827 w 939786"/>
                  <a:gd name="connsiteY3391" fmla="*/ 519312 h 840509"/>
                  <a:gd name="connsiteX3392" fmla="*/ 34209 w 939786"/>
                  <a:gd name="connsiteY3392" fmla="*/ 516931 h 840509"/>
                  <a:gd name="connsiteX3393" fmla="*/ 33945 w 939786"/>
                  <a:gd name="connsiteY3393" fmla="*/ 516050 h 840509"/>
                  <a:gd name="connsiteX3394" fmla="*/ 33592 w 939786"/>
                  <a:gd name="connsiteY3394" fmla="*/ 515785 h 840509"/>
                  <a:gd name="connsiteX3395" fmla="*/ 33328 w 939786"/>
                  <a:gd name="connsiteY3395" fmla="*/ 514022 h 840509"/>
                  <a:gd name="connsiteX3396" fmla="*/ 33063 w 939786"/>
                  <a:gd name="connsiteY3396" fmla="*/ 509349 h 840509"/>
                  <a:gd name="connsiteX3397" fmla="*/ 33063 w 939786"/>
                  <a:gd name="connsiteY3397" fmla="*/ 507585 h 840509"/>
                  <a:gd name="connsiteX3398" fmla="*/ 33063 w 939786"/>
                  <a:gd name="connsiteY3398" fmla="*/ 507321 h 840509"/>
                  <a:gd name="connsiteX3399" fmla="*/ 33063 w 939786"/>
                  <a:gd name="connsiteY3399" fmla="*/ 506968 h 840509"/>
                  <a:gd name="connsiteX3400" fmla="*/ 33328 w 939786"/>
                  <a:gd name="connsiteY3400" fmla="*/ 506704 h 840509"/>
                  <a:gd name="connsiteX3401" fmla="*/ 33328 w 939786"/>
                  <a:gd name="connsiteY3401" fmla="*/ 506439 h 840509"/>
                  <a:gd name="connsiteX3402" fmla="*/ 34209 w 939786"/>
                  <a:gd name="connsiteY3402" fmla="*/ 501502 h 840509"/>
                  <a:gd name="connsiteX3403" fmla="*/ 34474 w 939786"/>
                  <a:gd name="connsiteY3403" fmla="*/ 498592 h 840509"/>
                  <a:gd name="connsiteX3404" fmla="*/ 34474 w 939786"/>
                  <a:gd name="connsiteY3404" fmla="*/ 498328 h 840509"/>
                  <a:gd name="connsiteX3405" fmla="*/ 34474 w 939786"/>
                  <a:gd name="connsiteY3405" fmla="*/ 496829 h 840509"/>
                  <a:gd name="connsiteX3406" fmla="*/ 34474 w 939786"/>
                  <a:gd name="connsiteY3406" fmla="*/ 496564 h 840509"/>
                  <a:gd name="connsiteX3407" fmla="*/ 34209 w 939786"/>
                  <a:gd name="connsiteY3407" fmla="*/ 496564 h 840509"/>
                  <a:gd name="connsiteX3408" fmla="*/ 34209 w 939786"/>
                  <a:gd name="connsiteY3408" fmla="*/ 496300 h 840509"/>
                  <a:gd name="connsiteX3409" fmla="*/ 36502 w 939786"/>
                  <a:gd name="connsiteY3409" fmla="*/ 488453 h 840509"/>
                  <a:gd name="connsiteX3410" fmla="*/ 36502 w 939786"/>
                  <a:gd name="connsiteY3410" fmla="*/ 488188 h 840509"/>
                  <a:gd name="connsiteX3411" fmla="*/ 37031 w 939786"/>
                  <a:gd name="connsiteY3411" fmla="*/ 486690 h 840509"/>
                  <a:gd name="connsiteX3412" fmla="*/ 37296 w 939786"/>
                  <a:gd name="connsiteY3412" fmla="*/ 485808 h 840509"/>
                  <a:gd name="connsiteX3413" fmla="*/ 37560 w 939786"/>
                  <a:gd name="connsiteY3413" fmla="*/ 485543 h 840509"/>
                  <a:gd name="connsiteX3414" fmla="*/ 38177 w 939786"/>
                  <a:gd name="connsiteY3414" fmla="*/ 484397 h 840509"/>
                  <a:gd name="connsiteX3415" fmla="*/ 38177 w 939786"/>
                  <a:gd name="connsiteY3415" fmla="*/ 484133 h 840509"/>
                  <a:gd name="connsiteX3416" fmla="*/ 38442 w 939786"/>
                  <a:gd name="connsiteY3416" fmla="*/ 483515 h 840509"/>
                  <a:gd name="connsiteX3417" fmla="*/ 38706 w 939786"/>
                  <a:gd name="connsiteY3417" fmla="*/ 483251 h 840509"/>
                  <a:gd name="connsiteX3418" fmla="*/ 38706 w 939786"/>
                  <a:gd name="connsiteY3418" fmla="*/ 482898 h 840509"/>
                  <a:gd name="connsiteX3419" fmla="*/ 38971 w 939786"/>
                  <a:gd name="connsiteY3419" fmla="*/ 482281 h 840509"/>
                  <a:gd name="connsiteX3420" fmla="*/ 38971 w 939786"/>
                  <a:gd name="connsiteY3420" fmla="*/ 482017 h 840509"/>
                  <a:gd name="connsiteX3421" fmla="*/ 38971 w 939786"/>
                  <a:gd name="connsiteY3421" fmla="*/ 478490 h 840509"/>
                  <a:gd name="connsiteX3422" fmla="*/ 38971 w 939786"/>
                  <a:gd name="connsiteY3422" fmla="*/ 478225 h 840509"/>
                  <a:gd name="connsiteX3423" fmla="*/ 38706 w 939786"/>
                  <a:gd name="connsiteY3423" fmla="*/ 477344 h 840509"/>
                  <a:gd name="connsiteX3424" fmla="*/ 38971 w 939786"/>
                  <a:gd name="connsiteY3424" fmla="*/ 476727 h 840509"/>
                  <a:gd name="connsiteX3425" fmla="*/ 38971 w 939786"/>
                  <a:gd name="connsiteY3425" fmla="*/ 476462 h 840509"/>
                  <a:gd name="connsiteX3426" fmla="*/ 39235 w 939786"/>
                  <a:gd name="connsiteY3426" fmla="*/ 476198 h 840509"/>
                  <a:gd name="connsiteX3427" fmla="*/ 39235 w 939786"/>
                  <a:gd name="connsiteY3427" fmla="*/ 475316 h 840509"/>
                  <a:gd name="connsiteX3428" fmla="*/ 39235 w 939786"/>
                  <a:gd name="connsiteY3428" fmla="*/ 474963 h 840509"/>
                  <a:gd name="connsiteX3429" fmla="*/ 38971 w 939786"/>
                  <a:gd name="connsiteY3429" fmla="*/ 472583 h 840509"/>
                  <a:gd name="connsiteX3430" fmla="*/ 38706 w 939786"/>
                  <a:gd name="connsiteY3430" fmla="*/ 472318 h 840509"/>
                  <a:gd name="connsiteX3431" fmla="*/ 37207 w 939786"/>
                  <a:gd name="connsiteY3431" fmla="*/ 469056 h 840509"/>
                  <a:gd name="connsiteX3432" fmla="*/ 36943 w 939786"/>
                  <a:gd name="connsiteY3432" fmla="*/ 468439 h 840509"/>
                  <a:gd name="connsiteX3433" fmla="*/ 36414 w 939786"/>
                  <a:gd name="connsiteY3433" fmla="*/ 468174 h 840509"/>
                  <a:gd name="connsiteX3434" fmla="*/ 36414 w 939786"/>
                  <a:gd name="connsiteY3434" fmla="*/ 467821 h 840509"/>
                  <a:gd name="connsiteX3435" fmla="*/ 36149 w 939786"/>
                  <a:gd name="connsiteY3435" fmla="*/ 467557 h 840509"/>
                  <a:gd name="connsiteX3436" fmla="*/ 36149 w 939786"/>
                  <a:gd name="connsiteY3436" fmla="*/ 466940 h 840509"/>
                  <a:gd name="connsiteX3437" fmla="*/ 35885 w 939786"/>
                  <a:gd name="connsiteY3437" fmla="*/ 466323 h 840509"/>
                  <a:gd name="connsiteX3438" fmla="*/ 35885 w 939786"/>
                  <a:gd name="connsiteY3438" fmla="*/ 465705 h 840509"/>
                  <a:gd name="connsiteX3439" fmla="*/ 35885 w 939786"/>
                  <a:gd name="connsiteY3439" fmla="*/ 465441 h 840509"/>
                  <a:gd name="connsiteX3440" fmla="*/ 35885 w 939786"/>
                  <a:gd name="connsiteY3440" fmla="*/ 464824 h 840509"/>
                  <a:gd name="connsiteX3441" fmla="*/ 36149 w 939786"/>
                  <a:gd name="connsiteY3441" fmla="*/ 464206 h 840509"/>
                  <a:gd name="connsiteX3442" fmla="*/ 36149 w 939786"/>
                  <a:gd name="connsiteY3442" fmla="*/ 464559 h 840509"/>
                  <a:gd name="connsiteX3443" fmla="*/ 36149 w 939786"/>
                  <a:gd name="connsiteY3443" fmla="*/ 464295 h 840509"/>
                  <a:gd name="connsiteX3444" fmla="*/ 36414 w 939786"/>
                  <a:gd name="connsiteY3444" fmla="*/ 463766 h 840509"/>
                  <a:gd name="connsiteX3445" fmla="*/ 36414 w 939786"/>
                  <a:gd name="connsiteY3445" fmla="*/ 463501 h 840509"/>
                  <a:gd name="connsiteX3446" fmla="*/ 36678 w 939786"/>
                  <a:gd name="connsiteY3446" fmla="*/ 462620 h 840509"/>
                  <a:gd name="connsiteX3447" fmla="*/ 36943 w 939786"/>
                  <a:gd name="connsiteY3447" fmla="*/ 461473 h 840509"/>
                  <a:gd name="connsiteX3448" fmla="*/ 36943 w 939786"/>
                  <a:gd name="connsiteY3448" fmla="*/ 461121 h 840509"/>
                  <a:gd name="connsiteX3449" fmla="*/ 36414 w 939786"/>
                  <a:gd name="connsiteY3449" fmla="*/ 458740 h 840509"/>
                  <a:gd name="connsiteX3450" fmla="*/ 36414 w 939786"/>
                  <a:gd name="connsiteY3450" fmla="*/ 458211 h 840509"/>
                  <a:gd name="connsiteX3451" fmla="*/ 36149 w 939786"/>
                  <a:gd name="connsiteY3451" fmla="*/ 457594 h 840509"/>
                  <a:gd name="connsiteX3452" fmla="*/ 34650 w 939786"/>
                  <a:gd name="connsiteY3452" fmla="*/ 453538 h 840509"/>
                  <a:gd name="connsiteX3453" fmla="*/ 33769 w 939786"/>
                  <a:gd name="connsiteY3453" fmla="*/ 451510 h 840509"/>
                  <a:gd name="connsiteX3454" fmla="*/ 33769 w 939786"/>
                  <a:gd name="connsiteY3454" fmla="*/ 451158 h 840509"/>
                  <a:gd name="connsiteX3455" fmla="*/ 33151 w 939786"/>
                  <a:gd name="connsiteY3455" fmla="*/ 450893 h 840509"/>
                  <a:gd name="connsiteX3456" fmla="*/ 32887 w 939786"/>
                  <a:gd name="connsiteY3456" fmla="*/ 450893 h 840509"/>
                  <a:gd name="connsiteX3457" fmla="*/ 32887 w 939786"/>
                  <a:gd name="connsiteY3457" fmla="*/ 450629 h 840509"/>
                  <a:gd name="connsiteX3458" fmla="*/ 32622 w 939786"/>
                  <a:gd name="connsiteY3458" fmla="*/ 450364 h 840509"/>
                  <a:gd name="connsiteX3459" fmla="*/ 32358 w 939786"/>
                  <a:gd name="connsiteY3459" fmla="*/ 449747 h 840509"/>
                  <a:gd name="connsiteX3460" fmla="*/ 32093 w 939786"/>
                  <a:gd name="connsiteY3460" fmla="*/ 449747 h 840509"/>
                  <a:gd name="connsiteX3461" fmla="*/ 32093 w 939786"/>
                  <a:gd name="connsiteY3461" fmla="*/ 449483 h 840509"/>
                  <a:gd name="connsiteX3462" fmla="*/ 31476 w 939786"/>
                  <a:gd name="connsiteY3462" fmla="*/ 447984 h 840509"/>
                  <a:gd name="connsiteX3463" fmla="*/ 31476 w 939786"/>
                  <a:gd name="connsiteY3463" fmla="*/ 447631 h 840509"/>
                  <a:gd name="connsiteX3464" fmla="*/ 31476 w 939786"/>
                  <a:gd name="connsiteY3464" fmla="*/ 447366 h 840509"/>
                  <a:gd name="connsiteX3465" fmla="*/ 31829 w 939786"/>
                  <a:gd name="connsiteY3465" fmla="*/ 444104 h 840509"/>
                  <a:gd name="connsiteX3466" fmla="*/ 31829 w 939786"/>
                  <a:gd name="connsiteY3466" fmla="*/ 442076 h 840509"/>
                  <a:gd name="connsiteX3467" fmla="*/ 32182 w 939786"/>
                  <a:gd name="connsiteY3467" fmla="*/ 441812 h 840509"/>
                  <a:gd name="connsiteX3468" fmla="*/ 32182 w 939786"/>
                  <a:gd name="connsiteY3468" fmla="*/ 441195 h 840509"/>
                  <a:gd name="connsiteX3469" fmla="*/ 32446 w 939786"/>
                  <a:gd name="connsiteY3469" fmla="*/ 440930 h 840509"/>
                  <a:gd name="connsiteX3470" fmla="*/ 32711 w 939786"/>
                  <a:gd name="connsiteY3470" fmla="*/ 440048 h 840509"/>
                  <a:gd name="connsiteX3471" fmla="*/ 33328 w 939786"/>
                  <a:gd name="connsiteY3471" fmla="*/ 439167 h 840509"/>
                  <a:gd name="connsiteX3472" fmla="*/ 33592 w 939786"/>
                  <a:gd name="connsiteY3472" fmla="*/ 438814 h 840509"/>
                  <a:gd name="connsiteX3473" fmla="*/ 33945 w 939786"/>
                  <a:gd name="connsiteY3473" fmla="*/ 438549 h 840509"/>
                  <a:gd name="connsiteX3474" fmla="*/ 33945 w 939786"/>
                  <a:gd name="connsiteY3474" fmla="*/ 438285 h 840509"/>
                  <a:gd name="connsiteX3475" fmla="*/ 33945 w 939786"/>
                  <a:gd name="connsiteY3475" fmla="*/ 438020 h 840509"/>
                  <a:gd name="connsiteX3476" fmla="*/ 34209 w 939786"/>
                  <a:gd name="connsiteY3476" fmla="*/ 437139 h 840509"/>
                  <a:gd name="connsiteX3477" fmla="*/ 34209 w 939786"/>
                  <a:gd name="connsiteY3477" fmla="*/ 435640 h 840509"/>
                  <a:gd name="connsiteX3478" fmla="*/ 34209 w 939786"/>
                  <a:gd name="connsiteY3478" fmla="*/ 433260 h 840509"/>
                  <a:gd name="connsiteX3479" fmla="*/ 34209 w 939786"/>
                  <a:gd name="connsiteY3479" fmla="*/ 431849 h 840509"/>
                  <a:gd name="connsiteX3480" fmla="*/ 33592 w 939786"/>
                  <a:gd name="connsiteY3480" fmla="*/ 429821 h 840509"/>
                  <a:gd name="connsiteX3481" fmla="*/ 32975 w 939786"/>
                  <a:gd name="connsiteY3481" fmla="*/ 425765 h 840509"/>
                  <a:gd name="connsiteX3482" fmla="*/ 31476 w 939786"/>
                  <a:gd name="connsiteY3482" fmla="*/ 419946 h 840509"/>
                  <a:gd name="connsiteX3483" fmla="*/ 31212 w 939786"/>
                  <a:gd name="connsiteY3483" fmla="*/ 419329 h 840509"/>
                  <a:gd name="connsiteX3484" fmla="*/ 30066 w 939786"/>
                  <a:gd name="connsiteY3484" fmla="*/ 416155 h 840509"/>
                  <a:gd name="connsiteX3485" fmla="*/ 28655 w 939786"/>
                  <a:gd name="connsiteY3485" fmla="*/ 412893 h 840509"/>
                  <a:gd name="connsiteX3486" fmla="*/ 28037 w 939786"/>
                  <a:gd name="connsiteY3486" fmla="*/ 411482 h 840509"/>
                  <a:gd name="connsiteX3487" fmla="*/ 27421 w 939786"/>
                  <a:gd name="connsiteY3487" fmla="*/ 410865 h 840509"/>
                  <a:gd name="connsiteX3488" fmla="*/ 27421 w 939786"/>
                  <a:gd name="connsiteY3488" fmla="*/ 410600 h 840509"/>
                  <a:gd name="connsiteX3489" fmla="*/ 27156 w 939786"/>
                  <a:gd name="connsiteY3489" fmla="*/ 410600 h 840509"/>
                  <a:gd name="connsiteX3490" fmla="*/ 26627 w 939786"/>
                  <a:gd name="connsiteY3490" fmla="*/ 409718 h 840509"/>
                  <a:gd name="connsiteX3491" fmla="*/ 23982 w 939786"/>
                  <a:gd name="connsiteY3491" fmla="*/ 405927 h 840509"/>
                  <a:gd name="connsiteX3492" fmla="*/ 23982 w 939786"/>
                  <a:gd name="connsiteY3492" fmla="*/ 405663 h 840509"/>
                  <a:gd name="connsiteX3493" fmla="*/ 23629 w 939786"/>
                  <a:gd name="connsiteY3493" fmla="*/ 401872 h 840509"/>
                  <a:gd name="connsiteX3494" fmla="*/ 24511 w 939786"/>
                  <a:gd name="connsiteY3494" fmla="*/ 400725 h 840509"/>
                  <a:gd name="connsiteX3495" fmla="*/ 25128 w 939786"/>
                  <a:gd name="connsiteY3495" fmla="*/ 400108 h 840509"/>
                  <a:gd name="connsiteX3496" fmla="*/ 25128 w 939786"/>
                  <a:gd name="connsiteY3496" fmla="*/ 399844 h 840509"/>
                  <a:gd name="connsiteX3497" fmla="*/ 25393 w 939786"/>
                  <a:gd name="connsiteY3497" fmla="*/ 399579 h 840509"/>
                  <a:gd name="connsiteX3498" fmla="*/ 25393 w 939786"/>
                  <a:gd name="connsiteY3498" fmla="*/ 398962 h 840509"/>
                  <a:gd name="connsiteX3499" fmla="*/ 25393 w 939786"/>
                  <a:gd name="connsiteY3499" fmla="*/ 398345 h 840509"/>
                  <a:gd name="connsiteX3500" fmla="*/ 25657 w 939786"/>
                  <a:gd name="connsiteY3500" fmla="*/ 397728 h 840509"/>
                  <a:gd name="connsiteX3501" fmla="*/ 25657 w 939786"/>
                  <a:gd name="connsiteY3501" fmla="*/ 397198 h 840509"/>
                  <a:gd name="connsiteX3502" fmla="*/ 25922 w 939786"/>
                  <a:gd name="connsiteY3502" fmla="*/ 396581 h 840509"/>
                  <a:gd name="connsiteX3503" fmla="*/ 25922 w 939786"/>
                  <a:gd name="connsiteY3503" fmla="*/ 396317 h 840509"/>
                  <a:gd name="connsiteX3504" fmla="*/ 26186 w 939786"/>
                  <a:gd name="connsiteY3504" fmla="*/ 396317 h 840509"/>
                  <a:gd name="connsiteX3505" fmla="*/ 26186 w 939786"/>
                  <a:gd name="connsiteY3505" fmla="*/ 396581 h 840509"/>
                  <a:gd name="connsiteX3506" fmla="*/ 25922 w 939786"/>
                  <a:gd name="connsiteY3506" fmla="*/ 398962 h 840509"/>
                  <a:gd name="connsiteX3507" fmla="*/ 25657 w 939786"/>
                  <a:gd name="connsiteY3507" fmla="*/ 400108 h 840509"/>
                  <a:gd name="connsiteX3508" fmla="*/ 25393 w 939786"/>
                  <a:gd name="connsiteY3508" fmla="*/ 401254 h 840509"/>
                  <a:gd name="connsiteX3509" fmla="*/ 25657 w 939786"/>
                  <a:gd name="connsiteY3509" fmla="*/ 402665 h 840509"/>
                  <a:gd name="connsiteX3510" fmla="*/ 26804 w 939786"/>
                  <a:gd name="connsiteY3510" fmla="*/ 400373 h 840509"/>
                  <a:gd name="connsiteX3511" fmla="*/ 27421 w 939786"/>
                  <a:gd name="connsiteY3511" fmla="*/ 398874 h 840509"/>
                  <a:gd name="connsiteX3512" fmla="*/ 29448 w 939786"/>
                  <a:gd name="connsiteY3512" fmla="*/ 402930 h 840509"/>
                  <a:gd name="connsiteX3513" fmla="*/ 29713 w 939786"/>
                  <a:gd name="connsiteY3513" fmla="*/ 404076 h 840509"/>
                  <a:gd name="connsiteX3514" fmla="*/ 29713 w 939786"/>
                  <a:gd name="connsiteY3514" fmla="*/ 404340 h 840509"/>
                  <a:gd name="connsiteX3515" fmla="*/ 29448 w 939786"/>
                  <a:gd name="connsiteY3515" fmla="*/ 405839 h 840509"/>
                  <a:gd name="connsiteX3516" fmla="*/ 28831 w 939786"/>
                  <a:gd name="connsiteY3516" fmla="*/ 408484 h 840509"/>
                  <a:gd name="connsiteX3517" fmla="*/ 28831 w 939786"/>
                  <a:gd name="connsiteY3517" fmla="*/ 409895 h 840509"/>
                  <a:gd name="connsiteX3518" fmla="*/ 29977 w 939786"/>
                  <a:gd name="connsiteY3518" fmla="*/ 411923 h 840509"/>
                  <a:gd name="connsiteX3519" fmla="*/ 30595 w 939786"/>
                  <a:gd name="connsiteY3519" fmla="*/ 412275 h 840509"/>
                  <a:gd name="connsiteX3520" fmla="*/ 30859 w 939786"/>
                  <a:gd name="connsiteY3520" fmla="*/ 411658 h 840509"/>
                  <a:gd name="connsiteX3521" fmla="*/ 32270 w 939786"/>
                  <a:gd name="connsiteY3521" fmla="*/ 410512 h 840509"/>
                  <a:gd name="connsiteX3522" fmla="*/ 32887 w 939786"/>
                  <a:gd name="connsiteY3522" fmla="*/ 410776 h 840509"/>
                  <a:gd name="connsiteX3523" fmla="*/ 33151 w 939786"/>
                  <a:gd name="connsiteY3523" fmla="*/ 410776 h 840509"/>
                  <a:gd name="connsiteX3524" fmla="*/ 33416 w 939786"/>
                  <a:gd name="connsiteY3524" fmla="*/ 410776 h 840509"/>
                  <a:gd name="connsiteX3525" fmla="*/ 34033 w 939786"/>
                  <a:gd name="connsiteY3525" fmla="*/ 409895 h 840509"/>
                  <a:gd name="connsiteX3526" fmla="*/ 35179 w 939786"/>
                  <a:gd name="connsiteY3526" fmla="*/ 408484 h 840509"/>
                  <a:gd name="connsiteX3527" fmla="*/ 35444 w 939786"/>
                  <a:gd name="connsiteY3527" fmla="*/ 407867 h 840509"/>
                  <a:gd name="connsiteX3528" fmla="*/ 35796 w 939786"/>
                  <a:gd name="connsiteY3528" fmla="*/ 407250 h 840509"/>
                  <a:gd name="connsiteX3529" fmla="*/ 36414 w 939786"/>
                  <a:gd name="connsiteY3529" fmla="*/ 404340 h 840509"/>
                  <a:gd name="connsiteX3530" fmla="*/ 36414 w 939786"/>
                  <a:gd name="connsiteY3530" fmla="*/ 404076 h 840509"/>
                  <a:gd name="connsiteX3531" fmla="*/ 36149 w 939786"/>
                  <a:gd name="connsiteY3531" fmla="*/ 403194 h 840509"/>
                  <a:gd name="connsiteX3532" fmla="*/ 36149 w 939786"/>
                  <a:gd name="connsiteY3532" fmla="*/ 402930 h 840509"/>
                  <a:gd name="connsiteX3533" fmla="*/ 36149 w 939786"/>
                  <a:gd name="connsiteY3533" fmla="*/ 402577 h 840509"/>
                  <a:gd name="connsiteX3534" fmla="*/ 35532 w 939786"/>
                  <a:gd name="connsiteY3534" fmla="*/ 402048 h 840509"/>
                  <a:gd name="connsiteX3535" fmla="*/ 34650 w 939786"/>
                  <a:gd name="connsiteY3535" fmla="*/ 401431 h 840509"/>
                  <a:gd name="connsiteX3536" fmla="*/ 33151 w 939786"/>
                  <a:gd name="connsiteY3536" fmla="*/ 399932 h 840509"/>
                  <a:gd name="connsiteX3537" fmla="*/ 31388 w 939786"/>
                  <a:gd name="connsiteY3537" fmla="*/ 397551 h 840509"/>
                  <a:gd name="connsiteX3538" fmla="*/ 31388 w 939786"/>
                  <a:gd name="connsiteY3538" fmla="*/ 397287 h 840509"/>
                  <a:gd name="connsiteX3539" fmla="*/ 31741 w 939786"/>
                  <a:gd name="connsiteY3539" fmla="*/ 395524 h 840509"/>
                  <a:gd name="connsiteX3540" fmla="*/ 31388 w 939786"/>
                  <a:gd name="connsiteY3540" fmla="*/ 392349 h 840509"/>
                  <a:gd name="connsiteX3541" fmla="*/ 31388 w 939786"/>
                  <a:gd name="connsiteY3541" fmla="*/ 392085 h 840509"/>
                  <a:gd name="connsiteX3542" fmla="*/ 30859 w 939786"/>
                  <a:gd name="connsiteY3542" fmla="*/ 390586 h 840509"/>
                  <a:gd name="connsiteX3543" fmla="*/ 30595 w 939786"/>
                  <a:gd name="connsiteY3543" fmla="*/ 389440 h 840509"/>
                  <a:gd name="connsiteX3544" fmla="*/ 30330 w 939786"/>
                  <a:gd name="connsiteY3544" fmla="*/ 389175 h 840509"/>
                  <a:gd name="connsiteX3545" fmla="*/ 30330 w 939786"/>
                  <a:gd name="connsiteY3545" fmla="*/ 388911 h 840509"/>
                  <a:gd name="connsiteX3546" fmla="*/ 30330 w 939786"/>
                  <a:gd name="connsiteY3546" fmla="*/ 388294 h 840509"/>
                  <a:gd name="connsiteX3547" fmla="*/ 30330 w 939786"/>
                  <a:gd name="connsiteY3547" fmla="*/ 388029 h 840509"/>
                  <a:gd name="connsiteX3548" fmla="*/ 30595 w 939786"/>
                  <a:gd name="connsiteY3548" fmla="*/ 387765 h 840509"/>
                  <a:gd name="connsiteX3549" fmla="*/ 30595 w 939786"/>
                  <a:gd name="connsiteY3549" fmla="*/ 387147 h 840509"/>
                  <a:gd name="connsiteX3550" fmla="*/ 31124 w 939786"/>
                  <a:gd name="connsiteY3550" fmla="*/ 386530 h 840509"/>
                  <a:gd name="connsiteX3551" fmla="*/ 31124 w 939786"/>
                  <a:gd name="connsiteY3551" fmla="*/ 386266 h 840509"/>
                  <a:gd name="connsiteX3552" fmla="*/ 31388 w 939786"/>
                  <a:gd name="connsiteY3552" fmla="*/ 386001 h 840509"/>
                  <a:gd name="connsiteX3553" fmla="*/ 32887 w 939786"/>
                  <a:gd name="connsiteY3553" fmla="*/ 384238 h 840509"/>
                  <a:gd name="connsiteX3554" fmla="*/ 33504 w 939786"/>
                  <a:gd name="connsiteY3554" fmla="*/ 384855 h 840509"/>
                  <a:gd name="connsiteX3555" fmla="*/ 33857 w 939786"/>
                  <a:gd name="connsiteY3555" fmla="*/ 386618 h 840509"/>
                  <a:gd name="connsiteX3556" fmla="*/ 34474 w 939786"/>
                  <a:gd name="connsiteY3556" fmla="*/ 388382 h 840509"/>
                  <a:gd name="connsiteX3557" fmla="*/ 34474 w 939786"/>
                  <a:gd name="connsiteY3557" fmla="*/ 388734 h 840509"/>
                  <a:gd name="connsiteX3558" fmla="*/ 34738 w 939786"/>
                  <a:gd name="connsiteY3558" fmla="*/ 388999 h 840509"/>
                  <a:gd name="connsiteX3559" fmla="*/ 35620 w 939786"/>
                  <a:gd name="connsiteY3559" fmla="*/ 389881 h 840509"/>
                  <a:gd name="connsiteX3560" fmla="*/ 36238 w 939786"/>
                  <a:gd name="connsiteY3560" fmla="*/ 390762 h 840509"/>
                  <a:gd name="connsiteX3561" fmla="*/ 36502 w 939786"/>
                  <a:gd name="connsiteY3561" fmla="*/ 390762 h 840509"/>
                  <a:gd name="connsiteX3562" fmla="*/ 36502 w 939786"/>
                  <a:gd name="connsiteY3562" fmla="*/ 391027 h 840509"/>
                  <a:gd name="connsiteX3563" fmla="*/ 36502 w 939786"/>
                  <a:gd name="connsiteY3563" fmla="*/ 392790 h 840509"/>
                  <a:gd name="connsiteX3564" fmla="*/ 36502 w 939786"/>
                  <a:gd name="connsiteY3564" fmla="*/ 393055 h 840509"/>
                  <a:gd name="connsiteX3565" fmla="*/ 36502 w 939786"/>
                  <a:gd name="connsiteY3565" fmla="*/ 393319 h 840509"/>
                  <a:gd name="connsiteX3566" fmla="*/ 35356 w 939786"/>
                  <a:gd name="connsiteY3566" fmla="*/ 395964 h 840509"/>
                  <a:gd name="connsiteX3567" fmla="*/ 34827 w 939786"/>
                  <a:gd name="connsiteY3567" fmla="*/ 396493 h 840509"/>
                  <a:gd name="connsiteX3568" fmla="*/ 34562 w 939786"/>
                  <a:gd name="connsiteY3568" fmla="*/ 396758 h 840509"/>
                  <a:gd name="connsiteX3569" fmla="*/ 34298 w 939786"/>
                  <a:gd name="connsiteY3569" fmla="*/ 398521 h 840509"/>
                  <a:gd name="connsiteX3570" fmla="*/ 34298 w 939786"/>
                  <a:gd name="connsiteY3570" fmla="*/ 398874 h 840509"/>
                  <a:gd name="connsiteX3571" fmla="*/ 34298 w 939786"/>
                  <a:gd name="connsiteY3571" fmla="*/ 400637 h 840509"/>
                  <a:gd name="connsiteX3572" fmla="*/ 34562 w 939786"/>
                  <a:gd name="connsiteY3572" fmla="*/ 400637 h 840509"/>
                  <a:gd name="connsiteX3573" fmla="*/ 35179 w 939786"/>
                  <a:gd name="connsiteY3573" fmla="*/ 400902 h 840509"/>
                  <a:gd name="connsiteX3574" fmla="*/ 35444 w 939786"/>
                  <a:gd name="connsiteY3574" fmla="*/ 400902 h 840509"/>
                  <a:gd name="connsiteX3575" fmla="*/ 35709 w 939786"/>
                  <a:gd name="connsiteY3575" fmla="*/ 400637 h 840509"/>
                  <a:gd name="connsiteX3576" fmla="*/ 36061 w 939786"/>
                  <a:gd name="connsiteY3576" fmla="*/ 400284 h 840509"/>
                  <a:gd name="connsiteX3577" fmla="*/ 36325 w 939786"/>
                  <a:gd name="connsiteY3577" fmla="*/ 400020 h 840509"/>
                  <a:gd name="connsiteX3578" fmla="*/ 36590 w 939786"/>
                  <a:gd name="connsiteY3578" fmla="*/ 399755 h 840509"/>
                  <a:gd name="connsiteX3579" fmla="*/ 37119 w 939786"/>
                  <a:gd name="connsiteY3579" fmla="*/ 399138 h 840509"/>
                  <a:gd name="connsiteX3580" fmla="*/ 38265 w 939786"/>
                  <a:gd name="connsiteY3580" fmla="*/ 397375 h 840509"/>
                  <a:gd name="connsiteX3581" fmla="*/ 38265 w 939786"/>
                  <a:gd name="connsiteY3581" fmla="*/ 397110 h 840509"/>
                  <a:gd name="connsiteX3582" fmla="*/ 38883 w 939786"/>
                  <a:gd name="connsiteY3582" fmla="*/ 396493 h 840509"/>
                  <a:gd name="connsiteX3583" fmla="*/ 38883 w 939786"/>
                  <a:gd name="connsiteY3583" fmla="*/ 398874 h 840509"/>
                  <a:gd name="connsiteX3584" fmla="*/ 38883 w 939786"/>
                  <a:gd name="connsiteY3584" fmla="*/ 400902 h 840509"/>
                  <a:gd name="connsiteX3585" fmla="*/ 38618 w 939786"/>
                  <a:gd name="connsiteY3585" fmla="*/ 402312 h 840509"/>
                  <a:gd name="connsiteX3586" fmla="*/ 38883 w 939786"/>
                  <a:gd name="connsiteY3586" fmla="*/ 403811 h 840509"/>
                  <a:gd name="connsiteX3587" fmla="*/ 40381 w 939786"/>
                  <a:gd name="connsiteY3587" fmla="*/ 407338 h 840509"/>
                  <a:gd name="connsiteX3588" fmla="*/ 43291 w 939786"/>
                  <a:gd name="connsiteY3588" fmla="*/ 405310 h 840509"/>
                  <a:gd name="connsiteX3589" fmla="*/ 43555 w 939786"/>
                  <a:gd name="connsiteY3589" fmla="*/ 405046 h 840509"/>
                  <a:gd name="connsiteX3590" fmla="*/ 44437 w 939786"/>
                  <a:gd name="connsiteY3590" fmla="*/ 403547 h 840509"/>
                  <a:gd name="connsiteX3591" fmla="*/ 44437 w 939786"/>
                  <a:gd name="connsiteY3591" fmla="*/ 403194 h 840509"/>
                  <a:gd name="connsiteX3592" fmla="*/ 44437 w 939786"/>
                  <a:gd name="connsiteY3592" fmla="*/ 402930 h 840509"/>
                  <a:gd name="connsiteX3593" fmla="*/ 44437 w 939786"/>
                  <a:gd name="connsiteY3593" fmla="*/ 402577 h 840509"/>
                  <a:gd name="connsiteX3594" fmla="*/ 44437 w 939786"/>
                  <a:gd name="connsiteY3594" fmla="*/ 402312 h 840509"/>
                  <a:gd name="connsiteX3595" fmla="*/ 44084 w 939786"/>
                  <a:gd name="connsiteY3595" fmla="*/ 402048 h 840509"/>
                  <a:gd name="connsiteX3596" fmla="*/ 44084 w 939786"/>
                  <a:gd name="connsiteY3596" fmla="*/ 401431 h 840509"/>
                  <a:gd name="connsiteX3597" fmla="*/ 44084 w 939786"/>
                  <a:gd name="connsiteY3597" fmla="*/ 400549 h 840509"/>
                  <a:gd name="connsiteX3598" fmla="*/ 44084 w 939786"/>
                  <a:gd name="connsiteY3598" fmla="*/ 400196 h 840509"/>
                  <a:gd name="connsiteX3599" fmla="*/ 45583 w 939786"/>
                  <a:gd name="connsiteY3599" fmla="*/ 396405 h 840509"/>
                  <a:gd name="connsiteX3600" fmla="*/ 45936 w 939786"/>
                  <a:gd name="connsiteY3600" fmla="*/ 395524 h 840509"/>
                  <a:gd name="connsiteX3601" fmla="*/ 46817 w 939786"/>
                  <a:gd name="connsiteY3601" fmla="*/ 395876 h 840509"/>
                  <a:gd name="connsiteX3602" fmla="*/ 47082 w 939786"/>
                  <a:gd name="connsiteY3602" fmla="*/ 394994 h 840509"/>
                  <a:gd name="connsiteX3603" fmla="*/ 47964 w 939786"/>
                  <a:gd name="connsiteY3603" fmla="*/ 392349 h 840509"/>
                  <a:gd name="connsiteX3604" fmla="*/ 47964 w 939786"/>
                  <a:gd name="connsiteY3604" fmla="*/ 392085 h 840509"/>
                  <a:gd name="connsiteX3605" fmla="*/ 47964 w 939786"/>
                  <a:gd name="connsiteY3605" fmla="*/ 391732 h 840509"/>
                  <a:gd name="connsiteX3606" fmla="*/ 46200 w 939786"/>
                  <a:gd name="connsiteY3606" fmla="*/ 389087 h 840509"/>
                  <a:gd name="connsiteX3607" fmla="*/ 44701 w 939786"/>
                  <a:gd name="connsiteY3607" fmla="*/ 387059 h 840509"/>
                  <a:gd name="connsiteX3608" fmla="*/ 44437 w 939786"/>
                  <a:gd name="connsiteY3608" fmla="*/ 386795 h 840509"/>
                  <a:gd name="connsiteX3609" fmla="*/ 44437 w 939786"/>
                  <a:gd name="connsiteY3609" fmla="*/ 386530 h 840509"/>
                  <a:gd name="connsiteX3610" fmla="*/ 43555 w 939786"/>
                  <a:gd name="connsiteY3610" fmla="*/ 383356 h 840509"/>
                  <a:gd name="connsiteX3611" fmla="*/ 43026 w 939786"/>
                  <a:gd name="connsiteY3611" fmla="*/ 381945 h 840509"/>
                  <a:gd name="connsiteX3612" fmla="*/ 43026 w 939786"/>
                  <a:gd name="connsiteY3612" fmla="*/ 381681 h 840509"/>
                  <a:gd name="connsiteX3613" fmla="*/ 42674 w 939786"/>
                  <a:gd name="connsiteY3613" fmla="*/ 379036 h 840509"/>
                  <a:gd name="connsiteX3614" fmla="*/ 42409 w 939786"/>
                  <a:gd name="connsiteY3614" fmla="*/ 377273 h 840509"/>
                  <a:gd name="connsiteX3615" fmla="*/ 42409 w 939786"/>
                  <a:gd name="connsiteY3615" fmla="*/ 375509 h 840509"/>
                  <a:gd name="connsiteX3616" fmla="*/ 42145 w 939786"/>
                  <a:gd name="connsiteY3616" fmla="*/ 375245 h 840509"/>
                  <a:gd name="connsiteX3617" fmla="*/ 41880 w 939786"/>
                  <a:gd name="connsiteY3617" fmla="*/ 374980 h 840509"/>
                  <a:gd name="connsiteX3618" fmla="*/ 41263 w 939786"/>
                  <a:gd name="connsiteY3618" fmla="*/ 374363 h 840509"/>
                  <a:gd name="connsiteX3619" fmla="*/ 40381 w 939786"/>
                  <a:gd name="connsiteY3619" fmla="*/ 374363 h 840509"/>
                  <a:gd name="connsiteX3620" fmla="*/ 40381 w 939786"/>
                  <a:gd name="connsiteY3620" fmla="*/ 374098 h 840509"/>
                  <a:gd name="connsiteX3621" fmla="*/ 40029 w 939786"/>
                  <a:gd name="connsiteY3621" fmla="*/ 373834 h 840509"/>
                  <a:gd name="connsiteX3622" fmla="*/ 39764 w 939786"/>
                  <a:gd name="connsiteY3622" fmla="*/ 371453 h 840509"/>
                  <a:gd name="connsiteX3623" fmla="*/ 39764 w 939786"/>
                  <a:gd name="connsiteY3623" fmla="*/ 371189 h 840509"/>
                  <a:gd name="connsiteX3624" fmla="*/ 39500 w 939786"/>
                  <a:gd name="connsiteY3624" fmla="*/ 368279 h 840509"/>
                  <a:gd name="connsiteX3625" fmla="*/ 39500 w 939786"/>
                  <a:gd name="connsiteY3625" fmla="*/ 367398 h 840509"/>
                  <a:gd name="connsiteX3626" fmla="*/ 39764 w 939786"/>
                  <a:gd name="connsiteY3626" fmla="*/ 367133 h 840509"/>
                  <a:gd name="connsiteX3627" fmla="*/ 40029 w 939786"/>
                  <a:gd name="connsiteY3627" fmla="*/ 366516 h 840509"/>
                  <a:gd name="connsiteX3628" fmla="*/ 40029 w 939786"/>
                  <a:gd name="connsiteY3628" fmla="*/ 366252 h 840509"/>
                  <a:gd name="connsiteX3629" fmla="*/ 40381 w 939786"/>
                  <a:gd name="connsiteY3629" fmla="*/ 365105 h 840509"/>
                  <a:gd name="connsiteX3630" fmla="*/ 40381 w 939786"/>
                  <a:gd name="connsiteY3630" fmla="*/ 364753 h 840509"/>
                  <a:gd name="connsiteX3631" fmla="*/ 40029 w 939786"/>
                  <a:gd name="connsiteY3631" fmla="*/ 364488 h 840509"/>
                  <a:gd name="connsiteX3632" fmla="*/ 39764 w 939786"/>
                  <a:gd name="connsiteY3632" fmla="*/ 363342 h 840509"/>
                  <a:gd name="connsiteX3633" fmla="*/ 39500 w 939786"/>
                  <a:gd name="connsiteY3633" fmla="*/ 362725 h 840509"/>
                  <a:gd name="connsiteX3634" fmla="*/ 38618 w 939786"/>
                  <a:gd name="connsiteY3634" fmla="*/ 361226 h 840509"/>
                  <a:gd name="connsiteX3635" fmla="*/ 38354 w 939786"/>
                  <a:gd name="connsiteY3635" fmla="*/ 360697 h 840509"/>
                  <a:gd name="connsiteX3636" fmla="*/ 38089 w 939786"/>
                  <a:gd name="connsiteY3636" fmla="*/ 360344 h 840509"/>
                  <a:gd name="connsiteX3637" fmla="*/ 38089 w 939786"/>
                  <a:gd name="connsiteY3637" fmla="*/ 360080 h 840509"/>
                  <a:gd name="connsiteX3638" fmla="*/ 37472 w 939786"/>
                  <a:gd name="connsiteY3638" fmla="*/ 359198 h 840509"/>
                  <a:gd name="connsiteX3639" fmla="*/ 37207 w 939786"/>
                  <a:gd name="connsiteY3639" fmla="*/ 358052 h 840509"/>
                  <a:gd name="connsiteX3640" fmla="*/ 37207 w 939786"/>
                  <a:gd name="connsiteY3640" fmla="*/ 357435 h 840509"/>
                  <a:gd name="connsiteX3641" fmla="*/ 37207 w 939786"/>
                  <a:gd name="connsiteY3641" fmla="*/ 356906 h 840509"/>
                  <a:gd name="connsiteX3642" fmla="*/ 37825 w 939786"/>
                  <a:gd name="connsiteY3642" fmla="*/ 352233 h 840509"/>
                  <a:gd name="connsiteX3643" fmla="*/ 38089 w 939786"/>
                  <a:gd name="connsiteY3643" fmla="*/ 351968 h 840509"/>
                  <a:gd name="connsiteX3644" fmla="*/ 38089 w 939786"/>
                  <a:gd name="connsiteY3644" fmla="*/ 351616 h 840509"/>
                  <a:gd name="connsiteX3645" fmla="*/ 39235 w 939786"/>
                  <a:gd name="connsiteY3645" fmla="*/ 349588 h 840509"/>
                  <a:gd name="connsiteX3646" fmla="*/ 40381 w 939786"/>
                  <a:gd name="connsiteY3646" fmla="*/ 346414 h 840509"/>
                  <a:gd name="connsiteX3647" fmla="*/ 41880 w 939786"/>
                  <a:gd name="connsiteY3647" fmla="*/ 343239 h 840509"/>
                  <a:gd name="connsiteX3648" fmla="*/ 43291 w 939786"/>
                  <a:gd name="connsiteY3648" fmla="*/ 340330 h 840509"/>
                  <a:gd name="connsiteX3649" fmla="*/ 45319 w 939786"/>
                  <a:gd name="connsiteY3649" fmla="*/ 337156 h 840509"/>
                  <a:gd name="connsiteX3650" fmla="*/ 46200 w 939786"/>
                  <a:gd name="connsiteY3650" fmla="*/ 336274 h 840509"/>
                  <a:gd name="connsiteX3651" fmla="*/ 46465 w 939786"/>
                  <a:gd name="connsiteY3651" fmla="*/ 336274 h 840509"/>
                  <a:gd name="connsiteX3652" fmla="*/ 46730 w 939786"/>
                  <a:gd name="connsiteY3652" fmla="*/ 336274 h 840509"/>
                  <a:gd name="connsiteX3653" fmla="*/ 46994 w 939786"/>
                  <a:gd name="connsiteY3653" fmla="*/ 336010 h 840509"/>
                  <a:gd name="connsiteX3654" fmla="*/ 47259 w 939786"/>
                  <a:gd name="connsiteY3654" fmla="*/ 336010 h 840509"/>
                  <a:gd name="connsiteX3655" fmla="*/ 48757 w 939786"/>
                  <a:gd name="connsiteY3655" fmla="*/ 334864 h 840509"/>
                  <a:gd name="connsiteX3656" fmla="*/ 48757 w 939786"/>
                  <a:gd name="connsiteY3656" fmla="*/ 334599 h 840509"/>
                  <a:gd name="connsiteX3657" fmla="*/ 49022 w 939786"/>
                  <a:gd name="connsiteY3657" fmla="*/ 334599 h 840509"/>
                  <a:gd name="connsiteX3658" fmla="*/ 49639 w 939786"/>
                  <a:gd name="connsiteY3658" fmla="*/ 333100 h 840509"/>
                  <a:gd name="connsiteX3659" fmla="*/ 49992 w 939786"/>
                  <a:gd name="connsiteY3659" fmla="*/ 332483 h 840509"/>
                  <a:gd name="connsiteX3660" fmla="*/ 50521 w 939786"/>
                  <a:gd name="connsiteY3660" fmla="*/ 329838 h 840509"/>
                  <a:gd name="connsiteX3661" fmla="*/ 50521 w 939786"/>
                  <a:gd name="connsiteY3661" fmla="*/ 329573 h 840509"/>
                  <a:gd name="connsiteX3662" fmla="*/ 50521 w 939786"/>
                  <a:gd name="connsiteY3662" fmla="*/ 329221 h 840509"/>
                  <a:gd name="connsiteX3663" fmla="*/ 50785 w 939786"/>
                  <a:gd name="connsiteY3663" fmla="*/ 326311 h 840509"/>
                  <a:gd name="connsiteX3664" fmla="*/ 51667 w 939786"/>
                  <a:gd name="connsiteY3664" fmla="*/ 324019 h 840509"/>
                  <a:gd name="connsiteX3665" fmla="*/ 51931 w 939786"/>
                  <a:gd name="connsiteY3665" fmla="*/ 323754 h 840509"/>
                  <a:gd name="connsiteX3666" fmla="*/ 52549 w 939786"/>
                  <a:gd name="connsiteY3666" fmla="*/ 322873 h 840509"/>
                  <a:gd name="connsiteX3667" fmla="*/ 52813 w 939786"/>
                  <a:gd name="connsiteY3667" fmla="*/ 322255 h 840509"/>
                  <a:gd name="connsiteX3668" fmla="*/ 52813 w 939786"/>
                  <a:gd name="connsiteY3668" fmla="*/ 319963 h 840509"/>
                  <a:gd name="connsiteX3669" fmla="*/ 52813 w 939786"/>
                  <a:gd name="connsiteY3669" fmla="*/ 319346 h 840509"/>
                  <a:gd name="connsiteX3670" fmla="*/ 52549 w 939786"/>
                  <a:gd name="connsiteY3670" fmla="*/ 317053 h 840509"/>
                  <a:gd name="connsiteX3671" fmla="*/ 52549 w 939786"/>
                  <a:gd name="connsiteY3671" fmla="*/ 316789 h 840509"/>
                  <a:gd name="connsiteX3672" fmla="*/ 52549 w 939786"/>
                  <a:gd name="connsiteY3672" fmla="*/ 316436 h 840509"/>
                  <a:gd name="connsiteX3673" fmla="*/ 52549 w 939786"/>
                  <a:gd name="connsiteY3673" fmla="*/ 316172 h 840509"/>
                  <a:gd name="connsiteX3674" fmla="*/ 52284 w 939786"/>
                  <a:gd name="connsiteY3674" fmla="*/ 316172 h 840509"/>
                  <a:gd name="connsiteX3675" fmla="*/ 52284 w 939786"/>
                  <a:gd name="connsiteY3675" fmla="*/ 315819 h 840509"/>
                  <a:gd name="connsiteX3676" fmla="*/ 52284 w 939786"/>
                  <a:gd name="connsiteY3676" fmla="*/ 315555 h 840509"/>
                  <a:gd name="connsiteX3677" fmla="*/ 52020 w 939786"/>
                  <a:gd name="connsiteY3677" fmla="*/ 314937 h 840509"/>
                  <a:gd name="connsiteX3678" fmla="*/ 51755 w 939786"/>
                  <a:gd name="connsiteY3678" fmla="*/ 314937 h 840509"/>
                  <a:gd name="connsiteX3679" fmla="*/ 51138 w 939786"/>
                  <a:gd name="connsiteY3679" fmla="*/ 313791 h 840509"/>
                  <a:gd name="connsiteX3680" fmla="*/ 51402 w 939786"/>
                  <a:gd name="connsiteY3680" fmla="*/ 311764 h 840509"/>
                  <a:gd name="connsiteX3681" fmla="*/ 52284 w 939786"/>
                  <a:gd name="connsiteY3681" fmla="*/ 310265 h 840509"/>
                  <a:gd name="connsiteX3682" fmla="*/ 52284 w 939786"/>
                  <a:gd name="connsiteY3682" fmla="*/ 310000 h 840509"/>
                  <a:gd name="connsiteX3683" fmla="*/ 52549 w 939786"/>
                  <a:gd name="connsiteY3683" fmla="*/ 309736 h 840509"/>
                  <a:gd name="connsiteX3684" fmla="*/ 53430 w 939786"/>
                  <a:gd name="connsiteY3684" fmla="*/ 308589 h 840509"/>
                  <a:gd name="connsiteX3685" fmla="*/ 55458 w 939786"/>
                  <a:gd name="connsiteY3685" fmla="*/ 305063 h 840509"/>
                  <a:gd name="connsiteX3686" fmla="*/ 56340 w 939786"/>
                  <a:gd name="connsiteY3686" fmla="*/ 303652 h 840509"/>
                  <a:gd name="connsiteX3687" fmla="*/ 56869 w 939786"/>
                  <a:gd name="connsiteY3687" fmla="*/ 302506 h 840509"/>
                  <a:gd name="connsiteX3688" fmla="*/ 57751 w 939786"/>
                  <a:gd name="connsiteY3688" fmla="*/ 300478 h 840509"/>
                  <a:gd name="connsiteX3689" fmla="*/ 58632 w 939786"/>
                  <a:gd name="connsiteY3689" fmla="*/ 298186 h 840509"/>
                  <a:gd name="connsiteX3690" fmla="*/ 58896 w 939786"/>
                  <a:gd name="connsiteY3690" fmla="*/ 297921 h 840509"/>
                  <a:gd name="connsiteX3691" fmla="*/ 60043 w 939786"/>
                  <a:gd name="connsiteY3691" fmla="*/ 296158 h 840509"/>
                  <a:gd name="connsiteX3692" fmla="*/ 61806 w 939786"/>
                  <a:gd name="connsiteY3692" fmla="*/ 293865 h 840509"/>
                  <a:gd name="connsiteX3693" fmla="*/ 62071 w 939786"/>
                  <a:gd name="connsiteY3693" fmla="*/ 293336 h 840509"/>
                  <a:gd name="connsiteX3694" fmla="*/ 62335 w 939786"/>
                  <a:gd name="connsiteY3694" fmla="*/ 293072 h 840509"/>
                  <a:gd name="connsiteX3695" fmla="*/ 62600 w 939786"/>
                  <a:gd name="connsiteY3695" fmla="*/ 293072 h 840509"/>
                  <a:gd name="connsiteX3696" fmla="*/ 63746 w 939786"/>
                  <a:gd name="connsiteY3696" fmla="*/ 292190 h 840509"/>
                  <a:gd name="connsiteX3697" fmla="*/ 64010 w 939786"/>
                  <a:gd name="connsiteY3697" fmla="*/ 292190 h 840509"/>
                  <a:gd name="connsiteX3698" fmla="*/ 65157 w 939786"/>
                  <a:gd name="connsiteY3698" fmla="*/ 291661 h 840509"/>
                  <a:gd name="connsiteX3699" fmla="*/ 65421 w 939786"/>
                  <a:gd name="connsiteY3699" fmla="*/ 291926 h 840509"/>
                  <a:gd name="connsiteX3700" fmla="*/ 65686 w 939786"/>
                  <a:gd name="connsiteY3700" fmla="*/ 292190 h 840509"/>
                  <a:gd name="connsiteX3701" fmla="*/ 65686 w 939786"/>
                  <a:gd name="connsiteY3701" fmla="*/ 292455 h 840509"/>
                  <a:gd name="connsiteX3702" fmla="*/ 65068 w 939786"/>
                  <a:gd name="connsiteY3702" fmla="*/ 293072 h 840509"/>
                  <a:gd name="connsiteX3703" fmla="*/ 64804 w 939786"/>
                  <a:gd name="connsiteY3703" fmla="*/ 293336 h 840509"/>
                  <a:gd name="connsiteX3704" fmla="*/ 64539 w 939786"/>
                  <a:gd name="connsiteY3704" fmla="*/ 293601 h 840509"/>
                  <a:gd name="connsiteX3705" fmla="*/ 64539 w 939786"/>
                  <a:gd name="connsiteY3705" fmla="*/ 293865 h 840509"/>
                  <a:gd name="connsiteX3706" fmla="*/ 64275 w 939786"/>
                  <a:gd name="connsiteY3706" fmla="*/ 294747 h 840509"/>
                  <a:gd name="connsiteX3707" fmla="*/ 61983 w 939786"/>
                  <a:gd name="connsiteY3707" fmla="*/ 300830 h 840509"/>
                  <a:gd name="connsiteX3708" fmla="*/ 61983 w 939786"/>
                  <a:gd name="connsiteY3708" fmla="*/ 301095 h 840509"/>
                  <a:gd name="connsiteX3709" fmla="*/ 61983 w 939786"/>
                  <a:gd name="connsiteY3709" fmla="*/ 301359 h 840509"/>
                  <a:gd name="connsiteX3710" fmla="*/ 61983 w 939786"/>
                  <a:gd name="connsiteY3710" fmla="*/ 301624 h 840509"/>
                  <a:gd name="connsiteX3711" fmla="*/ 62600 w 939786"/>
                  <a:gd name="connsiteY3711" fmla="*/ 303387 h 840509"/>
                  <a:gd name="connsiteX3712" fmla="*/ 62864 w 939786"/>
                  <a:gd name="connsiteY3712" fmla="*/ 304269 h 840509"/>
                  <a:gd name="connsiteX3713" fmla="*/ 61983 w 939786"/>
                  <a:gd name="connsiteY3713" fmla="*/ 306297 h 840509"/>
                  <a:gd name="connsiteX3714" fmla="*/ 61983 w 939786"/>
                  <a:gd name="connsiteY3714" fmla="*/ 306561 h 840509"/>
                  <a:gd name="connsiteX3715" fmla="*/ 61894 w 939786"/>
                  <a:gd name="connsiteY3715" fmla="*/ 306561 h 840509"/>
                  <a:gd name="connsiteX3716" fmla="*/ 61894 w 939786"/>
                  <a:gd name="connsiteY3716" fmla="*/ 306914 h 840509"/>
                  <a:gd name="connsiteX3717" fmla="*/ 61630 w 939786"/>
                  <a:gd name="connsiteY3717" fmla="*/ 308678 h 840509"/>
                  <a:gd name="connsiteX3718" fmla="*/ 61630 w 939786"/>
                  <a:gd name="connsiteY3718" fmla="*/ 308942 h 840509"/>
                  <a:gd name="connsiteX3719" fmla="*/ 61630 w 939786"/>
                  <a:gd name="connsiteY3719" fmla="*/ 309559 h 840509"/>
                  <a:gd name="connsiteX3720" fmla="*/ 61894 w 939786"/>
                  <a:gd name="connsiteY3720" fmla="*/ 309559 h 840509"/>
                  <a:gd name="connsiteX3721" fmla="*/ 61894 w 939786"/>
                  <a:gd name="connsiteY3721" fmla="*/ 309824 h 840509"/>
                  <a:gd name="connsiteX3722" fmla="*/ 62159 w 939786"/>
                  <a:gd name="connsiteY3722" fmla="*/ 309824 h 840509"/>
                  <a:gd name="connsiteX3723" fmla="*/ 63305 w 939786"/>
                  <a:gd name="connsiteY3723" fmla="*/ 309207 h 840509"/>
                  <a:gd name="connsiteX3724" fmla="*/ 67097 w 939786"/>
                  <a:gd name="connsiteY3724" fmla="*/ 307708 h 840509"/>
                  <a:gd name="connsiteX3725" fmla="*/ 67713 w 939786"/>
                  <a:gd name="connsiteY3725" fmla="*/ 306209 h 840509"/>
                  <a:gd name="connsiteX3726" fmla="*/ 67978 w 939786"/>
                  <a:gd name="connsiteY3726" fmla="*/ 305680 h 840509"/>
                  <a:gd name="connsiteX3727" fmla="*/ 68242 w 939786"/>
                  <a:gd name="connsiteY3727" fmla="*/ 305063 h 840509"/>
                  <a:gd name="connsiteX3728" fmla="*/ 68507 w 939786"/>
                  <a:gd name="connsiteY3728" fmla="*/ 304445 h 840509"/>
                  <a:gd name="connsiteX3729" fmla="*/ 70270 w 939786"/>
                  <a:gd name="connsiteY3729" fmla="*/ 301271 h 840509"/>
                  <a:gd name="connsiteX3730" fmla="*/ 72034 w 939786"/>
                  <a:gd name="connsiteY3730" fmla="*/ 298891 h 840509"/>
                  <a:gd name="connsiteX3731" fmla="*/ 74943 w 939786"/>
                  <a:gd name="connsiteY3731" fmla="*/ 294835 h 840509"/>
                  <a:gd name="connsiteX3732" fmla="*/ 74943 w 939786"/>
                  <a:gd name="connsiteY3732" fmla="*/ 294571 h 840509"/>
                  <a:gd name="connsiteX3733" fmla="*/ 74943 w 939786"/>
                  <a:gd name="connsiteY3733" fmla="*/ 294218 h 840509"/>
                  <a:gd name="connsiteX3734" fmla="*/ 75208 w 939786"/>
                  <a:gd name="connsiteY3734" fmla="*/ 293953 h 840509"/>
                  <a:gd name="connsiteX3735" fmla="*/ 75208 w 939786"/>
                  <a:gd name="connsiteY3735" fmla="*/ 293336 h 840509"/>
                  <a:gd name="connsiteX3736" fmla="*/ 75472 w 939786"/>
                  <a:gd name="connsiteY3736" fmla="*/ 293072 h 840509"/>
                  <a:gd name="connsiteX3737" fmla="*/ 75472 w 939786"/>
                  <a:gd name="connsiteY3737" fmla="*/ 292807 h 840509"/>
                  <a:gd name="connsiteX3738" fmla="*/ 75825 w 939786"/>
                  <a:gd name="connsiteY3738" fmla="*/ 292807 h 840509"/>
                  <a:gd name="connsiteX3739" fmla="*/ 76971 w 939786"/>
                  <a:gd name="connsiteY3739" fmla="*/ 291926 h 840509"/>
                  <a:gd name="connsiteX3740" fmla="*/ 77853 w 939786"/>
                  <a:gd name="connsiteY3740" fmla="*/ 291661 h 840509"/>
                  <a:gd name="connsiteX3741" fmla="*/ 80234 w 939786"/>
                  <a:gd name="connsiteY3741" fmla="*/ 290515 h 840509"/>
                  <a:gd name="connsiteX3742" fmla="*/ 82526 w 939786"/>
                  <a:gd name="connsiteY3742" fmla="*/ 289016 h 840509"/>
                  <a:gd name="connsiteX3743" fmla="*/ 82790 w 939786"/>
                  <a:gd name="connsiteY3743" fmla="*/ 289016 h 840509"/>
                  <a:gd name="connsiteX3744" fmla="*/ 83143 w 939786"/>
                  <a:gd name="connsiteY3744" fmla="*/ 288751 h 840509"/>
                  <a:gd name="connsiteX3745" fmla="*/ 83760 w 939786"/>
                  <a:gd name="connsiteY3745" fmla="*/ 289016 h 840509"/>
                  <a:gd name="connsiteX3746" fmla="*/ 84025 w 939786"/>
                  <a:gd name="connsiteY3746" fmla="*/ 289016 h 840509"/>
                  <a:gd name="connsiteX3747" fmla="*/ 84289 w 939786"/>
                  <a:gd name="connsiteY3747" fmla="*/ 289016 h 840509"/>
                  <a:gd name="connsiteX3748" fmla="*/ 84554 w 939786"/>
                  <a:gd name="connsiteY3748" fmla="*/ 289016 h 840509"/>
                  <a:gd name="connsiteX3749" fmla="*/ 85171 w 939786"/>
                  <a:gd name="connsiteY3749" fmla="*/ 288751 h 840509"/>
                  <a:gd name="connsiteX3750" fmla="*/ 87463 w 939786"/>
                  <a:gd name="connsiteY3750" fmla="*/ 287605 h 840509"/>
                  <a:gd name="connsiteX3751" fmla="*/ 89491 w 939786"/>
                  <a:gd name="connsiteY3751" fmla="*/ 286459 h 840509"/>
                  <a:gd name="connsiteX3752" fmla="*/ 91519 w 939786"/>
                  <a:gd name="connsiteY3752" fmla="*/ 285842 h 840509"/>
                  <a:gd name="connsiteX3753" fmla="*/ 94164 w 939786"/>
                  <a:gd name="connsiteY3753" fmla="*/ 284696 h 840509"/>
                  <a:gd name="connsiteX3754" fmla="*/ 94429 w 939786"/>
                  <a:gd name="connsiteY3754" fmla="*/ 284696 h 840509"/>
                  <a:gd name="connsiteX3755" fmla="*/ 94693 w 939786"/>
                  <a:gd name="connsiteY3755" fmla="*/ 284431 h 840509"/>
                  <a:gd name="connsiteX3756" fmla="*/ 95310 w 939786"/>
                  <a:gd name="connsiteY3756" fmla="*/ 283550 h 840509"/>
                  <a:gd name="connsiteX3757" fmla="*/ 96192 w 939786"/>
                  <a:gd name="connsiteY3757" fmla="*/ 282932 h 840509"/>
                  <a:gd name="connsiteX3758" fmla="*/ 96809 w 939786"/>
                  <a:gd name="connsiteY3758" fmla="*/ 281786 h 840509"/>
                  <a:gd name="connsiteX3759" fmla="*/ 98837 w 939786"/>
                  <a:gd name="connsiteY3759" fmla="*/ 280023 h 840509"/>
                  <a:gd name="connsiteX3760" fmla="*/ 99101 w 939786"/>
                  <a:gd name="connsiteY3760" fmla="*/ 279758 h 840509"/>
                  <a:gd name="connsiteX3761" fmla="*/ 99983 w 939786"/>
                  <a:gd name="connsiteY3761" fmla="*/ 279141 h 840509"/>
                  <a:gd name="connsiteX3762" fmla="*/ 100247 w 939786"/>
                  <a:gd name="connsiteY3762" fmla="*/ 278877 h 840509"/>
                  <a:gd name="connsiteX3763" fmla="*/ 101394 w 939786"/>
                  <a:gd name="connsiteY3763" fmla="*/ 278612 h 840509"/>
                  <a:gd name="connsiteX3764" fmla="*/ 102540 w 939786"/>
                  <a:gd name="connsiteY3764" fmla="*/ 277995 h 840509"/>
                  <a:gd name="connsiteX3765" fmla="*/ 102893 w 939786"/>
                  <a:gd name="connsiteY3765" fmla="*/ 277995 h 840509"/>
                  <a:gd name="connsiteX3766" fmla="*/ 103157 w 939786"/>
                  <a:gd name="connsiteY3766" fmla="*/ 277730 h 840509"/>
                  <a:gd name="connsiteX3767" fmla="*/ 103510 w 939786"/>
                  <a:gd name="connsiteY3767" fmla="*/ 277466 h 840509"/>
                  <a:gd name="connsiteX3768" fmla="*/ 104127 w 939786"/>
                  <a:gd name="connsiteY3768" fmla="*/ 276584 h 840509"/>
                  <a:gd name="connsiteX3769" fmla="*/ 104744 w 939786"/>
                  <a:gd name="connsiteY3769" fmla="*/ 275438 h 840509"/>
                  <a:gd name="connsiteX3770" fmla="*/ 105273 w 939786"/>
                  <a:gd name="connsiteY3770" fmla="*/ 275173 h 840509"/>
                  <a:gd name="connsiteX3771" fmla="*/ 105890 w 939786"/>
                  <a:gd name="connsiteY3771" fmla="*/ 274292 h 840509"/>
                  <a:gd name="connsiteX3772" fmla="*/ 106155 w 939786"/>
                  <a:gd name="connsiteY3772" fmla="*/ 274027 h 840509"/>
                  <a:gd name="connsiteX3773" fmla="*/ 106419 w 939786"/>
                  <a:gd name="connsiteY3773" fmla="*/ 273763 h 840509"/>
                  <a:gd name="connsiteX3774" fmla="*/ 107037 w 939786"/>
                  <a:gd name="connsiteY3774" fmla="*/ 273498 h 840509"/>
                  <a:gd name="connsiteX3775" fmla="*/ 107918 w 939786"/>
                  <a:gd name="connsiteY3775" fmla="*/ 272881 h 840509"/>
                  <a:gd name="connsiteX3776" fmla="*/ 108448 w 939786"/>
                  <a:gd name="connsiteY3776" fmla="*/ 272881 h 840509"/>
                  <a:gd name="connsiteX3777" fmla="*/ 111092 w 939786"/>
                  <a:gd name="connsiteY3777" fmla="*/ 271735 h 840509"/>
                  <a:gd name="connsiteX3778" fmla="*/ 111445 w 939786"/>
                  <a:gd name="connsiteY3778" fmla="*/ 271471 h 840509"/>
                  <a:gd name="connsiteX3779" fmla="*/ 111710 w 939786"/>
                  <a:gd name="connsiteY3779" fmla="*/ 271471 h 840509"/>
                  <a:gd name="connsiteX3780" fmla="*/ 111974 w 939786"/>
                  <a:gd name="connsiteY3780" fmla="*/ 271206 h 840509"/>
                  <a:gd name="connsiteX3781" fmla="*/ 112239 w 939786"/>
                  <a:gd name="connsiteY3781" fmla="*/ 270589 h 840509"/>
                  <a:gd name="connsiteX3782" fmla="*/ 112856 w 939786"/>
                  <a:gd name="connsiteY3782" fmla="*/ 269707 h 840509"/>
                  <a:gd name="connsiteX3783" fmla="*/ 114355 w 939786"/>
                  <a:gd name="connsiteY3783" fmla="*/ 268825 h 840509"/>
                  <a:gd name="connsiteX3784" fmla="*/ 115501 w 939786"/>
                  <a:gd name="connsiteY3784" fmla="*/ 268561 h 840509"/>
                  <a:gd name="connsiteX3785" fmla="*/ 119292 w 939786"/>
                  <a:gd name="connsiteY3785" fmla="*/ 267415 h 840509"/>
                  <a:gd name="connsiteX3786" fmla="*/ 122202 w 939786"/>
                  <a:gd name="connsiteY3786" fmla="*/ 265651 h 840509"/>
                  <a:gd name="connsiteX3787" fmla="*/ 122466 w 939786"/>
                  <a:gd name="connsiteY3787" fmla="*/ 265387 h 840509"/>
                  <a:gd name="connsiteX3788" fmla="*/ 122731 w 939786"/>
                  <a:gd name="connsiteY3788" fmla="*/ 265387 h 840509"/>
                  <a:gd name="connsiteX3789" fmla="*/ 125023 w 939786"/>
                  <a:gd name="connsiteY3789" fmla="*/ 263359 h 840509"/>
                  <a:gd name="connsiteX3790" fmla="*/ 126522 w 939786"/>
                  <a:gd name="connsiteY3790" fmla="*/ 263359 h 840509"/>
                  <a:gd name="connsiteX3791" fmla="*/ 126522 w 939786"/>
                  <a:gd name="connsiteY3791" fmla="*/ 263623 h 840509"/>
                  <a:gd name="connsiteX3792" fmla="*/ 126522 w 939786"/>
                  <a:gd name="connsiteY3792" fmla="*/ 263888 h 840509"/>
                  <a:gd name="connsiteX3793" fmla="*/ 126786 w 939786"/>
                  <a:gd name="connsiteY3793" fmla="*/ 264152 h 840509"/>
                  <a:gd name="connsiteX3794" fmla="*/ 127139 w 939786"/>
                  <a:gd name="connsiteY3794" fmla="*/ 264770 h 840509"/>
                  <a:gd name="connsiteX3795" fmla="*/ 127403 w 939786"/>
                  <a:gd name="connsiteY3795" fmla="*/ 264770 h 840509"/>
                  <a:gd name="connsiteX3796" fmla="*/ 127932 w 939786"/>
                  <a:gd name="connsiteY3796" fmla="*/ 265034 h 840509"/>
                  <a:gd name="connsiteX3797" fmla="*/ 128285 w 939786"/>
                  <a:gd name="connsiteY3797" fmla="*/ 265034 h 840509"/>
                  <a:gd name="connsiteX3798" fmla="*/ 128550 w 939786"/>
                  <a:gd name="connsiteY3798" fmla="*/ 265034 h 840509"/>
                  <a:gd name="connsiteX3799" fmla="*/ 128814 w 939786"/>
                  <a:gd name="connsiteY3799" fmla="*/ 265034 h 840509"/>
                  <a:gd name="connsiteX3800" fmla="*/ 129079 w 939786"/>
                  <a:gd name="connsiteY3800" fmla="*/ 264770 h 840509"/>
                  <a:gd name="connsiteX3801" fmla="*/ 129343 w 939786"/>
                  <a:gd name="connsiteY3801" fmla="*/ 264505 h 840509"/>
                  <a:gd name="connsiteX3802" fmla="*/ 129608 w 939786"/>
                  <a:gd name="connsiteY3802" fmla="*/ 264505 h 840509"/>
                  <a:gd name="connsiteX3803" fmla="*/ 129872 w 939786"/>
                  <a:gd name="connsiteY3803" fmla="*/ 264241 h 840509"/>
                  <a:gd name="connsiteX3804" fmla="*/ 129872 w 939786"/>
                  <a:gd name="connsiteY3804" fmla="*/ 263976 h 840509"/>
                  <a:gd name="connsiteX3805" fmla="*/ 130754 w 939786"/>
                  <a:gd name="connsiteY3805" fmla="*/ 263359 h 840509"/>
                  <a:gd name="connsiteX3806" fmla="*/ 131900 w 939786"/>
                  <a:gd name="connsiteY3806" fmla="*/ 263094 h 840509"/>
                  <a:gd name="connsiteX3807" fmla="*/ 132164 w 939786"/>
                  <a:gd name="connsiteY3807" fmla="*/ 262742 h 840509"/>
                  <a:gd name="connsiteX3808" fmla="*/ 132429 w 939786"/>
                  <a:gd name="connsiteY3808" fmla="*/ 262742 h 840509"/>
                  <a:gd name="connsiteX3809" fmla="*/ 134457 w 939786"/>
                  <a:gd name="connsiteY3809" fmla="*/ 263359 h 840509"/>
                  <a:gd name="connsiteX3810" fmla="*/ 134457 w 939786"/>
                  <a:gd name="connsiteY3810" fmla="*/ 263623 h 840509"/>
                  <a:gd name="connsiteX3811" fmla="*/ 134722 w 939786"/>
                  <a:gd name="connsiteY3811" fmla="*/ 264241 h 840509"/>
                  <a:gd name="connsiteX3812" fmla="*/ 134986 w 939786"/>
                  <a:gd name="connsiteY3812" fmla="*/ 264241 h 840509"/>
                  <a:gd name="connsiteX3813" fmla="*/ 134986 w 939786"/>
                  <a:gd name="connsiteY3813" fmla="*/ 264505 h 840509"/>
                  <a:gd name="connsiteX3814" fmla="*/ 136132 w 939786"/>
                  <a:gd name="connsiteY3814" fmla="*/ 265122 h 840509"/>
                  <a:gd name="connsiteX3815" fmla="*/ 136397 w 939786"/>
                  <a:gd name="connsiteY3815" fmla="*/ 265122 h 840509"/>
                  <a:gd name="connsiteX3816" fmla="*/ 136749 w 939786"/>
                  <a:gd name="connsiteY3816" fmla="*/ 265122 h 840509"/>
                  <a:gd name="connsiteX3817" fmla="*/ 137014 w 939786"/>
                  <a:gd name="connsiteY3817" fmla="*/ 265387 h 840509"/>
                  <a:gd name="connsiteX3818" fmla="*/ 137278 w 939786"/>
                  <a:gd name="connsiteY3818" fmla="*/ 265387 h 840509"/>
                  <a:gd name="connsiteX3819" fmla="*/ 137543 w 939786"/>
                  <a:gd name="connsiteY3819" fmla="*/ 265387 h 840509"/>
                  <a:gd name="connsiteX3820" fmla="*/ 137807 w 939786"/>
                  <a:gd name="connsiteY3820" fmla="*/ 265387 h 840509"/>
                  <a:gd name="connsiteX3821" fmla="*/ 138689 w 939786"/>
                  <a:gd name="connsiteY3821" fmla="*/ 265387 h 840509"/>
                  <a:gd name="connsiteX3822" fmla="*/ 138953 w 939786"/>
                  <a:gd name="connsiteY3822" fmla="*/ 265387 h 840509"/>
                  <a:gd name="connsiteX3823" fmla="*/ 139218 w 939786"/>
                  <a:gd name="connsiteY3823" fmla="*/ 265387 h 840509"/>
                  <a:gd name="connsiteX3824" fmla="*/ 140717 w 939786"/>
                  <a:gd name="connsiteY3824" fmla="*/ 265122 h 840509"/>
                  <a:gd name="connsiteX3825" fmla="*/ 145125 w 939786"/>
                  <a:gd name="connsiteY3825" fmla="*/ 264241 h 840509"/>
                  <a:gd name="connsiteX3826" fmla="*/ 145390 w 939786"/>
                  <a:gd name="connsiteY3826" fmla="*/ 263976 h 840509"/>
                  <a:gd name="connsiteX3827" fmla="*/ 146536 w 939786"/>
                  <a:gd name="connsiteY3827" fmla="*/ 263712 h 840509"/>
                  <a:gd name="connsiteX3828" fmla="*/ 148564 w 939786"/>
                  <a:gd name="connsiteY3828" fmla="*/ 262830 h 840509"/>
                  <a:gd name="connsiteX3829" fmla="*/ 148917 w 939786"/>
                  <a:gd name="connsiteY3829" fmla="*/ 262565 h 840509"/>
                  <a:gd name="connsiteX3830" fmla="*/ 149269 w 939786"/>
                  <a:gd name="connsiteY3830" fmla="*/ 262565 h 840509"/>
                  <a:gd name="connsiteX3831" fmla="*/ 151032 w 939786"/>
                  <a:gd name="connsiteY3831" fmla="*/ 261419 h 840509"/>
                  <a:gd name="connsiteX3832" fmla="*/ 151032 w 939786"/>
                  <a:gd name="connsiteY3832" fmla="*/ 261155 h 840509"/>
                  <a:gd name="connsiteX3833" fmla="*/ 151297 w 939786"/>
                  <a:gd name="connsiteY3833" fmla="*/ 260890 h 840509"/>
                  <a:gd name="connsiteX3834" fmla="*/ 151297 w 939786"/>
                  <a:gd name="connsiteY3834" fmla="*/ 260537 h 840509"/>
                  <a:gd name="connsiteX3835" fmla="*/ 153061 w 939786"/>
                  <a:gd name="connsiteY3835" fmla="*/ 259039 h 840509"/>
                  <a:gd name="connsiteX3836" fmla="*/ 154824 w 939786"/>
                  <a:gd name="connsiteY3836" fmla="*/ 257540 h 840509"/>
                  <a:gd name="connsiteX3837" fmla="*/ 156323 w 939786"/>
                  <a:gd name="connsiteY3837" fmla="*/ 256394 h 840509"/>
                  <a:gd name="connsiteX3838" fmla="*/ 156587 w 939786"/>
                  <a:gd name="connsiteY3838" fmla="*/ 256394 h 840509"/>
                  <a:gd name="connsiteX3839" fmla="*/ 157204 w 939786"/>
                  <a:gd name="connsiteY3839" fmla="*/ 256129 h 840509"/>
                  <a:gd name="connsiteX3840" fmla="*/ 157557 w 939786"/>
                  <a:gd name="connsiteY3840" fmla="*/ 255865 h 840509"/>
                  <a:gd name="connsiteX3841" fmla="*/ 157557 w 939786"/>
                  <a:gd name="connsiteY3841" fmla="*/ 256129 h 840509"/>
                  <a:gd name="connsiteX3842" fmla="*/ 157557 w 939786"/>
                  <a:gd name="connsiteY3842" fmla="*/ 256394 h 840509"/>
                  <a:gd name="connsiteX3843" fmla="*/ 157557 w 939786"/>
                  <a:gd name="connsiteY3843" fmla="*/ 256746 h 840509"/>
                  <a:gd name="connsiteX3844" fmla="*/ 157822 w 939786"/>
                  <a:gd name="connsiteY3844" fmla="*/ 256746 h 840509"/>
                  <a:gd name="connsiteX3845" fmla="*/ 158439 w 939786"/>
                  <a:gd name="connsiteY3845" fmla="*/ 256746 h 840509"/>
                  <a:gd name="connsiteX3846" fmla="*/ 162230 w 939786"/>
                  <a:gd name="connsiteY3846" fmla="*/ 256129 h 840509"/>
                  <a:gd name="connsiteX3847" fmla="*/ 165404 w 939786"/>
                  <a:gd name="connsiteY3847" fmla="*/ 255600 h 840509"/>
                  <a:gd name="connsiteX3848" fmla="*/ 167432 w 939786"/>
                  <a:gd name="connsiteY3848" fmla="*/ 255600 h 840509"/>
                  <a:gd name="connsiteX3849" fmla="*/ 167696 w 939786"/>
                  <a:gd name="connsiteY3849" fmla="*/ 255600 h 840509"/>
                  <a:gd name="connsiteX3850" fmla="*/ 168049 w 939786"/>
                  <a:gd name="connsiteY3850" fmla="*/ 255600 h 840509"/>
                  <a:gd name="connsiteX3851" fmla="*/ 170959 w 939786"/>
                  <a:gd name="connsiteY3851" fmla="*/ 254454 h 840509"/>
                  <a:gd name="connsiteX3852" fmla="*/ 171576 w 939786"/>
                  <a:gd name="connsiteY3852" fmla="*/ 254190 h 840509"/>
                  <a:gd name="connsiteX3853" fmla="*/ 174750 w 939786"/>
                  <a:gd name="connsiteY3853" fmla="*/ 250398 h 840509"/>
                  <a:gd name="connsiteX3854" fmla="*/ 175015 w 939786"/>
                  <a:gd name="connsiteY3854" fmla="*/ 250398 h 840509"/>
                  <a:gd name="connsiteX3855" fmla="*/ 175279 w 939786"/>
                  <a:gd name="connsiteY3855" fmla="*/ 249869 h 840509"/>
                  <a:gd name="connsiteX3856" fmla="*/ 175544 w 939786"/>
                  <a:gd name="connsiteY3856" fmla="*/ 248987 h 840509"/>
                  <a:gd name="connsiteX3857" fmla="*/ 175808 w 939786"/>
                  <a:gd name="connsiteY3857" fmla="*/ 248635 h 840509"/>
                  <a:gd name="connsiteX3858" fmla="*/ 175808 w 939786"/>
                  <a:gd name="connsiteY3858" fmla="*/ 248370 h 840509"/>
                  <a:gd name="connsiteX3859" fmla="*/ 178188 w 939786"/>
                  <a:gd name="connsiteY3859" fmla="*/ 246607 h 840509"/>
                  <a:gd name="connsiteX3860" fmla="*/ 178453 w 939786"/>
                  <a:gd name="connsiteY3860" fmla="*/ 246607 h 840509"/>
                  <a:gd name="connsiteX3861" fmla="*/ 180216 w 939786"/>
                  <a:gd name="connsiteY3861" fmla="*/ 246342 h 840509"/>
                  <a:gd name="connsiteX3862" fmla="*/ 180833 w 939786"/>
                  <a:gd name="connsiteY3862" fmla="*/ 246607 h 840509"/>
                  <a:gd name="connsiteX3863" fmla="*/ 184272 w 939786"/>
                  <a:gd name="connsiteY3863" fmla="*/ 247489 h 840509"/>
                  <a:gd name="connsiteX3864" fmla="*/ 185771 w 939786"/>
                  <a:gd name="connsiteY3864" fmla="*/ 247753 h 840509"/>
                  <a:gd name="connsiteX3865" fmla="*/ 187799 w 939786"/>
                  <a:gd name="connsiteY3865" fmla="*/ 249252 h 840509"/>
                  <a:gd name="connsiteX3866" fmla="*/ 188063 w 939786"/>
                  <a:gd name="connsiteY3866" fmla="*/ 249252 h 840509"/>
                  <a:gd name="connsiteX3867" fmla="*/ 188328 w 939786"/>
                  <a:gd name="connsiteY3867" fmla="*/ 249252 h 840509"/>
                  <a:gd name="connsiteX3868" fmla="*/ 188681 w 939786"/>
                  <a:gd name="connsiteY3868" fmla="*/ 249252 h 840509"/>
                  <a:gd name="connsiteX3869" fmla="*/ 188945 w 939786"/>
                  <a:gd name="connsiteY3869" fmla="*/ 249252 h 840509"/>
                  <a:gd name="connsiteX3870" fmla="*/ 191237 w 939786"/>
                  <a:gd name="connsiteY3870" fmla="*/ 248106 h 840509"/>
                  <a:gd name="connsiteX3871" fmla="*/ 191854 w 939786"/>
                  <a:gd name="connsiteY3871" fmla="*/ 247489 h 840509"/>
                  <a:gd name="connsiteX3872" fmla="*/ 193353 w 939786"/>
                  <a:gd name="connsiteY3872" fmla="*/ 246960 h 840509"/>
                  <a:gd name="connsiteX3873" fmla="*/ 198644 w 939786"/>
                  <a:gd name="connsiteY3873" fmla="*/ 245813 h 840509"/>
                  <a:gd name="connsiteX3874" fmla="*/ 201553 w 939786"/>
                  <a:gd name="connsiteY3874" fmla="*/ 245549 h 840509"/>
                  <a:gd name="connsiteX3875" fmla="*/ 201818 w 939786"/>
                  <a:gd name="connsiteY3875" fmla="*/ 245549 h 840509"/>
                  <a:gd name="connsiteX3876" fmla="*/ 202699 w 939786"/>
                  <a:gd name="connsiteY3876" fmla="*/ 245549 h 840509"/>
                  <a:gd name="connsiteX3877" fmla="*/ 203316 w 939786"/>
                  <a:gd name="connsiteY3877" fmla="*/ 245285 h 840509"/>
                  <a:gd name="connsiteX3878" fmla="*/ 203581 w 939786"/>
                  <a:gd name="connsiteY3878" fmla="*/ 245285 h 840509"/>
                  <a:gd name="connsiteX3879" fmla="*/ 205345 w 939786"/>
                  <a:gd name="connsiteY3879" fmla="*/ 244667 h 840509"/>
                  <a:gd name="connsiteX3880" fmla="*/ 205962 w 939786"/>
                  <a:gd name="connsiteY3880" fmla="*/ 244315 h 840509"/>
                  <a:gd name="connsiteX3881" fmla="*/ 210899 w 939786"/>
                  <a:gd name="connsiteY3881" fmla="*/ 242287 h 840509"/>
                  <a:gd name="connsiteX3882" fmla="*/ 218217 w 939786"/>
                  <a:gd name="connsiteY3882" fmla="*/ 239377 h 840509"/>
                  <a:gd name="connsiteX3883" fmla="*/ 219099 w 939786"/>
                  <a:gd name="connsiteY3883" fmla="*/ 238848 h 840509"/>
                  <a:gd name="connsiteX3884" fmla="*/ 220862 w 939786"/>
                  <a:gd name="connsiteY3884" fmla="*/ 237966 h 840509"/>
                  <a:gd name="connsiteX3885" fmla="*/ 221126 w 939786"/>
                  <a:gd name="connsiteY3885" fmla="*/ 237966 h 840509"/>
                  <a:gd name="connsiteX3886" fmla="*/ 221744 w 939786"/>
                  <a:gd name="connsiteY3886" fmla="*/ 237437 h 840509"/>
                  <a:gd name="connsiteX3887" fmla="*/ 222890 w 939786"/>
                  <a:gd name="connsiteY3887" fmla="*/ 236556 h 840509"/>
                  <a:gd name="connsiteX3888" fmla="*/ 224036 w 939786"/>
                  <a:gd name="connsiteY3888" fmla="*/ 235674 h 840509"/>
                  <a:gd name="connsiteX3889" fmla="*/ 224300 w 939786"/>
                  <a:gd name="connsiteY3889" fmla="*/ 235674 h 840509"/>
                  <a:gd name="connsiteX3890" fmla="*/ 226329 w 939786"/>
                  <a:gd name="connsiteY3890" fmla="*/ 234175 h 840509"/>
                  <a:gd name="connsiteX3891" fmla="*/ 226593 w 939786"/>
                  <a:gd name="connsiteY3891" fmla="*/ 233911 h 840509"/>
                  <a:gd name="connsiteX3892" fmla="*/ 226858 w 939786"/>
                  <a:gd name="connsiteY3892" fmla="*/ 233558 h 840509"/>
                  <a:gd name="connsiteX3893" fmla="*/ 228004 w 939786"/>
                  <a:gd name="connsiteY3893" fmla="*/ 232676 h 840509"/>
                  <a:gd name="connsiteX3894" fmla="*/ 229150 w 939786"/>
                  <a:gd name="connsiteY3894" fmla="*/ 231178 h 840509"/>
                  <a:gd name="connsiteX3895" fmla="*/ 229414 w 939786"/>
                  <a:gd name="connsiteY3895" fmla="*/ 230913 h 840509"/>
                  <a:gd name="connsiteX3896" fmla="*/ 233470 w 939786"/>
                  <a:gd name="connsiteY3896" fmla="*/ 225623 h 840509"/>
                  <a:gd name="connsiteX3897" fmla="*/ 234087 w 939786"/>
                  <a:gd name="connsiteY3897" fmla="*/ 225094 h 840509"/>
                  <a:gd name="connsiteX3898" fmla="*/ 235498 w 939786"/>
                  <a:gd name="connsiteY3898" fmla="*/ 222449 h 840509"/>
                  <a:gd name="connsiteX3899" fmla="*/ 238143 w 939786"/>
                  <a:gd name="connsiteY3899" fmla="*/ 218041 h 840509"/>
                  <a:gd name="connsiteX3900" fmla="*/ 241670 w 939786"/>
                  <a:gd name="connsiteY3900" fmla="*/ 214249 h 840509"/>
                  <a:gd name="connsiteX3901" fmla="*/ 242022 w 939786"/>
                  <a:gd name="connsiteY3901" fmla="*/ 213985 h 840509"/>
                  <a:gd name="connsiteX3902" fmla="*/ 242022 w 939786"/>
                  <a:gd name="connsiteY3902" fmla="*/ 213720 h 840509"/>
                  <a:gd name="connsiteX3903" fmla="*/ 242022 w 939786"/>
                  <a:gd name="connsiteY3903" fmla="*/ 213456 h 840509"/>
                  <a:gd name="connsiteX3904" fmla="*/ 242022 w 939786"/>
                  <a:gd name="connsiteY3904" fmla="*/ 213191 h 840509"/>
                  <a:gd name="connsiteX3905" fmla="*/ 242022 w 939786"/>
                  <a:gd name="connsiteY3905" fmla="*/ 212927 h 840509"/>
                  <a:gd name="connsiteX3906" fmla="*/ 241670 w 939786"/>
                  <a:gd name="connsiteY3906" fmla="*/ 212927 h 840509"/>
                  <a:gd name="connsiteX3907" fmla="*/ 242022 w 939786"/>
                  <a:gd name="connsiteY3907" fmla="*/ 211780 h 840509"/>
                  <a:gd name="connsiteX3908" fmla="*/ 243169 w 939786"/>
                  <a:gd name="connsiteY3908" fmla="*/ 210017 h 840509"/>
                  <a:gd name="connsiteX3909" fmla="*/ 243433 w 939786"/>
                  <a:gd name="connsiteY3909" fmla="*/ 209400 h 840509"/>
                  <a:gd name="connsiteX3910" fmla="*/ 243786 w 939786"/>
                  <a:gd name="connsiteY3910" fmla="*/ 209400 h 840509"/>
                  <a:gd name="connsiteX3911" fmla="*/ 244050 w 939786"/>
                  <a:gd name="connsiteY3911" fmla="*/ 209400 h 840509"/>
                  <a:gd name="connsiteX3912" fmla="*/ 244315 w 939786"/>
                  <a:gd name="connsiteY3912" fmla="*/ 209664 h 840509"/>
                  <a:gd name="connsiteX3913" fmla="*/ 244932 w 939786"/>
                  <a:gd name="connsiteY3913" fmla="*/ 209664 h 840509"/>
                  <a:gd name="connsiteX3914" fmla="*/ 245196 w 939786"/>
                  <a:gd name="connsiteY3914" fmla="*/ 209664 h 840509"/>
                  <a:gd name="connsiteX3915" fmla="*/ 246342 w 939786"/>
                  <a:gd name="connsiteY3915" fmla="*/ 209047 h 840509"/>
                  <a:gd name="connsiteX3916" fmla="*/ 247489 w 939786"/>
                  <a:gd name="connsiteY3916" fmla="*/ 208166 h 840509"/>
                  <a:gd name="connsiteX3917" fmla="*/ 248018 w 939786"/>
                  <a:gd name="connsiteY3917" fmla="*/ 207813 h 840509"/>
                  <a:gd name="connsiteX3918" fmla="*/ 248282 w 939786"/>
                  <a:gd name="connsiteY3918" fmla="*/ 207548 h 840509"/>
                  <a:gd name="connsiteX3919" fmla="*/ 248282 w 939786"/>
                  <a:gd name="connsiteY3919" fmla="*/ 207284 h 840509"/>
                  <a:gd name="connsiteX3920" fmla="*/ 248900 w 939786"/>
                  <a:gd name="connsiteY3920" fmla="*/ 206755 h 840509"/>
                  <a:gd name="connsiteX3921" fmla="*/ 249517 w 939786"/>
                  <a:gd name="connsiteY3921" fmla="*/ 205873 h 840509"/>
                  <a:gd name="connsiteX3922" fmla="*/ 249781 w 939786"/>
                  <a:gd name="connsiteY3922" fmla="*/ 205873 h 840509"/>
                  <a:gd name="connsiteX3923" fmla="*/ 250398 w 939786"/>
                  <a:gd name="connsiteY3923" fmla="*/ 205609 h 840509"/>
                  <a:gd name="connsiteX3924" fmla="*/ 250751 w 939786"/>
                  <a:gd name="connsiteY3924" fmla="*/ 205256 h 840509"/>
                  <a:gd name="connsiteX3925" fmla="*/ 251016 w 939786"/>
                  <a:gd name="connsiteY3925" fmla="*/ 204991 h 840509"/>
                  <a:gd name="connsiteX3926" fmla="*/ 255424 w 939786"/>
                  <a:gd name="connsiteY3926" fmla="*/ 201729 h 840509"/>
                  <a:gd name="connsiteX3927" fmla="*/ 255688 w 939786"/>
                  <a:gd name="connsiteY3927" fmla="*/ 201729 h 840509"/>
                  <a:gd name="connsiteX3928" fmla="*/ 256306 w 939786"/>
                  <a:gd name="connsiteY3928" fmla="*/ 201200 h 840509"/>
                  <a:gd name="connsiteX3929" fmla="*/ 256570 w 939786"/>
                  <a:gd name="connsiteY3929" fmla="*/ 200583 h 840509"/>
                  <a:gd name="connsiteX3930" fmla="*/ 256835 w 939786"/>
                  <a:gd name="connsiteY3930" fmla="*/ 200319 h 840509"/>
                  <a:gd name="connsiteX3931" fmla="*/ 257099 w 939786"/>
                  <a:gd name="connsiteY3931" fmla="*/ 199701 h 840509"/>
                  <a:gd name="connsiteX3932" fmla="*/ 257099 w 939786"/>
                  <a:gd name="connsiteY3932" fmla="*/ 199084 h 840509"/>
                  <a:gd name="connsiteX3933" fmla="*/ 257099 w 939786"/>
                  <a:gd name="connsiteY3933" fmla="*/ 198820 h 840509"/>
                  <a:gd name="connsiteX3934" fmla="*/ 257099 w 939786"/>
                  <a:gd name="connsiteY3934" fmla="*/ 198203 h 840509"/>
                  <a:gd name="connsiteX3935" fmla="*/ 257099 w 939786"/>
                  <a:gd name="connsiteY3935" fmla="*/ 197938 h 840509"/>
                  <a:gd name="connsiteX3936" fmla="*/ 257099 w 939786"/>
                  <a:gd name="connsiteY3936" fmla="*/ 197674 h 840509"/>
                  <a:gd name="connsiteX3937" fmla="*/ 256835 w 939786"/>
                  <a:gd name="connsiteY3937" fmla="*/ 197409 h 840509"/>
                  <a:gd name="connsiteX3938" fmla="*/ 255071 w 939786"/>
                  <a:gd name="connsiteY3938" fmla="*/ 196880 h 840509"/>
                  <a:gd name="connsiteX3939" fmla="*/ 254454 w 939786"/>
                  <a:gd name="connsiteY3939" fmla="*/ 195381 h 840509"/>
                  <a:gd name="connsiteX3940" fmla="*/ 254454 w 939786"/>
                  <a:gd name="connsiteY3940" fmla="*/ 195028 h 840509"/>
                  <a:gd name="connsiteX3941" fmla="*/ 255071 w 939786"/>
                  <a:gd name="connsiteY3941" fmla="*/ 190620 h 840509"/>
                  <a:gd name="connsiteX3942" fmla="*/ 255071 w 939786"/>
                  <a:gd name="connsiteY3942" fmla="*/ 190356 h 840509"/>
                  <a:gd name="connsiteX3943" fmla="*/ 254807 w 939786"/>
                  <a:gd name="connsiteY3943" fmla="*/ 190091 h 840509"/>
                  <a:gd name="connsiteX3944" fmla="*/ 254807 w 939786"/>
                  <a:gd name="connsiteY3944" fmla="*/ 189827 h 840509"/>
                  <a:gd name="connsiteX3945" fmla="*/ 254807 w 939786"/>
                  <a:gd name="connsiteY3945" fmla="*/ 189474 h 840509"/>
                  <a:gd name="connsiteX3946" fmla="*/ 254454 w 939786"/>
                  <a:gd name="connsiteY3946" fmla="*/ 187711 h 840509"/>
                  <a:gd name="connsiteX3947" fmla="*/ 254454 w 939786"/>
                  <a:gd name="connsiteY3947" fmla="*/ 187446 h 840509"/>
                  <a:gd name="connsiteX3948" fmla="*/ 254454 w 939786"/>
                  <a:gd name="connsiteY3948" fmla="*/ 186829 h 840509"/>
                  <a:gd name="connsiteX3949" fmla="*/ 254454 w 939786"/>
                  <a:gd name="connsiteY3949" fmla="*/ 186212 h 840509"/>
                  <a:gd name="connsiteX3950" fmla="*/ 254454 w 939786"/>
                  <a:gd name="connsiteY3950" fmla="*/ 185683 h 840509"/>
                  <a:gd name="connsiteX3951" fmla="*/ 255336 w 939786"/>
                  <a:gd name="connsiteY3951" fmla="*/ 182156 h 840509"/>
                  <a:gd name="connsiteX3952" fmla="*/ 256482 w 939786"/>
                  <a:gd name="connsiteY3952" fmla="*/ 178982 h 840509"/>
                  <a:gd name="connsiteX3953" fmla="*/ 258510 w 939786"/>
                  <a:gd name="connsiteY3953" fmla="*/ 175808 h 840509"/>
                  <a:gd name="connsiteX3954" fmla="*/ 258775 w 939786"/>
                  <a:gd name="connsiteY3954" fmla="*/ 175808 h 840509"/>
                  <a:gd name="connsiteX3955" fmla="*/ 259392 w 939786"/>
                  <a:gd name="connsiteY3955" fmla="*/ 175191 h 840509"/>
                  <a:gd name="connsiteX3956" fmla="*/ 259392 w 939786"/>
                  <a:gd name="connsiteY3956" fmla="*/ 174926 h 840509"/>
                  <a:gd name="connsiteX3957" fmla="*/ 261419 w 939786"/>
                  <a:gd name="connsiteY3957" fmla="*/ 173515 h 840509"/>
                  <a:gd name="connsiteX3958" fmla="*/ 261684 w 939786"/>
                  <a:gd name="connsiteY3958" fmla="*/ 172898 h 840509"/>
                  <a:gd name="connsiteX3959" fmla="*/ 262301 w 939786"/>
                  <a:gd name="connsiteY3959" fmla="*/ 172634 h 840509"/>
                  <a:gd name="connsiteX3960" fmla="*/ 263183 w 939786"/>
                  <a:gd name="connsiteY3960" fmla="*/ 172017 h 840509"/>
                  <a:gd name="connsiteX3961" fmla="*/ 263447 w 939786"/>
                  <a:gd name="connsiteY3961" fmla="*/ 172017 h 840509"/>
                  <a:gd name="connsiteX3962" fmla="*/ 264858 w 939786"/>
                  <a:gd name="connsiteY3962" fmla="*/ 172017 h 840509"/>
                  <a:gd name="connsiteX3963" fmla="*/ 266004 w 939786"/>
                  <a:gd name="connsiteY3963" fmla="*/ 172017 h 840509"/>
                  <a:gd name="connsiteX3964" fmla="*/ 266004 w 939786"/>
                  <a:gd name="connsiteY3964" fmla="*/ 171752 h 840509"/>
                  <a:gd name="connsiteX3965" fmla="*/ 265475 w 939786"/>
                  <a:gd name="connsiteY3965" fmla="*/ 169989 h 840509"/>
                  <a:gd name="connsiteX3966" fmla="*/ 265475 w 939786"/>
                  <a:gd name="connsiteY3966" fmla="*/ 169636 h 840509"/>
                  <a:gd name="connsiteX3967" fmla="*/ 265475 w 939786"/>
                  <a:gd name="connsiteY3967" fmla="*/ 169371 h 840509"/>
                  <a:gd name="connsiteX3968" fmla="*/ 265475 w 939786"/>
                  <a:gd name="connsiteY3968" fmla="*/ 169107 h 840509"/>
                  <a:gd name="connsiteX3969" fmla="*/ 266357 w 939786"/>
                  <a:gd name="connsiteY3969" fmla="*/ 167961 h 840509"/>
                  <a:gd name="connsiteX3970" fmla="*/ 266621 w 939786"/>
                  <a:gd name="connsiteY3970" fmla="*/ 167696 h 840509"/>
                  <a:gd name="connsiteX3971" fmla="*/ 266974 w 939786"/>
                  <a:gd name="connsiteY3971" fmla="*/ 167696 h 840509"/>
                  <a:gd name="connsiteX3972" fmla="*/ 267238 w 939786"/>
                  <a:gd name="connsiteY3972" fmla="*/ 167696 h 840509"/>
                  <a:gd name="connsiteX3973" fmla="*/ 267503 w 939786"/>
                  <a:gd name="connsiteY3973" fmla="*/ 167961 h 840509"/>
                  <a:gd name="connsiteX3974" fmla="*/ 267503 w 939786"/>
                  <a:gd name="connsiteY3974" fmla="*/ 168225 h 840509"/>
                  <a:gd name="connsiteX3975" fmla="*/ 267856 w 939786"/>
                  <a:gd name="connsiteY3975" fmla="*/ 168225 h 840509"/>
                  <a:gd name="connsiteX3976" fmla="*/ 268120 w 939786"/>
                  <a:gd name="connsiteY3976" fmla="*/ 168225 h 840509"/>
                  <a:gd name="connsiteX3977" fmla="*/ 269002 w 939786"/>
                  <a:gd name="connsiteY3977" fmla="*/ 167961 h 840509"/>
                  <a:gd name="connsiteX3978" fmla="*/ 270765 w 939786"/>
                  <a:gd name="connsiteY3978" fmla="*/ 167079 h 840509"/>
                  <a:gd name="connsiteX3979" fmla="*/ 271030 w 939786"/>
                  <a:gd name="connsiteY3979" fmla="*/ 166462 h 840509"/>
                  <a:gd name="connsiteX3980" fmla="*/ 270413 w 939786"/>
                  <a:gd name="connsiteY3980" fmla="*/ 165845 h 840509"/>
                  <a:gd name="connsiteX3981" fmla="*/ 270413 w 939786"/>
                  <a:gd name="connsiteY3981" fmla="*/ 165580 h 840509"/>
                  <a:gd name="connsiteX3982" fmla="*/ 271294 w 939786"/>
                  <a:gd name="connsiteY3982" fmla="*/ 163200 h 840509"/>
                  <a:gd name="connsiteX3983" fmla="*/ 271559 w 939786"/>
                  <a:gd name="connsiteY3983" fmla="*/ 162935 h 840509"/>
                  <a:gd name="connsiteX3984" fmla="*/ 271823 w 939786"/>
                  <a:gd name="connsiteY3984" fmla="*/ 162671 h 840509"/>
                  <a:gd name="connsiteX3985" fmla="*/ 272088 w 939786"/>
                  <a:gd name="connsiteY3985" fmla="*/ 162318 h 840509"/>
                  <a:gd name="connsiteX3986" fmla="*/ 272352 w 939786"/>
                  <a:gd name="connsiteY3986" fmla="*/ 162318 h 840509"/>
                  <a:gd name="connsiteX3987" fmla="*/ 272617 w 939786"/>
                  <a:gd name="connsiteY3987" fmla="*/ 162318 h 840509"/>
                  <a:gd name="connsiteX3988" fmla="*/ 272881 w 939786"/>
                  <a:gd name="connsiteY3988" fmla="*/ 162318 h 840509"/>
                  <a:gd name="connsiteX3989" fmla="*/ 273146 w 939786"/>
                  <a:gd name="connsiteY3989" fmla="*/ 162054 h 840509"/>
                  <a:gd name="connsiteX3990" fmla="*/ 274292 w 939786"/>
                  <a:gd name="connsiteY3990" fmla="*/ 160907 h 840509"/>
                  <a:gd name="connsiteX3991" fmla="*/ 274645 w 939786"/>
                  <a:gd name="connsiteY3991" fmla="*/ 160643 h 840509"/>
                  <a:gd name="connsiteX3992" fmla="*/ 274645 w 939786"/>
                  <a:gd name="connsiteY3992" fmla="*/ 160378 h 840509"/>
                  <a:gd name="connsiteX3993" fmla="*/ 274645 w 939786"/>
                  <a:gd name="connsiteY3993" fmla="*/ 159761 h 840509"/>
                  <a:gd name="connsiteX3994" fmla="*/ 274909 w 939786"/>
                  <a:gd name="connsiteY3994" fmla="*/ 159409 h 840509"/>
                  <a:gd name="connsiteX3995" fmla="*/ 274909 w 939786"/>
                  <a:gd name="connsiteY3995" fmla="*/ 159144 h 840509"/>
                  <a:gd name="connsiteX3996" fmla="*/ 275526 w 939786"/>
                  <a:gd name="connsiteY3996" fmla="*/ 158527 h 840509"/>
                  <a:gd name="connsiteX3997" fmla="*/ 277025 w 939786"/>
                  <a:gd name="connsiteY3997" fmla="*/ 157910 h 840509"/>
                  <a:gd name="connsiteX3998" fmla="*/ 278436 w 939786"/>
                  <a:gd name="connsiteY3998" fmla="*/ 159409 h 840509"/>
                  <a:gd name="connsiteX3999" fmla="*/ 278436 w 939786"/>
                  <a:gd name="connsiteY3999" fmla="*/ 159761 h 840509"/>
                  <a:gd name="connsiteX4000" fmla="*/ 278172 w 939786"/>
                  <a:gd name="connsiteY4000" fmla="*/ 159761 h 840509"/>
                  <a:gd name="connsiteX4001" fmla="*/ 277819 w 939786"/>
                  <a:gd name="connsiteY4001" fmla="*/ 160026 h 840509"/>
                  <a:gd name="connsiteX4002" fmla="*/ 277819 w 939786"/>
                  <a:gd name="connsiteY4002" fmla="*/ 160378 h 840509"/>
                  <a:gd name="connsiteX4003" fmla="*/ 277554 w 939786"/>
                  <a:gd name="connsiteY4003" fmla="*/ 160378 h 840509"/>
                  <a:gd name="connsiteX4004" fmla="*/ 277201 w 939786"/>
                  <a:gd name="connsiteY4004" fmla="*/ 160026 h 840509"/>
                  <a:gd name="connsiteX4005" fmla="*/ 276937 w 939786"/>
                  <a:gd name="connsiteY4005" fmla="*/ 160026 h 840509"/>
                  <a:gd name="connsiteX4006" fmla="*/ 276672 w 939786"/>
                  <a:gd name="connsiteY4006" fmla="*/ 160026 h 840509"/>
                  <a:gd name="connsiteX4007" fmla="*/ 276672 w 939786"/>
                  <a:gd name="connsiteY4007" fmla="*/ 160378 h 840509"/>
                  <a:gd name="connsiteX4008" fmla="*/ 275526 w 939786"/>
                  <a:gd name="connsiteY4008" fmla="*/ 162671 h 840509"/>
                  <a:gd name="connsiteX4009" fmla="*/ 275526 w 939786"/>
                  <a:gd name="connsiteY4009" fmla="*/ 162935 h 840509"/>
                  <a:gd name="connsiteX4010" fmla="*/ 275791 w 939786"/>
                  <a:gd name="connsiteY4010" fmla="*/ 163817 h 840509"/>
                  <a:gd name="connsiteX4011" fmla="*/ 276672 w 939786"/>
                  <a:gd name="connsiteY4011" fmla="*/ 164963 h 840509"/>
                  <a:gd name="connsiteX4012" fmla="*/ 277201 w 939786"/>
                  <a:gd name="connsiteY4012" fmla="*/ 165227 h 840509"/>
                  <a:gd name="connsiteX4013" fmla="*/ 277554 w 939786"/>
                  <a:gd name="connsiteY4013" fmla="*/ 165492 h 840509"/>
                  <a:gd name="connsiteX4014" fmla="*/ 278172 w 939786"/>
                  <a:gd name="connsiteY4014" fmla="*/ 166109 h 840509"/>
                  <a:gd name="connsiteX4015" fmla="*/ 278172 w 939786"/>
                  <a:gd name="connsiteY4015" fmla="*/ 167873 h 840509"/>
                  <a:gd name="connsiteX4016" fmla="*/ 279317 w 939786"/>
                  <a:gd name="connsiteY4016" fmla="*/ 171928 h 840509"/>
                  <a:gd name="connsiteX4017" fmla="*/ 280728 w 939786"/>
                  <a:gd name="connsiteY4017" fmla="*/ 176337 h 840509"/>
                  <a:gd name="connsiteX4018" fmla="*/ 281875 w 939786"/>
                  <a:gd name="connsiteY4018" fmla="*/ 179246 h 840509"/>
                  <a:gd name="connsiteX4019" fmla="*/ 282756 w 939786"/>
                  <a:gd name="connsiteY4019" fmla="*/ 181539 h 840509"/>
                  <a:gd name="connsiteX4020" fmla="*/ 283373 w 939786"/>
                  <a:gd name="connsiteY4020" fmla="*/ 183302 h 840509"/>
                  <a:gd name="connsiteX4021" fmla="*/ 284255 w 939786"/>
                  <a:gd name="connsiteY4021" fmla="*/ 185330 h 840509"/>
                  <a:gd name="connsiteX4022" fmla="*/ 284520 w 939786"/>
                  <a:gd name="connsiteY4022" fmla="*/ 185683 h 840509"/>
                  <a:gd name="connsiteX4023" fmla="*/ 284520 w 939786"/>
                  <a:gd name="connsiteY4023" fmla="*/ 185947 h 840509"/>
                  <a:gd name="connsiteX4024" fmla="*/ 284872 w 939786"/>
                  <a:gd name="connsiteY4024" fmla="*/ 187975 h 840509"/>
                  <a:gd name="connsiteX4025" fmla="*/ 284872 w 939786"/>
                  <a:gd name="connsiteY4025" fmla="*/ 187711 h 840509"/>
                  <a:gd name="connsiteX4026" fmla="*/ 285137 w 939786"/>
                  <a:gd name="connsiteY4026" fmla="*/ 187446 h 840509"/>
                  <a:gd name="connsiteX4027" fmla="*/ 285401 w 939786"/>
                  <a:gd name="connsiteY4027" fmla="*/ 185683 h 840509"/>
                  <a:gd name="connsiteX4028" fmla="*/ 285137 w 939786"/>
                  <a:gd name="connsiteY4028" fmla="*/ 184801 h 840509"/>
                  <a:gd name="connsiteX4029" fmla="*/ 285137 w 939786"/>
                  <a:gd name="connsiteY4029" fmla="*/ 184448 h 840509"/>
                  <a:gd name="connsiteX4030" fmla="*/ 285137 w 939786"/>
                  <a:gd name="connsiteY4030" fmla="*/ 184184 h 840509"/>
                  <a:gd name="connsiteX4031" fmla="*/ 285401 w 939786"/>
                  <a:gd name="connsiteY4031" fmla="*/ 182156 h 840509"/>
                  <a:gd name="connsiteX4032" fmla="*/ 287164 w 939786"/>
                  <a:gd name="connsiteY4032" fmla="*/ 178365 h 840509"/>
                  <a:gd name="connsiteX4033" fmla="*/ 287429 w 939786"/>
                  <a:gd name="connsiteY4033" fmla="*/ 178100 h 840509"/>
                  <a:gd name="connsiteX4034" fmla="*/ 286812 w 939786"/>
                  <a:gd name="connsiteY4034" fmla="*/ 175191 h 840509"/>
                  <a:gd name="connsiteX4035" fmla="*/ 286812 w 939786"/>
                  <a:gd name="connsiteY4035" fmla="*/ 174662 h 840509"/>
                  <a:gd name="connsiteX4036" fmla="*/ 286812 w 939786"/>
                  <a:gd name="connsiteY4036" fmla="*/ 174044 h 840509"/>
                  <a:gd name="connsiteX4037" fmla="*/ 287076 w 939786"/>
                  <a:gd name="connsiteY4037" fmla="*/ 174044 h 840509"/>
                  <a:gd name="connsiteX4038" fmla="*/ 287076 w 939786"/>
                  <a:gd name="connsiteY4038" fmla="*/ 173780 h 840509"/>
                  <a:gd name="connsiteX4039" fmla="*/ 287341 w 939786"/>
                  <a:gd name="connsiteY4039" fmla="*/ 173251 h 840509"/>
                  <a:gd name="connsiteX4040" fmla="*/ 287605 w 939786"/>
                  <a:gd name="connsiteY4040" fmla="*/ 172898 h 840509"/>
                  <a:gd name="connsiteX4041" fmla="*/ 288751 w 939786"/>
                  <a:gd name="connsiteY4041" fmla="*/ 172898 h 840509"/>
                  <a:gd name="connsiteX4042" fmla="*/ 289898 w 939786"/>
                  <a:gd name="connsiteY4042" fmla="*/ 174662 h 840509"/>
                  <a:gd name="connsiteX4043" fmla="*/ 290427 w 939786"/>
                  <a:gd name="connsiteY4043" fmla="*/ 175808 h 840509"/>
                  <a:gd name="connsiteX4044" fmla="*/ 290691 w 939786"/>
                  <a:gd name="connsiteY4044" fmla="*/ 176425 h 840509"/>
                  <a:gd name="connsiteX4045" fmla="*/ 290691 w 939786"/>
                  <a:gd name="connsiteY4045" fmla="*/ 176690 h 840509"/>
                  <a:gd name="connsiteX4046" fmla="*/ 291838 w 939786"/>
                  <a:gd name="connsiteY4046" fmla="*/ 178188 h 840509"/>
                  <a:gd name="connsiteX4047" fmla="*/ 292102 w 939786"/>
                  <a:gd name="connsiteY4047" fmla="*/ 178453 h 840509"/>
                  <a:gd name="connsiteX4048" fmla="*/ 292367 w 939786"/>
                  <a:gd name="connsiteY4048" fmla="*/ 178453 h 840509"/>
                  <a:gd name="connsiteX4049" fmla="*/ 292631 w 939786"/>
                  <a:gd name="connsiteY4049" fmla="*/ 178717 h 840509"/>
                  <a:gd name="connsiteX4050" fmla="*/ 292896 w 939786"/>
                  <a:gd name="connsiteY4050" fmla="*/ 178453 h 840509"/>
                  <a:gd name="connsiteX4051" fmla="*/ 293160 w 939786"/>
                  <a:gd name="connsiteY4051" fmla="*/ 178453 h 840509"/>
                  <a:gd name="connsiteX4052" fmla="*/ 293160 w 939786"/>
                  <a:gd name="connsiteY4052" fmla="*/ 178188 h 840509"/>
                  <a:gd name="connsiteX4053" fmla="*/ 292543 w 939786"/>
                  <a:gd name="connsiteY4053" fmla="*/ 177924 h 840509"/>
                  <a:gd name="connsiteX4054" fmla="*/ 292278 w 939786"/>
                  <a:gd name="connsiteY4054" fmla="*/ 177924 h 840509"/>
                  <a:gd name="connsiteX4055" fmla="*/ 291661 w 939786"/>
                  <a:gd name="connsiteY4055" fmla="*/ 176778 h 840509"/>
                  <a:gd name="connsiteX4056" fmla="*/ 291661 w 939786"/>
                  <a:gd name="connsiteY4056" fmla="*/ 176513 h 840509"/>
                  <a:gd name="connsiteX4057" fmla="*/ 291661 w 939786"/>
                  <a:gd name="connsiteY4057" fmla="*/ 176249 h 840509"/>
                  <a:gd name="connsiteX4058" fmla="*/ 291397 w 939786"/>
                  <a:gd name="connsiteY4058" fmla="*/ 174221 h 840509"/>
                  <a:gd name="connsiteX4059" fmla="*/ 291397 w 939786"/>
                  <a:gd name="connsiteY4059" fmla="*/ 173339 h 840509"/>
                  <a:gd name="connsiteX4060" fmla="*/ 291397 w 939786"/>
                  <a:gd name="connsiteY4060" fmla="*/ 172986 h 840509"/>
                  <a:gd name="connsiteX4061" fmla="*/ 292543 w 939786"/>
                  <a:gd name="connsiteY4061" fmla="*/ 171840 h 840509"/>
                  <a:gd name="connsiteX4062" fmla="*/ 294042 w 939786"/>
                  <a:gd name="connsiteY4062" fmla="*/ 170694 h 840509"/>
                  <a:gd name="connsiteX4063" fmla="*/ 293425 w 939786"/>
                  <a:gd name="connsiteY4063" fmla="*/ 170077 h 840509"/>
                  <a:gd name="connsiteX4064" fmla="*/ 291661 w 939786"/>
                  <a:gd name="connsiteY4064" fmla="*/ 170694 h 840509"/>
                  <a:gd name="connsiteX4065" fmla="*/ 291397 w 939786"/>
                  <a:gd name="connsiteY4065" fmla="*/ 170694 h 840509"/>
                  <a:gd name="connsiteX4066" fmla="*/ 291132 w 939786"/>
                  <a:gd name="connsiteY4066" fmla="*/ 170341 h 840509"/>
                  <a:gd name="connsiteX4067" fmla="*/ 291132 w 939786"/>
                  <a:gd name="connsiteY4067" fmla="*/ 170077 h 840509"/>
                  <a:gd name="connsiteX4068" fmla="*/ 290515 w 939786"/>
                  <a:gd name="connsiteY4068" fmla="*/ 168049 h 840509"/>
                  <a:gd name="connsiteX4069" fmla="*/ 288751 w 939786"/>
                  <a:gd name="connsiteY4069" fmla="*/ 165139 h 840509"/>
                  <a:gd name="connsiteX4070" fmla="*/ 289369 w 939786"/>
                  <a:gd name="connsiteY4070" fmla="*/ 162494 h 840509"/>
                  <a:gd name="connsiteX4071" fmla="*/ 287870 w 939786"/>
                  <a:gd name="connsiteY4071" fmla="*/ 162494 h 840509"/>
                  <a:gd name="connsiteX4072" fmla="*/ 286989 w 939786"/>
                  <a:gd name="connsiteY4072" fmla="*/ 162494 h 840509"/>
                  <a:gd name="connsiteX4073" fmla="*/ 286724 w 939786"/>
                  <a:gd name="connsiteY4073" fmla="*/ 162494 h 840509"/>
                  <a:gd name="connsiteX4074" fmla="*/ 286195 w 939786"/>
                  <a:gd name="connsiteY4074" fmla="*/ 161613 h 840509"/>
                  <a:gd name="connsiteX4075" fmla="*/ 285578 w 939786"/>
                  <a:gd name="connsiteY4075" fmla="*/ 160996 h 840509"/>
                  <a:gd name="connsiteX4076" fmla="*/ 285578 w 939786"/>
                  <a:gd name="connsiteY4076" fmla="*/ 160731 h 840509"/>
                  <a:gd name="connsiteX4077" fmla="*/ 286989 w 939786"/>
                  <a:gd name="connsiteY4077" fmla="*/ 160731 h 840509"/>
                  <a:gd name="connsiteX4078" fmla="*/ 288487 w 939786"/>
                  <a:gd name="connsiteY4078" fmla="*/ 160996 h 840509"/>
                  <a:gd name="connsiteX4079" fmla="*/ 289369 w 939786"/>
                  <a:gd name="connsiteY4079" fmla="*/ 161613 h 840509"/>
                  <a:gd name="connsiteX4080" fmla="*/ 289722 w 939786"/>
                  <a:gd name="connsiteY4080" fmla="*/ 161613 h 840509"/>
                  <a:gd name="connsiteX4081" fmla="*/ 289986 w 939786"/>
                  <a:gd name="connsiteY4081" fmla="*/ 161613 h 840509"/>
                  <a:gd name="connsiteX4082" fmla="*/ 292014 w 939786"/>
                  <a:gd name="connsiteY4082" fmla="*/ 158968 h 840509"/>
                  <a:gd name="connsiteX4083" fmla="*/ 292278 w 939786"/>
                  <a:gd name="connsiteY4083" fmla="*/ 157821 h 840509"/>
                  <a:gd name="connsiteX4084" fmla="*/ 292278 w 939786"/>
                  <a:gd name="connsiteY4084" fmla="*/ 156940 h 840509"/>
                  <a:gd name="connsiteX4085" fmla="*/ 292014 w 939786"/>
                  <a:gd name="connsiteY4085" fmla="*/ 156675 h 840509"/>
                  <a:gd name="connsiteX4086" fmla="*/ 291749 w 939786"/>
                  <a:gd name="connsiteY4086" fmla="*/ 156675 h 840509"/>
                  <a:gd name="connsiteX4087" fmla="*/ 291485 w 939786"/>
                  <a:gd name="connsiteY4087" fmla="*/ 156675 h 840509"/>
                  <a:gd name="connsiteX4088" fmla="*/ 290074 w 939786"/>
                  <a:gd name="connsiteY4088" fmla="*/ 156411 h 840509"/>
                  <a:gd name="connsiteX4089" fmla="*/ 289809 w 939786"/>
                  <a:gd name="connsiteY4089" fmla="*/ 156146 h 840509"/>
                  <a:gd name="connsiteX4090" fmla="*/ 289457 w 939786"/>
                  <a:gd name="connsiteY4090" fmla="*/ 155529 h 840509"/>
                  <a:gd name="connsiteX4091" fmla="*/ 289457 w 939786"/>
                  <a:gd name="connsiteY4091" fmla="*/ 153501 h 840509"/>
                  <a:gd name="connsiteX4092" fmla="*/ 289809 w 939786"/>
                  <a:gd name="connsiteY4092" fmla="*/ 153237 h 840509"/>
                  <a:gd name="connsiteX4093" fmla="*/ 290074 w 939786"/>
                  <a:gd name="connsiteY4093" fmla="*/ 152972 h 840509"/>
                  <a:gd name="connsiteX4094" fmla="*/ 290074 w 939786"/>
                  <a:gd name="connsiteY4094" fmla="*/ 152708 h 840509"/>
                  <a:gd name="connsiteX4095" fmla="*/ 290603 w 939786"/>
                  <a:gd name="connsiteY4095" fmla="*/ 152443 h 840509"/>
                  <a:gd name="connsiteX4096" fmla="*/ 290867 w 939786"/>
                  <a:gd name="connsiteY4096" fmla="*/ 152443 h 840509"/>
                  <a:gd name="connsiteX4097" fmla="*/ 293513 w 939786"/>
                  <a:gd name="connsiteY4097" fmla="*/ 151826 h 840509"/>
                  <a:gd name="connsiteX4098" fmla="*/ 294923 w 939786"/>
                  <a:gd name="connsiteY4098" fmla="*/ 153237 h 840509"/>
                  <a:gd name="connsiteX4099" fmla="*/ 294923 w 939786"/>
                  <a:gd name="connsiteY4099" fmla="*/ 153501 h 840509"/>
                  <a:gd name="connsiteX4100" fmla="*/ 294306 w 939786"/>
                  <a:gd name="connsiteY4100" fmla="*/ 154647 h 840509"/>
                  <a:gd name="connsiteX4101" fmla="*/ 293160 w 939786"/>
                  <a:gd name="connsiteY4101" fmla="*/ 154647 h 840509"/>
                  <a:gd name="connsiteX4102" fmla="*/ 293160 w 939786"/>
                  <a:gd name="connsiteY4102" fmla="*/ 155000 h 840509"/>
                  <a:gd name="connsiteX4103" fmla="*/ 294923 w 939786"/>
                  <a:gd name="connsiteY4103" fmla="*/ 157645 h 840509"/>
                  <a:gd name="connsiteX4104" fmla="*/ 296070 w 939786"/>
                  <a:gd name="connsiteY4104" fmla="*/ 157910 h 840509"/>
                  <a:gd name="connsiteX4105" fmla="*/ 296070 w 939786"/>
                  <a:gd name="connsiteY4105" fmla="*/ 157028 h 840509"/>
                  <a:gd name="connsiteX4106" fmla="*/ 296334 w 939786"/>
                  <a:gd name="connsiteY4106" fmla="*/ 156763 h 840509"/>
                  <a:gd name="connsiteX4107" fmla="*/ 298097 w 939786"/>
                  <a:gd name="connsiteY4107" fmla="*/ 154735 h 840509"/>
                  <a:gd name="connsiteX4108" fmla="*/ 300390 w 939786"/>
                  <a:gd name="connsiteY4108" fmla="*/ 155088 h 840509"/>
                  <a:gd name="connsiteX4109" fmla="*/ 300743 w 939786"/>
                  <a:gd name="connsiteY4109" fmla="*/ 155088 h 840509"/>
                  <a:gd name="connsiteX4110" fmla="*/ 301359 w 939786"/>
                  <a:gd name="connsiteY4110" fmla="*/ 155353 h 840509"/>
                  <a:gd name="connsiteX4111" fmla="*/ 301712 w 939786"/>
                  <a:gd name="connsiteY4111" fmla="*/ 155617 h 840509"/>
                  <a:gd name="connsiteX4112" fmla="*/ 302241 w 939786"/>
                  <a:gd name="connsiteY4112" fmla="*/ 155882 h 840509"/>
                  <a:gd name="connsiteX4113" fmla="*/ 302241 w 939786"/>
                  <a:gd name="connsiteY4113" fmla="*/ 156146 h 840509"/>
                  <a:gd name="connsiteX4114" fmla="*/ 302506 w 939786"/>
                  <a:gd name="connsiteY4114" fmla="*/ 156763 h 840509"/>
                  <a:gd name="connsiteX4115" fmla="*/ 302506 w 939786"/>
                  <a:gd name="connsiteY4115" fmla="*/ 157645 h 840509"/>
                  <a:gd name="connsiteX4116" fmla="*/ 302859 w 939786"/>
                  <a:gd name="connsiteY4116" fmla="*/ 157910 h 840509"/>
                  <a:gd name="connsiteX4117" fmla="*/ 302859 w 939786"/>
                  <a:gd name="connsiteY4117" fmla="*/ 158174 h 840509"/>
                  <a:gd name="connsiteX4118" fmla="*/ 302859 w 939786"/>
                  <a:gd name="connsiteY4118" fmla="*/ 158439 h 840509"/>
                  <a:gd name="connsiteX4119" fmla="*/ 303123 w 939786"/>
                  <a:gd name="connsiteY4119" fmla="*/ 158439 h 840509"/>
                  <a:gd name="connsiteX4120" fmla="*/ 303476 w 939786"/>
                  <a:gd name="connsiteY4120" fmla="*/ 158439 h 840509"/>
                  <a:gd name="connsiteX4121" fmla="*/ 305239 w 939786"/>
                  <a:gd name="connsiteY4121" fmla="*/ 158703 h 840509"/>
                  <a:gd name="connsiteX4122" fmla="*/ 305592 w 939786"/>
                  <a:gd name="connsiteY4122" fmla="*/ 158439 h 840509"/>
                  <a:gd name="connsiteX4123" fmla="*/ 305856 w 939786"/>
                  <a:gd name="connsiteY4123" fmla="*/ 158174 h 840509"/>
                  <a:gd name="connsiteX4124" fmla="*/ 306738 w 939786"/>
                  <a:gd name="connsiteY4124" fmla="*/ 157292 h 840509"/>
                  <a:gd name="connsiteX4125" fmla="*/ 306738 w 939786"/>
                  <a:gd name="connsiteY4125" fmla="*/ 157028 h 840509"/>
                  <a:gd name="connsiteX4126" fmla="*/ 307002 w 939786"/>
                  <a:gd name="connsiteY4126" fmla="*/ 157028 h 840509"/>
                  <a:gd name="connsiteX4127" fmla="*/ 307002 w 939786"/>
                  <a:gd name="connsiteY4127" fmla="*/ 157292 h 840509"/>
                  <a:gd name="connsiteX4128" fmla="*/ 307531 w 939786"/>
                  <a:gd name="connsiteY4128" fmla="*/ 157645 h 840509"/>
                  <a:gd name="connsiteX4129" fmla="*/ 308678 w 939786"/>
                  <a:gd name="connsiteY4129" fmla="*/ 158174 h 840509"/>
                  <a:gd name="connsiteX4130" fmla="*/ 310705 w 939786"/>
                  <a:gd name="connsiteY4130" fmla="*/ 158439 h 840509"/>
                  <a:gd name="connsiteX4131" fmla="*/ 310970 w 939786"/>
                  <a:gd name="connsiteY4131" fmla="*/ 158439 h 840509"/>
                  <a:gd name="connsiteX4132" fmla="*/ 312734 w 939786"/>
                  <a:gd name="connsiteY4132" fmla="*/ 158174 h 840509"/>
                  <a:gd name="connsiteX4133" fmla="*/ 313880 w 939786"/>
                  <a:gd name="connsiteY4133" fmla="*/ 157910 h 840509"/>
                  <a:gd name="connsiteX4134" fmla="*/ 314144 w 939786"/>
                  <a:gd name="connsiteY4134" fmla="*/ 157910 h 840509"/>
                  <a:gd name="connsiteX4135" fmla="*/ 314409 w 939786"/>
                  <a:gd name="connsiteY4135" fmla="*/ 157910 h 840509"/>
                  <a:gd name="connsiteX4136" fmla="*/ 314673 w 939786"/>
                  <a:gd name="connsiteY4136" fmla="*/ 158174 h 840509"/>
                  <a:gd name="connsiteX4137" fmla="*/ 316172 w 939786"/>
                  <a:gd name="connsiteY4137" fmla="*/ 159056 h 840509"/>
                  <a:gd name="connsiteX4138" fmla="*/ 316436 w 939786"/>
                  <a:gd name="connsiteY4138" fmla="*/ 159056 h 840509"/>
                  <a:gd name="connsiteX4139" fmla="*/ 317318 w 939786"/>
                  <a:gd name="connsiteY4139" fmla="*/ 158791 h 840509"/>
                  <a:gd name="connsiteX4140" fmla="*/ 317583 w 939786"/>
                  <a:gd name="connsiteY4140" fmla="*/ 158791 h 840509"/>
                  <a:gd name="connsiteX4141" fmla="*/ 317583 w 939786"/>
                  <a:gd name="connsiteY4141" fmla="*/ 158527 h 840509"/>
                  <a:gd name="connsiteX4142" fmla="*/ 317318 w 939786"/>
                  <a:gd name="connsiteY4142" fmla="*/ 158527 h 840509"/>
                  <a:gd name="connsiteX4143" fmla="*/ 317054 w 939786"/>
                  <a:gd name="connsiteY4143" fmla="*/ 158527 h 840509"/>
                  <a:gd name="connsiteX4144" fmla="*/ 316436 w 939786"/>
                  <a:gd name="connsiteY4144" fmla="*/ 158527 h 840509"/>
                  <a:gd name="connsiteX4145" fmla="*/ 316172 w 939786"/>
                  <a:gd name="connsiteY4145" fmla="*/ 158527 h 840509"/>
                  <a:gd name="connsiteX4146" fmla="*/ 315907 w 939786"/>
                  <a:gd name="connsiteY4146" fmla="*/ 158527 h 840509"/>
                  <a:gd name="connsiteX4147" fmla="*/ 314409 w 939786"/>
                  <a:gd name="connsiteY4147" fmla="*/ 157998 h 840509"/>
                  <a:gd name="connsiteX4148" fmla="*/ 313527 w 939786"/>
                  <a:gd name="connsiteY4148" fmla="*/ 157381 h 840509"/>
                  <a:gd name="connsiteX4149" fmla="*/ 313527 w 939786"/>
                  <a:gd name="connsiteY4149" fmla="*/ 157116 h 840509"/>
                  <a:gd name="connsiteX4150" fmla="*/ 313174 w 939786"/>
                  <a:gd name="connsiteY4150" fmla="*/ 157116 h 840509"/>
                  <a:gd name="connsiteX4151" fmla="*/ 311764 w 939786"/>
                  <a:gd name="connsiteY4151" fmla="*/ 156852 h 840509"/>
                  <a:gd name="connsiteX4152" fmla="*/ 311764 w 939786"/>
                  <a:gd name="connsiteY4152" fmla="*/ 156587 h 840509"/>
                  <a:gd name="connsiteX4153" fmla="*/ 310618 w 939786"/>
                  <a:gd name="connsiteY4153" fmla="*/ 156587 h 840509"/>
                  <a:gd name="connsiteX4154" fmla="*/ 310353 w 939786"/>
                  <a:gd name="connsiteY4154" fmla="*/ 156587 h 840509"/>
                  <a:gd name="connsiteX4155" fmla="*/ 309471 w 939786"/>
                  <a:gd name="connsiteY4155" fmla="*/ 156852 h 840509"/>
                  <a:gd name="connsiteX4156" fmla="*/ 309118 w 939786"/>
                  <a:gd name="connsiteY4156" fmla="*/ 156852 h 840509"/>
                  <a:gd name="connsiteX4157" fmla="*/ 308854 w 939786"/>
                  <a:gd name="connsiteY4157" fmla="*/ 157116 h 840509"/>
                  <a:gd name="connsiteX4158" fmla="*/ 307708 w 939786"/>
                  <a:gd name="connsiteY4158" fmla="*/ 157116 h 840509"/>
                  <a:gd name="connsiteX4159" fmla="*/ 307355 w 939786"/>
                  <a:gd name="connsiteY4159" fmla="*/ 157116 h 840509"/>
                  <a:gd name="connsiteX4160" fmla="*/ 307091 w 939786"/>
                  <a:gd name="connsiteY4160" fmla="*/ 156852 h 840509"/>
                  <a:gd name="connsiteX4161" fmla="*/ 306826 w 939786"/>
                  <a:gd name="connsiteY4161" fmla="*/ 155705 h 840509"/>
                  <a:gd name="connsiteX4162" fmla="*/ 307091 w 939786"/>
                  <a:gd name="connsiteY4162" fmla="*/ 154295 h 840509"/>
                  <a:gd name="connsiteX4163" fmla="*/ 307355 w 939786"/>
                  <a:gd name="connsiteY4163" fmla="*/ 153148 h 840509"/>
                  <a:gd name="connsiteX4164" fmla="*/ 307708 w 939786"/>
                  <a:gd name="connsiteY4164" fmla="*/ 152884 h 840509"/>
                  <a:gd name="connsiteX4165" fmla="*/ 308589 w 939786"/>
                  <a:gd name="connsiteY4165" fmla="*/ 151121 h 840509"/>
                  <a:gd name="connsiteX4166" fmla="*/ 309471 w 939786"/>
                  <a:gd name="connsiteY4166" fmla="*/ 151121 h 840509"/>
                  <a:gd name="connsiteX4167" fmla="*/ 310089 w 939786"/>
                  <a:gd name="connsiteY4167" fmla="*/ 152267 h 840509"/>
                  <a:gd name="connsiteX4168" fmla="*/ 310089 w 939786"/>
                  <a:gd name="connsiteY4168" fmla="*/ 152796 h 840509"/>
                  <a:gd name="connsiteX4169" fmla="*/ 310353 w 939786"/>
                  <a:gd name="connsiteY4169" fmla="*/ 152796 h 840509"/>
                  <a:gd name="connsiteX4170" fmla="*/ 312116 w 939786"/>
                  <a:gd name="connsiteY4170" fmla="*/ 151297 h 840509"/>
                  <a:gd name="connsiteX4171" fmla="*/ 312381 w 939786"/>
                  <a:gd name="connsiteY4171" fmla="*/ 149269 h 840509"/>
                  <a:gd name="connsiteX4172" fmla="*/ 312998 w 939786"/>
                  <a:gd name="connsiteY4172" fmla="*/ 147506 h 840509"/>
                  <a:gd name="connsiteX4173" fmla="*/ 313263 w 939786"/>
                  <a:gd name="connsiteY4173" fmla="*/ 146624 h 840509"/>
                  <a:gd name="connsiteX4174" fmla="*/ 314761 w 939786"/>
                  <a:gd name="connsiteY4174" fmla="*/ 145125 h 840509"/>
                  <a:gd name="connsiteX4175" fmla="*/ 316260 w 939786"/>
                  <a:gd name="connsiteY4175" fmla="*/ 143891 h 840509"/>
                  <a:gd name="connsiteX4176" fmla="*/ 316260 w 939786"/>
                  <a:gd name="connsiteY4176" fmla="*/ 143626 h 840509"/>
                  <a:gd name="connsiteX4177" fmla="*/ 315731 w 939786"/>
                  <a:gd name="connsiteY4177" fmla="*/ 143362 h 840509"/>
                  <a:gd name="connsiteX4178" fmla="*/ 315114 w 939786"/>
                  <a:gd name="connsiteY4178" fmla="*/ 143097 h 840509"/>
                  <a:gd name="connsiteX4179" fmla="*/ 315114 w 939786"/>
                  <a:gd name="connsiteY4179" fmla="*/ 143362 h 840509"/>
                  <a:gd name="connsiteX4180" fmla="*/ 314232 w 939786"/>
                  <a:gd name="connsiteY4180" fmla="*/ 143362 h 840509"/>
                  <a:gd name="connsiteX4181" fmla="*/ 313968 w 939786"/>
                  <a:gd name="connsiteY4181" fmla="*/ 143626 h 840509"/>
                  <a:gd name="connsiteX4182" fmla="*/ 313703 w 939786"/>
                  <a:gd name="connsiteY4182" fmla="*/ 143626 h 840509"/>
                  <a:gd name="connsiteX4183" fmla="*/ 312822 w 939786"/>
                  <a:gd name="connsiteY4183" fmla="*/ 144773 h 840509"/>
                  <a:gd name="connsiteX4184" fmla="*/ 312469 w 939786"/>
                  <a:gd name="connsiteY4184" fmla="*/ 145390 h 840509"/>
                  <a:gd name="connsiteX4185" fmla="*/ 312205 w 939786"/>
                  <a:gd name="connsiteY4185" fmla="*/ 146007 h 840509"/>
                  <a:gd name="connsiteX4186" fmla="*/ 311587 w 939786"/>
                  <a:gd name="connsiteY4186" fmla="*/ 146889 h 840509"/>
                  <a:gd name="connsiteX4187" fmla="*/ 310705 w 939786"/>
                  <a:gd name="connsiteY4187" fmla="*/ 146889 h 840509"/>
                  <a:gd name="connsiteX4188" fmla="*/ 308942 w 939786"/>
                  <a:gd name="connsiteY4188" fmla="*/ 145390 h 840509"/>
                  <a:gd name="connsiteX4189" fmla="*/ 308942 w 939786"/>
                  <a:gd name="connsiteY4189" fmla="*/ 144773 h 840509"/>
                  <a:gd name="connsiteX4190" fmla="*/ 308942 w 939786"/>
                  <a:gd name="connsiteY4190" fmla="*/ 141863 h 840509"/>
                  <a:gd name="connsiteX4191" fmla="*/ 308942 w 939786"/>
                  <a:gd name="connsiteY4191" fmla="*/ 140452 h 840509"/>
                  <a:gd name="connsiteX4192" fmla="*/ 309207 w 939786"/>
                  <a:gd name="connsiteY4192" fmla="*/ 140188 h 840509"/>
                  <a:gd name="connsiteX4193" fmla="*/ 311235 w 939786"/>
                  <a:gd name="connsiteY4193" fmla="*/ 135779 h 840509"/>
                  <a:gd name="connsiteX4194" fmla="*/ 311499 w 939786"/>
                  <a:gd name="connsiteY4194" fmla="*/ 135515 h 840509"/>
                  <a:gd name="connsiteX4195" fmla="*/ 311852 w 939786"/>
                  <a:gd name="connsiteY4195" fmla="*/ 135515 h 840509"/>
                  <a:gd name="connsiteX4196" fmla="*/ 312116 w 939786"/>
                  <a:gd name="connsiteY4196" fmla="*/ 135250 h 840509"/>
                  <a:gd name="connsiteX4197" fmla="*/ 312381 w 939786"/>
                  <a:gd name="connsiteY4197" fmla="*/ 135250 h 840509"/>
                  <a:gd name="connsiteX4198" fmla="*/ 313263 w 939786"/>
                  <a:gd name="connsiteY4198" fmla="*/ 135515 h 840509"/>
                  <a:gd name="connsiteX4199" fmla="*/ 313263 w 939786"/>
                  <a:gd name="connsiteY4199" fmla="*/ 135779 h 840509"/>
                  <a:gd name="connsiteX4200" fmla="*/ 313263 w 939786"/>
                  <a:gd name="connsiteY4200" fmla="*/ 136044 h 840509"/>
                  <a:gd name="connsiteX4201" fmla="*/ 314144 w 939786"/>
                  <a:gd name="connsiteY4201" fmla="*/ 136573 h 840509"/>
                  <a:gd name="connsiteX4202" fmla="*/ 314144 w 939786"/>
                  <a:gd name="connsiteY4202" fmla="*/ 136308 h 840509"/>
                  <a:gd name="connsiteX4203" fmla="*/ 314761 w 939786"/>
                  <a:gd name="connsiteY4203" fmla="*/ 136308 h 840509"/>
                  <a:gd name="connsiteX4204" fmla="*/ 315907 w 939786"/>
                  <a:gd name="connsiteY4204" fmla="*/ 135427 h 840509"/>
                  <a:gd name="connsiteX4205" fmla="*/ 316525 w 939786"/>
                  <a:gd name="connsiteY4205" fmla="*/ 134810 h 840509"/>
                  <a:gd name="connsiteX4206" fmla="*/ 316260 w 939786"/>
                  <a:gd name="connsiteY4206" fmla="*/ 134810 h 840509"/>
                  <a:gd name="connsiteX4207" fmla="*/ 316525 w 939786"/>
                  <a:gd name="connsiteY4207" fmla="*/ 132164 h 840509"/>
                  <a:gd name="connsiteX4208" fmla="*/ 316789 w 939786"/>
                  <a:gd name="connsiteY4208" fmla="*/ 130401 h 840509"/>
                  <a:gd name="connsiteX4209" fmla="*/ 316789 w 939786"/>
                  <a:gd name="connsiteY4209" fmla="*/ 130137 h 840509"/>
                  <a:gd name="connsiteX4210" fmla="*/ 316789 w 939786"/>
                  <a:gd name="connsiteY4210" fmla="*/ 129872 h 840509"/>
                  <a:gd name="connsiteX4211" fmla="*/ 317054 w 939786"/>
                  <a:gd name="connsiteY4211" fmla="*/ 129872 h 840509"/>
                  <a:gd name="connsiteX4212" fmla="*/ 317671 w 939786"/>
                  <a:gd name="connsiteY4212" fmla="*/ 129872 h 840509"/>
                  <a:gd name="connsiteX4213" fmla="*/ 317935 w 939786"/>
                  <a:gd name="connsiteY4213" fmla="*/ 129872 h 840509"/>
                  <a:gd name="connsiteX4214" fmla="*/ 321726 w 939786"/>
                  <a:gd name="connsiteY4214" fmla="*/ 132517 h 840509"/>
                  <a:gd name="connsiteX4215" fmla="*/ 322344 w 939786"/>
                  <a:gd name="connsiteY4215" fmla="*/ 133134 h 840509"/>
                  <a:gd name="connsiteX4216" fmla="*/ 323226 w 939786"/>
                  <a:gd name="connsiteY4216" fmla="*/ 134016 h 840509"/>
                  <a:gd name="connsiteX4217" fmla="*/ 323490 w 939786"/>
                  <a:gd name="connsiteY4217" fmla="*/ 134281 h 840509"/>
                  <a:gd name="connsiteX4218" fmla="*/ 323490 w 939786"/>
                  <a:gd name="connsiteY4218" fmla="*/ 134545 h 840509"/>
                  <a:gd name="connsiteX4219" fmla="*/ 327017 w 939786"/>
                  <a:gd name="connsiteY4219" fmla="*/ 136573 h 840509"/>
                  <a:gd name="connsiteX4220" fmla="*/ 327017 w 939786"/>
                  <a:gd name="connsiteY4220" fmla="*/ 136308 h 840509"/>
                  <a:gd name="connsiteX4221" fmla="*/ 327017 w 939786"/>
                  <a:gd name="connsiteY4221" fmla="*/ 136044 h 840509"/>
                  <a:gd name="connsiteX4222" fmla="*/ 325871 w 939786"/>
                  <a:gd name="connsiteY4222" fmla="*/ 135162 h 840509"/>
                  <a:gd name="connsiteX4223" fmla="*/ 325606 w 939786"/>
                  <a:gd name="connsiteY4223" fmla="*/ 134898 h 840509"/>
                  <a:gd name="connsiteX4224" fmla="*/ 325253 w 939786"/>
                  <a:gd name="connsiteY4224" fmla="*/ 134633 h 840509"/>
                  <a:gd name="connsiteX4225" fmla="*/ 325253 w 939786"/>
                  <a:gd name="connsiteY4225" fmla="*/ 134369 h 840509"/>
                  <a:gd name="connsiteX4226" fmla="*/ 324989 w 939786"/>
                  <a:gd name="connsiteY4226" fmla="*/ 134369 h 840509"/>
                  <a:gd name="connsiteX4227" fmla="*/ 324989 w 939786"/>
                  <a:gd name="connsiteY4227" fmla="*/ 134104 h 840509"/>
                  <a:gd name="connsiteX4228" fmla="*/ 325253 w 939786"/>
                  <a:gd name="connsiteY4228" fmla="*/ 133840 h 840509"/>
                  <a:gd name="connsiteX4229" fmla="*/ 325606 w 939786"/>
                  <a:gd name="connsiteY4229" fmla="*/ 132693 h 840509"/>
                  <a:gd name="connsiteX4230" fmla="*/ 325871 w 939786"/>
                  <a:gd name="connsiteY4230" fmla="*/ 132429 h 840509"/>
                  <a:gd name="connsiteX4231" fmla="*/ 326223 w 939786"/>
                  <a:gd name="connsiteY4231" fmla="*/ 132076 h 840509"/>
                  <a:gd name="connsiteX4232" fmla="*/ 326488 w 939786"/>
                  <a:gd name="connsiteY4232" fmla="*/ 132076 h 840509"/>
                  <a:gd name="connsiteX4233" fmla="*/ 326488 w 939786"/>
                  <a:gd name="connsiteY4233" fmla="*/ 131459 h 840509"/>
                  <a:gd name="connsiteX4234" fmla="*/ 326223 w 939786"/>
                  <a:gd name="connsiteY4234" fmla="*/ 131195 h 840509"/>
                  <a:gd name="connsiteX4235" fmla="*/ 325871 w 939786"/>
                  <a:gd name="connsiteY4235" fmla="*/ 131195 h 840509"/>
                  <a:gd name="connsiteX4236" fmla="*/ 324107 w 939786"/>
                  <a:gd name="connsiteY4236" fmla="*/ 131195 h 840509"/>
                  <a:gd name="connsiteX4237" fmla="*/ 323490 w 939786"/>
                  <a:gd name="connsiteY4237" fmla="*/ 131459 h 840509"/>
                  <a:gd name="connsiteX4238" fmla="*/ 323226 w 939786"/>
                  <a:gd name="connsiteY4238" fmla="*/ 131812 h 840509"/>
                  <a:gd name="connsiteX4239" fmla="*/ 322961 w 939786"/>
                  <a:gd name="connsiteY4239" fmla="*/ 131812 h 840509"/>
                  <a:gd name="connsiteX4240" fmla="*/ 322344 w 939786"/>
                  <a:gd name="connsiteY4240" fmla="*/ 132076 h 840509"/>
                  <a:gd name="connsiteX4241" fmla="*/ 322079 w 939786"/>
                  <a:gd name="connsiteY4241" fmla="*/ 132429 h 840509"/>
                  <a:gd name="connsiteX4242" fmla="*/ 322079 w 939786"/>
                  <a:gd name="connsiteY4242" fmla="*/ 132076 h 840509"/>
                  <a:gd name="connsiteX4243" fmla="*/ 321815 w 939786"/>
                  <a:gd name="connsiteY4243" fmla="*/ 132076 h 840509"/>
                  <a:gd name="connsiteX4244" fmla="*/ 321815 w 939786"/>
                  <a:gd name="connsiteY4244" fmla="*/ 130930 h 840509"/>
                  <a:gd name="connsiteX4245" fmla="*/ 321815 w 939786"/>
                  <a:gd name="connsiteY4245" fmla="*/ 130666 h 840509"/>
                  <a:gd name="connsiteX4246" fmla="*/ 322079 w 939786"/>
                  <a:gd name="connsiteY4246" fmla="*/ 130666 h 840509"/>
                  <a:gd name="connsiteX4247" fmla="*/ 322961 w 939786"/>
                  <a:gd name="connsiteY4247" fmla="*/ 129519 h 840509"/>
                  <a:gd name="connsiteX4248" fmla="*/ 323490 w 939786"/>
                  <a:gd name="connsiteY4248" fmla="*/ 128902 h 840509"/>
                  <a:gd name="connsiteX4249" fmla="*/ 323755 w 939786"/>
                  <a:gd name="connsiteY4249" fmla="*/ 128902 h 840509"/>
                  <a:gd name="connsiteX4250" fmla="*/ 323755 w 939786"/>
                  <a:gd name="connsiteY4250" fmla="*/ 129167 h 840509"/>
                  <a:gd name="connsiteX4251" fmla="*/ 324019 w 939786"/>
                  <a:gd name="connsiteY4251" fmla="*/ 129167 h 840509"/>
                  <a:gd name="connsiteX4252" fmla="*/ 324019 w 939786"/>
                  <a:gd name="connsiteY4252" fmla="*/ 129431 h 840509"/>
                  <a:gd name="connsiteX4253" fmla="*/ 324284 w 939786"/>
                  <a:gd name="connsiteY4253" fmla="*/ 129431 h 840509"/>
                  <a:gd name="connsiteX4254" fmla="*/ 325518 w 939786"/>
                  <a:gd name="connsiteY4254" fmla="*/ 127932 h 840509"/>
                  <a:gd name="connsiteX4255" fmla="*/ 325518 w 939786"/>
                  <a:gd name="connsiteY4255" fmla="*/ 127668 h 840509"/>
                  <a:gd name="connsiteX4256" fmla="*/ 325165 w 939786"/>
                  <a:gd name="connsiteY4256" fmla="*/ 127668 h 840509"/>
                  <a:gd name="connsiteX4257" fmla="*/ 324548 w 939786"/>
                  <a:gd name="connsiteY4257" fmla="*/ 127668 h 840509"/>
                  <a:gd name="connsiteX4258" fmla="*/ 322785 w 939786"/>
                  <a:gd name="connsiteY4258" fmla="*/ 128814 h 840509"/>
                  <a:gd name="connsiteX4259" fmla="*/ 322520 w 939786"/>
                  <a:gd name="connsiteY4259" fmla="*/ 128814 h 840509"/>
                  <a:gd name="connsiteX4260" fmla="*/ 321903 w 939786"/>
                  <a:gd name="connsiteY4260" fmla="*/ 129431 h 840509"/>
                  <a:gd name="connsiteX4261" fmla="*/ 321639 w 939786"/>
                  <a:gd name="connsiteY4261" fmla="*/ 129431 h 840509"/>
                  <a:gd name="connsiteX4262" fmla="*/ 321639 w 939786"/>
                  <a:gd name="connsiteY4262" fmla="*/ 129696 h 840509"/>
                  <a:gd name="connsiteX4263" fmla="*/ 321374 w 939786"/>
                  <a:gd name="connsiteY4263" fmla="*/ 129696 h 840509"/>
                  <a:gd name="connsiteX4264" fmla="*/ 321021 w 939786"/>
                  <a:gd name="connsiteY4264" fmla="*/ 129696 h 840509"/>
                  <a:gd name="connsiteX4265" fmla="*/ 320492 w 939786"/>
                  <a:gd name="connsiteY4265" fmla="*/ 127932 h 840509"/>
                  <a:gd name="connsiteX4266" fmla="*/ 320492 w 939786"/>
                  <a:gd name="connsiteY4266" fmla="*/ 127668 h 840509"/>
                  <a:gd name="connsiteX4267" fmla="*/ 321374 w 939786"/>
                  <a:gd name="connsiteY4267" fmla="*/ 126786 h 840509"/>
                  <a:gd name="connsiteX4268" fmla="*/ 322256 w 939786"/>
                  <a:gd name="connsiteY4268" fmla="*/ 126169 h 840509"/>
                  <a:gd name="connsiteX4269" fmla="*/ 322520 w 939786"/>
                  <a:gd name="connsiteY4269" fmla="*/ 126169 h 840509"/>
                  <a:gd name="connsiteX4270" fmla="*/ 323666 w 939786"/>
                  <a:gd name="connsiteY4270" fmla="*/ 126433 h 840509"/>
                  <a:gd name="connsiteX4271" fmla="*/ 323931 w 939786"/>
                  <a:gd name="connsiteY4271" fmla="*/ 126433 h 840509"/>
                  <a:gd name="connsiteX4272" fmla="*/ 325077 w 939786"/>
                  <a:gd name="connsiteY4272" fmla="*/ 125816 h 840509"/>
                  <a:gd name="connsiteX4273" fmla="*/ 325430 w 939786"/>
                  <a:gd name="connsiteY4273" fmla="*/ 125552 h 840509"/>
                  <a:gd name="connsiteX4274" fmla="*/ 325430 w 939786"/>
                  <a:gd name="connsiteY4274" fmla="*/ 125287 h 840509"/>
                  <a:gd name="connsiteX4275" fmla="*/ 325077 w 939786"/>
                  <a:gd name="connsiteY4275" fmla="*/ 124670 h 840509"/>
                  <a:gd name="connsiteX4276" fmla="*/ 326488 w 939786"/>
                  <a:gd name="connsiteY4276" fmla="*/ 123524 h 840509"/>
                  <a:gd name="connsiteX4277" fmla="*/ 327369 w 939786"/>
                  <a:gd name="connsiteY4277" fmla="*/ 127315 h 840509"/>
                  <a:gd name="connsiteX4278" fmla="*/ 327634 w 939786"/>
                  <a:gd name="connsiteY4278" fmla="*/ 127580 h 840509"/>
                  <a:gd name="connsiteX4279" fmla="*/ 327898 w 939786"/>
                  <a:gd name="connsiteY4279" fmla="*/ 127580 h 840509"/>
                  <a:gd name="connsiteX4280" fmla="*/ 328163 w 939786"/>
                  <a:gd name="connsiteY4280" fmla="*/ 126698 h 840509"/>
                  <a:gd name="connsiteX4281" fmla="*/ 328163 w 939786"/>
                  <a:gd name="connsiteY4281" fmla="*/ 126433 h 840509"/>
                  <a:gd name="connsiteX4282" fmla="*/ 327898 w 939786"/>
                  <a:gd name="connsiteY4282" fmla="*/ 125552 h 840509"/>
                  <a:gd name="connsiteX4283" fmla="*/ 328163 w 939786"/>
                  <a:gd name="connsiteY4283" fmla="*/ 124406 h 840509"/>
                  <a:gd name="connsiteX4284" fmla="*/ 329309 w 939786"/>
                  <a:gd name="connsiteY4284" fmla="*/ 125287 h 840509"/>
                  <a:gd name="connsiteX4285" fmla="*/ 329926 w 939786"/>
                  <a:gd name="connsiteY4285" fmla="*/ 125552 h 840509"/>
                  <a:gd name="connsiteX4286" fmla="*/ 330191 w 939786"/>
                  <a:gd name="connsiteY4286" fmla="*/ 126169 h 840509"/>
                  <a:gd name="connsiteX4287" fmla="*/ 330455 w 939786"/>
                  <a:gd name="connsiteY4287" fmla="*/ 126169 h 840509"/>
                  <a:gd name="connsiteX4288" fmla="*/ 330191 w 939786"/>
                  <a:gd name="connsiteY4288" fmla="*/ 127051 h 840509"/>
                  <a:gd name="connsiteX4289" fmla="*/ 330455 w 939786"/>
                  <a:gd name="connsiteY4289" fmla="*/ 127403 h 840509"/>
                  <a:gd name="connsiteX4290" fmla="*/ 330808 w 939786"/>
                  <a:gd name="connsiteY4290" fmla="*/ 127668 h 840509"/>
                  <a:gd name="connsiteX4291" fmla="*/ 331073 w 939786"/>
                  <a:gd name="connsiteY4291" fmla="*/ 127668 h 840509"/>
                  <a:gd name="connsiteX4292" fmla="*/ 331337 w 939786"/>
                  <a:gd name="connsiteY4292" fmla="*/ 127668 h 840509"/>
                  <a:gd name="connsiteX4293" fmla="*/ 332747 w 939786"/>
                  <a:gd name="connsiteY4293" fmla="*/ 127668 h 840509"/>
                  <a:gd name="connsiteX4294" fmla="*/ 333365 w 939786"/>
                  <a:gd name="connsiteY4294" fmla="*/ 127403 h 840509"/>
                  <a:gd name="connsiteX4295" fmla="*/ 333629 w 939786"/>
                  <a:gd name="connsiteY4295" fmla="*/ 127051 h 840509"/>
                  <a:gd name="connsiteX4296" fmla="*/ 333629 w 939786"/>
                  <a:gd name="connsiteY4296" fmla="*/ 126786 h 840509"/>
                  <a:gd name="connsiteX4297" fmla="*/ 333365 w 939786"/>
                  <a:gd name="connsiteY4297" fmla="*/ 126522 h 840509"/>
                  <a:gd name="connsiteX4298" fmla="*/ 333100 w 939786"/>
                  <a:gd name="connsiteY4298" fmla="*/ 126786 h 840509"/>
                  <a:gd name="connsiteX4299" fmla="*/ 332747 w 939786"/>
                  <a:gd name="connsiteY4299" fmla="*/ 126786 h 840509"/>
                  <a:gd name="connsiteX4300" fmla="*/ 332483 w 939786"/>
                  <a:gd name="connsiteY4300" fmla="*/ 126786 h 840509"/>
                  <a:gd name="connsiteX4301" fmla="*/ 332218 w 939786"/>
                  <a:gd name="connsiteY4301" fmla="*/ 126522 h 840509"/>
                  <a:gd name="connsiteX4302" fmla="*/ 332218 w 939786"/>
                  <a:gd name="connsiteY4302" fmla="*/ 126257 h 840509"/>
                  <a:gd name="connsiteX4303" fmla="*/ 332747 w 939786"/>
                  <a:gd name="connsiteY4303" fmla="*/ 125640 h 840509"/>
                  <a:gd name="connsiteX4304" fmla="*/ 332483 w 939786"/>
                  <a:gd name="connsiteY4304" fmla="*/ 125111 h 840509"/>
                  <a:gd name="connsiteX4305" fmla="*/ 330720 w 939786"/>
                  <a:gd name="connsiteY4305" fmla="*/ 123612 h 840509"/>
                  <a:gd name="connsiteX4306" fmla="*/ 328692 w 939786"/>
                  <a:gd name="connsiteY4306" fmla="*/ 122731 h 840509"/>
                  <a:gd name="connsiteX4307" fmla="*/ 328692 w 939786"/>
                  <a:gd name="connsiteY4307" fmla="*/ 122466 h 840509"/>
                  <a:gd name="connsiteX4308" fmla="*/ 328956 w 939786"/>
                  <a:gd name="connsiteY4308" fmla="*/ 122466 h 840509"/>
                  <a:gd name="connsiteX4309" fmla="*/ 329485 w 939786"/>
                  <a:gd name="connsiteY4309" fmla="*/ 121584 h 840509"/>
                  <a:gd name="connsiteX4310" fmla="*/ 330102 w 939786"/>
                  <a:gd name="connsiteY4310" fmla="*/ 121320 h 840509"/>
                  <a:gd name="connsiteX4311" fmla="*/ 329485 w 939786"/>
                  <a:gd name="connsiteY4311" fmla="*/ 120174 h 840509"/>
                  <a:gd name="connsiteX4312" fmla="*/ 328339 w 939786"/>
                  <a:gd name="connsiteY4312" fmla="*/ 117881 h 840509"/>
                  <a:gd name="connsiteX4313" fmla="*/ 328339 w 939786"/>
                  <a:gd name="connsiteY4313" fmla="*/ 117617 h 840509"/>
                  <a:gd name="connsiteX4314" fmla="*/ 328692 w 939786"/>
                  <a:gd name="connsiteY4314" fmla="*/ 117352 h 840509"/>
                  <a:gd name="connsiteX4315" fmla="*/ 331337 w 939786"/>
                  <a:gd name="connsiteY4315" fmla="*/ 113825 h 840509"/>
                  <a:gd name="connsiteX4316" fmla="*/ 331954 w 939786"/>
                  <a:gd name="connsiteY4316" fmla="*/ 113473 h 840509"/>
                  <a:gd name="connsiteX4317" fmla="*/ 333718 w 939786"/>
                  <a:gd name="connsiteY4317" fmla="*/ 111974 h 840509"/>
                  <a:gd name="connsiteX4318" fmla="*/ 334599 w 939786"/>
                  <a:gd name="connsiteY4318" fmla="*/ 112591 h 840509"/>
                  <a:gd name="connsiteX4319" fmla="*/ 337861 w 939786"/>
                  <a:gd name="connsiteY4319" fmla="*/ 112855 h 840509"/>
                  <a:gd name="connsiteX4320" fmla="*/ 338126 w 939786"/>
                  <a:gd name="connsiteY4320" fmla="*/ 112855 h 840509"/>
                  <a:gd name="connsiteX4321" fmla="*/ 338390 w 939786"/>
                  <a:gd name="connsiteY4321" fmla="*/ 112855 h 840509"/>
                  <a:gd name="connsiteX4322" fmla="*/ 339008 w 939786"/>
                  <a:gd name="connsiteY4322" fmla="*/ 112591 h 840509"/>
                  <a:gd name="connsiteX4323" fmla="*/ 339272 w 939786"/>
                  <a:gd name="connsiteY4323" fmla="*/ 111180 h 840509"/>
                  <a:gd name="connsiteX4324" fmla="*/ 339537 w 939786"/>
                  <a:gd name="connsiteY4324" fmla="*/ 109681 h 840509"/>
                  <a:gd name="connsiteX4325" fmla="*/ 339537 w 939786"/>
                  <a:gd name="connsiteY4325" fmla="*/ 106772 h 840509"/>
                  <a:gd name="connsiteX4326" fmla="*/ 339537 w 939786"/>
                  <a:gd name="connsiteY4326" fmla="*/ 106419 h 840509"/>
                  <a:gd name="connsiteX4327" fmla="*/ 339801 w 939786"/>
                  <a:gd name="connsiteY4327" fmla="*/ 105538 h 840509"/>
                  <a:gd name="connsiteX4328" fmla="*/ 340066 w 939786"/>
                  <a:gd name="connsiteY4328" fmla="*/ 104920 h 840509"/>
                  <a:gd name="connsiteX4329" fmla="*/ 340330 w 939786"/>
                  <a:gd name="connsiteY4329" fmla="*/ 104303 h 840509"/>
                  <a:gd name="connsiteX4330" fmla="*/ 340595 w 939786"/>
                  <a:gd name="connsiteY4330" fmla="*/ 104303 h 840509"/>
                  <a:gd name="connsiteX4331" fmla="*/ 340859 w 939786"/>
                  <a:gd name="connsiteY4331" fmla="*/ 104303 h 840509"/>
                  <a:gd name="connsiteX4332" fmla="*/ 342887 w 939786"/>
                  <a:gd name="connsiteY4332" fmla="*/ 105449 h 840509"/>
                  <a:gd name="connsiteX4333" fmla="*/ 342887 w 939786"/>
                  <a:gd name="connsiteY4333" fmla="*/ 105714 h 840509"/>
                  <a:gd name="connsiteX4334" fmla="*/ 342270 w 939786"/>
                  <a:gd name="connsiteY4334" fmla="*/ 106860 h 840509"/>
                  <a:gd name="connsiteX4335" fmla="*/ 342270 w 939786"/>
                  <a:gd name="connsiteY4335" fmla="*/ 107125 h 840509"/>
                  <a:gd name="connsiteX4336" fmla="*/ 342005 w 939786"/>
                  <a:gd name="connsiteY4336" fmla="*/ 107125 h 840509"/>
                  <a:gd name="connsiteX4337" fmla="*/ 342005 w 939786"/>
                  <a:gd name="connsiteY4337" fmla="*/ 107389 h 840509"/>
                  <a:gd name="connsiteX4338" fmla="*/ 339713 w 939786"/>
                  <a:gd name="connsiteY4338" fmla="*/ 114090 h 840509"/>
                  <a:gd name="connsiteX4339" fmla="*/ 339713 w 939786"/>
                  <a:gd name="connsiteY4339" fmla="*/ 114443 h 840509"/>
                  <a:gd name="connsiteX4340" fmla="*/ 339713 w 939786"/>
                  <a:gd name="connsiteY4340" fmla="*/ 114707 h 840509"/>
                  <a:gd name="connsiteX4341" fmla="*/ 339977 w 939786"/>
                  <a:gd name="connsiteY4341" fmla="*/ 114443 h 840509"/>
                  <a:gd name="connsiteX4342" fmla="*/ 340242 w 939786"/>
                  <a:gd name="connsiteY4342" fmla="*/ 113825 h 840509"/>
                  <a:gd name="connsiteX4343" fmla="*/ 341388 w 939786"/>
                  <a:gd name="connsiteY4343" fmla="*/ 110916 h 840509"/>
                  <a:gd name="connsiteX4344" fmla="*/ 341652 w 939786"/>
                  <a:gd name="connsiteY4344" fmla="*/ 110563 h 840509"/>
                  <a:gd name="connsiteX4345" fmla="*/ 341917 w 939786"/>
                  <a:gd name="connsiteY4345" fmla="*/ 109681 h 840509"/>
                  <a:gd name="connsiteX4346" fmla="*/ 341917 w 939786"/>
                  <a:gd name="connsiteY4346" fmla="*/ 109417 h 840509"/>
                  <a:gd name="connsiteX4347" fmla="*/ 341917 w 939786"/>
                  <a:gd name="connsiteY4347" fmla="*/ 109153 h 840509"/>
                  <a:gd name="connsiteX4348" fmla="*/ 341917 w 939786"/>
                  <a:gd name="connsiteY4348" fmla="*/ 108888 h 840509"/>
                  <a:gd name="connsiteX4349" fmla="*/ 342181 w 939786"/>
                  <a:gd name="connsiteY4349" fmla="*/ 108624 h 840509"/>
                  <a:gd name="connsiteX4350" fmla="*/ 342446 w 939786"/>
                  <a:gd name="connsiteY4350" fmla="*/ 108888 h 840509"/>
                  <a:gd name="connsiteX4351" fmla="*/ 344474 w 939786"/>
                  <a:gd name="connsiteY4351" fmla="*/ 110034 h 840509"/>
                  <a:gd name="connsiteX4352" fmla="*/ 344474 w 939786"/>
                  <a:gd name="connsiteY4352" fmla="*/ 110387 h 840509"/>
                  <a:gd name="connsiteX4353" fmla="*/ 344210 w 939786"/>
                  <a:gd name="connsiteY4353" fmla="*/ 110651 h 840509"/>
                  <a:gd name="connsiteX4354" fmla="*/ 343592 w 939786"/>
                  <a:gd name="connsiteY4354" fmla="*/ 112944 h 840509"/>
                  <a:gd name="connsiteX4355" fmla="*/ 343857 w 939786"/>
                  <a:gd name="connsiteY4355" fmla="*/ 113825 h 840509"/>
                  <a:gd name="connsiteX4356" fmla="*/ 345003 w 939786"/>
                  <a:gd name="connsiteY4356" fmla="*/ 114707 h 840509"/>
                  <a:gd name="connsiteX4357" fmla="*/ 345356 w 939786"/>
                  <a:gd name="connsiteY4357" fmla="*/ 114707 h 840509"/>
                  <a:gd name="connsiteX4358" fmla="*/ 345620 w 939786"/>
                  <a:gd name="connsiteY4358" fmla="*/ 114090 h 840509"/>
                  <a:gd name="connsiteX4359" fmla="*/ 347384 w 939786"/>
                  <a:gd name="connsiteY4359" fmla="*/ 112326 h 840509"/>
                  <a:gd name="connsiteX4360" fmla="*/ 348265 w 939786"/>
                  <a:gd name="connsiteY4360" fmla="*/ 111709 h 840509"/>
                  <a:gd name="connsiteX4361" fmla="*/ 348530 w 939786"/>
                  <a:gd name="connsiteY4361" fmla="*/ 111445 h 840509"/>
                  <a:gd name="connsiteX4362" fmla="*/ 349676 w 939786"/>
                  <a:gd name="connsiteY4362" fmla="*/ 107389 h 840509"/>
                  <a:gd name="connsiteX4363" fmla="*/ 351704 w 939786"/>
                  <a:gd name="connsiteY4363" fmla="*/ 103598 h 840509"/>
                  <a:gd name="connsiteX4364" fmla="*/ 351969 w 939786"/>
                  <a:gd name="connsiteY4364" fmla="*/ 101834 h 840509"/>
                  <a:gd name="connsiteX4365" fmla="*/ 351351 w 939786"/>
                  <a:gd name="connsiteY4365" fmla="*/ 98043 h 840509"/>
                  <a:gd name="connsiteX4366" fmla="*/ 351087 w 939786"/>
                  <a:gd name="connsiteY4366" fmla="*/ 97779 h 840509"/>
                  <a:gd name="connsiteX4367" fmla="*/ 350469 w 939786"/>
                  <a:gd name="connsiteY4367" fmla="*/ 97514 h 840509"/>
                  <a:gd name="connsiteX4368" fmla="*/ 350205 w 939786"/>
                  <a:gd name="connsiteY4368" fmla="*/ 97250 h 840509"/>
                  <a:gd name="connsiteX4369" fmla="*/ 349940 w 939786"/>
                  <a:gd name="connsiteY4369" fmla="*/ 97250 h 840509"/>
                  <a:gd name="connsiteX4370" fmla="*/ 349940 w 939786"/>
                  <a:gd name="connsiteY4370" fmla="*/ 96897 h 840509"/>
                  <a:gd name="connsiteX4371" fmla="*/ 351087 w 939786"/>
                  <a:gd name="connsiteY4371" fmla="*/ 96632 h 840509"/>
                  <a:gd name="connsiteX4372" fmla="*/ 352850 w 939786"/>
                  <a:gd name="connsiteY4372" fmla="*/ 96897 h 840509"/>
                  <a:gd name="connsiteX4373" fmla="*/ 353996 w 939786"/>
                  <a:gd name="connsiteY4373" fmla="*/ 97779 h 840509"/>
                  <a:gd name="connsiteX4374" fmla="*/ 353996 w 939786"/>
                  <a:gd name="connsiteY4374" fmla="*/ 99542 h 840509"/>
                  <a:gd name="connsiteX4375" fmla="*/ 353644 w 939786"/>
                  <a:gd name="connsiteY4375" fmla="*/ 99542 h 840509"/>
                  <a:gd name="connsiteX4376" fmla="*/ 353644 w 939786"/>
                  <a:gd name="connsiteY4376" fmla="*/ 99807 h 840509"/>
                  <a:gd name="connsiteX4377" fmla="*/ 353379 w 939786"/>
                  <a:gd name="connsiteY4377" fmla="*/ 99807 h 840509"/>
                  <a:gd name="connsiteX4378" fmla="*/ 353027 w 939786"/>
                  <a:gd name="connsiteY4378" fmla="*/ 100071 h 840509"/>
                  <a:gd name="connsiteX4379" fmla="*/ 352498 w 939786"/>
                  <a:gd name="connsiteY4379" fmla="*/ 100071 h 840509"/>
                  <a:gd name="connsiteX4380" fmla="*/ 352498 w 939786"/>
                  <a:gd name="connsiteY4380" fmla="*/ 100336 h 840509"/>
                  <a:gd name="connsiteX4381" fmla="*/ 352762 w 939786"/>
                  <a:gd name="connsiteY4381" fmla="*/ 102716 h 840509"/>
                  <a:gd name="connsiteX4382" fmla="*/ 352762 w 939786"/>
                  <a:gd name="connsiteY4382" fmla="*/ 102981 h 840509"/>
                  <a:gd name="connsiteX4383" fmla="*/ 353027 w 939786"/>
                  <a:gd name="connsiteY4383" fmla="*/ 102981 h 840509"/>
                  <a:gd name="connsiteX4384" fmla="*/ 353644 w 939786"/>
                  <a:gd name="connsiteY4384" fmla="*/ 103245 h 840509"/>
                  <a:gd name="connsiteX4385" fmla="*/ 354525 w 939786"/>
                  <a:gd name="connsiteY4385" fmla="*/ 103862 h 840509"/>
                  <a:gd name="connsiteX4386" fmla="*/ 354525 w 939786"/>
                  <a:gd name="connsiteY4386" fmla="*/ 104127 h 840509"/>
                  <a:gd name="connsiteX4387" fmla="*/ 354789 w 939786"/>
                  <a:gd name="connsiteY4387" fmla="*/ 104391 h 840509"/>
                  <a:gd name="connsiteX4388" fmla="*/ 355407 w 939786"/>
                  <a:gd name="connsiteY4388" fmla="*/ 103510 h 840509"/>
                  <a:gd name="connsiteX4389" fmla="*/ 355142 w 939786"/>
                  <a:gd name="connsiteY4389" fmla="*/ 102364 h 840509"/>
                  <a:gd name="connsiteX4390" fmla="*/ 355142 w 939786"/>
                  <a:gd name="connsiteY4390" fmla="*/ 102011 h 840509"/>
                  <a:gd name="connsiteX4391" fmla="*/ 355671 w 939786"/>
                  <a:gd name="connsiteY4391" fmla="*/ 100865 h 840509"/>
                  <a:gd name="connsiteX4392" fmla="*/ 356289 w 939786"/>
                  <a:gd name="connsiteY4392" fmla="*/ 99983 h 840509"/>
                  <a:gd name="connsiteX4393" fmla="*/ 358669 w 939786"/>
                  <a:gd name="connsiteY4393" fmla="*/ 97955 h 840509"/>
                  <a:gd name="connsiteX4394" fmla="*/ 360168 w 939786"/>
                  <a:gd name="connsiteY4394" fmla="*/ 97691 h 840509"/>
                  <a:gd name="connsiteX4395" fmla="*/ 359903 w 939786"/>
                  <a:gd name="connsiteY4395" fmla="*/ 98837 h 840509"/>
                  <a:gd name="connsiteX4396" fmla="*/ 359022 w 939786"/>
                  <a:gd name="connsiteY4396" fmla="*/ 100247 h 840509"/>
                  <a:gd name="connsiteX4397" fmla="*/ 359022 w 939786"/>
                  <a:gd name="connsiteY4397" fmla="*/ 100512 h 840509"/>
                  <a:gd name="connsiteX4398" fmla="*/ 358669 w 939786"/>
                  <a:gd name="connsiteY4398" fmla="*/ 100512 h 840509"/>
                  <a:gd name="connsiteX4399" fmla="*/ 359022 w 939786"/>
                  <a:gd name="connsiteY4399" fmla="*/ 100776 h 840509"/>
                  <a:gd name="connsiteX4400" fmla="*/ 360785 w 939786"/>
                  <a:gd name="connsiteY4400" fmla="*/ 103951 h 840509"/>
                  <a:gd name="connsiteX4401" fmla="*/ 361667 w 939786"/>
                  <a:gd name="connsiteY4401" fmla="*/ 104215 h 840509"/>
                  <a:gd name="connsiteX4402" fmla="*/ 363959 w 939786"/>
                  <a:gd name="connsiteY4402" fmla="*/ 101570 h 840509"/>
                  <a:gd name="connsiteX4403" fmla="*/ 364224 w 939786"/>
                  <a:gd name="connsiteY4403" fmla="*/ 101570 h 840509"/>
                  <a:gd name="connsiteX4404" fmla="*/ 366516 w 939786"/>
                  <a:gd name="connsiteY4404" fmla="*/ 97779 h 840509"/>
                  <a:gd name="connsiteX4405" fmla="*/ 366252 w 939786"/>
                  <a:gd name="connsiteY4405" fmla="*/ 94605 h 840509"/>
                  <a:gd name="connsiteX4406" fmla="*/ 365987 w 939786"/>
                  <a:gd name="connsiteY4406" fmla="*/ 93459 h 840509"/>
                  <a:gd name="connsiteX4407" fmla="*/ 366252 w 939786"/>
                  <a:gd name="connsiteY4407" fmla="*/ 93459 h 840509"/>
                  <a:gd name="connsiteX4408" fmla="*/ 368632 w 939786"/>
                  <a:gd name="connsiteY4408" fmla="*/ 92312 h 840509"/>
                  <a:gd name="connsiteX4409" fmla="*/ 368985 w 939786"/>
                  <a:gd name="connsiteY4409" fmla="*/ 92312 h 840509"/>
                  <a:gd name="connsiteX4410" fmla="*/ 370748 w 939786"/>
                  <a:gd name="connsiteY4410" fmla="*/ 91695 h 840509"/>
                  <a:gd name="connsiteX4411" fmla="*/ 371101 w 939786"/>
                  <a:gd name="connsiteY4411" fmla="*/ 91695 h 840509"/>
                  <a:gd name="connsiteX4412" fmla="*/ 372247 w 939786"/>
                  <a:gd name="connsiteY4412" fmla="*/ 92841 h 840509"/>
                  <a:gd name="connsiteX4413" fmla="*/ 373129 w 939786"/>
                  <a:gd name="connsiteY4413" fmla="*/ 94340 h 840509"/>
                  <a:gd name="connsiteX4414" fmla="*/ 373129 w 939786"/>
                  <a:gd name="connsiteY4414" fmla="*/ 94605 h 840509"/>
                  <a:gd name="connsiteX4415" fmla="*/ 373129 w 939786"/>
                  <a:gd name="connsiteY4415" fmla="*/ 94869 h 840509"/>
                  <a:gd name="connsiteX4416" fmla="*/ 372864 w 939786"/>
                  <a:gd name="connsiteY4416" fmla="*/ 95398 h 840509"/>
                  <a:gd name="connsiteX4417" fmla="*/ 372600 w 939786"/>
                  <a:gd name="connsiteY4417" fmla="*/ 95751 h 840509"/>
                  <a:gd name="connsiteX4418" fmla="*/ 373482 w 939786"/>
                  <a:gd name="connsiteY4418" fmla="*/ 97514 h 840509"/>
                  <a:gd name="connsiteX4419" fmla="*/ 373746 w 939786"/>
                  <a:gd name="connsiteY4419" fmla="*/ 97779 h 840509"/>
                  <a:gd name="connsiteX4420" fmla="*/ 374011 w 939786"/>
                  <a:gd name="connsiteY4420" fmla="*/ 97779 h 840509"/>
                  <a:gd name="connsiteX4421" fmla="*/ 374627 w 939786"/>
                  <a:gd name="connsiteY4421" fmla="*/ 96897 h 840509"/>
                  <a:gd name="connsiteX4422" fmla="*/ 374627 w 939786"/>
                  <a:gd name="connsiteY4422" fmla="*/ 96015 h 840509"/>
                  <a:gd name="connsiteX4423" fmla="*/ 376656 w 939786"/>
                  <a:gd name="connsiteY4423" fmla="*/ 96015 h 840509"/>
                  <a:gd name="connsiteX4424" fmla="*/ 379036 w 939786"/>
                  <a:gd name="connsiteY4424" fmla="*/ 96544 h 840509"/>
                  <a:gd name="connsiteX4425" fmla="*/ 380447 w 939786"/>
                  <a:gd name="connsiteY4425" fmla="*/ 97161 h 840509"/>
                  <a:gd name="connsiteX4426" fmla="*/ 380447 w 939786"/>
                  <a:gd name="connsiteY4426" fmla="*/ 97426 h 840509"/>
                  <a:gd name="connsiteX4427" fmla="*/ 380711 w 939786"/>
                  <a:gd name="connsiteY4427" fmla="*/ 98043 h 840509"/>
                  <a:gd name="connsiteX4428" fmla="*/ 380711 w 939786"/>
                  <a:gd name="connsiteY4428" fmla="*/ 98308 h 840509"/>
                  <a:gd name="connsiteX4429" fmla="*/ 381857 w 939786"/>
                  <a:gd name="connsiteY4429" fmla="*/ 100600 h 840509"/>
                  <a:gd name="connsiteX4430" fmla="*/ 384503 w 939786"/>
                  <a:gd name="connsiteY4430" fmla="*/ 102628 h 840509"/>
                  <a:gd name="connsiteX4431" fmla="*/ 384767 w 939786"/>
                  <a:gd name="connsiteY4431" fmla="*/ 102893 h 840509"/>
                  <a:gd name="connsiteX4432" fmla="*/ 385913 w 939786"/>
                  <a:gd name="connsiteY4432" fmla="*/ 104920 h 840509"/>
                  <a:gd name="connsiteX4433" fmla="*/ 386530 w 939786"/>
                  <a:gd name="connsiteY4433" fmla="*/ 105802 h 840509"/>
                  <a:gd name="connsiteX4434" fmla="*/ 386795 w 939786"/>
                  <a:gd name="connsiteY4434" fmla="*/ 106684 h 840509"/>
                  <a:gd name="connsiteX4435" fmla="*/ 388294 w 939786"/>
                  <a:gd name="connsiteY4435" fmla="*/ 110122 h 840509"/>
                  <a:gd name="connsiteX4436" fmla="*/ 389440 w 939786"/>
                  <a:gd name="connsiteY4436" fmla="*/ 112415 h 840509"/>
                  <a:gd name="connsiteX4437" fmla="*/ 389440 w 939786"/>
                  <a:gd name="connsiteY4437" fmla="*/ 112679 h 840509"/>
                  <a:gd name="connsiteX4438" fmla="*/ 389704 w 939786"/>
                  <a:gd name="connsiteY4438" fmla="*/ 112679 h 840509"/>
                  <a:gd name="connsiteX4439" fmla="*/ 389969 w 939786"/>
                  <a:gd name="connsiteY4439" fmla="*/ 112679 h 840509"/>
                  <a:gd name="connsiteX4440" fmla="*/ 390233 w 939786"/>
                  <a:gd name="connsiteY4440" fmla="*/ 112415 h 840509"/>
                  <a:gd name="connsiteX4441" fmla="*/ 390586 w 939786"/>
                  <a:gd name="connsiteY4441" fmla="*/ 112150 h 840509"/>
                  <a:gd name="connsiteX4442" fmla="*/ 391203 w 939786"/>
                  <a:gd name="connsiteY4442" fmla="*/ 112679 h 840509"/>
                  <a:gd name="connsiteX4443" fmla="*/ 392967 w 939786"/>
                  <a:gd name="connsiteY4443" fmla="*/ 114443 h 840509"/>
                  <a:gd name="connsiteX4444" fmla="*/ 392967 w 939786"/>
                  <a:gd name="connsiteY4444" fmla="*/ 114707 h 840509"/>
                  <a:gd name="connsiteX4445" fmla="*/ 393849 w 939786"/>
                  <a:gd name="connsiteY4445" fmla="*/ 115589 h 840509"/>
                  <a:gd name="connsiteX4446" fmla="*/ 393849 w 939786"/>
                  <a:gd name="connsiteY4446" fmla="*/ 116735 h 840509"/>
                  <a:gd name="connsiteX4447" fmla="*/ 393849 w 939786"/>
                  <a:gd name="connsiteY4447" fmla="*/ 118234 h 840509"/>
                  <a:gd name="connsiteX4448" fmla="*/ 392702 w 939786"/>
                  <a:gd name="connsiteY4448" fmla="*/ 119733 h 840509"/>
                  <a:gd name="connsiteX4449" fmla="*/ 390939 w 939786"/>
                  <a:gd name="connsiteY4449" fmla="*/ 123788 h 840509"/>
                  <a:gd name="connsiteX4450" fmla="*/ 390322 w 939786"/>
                  <a:gd name="connsiteY4450" fmla="*/ 125552 h 840509"/>
                  <a:gd name="connsiteX4451" fmla="*/ 390057 w 939786"/>
                  <a:gd name="connsiteY4451" fmla="*/ 125816 h 840509"/>
                  <a:gd name="connsiteX4452" fmla="*/ 390057 w 939786"/>
                  <a:gd name="connsiteY4452" fmla="*/ 126081 h 840509"/>
                  <a:gd name="connsiteX4453" fmla="*/ 390057 w 939786"/>
                  <a:gd name="connsiteY4453" fmla="*/ 126345 h 840509"/>
                  <a:gd name="connsiteX4454" fmla="*/ 390057 w 939786"/>
                  <a:gd name="connsiteY4454" fmla="*/ 126698 h 840509"/>
                  <a:gd name="connsiteX4455" fmla="*/ 390057 w 939786"/>
                  <a:gd name="connsiteY4455" fmla="*/ 127844 h 840509"/>
                  <a:gd name="connsiteX4456" fmla="*/ 390057 w 939786"/>
                  <a:gd name="connsiteY4456" fmla="*/ 128109 h 840509"/>
                  <a:gd name="connsiteX4457" fmla="*/ 390057 w 939786"/>
                  <a:gd name="connsiteY4457" fmla="*/ 128373 h 840509"/>
                  <a:gd name="connsiteX4458" fmla="*/ 389175 w 939786"/>
                  <a:gd name="connsiteY4458" fmla="*/ 132782 h 840509"/>
                  <a:gd name="connsiteX4459" fmla="*/ 389175 w 939786"/>
                  <a:gd name="connsiteY4459" fmla="*/ 133046 h 840509"/>
                  <a:gd name="connsiteX4460" fmla="*/ 388911 w 939786"/>
                  <a:gd name="connsiteY4460" fmla="*/ 133663 h 840509"/>
                  <a:gd name="connsiteX4461" fmla="*/ 388911 w 939786"/>
                  <a:gd name="connsiteY4461" fmla="*/ 133928 h 840509"/>
                  <a:gd name="connsiteX4462" fmla="*/ 388646 w 939786"/>
                  <a:gd name="connsiteY4462" fmla="*/ 134192 h 840509"/>
                  <a:gd name="connsiteX4463" fmla="*/ 388029 w 939786"/>
                  <a:gd name="connsiteY4463" fmla="*/ 134457 h 840509"/>
                  <a:gd name="connsiteX4464" fmla="*/ 388029 w 939786"/>
                  <a:gd name="connsiteY4464" fmla="*/ 134721 h 840509"/>
                  <a:gd name="connsiteX4465" fmla="*/ 387765 w 939786"/>
                  <a:gd name="connsiteY4465" fmla="*/ 134986 h 840509"/>
                  <a:gd name="connsiteX4466" fmla="*/ 387500 w 939786"/>
                  <a:gd name="connsiteY4466" fmla="*/ 135250 h 840509"/>
                  <a:gd name="connsiteX4467" fmla="*/ 387765 w 939786"/>
                  <a:gd name="connsiteY4467" fmla="*/ 135250 h 840509"/>
                  <a:gd name="connsiteX4468" fmla="*/ 388382 w 939786"/>
                  <a:gd name="connsiteY4468" fmla="*/ 134986 h 840509"/>
                  <a:gd name="connsiteX4469" fmla="*/ 388646 w 939786"/>
                  <a:gd name="connsiteY4469" fmla="*/ 134721 h 840509"/>
                  <a:gd name="connsiteX4470" fmla="*/ 388911 w 939786"/>
                  <a:gd name="connsiteY4470" fmla="*/ 134457 h 840509"/>
                  <a:gd name="connsiteX4471" fmla="*/ 389175 w 939786"/>
                  <a:gd name="connsiteY4471" fmla="*/ 134457 h 840509"/>
                  <a:gd name="connsiteX4472" fmla="*/ 389440 w 939786"/>
                  <a:gd name="connsiteY4472" fmla="*/ 134192 h 840509"/>
                  <a:gd name="connsiteX4473" fmla="*/ 389440 w 939786"/>
                  <a:gd name="connsiteY4473" fmla="*/ 133928 h 840509"/>
                  <a:gd name="connsiteX4474" fmla="*/ 389704 w 939786"/>
                  <a:gd name="connsiteY4474" fmla="*/ 133663 h 840509"/>
                  <a:gd name="connsiteX4475" fmla="*/ 389704 w 939786"/>
                  <a:gd name="connsiteY4475" fmla="*/ 133046 h 840509"/>
                  <a:gd name="connsiteX4476" fmla="*/ 390233 w 939786"/>
                  <a:gd name="connsiteY4476" fmla="*/ 131547 h 840509"/>
                  <a:gd name="connsiteX4477" fmla="*/ 390586 w 939786"/>
                  <a:gd name="connsiteY4477" fmla="*/ 130137 h 840509"/>
                  <a:gd name="connsiteX4478" fmla="*/ 390851 w 939786"/>
                  <a:gd name="connsiteY4478" fmla="*/ 129519 h 840509"/>
                  <a:gd name="connsiteX4479" fmla="*/ 390851 w 939786"/>
                  <a:gd name="connsiteY4479" fmla="*/ 129255 h 840509"/>
                  <a:gd name="connsiteX4480" fmla="*/ 390586 w 939786"/>
                  <a:gd name="connsiteY4480" fmla="*/ 129255 h 840509"/>
                  <a:gd name="connsiteX4481" fmla="*/ 390586 w 939786"/>
                  <a:gd name="connsiteY4481" fmla="*/ 128990 h 840509"/>
                  <a:gd name="connsiteX4482" fmla="*/ 390851 w 939786"/>
                  <a:gd name="connsiteY4482" fmla="*/ 128373 h 840509"/>
                  <a:gd name="connsiteX4483" fmla="*/ 391203 w 939786"/>
                  <a:gd name="connsiteY4483" fmla="*/ 128373 h 840509"/>
                  <a:gd name="connsiteX4484" fmla="*/ 392085 w 939786"/>
                  <a:gd name="connsiteY4484" fmla="*/ 128638 h 840509"/>
                  <a:gd name="connsiteX4485" fmla="*/ 392702 w 939786"/>
                  <a:gd name="connsiteY4485" fmla="*/ 129519 h 840509"/>
                  <a:gd name="connsiteX4486" fmla="*/ 392967 w 939786"/>
                  <a:gd name="connsiteY4486" fmla="*/ 129784 h 840509"/>
                  <a:gd name="connsiteX4487" fmla="*/ 393584 w 939786"/>
                  <a:gd name="connsiteY4487" fmla="*/ 130401 h 840509"/>
                  <a:gd name="connsiteX4488" fmla="*/ 393584 w 939786"/>
                  <a:gd name="connsiteY4488" fmla="*/ 130666 h 840509"/>
                  <a:gd name="connsiteX4489" fmla="*/ 393584 w 939786"/>
                  <a:gd name="connsiteY4489" fmla="*/ 131283 h 840509"/>
                  <a:gd name="connsiteX4490" fmla="*/ 393584 w 939786"/>
                  <a:gd name="connsiteY4490" fmla="*/ 131635 h 840509"/>
                  <a:gd name="connsiteX4491" fmla="*/ 393584 w 939786"/>
                  <a:gd name="connsiteY4491" fmla="*/ 131900 h 840509"/>
                  <a:gd name="connsiteX4492" fmla="*/ 393584 w 939786"/>
                  <a:gd name="connsiteY4492" fmla="*/ 133046 h 840509"/>
                  <a:gd name="connsiteX4493" fmla="*/ 393849 w 939786"/>
                  <a:gd name="connsiteY4493" fmla="*/ 133046 h 840509"/>
                  <a:gd name="connsiteX4494" fmla="*/ 393849 w 939786"/>
                  <a:gd name="connsiteY4494" fmla="*/ 132429 h 840509"/>
                  <a:gd name="connsiteX4495" fmla="*/ 394113 w 939786"/>
                  <a:gd name="connsiteY4495" fmla="*/ 131547 h 840509"/>
                  <a:gd name="connsiteX4496" fmla="*/ 394113 w 939786"/>
                  <a:gd name="connsiteY4496" fmla="*/ 130666 h 840509"/>
                  <a:gd name="connsiteX4497" fmla="*/ 394113 w 939786"/>
                  <a:gd name="connsiteY4497" fmla="*/ 130401 h 840509"/>
                  <a:gd name="connsiteX4498" fmla="*/ 394113 w 939786"/>
                  <a:gd name="connsiteY4498" fmla="*/ 130137 h 840509"/>
                  <a:gd name="connsiteX4499" fmla="*/ 394113 w 939786"/>
                  <a:gd name="connsiteY4499" fmla="*/ 129872 h 840509"/>
                  <a:gd name="connsiteX4500" fmla="*/ 393849 w 939786"/>
                  <a:gd name="connsiteY4500" fmla="*/ 128726 h 840509"/>
                  <a:gd name="connsiteX4501" fmla="*/ 393584 w 939786"/>
                  <a:gd name="connsiteY4501" fmla="*/ 128726 h 840509"/>
                  <a:gd name="connsiteX4502" fmla="*/ 393584 w 939786"/>
                  <a:gd name="connsiteY4502" fmla="*/ 128461 h 840509"/>
                  <a:gd name="connsiteX4503" fmla="*/ 393231 w 939786"/>
                  <a:gd name="connsiteY4503" fmla="*/ 128197 h 840509"/>
                  <a:gd name="connsiteX4504" fmla="*/ 393231 w 939786"/>
                  <a:gd name="connsiteY4504" fmla="*/ 127932 h 840509"/>
                  <a:gd name="connsiteX4505" fmla="*/ 393231 w 939786"/>
                  <a:gd name="connsiteY4505" fmla="*/ 127668 h 840509"/>
                  <a:gd name="connsiteX4506" fmla="*/ 392967 w 939786"/>
                  <a:gd name="connsiteY4506" fmla="*/ 125023 h 840509"/>
                  <a:gd name="connsiteX4507" fmla="*/ 392967 w 939786"/>
                  <a:gd name="connsiteY4507" fmla="*/ 124758 h 840509"/>
                  <a:gd name="connsiteX4508" fmla="*/ 392967 w 939786"/>
                  <a:gd name="connsiteY4508" fmla="*/ 124494 h 840509"/>
                  <a:gd name="connsiteX4509" fmla="*/ 393231 w 939786"/>
                  <a:gd name="connsiteY4509" fmla="*/ 124141 h 840509"/>
                  <a:gd name="connsiteX4510" fmla="*/ 393584 w 939786"/>
                  <a:gd name="connsiteY4510" fmla="*/ 123524 h 840509"/>
                  <a:gd name="connsiteX4511" fmla="*/ 393849 w 939786"/>
                  <a:gd name="connsiteY4511" fmla="*/ 123259 h 840509"/>
                  <a:gd name="connsiteX4512" fmla="*/ 395876 w 939786"/>
                  <a:gd name="connsiteY4512" fmla="*/ 121232 h 840509"/>
                  <a:gd name="connsiteX4513" fmla="*/ 395876 w 939786"/>
                  <a:gd name="connsiteY4513" fmla="*/ 120967 h 840509"/>
                  <a:gd name="connsiteX4514" fmla="*/ 396140 w 939786"/>
                  <a:gd name="connsiteY4514" fmla="*/ 120967 h 840509"/>
                  <a:gd name="connsiteX4515" fmla="*/ 396493 w 939786"/>
                  <a:gd name="connsiteY4515" fmla="*/ 120967 h 840509"/>
                  <a:gd name="connsiteX4516" fmla="*/ 396493 w 939786"/>
                  <a:gd name="connsiteY4516" fmla="*/ 121232 h 840509"/>
                  <a:gd name="connsiteX4517" fmla="*/ 396493 w 939786"/>
                  <a:gd name="connsiteY4517" fmla="*/ 121584 h 840509"/>
                  <a:gd name="connsiteX4518" fmla="*/ 396493 w 939786"/>
                  <a:gd name="connsiteY4518" fmla="*/ 122113 h 840509"/>
                  <a:gd name="connsiteX4519" fmla="*/ 396493 w 939786"/>
                  <a:gd name="connsiteY4519" fmla="*/ 123612 h 840509"/>
                  <a:gd name="connsiteX4520" fmla="*/ 396493 w 939786"/>
                  <a:gd name="connsiteY4520" fmla="*/ 124229 h 840509"/>
                  <a:gd name="connsiteX4521" fmla="*/ 396493 w 939786"/>
                  <a:gd name="connsiteY4521" fmla="*/ 124582 h 840509"/>
                  <a:gd name="connsiteX4522" fmla="*/ 396758 w 939786"/>
                  <a:gd name="connsiteY4522" fmla="*/ 124582 h 840509"/>
                  <a:gd name="connsiteX4523" fmla="*/ 398257 w 939786"/>
                  <a:gd name="connsiteY4523" fmla="*/ 124582 h 840509"/>
                  <a:gd name="connsiteX4524" fmla="*/ 398521 w 939786"/>
                  <a:gd name="connsiteY4524" fmla="*/ 124582 h 840509"/>
                  <a:gd name="connsiteX4525" fmla="*/ 398786 w 939786"/>
                  <a:gd name="connsiteY4525" fmla="*/ 124229 h 840509"/>
                  <a:gd name="connsiteX4526" fmla="*/ 399050 w 939786"/>
                  <a:gd name="connsiteY4526" fmla="*/ 123347 h 840509"/>
                  <a:gd name="connsiteX4527" fmla="*/ 398786 w 939786"/>
                  <a:gd name="connsiteY4527" fmla="*/ 123083 h 840509"/>
                  <a:gd name="connsiteX4528" fmla="*/ 398521 w 939786"/>
                  <a:gd name="connsiteY4528" fmla="*/ 122466 h 840509"/>
                  <a:gd name="connsiteX4529" fmla="*/ 398521 w 939786"/>
                  <a:gd name="connsiteY4529" fmla="*/ 122202 h 840509"/>
                  <a:gd name="connsiteX4530" fmla="*/ 398521 w 939786"/>
                  <a:gd name="connsiteY4530" fmla="*/ 121937 h 840509"/>
                  <a:gd name="connsiteX4531" fmla="*/ 398257 w 939786"/>
                  <a:gd name="connsiteY4531" fmla="*/ 121672 h 840509"/>
                  <a:gd name="connsiteX4532" fmla="*/ 398257 w 939786"/>
                  <a:gd name="connsiteY4532" fmla="*/ 121055 h 840509"/>
                  <a:gd name="connsiteX4533" fmla="*/ 398257 w 939786"/>
                  <a:gd name="connsiteY4533" fmla="*/ 120791 h 840509"/>
                  <a:gd name="connsiteX4534" fmla="*/ 397904 w 939786"/>
                  <a:gd name="connsiteY4534" fmla="*/ 118498 h 840509"/>
                  <a:gd name="connsiteX4535" fmla="*/ 398257 w 939786"/>
                  <a:gd name="connsiteY4535" fmla="*/ 118234 h 840509"/>
                  <a:gd name="connsiteX4536" fmla="*/ 398521 w 939786"/>
                  <a:gd name="connsiteY4536" fmla="*/ 118234 h 840509"/>
                  <a:gd name="connsiteX4537" fmla="*/ 400814 w 939786"/>
                  <a:gd name="connsiteY4537" fmla="*/ 117352 h 840509"/>
                  <a:gd name="connsiteX4538" fmla="*/ 401431 w 939786"/>
                  <a:gd name="connsiteY4538" fmla="*/ 117352 h 840509"/>
                  <a:gd name="connsiteX4539" fmla="*/ 401695 w 939786"/>
                  <a:gd name="connsiteY4539" fmla="*/ 117352 h 840509"/>
                  <a:gd name="connsiteX4540" fmla="*/ 404076 w 939786"/>
                  <a:gd name="connsiteY4540" fmla="*/ 117969 h 840509"/>
                  <a:gd name="connsiteX4541" fmla="*/ 409013 w 939786"/>
                  <a:gd name="connsiteY4541" fmla="*/ 119468 h 840509"/>
                  <a:gd name="connsiteX4542" fmla="*/ 411041 w 939786"/>
                  <a:gd name="connsiteY4542" fmla="*/ 120350 h 840509"/>
                  <a:gd name="connsiteX4543" fmla="*/ 412540 w 939786"/>
                  <a:gd name="connsiteY4543" fmla="*/ 120703 h 840509"/>
                  <a:gd name="connsiteX4544" fmla="*/ 412804 w 939786"/>
                  <a:gd name="connsiteY4544" fmla="*/ 120967 h 840509"/>
                  <a:gd name="connsiteX4545" fmla="*/ 414568 w 939786"/>
                  <a:gd name="connsiteY4545" fmla="*/ 122731 h 840509"/>
                  <a:gd name="connsiteX4546" fmla="*/ 414833 w 939786"/>
                  <a:gd name="connsiteY4546" fmla="*/ 122995 h 840509"/>
                  <a:gd name="connsiteX4547" fmla="*/ 413686 w 939786"/>
                  <a:gd name="connsiteY4547" fmla="*/ 127403 h 840509"/>
                  <a:gd name="connsiteX4548" fmla="*/ 413951 w 939786"/>
                  <a:gd name="connsiteY4548" fmla="*/ 128020 h 840509"/>
                  <a:gd name="connsiteX4549" fmla="*/ 415714 w 939786"/>
                  <a:gd name="connsiteY4549" fmla="*/ 125993 h 840509"/>
                  <a:gd name="connsiteX4550" fmla="*/ 415714 w 939786"/>
                  <a:gd name="connsiteY4550" fmla="*/ 123700 h 840509"/>
                  <a:gd name="connsiteX4551" fmla="*/ 415714 w 939786"/>
                  <a:gd name="connsiteY4551" fmla="*/ 123436 h 840509"/>
                  <a:gd name="connsiteX4552" fmla="*/ 415714 w 939786"/>
                  <a:gd name="connsiteY4552" fmla="*/ 120174 h 840509"/>
                  <a:gd name="connsiteX4553" fmla="*/ 415714 w 939786"/>
                  <a:gd name="connsiteY4553" fmla="*/ 119909 h 840509"/>
                  <a:gd name="connsiteX4554" fmla="*/ 415978 w 939786"/>
                  <a:gd name="connsiteY4554" fmla="*/ 119645 h 840509"/>
                  <a:gd name="connsiteX4555" fmla="*/ 416243 w 939786"/>
                  <a:gd name="connsiteY4555" fmla="*/ 119645 h 840509"/>
                  <a:gd name="connsiteX4556" fmla="*/ 418007 w 939786"/>
                  <a:gd name="connsiteY4556" fmla="*/ 120262 h 840509"/>
                  <a:gd name="connsiteX4557" fmla="*/ 418359 w 939786"/>
                  <a:gd name="connsiteY4557" fmla="*/ 120262 h 840509"/>
                  <a:gd name="connsiteX4558" fmla="*/ 420652 w 939786"/>
                  <a:gd name="connsiteY4558" fmla="*/ 121761 h 840509"/>
                  <a:gd name="connsiteX4559" fmla="*/ 420916 w 939786"/>
                  <a:gd name="connsiteY4559" fmla="*/ 122113 h 840509"/>
                  <a:gd name="connsiteX4560" fmla="*/ 421181 w 939786"/>
                  <a:gd name="connsiteY4560" fmla="*/ 122378 h 840509"/>
                  <a:gd name="connsiteX4561" fmla="*/ 421181 w 939786"/>
                  <a:gd name="connsiteY4561" fmla="*/ 122642 h 840509"/>
                  <a:gd name="connsiteX4562" fmla="*/ 423825 w 939786"/>
                  <a:gd name="connsiteY4562" fmla="*/ 126433 h 840509"/>
                  <a:gd name="connsiteX4563" fmla="*/ 424443 w 939786"/>
                  <a:gd name="connsiteY4563" fmla="*/ 127315 h 840509"/>
                  <a:gd name="connsiteX4564" fmla="*/ 424443 w 939786"/>
                  <a:gd name="connsiteY4564" fmla="*/ 127580 h 840509"/>
                  <a:gd name="connsiteX4565" fmla="*/ 424178 w 939786"/>
                  <a:gd name="connsiteY4565" fmla="*/ 128461 h 840509"/>
                  <a:gd name="connsiteX4566" fmla="*/ 424178 w 939786"/>
                  <a:gd name="connsiteY4566" fmla="*/ 128726 h 840509"/>
                  <a:gd name="connsiteX4567" fmla="*/ 424443 w 939786"/>
                  <a:gd name="connsiteY4567" fmla="*/ 128726 h 840509"/>
                  <a:gd name="connsiteX4568" fmla="*/ 424707 w 939786"/>
                  <a:gd name="connsiteY4568" fmla="*/ 128726 h 840509"/>
                  <a:gd name="connsiteX4569" fmla="*/ 425589 w 939786"/>
                  <a:gd name="connsiteY4569" fmla="*/ 128461 h 840509"/>
                  <a:gd name="connsiteX4570" fmla="*/ 425854 w 939786"/>
                  <a:gd name="connsiteY4570" fmla="*/ 128197 h 840509"/>
                  <a:gd name="connsiteX4571" fmla="*/ 425589 w 939786"/>
                  <a:gd name="connsiteY4571" fmla="*/ 128197 h 840509"/>
                  <a:gd name="connsiteX4572" fmla="*/ 425589 w 939786"/>
                  <a:gd name="connsiteY4572" fmla="*/ 127932 h 840509"/>
                  <a:gd name="connsiteX4573" fmla="*/ 424972 w 939786"/>
                  <a:gd name="connsiteY4573" fmla="*/ 127051 h 840509"/>
                  <a:gd name="connsiteX4574" fmla="*/ 424972 w 939786"/>
                  <a:gd name="connsiteY4574" fmla="*/ 126786 h 840509"/>
                  <a:gd name="connsiteX4575" fmla="*/ 424707 w 939786"/>
                  <a:gd name="connsiteY4575" fmla="*/ 126169 h 840509"/>
                  <a:gd name="connsiteX4576" fmla="*/ 424443 w 939786"/>
                  <a:gd name="connsiteY4576" fmla="*/ 125904 h 840509"/>
                  <a:gd name="connsiteX4577" fmla="*/ 424178 w 939786"/>
                  <a:gd name="connsiteY4577" fmla="*/ 124494 h 840509"/>
                  <a:gd name="connsiteX4578" fmla="*/ 424178 w 939786"/>
                  <a:gd name="connsiteY4578" fmla="*/ 124229 h 840509"/>
                  <a:gd name="connsiteX4579" fmla="*/ 423914 w 939786"/>
                  <a:gd name="connsiteY4579" fmla="*/ 122731 h 840509"/>
                  <a:gd name="connsiteX4580" fmla="*/ 423914 w 939786"/>
                  <a:gd name="connsiteY4580" fmla="*/ 122466 h 840509"/>
                  <a:gd name="connsiteX4581" fmla="*/ 424178 w 939786"/>
                  <a:gd name="connsiteY4581" fmla="*/ 122466 h 840509"/>
                  <a:gd name="connsiteX4582" fmla="*/ 424795 w 939786"/>
                  <a:gd name="connsiteY4582" fmla="*/ 121320 h 840509"/>
                  <a:gd name="connsiteX4583" fmla="*/ 425060 w 939786"/>
                  <a:gd name="connsiteY4583" fmla="*/ 120703 h 840509"/>
                  <a:gd name="connsiteX4584" fmla="*/ 425060 w 939786"/>
                  <a:gd name="connsiteY4584" fmla="*/ 119821 h 840509"/>
                  <a:gd name="connsiteX4585" fmla="*/ 425060 w 939786"/>
                  <a:gd name="connsiteY4585" fmla="*/ 119556 h 840509"/>
                  <a:gd name="connsiteX4586" fmla="*/ 425324 w 939786"/>
                  <a:gd name="connsiteY4586" fmla="*/ 119821 h 840509"/>
                  <a:gd name="connsiteX4587" fmla="*/ 426206 w 939786"/>
                  <a:gd name="connsiteY4587" fmla="*/ 120085 h 840509"/>
                  <a:gd name="connsiteX4588" fmla="*/ 427970 w 939786"/>
                  <a:gd name="connsiteY4588" fmla="*/ 120350 h 840509"/>
                  <a:gd name="connsiteX4589" fmla="*/ 428234 w 939786"/>
                  <a:gd name="connsiteY4589" fmla="*/ 120350 h 840509"/>
                  <a:gd name="connsiteX4590" fmla="*/ 428499 w 939786"/>
                  <a:gd name="connsiteY4590" fmla="*/ 120350 h 840509"/>
                  <a:gd name="connsiteX4591" fmla="*/ 429645 w 939786"/>
                  <a:gd name="connsiteY4591" fmla="*/ 119733 h 840509"/>
                  <a:gd name="connsiteX4592" fmla="*/ 431408 w 939786"/>
                  <a:gd name="connsiteY4592" fmla="*/ 118587 h 840509"/>
                  <a:gd name="connsiteX4593" fmla="*/ 431673 w 939786"/>
                  <a:gd name="connsiteY4593" fmla="*/ 117969 h 840509"/>
                  <a:gd name="connsiteX4594" fmla="*/ 428410 w 939786"/>
                  <a:gd name="connsiteY4594" fmla="*/ 119116 h 840509"/>
                  <a:gd name="connsiteX4595" fmla="*/ 427793 w 939786"/>
                  <a:gd name="connsiteY4595" fmla="*/ 119380 h 840509"/>
                  <a:gd name="connsiteX4596" fmla="*/ 427528 w 939786"/>
                  <a:gd name="connsiteY4596" fmla="*/ 119116 h 840509"/>
                  <a:gd name="connsiteX4597" fmla="*/ 426647 w 939786"/>
                  <a:gd name="connsiteY4597" fmla="*/ 118587 h 840509"/>
                  <a:gd name="connsiteX4598" fmla="*/ 426030 w 939786"/>
                  <a:gd name="connsiteY4598" fmla="*/ 117969 h 840509"/>
                  <a:gd name="connsiteX4599" fmla="*/ 425677 w 939786"/>
                  <a:gd name="connsiteY4599" fmla="*/ 117969 h 840509"/>
                  <a:gd name="connsiteX4600" fmla="*/ 425677 w 939786"/>
                  <a:gd name="connsiteY4600" fmla="*/ 117705 h 840509"/>
                  <a:gd name="connsiteX4601" fmla="*/ 424531 w 939786"/>
                  <a:gd name="connsiteY4601" fmla="*/ 115677 h 840509"/>
                  <a:gd name="connsiteX4602" fmla="*/ 424531 w 939786"/>
                  <a:gd name="connsiteY4602" fmla="*/ 115412 h 840509"/>
                  <a:gd name="connsiteX4603" fmla="*/ 424266 w 939786"/>
                  <a:gd name="connsiteY4603" fmla="*/ 114883 h 840509"/>
                  <a:gd name="connsiteX4604" fmla="*/ 424266 w 939786"/>
                  <a:gd name="connsiteY4604" fmla="*/ 114619 h 840509"/>
                  <a:gd name="connsiteX4605" fmla="*/ 424531 w 939786"/>
                  <a:gd name="connsiteY4605" fmla="*/ 114266 h 840509"/>
                  <a:gd name="connsiteX4606" fmla="*/ 425148 w 939786"/>
                  <a:gd name="connsiteY4606" fmla="*/ 114266 h 840509"/>
                  <a:gd name="connsiteX4607" fmla="*/ 425148 w 939786"/>
                  <a:gd name="connsiteY4607" fmla="*/ 114002 h 840509"/>
                  <a:gd name="connsiteX4608" fmla="*/ 425412 w 939786"/>
                  <a:gd name="connsiteY4608" fmla="*/ 114002 h 840509"/>
                  <a:gd name="connsiteX4609" fmla="*/ 425677 w 939786"/>
                  <a:gd name="connsiteY4609" fmla="*/ 114002 h 840509"/>
                  <a:gd name="connsiteX4610" fmla="*/ 426294 w 939786"/>
                  <a:gd name="connsiteY4610" fmla="*/ 114002 h 840509"/>
                  <a:gd name="connsiteX4611" fmla="*/ 426912 w 939786"/>
                  <a:gd name="connsiteY4611" fmla="*/ 114002 h 840509"/>
                  <a:gd name="connsiteX4612" fmla="*/ 427176 w 939786"/>
                  <a:gd name="connsiteY4612" fmla="*/ 113737 h 840509"/>
                  <a:gd name="connsiteX4613" fmla="*/ 428322 w 939786"/>
                  <a:gd name="connsiteY4613" fmla="*/ 112855 h 840509"/>
                  <a:gd name="connsiteX4614" fmla="*/ 428675 w 939786"/>
                  <a:gd name="connsiteY4614" fmla="*/ 112855 h 840509"/>
                  <a:gd name="connsiteX4615" fmla="*/ 428939 w 939786"/>
                  <a:gd name="connsiteY4615" fmla="*/ 112591 h 840509"/>
                  <a:gd name="connsiteX4616" fmla="*/ 429204 w 939786"/>
                  <a:gd name="connsiteY4616" fmla="*/ 112238 h 840509"/>
                  <a:gd name="connsiteX4617" fmla="*/ 428939 w 939786"/>
                  <a:gd name="connsiteY4617" fmla="*/ 112238 h 840509"/>
                  <a:gd name="connsiteX4618" fmla="*/ 428675 w 939786"/>
                  <a:gd name="connsiteY4618" fmla="*/ 112238 h 840509"/>
                  <a:gd name="connsiteX4619" fmla="*/ 427528 w 939786"/>
                  <a:gd name="connsiteY4619" fmla="*/ 112855 h 840509"/>
                  <a:gd name="connsiteX4620" fmla="*/ 426647 w 939786"/>
                  <a:gd name="connsiteY4620" fmla="*/ 113120 h 840509"/>
                  <a:gd name="connsiteX4621" fmla="*/ 426383 w 939786"/>
                  <a:gd name="connsiteY4621" fmla="*/ 113120 h 840509"/>
                  <a:gd name="connsiteX4622" fmla="*/ 426118 w 939786"/>
                  <a:gd name="connsiteY4622" fmla="*/ 113120 h 840509"/>
                  <a:gd name="connsiteX4623" fmla="*/ 424972 w 939786"/>
                  <a:gd name="connsiteY4623" fmla="*/ 113120 h 840509"/>
                  <a:gd name="connsiteX4624" fmla="*/ 423825 w 939786"/>
                  <a:gd name="connsiteY4624" fmla="*/ 112591 h 840509"/>
                  <a:gd name="connsiteX4625" fmla="*/ 422062 w 939786"/>
                  <a:gd name="connsiteY4625" fmla="*/ 111445 h 840509"/>
                  <a:gd name="connsiteX4626" fmla="*/ 420299 w 939786"/>
                  <a:gd name="connsiteY4626" fmla="*/ 109681 h 840509"/>
                  <a:gd name="connsiteX4627" fmla="*/ 420299 w 939786"/>
                  <a:gd name="connsiteY4627" fmla="*/ 109417 h 840509"/>
                  <a:gd name="connsiteX4628" fmla="*/ 420299 w 939786"/>
                  <a:gd name="connsiteY4628" fmla="*/ 109153 h 840509"/>
                  <a:gd name="connsiteX4629" fmla="*/ 420828 w 939786"/>
                  <a:gd name="connsiteY4629" fmla="*/ 107389 h 840509"/>
                  <a:gd name="connsiteX4630" fmla="*/ 422591 w 939786"/>
                  <a:gd name="connsiteY4630" fmla="*/ 104480 h 840509"/>
                  <a:gd name="connsiteX4631" fmla="*/ 424002 w 939786"/>
                  <a:gd name="connsiteY4631" fmla="*/ 102716 h 840509"/>
                  <a:gd name="connsiteX4632" fmla="*/ 426383 w 939786"/>
                  <a:gd name="connsiteY4632" fmla="*/ 101217 h 840509"/>
                  <a:gd name="connsiteX4633" fmla="*/ 428763 w 939786"/>
                  <a:gd name="connsiteY4633" fmla="*/ 99718 h 840509"/>
                  <a:gd name="connsiteX4634" fmla="*/ 429028 w 939786"/>
                  <a:gd name="connsiteY4634" fmla="*/ 99454 h 840509"/>
                  <a:gd name="connsiteX4635" fmla="*/ 429292 w 939786"/>
                  <a:gd name="connsiteY4635" fmla="*/ 99454 h 840509"/>
                  <a:gd name="connsiteX4636" fmla="*/ 429557 w 939786"/>
                  <a:gd name="connsiteY4636" fmla="*/ 99189 h 840509"/>
                  <a:gd name="connsiteX4637" fmla="*/ 429821 w 939786"/>
                  <a:gd name="connsiteY4637" fmla="*/ 98925 h 840509"/>
                  <a:gd name="connsiteX4638" fmla="*/ 430086 w 939786"/>
                  <a:gd name="connsiteY4638" fmla="*/ 98043 h 840509"/>
                  <a:gd name="connsiteX4639" fmla="*/ 431849 w 939786"/>
                  <a:gd name="connsiteY4639" fmla="*/ 92841 h 840509"/>
                  <a:gd name="connsiteX4640" fmla="*/ 431849 w 939786"/>
                  <a:gd name="connsiteY4640" fmla="*/ 91960 h 840509"/>
                  <a:gd name="connsiteX4641" fmla="*/ 431849 w 939786"/>
                  <a:gd name="connsiteY4641" fmla="*/ 91695 h 840509"/>
                  <a:gd name="connsiteX4642" fmla="*/ 431849 w 939786"/>
                  <a:gd name="connsiteY4642" fmla="*/ 91431 h 840509"/>
                  <a:gd name="connsiteX4643" fmla="*/ 432113 w 939786"/>
                  <a:gd name="connsiteY4643" fmla="*/ 90813 h 840509"/>
                  <a:gd name="connsiteX4644" fmla="*/ 433260 w 939786"/>
                  <a:gd name="connsiteY4644" fmla="*/ 87287 h 840509"/>
                  <a:gd name="connsiteX4645" fmla="*/ 433612 w 939786"/>
                  <a:gd name="connsiteY4645" fmla="*/ 87022 h 840509"/>
                  <a:gd name="connsiteX4646" fmla="*/ 435023 w 939786"/>
                  <a:gd name="connsiteY4646" fmla="*/ 85259 h 840509"/>
                  <a:gd name="connsiteX4647" fmla="*/ 435287 w 939786"/>
                  <a:gd name="connsiteY4647" fmla="*/ 85259 h 840509"/>
                  <a:gd name="connsiteX4648" fmla="*/ 435023 w 939786"/>
                  <a:gd name="connsiteY4648" fmla="*/ 86758 h 840509"/>
                  <a:gd name="connsiteX4649" fmla="*/ 435287 w 939786"/>
                  <a:gd name="connsiteY4649" fmla="*/ 87022 h 840509"/>
                  <a:gd name="connsiteX4650" fmla="*/ 435552 w 939786"/>
                  <a:gd name="connsiteY4650" fmla="*/ 87287 h 840509"/>
                  <a:gd name="connsiteX4651" fmla="*/ 435816 w 939786"/>
                  <a:gd name="connsiteY4651" fmla="*/ 87287 h 840509"/>
                  <a:gd name="connsiteX4652" fmla="*/ 436081 w 939786"/>
                  <a:gd name="connsiteY4652" fmla="*/ 87551 h 840509"/>
                  <a:gd name="connsiteX4653" fmla="*/ 436698 w 939786"/>
                  <a:gd name="connsiteY4653" fmla="*/ 87287 h 840509"/>
                  <a:gd name="connsiteX4654" fmla="*/ 436962 w 939786"/>
                  <a:gd name="connsiteY4654" fmla="*/ 87287 h 840509"/>
                  <a:gd name="connsiteX4655" fmla="*/ 437580 w 939786"/>
                  <a:gd name="connsiteY4655" fmla="*/ 87022 h 840509"/>
                  <a:gd name="connsiteX4656" fmla="*/ 437844 w 939786"/>
                  <a:gd name="connsiteY4656" fmla="*/ 87022 h 840509"/>
                  <a:gd name="connsiteX4657" fmla="*/ 438109 w 939786"/>
                  <a:gd name="connsiteY4657" fmla="*/ 86758 h 840509"/>
                  <a:gd name="connsiteX4658" fmla="*/ 439608 w 939786"/>
                  <a:gd name="connsiteY4658" fmla="*/ 85876 h 840509"/>
                  <a:gd name="connsiteX4659" fmla="*/ 440754 w 939786"/>
                  <a:gd name="connsiteY4659" fmla="*/ 84994 h 840509"/>
                  <a:gd name="connsiteX4660" fmla="*/ 443399 w 939786"/>
                  <a:gd name="connsiteY4660" fmla="*/ 82349 h 840509"/>
                  <a:gd name="connsiteX4661" fmla="*/ 443399 w 939786"/>
                  <a:gd name="connsiteY4661" fmla="*/ 81468 h 840509"/>
                  <a:gd name="connsiteX4662" fmla="*/ 442253 w 939786"/>
                  <a:gd name="connsiteY4662" fmla="*/ 79440 h 840509"/>
                  <a:gd name="connsiteX4663" fmla="*/ 442253 w 939786"/>
                  <a:gd name="connsiteY4663" fmla="*/ 79175 h 840509"/>
                  <a:gd name="connsiteX4664" fmla="*/ 441900 w 939786"/>
                  <a:gd name="connsiteY4664" fmla="*/ 78911 h 840509"/>
                  <a:gd name="connsiteX4665" fmla="*/ 441636 w 939786"/>
                  <a:gd name="connsiteY4665" fmla="*/ 78646 h 840509"/>
                  <a:gd name="connsiteX4666" fmla="*/ 441283 w 939786"/>
                  <a:gd name="connsiteY4666" fmla="*/ 78646 h 840509"/>
                  <a:gd name="connsiteX4667" fmla="*/ 441018 w 939786"/>
                  <a:gd name="connsiteY4667" fmla="*/ 78646 h 840509"/>
                  <a:gd name="connsiteX4668" fmla="*/ 440754 w 939786"/>
                  <a:gd name="connsiteY4668" fmla="*/ 78646 h 840509"/>
                  <a:gd name="connsiteX4669" fmla="*/ 440754 w 939786"/>
                  <a:gd name="connsiteY4669" fmla="*/ 78294 h 840509"/>
                  <a:gd name="connsiteX4670" fmla="*/ 440754 w 939786"/>
                  <a:gd name="connsiteY4670" fmla="*/ 78029 h 840509"/>
                  <a:gd name="connsiteX4671" fmla="*/ 440754 w 939786"/>
                  <a:gd name="connsiteY4671" fmla="*/ 76618 h 840509"/>
                  <a:gd name="connsiteX4672" fmla="*/ 441018 w 939786"/>
                  <a:gd name="connsiteY4672" fmla="*/ 74855 h 840509"/>
                  <a:gd name="connsiteX4673" fmla="*/ 441283 w 939786"/>
                  <a:gd name="connsiteY4673" fmla="*/ 72563 h 840509"/>
                  <a:gd name="connsiteX4674" fmla="*/ 441636 w 939786"/>
                  <a:gd name="connsiteY4674" fmla="*/ 72563 h 840509"/>
                  <a:gd name="connsiteX4675" fmla="*/ 441900 w 939786"/>
                  <a:gd name="connsiteY4675" fmla="*/ 71681 h 840509"/>
                  <a:gd name="connsiteX4676" fmla="*/ 441900 w 939786"/>
                  <a:gd name="connsiteY4676" fmla="*/ 71416 h 840509"/>
                  <a:gd name="connsiteX4677" fmla="*/ 442782 w 939786"/>
                  <a:gd name="connsiteY4677" fmla="*/ 70799 h 840509"/>
                  <a:gd name="connsiteX4678" fmla="*/ 443046 w 939786"/>
                  <a:gd name="connsiteY4678" fmla="*/ 70799 h 840509"/>
                  <a:gd name="connsiteX4679" fmla="*/ 443046 w 939786"/>
                  <a:gd name="connsiteY4679" fmla="*/ 71064 h 840509"/>
                  <a:gd name="connsiteX4680" fmla="*/ 443046 w 939786"/>
                  <a:gd name="connsiteY4680" fmla="*/ 71328 h 840509"/>
                  <a:gd name="connsiteX4681" fmla="*/ 443046 w 939786"/>
                  <a:gd name="connsiteY4681" fmla="*/ 71593 h 840509"/>
                  <a:gd name="connsiteX4682" fmla="*/ 443311 w 939786"/>
                  <a:gd name="connsiteY4682" fmla="*/ 71593 h 840509"/>
                  <a:gd name="connsiteX4683" fmla="*/ 443311 w 939786"/>
                  <a:gd name="connsiteY4683" fmla="*/ 71857 h 840509"/>
                  <a:gd name="connsiteX4684" fmla="*/ 443575 w 939786"/>
                  <a:gd name="connsiteY4684" fmla="*/ 71857 h 840509"/>
                  <a:gd name="connsiteX4685" fmla="*/ 443840 w 939786"/>
                  <a:gd name="connsiteY4685" fmla="*/ 71857 h 840509"/>
                  <a:gd name="connsiteX4686" fmla="*/ 444104 w 939786"/>
                  <a:gd name="connsiteY4686" fmla="*/ 71593 h 840509"/>
                  <a:gd name="connsiteX4687" fmla="*/ 444721 w 939786"/>
                  <a:gd name="connsiteY4687" fmla="*/ 71593 h 840509"/>
                  <a:gd name="connsiteX4688" fmla="*/ 444986 w 939786"/>
                  <a:gd name="connsiteY4688" fmla="*/ 71328 h 840509"/>
                  <a:gd name="connsiteX4689" fmla="*/ 445250 w 939786"/>
                  <a:gd name="connsiteY4689" fmla="*/ 71064 h 840509"/>
                  <a:gd name="connsiteX4690" fmla="*/ 445868 w 939786"/>
                  <a:gd name="connsiteY4690" fmla="*/ 70799 h 840509"/>
                  <a:gd name="connsiteX4691" fmla="*/ 446132 w 939786"/>
                  <a:gd name="connsiteY4691" fmla="*/ 70535 h 840509"/>
                  <a:gd name="connsiteX4692" fmla="*/ 446132 w 939786"/>
                  <a:gd name="connsiteY4692" fmla="*/ 70270 h 840509"/>
                  <a:gd name="connsiteX4693" fmla="*/ 446397 w 939786"/>
                  <a:gd name="connsiteY4693" fmla="*/ 69653 h 840509"/>
                  <a:gd name="connsiteX4694" fmla="*/ 446661 w 939786"/>
                  <a:gd name="connsiteY4694" fmla="*/ 69388 h 840509"/>
                  <a:gd name="connsiteX4695" fmla="*/ 446661 w 939786"/>
                  <a:gd name="connsiteY4695" fmla="*/ 69036 h 840509"/>
                  <a:gd name="connsiteX4696" fmla="*/ 446926 w 939786"/>
                  <a:gd name="connsiteY4696" fmla="*/ 67008 h 840509"/>
                  <a:gd name="connsiteX4697" fmla="*/ 446926 w 939786"/>
                  <a:gd name="connsiteY4697" fmla="*/ 66744 h 840509"/>
                  <a:gd name="connsiteX4698" fmla="*/ 446926 w 939786"/>
                  <a:gd name="connsiteY4698" fmla="*/ 66479 h 840509"/>
                  <a:gd name="connsiteX4699" fmla="*/ 446661 w 939786"/>
                  <a:gd name="connsiteY4699" fmla="*/ 66215 h 840509"/>
                  <a:gd name="connsiteX4700" fmla="*/ 446926 w 939786"/>
                  <a:gd name="connsiteY4700" fmla="*/ 65950 h 840509"/>
                  <a:gd name="connsiteX4701" fmla="*/ 447190 w 939786"/>
                  <a:gd name="connsiteY4701" fmla="*/ 65333 h 840509"/>
                  <a:gd name="connsiteX4702" fmla="*/ 447190 w 939786"/>
                  <a:gd name="connsiteY4702" fmla="*/ 65068 h 840509"/>
                  <a:gd name="connsiteX4703" fmla="*/ 450452 w 939786"/>
                  <a:gd name="connsiteY4703" fmla="*/ 63569 h 840509"/>
                  <a:gd name="connsiteX4704" fmla="*/ 450717 w 939786"/>
                  <a:gd name="connsiteY4704" fmla="*/ 63305 h 840509"/>
                  <a:gd name="connsiteX4705" fmla="*/ 450717 w 939786"/>
                  <a:gd name="connsiteY4705" fmla="*/ 63569 h 840509"/>
                  <a:gd name="connsiteX4706" fmla="*/ 450981 w 939786"/>
                  <a:gd name="connsiteY4706" fmla="*/ 63569 h 840509"/>
                  <a:gd name="connsiteX4707" fmla="*/ 451246 w 939786"/>
                  <a:gd name="connsiteY4707" fmla="*/ 64716 h 840509"/>
                  <a:gd name="connsiteX4708" fmla="*/ 451510 w 939786"/>
                  <a:gd name="connsiteY4708" fmla="*/ 64980 h 840509"/>
                  <a:gd name="connsiteX4709" fmla="*/ 452128 w 939786"/>
                  <a:gd name="connsiteY4709" fmla="*/ 65862 h 840509"/>
                  <a:gd name="connsiteX4710" fmla="*/ 452392 w 939786"/>
                  <a:gd name="connsiteY4710" fmla="*/ 65862 h 840509"/>
                  <a:gd name="connsiteX4711" fmla="*/ 452745 w 939786"/>
                  <a:gd name="connsiteY4711" fmla="*/ 66126 h 840509"/>
                  <a:gd name="connsiteX4712" fmla="*/ 453891 w 939786"/>
                  <a:gd name="connsiteY4712" fmla="*/ 66126 h 840509"/>
                  <a:gd name="connsiteX4713" fmla="*/ 454155 w 939786"/>
                  <a:gd name="connsiteY4713" fmla="*/ 65862 h 840509"/>
                  <a:gd name="connsiteX4714" fmla="*/ 454420 w 939786"/>
                  <a:gd name="connsiteY4714" fmla="*/ 65862 h 840509"/>
                  <a:gd name="connsiteX4715" fmla="*/ 454155 w 939786"/>
                  <a:gd name="connsiteY4715" fmla="*/ 65509 h 840509"/>
                  <a:gd name="connsiteX4716" fmla="*/ 453274 w 939786"/>
                  <a:gd name="connsiteY4716" fmla="*/ 65245 h 840509"/>
                  <a:gd name="connsiteX4717" fmla="*/ 452392 w 939786"/>
                  <a:gd name="connsiteY4717" fmla="*/ 65245 h 840509"/>
                  <a:gd name="connsiteX4718" fmla="*/ 452128 w 939786"/>
                  <a:gd name="connsiteY4718" fmla="*/ 64098 h 840509"/>
                  <a:gd name="connsiteX4719" fmla="*/ 452128 w 939786"/>
                  <a:gd name="connsiteY4719" fmla="*/ 62952 h 840509"/>
                  <a:gd name="connsiteX4720" fmla="*/ 452128 w 939786"/>
                  <a:gd name="connsiteY4720" fmla="*/ 62688 h 840509"/>
                  <a:gd name="connsiteX4721" fmla="*/ 452392 w 939786"/>
                  <a:gd name="connsiteY4721" fmla="*/ 62071 h 840509"/>
                  <a:gd name="connsiteX4722" fmla="*/ 452745 w 939786"/>
                  <a:gd name="connsiteY4722" fmla="*/ 61806 h 840509"/>
                  <a:gd name="connsiteX4723" fmla="*/ 452745 w 939786"/>
                  <a:gd name="connsiteY4723" fmla="*/ 61189 h 840509"/>
                  <a:gd name="connsiteX4724" fmla="*/ 453009 w 939786"/>
                  <a:gd name="connsiteY4724" fmla="*/ 60924 h 840509"/>
                  <a:gd name="connsiteX4725" fmla="*/ 453626 w 939786"/>
                  <a:gd name="connsiteY4725" fmla="*/ 59161 h 840509"/>
                  <a:gd name="connsiteX4726" fmla="*/ 453362 w 939786"/>
                  <a:gd name="connsiteY4726" fmla="*/ 59161 h 840509"/>
                  <a:gd name="connsiteX4727" fmla="*/ 453097 w 939786"/>
                  <a:gd name="connsiteY4727" fmla="*/ 58896 h 840509"/>
                  <a:gd name="connsiteX4728" fmla="*/ 452833 w 939786"/>
                  <a:gd name="connsiteY4728" fmla="*/ 58544 h 840509"/>
                  <a:gd name="connsiteX4729" fmla="*/ 453097 w 939786"/>
                  <a:gd name="connsiteY4729" fmla="*/ 58279 h 840509"/>
                  <a:gd name="connsiteX4730" fmla="*/ 453362 w 939786"/>
                  <a:gd name="connsiteY4730" fmla="*/ 58015 h 840509"/>
                  <a:gd name="connsiteX4731" fmla="*/ 453626 w 939786"/>
                  <a:gd name="connsiteY4731" fmla="*/ 58015 h 840509"/>
                  <a:gd name="connsiteX4732" fmla="*/ 454244 w 939786"/>
                  <a:gd name="connsiteY4732" fmla="*/ 58015 h 840509"/>
                  <a:gd name="connsiteX4733" fmla="*/ 454508 w 939786"/>
                  <a:gd name="connsiteY4733" fmla="*/ 58015 h 840509"/>
                  <a:gd name="connsiteX4734" fmla="*/ 456800 w 939786"/>
                  <a:gd name="connsiteY4734" fmla="*/ 59161 h 840509"/>
                  <a:gd name="connsiteX4735" fmla="*/ 458829 w 939786"/>
                  <a:gd name="connsiteY4735" fmla="*/ 64451 h 840509"/>
                  <a:gd name="connsiteX4736" fmla="*/ 458829 w 939786"/>
                  <a:gd name="connsiteY4736" fmla="*/ 63569 h 840509"/>
                  <a:gd name="connsiteX4737" fmla="*/ 460327 w 939786"/>
                  <a:gd name="connsiteY4737" fmla="*/ 61806 h 840509"/>
                  <a:gd name="connsiteX4738" fmla="*/ 458564 w 939786"/>
                  <a:gd name="connsiteY4738" fmla="*/ 59778 h 840509"/>
                  <a:gd name="connsiteX4739" fmla="*/ 458564 w 939786"/>
                  <a:gd name="connsiteY4739" fmla="*/ 60131 h 840509"/>
                  <a:gd name="connsiteX4740" fmla="*/ 458300 w 939786"/>
                  <a:gd name="connsiteY4740" fmla="*/ 60131 h 840509"/>
                  <a:gd name="connsiteX4741" fmla="*/ 458035 w 939786"/>
                  <a:gd name="connsiteY4741" fmla="*/ 59778 h 840509"/>
                  <a:gd name="connsiteX4742" fmla="*/ 457771 w 939786"/>
                  <a:gd name="connsiteY4742" fmla="*/ 59514 h 840509"/>
                  <a:gd name="connsiteX4743" fmla="*/ 458035 w 939786"/>
                  <a:gd name="connsiteY4743" fmla="*/ 58632 h 840509"/>
                  <a:gd name="connsiteX4744" fmla="*/ 458652 w 939786"/>
                  <a:gd name="connsiteY4744" fmla="*/ 57750 h 840509"/>
                  <a:gd name="connsiteX4745" fmla="*/ 459534 w 939786"/>
                  <a:gd name="connsiteY4745" fmla="*/ 57133 h 840509"/>
                  <a:gd name="connsiteX4746" fmla="*/ 460416 w 939786"/>
                  <a:gd name="connsiteY4746" fmla="*/ 57133 h 840509"/>
                  <a:gd name="connsiteX4747" fmla="*/ 460680 w 939786"/>
                  <a:gd name="connsiteY4747" fmla="*/ 57133 h 840509"/>
                  <a:gd name="connsiteX4748" fmla="*/ 461562 w 939786"/>
                  <a:gd name="connsiteY4748" fmla="*/ 57133 h 840509"/>
                  <a:gd name="connsiteX4749" fmla="*/ 462708 w 939786"/>
                  <a:gd name="connsiteY4749" fmla="*/ 57486 h 840509"/>
                  <a:gd name="connsiteX4750" fmla="*/ 462972 w 939786"/>
                  <a:gd name="connsiteY4750" fmla="*/ 56604 h 840509"/>
                  <a:gd name="connsiteX4751" fmla="*/ 462972 w 939786"/>
                  <a:gd name="connsiteY4751" fmla="*/ 54841 h 840509"/>
                  <a:gd name="connsiteX4752" fmla="*/ 462972 w 939786"/>
                  <a:gd name="connsiteY4752" fmla="*/ 54576 h 840509"/>
                  <a:gd name="connsiteX4753" fmla="*/ 462972 w 939786"/>
                  <a:gd name="connsiteY4753" fmla="*/ 54312 h 840509"/>
                  <a:gd name="connsiteX4754" fmla="*/ 462708 w 939786"/>
                  <a:gd name="connsiteY4754" fmla="*/ 54047 h 840509"/>
                  <a:gd name="connsiteX4755" fmla="*/ 462708 w 939786"/>
                  <a:gd name="connsiteY4755" fmla="*/ 53783 h 840509"/>
                  <a:gd name="connsiteX4756" fmla="*/ 462355 w 939786"/>
                  <a:gd name="connsiteY4756" fmla="*/ 53783 h 840509"/>
                  <a:gd name="connsiteX4757" fmla="*/ 462355 w 939786"/>
                  <a:gd name="connsiteY4757" fmla="*/ 53518 h 840509"/>
                  <a:gd name="connsiteX4758" fmla="*/ 462708 w 939786"/>
                  <a:gd name="connsiteY4758" fmla="*/ 53254 h 840509"/>
                  <a:gd name="connsiteX4759" fmla="*/ 462708 w 939786"/>
                  <a:gd name="connsiteY4759" fmla="*/ 52637 h 840509"/>
                  <a:gd name="connsiteX4760" fmla="*/ 462972 w 939786"/>
                  <a:gd name="connsiteY4760" fmla="*/ 52372 h 840509"/>
                  <a:gd name="connsiteX4761" fmla="*/ 463237 w 939786"/>
                  <a:gd name="connsiteY4761" fmla="*/ 52372 h 840509"/>
                  <a:gd name="connsiteX4762" fmla="*/ 465000 w 939786"/>
                  <a:gd name="connsiteY4762" fmla="*/ 52372 h 840509"/>
                  <a:gd name="connsiteX4763" fmla="*/ 465265 w 939786"/>
                  <a:gd name="connsiteY4763" fmla="*/ 52637 h 840509"/>
                  <a:gd name="connsiteX4764" fmla="*/ 466146 w 939786"/>
                  <a:gd name="connsiteY4764" fmla="*/ 53518 h 840509"/>
                  <a:gd name="connsiteX4765" fmla="*/ 467028 w 939786"/>
                  <a:gd name="connsiteY4765" fmla="*/ 54136 h 840509"/>
                  <a:gd name="connsiteX4766" fmla="*/ 469938 w 939786"/>
                  <a:gd name="connsiteY4766" fmla="*/ 54136 h 840509"/>
                  <a:gd name="connsiteX4767" fmla="*/ 470290 w 939786"/>
                  <a:gd name="connsiteY4767" fmla="*/ 54665 h 840509"/>
                  <a:gd name="connsiteX4768" fmla="*/ 471172 w 939786"/>
                  <a:gd name="connsiteY4768" fmla="*/ 55546 h 840509"/>
                  <a:gd name="connsiteX4769" fmla="*/ 471437 w 939786"/>
                  <a:gd name="connsiteY4769" fmla="*/ 55546 h 840509"/>
                  <a:gd name="connsiteX4770" fmla="*/ 471437 w 939786"/>
                  <a:gd name="connsiteY4770" fmla="*/ 55811 h 840509"/>
                  <a:gd name="connsiteX4771" fmla="*/ 471701 w 939786"/>
                  <a:gd name="connsiteY4771" fmla="*/ 55811 h 840509"/>
                  <a:gd name="connsiteX4772" fmla="*/ 471966 w 939786"/>
                  <a:gd name="connsiteY4772" fmla="*/ 55811 h 840509"/>
                  <a:gd name="connsiteX4773" fmla="*/ 472230 w 939786"/>
                  <a:gd name="connsiteY4773" fmla="*/ 55811 h 840509"/>
                  <a:gd name="connsiteX4774" fmla="*/ 472583 w 939786"/>
                  <a:gd name="connsiteY4774" fmla="*/ 56075 h 840509"/>
                  <a:gd name="connsiteX4775" fmla="*/ 472847 w 939786"/>
                  <a:gd name="connsiteY4775" fmla="*/ 56075 h 840509"/>
                  <a:gd name="connsiteX4776" fmla="*/ 476903 w 939786"/>
                  <a:gd name="connsiteY4776" fmla="*/ 55811 h 840509"/>
                  <a:gd name="connsiteX4777" fmla="*/ 477784 w 939786"/>
                  <a:gd name="connsiteY4777" fmla="*/ 55546 h 840509"/>
                  <a:gd name="connsiteX4778" fmla="*/ 478402 w 939786"/>
                  <a:gd name="connsiteY4778" fmla="*/ 55546 h 840509"/>
                  <a:gd name="connsiteX4779" fmla="*/ 478666 w 939786"/>
                  <a:gd name="connsiteY4779" fmla="*/ 55546 h 840509"/>
                  <a:gd name="connsiteX4780" fmla="*/ 479284 w 939786"/>
                  <a:gd name="connsiteY4780" fmla="*/ 55281 h 840509"/>
                  <a:gd name="connsiteX4781" fmla="*/ 482458 w 939786"/>
                  <a:gd name="connsiteY4781" fmla="*/ 55281 h 840509"/>
                  <a:gd name="connsiteX4782" fmla="*/ 483339 w 939786"/>
                  <a:gd name="connsiteY4782" fmla="*/ 55899 h 840509"/>
                  <a:gd name="connsiteX4783" fmla="*/ 484838 w 939786"/>
                  <a:gd name="connsiteY4783" fmla="*/ 56516 h 840509"/>
                  <a:gd name="connsiteX4784" fmla="*/ 485103 w 939786"/>
                  <a:gd name="connsiteY4784" fmla="*/ 56516 h 840509"/>
                  <a:gd name="connsiteX4785" fmla="*/ 485455 w 939786"/>
                  <a:gd name="connsiteY4785" fmla="*/ 56251 h 840509"/>
                  <a:gd name="connsiteX4786" fmla="*/ 488982 w 939786"/>
                  <a:gd name="connsiteY4786" fmla="*/ 53607 h 840509"/>
                  <a:gd name="connsiteX4787" fmla="*/ 491892 w 939786"/>
                  <a:gd name="connsiteY4787" fmla="*/ 53607 h 840509"/>
                  <a:gd name="connsiteX4788" fmla="*/ 491892 w 939786"/>
                  <a:gd name="connsiteY4788" fmla="*/ 53871 h 840509"/>
                  <a:gd name="connsiteX4789" fmla="*/ 492156 w 939786"/>
                  <a:gd name="connsiteY4789" fmla="*/ 54136 h 840509"/>
                  <a:gd name="connsiteX4790" fmla="*/ 492421 w 939786"/>
                  <a:gd name="connsiteY4790" fmla="*/ 54400 h 840509"/>
                  <a:gd name="connsiteX4791" fmla="*/ 492685 w 939786"/>
                  <a:gd name="connsiteY4791" fmla="*/ 55899 h 840509"/>
                  <a:gd name="connsiteX4792" fmla="*/ 492685 w 939786"/>
                  <a:gd name="connsiteY4792" fmla="*/ 56163 h 840509"/>
                  <a:gd name="connsiteX4793" fmla="*/ 492685 w 939786"/>
                  <a:gd name="connsiteY4793" fmla="*/ 56428 h 840509"/>
                  <a:gd name="connsiteX4794" fmla="*/ 492421 w 939786"/>
                  <a:gd name="connsiteY4794" fmla="*/ 56692 h 840509"/>
                  <a:gd name="connsiteX4795" fmla="*/ 492156 w 939786"/>
                  <a:gd name="connsiteY4795" fmla="*/ 57045 h 840509"/>
                  <a:gd name="connsiteX4796" fmla="*/ 492156 w 939786"/>
                  <a:gd name="connsiteY4796" fmla="*/ 57309 h 840509"/>
                  <a:gd name="connsiteX4797" fmla="*/ 491892 w 939786"/>
                  <a:gd name="connsiteY4797" fmla="*/ 57309 h 840509"/>
                  <a:gd name="connsiteX4798" fmla="*/ 491892 w 939786"/>
                  <a:gd name="connsiteY4798" fmla="*/ 57662 h 840509"/>
                  <a:gd name="connsiteX4799" fmla="*/ 491892 w 939786"/>
                  <a:gd name="connsiteY4799" fmla="*/ 58279 h 840509"/>
                  <a:gd name="connsiteX4800" fmla="*/ 492156 w 939786"/>
                  <a:gd name="connsiteY4800" fmla="*/ 57662 h 840509"/>
                  <a:gd name="connsiteX4801" fmla="*/ 492421 w 939786"/>
                  <a:gd name="connsiteY4801" fmla="*/ 57309 h 840509"/>
                  <a:gd name="connsiteX4802" fmla="*/ 492950 w 939786"/>
                  <a:gd name="connsiteY4802" fmla="*/ 56692 h 840509"/>
                  <a:gd name="connsiteX4803" fmla="*/ 493214 w 939786"/>
                  <a:gd name="connsiteY4803" fmla="*/ 56692 h 840509"/>
                  <a:gd name="connsiteX4804" fmla="*/ 493214 w 939786"/>
                  <a:gd name="connsiteY4804" fmla="*/ 56075 h 840509"/>
                  <a:gd name="connsiteX4805" fmla="*/ 493214 w 939786"/>
                  <a:gd name="connsiteY4805" fmla="*/ 55811 h 840509"/>
                  <a:gd name="connsiteX4806" fmla="*/ 493214 w 939786"/>
                  <a:gd name="connsiteY4806" fmla="*/ 54929 h 840509"/>
                  <a:gd name="connsiteX4807" fmla="*/ 493214 w 939786"/>
                  <a:gd name="connsiteY4807" fmla="*/ 54665 h 840509"/>
                  <a:gd name="connsiteX4808" fmla="*/ 493214 w 939786"/>
                  <a:gd name="connsiteY4808" fmla="*/ 54400 h 840509"/>
                  <a:gd name="connsiteX4809" fmla="*/ 493214 w 939786"/>
                  <a:gd name="connsiteY4809" fmla="*/ 54136 h 840509"/>
                  <a:gd name="connsiteX4810" fmla="*/ 493214 w 939786"/>
                  <a:gd name="connsiteY4810" fmla="*/ 53254 h 840509"/>
                  <a:gd name="connsiteX4811" fmla="*/ 493479 w 939786"/>
                  <a:gd name="connsiteY4811" fmla="*/ 52637 h 840509"/>
                  <a:gd name="connsiteX4812" fmla="*/ 493743 w 939786"/>
                  <a:gd name="connsiteY4812" fmla="*/ 52372 h 840509"/>
                  <a:gd name="connsiteX4813" fmla="*/ 494008 w 939786"/>
                  <a:gd name="connsiteY4813" fmla="*/ 52108 h 840509"/>
                  <a:gd name="connsiteX4814" fmla="*/ 496653 w 939786"/>
                  <a:gd name="connsiteY4814" fmla="*/ 51226 h 840509"/>
                  <a:gd name="connsiteX4815" fmla="*/ 496917 w 939786"/>
                  <a:gd name="connsiteY4815" fmla="*/ 51490 h 840509"/>
                  <a:gd name="connsiteX4816" fmla="*/ 497182 w 939786"/>
                  <a:gd name="connsiteY4816" fmla="*/ 51490 h 840509"/>
                  <a:gd name="connsiteX4817" fmla="*/ 498945 w 939786"/>
                  <a:gd name="connsiteY4817" fmla="*/ 52108 h 840509"/>
                  <a:gd name="connsiteX4818" fmla="*/ 499562 w 939786"/>
                  <a:gd name="connsiteY4818" fmla="*/ 52372 h 840509"/>
                  <a:gd name="connsiteX4819" fmla="*/ 500180 w 939786"/>
                  <a:gd name="connsiteY4819" fmla="*/ 52108 h 840509"/>
                  <a:gd name="connsiteX4820" fmla="*/ 500444 w 939786"/>
                  <a:gd name="connsiteY4820" fmla="*/ 52108 h 840509"/>
                  <a:gd name="connsiteX4821" fmla="*/ 500444 w 939786"/>
                  <a:gd name="connsiteY4821" fmla="*/ 51843 h 840509"/>
                  <a:gd name="connsiteX4822" fmla="*/ 499562 w 939786"/>
                  <a:gd name="connsiteY4822" fmla="*/ 52108 h 840509"/>
                  <a:gd name="connsiteX4823" fmla="*/ 499562 w 939786"/>
                  <a:gd name="connsiteY4823" fmla="*/ 51843 h 840509"/>
                  <a:gd name="connsiteX4824" fmla="*/ 499298 w 939786"/>
                  <a:gd name="connsiteY4824" fmla="*/ 51843 h 840509"/>
                  <a:gd name="connsiteX4825" fmla="*/ 498416 w 939786"/>
                  <a:gd name="connsiteY4825" fmla="*/ 50961 h 840509"/>
                  <a:gd name="connsiteX4826" fmla="*/ 498151 w 939786"/>
                  <a:gd name="connsiteY4826" fmla="*/ 50697 h 840509"/>
                  <a:gd name="connsiteX4827" fmla="*/ 498151 w 939786"/>
                  <a:gd name="connsiteY4827" fmla="*/ 50432 h 840509"/>
                  <a:gd name="connsiteX4828" fmla="*/ 498151 w 939786"/>
                  <a:gd name="connsiteY4828" fmla="*/ 49815 h 840509"/>
                  <a:gd name="connsiteX4829" fmla="*/ 498151 w 939786"/>
                  <a:gd name="connsiteY4829" fmla="*/ 49198 h 840509"/>
                  <a:gd name="connsiteX4830" fmla="*/ 498680 w 939786"/>
                  <a:gd name="connsiteY4830" fmla="*/ 43996 h 840509"/>
                  <a:gd name="connsiteX4831" fmla="*/ 499033 w 939786"/>
                  <a:gd name="connsiteY4831" fmla="*/ 42585 h 840509"/>
                  <a:gd name="connsiteX4832" fmla="*/ 499298 w 939786"/>
                  <a:gd name="connsiteY4832" fmla="*/ 41968 h 840509"/>
                  <a:gd name="connsiteX4833" fmla="*/ 500444 w 939786"/>
                  <a:gd name="connsiteY4833" fmla="*/ 40205 h 840509"/>
                  <a:gd name="connsiteX4834" fmla="*/ 499827 w 939786"/>
                  <a:gd name="connsiteY4834" fmla="*/ 39676 h 840509"/>
                  <a:gd name="connsiteX4835" fmla="*/ 497446 w 939786"/>
                  <a:gd name="connsiteY4835" fmla="*/ 37648 h 840509"/>
                  <a:gd name="connsiteX4836" fmla="*/ 496564 w 939786"/>
                  <a:gd name="connsiteY4836" fmla="*/ 35885 h 840509"/>
                  <a:gd name="connsiteX4837" fmla="*/ 495947 w 939786"/>
                  <a:gd name="connsiteY4837" fmla="*/ 35267 h 840509"/>
                  <a:gd name="connsiteX4838" fmla="*/ 495683 w 939786"/>
                  <a:gd name="connsiteY4838" fmla="*/ 35267 h 840509"/>
                  <a:gd name="connsiteX4839" fmla="*/ 495683 w 939786"/>
                  <a:gd name="connsiteY4839" fmla="*/ 35003 h 840509"/>
                  <a:gd name="connsiteX4840" fmla="*/ 494537 w 939786"/>
                  <a:gd name="connsiteY4840" fmla="*/ 35003 h 840509"/>
                  <a:gd name="connsiteX4841" fmla="*/ 494272 w 939786"/>
                  <a:gd name="connsiteY4841" fmla="*/ 34738 h 840509"/>
                  <a:gd name="connsiteX4842" fmla="*/ 491363 w 939786"/>
                  <a:gd name="connsiteY4842" fmla="*/ 35267 h 840509"/>
                  <a:gd name="connsiteX4843" fmla="*/ 490746 w 939786"/>
                  <a:gd name="connsiteY4843" fmla="*/ 35620 h 840509"/>
                  <a:gd name="connsiteX4844" fmla="*/ 489599 w 939786"/>
                  <a:gd name="connsiteY4844" fmla="*/ 36237 h 840509"/>
                  <a:gd name="connsiteX4845" fmla="*/ 489335 w 939786"/>
                  <a:gd name="connsiteY4845" fmla="*/ 36237 h 840509"/>
                  <a:gd name="connsiteX4846" fmla="*/ 488188 w 939786"/>
                  <a:gd name="connsiteY4846" fmla="*/ 37119 h 840509"/>
                  <a:gd name="connsiteX4847" fmla="*/ 487924 w 939786"/>
                  <a:gd name="connsiteY4847" fmla="*/ 37119 h 840509"/>
                  <a:gd name="connsiteX4848" fmla="*/ 487659 w 939786"/>
                  <a:gd name="connsiteY4848" fmla="*/ 37119 h 840509"/>
                  <a:gd name="connsiteX4849" fmla="*/ 487659 w 939786"/>
                  <a:gd name="connsiteY4849" fmla="*/ 36766 h 840509"/>
                  <a:gd name="connsiteX4850" fmla="*/ 487395 w 939786"/>
                  <a:gd name="connsiteY4850" fmla="*/ 36766 h 840509"/>
                  <a:gd name="connsiteX4851" fmla="*/ 487395 w 939786"/>
                  <a:gd name="connsiteY4851" fmla="*/ 36502 h 840509"/>
                  <a:gd name="connsiteX4852" fmla="*/ 485984 w 939786"/>
                  <a:gd name="connsiteY4852" fmla="*/ 34738 h 840509"/>
                  <a:gd name="connsiteX4853" fmla="*/ 485720 w 939786"/>
                  <a:gd name="connsiteY4853" fmla="*/ 33239 h 840509"/>
                  <a:gd name="connsiteX4854" fmla="*/ 485984 w 939786"/>
                  <a:gd name="connsiteY4854" fmla="*/ 33239 h 840509"/>
                  <a:gd name="connsiteX4855" fmla="*/ 485984 w 939786"/>
                  <a:gd name="connsiteY4855" fmla="*/ 32534 h 840509"/>
                  <a:gd name="connsiteX4856" fmla="*/ 485984 w 939786"/>
                  <a:gd name="connsiteY4856" fmla="*/ 32270 h 840509"/>
                  <a:gd name="connsiteX4857" fmla="*/ 485720 w 939786"/>
                  <a:gd name="connsiteY4857" fmla="*/ 32270 h 840509"/>
                  <a:gd name="connsiteX4858" fmla="*/ 484574 w 939786"/>
                  <a:gd name="connsiteY4858" fmla="*/ 31741 h 840509"/>
                  <a:gd name="connsiteX4859" fmla="*/ 483956 w 939786"/>
                  <a:gd name="connsiteY4859" fmla="*/ 31388 h 840509"/>
                  <a:gd name="connsiteX4860" fmla="*/ 483692 w 939786"/>
                  <a:gd name="connsiteY4860" fmla="*/ 31123 h 840509"/>
                  <a:gd name="connsiteX4861" fmla="*/ 483075 w 939786"/>
                  <a:gd name="connsiteY4861" fmla="*/ 31388 h 840509"/>
                  <a:gd name="connsiteX4862" fmla="*/ 482458 w 939786"/>
                  <a:gd name="connsiteY4862" fmla="*/ 31388 h 840509"/>
                  <a:gd name="connsiteX4863" fmla="*/ 482193 w 939786"/>
                  <a:gd name="connsiteY4863" fmla="*/ 31741 h 840509"/>
                  <a:gd name="connsiteX4864" fmla="*/ 481929 w 939786"/>
                  <a:gd name="connsiteY4864" fmla="*/ 31741 h 840509"/>
                  <a:gd name="connsiteX4865" fmla="*/ 481664 w 939786"/>
                  <a:gd name="connsiteY4865" fmla="*/ 31388 h 840509"/>
                  <a:gd name="connsiteX4866" fmla="*/ 481664 w 939786"/>
                  <a:gd name="connsiteY4866" fmla="*/ 31123 h 840509"/>
                  <a:gd name="connsiteX4867" fmla="*/ 481929 w 939786"/>
                  <a:gd name="connsiteY4867" fmla="*/ 30859 h 840509"/>
                  <a:gd name="connsiteX4868" fmla="*/ 484221 w 939786"/>
                  <a:gd name="connsiteY4868" fmla="*/ 27949 h 840509"/>
                  <a:gd name="connsiteX4869" fmla="*/ 486513 w 939786"/>
                  <a:gd name="connsiteY4869" fmla="*/ 26803 h 840509"/>
                  <a:gd name="connsiteX4870" fmla="*/ 486778 w 939786"/>
                  <a:gd name="connsiteY4870" fmla="*/ 26803 h 840509"/>
                  <a:gd name="connsiteX4871" fmla="*/ 487042 w 939786"/>
                  <a:gd name="connsiteY4871" fmla="*/ 26803 h 840509"/>
                  <a:gd name="connsiteX4872" fmla="*/ 487042 w 939786"/>
                  <a:gd name="connsiteY4872" fmla="*/ 27068 h 840509"/>
                  <a:gd name="connsiteX4873" fmla="*/ 488806 w 939786"/>
                  <a:gd name="connsiteY4873" fmla="*/ 29360 h 840509"/>
                  <a:gd name="connsiteX4874" fmla="*/ 489688 w 939786"/>
                  <a:gd name="connsiteY4874" fmla="*/ 33416 h 840509"/>
                  <a:gd name="connsiteX4875" fmla="*/ 489952 w 939786"/>
                  <a:gd name="connsiteY4875" fmla="*/ 33680 h 840509"/>
                  <a:gd name="connsiteX4876" fmla="*/ 490569 w 939786"/>
                  <a:gd name="connsiteY4876" fmla="*/ 33680 h 840509"/>
                  <a:gd name="connsiteX4877" fmla="*/ 490921 w 939786"/>
                  <a:gd name="connsiteY4877" fmla="*/ 33680 h 840509"/>
                  <a:gd name="connsiteX4878" fmla="*/ 493919 w 939786"/>
                  <a:gd name="connsiteY4878" fmla="*/ 32534 h 840509"/>
                  <a:gd name="connsiteX4879" fmla="*/ 493919 w 939786"/>
                  <a:gd name="connsiteY4879" fmla="*/ 32270 h 840509"/>
                  <a:gd name="connsiteX4880" fmla="*/ 493302 w 939786"/>
                  <a:gd name="connsiteY4880" fmla="*/ 29007 h 840509"/>
                  <a:gd name="connsiteX4881" fmla="*/ 492950 w 939786"/>
                  <a:gd name="connsiteY4881" fmla="*/ 28126 h 840509"/>
                  <a:gd name="connsiteX4882" fmla="*/ 492685 w 939786"/>
                  <a:gd name="connsiteY4882" fmla="*/ 27508 h 840509"/>
                  <a:gd name="connsiteX4883" fmla="*/ 492685 w 939786"/>
                  <a:gd name="connsiteY4883" fmla="*/ 27244 h 840509"/>
                  <a:gd name="connsiteX4884" fmla="*/ 492421 w 939786"/>
                  <a:gd name="connsiteY4884" fmla="*/ 26980 h 840509"/>
                  <a:gd name="connsiteX4885" fmla="*/ 492685 w 939786"/>
                  <a:gd name="connsiteY4885" fmla="*/ 26980 h 840509"/>
                  <a:gd name="connsiteX4886" fmla="*/ 492685 w 939786"/>
                  <a:gd name="connsiteY4886" fmla="*/ 26715 h 840509"/>
                  <a:gd name="connsiteX4887" fmla="*/ 493302 w 939786"/>
                  <a:gd name="connsiteY4887" fmla="*/ 26715 h 840509"/>
                  <a:gd name="connsiteX4888" fmla="*/ 493567 w 939786"/>
                  <a:gd name="connsiteY4888" fmla="*/ 26715 h 840509"/>
                  <a:gd name="connsiteX4889" fmla="*/ 495330 w 939786"/>
                  <a:gd name="connsiteY4889" fmla="*/ 27597 h 840509"/>
                  <a:gd name="connsiteX4890" fmla="*/ 495595 w 939786"/>
                  <a:gd name="connsiteY4890" fmla="*/ 27597 h 840509"/>
                  <a:gd name="connsiteX4891" fmla="*/ 496741 w 939786"/>
                  <a:gd name="connsiteY4891" fmla="*/ 26715 h 840509"/>
                  <a:gd name="connsiteX4892" fmla="*/ 497005 w 939786"/>
                  <a:gd name="connsiteY4892" fmla="*/ 26715 h 840509"/>
                  <a:gd name="connsiteX4893" fmla="*/ 499033 w 939786"/>
                  <a:gd name="connsiteY4893" fmla="*/ 29007 h 840509"/>
                  <a:gd name="connsiteX4894" fmla="*/ 499915 w 939786"/>
                  <a:gd name="connsiteY4894" fmla="*/ 29889 h 840509"/>
                  <a:gd name="connsiteX4895" fmla="*/ 499915 w 939786"/>
                  <a:gd name="connsiteY4895" fmla="*/ 30154 h 840509"/>
                  <a:gd name="connsiteX4896" fmla="*/ 499915 w 939786"/>
                  <a:gd name="connsiteY4896" fmla="*/ 31035 h 840509"/>
                  <a:gd name="connsiteX4897" fmla="*/ 499915 w 939786"/>
                  <a:gd name="connsiteY4897" fmla="*/ 31300 h 840509"/>
                  <a:gd name="connsiteX4898" fmla="*/ 502296 w 939786"/>
                  <a:gd name="connsiteY4898" fmla="*/ 35444 h 840509"/>
                  <a:gd name="connsiteX4899" fmla="*/ 502560 w 939786"/>
                  <a:gd name="connsiteY4899" fmla="*/ 35708 h 840509"/>
                  <a:gd name="connsiteX4900" fmla="*/ 502825 w 939786"/>
                  <a:gd name="connsiteY4900" fmla="*/ 35973 h 840509"/>
                  <a:gd name="connsiteX4901" fmla="*/ 503089 w 939786"/>
                  <a:gd name="connsiteY4901" fmla="*/ 36237 h 840509"/>
                  <a:gd name="connsiteX4902" fmla="*/ 503706 w 939786"/>
                  <a:gd name="connsiteY4902" fmla="*/ 36590 h 840509"/>
                  <a:gd name="connsiteX4903" fmla="*/ 503971 w 939786"/>
                  <a:gd name="connsiteY4903" fmla="*/ 36590 h 840509"/>
                  <a:gd name="connsiteX4904" fmla="*/ 504235 w 939786"/>
                  <a:gd name="connsiteY4904" fmla="*/ 36237 h 840509"/>
                  <a:gd name="connsiteX4905" fmla="*/ 505117 w 939786"/>
                  <a:gd name="connsiteY4905" fmla="*/ 35356 h 840509"/>
                  <a:gd name="connsiteX4906" fmla="*/ 506616 w 939786"/>
                  <a:gd name="connsiteY4906" fmla="*/ 33328 h 840509"/>
                  <a:gd name="connsiteX4907" fmla="*/ 507762 w 939786"/>
                  <a:gd name="connsiteY4907" fmla="*/ 32181 h 840509"/>
                  <a:gd name="connsiteX4908" fmla="*/ 507497 w 939786"/>
                  <a:gd name="connsiteY4908" fmla="*/ 31917 h 840509"/>
                  <a:gd name="connsiteX4909" fmla="*/ 507762 w 939786"/>
                  <a:gd name="connsiteY4909" fmla="*/ 31917 h 840509"/>
                  <a:gd name="connsiteX4910" fmla="*/ 507762 w 939786"/>
                  <a:gd name="connsiteY4910" fmla="*/ 31652 h 840509"/>
                  <a:gd name="connsiteX4911" fmla="*/ 508643 w 939786"/>
                  <a:gd name="connsiteY4911" fmla="*/ 31917 h 840509"/>
                  <a:gd name="connsiteX4912" fmla="*/ 509261 w 939786"/>
                  <a:gd name="connsiteY4912" fmla="*/ 32534 h 840509"/>
                  <a:gd name="connsiteX4913" fmla="*/ 510143 w 939786"/>
                  <a:gd name="connsiteY4913" fmla="*/ 33680 h 840509"/>
                  <a:gd name="connsiteX4914" fmla="*/ 510143 w 939786"/>
                  <a:gd name="connsiteY4914" fmla="*/ 33945 h 840509"/>
                  <a:gd name="connsiteX4915" fmla="*/ 511024 w 939786"/>
                  <a:gd name="connsiteY4915" fmla="*/ 35973 h 840509"/>
                  <a:gd name="connsiteX4916" fmla="*/ 511288 w 939786"/>
                  <a:gd name="connsiteY4916" fmla="*/ 37119 h 840509"/>
                  <a:gd name="connsiteX4917" fmla="*/ 511288 w 939786"/>
                  <a:gd name="connsiteY4917" fmla="*/ 37383 h 840509"/>
                  <a:gd name="connsiteX4918" fmla="*/ 511553 w 939786"/>
                  <a:gd name="connsiteY4918" fmla="*/ 37383 h 840509"/>
                  <a:gd name="connsiteX4919" fmla="*/ 511906 w 939786"/>
                  <a:gd name="connsiteY4919" fmla="*/ 38530 h 840509"/>
                  <a:gd name="connsiteX4920" fmla="*/ 512435 w 939786"/>
                  <a:gd name="connsiteY4920" fmla="*/ 40293 h 840509"/>
                  <a:gd name="connsiteX4921" fmla="*/ 512699 w 939786"/>
                  <a:gd name="connsiteY4921" fmla="*/ 40558 h 840509"/>
                  <a:gd name="connsiteX4922" fmla="*/ 512699 w 939786"/>
                  <a:gd name="connsiteY4922" fmla="*/ 40822 h 840509"/>
                  <a:gd name="connsiteX4923" fmla="*/ 512964 w 939786"/>
                  <a:gd name="connsiteY4923" fmla="*/ 40822 h 840509"/>
                  <a:gd name="connsiteX4924" fmla="*/ 513228 w 939786"/>
                  <a:gd name="connsiteY4924" fmla="*/ 41175 h 840509"/>
                  <a:gd name="connsiteX4925" fmla="*/ 513846 w 939786"/>
                  <a:gd name="connsiteY4925" fmla="*/ 41439 h 840509"/>
                  <a:gd name="connsiteX4926" fmla="*/ 514375 w 939786"/>
                  <a:gd name="connsiteY4926" fmla="*/ 41704 h 840509"/>
                  <a:gd name="connsiteX4927" fmla="*/ 514727 w 939786"/>
                  <a:gd name="connsiteY4927" fmla="*/ 41704 h 840509"/>
                  <a:gd name="connsiteX4928" fmla="*/ 515873 w 939786"/>
                  <a:gd name="connsiteY4928" fmla="*/ 40822 h 840509"/>
                  <a:gd name="connsiteX4929" fmla="*/ 516755 w 939786"/>
                  <a:gd name="connsiteY4929" fmla="*/ 40558 h 840509"/>
                  <a:gd name="connsiteX4930" fmla="*/ 517108 w 939786"/>
                  <a:gd name="connsiteY4930" fmla="*/ 40558 h 840509"/>
                  <a:gd name="connsiteX4931" fmla="*/ 517108 w 939786"/>
                  <a:gd name="connsiteY4931" fmla="*/ 40822 h 840509"/>
                  <a:gd name="connsiteX4932" fmla="*/ 517108 w 939786"/>
                  <a:gd name="connsiteY4932" fmla="*/ 41351 h 840509"/>
                  <a:gd name="connsiteX4933" fmla="*/ 517989 w 939786"/>
                  <a:gd name="connsiteY4933" fmla="*/ 42762 h 840509"/>
                  <a:gd name="connsiteX4934" fmla="*/ 520899 w 939786"/>
                  <a:gd name="connsiteY4934" fmla="*/ 44260 h 840509"/>
                  <a:gd name="connsiteX4935" fmla="*/ 522398 w 939786"/>
                  <a:gd name="connsiteY4935" fmla="*/ 44260 h 840509"/>
                  <a:gd name="connsiteX4936" fmla="*/ 523544 w 939786"/>
                  <a:gd name="connsiteY4936" fmla="*/ 43996 h 840509"/>
                  <a:gd name="connsiteX4937" fmla="*/ 525572 w 939786"/>
                  <a:gd name="connsiteY4937" fmla="*/ 42850 h 840509"/>
                  <a:gd name="connsiteX4938" fmla="*/ 525925 w 939786"/>
                  <a:gd name="connsiteY4938" fmla="*/ 42585 h 840509"/>
                  <a:gd name="connsiteX4939" fmla="*/ 526189 w 939786"/>
                  <a:gd name="connsiteY4939" fmla="*/ 42321 h 840509"/>
                  <a:gd name="connsiteX4940" fmla="*/ 526189 w 939786"/>
                  <a:gd name="connsiteY4940" fmla="*/ 42056 h 840509"/>
                  <a:gd name="connsiteX4941" fmla="*/ 526806 w 939786"/>
                  <a:gd name="connsiteY4941" fmla="*/ 41439 h 840509"/>
                  <a:gd name="connsiteX4942" fmla="*/ 527423 w 939786"/>
                  <a:gd name="connsiteY4942" fmla="*/ 41439 h 840509"/>
                  <a:gd name="connsiteX4943" fmla="*/ 529187 w 939786"/>
                  <a:gd name="connsiteY4943" fmla="*/ 42056 h 840509"/>
                  <a:gd name="connsiteX4944" fmla="*/ 529187 w 939786"/>
                  <a:gd name="connsiteY4944" fmla="*/ 42673 h 840509"/>
                  <a:gd name="connsiteX4945" fmla="*/ 527776 w 939786"/>
                  <a:gd name="connsiteY4945" fmla="*/ 43820 h 840509"/>
                  <a:gd name="connsiteX4946" fmla="*/ 527423 w 939786"/>
                  <a:gd name="connsiteY4946" fmla="*/ 43820 h 840509"/>
                  <a:gd name="connsiteX4947" fmla="*/ 527423 w 939786"/>
                  <a:gd name="connsiteY4947" fmla="*/ 44084 h 840509"/>
                  <a:gd name="connsiteX4948" fmla="*/ 527159 w 939786"/>
                  <a:gd name="connsiteY4948" fmla="*/ 44349 h 840509"/>
                  <a:gd name="connsiteX4949" fmla="*/ 527159 w 939786"/>
                  <a:gd name="connsiteY4949" fmla="*/ 44613 h 840509"/>
                  <a:gd name="connsiteX4950" fmla="*/ 527159 w 939786"/>
                  <a:gd name="connsiteY4950" fmla="*/ 44878 h 840509"/>
                  <a:gd name="connsiteX4951" fmla="*/ 527423 w 939786"/>
                  <a:gd name="connsiteY4951" fmla="*/ 44878 h 840509"/>
                  <a:gd name="connsiteX4952" fmla="*/ 527776 w 939786"/>
                  <a:gd name="connsiteY4952" fmla="*/ 45495 h 840509"/>
                  <a:gd name="connsiteX4953" fmla="*/ 528922 w 939786"/>
                  <a:gd name="connsiteY4953" fmla="*/ 46377 h 840509"/>
                  <a:gd name="connsiteX4954" fmla="*/ 529187 w 939786"/>
                  <a:gd name="connsiteY4954" fmla="*/ 46377 h 840509"/>
                  <a:gd name="connsiteX4955" fmla="*/ 529452 w 939786"/>
                  <a:gd name="connsiteY4955" fmla="*/ 46377 h 840509"/>
                  <a:gd name="connsiteX4956" fmla="*/ 530333 w 939786"/>
                  <a:gd name="connsiteY4956" fmla="*/ 45759 h 840509"/>
                  <a:gd name="connsiteX4957" fmla="*/ 530597 w 939786"/>
                  <a:gd name="connsiteY4957" fmla="*/ 45759 h 840509"/>
                  <a:gd name="connsiteX4958" fmla="*/ 530862 w 939786"/>
                  <a:gd name="connsiteY4958" fmla="*/ 45495 h 840509"/>
                  <a:gd name="connsiteX4959" fmla="*/ 530862 w 939786"/>
                  <a:gd name="connsiteY4959" fmla="*/ 45230 h 840509"/>
                  <a:gd name="connsiteX4960" fmla="*/ 530862 w 939786"/>
                  <a:gd name="connsiteY4960" fmla="*/ 44878 h 840509"/>
                  <a:gd name="connsiteX4961" fmla="*/ 531126 w 939786"/>
                  <a:gd name="connsiteY4961" fmla="*/ 44878 h 840509"/>
                  <a:gd name="connsiteX4962" fmla="*/ 531479 w 939786"/>
                  <a:gd name="connsiteY4962" fmla="*/ 44613 h 840509"/>
                  <a:gd name="connsiteX4963" fmla="*/ 531743 w 939786"/>
                  <a:gd name="connsiteY4963" fmla="*/ 44613 h 840509"/>
                  <a:gd name="connsiteX4964" fmla="*/ 534389 w 939786"/>
                  <a:gd name="connsiteY4964" fmla="*/ 47258 h 840509"/>
                  <a:gd name="connsiteX4965" fmla="*/ 534124 w 939786"/>
                  <a:gd name="connsiteY4965" fmla="*/ 47611 h 840509"/>
                  <a:gd name="connsiteX4966" fmla="*/ 534124 w 939786"/>
                  <a:gd name="connsiteY4966" fmla="*/ 49639 h 840509"/>
                  <a:gd name="connsiteX4967" fmla="*/ 534389 w 939786"/>
                  <a:gd name="connsiteY4967" fmla="*/ 49903 h 840509"/>
                  <a:gd name="connsiteX4968" fmla="*/ 538180 w 939786"/>
                  <a:gd name="connsiteY4968" fmla="*/ 49374 h 840509"/>
                  <a:gd name="connsiteX4969" fmla="*/ 538533 w 939786"/>
                  <a:gd name="connsiteY4969" fmla="*/ 49903 h 840509"/>
                  <a:gd name="connsiteX4970" fmla="*/ 539150 w 939786"/>
                  <a:gd name="connsiteY4970" fmla="*/ 49903 h 840509"/>
                  <a:gd name="connsiteX4971" fmla="*/ 539414 w 939786"/>
                  <a:gd name="connsiteY4971" fmla="*/ 49903 h 840509"/>
                  <a:gd name="connsiteX4972" fmla="*/ 540560 w 939786"/>
                  <a:gd name="connsiteY4972" fmla="*/ 50168 h 840509"/>
                  <a:gd name="connsiteX4973" fmla="*/ 540825 w 939786"/>
                  <a:gd name="connsiteY4973" fmla="*/ 50168 h 840509"/>
                  <a:gd name="connsiteX4974" fmla="*/ 541089 w 939786"/>
                  <a:gd name="connsiteY4974" fmla="*/ 50168 h 840509"/>
                  <a:gd name="connsiteX4975" fmla="*/ 542853 w 939786"/>
                  <a:gd name="connsiteY4975" fmla="*/ 49903 h 840509"/>
                  <a:gd name="connsiteX4976" fmla="*/ 544616 w 939786"/>
                  <a:gd name="connsiteY4976" fmla="*/ 48757 h 840509"/>
                  <a:gd name="connsiteX4977" fmla="*/ 544881 w 939786"/>
                  <a:gd name="connsiteY4977" fmla="*/ 48493 h 840509"/>
                  <a:gd name="connsiteX4978" fmla="*/ 546909 w 939786"/>
                  <a:gd name="connsiteY4978" fmla="*/ 48493 h 840509"/>
                  <a:gd name="connsiteX4979" fmla="*/ 547526 w 939786"/>
                  <a:gd name="connsiteY4979" fmla="*/ 49639 h 840509"/>
                  <a:gd name="connsiteX4980" fmla="*/ 548407 w 939786"/>
                  <a:gd name="connsiteY4980" fmla="*/ 51667 h 840509"/>
                  <a:gd name="connsiteX4981" fmla="*/ 548672 w 939786"/>
                  <a:gd name="connsiteY4981" fmla="*/ 51931 h 840509"/>
                  <a:gd name="connsiteX4982" fmla="*/ 548936 w 939786"/>
                  <a:gd name="connsiteY4982" fmla="*/ 51931 h 840509"/>
                  <a:gd name="connsiteX4983" fmla="*/ 549201 w 939786"/>
                  <a:gd name="connsiteY4983" fmla="*/ 51931 h 840509"/>
                  <a:gd name="connsiteX4984" fmla="*/ 551229 w 939786"/>
                  <a:gd name="connsiteY4984" fmla="*/ 53430 h 840509"/>
                  <a:gd name="connsiteX4985" fmla="*/ 552728 w 939786"/>
                  <a:gd name="connsiteY4985" fmla="*/ 55193 h 840509"/>
                  <a:gd name="connsiteX4986" fmla="*/ 555020 w 939786"/>
                  <a:gd name="connsiteY4986" fmla="*/ 55458 h 840509"/>
                  <a:gd name="connsiteX4987" fmla="*/ 555902 w 939786"/>
                  <a:gd name="connsiteY4987" fmla="*/ 55722 h 840509"/>
                  <a:gd name="connsiteX4988" fmla="*/ 555902 w 939786"/>
                  <a:gd name="connsiteY4988" fmla="*/ 55458 h 840509"/>
                  <a:gd name="connsiteX4989" fmla="*/ 556166 w 939786"/>
                  <a:gd name="connsiteY4989" fmla="*/ 54047 h 840509"/>
                  <a:gd name="connsiteX4990" fmla="*/ 557048 w 939786"/>
                  <a:gd name="connsiteY4990" fmla="*/ 52813 h 840509"/>
                  <a:gd name="connsiteX4991" fmla="*/ 558547 w 939786"/>
                  <a:gd name="connsiteY4991" fmla="*/ 51402 h 840509"/>
                  <a:gd name="connsiteX4992" fmla="*/ 559693 w 939786"/>
                  <a:gd name="connsiteY4992" fmla="*/ 50785 h 840509"/>
                  <a:gd name="connsiteX4993" fmla="*/ 560311 w 939786"/>
                  <a:gd name="connsiteY4993" fmla="*/ 50785 h 840509"/>
                  <a:gd name="connsiteX4994" fmla="*/ 560575 w 939786"/>
                  <a:gd name="connsiteY4994" fmla="*/ 51050 h 840509"/>
                  <a:gd name="connsiteX4995" fmla="*/ 560575 w 939786"/>
                  <a:gd name="connsiteY4995" fmla="*/ 51314 h 840509"/>
                  <a:gd name="connsiteX4996" fmla="*/ 560927 w 939786"/>
                  <a:gd name="connsiteY4996" fmla="*/ 51314 h 840509"/>
                  <a:gd name="connsiteX4997" fmla="*/ 561192 w 939786"/>
                  <a:gd name="connsiteY4997" fmla="*/ 51314 h 840509"/>
                  <a:gd name="connsiteX4998" fmla="*/ 564102 w 939786"/>
                  <a:gd name="connsiteY4998" fmla="*/ 51050 h 840509"/>
                  <a:gd name="connsiteX4999" fmla="*/ 565865 w 939786"/>
                  <a:gd name="connsiteY4999" fmla="*/ 49903 h 840509"/>
                  <a:gd name="connsiteX5000" fmla="*/ 565865 w 939786"/>
                  <a:gd name="connsiteY5000" fmla="*/ 49639 h 840509"/>
                  <a:gd name="connsiteX5001" fmla="*/ 566129 w 939786"/>
                  <a:gd name="connsiteY5001" fmla="*/ 49639 h 840509"/>
                  <a:gd name="connsiteX5002" fmla="*/ 566129 w 939786"/>
                  <a:gd name="connsiteY5002" fmla="*/ 49374 h 840509"/>
                  <a:gd name="connsiteX5003" fmla="*/ 566129 w 939786"/>
                  <a:gd name="connsiteY5003" fmla="*/ 49022 h 840509"/>
                  <a:gd name="connsiteX5004" fmla="*/ 565865 w 939786"/>
                  <a:gd name="connsiteY5004" fmla="*/ 49022 h 840509"/>
                  <a:gd name="connsiteX5005" fmla="*/ 565600 w 939786"/>
                  <a:gd name="connsiteY5005" fmla="*/ 49022 h 840509"/>
                  <a:gd name="connsiteX5006" fmla="*/ 565248 w 939786"/>
                  <a:gd name="connsiteY5006" fmla="*/ 49374 h 840509"/>
                  <a:gd name="connsiteX5007" fmla="*/ 564983 w 939786"/>
                  <a:gd name="connsiteY5007" fmla="*/ 49639 h 840509"/>
                  <a:gd name="connsiteX5008" fmla="*/ 564454 w 939786"/>
                  <a:gd name="connsiteY5008" fmla="*/ 49903 h 840509"/>
                  <a:gd name="connsiteX5009" fmla="*/ 564189 w 939786"/>
                  <a:gd name="connsiteY5009" fmla="*/ 49903 h 840509"/>
                  <a:gd name="connsiteX5010" fmla="*/ 564189 w 939786"/>
                  <a:gd name="connsiteY5010" fmla="*/ 49639 h 840509"/>
                  <a:gd name="connsiteX5011" fmla="*/ 564189 w 939786"/>
                  <a:gd name="connsiteY5011" fmla="*/ 49374 h 840509"/>
                  <a:gd name="connsiteX5012" fmla="*/ 564189 w 939786"/>
                  <a:gd name="connsiteY5012" fmla="*/ 49022 h 840509"/>
                  <a:gd name="connsiteX5013" fmla="*/ 564719 w 939786"/>
                  <a:gd name="connsiteY5013" fmla="*/ 47611 h 840509"/>
                  <a:gd name="connsiteX5014" fmla="*/ 564719 w 939786"/>
                  <a:gd name="connsiteY5014" fmla="*/ 47258 h 840509"/>
                  <a:gd name="connsiteX5015" fmla="*/ 566747 w 939786"/>
                  <a:gd name="connsiteY5015" fmla="*/ 46994 h 840509"/>
                  <a:gd name="connsiteX5016" fmla="*/ 567364 w 939786"/>
                  <a:gd name="connsiteY5016" fmla="*/ 46994 h 840509"/>
                  <a:gd name="connsiteX5017" fmla="*/ 567628 w 939786"/>
                  <a:gd name="connsiteY5017" fmla="*/ 46994 h 840509"/>
                  <a:gd name="connsiteX5018" fmla="*/ 567893 w 939786"/>
                  <a:gd name="connsiteY5018" fmla="*/ 46994 h 840509"/>
                  <a:gd name="connsiteX5019" fmla="*/ 568157 w 939786"/>
                  <a:gd name="connsiteY5019" fmla="*/ 46994 h 840509"/>
                  <a:gd name="connsiteX5020" fmla="*/ 568422 w 939786"/>
                  <a:gd name="connsiteY5020" fmla="*/ 46729 h 840509"/>
                  <a:gd name="connsiteX5021" fmla="*/ 570185 w 939786"/>
                  <a:gd name="connsiteY5021" fmla="*/ 45230 h 840509"/>
                  <a:gd name="connsiteX5022" fmla="*/ 571067 w 939786"/>
                  <a:gd name="connsiteY5022" fmla="*/ 44613 h 840509"/>
                  <a:gd name="connsiteX5023" fmla="*/ 571332 w 939786"/>
                  <a:gd name="connsiteY5023" fmla="*/ 44613 h 840509"/>
                  <a:gd name="connsiteX5024" fmla="*/ 571332 w 939786"/>
                  <a:gd name="connsiteY5024" fmla="*/ 44349 h 840509"/>
                  <a:gd name="connsiteX5025" fmla="*/ 571332 w 939786"/>
                  <a:gd name="connsiteY5025" fmla="*/ 44084 h 840509"/>
                  <a:gd name="connsiteX5026" fmla="*/ 571596 w 939786"/>
                  <a:gd name="connsiteY5026" fmla="*/ 43820 h 840509"/>
                  <a:gd name="connsiteX5027" fmla="*/ 571596 w 939786"/>
                  <a:gd name="connsiteY5027" fmla="*/ 43555 h 840509"/>
                  <a:gd name="connsiteX5028" fmla="*/ 571332 w 939786"/>
                  <a:gd name="connsiteY5028" fmla="*/ 43291 h 840509"/>
                  <a:gd name="connsiteX5029" fmla="*/ 571332 w 939786"/>
                  <a:gd name="connsiteY5029" fmla="*/ 43026 h 840509"/>
                  <a:gd name="connsiteX5030" fmla="*/ 571067 w 939786"/>
                  <a:gd name="connsiteY5030" fmla="*/ 43026 h 840509"/>
                  <a:gd name="connsiteX5031" fmla="*/ 571332 w 939786"/>
                  <a:gd name="connsiteY5031" fmla="*/ 43026 h 840509"/>
                  <a:gd name="connsiteX5032" fmla="*/ 571332 w 939786"/>
                  <a:gd name="connsiteY5032" fmla="*/ 42762 h 840509"/>
                  <a:gd name="connsiteX5033" fmla="*/ 571596 w 939786"/>
                  <a:gd name="connsiteY5033" fmla="*/ 42762 h 840509"/>
                  <a:gd name="connsiteX5034" fmla="*/ 572213 w 939786"/>
                  <a:gd name="connsiteY5034" fmla="*/ 42762 h 840509"/>
                  <a:gd name="connsiteX5035" fmla="*/ 572213 w 939786"/>
                  <a:gd name="connsiteY5035" fmla="*/ 43026 h 840509"/>
                  <a:gd name="connsiteX5036" fmla="*/ 572477 w 939786"/>
                  <a:gd name="connsiteY5036" fmla="*/ 43026 h 840509"/>
                  <a:gd name="connsiteX5037" fmla="*/ 572742 w 939786"/>
                  <a:gd name="connsiteY5037" fmla="*/ 43643 h 840509"/>
                  <a:gd name="connsiteX5038" fmla="*/ 572742 w 939786"/>
                  <a:gd name="connsiteY5038" fmla="*/ 43908 h 840509"/>
                  <a:gd name="connsiteX5039" fmla="*/ 571861 w 939786"/>
                  <a:gd name="connsiteY5039" fmla="*/ 45054 h 840509"/>
                  <a:gd name="connsiteX5040" fmla="*/ 570450 w 939786"/>
                  <a:gd name="connsiteY5040" fmla="*/ 45936 h 840509"/>
                  <a:gd name="connsiteX5041" fmla="*/ 567805 w 939786"/>
                  <a:gd name="connsiteY5041" fmla="*/ 48316 h 840509"/>
                  <a:gd name="connsiteX5042" fmla="*/ 567805 w 939786"/>
                  <a:gd name="connsiteY5042" fmla="*/ 48581 h 840509"/>
                  <a:gd name="connsiteX5043" fmla="*/ 568069 w 939786"/>
                  <a:gd name="connsiteY5043" fmla="*/ 48581 h 840509"/>
                  <a:gd name="connsiteX5044" fmla="*/ 568598 w 939786"/>
                  <a:gd name="connsiteY5044" fmla="*/ 49727 h 840509"/>
                  <a:gd name="connsiteX5045" fmla="*/ 566041 w 939786"/>
                  <a:gd name="connsiteY5045" fmla="*/ 52372 h 840509"/>
                  <a:gd name="connsiteX5046" fmla="*/ 565777 w 939786"/>
                  <a:gd name="connsiteY5046" fmla="*/ 52637 h 840509"/>
                  <a:gd name="connsiteX5047" fmla="*/ 565512 w 939786"/>
                  <a:gd name="connsiteY5047" fmla="*/ 52901 h 840509"/>
                  <a:gd name="connsiteX5048" fmla="*/ 565512 w 939786"/>
                  <a:gd name="connsiteY5048" fmla="*/ 53254 h 840509"/>
                  <a:gd name="connsiteX5049" fmla="*/ 565512 w 939786"/>
                  <a:gd name="connsiteY5049" fmla="*/ 53518 h 840509"/>
                  <a:gd name="connsiteX5050" fmla="*/ 565512 w 939786"/>
                  <a:gd name="connsiteY5050" fmla="*/ 53783 h 840509"/>
                  <a:gd name="connsiteX5051" fmla="*/ 565777 w 939786"/>
                  <a:gd name="connsiteY5051" fmla="*/ 54047 h 840509"/>
                  <a:gd name="connsiteX5052" fmla="*/ 565777 w 939786"/>
                  <a:gd name="connsiteY5052" fmla="*/ 54312 h 840509"/>
                  <a:gd name="connsiteX5053" fmla="*/ 566041 w 939786"/>
                  <a:gd name="connsiteY5053" fmla="*/ 54576 h 840509"/>
                  <a:gd name="connsiteX5054" fmla="*/ 566658 w 939786"/>
                  <a:gd name="connsiteY5054" fmla="*/ 55458 h 840509"/>
                  <a:gd name="connsiteX5055" fmla="*/ 567805 w 939786"/>
                  <a:gd name="connsiteY5055" fmla="*/ 55193 h 840509"/>
                  <a:gd name="connsiteX5056" fmla="*/ 567805 w 939786"/>
                  <a:gd name="connsiteY5056" fmla="*/ 54841 h 840509"/>
                  <a:gd name="connsiteX5057" fmla="*/ 568069 w 939786"/>
                  <a:gd name="connsiteY5057" fmla="*/ 54312 h 840509"/>
                  <a:gd name="connsiteX5058" fmla="*/ 568334 w 939786"/>
                  <a:gd name="connsiteY5058" fmla="*/ 54047 h 840509"/>
                  <a:gd name="connsiteX5059" fmla="*/ 568334 w 939786"/>
                  <a:gd name="connsiteY5059" fmla="*/ 53783 h 840509"/>
                  <a:gd name="connsiteX5060" fmla="*/ 570097 w 939786"/>
                  <a:gd name="connsiteY5060" fmla="*/ 52284 h 840509"/>
                  <a:gd name="connsiteX5061" fmla="*/ 570361 w 939786"/>
                  <a:gd name="connsiteY5061" fmla="*/ 52284 h 840509"/>
                  <a:gd name="connsiteX5062" fmla="*/ 573271 w 939786"/>
                  <a:gd name="connsiteY5062" fmla="*/ 51402 h 840509"/>
                  <a:gd name="connsiteX5063" fmla="*/ 571243 w 939786"/>
                  <a:gd name="connsiteY5063" fmla="*/ 53430 h 840509"/>
                  <a:gd name="connsiteX5064" fmla="*/ 571243 w 939786"/>
                  <a:gd name="connsiteY5064" fmla="*/ 53695 h 840509"/>
                  <a:gd name="connsiteX5065" fmla="*/ 571243 w 939786"/>
                  <a:gd name="connsiteY5065" fmla="*/ 53959 h 840509"/>
                  <a:gd name="connsiteX5066" fmla="*/ 571243 w 939786"/>
                  <a:gd name="connsiteY5066" fmla="*/ 54224 h 840509"/>
                  <a:gd name="connsiteX5067" fmla="*/ 571508 w 939786"/>
                  <a:gd name="connsiteY5067" fmla="*/ 55105 h 840509"/>
                  <a:gd name="connsiteX5068" fmla="*/ 571772 w 939786"/>
                  <a:gd name="connsiteY5068" fmla="*/ 55105 h 840509"/>
                  <a:gd name="connsiteX5069" fmla="*/ 572037 w 939786"/>
                  <a:gd name="connsiteY5069" fmla="*/ 55105 h 840509"/>
                  <a:gd name="connsiteX5070" fmla="*/ 572301 w 939786"/>
                  <a:gd name="connsiteY5070" fmla="*/ 55105 h 840509"/>
                  <a:gd name="connsiteX5071" fmla="*/ 572565 w 939786"/>
                  <a:gd name="connsiteY5071" fmla="*/ 54752 h 840509"/>
                  <a:gd name="connsiteX5072" fmla="*/ 572565 w 939786"/>
                  <a:gd name="connsiteY5072" fmla="*/ 54488 h 840509"/>
                  <a:gd name="connsiteX5073" fmla="*/ 573271 w 939786"/>
                  <a:gd name="connsiteY5073" fmla="*/ 54488 h 840509"/>
                  <a:gd name="connsiteX5074" fmla="*/ 573536 w 939786"/>
                  <a:gd name="connsiteY5074" fmla="*/ 54224 h 840509"/>
                  <a:gd name="connsiteX5075" fmla="*/ 573888 w 939786"/>
                  <a:gd name="connsiteY5075" fmla="*/ 54224 h 840509"/>
                  <a:gd name="connsiteX5076" fmla="*/ 574152 w 939786"/>
                  <a:gd name="connsiteY5076" fmla="*/ 54224 h 840509"/>
                  <a:gd name="connsiteX5077" fmla="*/ 574152 w 939786"/>
                  <a:gd name="connsiteY5077" fmla="*/ 54488 h 840509"/>
                  <a:gd name="connsiteX5078" fmla="*/ 574152 w 939786"/>
                  <a:gd name="connsiteY5078" fmla="*/ 54752 h 840509"/>
                  <a:gd name="connsiteX5079" fmla="*/ 574152 w 939786"/>
                  <a:gd name="connsiteY5079" fmla="*/ 55105 h 840509"/>
                  <a:gd name="connsiteX5080" fmla="*/ 572125 w 939786"/>
                  <a:gd name="connsiteY5080" fmla="*/ 57486 h 840509"/>
                  <a:gd name="connsiteX5081" fmla="*/ 572125 w 939786"/>
                  <a:gd name="connsiteY5081" fmla="*/ 57750 h 840509"/>
                  <a:gd name="connsiteX5082" fmla="*/ 571861 w 939786"/>
                  <a:gd name="connsiteY5082" fmla="*/ 57750 h 840509"/>
                  <a:gd name="connsiteX5083" fmla="*/ 571861 w 939786"/>
                  <a:gd name="connsiteY5083" fmla="*/ 58015 h 840509"/>
                  <a:gd name="connsiteX5084" fmla="*/ 572477 w 939786"/>
                  <a:gd name="connsiteY5084" fmla="*/ 59425 h 840509"/>
                  <a:gd name="connsiteX5085" fmla="*/ 572742 w 939786"/>
                  <a:gd name="connsiteY5085" fmla="*/ 60043 h 840509"/>
                  <a:gd name="connsiteX5086" fmla="*/ 573006 w 939786"/>
                  <a:gd name="connsiteY5086" fmla="*/ 60043 h 840509"/>
                  <a:gd name="connsiteX5087" fmla="*/ 573359 w 939786"/>
                  <a:gd name="connsiteY5087" fmla="*/ 59690 h 840509"/>
                  <a:gd name="connsiteX5088" fmla="*/ 573976 w 939786"/>
                  <a:gd name="connsiteY5088" fmla="*/ 59425 h 840509"/>
                  <a:gd name="connsiteX5089" fmla="*/ 575387 w 939786"/>
                  <a:gd name="connsiteY5089" fmla="*/ 59161 h 840509"/>
                  <a:gd name="connsiteX5090" fmla="*/ 575740 w 939786"/>
                  <a:gd name="connsiteY5090" fmla="*/ 59161 h 840509"/>
                  <a:gd name="connsiteX5091" fmla="*/ 575740 w 939786"/>
                  <a:gd name="connsiteY5091" fmla="*/ 59425 h 840509"/>
                  <a:gd name="connsiteX5092" fmla="*/ 575740 w 939786"/>
                  <a:gd name="connsiteY5092" fmla="*/ 59690 h 840509"/>
                  <a:gd name="connsiteX5093" fmla="*/ 575740 w 939786"/>
                  <a:gd name="connsiteY5093" fmla="*/ 60043 h 840509"/>
                  <a:gd name="connsiteX5094" fmla="*/ 576004 w 939786"/>
                  <a:gd name="connsiteY5094" fmla="*/ 60043 h 840509"/>
                  <a:gd name="connsiteX5095" fmla="*/ 577150 w 939786"/>
                  <a:gd name="connsiteY5095" fmla="*/ 59690 h 840509"/>
                  <a:gd name="connsiteX5096" fmla="*/ 577415 w 939786"/>
                  <a:gd name="connsiteY5096" fmla="*/ 59690 h 840509"/>
                  <a:gd name="connsiteX5097" fmla="*/ 578561 w 939786"/>
                  <a:gd name="connsiteY5097" fmla="*/ 58808 h 840509"/>
                  <a:gd name="connsiteX5098" fmla="*/ 578561 w 939786"/>
                  <a:gd name="connsiteY5098" fmla="*/ 58456 h 840509"/>
                  <a:gd name="connsiteX5099" fmla="*/ 580324 w 939786"/>
                  <a:gd name="connsiteY5099" fmla="*/ 55546 h 840509"/>
                  <a:gd name="connsiteX5100" fmla="*/ 580589 w 939786"/>
                  <a:gd name="connsiteY5100" fmla="*/ 54665 h 840509"/>
                  <a:gd name="connsiteX5101" fmla="*/ 580589 w 939786"/>
                  <a:gd name="connsiteY5101" fmla="*/ 54400 h 840509"/>
                  <a:gd name="connsiteX5102" fmla="*/ 580589 w 939786"/>
                  <a:gd name="connsiteY5102" fmla="*/ 53871 h 840509"/>
                  <a:gd name="connsiteX5103" fmla="*/ 580324 w 939786"/>
                  <a:gd name="connsiteY5103" fmla="*/ 53607 h 840509"/>
                  <a:gd name="connsiteX5104" fmla="*/ 580060 w 939786"/>
                  <a:gd name="connsiteY5104" fmla="*/ 53607 h 840509"/>
                  <a:gd name="connsiteX5105" fmla="*/ 579795 w 939786"/>
                  <a:gd name="connsiteY5105" fmla="*/ 53342 h 840509"/>
                  <a:gd name="connsiteX5106" fmla="*/ 579531 w 939786"/>
                  <a:gd name="connsiteY5106" fmla="*/ 53607 h 840509"/>
                  <a:gd name="connsiteX5107" fmla="*/ 579266 w 939786"/>
                  <a:gd name="connsiteY5107" fmla="*/ 53607 h 840509"/>
                  <a:gd name="connsiteX5108" fmla="*/ 578385 w 939786"/>
                  <a:gd name="connsiteY5108" fmla="*/ 53871 h 840509"/>
                  <a:gd name="connsiteX5109" fmla="*/ 578120 w 939786"/>
                  <a:gd name="connsiteY5109" fmla="*/ 53871 h 840509"/>
                  <a:gd name="connsiteX5110" fmla="*/ 576974 w 939786"/>
                  <a:gd name="connsiteY5110" fmla="*/ 53254 h 840509"/>
                  <a:gd name="connsiteX5111" fmla="*/ 576974 w 939786"/>
                  <a:gd name="connsiteY5111" fmla="*/ 52989 h 840509"/>
                  <a:gd name="connsiteX5112" fmla="*/ 576974 w 939786"/>
                  <a:gd name="connsiteY5112" fmla="*/ 52637 h 840509"/>
                  <a:gd name="connsiteX5113" fmla="*/ 576974 w 939786"/>
                  <a:gd name="connsiteY5113" fmla="*/ 52372 h 840509"/>
                  <a:gd name="connsiteX5114" fmla="*/ 579619 w 939786"/>
                  <a:gd name="connsiteY5114" fmla="*/ 50080 h 840509"/>
                  <a:gd name="connsiteX5115" fmla="*/ 583675 w 939786"/>
                  <a:gd name="connsiteY5115" fmla="*/ 47170 h 840509"/>
                  <a:gd name="connsiteX5116" fmla="*/ 586056 w 939786"/>
                  <a:gd name="connsiteY5116" fmla="*/ 46906 h 840509"/>
                  <a:gd name="connsiteX5117" fmla="*/ 585438 w 939786"/>
                  <a:gd name="connsiteY5117" fmla="*/ 48669 h 840509"/>
                  <a:gd name="connsiteX5118" fmla="*/ 586056 w 939786"/>
                  <a:gd name="connsiteY5118" fmla="*/ 52725 h 840509"/>
                  <a:gd name="connsiteX5119" fmla="*/ 586320 w 939786"/>
                  <a:gd name="connsiteY5119" fmla="*/ 53077 h 840509"/>
                  <a:gd name="connsiteX5120" fmla="*/ 586320 w 939786"/>
                  <a:gd name="connsiteY5120" fmla="*/ 53695 h 840509"/>
                  <a:gd name="connsiteX5121" fmla="*/ 587202 w 939786"/>
                  <a:gd name="connsiteY5121" fmla="*/ 55458 h 840509"/>
                  <a:gd name="connsiteX5122" fmla="*/ 587466 w 939786"/>
                  <a:gd name="connsiteY5122" fmla="*/ 55722 h 840509"/>
                  <a:gd name="connsiteX5123" fmla="*/ 588083 w 939786"/>
                  <a:gd name="connsiteY5123" fmla="*/ 55722 h 840509"/>
                  <a:gd name="connsiteX5124" fmla="*/ 588348 w 939786"/>
                  <a:gd name="connsiteY5124" fmla="*/ 55722 h 840509"/>
                  <a:gd name="connsiteX5125" fmla="*/ 588612 w 939786"/>
                  <a:gd name="connsiteY5125" fmla="*/ 55458 h 840509"/>
                  <a:gd name="connsiteX5126" fmla="*/ 589229 w 939786"/>
                  <a:gd name="connsiteY5126" fmla="*/ 55193 h 840509"/>
                  <a:gd name="connsiteX5127" fmla="*/ 589229 w 939786"/>
                  <a:gd name="connsiteY5127" fmla="*/ 54841 h 840509"/>
                  <a:gd name="connsiteX5128" fmla="*/ 589494 w 939786"/>
                  <a:gd name="connsiteY5128" fmla="*/ 54576 h 840509"/>
                  <a:gd name="connsiteX5129" fmla="*/ 589229 w 939786"/>
                  <a:gd name="connsiteY5129" fmla="*/ 54312 h 840509"/>
                  <a:gd name="connsiteX5130" fmla="*/ 589229 w 939786"/>
                  <a:gd name="connsiteY5130" fmla="*/ 54047 h 840509"/>
                  <a:gd name="connsiteX5131" fmla="*/ 588965 w 939786"/>
                  <a:gd name="connsiteY5131" fmla="*/ 54047 h 840509"/>
                  <a:gd name="connsiteX5132" fmla="*/ 588700 w 939786"/>
                  <a:gd name="connsiteY5132" fmla="*/ 53783 h 840509"/>
                  <a:gd name="connsiteX5133" fmla="*/ 588436 w 939786"/>
                  <a:gd name="connsiteY5133" fmla="*/ 54047 h 840509"/>
                  <a:gd name="connsiteX5134" fmla="*/ 588171 w 939786"/>
                  <a:gd name="connsiteY5134" fmla="*/ 54047 h 840509"/>
                  <a:gd name="connsiteX5135" fmla="*/ 587907 w 939786"/>
                  <a:gd name="connsiteY5135" fmla="*/ 53783 h 840509"/>
                  <a:gd name="connsiteX5136" fmla="*/ 588171 w 939786"/>
                  <a:gd name="connsiteY5136" fmla="*/ 53518 h 840509"/>
                  <a:gd name="connsiteX5137" fmla="*/ 588171 w 939786"/>
                  <a:gd name="connsiteY5137" fmla="*/ 53254 h 840509"/>
                  <a:gd name="connsiteX5138" fmla="*/ 589935 w 939786"/>
                  <a:gd name="connsiteY5138" fmla="*/ 52901 h 840509"/>
                  <a:gd name="connsiteX5139" fmla="*/ 590199 w 939786"/>
                  <a:gd name="connsiteY5139" fmla="*/ 52901 h 840509"/>
                  <a:gd name="connsiteX5140" fmla="*/ 591963 w 939786"/>
                  <a:gd name="connsiteY5140" fmla="*/ 54136 h 840509"/>
                  <a:gd name="connsiteX5141" fmla="*/ 592227 w 939786"/>
                  <a:gd name="connsiteY5141" fmla="*/ 54136 h 840509"/>
                  <a:gd name="connsiteX5142" fmla="*/ 593109 w 939786"/>
                  <a:gd name="connsiteY5142" fmla="*/ 55546 h 840509"/>
                  <a:gd name="connsiteX5143" fmla="*/ 593990 w 939786"/>
                  <a:gd name="connsiteY5143" fmla="*/ 57045 h 840509"/>
                  <a:gd name="connsiteX5144" fmla="*/ 593990 w 939786"/>
                  <a:gd name="connsiteY5144" fmla="*/ 57309 h 840509"/>
                  <a:gd name="connsiteX5145" fmla="*/ 593990 w 939786"/>
                  <a:gd name="connsiteY5145" fmla="*/ 57662 h 840509"/>
                  <a:gd name="connsiteX5146" fmla="*/ 593726 w 939786"/>
                  <a:gd name="connsiteY5146" fmla="*/ 57927 h 840509"/>
                  <a:gd name="connsiteX5147" fmla="*/ 593461 w 939786"/>
                  <a:gd name="connsiteY5147" fmla="*/ 58191 h 840509"/>
                  <a:gd name="connsiteX5148" fmla="*/ 589670 w 939786"/>
                  <a:gd name="connsiteY5148" fmla="*/ 60484 h 840509"/>
                  <a:gd name="connsiteX5149" fmla="*/ 588260 w 939786"/>
                  <a:gd name="connsiteY5149" fmla="*/ 62247 h 840509"/>
                  <a:gd name="connsiteX5150" fmla="*/ 585702 w 939786"/>
                  <a:gd name="connsiteY5150" fmla="*/ 66038 h 840509"/>
                  <a:gd name="connsiteX5151" fmla="*/ 584821 w 939786"/>
                  <a:gd name="connsiteY5151" fmla="*/ 68948 h 840509"/>
                  <a:gd name="connsiteX5152" fmla="*/ 582176 w 939786"/>
                  <a:gd name="connsiteY5152" fmla="*/ 68066 h 840509"/>
                  <a:gd name="connsiteX5153" fmla="*/ 581911 w 939786"/>
                  <a:gd name="connsiteY5153" fmla="*/ 69565 h 840509"/>
                  <a:gd name="connsiteX5154" fmla="*/ 582793 w 939786"/>
                  <a:gd name="connsiteY5154" fmla="*/ 72474 h 840509"/>
                  <a:gd name="connsiteX5155" fmla="*/ 582529 w 939786"/>
                  <a:gd name="connsiteY5155" fmla="*/ 74767 h 840509"/>
                  <a:gd name="connsiteX5156" fmla="*/ 581647 w 939786"/>
                  <a:gd name="connsiteY5156" fmla="*/ 77059 h 840509"/>
                  <a:gd name="connsiteX5157" fmla="*/ 580501 w 939786"/>
                  <a:gd name="connsiteY5157" fmla="*/ 78558 h 840509"/>
                  <a:gd name="connsiteX5158" fmla="*/ 579884 w 939786"/>
                  <a:gd name="connsiteY5158" fmla="*/ 79704 h 840509"/>
                  <a:gd name="connsiteX5159" fmla="*/ 579884 w 939786"/>
                  <a:gd name="connsiteY5159" fmla="*/ 79087 h 840509"/>
                  <a:gd name="connsiteX5160" fmla="*/ 579884 w 939786"/>
                  <a:gd name="connsiteY5160" fmla="*/ 78823 h 840509"/>
                  <a:gd name="connsiteX5161" fmla="*/ 579619 w 939786"/>
                  <a:gd name="connsiteY5161" fmla="*/ 78823 h 840509"/>
                  <a:gd name="connsiteX5162" fmla="*/ 579002 w 939786"/>
                  <a:gd name="connsiteY5162" fmla="*/ 79440 h 840509"/>
                  <a:gd name="connsiteX5163" fmla="*/ 578737 w 939786"/>
                  <a:gd name="connsiteY5163" fmla="*/ 79440 h 840509"/>
                  <a:gd name="connsiteX5164" fmla="*/ 577856 w 939786"/>
                  <a:gd name="connsiteY5164" fmla="*/ 79440 h 840509"/>
                  <a:gd name="connsiteX5165" fmla="*/ 578120 w 939786"/>
                  <a:gd name="connsiteY5165" fmla="*/ 77676 h 840509"/>
                  <a:gd name="connsiteX5166" fmla="*/ 578737 w 939786"/>
                  <a:gd name="connsiteY5166" fmla="*/ 75384 h 840509"/>
                  <a:gd name="connsiteX5167" fmla="*/ 578737 w 939786"/>
                  <a:gd name="connsiteY5167" fmla="*/ 75031 h 840509"/>
                  <a:gd name="connsiteX5168" fmla="*/ 578473 w 939786"/>
                  <a:gd name="connsiteY5168" fmla="*/ 74767 h 840509"/>
                  <a:gd name="connsiteX5169" fmla="*/ 578208 w 939786"/>
                  <a:gd name="connsiteY5169" fmla="*/ 74767 h 840509"/>
                  <a:gd name="connsiteX5170" fmla="*/ 577944 w 939786"/>
                  <a:gd name="connsiteY5170" fmla="*/ 74767 h 840509"/>
                  <a:gd name="connsiteX5171" fmla="*/ 577679 w 939786"/>
                  <a:gd name="connsiteY5171" fmla="*/ 75031 h 840509"/>
                  <a:gd name="connsiteX5172" fmla="*/ 577415 w 939786"/>
                  <a:gd name="connsiteY5172" fmla="*/ 75031 h 840509"/>
                  <a:gd name="connsiteX5173" fmla="*/ 577415 w 939786"/>
                  <a:gd name="connsiteY5173" fmla="*/ 75384 h 840509"/>
                  <a:gd name="connsiteX5174" fmla="*/ 577415 w 939786"/>
                  <a:gd name="connsiteY5174" fmla="*/ 75649 h 840509"/>
                  <a:gd name="connsiteX5175" fmla="*/ 577062 w 939786"/>
                  <a:gd name="connsiteY5175" fmla="*/ 75913 h 840509"/>
                  <a:gd name="connsiteX5176" fmla="*/ 577415 w 939786"/>
                  <a:gd name="connsiteY5176" fmla="*/ 75913 h 840509"/>
                  <a:gd name="connsiteX5177" fmla="*/ 576533 w 939786"/>
                  <a:gd name="connsiteY5177" fmla="*/ 77324 h 840509"/>
                  <a:gd name="connsiteX5178" fmla="*/ 575652 w 939786"/>
                  <a:gd name="connsiteY5178" fmla="*/ 78470 h 840509"/>
                  <a:gd name="connsiteX5179" fmla="*/ 574505 w 939786"/>
                  <a:gd name="connsiteY5179" fmla="*/ 79087 h 840509"/>
                  <a:gd name="connsiteX5180" fmla="*/ 574505 w 939786"/>
                  <a:gd name="connsiteY5180" fmla="*/ 79352 h 840509"/>
                  <a:gd name="connsiteX5181" fmla="*/ 573623 w 939786"/>
                  <a:gd name="connsiteY5181" fmla="*/ 79352 h 840509"/>
                  <a:gd name="connsiteX5182" fmla="*/ 573359 w 939786"/>
                  <a:gd name="connsiteY5182" fmla="*/ 78470 h 840509"/>
                  <a:gd name="connsiteX5183" fmla="*/ 573359 w 939786"/>
                  <a:gd name="connsiteY5183" fmla="*/ 78205 h 840509"/>
                  <a:gd name="connsiteX5184" fmla="*/ 572477 w 939786"/>
                  <a:gd name="connsiteY5184" fmla="*/ 77941 h 840509"/>
                  <a:gd name="connsiteX5185" fmla="*/ 570185 w 939786"/>
                  <a:gd name="connsiteY5185" fmla="*/ 78823 h 840509"/>
                  <a:gd name="connsiteX5186" fmla="*/ 570185 w 939786"/>
                  <a:gd name="connsiteY5186" fmla="*/ 79087 h 840509"/>
                  <a:gd name="connsiteX5187" fmla="*/ 568686 w 939786"/>
                  <a:gd name="connsiteY5187" fmla="*/ 79969 h 840509"/>
                  <a:gd name="connsiteX5188" fmla="*/ 568422 w 939786"/>
                  <a:gd name="connsiteY5188" fmla="*/ 80233 h 840509"/>
                  <a:gd name="connsiteX5189" fmla="*/ 567540 w 939786"/>
                  <a:gd name="connsiteY5189" fmla="*/ 81732 h 840509"/>
                  <a:gd name="connsiteX5190" fmla="*/ 567540 w 939786"/>
                  <a:gd name="connsiteY5190" fmla="*/ 81996 h 840509"/>
                  <a:gd name="connsiteX5191" fmla="*/ 567540 w 939786"/>
                  <a:gd name="connsiteY5191" fmla="*/ 82614 h 840509"/>
                  <a:gd name="connsiteX5192" fmla="*/ 568422 w 939786"/>
                  <a:gd name="connsiteY5192" fmla="*/ 83231 h 840509"/>
                  <a:gd name="connsiteX5193" fmla="*/ 567540 w 939786"/>
                  <a:gd name="connsiteY5193" fmla="*/ 84730 h 840509"/>
                  <a:gd name="connsiteX5194" fmla="*/ 566394 w 939786"/>
                  <a:gd name="connsiteY5194" fmla="*/ 85611 h 840509"/>
                  <a:gd name="connsiteX5195" fmla="*/ 565777 w 939786"/>
                  <a:gd name="connsiteY5195" fmla="*/ 87728 h 840509"/>
                  <a:gd name="connsiteX5196" fmla="*/ 565512 w 939786"/>
                  <a:gd name="connsiteY5196" fmla="*/ 87992 h 840509"/>
                  <a:gd name="connsiteX5197" fmla="*/ 565512 w 939786"/>
                  <a:gd name="connsiteY5197" fmla="*/ 88521 h 840509"/>
                  <a:gd name="connsiteX5198" fmla="*/ 566129 w 939786"/>
                  <a:gd name="connsiteY5198" fmla="*/ 91431 h 840509"/>
                  <a:gd name="connsiteX5199" fmla="*/ 566129 w 939786"/>
                  <a:gd name="connsiteY5199" fmla="*/ 91783 h 840509"/>
                  <a:gd name="connsiteX5200" fmla="*/ 566482 w 939786"/>
                  <a:gd name="connsiteY5200" fmla="*/ 91783 h 840509"/>
                  <a:gd name="connsiteX5201" fmla="*/ 566747 w 939786"/>
                  <a:gd name="connsiteY5201" fmla="*/ 92048 h 840509"/>
                  <a:gd name="connsiteX5202" fmla="*/ 567011 w 939786"/>
                  <a:gd name="connsiteY5202" fmla="*/ 92048 h 840509"/>
                  <a:gd name="connsiteX5203" fmla="*/ 567276 w 939786"/>
                  <a:gd name="connsiteY5203" fmla="*/ 92048 h 840509"/>
                  <a:gd name="connsiteX5204" fmla="*/ 567628 w 939786"/>
                  <a:gd name="connsiteY5204" fmla="*/ 92048 h 840509"/>
                  <a:gd name="connsiteX5205" fmla="*/ 568245 w 939786"/>
                  <a:gd name="connsiteY5205" fmla="*/ 91783 h 840509"/>
                  <a:gd name="connsiteX5206" fmla="*/ 568774 w 939786"/>
                  <a:gd name="connsiteY5206" fmla="*/ 91166 h 840509"/>
                  <a:gd name="connsiteX5207" fmla="*/ 569392 w 939786"/>
                  <a:gd name="connsiteY5207" fmla="*/ 90549 h 840509"/>
                  <a:gd name="connsiteX5208" fmla="*/ 568774 w 939786"/>
                  <a:gd name="connsiteY5208" fmla="*/ 92312 h 840509"/>
                  <a:gd name="connsiteX5209" fmla="*/ 567893 w 939786"/>
                  <a:gd name="connsiteY5209" fmla="*/ 94957 h 840509"/>
                  <a:gd name="connsiteX5210" fmla="*/ 566129 w 939786"/>
                  <a:gd name="connsiteY5210" fmla="*/ 97250 h 840509"/>
                  <a:gd name="connsiteX5211" fmla="*/ 565248 w 939786"/>
                  <a:gd name="connsiteY5211" fmla="*/ 99895 h 840509"/>
                  <a:gd name="connsiteX5212" fmla="*/ 564983 w 939786"/>
                  <a:gd name="connsiteY5212" fmla="*/ 101923 h 840509"/>
                  <a:gd name="connsiteX5213" fmla="*/ 564102 w 939786"/>
                  <a:gd name="connsiteY5213" fmla="*/ 103069 h 840509"/>
                  <a:gd name="connsiteX5214" fmla="*/ 562602 w 939786"/>
                  <a:gd name="connsiteY5214" fmla="*/ 103951 h 840509"/>
                  <a:gd name="connsiteX5215" fmla="*/ 561985 w 939786"/>
                  <a:gd name="connsiteY5215" fmla="*/ 104215 h 840509"/>
                  <a:gd name="connsiteX5216" fmla="*/ 561721 w 939786"/>
                  <a:gd name="connsiteY5216" fmla="*/ 104568 h 840509"/>
                  <a:gd name="connsiteX5217" fmla="*/ 561104 w 939786"/>
                  <a:gd name="connsiteY5217" fmla="*/ 104832 h 840509"/>
                  <a:gd name="connsiteX5218" fmla="*/ 557930 w 939786"/>
                  <a:gd name="connsiteY5218" fmla="*/ 108888 h 840509"/>
                  <a:gd name="connsiteX5219" fmla="*/ 557665 w 939786"/>
                  <a:gd name="connsiteY5219" fmla="*/ 109153 h 840509"/>
                  <a:gd name="connsiteX5220" fmla="*/ 556255 w 939786"/>
                  <a:gd name="connsiteY5220" fmla="*/ 111445 h 840509"/>
                  <a:gd name="connsiteX5221" fmla="*/ 555902 w 939786"/>
                  <a:gd name="connsiteY5221" fmla="*/ 111797 h 840509"/>
                  <a:gd name="connsiteX5222" fmla="*/ 555637 w 939786"/>
                  <a:gd name="connsiteY5222" fmla="*/ 112326 h 840509"/>
                  <a:gd name="connsiteX5223" fmla="*/ 555373 w 939786"/>
                  <a:gd name="connsiteY5223" fmla="*/ 113208 h 840509"/>
                  <a:gd name="connsiteX5224" fmla="*/ 555373 w 939786"/>
                  <a:gd name="connsiteY5224" fmla="*/ 113473 h 840509"/>
                  <a:gd name="connsiteX5225" fmla="*/ 555373 w 939786"/>
                  <a:gd name="connsiteY5225" fmla="*/ 113825 h 840509"/>
                  <a:gd name="connsiteX5226" fmla="*/ 555373 w 939786"/>
                  <a:gd name="connsiteY5226" fmla="*/ 114090 h 840509"/>
                  <a:gd name="connsiteX5227" fmla="*/ 554491 w 939786"/>
                  <a:gd name="connsiteY5227" fmla="*/ 114619 h 840509"/>
                  <a:gd name="connsiteX5228" fmla="*/ 552463 w 939786"/>
                  <a:gd name="connsiteY5228" fmla="*/ 116382 h 840509"/>
                  <a:gd name="connsiteX5229" fmla="*/ 551581 w 939786"/>
                  <a:gd name="connsiteY5229" fmla="*/ 116118 h 840509"/>
                  <a:gd name="connsiteX5230" fmla="*/ 551846 w 939786"/>
                  <a:gd name="connsiteY5230" fmla="*/ 118763 h 840509"/>
                  <a:gd name="connsiteX5231" fmla="*/ 551846 w 939786"/>
                  <a:gd name="connsiteY5231" fmla="*/ 119380 h 840509"/>
                  <a:gd name="connsiteX5232" fmla="*/ 552110 w 939786"/>
                  <a:gd name="connsiteY5232" fmla="*/ 120526 h 840509"/>
                  <a:gd name="connsiteX5233" fmla="*/ 552110 w 939786"/>
                  <a:gd name="connsiteY5233" fmla="*/ 120791 h 840509"/>
                  <a:gd name="connsiteX5234" fmla="*/ 552110 w 939786"/>
                  <a:gd name="connsiteY5234" fmla="*/ 121055 h 840509"/>
                  <a:gd name="connsiteX5235" fmla="*/ 552375 w 939786"/>
                  <a:gd name="connsiteY5235" fmla="*/ 121672 h 840509"/>
                  <a:gd name="connsiteX5236" fmla="*/ 552639 w 939786"/>
                  <a:gd name="connsiteY5236" fmla="*/ 121937 h 840509"/>
                  <a:gd name="connsiteX5237" fmla="*/ 552639 w 939786"/>
                  <a:gd name="connsiteY5237" fmla="*/ 122202 h 840509"/>
                  <a:gd name="connsiteX5238" fmla="*/ 553786 w 939786"/>
                  <a:gd name="connsiteY5238" fmla="*/ 123347 h 840509"/>
                  <a:gd name="connsiteX5239" fmla="*/ 554668 w 939786"/>
                  <a:gd name="connsiteY5239" fmla="*/ 123965 h 840509"/>
                  <a:gd name="connsiteX5240" fmla="*/ 554932 w 939786"/>
                  <a:gd name="connsiteY5240" fmla="*/ 123965 h 840509"/>
                  <a:gd name="connsiteX5241" fmla="*/ 555197 w 939786"/>
                  <a:gd name="connsiteY5241" fmla="*/ 123965 h 840509"/>
                  <a:gd name="connsiteX5242" fmla="*/ 556343 w 939786"/>
                  <a:gd name="connsiteY5242" fmla="*/ 124582 h 840509"/>
                  <a:gd name="connsiteX5243" fmla="*/ 559869 w 939786"/>
                  <a:gd name="connsiteY5243" fmla="*/ 127491 h 840509"/>
                  <a:gd name="connsiteX5244" fmla="*/ 560486 w 939786"/>
                  <a:gd name="connsiteY5244" fmla="*/ 127756 h 840509"/>
                  <a:gd name="connsiteX5245" fmla="*/ 561104 w 939786"/>
                  <a:gd name="connsiteY5245" fmla="*/ 128373 h 840509"/>
                  <a:gd name="connsiteX5246" fmla="*/ 561104 w 939786"/>
                  <a:gd name="connsiteY5246" fmla="*/ 128638 h 840509"/>
                  <a:gd name="connsiteX5247" fmla="*/ 561368 w 939786"/>
                  <a:gd name="connsiteY5247" fmla="*/ 129255 h 840509"/>
                  <a:gd name="connsiteX5248" fmla="*/ 561721 w 939786"/>
                  <a:gd name="connsiteY5248" fmla="*/ 129519 h 840509"/>
                  <a:gd name="connsiteX5249" fmla="*/ 563749 w 939786"/>
                  <a:gd name="connsiteY5249" fmla="*/ 130666 h 840509"/>
                  <a:gd name="connsiteX5250" fmla="*/ 566923 w 939786"/>
                  <a:gd name="connsiteY5250" fmla="*/ 132693 h 840509"/>
                  <a:gd name="connsiteX5251" fmla="*/ 567187 w 939786"/>
                  <a:gd name="connsiteY5251" fmla="*/ 133311 h 840509"/>
                  <a:gd name="connsiteX5252" fmla="*/ 567540 w 939786"/>
                  <a:gd name="connsiteY5252" fmla="*/ 134810 h 840509"/>
                  <a:gd name="connsiteX5253" fmla="*/ 567540 w 939786"/>
                  <a:gd name="connsiteY5253" fmla="*/ 136220 h 840509"/>
                  <a:gd name="connsiteX5254" fmla="*/ 567187 w 939786"/>
                  <a:gd name="connsiteY5254" fmla="*/ 136485 h 840509"/>
                  <a:gd name="connsiteX5255" fmla="*/ 567540 w 939786"/>
                  <a:gd name="connsiteY5255" fmla="*/ 136749 h 840509"/>
                  <a:gd name="connsiteX5256" fmla="*/ 567540 w 939786"/>
                  <a:gd name="connsiteY5256" fmla="*/ 137014 h 840509"/>
                  <a:gd name="connsiteX5257" fmla="*/ 568157 w 939786"/>
                  <a:gd name="connsiteY5257" fmla="*/ 137895 h 840509"/>
                  <a:gd name="connsiteX5258" fmla="*/ 568422 w 939786"/>
                  <a:gd name="connsiteY5258" fmla="*/ 137895 h 840509"/>
                  <a:gd name="connsiteX5259" fmla="*/ 568686 w 939786"/>
                  <a:gd name="connsiteY5259" fmla="*/ 138160 h 840509"/>
                  <a:gd name="connsiteX5260" fmla="*/ 571067 w 939786"/>
                  <a:gd name="connsiteY5260" fmla="*/ 139306 h 840509"/>
                  <a:gd name="connsiteX5261" fmla="*/ 573094 w 939786"/>
                  <a:gd name="connsiteY5261" fmla="*/ 140805 h 840509"/>
                  <a:gd name="connsiteX5262" fmla="*/ 573712 w 939786"/>
                  <a:gd name="connsiteY5262" fmla="*/ 141069 h 840509"/>
                  <a:gd name="connsiteX5263" fmla="*/ 575123 w 939786"/>
                  <a:gd name="connsiteY5263" fmla="*/ 142833 h 840509"/>
                  <a:gd name="connsiteX5264" fmla="*/ 575740 w 939786"/>
                  <a:gd name="connsiteY5264" fmla="*/ 144332 h 840509"/>
                  <a:gd name="connsiteX5265" fmla="*/ 576621 w 939786"/>
                  <a:gd name="connsiteY5265" fmla="*/ 145213 h 840509"/>
                  <a:gd name="connsiteX5266" fmla="*/ 578649 w 939786"/>
                  <a:gd name="connsiteY5266" fmla="*/ 145478 h 840509"/>
                  <a:gd name="connsiteX5267" fmla="*/ 580148 w 939786"/>
                  <a:gd name="connsiteY5267" fmla="*/ 145478 h 840509"/>
                  <a:gd name="connsiteX5268" fmla="*/ 582440 w 939786"/>
                  <a:gd name="connsiteY5268" fmla="*/ 145478 h 840509"/>
                  <a:gd name="connsiteX5269" fmla="*/ 584469 w 939786"/>
                  <a:gd name="connsiteY5269" fmla="*/ 146889 h 840509"/>
                  <a:gd name="connsiteX5270" fmla="*/ 587113 w 939786"/>
                  <a:gd name="connsiteY5270" fmla="*/ 148917 h 840509"/>
                  <a:gd name="connsiteX5271" fmla="*/ 587113 w 939786"/>
                  <a:gd name="connsiteY5271" fmla="*/ 149269 h 840509"/>
                  <a:gd name="connsiteX5272" fmla="*/ 587378 w 939786"/>
                  <a:gd name="connsiteY5272" fmla="*/ 149534 h 840509"/>
                  <a:gd name="connsiteX5273" fmla="*/ 587642 w 939786"/>
                  <a:gd name="connsiteY5273" fmla="*/ 149886 h 840509"/>
                  <a:gd name="connsiteX5274" fmla="*/ 588260 w 939786"/>
                  <a:gd name="connsiteY5274" fmla="*/ 150415 h 840509"/>
                  <a:gd name="connsiteX5275" fmla="*/ 588524 w 939786"/>
                  <a:gd name="connsiteY5275" fmla="*/ 150680 h 840509"/>
                  <a:gd name="connsiteX5276" fmla="*/ 588789 w 939786"/>
                  <a:gd name="connsiteY5276" fmla="*/ 150944 h 840509"/>
                  <a:gd name="connsiteX5277" fmla="*/ 589935 w 939786"/>
                  <a:gd name="connsiteY5277" fmla="*/ 151561 h 840509"/>
                  <a:gd name="connsiteX5278" fmla="*/ 590816 w 939786"/>
                  <a:gd name="connsiteY5278" fmla="*/ 151826 h 840509"/>
                  <a:gd name="connsiteX5279" fmla="*/ 591081 w 939786"/>
                  <a:gd name="connsiteY5279" fmla="*/ 152090 h 840509"/>
                  <a:gd name="connsiteX5280" fmla="*/ 591345 w 939786"/>
                  <a:gd name="connsiteY5280" fmla="*/ 152090 h 840509"/>
                  <a:gd name="connsiteX5281" fmla="*/ 591610 w 939786"/>
                  <a:gd name="connsiteY5281" fmla="*/ 151826 h 840509"/>
                  <a:gd name="connsiteX5282" fmla="*/ 591963 w 939786"/>
                  <a:gd name="connsiteY5282" fmla="*/ 151826 h 840509"/>
                  <a:gd name="connsiteX5283" fmla="*/ 592227 w 939786"/>
                  <a:gd name="connsiteY5283" fmla="*/ 152090 h 840509"/>
                  <a:gd name="connsiteX5284" fmla="*/ 593109 w 939786"/>
                  <a:gd name="connsiteY5284" fmla="*/ 152355 h 840509"/>
                  <a:gd name="connsiteX5285" fmla="*/ 594255 w 939786"/>
                  <a:gd name="connsiteY5285" fmla="*/ 152619 h 840509"/>
                  <a:gd name="connsiteX5286" fmla="*/ 595666 w 939786"/>
                  <a:gd name="connsiteY5286" fmla="*/ 153766 h 840509"/>
                  <a:gd name="connsiteX5287" fmla="*/ 595930 w 939786"/>
                  <a:gd name="connsiteY5287" fmla="*/ 153766 h 840509"/>
                  <a:gd name="connsiteX5288" fmla="*/ 596548 w 939786"/>
                  <a:gd name="connsiteY5288" fmla="*/ 154912 h 840509"/>
                  <a:gd name="connsiteX5289" fmla="*/ 596812 w 939786"/>
                  <a:gd name="connsiteY5289" fmla="*/ 155529 h 840509"/>
                  <a:gd name="connsiteX5290" fmla="*/ 596812 w 939786"/>
                  <a:gd name="connsiteY5290" fmla="*/ 155970 h 840509"/>
                  <a:gd name="connsiteX5291" fmla="*/ 597077 w 939786"/>
                  <a:gd name="connsiteY5291" fmla="*/ 156852 h 840509"/>
                  <a:gd name="connsiteX5292" fmla="*/ 597077 w 939786"/>
                  <a:gd name="connsiteY5292" fmla="*/ 157116 h 840509"/>
                  <a:gd name="connsiteX5293" fmla="*/ 597694 w 939786"/>
                  <a:gd name="connsiteY5293" fmla="*/ 158527 h 840509"/>
                  <a:gd name="connsiteX5294" fmla="*/ 598311 w 939786"/>
                  <a:gd name="connsiteY5294" fmla="*/ 158791 h 840509"/>
                  <a:gd name="connsiteX5295" fmla="*/ 599193 w 939786"/>
                  <a:gd name="connsiteY5295" fmla="*/ 160026 h 840509"/>
                  <a:gd name="connsiteX5296" fmla="*/ 599810 w 939786"/>
                  <a:gd name="connsiteY5296" fmla="*/ 160643 h 840509"/>
                  <a:gd name="connsiteX5297" fmla="*/ 600427 w 939786"/>
                  <a:gd name="connsiteY5297" fmla="*/ 161525 h 840509"/>
                  <a:gd name="connsiteX5298" fmla="*/ 601573 w 939786"/>
                  <a:gd name="connsiteY5298" fmla="*/ 163023 h 840509"/>
                  <a:gd name="connsiteX5299" fmla="*/ 602455 w 939786"/>
                  <a:gd name="connsiteY5299" fmla="*/ 163905 h 840509"/>
                  <a:gd name="connsiteX5300" fmla="*/ 603072 w 939786"/>
                  <a:gd name="connsiteY5300" fmla="*/ 164434 h 840509"/>
                  <a:gd name="connsiteX5301" fmla="*/ 603601 w 939786"/>
                  <a:gd name="connsiteY5301" fmla="*/ 165316 h 840509"/>
                  <a:gd name="connsiteX5302" fmla="*/ 603865 w 939786"/>
                  <a:gd name="connsiteY5302" fmla="*/ 165316 h 840509"/>
                  <a:gd name="connsiteX5303" fmla="*/ 605629 w 939786"/>
                  <a:gd name="connsiteY5303" fmla="*/ 166197 h 840509"/>
                  <a:gd name="connsiteX5304" fmla="*/ 608538 w 939786"/>
                  <a:gd name="connsiteY5304" fmla="*/ 167079 h 840509"/>
                  <a:gd name="connsiteX5305" fmla="*/ 609420 w 939786"/>
                  <a:gd name="connsiteY5305" fmla="*/ 167079 h 840509"/>
                  <a:gd name="connsiteX5306" fmla="*/ 609685 w 939786"/>
                  <a:gd name="connsiteY5306" fmla="*/ 167344 h 840509"/>
                  <a:gd name="connsiteX5307" fmla="*/ 610302 w 939786"/>
                  <a:gd name="connsiteY5307" fmla="*/ 167344 h 840509"/>
                  <a:gd name="connsiteX5308" fmla="*/ 612065 w 939786"/>
                  <a:gd name="connsiteY5308" fmla="*/ 167079 h 840509"/>
                  <a:gd name="connsiteX5309" fmla="*/ 612947 w 939786"/>
                  <a:gd name="connsiteY5309" fmla="*/ 167079 h 840509"/>
                  <a:gd name="connsiteX5310" fmla="*/ 613212 w 939786"/>
                  <a:gd name="connsiteY5310" fmla="*/ 167079 h 840509"/>
                  <a:gd name="connsiteX5311" fmla="*/ 613476 w 939786"/>
                  <a:gd name="connsiteY5311" fmla="*/ 167344 h 840509"/>
                  <a:gd name="connsiteX5312" fmla="*/ 613741 w 939786"/>
                  <a:gd name="connsiteY5312" fmla="*/ 167608 h 840509"/>
                  <a:gd name="connsiteX5313" fmla="*/ 614005 w 939786"/>
                  <a:gd name="connsiteY5313" fmla="*/ 167961 h 840509"/>
                  <a:gd name="connsiteX5314" fmla="*/ 616650 w 939786"/>
                  <a:gd name="connsiteY5314" fmla="*/ 169371 h 840509"/>
                  <a:gd name="connsiteX5315" fmla="*/ 616914 w 939786"/>
                  <a:gd name="connsiteY5315" fmla="*/ 169371 h 840509"/>
                  <a:gd name="connsiteX5316" fmla="*/ 617532 w 939786"/>
                  <a:gd name="connsiteY5316" fmla="*/ 169636 h 840509"/>
                  <a:gd name="connsiteX5317" fmla="*/ 618149 w 939786"/>
                  <a:gd name="connsiteY5317" fmla="*/ 169636 h 840509"/>
                  <a:gd name="connsiteX5318" fmla="*/ 618766 w 939786"/>
                  <a:gd name="connsiteY5318" fmla="*/ 169636 h 840509"/>
                  <a:gd name="connsiteX5319" fmla="*/ 619912 w 939786"/>
                  <a:gd name="connsiteY5319" fmla="*/ 169636 h 840509"/>
                  <a:gd name="connsiteX5320" fmla="*/ 620177 w 939786"/>
                  <a:gd name="connsiteY5320" fmla="*/ 169636 h 840509"/>
                  <a:gd name="connsiteX5321" fmla="*/ 620177 w 939786"/>
                  <a:gd name="connsiteY5321" fmla="*/ 169989 h 840509"/>
                  <a:gd name="connsiteX5322" fmla="*/ 620441 w 939786"/>
                  <a:gd name="connsiteY5322" fmla="*/ 169989 h 840509"/>
                  <a:gd name="connsiteX5323" fmla="*/ 620706 w 939786"/>
                  <a:gd name="connsiteY5323" fmla="*/ 170253 h 840509"/>
                  <a:gd name="connsiteX5324" fmla="*/ 620706 w 939786"/>
                  <a:gd name="connsiteY5324" fmla="*/ 170518 h 840509"/>
                  <a:gd name="connsiteX5325" fmla="*/ 622469 w 939786"/>
                  <a:gd name="connsiteY5325" fmla="*/ 174309 h 840509"/>
                  <a:gd name="connsiteX5326" fmla="*/ 622204 w 939786"/>
                  <a:gd name="connsiteY5326" fmla="*/ 175455 h 840509"/>
                  <a:gd name="connsiteX5327" fmla="*/ 622204 w 939786"/>
                  <a:gd name="connsiteY5327" fmla="*/ 175720 h 840509"/>
                  <a:gd name="connsiteX5328" fmla="*/ 622204 w 939786"/>
                  <a:gd name="connsiteY5328" fmla="*/ 175984 h 840509"/>
                  <a:gd name="connsiteX5329" fmla="*/ 622204 w 939786"/>
                  <a:gd name="connsiteY5329" fmla="*/ 176249 h 840509"/>
                  <a:gd name="connsiteX5330" fmla="*/ 622204 w 939786"/>
                  <a:gd name="connsiteY5330" fmla="*/ 176513 h 840509"/>
                  <a:gd name="connsiteX5331" fmla="*/ 622204 w 939786"/>
                  <a:gd name="connsiteY5331" fmla="*/ 177395 h 840509"/>
                  <a:gd name="connsiteX5332" fmla="*/ 622822 w 939786"/>
                  <a:gd name="connsiteY5332" fmla="*/ 179423 h 840509"/>
                  <a:gd name="connsiteX5333" fmla="*/ 622822 w 939786"/>
                  <a:gd name="connsiteY5333" fmla="*/ 179775 h 840509"/>
                  <a:gd name="connsiteX5334" fmla="*/ 623086 w 939786"/>
                  <a:gd name="connsiteY5334" fmla="*/ 180040 h 840509"/>
                  <a:gd name="connsiteX5335" fmla="*/ 623351 w 939786"/>
                  <a:gd name="connsiteY5335" fmla="*/ 180657 h 840509"/>
                  <a:gd name="connsiteX5336" fmla="*/ 623615 w 939786"/>
                  <a:gd name="connsiteY5336" fmla="*/ 180921 h 840509"/>
                  <a:gd name="connsiteX5337" fmla="*/ 624233 w 939786"/>
                  <a:gd name="connsiteY5337" fmla="*/ 181186 h 840509"/>
                  <a:gd name="connsiteX5338" fmla="*/ 625114 w 939786"/>
                  <a:gd name="connsiteY5338" fmla="*/ 181451 h 840509"/>
                  <a:gd name="connsiteX5339" fmla="*/ 625378 w 939786"/>
                  <a:gd name="connsiteY5339" fmla="*/ 181451 h 840509"/>
                  <a:gd name="connsiteX5340" fmla="*/ 625996 w 939786"/>
                  <a:gd name="connsiteY5340" fmla="*/ 181451 h 840509"/>
                  <a:gd name="connsiteX5341" fmla="*/ 626613 w 939786"/>
                  <a:gd name="connsiteY5341" fmla="*/ 181451 h 840509"/>
                  <a:gd name="connsiteX5342" fmla="*/ 626878 w 939786"/>
                  <a:gd name="connsiteY5342" fmla="*/ 181451 h 840509"/>
                  <a:gd name="connsiteX5343" fmla="*/ 627142 w 939786"/>
                  <a:gd name="connsiteY5343" fmla="*/ 181803 h 840509"/>
                  <a:gd name="connsiteX5344" fmla="*/ 627407 w 939786"/>
                  <a:gd name="connsiteY5344" fmla="*/ 181803 h 840509"/>
                  <a:gd name="connsiteX5345" fmla="*/ 628905 w 939786"/>
                  <a:gd name="connsiteY5345" fmla="*/ 183214 h 840509"/>
                  <a:gd name="connsiteX5346" fmla="*/ 629170 w 939786"/>
                  <a:gd name="connsiteY5346" fmla="*/ 183214 h 840509"/>
                  <a:gd name="connsiteX5347" fmla="*/ 629170 w 939786"/>
                  <a:gd name="connsiteY5347" fmla="*/ 183478 h 840509"/>
                  <a:gd name="connsiteX5348" fmla="*/ 630051 w 939786"/>
                  <a:gd name="connsiteY5348" fmla="*/ 184360 h 840509"/>
                  <a:gd name="connsiteX5349" fmla="*/ 630051 w 939786"/>
                  <a:gd name="connsiteY5349" fmla="*/ 184625 h 840509"/>
                  <a:gd name="connsiteX5350" fmla="*/ 630316 w 939786"/>
                  <a:gd name="connsiteY5350" fmla="*/ 185242 h 840509"/>
                  <a:gd name="connsiteX5351" fmla="*/ 630580 w 939786"/>
                  <a:gd name="connsiteY5351" fmla="*/ 185242 h 840509"/>
                  <a:gd name="connsiteX5352" fmla="*/ 630845 w 939786"/>
                  <a:gd name="connsiteY5352" fmla="*/ 185506 h 840509"/>
                  <a:gd name="connsiteX5353" fmla="*/ 631462 w 939786"/>
                  <a:gd name="connsiteY5353" fmla="*/ 185771 h 840509"/>
                  <a:gd name="connsiteX5354" fmla="*/ 632079 w 939786"/>
                  <a:gd name="connsiteY5354" fmla="*/ 185771 h 840509"/>
                  <a:gd name="connsiteX5355" fmla="*/ 632961 w 939786"/>
                  <a:gd name="connsiteY5355" fmla="*/ 186388 h 840509"/>
                  <a:gd name="connsiteX5356" fmla="*/ 633843 w 939786"/>
                  <a:gd name="connsiteY5356" fmla="*/ 186388 h 840509"/>
                  <a:gd name="connsiteX5357" fmla="*/ 634460 w 939786"/>
                  <a:gd name="connsiteY5357" fmla="*/ 186653 h 840509"/>
                  <a:gd name="connsiteX5358" fmla="*/ 635870 w 939786"/>
                  <a:gd name="connsiteY5358" fmla="*/ 187534 h 840509"/>
                  <a:gd name="connsiteX5359" fmla="*/ 637017 w 939786"/>
                  <a:gd name="connsiteY5359" fmla="*/ 188680 h 840509"/>
                  <a:gd name="connsiteX5360" fmla="*/ 637017 w 939786"/>
                  <a:gd name="connsiteY5360" fmla="*/ 189033 h 840509"/>
                  <a:gd name="connsiteX5361" fmla="*/ 637281 w 939786"/>
                  <a:gd name="connsiteY5361" fmla="*/ 189298 h 840509"/>
                  <a:gd name="connsiteX5362" fmla="*/ 637281 w 939786"/>
                  <a:gd name="connsiteY5362" fmla="*/ 189562 h 840509"/>
                  <a:gd name="connsiteX5363" fmla="*/ 637546 w 939786"/>
                  <a:gd name="connsiteY5363" fmla="*/ 189827 h 840509"/>
                  <a:gd name="connsiteX5364" fmla="*/ 638163 w 939786"/>
                  <a:gd name="connsiteY5364" fmla="*/ 189827 h 840509"/>
                  <a:gd name="connsiteX5365" fmla="*/ 638780 w 939786"/>
                  <a:gd name="connsiteY5365" fmla="*/ 190179 h 840509"/>
                  <a:gd name="connsiteX5366" fmla="*/ 639045 w 939786"/>
                  <a:gd name="connsiteY5366" fmla="*/ 190179 h 840509"/>
                  <a:gd name="connsiteX5367" fmla="*/ 640544 w 939786"/>
                  <a:gd name="connsiteY5367" fmla="*/ 190179 h 840509"/>
                  <a:gd name="connsiteX5368" fmla="*/ 646098 w 939786"/>
                  <a:gd name="connsiteY5368" fmla="*/ 189298 h 840509"/>
                  <a:gd name="connsiteX5369" fmla="*/ 646362 w 939786"/>
                  <a:gd name="connsiteY5369" fmla="*/ 189033 h 840509"/>
                  <a:gd name="connsiteX5370" fmla="*/ 648655 w 939786"/>
                  <a:gd name="connsiteY5370" fmla="*/ 188151 h 840509"/>
                  <a:gd name="connsiteX5371" fmla="*/ 649537 w 939786"/>
                  <a:gd name="connsiteY5371" fmla="*/ 187887 h 840509"/>
                  <a:gd name="connsiteX5372" fmla="*/ 651565 w 939786"/>
                  <a:gd name="connsiteY5372" fmla="*/ 186653 h 840509"/>
                  <a:gd name="connsiteX5373" fmla="*/ 651829 w 939786"/>
                  <a:gd name="connsiteY5373" fmla="*/ 186653 h 840509"/>
                  <a:gd name="connsiteX5374" fmla="*/ 652094 w 939786"/>
                  <a:gd name="connsiteY5374" fmla="*/ 186388 h 840509"/>
                  <a:gd name="connsiteX5375" fmla="*/ 652711 w 939786"/>
                  <a:gd name="connsiteY5375" fmla="*/ 185771 h 840509"/>
                  <a:gd name="connsiteX5376" fmla="*/ 655003 w 939786"/>
                  <a:gd name="connsiteY5376" fmla="*/ 184007 h 840509"/>
                  <a:gd name="connsiteX5377" fmla="*/ 655620 w 939786"/>
                  <a:gd name="connsiteY5377" fmla="*/ 183655 h 840509"/>
                  <a:gd name="connsiteX5378" fmla="*/ 655885 w 939786"/>
                  <a:gd name="connsiteY5378" fmla="*/ 183655 h 840509"/>
                  <a:gd name="connsiteX5379" fmla="*/ 656149 w 939786"/>
                  <a:gd name="connsiteY5379" fmla="*/ 183655 h 840509"/>
                  <a:gd name="connsiteX5380" fmla="*/ 656414 w 939786"/>
                  <a:gd name="connsiteY5380" fmla="*/ 183655 h 840509"/>
                  <a:gd name="connsiteX5381" fmla="*/ 656678 w 939786"/>
                  <a:gd name="connsiteY5381" fmla="*/ 183390 h 840509"/>
                  <a:gd name="connsiteX5382" fmla="*/ 657560 w 939786"/>
                  <a:gd name="connsiteY5382" fmla="*/ 182509 h 840509"/>
                  <a:gd name="connsiteX5383" fmla="*/ 658177 w 939786"/>
                  <a:gd name="connsiteY5383" fmla="*/ 181627 h 840509"/>
                  <a:gd name="connsiteX5384" fmla="*/ 658177 w 939786"/>
                  <a:gd name="connsiteY5384" fmla="*/ 181010 h 840509"/>
                  <a:gd name="connsiteX5385" fmla="*/ 660558 w 939786"/>
                  <a:gd name="connsiteY5385" fmla="*/ 176072 h 840509"/>
                  <a:gd name="connsiteX5386" fmla="*/ 661175 w 939786"/>
                  <a:gd name="connsiteY5386" fmla="*/ 174573 h 840509"/>
                  <a:gd name="connsiteX5387" fmla="*/ 661175 w 939786"/>
                  <a:gd name="connsiteY5387" fmla="*/ 173956 h 840509"/>
                  <a:gd name="connsiteX5388" fmla="*/ 661175 w 939786"/>
                  <a:gd name="connsiteY5388" fmla="*/ 173692 h 840509"/>
                  <a:gd name="connsiteX5389" fmla="*/ 661175 w 939786"/>
                  <a:gd name="connsiteY5389" fmla="*/ 173427 h 840509"/>
                  <a:gd name="connsiteX5390" fmla="*/ 661175 w 939786"/>
                  <a:gd name="connsiteY5390" fmla="*/ 172810 h 840509"/>
                  <a:gd name="connsiteX5391" fmla="*/ 661175 w 939786"/>
                  <a:gd name="connsiteY5391" fmla="*/ 172546 h 840509"/>
                  <a:gd name="connsiteX5392" fmla="*/ 661439 w 939786"/>
                  <a:gd name="connsiteY5392" fmla="*/ 172546 h 840509"/>
                  <a:gd name="connsiteX5393" fmla="*/ 661439 w 939786"/>
                  <a:gd name="connsiteY5393" fmla="*/ 172281 h 840509"/>
                  <a:gd name="connsiteX5394" fmla="*/ 661968 w 939786"/>
                  <a:gd name="connsiteY5394" fmla="*/ 171664 h 840509"/>
                  <a:gd name="connsiteX5395" fmla="*/ 663996 w 939786"/>
                  <a:gd name="connsiteY5395" fmla="*/ 169283 h 840509"/>
                  <a:gd name="connsiteX5396" fmla="*/ 667523 w 939786"/>
                  <a:gd name="connsiteY5396" fmla="*/ 165492 h 840509"/>
                  <a:gd name="connsiteX5397" fmla="*/ 667523 w 939786"/>
                  <a:gd name="connsiteY5397" fmla="*/ 165227 h 840509"/>
                  <a:gd name="connsiteX5398" fmla="*/ 668140 w 939786"/>
                  <a:gd name="connsiteY5398" fmla="*/ 164875 h 840509"/>
                  <a:gd name="connsiteX5399" fmla="*/ 668404 w 939786"/>
                  <a:gd name="connsiteY5399" fmla="*/ 163993 h 840509"/>
                  <a:gd name="connsiteX5400" fmla="*/ 668669 w 939786"/>
                  <a:gd name="connsiteY5400" fmla="*/ 163729 h 840509"/>
                  <a:gd name="connsiteX5401" fmla="*/ 670433 w 939786"/>
                  <a:gd name="connsiteY5401" fmla="*/ 160819 h 840509"/>
                  <a:gd name="connsiteX5402" fmla="*/ 670962 w 939786"/>
                  <a:gd name="connsiteY5402" fmla="*/ 159673 h 840509"/>
                  <a:gd name="connsiteX5403" fmla="*/ 671314 w 939786"/>
                  <a:gd name="connsiteY5403" fmla="*/ 159056 h 840509"/>
                  <a:gd name="connsiteX5404" fmla="*/ 671314 w 939786"/>
                  <a:gd name="connsiteY5404" fmla="*/ 158791 h 840509"/>
                  <a:gd name="connsiteX5405" fmla="*/ 671314 w 939786"/>
                  <a:gd name="connsiteY5405" fmla="*/ 158439 h 840509"/>
                  <a:gd name="connsiteX5406" fmla="*/ 671314 w 939786"/>
                  <a:gd name="connsiteY5406" fmla="*/ 158174 h 840509"/>
                  <a:gd name="connsiteX5407" fmla="*/ 672196 w 939786"/>
                  <a:gd name="connsiteY5407" fmla="*/ 156146 h 840509"/>
                  <a:gd name="connsiteX5408" fmla="*/ 672460 w 939786"/>
                  <a:gd name="connsiteY5408" fmla="*/ 155529 h 840509"/>
                  <a:gd name="connsiteX5409" fmla="*/ 673342 w 939786"/>
                  <a:gd name="connsiteY5409" fmla="*/ 153501 h 840509"/>
                  <a:gd name="connsiteX5410" fmla="*/ 675370 w 939786"/>
                  <a:gd name="connsiteY5410" fmla="*/ 149975 h 840509"/>
                  <a:gd name="connsiteX5411" fmla="*/ 675634 w 939786"/>
                  <a:gd name="connsiteY5411" fmla="*/ 149446 h 840509"/>
                  <a:gd name="connsiteX5412" fmla="*/ 675634 w 939786"/>
                  <a:gd name="connsiteY5412" fmla="*/ 149093 h 840509"/>
                  <a:gd name="connsiteX5413" fmla="*/ 675899 w 939786"/>
                  <a:gd name="connsiteY5413" fmla="*/ 148828 h 840509"/>
                  <a:gd name="connsiteX5414" fmla="*/ 675899 w 939786"/>
                  <a:gd name="connsiteY5414" fmla="*/ 145037 h 840509"/>
                  <a:gd name="connsiteX5415" fmla="*/ 676163 w 939786"/>
                  <a:gd name="connsiteY5415" fmla="*/ 140629 h 840509"/>
                  <a:gd name="connsiteX5416" fmla="*/ 676163 w 939786"/>
                  <a:gd name="connsiteY5416" fmla="*/ 138865 h 840509"/>
                  <a:gd name="connsiteX5417" fmla="*/ 676428 w 939786"/>
                  <a:gd name="connsiteY5417" fmla="*/ 137366 h 840509"/>
                  <a:gd name="connsiteX5418" fmla="*/ 677045 w 939786"/>
                  <a:gd name="connsiteY5418" fmla="*/ 136220 h 840509"/>
                  <a:gd name="connsiteX5419" fmla="*/ 677927 w 939786"/>
                  <a:gd name="connsiteY5419" fmla="*/ 133311 h 840509"/>
                  <a:gd name="connsiteX5420" fmla="*/ 678192 w 939786"/>
                  <a:gd name="connsiteY5420" fmla="*/ 131547 h 840509"/>
                  <a:gd name="connsiteX5421" fmla="*/ 679690 w 939786"/>
                  <a:gd name="connsiteY5421" fmla="*/ 130666 h 840509"/>
                  <a:gd name="connsiteX5422" fmla="*/ 680837 w 939786"/>
                  <a:gd name="connsiteY5422" fmla="*/ 129784 h 840509"/>
                  <a:gd name="connsiteX5423" fmla="*/ 682335 w 939786"/>
                  <a:gd name="connsiteY5423" fmla="*/ 129167 h 840509"/>
                  <a:gd name="connsiteX5424" fmla="*/ 682335 w 939786"/>
                  <a:gd name="connsiteY5424" fmla="*/ 127139 h 840509"/>
                  <a:gd name="connsiteX5425" fmla="*/ 682864 w 939786"/>
                  <a:gd name="connsiteY5425" fmla="*/ 127139 h 840509"/>
                  <a:gd name="connsiteX5426" fmla="*/ 682864 w 939786"/>
                  <a:gd name="connsiteY5426" fmla="*/ 126257 h 840509"/>
                  <a:gd name="connsiteX5427" fmla="*/ 684010 w 939786"/>
                  <a:gd name="connsiteY5427" fmla="*/ 125993 h 840509"/>
                  <a:gd name="connsiteX5428" fmla="*/ 683746 w 939786"/>
                  <a:gd name="connsiteY5428" fmla="*/ 123965 h 840509"/>
                  <a:gd name="connsiteX5429" fmla="*/ 683746 w 939786"/>
                  <a:gd name="connsiteY5429" fmla="*/ 123083 h 840509"/>
                  <a:gd name="connsiteX5430" fmla="*/ 685157 w 939786"/>
                  <a:gd name="connsiteY5430" fmla="*/ 123347 h 840509"/>
                  <a:gd name="connsiteX5431" fmla="*/ 685157 w 939786"/>
                  <a:gd name="connsiteY5431" fmla="*/ 122731 h 840509"/>
                  <a:gd name="connsiteX5432" fmla="*/ 685157 w 939786"/>
                  <a:gd name="connsiteY5432" fmla="*/ 122466 h 840509"/>
                  <a:gd name="connsiteX5433" fmla="*/ 685157 w 939786"/>
                  <a:gd name="connsiteY5433" fmla="*/ 121849 h 840509"/>
                  <a:gd name="connsiteX5434" fmla="*/ 684892 w 939786"/>
                  <a:gd name="connsiteY5434" fmla="*/ 120703 h 840509"/>
                  <a:gd name="connsiteX5435" fmla="*/ 684539 w 939786"/>
                  <a:gd name="connsiteY5435" fmla="*/ 120350 h 840509"/>
                  <a:gd name="connsiteX5436" fmla="*/ 684539 w 939786"/>
                  <a:gd name="connsiteY5436" fmla="*/ 120085 h 840509"/>
                  <a:gd name="connsiteX5437" fmla="*/ 684539 w 939786"/>
                  <a:gd name="connsiteY5437" fmla="*/ 119821 h 840509"/>
                  <a:gd name="connsiteX5438" fmla="*/ 684539 w 939786"/>
                  <a:gd name="connsiteY5438" fmla="*/ 119556 h 840509"/>
                  <a:gd name="connsiteX5439" fmla="*/ 684275 w 939786"/>
                  <a:gd name="connsiteY5439" fmla="*/ 118939 h 840509"/>
                  <a:gd name="connsiteX5440" fmla="*/ 684010 w 939786"/>
                  <a:gd name="connsiteY5440" fmla="*/ 116647 h 840509"/>
                  <a:gd name="connsiteX5441" fmla="*/ 684010 w 939786"/>
                  <a:gd name="connsiteY5441" fmla="*/ 116382 h 840509"/>
                  <a:gd name="connsiteX5442" fmla="*/ 683481 w 939786"/>
                  <a:gd name="connsiteY5442" fmla="*/ 114883 h 840509"/>
                  <a:gd name="connsiteX5443" fmla="*/ 684980 w 939786"/>
                  <a:gd name="connsiteY5443" fmla="*/ 111709 h 840509"/>
                  <a:gd name="connsiteX5444" fmla="*/ 684628 w 939786"/>
                  <a:gd name="connsiteY5444" fmla="*/ 112855 h 840509"/>
                  <a:gd name="connsiteX5445" fmla="*/ 685245 w 939786"/>
                  <a:gd name="connsiteY5445" fmla="*/ 111092 h 840509"/>
                  <a:gd name="connsiteX5446" fmla="*/ 684363 w 939786"/>
                  <a:gd name="connsiteY5446" fmla="*/ 111092 h 840509"/>
                  <a:gd name="connsiteX5447" fmla="*/ 684363 w 939786"/>
                  <a:gd name="connsiteY5447" fmla="*/ 109681 h 840509"/>
                  <a:gd name="connsiteX5448" fmla="*/ 684363 w 939786"/>
                  <a:gd name="connsiteY5448" fmla="*/ 109329 h 840509"/>
                  <a:gd name="connsiteX5449" fmla="*/ 684363 w 939786"/>
                  <a:gd name="connsiteY5449" fmla="*/ 108712 h 840509"/>
                  <a:gd name="connsiteX5450" fmla="*/ 684628 w 939786"/>
                  <a:gd name="connsiteY5450" fmla="*/ 108447 h 840509"/>
                  <a:gd name="connsiteX5451" fmla="*/ 684980 w 939786"/>
                  <a:gd name="connsiteY5451" fmla="*/ 107301 h 840509"/>
                  <a:gd name="connsiteX5452" fmla="*/ 685245 w 939786"/>
                  <a:gd name="connsiteY5452" fmla="*/ 106684 h 840509"/>
                  <a:gd name="connsiteX5453" fmla="*/ 684980 w 939786"/>
                  <a:gd name="connsiteY5453" fmla="*/ 105273 h 840509"/>
                  <a:gd name="connsiteX5454" fmla="*/ 685597 w 939786"/>
                  <a:gd name="connsiteY5454" fmla="*/ 104656 h 840509"/>
                  <a:gd name="connsiteX5455" fmla="*/ 686479 w 939786"/>
                  <a:gd name="connsiteY5455" fmla="*/ 104656 h 840509"/>
                  <a:gd name="connsiteX5456" fmla="*/ 686744 w 939786"/>
                  <a:gd name="connsiteY5456" fmla="*/ 104391 h 840509"/>
                  <a:gd name="connsiteX5457" fmla="*/ 686744 w 939786"/>
                  <a:gd name="connsiteY5457" fmla="*/ 104127 h 840509"/>
                  <a:gd name="connsiteX5458" fmla="*/ 686744 w 939786"/>
                  <a:gd name="connsiteY5458" fmla="*/ 103510 h 840509"/>
                  <a:gd name="connsiteX5459" fmla="*/ 687008 w 939786"/>
                  <a:gd name="connsiteY5459" fmla="*/ 102364 h 840509"/>
                  <a:gd name="connsiteX5460" fmla="*/ 687361 w 939786"/>
                  <a:gd name="connsiteY5460" fmla="*/ 101217 h 840509"/>
                  <a:gd name="connsiteX5461" fmla="*/ 687361 w 939786"/>
                  <a:gd name="connsiteY5461" fmla="*/ 100865 h 840509"/>
                  <a:gd name="connsiteX5462" fmla="*/ 687361 w 939786"/>
                  <a:gd name="connsiteY5462" fmla="*/ 100247 h 840509"/>
                  <a:gd name="connsiteX5463" fmla="*/ 687361 w 939786"/>
                  <a:gd name="connsiteY5463" fmla="*/ 99983 h 840509"/>
                  <a:gd name="connsiteX5464" fmla="*/ 687361 w 939786"/>
                  <a:gd name="connsiteY5464" fmla="*/ 99366 h 840509"/>
                  <a:gd name="connsiteX5465" fmla="*/ 687008 w 939786"/>
                  <a:gd name="connsiteY5465" fmla="*/ 98749 h 840509"/>
                  <a:gd name="connsiteX5466" fmla="*/ 686744 w 939786"/>
                  <a:gd name="connsiteY5466" fmla="*/ 98131 h 840509"/>
                  <a:gd name="connsiteX5467" fmla="*/ 686215 w 939786"/>
                  <a:gd name="connsiteY5467" fmla="*/ 97867 h 840509"/>
                  <a:gd name="connsiteX5468" fmla="*/ 686215 w 939786"/>
                  <a:gd name="connsiteY5468" fmla="*/ 97602 h 840509"/>
                  <a:gd name="connsiteX5469" fmla="*/ 685862 w 939786"/>
                  <a:gd name="connsiteY5469" fmla="*/ 96985 h 840509"/>
                  <a:gd name="connsiteX5470" fmla="*/ 685597 w 939786"/>
                  <a:gd name="connsiteY5470" fmla="*/ 96103 h 840509"/>
                  <a:gd name="connsiteX5471" fmla="*/ 685333 w 939786"/>
                  <a:gd name="connsiteY5471" fmla="*/ 96103 h 840509"/>
                  <a:gd name="connsiteX5472" fmla="*/ 685333 w 939786"/>
                  <a:gd name="connsiteY5472" fmla="*/ 95839 h 840509"/>
                  <a:gd name="connsiteX5473" fmla="*/ 685333 w 939786"/>
                  <a:gd name="connsiteY5473" fmla="*/ 95222 h 840509"/>
                  <a:gd name="connsiteX5474" fmla="*/ 685333 w 939786"/>
                  <a:gd name="connsiteY5474" fmla="*/ 94957 h 840509"/>
                  <a:gd name="connsiteX5475" fmla="*/ 685333 w 939786"/>
                  <a:gd name="connsiteY5475" fmla="*/ 94605 h 840509"/>
                  <a:gd name="connsiteX5476" fmla="*/ 685597 w 939786"/>
                  <a:gd name="connsiteY5476" fmla="*/ 93988 h 840509"/>
                  <a:gd name="connsiteX5477" fmla="*/ 685597 w 939786"/>
                  <a:gd name="connsiteY5477" fmla="*/ 93106 h 840509"/>
                  <a:gd name="connsiteX5478" fmla="*/ 685862 w 939786"/>
                  <a:gd name="connsiteY5478" fmla="*/ 92224 h 840509"/>
                  <a:gd name="connsiteX5479" fmla="*/ 686215 w 939786"/>
                  <a:gd name="connsiteY5479" fmla="*/ 91607 h 840509"/>
                  <a:gd name="connsiteX5480" fmla="*/ 685068 w 939786"/>
                  <a:gd name="connsiteY5480" fmla="*/ 89579 h 840509"/>
                  <a:gd name="connsiteX5481" fmla="*/ 685068 w 939786"/>
                  <a:gd name="connsiteY5481" fmla="*/ 88962 h 840509"/>
                  <a:gd name="connsiteX5482" fmla="*/ 685333 w 939786"/>
                  <a:gd name="connsiteY5482" fmla="*/ 87463 h 840509"/>
                  <a:gd name="connsiteX5483" fmla="*/ 686479 w 939786"/>
                  <a:gd name="connsiteY5483" fmla="*/ 86934 h 840509"/>
                  <a:gd name="connsiteX5484" fmla="*/ 686479 w 939786"/>
                  <a:gd name="connsiteY5484" fmla="*/ 85788 h 840509"/>
                  <a:gd name="connsiteX5485" fmla="*/ 686744 w 939786"/>
                  <a:gd name="connsiteY5485" fmla="*/ 85523 h 840509"/>
                  <a:gd name="connsiteX5486" fmla="*/ 687361 w 939786"/>
                  <a:gd name="connsiteY5486" fmla="*/ 83760 h 840509"/>
                  <a:gd name="connsiteX5487" fmla="*/ 687978 w 939786"/>
                  <a:gd name="connsiteY5487" fmla="*/ 83143 h 840509"/>
                  <a:gd name="connsiteX5488" fmla="*/ 687978 w 939786"/>
                  <a:gd name="connsiteY5488" fmla="*/ 82261 h 840509"/>
                  <a:gd name="connsiteX5489" fmla="*/ 688595 w 939786"/>
                  <a:gd name="connsiteY5489" fmla="*/ 81644 h 840509"/>
                  <a:gd name="connsiteX5490" fmla="*/ 689213 w 939786"/>
                  <a:gd name="connsiteY5490" fmla="*/ 81380 h 840509"/>
                  <a:gd name="connsiteX5491" fmla="*/ 689829 w 939786"/>
                  <a:gd name="connsiteY5491" fmla="*/ 80762 h 840509"/>
                  <a:gd name="connsiteX5492" fmla="*/ 689829 w 939786"/>
                  <a:gd name="connsiteY5492" fmla="*/ 79881 h 840509"/>
                  <a:gd name="connsiteX5493" fmla="*/ 690094 w 939786"/>
                  <a:gd name="connsiteY5493" fmla="*/ 78382 h 840509"/>
                  <a:gd name="connsiteX5494" fmla="*/ 690094 w 939786"/>
                  <a:gd name="connsiteY5494" fmla="*/ 77765 h 840509"/>
                  <a:gd name="connsiteX5495" fmla="*/ 690359 w 939786"/>
                  <a:gd name="connsiteY5495" fmla="*/ 76883 h 840509"/>
                  <a:gd name="connsiteX5496" fmla="*/ 690094 w 939786"/>
                  <a:gd name="connsiteY5496" fmla="*/ 76618 h 840509"/>
                  <a:gd name="connsiteX5497" fmla="*/ 690711 w 939786"/>
                  <a:gd name="connsiteY5497" fmla="*/ 75384 h 840509"/>
                  <a:gd name="connsiteX5498" fmla="*/ 690359 w 939786"/>
                  <a:gd name="connsiteY5498" fmla="*/ 74855 h 840509"/>
                  <a:gd name="connsiteX5499" fmla="*/ 690359 w 939786"/>
                  <a:gd name="connsiteY5499" fmla="*/ 73092 h 840509"/>
                  <a:gd name="connsiteX5500" fmla="*/ 691240 w 939786"/>
                  <a:gd name="connsiteY5500" fmla="*/ 72210 h 840509"/>
                  <a:gd name="connsiteX5501" fmla="*/ 691240 w 939786"/>
                  <a:gd name="connsiteY5501" fmla="*/ 71857 h 840509"/>
                  <a:gd name="connsiteX5502" fmla="*/ 691505 w 939786"/>
                  <a:gd name="connsiteY5502" fmla="*/ 71593 h 840509"/>
                  <a:gd name="connsiteX5503" fmla="*/ 691505 w 939786"/>
                  <a:gd name="connsiteY5503" fmla="*/ 71328 h 840509"/>
                  <a:gd name="connsiteX5504" fmla="*/ 691769 w 939786"/>
                  <a:gd name="connsiteY5504" fmla="*/ 70711 h 840509"/>
                  <a:gd name="connsiteX5505" fmla="*/ 692122 w 939786"/>
                  <a:gd name="connsiteY5505" fmla="*/ 70446 h 840509"/>
                  <a:gd name="connsiteX5506" fmla="*/ 692739 w 939786"/>
                  <a:gd name="connsiteY5506" fmla="*/ 70182 h 840509"/>
                  <a:gd name="connsiteX5507" fmla="*/ 692739 w 939786"/>
                  <a:gd name="connsiteY5507" fmla="*/ 69917 h 840509"/>
                  <a:gd name="connsiteX5508" fmla="*/ 692739 w 939786"/>
                  <a:gd name="connsiteY5508" fmla="*/ 70182 h 840509"/>
                  <a:gd name="connsiteX5509" fmla="*/ 693004 w 939786"/>
                  <a:gd name="connsiteY5509" fmla="*/ 70182 h 840509"/>
                  <a:gd name="connsiteX5510" fmla="*/ 692387 w 939786"/>
                  <a:gd name="connsiteY5510" fmla="*/ 68419 h 840509"/>
                  <a:gd name="connsiteX5511" fmla="*/ 693268 w 939786"/>
                  <a:gd name="connsiteY5511" fmla="*/ 67537 h 840509"/>
                  <a:gd name="connsiteX5512" fmla="*/ 693885 w 939786"/>
                  <a:gd name="connsiteY5512" fmla="*/ 66391 h 840509"/>
                  <a:gd name="connsiteX5513" fmla="*/ 694503 w 939786"/>
                  <a:gd name="connsiteY5513" fmla="*/ 65509 h 840509"/>
                  <a:gd name="connsiteX5514" fmla="*/ 695384 w 939786"/>
                  <a:gd name="connsiteY5514" fmla="*/ 65245 h 840509"/>
                  <a:gd name="connsiteX5515" fmla="*/ 696001 w 939786"/>
                  <a:gd name="connsiteY5515" fmla="*/ 64980 h 840509"/>
                  <a:gd name="connsiteX5516" fmla="*/ 696266 w 939786"/>
                  <a:gd name="connsiteY5516" fmla="*/ 65862 h 840509"/>
                  <a:gd name="connsiteX5517" fmla="*/ 696795 w 939786"/>
                  <a:gd name="connsiteY5517" fmla="*/ 65597 h 840509"/>
                  <a:gd name="connsiteX5518" fmla="*/ 696795 w 939786"/>
                  <a:gd name="connsiteY5518" fmla="*/ 65333 h 840509"/>
                  <a:gd name="connsiteX5519" fmla="*/ 696795 w 939786"/>
                  <a:gd name="connsiteY5519" fmla="*/ 65068 h 840509"/>
                  <a:gd name="connsiteX5520" fmla="*/ 697059 w 939786"/>
                  <a:gd name="connsiteY5520" fmla="*/ 64716 h 840509"/>
                  <a:gd name="connsiteX5521" fmla="*/ 697324 w 939786"/>
                  <a:gd name="connsiteY5521" fmla="*/ 64716 h 840509"/>
                  <a:gd name="connsiteX5522" fmla="*/ 697588 w 939786"/>
                  <a:gd name="connsiteY5522" fmla="*/ 64716 h 840509"/>
                  <a:gd name="connsiteX5523" fmla="*/ 697853 w 939786"/>
                  <a:gd name="connsiteY5523" fmla="*/ 65068 h 840509"/>
                  <a:gd name="connsiteX5524" fmla="*/ 698205 w 939786"/>
                  <a:gd name="connsiteY5524" fmla="*/ 65068 h 840509"/>
                  <a:gd name="connsiteX5525" fmla="*/ 698205 w 939786"/>
                  <a:gd name="connsiteY5525" fmla="*/ 65333 h 840509"/>
                  <a:gd name="connsiteX5526" fmla="*/ 698205 w 939786"/>
                  <a:gd name="connsiteY5526" fmla="*/ 65597 h 840509"/>
                  <a:gd name="connsiteX5527" fmla="*/ 698734 w 939786"/>
                  <a:gd name="connsiteY5527" fmla="*/ 66126 h 840509"/>
                  <a:gd name="connsiteX5528" fmla="*/ 698734 w 939786"/>
                  <a:gd name="connsiteY5528" fmla="*/ 66744 h 840509"/>
                  <a:gd name="connsiteX5529" fmla="*/ 698470 w 939786"/>
                  <a:gd name="connsiteY5529" fmla="*/ 67008 h 840509"/>
                  <a:gd name="connsiteX5530" fmla="*/ 698470 w 939786"/>
                  <a:gd name="connsiteY5530" fmla="*/ 67625 h 840509"/>
                  <a:gd name="connsiteX5531" fmla="*/ 698470 w 939786"/>
                  <a:gd name="connsiteY5531" fmla="*/ 67978 h 840509"/>
                  <a:gd name="connsiteX5532" fmla="*/ 698470 w 939786"/>
                  <a:gd name="connsiteY5532" fmla="*/ 68242 h 840509"/>
                  <a:gd name="connsiteX5533" fmla="*/ 698470 w 939786"/>
                  <a:gd name="connsiteY5533" fmla="*/ 68595 h 840509"/>
                  <a:gd name="connsiteX5534" fmla="*/ 698999 w 939786"/>
                  <a:gd name="connsiteY5534" fmla="*/ 70006 h 840509"/>
                  <a:gd name="connsiteX5535" fmla="*/ 698999 w 939786"/>
                  <a:gd name="connsiteY5535" fmla="*/ 70270 h 840509"/>
                  <a:gd name="connsiteX5536" fmla="*/ 699352 w 939786"/>
                  <a:gd name="connsiteY5536" fmla="*/ 69388 h 840509"/>
                  <a:gd name="connsiteX5537" fmla="*/ 699352 w 939786"/>
                  <a:gd name="connsiteY5537" fmla="*/ 69124 h 840509"/>
                  <a:gd name="connsiteX5538" fmla="*/ 699352 w 939786"/>
                  <a:gd name="connsiteY5538" fmla="*/ 68859 h 840509"/>
                  <a:gd name="connsiteX5539" fmla="*/ 698734 w 939786"/>
                  <a:gd name="connsiteY5539" fmla="*/ 65068 h 840509"/>
                  <a:gd name="connsiteX5540" fmla="*/ 697853 w 939786"/>
                  <a:gd name="connsiteY5540" fmla="*/ 64187 h 840509"/>
                  <a:gd name="connsiteX5541" fmla="*/ 696707 w 939786"/>
                  <a:gd name="connsiteY5541" fmla="*/ 61894 h 840509"/>
                  <a:gd name="connsiteX5542" fmla="*/ 695825 w 939786"/>
                  <a:gd name="connsiteY5542" fmla="*/ 60395 h 840509"/>
                  <a:gd name="connsiteX5543" fmla="*/ 695825 w 939786"/>
                  <a:gd name="connsiteY5543" fmla="*/ 59778 h 840509"/>
                  <a:gd name="connsiteX5544" fmla="*/ 696354 w 939786"/>
                  <a:gd name="connsiteY5544" fmla="*/ 59514 h 840509"/>
                  <a:gd name="connsiteX5545" fmla="*/ 696618 w 939786"/>
                  <a:gd name="connsiteY5545" fmla="*/ 59249 h 840509"/>
                  <a:gd name="connsiteX5546" fmla="*/ 696354 w 939786"/>
                  <a:gd name="connsiteY5546" fmla="*/ 58896 h 840509"/>
                  <a:gd name="connsiteX5547" fmla="*/ 696089 w 939786"/>
                  <a:gd name="connsiteY5547" fmla="*/ 58896 h 840509"/>
                  <a:gd name="connsiteX5548" fmla="*/ 694943 w 939786"/>
                  <a:gd name="connsiteY5548" fmla="*/ 58632 h 840509"/>
                  <a:gd name="connsiteX5549" fmla="*/ 694591 w 939786"/>
                  <a:gd name="connsiteY5549" fmla="*/ 58632 h 840509"/>
                  <a:gd name="connsiteX5550" fmla="*/ 694591 w 939786"/>
                  <a:gd name="connsiteY5550" fmla="*/ 58896 h 840509"/>
                  <a:gd name="connsiteX5551" fmla="*/ 694326 w 939786"/>
                  <a:gd name="connsiteY5551" fmla="*/ 60043 h 840509"/>
                  <a:gd name="connsiteX5552" fmla="*/ 694326 w 939786"/>
                  <a:gd name="connsiteY5552" fmla="*/ 60307 h 840509"/>
                  <a:gd name="connsiteX5553" fmla="*/ 694326 w 939786"/>
                  <a:gd name="connsiteY5553" fmla="*/ 60660 h 840509"/>
                  <a:gd name="connsiteX5554" fmla="*/ 694326 w 939786"/>
                  <a:gd name="connsiteY5554" fmla="*/ 60924 h 840509"/>
                  <a:gd name="connsiteX5555" fmla="*/ 694591 w 939786"/>
                  <a:gd name="connsiteY5555" fmla="*/ 60924 h 840509"/>
                  <a:gd name="connsiteX5556" fmla="*/ 694943 w 939786"/>
                  <a:gd name="connsiteY5556" fmla="*/ 61189 h 840509"/>
                  <a:gd name="connsiteX5557" fmla="*/ 693797 w 939786"/>
                  <a:gd name="connsiteY5557" fmla="*/ 61806 h 840509"/>
                  <a:gd name="connsiteX5558" fmla="*/ 693533 w 939786"/>
                  <a:gd name="connsiteY5558" fmla="*/ 61806 h 840509"/>
                  <a:gd name="connsiteX5559" fmla="*/ 692916 w 939786"/>
                  <a:gd name="connsiteY5559" fmla="*/ 61542 h 840509"/>
                  <a:gd name="connsiteX5560" fmla="*/ 692916 w 939786"/>
                  <a:gd name="connsiteY5560" fmla="*/ 61277 h 840509"/>
                  <a:gd name="connsiteX5561" fmla="*/ 692916 w 939786"/>
                  <a:gd name="connsiteY5561" fmla="*/ 60748 h 840509"/>
                  <a:gd name="connsiteX5562" fmla="*/ 693533 w 939786"/>
                  <a:gd name="connsiteY5562" fmla="*/ 60395 h 840509"/>
                  <a:gd name="connsiteX5563" fmla="*/ 693797 w 939786"/>
                  <a:gd name="connsiteY5563" fmla="*/ 59514 h 840509"/>
                  <a:gd name="connsiteX5564" fmla="*/ 694943 w 939786"/>
                  <a:gd name="connsiteY5564" fmla="*/ 57486 h 840509"/>
                  <a:gd name="connsiteX5565" fmla="*/ 695208 w 939786"/>
                  <a:gd name="connsiteY5565" fmla="*/ 57221 h 840509"/>
                  <a:gd name="connsiteX5566" fmla="*/ 695825 w 939786"/>
                  <a:gd name="connsiteY5566" fmla="*/ 55722 h 840509"/>
                  <a:gd name="connsiteX5567" fmla="*/ 695208 w 939786"/>
                  <a:gd name="connsiteY5567" fmla="*/ 53959 h 840509"/>
                  <a:gd name="connsiteX5568" fmla="*/ 695825 w 939786"/>
                  <a:gd name="connsiteY5568" fmla="*/ 52196 h 840509"/>
                  <a:gd name="connsiteX5569" fmla="*/ 695825 w 939786"/>
                  <a:gd name="connsiteY5569" fmla="*/ 51579 h 840509"/>
                  <a:gd name="connsiteX5570" fmla="*/ 697588 w 939786"/>
                  <a:gd name="connsiteY5570" fmla="*/ 50080 h 840509"/>
                  <a:gd name="connsiteX5571" fmla="*/ 697853 w 939786"/>
                  <a:gd name="connsiteY5571" fmla="*/ 49463 h 840509"/>
                  <a:gd name="connsiteX5572" fmla="*/ 698999 w 939786"/>
                  <a:gd name="connsiteY5572" fmla="*/ 48845 h 840509"/>
                  <a:gd name="connsiteX5573" fmla="*/ 699352 w 939786"/>
                  <a:gd name="connsiteY5573" fmla="*/ 48581 h 840509"/>
                  <a:gd name="connsiteX5574" fmla="*/ 699352 w 939786"/>
                  <a:gd name="connsiteY5574" fmla="*/ 48316 h 840509"/>
                  <a:gd name="connsiteX5575" fmla="*/ 699616 w 939786"/>
                  <a:gd name="connsiteY5575" fmla="*/ 47964 h 840509"/>
                  <a:gd name="connsiteX5576" fmla="*/ 700234 w 939786"/>
                  <a:gd name="connsiteY5576" fmla="*/ 47435 h 840509"/>
                  <a:gd name="connsiteX5577" fmla="*/ 700498 w 939786"/>
                  <a:gd name="connsiteY5577" fmla="*/ 47170 h 840509"/>
                  <a:gd name="connsiteX5578" fmla="*/ 700763 w 939786"/>
                  <a:gd name="connsiteY5578" fmla="*/ 46817 h 840509"/>
                  <a:gd name="connsiteX5579" fmla="*/ 701380 w 939786"/>
                  <a:gd name="connsiteY5579" fmla="*/ 46553 h 840509"/>
                  <a:gd name="connsiteX5580" fmla="*/ 701380 w 939786"/>
                  <a:gd name="connsiteY5580" fmla="*/ 46817 h 840509"/>
                  <a:gd name="connsiteX5581" fmla="*/ 701027 w 939786"/>
                  <a:gd name="connsiteY5581" fmla="*/ 47170 h 840509"/>
                  <a:gd name="connsiteX5582" fmla="*/ 701027 w 939786"/>
                  <a:gd name="connsiteY5582" fmla="*/ 47435 h 840509"/>
                  <a:gd name="connsiteX5583" fmla="*/ 701380 w 939786"/>
                  <a:gd name="connsiteY5583" fmla="*/ 49727 h 840509"/>
                  <a:gd name="connsiteX5584" fmla="*/ 703760 w 939786"/>
                  <a:gd name="connsiteY5584" fmla="*/ 49110 h 840509"/>
                  <a:gd name="connsiteX5585" fmla="*/ 704025 w 939786"/>
                  <a:gd name="connsiteY5585" fmla="*/ 49110 h 840509"/>
                  <a:gd name="connsiteX5586" fmla="*/ 704025 w 939786"/>
                  <a:gd name="connsiteY5586" fmla="*/ 48845 h 840509"/>
                  <a:gd name="connsiteX5587" fmla="*/ 704025 w 939786"/>
                  <a:gd name="connsiteY5587" fmla="*/ 48581 h 840509"/>
                  <a:gd name="connsiteX5588" fmla="*/ 704025 w 939786"/>
                  <a:gd name="connsiteY5588" fmla="*/ 48316 h 840509"/>
                  <a:gd name="connsiteX5589" fmla="*/ 703143 w 939786"/>
                  <a:gd name="connsiteY5589" fmla="*/ 47170 h 840509"/>
                  <a:gd name="connsiteX5590" fmla="*/ 702879 w 939786"/>
                  <a:gd name="connsiteY5590" fmla="*/ 47170 h 840509"/>
                  <a:gd name="connsiteX5591" fmla="*/ 702526 w 939786"/>
                  <a:gd name="connsiteY5591" fmla="*/ 46817 h 840509"/>
                  <a:gd name="connsiteX5592" fmla="*/ 702526 w 939786"/>
                  <a:gd name="connsiteY5592" fmla="*/ 46553 h 840509"/>
                  <a:gd name="connsiteX5593" fmla="*/ 702526 w 939786"/>
                  <a:gd name="connsiteY5593" fmla="*/ 46200 h 840509"/>
                  <a:gd name="connsiteX5594" fmla="*/ 702526 w 939786"/>
                  <a:gd name="connsiteY5594" fmla="*/ 45671 h 840509"/>
                  <a:gd name="connsiteX5595" fmla="*/ 703143 w 939786"/>
                  <a:gd name="connsiteY5595" fmla="*/ 43908 h 840509"/>
                  <a:gd name="connsiteX5596" fmla="*/ 703408 w 939786"/>
                  <a:gd name="connsiteY5596" fmla="*/ 42762 h 840509"/>
                  <a:gd name="connsiteX5597" fmla="*/ 702790 w 939786"/>
                  <a:gd name="connsiteY5597" fmla="*/ 39852 h 840509"/>
                  <a:gd name="connsiteX5598" fmla="*/ 702438 w 939786"/>
                  <a:gd name="connsiteY5598" fmla="*/ 38442 h 840509"/>
                  <a:gd name="connsiteX5599" fmla="*/ 703319 w 939786"/>
                  <a:gd name="connsiteY5599" fmla="*/ 36414 h 840509"/>
                  <a:gd name="connsiteX5600" fmla="*/ 703055 w 939786"/>
                  <a:gd name="connsiteY5600" fmla="*/ 35267 h 840509"/>
                  <a:gd name="connsiteX5601" fmla="*/ 703937 w 939786"/>
                  <a:gd name="connsiteY5601" fmla="*/ 34121 h 840509"/>
                  <a:gd name="connsiteX5602" fmla="*/ 704201 w 939786"/>
                  <a:gd name="connsiteY5602" fmla="*/ 33239 h 840509"/>
                  <a:gd name="connsiteX5603" fmla="*/ 705347 w 939786"/>
                  <a:gd name="connsiteY5603" fmla="*/ 32093 h 840509"/>
                  <a:gd name="connsiteX5604" fmla="*/ 706229 w 939786"/>
                  <a:gd name="connsiteY5604" fmla="*/ 31564 h 840509"/>
                  <a:gd name="connsiteX5605" fmla="*/ 706493 w 939786"/>
                  <a:gd name="connsiteY5605" fmla="*/ 30683 h 840509"/>
                  <a:gd name="connsiteX5606" fmla="*/ 707111 w 939786"/>
                  <a:gd name="connsiteY5606" fmla="*/ 29801 h 840509"/>
                  <a:gd name="connsiteX5607" fmla="*/ 708257 w 939786"/>
                  <a:gd name="connsiteY5607" fmla="*/ 27773 h 840509"/>
                  <a:gd name="connsiteX5608" fmla="*/ 708522 w 939786"/>
                  <a:gd name="connsiteY5608" fmla="*/ 26891 h 840509"/>
                  <a:gd name="connsiteX5609" fmla="*/ 709403 w 939786"/>
                  <a:gd name="connsiteY5609" fmla="*/ 26627 h 840509"/>
                  <a:gd name="connsiteX5610" fmla="*/ 709403 w 939786"/>
                  <a:gd name="connsiteY5610" fmla="*/ 26010 h 840509"/>
                  <a:gd name="connsiteX5611" fmla="*/ 709667 w 939786"/>
                  <a:gd name="connsiteY5611" fmla="*/ 25128 h 840509"/>
                  <a:gd name="connsiteX5612" fmla="*/ 709667 w 939786"/>
                  <a:gd name="connsiteY5612" fmla="*/ 24246 h 840509"/>
                  <a:gd name="connsiteX5613" fmla="*/ 709667 w 939786"/>
                  <a:gd name="connsiteY5613" fmla="*/ 23982 h 840509"/>
                  <a:gd name="connsiteX5614" fmla="*/ 708169 w 939786"/>
                  <a:gd name="connsiteY5614" fmla="*/ 23982 h 840509"/>
                  <a:gd name="connsiteX5615" fmla="*/ 709667 w 939786"/>
                  <a:gd name="connsiteY5615" fmla="*/ 23629 h 840509"/>
                  <a:gd name="connsiteX5616" fmla="*/ 708522 w 939786"/>
                  <a:gd name="connsiteY5616" fmla="*/ 23100 h 840509"/>
                  <a:gd name="connsiteX5617" fmla="*/ 709403 w 939786"/>
                  <a:gd name="connsiteY5617" fmla="*/ 22218 h 840509"/>
                  <a:gd name="connsiteX5618" fmla="*/ 709403 w 939786"/>
                  <a:gd name="connsiteY5618" fmla="*/ 21954 h 840509"/>
                  <a:gd name="connsiteX5619" fmla="*/ 709667 w 939786"/>
                  <a:gd name="connsiteY5619" fmla="*/ 21689 h 840509"/>
                  <a:gd name="connsiteX5620" fmla="*/ 709932 w 939786"/>
                  <a:gd name="connsiteY5620" fmla="*/ 21689 h 840509"/>
                  <a:gd name="connsiteX5621" fmla="*/ 710284 w 939786"/>
                  <a:gd name="connsiteY5621" fmla="*/ 21072 h 840509"/>
                  <a:gd name="connsiteX5622" fmla="*/ 710549 w 939786"/>
                  <a:gd name="connsiteY5622" fmla="*/ 21072 h 840509"/>
                  <a:gd name="connsiteX5623" fmla="*/ 710902 w 939786"/>
                  <a:gd name="connsiteY5623" fmla="*/ 20808 h 840509"/>
                  <a:gd name="connsiteX5624" fmla="*/ 711166 w 939786"/>
                  <a:gd name="connsiteY5624" fmla="*/ 20808 h 840509"/>
                  <a:gd name="connsiteX5625" fmla="*/ 711431 w 939786"/>
                  <a:gd name="connsiteY5625" fmla="*/ 21072 h 840509"/>
                  <a:gd name="connsiteX5626" fmla="*/ 709667 w 939786"/>
                  <a:gd name="connsiteY5626" fmla="*/ 19926 h 840509"/>
                  <a:gd name="connsiteX5627" fmla="*/ 709667 w 939786"/>
                  <a:gd name="connsiteY5627" fmla="*/ 19309 h 840509"/>
                  <a:gd name="connsiteX5628" fmla="*/ 710813 w 939786"/>
                  <a:gd name="connsiteY5628" fmla="*/ 19044 h 840509"/>
                  <a:gd name="connsiteX5629" fmla="*/ 710813 w 939786"/>
                  <a:gd name="connsiteY5629" fmla="*/ 18163 h 840509"/>
                  <a:gd name="connsiteX5630" fmla="*/ 712224 w 939786"/>
                  <a:gd name="connsiteY5630" fmla="*/ 18427 h 840509"/>
                  <a:gd name="connsiteX5631" fmla="*/ 713723 w 939786"/>
                  <a:gd name="connsiteY5631" fmla="*/ 17545 h 840509"/>
                  <a:gd name="connsiteX5632" fmla="*/ 714605 w 939786"/>
                  <a:gd name="connsiteY5632" fmla="*/ 16928 h 840509"/>
                  <a:gd name="connsiteX5633" fmla="*/ 714605 w 939786"/>
                  <a:gd name="connsiteY5633" fmla="*/ 16047 h 840509"/>
                  <a:gd name="connsiteX5634" fmla="*/ 715222 w 939786"/>
                  <a:gd name="connsiteY5634" fmla="*/ 16047 h 840509"/>
                  <a:gd name="connsiteX5635" fmla="*/ 715487 w 939786"/>
                  <a:gd name="connsiteY5635" fmla="*/ 15429 h 840509"/>
                  <a:gd name="connsiteX5636" fmla="*/ 716104 w 939786"/>
                  <a:gd name="connsiteY5636" fmla="*/ 14548 h 840509"/>
                  <a:gd name="connsiteX5637" fmla="*/ 717250 w 939786"/>
                  <a:gd name="connsiteY5637" fmla="*/ 13049 h 840509"/>
                  <a:gd name="connsiteX5638" fmla="*/ 719014 w 939786"/>
                  <a:gd name="connsiteY5638" fmla="*/ 12432 h 840509"/>
                  <a:gd name="connsiteX5639" fmla="*/ 719895 w 939786"/>
                  <a:gd name="connsiteY5639" fmla="*/ 12079 h 840509"/>
                  <a:gd name="connsiteX5640" fmla="*/ 720248 w 939786"/>
                  <a:gd name="connsiteY5640" fmla="*/ 13578 h 840509"/>
                  <a:gd name="connsiteX5641" fmla="*/ 719895 w 939786"/>
                  <a:gd name="connsiteY5641" fmla="*/ 15341 h 840509"/>
                  <a:gd name="connsiteX5642" fmla="*/ 720512 w 939786"/>
                  <a:gd name="connsiteY5642" fmla="*/ 16487 h 840509"/>
                  <a:gd name="connsiteX5643" fmla="*/ 720512 w 939786"/>
                  <a:gd name="connsiteY5643" fmla="*/ 16752 h 840509"/>
                  <a:gd name="connsiteX5644" fmla="*/ 719895 w 939786"/>
                  <a:gd name="connsiteY5644" fmla="*/ 17369 h 840509"/>
                  <a:gd name="connsiteX5645" fmla="*/ 719630 w 939786"/>
                  <a:gd name="connsiteY5645" fmla="*/ 17722 h 840509"/>
                  <a:gd name="connsiteX5646" fmla="*/ 719366 w 939786"/>
                  <a:gd name="connsiteY5646" fmla="*/ 17722 h 840509"/>
                  <a:gd name="connsiteX5647" fmla="*/ 718220 w 939786"/>
                  <a:gd name="connsiteY5647" fmla="*/ 18868 h 840509"/>
                  <a:gd name="connsiteX5648" fmla="*/ 718220 w 939786"/>
                  <a:gd name="connsiteY5648" fmla="*/ 19133 h 840509"/>
                  <a:gd name="connsiteX5649" fmla="*/ 717955 w 939786"/>
                  <a:gd name="connsiteY5649" fmla="*/ 19133 h 840509"/>
                  <a:gd name="connsiteX5650" fmla="*/ 717955 w 939786"/>
                  <a:gd name="connsiteY5650" fmla="*/ 19397 h 840509"/>
                  <a:gd name="connsiteX5651" fmla="*/ 717691 w 939786"/>
                  <a:gd name="connsiteY5651" fmla="*/ 21425 h 840509"/>
                  <a:gd name="connsiteX5652" fmla="*/ 717955 w 939786"/>
                  <a:gd name="connsiteY5652" fmla="*/ 21425 h 840509"/>
                  <a:gd name="connsiteX5653" fmla="*/ 718220 w 939786"/>
                  <a:gd name="connsiteY5653" fmla="*/ 21072 h 840509"/>
                  <a:gd name="connsiteX5654" fmla="*/ 718220 w 939786"/>
                  <a:gd name="connsiteY5654" fmla="*/ 20808 h 840509"/>
                  <a:gd name="connsiteX5655" fmla="*/ 718749 w 939786"/>
                  <a:gd name="connsiteY5655" fmla="*/ 19926 h 840509"/>
                  <a:gd name="connsiteX5656" fmla="*/ 718749 w 939786"/>
                  <a:gd name="connsiteY5656" fmla="*/ 19662 h 840509"/>
                  <a:gd name="connsiteX5657" fmla="*/ 719101 w 939786"/>
                  <a:gd name="connsiteY5657" fmla="*/ 19662 h 840509"/>
                  <a:gd name="connsiteX5658" fmla="*/ 719101 w 939786"/>
                  <a:gd name="connsiteY5658" fmla="*/ 19397 h 840509"/>
                  <a:gd name="connsiteX5659" fmla="*/ 719366 w 939786"/>
                  <a:gd name="connsiteY5659" fmla="*/ 19397 h 840509"/>
                  <a:gd name="connsiteX5660" fmla="*/ 719630 w 939786"/>
                  <a:gd name="connsiteY5660" fmla="*/ 19397 h 840509"/>
                  <a:gd name="connsiteX5661" fmla="*/ 719895 w 939786"/>
                  <a:gd name="connsiteY5661" fmla="*/ 19397 h 840509"/>
                  <a:gd name="connsiteX5662" fmla="*/ 720248 w 939786"/>
                  <a:gd name="connsiteY5662" fmla="*/ 19397 h 840509"/>
                  <a:gd name="connsiteX5663" fmla="*/ 720248 w 939786"/>
                  <a:gd name="connsiteY5663" fmla="*/ 19662 h 840509"/>
                  <a:gd name="connsiteX5664" fmla="*/ 722540 w 939786"/>
                  <a:gd name="connsiteY5664" fmla="*/ 19662 h 840509"/>
                  <a:gd name="connsiteX5665" fmla="*/ 722276 w 939786"/>
                  <a:gd name="connsiteY5665" fmla="*/ 21689 h 840509"/>
                  <a:gd name="connsiteX5666" fmla="*/ 722540 w 939786"/>
                  <a:gd name="connsiteY5666" fmla="*/ 22307 h 840509"/>
                  <a:gd name="connsiteX5667" fmla="*/ 723951 w 939786"/>
                  <a:gd name="connsiteY5667" fmla="*/ 22924 h 840509"/>
                  <a:gd name="connsiteX5668" fmla="*/ 724832 w 939786"/>
                  <a:gd name="connsiteY5668" fmla="*/ 22924 h 840509"/>
                  <a:gd name="connsiteX5669" fmla="*/ 724568 w 939786"/>
                  <a:gd name="connsiteY5669" fmla="*/ 22659 h 840509"/>
                  <a:gd name="connsiteX5670" fmla="*/ 723686 w 939786"/>
                  <a:gd name="connsiteY5670" fmla="*/ 21778 h 840509"/>
                  <a:gd name="connsiteX5671" fmla="*/ 724568 w 939786"/>
                  <a:gd name="connsiteY5671" fmla="*/ 21160 h 840509"/>
                  <a:gd name="connsiteX5672" fmla="*/ 726067 w 939786"/>
                  <a:gd name="connsiteY5672" fmla="*/ 21513 h 840509"/>
                  <a:gd name="connsiteX5673" fmla="*/ 726067 w 939786"/>
                  <a:gd name="connsiteY5673" fmla="*/ 22395 h 840509"/>
                  <a:gd name="connsiteX5674" fmla="*/ 725450 w 939786"/>
                  <a:gd name="connsiteY5674" fmla="*/ 23541 h 840509"/>
                  <a:gd name="connsiteX5675" fmla="*/ 725185 w 939786"/>
                  <a:gd name="connsiteY5675" fmla="*/ 24423 h 840509"/>
                  <a:gd name="connsiteX5676" fmla="*/ 724921 w 939786"/>
                  <a:gd name="connsiteY5676" fmla="*/ 24687 h 840509"/>
                  <a:gd name="connsiteX5677" fmla="*/ 724303 w 939786"/>
                  <a:gd name="connsiteY5677" fmla="*/ 25833 h 840509"/>
                  <a:gd name="connsiteX5678" fmla="*/ 723422 w 939786"/>
                  <a:gd name="connsiteY5678" fmla="*/ 26715 h 840509"/>
                  <a:gd name="connsiteX5679" fmla="*/ 724568 w 939786"/>
                  <a:gd name="connsiteY5679" fmla="*/ 27068 h 840509"/>
                  <a:gd name="connsiteX5680" fmla="*/ 724568 w 939786"/>
                  <a:gd name="connsiteY5680" fmla="*/ 27949 h 840509"/>
                  <a:gd name="connsiteX5681" fmla="*/ 724568 w 939786"/>
                  <a:gd name="connsiteY5681" fmla="*/ 29713 h 840509"/>
                  <a:gd name="connsiteX5682" fmla="*/ 723951 w 939786"/>
                  <a:gd name="connsiteY5682" fmla="*/ 31741 h 840509"/>
                  <a:gd name="connsiteX5683" fmla="*/ 723951 w 939786"/>
                  <a:gd name="connsiteY5683" fmla="*/ 32358 h 840509"/>
                  <a:gd name="connsiteX5684" fmla="*/ 723951 w 939786"/>
                  <a:gd name="connsiteY5684" fmla="*/ 32622 h 840509"/>
                  <a:gd name="connsiteX5685" fmla="*/ 723951 w 939786"/>
                  <a:gd name="connsiteY5685" fmla="*/ 34033 h 840509"/>
                  <a:gd name="connsiteX5686" fmla="*/ 723069 w 939786"/>
                  <a:gd name="connsiteY5686" fmla="*/ 35179 h 840509"/>
                  <a:gd name="connsiteX5687" fmla="*/ 723069 w 939786"/>
                  <a:gd name="connsiteY5687" fmla="*/ 35444 h 840509"/>
                  <a:gd name="connsiteX5688" fmla="*/ 724215 w 939786"/>
                  <a:gd name="connsiteY5688" fmla="*/ 34915 h 840509"/>
                  <a:gd name="connsiteX5689" fmla="*/ 723951 w 939786"/>
                  <a:gd name="connsiteY5689" fmla="*/ 35796 h 840509"/>
                  <a:gd name="connsiteX5690" fmla="*/ 724568 w 939786"/>
                  <a:gd name="connsiteY5690" fmla="*/ 36414 h 840509"/>
                  <a:gd name="connsiteX5691" fmla="*/ 725185 w 939786"/>
                  <a:gd name="connsiteY5691" fmla="*/ 37824 h 840509"/>
                  <a:gd name="connsiteX5692" fmla="*/ 725450 w 939786"/>
                  <a:gd name="connsiteY5692" fmla="*/ 38442 h 840509"/>
                  <a:gd name="connsiteX5693" fmla="*/ 726331 w 939786"/>
                  <a:gd name="connsiteY5693" fmla="*/ 40205 h 840509"/>
                  <a:gd name="connsiteX5694" fmla="*/ 725714 w 939786"/>
                  <a:gd name="connsiteY5694" fmla="*/ 39940 h 840509"/>
                  <a:gd name="connsiteX5695" fmla="*/ 723951 w 939786"/>
                  <a:gd name="connsiteY5695" fmla="*/ 40205 h 840509"/>
                  <a:gd name="connsiteX5696" fmla="*/ 722805 w 939786"/>
                  <a:gd name="connsiteY5696" fmla="*/ 41086 h 840509"/>
                  <a:gd name="connsiteX5697" fmla="*/ 723951 w 939786"/>
                  <a:gd name="connsiteY5697" fmla="*/ 41704 h 840509"/>
                  <a:gd name="connsiteX5698" fmla="*/ 725450 w 939786"/>
                  <a:gd name="connsiteY5698" fmla="*/ 42321 h 840509"/>
                  <a:gd name="connsiteX5699" fmla="*/ 726596 w 939786"/>
                  <a:gd name="connsiteY5699" fmla="*/ 42585 h 840509"/>
                  <a:gd name="connsiteX5700" fmla="*/ 727742 w 939786"/>
                  <a:gd name="connsiteY5700" fmla="*/ 42850 h 840509"/>
                  <a:gd name="connsiteX5701" fmla="*/ 728888 w 939786"/>
                  <a:gd name="connsiteY5701" fmla="*/ 42585 h 840509"/>
                  <a:gd name="connsiteX5702" fmla="*/ 729417 w 939786"/>
                  <a:gd name="connsiteY5702" fmla="*/ 43202 h 840509"/>
                  <a:gd name="connsiteX5703" fmla="*/ 730564 w 939786"/>
                  <a:gd name="connsiteY5703" fmla="*/ 44701 h 840509"/>
                  <a:gd name="connsiteX5704" fmla="*/ 730035 w 939786"/>
                  <a:gd name="connsiteY5704" fmla="*/ 46465 h 840509"/>
                  <a:gd name="connsiteX5705" fmla="*/ 730035 w 939786"/>
                  <a:gd name="connsiteY5705" fmla="*/ 47346 h 840509"/>
                  <a:gd name="connsiteX5706" fmla="*/ 729417 w 939786"/>
                  <a:gd name="connsiteY5706" fmla="*/ 48140 h 840509"/>
                  <a:gd name="connsiteX5707" fmla="*/ 728535 w 939786"/>
                  <a:gd name="connsiteY5707" fmla="*/ 48493 h 840509"/>
                  <a:gd name="connsiteX5708" fmla="*/ 727654 w 939786"/>
                  <a:gd name="connsiteY5708" fmla="*/ 49639 h 840509"/>
                  <a:gd name="connsiteX5709" fmla="*/ 726508 w 939786"/>
                  <a:gd name="connsiteY5709" fmla="*/ 51138 h 840509"/>
                  <a:gd name="connsiteX5710" fmla="*/ 725979 w 939786"/>
                  <a:gd name="connsiteY5710" fmla="*/ 53166 h 840509"/>
                  <a:gd name="connsiteX5711" fmla="*/ 725626 w 939786"/>
                  <a:gd name="connsiteY5711" fmla="*/ 54929 h 840509"/>
                  <a:gd name="connsiteX5712" fmla="*/ 725361 w 939786"/>
                  <a:gd name="connsiteY5712" fmla="*/ 55546 h 840509"/>
                  <a:gd name="connsiteX5713" fmla="*/ 725361 w 939786"/>
                  <a:gd name="connsiteY5713" fmla="*/ 56163 h 840509"/>
                  <a:gd name="connsiteX5714" fmla="*/ 725626 w 939786"/>
                  <a:gd name="connsiteY5714" fmla="*/ 56163 h 840509"/>
                  <a:gd name="connsiteX5715" fmla="*/ 726508 w 939786"/>
                  <a:gd name="connsiteY5715" fmla="*/ 56428 h 840509"/>
                  <a:gd name="connsiteX5716" fmla="*/ 726772 w 939786"/>
                  <a:gd name="connsiteY5716" fmla="*/ 56163 h 840509"/>
                  <a:gd name="connsiteX5717" fmla="*/ 727037 w 939786"/>
                  <a:gd name="connsiteY5717" fmla="*/ 56163 h 840509"/>
                  <a:gd name="connsiteX5718" fmla="*/ 727389 w 939786"/>
                  <a:gd name="connsiteY5718" fmla="*/ 56163 h 840509"/>
                  <a:gd name="connsiteX5719" fmla="*/ 727654 w 939786"/>
                  <a:gd name="connsiteY5719" fmla="*/ 56163 h 840509"/>
                  <a:gd name="connsiteX5720" fmla="*/ 727918 w 939786"/>
                  <a:gd name="connsiteY5720" fmla="*/ 56428 h 840509"/>
                  <a:gd name="connsiteX5721" fmla="*/ 728183 w 939786"/>
                  <a:gd name="connsiteY5721" fmla="*/ 56780 h 840509"/>
                  <a:gd name="connsiteX5722" fmla="*/ 728183 w 939786"/>
                  <a:gd name="connsiteY5722" fmla="*/ 57045 h 840509"/>
                  <a:gd name="connsiteX5723" fmla="*/ 728447 w 939786"/>
                  <a:gd name="connsiteY5723" fmla="*/ 57045 h 840509"/>
                  <a:gd name="connsiteX5724" fmla="*/ 728800 w 939786"/>
                  <a:gd name="connsiteY5724" fmla="*/ 57309 h 840509"/>
                  <a:gd name="connsiteX5725" fmla="*/ 729064 w 939786"/>
                  <a:gd name="connsiteY5725" fmla="*/ 57309 h 840509"/>
                  <a:gd name="connsiteX5726" fmla="*/ 729329 w 939786"/>
                  <a:gd name="connsiteY5726" fmla="*/ 57838 h 840509"/>
                  <a:gd name="connsiteX5727" fmla="*/ 729329 w 939786"/>
                  <a:gd name="connsiteY5727" fmla="*/ 58191 h 840509"/>
                  <a:gd name="connsiteX5728" fmla="*/ 729329 w 939786"/>
                  <a:gd name="connsiteY5728" fmla="*/ 58808 h 840509"/>
                  <a:gd name="connsiteX5729" fmla="*/ 729329 w 939786"/>
                  <a:gd name="connsiteY5729" fmla="*/ 59073 h 840509"/>
                  <a:gd name="connsiteX5730" fmla="*/ 729329 w 939786"/>
                  <a:gd name="connsiteY5730" fmla="*/ 59425 h 840509"/>
                  <a:gd name="connsiteX5731" fmla="*/ 729064 w 939786"/>
                  <a:gd name="connsiteY5731" fmla="*/ 59690 h 840509"/>
                  <a:gd name="connsiteX5732" fmla="*/ 729064 w 939786"/>
                  <a:gd name="connsiteY5732" fmla="*/ 59954 h 840509"/>
                  <a:gd name="connsiteX5733" fmla="*/ 729064 w 939786"/>
                  <a:gd name="connsiteY5733" fmla="*/ 60572 h 840509"/>
                  <a:gd name="connsiteX5734" fmla="*/ 729064 w 939786"/>
                  <a:gd name="connsiteY5734" fmla="*/ 60924 h 840509"/>
                  <a:gd name="connsiteX5735" fmla="*/ 729682 w 939786"/>
                  <a:gd name="connsiteY5735" fmla="*/ 61806 h 840509"/>
                  <a:gd name="connsiteX5736" fmla="*/ 730035 w 939786"/>
                  <a:gd name="connsiteY5736" fmla="*/ 61806 h 840509"/>
                  <a:gd name="connsiteX5737" fmla="*/ 730299 w 939786"/>
                  <a:gd name="connsiteY5737" fmla="*/ 62071 h 840509"/>
                  <a:gd name="connsiteX5738" fmla="*/ 730564 w 939786"/>
                  <a:gd name="connsiteY5738" fmla="*/ 61806 h 840509"/>
                  <a:gd name="connsiteX5739" fmla="*/ 730916 w 939786"/>
                  <a:gd name="connsiteY5739" fmla="*/ 61806 h 840509"/>
                  <a:gd name="connsiteX5740" fmla="*/ 731798 w 939786"/>
                  <a:gd name="connsiteY5740" fmla="*/ 62688 h 840509"/>
                  <a:gd name="connsiteX5741" fmla="*/ 732062 w 939786"/>
                  <a:gd name="connsiteY5741" fmla="*/ 63305 h 840509"/>
                  <a:gd name="connsiteX5742" fmla="*/ 732062 w 939786"/>
                  <a:gd name="connsiteY5742" fmla="*/ 64187 h 840509"/>
                  <a:gd name="connsiteX5743" fmla="*/ 732062 w 939786"/>
                  <a:gd name="connsiteY5743" fmla="*/ 64451 h 840509"/>
                  <a:gd name="connsiteX5744" fmla="*/ 732327 w 939786"/>
                  <a:gd name="connsiteY5744" fmla="*/ 64716 h 840509"/>
                  <a:gd name="connsiteX5745" fmla="*/ 732591 w 939786"/>
                  <a:gd name="connsiteY5745" fmla="*/ 65597 h 840509"/>
                  <a:gd name="connsiteX5746" fmla="*/ 732944 w 939786"/>
                  <a:gd name="connsiteY5746" fmla="*/ 66126 h 840509"/>
                  <a:gd name="connsiteX5747" fmla="*/ 733209 w 939786"/>
                  <a:gd name="connsiteY5747" fmla="*/ 66126 h 840509"/>
                  <a:gd name="connsiteX5748" fmla="*/ 733473 w 939786"/>
                  <a:gd name="connsiteY5748" fmla="*/ 66391 h 840509"/>
                  <a:gd name="connsiteX5749" fmla="*/ 733738 w 939786"/>
                  <a:gd name="connsiteY5749" fmla="*/ 67273 h 840509"/>
                  <a:gd name="connsiteX5750" fmla="*/ 733473 w 939786"/>
                  <a:gd name="connsiteY5750" fmla="*/ 68154 h 840509"/>
                  <a:gd name="connsiteX5751" fmla="*/ 732944 w 939786"/>
                  <a:gd name="connsiteY5751" fmla="*/ 69565 h 840509"/>
                  <a:gd name="connsiteX5752" fmla="*/ 732327 w 939786"/>
                  <a:gd name="connsiteY5752" fmla="*/ 70446 h 840509"/>
                  <a:gd name="connsiteX5753" fmla="*/ 732327 w 939786"/>
                  <a:gd name="connsiteY5753" fmla="*/ 71593 h 840509"/>
                  <a:gd name="connsiteX5754" fmla="*/ 732591 w 939786"/>
                  <a:gd name="connsiteY5754" fmla="*/ 72474 h 840509"/>
                  <a:gd name="connsiteX5755" fmla="*/ 732327 w 939786"/>
                  <a:gd name="connsiteY5755" fmla="*/ 73621 h 840509"/>
                  <a:gd name="connsiteX5756" fmla="*/ 732062 w 939786"/>
                  <a:gd name="connsiteY5756" fmla="*/ 74238 h 840509"/>
                  <a:gd name="connsiteX5757" fmla="*/ 732062 w 939786"/>
                  <a:gd name="connsiteY5757" fmla="*/ 74590 h 840509"/>
                  <a:gd name="connsiteX5758" fmla="*/ 733209 w 939786"/>
                  <a:gd name="connsiteY5758" fmla="*/ 75737 h 840509"/>
                  <a:gd name="connsiteX5759" fmla="*/ 733473 w 939786"/>
                  <a:gd name="connsiteY5759" fmla="*/ 76971 h 840509"/>
                  <a:gd name="connsiteX5760" fmla="*/ 733473 w 939786"/>
                  <a:gd name="connsiteY5760" fmla="*/ 78382 h 840509"/>
                  <a:gd name="connsiteX5761" fmla="*/ 733473 w 939786"/>
                  <a:gd name="connsiteY5761" fmla="*/ 78999 h 840509"/>
                  <a:gd name="connsiteX5762" fmla="*/ 732944 w 939786"/>
                  <a:gd name="connsiteY5762" fmla="*/ 79616 h 840509"/>
                  <a:gd name="connsiteX5763" fmla="*/ 733209 w 939786"/>
                  <a:gd name="connsiteY5763" fmla="*/ 79881 h 840509"/>
                  <a:gd name="connsiteX5764" fmla="*/ 734355 w 939786"/>
                  <a:gd name="connsiteY5764" fmla="*/ 80498 h 840509"/>
                  <a:gd name="connsiteX5765" fmla="*/ 734090 w 939786"/>
                  <a:gd name="connsiteY5765" fmla="*/ 81380 h 840509"/>
                  <a:gd name="connsiteX5766" fmla="*/ 734090 w 939786"/>
                  <a:gd name="connsiteY5766" fmla="*/ 82261 h 840509"/>
                  <a:gd name="connsiteX5767" fmla="*/ 731798 w 939786"/>
                  <a:gd name="connsiteY5767" fmla="*/ 81644 h 840509"/>
                  <a:gd name="connsiteX5768" fmla="*/ 732062 w 939786"/>
                  <a:gd name="connsiteY5768" fmla="*/ 81909 h 840509"/>
                  <a:gd name="connsiteX5769" fmla="*/ 732327 w 939786"/>
                  <a:gd name="connsiteY5769" fmla="*/ 81909 h 840509"/>
                  <a:gd name="connsiteX5770" fmla="*/ 732591 w 939786"/>
                  <a:gd name="connsiteY5770" fmla="*/ 82173 h 840509"/>
                  <a:gd name="connsiteX5771" fmla="*/ 732944 w 939786"/>
                  <a:gd name="connsiteY5771" fmla="*/ 83055 h 840509"/>
                  <a:gd name="connsiteX5772" fmla="*/ 732944 w 939786"/>
                  <a:gd name="connsiteY5772" fmla="*/ 83319 h 840509"/>
                  <a:gd name="connsiteX5773" fmla="*/ 732944 w 939786"/>
                  <a:gd name="connsiteY5773" fmla="*/ 83584 h 840509"/>
                  <a:gd name="connsiteX5774" fmla="*/ 732327 w 939786"/>
                  <a:gd name="connsiteY5774" fmla="*/ 85611 h 840509"/>
                  <a:gd name="connsiteX5775" fmla="*/ 732062 w 939786"/>
                  <a:gd name="connsiteY5775" fmla="*/ 86493 h 840509"/>
                  <a:gd name="connsiteX5776" fmla="*/ 732327 w 939786"/>
                  <a:gd name="connsiteY5776" fmla="*/ 87992 h 840509"/>
                  <a:gd name="connsiteX5777" fmla="*/ 732327 w 939786"/>
                  <a:gd name="connsiteY5777" fmla="*/ 88874 h 840509"/>
                  <a:gd name="connsiteX5778" fmla="*/ 732327 w 939786"/>
                  <a:gd name="connsiteY5778" fmla="*/ 90020 h 840509"/>
                  <a:gd name="connsiteX5779" fmla="*/ 731709 w 939786"/>
                  <a:gd name="connsiteY5779" fmla="*/ 91166 h 840509"/>
                  <a:gd name="connsiteX5780" fmla="*/ 731445 w 939786"/>
                  <a:gd name="connsiteY5780" fmla="*/ 91695 h 840509"/>
                  <a:gd name="connsiteX5781" fmla="*/ 731709 w 939786"/>
                  <a:gd name="connsiteY5781" fmla="*/ 92577 h 840509"/>
                  <a:gd name="connsiteX5782" fmla="*/ 731974 w 939786"/>
                  <a:gd name="connsiteY5782" fmla="*/ 92930 h 840509"/>
                  <a:gd name="connsiteX5783" fmla="*/ 731709 w 939786"/>
                  <a:gd name="connsiteY5783" fmla="*/ 94076 h 840509"/>
                  <a:gd name="connsiteX5784" fmla="*/ 731093 w 939786"/>
                  <a:gd name="connsiteY5784" fmla="*/ 95839 h 840509"/>
                  <a:gd name="connsiteX5785" fmla="*/ 731357 w 939786"/>
                  <a:gd name="connsiteY5785" fmla="*/ 96368 h 840509"/>
                  <a:gd name="connsiteX5786" fmla="*/ 731622 w 939786"/>
                  <a:gd name="connsiteY5786" fmla="*/ 96632 h 840509"/>
                  <a:gd name="connsiteX5787" fmla="*/ 731622 w 939786"/>
                  <a:gd name="connsiteY5787" fmla="*/ 96985 h 840509"/>
                  <a:gd name="connsiteX5788" fmla="*/ 731886 w 939786"/>
                  <a:gd name="connsiteY5788" fmla="*/ 97250 h 840509"/>
                  <a:gd name="connsiteX5789" fmla="*/ 732151 w 939786"/>
                  <a:gd name="connsiteY5789" fmla="*/ 97514 h 840509"/>
                  <a:gd name="connsiteX5790" fmla="*/ 732415 w 939786"/>
                  <a:gd name="connsiteY5790" fmla="*/ 97779 h 840509"/>
                  <a:gd name="connsiteX5791" fmla="*/ 732415 w 939786"/>
                  <a:gd name="connsiteY5791" fmla="*/ 98043 h 840509"/>
                  <a:gd name="connsiteX5792" fmla="*/ 732415 w 939786"/>
                  <a:gd name="connsiteY5792" fmla="*/ 98925 h 840509"/>
                  <a:gd name="connsiteX5793" fmla="*/ 731798 w 939786"/>
                  <a:gd name="connsiteY5793" fmla="*/ 99189 h 840509"/>
                  <a:gd name="connsiteX5794" fmla="*/ 732415 w 939786"/>
                  <a:gd name="connsiteY5794" fmla="*/ 100688 h 840509"/>
                  <a:gd name="connsiteX5795" fmla="*/ 732415 w 939786"/>
                  <a:gd name="connsiteY5795" fmla="*/ 101041 h 840509"/>
                  <a:gd name="connsiteX5796" fmla="*/ 732151 w 939786"/>
                  <a:gd name="connsiteY5796" fmla="*/ 101394 h 840509"/>
                  <a:gd name="connsiteX5797" fmla="*/ 732151 w 939786"/>
                  <a:gd name="connsiteY5797" fmla="*/ 101658 h 840509"/>
                  <a:gd name="connsiteX5798" fmla="*/ 732151 w 939786"/>
                  <a:gd name="connsiteY5798" fmla="*/ 101923 h 840509"/>
                  <a:gd name="connsiteX5799" fmla="*/ 732151 w 939786"/>
                  <a:gd name="connsiteY5799" fmla="*/ 102187 h 840509"/>
                  <a:gd name="connsiteX5800" fmla="*/ 732151 w 939786"/>
                  <a:gd name="connsiteY5800" fmla="*/ 103333 h 840509"/>
                  <a:gd name="connsiteX5801" fmla="*/ 732415 w 939786"/>
                  <a:gd name="connsiteY5801" fmla="*/ 103686 h 840509"/>
                  <a:gd name="connsiteX5802" fmla="*/ 733297 w 939786"/>
                  <a:gd name="connsiteY5802" fmla="*/ 104215 h 840509"/>
                  <a:gd name="connsiteX5803" fmla="*/ 733561 w 939786"/>
                  <a:gd name="connsiteY5803" fmla="*/ 104480 h 840509"/>
                  <a:gd name="connsiteX5804" fmla="*/ 733561 w 939786"/>
                  <a:gd name="connsiteY5804" fmla="*/ 105626 h 840509"/>
                  <a:gd name="connsiteX5805" fmla="*/ 733297 w 939786"/>
                  <a:gd name="connsiteY5805" fmla="*/ 105890 h 840509"/>
                  <a:gd name="connsiteX5806" fmla="*/ 733914 w 939786"/>
                  <a:gd name="connsiteY5806" fmla="*/ 107037 h 840509"/>
                  <a:gd name="connsiteX5807" fmla="*/ 734796 w 939786"/>
                  <a:gd name="connsiteY5807" fmla="*/ 107654 h 840509"/>
                  <a:gd name="connsiteX5808" fmla="*/ 735413 w 939786"/>
                  <a:gd name="connsiteY5808" fmla="*/ 107918 h 840509"/>
                  <a:gd name="connsiteX5809" fmla="*/ 736030 w 939786"/>
                  <a:gd name="connsiteY5809" fmla="*/ 108800 h 840509"/>
                  <a:gd name="connsiteX5810" fmla="*/ 737176 w 939786"/>
                  <a:gd name="connsiteY5810" fmla="*/ 108183 h 840509"/>
                  <a:gd name="connsiteX5811" fmla="*/ 737793 w 939786"/>
                  <a:gd name="connsiteY5811" fmla="*/ 107301 h 840509"/>
                  <a:gd name="connsiteX5812" fmla="*/ 738058 w 939786"/>
                  <a:gd name="connsiteY5812" fmla="*/ 106684 h 840509"/>
                  <a:gd name="connsiteX5813" fmla="*/ 738675 w 939786"/>
                  <a:gd name="connsiteY5813" fmla="*/ 105802 h 840509"/>
                  <a:gd name="connsiteX5814" fmla="*/ 739292 w 939786"/>
                  <a:gd name="connsiteY5814" fmla="*/ 106067 h 840509"/>
                  <a:gd name="connsiteX5815" fmla="*/ 740438 w 939786"/>
                  <a:gd name="connsiteY5815" fmla="*/ 106331 h 840509"/>
                  <a:gd name="connsiteX5816" fmla="*/ 740174 w 939786"/>
                  <a:gd name="connsiteY5816" fmla="*/ 105449 h 840509"/>
                  <a:gd name="connsiteX5817" fmla="*/ 740438 w 939786"/>
                  <a:gd name="connsiteY5817" fmla="*/ 105185 h 840509"/>
                  <a:gd name="connsiteX5818" fmla="*/ 741056 w 939786"/>
                  <a:gd name="connsiteY5818" fmla="*/ 103686 h 840509"/>
                  <a:gd name="connsiteX5819" fmla="*/ 741937 w 939786"/>
                  <a:gd name="connsiteY5819" fmla="*/ 103069 h 840509"/>
                  <a:gd name="connsiteX5820" fmla="*/ 742554 w 939786"/>
                  <a:gd name="connsiteY5820" fmla="*/ 101923 h 840509"/>
                  <a:gd name="connsiteX5821" fmla="*/ 743172 w 939786"/>
                  <a:gd name="connsiteY5821" fmla="*/ 101658 h 840509"/>
                  <a:gd name="connsiteX5822" fmla="*/ 744053 w 939786"/>
                  <a:gd name="connsiteY5822" fmla="*/ 101658 h 840509"/>
                  <a:gd name="connsiteX5823" fmla="*/ 744670 w 939786"/>
                  <a:gd name="connsiteY5823" fmla="*/ 101129 h 840509"/>
                  <a:gd name="connsiteX5824" fmla="*/ 745552 w 939786"/>
                  <a:gd name="connsiteY5824" fmla="*/ 101658 h 840509"/>
                  <a:gd name="connsiteX5825" fmla="*/ 746169 w 939786"/>
                  <a:gd name="connsiteY5825" fmla="*/ 102804 h 840509"/>
                  <a:gd name="connsiteX5826" fmla="*/ 745552 w 939786"/>
                  <a:gd name="connsiteY5826" fmla="*/ 102540 h 840509"/>
                  <a:gd name="connsiteX5827" fmla="*/ 746169 w 939786"/>
                  <a:gd name="connsiteY5827" fmla="*/ 103422 h 840509"/>
                  <a:gd name="connsiteX5828" fmla="*/ 746786 w 939786"/>
                  <a:gd name="connsiteY5828" fmla="*/ 103951 h 840509"/>
                  <a:gd name="connsiteX5829" fmla="*/ 747933 w 939786"/>
                  <a:gd name="connsiteY5829" fmla="*/ 103422 h 840509"/>
                  <a:gd name="connsiteX5830" fmla="*/ 748285 w 939786"/>
                  <a:gd name="connsiteY5830" fmla="*/ 103422 h 840509"/>
                  <a:gd name="connsiteX5831" fmla="*/ 748285 w 939786"/>
                  <a:gd name="connsiteY5831" fmla="*/ 103069 h 840509"/>
                  <a:gd name="connsiteX5832" fmla="*/ 748550 w 939786"/>
                  <a:gd name="connsiteY5832" fmla="*/ 102452 h 840509"/>
                  <a:gd name="connsiteX5833" fmla="*/ 748814 w 939786"/>
                  <a:gd name="connsiteY5833" fmla="*/ 102187 h 840509"/>
                  <a:gd name="connsiteX5834" fmla="*/ 749079 w 939786"/>
                  <a:gd name="connsiteY5834" fmla="*/ 101923 h 840509"/>
                  <a:gd name="connsiteX5835" fmla="*/ 749079 w 939786"/>
                  <a:gd name="connsiteY5835" fmla="*/ 101041 h 840509"/>
                  <a:gd name="connsiteX5836" fmla="*/ 749343 w 939786"/>
                  <a:gd name="connsiteY5836" fmla="*/ 101041 h 840509"/>
                  <a:gd name="connsiteX5837" fmla="*/ 749960 w 939786"/>
                  <a:gd name="connsiteY5837" fmla="*/ 101305 h 840509"/>
                  <a:gd name="connsiteX5838" fmla="*/ 751106 w 939786"/>
                  <a:gd name="connsiteY5838" fmla="*/ 101570 h 840509"/>
                  <a:gd name="connsiteX5839" fmla="*/ 751724 w 939786"/>
                  <a:gd name="connsiteY5839" fmla="*/ 102452 h 840509"/>
                  <a:gd name="connsiteX5840" fmla="*/ 750842 w 939786"/>
                  <a:gd name="connsiteY5840" fmla="*/ 102716 h 840509"/>
                  <a:gd name="connsiteX5841" fmla="*/ 751106 w 939786"/>
                  <a:gd name="connsiteY5841" fmla="*/ 103333 h 840509"/>
                  <a:gd name="connsiteX5842" fmla="*/ 751106 w 939786"/>
                  <a:gd name="connsiteY5842" fmla="*/ 103598 h 840509"/>
                  <a:gd name="connsiteX5843" fmla="*/ 750842 w 939786"/>
                  <a:gd name="connsiteY5843" fmla="*/ 103862 h 840509"/>
                  <a:gd name="connsiteX5844" fmla="*/ 750489 w 939786"/>
                  <a:gd name="connsiteY5844" fmla="*/ 104480 h 840509"/>
                  <a:gd name="connsiteX5845" fmla="*/ 750489 w 939786"/>
                  <a:gd name="connsiteY5845" fmla="*/ 104832 h 840509"/>
                  <a:gd name="connsiteX5846" fmla="*/ 751635 w 939786"/>
                  <a:gd name="connsiteY5846" fmla="*/ 105097 h 840509"/>
                  <a:gd name="connsiteX5847" fmla="*/ 751900 w 939786"/>
                  <a:gd name="connsiteY5847" fmla="*/ 105978 h 840509"/>
                  <a:gd name="connsiteX5848" fmla="*/ 751900 w 939786"/>
                  <a:gd name="connsiteY5848" fmla="*/ 106860 h 840509"/>
                  <a:gd name="connsiteX5849" fmla="*/ 751635 w 939786"/>
                  <a:gd name="connsiteY5849" fmla="*/ 108006 h 840509"/>
                  <a:gd name="connsiteX5850" fmla="*/ 752517 w 939786"/>
                  <a:gd name="connsiteY5850" fmla="*/ 108271 h 840509"/>
                  <a:gd name="connsiteX5851" fmla="*/ 754016 w 939786"/>
                  <a:gd name="connsiteY5851" fmla="*/ 108271 h 840509"/>
                  <a:gd name="connsiteX5852" fmla="*/ 754281 w 939786"/>
                  <a:gd name="connsiteY5852" fmla="*/ 108888 h 840509"/>
                  <a:gd name="connsiteX5853" fmla="*/ 754633 w 939786"/>
                  <a:gd name="connsiteY5853" fmla="*/ 109505 h 840509"/>
                  <a:gd name="connsiteX5854" fmla="*/ 755515 w 939786"/>
                  <a:gd name="connsiteY5854" fmla="*/ 110651 h 840509"/>
                  <a:gd name="connsiteX5855" fmla="*/ 756132 w 939786"/>
                  <a:gd name="connsiteY5855" fmla="*/ 110034 h 840509"/>
                  <a:gd name="connsiteX5856" fmla="*/ 756661 w 939786"/>
                  <a:gd name="connsiteY5856" fmla="*/ 110299 h 840509"/>
                  <a:gd name="connsiteX5857" fmla="*/ 757014 w 939786"/>
                  <a:gd name="connsiteY5857" fmla="*/ 110916 h 840509"/>
                  <a:gd name="connsiteX5858" fmla="*/ 757278 w 939786"/>
                  <a:gd name="connsiteY5858" fmla="*/ 112679 h 840509"/>
                  <a:gd name="connsiteX5859" fmla="*/ 758160 w 939786"/>
                  <a:gd name="connsiteY5859" fmla="*/ 112326 h 840509"/>
                  <a:gd name="connsiteX5860" fmla="*/ 759042 w 939786"/>
                  <a:gd name="connsiteY5860" fmla="*/ 113208 h 840509"/>
                  <a:gd name="connsiteX5861" fmla="*/ 759042 w 939786"/>
                  <a:gd name="connsiteY5861" fmla="*/ 114090 h 840509"/>
                  <a:gd name="connsiteX5862" fmla="*/ 759306 w 939786"/>
                  <a:gd name="connsiteY5862" fmla="*/ 115236 h 840509"/>
                  <a:gd name="connsiteX5863" fmla="*/ 760188 w 939786"/>
                  <a:gd name="connsiteY5863" fmla="*/ 115501 h 840509"/>
                  <a:gd name="connsiteX5864" fmla="*/ 760717 w 939786"/>
                  <a:gd name="connsiteY5864" fmla="*/ 115765 h 840509"/>
                  <a:gd name="connsiteX5865" fmla="*/ 761599 w 939786"/>
                  <a:gd name="connsiteY5865" fmla="*/ 115765 h 840509"/>
                  <a:gd name="connsiteX5866" fmla="*/ 762745 w 939786"/>
                  <a:gd name="connsiteY5866" fmla="*/ 115501 h 840509"/>
                  <a:gd name="connsiteX5867" fmla="*/ 763627 w 939786"/>
                  <a:gd name="connsiteY5867" fmla="*/ 115765 h 840509"/>
                  <a:gd name="connsiteX5868" fmla="*/ 764156 w 939786"/>
                  <a:gd name="connsiteY5868" fmla="*/ 116647 h 840509"/>
                  <a:gd name="connsiteX5869" fmla="*/ 764508 w 939786"/>
                  <a:gd name="connsiteY5869" fmla="*/ 117793 h 840509"/>
                  <a:gd name="connsiteX5870" fmla="*/ 765125 w 939786"/>
                  <a:gd name="connsiteY5870" fmla="*/ 118939 h 840509"/>
                  <a:gd name="connsiteX5871" fmla="*/ 764508 w 939786"/>
                  <a:gd name="connsiteY5871" fmla="*/ 119556 h 840509"/>
                  <a:gd name="connsiteX5872" fmla="*/ 765390 w 939786"/>
                  <a:gd name="connsiteY5872" fmla="*/ 120967 h 840509"/>
                  <a:gd name="connsiteX5873" fmla="*/ 763891 w 939786"/>
                  <a:gd name="connsiteY5873" fmla="*/ 121584 h 840509"/>
                  <a:gd name="connsiteX5874" fmla="*/ 764156 w 939786"/>
                  <a:gd name="connsiteY5874" fmla="*/ 122731 h 840509"/>
                  <a:gd name="connsiteX5875" fmla="*/ 763891 w 939786"/>
                  <a:gd name="connsiteY5875" fmla="*/ 123612 h 840509"/>
                  <a:gd name="connsiteX5876" fmla="*/ 763627 w 939786"/>
                  <a:gd name="connsiteY5876" fmla="*/ 124229 h 840509"/>
                  <a:gd name="connsiteX5877" fmla="*/ 763274 w 939786"/>
                  <a:gd name="connsiteY5877" fmla="*/ 125111 h 840509"/>
                  <a:gd name="connsiteX5878" fmla="*/ 763274 w 939786"/>
                  <a:gd name="connsiteY5878" fmla="*/ 125728 h 840509"/>
                  <a:gd name="connsiteX5879" fmla="*/ 763627 w 939786"/>
                  <a:gd name="connsiteY5879" fmla="*/ 126610 h 840509"/>
                  <a:gd name="connsiteX5880" fmla="*/ 763274 w 939786"/>
                  <a:gd name="connsiteY5880" fmla="*/ 127756 h 840509"/>
                  <a:gd name="connsiteX5881" fmla="*/ 763274 w 939786"/>
                  <a:gd name="connsiteY5881" fmla="*/ 128638 h 840509"/>
                  <a:gd name="connsiteX5882" fmla="*/ 763274 w 939786"/>
                  <a:gd name="connsiteY5882" fmla="*/ 129784 h 840509"/>
                  <a:gd name="connsiteX5883" fmla="*/ 763010 w 939786"/>
                  <a:gd name="connsiteY5883" fmla="*/ 130401 h 840509"/>
                  <a:gd name="connsiteX5884" fmla="*/ 763274 w 939786"/>
                  <a:gd name="connsiteY5884" fmla="*/ 131900 h 840509"/>
                  <a:gd name="connsiteX5885" fmla="*/ 762745 w 939786"/>
                  <a:gd name="connsiteY5885" fmla="*/ 133046 h 840509"/>
                  <a:gd name="connsiteX5886" fmla="*/ 763010 w 939786"/>
                  <a:gd name="connsiteY5886" fmla="*/ 135074 h 840509"/>
                  <a:gd name="connsiteX5887" fmla="*/ 762392 w 939786"/>
                  <a:gd name="connsiteY5887" fmla="*/ 137102 h 840509"/>
                  <a:gd name="connsiteX5888" fmla="*/ 761510 w 939786"/>
                  <a:gd name="connsiteY5888" fmla="*/ 139747 h 840509"/>
                  <a:gd name="connsiteX5889" fmla="*/ 761510 w 939786"/>
                  <a:gd name="connsiteY5889" fmla="*/ 140276 h 840509"/>
                  <a:gd name="connsiteX5890" fmla="*/ 761510 w 939786"/>
                  <a:gd name="connsiteY5890" fmla="*/ 140629 h 840509"/>
                  <a:gd name="connsiteX5891" fmla="*/ 761158 w 939786"/>
                  <a:gd name="connsiteY5891" fmla="*/ 142039 h 840509"/>
                  <a:gd name="connsiteX5892" fmla="*/ 761775 w 939786"/>
                  <a:gd name="connsiteY5892" fmla="*/ 143538 h 840509"/>
                  <a:gd name="connsiteX5893" fmla="*/ 760894 w 939786"/>
                  <a:gd name="connsiteY5893" fmla="*/ 143803 h 840509"/>
                  <a:gd name="connsiteX5894" fmla="*/ 760894 w 939786"/>
                  <a:gd name="connsiteY5894" fmla="*/ 144067 h 840509"/>
                  <a:gd name="connsiteX5895" fmla="*/ 760894 w 939786"/>
                  <a:gd name="connsiteY5895" fmla="*/ 144332 h 840509"/>
                  <a:gd name="connsiteX5896" fmla="*/ 760894 w 939786"/>
                  <a:gd name="connsiteY5896" fmla="*/ 144684 h 840509"/>
                  <a:gd name="connsiteX5897" fmla="*/ 761158 w 939786"/>
                  <a:gd name="connsiteY5897" fmla="*/ 144949 h 840509"/>
                  <a:gd name="connsiteX5898" fmla="*/ 761510 w 939786"/>
                  <a:gd name="connsiteY5898" fmla="*/ 145213 h 840509"/>
                  <a:gd name="connsiteX5899" fmla="*/ 761775 w 939786"/>
                  <a:gd name="connsiteY5899" fmla="*/ 145742 h 840509"/>
                  <a:gd name="connsiteX5900" fmla="*/ 762128 w 939786"/>
                  <a:gd name="connsiteY5900" fmla="*/ 147241 h 840509"/>
                  <a:gd name="connsiteX5901" fmla="*/ 762392 w 939786"/>
                  <a:gd name="connsiteY5901" fmla="*/ 147506 h 840509"/>
                  <a:gd name="connsiteX5902" fmla="*/ 762392 w 939786"/>
                  <a:gd name="connsiteY5902" fmla="*/ 148388 h 840509"/>
                  <a:gd name="connsiteX5903" fmla="*/ 762392 w 939786"/>
                  <a:gd name="connsiteY5903" fmla="*/ 148740 h 840509"/>
                  <a:gd name="connsiteX5904" fmla="*/ 763010 w 939786"/>
                  <a:gd name="connsiteY5904" fmla="*/ 150239 h 840509"/>
                  <a:gd name="connsiteX5905" fmla="*/ 762745 w 939786"/>
                  <a:gd name="connsiteY5905" fmla="*/ 151121 h 840509"/>
                  <a:gd name="connsiteX5906" fmla="*/ 762745 w 939786"/>
                  <a:gd name="connsiteY5906" fmla="*/ 151650 h 840509"/>
                  <a:gd name="connsiteX5907" fmla="*/ 761863 w 939786"/>
                  <a:gd name="connsiteY5907" fmla="*/ 153148 h 840509"/>
                  <a:gd name="connsiteX5908" fmla="*/ 761246 w 939786"/>
                  <a:gd name="connsiteY5908" fmla="*/ 153677 h 840509"/>
                  <a:gd name="connsiteX5909" fmla="*/ 760981 w 939786"/>
                  <a:gd name="connsiteY5909" fmla="*/ 153942 h 840509"/>
                  <a:gd name="connsiteX5910" fmla="*/ 760364 w 939786"/>
                  <a:gd name="connsiteY5910" fmla="*/ 154559 h 840509"/>
                  <a:gd name="connsiteX5911" fmla="*/ 760100 w 939786"/>
                  <a:gd name="connsiteY5911" fmla="*/ 154824 h 840509"/>
                  <a:gd name="connsiteX5912" fmla="*/ 760100 w 939786"/>
                  <a:gd name="connsiteY5912" fmla="*/ 155088 h 840509"/>
                  <a:gd name="connsiteX5913" fmla="*/ 759483 w 939786"/>
                  <a:gd name="connsiteY5913" fmla="*/ 157381 h 840509"/>
                  <a:gd name="connsiteX5914" fmla="*/ 759218 w 939786"/>
                  <a:gd name="connsiteY5914" fmla="*/ 157998 h 840509"/>
                  <a:gd name="connsiteX5915" fmla="*/ 759483 w 939786"/>
                  <a:gd name="connsiteY5915" fmla="*/ 157998 h 840509"/>
                  <a:gd name="connsiteX5916" fmla="*/ 759483 w 939786"/>
                  <a:gd name="connsiteY5916" fmla="*/ 158262 h 840509"/>
                  <a:gd name="connsiteX5917" fmla="*/ 759747 w 939786"/>
                  <a:gd name="connsiteY5917" fmla="*/ 158262 h 840509"/>
                  <a:gd name="connsiteX5918" fmla="*/ 760276 w 939786"/>
                  <a:gd name="connsiteY5918" fmla="*/ 158879 h 840509"/>
                  <a:gd name="connsiteX5919" fmla="*/ 761158 w 939786"/>
                  <a:gd name="connsiteY5919" fmla="*/ 160290 h 840509"/>
                  <a:gd name="connsiteX5920" fmla="*/ 762304 w 939786"/>
                  <a:gd name="connsiteY5920" fmla="*/ 161172 h 840509"/>
                  <a:gd name="connsiteX5921" fmla="*/ 762656 w 939786"/>
                  <a:gd name="connsiteY5921" fmla="*/ 161172 h 840509"/>
                  <a:gd name="connsiteX5922" fmla="*/ 763185 w 939786"/>
                  <a:gd name="connsiteY5922" fmla="*/ 162671 h 840509"/>
                  <a:gd name="connsiteX5923" fmla="*/ 762656 w 939786"/>
                  <a:gd name="connsiteY5923" fmla="*/ 163817 h 840509"/>
                  <a:gd name="connsiteX5924" fmla="*/ 763803 w 939786"/>
                  <a:gd name="connsiteY5924" fmla="*/ 164698 h 840509"/>
                  <a:gd name="connsiteX5925" fmla="*/ 764685 w 939786"/>
                  <a:gd name="connsiteY5925" fmla="*/ 166726 h 840509"/>
                  <a:gd name="connsiteX5926" fmla="*/ 764685 w 939786"/>
                  <a:gd name="connsiteY5926" fmla="*/ 167608 h 840509"/>
                  <a:gd name="connsiteX5927" fmla="*/ 765302 w 939786"/>
                  <a:gd name="connsiteY5927" fmla="*/ 168490 h 840509"/>
                  <a:gd name="connsiteX5928" fmla="*/ 766448 w 939786"/>
                  <a:gd name="connsiteY5928" fmla="*/ 167344 h 840509"/>
                  <a:gd name="connsiteX5929" fmla="*/ 767330 w 939786"/>
                  <a:gd name="connsiteY5929" fmla="*/ 167344 h 840509"/>
                  <a:gd name="connsiteX5930" fmla="*/ 767947 w 939786"/>
                  <a:gd name="connsiteY5930" fmla="*/ 167961 h 840509"/>
                  <a:gd name="connsiteX5931" fmla="*/ 768564 w 939786"/>
                  <a:gd name="connsiteY5931" fmla="*/ 168313 h 840509"/>
                  <a:gd name="connsiteX5932" fmla="*/ 768828 w 939786"/>
                  <a:gd name="connsiteY5932" fmla="*/ 168313 h 840509"/>
                  <a:gd name="connsiteX5933" fmla="*/ 769093 w 939786"/>
                  <a:gd name="connsiteY5933" fmla="*/ 168578 h 840509"/>
                  <a:gd name="connsiteX5934" fmla="*/ 769446 w 939786"/>
                  <a:gd name="connsiteY5934" fmla="*/ 168931 h 840509"/>
                  <a:gd name="connsiteX5935" fmla="*/ 769093 w 939786"/>
                  <a:gd name="connsiteY5935" fmla="*/ 168931 h 840509"/>
                  <a:gd name="connsiteX5936" fmla="*/ 769093 w 939786"/>
                  <a:gd name="connsiteY5936" fmla="*/ 169195 h 840509"/>
                  <a:gd name="connsiteX5937" fmla="*/ 769975 w 939786"/>
                  <a:gd name="connsiteY5937" fmla="*/ 170341 h 840509"/>
                  <a:gd name="connsiteX5938" fmla="*/ 769446 w 939786"/>
                  <a:gd name="connsiteY5938" fmla="*/ 171488 h 840509"/>
                  <a:gd name="connsiteX5939" fmla="*/ 768828 w 939786"/>
                  <a:gd name="connsiteY5939" fmla="*/ 172634 h 840509"/>
                  <a:gd name="connsiteX5940" fmla="*/ 769093 w 939786"/>
                  <a:gd name="connsiteY5940" fmla="*/ 173251 h 840509"/>
                  <a:gd name="connsiteX5941" fmla="*/ 768476 w 939786"/>
                  <a:gd name="connsiteY5941" fmla="*/ 173868 h 840509"/>
                  <a:gd name="connsiteX5942" fmla="*/ 767859 w 939786"/>
                  <a:gd name="connsiteY5942" fmla="*/ 174485 h 840509"/>
                  <a:gd name="connsiteX5943" fmla="*/ 766712 w 939786"/>
                  <a:gd name="connsiteY5943" fmla="*/ 173339 h 840509"/>
                  <a:gd name="connsiteX5944" fmla="*/ 767594 w 939786"/>
                  <a:gd name="connsiteY5944" fmla="*/ 176249 h 840509"/>
                  <a:gd name="connsiteX5945" fmla="*/ 767594 w 939786"/>
                  <a:gd name="connsiteY5945" fmla="*/ 177747 h 840509"/>
                  <a:gd name="connsiteX5946" fmla="*/ 768476 w 939786"/>
                  <a:gd name="connsiteY5946" fmla="*/ 178894 h 840509"/>
                  <a:gd name="connsiteX5947" fmla="*/ 768476 w 939786"/>
                  <a:gd name="connsiteY5947" fmla="*/ 180657 h 840509"/>
                  <a:gd name="connsiteX5948" fmla="*/ 769357 w 939786"/>
                  <a:gd name="connsiteY5948" fmla="*/ 181274 h 840509"/>
                  <a:gd name="connsiteX5949" fmla="*/ 769357 w 939786"/>
                  <a:gd name="connsiteY5949" fmla="*/ 182156 h 840509"/>
                  <a:gd name="connsiteX5950" fmla="*/ 769357 w 939786"/>
                  <a:gd name="connsiteY5950" fmla="*/ 183655 h 840509"/>
                  <a:gd name="connsiteX5951" fmla="*/ 768740 w 939786"/>
                  <a:gd name="connsiteY5951" fmla="*/ 185418 h 840509"/>
                  <a:gd name="connsiteX5952" fmla="*/ 769005 w 939786"/>
                  <a:gd name="connsiteY5952" fmla="*/ 186035 h 840509"/>
                  <a:gd name="connsiteX5953" fmla="*/ 768740 w 939786"/>
                  <a:gd name="connsiteY5953" fmla="*/ 187534 h 840509"/>
                  <a:gd name="connsiteX5954" fmla="*/ 768476 w 939786"/>
                  <a:gd name="connsiteY5954" fmla="*/ 188680 h 840509"/>
                  <a:gd name="connsiteX5955" fmla="*/ 768211 w 939786"/>
                  <a:gd name="connsiteY5955" fmla="*/ 188945 h 840509"/>
                  <a:gd name="connsiteX5956" fmla="*/ 768476 w 939786"/>
                  <a:gd name="connsiteY5956" fmla="*/ 190356 h 840509"/>
                  <a:gd name="connsiteX5957" fmla="*/ 767594 w 939786"/>
                  <a:gd name="connsiteY5957" fmla="*/ 191237 h 840509"/>
                  <a:gd name="connsiteX5958" fmla="*/ 767330 w 939786"/>
                  <a:gd name="connsiteY5958" fmla="*/ 193530 h 840509"/>
                  <a:gd name="connsiteX5959" fmla="*/ 766801 w 939786"/>
                  <a:gd name="connsiteY5959" fmla="*/ 195293 h 840509"/>
                  <a:gd name="connsiteX5960" fmla="*/ 766536 w 939786"/>
                  <a:gd name="connsiteY5960" fmla="*/ 195822 h 840509"/>
                  <a:gd name="connsiteX5961" fmla="*/ 766183 w 939786"/>
                  <a:gd name="connsiteY5961" fmla="*/ 196086 h 840509"/>
                  <a:gd name="connsiteX5962" fmla="*/ 766183 w 939786"/>
                  <a:gd name="connsiteY5962" fmla="*/ 196351 h 840509"/>
                  <a:gd name="connsiteX5963" fmla="*/ 765919 w 939786"/>
                  <a:gd name="connsiteY5963" fmla="*/ 196615 h 840509"/>
                  <a:gd name="connsiteX5964" fmla="*/ 767065 w 939786"/>
                  <a:gd name="connsiteY5964" fmla="*/ 197233 h 840509"/>
                  <a:gd name="connsiteX5965" fmla="*/ 766183 w 939786"/>
                  <a:gd name="connsiteY5965" fmla="*/ 197497 h 840509"/>
                  <a:gd name="connsiteX5966" fmla="*/ 767330 w 939786"/>
                  <a:gd name="connsiteY5966" fmla="*/ 198114 h 840509"/>
                  <a:gd name="connsiteX5967" fmla="*/ 767947 w 939786"/>
                  <a:gd name="connsiteY5967" fmla="*/ 199261 h 840509"/>
                  <a:gd name="connsiteX5968" fmla="*/ 766801 w 939786"/>
                  <a:gd name="connsiteY5968" fmla="*/ 200671 h 840509"/>
                  <a:gd name="connsiteX5969" fmla="*/ 766183 w 939786"/>
                  <a:gd name="connsiteY5969" fmla="*/ 201024 h 840509"/>
                  <a:gd name="connsiteX5970" fmla="*/ 765037 w 939786"/>
                  <a:gd name="connsiteY5970" fmla="*/ 201289 h 840509"/>
                  <a:gd name="connsiteX5971" fmla="*/ 764420 w 939786"/>
                  <a:gd name="connsiteY5971" fmla="*/ 200671 h 840509"/>
                  <a:gd name="connsiteX5972" fmla="*/ 763803 w 939786"/>
                  <a:gd name="connsiteY5972" fmla="*/ 200671 h 840509"/>
                  <a:gd name="connsiteX5973" fmla="*/ 763539 w 939786"/>
                  <a:gd name="connsiteY5973" fmla="*/ 202170 h 840509"/>
                  <a:gd name="connsiteX5974" fmla="*/ 763803 w 939786"/>
                  <a:gd name="connsiteY5974" fmla="*/ 202787 h 840509"/>
                  <a:gd name="connsiteX5975" fmla="*/ 763803 w 939786"/>
                  <a:gd name="connsiteY5975" fmla="*/ 203052 h 840509"/>
                  <a:gd name="connsiteX5976" fmla="*/ 764949 w 939786"/>
                  <a:gd name="connsiteY5976" fmla="*/ 203934 h 840509"/>
                  <a:gd name="connsiteX5977" fmla="*/ 766095 w 939786"/>
                  <a:gd name="connsiteY5977" fmla="*/ 205961 h 840509"/>
                  <a:gd name="connsiteX5978" fmla="*/ 766712 w 939786"/>
                  <a:gd name="connsiteY5978" fmla="*/ 208606 h 840509"/>
                  <a:gd name="connsiteX5979" fmla="*/ 766977 w 939786"/>
                  <a:gd name="connsiteY5979" fmla="*/ 208959 h 840509"/>
                  <a:gd name="connsiteX5980" fmla="*/ 767594 w 939786"/>
                  <a:gd name="connsiteY5980" fmla="*/ 208959 h 840509"/>
                  <a:gd name="connsiteX5981" fmla="*/ 768211 w 939786"/>
                  <a:gd name="connsiteY5981" fmla="*/ 209224 h 840509"/>
                  <a:gd name="connsiteX5982" fmla="*/ 768828 w 939786"/>
                  <a:gd name="connsiteY5982" fmla="*/ 209576 h 840509"/>
                  <a:gd name="connsiteX5983" fmla="*/ 769093 w 939786"/>
                  <a:gd name="connsiteY5983" fmla="*/ 209576 h 840509"/>
                  <a:gd name="connsiteX5984" fmla="*/ 769093 w 939786"/>
                  <a:gd name="connsiteY5984" fmla="*/ 209841 h 840509"/>
                  <a:gd name="connsiteX5985" fmla="*/ 768828 w 939786"/>
                  <a:gd name="connsiteY5985" fmla="*/ 210458 h 840509"/>
                  <a:gd name="connsiteX5986" fmla="*/ 768564 w 939786"/>
                  <a:gd name="connsiteY5986" fmla="*/ 211604 h 840509"/>
                  <a:gd name="connsiteX5987" fmla="*/ 769181 w 939786"/>
                  <a:gd name="connsiteY5987" fmla="*/ 211869 h 840509"/>
                  <a:gd name="connsiteX5988" fmla="*/ 769534 w 939786"/>
                  <a:gd name="connsiteY5988" fmla="*/ 212486 h 840509"/>
                  <a:gd name="connsiteX5989" fmla="*/ 769534 w 939786"/>
                  <a:gd name="connsiteY5989" fmla="*/ 213015 h 840509"/>
                  <a:gd name="connsiteX5990" fmla="*/ 769534 w 939786"/>
                  <a:gd name="connsiteY5990" fmla="*/ 214161 h 840509"/>
                  <a:gd name="connsiteX5991" fmla="*/ 769534 w 939786"/>
                  <a:gd name="connsiteY5991" fmla="*/ 214778 h 840509"/>
                  <a:gd name="connsiteX5992" fmla="*/ 768917 w 939786"/>
                  <a:gd name="connsiteY5992" fmla="*/ 216189 h 840509"/>
                  <a:gd name="connsiteX5993" fmla="*/ 767770 w 939786"/>
                  <a:gd name="connsiteY5993" fmla="*/ 216453 h 840509"/>
                  <a:gd name="connsiteX5994" fmla="*/ 766007 w 939786"/>
                  <a:gd name="connsiteY5994" fmla="*/ 217335 h 840509"/>
                  <a:gd name="connsiteX5995" fmla="*/ 766007 w 939786"/>
                  <a:gd name="connsiteY5995" fmla="*/ 217600 h 840509"/>
                  <a:gd name="connsiteX5996" fmla="*/ 766007 w 939786"/>
                  <a:gd name="connsiteY5996" fmla="*/ 218128 h 840509"/>
                  <a:gd name="connsiteX5997" fmla="*/ 766007 w 939786"/>
                  <a:gd name="connsiteY5997" fmla="*/ 218393 h 840509"/>
                  <a:gd name="connsiteX5998" fmla="*/ 766889 w 939786"/>
                  <a:gd name="connsiteY5998" fmla="*/ 219804 h 840509"/>
                  <a:gd name="connsiteX5999" fmla="*/ 766889 w 939786"/>
                  <a:gd name="connsiteY5999" fmla="*/ 220068 h 840509"/>
                  <a:gd name="connsiteX6000" fmla="*/ 767770 w 939786"/>
                  <a:gd name="connsiteY6000" fmla="*/ 220950 h 840509"/>
                  <a:gd name="connsiteX6001" fmla="*/ 768388 w 939786"/>
                  <a:gd name="connsiteY6001" fmla="*/ 221479 h 840509"/>
                  <a:gd name="connsiteX6002" fmla="*/ 768652 w 939786"/>
                  <a:gd name="connsiteY6002" fmla="*/ 222361 h 840509"/>
                  <a:gd name="connsiteX6003" fmla="*/ 768652 w 939786"/>
                  <a:gd name="connsiteY6003" fmla="*/ 222625 h 840509"/>
                  <a:gd name="connsiteX6004" fmla="*/ 769798 w 939786"/>
                  <a:gd name="connsiteY6004" fmla="*/ 224124 h 840509"/>
                  <a:gd name="connsiteX6005" fmla="*/ 770680 w 939786"/>
                  <a:gd name="connsiteY6005" fmla="*/ 224477 h 840509"/>
                  <a:gd name="connsiteX6006" fmla="*/ 772091 w 939786"/>
                  <a:gd name="connsiteY6006" fmla="*/ 225358 h 840509"/>
                  <a:gd name="connsiteX6007" fmla="*/ 772355 w 939786"/>
                  <a:gd name="connsiteY6007" fmla="*/ 225623 h 840509"/>
                  <a:gd name="connsiteX6008" fmla="*/ 772973 w 939786"/>
                  <a:gd name="connsiteY6008" fmla="*/ 225623 h 840509"/>
                  <a:gd name="connsiteX6009" fmla="*/ 773589 w 939786"/>
                  <a:gd name="connsiteY6009" fmla="*/ 225623 h 840509"/>
                  <a:gd name="connsiteX6010" fmla="*/ 774207 w 939786"/>
                  <a:gd name="connsiteY6010" fmla="*/ 225358 h 840509"/>
                  <a:gd name="connsiteX6011" fmla="*/ 774471 w 939786"/>
                  <a:gd name="connsiteY6011" fmla="*/ 225358 h 840509"/>
                  <a:gd name="connsiteX6012" fmla="*/ 774736 w 939786"/>
                  <a:gd name="connsiteY6012" fmla="*/ 225358 h 840509"/>
                  <a:gd name="connsiteX6013" fmla="*/ 774736 w 939786"/>
                  <a:gd name="connsiteY6013" fmla="*/ 225623 h 840509"/>
                  <a:gd name="connsiteX6014" fmla="*/ 775000 w 939786"/>
                  <a:gd name="connsiteY6014" fmla="*/ 225623 h 840509"/>
                  <a:gd name="connsiteX6015" fmla="*/ 775618 w 939786"/>
                  <a:gd name="connsiteY6015" fmla="*/ 227034 h 840509"/>
                  <a:gd name="connsiteX6016" fmla="*/ 775353 w 939786"/>
                  <a:gd name="connsiteY6016" fmla="*/ 227298 h 840509"/>
                  <a:gd name="connsiteX6017" fmla="*/ 776499 w 939786"/>
                  <a:gd name="connsiteY6017" fmla="*/ 228180 h 840509"/>
                  <a:gd name="connsiteX6018" fmla="*/ 776764 w 939786"/>
                  <a:gd name="connsiteY6018" fmla="*/ 228444 h 840509"/>
                  <a:gd name="connsiteX6019" fmla="*/ 777028 w 939786"/>
                  <a:gd name="connsiteY6019" fmla="*/ 228444 h 840509"/>
                  <a:gd name="connsiteX6020" fmla="*/ 778174 w 939786"/>
                  <a:gd name="connsiteY6020" fmla="*/ 228444 h 840509"/>
                  <a:gd name="connsiteX6021" fmla="*/ 779585 w 939786"/>
                  <a:gd name="connsiteY6021" fmla="*/ 228709 h 840509"/>
                  <a:gd name="connsiteX6022" fmla="*/ 780467 w 939786"/>
                  <a:gd name="connsiteY6022" fmla="*/ 229326 h 840509"/>
                  <a:gd name="connsiteX6023" fmla="*/ 781084 w 939786"/>
                  <a:gd name="connsiteY6023" fmla="*/ 230472 h 840509"/>
                  <a:gd name="connsiteX6024" fmla="*/ 781613 w 939786"/>
                  <a:gd name="connsiteY6024" fmla="*/ 230737 h 840509"/>
                  <a:gd name="connsiteX6025" fmla="*/ 782494 w 939786"/>
                  <a:gd name="connsiteY6025" fmla="*/ 231354 h 840509"/>
                  <a:gd name="connsiteX6026" fmla="*/ 783905 w 939786"/>
                  <a:gd name="connsiteY6026" fmla="*/ 231354 h 840509"/>
                  <a:gd name="connsiteX6027" fmla="*/ 785052 w 939786"/>
                  <a:gd name="connsiteY6027" fmla="*/ 231001 h 840509"/>
                  <a:gd name="connsiteX6028" fmla="*/ 786198 w 939786"/>
                  <a:gd name="connsiteY6028" fmla="*/ 231354 h 840509"/>
                  <a:gd name="connsiteX6029" fmla="*/ 787344 w 939786"/>
                  <a:gd name="connsiteY6029" fmla="*/ 231001 h 840509"/>
                  <a:gd name="connsiteX6030" fmla="*/ 787608 w 939786"/>
                  <a:gd name="connsiteY6030" fmla="*/ 231883 h 840509"/>
                  <a:gd name="connsiteX6031" fmla="*/ 788755 w 939786"/>
                  <a:gd name="connsiteY6031" fmla="*/ 232148 h 840509"/>
                  <a:gd name="connsiteX6032" fmla="*/ 788755 w 939786"/>
                  <a:gd name="connsiteY6032" fmla="*/ 233911 h 840509"/>
                  <a:gd name="connsiteX6033" fmla="*/ 789636 w 939786"/>
                  <a:gd name="connsiteY6033" fmla="*/ 233911 h 840509"/>
                  <a:gd name="connsiteX6034" fmla="*/ 789636 w 939786"/>
                  <a:gd name="connsiteY6034" fmla="*/ 234175 h 840509"/>
                  <a:gd name="connsiteX6035" fmla="*/ 789636 w 939786"/>
                  <a:gd name="connsiteY6035" fmla="*/ 235057 h 840509"/>
                  <a:gd name="connsiteX6036" fmla="*/ 789284 w 939786"/>
                  <a:gd name="connsiteY6036" fmla="*/ 236203 h 840509"/>
                  <a:gd name="connsiteX6037" fmla="*/ 789284 w 939786"/>
                  <a:gd name="connsiteY6037" fmla="*/ 237349 h 840509"/>
                  <a:gd name="connsiteX6038" fmla="*/ 789284 w 939786"/>
                  <a:gd name="connsiteY6038" fmla="*/ 238848 h 840509"/>
                  <a:gd name="connsiteX6039" fmla="*/ 789636 w 939786"/>
                  <a:gd name="connsiteY6039" fmla="*/ 239730 h 840509"/>
                  <a:gd name="connsiteX6040" fmla="*/ 789636 w 939786"/>
                  <a:gd name="connsiteY6040" fmla="*/ 239994 h 840509"/>
                  <a:gd name="connsiteX6041" fmla="*/ 790165 w 939786"/>
                  <a:gd name="connsiteY6041" fmla="*/ 241141 h 840509"/>
                  <a:gd name="connsiteX6042" fmla="*/ 791311 w 939786"/>
                  <a:gd name="connsiteY6042" fmla="*/ 241405 h 840509"/>
                  <a:gd name="connsiteX6043" fmla="*/ 791576 w 939786"/>
                  <a:gd name="connsiteY6043" fmla="*/ 241405 h 840509"/>
                  <a:gd name="connsiteX6044" fmla="*/ 792457 w 939786"/>
                  <a:gd name="connsiteY6044" fmla="*/ 241405 h 840509"/>
                  <a:gd name="connsiteX6045" fmla="*/ 792457 w 939786"/>
                  <a:gd name="connsiteY6045" fmla="*/ 240788 h 840509"/>
                  <a:gd name="connsiteX6046" fmla="*/ 792457 w 939786"/>
                  <a:gd name="connsiteY6046" fmla="*/ 240435 h 840509"/>
                  <a:gd name="connsiteX6047" fmla="*/ 792457 w 939786"/>
                  <a:gd name="connsiteY6047" fmla="*/ 239025 h 840509"/>
                  <a:gd name="connsiteX6048" fmla="*/ 792722 w 939786"/>
                  <a:gd name="connsiteY6048" fmla="*/ 238407 h 840509"/>
                  <a:gd name="connsiteX6049" fmla="*/ 792986 w 939786"/>
                  <a:gd name="connsiteY6049" fmla="*/ 238143 h 840509"/>
                  <a:gd name="connsiteX6050" fmla="*/ 793868 w 939786"/>
                  <a:gd name="connsiteY6050" fmla="*/ 238143 h 840509"/>
                  <a:gd name="connsiteX6051" fmla="*/ 794221 w 939786"/>
                  <a:gd name="connsiteY6051" fmla="*/ 238143 h 840509"/>
                  <a:gd name="connsiteX6052" fmla="*/ 794221 w 939786"/>
                  <a:gd name="connsiteY6052" fmla="*/ 238407 h 840509"/>
                  <a:gd name="connsiteX6053" fmla="*/ 794486 w 939786"/>
                  <a:gd name="connsiteY6053" fmla="*/ 238672 h 840509"/>
                  <a:gd name="connsiteX6054" fmla="*/ 794486 w 939786"/>
                  <a:gd name="connsiteY6054" fmla="*/ 239025 h 840509"/>
                  <a:gd name="connsiteX6055" fmla="*/ 794486 w 939786"/>
                  <a:gd name="connsiteY6055" fmla="*/ 239289 h 840509"/>
                  <a:gd name="connsiteX6056" fmla="*/ 793339 w 939786"/>
                  <a:gd name="connsiteY6056" fmla="*/ 239554 h 840509"/>
                  <a:gd name="connsiteX6057" fmla="*/ 793339 w 939786"/>
                  <a:gd name="connsiteY6057" fmla="*/ 240788 h 840509"/>
                  <a:gd name="connsiteX6058" fmla="*/ 793339 w 939786"/>
                  <a:gd name="connsiteY6058" fmla="*/ 241670 h 840509"/>
                  <a:gd name="connsiteX6059" fmla="*/ 794221 w 939786"/>
                  <a:gd name="connsiteY6059" fmla="*/ 241052 h 840509"/>
                  <a:gd name="connsiteX6060" fmla="*/ 794221 w 939786"/>
                  <a:gd name="connsiteY6060" fmla="*/ 241317 h 840509"/>
                  <a:gd name="connsiteX6061" fmla="*/ 794221 w 939786"/>
                  <a:gd name="connsiteY6061" fmla="*/ 241581 h 840509"/>
                  <a:gd name="connsiteX6062" fmla="*/ 794221 w 939786"/>
                  <a:gd name="connsiteY6062" fmla="*/ 241846 h 840509"/>
                  <a:gd name="connsiteX6063" fmla="*/ 795102 w 939786"/>
                  <a:gd name="connsiteY6063" fmla="*/ 242728 h 840509"/>
                  <a:gd name="connsiteX6064" fmla="*/ 795367 w 939786"/>
                  <a:gd name="connsiteY6064" fmla="*/ 242992 h 840509"/>
                  <a:gd name="connsiteX6065" fmla="*/ 795631 w 939786"/>
                  <a:gd name="connsiteY6065" fmla="*/ 243257 h 840509"/>
                  <a:gd name="connsiteX6066" fmla="*/ 795896 w 939786"/>
                  <a:gd name="connsiteY6066" fmla="*/ 243257 h 840509"/>
                  <a:gd name="connsiteX6067" fmla="*/ 796161 w 939786"/>
                  <a:gd name="connsiteY6067" fmla="*/ 243257 h 840509"/>
                  <a:gd name="connsiteX6068" fmla="*/ 796778 w 939786"/>
                  <a:gd name="connsiteY6068" fmla="*/ 244756 h 840509"/>
                  <a:gd name="connsiteX6069" fmla="*/ 796778 w 939786"/>
                  <a:gd name="connsiteY6069" fmla="*/ 245637 h 840509"/>
                  <a:gd name="connsiteX6070" fmla="*/ 797924 w 939786"/>
                  <a:gd name="connsiteY6070" fmla="*/ 245373 h 840509"/>
                  <a:gd name="connsiteX6071" fmla="*/ 799070 w 939786"/>
                  <a:gd name="connsiteY6071" fmla="*/ 245990 h 840509"/>
                  <a:gd name="connsiteX6072" fmla="*/ 799335 w 939786"/>
                  <a:gd name="connsiteY6072" fmla="*/ 245725 h 840509"/>
                  <a:gd name="connsiteX6073" fmla="*/ 800834 w 939786"/>
                  <a:gd name="connsiteY6073" fmla="*/ 245725 h 840509"/>
                  <a:gd name="connsiteX6074" fmla="*/ 802597 w 939786"/>
                  <a:gd name="connsiteY6074" fmla="*/ 246342 h 840509"/>
                  <a:gd name="connsiteX6075" fmla="*/ 802509 w 939786"/>
                  <a:gd name="connsiteY6075" fmla="*/ 246342 h 840509"/>
                  <a:gd name="connsiteX6076" fmla="*/ 802244 w 939786"/>
                  <a:gd name="connsiteY6076" fmla="*/ 246342 h 840509"/>
                  <a:gd name="connsiteX6077" fmla="*/ 801980 w 939786"/>
                  <a:gd name="connsiteY6077" fmla="*/ 246607 h 840509"/>
                  <a:gd name="connsiteX6078" fmla="*/ 801715 w 939786"/>
                  <a:gd name="connsiteY6078" fmla="*/ 246960 h 840509"/>
                  <a:gd name="connsiteX6079" fmla="*/ 801980 w 939786"/>
                  <a:gd name="connsiteY6079" fmla="*/ 247577 h 840509"/>
                  <a:gd name="connsiteX6080" fmla="*/ 801363 w 939786"/>
                  <a:gd name="connsiteY6080" fmla="*/ 248458 h 840509"/>
                  <a:gd name="connsiteX6081" fmla="*/ 802774 w 939786"/>
                  <a:gd name="connsiteY6081" fmla="*/ 248458 h 840509"/>
                  <a:gd name="connsiteX6082" fmla="*/ 802774 w 939786"/>
                  <a:gd name="connsiteY6082" fmla="*/ 249076 h 840509"/>
                  <a:gd name="connsiteX6083" fmla="*/ 803919 w 939786"/>
                  <a:gd name="connsiteY6083" fmla="*/ 250486 h 840509"/>
                  <a:gd name="connsiteX6084" fmla="*/ 803919 w 939786"/>
                  <a:gd name="connsiteY6084" fmla="*/ 250751 h 840509"/>
                  <a:gd name="connsiteX6085" fmla="*/ 804184 w 939786"/>
                  <a:gd name="connsiteY6085" fmla="*/ 250751 h 840509"/>
                  <a:gd name="connsiteX6086" fmla="*/ 805065 w 939786"/>
                  <a:gd name="connsiteY6086" fmla="*/ 250222 h 840509"/>
                  <a:gd name="connsiteX6087" fmla="*/ 805330 w 939786"/>
                  <a:gd name="connsiteY6087" fmla="*/ 250222 h 840509"/>
                  <a:gd name="connsiteX6088" fmla="*/ 805330 w 939786"/>
                  <a:gd name="connsiteY6088" fmla="*/ 249957 h 840509"/>
                  <a:gd name="connsiteX6089" fmla="*/ 805594 w 939786"/>
                  <a:gd name="connsiteY6089" fmla="*/ 248811 h 840509"/>
                  <a:gd name="connsiteX6090" fmla="*/ 805594 w 939786"/>
                  <a:gd name="connsiteY6090" fmla="*/ 248547 h 840509"/>
                  <a:gd name="connsiteX6091" fmla="*/ 805330 w 939786"/>
                  <a:gd name="connsiteY6091" fmla="*/ 248282 h 840509"/>
                  <a:gd name="connsiteX6092" fmla="*/ 805065 w 939786"/>
                  <a:gd name="connsiteY6092" fmla="*/ 248282 h 840509"/>
                  <a:gd name="connsiteX6093" fmla="*/ 805065 w 939786"/>
                  <a:gd name="connsiteY6093" fmla="*/ 248018 h 840509"/>
                  <a:gd name="connsiteX6094" fmla="*/ 805330 w 939786"/>
                  <a:gd name="connsiteY6094" fmla="*/ 247400 h 840509"/>
                  <a:gd name="connsiteX6095" fmla="*/ 805594 w 939786"/>
                  <a:gd name="connsiteY6095" fmla="*/ 247136 h 840509"/>
                  <a:gd name="connsiteX6096" fmla="*/ 805859 w 939786"/>
                  <a:gd name="connsiteY6096" fmla="*/ 247136 h 840509"/>
                  <a:gd name="connsiteX6097" fmla="*/ 807005 w 939786"/>
                  <a:gd name="connsiteY6097" fmla="*/ 247753 h 840509"/>
                  <a:gd name="connsiteX6098" fmla="*/ 807623 w 939786"/>
                  <a:gd name="connsiteY6098" fmla="*/ 248370 h 840509"/>
                  <a:gd name="connsiteX6099" fmla="*/ 807623 w 939786"/>
                  <a:gd name="connsiteY6099" fmla="*/ 248635 h 840509"/>
                  <a:gd name="connsiteX6100" fmla="*/ 807270 w 939786"/>
                  <a:gd name="connsiteY6100" fmla="*/ 249252 h 840509"/>
                  <a:gd name="connsiteX6101" fmla="*/ 807270 w 939786"/>
                  <a:gd name="connsiteY6101" fmla="*/ 250134 h 840509"/>
                  <a:gd name="connsiteX6102" fmla="*/ 806388 w 939786"/>
                  <a:gd name="connsiteY6102" fmla="*/ 250134 h 840509"/>
                  <a:gd name="connsiteX6103" fmla="*/ 807005 w 939786"/>
                  <a:gd name="connsiteY6103" fmla="*/ 251280 h 840509"/>
                  <a:gd name="connsiteX6104" fmla="*/ 807270 w 939786"/>
                  <a:gd name="connsiteY6104" fmla="*/ 251280 h 840509"/>
                  <a:gd name="connsiteX6105" fmla="*/ 808152 w 939786"/>
                  <a:gd name="connsiteY6105" fmla="*/ 252691 h 840509"/>
                  <a:gd name="connsiteX6106" fmla="*/ 809033 w 939786"/>
                  <a:gd name="connsiteY6106" fmla="*/ 252691 h 840509"/>
                  <a:gd name="connsiteX6107" fmla="*/ 809650 w 939786"/>
                  <a:gd name="connsiteY6107" fmla="*/ 254101 h 840509"/>
                  <a:gd name="connsiteX6108" fmla="*/ 809650 w 939786"/>
                  <a:gd name="connsiteY6108" fmla="*/ 255600 h 840509"/>
                  <a:gd name="connsiteX6109" fmla="*/ 810532 w 939786"/>
                  <a:gd name="connsiteY6109" fmla="*/ 256482 h 840509"/>
                  <a:gd name="connsiteX6110" fmla="*/ 811061 w 939786"/>
                  <a:gd name="connsiteY6110" fmla="*/ 257099 h 840509"/>
                  <a:gd name="connsiteX6111" fmla="*/ 811326 w 939786"/>
                  <a:gd name="connsiteY6111" fmla="*/ 258863 h 840509"/>
                  <a:gd name="connsiteX6112" fmla="*/ 811943 w 939786"/>
                  <a:gd name="connsiteY6112" fmla="*/ 259744 h 840509"/>
                  <a:gd name="connsiteX6113" fmla="*/ 811326 w 939786"/>
                  <a:gd name="connsiteY6113" fmla="*/ 260361 h 840509"/>
                  <a:gd name="connsiteX6114" fmla="*/ 811943 w 939786"/>
                  <a:gd name="connsiteY6114" fmla="*/ 262742 h 840509"/>
                  <a:gd name="connsiteX6115" fmla="*/ 811326 w 939786"/>
                  <a:gd name="connsiteY6115" fmla="*/ 263359 h 840509"/>
                  <a:gd name="connsiteX6116" fmla="*/ 809298 w 939786"/>
                  <a:gd name="connsiteY6116" fmla="*/ 262742 h 840509"/>
                  <a:gd name="connsiteX6117" fmla="*/ 808681 w 939786"/>
                  <a:gd name="connsiteY6117" fmla="*/ 261596 h 840509"/>
                  <a:gd name="connsiteX6118" fmla="*/ 808416 w 939786"/>
                  <a:gd name="connsiteY6118" fmla="*/ 261860 h 840509"/>
                  <a:gd name="connsiteX6119" fmla="*/ 807799 w 939786"/>
                  <a:gd name="connsiteY6119" fmla="*/ 263623 h 840509"/>
                  <a:gd name="connsiteX6120" fmla="*/ 806652 w 939786"/>
                  <a:gd name="connsiteY6120" fmla="*/ 264770 h 840509"/>
                  <a:gd name="connsiteX6121" fmla="*/ 805771 w 939786"/>
                  <a:gd name="connsiteY6121" fmla="*/ 266180 h 840509"/>
                  <a:gd name="connsiteX6122" fmla="*/ 806917 w 939786"/>
                  <a:gd name="connsiteY6122" fmla="*/ 268561 h 840509"/>
                  <a:gd name="connsiteX6123" fmla="*/ 809298 w 939786"/>
                  <a:gd name="connsiteY6123" fmla="*/ 268825 h 840509"/>
                  <a:gd name="connsiteX6124" fmla="*/ 811061 w 939786"/>
                  <a:gd name="connsiteY6124" fmla="*/ 269707 h 840509"/>
                  <a:gd name="connsiteX6125" fmla="*/ 812560 w 939786"/>
                  <a:gd name="connsiteY6125" fmla="*/ 271735 h 840509"/>
                  <a:gd name="connsiteX6126" fmla="*/ 813706 w 939786"/>
                  <a:gd name="connsiteY6126" fmla="*/ 273498 h 840509"/>
                  <a:gd name="connsiteX6127" fmla="*/ 814059 w 939786"/>
                  <a:gd name="connsiteY6127" fmla="*/ 274909 h 840509"/>
                  <a:gd name="connsiteX6128" fmla="*/ 815205 w 939786"/>
                  <a:gd name="connsiteY6128" fmla="*/ 276055 h 840509"/>
                  <a:gd name="connsiteX6129" fmla="*/ 814324 w 939786"/>
                  <a:gd name="connsiteY6129" fmla="*/ 278436 h 840509"/>
                  <a:gd name="connsiteX6130" fmla="*/ 813442 w 939786"/>
                  <a:gd name="connsiteY6130" fmla="*/ 279935 h 840509"/>
                  <a:gd name="connsiteX6131" fmla="*/ 814059 w 939786"/>
                  <a:gd name="connsiteY6131" fmla="*/ 281963 h 840509"/>
                  <a:gd name="connsiteX6132" fmla="*/ 813706 w 939786"/>
                  <a:gd name="connsiteY6132" fmla="*/ 284255 h 840509"/>
                  <a:gd name="connsiteX6133" fmla="*/ 814588 w 939786"/>
                  <a:gd name="connsiteY6133" fmla="*/ 286018 h 840509"/>
                  <a:gd name="connsiteX6134" fmla="*/ 816351 w 939786"/>
                  <a:gd name="connsiteY6134" fmla="*/ 286900 h 840509"/>
                  <a:gd name="connsiteX6135" fmla="*/ 817233 w 939786"/>
                  <a:gd name="connsiteY6135" fmla="*/ 287782 h 840509"/>
                  <a:gd name="connsiteX6136" fmla="*/ 816704 w 939786"/>
                  <a:gd name="connsiteY6136" fmla="*/ 289545 h 840509"/>
                  <a:gd name="connsiteX6137" fmla="*/ 816704 w 939786"/>
                  <a:gd name="connsiteY6137" fmla="*/ 289898 h 840509"/>
                  <a:gd name="connsiteX6138" fmla="*/ 814940 w 939786"/>
                  <a:gd name="connsiteY6138" fmla="*/ 291661 h 840509"/>
                  <a:gd name="connsiteX6139" fmla="*/ 814676 w 939786"/>
                  <a:gd name="connsiteY6139" fmla="*/ 294306 h 840509"/>
                  <a:gd name="connsiteX6140" fmla="*/ 814940 w 939786"/>
                  <a:gd name="connsiteY6140" fmla="*/ 298362 h 840509"/>
                  <a:gd name="connsiteX6141" fmla="*/ 815558 w 939786"/>
                  <a:gd name="connsiteY6141" fmla="*/ 300390 h 840509"/>
                  <a:gd name="connsiteX6142" fmla="*/ 814676 w 939786"/>
                  <a:gd name="connsiteY6142" fmla="*/ 302153 h 840509"/>
                  <a:gd name="connsiteX6143" fmla="*/ 814059 w 939786"/>
                  <a:gd name="connsiteY6143" fmla="*/ 304798 h 840509"/>
                  <a:gd name="connsiteX6144" fmla="*/ 814059 w 939786"/>
                  <a:gd name="connsiteY6144" fmla="*/ 308589 h 840509"/>
                  <a:gd name="connsiteX6145" fmla="*/ 815469 w 939786"/>
                  <a:gd name="connsiteY6145" fmla="*/ 310353 h 840509"/>
                  <a:gd name="connsiteX6146" fmla="*/ 818379 w 939786"/>
                  <a:gd name="connsiteY6146" fmla="*/ 310970 h 840509"/>
                  <a:gd name="connsiteX6147" fmla="*/ 816351 w 939786"/>
                  <a:gd name="connsiteY6147" fmla="*/ 307796 h 840509"/>
                  <a:gd name="connsiteX6148" fmla="*/ 818996 w 939786"/>
                  <a:gd name="connsiteY6148" fmla="*/ 304269 h 840509"/>
                  <a:gd name="connsiteX6149" fmla="*/ 818996 w 939786"/>
                  <a:gd name="connsiteY6149" fmla="*/ 305856 h 840509"/>
                  <a:gd name="connsiteX6150" fmla="*/ 818996 w 939786"/>
                  <a:gd name="connsiteY6150" fmla="*/ 306121 h 840509"/>
                  <a:gd name="connsiteX6151" fmla="*/ 818732 w 939786"/>
                  <a:gd name="connsiteY6151" fmla="*/ 307267 h 840509"/>
                  <a:gd name="connsiteX6152" fmla="*/ 818467 w 939786"/>
                  <a:gd name="connsiteY6152" fmla="*/ 307884 h 840509"/>
                  <a:gd name="connsiteX6153" fmla="*/ 817586 w 939786"/>
                  <a:gd name="connsiteY6153" fmla="*/ 308501 h 840509"/>
                  <a:gd name="connsiteX6154" fmla="*/ 817586 w 939786"/>
                  <a:gd name="connsiteY6154" fmla="*/ 308766 h 840509"/>
                  <a:gd name="connsiteX6155" fmla="*/ 817321 w 939786"/>
                  <a:gd name="connsiteY6155" fmla="*/ 308766 h 840509"/>
                  <a:gd name="connsiteX6156" fmla="*/ 817586 w 939786"/>
                  <a:gd name="connsiteY6156" fmla="*/ 309030 h 840509"/>
                  <a:gd name="connsiteX6157" fmla="*/ 817850 w 939786"/>
                  <a:gd name="connsiteY6157" fmla="*/ 308766 h 840509"/>
                  <a:gd name="connsiteX6158" fmla="*/ 818467 w 939786"/>
                  <a:gd name="connsiteY6158" fmla="*/ 308501 h 840509"/>
                  <a:gd name="connsiteX6159" fmla="*/ 818732 w 939786"/>
                  <a:gd name="connsiteY6159" fmla="*/ 308501 h 840509"/>
                  <a:gd name="connsiteX6160" fmla="*/ 819349 w 939786"/>
                  <a:gd name="connsiteY6160" fmla="*/ 308237 h 840509"/>
                  <a:gd name="connsiteX6161" fmla="*/ 820495 w 939786"/>
                  <a:gd name="connsiteY6161" fmla="*/ 307355 h 840509"/>
                  <a:gd name="connsiteX6162" fmla="*/ 820495 w 939786"/>
                  <a:gd name="connsiteY6162" fmla="*/ 307091 h 840509"/>
                  <a:gd name="connsiteX6163" fmla="*/ 820760 w 939786"/>
                  <a:gd name="connsiteY6163" fmla="*/ 307091 h 840509"/>
                  <a:gd name="connsiteX6164" fmla="*/ 821024 w 939786"/>
                  <a:gd name="connsiteY6164" fmla="*/ 306209 h 840509"/>
                  <a:gd name="connsiteX6165" fmla="*/ 821289 w 939786"/>
                  <a:gd name="connsiteY6165" fmla="*/ 305944 h 840509"/>
                  <a:gd name="connsiteX6166" fmla="*/ 821289 w 939786"/>
                  <a:gd name="connsiteY6166" fmla="*/ 306209 h 840509"/>
                  <a:gd name="connsiteX6167" fmla="*/ 821553 w 939786"/>
                  <a:gd name="connsiteY6167" fmla="*/ 306209 h 840509"/>
                  <a:gd name="connsiteX6168" fmla="*/ 822435 w 939786"/>
                  <a:gd name="connsiteY6168" fmla="*/ 305327 h 840509"/>
                  <a:gd name="connsiteX6169" fmla="*/ 823052 w 939786"/>
                  <a:gd name="connsiteY6169" fmla="*/ 307620 h 840509"/>
                  <a:gd name="connsiteX6170" fmla="*/ 823581 w 939786"/>
                  <a:gd name="connsiteY6170" fmla="*/ 309912 h 840509"/>
                  <a:gd name="connsiteX6171" fmla="*/ 823581 w 939786"/>
                  <a:gd name="connsiteY6171" fmla="*/ 310176 h 840509"/>
                  <a:gd name="connsiteX6172" fmla="*/ 823581 w 939786"/>
                  <a:gd name="connsiteY6172" fmla="*/ 310794 h 840509"/>
                  <a:gd name="connsiteX6173" fmla="*/ 823581 w 939786"/>
                  <a:gd name="connsiteY6173" fmla="*/ 311146 h 840509"/>
                  <a:gd name="connsiteX6174" fmla="*/ 824198 w 939786"/>
                  <a:gd name="connsiteY6174" fmla="*/ 312293 h 840509"/>
                  <a:gd name="connsiteX6175" fmla="*/ 824463 w 939786"/>
                  <a:gd name="connsiteY6175" fmla="*/ 312910 h 840509"/>
                  <a:gd name="connsiteX6176" fmla="*/ 824463 w 939786"/>
                  <a:gd name="connsiteY6176" fmla="*/ 312645 h 840509"/>
                  <a:gd name="connsiteX6177" fmla="*/ 824463 w 939786"/>
                  <a:gd name="connsiteY6177" fmla="*/ 310265 h 840509"/>
                  <a:gd name="connsiteX6178" fmla="*/ 824463 w 939786"/>
                  <a:gd name="connsiteY6178" fmla="*/ 308501 h 840509"/>
                  <a:gd name="connsiteX6179" fmla="*/ 824198 w 939786"/>
                  <a:gd name="connsiteY6179" fmla="*/ 306738 h 840509"/>
                  <a:gd name="connsiteX6180" fmla="*/ 823581 w 939786"/>
                  <a:gd name="connsiteY6180" fmla="*/ 305239 h 840509"/>
                  <a:gd name="connsiteX6181" fmla="*/ 823934 w 939786"/>
                  <a:gd name="connsiteY6181" fmla="*/ 304093 h 840509"/>
                  <a:gd name="connsiteX6182" fmla="*/ 824198 w 939786"/>
                  <a:gd name="connsiteY6182" fmla="*/ 304093 h 840509"/>
                  <a:gd name="connsiteX6183" fmla="*/ 825080 w 939786"/>
                  <a:gd name="connsiteY6183" fmla="*/ 304710 h 840509"/>
                  <a:gd name="connsiteX6184" fmla="*/ 825961 w 939786"/>
                  <a:gd name="connsiteY6184" fmla="*/ 304710 h 840509"/>
                  <a:gd name="connsiteX6185" fmla="*/ 826226 w 939786"/>
                  <a:gd name="connsiteY6185" fmla="*/ 305856 h 840509"/>
                  <a:gd name="connsiteX6186" fmla="*/ 826490 w 939786"/>
                  <a:gd name="connsiteY6186" fmla="*/ 307002 h 840509"/>
                  <a:gd name="connsiteX6187" fmla="*/ 826490 w 939786"/>
                  <a:gd name="connsiteY6187" fmla="*/ 308501 h 840509"/>
                  <a:gd name="connsiteX6188" fmla="*/ 827372 w 939786"/>
                  <a:gd name="connsiteY6188" fmla="*/ 310529 h 840509"/>
                  <a:gd name="connsiteX6189" fmla="*/ 827108 w 939786"/>
                  <a:gd name="connsiteY6189" fmla="*/ 312293 h 840509"/>
                  <a:gd name="connsiteX6190" fmla="*/ 827372 w 939786"/>
                  <a:gd name="connsiteY6190" fmla="*/ 314320 h 840509"/>
                  <a:gd name="connsiteX6191" fmla="*/ 828254 w 939786"/>
                  <a:gd name="connsiteY6191" fmla="*/ 313438 h 840509"/>
                  <a:gd name="connsiteX6192" fmla="*/ 828871 w 939786"/>
                  <a:gd name="connsiteY6192" fmla="*/ 311940 h 840509"/>
                  <a:gd name="connsiteX6193" fmla="*/ 828871 w 939786"/>
                  <a:gd name="connsiteY6193" fmla="*/ 309912 h 840509"/>
                  <a:gd name="connsiteX6194" fmla="*/ 829400 w 939786"/>
                  <a:gd name="connsiteY6194" fmla="*/ 308501 h 840509"/>
                  <a:gd name="connsiteX6195" fmla="*/ 831163 w 939786"/>
                  <a:gd name="connsiteY6195" fmla="*/ 308501 h 840509"/>
                  <a:gd name="connsiteX6196" fmla="*/ 831781 w 939786"/>
                  <a:gd name="connsiteY6196" fmla="*/ 307620 h 840509"/>
                  <a:gd name="connsiteX6197" fmla="*/ 832927 w 939786"/>
                  <a:gd name="connsiteY6197" fmla="*/ 307355 h 840509"/>
                  <a:gd name="connsiteX6198" fmla="*/ 833808 w 939786"/>
                  <a:gd name="connsiteY6198" fmla="*/ 308237 h 840509"/>
                  <a:gd name="connsiteX6199" fmla="*/ 834690 w 939786"/>
                  <a:gd name="connsiteY6199" fmla="*/ 308237 h 840509"/>
                  <a:gd name="connsiteX6200" fmla="*/ 834955 w 939786"/>
                  <a:gd name="connsiteY6200" fmla="*/ 310000 h 840509"/>
                  <a:gd name="connsiteX6201" fmla="*/ 835572 w 939786"/>
                  <a:gd name="connsiteY6201" fmla="*/ 311499 h 840509"/>
                  <a:gd name="connsiteX6202" fmla="*/ 835572 w 939786"/>
                  <a:gd name="connsiteY6202" fmla="*/ 312381 h 840509"/>
                  <a:gd name="connsiteX6203" fmla="*/ 836453 w 939786"/>
                  <a:gd name="connsiteY6203" fmla="*/ 312381 h 840509"/>
                  <a:gd name="connsiteX6204" fmla="*/ 836189 w 939786"/>
                  <a:gd name="connsiteY6204" fmla="*/ 313527 h 840509"/>
                  <a:gd name="connsiteX6205" fmla="*/ 836453 w 939786"/>
                  <a:gd name="connsiteY6205" fmla="*/ 315819 h 840509"/>
                  <a:gd name="connsiteX6206" fmla="*/ 836718 w 939786"/>
                  <a:gd name="connsiteY6206" fmla="*/ 316436 h 840509"/>
                  <a:gd name="connsiteX6207" fmla="*/ 835837 w 939786"/>
                  <a:gd name="connsiteY6207" fmla="*/ 317318 h 840509"/>
                  <a:gd name="connsiteX6208" fmla="*/ 835837 w 939786"/>
                  <a:gd name="connsiteY6208" fmla="*/ 320492 h 840509"/>
                  <a:gd name="connsiteX6209" fmla="*/ 835307 w 939786"/>
                  <a:gd name="connsiteY6209" fmla="*/ 323754 h 840509"/>
                  <a:gd name="connsiteX6210" fmla="*/ 834426 w 939786"/>
                  <a:gd name="connsiteY6210" fmla="*/ 326929 h 840509"/>
                  <a:gd name="connsiteX6211" fmla="*/ 833544 w 939786"/>
                  <a:gd name="connsiteY6211" fmla="*/ 328074 h 840509"/>
                  <a:gd name="connsiteX6212" fmla="*/ 832662 w 939786"/>
                  <a:gd name="connsiteY6212" fmla="*/ 331249 h 840509"/>
                  <a:gd name="connsiteX6213" fmla="*/ 832398 w 939786"/>
                  <a:gd name="connsiteY6213" fmla="*/ 333276 h 840509"/>
                  <a:gd name="connsiteX6214" fmla="*/ 831516 w 939786"/>
                  <a:gd name="connsiteY6214" fmla="*/ 333276 h 840509"/>
                  <a:gd name="connsiteX6215" fmla="*/ 833015 w 939786"/>
                  <a:gd name="connsiteY6215" fmla="*/ 335040 h 840509"/>
                  <a:gd name="connsiteX6216" fmla="*/ 832398 w 939786"/>
                  <a:gd name="connsiteY6216" fmla="*/ 337950 h 840509"/>
                  <a:gd name="connsiteX6217" fmla="*/ 830987 w 939786"/>
                  <a:gd name="connsiteY6217" fmla="*/ 338831 h 840509"/>
                  <a:gd name="connsiteX6218" fmla="*/ 832750 w 939786"/>
                  <a:gd name="connsiteY6218" fmla="*/ 339448 h 840509"/>
                  <a:gd name="connsiteX6219" fmla="*/ 834249 w 939786"/>
                  <a:gd name="connsiteY6219" fmla="*/ 338567 h 840509"/>
                  <a:gd name="connsiteX6220" fmla="*/ 834514 w 939786"/>
                  <a:gd name="connsiteY6220" fmla="*/ 337420 h 840509"/>
                  <a:gd name="connsiteX6221" fmla="*/ 838041 w 939786"/>
                  <a:gd name="connsiteY6221" fmla="*/ 337950 h 840509"/>
                  <a:gd name="connsiteX6222" fmla="*/ 838393 w 939786"/>
                  <a:gd name="connsiteY6222" fmla="*/ 339448 h 840509"/>
                  <a:gd name="connsiteX6223" fmla="*/ 839275 w 939786"/>
                  <a:gd name="connsiteY6223" fmla="*/ 340859 h 840509"/>
                  <a:gd name="connsiteX6224" fmla="*/ 839540 w 939786"/>
                  <a:gd name="connsiteY6224" fmla="*/ 342622 h 840509"/>
                  <a:gd name="connsiteX6225" fmla="*/ 839892 w 939786"/>
                  <a:gd name="connsiteY6225" fmla="*/ 344121 h 840509"/>
                  <a:gd name="connsiteX6226" fmla="*/ 839011 w 939786"/>
                  <a:gd name="connsiteY6226" fmla="*/ 345885 h 840509"/>
                  <a:gd name="connsiteX6227" fmla="*/ 838393 w 939786"/>
                  <a:gd name="connsiteY6227" fmla="*/ 347648 h 840509"/>
                  <a:gd name="connsiteX6228" fmla="*/ 839540 w 939786"/>
                  <a:gd name="connsiteY6228" fmla="*/ 348530 h 840509"/>
                  <a:gd name="connsiteX6229" fmla="*/ 839540 w 939786"/>
                  <a:gd name="connsiteY6229" fmla="*/ 351175 h 840509"/>
                  <a:gd name="connsiteX6230" fmla="*/ 841303 w 939786"/>
                  <a:gd name="connsiteY6230" fmla="*/ 351439 h 840509"/>
                  <a:gd name="connsiteX6231" fmla="*/ 843683 w 939786"/>
                  <a:gd name="connsiteY6231" fmla="*/ 351439 h 840509"/>
                  <a:gd name="connsiteX6232" fmla="*/ 844300 w 939786"/>
                  <a:gd name="connsiteY6232" fmla="*/ 352938 h 840509"/>
                  <a:gd name="connsiteX6233" fmla="*/ 846328 w 939786"/>
                  <a:gd name="connsiteY6233" fmla="*/ 353203 h 840509"/>
                  <a:gd name="connsiteX6234" fmla="*/ 846064 w 939786"/>
                  <a:gd name="connsiteY6234" fmla="*/ 354349 h 840509"/>
                  <a:gd name="connsiteX6235" fmla="*/ 847827 w 939786"/>
                  <a:gd name="connsiteY6235" fmla="*/ 354702 h 840509"/>
                  <a:gd name="connsiteX6236" fmla="*/ 849326 w 939786"/>
                  <a:gd name="connsiteY6236" fmla="*/ 354966 h 840509"/>
                  <a:gd name="connsiteX6237" fmla="*/ 849591 w 939786"/>
                  <a:gd name="connsiteY6237" fmla="*/ 355848 h 840509"/>
                  <a:gd name="connsiteX6238" fmla="*/ 849591 w 939786"/>
                  <a:gd name="connsiteY6238" fmla="*/ 358228 h 840509"/>
                  <a:gd name="connsiteX6239" fmla="*/ 849591 w 939786"/>
                  <a:gd name="connsiteY6239" fmla="*/ 359639 h 840509"/>
                  <a:gd name="connsiteX6240" fmla="*/ 849943 w 939786"/>
                  <a:gd name="connsiteY6240" fmla="*/ 360521 h 840509"/>
                  <a:gd name="connsiteX6241" fmla="*/ 850561 w 939786"/>
                  <a:gd name="connsiteY6241" fmla="*/ 362284 h 840509"/>
                  <a:gd name="connsiteX6242" fmla="*/ 849943 w 939786"/>
                  <a:gd name="connsiteY6242" fmla="*/ 364047 h 840509"/>
                  <a:gd name="connsiteX6243" fmla="*/ 850208 w 939786"/>
                  <a:gd name="connsiteY6243" fmla="*/ 365458 h 840509"/>
                  <a:gd name="connsiteX6244" fmla="*/ 850208 w 939786"/>
                  <a:gd name="connsiteY6244" fmla="*/ 367486 h 840509"/>
                  <a:gd name="connsiteX6245" fmla="*/ 851619 w 939786"/>
                  <a:gd name="connsiteY6245" fmla="*/ 367486 h 840509"/>
                  <a:gd name="connsiteX6246" fmla="*/ 851619 w 939786"/>
                  <a:gd name="connsiteY6246" fmla="*/ 368367 h 840509"/>
                  <a:gd name="connsiteX6247" fmla="*/ 852236 w 939786"/>
                  <a:gd name="connsiteY6247" fmla="*/ 369249 h 840509"/>
                  <a:gd name="connsiteX6248" fmla="*/ 853735 w 939786"/>
                  <a:gd name="connsiteY6248" fmla="*/ 370395 h 840509"/>
                  <a:gd name="connsiteX6249" fmla="*/ 854881 w 939786"/>
                  <a:gd name="connsiteY6249" fmla="*/ 370660 h 840509"/>
                  <a:gd name="connsiteX6250" fmla="*/ 856380 w 939786"/>
                  <a:gd name="connsiteY6250" fmla="*/ 372159 h 840509"/>
                  <a:gd name="connsiteX6251" fmla="*/ 856027 w 939786"/>
                  <a:gd name="connsiteY6251" fmla="*/ 373305 h 840509"/>
                  <a:gd name="connsiteX6252" fmla="*/ 856027 w 939786"/>
                  <a:gd name="connsiteY6252" fmla="*/ 374187 h 840509"/>
                  <a:gd name="connsiteX6253" fmla="*/ 856644 w 939786"/>
                  <a:gd name="connsiteY6253" fmla="*/ 375333 h 840509"/>
                  <a:gd name="connsiteX6254" fmla="*/ 856909 w 939786"/>
                  <a:gd name="connsiteY6254" fmla="*/ 376215 h 840509"/>
                  <a:gd name="connsiteX6255" fmla="*/ 856909 w 939786"/>
                  <a:gd name="connsiteY6255" fmla="*/ 378595 h 840509"/>
                  <a:gd name="connsiteX6256" fmla="*/ 856644 w 939786"/>
                  <a:gd name="connsiteY6256" fmla="*/ 377713 h 840509"/>
                  <a:gd name="connsiteX6257" fmla="*/ 856380 w 939786"/>
                  <a:gd name="connsiteY6257" fmla="*/ 379741 h 840509"/>
                  <a:gd name="connsiteX6258" fmla="*/ 856997 w 939786"/>
                  <a:gd name="connsiteY6258" fmla="*/ 380888 h 840509"/>
                  <a:gd name="connsiteX6259" fmla="*/ 857879 w 939786"/>
                  <a:gd name="connsiteY6259" fmla="*/ 382034 h 840509"/>
                  <a:gd name="connsiteX6260" fmla="*/ 858495 w 939786"/>
                  <a:gd name="connsiteY6260" fmla="*/ 382298 h 840509"/>
                  <a:gd name="connsiteX6261" fmla="*/ 861141 w 939786"/>
                  <a:gd name="connsiteY6261" fmla="*/ 384061 h 840509"/>
                  <a:gd name="connsiteX6262" fmla="*/ 862022 w 939786"/>
                  <a:gd name="connsiteY6262" fmla="*/ 385560 h 840509"/>
                  <a:gd name="connsiteX6263" fmla="*/ 862640 w 939786"/>
                  <a:gd name="connsiteY6263" fmla="*/ 389087 h 840509"/>
                  <a:gd name="connsiteX6264" fmla="*/ 864403 w 939786"/>
                  <a:gd name="connsiteY6264" fmla="*/ 391732 h 840509"/>
                  <a:gd name="connsiteX6265" fmla="*/ 862992 w 939786"/>
                  <a:gd name="connsiteY6265" fmla="*/ 394906 h 840509"/>
                  <a:gd name="connsiteX6266" fmla="*/ 864138 w 939786"/>
                  <a:gd name="connsiteY6266" fmla="*/ 396405 h 840509"/>
                  <a:gd name="connsiteX6267" fmla="*/ 863874 w 939786"/>
                  <a:gd name="connsiteY6267" fmla="*/ 401342 h 840509"/>
                  <a:gd name="connsiteX6268" fmla="*/ 864138 w 939786"/>
                  <a:gd name="connsiteY6268" fmla="*/ 401078 h 840509"/>
                  <a:gd name="connsiteX6269" fmla="*/ 863609 w 939786"/>
                  <a:gd name="connsiteY6269" fmla="*/ 405134 h 840509"/>
                  <a:gd name="connsiteX6270" fmla="*/ 863609 w 939786"/>
                  <a:gd name="connsiteY6270" fmla="*/ 406015 h 840509"/>
                  <a:gd name="connsiteX6271" fmla="*/ 860700 w 939786"/>
                  <a:gd name="connsiteY6271" fmla="*/ 407779 h 840509"/>
                  <a:gd name="connsiteX6272" fmla="*/ 860083 w 939786"/>
                  <a:gd name="connsiteY6272" fmla="*/ 411041 h 840509"/>
                  <a:gd name="connsiteX6273" fmla="*/ 858584 w 939786"/>
                  <a:gd name="connsiteY6273" fmla="*/ 414215 h 840509"/>
                  <a:gd name="connsiteX6274" fmla="*/ 857173 w 939786"/>
                  <a:gd name="connsiteY6274" fmla="*/ 416860 h 840509"/>
                  <a:gd name="connsiteX6275" fmla="*/ 857173 w 939786"/>
                  <a:gd name="connsiteY6275" fmla="*/ 418888 h 840509"/>
                  <a:gd name="connsiteX6276" fmla="*/ 856291 w 939786"/>
                  <a:gd name="connsiteY6276" fmla="*/ 419770 h 840509"/>
                  <a:gd name="connsiteX6277" fmla="*/ 856027 w 939786"/>
                  <a:gd name="connsiteY6277" fmla="*/ 420651 h 840509"/>
                  <a:gd name="connsiteX6278" fmla="*/ 853999 w 939786"/>
                  <a:gd name="connsiteY6278" fmla="*/ 421798 h 840509"/>
                  <a:gd name="connsiteX6279" fmla="*/ 853999 w 939786"/>
                  <a:gd name="connsiteY6279" fmla="*/ 423561 h 840509"/>
                  <a:gd name="connsiteX6280" fmla="*/ 854616 w 939786"/>
                  <a:gd name="connsiteY6280" fmla="*/ 424972 h 840509"/>
                  <a:gd name="connsiteX6281" fmla="*/ 855233 w 939786"/>
                  <a:gd name="connsiteY6281" fmla="*/ 427352 h 840509"/>
                  <a:gd name="connsiteX6282" fmla="*/ 856380 w 939786"/>
                  <a:gd name="connsiteY6282" fmla="*/ 429116 h 840509"/>
                  <a:gd name="connsiteX6283" fmla="*/ 857526 w 939786"/>
                  <a:gd name="connsiteY6283" fmla="*/ 430614 h 840509"/>
                  <a:gd name="connsiteX6284" fmla="*/ 858672 w 939786"/>
                  <a:gd name="connsiteY6284" fmla="*/ 432642 h 840509"/>
                  <a:gd name="connsiteX6285" fmla="*/ 858672 w 939786"/>
                  <a:gd name="connsiteY6285" fmla="*/ 433260 h 840509"/>
                  <a:gd name="connsiteX6286" fmla="*/ 858672 w 939786"/>
                  <a:gd name="connsiteY6286" fmla="*/ 433524 h 840509"/>
                  <a:gd name="connsiteX6287" fmla="*/ 858320 w 939786"/>
                  <a:gd name="connsiteY6287" fmla="*/ 435905 h 840509"/>
                  <a:gd name="connsiteX6288" fmla="*/ 858320 w 939786"/>
                  <a:gd name="connsiteY6288" fmla="*/ 437051 h 840509"/>
                  <a:gd name="connsiteX6289" fmla="*/ 858055 w 939786"/>
                  <a:gd name="connsiteY6289" fmla="*/ 437668 h 840509"/>
                  <a:gd name="connsiteX6290" fmla="*/ 858672 w 939786"/>
                  <a:gd name="connsiteY6290" fmla="*/ 439696 h 840509"/>
                  <a:gd name="connsiteX6291" fmla="*/ 858937 w 939786"/>
                  <a:gd name="connsiteY6291" fmla="*/ 439960 h 840509"/>
                  <a:gd name="connsiteX6292" fmla="*/ 858937 w 939786"/>
                  <a:gd name="connsiteY6292" fmla="*/ 440225 h 840509"/>
                  <a:gd name="connsiteX6293" fmla="*/ 858937 w 939786"/>
                  <a:gd name="connsiteY6293" fmla="*/ 441988 h 840509"/>
                  <a:gd name="connsiteX6294" fmla="*/ 858320 w 939786"/>
                  <a:gd name="connsiteY6294" fmla="*/ 443487 h 840509"/>
                  <a:gd name="connsiteX6295" fmla="*/ 858055 w 939786"/>
                  <a:gd name="connsiteY6295" fmla="*/ 443752 h 840509"/>
                  <a:gd name="connsiteX6296" fmla="*/ 857438 w 939786"/>
                  <a:gd name="connsiteY6296" fmla="*/ 445250 h 840509"/>
                  <a:gd name="connsiteX6297" fmla="*/ 855410 w 939786"/>
                  <a:gd name="connsiteY6297" fmla="*/ 444369 h 840509"/>
                  <a:gd name="connsiteX6298" fmla="*/ 853382 w 939786"/>
                  <a:gd name="connsiteY6298" fmla="*/ 446397 h 840509"/>
                  <a:gd name="connsiteX6299" fmla="*/ 851883 w 939786"/>
                  <a:gd name="connsiteY6299" fmla="*/ 450188 h 840509"/>
                  <a:gd name="connsiteX6300" fmla="*/ 852765 w 939786"/>
                  <a:gd name="connsiteY6300" fmla="*/ 452480 h 840509"/>
                  <a:gd name="connsiteX6301" fmla="*/ 851266 w 939786"/>
                  <a:gd name="connsiteY6301" fmla="*/ 453979 h 840509"/>
                  <a:gd name="connsiteX6302" fmla="*/ 853558 w 939786"/>
                  <a:gd name="connsiteY6302" fmla="*/ 456360 h 840509"/>
                  <a:gd name="connsiteX6303" fmla="*/ 853823 w 939786"/>
                  <a:gd name="connsiteY6303" fmla="*/ 456624 h 840509"/>
                  <a:gd name="connsiteX6304" fmla="*/ 853823 w 939786"/>
                  <a:gd name="connsiteY6304" fmla="*/ 457241 h 840509"/>
                  <a:gd name="connsiteX6305" fmla="*/ 853558 w 939786"/>
                  <a:gd name="connsiteY6305" fmla="*/ 458387 h 840509"/>
                  <a:gd name="connsiteX6306" fmla="*/ 852677 w 939786"/>
                  <a:gd name="connsiteY6306" fmla="*/ 460151 h 840509"/>
                  <a:gd name="connsiteX6307" fmla="*/ 852059 w 939786"/>
                  <a:gd name="connsiteY6307" fmla="*/ 462443 h 840509"/>
                  <a:gd name="connsiteX6308" fmla="*/ 851442 w 939786"/>
                  <a:gd name="connsiteY6308" fmla="*/ 463590 h 840509"/>
                  <a:gd name="connsiteX6309" fmla="*/ 849679 w 939786"/>
                  <a:gd name="connsiteY6309" fmla="*/ 463854 h 840509"/>
                  <a:gd name="connsiteX6310" fmla="*/ 849150 w 939786"/>
                  <a:gd name="connsiteY6310" fmla="*/ 464735 h 840509"/>
                  <a:gd name="connsiteX6311" fmla="*/ 847651 w 939786"/>
                  <a:gd name="connsiteY6311" fmla="*/ 466763 h 840509"/>
                  <a:gd name="connsiteX6312" fmla="*/ 847651 w 939786"/>
                  <a:gd name="connsiteY6312" fmla="*/ 467381 h 840509"/>
                  <a:gd name="connsiteX6313" fmla="*/ 848532 w 939786"/>
                  <a:gd name="connsiteY6313" fmla="*/ 469673 h 840509"/>
                  <a:gd name="connsiteX6314" fmla="*/ 847916 w 939786"/>
                  <a:gd name="connsiteY6314" fmla="*/ 470555 h 840509"/>
                  <a:gd name="connsiteX6315" fmla="*/ 846769 w 939786"/>
                  <a:gd name="connsiteY6315" fmla="*/ 471701 h 840509"/>
                  <a:gd name="connsiteX6316" fmla="*/ 845006 w 939786"/>
                  <a:gd name="connsiteY6316" fmla="*/ 474346 h 840509"/>
                  <a:gd name="connsiteX6317" fmla="*/ 845006 w 939786"/>
                  <a:gd name="connsiteY6317" fmla="*/ 475492 h 840509"/>
                  <a:gd name="connsiteX6318" fmla="*/ 843860 w 939786"/>
                  <a:gd name="connsiteY6318" fmla="*/ 477784 h 840509"/>
                  <a:gd name="connsiteX6319" fmla="*/ 843595 w 939786"/>
                  <a:gd name="connsiteY6319" fmla="*/ 478137 h 840509"/>
                  <a:gd name="connsiteX6320" fmla="*/ 843331 w 939786"/>
                  <a:gd name="connsiteY6320" fmla="*/ 478402 h 840509"/>
                  <a:gd name="connsiteX6321" fmla="*/ 843066 w 939786"/>
                  <a:gd name="connsiteY6321" fmla="*/ 479019 h 840509"/>
                  <a:gd name="connsiteX6322" fmla="*/ 843066 w 939786"/>
                  <a:gd name="connsiteY6322" fmla="*/ 479371 h 840509"/>
                  <a:gd name="connsiteX6323" fmla="*/ 843066 w 939786"/>
                  <a:gd name="connsiteY6323" fmla="*/ 479636 h 840509"/>
                  <a:gd name="connsiteX6324" fmla="*/ 843331 w 939786"/>
                  <a:gd name="connsiteY6324" fmla="*/ 479900 h 840509"/>
                  <a:gd name="connsiteX6325" fmla="*/ 839275 w 939786"/>
                  <a:gd name="connsiteY6325" fmla="*/ 479900 h 840509"/>
                  <a:gd name="connsiteX6326" fmla="*/ 840157 w 939786"/>
                  <a:gd name="connsiteY6326" fmla="*/ 481664 h 840509"/>
                  <a:gd name="connsiteX6327" fmla="*/ 840157 w 939786"/>
                  <a:gd name="connsiteY6327" fmla="*/ 481928 h 840509"/>
                  <a:gd name="connsiteX6328" fmla="*/ 838129 w 939786"/>
                  <a:gd name="connsiteY6328" fmla="*/ 483956 h 840509"/>
                  <a:gd name="connsiteX6329" fmla="*/ 836366 w 939786"/>
                  <a:gd name="connsiteY6329" fmla="*/ 487748 h 840509"/>
                  <a:gd name="connsiteX6330" fmla="*/ 834602 w 939786"/>
                  <a:gd name="connsiteY6330" fmla="*/ 490392 h 840509"/>
                  <a:gd name="connsiteX6331" fmla="*/ 834602 w 939786"/>
                  <a:gd name="connsiteY6331" fmla="*/ 494536 h 840509"/>
                  <a:gd name="connsiteX6332" fmla="*/ 832221 w 939786"/>
                  <a:gd name="connsiteY6332" fmla="*/ 497182 h 840509"/>
                  <a:gd name="connsiteX6333" fmla="*/ 831075 w 939786"/>
                  <a:gd name="connsiteY6333" fmla="*/ 500356 h 840509"/>
                  <a:gd name="connsiteX6334" fmla="*/ 829929 w 939786"/>
                  <a:gd name="connsiteY6334" fmla="*/ 501237 h 840509"/>
                  <a:gd name="connsiteX6335" fmla="*/ 828430 w 939786"/>
                  <a:gd name="connsiteY6335" fmla="*/ 501237 h 840509"/>
                  <a:gd name="connsiteX6336" fmla="*/ 827020 w 939786"/>
                  <a:gd name="connsiteY6336" fmla="*/ 502384 h 840509"/>
                  <a:gd name="connsiteX6337" fmla="*/ 826138 w 939786"/>
                  <a:gd name="connsiteY6337" fmla="*/ 503530 h 840509"/>
                  <a:gd name="connsiteX6338" fmla="*/ 825874 w 939786"/>
                  <a:gd name="connsiteY6338" fmla="*/ 504411 h 840509"/>
                  <a:gd name="connsiteX6339" fmla="*/ 825609 w 939786"/>
                  <a:gd name="connsiteY6339" fmla="*/ 505557 h 840509"/>
                  <a:gd name="connsiteX6340" fmla="*/ 824463 w 939786"/>
                  <a:gd name="connsiteY6340" fmla="*/ 507056 h 840509"/>
                  <a:gd name="connsiteX6341" fmla="*/ 823316 w 939786"/>
                  <a:gd name="connsiteY6341" fmla="*/ 508467 h 840509"/>
                  <a:gd name="connsiteX6342" fmla="*/ 822170 w 939786"/>
                  <a:gd name="connsiteY6342" fmla="*/ 511641 h 840509"/>
                  <a:gd name="connsiteX6343" fmla="*/ 820407 w 939786"/>
                  <a:gd name="connsiteY6343" fmla="*/ 514022 h 840509"/>
                  <a:gd name="connsiteX6344" fmla="*/ 818996 w 939786"/>
                  <a:gd name="connsiteY6344" fmla="*/ 516050 h 840509"/>
                  <a:gd name="connsiteX6345" fmla="*/ 818996 w 939786"/>
                  <a:gd name="connsiteY6345" fmla="*/ 516314 h 840509"/>
                  <a:gd name="connsiteX6346" fmla="*/ 818115 w 939786"/>
                  <a:gd name="connsiteY6346" fmla="*/ 516843 h 840509"/>
                  <a:gd name="connsiteX6347" fmla="*/ 818115 w 939786"/>
                  <a:gd name="connsiteY6347" fmla="*/ 518077 h 840509"/>
                  <a:gd name="connsiteX6348" fmla="*/ 818115 w 939786"/>
                  <a:gd name="connsiteY6348" fmla="*/ 518959 h 840509"/>
                  <a:gd name="connsiteX6349" fmla="*/ 817850 w 939786"/>
                  <a:gd name="connsiteY6349" fmla="*/ 520458 h 840509"/>
                  <a:gd name="connsiteX6350" fmla="*/ 817321 w 939786"/>
                  <a:gd name="connsiteY6350" fmla="*/ 521075 h 840509"/>
                  <a:gd name="connsiteX6351" fmla="*/ 815293 w 939786"/>
                  <a:gd name="connsiteY6351" fmla="*/ 521692 h 840509"/>
                  <a:gd name="connsiteX6352" fmla="*/ 814940 w 939786"/>
                  <a:gd name="connsiteY6352" fmla="*/ 521957 h 840509"/>
                  <a:gd name="connsiteX6353" fmla="*/ 814059 w 939786"/>
                  <a:gd name="connsiteY6353" fmla="*/ 522838 h 840509"/>
                  <a:gd name="connsiteX6354" fmla="*/ 813442 w 939786"/>
                  <a:gd name="connsiteY6354" fmla="*/ 524249 h 840509"/>
                  <a:gd name="connsiteX6355" fmla="*/ 814059 w 939786"/>
                  <a:gd name="connsiteY6355" fmla="*/ 525131 h 840509"/>
                  <a:gd name="connsiteX6356" fmla="*/ 814324 w 939786"/>
                  <a:gd name="connsiteY6356" fmla="*/ 526630 h 840509"/>
                  <a:gd name="connsiteX6357" fmla="*/ 814059 w 939786"/>
                  <a:gd name="connsiteY6357" fmla="*/ 527776 h 840509"/>
                  <a:gd name="connsiteX6358" fmla="*/ 811678 w 939786"/>
                  <a:gd name="connsiteY6358" fmla="*/ 529539 h 840509"/>
                  <a:gd name="connsiteX6359" fmla="*/ 810268 w 939786"/>
                  <a:gd name="connsiteY6359" fmla="*/ 531567 h 840509"/>
                  <a:gd name="connsiteX6360" fmla="*/ 808240 w 939786"/>
                  <a:gd name="connsiteY6360" fmla="*/ 533948 h 840509"/>
                  <a:gd name="connsiteX6361" fmla="*/ 806741 w 939786"/>
                  <a:gd name="connsiteY6361" fmla="*/ 536240 h 840509"/>
                  <a:gd name="connsiteX6362" fmla="*/ 803832 w 939786"/>
                  <a:gd name="connsiteY6362" fmla="*/ 539150 h 840509"/>
                  <a:gd name="connsiteX6363" fmla="*/ 803214 w 939786"/>
                  <a:gd name="connsiteY6363" fmla="*/ 542412 h 840509"/>
                  <a:gd name="connsiteX6364" fmla="*/ 802597 w 939786"/>
                  <a:gd name="connsiteY6364" fmla="*/ 542676 h 840509"/>
                  <a:gd name="connsiteX6365" fmla="*/ 801980 w 939786"/>
                  <a:gd name="connsiteY6365" fmla="*/ 543294 h 840509"/>
                  <a:gd name="connsiteX6366" fmla="*/ 801098 w 939786"/>
                  <a:gd name="connsiteY6366" fmla="*/ 543911 h 840509"/>
                  <a:gd name="connsiteX6367" fmla="*/ 800216 w 939786"/>
                  <a:gd name="connsiteY6367" fmla="*/ 544793 h 840509"/>
                  <a:gd name="connsiteX6368" fmla="*/ 798718 w 939786"/>
                  <a:gd name="connsiteY6368" fmla="*/ 545939 h 840509"/>
                  <a:gd name="connsiteX6369" fmla="*/ 796954 w 939786"/>
                  <a:gd name="connsiteY6369" fmla="*/ 547966 h 840509"/>
                  <a:gd name="connsiteX6370" fmla="*/ 796690 w 939786"/>
                  <a:gd name="connsiteY6370" fmla="*/ 548231 h 840509"/>
                  <a:gd name="connsiteX6371" fmla="*/ 796690 w 939786"/>
                  <a:gd name="connsiteY6371" fmla="*/ 548584 h 840509"/>
                  <a:gd name="connsiteX6372" fmla="*/ 794926 w 939786"/>
                  <a:gd name="connsiteY6372" fmla="*/ 550876 h 840509"/>
                  <a:gd name="connsiteX6373" fmla="*/ 791752 w 939786"/>
                  <a:gd name="connsiteY6373" fmla="*/ 553786 h 840509"/>
                  <a:gd name="connsiteX6374" fmla="*/ 790253 w 939786"/>
                  <a:gd name="connsiteY6374" fmla="*/ 557577 h 840509"/>
                  <a:gd name="connsiteX6375" fmla="*/ 789724 w 939786"/>
                  <a:gd name="connsiteY6375" fmla="*/ 557841 h 840509"/>
                  <a:gd name="connsiteX6376" fmla="*/ 789107 w 939786"/>
                  <a:gd name="connsiteY6376" fmla="*/ 558194 h 840509"/>
                  <a:gd name="connsiteX6377" fmla="*/ 788226 w 939786"/>
                  <a:gd name="connsiteY6377" fmla="*/ 558723 h 840509"/>
                  <a:gd name="connsiteX6378" fmla="*/ 786462 w 939786"/>
                  <a:gd name="connsiteY6378" fmla="*/ 559869 h 840509"/>
                  <a:gd name="connsiteX6379" fmla="*/ 784963 w 939786"/>
                  <a:gd name="connsiteY6379" fmla="*/ 560751 h 840509"/>
                  <a:gd name="connsiteX6380" fmla="*/ 782318 w 939786"/>
                  <a:gd name="connsiteY6380" fmla="*/ 561897 h 840509"/>
                  <a:gd name="connsiteX6381" fmla="*/ 781701 w 939786"/>
                  <a:gd name="connsiteY6381" fmla="*/ 563043 h 840509"/>
                  <a:gd name="connsiteX6382" fmla="*/ 781701 w 939786"/>
                  <a:gd name="connsiteY6382" fmla="*/ 564189 h 840509"/>
                  <a:gd name="connsiteX6383" fmla="*/ 778174 w 939786"/>
                  <a:gd name="connsiteY6383" fmla="*/ 565071 h 840509"/>
                  <a:gd name="connsiteX6384" fmla="*/ 777028 w 939786"/>
                  <a:gd name="connsiteY6384" fmla="*/ 565336 h 840509"/>
                  <a:gd name="connsiteX6385" fmla="*/ 777028 w 939786"/>
                  <a:gd name="connsiteY6385" fmla="*/ 565600 h 840509"/>
                  <a:gd name="connsiteX6386" fmla="*/ 777293 w 939786"/>
                  <a:gd name="connsiteY6386" fmla="*/ 567364 h 840509"/>
                  <a:gd name="connsiteX6387" fmla="*/ 775793 w 939786"/>
                  <a:gd name="connsiteY6387" fmla="*/ 568245 h 840509"/>
                  <a:gd name="connsiteX6388" fmla="*/ 774912 w 939786"/>
                  <a:gd name="connsiteY6388" fmla="*/ 568862 h 840509"/>
                  <a:gd name="connsiteX6389" fmla="*/ 774648 w 939786"/>
                  <a:gd name="connsiteY6389" fmla="*/ 570626 h 840509"/>
                  <a:gd name="connsiteX6390" fmla="*/ 773237 w 939786"/>
                  <a:gd name="connsiteY6390" fmla="*/ 571772 h 840509"/>
                  <a:gd name="connsiteX6391" fmla="*/ 770592 w 939786"/>
                  <a:gd name="connsiteY6391" fmla="*/ 571508 h 840509"/>
                  <a:gd name="connsiteX6392" fmla="*/ 768564 w 939786"/>
                  <a:gd name="connsiteY6392" fmla="*/ 571508 h 840509"/>
                  <a:gd name="connsiteX6393" fmla="*/ 768299 w 939786"/>
                  <a:gd name="connsiteY6393" fmla="*/ 571772 h 840509"/>
                  <a:gd name="connsiteX6394" fmla="*/ 766536 w 939786"/>
                  <a:gd name="connsiteY6394" fmla="*/ 573800 h 840509"/>
                  <a:gd name="connsiteX6395" fmla="*/ 764772 w 939786"/>
                  <a:gd name="connsiteY6395" fmla="*/ 575563 h 840509"/>
                  <a:gd name="connsiteX6396" fmla="*/ 764156 w 939786"/>
                  <a:gd name="connsiteY6396" fmla="*/ 576445 h 840509"/>
                  <a:gd name="connsiteX6397" fmla="*/ 763274 w 939786"/>
                  <a:gd name="connsiteY6397" fmla="*/ 577062 h 840509"/>
                  <a:gd name="connsiteX6398" fmla="*/ 763627 w 939786"/>
                  <a:gd name="connsiteY6398" fmla="*/ 576798 h 840509"/>
                  <a:gd name="connsiteX6399" fmla="*/ 763274 w 939786"/>
                  <a:gd name="connsiteY6399" fmla="*/ 576798 h 840509"/>
                  <a:gd name="connsiteX6400" fmla="*/ 763010 w 939786"/>
                  <a:gd name="connsiteY6400" fmla="*/ 576798 h 840509"/>
                  <a:gd name="connsiteX6401" fmla="*/ 762392 w 939786"/>
                  <a:gd name="connsiteY6401" fmla="*/ 576798 h 840509"/>
                  <a:gd name="connsiteX6402" fmla="*/ 760894 w 939786"/>
                  <a:gd name="connsiteY6402" fmla="*/ 577679 h 840509"/>
                  <a:gd name="connsiteX6403" fmla="*/ 760276 w 939786"/>
                  <a:gd name="connsiteY6403" fmla="*/ 578561 h 840509"/>
                  <a:gd name="connsiteX6404" fmla="*/ 760276 w 939786"/>
                  <a:gd name="connsiteY6404" fmla="*/ 578825 h 840509"/>
                  <a:gd name="connsiteX6405" fmla="*/ 760276 w 939786"/>
                  <a:gd name="connsiteY6405" fmla="*/ 579090 h 840509"/>
                  <a:gd name="connsiteX6406" fmla="*/ 760541 w 939786"/>
                  <a:gd name="connsiteY6406" fmla="*/ 579090 h 840509"/>
                  <a:gd name="connsiteX6407" fmla="*/ 759130 w 939786"/>
                  <a:gd name="connsiteY6407" fmla="*/ 579707 h 840509"/>
                  <a:gd name="connsiteX6408" fmla="*/ 755956 w 939786"/>
                  <a:gd name="connsiteY6408" fmla="*/ 581735 h 840509"/>
                  <a:gd name="connsiteX6409" fmla="*/ 753928 w 939786"/>
                  <a:gd name="connsiteY6409" fmla="*/ 583763 h 840509"/>
                  <a:gd name="connsiteX6410" fmla="*/ 753046 w 939786"/>
                  <a:gd name="connsiteY6410" fmla="*/ 584645 h 840509"/>
                  <a:gd name="connsiteX6411" fmla="*/ 752164 w 939786"/>
                  <a:gd name="connsiteY6411" fmla="*/ 586144 h 840509"/>
                  <a:gd name="connsiteX6412" fmla="*/ 751018 w 939786"/>
                  <a:gd name="connsiteY6412" fmla="*/ 589670 h 840509"/>
                  <a:gd name="connsiteX6413" fmla="*/ 748109 w 939786"/>
                  <a:gd name="connsiteY6413" fmla="*/ 592315 h 840509"/>
                  <a:gd name="connsiteX6414" fmla="*/ 746963 w 939786"/>
                  <a:gd name="connsiteY6414" fmla="*/ 595225 h 840509"/>
                  <a:gd name="connsiteX6415" fmla="*/ 745464 w 939786"/>
                  <a:gd name="connsiteY6415" fmla="*/ 596371 h 840509"/>
                  <a:gd name="connsiteX6416" fmla="*/ 741408 w 939786"/>
                  <a:gd name="connsiteY6416" fmla="*/ 599016 h 840509"/>
                  <a:gd name="connsiteX6417" fmla="*/ 738498 w 939786"/>
                  <a:gd name="connsiteY6417" fmla="*/ 603424 h 840509"/>
                  <a:gd name="connsiteX6418" fmla="*/ 734707 w 939786"/>
                  <a:gd name="connsiteY6418" fmla="*/ 608097 h 840509"/>
                  <a:gd name="connsiteX6419" fmla="*/ 732944 w 939786"/>
                  <a:gd name="connsiteY6419" fmla="*/ 608979 h 840509"/>
                  <a:gd name="connsiteX6420" fmla="*/ 731180 w 939786"/>
                  <a:gd name="connsiteY6420" fmla="*/ 611624 h 840509"/>
                  <a:gd name="connsiteX6421" fmla="*/ 728271 w 939786"/>
                  <a:gd name="connsiteY6421" fmla="*/ 614269 h 840509"/>
                  <a:gd name="connsiteX6422" fmla="*/ 726243 w 939786"/>
                  <a:gd name="connsiteY6422" fmla="*/ 618060 h 840509"/>
                  <a:gd name="connsiteX6423" fmla="*/ 726243 w 939786"/>
                  <a:gd name="connsiteY6423" fmla="*/ 620088 h 840509"/>
                  <a:gd name="connsiteX6424" fmla="*/ 726243 w 939786"/>
                  <a:gd name="connsiteY6424" fmla="*/ 620970 h 840509"/>
                  <a:gd name="connsiteX6425" fmla="*/ 723863 w 939786"/>
                  <a:gd name="connsiteY6425" fmla="*/ 621852 h 840509"/>
                  <a:gd name="connsiteX6426" fmla="*/ 724127 w 939786"/>
                  <a:gd name="connsiteY6426" fmla="*/ 621587 h 840509"/>
                  <a:gd name="connsiteX6427" fmla="*/ 720336 w 939786"/>
                  <a:gd name="connsiteY6427" fmla="*/ 625378 h 840509"/>
                  <a:gd name="connsiteX6428" fmla="*/ 720336 w 939786"/>
                  <a:gd name="connsiteY6428" fmla="*/ 629434 h 840509"/>
                  <a:gd name="connsiteX6429" fmla="*/ 720336 w 939786"/>
                  <a:gd name="connsiteY6429" fmla="*/ 630933 h 840509"/>
                  <a:gd name="connsiteX6430" fmla="*/ 719190 w 939786"/>
                  <a:gd name="connsiteY6430" fmla="*/ 632079 h 840509"/>
                  <a:gd name="connsiteX6431" fmla="*/ 717426 w 939786"/>
                  <a:gd name="connsiteY6431" fmla="*/ 631815 h 840509"/>
                  <a:gd name="connsiteX6432" fmla="*/ 714517 w 939786"/>
                  <a:gd name="connsiteY6432" fmla="*/ 630933 h 840509"/>
                  <a:gd name="connsiteX6433" fmla="*/ 713018 w 939786"/>
                  <a:gd name="connsiteY6433" fmla="*/ 632961 h 840509"/>
                  <a:gd name="connsiteX6434" fmla="*/ 710726 w 939786"/>
                  <a:gd name="connsiteY6434" fmla="*/ 637369 h 840509"/>
                  <a:gd name="connsiteX6435" fmla="*/ 707816 w 939786"/>
                  <a:gd name="connsiteY6435" fmla="*/ 637105 h 840509"/>
                  <a:gd name="connsiteX6436" fmla="*/ 704642 w 939786"/>
                  <a:gd name="connsiteY6436" fmla="*/ 640279 h 840509"/>
                  <a:gd name="connsiteX6437" fmla="*/ 701997 w 939786"/>
                  <a:gd name="connsiteY6437" fmla="*/ 646098 h 840509"/>
                  <a:gd name="connsiteX6438" fmla="*/ 701997 w 939786"/>
                  <a:gd name="connsiteY6438" fmla="*/ 645833 h 840509"/>
                  <a:gd name="connsiteX6439" fmla="*/ 700234 w 939786"/>
                  <a:gd name="connsiteY6439" fmla="*/ 649360 h 840509"/>
                  <a:gd name="connsiteX6440" fmla="*/ 699087 w 939786"/>
                  <a:gd name="connsiteY6440" fmla="*/ 651653 h 840509"/>
                  <a:gd name="connsiteX6441" fmla="*/ 697941 w 939786"/>
                  <a:gd name="connsiteY6441" fmla="*/ 654297 h 840509"/>
                  <a:gd name="connsiteX6442" fmla="*/ 692387 w 939786"/>
                  <a:gd name="connsiteY6442" fmla="*/ 655444 h 840509"/>
                  <a:gd name="connsiteX6443" fmla="*/ 690976 w 939786"/>
                  <a:gd name="connsiteY6443" fmla="*/ 659852 h 840509"/>
                  <a:gd name="connsiteX6444" fmla="*/ 690094 w 939786"/>
                  <a:gd name="connsiteY6444" fmla="*/ 661880 h 840509"/>
                  <a:gd name="connsiteX6445" fmla="*/ 689213 w 939786"/>
                  <a:gd name="connsiteY6445" fmla="*/ 664261 h 840509"/>
                  <a:gd name="connsiteX6446" fmla="*/ 686038 w 939786"/>
                  <a:gd name="connsiteY6446" fmla="*/ 666553 h 840509"/>
                  <a:gd name="connsiteX6447" fmla="*/ 686567 w 939786"/>
                  <a:gd name="connsiteY6447" fmla="*/ 665936 h 840509"/>
                  <a:gd name="connsiteX6448" fmla="*/ 683658 w 939786"/>
                  <a:gd name="connsiteY6448" fmla="*/ 670344 h 840509"/>
                  <a:gd name="connsiteX6449" fmla="*/ 681630 w 939786"/>
                  <a:gd name="connsiteY6449" fmla="*/ 671490 h 840509"/>
                  <a:gd name="connsiteX6450" fmla="*/ 678985 w 939786"/>
                  <a:gd name="connsiteY6450" fmla="*/ 673871 h 840509"/>
                  <a:gd name="connsiteX6451" fmla="*/ 681012 w 939786"/>
                  <a:gd name="connsiteY6451" fmla="*/ 678191 h 840509"/>
                  <a:gd name="connsiteX6452" fmla="*/ 678632 w 939786"/>
                  <a:gd name="connsiteY6452" fmla="*/ 678191 h 840509"/>
                  <a:gd name="connsiteX6453" fmla="*/ 676869 w 939786"/>
                  <a:gd name="connsiteY6453" fmla="*/ 681983 h 840509"/>
                  <a:gd name="connsiteX6454" fmla="*/ 674224 w 939786"/>
                  <a:gd name="connsiteY6454" fmla="*/ 685509 h 840509"/>
                  <a:gd name="connsiteX6455" fmla="*/ 674224 w 939786"/>
                  <a:gd name="connsiteY6455" fmla="*/ 684627 h 840509"/>
                  <a:gd name="connsiteX6456" fmla="*/ 672460 w 939786"/>
                  <a:gd name="connsiteY6456" fmla="*/ 689036 h 840509"/>
                  <a:gd name="connsiteX6457" fmla="*/ 671050 w 939786"/>
                  <a:gd name="connsiteY6457" fmla="*/ 690182 h 840509"/>
                  <a:gd name="connsiteX6458" fmla="*/ 667875 w 939786"/>
                  <a:gd name="connsiteY6458" fmla="*/ 690182 h 840509"/>
                  <a:gd name="connsiteX6459" fmla="*/ 668140 w 939786"/>
                  <a:gd name="connsiteY6459" fmla="*/ 690182 h 840509"/>
                  <a:gd name="connsiteX6460" fmla="*/ 666994 w 939786"/>
                  <a:gd name="connsiteY6460" fmla="*/ 694591 h 840509"/>
                  <a:gd name="connsiteX6461" fmla="*/ 665231 w 939786"/>
                  <a:gd name="connsiteY6461" fmla="*/ 695472 h 840509"/>
                  <a:gd name="connsiteX6462" fmla="*/ 662850 w 939786"/>
                  <a:gd name="connsiteY6462" fmla="*/ 694855 h 840509"/>
                  <a:gd name="connsiteX6463" fmla="*/ 661439 w 939786"/>
                  <a:gd name="connsiteY6463" fmla="*/ 693092 h 840509"/>
                  <a:gd name="connsiteX6464" fmla="*/ 659676 w 939786"/>
                  <a:gd name="connsiteY6464" fmla="*/ 697147 h 840509"/>
                  <a:gd name="connsiteX6465" fmla="*/ 657031 w 939786"/>
                  <a:gd name="connsiteY6465" fmla="*/ 696530 h 840509"/>
                  <a:gd name="connsiteX6466" fmla="*/ 655356 w 939786"/>
                  <a:gd name="connsiteY6466" fmla="*/ 696001 h 840509"/>
                  <a:gd name="connsiteX6467" fmla="*/ 653328 w 939786"/>
                  <a:gd name="connsiteY6467" fmla="*/ 695384 h 840509"/>
                  <a:gd name="connsiteX6468" fmla="*/ 650418 w 939786"/>
                  <a:gd name="connsiteY6468" fmla="*/ 697147 h 840509"/>
                  <a:gd name="connsiteX6469" fmla="*/ 647509 w 939786"/>
                  <a:gd name="connsiteY6469" fmla="*/ 697147 h 840509"/>
                  <a:gd name="connsiteX6470" fmla="*/ 644864 w 939786"/>
                  <a:gd name="connsiteY6470" fmla="*/ 697147 h 840509"/>
                  <a:gd name="connsiteX6471" fmla="*/ 642219 w 939786"/>
                  <a:gd name="connsiteY6471" fmla="*/ 697147 h 840509"/>
                  <a:gd name="connsiteX6472" fmla="*/ 640808 w 939786"/>
                  <a:gd name="connsiteY6472" fmla="*/ 697147 h 840509"/>
                  <a:gd name="connsiteX6473" fmla="*/ 637899 w 939786"/>
                  <a:gd name="connsiteY6473" fmla="*/ 696530 h 840509"/>
                  <a:gd name="connsiteX6474" fmla="*/ 635254 w 939786"/>
                  <a:gd name="connsiteY6474" fmla="*/ 698558 h 840509"/>
                  <a:gd name="connsiteX6475" fmla="*/ 633225 w 939786"/>
                  <a:gd name="connsiteY6475" fmla="*/ 699175 h 840509"/>
                  <a:gd name="connsiteX6476" fmla="*/ 631198 w 939786"/>
                  <a:gd name="connsiteY6476" fmla="*/ 698823 h 840509"/>
                  <a:gd name="connsiteX6477" fmla="*/ 629434 w 939786"/>
                  <a:gd name="connsiteY6477" fmla="*/ 699440 h 840509"/>
                  <a:gd name="connsiteX6478" fmla="*/ 623880 w 939786"/>
                  <a:gd name="connsiteY6478" fmla="*/ 699969 h 840509"/>
                  <a:gd name="connsiteX6479" fmla="*/ 626172 w 939786"/>
                  <a:gd name="connsiteY6479" fmla="*/ 699969 h 840509"/>
                  <a:gd name="connsiteX6480" fmla="*/ 624673 w 939786"/>
                  <a:gd name="connsiteY6480" fmla="*/ 699704 h 840509"/>
                  <a:gd name="connsiteX6481" fmla="*/ 620617 w 939786"/>
                  <a:gd name="connsiteY6481" fmla="*/ 702878 h 840509"/>
                  <a:gd name="connsiteX6482" fmla="*/ 621764 w 939786"/>
                  <a:gd name="connsiteY6482" fmla="*/ 699969 h 840509"/>
                  <a:gd name="connsiteX6483" fmla="*/ 621146 w 939786"/>
                  <a:gd name="connsiteY6483" fmla="*/ 701115 h 840509"/>
                  <a:gd name="connsiteX6484" fmla="*/ 616738 w 939786"/>
                  <a:gd name="connsiteY6484" fmla="*/ 701379 h 840509"/>
                  <a:gd name="connsiteX6485" fmla="*/ 614093 w 939786"/>
                  <a:gd name="connsiteY6485" fmla="*/ 704025 h 840509"/>
                  <a:gd name="connsiteX6486" fmla="*/ 613212 w 939786"/>
                  <a:gd name="connsiteY6486" fmla="*/ 705171 h 840509"/>
                  <a:gd name="connsiteX6487" fmla="*/ 612065 w 939786"/>
                  <a:gd name="connsiteY6487" fmla="*/ 706582 h 840509"/>
                  <a:gd name="connsiteX6488" fmla="*/ 609420 w 939786"/>
                  <a:gd name="connsiteY6488" fmla="*/ 707728 h 840509"/>
                  <a:gd name="connsiteX6489" fmla="*/ 605011 w 939786"/>
                  <a:gd name="connsiteY6489" fmla="*/ 711519 h 840509"/>
                  <a:gd name="connsiteX6490" fmla="*/ 605893 w 939786"/>
                  <a:gd name="connsiteY6490" fmla="*/ 711519 h 840509"/>
                  <a:gd name="connsiteX6491" fmla="*/ 601573 w 939786"/>
                  <a:gd name="connsiteY6491" fmla="*/ 713282 h 840509"/>
                  <a:gd name="connsiteX6492" fmla="*/ 597165 w 939786"/>
                  <a:gd name="connsiteY6492" fmla="*/ 719101 h 840509"/>
                  <a:gd name="connsiteX6493" fmla="*/ 600074 w 939786"/>
                  <a:gd name="connsiteY6493" fmla="*/ 716192 h 840509"/>
                  <a:gd name="connsiteX6494" fmla="*/ 599193 w 939786"/>
                  <a:gd name="connsiteY6494" fmla="*/ 717074 h 840509"/>
                  <a:gd name="connsiteX6495" fmla="*/ 595137 w 939786"/>
                  <a:gd name="connsiteY6495" fmla="*/ 719101 h 840509"/>
                  <a:gd name="connsiteX6496" fmla="*/ 592227 w 939786"/>
                  <a:gd name="connsiteY6496" fmla="*/ 719101 h 840509"/>
                  <a:gd name="connsiteX6497" fmla="*/ 591345 w 939786"/>
                  <a:gd name="connsiteY6497" fmla="*/ 719366 h 840509"/>
                  <a:gd name="connsiteX6498" fmla="*/ 589053 w 939786"/>
                  <a:gd name="connsiteY6498" fmla="*/ 720248 h 840509"/>
                  <a:gd name="connsiteX6499" fmla="*/ 587290 w 939786"/>
                  <a:gd name="connsiteY6499" fmla="*/ 721394 h 840509"/>
                  <a:gd name="connsiteX6500" fmla="*/ 585879 w 939786"/>
                  <a:gd name="connsiteY6500" fmla="*/ 723157 h 840509"/>
                  <a:gd name="connsiteX6501" fmla="*/ 584998 w 939786"/>
                  <a:gd name="connsiteY6501" fmla="*/ 724039 h 840509"/>
                  <a:gd name="connsiteX6502" fmla="*/ 584733 w 939786"/>
                  <a:gd name="connsiteY6502" fmla="*/ 726331 h 840509"/>
                  <a:gd name="connsiteX6503" fmla="*/ 582705 w 939786"/>
                  <a:gd name="connsiteY6503" fmla="*/ 728359 h 840509"/>
                  <a:gd name="connsiteX6504" fmla="*/ 580060 w 939786"/>
                  <a:gd name="connsiteY6504" fmla="*/ 726331 h 840509"/>
                  <a:gd name="connsiteX6505" fmla="*/ 579795 w 939786"/>
                  <a:gd name="connsiteY6505" fmla="*/ 724039 h 840509"/>
                  <a:gd name="connsiteX6506" fmla="*/ 575740 w 939786"/>
                  <a:gd name="connsiteY6506" fmla="*/ 722628 h 840509"/>
                  <a:gd name="connsiteX6507" fmla="*/ 573976 w 939786"/>
                  <a:gd name="connsiteY6507" fmla="*/ 721482 h 840509"/>
                  <a:gd name="connsiteX6508" fmla="*/ 573623 w 939786"/>
                  <a:gd name="connsiteY6508" fmla="*/ 719190 h 840509"/>
                  <a:gd name="connsiteX6509" fmla="*/ 569568 w 939786"/>
                  <a:gd name="connsiteY6509" fmla="*/ 715927 h 840509"/>
                  <a:gd name="connsiteX6510" fmla="*/ 568069 w 939786"/>
                  <a:gd name="connsiteY6510" fmla="*/ 714164 h 840509"/>
                  <a:gd name="connsiteX6511" fmla="*/ 566923 w 939786"/>
                  <a:gd name="connsiteY6511" fmla="*/ 712136 h 840509"/>
                  <a:gd name="connsiteX6512" fmla="*/ 560486 w 939786"/>
                  <a:gd name="connsiteY6512" fmla="*/ 706582 h 840509"/>
                  <a:gd name="connsiteX6513" fmla="*/ 559869 w 939786"/>
                  <a:gd name="connsiteY6513" fmla="*/ 707199 h 840509"/>
                  <a:gd name="connsiteX6514" fmla="*/ 560134 w 939786"/>
                  <a:gd name="connsiteY6514" fmla="*/ 708609 h 840509"/>
                  <a:gd name="connsiteX6515" fmla="*/ 563925 w 939786"/>
                  <a:gd name="connsiteY6515" fmla="*/ 713547 h 840509"/>
                  <a:gd name="connsiteX6516" fmla="*/ 563044 w 939786"/>
                  <a:gd name="connsiteY6516" fmla="*/ 713811 h 840509"/>
                  <a:gd name="connsiteX6517" fmla="*/ 561015 w 939786"/>
                  <a:gd name="connsiteY6517" fmla="*/ 710284 h 840509"/>
                  <a:gd name="connsiteX6518" fmla="*/ 558988 w 939786"/>
                  <a:gd name="connsiteY6518" fmla="*/ 709403 h 840509"/>
                  <a:gd name="connsiteX6519" fmla="*/ 556695 w 939786"/>
                  <a:gd name="connsiteY6519" fmla="*/ 707111 h 840509"/>
                  <a:gd name="connsiteX6520" fmla="*/ 556078 w 939786"/>
                  <a:gd name="connsiteY6520" fmla="*/ 705964 h 840509"/>
                  <a:gd name="connsiteX6521" fmla="*/ 555197 w 939786"/>
                  <a:gd name="connsiteY6521" fmla="*/ 705964 h 840509"/>
                  <a:gd name="connsiteX6522" fmla="*/ 552023 w 939786"/>
                  <a:gd name="connsiteY6522" fmla="*/ 706582 h 840509"/>
                  <a:gd name="connsiteX6523" fmla="*/ 549730 w 939786"/>
                  <a:gd name="connsiteY6523" fmla="*/ 708080 h 840509"/>
                  <a:gd name="connsiteX6524" fmla="*/ 547349 w 939786"/>
                  <a:gd name="connsiteY6524" fmla="*/ 709579 h 840509"/>
                  <a:gd name="connsiteX6525" fmla="*/ 546203 w 939786"/>
                  <a:gd name="connsiteY6525" fmla="*/ 711078 h 840509"/>
                  <a:gd name="connsiteX6526" fmla="*/ 540560 w 939786"/>
                  <a:gd name="connsiteY6526" fmla="*/ 710108 h 840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  <a:cxn ang="0">
                    <a:pos x="connsiteX6275" y="connsiteY6275"/>
                  </a:cxn>
                  <a:cxn ang="0">
                    <a:pos x="connsiteX6276" y="connsiteY6276"/>
                  </a:cxn>
                  <a:cxn ang="0">
                    <a:pos x="connsiteX6277" y="connsiteY6277"/>
                  </a:cxn>
                  <a:cxn ang="0">
                    <a:pos x="connsiteX6278" y="connsiteY6278"/>
                  </a:cxn>
                  <a:cxn ang="0">
                    <a:pos x="connsiteX6279" y="connsiteY6279"/>
                  </a:cxn>
                  <a:cxn ang="0">
                    <a:pos x="connsiteX6280" y="connsiteY6280"/>
                  </a:cxn>
                  <a:cxn ang="0">
                    <a:pos x="connsiteX6281" y="connsiteY6281"/>
                  </a:cxn>
                  <a:cxn ang="0">
                    <a:pos x="connsiteX6282" y="connsiteY6282"/>
                  </a:cxn>
                  <a:cxn ang="0">
                    <a:pos x="connsiteX6283" y="connsiteY6283"/>
                  </a:cxn>
                  <a:cxn ang="0">
                    <a:pos x="connsiteX6284" y="connsiteY6284"/>
                  </a:cxn>
                  <a:cxn ang="0">
                    <a:pos x="connsiteX6285" y="connsiteY6285"/>
                  </a:cxn>
                  <a:cxn ang="0">
                    <a:pos x="connsiteX6286" y="connsiteY6286"/>
                  </a:cxn>
                  <a:cxn ang="0">
                    <a:pos x="connsiteX6287" y="connsiteY6287"/>
                  </a:cxn>
                  <a:cxn ang="0">
                    <a:pos x="connsiteX6288" y="connsiteY6288"/>
                  </a:cxn>
                  <a:cxn ang="0">
                    <a:pos x="connsiteX6289" y="connsiteY6289"/>
                  </a:cxn>
                  <a:cxn ang="0">
                    <a:pos x="connsiteX6290" y="connsiteY6290"/>
                  </a:cxn>
                  <a:cxn ang="0">
                    <a:pos x="connsiteX6291" y="connsiteY6291"/>
                  </a:cxn>
                  <a:cxn ang="0">
                    <a:pos x="connsiteX6292" y="connsiteY6292"/>
                  </a:cxn>
                  <a:cxn ang="0">
                    <a:pos x="connsiteX6293" y="connsiteY6293"/>
                  </a:cxn>
                  <a:cxn ang="0">
                    <a:pos x="connsiteX6294" y="connsiteY6294"/>
                  </a:cxn>
                  <a:cxn ang="0">
                    <a:pos x="connsiteX6295" y="connsiteY6295"/>
                  </a:cxn>
                  <a:cxn ang="0">
                    <a:pos x="connsiteX6296" y="connsiteY6296"/>
                  </a:cxn>
                  <a:cxn ang="0">
                    <a:pos x="connsiteX6297" y="connsiteY6297"/>
                  </a:cxn>
                  <a:cxn ang="0">
                    <a:pos x="connsiteX6298" y="connsiteY6298"/>
                  </a:cxn>
                  <a:cxn ang="0">
                    <a:pos x="connsiteX6299" y="connsiteY6299"/>
                  </a:cxn>
                  <a:cxn ang="0">
                    <a:pos x="connsiteX6300" y="connsiteY6300"/>
                  </a:cxn>
                  <a:cxn ang="0">
                    <a:pos x="connsiteX6301" y="connsiteY6301"/>
                  </a:cxn>
                  <a:cxn ang="0">
                    <a:pos x="connsiteX6302" y="connsiteY6302"/>
                  </a:cxn>
                  <a:cxn ang="0">
                    <a:pos x="connsiteX6303" y="connsiteY6303"/>
                  </a:cxn>
                  <a:cxn ang="0">
                    <a:pos x="connsiteX6304" y="connsiteY6304"/>
                  </a:cxn>
                  <a:cxn ang="0">
                    <a:pos x="connsiteX6305" y="connsiteY6305"/>
                  </a:cxn>
                  <a:cxn ang="0">
                    <a:pos x="connsiteX6306" y="connsiteY6306"/>
                  </a:cxn>
                  <a:cxn ang="0">
                    <a:pos x="connsiteX6307" y="connsiteY6307"/>
                  </a:cxn>
                  <a:cxn ang="0">
                    <a:pos x="connsiteX6308" y="connsiteY6308"/>
                  </a:cxn>
                  <a:cxn ang="0">
                    <a:pos x="connsiteX6309" y="connsiteY6309"/>
                  </a:cxn>
                  <a:cxn ang="0">
                    <a:pos x="connsiteX6310" y="connsiteY6310"/>
                  </a:cxn>
                  <a:cxn ang="0">
                    <a:pos x="connsiteX6311" y="connsiteY6311"/>
                  </a:cxn>
                  <a:cxn ang="0">
                    <a:pos x="connsiteX6312" y="connsiteY6312"/>
                  </a:cxn>
                  <a:cxn ang="0">
                    <a:pos x="connsiteX6313" y="connsiteY6313"/>
                  </a:cxn>
                  <a:cxn ang="0">
                    <a:pos x="connsiteX6314" y="connsiteY6314"/>
                  </a:cxn>
                  <a:cxn ang="0">
                    <a:pos x="connsiteX6315" y="connsiteY6315"/>
                  </a:cxn>
                  <a:cxn ang="0">
                    <a:pos x="connsiteX6316" y="connsiteY6316"/>
                  </a:cxn>
                  <a:cxn ang="0">
                    <a:pos x="connsiteX6317" y="connsiteY6317"/>
                  </a:cxn>
                  <a:cxn ang="0">
                    <a:pos x="connsiteX6318" y="connsiteY6318"/>
                  </a:cxn>
                  <a:cxn ang="0">
                    <a:pos x="connsiteX6319" y="connsiteY6319"/>
                  </a:cxn>
                  <a:cxn ang="0">
                    <a:pos x="connsiteX6320" y="connsiteY6320"/>
                  </a:cxn>
                  <a:cxn ang="0">
                    <a:pos x="connsiteX6321" y="connsiteY6321"/>
                  </a:cxn>
                  <a:cxn ang="0">
                    <a:pos x="connsiteX6322" y="connsiteY6322"/>
                  </a:cxn>
                  <a:cxn ang="0">
                    <a:pos x="connsiteX6323" y="connsiteY6323"/>
                  </a:cxn>
                  <a:cxn ang="0">
                    <a:pos x="connsiteX6324" y="connsiteY6324"/>
                  </a:cxn>
                  <a:cxn ang="0">
                    <a:pos x="connsiteX6325" y="connsiteY6325"/>
                  </a:cxn>
                  <a:cxn ang="0">
                    <a:pos x="connsiteX6326" y="connsiteY6326"/>
                  </a:cxn>
                  <a:cxn ang="0">
                    <a:pos x="connsiteX6327" y="connsiteY6327"/>
                  </a:cxn>
                  <a:cxn ang="0">
                    <a:pos x="connsiteX6328" y="connsiteY6328"/>
                  </a:cxn>
                  <a:cxn ang="0">
                    <a:pos x="connsiteX6329" y="connsiteY6329"/>
                  </a:cxn>
                  <a:cxn ang="0">
                    <a:pos x="connsiteX6330" y="connsiteY6330"/>
                  </a:cxn>
                  <a:cxn ang="0">
                    <a:pos x="connsiteX6331" y="connsiteY6331"/>
                  </a:cxn>
                  <a:cxn ang="0">
                    <a:pos x="connsiteX6332" y="connsiteY6332"/>
                  </a:cxn>
                  <a:cxn ang="0">
                    <a:pos x="connsiteX6333" y="connsiteY6333"/>
                  </a:cxn>
                  <a:cxn ang="0">
                    <a:pos x="connsiteX6334" y="connsiteY6334"/>
                  </a:cxn>
                  <a:cxn ang="0">
                    <a:pos x="connsiteX6335" y="connsiteY6335"/>
                  </a:cxn>
                  <a:cxn ang="0">
                    <a:pos x="connsiteX6336" y="connsiteY6336"/>
                  </a:cxn>
                  <a:cxn ang="0">
                    <a:pos x="connsiteX6337" y="connsiteY6337"/>
                  </a:cxn>
                  <a:cxn ang="0">
                    <a:pos x="connsiteX6338" y="connsiteY6338"/>
                  </a:cxn>
                  <a:cxn ang="0">
                    <a:pos x="connsiteX6339" y="connsiteY6339"/>
                  </a:cxn>
                  <a:cxn ang="0">
                    <a:pos x="connsiteX6340" y="connsiteY6340"/>
                  </a:cxn>
                  <a:cxn ang="0">
                    <a:pos x="connsiteX6341" y="connsiteY6341"/>
                  </a:cxn>
                  <a:cxn ang="0">
                    <a:pos x="connsiteX6342" y="connsiteY6342"/>
                  </a:cxn>
                  <a:cxn ang="0">
                    <a:pos x="connsiteX6343" y="connsiteY6343"/>
                  </a:cxn>
                  <a:cxn ang="0">
                    <a:pos x="connsiteX6344" y="connsiteY6344"/>
                  </a:cxn>
                  <a:cxn ang="0">
                    <a:pos x="connsiteX6345" y="connsiteY6345"/>
                  </a:cxn>
                  <a:cxn ang="0">
                    <a:pos x="connsiteX6346" y="connsiteY6346"/>
                  </a:cxn>
                  <a:cxn ang="0">
                    <a:pos x="connsiteX6347" y="connsiteY6347"/>
                  </a:cxn>
                  <a:cxn ang="0">
                    <a:pos x="connsiteX6348" y="connsiteY6348"/>
                  </a:cxn>
                  <a:cxn ang="0">
                    <a:pos x="connsiteX6349" y="connsiteY6349"/>
                  </a:cxn>
                  <a:cxn ang="0">
                    <a:pos x="connsiteX6350" y="connsiteY6350"/>
                  </a:cxn>
                  <a:cxn ang="0">
                    <a:pos x="connsiteX6351" y="connsiteY6351"/>
                  </a:cxn>
                  <a:cxn ang="0">
                    <a:pos x="connsiteX6352" y="connsiteY6352"/>
                  </a:cxn>
                  <a:cxn ang="0">
                    <a:pos x="connsiteX6353" y="connsiteY6353"/>
                  </a:cxn>
                  <a:cxn ang="0">
                    <a:pos x="connsiteX6354" y="connsiteY6354"/>
                  </a:cxn>
                  <a:cxn ang="0">
                    <a:pos x="connsiteX6355" y="connsiteY6355"/>
                  </a:cxn>
                  <a:cxn ang="0">
                    <a:pos x="connsiteX6356" y="connsiteY6356"/>
                  </a:cxn>
                  <a:cxn ang="0">
                    <a:pos x="connsiteX6357" y="connsiteY6357"/>
                  </a:cxn>
                  <a:cxn ang="0">
                    <a:pos x="connsiteX6358" y="connsiteY6358"/>
                  </a:cxn>
                  <a:cxn ang="0">
                    <a:pos x="connsiteX6359" y="connsiteY6359"/>
                  </a:cxn>
                  <a:cxn ang="0">
                    <a:pos x="connsiteX6360" y="connsiteY6360"/>
                  </a:cxn>
                  <a:cxn ang="0">
                    <a:pos x="connsiteX6361" y="connsiteY6361"/>
                  </a:cxn>
                  <a:cxn ang="0">
                    <a:pos x="connsiteX6362" y="connsiteY6362"/>
                  </a:cxn>
                  <a:cxn ang="0">
                    <a:pos x="connsiteX6363" y="connsiteY6363"/>
                  </a:cxn>
                  <a:cxn ang="0">
                    <a:pos x="connsiteX6364" y="connsiteY6364"/>
                  </a:cxn>
                  <a:cxn ang="0">
                    <a:pos x="connsiteX6365" y="connsiteY6365"/>
                  </a:cxn>
                  <a:cxn ang="0">
                    <a:pos x="connsiteX6366" y="connsiteY6366"/>
                  </a:cxn>
                  <a:cxn ang="0">
                    <a:pos x="connsiteX6367" y="connsiteY6367"/>
                  </a:cxn>
                  <a:cxn ang="0">
                    <a:pos x="connsiteX6368" y="connsiteY6368"/>
                  </a:cxn>
                  <a:cxn ang="0">
                    <a:pos x="connsiteX6369" y="connsiteY6369"/>
                  </a:cxn>
                  <a:cxn ang="0">
                    <a:pos x="connsiteX6370" y="connsiteY6370"/>
                  </a:cxn>
                  <a:cxn ang="0">
                    <a:pos x="connsiteX6371" y="connsiteY6371"/>
                  </a:cxn>
                  <a:cxn ang="0">
                    <a:pos x="connsiteX6372" y="connsiteY6372"/>
                  </a:cxn>
                  <a:cxn ang="0">
                    <a:pos x="connsiteX6373" y="connsiteY6373"/>
                  </a:cxn>
                  <a:cxn ang="0">
                    <a:pos x="connsiteX6374" y="connsiteY6374"/>
                  </a:cxn>
                  <a:cxn ang="0">
                    <a:pos x="connsiteX6375" y="connsiteY6375"/>
                  </a:cxn>
                  <a:cxn ang="0">
                    <a:pos x="connsiteX6376" y="connsiteY6376"/>
                  </a:cxn>
                  <a:cxn ang="0">
                    <a:pos x="connsiteX6377" y="connsiteY6377"/>
                  </a:cxn>
                  <a:cxn ang="0">
                    <a:pos x="connsiteX6378" y="connsiteY6378"/>
                  </a:cxn>
                  <a:cxn ang="0">
                    <a:pos x="connsiteX6379" y="connsiteY6379"/>
                  </a:cxn>
                  <a:cxn ang="0">
                    <a:pos x="connsiteX6380" y="connsiteY6380"/>
                  </a:cxn>
                  <a:cxn ang="0">
                    <a:pos x="connsiteX6381" y="connsiteY6381"/>
                  </a:cxn>
                  <a:cxn ang="0">
                    <a:pos x="connsiteX6382" y="connsiteY6382"/>
                  </a:cxn>
                  <a:cxn ang="0">
                    <a:pos x="connsiteX6383" y="connsiteY6383"/>
                  </a:cxn>
                  <a:cxn ang="0">
                    <a:pos x="connsiteX6384" y="connsiteY6384"/>
                  </a:cxn>
                  <a:cxn ang="0">
                    <a:pos x="connsiteX6385" y="connsiteY6385"/>
                  </a:cxn>
                  <a:cxn ang="0">
                    <a:pos x="connsiteX6386" y="connsiteY6386"/>
                  </a:cxn>
                  <a:cxn ang="0">
                    <a:pos x="connsiteX6387" y="connsiteY6387"/>
                  </a:cxn>
                  <a:cxn ang="0">
                    <a:pos x="connsiteX6388" y="connsiteY6388"/>
                  </a:cxn>
                  <a:cxn ang="0">
                    <a:pos x="connsiteX6389" y="connsiteY6389"/>
                  </a:cxn>
                  <a:cxn ang="0">
                    <a:pos x="connsiteX6390" y="connsiteY6390"/>
                  </a:cxn>
                  <a:cxn ang="0">
                    <a:pos x="connsiteX6391" y="connsiteY6391"/>
                  </a:cxn>
                  <a:cxn ang="0">
                    <a:pos x="connsiteX6392" y="connsiteY6392"/>
                  </a:cxn>
                  <a:cxn ang="0">
                    <a:pos x="connsiteX6393" y="connsiteY6393"/>
                  </a:cxn>
                  <a:cxn ang="0">
                    <a:pos x="connsiteX6394" y="connsiteY6394"/>
                  </a:cxn>
                  <a:cxn ang="0">
                    <a:pos x="connsiteX6395" y="connsiteY6395"/>
                  </a:cxn>
                  <a:cxn ang="0">
                    <a:pos x="connsiteX6396" y="connsiteY6396"/>
                  </a:cxn>
                  <a:cxn ang="0">
                    <a:pos x="connsiteX6397" y="connsiteY6397"/>
                  </a:cxn>
                  <a:cxn ang="0">
                    <a:pos x="connsiteX6398" y="connsiteY6398"/>
                  </a:cxn>
                  <a:cxn ang="0">
                    <a:pos x="connsiteX6399" y="connsiteY6399"/>
                  </a:cxn>
                  <a:cxn ang="0">
                    <a:pos x="connsiteX6400" y="connsiteY6400"/>
                  </a:cxn>
                  <a:cxn ang="0">
                    <a:pos x="connsiteX6401" y="connsiteY6401"/>
                  </a:cxn>
                  <a:cxn ang="0">
                    <a:pos x="connsiteX6402" y="connsiteY6402"/>
                  </a:cxn>
                  <a:cxn ang="0">
                    <a:pos x="connsiteX6403" y="connsiteY6403"/>
                  </a:cxn>
                  <a:cxn ang="0">
                    <a:pos x="connsiteX6404" y="connsiteY6404"/>
                  </a:cxn>
                  <a:cxn ang="0">
                    <a:pos x="connsiteX6405" y="connsiteY6405"/>
                  </a:cxn>
                  <a:cxn ang="0">
                    <a:pos x="connsiteX6406" y="connsiteY6406"/>
                  </a:cxn>
                  <a:cxn ang="0">
                    <a:pos x="connsiteX6407" y="connsiteY6407"/>
                  </a:cxn>
                  <a:cxn ang="0">
                    <a:pos x="connsiteX6408" y="connsiteY6408"/>
                  </a:cxn>
                  <a:cxn ang="0">
                    <a:pos x="connsiteX6409" y="connsiteY6409"/>
                  </a:cxn>
                  <a:cxn ang="0">
                    <a:pos x="connsiteX6410" y="connsiteY6410"/>
                  </a:cxn>
                  <a:cxn ang="0">
                    <a:pos x="connsiteX6411" y="connsiteY6411"/>
                  </a:cxn>
                  <a:cxn ang="0">
                    <a:pos x="connsiteX6412" y="connsiteY6412"/>
                  </a:cxn>
                  <a:cxn ang="0">
                    <a:pos x="connsiteX6413" y="connsiteY6413"/>
                  </a:cxn>
                  <a:cxn ang="0">
                    <a:pos x="connsiteX6414" y="connsiteY6414"/>
                  </a:cxn>
                  <a:cxn ang="0">
                    <a:pos x="connsiteX6415" y="connsiteY6415"/>
                  </a:cxn>
                  <a:cxn ang="0">
                    <a:pos x="connsiteX6416" y="connsiteY6416"/>
                  </a:cxn>
                  <a:cxn ang="0">
                    <a:pos x="connsiteX6417" y="connsiteY6417"/>
                  </a:cxn>
                  <a:cxn ang="0">
                    <a:pos x="connsiteX6418" y="connsiteY6418"/>
                  </a:cxn>
                  <a:cxn ang="0">
                    <a:pos x="connsiteX6419" y="connsiteY6419"/>
                  </a:cxn>
                  <a:cxn ang="0">
                    <a:pos x="connsiteX6420" y="connsiteY6420"/>
                  </a:cxn>
                  <a:cxn ang="0">
                    <a:pos x="connsiteX6421" y="connsiteY6421"/>
                  </a:cxn>
                  <a:cxn ang="0">
                    <a:pos x="connsiteX6422" y="connsiteY6422"/>
                  </a:cxn>
                  <a:cxn ang="0">
                    <a:pos x="connsiteX6423" y="connsiteY6423"/>
                  </a:cxn>
                  <a:cxn ang="0">
                    <a:pos x="connsiteX6424" y="connsiteY6424"/>
                  </a:cxn>
                  <a:cxn ang="0">
                    <a:pos x="connsiteX6425" y="connsiteY6425"/>
                  </a:cxn>
                  <a:cxn ang="0">
                    <a:pos x="connsiteX6426" y="connsiteY6426"/>
                  </a:cxn>
                  <a:cxn ang="0">
                    <a:pos x="connsiteX6427" y="connsiteY6427"/>
                  </a:cxn>
                  <a:cxn ang="0">
                    <a:pos x="connsiteX6428" y="connsiteY6428"/>
                  </a:cxn>
                  <a:cxn ang="0">
                    <a:pos x="connsiteX6429" y="connsiteY6429"/>
                  </a:cxn>
                  <a:cxn ang="0">
                    <a:pos x="connsiteX6430" y="connsiteY6430"/>
                  </a:cxn>
                  <a:cxn ang="0">
                    <a:pos x="connsiteX6431" y="connsiteY6431"/>
                  </a:cxn>
                  <a:cxn ang="0">
                    <a:pos x="connsiteX6432" y="connsiteY6432"/>
                  </a:cxn>
                  <a:cxn ang="0">
                    <a:pos x="connsiteX6433" y="connsiteY6433"/>
                  </a:cxn>
                  <a:cxn ang="0">
                    <a:pos x="connsiteX6434" y="connsiteY6434"/>
                  </a:cxn>
                  <a:cxn ang="0">
                    <a:pos x="connsiteX6435" y="connsiteY6435"/>
                  </a:cxn>
                  <a:cxn ang="0">
                    <a:pos x="connsiteX6436" y="connsiteY6436"/>
                  </a:cxn>
                  <a:cxn ang="0">
                    <a:pos x="connsiteX6437" y="connsiteY6437"/>
                  </a:cxn>
                  <a:cxn ang="0">
                    <a:pos x="connsiteX6438" y="connsiteY6438"/>
                  </a:cxn>
                  <a:cxn ang="0">
                    <a:pos x="connsiteX6439" y="connsiteY6439"/>
                  </a:cxn>
                  <a:cxn ang="0">
                    <a:pos x="connsiteX6440" y="connsiteY6440"/>
                  </a:cxn>
                  <a:cxn ang="0">
                    <a:pos x="connsiteX6441" y="connsiteY6441"/>
                  </a:cxn>
                  <a:cxn ang="0">
                    <a:pos x="connsiteX6442" y="connsiteY6442"/>
                  </a:cxn>
                  <a:cxn ang="0">
                    <a:pos x="connsiteX6443" y="connsiteY6443"/>
                  </a:cxn>
                  <a:cxn ang="0">
                    <a:pos x="connsiteX6444" y="connsiteY6444"/>
                  </a:cxn>
                  <a:cxn ang="0">
                    <a:pos x="connsiteX6445" y="connsiteY6445"/>
                  </a:cxn>
                  <a:cxn ang="0">
                    <a:pos x="connsiteX6446" y="connsiteY6446"/>
                  </a:cxn>
                  <a:cxn ang="0">
                    <a:pos x="connsiteX6447" y="connsiteY6447"/>
                  </a:cxn>
                  <a:cxn ang="0">
                    <a:pos x="connsiteX6448" y="connsiteY6448"/>
                  </a:cxn>
                  <a:cxn ang="0">
                    <a:pos x="connsiteX6449" y="connsiteY6449"/>
                  </a:cxn>
                  <a:cxn ang="0">
                    <a:pos x="connsiteX6450" y="connsiteY6450"/>
                  </a:cxn>
                  <a:cxn ang="0">
                    <a:pos x="connsiteX6451" y="connsiteY6451"/>
                  </a:cxn>
                  <a:cxn ang="0">
                    <a:pos x="connsiteX6452" y="connsiteY6452"/>
                  </a:cxn>
                  <a:cxn ang="0">
                    <a:pos x="connsiteX6453" y="connsiteY6453"/>
                  </a:cxn>
                  <a:cxn ang="0">
                    <a:pos x="connsiteX6454" y="connsiteY6454"/>
                  </a:cxn>
                  <a:cxn ang="0">
                    <a:pos x="connsiteX6455" y="connsiteY6455"/>
                  </a:cxn>
                  <a:cxn ang="0">
                    <a:pos x="connsiteX6456" y="connsiteY6456"/>
                  </a:cxn>
                  <a:cxn ang="0">
                    <a:pos x="connsiteX6457" y="connsiteY6457"/>
                  </a:cxn>
                  <a:cxn ang="0">
                    <a:pos x="connsiteX6458" y="connsiteY6458"/>
                  </a:cxn>
                  <a:cxn ang="0">
                    <a:pos x="connsiteX6459" y="connsiteY6459"/>
                  </a:cxn>
                  <a:cxn ang="0">
                    <a:pos x="connsiteX6460" y="connsiteY6460"/>
                  </a:cxn>
                  <a:cxn ang="0">
                    <a:pos x="connsiteX6461" y="connsiteY6461"/>
                  </a:cxn>
                  <a:cxn ang="0">
                    <a:pos x="connsiteX6462" y="connsiteY6462"/>
                  </a:cxn>
                  <a:cxn ang="0">
                    <a:pos x="connsiteX6463" y="connsiteY6463"/>
                  </a:cxn>
                  <a:cxn ang="0">
                    <a:pos x="connsiteX6464" y="connsiteY6464"/>
                  </a:cxn>
                  <a:cxn ang="0">
                    <a:pos x="connsiteX6465" y="connsiteY6465"/>
                  </a:cxn>
                  <a:cxn ang="0">
                    <a:pos x="connsiteX6466" y="connsiteY6466"/>
                  </a:cxn>
                  <a:cxn ang="0">
                    <a:pos x="connsiteX6467" y="connsiteY6467"/>
                  </a:cxn>
                  <a:cxn ang="0">
                    <a:pos x="connsiteX6468" y="connsiteY6468"/>
                  </a:cxn>
                  <a:cxn ang="0">
                    <a:pos x="connsiteX6469" y="connsiteY6469"/>
                  </a:cxn>
                  <a:cxn ang="0">
                    <a:pos x="connsiteX6470" y="connsiteY6470"/>
                  </a:cxn>
                  <a:cxn ang="0">
                    <a:pos x="connsiteX6471" y="connsiteY6471"/>
                  </a:cxn>
                  <a:cxn ang="0">
                    <a:pos x="connsiteX6472" y="connsiteY6472"/>
                  </a:cxn>
                  <a:cxn ang="0">
                    <a:pos x="connsiteX6473" y="connsiteY6473"/>
                  </a:cxn>
                  <a:cxn ang="0">
                    <a:pos x="connsiteX6474" y="connsiteY6474"/>
                  </a:cxn>
                  <a:cxn ang="0">
                    <a:pos x="connsiteX6475" y="connsiteY6475"/>
                  </a:cxn>
                  <a:cxn ang="0">
                    <a:pos x="connsiteX6476" y="connsiteY6476"/>
                  </a:cxn>
                  <a:cxn ang="0">
                    <a:pos x="connsiteX6477" y="connsiteY6477"/>
                  </a:cxn>
                  <a:cxn ang="0">
                    <a:pos x="connsiteX6478" y="connsiteY6478"/>
                  </a:cxn>
                  <a:cxn ang="0">
                    <a:pos x="connsiteX6479" y="connsiteY6479"/>
                  </a:cxn>
                  <a:cxn ang="0">
                    <a:pos x="connsiteX6480" y="connsiteY6480"/>
                  </a:cxn>
                  <a:cxn ang="0">
                    <a:pos x="connsiteX6481" y="connsiteY6481"/>
                  </a:cxn>
                  <a:cxn ang="0">
                    <a:pos x="connsiteX6482" y="connsiteY6482"/>
                  </a:cxn>
                  <a:cxn ang="0">
                    <a:pos x="connsiteX6483" y="connsiteY6483"/>
                  </a:cxn>
                  <a:cxn ang="0">
                    <a:pos x="connsiteX6484" y="connsiteY6484"/>
                  </a:cxn>
                  <a:cxn ang="0">
                    <a:pos x="connsiteX6485" y="connsiteY6485"/>
                  </a:cxn>
                  <a:cxn ang="0">
                    <a:pos x="connsiteX6486" y="connsiteY6486"/>
                  </a:cxn>
                  <a:cxn ang="0">
                    <a:pos x="connsiteX6487" y="connsiteY6487"/>
                  </a:cxn>
                  <a:cxn ang="0">
                    <a:pos x="connsiteX6488" y="connsiteY6488"/>
                  </a:cxn>
                  <a:cxn ang="0">
                    <a:pos x="connsiteX6489" y="connsiteY6489"/>
                  </a:cxn>
                  <a:cxn ang="0">
                    <a:pos x="connsiteX6490" y="connsiteY6490"/>
                  </a:cxn>
                  <a:cxn ang="0">
                    <a:pos x="connsiteX6491" y="connsiteY6491"/>
                  </a:cxn>
                  <a:cxn ang="0">
                    <a:pos x="connsiteX6492" y="connsiteY6492"/>
                  </a:cxn>
                  <a:cxn ang="0">
                    <a:pos x="connsiteX6493" y="connsiteY6493"/>
                  </a:cxn>
                  <a:cxn ang="0">
                    <a:pos x="connsiteX6494" y="connsiteY6494"/>
                  </a:cxn>
                  <a:cxn ang="0">
                    <a:pos x="connsiteX6495" y="connsiteY6495"/>
                  </a:cxn>
                  <a:cxn ang="0">
                    <a:pos x="connsiteX6496" y="connsiteY6496"/>
                  </a:cxn>
                  <a:cxn ang="0">
                    <a:pos x="connsiteX6497" y="connsiteY6497"/>
                  </a:cxn>
                  <a:cxn ang="0">
                    <a:pos x="connsiteX6498" y="connsiteY6498"/>
                  </a:cxn>
                  <a:cxn ang="0">
                    <a:pos x="connsiteX6499" y="connsiteY6499"/>
                  </a:cxn>
                  <a:cxn ang="0">
                    <a:pos x="connsiteX6500" y="connsiteY6500"/>
                  </a:cxn>
                  <a:cxn ang="0">
                    <a:pos x="connsiteX6501" y="connsiteY6501"/>
                  </a:cxn>
                  <a:cxn ang="0">
                    <a:pos x="connsiteX6502" y="connsiteY6502"/>
                  </a:cxn>
                  <a:cxn ang="0">
                    <a:pos x="connsiteX6503" y="connsiteY6503"/>
                  </a:cxn>
                  <a:cxn ang="0">
                    <a:pos x="connsiteX6504" y="connsiteY6504"/>
                  </a:cxn>
                  <a:cxn ang="0">
                    <a:pos x="connsiteX6505" y="connsiteY6505"/>
                  </a:cxn>
                  <a:cxn ang="0">
                    <a:pos x="connsiteX6506" y="connsiteY6506"/>
                  </a:cxn>
                  <a:cxn ang="0">
                    <a:pos x="connsiteX6507" y="connsiteY6507"/>
                  </a:cxn>
                  <a:cxn ang="0">
                    <a:pos x="connsiteX6508" y="connsiteY6508"/>
                  </a:cxn>
                  <a:cxn ang="0">
                    <a:pos x="connsiteX6509" y="connsiteY6509"/>
                  </a:cxn>
                  <a:cxn ang="0">
                    <a:pos x="connsiteX6510" y="connsiteY6510"/>
                  </a:cxn>
                  <a:cxn ang="0">
                    <a:pos x="connsiteX6511" y="connsiteY6511"/>
                  </a:cxn>
                  <a:cxn ang="0">
                    <a:pos x="connsiteX6512" y="connsiteY6512"/>
                  </a:cxn>
                  <a:cxn ang="0">
                    <a:pos x="connsiteX6513" y="connsiteY6513"/>
                  </a:cxn>
                  <a:cxn ang="0">
                    <a:pos x="connsiteX6514" y="connsiteY6514"/>
                  </a:cxn>
                  <a:cxn ang="0">
                    <a:pos x="connsiteX6515" y="connsiteY6515"/>
                  </a:cxn>
                  <a:cxn ang="0">
                    <a:pos x="connsiteX6516" y="connsiteY6516"/>
                  </a:cxn>
                  <a:cxn ang="0">
                    <a:pos x="connsiteX6517" y="connsiteY6517"/>
                  </a:cxn>
                  <a:cxn ang="0">
                    <a:pos x="connsiteX6518" y="connsiteY6518"/>
                  </a:cxn>
                  <a:cxn ang="0">
                    <a:pos x="connsiteX6519" y="connsiteY6519"/>
                  </a:cxn>
                  <a:cxn ang="0">
                    <a:pos x="connsiteX6520" y="connsiteY6520"/>
                  </a:cxn>
                  <a:cxn ang="0">
                    <a:pos x="connsiteX6521" y="connsiteY6521"/>
                  </a:cxn>
                  <a:cxn ang="0">
                    <a:pos x="connsiteX6522" y="connsiteY6522"/>
                  </a:cxn>
                  <a:cxn ang="0">
                    <a:pos x="connsiteX6523" y="connsiteY6523"/>
                  </a:cxn>
                  <a:cxn ang="0">
                    <a:pos x="connsiteX6524" y="connsiteY6524"/>
                  </a:cxn>
                  <a:cxn ang="0">
                    <a:pos x="connsiteX6525" y="connsiteY6525"/>
                  </a:cxn>
                  <a:cxn ang="0">
                    <a:pos x="connsiteX6526" y="connsiteY6526"/>
                  </a:cxn>
                </a:cxnLst>
                <a:rect l="l" t="t" r="r" b="b"/>
                <a:pathLst>
                  <a:path w="939786" h="840509">
                    <a:moveTo>
                      <a:pt x="538180" y="837864"/>
                    </a:moveTo>
                    <a:lnTo>
                      <a:pt x="537034" y="837247"/>
                    </a:lnTo>
                    <a:lnTo>
                      <a:pt x="535623" y="837511"/>
                    </a:lnTo>
                    <a:lnTo>
                      <a:pt x="536240" y="835484"/>
                    </a:lnTo>
                    <a:lnTo>
                      <a:pt x="538533" y="833720"/>
                    </a:lnTo>
                    <a:lnTo>
                      <a:pt x="542060" y="831428"/>
                    </a:lnTo>
                    <a:lnTo>
                      <a:pt x="542324" y="831428"/>
                    </a:lnTo>
                    <a:lnTo>
                      <a:pt x="541707" y="834073"/>
                    </a:lnTo>
                    <a:lnTo>
                      <a:pt x="541707" y="834690"/>
                    </a:lnTo>
                    <a:lnTo>
                      <a:pt x="541354" y="835043"/>
                    </a:lnTo>
                    <a:lnTo>
                      <a:pt x="538709" y="837335"/>
                    </a:lnTo>
                    <a:lnTo>
                      <a:pt x="538444" y="837600"/>
                    </a:lnTo>
                    <a:lnTo>
                      <a:pt x="538092" y="837600"/>
                    </a:lnTo>
                    <a:lnTo>
                      <a:pt x="538092" y="837864"/>
                    </a:lnTo>
                    <a:close/>
                    <a:moveTo>
                      <a:pt x="543735" y="831428"/>
                    </a:moveTo>
                    <a:lnTo>
                      <a:pt x="543999" y="828783"/>
                    </a:lnTo>
                    <a:lnTo>
                      <a:pt x="543999" y="828518"/>
                    </a:lnTo>
                    <a:lnTo>
                      <a:pt x="545763" y="827372"/>
                    </a:lnTo>
                    <a:lnTo>
                      <a:pt x="546644" y="826755"/>
                    </a:lnTo>
                    <a:lnTo>
                      <a:pt x="546909" y="826490"/>
                    </a:lnTo>
                    <a:lnTo>
                      <a:pt x="546909" y="827637"/>
                    </a:lnTo>
                    <a:lnTo>
                      <a:pt x="546909" y="827901"/>
                    </a:lnTo>
                    <a:lnTo>
                      <a:pt x="546027" y="829929"/>
                    </a:lnTo>
                    <a:lnTo>
                      <a:pt x="545674" y="830194"/>
                    </a:lnTo>
                    <a:lnTo>
                      <a:pt x="545410" y="830811"/>
                    </a:lnTo>
                    <a:lnTo>
                      <a:pt x="545145" y="831075"/>
                    </a:lnTo>
                    <a:lnTo>
                      <a:pt x="543735" y="831428"/>
                    </a:lnTo>
                    <a:close/>
                    <a:moveTo>
                      <a:pt x="565689" y="818291"/>
                    </a:moveTo>
                    <a:lnTo>
                      <a:pt x="565953" y="818026"/>
                    </a:lnTo>
                    <a:lnTo>
                      <a:pt x="567452" y="815998"/>
                    </a:lnTo>
                    <a:lnTo>
                      <a:pt x="567716" y="815381"/>
                    </a:lnTo>
                    <a:lnTo>
                      <a:pt x="567981" y="815117"/>
                    </a:lnTo>
                    <a:lnTo>
                      <a:pt x="568245" y="815117"/>
                    </a:lnTo>
                    <a:lnTo>
                      <a:pt x="569656" y="814235"/>
                    </a:lnTo>
                    <a:lnTo>
                      <a:pt x="570009" y="814235"/>
                    </a:lnTo>
                    <a:lnTo>
                      <a:pt x="570626" y="814235"/>
                    </a:lnTo>
                    <a:lnTo>
                      <a:pt x="570890" y="814235"/>
                    </a:lnTo>
                    <a:lnTo>
                      <a:pt x="570626" y="815998"/>
                    </a:lnTo>
                    <a:lnTo>
                      <a:pt x="570626" y="816263"/>
                    </a:lnTo>
                    <a:lnTo>
                      <a:pt x="570361" y="816263"/>
                    </a:lnTo>
                    <a:lnTo>
                      <a:pt x="570097" y="816263"/>
                    </a:lnTo>
                    <a:lnTo>
                      <a:pt x="568951" y="816263"/>
                    </a:lnTo>
                    <a:lnTo>
                      <a:pt x="566923" y="818026"/>
                    </a:lnTo>
                    <a:lnTo>
                      <a:pt x="565689" y="818291"/>
                    </a:lnTo>
                    <a:close/>
                    <a:moveTo>
                      <a:pt x="578826" y="808328"/>
                    </a:moveTo>
                    <a:lnTo>
                      <a:pt x="577944" y="807799"/>
                    </a:lnTo>
                    <a:lnTo>
                      <a:pt x="577679" y="807446"/>
                    </a:lnTo>
                    <a:lnTo>
                      <a:pt x="577944" y="807181"/>
                    </a:lnTo>
                    <a:lnTo>
                      <a:pt x="577944" y="806917"/>
                    </a:lnTo>
                    <a:lnTo>
                      <a:pt x="578208" y="806917"/>
                    </a:lnTo>
                    <a:lnTo>
                      <a:pt x="578473" y="806917"/>
                    </a:lnTo>
                    <a:lnTo>
                      <a:pt x="579090" y="806917"/>
                    </a:lnTo>
                    <a:lnTo>
                      <a:pt x="579707" y="807181"/>
                    </a:lnTo>
                    <a:lnTo>
                      <a:pt x="579443" y="808063"/>
                    </a:lnTo>
                    <a:lnTo>
                      <a:pt x="579178" y="808328"/>
                    </a:lnTo>
                    <a:lnTo>
                      <a:pt x="578826" y="808328"/>
                    </a:lnTo>
                    <a:close/>
                    <a:moveTo>
                      <a:pt x="523103" y="839628"/>
                    </a:moveTo>
                    <a:lnTo>
                      <a:pt x="521693" y="840245"/>
                    </a:lnTo>
                    <a:lnTo>
                      <a:pt x="520811" y="840509"/>
                    </a:lnTo>
                    <a:lnTo>
                      <a:pt x="521075" y="839892"/>
                    </a:lnTo>
                    <a:lnTo>
                      <a:pt x="521075" y="839628"/>
                    </a:lnTo>
                    <a:lnTo>
                      <a:pt x="520811" y="839628"/>
                    </a:lnTo>
                    <a:lnTo>
                      <a:pt x="520546" y="839628"/>
                    </a:lnTo>
                    <a:lnTo>
                      <a:pt x="519929" y="839628"/>
                    </a:lnTo>
                    <a:lnTo>
                      <a:pt x="518431" y="839275"/>
                    </a:lnTo>
                    <a:lnTo>
                      <a:pt x="517548" y="838129"/>
                    </a:lnTo>
                    <a:lnTo>
                      <a:pt x="516138" y="837864"/>
                    </a:lnTo>
                    <a:lnTo>
                      <a:pt x="511730" y="837511"/>
                    </a:lnTo>
                    <a:lnTo>
                      <a:pt x="511465" y="837511"/>
                    </a:lnTo>
                    <a:lnTo>
                      <a:pt x="511465" y="837247"/>
                    </a:lnTo>
                    <a:lnTo>
                      <a:pt x="511465" y="836982"/>
                    </a:lnTo>
                    <a:lnTo>
                      <a:pt x="511730" y="836718"/>
                    </a:lnTo>
                    <a:lnTo>
                      <a:pt x="511730" y="836453"/>
                    </a:lnTo>
                    <a:lnTo>
                      <a:pt x="511465" y="836453"/>
                    </a:lnTo>
                    <a:lnTo>
                      <a:pt x="511201" y="836453"/>
                    </a:lnTo>
                    <a:lnTo>
                      <a:pt x="508291" y="837071"/>
                    </a:lnTo>
                    <a:lnTo>
                      <a:pt x="507145" y="836806"/>
                    </a:lnTo>
                    <a:lnTo>
                      <a:pt x="506880" y="833897"/>
                    </a:lnTo>
                    <a:lnTo>
                      <a:pt x="506880" y="833632"/>
                    </a:lnTo>
                    <a:lnTo>
                      <a:pt x="507145" y="833632"/>
                    </a:lnTo>
                    <a:lnTo>
                      <a:pt x="507145" y="833367"/>
                    </a:lnTo>
                    <a:lnTo>
                      <a:pt x="508908" y="832750"/>
                    </a:lnTo>
                    <a:lnTo>
                      <a:pt x="510672" y="833015"/>
                    </a:lnTo>
                    <a:lnTo>
                      <a:pt x="510936" y="833015"/>
                    </a:lnTo>
                    <a:lnTo>
                      <a:pt x="510936" y="833279"/>
                    </a:lnTo>
                    <a:lnTo>
                      <a:pt x="511553" y="833544"/>
                    </a:lnTo>
                    <a:lnTo>
                      <a:pt x="512699" y="834161"/>
                    </a:lnTo>
                    <a:lnTo>
                      <a:pt x="512964" y="834161"/>
                    </a:lnTo>
                    <a:lnTo>
                      <a:pt x="512964" y="833897"/>
                    </a:lnTo>
                    <a:lnTo>
                      <a:pt x="513228" y="833897"/>
                    </a:lnTo>
                    <a:lnTo>
                      <a:pt x="514110" y="832398"/>
                    </a:lnTo>
                    <a:lnTo>
                      <a:pt x="514110" y="832133"/>
                    </a:lnTo>
                    <a:lnTo>
                      <a:pt x="513493" y="831252"/>
                    </a:lnTo>
                    <a:lnTo>
                      <a:pt x="513228" y="831252"/>
                    </a:lnTo>
                    <a:lnTo>
                      <a:pt x="512964" y="831252"/>
                    </a:lnTo>
                    <a:lnTo>
                      <a:pt x="512347" y="832133"/>
                    </a:lnTo>
                    <a:lnTo>
                      <a:pt x="512082" y="832398"/>
                    </a:lnTo>
                    <a:lnTo>
                      <a:pt x="511730" y="832398"/>
                    </a:lnTo>
                    <a:lnTo>
                      <a:pt x="511465" y="832662"/>
                    </a:lnTo>
                    <a:lnTo>
                      <a:pt x="506792" y="831780"/>
                    </a:lnTo>
                    <a:lnTo>
                      <a:pt x="506527" y="831780"/>
                    </a:lnTo>
                    <a:lnTo>
                      <a:pt x="506263" y="831516"/>
                    </a:lnTo>
                    <a:lnTo>
                      <a:pt x="506880" y="828607"/>
                    </a:lnTo>
                    <a:lnTo>
                      <a:pt x="506880" y="827460"/>
                    </a:lnTo>
                    <a:lnTo>
                      <a:pt x="506880" y="823405"/>
                    </a:lnTo>
                    <a:lnTo>
                      <a:pt x="506880" y="823140"/>
                    </a:lnTo>
                    <a:lnTo>
                      <a:pt x="506616" y="822876"/>
                    </a:lnTo>
                    <a:lnTo>
                      <a:pt x="506351" y="822876"/>
                    </a:lnTo>
                    <a:lnTo>
                      <a:pt x="506087" y="822876"/>
                    </a:lnTo>
                    <a:lnTo>
                      <a:pt x="505469" y="823140"/>
                    </a:lnTo>
                    <a:lnTo>
                      <a:pt x="505205" y="822876"/>
                    </a:lnTo>
                    <a:lnTo>
                      <a:pt x="505469" y="821377"/>
                    </a:lnTo>
                    <a:lnTo>
                      <a:pt x="505734" y="819966"/>
                    </a:lnTo>
                    <a:lnTo>
                      <a:pt x="506351" y="818202"/>
                    </a:lnTo>
                    <a:lnTo>
                      <a:pt x="507497" y="815293"/>
                    </a:lnTo>
                    <a:lnTo>
                      <a:pt x="507497" y="815029"/>
                    </a:lnTo>
                    <a:lnTo>
                      <a:pt x="507233" y="814147"/>
                    </a:lnTo>
                    <a:lnTo>
                      <a:pt x="506351" y="814147"/>
                    </a:lnTo>
                    <a:lnTo>
                      <a:pt x="506351" y="813882"/>
                    </a:lnTo>
                    <a:lnTo>
                      <a:pt x="508379" y="810091"/>
                    </a:lnTo>
                    <a:lnTo>
                      <a:pt x="509790" y="806564"/>
                    </a:lnTo>
                    <a:lnTo>
                      <a:pt x="510054" y="806035"/>
                    </a:lnTo>
                    <a:lnTo>
                      <a:pt x="510936" y="804889"/>
                    </a:lnTo>
                    <a:lnTo>
                      <a:pt x="511818" y="804360"/>
                    </a:lnTo>
                    <a:lnTo>
                      <a:pt x="511818" y="805154"/>
                    </a:lnTo>
                    <a:lnTo>
                      <a:pt x="511818" y="805506"/>
                    </a:lnTo>
                    <a:lnTo>
                      <a:pt x="512435" y="806652"/>
                    </a:lnTo>
                    <a:lnTo>
                      <a:pt x="513052" y="807270"/>
                    </a:lnTo>
                    <a:lnTo>
                      <a:pt x="513581" y="807887"/>
                    </a:lnTo>
                    <a:lnTo>
                      <a:pt x="513934" y="808240"/>
                    </a:lnTo>
                    <a:lnTo>
                      <a:pt x="513581" y="808504"/>
                    </a:lnTo>
                    <a:lnTo>
                      <a:pt x="513581" y="808769"/>
                    </a:lnTo>
                    <a:lnTo>
                      <a:pt x="513317" y="809033"/>
                    </a:lnTo>
                    <a:lnTo>
                      <a:pt x="512699" y="809915"/>
                    </a:lnTo>
                    <a:lnTo>
                      <a:pt x="512699" y="810179"/>
                    </a:lnTo>
                    <a:lnTo>
                      <a:pt x="512170" y="811061"/>
                    </a:lnTo>
                    <a:lnTo>
                      <a:pt x="512170" y="811325"/>
                    </a:lnTo>
                    <a:lnTo>
                      <a:pt x="512170" y="811590"/>
                    </a:lnTo>
                    <a:lnTo>
                      <a:pt x="512170" y="811855"/>
                    </a:lnTo>
                    <a:lnTo>
                      <a:pt x="512170" y="811590"/>
                    </a:lnTo>
                    <a:lnTo>
                      <a:pt x="516579" y="807534"/>
                    </a:lnTo>
                    <a:lnTo>
                      <a:pt x="516843" y="807270"/>
                    </a:lnTo>
                    <a:lnTo>
                      <a:pt x="516314" y="806652"/>
                    </a:lnTo>
                    <a:lnTo>
                      <a:pt x="516050" y="806652"/>
                    </a:lnTo>
                    <a:lnTo>
                      <a:pt x="515785" y="806652"/>
                    </a:lnTo>
                    <a:lnTo>
                      <a:pt x="515256" y="806652"/>
                    </a:lnTo>
                    <a:lnTo>
                      <a:pt x="514110" y="802861"/>
                    </a:lnTo>
                    <a:lnTo>
                      <a:pt x="514110" y="801980"/>
                    </a:lnTo>
                    <a:lnTo>
                      <a:pt x="514727" y="801715"/>
                    </a:lnTo>
                    <a:lnTo>
                      <a:pt x="514992" y="801451"/>
                    </a:lnTo>
                    <a:lnTo>
                      <a:pt x="514992" y="800834"/>
                    </a:lnTo>
                    <a:lnTo>
                      <a:pt x="515344" y="800569"/>
                    </a:lnTo>
                    <a:lnTo>
                      <a:pt x="515609" y="800304"/>
                    </a:lnTo>
                    <a:lnTo>
                      <a:pt x="515873" y="799423"/>
                    </a:lnTo>
                    <a:lnTo>
                      <a:pt x="515873" y="799158"/>
                    </a:lnTo>
                    <a:lnTo>
                      <a:pt x="516138" y="796778"/>
                    </a:lnTo>
                    <a:lnTo>
                      <a:pt x="514992" y="794485"/>
                    </a:lnTo>
                    <a:lnTo>
                      <a:pt x="514992" y="790958"/>
                    </a:lnTo>
                    <a:lnTo>
                      <a:pt x="515873" y="786638"/>
                    </a:lnTo>
                    <a:lnTo>
                      <a:pt x="516755" y="782583"/>
                    </a:lnTo>
                    <a:lnTo>
                      <a:pt x="517020" y="780555"/>
                    </a:lnTo>
                    <a:lnTo>
                      <a:pt x="517284" y="778527"/>
                    </a:lnTo>
                    <a:lnTo>
                      <a:pt x="517284" y="778262"/>
                    </a:lnTo>
                    <a:lnTo>
                      <a:pt x="517637" y="778262"/>
                    </a:lnTo>
                    <a:lnTo>
                      <a:pt x="517637" y="777910"/>
                    </a:lnTo>
                    <a:lnTo>
                      <a:pt x="517901" y="777910"/>
                    </a:lnTo>
                    <a:lnTo>
                      <a:pt x="517901" y="777645"/>
                    </a:lnTo>
                    <a:lnTo>
                      <a:pt x="518254" y="777292"/>
                    </a:lnTo>
                    <a:lnTo>
                      <a:pt x="518254" y="777028"/>
                    </a:lnTo>
                    <a:lnTo>
                      <a:pt x="519400" y="774736"/>
                    </a:lnTo>
                    <a:lnTo>
                      <a:pt x="519400" y="774471"/>
                    </a:lnTo>
                    <a:lnTo>
                      <a:pt x="519400" y="774207"/>
                    </a:lnTo>
                    <a:lnTo>
                      <a:pt x="519664" y="773942"/>
                    </a:lnTo>
                    <a:lnTo>
                      <a:pt x="519400" y="773325"/>
                    </a:lnTo>
                    <a:lnTo>
                      <a:pt x="520546" y="770944"/>
                    </a:lnTo>
                    <a:lnTo>
                      <a:pt x="520811" y="770680"/>
                    </a:lnTo>
                    <a:lnTo>
                      <a:pt x="521693" y="770063"/>
                    </a:lnTo>
                    <a:lnTo>
                      <a:pt x="521957" y="770063"/>
                    </a:lnTo>
                    <a:lnTo>
                      <a:pt x="522222" y="769798"/>
                    </a:lnTo>
                    <a:lnTo>
                      <a:pt x="522751" y="769798"/>
                    </a:lnTo>
                    <a:lnTo>
                      <a:pt x="523103" y="769534"/>
                    </a:lnTo>
                    <a:lnTo>
                      <a:pt x="523103" y="769269"/>
                    </a:lnTo>
                    <a:lnTo>
                      <a:pt x="523720" y="769005"/>
                    </a:lnTo>
                    <a:lnTo>
                      <a:pt x="524338" y="768123"/>
                    </a:lnTo>
                    <a:lnTo>
                      <a:pt x="525219" y="766360"/>
                    </a:lnTo>
                    <a:lnTo>
                      <a:pt x="526983" y="765478"/>
                    </a:lnTo>
                    <a:lnTo>
                      <a:pt x="531391" y="766095"/>
                    </a:lnTo>
                    <a:lnTo>
                      <a:pt x="532008" y="766977"/>
                    </a:lnTo>
                    <a:lnTo>
                      <a:pt x="532272" y="767594"/>
                    </a:lnTo>
                    <a:lnTo>
                      <a:pt x="532626" y="767858"/>
                    </a:lnTo>
                    <a:lnTo>
                      <a:pt x="532890" y="768123"/>
                    </a:lnTo>
                    <a:lnTo>
                      <a:pt x="533243" y="768123"/>
                    </a:lnTo>
                    <a:lnTo>
                      <a:pt x="536769" y="767506"/>
                    </a:lnTo>
                    <a:lnTo>
                      <a:pt x="537386" y="768387"/>
                    </a:lnTo>
                    <a:lnTo>
                      <a:pt x="537651" y="768652"/>
                    </a:lnTo>
                    <a:lnTo>
                      <a:pt x="540825" y="769798"/>
                    </a:lnTo>
                    <a:lnTo>
                      <a:pt x="543735" y="772179"/>
                    </a:lnTo>
                    <a:lnTo>
                      <a:pt x="545498" y="773589"/>
                    </a:lnTo>
                    <a:lnTo>
                      <a:pt x="549906" y="776499"/>
                    </a:lnTo>
                    <a:lnTo>
                      <a:pt x="550259" y="776499"/>
                    </a:lnTo>
                    <a:lnTo>
                      <a:pt x="550523" y="776499"/>
                    </a:lnTo>
                    <a:lnTo>
                      <a:pt x="551141" y="776764"/>
                    </a:lnTo>
                    <a:lnTo>
                      <a:pt x="553698" y="777028"/>
                    </a:lnTo>
                    <a:lnTo>
                      <a:pt x="554315" y="777028"/>
                    </a:lnTo>
                    <a:lnTo>
                      <a:pt x="554932" y="777028"/>
                    </a:lnTo>
                    <a:lnTo>
                      <a:pt x="555549" y="776764"/>
                    </a:lnTo>
                    <a:lnTo>
                      <a:pt x="555814" y="776764"/>
                    </a:lnTo>
                    <a:lnTo>
                      <a:pt x="556695" y="776499"/>
                    </a:lnTo>
                    <a:lnTo>
                      <a:pt x="557313" y="776235"/>
                    </a:lnTo>
                    <a:lnTo>
                      <a:pt x="557930" y="777116"/>
                    </a:lnTo>
                    <a:lnTo>
                      <a:pt x="558282" y="777381"/>
                    </a:lnTo>
                    <a:lnTo>
                      <a:pt x="558547" y="776499"/>
                    </a:lnTo>
                    <a:lnTo>
                      <a:pt x="558811" y="776499"/>
                    </a:lnTo>
                    <a:lnTo>
                      <a:pt x="558811" y="776235"/>
                    </a:lnTo>
                    <a:lnTo>
                      <a:pt x="561456" y="774736"/>
                    </a:lnTo>
                    <a:lnTo>
                      <a:pt x="562955" y="774471"/>
                    </a:lnTo>
                    <a:lnTo>
                      <a:pt x="563573" y="774471"/>
                    </a:lnTo>
                    <a:lnTo>
                      <a:pt x="563837" y="774471"/>
                    </a:lnTo>
                    <a:lnTo>
                      <a:pt x="564102" y="774471"/>
                    </a:lnTo>
                    <a:lnTo>
                      <a:pt x="564102" y="774736"/>
                    </a:lnTo>
                    <a:lnTo>
                      <a:pt x="564102" y="775353"/>
                    </a:lnTo>
                    <a:lnTo>
                      <a:pt x="563837" y="775970"/>
                    </a:lnTo>
                    <a:lnTo>
                      <a:pt x="563837" y="776235"/>
                    </a:lnTo>
                    <a:lnTo>
                      <a:pt x="563573" y="776235"/>
                    </a:lnTo>
                    <a:lnTo>
                      <a:pt x="563308" y="776499"/>
                    </a:lnTo>
                    <a:lnTo>
                      <a:pt x="563308" y="776764"/>
                    </a:lnTo>
                    <a:lnTo>
                      <a:pt x="563573" y="776764"/>
                    </a:lnTo>
                    <a:lnTo>
                      <a:pt x="564454" y="776764"/>
                    </a:lnTo>
                    <a:lnTo>
                      <a:pt x="566218" y="777028"/>
                    </a:lnTo>
                    <a:lnTo>
                      <a:pt x="566218" y="776764"/>
                    </a:lnTo>
                    <a:lnTo>
                      <a:pt x="566218" y="776146"/>
                    </a:lnTo>
                    <a:lnTo>
                      <a:pt x="566218" y="775882"/>
                    </a:lnTo>
                    <a:lnTo>
                      <a:pt x="565953" y="775882"/>
                    </a:lnTo>
                    <a:lnTo>
                      <a:pt x="565689" y="775882"/>
                    </a:lnTo>
                    <a:lnTo>
                      <a:pt x="564454" y="775882"/>
                    </a:lnTo>
                    <a:lnTo>
                      <a:pt x="563837" y="775617"/>
                    </a:lnTo>
                    <a:lnTo>
                      <a:pt x="563573" y="775353"/>
                    </a:lnTo>
                    <a:lnTo>
                      <a:pt x="563837" y="775088"/>
                    </a:lnTo>
                    <a:lnTo>
                      <a:pt x="564454" y="774207"/>
                    </a:lnTo>
                    <a:lnTo>
                      <a:pt x="564719" y="773942"/>
                    </a:lnTo>
                    <a:lnTo>
                      <a:pt x="565600" y="773325"/>
                    </a:lnTo>
                    <a:lnTo>
                      <a:pt x="565865" y="773325"/>
                    </a:lnTo>
                    <a:lnTo>
                      <a:pt x="566129" y="773325"/>
                    </a:lnTo>
                    <a:lnTo>
                      <a:pt x="569921" y="771914"/>
                    </a:lnTo>
                    <a:lnTo>
                      <a:pt x="571067" y="772443"/>
                    </a:lnTo>
                    <a:lnTo>
                      <a:pt x="571332" y="772443"/>
                    </a:lnTo>
                    <a:lnTo>
                      <a:pt x="571596" y="772708"/>
                    </a:lnTo>
                    <a:lnTo>
                      <a:pt x="571861" y="772708"/>
                    </a:lnTo>
                    <a:lnTo>
                      <a:pt x="572125" y="772708"/>
                    </a:lnTo>
                    <a:lnTo>
                      <a:pt x="572390" y="772708"/>
                    </a:lnTo>
                    <a:lnTo>
                      <a:pt x="572654" y="772708"/>
                    </a:lnTo>
                    <a:lnTo>
                      <a:pt x="573271" y="772708"/>
                    </a:lnTo>
                    <a:lnTo>
                      <a:pt x="576710" y="771914"/>
                    </a:lnTo>
                    <a:lnTo>
                      <a:pt x="577327" y="773060"/>
                    </a:lnTo>
                    <a:lnTo>
                      <a:pt x="577591" y="773060"/>
                    </a:lnTo>
                    <a:lnTo>
                      <a:pt x="578737" y="772796"/>
                    </a:lnTo>
                    <a:lnTo>
                      <a:pt x="579355" y="772531"/>
                    </a:lnTo>
                    <a:lnTo>
                      <a:pt x="579355" y="772267"/>
                    </a:lnTo>
                    <a:lnTo>
                      <a:pt x="579972" y="772002"/>
                    </a:lnTo>
                    <a:lnTo>
                      <a:pt x="580501" y="771385"/>
                    </a:lnTo>
                    <a:lnTo>
                      <a:pt x="581647" y="770768"/>
                    </a:lnTo>
                    <a:lnTo>
                      <a:pt x="582793" y="769622"/>
                    </a:lnTo>
                    <a:lnTo>
                      <a:pt x="583058" y="769357"/>
                    </a:lnTo>
                    <a:lnTo>
                      <a:pt x="583675" y="769093"/>
                    </a:lnTo>
                    <a:lnTo>
                      <a:pt x="583675" y="768828"/>
                    </a:lnTo>
                    <a:lnTo>
                      <a:pt x="584204" y="768828"/>
                    </a:lnTo>
                    <a:lnTo>
                      <a:pt x="584204" y="768564"/>
                    </a:lnTo>
                    <a:lnTo>
                      <a:pt x="585702" y="768299"/>
                    </a:lnTo>
                    <a:lnTo>
                      <a:pt x="585967" y="768564"/>
                    </a:lnTo>
                    <a:lnTo>
                      <a:pt x="585967" y="768828"/>
                    </a:lnTo>
                    <a:lnTo>
                      <a:pt x="585967" y="769093"/>
                    </a:lnTo>
                    <a:lnTo>
                      <a:pt x="585967" y="769357"/>
                    </a:lnTo>
                    <a:lnTo>
                      <a:pt x="587466" y="769975"/>
                    </a:lnTo>
                    <a:lnTo>
                      <a:pt x="587731" y="769975"/>
                    </a:lnTo>
                    <a:lnTo>
                      <a:pt x="587995" y="769975"/>
                    </a:lnTo>
                    <a:lnTo>
                      <a:pt x="588260" y="769975"/>
                    </a:lnTo>
                    <a:lnTo>
                      <a:pt x="588789" y="769710"/>
                    </a:lnTo>
                    <a:lnTo>
                      <a:pt x="589406" y="769445"/>
                    </a:lnTo>
                    <a:lnTo>
                      <a:pt x="589670" y="769445"/>
                    </a:lnTo>
                    <a:lnTo>
                      <a:pt x="590287" y="769181"/>
                    </a:lnTo>
                    <a:lnTo>
                      <a:pt x="590905" y="768564"/>
                    </a:lnTo>
                    <a:lnTo>
                      <a:pt x="591169" y="768299"/>
                    </a:lnTo>
                    <a:lnTo>
                      <a:pt x="591434" y="768035"/>
                    </a:lnTo>
                    <a:lnTo>
                      <a:pt x="591698" y="767770"/>
                    </a:lnTo>
                    <a:lnTo>
                      <a:pt x="591963" y="767506"/>
                    </a:lnTo>
                    <a:lnTo>
                      <a:pt x="592580" y="766889"/>
                    </a:lnTo>
                    <a:lnTo>
                      <a:pt x="592580" y="766624"/>
                    </a:lnTo>
                    <a:lnTo>
                      <a:pt x="592844" y="766624"/>
                    </a:lnTo>
                    <a:lnTo>
                      <a:pt x="593109" y="766360"/>
                    </a:lnTo>
                    <a:lnTo>
                      <a:pt x="593374" y="766360"/>
                    </a:lnTo>
                    <a:lnTo>
                      <a:pt x="593990" y="766360"/>
                    </a:lnTo>
                    <a:lnTo>
                      <a:pt x="594255" y="766360"/>
                    </a:lnTo>
                    <a:lnTo>
                      <a:pt x="595137" y="766889"/>
                    </a:lnTo>
                    <a:lnTo>
                      <a:pt x="596900" y="768916"/>
                    </a:lnTo>
                    <a:lnTo>
                      <a:pt x="597165" y="770415"/>
                    </a:lnTo>
                    <a:lnTo>
                      <a:pt x="596900" y="771914"/>
                    </a:lnTo>
                    <a:lnTo>
                      <a:pt x="596900" y="772531"/>
                    </a:lnTo>
                    <a:lnTo>
                      <a:pt x="596900" y="772796"/>
                    </a:lnTo>
                    <a:lnTo>
                      <a:pt x="596548" y="773060"/>
                    </a:lnTo>
                    <a:lnTo>
                      <a:pt x="594784" y="774824"/>
                    </a:lnTo>
                    <a:lnTo>
                      <a:pt x="593903" y="775706"/>
                    </a:lnTo>
                    <a:lnTo>
                      <a:pt x="593550" y="775970"/>
                    </a:lnTo>
                    <a:lnTo>
                      <a:pt x="593021" y="776587"/>
                    </a:lnTo>
                    <a:lnTo>
                      <a:pt x="592756" y="777204"/>
                    </a:lnTo>
                    <a:lnTo>
                      <a:pt x="592492" y="777204"/>
                    </a:lnTo>
                    <a:lnTo>
                      <a:pt x="592227" y="777821"/>
                    </a:lnTo>
                    <a:lnTo>
                      <a:pt x="591963" y="778174"/>
                    </a:lnTo>
                    <a:lnTo>
                      <a:pt x="591698" y="778791"/>
                    </a:lnTo>
                    <a:lnTo>
                      <a:pt x="591963" y="779056"/>
                    </a:lnTo>
                    <a:lnTo>
                      <a:pt x="591963" y="779673"/>
                    </a:lnTo>
                    <a:lnTo>
                      <a:pt x="591963" y="779937"/>
                    </a:lnTo>
                    <a:lnTo>
                      <a:pt x="590816" y="781701"/>
                    </a:lnTo>
                    <a:lnTo>
                      <a:pt x="588789" y="783993"/>
                    </a:lnTo>
                    <a:lnTo>
                      <a:pt x="588260" y="784610"/>
                    </a:lnTo>
                    <a:lnTo>
                      <a:pt x="587995" y="784875"/>
                    </a:lnTo>
                    <a:lnTo>
                      <a:pt x="587731" y="785139"/>
                    </a:lnTo>
                    <a:lnTo>
                      <a:pt x="586849" y="786903"/>
                    </a:lnTo>
                    <a:lnTo>
                      <a:pt x="586849" y="787167"/>
                    </a:lnTo>
                    <a:lnTo>
                      <a:pt x="586849" y="787432"/>
                    </a:lnTo>
                    <a:lnTo>
                      <a:pt x="586849" y="787696"/>
                    </a:lnTo>
                    <a:lnTo>
                      <a:pt x="586585" y="787961"/>
                    </a:lnTo>
                    <a:lnTo>
                      <a:pt x="586585" y="788225"/>
                    </a:lnTo>
                    <a:lnTo>
                      <a:pt x="586320" y="788843"/>
                    </a:lnTo>
                    <a:lnTo>
                      <a:pt x="584027" y="791752"/>
                    </a:lnTo>
                    <a:lnTo>
                      <a:pt x="582882" y="792898"/>
                    </a:lnTo>
                    <a:lnTo>
                      <a:pt x="582617" y="793427"/>
                    </a:lnTo>
                    <a:lnTo>
                      <a:pt x="582000" y="793780"/>
                    </a:lnTo>
                    <a:lnTo>
                      <a:pt x="582000" y="794044"/>
                    </a:lnTo>
                    <a:lnTo>
                      <a:pt x="579090" y="799599"/>
                    </a:lnTo>
                    <a:lnTo>
                      <a:pt x="578826" y="800216"/>
                    </a:lnTo>
                    <a:lnTo>
                      <a:pt x="578826" y="799599"/>
                    </a:lnTo>
                    <a:lnTo>
                      <a:pt x="578826" y="799864"/>
                    </a:lnTo>
                    <a:lnTo>
                      <a:pt x="578826" y="800128"/>
                    </a:lnTo>
                    <a:lnTo>
                      <a:pt x="579090" y="800393"/>
                    </a:lnTo>
                    <a:lnTo>
                      <a:pt x="579090" y="800745"/>
                    </a:lnTo>
                    <a:lnTo>
                      <a:pt x="577327" y="803390"/>
                    </a:lnTo>
                    <a:lnTo>
                      <a:pt x="577062" y="803655"/>
                    </a:lnTo>
                    <a:lnTo>
                      <a:pt x="577062" y="803919"/>
                    </a:lnTo>
                    <a:lnTo>
                      <a:pt x="576533" y="804184"/>
                    </a:lnTo>
                    <a:lnTo>
                      <a:pt x="575916" y="804713"/>
                    </a:lnTo>
                    <a:lnTo>
                      <a:pt x="575299" y="805065"/>
                    </a:lnTo>
                    <a:lnTo>
                      <a:pt x="574946" y="805065"/>
                    </a:lnTo>
                    <a:lnTo>
                      <a:pt x="574681" y="804448"/>
                    </a:lnTo>
                    <a:lnTo>
                      <a:pt x="574946" y="803919"/>
                    </a:lnTo>
                    <a:lnTo>
                      <a:pt x="575563" y="803302"/>
                    </a:lnTo>
                    <a:lnTo>
                      <a:pt x="575828" y="803302"/>
                    </a:lnTo>
                    <a:lnTo>
                      <a:pt x="576092" y="803038"/>
                    </a:lnTo>
                    <a:lnTo>
                      <a:pt x="576445" y="802773"/>
                    </a:lnTo>
                    <a:lnTo>
                      <a:pt x="577327" y="801627"/>
                    </a:lnTo>
                    <a:lnTo>
                      <a:pt x="578208" y="797836"/>
                    </a:lnTo>
                    <a:lnTo>
                      <a:pt x="578473" y="797836"/>
                    </a:lnTo>
                    <a:lnTo>
                      <a:pt x="578473" y="796337"/>
                    </a:lnTo>
                    <a:lnTo>
                      <a:pt x="578208" y="796337"/>
                    </a:lnTo>
                    <a:lnTo>
                      <a:pt x="577944" y="796337"/>
                    </a:lnTo>
                    <a:lnTo>
                      <a:pt x="573271" y="800745"/>
                    </a:lnTo>
                    <a:lnTo>
                      <a:pt x="573006" y="801010"/>
                    </a:lnTo>
                    <a:lnTo>
                      <a:pt x="572654" y="801274"/>
                    </a:lnTo>
                    <a:lnTo>
                      <a:pt x="564454" y="811149"/>
                    </a:lnTo>
                    <a:lnTo>
                      <a:pt x="564454" y="811414"/>
                    </a:lnTo>
                    <a:lnTo>
                      <a:pt x="563044" y="812031"/>
                    </a:lnTo>
                    <a:lnTo>
                      <a:pt x="562779" y="812295"/>
                    </a:lnTo>
                    <a:lnTo>
                      <a:pt x="561633" y="813794"/>
                    </a:lnTo>
                    <a:lnTo>
                      <a:pt x="561368" y="814676"/>
                    </a:lnTo>
                    <a:lnTo>
                      <a:pt x="560751" y="815205"/>
                    </a:lnTo>
                    <a:lnTo>
                      <a:pt x="560134" y="816351"/>
                    </a:lnTo>
                    <a:lnTo>
                      <a:pt x="559252" y="816968"/>
                    </a:lnTo>
                    <a:lnTo>
                      <a:pt x="558900" y="816968"/>
                    </a:lnTo>
                    <a:lnTo>
                      <a:pt x="558282" y="817233"/>
                    </a:lnTo>
                    <a:lnTo>
                      <a:pt x="558018" y="817497"/>
                    </a:lnTo>
                    <a:lnTo>
                      <a:pt x="557753" y="817497"/>
                    </a:lnTo>
                    <a:lnTo>
                      <a:pt x="557489" y="817762"/>
                    </a:lnTo>
                    <a:lnTo>
                      <a:pt x="555197" y="820054"/>
                    </a:lnTo>
                    <a:lnTo>
                      <a:pt x="554844" y="820319"/>
                    </a:lnTo>
                    <a:lnTo>
                      <a:pt x="554844" y="820583"/>
                    </a:lnTo>
                    <a:lnTo>
                      <a:pt x="555197" y="820583"/>
                    </a:lnTo>
                    <a:lnTo>
                      <a:pt x="555726" y="820583"/>
                    </a:lnTo>
                    <a:lnTo>
                      <a:pt x="555990" y="820583"/>
                    </a:lnTo>
                    <a:lnTo>
                      <a:pt x="556255" y="820583"/>
                    </a:lnTo>
                    <a:lnTo>
                      <a:pt x="555990" y="820319"/>
                    </a:lnTo>
                    <a:lnTo>
                      <a:pt x="555990" y="820054"/>
                    </a:lnTo>
                    <a:lnTo>
                      <a:pt x="555990" y="819790"/>
                    </a:lnTo>
                    <a:lnTo>
                      <a:pt x="556255" y="819790"/>
                    </a:lnTo>
                    <a:lnTo>
                      <a:pt x="556255" y="819525"/>
                    </a:lnTo>
                    <a:lnTo>
                      <a:pt x="556872" y="819525"/>
                    </a:lnTo>
                    <a:lnTo>
                      <a:pt x="556872" y="819261"/>
                    </a:lnTo>
                    <a:lnTo>
                      <a:pt x="557224" y="819525"/>
                    </a:lnTo>
                    <a:lnTo>
                      <a:pt x="557753" y="820142"/>
                    </a:lnTo>
                    <a:lnTo>
                      <a:pt x="557753" y="820407"/>
                    </a:lnTo>
                    <a:lnTo>
                      <a:pt x="557753" y="820936"/>
                    </a:lnTo>
                    <a:lnTo>
                      <a:pt x="557753" y="821288"/>
                    </a:lnTo>
                    <a:lnTo>
                      <a:pt x="556607" y="822787"/>
                    </a:lnTo>
                    <a:lnTo>
                      <a:pt x="556607" y="823052"/>
                    </a:lnTo>
                    <a:lnTo>
                      <a:pt x="556343" y="823052"/>
                    </a:lnTo>
                    <a:lnTo>
                      <a:pt x="555726" y="823316"/>
                    </a:lnTo>
                    <a:lnTo>
                      <a:pt x="555461" y="823316"/>
                    </a:lnTo>
                    <a:lnTo>
                      <a:pt x="555197" y="823581"/>
                    </a:lnTo>
                    <a:lnTo>
                      <a:pt x="554844" y="823845"/>
                    </a:lnTo>
                    <a:lnTo>
                      <a:pt x="553698" y="825609"/>
                    </a:lnTo>
                    <a:lnTo>
                      <a:pt x="553698" y="825873"/>
                    </a:lnTo>
                    <a:lnTo>
                      <a:pt x="553433" y="826755"/>
                    </a:lnTo>
                    <a:lnTo>
                      <a:pt x="553168" y="827901"/>
                    </a:lnTo>
                    <a:lnTo>
                      <a:pt x="552287" y="829400"/>
                    </a:lnTo>
                    <a:lnTo>
                      <a:pt x="552023" y="829400"/>
                    </a:lnTo>
                    <a:lnTo>
                      <a:pt x="551758" y="829400"/>
                    </a:lnTo>
                    <a:lnTo>
                      <a:pt x="551494" y="829400"/>
                    </a:lnTo>
                    <a:lnTo>
                      <a:pt x="550876" y="828254"/>
                    </a:lnTo>
                    <a:lnTo>
                      <a:pt x="550876" y="827901"/>
                    </a:lnTo>
                    <a:lnTo>
                      <a:pt x="548848" y="828783"/>
                    </a:lnTo>
                    <a:lnTo>
                      <a:pt x="547438" y="829929"/>
                    </a:lnTo>
                    <a:lnTo>
                      <a:pt x="547085" y="827637"/>
                    </a:lnTo>
                    <a:lnTo>
                      <a:pt x="547438" y="825344"/>
                    </a:lnTo>
                    <a:lnTo>
                      <a:pt x="547967" y="824110"/>
                    </a:lnTo>
                    <a:lnTo>
                      <a:pt x="547967" y="823845"/>
                    </a:lnTo>
                    <a:lnTo>
                      <a:pt x="548319" y="823845"/>
                    </a:lnTo>
                    <a:lnTo>
                      <a:pt x="550347" y="822082"/>
                    </a:lnTo>
                    <a:lnTo>
                      <a:pt x="550612" y="821817"/>
                    </a:lnTo>
                    <a:lnTo>
                      <a:pt x="550876" y="821817"/>
                    </a:lnTo>
                    <a:lnTo>
                      <a:pt x="551141" y="821817"/>
                    </a:lnTo>
                    <a:lnTo>
                      <a:pt x="551405" y="821817"/>
                    </a:lnTo>
                    <a:lnTo>
                      <a:pt x="551405" y="822082"/>
                    </a:lnTo>
                    <a:lnTo>
                      <a:pt x="551405" y="822346"/>
                    </a:lnTo>
                    <a:lnTo>
                      <a:pt x="551141" y="822611"/>
                    </a:lnTo>
                    <a:lnTo>
                      <a:pt x="550876" y="822876"/>
                    </a:lnTo>
                    <a:lnTo>
                      <a:pt x="550612" y="823140"/>
                    </a:lnTo>
                    <a:lnTo>
                      <a:pt x="550347" y="823405"/>
                    </a:lnTo>
                    <a:lnTo>
                      <a:pt x="550347" y="823669"/>
                    </a:lnTo>
                    <a:lnTo>
                      <a:pt x="550612" y="824286"/>
                    </a:lnTo>
                    <a:lnTo>
                      <a:pt x="550612" y="824551"/>
                    </a:lnTo>
                    <a:lnTo>
                      <a:pt x="550876" y="824551"/>
                    </a:lnTo>
                    <a:lnTo>
                      <a:pt x="551141" y="824903"/>
                    </a:lnTo>
                    <a:lnTo>
                      <a:pt x="551405" y="824903"/>
                    </a:lnTo>
                    <a:lnTo>
                      <a:pt x="552552" y="824551"/>
                    </a:lnTo>
                    <a:lnTo>
                      <a:pt x="553433" y="823934"/>
                    </a:lnTo>
                    <a:lnTo>
                      <a:pt x="553698" y="823934"/>
                    </a:lnTo>
                    <a:lnTo>
                      <a:pt x="553698" y="821641"/>
                    </a:lnTo>
                    <a:lnTo>
                      <a:pt x="550788" y="818996"/>
                    </a:lnTo>
                    <a:lnTo>
                      <a:pt x="550788" y="818732"/>
                    </a:lnTo>
                    <a:lnTo>
                      <a:pt x="550523" y="818732"/>
                    </a:lnTo>
                    <a:lnTo>
                      <a:pt x="549906" y="818996"/>
                    </a:lnTo>
                    <a:lnTo>
                      <a:pt x="548496" y="819261"/>
                    </a:lnTo>
                    <a:lnTo>
                      <a:pt x="548231" y="819525"/>
                    </a:lnTo>
                    <a:lnTo>
                      <a:pt x="548231" y="819790"/>
                    </a:lnTo>
                    <a:lnTo>
                      <a:pt x="547878" y="819790"/>
                    </a:lnTo>
                    <a:lnTo>
                      <a:pt x="547349" y="821288"/>
                    </a:lnTo>
                    <a:lnTo>
                      <a:pt x="547349" y="821906"/>
                    </a:lnTo>
                    <a:lnTo>
                      <a:pt x="547349" y="822170"/>
                    </a:lnTo>
                    <a:lnTo>
                      <a:pt x="547349" y="822435"/>
                    </a:lnTo>
                    <a:lnTo>
                      <a:pt x="547349" y="822699"/>
                    </a:lnTo>
                    <a:lnTo>
                      <a:pt x="546997" y="822964"/>
                    </a:lnTo>
                    <a:lnTo>
                      <a:pt x="546115" y="823581"/>
                    </a:lnTo>
                    <a:lnTo>
                      <a:pt x="545851" y="823845"/>
                    </a:lnTo>
                    <a:lnTo>
                      <a:pt x="545498" y="823845"/>
                    </a:lnTo>
                    <a:lnTo>
                      <a:pt x="544616" y="824110"/>
                    </a:lnTo>
                    <a:lnTo>
                      <a:pt x="543470" y="824374"/>
                    </a:lnTo>
                    <a:lnTo>
                      <a:pt x="543470" y="824110"/>
                    </a:lnTo>
                    <a:lnTo>
                      <a:pt x="543470" y="823228"/>
                    </a:lnTo>
                    <a:lnTo>
                      <a:pt x="543735" y="822964"/>
                    </a:lnTo>
                    <a:lnTo>
                      <a:pt x="543999" y="822964"/>
                    </a:lnTo>
                    <a:lnTo>
                      <a:pt x="544352" y="822964"/>
                    </a:lnTo>
                    <a:lnTo>
                      <a:pt x="545851" y="820319"/>
                    </a:lnTo>
                    <a:lnTo>
                      <a:pt x="544969" y="819437"/>
                    </a:lnTo>
                    <a:lnTo>
                      <a:pt x="544705" y="819172"/>
                    </a:lnTo>
                    <a:lnTo>
                      <a:pt x="544087" y="820583"/>
                    </a:lnTo>
                    <a:lnTo>
                      <a:pt x="543206" y="821729"/>
                    </a:lnTo>
                    <a:lnTo>
                      <a:pt x="542060" y="823228"/>
                    </a:lnTo>
                    <a:lnTo>
                      <a:pt x="540913" y="823757"/>
                    </a:lnTo>
                    <a:lnTo>
                      <a:pt x="539767" y="824639"/>
                    </a:lnTo>
                    <a:lnTo>
                      <a:pt x="538004" y="826667"/>
                    </a:lnTo>
                    <a:lnTo>
                      <a:pt x="537739" y="827019"/>
                    </a:lnTo>
                    <a:lnTo>
                      <a:pt x="537739" y="827284"/>
                    </a:lnTo>
                    <a:lnTo>
                      <a:pt x="537475" y="827284"/>
                    </a:lnTo>
                    <a:lnTo>
                      <a:pt x="537475" y="828166"/>
                    </a:lnTo>
                    <a:lnTo>
                      <a:pt x="537122" y="828518"/>
                    </a:lnTo>
                    <a:lnTo>
                      <a:pt x="537122" y="828783"/>
                    </a:lnTo>
                    <a:lnTo>
                      <a:pt x="536857" y="829047"/>
                    </a:lnTo>
                    <a:lnTo>
                      <a:pt x="535976" y="829929"/>
                    </a:lnTo>
                    <a:lnTo>
                      <a:pt x="535711" y="830194"/>
                    </a:lnTo>
                    <a:lnTo>
                      <a:pt x="535094" y="830458"/>
                    </a:lnTo>
                    <a:lnTo>
                      <a:pt x="534830" y="830458"/>
                    </a:lnTo>
                    <a:lnTo>
                      <a:pt x="534565" y="830458"/>
                    </a:lnTo>
                    <a:lnTo>
                      <a:pt x="534301" y="830458"/>
                    </a:lnTo>
                    <a:lnTo>
                      <a:pt x="534036" y="830194"/>
                    </a:lnTo>
                    <a:lnTo>
                      <a:pt x="533154" y="829312"/>
                    </a:lnTo>
                    <a:lnTo>
                      <a:pt x="532890" y="828166"/>
                    </a:lnTo>
                    <a:lnTo>
                      <a:pt x="532890" y="827901"/>
                    </a:lnTo>
                    <a:lnTo>
                      <a:pt x="532890" y="827549"/>
                    </a:lnTo>
                    <a:lnTo>
                      <a:pt x="533507" y="827019"/>
                    </a:lnTo>
                    <a:lnTo>
                      <a:pt x="533772" y="826402"/>
                    </a:lnTo>
                    <a:lnTo>
                      <a:pt x="533772" y="826138"/>
                    </a:lnTo>
                    <a:lnTo>
                      <a:pt x="533772" y="825873"/>
                    </a:lnTo>
                    <a:lnTo>
                      <a:pt x="533507" y="825873"/>
                    </a:lnTo>
                    <a:lnTo>
                      <a:pt x="533154" y="826138"/>
                    </a:lnTo>
                    <a:lnTo>
                      <a:pt x="532890" y="826138"/>
                    </a:lnTo>
                    <a:lnTo>
                      <a:pt x="532626" y="826755"/>
                    </a:lnTo>
                    <a:lnTo>
                      <a:pt x="532272" y="826755"/>
                    </a:lnTo>
                    <a:lnTo>
                      <a:pt x="532008" y="827372"/>
                    </a:lnTo>
                    <a:lnTo>
                      <a:pt x="531656" y="827637"/>
                    </a:lnTo>
                    <a:lnTo>
                      <a:pt x="531391" y="828254"/>
                    </a:lnTo>
                    <a:lnTo>
                      <a:pt x="531391" y="828607"/>
                    </a:lnTo>
                    <a:lnTo>
                      <a:pt x="531391" y="828871"/>
                    </a:lnTo>
                    <a:lnTo>
                      <a:pt x="531391" y="829136"/>
                    </a:lnTo>
                    <a:lnTo>
                      <a:pt x="531656" y="829136"/>
                    </a:lnTo>
                    <a:lnTo>
                      <a:pt x="531656" y="829400"/>
                    </a:lnTo>
                    <a:lnTo>
                      <a:pt x="532272" y="830017"/>
                    </a:lnTo>
                    <a:lnTo>
                      <a:pt x="532626" y="830634"/>
                    </a:lnTo>
                    <a:lnTo>
                      <a:pt x="532626" y="830987"/>
                    </a:lnTo>
                    <a:lnTo>
                      <a:pt x="532272" y="830987"/>
                    </a:lnTo>
                    <a:lnTo>
                      <a:pt x="530245" y="832750"/>
                    </a:lnTo>
                    <a:lnTo>
                      <a:pt x="528217" y="834161"/>
                    </a:lnTo>
                    <a:lnTo>
                      <a:pt x="527952" y="834161"/>
                    </a:lnTo>
                    <a:lnTo>
                      <a:pt x="525307" y="836806"/>
                    </a:lnTo>
                    <a:lnTo>
                      <a:pt x="523897" y="838570"/>
                    </a:lnTo>
                    <a:lnTo>
                      <a:pt x="523632" y="838834"/>
                    </a:lnTo>
                    <a:lnTo>
                      <a:pt x="523368" y="839187"/>
                    </a:lnTo>
                    <a:lnTo>
                      <a:pt x="523103" y="839187"/>
                    </a:lnTo>
                    <a:close/>
                    <a:moveTo>
                      <a:pt x="534477" y="766977"/>
                    </a:moveTo>
                    <a:lnTo>
                      <a:pt x="534477" y="766977"/>
                    </a:lnTo>
                    <a:lnTo>
                      <a:pt x="534477" y="766712"/>
                    </a:lnTo>
                    <a:lnTo>
                      <a:pt x="535094" y="765566"/>
                    </a:lnTo>
                    <a:lnTo>
                      <a:pt x="536857" y="764067"/>
                    </a:lnTo>
                    <a:lnTo>
                      <a:pt x="537122" y="764067"/>
                    </a:lnTo>
                    <a:lnTo>
                      <a:pt x="537739" y="765213"/>
                    </a:lnTo>
                    <a:lnTo>
                      <a:pt x="537739" y="766095"/>
                    </a:lnTo>
                    <a:lnTo>
                      <a:pt x="535359" y="766712"/>
                    </a:lnTo>
                    <a:lnTo>
                      <a:pt x="534477" y="766977"/>
                    </a:lnTo>
                    <a:close/>
                    <a:moveTo>
                      <a:pt x="599457" y="762921"/>
                    </a:moveTo>
                    <a:lnTo>
                      <a:pt x="599193" y="762657"/>
                    </a:lnTo>
                    <a:lnTo>
                      <a:pt x="598575" y="762039"/>
                    </a:lnTo>
                    <a:lnTo>
                      <a:pt x="598575" y="761422"/>
                    </a:lnTo>
                    <a:lnTo>
                      <a:pt x="598575" y="761158"/>
                    </a:lnTo>
                    <a:lnTo>
                      <a:pt x="598840" y="761158"/>
                    </a:lnTo>
                    <a:lnTo>
                      <a:pt x="599986" y="760541"/>
                    </a:lnTo>
                    <a:lnTo>
                      <a:pt x="601485" y="760276"/>
                    </a:lnTo>
                    <a:lnTo>
                      <a:pt x="601485" y="761158"/>
                    </a:lnTo>
                    <a:lnTo>
                      <a:pt x="599986" y="762657"/>
                    </a:lnTo>
                    <a:lnTo>
                      <a:pt x="599722" y="762921"/>
                    </a:lnTo>
                    <a:lnTo>
                      <a:pt x="599457" y="762921"/>
                    </a:lnTo>
                    <a:close/>
                    <a:moveTo>
                      <a:pt x="533595" y="763450"/>
                    </a:moveTo>
                    <a:lnTo>
                      <a:pt x="533595" y="763450"/>
                    </a:lnTo>
                    <a:lnTo>
                      <a:pt x="533595" y="762921"/>
                    </a:lnTo>
                    <a:lnTo>
                      <a:pt x="534477" y="761158"/>
                    </a:lnTo>
                    <a:lnTo>
                      <a:pt x="537122" y="758865"/>
                    </a:lnTo>
                    <a:lnTo>
                      <a:pt x="537386" y="758865"/>
                    </a:lnTo>
                    <a:lnTo>
                      <a:pt x="537386" y="759130"/>
                    </a:lnTo>
                    <a:lnTo>
                      <a:pt x="536505" y="760276"/>
                    </a:lnTo>
                    <a:lnTo>
                      <a:pt x="536240" y="760893"/>
                    </a:lnTo>
                    <a:lnTo>
                      <a:pt x="535976" y="761158"/>
                    </a:lnTo>
                    <a:lnTo>
                      <a:pt x="534477" y="762921"/>
                    </a:lnTo>
                    <a:lnTo>
                      <a:pt x="533860" y="763450"/>
                    </a:lnTo>
                    <a:lnTo>
                      <a:pt x="533595" y="763450"/>
                    </a:lnTo>
                    <a:close/>
                    <a:moveTo>
                      <a:pt x="538533" y="760541"/>
                    </a:moveTo>
                    <a:lnTo>
                      <a:pt x="538180" y="760276"/>
                    </a:lnTo>
                    <a:lnTo>
                      <a:pt x="537915" y="760276"/>
                    </a:lnTo>
                    <a:lnTo>
                      <a:pt x="537915" y="760012"/>
                    </a:lnTo>
                    <a:lnTo>
                      <a:pt x="537915" y="759483"/>
                    </a:lnTo>
                    <a:lnTo>
                      <a:pt x="539679" y="758336"/>
                    </a:lnTo>
                    <a:lnTo>
                      <a:pt x="539679" y="758072"/>
                    </a:lnTo>
                    <a:lnTo>
                      <a:pt x="539943" y="758072"/>
                    </a:lnTo>
                    <a:lnTo>
                      <a:pt x="541089" y="758336"/>
                    </a:lnTo>
                    <a:lnTo>
                      <a:pt x="541089" y="758954"/>
                    </a:lnTo>
                    <a:lnTo>
                      <a:pt x="540825" y="759218"/>
                    </a:lnTo>
                    <a:lnTo>
                      <a:pt x="539943" y="760100"/>
                    </a:lnTo>
                    <a:lnTo>
                      <a:pt x="539679" y="760100"/>
                    </a:lnTo>
                    <a:lnTo>
                      <a:pt x="538533" y="760541"/>
                    </a:lnTo>
                    <a:close/>
                    <a:moveTo>
                      <a:pt x="601837" y="760805"/>
                    </a:moveTo>
                    <a:lnTo>
                      <a:pt x="602455" y="759923"/>
                    </a:lnTo>
                    <a:lnTo>
                      <a:pt x="602719" y="759659"/>
                    </a:lnTo>
                    <a:lnTo>
                      <a:pt x="602719" y="759394"/>
                    </a:lnTo>
                    <a:lnTo>
                      <a:pt x="602719" y="759042"/>
                    </a:lnTo>
                    <a:lnTo>
                      <a:pt x="602455" y="759042"/>
                    </a:lnTo>
                    <a:lnTo>
                      <a:pt x="602190" y="759042"/>
                    </a:lnTo>
                    <a:lnTo>
                      <a:pt x="598399" y="759394"/>
                    </a:lnTo>
                    <a:lnTo>
                      <a:pt x="598046" y="759394"/>
                    </a:lnTo>
                    <a:lnTo>
                      <a:pt x="597782" y="759659"/>
                    </a:lnTo>
                    <a:lnTo>
                      <a:pt x="597517" y="759659"/>
                    </a:lnTo>
                    <a:lnTo>
                      <a:pt x="597165" y="759659"/>
                    </a:lnTo>
                    <a:lnTo>
                      <a:pt x="596019" y="759042"/>
                    </a:lnTo>
                    <a:lnTo>
                      <a:pt x="596019" y="758777"/>
                    </a:lnTo>
                    <a:lnTo>
                      <a:pt x="596283" y="758424"/>
                    </a:lnTo>
                    <a:lnTo>
                      <a:pt x="596283" y="758160"/>
                    </a:lnTo>
                    <a:lnTo>
                      <a:pt x="596548" y="757895"/>
                    </a:lnTo>
                    <a:lnTo>
                      <a:pt x="596812" y="757543"/>
                    </a:lnTo>
                    <a:lnTo>
                      <a:pt x="597077" y="757543"/>
                    </a:lnTo>
                    <a:lnTo>
                      <a:pt x="598575" y="756661"/>
                    </a:lnTo>
                    <a:lnTo>
                      <a:pt x="599193" y="756661"/>
                    </a:lnTo>
                    <a:lnTo>
                      <a:pt x="599457" y="756661"/>
                    </a:lnTo>
                    <a:lnTo>
                      <a:pt x="599722" y="756661"/>
                    </a:lnTo>
                    <a:lnTo>
                      <a:pt x="599986" y="756661"/>
                    </a:lnTo>
                    <a:lnTo>
                      <a:pt x="600250" y="756661"/>
                    </a:lnTo>
                    <a:lnTo>
                      <a:pt x="600868" y="757278"/>
                    </a:lnTo>
                    <a:lnTo>
                      <a:pt x="601132" y="757278"/>
                    </a:lnTo>
                    <a:lnTo>
                      <a:pt x="601397" y="757014"/>
                    </a:lnTo>
                    <a:lnTo>
                      <a:pt x="603424" y="756132"/>
                    </a:lnTo>
                    <a:lnTo>
                      <a:pt x="604042" y="755868"/>
                    </a:lnTo>
                    <a:lnTo>
                      <a:pt x="604571" y="755868"/>
                    </a:lnTo>
                    <a:lnTo>
                      <a:pt x="604835" y="755868"/>
                    </a:lnTo>
                    <a:lnTo>
                      <a:pt x="605717" y="758777"/>
                    </a:lnTo>
                    <a:lnTo>
                      <a:pt x="605717" y="759042"/>
                    </a:lnTo>
                    <a:lnTo>
                      <a:pt x="605453" y="759394"/>
                    </a:lnTo>
                    <a:lnTo>
                      <a:pt x="605100" y="759394"/>
                    </a:lnTo>
                    <a:lnTo>
                      <a:pt x="605100" y="759042"/>
                    </a:lnTo>
                    <a:lnTo>
                      <a:pt x="603953" y="759659"/>
                    </a:lnTo>
                    <a:lnTo>
                      <a:pt x="603689" y="759659"/>
                    </a:lnTo>
                    <a:lnTo>
                      <a:pt x="602190" y="760541"/>
                    </a:lnTo>
                    <a:lnTo>
                      <a:pt x="601837" y="760805"/>
                    </a:lnTo>
                    <a:close/>
                    <a:moveTo>
                      <a:pt x="600691" y="756485"/>
                    </a:moveTo>
                    <a:lnTo>
                      <a:pt x="600691" y="756485"/>
                    </a:lnTo>
                    <a:lnTo>
                      <a:pt x="600427" y="756220"/>
                    </a:lnTo>
                    <a:lnTo>
                      <a:pt x="599898" y="755956"/>
                    </a:lnTo>
                    <a:lnTo>
                      <a:pt x="599633" y="755956"/>
                    </a:lnTo>
                    <a:lnTo>
                      <a:pt x="599633" y="755691"/>
                    </a:lnTo>
                    <a:lnTo>
                      <a:pt x="600250" y="753928"/>
                    </a:lnTo>
                    <a:lnTo>
                      <a:pt x="600250" y="753663"/>
                    </a:lnTo>
                    <a:lnTo>
                      <a:pt x="600515" y="753399"/>
                    </a:lnTo>
                    <a:lnTo>
                      <a:pt x="600779" y="753399"/>
                    </a:lnTo>
                    <a:lnTo>
                      <a:pt x="600779" y="753134"/>
                    </a:lnTo>
                    <a:lnTo>
                      <a:pt x="600779" y="748991"/>
                    </a:lnTo>
                    <a:lnTo>
                      <a:pt x="599898" y="747580"/>
                    </a:lnTo>
                    <a:lnTo>
                      <a:pt x="599898" y="747315"/>
                    </a:lnTo>
                    <a:lnTo>
                      <a:pt x="599281" y="747051"/>
                    </a:lnTo>
                    <a:lnTo>
                      <a:pt x="599281" y="746786"/>
                    </a:lnTo>
                    <a:lnTo>
                      <a:pt x="599281" y="746522"/>
                    </a:lnTo>
                    <a:lnTo>
                      <a:pt x="600162" y="745905"/>
                    </a:lnTo>
                    <a:lnTo>
                      <a:pt x="603689" y="743612"/>
                    </a:lnTo>
                    <a:lnTo>
                      <a:pt x="604835" y="743083"/>
                    </a:lnTo>
                    <a:lnTo>
                      <a:pt x="605982" y="742730"/>
                    </a:lnTo>
                    <a:lnTo>
                      <a:pt x="605982" y="743083"/>
                    </a:lnTo>
                    <a:lnTo>
                      <a:pt x="605982" y="743348"/>
                    </a:lnTo>
                    <a:lnTo>
                      <a:pt x="606334" y="745640"/>
                    </a:lnTo>
                    <a:lnTo>
                      <a:pt x="606951" y="747933"/>
                    </a:lnTo>
                    <a:lnTo>
                      <a:pt x="607216" y="748285"/>
                    </a:lnTo>
                    <a:lnTo>
                      <a:pt x="607569" y="748550"/>
                    </a:lnTo>
                    <a:lnTo>
                      <a:pt x="608098" y="748814"/>
                    </a:lnTo>
                    <a:lnTo>
                      <a:pt x="608979" y="748814"/>
                    </a:lnTo>
                    <a:lnTo>
                      <a:pt x="608715" y="749696"/>
                    </a:lnTo>
                    <a:lnTo>
                      <a:pt x="606422" y="754633"/>
                    </a:lnTo>
                    <a:lnTo>
                      <a:pt x="606069" y="755250"/>
                    </a:lnTo>
                    <a:lnTo>
                      <a:pt x="605805" y="755515"/>
                    </a:lnTo>
                    <a:lnTo>
                      <a:pt x="605453" y="755779"/>
                    </a:lnTo>
                    <a:lnTo>
                      <a:pt x="605188" y="755779"/>
                    </a:lnTo>
                    <a:lnTo>
                      <a:pt x="604924" y="755779"/>
                    </a:lnTo>
                    <a:lnTo>
                      <a:pt x="602278" y="756308"/>
                    </a:lnTo>
                    <a:lnTo>
                      <a:pt x="600691" y="756485"/>
                    </a:lnTo>
                    <a:close/>
                    <a:moveTo>
                      <a:pt x="518695" y="752693"/>
                    </a:moveTo>
                    <a:lnTo>
                      <a:pt x="518431" y="752693"/>
                    </a:lnTo>
                    <a:lnTo>
                      <a:pt x="518166" y="752076"/>
                    </a:lnTo>
                    <a:lnTo>
                      <a:pt x="518783" y="750930"/>
                    </a:lnTo>
                    <a:lnTo>
                      <a:pt x="519047" y="750666"/>
                    </a:lnTo>
                    <a:lnTo>
                      <a:pt x="519312" y="750666"/>
                    </a:lnTo>
                    <a:lnTo>
                      <a:pt x="519312" y="750401"/>
                    </a:lnTo>
                    <a:lnTo>
                      <a:pt x="520193" y="748991"/>
                    </a:lnTo>
                    <a:lnTo>
                      <a:pt x="520193" y="748726"/>
                    </a:lnTo>
                    <a:lnTo>
                      <a:pt x="520458" y="748462"/>
                    </a:lnTo>
                    <a:lnTo>
                      <a:pt x="520193" y="748197"/>
                    </a:lnTo>
                    <a:lnTo>
                      <a:pt x="519929" y="747844"/>
                    </a:lnTo>
                    <a:lnTo>
                      <a:pt x="519929" y="747580"/>
                    </a:lnTo>
                    <a:lnTo>
                      <a:pt x="519929" y="747315"/>
                    </a:lnTo>
                    <a:lnTo>
                      <a:pt x="520811" y="746081"/>
                    </a:lnTo>
                    <a:lnTo>
                      <a:pt x="523456" y="742025"/>
                    </a:lnTo>
                    <a:lnTo>
                      <a:pt x="523720" y="741761"/>
                    </a:lnTo>
                    <a:lnTo>
                      <a:pt x="523985" y="741761"/>
                    </a:lnTo>
                    <a:lnTo>
                      <a:pt x="524867" y="741408"/>
                    </a:lnTo>
                    <a:lnTo>
                      <a:pt x="525396" y="741143"/>
                    </a:lnTo>
                    <a:lnTo>
                      <a:pt x="525396" y="740879"/>
                    </a:lnTo>
                    <a:lnTo>
                      <a:pt x="525748" y="740879"/>
                    </a:lnTo>
                    <a:lnTo>
                      <a:pt x="526101" y="740526"/>
                    </a:lnTo>
                    <a:lnTo>
                      <a:pt x="526365" y="740262"/>
                    </a:lnTo>
                    <a:lnTo>
                      <a:pt x="526630" y="739909"/>
                    </a:lnTo>
                    <a:lnTo>
                      <a:pt x="526630" y="739645"/>
                    </a:lnTo>
                    <a:lnTo>
                      <a:pt x="526894" y="739380"/>
                    </a:lnTo>
                    <a:lnTo>
                      <a:pt x="526894" y="739116"/>
                    </a:lnTo>
                    <a:lnTo>
                      <a:pt x="526894" y="738851"/>
                    </a:lnTo>
                    <a:lnTo>
                      <a:pt x="527159" y="738498"/>
                    </a:lnTo>
                    <a:lnTo>
                      <a:pt x="528041" y="738234"/>
                    </a:lnTo>
                    <a:lnTo>
                      <a:pt x="528305" y="738498"/>
                    </a:lnTo>
                    <a:lnTo>
                      <a:pt x="529187" y="739380"/>
                    </a:lnTo>
                    <a:lnTo>
                      <a:pt x="529452" y="739380"/>
                    </a:lnTo>
                    <a:lnTo>
                      <a:pt x="529452" y="740526"/>
                    </a:lnTo>
                    <a:lnTo>
                      <a:pt x="529452" y="740879"/>
                    </a:lnTo>
                    <a:lnTo>
                      <a:pt x="527423" y="744406"/>
                    </a:lnTo>
                    <a:lnTo>
                      <a:pt x="527423" y="744670"/>
                    </a:lnTo>
                    <a:lnTo>
                      <a:pt x="526277" y="747315"/>
                    </a:lnTo>
                    <a:lnTo>
                      <a:pt x="526277" y="747580"/>
                    </a:lnTo>
                    <a:lnTo>
                      <a:pt x="525396" y="748726"/>
                    </a:lnTo>
                    <a:lnTo>
                      <a:pt x="525396" y="748991"/>
                    </a:lnTo>
                    <a:lnTo>
                      <a:pt x="523985" y="750137"/>
                    </a:lnTo>
                    <a:lnTo>
                      <a:pt x="521075" y="751547"/>
                    </a:lnTo>
                    <a:lnTo>
                      <a:pt x="519664" y="751812"/>
                    </a:lnTo>
                    <a:lnTo>
                      <a:pt x="518695" y="752693"/>
                    </a:lnTo>
                    <a:close/>
                    <a:moveTo>
                      <a:pt x="604747" y="735501"/>
                    </a:moveTo>
                    <a:lnTo>
                      <a:pt x="604747" y="735501"/>
                    </a:lnTo>
                    <a:lnTo>
                      <a:pt x="604482" y="735501"/>
                    </a:lnTo>
                    <a:lnTo>
                      <a:pt x="604218" y="735501"/>
                    </a:lnTo>
                    <a:lnTo>
                      <a:pt x="603953" y="735236"/>
                    </a:lnTo>
                    <a:lnTo>
                      <a:pt x="604218" y="734972"/>
                    </a:lnTo>
                    <a:lnTo>
                      <a:pt x="604482" y="734707"/>
                    </a:lnTo>
                    <a:lnTo>
                      <a:pt x="605100" y="734355"/>
                    </a:lnTo>
                    <a:lnTo>
                      <a:pt x="605364" y="734355"/>
                    </a:lnTo>
                    <a:lnTo>
                      <a:pt x="605717" y="734707"/>
                    </a:lnTo>
                    <a:lnTo>
                      <a:pt x="605364" y="734972"/>
                    </a:lnTo>
                    <a:lnTo>
                      <a:pt x="604747" y="735501"/>
                    </a:lnTo>
                    <a:close/>
                    <a:moveTo>
                      <a:pt x="603601" y="735148"/>
                    </a:moveTo>
                    <a:lnTo>
                      <a:pt x="603601" y="735148"/>
                    </a:lnTo>
                    <a:lnTo>
                      <a:pt x="603601" y="734884"/>
                    </a:lnTo>
                    <a:lnTo>
                      <a:pt x="604218" y="734002"/>
                    </a:lnTo>
                    <a:lnTo>
                      <a:pt x="604482" y="734002"/>
                    </a:lnTo>
                    <a:lnTo>
                      <a:pt x="604482" y="733737"/>
                    </a:lnTo>
                    <a:lnTo>
                      <a:pt x="604747" y="733737"/>
                    </a:lnTo>
                    <a:lnTo>
                      <a:pt x="604747" y="734002"/>
                    </a:lnTo>
                    <a:lnTo>
                      <a:pt x="604218" y="734884"/>
                    </a:lnTo>
                    <a:lnTo>
                      <a:pt x="603953" y="734884"/>
                    </a:lnTo>
                    <a:lnTo>
                      <a:pt x="603953" y="735148"/>
                    </a:lnTo>
                    <a:lnTo>
                      <a:pt x="603601" y="735148"/>
                    </a:lnTo>
                    <a:close/>
                    <a:moveTo>
                      <a:pt x="712048" y="3439"/>
                    </a:moveTo>
                    <a:lnTo>
                      <a:pt x="711784" y="3439"/>
                    </a:lnTo>
                    <a:lnTo>
                      <a:pt x="710902" y="2292"/>
                    </a:lnTo>
                    <a:lnTo>
                      <a:pt x="710902" y="1940"/>
                    </a:lnTo>
                    <a:lnTo>
                      <a:pt x="711166" y="1411"/>
                    </a:lnTo>
                    <a:lnTo>
                      <a:pt x="712048" y="264"/>
                    </a:lnTo>
                    <a:lnTo>
                      <a:pt x="712313" y="0"/>
                    </a:lnTo>
                    <a:lnTo>
                      <a:pt x="712313" y="264"/>
                    </a:lnTo>
                    <a:lnTo>
                      <a:pt x="712577" y="264"/>
                    </a:lnTo>
                    <a:lnTo>
                      <a:pt x="712930" y="793"/>
                    </a:lnTo>
                    <a:lnTo>
                      <a:pt x="713194" y="793"/>
                    </a:lnTo>
                    <a:lnTo>
                      <a:pt x="713194" y="1146"/>
                    </a:lnTo>
                    <a:lnTo>
                      <a:pt x="713194" y="1411"/>
                    </a:lnTo>
                    <a:lnTo>
                      <a:pt x="712930" y="2557"/>
                    </a:lnTo>
                    <a:lnTo>
                      <a:pt x="712930" y="2821"/>
                    </a:lnTo>
                    <a:lnTo>
                      <a:pt x="712313" y="3439"/>
                    </a:lnTo>
                    <a:lnTo>
                      <a:pt x="712048" y="3439"/>
                    </a:lnTo>
                    <a:close/>
                    <a:moveTo>
                      <a:pt x="714693" y="5466"/>
                    </a:moveTo>
                    <a:lnTo>
                      <a:pt x="714693" y="5466"/>
                    </a:lnTo>
                    <a:lnTo>
                      <a:pt x="713194" y="4849"/>
                    </a:lnTo>
                    <a:lnTo>
                      <a:pt x="713194" y="4585"/>
                    </a:lnTo>
                    <a:lnTo>
                      <a:pt x="712930" y="4320"/>
                    </a:lnTo>
                    <a:lnTo>
                      <a:pt x="712930" y="3703"/>
                    </a:lnTo>
                    <a:lnTo>
                      <a:pt x="713547" y="2821"/>
                    </a:lnTo>
                    <a:lnTo>
                      <a:pt x="713547" y="2557"/>
                    </a:lnTo>
                    <a:lnTo>
                      <a:pt x="713811" y="2292"/>
                    </a:lnTo>
                    <a:lnTo>
                      <a:pt x="714958" y="2292"/>
                    </a:lnTo>
                    <a:lnTo>
                      <a:pt x="715839" y="2557"/>
                    </a:lnTo>
                    <a:lnTo>
                      <a:pt x="715839" y="3174"/>
                    </a:lnTo>
                    <a:lnTo>
                      <a:pt x="716104" y="3439"/>
                    </a:lnTo>
                    <a:lnTo>
                      <a:pt x="716104" y="3703"/>
                    </a:lnTo>
                    <a:lnTo>
                      <a:pt x="714958" y="5202"/>
                    </a:lnTo>
                    <a:lnTo>
                      <a:pt x="714693" y="5466"/>
                    </a:lnTo>
                    <a:close/>
                    <a:moveTo>
                      <a:pt x="714693" y="12432"/>
                    </a:moveTo>
                    <a:lnTo>
                      <a:pt x="714693" y="12432"/>
                    </a:lnTo>
                    <a:lnTo>
                      <a:pt x="714429" y="12432"/>
                    </a:lnTo>
                    <a:lnTo>
                      <a:pt x="714164" y="12167"/>
                    </a:lnTo>
                    <a:lnTo>
                      <a:pt x="714164" y="11903"/>
                    </a:lnTo>
                    <a:lnTo>
                      <a:pt x="714781" y="11638"/>
                    </a:lnTo>
                    <a:lnTo>
                      <a:pt x="715046" y="11638"/>
                    </a:lnTo>
                    <a:lnTo>
                      <a:pt x="715046" y="11903"/>
                    </a:lnTo>
                    <a:lnTo>
                      <a:pt x="715046" y="12167"/>
                    </a:lnTo>
                    <a:lnTo>
                      <a:pt x="714693" y="12432"/>
                    </a:lnTo>
                    <a:close/>
                    <a:moveTo>
                      <a:pt x="712665" y="12696"/>
                    </a:moveTo>
                    <a:lnTo>
                      <a:pt x="712048" y="12961"/>
                    </a:lnTo>
                    <a:lnTo>
                      <a:pt x="711784" y="12961"/>
                    </a:lnTo>
                    <a:lnTo>
                      <a:pt x="711784" y="12696"/>
                    </a:lnTo>
                    <a:lnTo>
                      <a:pt x="712048" y="12432"/>
                    </a:lnTo>
                    <a:lnTo>
                      <a:pt x="712048" y="12167"/>
                    </a:lnTo>
                    <a:lnTo>
                      <a:pt x="712665" y="11903"/>
                    </a:lnTo>
                    <a:lnTo>
                      <a:pt x="713018" y="11903"/>
                    </a:lnTo>
                    <a:lnTo>
                      <a:pt x="713018" y="12167"/>
                    </a:lnTo>
                    <a:lnTo>
                      <a:pt x="712665" y="12696"/>
                    </a:lnTo>
                    <a:close/>
                    <a:moveTo>
                      <a:pt x="713547" y="14812"/>
                    </a:moveTo>
                    <a:lnTo>
                      <a:pt x="713547" y="14812"/>
                    </a:lnTo>
                    <a:lnTo>
                      <a:pt x="713282" y="14812"/>
                    </a:lnTo>
                    <a:lnTo>
                      <a:pt x="713282" y="14548"/>
                    </a:lnTo>
                    <a:lnTo>
                      <a:pt x="713018" y="14283"/>
                    </a:lnTo>
                    <a:lnTo>
                      <a:pt x="713018" y="14019"/>
                    </a:lnTo>
                    <a:lnTo>
                      <a:pt x="713018" y="13754"/>
                    </a:lnTo>
                    <a:lnTo>
                      <a:pt x="713018" y="13490"/>
                    </a:lnTo>
                    <a:lnTo>
                      <a:pt x="713282" y="13490"/>
                    </a:lnTo>
                    <a:lnTo>
                      <a:pt x="713282" y="13137"/>
                    </a:lnTo>
                    <a:lnTo>
                      <a:pt x="713547" y="13137"/>
                    </a:lnTo>
                    <a:lnTo>
                      <a:pt x="713811" y="13137"/>
                    </a:lnTo>
                    <a:lnTo>
                      <a:pt x="714076" y="13137"/>
                    </a:lnTo>
                    <a:lnTo>
                      <a:pt x="714340" y="13137"/>
                    </a:lnTo>
                    <a:lnTo>
                      <a:pt x="714340" y="13490"/>
                    </a:lnTo>
                    <a:lnTo>
                      <a:pt x="714605" y="13490"/>
                    </a:lnTo>
                    <a:lnTo>
                      <a:pt x="714605" y="13754"/>
                    </a:lnTo>
                    <a:lnTo>
                      <a:pt x="714605" y="14019"/>
                    </a:lnTo>
                    <a:lnTo>
                      <a:pt x="714340" y="14283"/>
                    </a:lnTo>
                    <a:lnTo>
                      <a:pt x="714340" y="14548"/>
                    </a:lnTo>
                    <a:lnTo>
                      <a:pt x="714076" y="14548"/>
                    </a:lnTo>
                    <a:lnTo>
                      <a:pt x="713547" y="14812"/>
                    </a:lnTo>
                    <a:close/>
                    <a:moveTo>
                      <a:pt x="711166" y="17722"/>
                    </a:moveTo>
                    <a:lnTo>
                      <a:pt x="711166" y="17986"/>
                    </a:lnTo>
                    <a:lnTo>
                      <a:pt x="710284" y="17457"/>
                    </a:lnTo>
                    <a:lnTo>
                      <a:pt x="710020" y="16840"/>
                    </a:lnTo>
                    <a:lnTo>
                      <a:pt x="709667" y="16487"/>
                    </a:lnTo>
                    <a:lnTo>
                      <a:pt x="709667" y="16223"/>
                    </a:lnTo>
                    <a:lnTo>
                      <a:pt x="710020" y="15077"/>
                    </a:lnTo>
                    <a:lnTo>
                      <a:pt x="710020" y="14812"/>
                    </a:lnTo>
                    <a:lnTo>
                      <a:pt x="710284" y="14812"/>
                    </a:lnTo>
                    <a:lnTo>
                      <a:pt x="711431" y="14195"/>
                    </a:lnTo>
                    <a:lnTo>
                      <a:pt x="712313" y="13931"/>
                    </a:lnTo>
                    <a:lnTo>
                      <a:pt x="713194" y="15694"/>
                    </a:lnTo>
                    <a:lnTo>
                      <a:pt x="712930" y="16840"/>
                    </a:lnTo>
                    <a:lnTo>
                      <a:pt x="712577" y="16487"/>
                    </a:lnTo>
                    <a:lnTo>
                      <a:pt x="711960" y="16840"/>
                    </a:lnTo>
                    <a:lnTo>
                      <a:pt x="711695" y="16840"/>
                    </a:lnTo>
                    <a:lnTo>
                      <a:pt x="711695" y="17105"/>
                    </a:lnTo>
                    <a:lnTo>
                      <a:pt x="711431" y="17369"/>
                    </a:lnTo>
                    <a:lnTo>
                      <a:pt x="711166" y="17722"/>
                    </a:lnTo>
                    <a:close/>
                    <a:moveTo>
                      <a:pt x="586937" y="34915"/>
                    </a:moveTo>
                    <a:lnTo>
                      <a:pt x="586320" y="34915"/>
                    </a:lnTo>
                    <a:lnTo>
                      <a:pt x="586056" y="34915"/>
                    </a:lnTo>
                    <a:lnTo>
                      <a:pt x="586056" y="34650"/>
                    </a:lnTo>
                    <a:lnTo>
                      <a:pt x="586320" y="33769"/>
                    </a:lnTo>
                    <a:lnTo>
                      <a:pt x="586585" y="33769"/>
                    </a:lnTo>
                    <a:lnTo>
                      <a:pt x="589847" y="29095"/>
                    </a:lnTo>
                    <a:lnTo>
                      <a:pt x="592139" y="24775"/>
                    </a:lnTo>
                    <a:lnTo>
                      <a:pt x="592403" y="24775"/>
                    </a:lnTo>
                    <a:lnTo>
                      <a:pt x="592403" y="24423"/>
                    </a:lnTo>
                    <a:lnTo>
                      <a:pt x="593021" y="24158"/>
                    </a:lnTo>
                    <a:lnTo>
                      <a:pt x="593285" y="24158"/>
                    </a:lnTo>
                    <a:lnTo>
                      <a:pt x="593285" y="24423"/>
                    </a:lnTo>
                    <a:lnTo>
                      <a:pt x="591786" y="28478"/>
                    </a:lnTo>
                    <a:lnTo>
                      <a:pt x="591786" y="28743"/>
                    </a:lnTo>
                    <a:lnTo>
                      <a:pt x="587378" y="34298"/>
                    </a:lnTo>
                    <a:lnTo>
                      <a:pt x="587113" y="34562"/>
                    </a:lnTo>
                    <a:lnTo>
                      <a:pt x="587113" y="34827"/>
                    </a:lnTo>
                    <a:lnTo>
                      <a:pt x="586937" y="34827"/>
                    </a:lnTo>
                    <a:close/>
                    <a:moveTo>
                      <a:pt x="502913" y="30506"/>
                    </a:moveTo>
                    <a:lnTo>
                      <a:pt x="502031" y="32005"/>
                    </a:lnTo>
                    <a:lnTo>
                      <a:pt x="501767" y="31741"/>
                    </a:lnTo>
                    <a:lnTo>
                      <a:pt x="501502" y="31388"/>
                    </a:lnTo>
                    <a:lnTo>
                      <a:pt x="501149" y="29007"/>
                    </a:lnTo>
                    <a:lnTo>
                      <a:pt x="500885" y="26980"/>
                    </a:lnTo>
                    <a:lnTo>
                      <a:pt x="500885" y="24952"/>
                    </a:lnTo>
                    <a:lnTo>
                      <a:pt x="502648" y="24070"/>
                    </a:lnTo>
                    <a:lnTo>
                      <a:pt x="502913" y="25216"/>
                    </a:lnTo>
                    <a:lnTo>
                      <a:pt x="503177" y="26362"/>
                    </a:lnTo>
                    <a:lnTo>
                      <a:pt x="503177" y="27773"/>
                    </a:lnTo>
                    <a:lnTo>
                      <a:pt x="503177" y="28919"/>
                    </a:lnTo>
                    <a:lnTo>
                      <a:pt x="502913" y="30065"/>
                    </a:lnTo>
                    <a:lnTo>
                      <a:pt x="502913" y="30506"/>
                    </a:lnTo>
                    <a:close/>
                    <a:moveTo>
                      <a:pt x="465000" y="46906"/>
                    </a:moveTo>
                    <a:lnTo>
                      <a:pt x="465000" y="46906"/>
                    </a:lnTo>
                    <a:lnTo>
                      <a:pt x="463501" y="45142"/>
                    </a:lnTo>
                    <a:lnTo>
                      <a:pt x="463237" y="44790"/>
                    </a:lnTo>
                    <a:lnTo>
                      <a:pt x="462972" y="44790"/>
                    </a:lnTo>
                    <a:lnTo>
                      <a:pt x="462443" y="44790"/>
                    </a:lnTo>
                    <a:lnTo>
                      <a:pt x="462179" y="44525"/>
                    </a:lnTo>
                    <a:lnTo>
                      <a:pt x="459534" y="43026"/>
                    </a:lnTo>
                    <a:lnTo>
                      <a:pt x="459269" y="43026"/>
                    </a:lnTo>
                    <a:lnTo>
                      <a:pt x="456360" y="40117"/>
                    </a:lnTo>
                    <a:lnTo>
                      <a:pt x="456007" y="39588"/>
                    </a:lnTo>
                    <a:lnTo>
                      <a:pt x="455742" y="39588"/>
                    </a:lnTo>
                    <a:lnTo>
                      <a:pt x="455742" y="39323"/>
                    </a:lnTo>
                    <a:lnTo>
                      <a:pt x="454861" y="34650"/>
                    </a:lnTo>
                    <a:lnTo>
                      <a:pt x="454332" y="29977"/>
                    </a:lnTo>
                    <a:lnTo>
                      <a:pt x="454332" y="29095"/>
                    </a:lnTo>
                    <a:lnTo>
                      <a:pt x="454332" y="28831"/>
                    </a:lnTo>
                    <a:lnTo>
                      <a:pt x="454596" y="27949"/>
                    </a:lnTo>
                    <a:lnTo>
                      <a:pt x="454861" y="27597"/>
                    </a:lnTo>
                    <a:lnTo>
                      <a:pt x="455213" y="27597"/>
                    </a:lnTo>
                    <a:lnTo>
                      <a:pt x="457858" y="30506"/>
                    </a:lnTo>
                    <a:lnTo>
                      <a:pt x="458476" y="32270"/>
                    </a:lnTo>
                    <a:lnTo>
                      <a:pt x="461385" y="33151"/>
                    </a:lnTo>
                    <a:lnTo>
                      <a:pt x="463678" y="32534"/>
                    </a:lnTo>
                    <a:lnTo>
                      <a:pt x="464295" y="32534"/>
                    </a:lnTo>
                    <a:lnTo>
                      <a:pt x="464559" y="32270"/>
                    </a:lnTo>
                    <a:lnTo>
                      <a:pt x="464824" y="32005"/>
                    </a:lnTo>
                    <a:lnTo>
                      <a:pt x="465441" y="31123"/>
                    </a:lnTo>
                    <a:lnTo>
                      <a:pt x="465705" y="31123"/>
                    </a:lnTo>
                    <a:lnTo>
                      <a:pt x="467204" y="31741"/>
                    </a:lnTo>
                    <a:lnTo>
                      <a:pt x="467821" y="32270"/>
                    </a:lnTo>
                    <a:lnTo>
                      <a:pt x="468968" y="31123"/>
                    </a:lnTo>
                    <a:lnTo>
                      <a:pt x="469232" y="31123"/>
                    </a:lnTo>
                    <a:lnTo>
                      <a:pt x="470379" y="30242"/>
                    </a:lnTo>
                    <a:lnTo>
                      <a:pt x="470643" y="29977"/>
                    </a:lnTo>
                    <a:lnTo>
                      <a:pt x="470908" y="29977"/>
                    </a:lnTo>
                    <a:lnTo>
                      <a:pt x="471172" y="29977"/>
                    </a:lnTo>
                    <a:lnTo>
                      <a:pt x="471172" y="30242"/>
                    </a:lnTo>
                    <a:lnTo>
                      <a:pt x="471172" y="30859"/>
                    </a:lnTo>
                    <a:lnTo>
                      <a:pt x="471172" y="31123"/>
                    </a:lnTo>
                    <a:lnTo>
                      <a:pt x="471437" y="31741"/>
                    </a:lnTo>
                    <a:lnTo>
                      <a:pt x="471437" y="32005"/>
                    </a:lnTo>
                    <a:lnTo>
                      <a:pt x="472054" y="33769"/>
                    </a:lnTo>
                    <a:lnTo>
                      <a:pt x="472318" y="33769"/>
                    </a:lnTo>
                    <a:lnTo>
                      <a:pt x="472318" y="33504"/>
                    </a:lnTo>
                    <a:lnTo>
                      <a:pt x="472318" y="33239"/>
                    </a:lnTo>
                    <a:lnTo>
                      <a:pt x="472318" y="32534"/>
                    </a:lnTo>
                    <a:lnTo>
                      <a:pt x="472318" y="31917"/>
                    </a:lnTo>
                    <a:lnTo>
                      <a:pt x="472054" y="30771"/>
                    </a:lnTo>
                    <a:lnTo>
                      <a:pt x="472318" y="29625"/>
                    </a:lnTo>
                    <a:lnTo>
                      <a:pt x="472318" y="29360"/>
                    </a:lnTo>
                    <a:lnTo>
                      <a:pt x="472935" y="28743"/>
                    </a:lnTo>
                    <a:lnTo>
                      <a:pt x="473553" y="28478"/>
                    </a:lnTo>
                    <a:lnTo>
                      <a:pt x="473817" y="28478"/>
                    </a:lnTo>
                    <a:lnTo>
                      <a:pt x="473817" y="28214"/>
                    </a:lnTo>
                    <a:lnTo>
                      <a:pt x="474082" y="28214"/>
                    </a:lnTo>
                    <a:lnTo>
                      <a:pt x="476726" y="29713"/>
                    </a:lnTo>
                    <a:lnTo>
                      <a:pt x="476991" y="29713"/>
                    </a:lnTo>
                    <a:lnTo>
                      <a:pt x="476991" y="29977"/>
                    </a:lnTo>
                    <a:lnTo>
                      <a:pt x="478755" y="33151"/>
                    </a:lnTo>
                    <a:lnTo>
                      <a:pt x="479019" y="33416"/>
                    </a:lnTo>
                    <a:lnTo>
                      <a:pt x="479019" y="34298"/>
                    </a:lnTo>
                    <a:lnTo>
                      <a:pt x="479019" y="34827"/>
                    </a:lnTo>
                    <a:lnTo>
                      <a:pt x="478755" y="35179"/>
                    </a:lnTo>
                    <a:lnTo>
                      <a:pt x="478755" y="35444"/>
                    </a:lnTo>
                    <a:lnTo>
                      <a:pt x="478402" y="35444"/>
                    </a:lnTo>
                    <a:lnTo>
                      <a:pt x="476991" y="37472"/>
                    </a:lnTo>
                    <a:lnTo>
                      <a:pt x="472583" y="41527"/>
                    </a:lnTo>
                    <a:lnTo>
                      <a:pt x="472230" y="41527"/>
                    </a:lnTo>
                    <a:lnTo>
                      <a:pt x="471966" y="41792"/>
                    </a:lnTo>
                    <a:lnTo>
                      <a:pt x="471701" y="41792"/>
                    </a:lnTo>
                    <a:lnTo>
                      <a:pt x="469056" y="43555"/>
                    </a:lnTo>
                    <a:lnTo>
                      <a:pt x="467028" y="45319"/>
                    </a:lnTo>
                    <a:lnTo>
                      <a:pt x="465265" y="46817"/>
                    </a:lnTo>
                    <a:lnTo>
                      <a:pt x="465000" y="46817"/>
                    </a:lnTo>
                    <a:close/>
                    <a:moveTo>
                      <a:pt x="519312" y="36678"/>
                    </a:moveTo>
                    <a:lnTo>
                      <a:pt x="518695" y="36943"/>
                    </a:lnTo>
                    <a:lnTo>
                      <a:pt x="518959" y="36061"/>
                    </a:lnTo>
                    <a:lnTo>
                      <a:pt x="520458" y="35179"/>
                    </a:lnTo>
                    <a:lnTo>
                      <a:pt x="520722" y="34827"/>
                    </a:lnTo>
                    <a:lnTo>
                      <a:pt x="520722" y="35179"/>
                    </a:lnTo>
                    <a:lnTo>
                      <a:pt x="521340" y="36061"/>
                    </a:lnTo>
                    <a:lnTo>
                      <a:pt x="521340" y="36325"/>
                    </a:lnTo>
                    <a:lnTo>
                      <a:pt x="521075" y="36325"/>
                    </a:lnTo>
                    <a:lnTo>
                      <a:pt x="520546" y="36325"/>
                    </a:lnTo>
                    <a:lnTo>
                      <a:pt x="520282" y="36325"/>
                    </a:lnTo>
                    <a:lnTo>
                      <a:pt x="520282" y="36061"/>
                    </a:lnTo>
                    <a:lnTo>
                      <a:pt x="520017" y="36061"/>
                    </a:lnTo>
                    <a:lnTo>
                      <a:pt x="519753" y="36325"/>
                    </a:lnTo>
                    <a:lnTo>
                      <a:pt x="519312" y="36678"/>
                    </a:lnTo>
                    <a:close/>
                    <a:moveTo>
                      <a:pt x="579090" y="40469"/>
                    </a:moveTo>
                    <a:lnTo>
                      <a:pt x="578826" y="40734"/>
                    </a:lnTo>
                    <a:lnTo>
                      <a:pt x="578561" y="40734"/>
                    </a:lnTo>
                    <a:lnTo>
                      <a:pt x="578826" y="39588"/>
                    </a:lnTo>
                    <a:lnTo>
                      <a:pt x="580853" y="37824"/>
                    </a:lnTo>
                    <a:lnTo>
                      <a:pt x="581206" y="37824"/>
                    </a:lnTo>
                    <a:lnTo>
                      <a:pt x="581471" y="37824"/>
                    </a:lnTo>
                    <a:lnTo>
                      <a:pt x="582617" y="37824"/>
                    </a:lnTo>
                    <a:lnTo>
                      <a:pt x="584380" y="36325"/>
                    </a:lnTo>
                    <a:lnTo>
                      <a:pt x="584645" y="36325"/>
                    </a:lnTo>
                    <a:lnTo>
                      <a:pt x="584909" y="35796"/>
                    </a:lnTo>
                    <a:lnTo>
                      <a:pt x="585791" y="35179"/>
                    </a:lnTo>
                    <a:lnTo>
                      <a:pt x="585527" y="36061"/>
                    </a:lnTo>
                    <a:lnTo>
                      <a:pt x="585527" y="36325"/>
                    </a:lnTo>
                    <a:lnTo>
                      <a:pt x="583146" y="38353"/>
                    </a:lnTo>
                    <a:lnTo>
                      <a:pt x="582264" y="38618"/>
                    </a:lnTo>
                    <a:lnTo>
                      <a:pt x="580501" y="39764"/>
                    </a:lnTo>
                    <a:lnTo>
                      <a:pt x="579090" y="40469"/>
                    </a:lnTo>
                    <a:close/>
                    <a:moveTo>
                      <a:pt x="520458" y="38706"/>
                    </a:moveTo>
                    <a:lnTo>
                      <a:pt x="518077" y="40205"/>
                    </a:lnTo>
                    <a:lnTo>
                      <a:pt x="517813" y="40205"/>
                    </a:lnTo>
                    <a:lnTo>
                      <a:pt x="517813" y="39323"/>
                    </a:lnTo>
                    <a:lnTo>
                      <a:pt x="517813" y="38971"/>
                    </a:lnTo>
                    <a:lnTo>
                      <a:pt x="518077" y="38706"/>
                    </a:lnTo>
                    <a:lnTo>
                      <a:pt x="518959" y="38177"/>
                    </a:lnTo>
                    <a:lnTo>
                      <a:pt x="519224" y="38177"/>
                    </a:lnTo>
                    <a:lnTo>
                      <a:pt x="519488" y="38177"/>
                    </a:lnTo>
                    <a:lnTo>
                      <a:pt x="520370" y="38177"/>
                    </a:lnTo>
                    <a:lnTo>
                      <a:pt x="520635" y="38177"/>
                    </a:lnTo>
                    <a:lnTo>
                      <a:pt x="520635" y="38442"/>
                    </a:lnTo>
                    <a:lnTo>
                      <a:pt x="520458" y="38706"/>
                    </a:lnTo>
                    <a:close/>
                    <a:moveTo>
                      <a:pt x="501502" y="41351"/>
                    </a:moveTo>
                    <a:lnTo>
                      <a:pt x="500356" y="41615"/>
                    </a:lnTo>
                    <a:lnTo>
                      <a:pt x="500003" y="41615"/>
                    </a:lnTo>
                    <a:lnTo>
                      <a:pt x="500003" y="41351"/>
                    </a:lnTo>
                    <a:lnTo>
                      <a:pt x="499386" y="40469"/>
                    </a:lnTo>
                    <a:lnTo>
                      <a:pt x="499122" y="40469"/>
                    </a:lnTo>
                    <a:lnTo>
                      <a:pt x="499122" y="40205"/>
                    </a:lnTo>
                    <a:lnTo>
                      <a:pt x="499386" y="39940"/>
                    </a:lnTo>
                    <a:lnTo>
                      <a:pt x="499386" y="39676"/>
                    </a:lnTo>
                    <a:lnTo>
                      <a:pt x="499651" y="39411"/>
                    </a:lnTo>
                    <a:lnTo>
                      <a:pt x="499915" y="39411"/>
                    </a:lnTo>
                    <a:lnTo>
                      <a:pt x="501943" y="39676"/>
                    </a:lnTo>
                    <a:lnTo>
                      <a:pt x="502207" y="39676"/>
                    </a:lnTo>
                    <a:lnTo>
                      <a:pt x="502207" y="39940"/>
                    </a:lnTo>
                    <a:lnTo>
                      <a:pt x="501943" y="40558"/>
                    </a:lnTo>
                    <a:lnTo>
                      <a:pt x="501943" y="40822"/>
                    </a:lnTo>
                    <a:lnTo>
                      <a:pt x="501678" y="41439"/>
                    </a:lnTo>
                    <a:lnTo>
                      <a:pt x="501502" y="41439"/>
                    </a:lnTo>
                    <a:close/>
                    <a:moveTo>
                      <a:pt x="574946" y="41351"/>
                    </a:moveTo>
                    <a:lnTo>
                      <a:pt x="574594" y="41351"/>
                    </a:lnTo>
                    <a:lnTo>
                      <a:pt x="574065" y="41351"/>
                    </a:lnTo>
                    <a:lnTo>
                      <a:pt x="573800" y="41351"/>
                    </a:lnTo>
                    <a:lnTo>
                      <a:pt x="573800" y="40998"/>
                    </a:lnTo>
                    <a:lnTo>
                      <a:pt x="573800" y="40734"/>
                    </a:lnTo>
                    <a:lnTo>
                      <a:pt x="573800" y="40469"/>
                    </a:lnTo>
                    <a:lnTo>
                      <a:pt x="574065" y="40469"/>
                    </a:lnTo>
                    <a:lnTo>
                      <a:pt x="574065" y="40205"/>
                    </a:lnTo>
                    <a:lnTo>
                      <a:pt x="575210" y="39940"/>
                    </a:lnTo>
                    <a:lnTo>
                      <a:pt x="575828" y="39940"/>
                    </a:lnTo>
                    <a:lnTo>
                      <a:pt x="575828" y="40205"/>
                    </a:lnTo>
                    <a:lnTo>
                      <a:pt x="575210" y="41086"/>
                    </a:lnTo>
                    <a:lnTo>
                      <a:pt x="574946" y="41351"/>
                    </a:lnTo>
                    <a:close/>
                    <a:moveTo>
                      <a:pt x="587202" y="43026"/>
                    </a:moveTo>
                    <a:lnTo>
                      <a:pt x="585791" y="43643"/>
                    </a:lnTo>
                    <a:lnTo>
                      <a:pt x="585527" y="43379"/>
                    </a:lnTo>
                    <a:lnTo>
                      <a:pt x="585791" y="43114"/>
                    </a:lnTo>
                    <a:lnTo>
                      <a:pt x="586056" y="42850"/>
                    </a:lnTo>
                    <a:lnTo>
                      <a:pt x="587819" y="41968"/>
                    </a:lnTo>
                    <a:lnTo>
                      <a:pt x="588083" y="41968"/>
                    </a:lnTo>
                    <a:lnTo>
                      <a:pt x="588083" y="42233"/>
                    </a:lnTo>
                    <a:lnTo>
                      <a:pt x="587819" y="42497"/>
                    </a:lnTo>
                    <a:lnTo>
                      <a:pt x="587202" y="43026"/>
                    </a:lnTo>
                    <a:close/>
                    <a:moveTo>
                      <a:pt x="456889" y="44260"/>
                    </a:moveTo>
                    <a:lnTo>
                      <a:pt x="455478" y="44525"/>
                    </a:lnTo>
                    <a:lnTo>
                      <a:pt x="451951" y="42762"/>
                    </a:lnTo>
                    <a:lnTo>
                      <a:pt x="451599" y="42762"/>
                    </a:lnTo>
                    <a:lnTo>
                      <a:pt x="449835" y="43379"/>
                    </a:lnTo>
                    <a:lnTo>
                      <a:pt x="449570" y="43379"/>
                    </a:lnTo>
                    <a:lnTo>
                      <a:pt x="449041" y="43643"/>
                    </a:lnTo>
                    <a:lnTo>
                      <a:pt x="448777" y="43643"/>
                    </a:lnTo>
                    <a:lnTo>
                      <a:pt x="448513" y="43908"/>
                    </a:lnTo>
                    <a:lnTo>
                      <a:pt x="447279" y="44172"/>
                    </a:lnTo>
                    <a:lnTo>
                      <a:pt x="446750" y="44172"/>
                    </a:lnTo>
                    <a:lnTo>
                      <a:pt x="445603" y="43908"/>
                    </a:lnTo>
                    <a:lnTo>
                      <a:pt x="445339" y="43291"/>
                    </a:lnTo>
                    <a:lnTo>
                      <a:pt x="445339" y="42673"/>
                    </a:lnTo>
                    <a:lnTo>
                      <a:pt x="446837" y="40381"/>
                    </a:lnTo>
                    <a:lnTo>
                      <a:pt x="446837" y="40117"/>
                    </a:lnTo>
                    <a:lnTo>
                      <a:pt x="447102" y="40117"/>
                    </a:lnTo>
                    <a:lnTo>
                      <a:pt x="447102" y="40381"/>
                    </a:lnTo>
                    <a:lnTo>
                      <a:pt x="447366" y="40381"/>
                    </a:lnTo>
                    <a:lnTo>
                      <a:pt x="447366" y="40646"/>
                    </a:lnTo>
                    <a:lnTo>
                      <a:pt x="447631" y="40910"/>
                    </a:lnTo>
                    <a:lnTo>
                      <a:pt x="448513" y="40910"/>
                    </a:lnTo>
                    <a:lnTo>
                      <a:pt x="448777" y="40646"/>
                    </a:lnTo>
                    <a:lnTo>
                      <a:pt x="449041" y="40381"/>
                    </a:lnTo>
                    <a:lnTo>
                      <a:pt x="449306" y="40117"/>
                    </a:lnTo>
                    <a:lnTo>
                      <a:pt x="449306" y="39852"/>
                    </a:lnTo>
                    <a:lnTo>
                      <a:pt x="449570" y="36678"/>
                    </a:lnTo>
                    <a:lnTo>
                      <a:pt x="449306" y="35532"/>
                    </a:lnTo>
                    <a:lnTo>
                      <a:pt x="451599" y="32270"/>
                    </a:lnTo>
                    <a:lnTo>
                      <a:pt x="451599" y="32005"/>
                    </a:lnTo>
                    <a:lnTo>
                      <a:pt x="453362" y="31741"/>
                    </a:lnTo>
                    <a:lnTo>
                      <a:pt x="453626" y="31741"/>
                    </a:lnTo>
                    <a:lnTo>
                      <a:pt x="454244" y="34386"/>
                    </a:lnTo>
                    <a:lnTo>
                      <a:pt x="454244" y="34650"/>
                    </a:lnTo>
                    <a:lnTo>
                      <a:pt x="454244" y="34915"/>
                    </a:lnTo>
                    <a:lnTo>
                      <a:pt x="454773" y="37295"/>
                    </a:lnTo>
                    <a:lnTo>
                      <a:pt x="455654" y="40822"/>
                    </a:lnTo>
                    <a:lnTo>
                      <a:pt x="457153" y="41086"/>
                    </a:lnTo>
                    <a:lnTo>
                      <a:pt x="457418" y="41439"/>
                    </a:lnTo>
                    <a:lnTo>
                      <a:pt x="458035" y="42056"/>
                    </a:lnTo>
                    <a:lnTo>
                      <a:pt x="458035" y="42321"/>
                    </a:lnTo>
                    <a:lnTo>
                      <a:pt x="458300" y="42321"/>
                    </a:lnTo>
                    <a:lnTo>
                      <a:pt x="458564" y="42585"/>
                    </a:lnTo>
                    <a:lnTo>
                      <a:pt x="458564" y="42850"/>
                    </a:lnTo>
                    <a:lnTo>
                      <a:pt x="458300" y="43467"/>
                    </a:lnTo>
                    <a:lnTo>
                      <a:pt x="458035" y="44084"/>
                    </a:lnTo>
                    <a:lnTo>
                      <a:pt x="457771" y="44084"/>
                    </a:lnTo>
                    <a:lnTo>
                      <a:pt x="456889" y="44260"/>
                    </a:lnTo>
                    <a:close/>
                    <a:moveTo>
                      <a:pt x="584292" y="46288"/>
                    </a:moveTo>
                    <a:lnTo>
                      <a:pt x="584027" y="46288"/>
                    </a:lnTo>
                    <a:lnTo>
                      <a:pt x="584027" y="46024"/>
                    </a:lnTo>
                    <a:lnTo>
                      <a:pt x="584027" y="45759"/>
                    </a:lnTo>
                    <a:lnTo>
                      <a:pt x="584292" y="44613"/>
                    </a:lnTo>
                    <a:lnTo>
                      <a:pt x="584292" y="44349"/>
                    </a:lnTo>
                    <a:lnTo>
                      <a:pt x="584557" y="44084"/>
                    </a:lnTo>
                    <a:lnTo>
                      <a:pt x="584557" y="43820"/>
                    </a:lnTo>
                    <a:lnTo>
                      <a:pt x="584821" y="43820"/>
                    </a:lnTo>
                    <a:lnTo>
                      <a:pt x="585174" y="43555"/>
                    </a:lnTo>
                    <a:lnTo>
                      <a:pt x="585174" y="43820"/>
                    </a:lnTo>
                    <a:lnTo>
                      <a:pt x="585174" y="44084"/>
                    </a:lnTo>
                    <a:lnTo>
                      <a:pt x="584557" y="45848"/>
                    </a:lnTo>
                    <a:lnTo>
                      <a:pt x="584292" y="46112"/>
                    </a:lnTo>
                    <a:lnTo>
                      <a:pt x="584292" y="46288"/>
                    </a:lnTo>
                    <a:close/>
                    <a:moveTo>
                      <a:pt x="554844" y="46906"/>
                    </a:moveTo>
                    <a:lnTo>
                      <a:pt x="553345" y="47170"/>
                    </a:lnTo>
                    <a:lnTo>
                      <a:pt x="553345" y="46906"/>
                    </a:lnTo>
                    <a:lnTo>
                      <a:pt x="553610" y="46641"/>
                    </a:lnTo>
                    <a:lnTo>
                      <a:pt x="553610" y="46377"/>
                    </a:lnTo>
                    <a:lnTo>
                      <a:pt x="554756" y="46377"/>
                    </a:lnTo>
                    <a:lnTo>
                      <a:pt x="554756" y="46112"/>
                    </a:lnTo>
                    <a:lnTo>
                      <a:pt x="555020" y="46377"/>
                    </a:lnTo>
                    <a:lnTo>
                      <a:pt x="555020" y="46641"/>
                    </a:lnTo>
                    <a:lnTo>
                      <a:pt x="554844" y="46906"/>
                    </a:lnTo>
                    <a:close/>
                    <a:moveTo>
                      <a:pt x="579707" y="49198"/>
                    </a:moveTo>
                    <a:lnTo>
                      <a:pt x="577679" y="50344"/>
                    </a:lnTo>
                    <a:lnTo>
                      <a:pt x="577062" y="50080"/>
                    </a:lnTo>
                    <a:lnTo>
                      <a:pt x="577062" y="49463"/>
                    </a:lnTo>
                    <a:lnTo>
                      <a:pt x="579972" y="48052"/>
                    </a:lnTo>
                    <a:lnTo>
                      <a:pt x="580236" y="47699"/>
                    </a:lnTo>
                    <a:lnTo>
                      <a:pt x="580501" y="47699"/>
                    </a:lnTo>
                    <a:lnTo>
                      <a:pt x="580501" y="48052"/>
                    </a:lnTo>
                    <a:lnTo>
                      <a:pt x="580501" y="48316"/>
                    </a:lnTo>
                    <a:lnTo>
                      <a:pt x="580501" y="48581"/>
                    </a:lnTo>
                    <a:lnTo>
                      <a:pt x="579972" y="49198"/>
                    </a:lnTo>
                    <a:lnTo>
                      <a:pt x="579707" y="49198"/>
                    </a:lnTo>
                    <a:close/>
                    <a:moveTo>
                      <a:pt x="551670" y="49198"/>
                    </a:moveTo>
                    <a:lnTo>
                      <a:pt x="550788" y="49727"/>
                    </a:lnTo>
                    <a:lnTo>
                      <a:pt x="550171" y="49198"/>
                    </a:lnTo>
                    <a:lnTo>
                      <a:pt x="550171" y="48845"/>
                    </a:lnTo>
                    <a:lnTo>
                      <a:pt x="550523" y="48845"/>
                    </a:lnTo>
                    <a:lnTo>
                      <a:pt x="550788" y="48581"/>
                    </a:lnTo>
                    <a:lnTo>
                      <a:pt x="551405" y="48581"/>
                    </a:lnTo>
                    <a:lnTo>
                      <a:pt x="551670" y="48845"/>
                    </a:lnTo>
                    <a:lnTo>
                      <a:pt x="551934" y="48845"/>
                    </a:lnTo>
                    <a:lnTo>
                      <a:pt x="551934" y="49198"/>
                    </a:lnTo>
                    <a:lnTo>
                      <a:pt x="551670" y="49198"/>
                    </a:lnTo>
                    <a:close/>
                    <a:moveTo>
                      <a:pt x="549906" y="51490"/>
                    </a:moveTo>
                    <a:lnTo>
                      <a:pt x="549642" y="51490"/>
                    </a:lnTo>
                    <a:lnTo>
                      <a:pt x="549289" y="51490"/>
                    </a:lnTo>
                    <a:lnTo>
                      <a:pt x="549289" y="51226"/>
                    </a:lnTo>
                    <a:lnTo>
                      <a:pt x="549025" y="50961"/>
                    </a:lnTo>
                    <a:lnTo>
                      <a:pt x="549025" y="50080"/>
                    </a:lnTo>
                    <a:lnTo>
                      <a:pt x="549289" y="49815"/>
                    </a:lnTo>
                    <a:lnTo>
                      <a:pt x="550171" y="50080"/>
                    </a:lnTo>
                    <a:lnTo>
                      <a:pt x="550523" y="50080"/>
                    </a:lnTo>
                    <a:lnTo>
                      <a:pt x="550523" y="50344"/>
                    </a:lnTo>
                    <a:lnTo>
                      <a:pt x="550523" y="50609"/>
                    </a:lnTo>
                    <a:lnTo>
                      <a:pt x="550171" y="50873"/>
                    </a:lnTo>
                    <a:lnTo>
                      <a:pt x="549906" y="51138"/>
                    </a:lnTo>
                    <a:lnTo>
                      <a:pt x="549906" y="51490"/>
                    </a:lnTo>
                    <a:close/>
                    <a:moveTo>
                      <a:pt x="495683" y="51843"/>
                    </a:moveTo>
                    <a:lnTo>
                      <a:pt x="495683" y="51843"/>
                    </a:lnTo>
                    <a:lnTo>
                      <a:pt x="495418" y="51843"/>
                    </a:lnTo>
                    <a:lnTo>
                      <a:pt x="495154" y="51579"/>
                    </a:lnTo>
                    <a:lnTo>
                      <a:pt x="494625" y="50961"/>
                    </a:lnTo>
                    <a:lnTo>
                      <a:pt x="494625" y="50697"/>
                    </a:lnTo>
                    <a:lnTo>
                      <a:pt x="495771" y="50080"/>
                    </a:lnTo>
                    <a:lnTo>
                      <a:pt x="496035" y="50080"/>
                    </a:lnTo>
                    <a:lnTo>
                      <a:pt x="496035" y="50344"/>
                    </a:lnTo>
                    <a:lnTo>
                      <a:pt x="496035" y="50961"/>
                    </a:lnTo>
                    <a:lnTo>
                      <a:pt x="496035" y="51579"/>
                    </a:lnTo>
                    <a:lnTo>
                      <a:pt x="495683" y="51843"/>
                    </a:lnTo>
                    <a:close/>
                    <a:moveTo>
                      <a:pt x="590993" y="51843"/>
                    </a:moveTo>
                    <a:lnTo>
                      <a:pt x="590993" y="51843"/>
                    </a:lnTo>
                    <a:lnTo>
                      <a:pt x="590728" y="51843"/>
                    </a:lnTo>
                    <a:lnTo>
                      <a:pt x="590728" y="51579"/>
                    </a:lnTo>
                    <a:lnTo>
                      <a:pt x="590728" y="50961"/>
                    </a:lnTo>
                    <a:lnTo>
                      <a:pt x="590728" y="50697"/>
                    </a:lnTo>
                    <a:lnTo>
                      <a:pt x="591345" y="50080"/>
                    </a:lnTo>
                    <a:lnTo>
                      <a:pt x="591345" y="50344"/>
                    </a:lnTo>
                    <a:lnTo>
                      <a:pt x="591345" y="51226"/>
                    </a:lnTo>
                    <a:lnTo>
                      <a:pt x="591345" y="51490"/>
                    </a:lnTo>
                    <a:lnTo>
                      <a:pt x="591345" y="51755"/>
                    </a:lnTo>
                    <a:lnTo>
                      <a:pt x="590993" y="51755"/>
                    </a:lnTo>
                    <a:close/>
                    <a:moveTo>
                      <a:pt x="572037" y="85347"/>
                    </a:moveTo>
                    <a:lnTo>
                      <a:pt x="572301" y="86581"/>
                    </a:lnTo>
                    <a:lnTo>
                      <a:pt x="571684" y="85082"/>
                    </a:lnTo>
                    <a:lnTo>
                      <a:pt x="571419" y="82173"/>
                    </a:lnTo>
                    <a:lnTo>
                      <a:pt x="571684" y="82173"/>
                    </a:lnTo>
                    <a:lnTo>
                      <a:pt x="571948" y="82437"/>
                    </a:lnTo>
                    <a:lnTo>
                      <a:pt x="572213" y="82437"/>
                    </a:lnTo>
                    <a:lnTo>
                      <a:pt x="572477" y="82702"/>
                    </a:lnTo>
                    <a:lnTo>
                      <a:pt x="572742" y="84201"/>
                    </a:lnTo>
                    <a:lnTo>
                      <a:pt x="572477" y="84818"/>
                    </a:lnTo>
                    <a:lnTo>
                      <a:pt x="572213" y="85082"/>
                    </a:lnTo>
                    <a:lnTo>
                      <a:pt x="571948" y="85082"/>
                    </a:lnTo>
                    <a:lnTo>
                      <a:pt x="571948" y="85347"/>
                    </a:lnTo>
                    <a:close/>
                    <a:moveTo>
                      <a:pt x="572037" y="94428"/>
                    </a:moveTo>
                    <a:lnTo>
                      <a:pt x="572037" y="94693"/>
                    </a:lnTo>
                    <a:lnTo>
                      <a:pt x="572037" y="93811"/>
                    </a:lnTo>
                    <a:lnTo>
                      <a:pt x="572037" y="93547"/>
                    </a:lnTo>
                    <a:lnTo>
                      <a:pt x="572037" y="92665"/>
                    </a:lnTo>
                    <a:lnTo>
                      <a:pt x="571772" y="92665"/>
                    </a:lnTo>
                    <a:lnTo>
                      <a:pt x="571772" y="92401"/>
                    </a:lnTo>
                    <a:lnTo>
                      <a:pt x="571508" y="92401"/>
                    </a:lnTo>
                    <a:lnTo>
                      <a:pt x="571243" y="92401"/>
                    </a:lnTo>
                    <a:lnTo>
                      <a:pt x="571243" y="92665"/>
                    </a:lnTo>
                    <a:lnTo>
                      <a:pt x="570979" y="92665"/>
                    </a:lnTo>
                    <a:lnTo>
                      <a:pt x="570979" y="92930"/>
                    </a:lnTo>
                    <a:lnTo>
                      <a:pt x="571243" y="93194"/>
                    </a:lnTo>
                    <a:lnTo>
                      <a:pt x="571243" y="93547"/>
                    </a:lnTo>
                    <a:lnTo>
                      <a:pt x="571243" y="93811"/>
                    </a:lnTo>
                    <a:lnTo>
                      <a:pt x="571243" y="94076"/>
                    </a:lnTo>
                    <a:lnTo>
                      <a:pt x="570979" y="94076"/>
                    </a:lnTo>
                    <a:lnTo>
                      <a:pt x="570450" y="93811"/>
                    </a:lnTo>
                    <a:lnTo>
                      <a:pt x="570185" y="93547"/>
                    </a:lnTo>
                    <a:lnTo>
                      <a:pt x="570185" y="93194"/>
                    </a:lnTo>
                    <a:lnTo>
                      <a:pt x="570450" y="91431"/>
                    </a:lnTo>
                    <a:lnTo>
                      <a:pt x="570714" y="91431"/>
                    </a:lnTo>
                    <a:lnTo>
                      <a:pt x="570714" y="91078"/>
                    </a:lnTo>
                    <a:lnTo>
                      <a:pt x="572477" y="89932"/>
                    </a:lnTo>
                    <a:lnTo>
                      <a:pt x="572742" y="89667"/>
                    </a:lnTo>
                    <a:lnTo>
                      <a:pt x="573623" y="89667"/>
                    </a:lnTo>
                    <a:lnTo>
                      <a:pt x="573623" y="89932"/>
                    </a:lnTo>
                    <a:lnTo>
                      <a:pt x="574241" y="90813"/>
                    </a:lnTo>
                    <a:lnTo>
                      <a:pt x="574505" y="90813"/>
                    </a:lnTo>
                    <a:lnTo>
                      <a:pt x="574505" y="91078"/>
                    </a:lnTo>
                    <a:lnTo>
                      <a:pt x="574505" y="91431"/>
                    </a:lnTo>
                    <a:lnTo>
                      <a:pt x="573976" y="92841"/>
                    </a:lnTo>
                    <a:lnTo>
                      <a:pt x="573094" y="93988"/>
                    </a:lnTo>
                    <a:lnTo>
                      <a:pt x="572037" y="94428"/>
                    </a:lnTo>
                    <a:close/>
                    <a:moveTo>
                      <a:pt x="364929" y="95574"/>
                    </a:moveTo>
                    <a:lnTo>
                      <a:pt x="364665" y="95839"/>
                    </a:lnTo>
                    <a:lnTo>
                      <a:pt x="364400" y="95574"/>
                    </a:lnTo>
                    <a:lnTo>
                      <a:pt x="363783" y="95574"/>
                    </a:lnTo>
                    <a:lnTo>
                      <a:pt x="363519" y="95574"/>
                    </a:lnTo>
                    <a:lnTo>
                      <a:pt x="362901" y="95839"/>
                    </a:lnTo>
                    <a:lnTo>
                      <a:pt x="362901" y="95574"/>
                    </a:lnTo>
                    <a:lnTo>
                      <a:pt x="362548" y="95222"/>
                    </a:lnTo>
                    <a:lnTo>
                      <a:pt x="362548" y="94869"/>
                    </a:lnTo>
                    <a:lnTo>
                      <a:pt x="362901" y="94869"/>
                    </a:lnTo>
                    <a:lnTo>
                      <a:pt x="363166" y="94869"/>
                    </a:lnTo>
                    <a:lnTo>
                      <a:pt x="363430" y="94869"/>
                    </a:lnTo>
                    <a:lnTo>
                      <a:pt x="363695" y="94869"/>
                    </a:lnTo>
                    <a:lnTo>
                      <a:pt x="364929" y="95574"/>
                    </a:lnTo>
                    <a:close/>
                    <a:moveTo>
                      <a:pt x="585527" y="105449"/>
                    </a:moveTo>
                    <a:lnTo>
                      <a:pt x="585262" y="105449"/>
                    </a:lnTo>
                    <a:lnTo>
                      <a:pt x="584909" y="105449"/>
                    </a:lnTo>
                    <a:lnTo>
                      <a:pt x="584909" y="105185"/>
                    </a:lnTo>
                    <a:lnTo>
                      <a:pt x="584645" y="104920"/>
                    </a:lnTo>
                    <a:lnTo>
                      <a:pt x="582617" y="104656"/>
                    </a:lnTo>
                    <a:lnTo>
                      <a:pt x="582264" y="104656"/>
                    </a:lnTo>
                    <a:lnTo>
                      <a:pt x="582000" y="104656"/>
                    </a:lnTo>
                    <a:lnTo>
                      <a:pt x="581382" y="104656"/>
                    </a:lnTo>
                    <a:lnTo>
                      <a:pt x="581118" y="104656"/>
                    </a:lnTo>
                    <a:lnTo>
                      <a:pt x="579707" y="104920"/>
                    </a:lnTo>
                    <a:lnTo>
                      <a:pt x="574417" y="103422"/>
                    </a:lnTo>
                    <a:lnTo>
                      <a:pt x="575916" y="99101"/>
                    </a:lnTo>
                    <a:lnTo>
                      <a:pt x="575916" y="97338"/>
                    </a:lnTo>
                    <a:lnTo>
                      <a:pt x="576798" y="95310"/>
                    </a:lnTo>
                    <a:lnTo>
                      <a:pt x="577679" y="94164"/>
                    </a:lnTo>
                    <a:lnTo>
                      <a:pt x="579707" y="93635"/>
                    </a:lnTo>
                    <a:lnTo>
                      <a:pt x="580589" y="93635"/>
                    </a:lnTo>
                    <a:lnTo>
                      <a:pt x="581471" y="93018"/>
                    </a:lnTo>
                    <a:lnTo>
                      <a:pt x="581471" y="92753"/>
                    </a:lnTo>
                    <a:lnTo>
                      <a:pt x="581471" y="92489"/>
                    </a:lnTo>
                    <a:lnTo>
                      <a:pt x="580853" y="91343"/>
                    </a:lnTo>
                    <a:lnTo>
                      <a:pt x="582882" y="89579"/>
                    </a:lnTo>
                    <a:lnTo>
                      <a:pt x="583763" y="89579"/>
                    </a:lnTo>
                    <a:lnTo>
                      <a:pt x="584116" y="89579"/>
                    </a:lnTo>
                    <a:lnTo>
                      <a:pt x="584116" y="89844"/>
                    </a:lnTo>
                    <a:lnTo>
                      <a:pt x="583763" y="90108"/>
                    </a:lnTo>
                    <a:lnTo>
                      <a:pt x="583498" y="90725"/>
                    </a:lnTo>
                    <a:lnTo>
                      <a:pt x="583498" y="90990"/>
                    </a:lnTo>
                    <a:lnTo>
                      <a:pt x="582882" y="91254"/>
                    </a:lnTo>
                    <a:lnTo>
                      <a:pt x="582617" y="91254"/>
                    </a:lnTo>
                    <a:lnTo>
                      <a:pt x="582617" y="91607"/>
                    </a:lnTo>
                    <a:lnTo>
                      <a:pt x="582617" y="91872"/>
                    </a:lnTo>
                    <a:lnTo>
                      <a:pt x="583146" y="93899"/>
                    </a:lnTo>
                    <a:lnTo>
                      <a:pt x="583146" y="94164"/>
                    </a:lnTo>
                    <a:lnTo>
                      <a:pt x="584645" y="94428"/>
                    </a:lnTo>
                    <a:lnTo>
                      <a:pt x="584909" y="94428"/>
                    </a:lnTo>
                    <a:lnTo>
                      <a:pt x="585262" y="94428"/>
                    </a:lnTo>
                    <a:lnTo>
                      <a:pt x="585527" y="94164"/>
                    </a:lnTo>
                    <a:lnTo>
                      <a:pt x="585791" y="94164"/>
                    </a:lnTo>
                    <a:lnTo>
                      <a:pt x="585791" y="93899"/>
                    </a:lnTo>
                    <a:lnTo>
                      <a:pt x="585791" y="93635"/>
                    </a:lnTo>
                    <a:lnTo>
                      <a:pt x="586056" y="93282"/>
                    </a:lnTo>
                    <a:lnTo>
                      <a:pt x="585791" y="93282"/>
                    </a:lnTo>
                    <a:lnTo>
                      <a:pt x="585791" y="93018"/>
                    </a:lnTo>
                    <a:lnTo>
                      <a:pt x="585791" y="92753"/>
                    </a:lnTo>
                    <a:lnTo>
                      <a:pt x="586320" y="92136"/>
                    </a:lnTo>
                    <a:lnTo>
                      <a:pt x="586937" y="91872"/>
                    </a:lnTo>
                    <a:lnTo>
                      <a:pt x="587202" y="92136"/>
                    </a:lnTo>
                    <a:lnTo>
                      <a:pt x="587466" y="92401"/>
                    </a:lnTo>
                    <a:lnTo>
                      <a:pt x="587466" y="92665"/>
                    </a:lnTo>
                    <a:lnTo>
                      <a:pt x="587466" y="93282"/>
                    </a:lnTo>
                    <a:lnTo>
                      <a:pt x="586320" y="94428"/>
                    </a:lnTo>
                    <a:lnTo>
                      <a:pt x="585174" y="95927"/>
                    </a:lnTo>
                    <a:lnTo>
                      <a:pt x="584821" y="95927"/>
                    </a:lnTo>
                    <a:lnTo>
                      <a:pt x="584557" y="95927"/>
                    </a:lnTo>
                    <a:lnTo>
                      <a:pt x="584292" y="96192"/>
                    </a:lnTo>
                    <a:lnTo>
                      <a:pt x="584027" y="96544"/>
                    </a:lnTo>
                    <a:lnTo>
                      <a:pt x="583675" y="96809"/>
                    </a:lnTo>
                    <a:lnTo>
                      <a:pt x="581911" y="99983"/>
                    </a:lnTo>
                    <a:lnTo>
                      <a:pt x="581647" y="100865"/>
                    </a:lnTo>
                    <a:lnTo>
                      <a:pt x="581647" y="101129"/>
                    </a:lnTo>
                    <a:lnTo>
                      <a:pt x="581647" y="102011"/>
                    </a:lnTo>
                    <a:lnTo>
                      <a:pt x="581647" y="102275"/>
                    </a:lnTo>
                    <a:lnTo>
                      <a:pt x="581911" y="102540"/>
                    </a:lnTo>
                    <a:lnTo>
                      <a:pt x="581911" y="102804"/>
                    </a:lnTo>
                    <a:lnTo>
                      <a:pt x="582176" y="102804"/>
                    </a:lnTo>
                    <a:lnTo>
                      <a:pt x="583058" y="102804"/>
                    </a:lnTo>
                    <a:lnTo>
                      <a:pt x="584821" y="103069"/>
                    </a:lnTo>
                    <a:lnTo>
                      <a:pt x="585174" y="103069"/>
                    </a:lnTo>
                    <a:lnTo>
                      <a:pt x="585438" y="103069"/>
                    </a:lnTo>
                    <a:lnTo>
                      <a:pt x="585702" y="102804"/>
                    </a:lnTo>
                    <a:lnTo>
                      <a:pt x="585967" y="102540"/>
                    </a:lnTo>
                    <a:lnTo>
                      <a:pt x="585967" y="102275"/>
                    </a:lnTo>
                    <a:lnTo>
                      <a:pt x="586231" y="102011"/>
                    </a:lnTo>
                    <a:lnTo>
                      <a:pt x="587113" y="101658"/>
                    </a:lnTo>
                    <a:lnTo>
                      <a:pt x="587378" y="101658"/>
                    </a:lnTo>
                    <a:lnTo>
                      <a:pt x="586231" y="104832"/>
                    </a:lnTo>
                    <a:lnTo>
                      <a:pt x="585967" y="105097"/>
                    </a:lnTo>
                    <a:lnTo>
                      <a:pt x="585527" y="105449"/>
                    </a:lnTo>
                    <a:close/>
                    <a:moveTo>
                      <a:pt x="331160" y="113385"/>
                    </a:moveTo>
                    <a:lnTo>
                      <a:pt x="330896" y="114266"/>
                    </a:lnTo>
                    <a:lnTo>
                      <a:pt x="330631" y="114266"/>
                    </a:lnTo>
                    <a:lnTo>
                      <a:pt x="329750" y="113649"/>
                    </a:lnTo>
                    <a:lnTo>
                      <a:pt x="329750" y="113296"/>
                    </a:lnTo>
                    <a:lnTo>
                      <a:pt x="329750" y="113032"/>
                    </a:lnTo>
                    <a:lnTo>
                      <a:pt x="330367" y="111533"/>
                    </a:lnTo>
                    <a:lnTo>
                      <a:pt x="330984" y="110122"/>
                    </a:lnTo>
                    <a:lnTo>
                      <a:pt x="331866" y="108976"/>
                    </a:lnTo>
                    <a:lnTo>
                      <a:pt x="332131" y="108976"/>
                    </a:lnTo>
                    <a:lnTo>
                      <a:pt x="332483" y="108976"/>
                    </a:lnTo>
                    <a:lnTo>
                      <a:pt x="333100" y="109858"/>
                    </a:lnTo>
                    <a:lnTo>
                      <a:pt x="333100" y="110210"/>
                    </a:lnTo>
                    <a:lnTo>
                      <a:pt x="332218" y="112855"/>
                    </a:lnTo>
                    <a:lnTo>
                      <a:pt x="331337" y="113120"/>
                    </a:lnTo>
                    <a:lnTo>
                      <a:pt x="331337" y="113385"/>
                    </a:lnTo>
                    <a:close/>
                    <a:moveTo>
                      <a:pt x="425677" y="120614"/>
                    </a:moveTo>
                    <a:lnTo>
                      <a:pt x="425677" y="122025"/>
                    </a:lnTo>
                    <a:lnTo>
                      <a:pt x="425060" y="120879"/>
                    </a:lnTo>
                    <a:lnTo>
                      <a:pt x="425060" y="120614"/>
                    </a:lnTo>
                    <a:lnTo>
                      <a:pt x="424531" y="119468"/>
                    </a:lnTo>
                    <a:lnTo>
                      <a:pt x="424531" y="118587"/>
                    </a:lnTo>
                    <a:lnTo>
                      <a:pt x="424266" y="117969"/>
                    </a:lnTo>
                    <a:lnTo>
                      <a:pt x="424266" y="117705"/>
                    </a:lnTo>
                    <a:lnTo>
                      <a:pt x="424531" y="117440"/>
                    </a:lnTo>
                    <a:lnTo>
                      <a:pt x="424795" y="117705"/>
                    </a:lnTo>
                    <a:lnTo>
                      <a:pt x="424795" y="117969"/>
                    </a:lnTo>
                    <a:lnTo>
                      <a:pt x="425412" y="119116"/>
                    </a:lnTo>
                    <a:lnTo>
                      <a:pt x="425765" y="119380"/>
                    </a:lnTo>
                    <a:lnTo>
                      <a:pt x="425765" y="120262"/>
                    </a:lnTo>
                    <a:lnTo>
                      <a:pt x="425765" y="120614"/>
                    </a:lnTo>
                    <a:close/>
                    <a:moveTo>
                      <a:pt x="426823" y="119733"/>
                    </a:moveTo>
                    <a:lnTo>
                      <a:pt x="426559" y="119733"/>
                    </a:lnTo>
                    <a:lnTo>
                      <a:pt x="426294" y="119733"/>
                    </a:lnTo>
                    <a:lnTo>
                      <a:pt x="426030" y="118851"/>
                    </a:lnTo>
                    <a:lnTo>
                      <a:pt x="426030" y="118587"/>
                    </a:lnTo>
                    <a:lnTo>
                      <a:pt x="426030" y="118322"/>
                    </a:lnTo>
                    <a:lnTo>
                      <a:pt x="426030" y="118058"/>
                    </a:lnTo>
                    <a:lnTo>
                      <a:pt x="426294" y="118058"/>
                    </a:lnTo>
                    <a:lnTo>
                      <a:pt x="426559" y="118675"/>
                    </a:lnTo>
                    <a:lnTo>
                      <a:pt x="426823" y="118939"/>
                    </a:lnTo>
                    <a:lnTo>
                      <a:pt x="426823" y="119204"/>
                    </a:lnTo>
                    <a:lnTo>
                      <a:pt x="426823" y="119733"/>
                    </a:lnTo>
                    <a:close/>
                    <a:moveTo>
                      <a:pt x="558635" y="120350"/>
                    </a:moveTo>
                    <a:lnTo>
                      <a:pt x="557136" y="120614"/>
                    </a:lnTo>
                    <a:lnTo>
                      <a:pt x="558018" y="118851"/>
                    </a:lnTo>
                    <a:lnTo>
                      <a:pt x="558282" y="118851"/>
                    </a:lnTo>
                    <a:lnTo>
                      <a:pt x="558282" y="118587"/>
                    </a:lnTo>
                    <a:lnTo>
                      <a:pt x="558547" y="118851"/>
                    </a:lnTo>
                    <a:lnTo>
                      <a:pt x="558811" y="119116"/>
                    </a:lnTo>
                    <a:lnTo>
                      <a:pt x="558811" y="119380"/>
                    </a:lnTo>
                    <a:lnTo>
                      <a:pt x="558811" y="119997"/>
                    </a:lnTo>
                    <a:lnTo>
                      <a:pt x="558811" y="120262"/>
                    </a:lnTo>
                    <a:lnTo>
                      <a:pt x="558635" y="120262"/>
                    </a:lnTo>
                    <a:close/>
                    <a:moveTo>
                      <a:pt x="400549" y="123876"/>
                    </a:moveTo>
                    <a:lnTo>
                      <a:pt x="400285" y="123876"/>
                    </a:lnTo>
                    <a:lnTo>
                      <a:pt x="400020" y="123259"/>
                    </a:lnTo>
                    <a:lnTo>
                      <a:pt x="399138" y="121761"/>
                    </a:lnTo>
                    <a:lnTo>
                      <a:pt x="399138" y="120262"/>
                    </a:lnTo>
                    <a:lnTo>
                      <a:pt x="399138" y="119645"/>
                    </a:lnTo>
                    <a:lnTo>
                      <a:pt x="399403" y="119380"/>
                    </a:lnTo>
                    <a:lnTo>
                      <a:pt x="399403" y="119645"/>
                    </a:lnTo>
                    <a:lnTo>
                      <a:pt x="399667" y="120262"/>
                    </a:lnTo>
                    <a:lnTo>
                      <a:pt x="400020" y="120526"/>
                    </a:lnTo>
                    <a:lnTo>
                      <a:pt x="400020" y="120791"/>
                    </a:lnTo>
                    <a:lnTo>
                      <a:pt x="400637" y="122554"/>
                    </a:lnTo>
                    <a:lnTo>
                      <a:pt x="400637" y="122818"/>
                    </a:lnTo>
                    <a:lnTo>
                      <a:pt x="400637" y="123876"/>
                    </a:lnTo>
                    <a:close/>
                    <a:moveTo>
                      <a:pt x="325342" y="123524"/>
                    </a:moveTo>
                    <a:lnTo>
                      <a:pt x="325077" y="123524"/>
                    </a:lnTo>
                    <a:lnTo>
                      <a:pt x="324813" y="123524"/>
                    </a:lnTo>
                    <a:lnTo>
                      <a:pt x="324548" y="123524"/>
                    </a:lnTo>
                    <a:lnTo>
                      <a:pt x="323666" y="122642"/>
                    </a:lnTo>
                    <a:lnTo>
                      <a:pt x="323666" y="122290"/>
                    </a:lnTo>
                    <a:lnTo>
                      <a:pt x="323666" y="122025"/>
                    </a:lnTo>
                    <a:lnTo>
                      <a:pt x="323931" y="121761"/>
                    </a:lnTo>
                    <a:lnTo>
                      <a:pt x="324195" y="121496"/>
                    </a:lnTo>
                    <a:lnTo>
                      <a:pt x="325077" y="121496"/>
                    </a:lnTo>
                    <a:lnTo>
                      <a:pt x="325342" y="123259"/>
                    </a:lnTo>
                    <a:lnTo>
                      <a:pt x="325342" y="123524"/>
                    </a:lnTo>
                    <a:close/>
                    <a:moveTo>
                      <a:pt x="394465" y="127668"/>
                    </a:moveTo>
                    <a:lnTo>
                      <a:pt x="394465" y="127668"/>
                    </a:lnTo>
                    <a:lnTo>
                      <a:pt x="393320" y="126522"/>
                    </a:lnTo>
                    <a:lnTo>
                      <a:pt x="393320" y="126169"/>
                    </a:lnTo>
                    <a:lnTo>
                      <a:pt x="393320" y="125904"/>
                    </a:lnTo>
                    <a:lnTo>
                      <a:pt x="393584" y="124141"/>
                    </a:lnTo>
                    <a:lnTo>
                      <a:pt x="393584" y="123788"/>
                    </a:lnTo>
                    <a:lnTo>
                      <a:pt x="393849" y="123788"/>
                    </a:lnTo>
                    <a:lnTo>
                      <a:pt x="394113" y="123788"/>
                    </a:lnTo>
                    <a:lnTo>
                      <a:pt x="394113" y="124141"/>
                    </a:lnTo>
                    <a:lnTo>
                      <a:pt x="394730" y="125552"/>
                    </a:lnTo>
                    <a:lnTo>
                      <a:pt x="394730" y="125816"/>
                    </a:lnTo>
                    <a:lnTo>
                      <a:pt x="394730" y="126962"/>
                    </a:lnTo>
                    <a:lnTo>
                      <a:pt x="394730" y="127227"/>
                    </a:lnTo>
                    <a:lnTo>
                      <a:pt x="394465" y="127668"/>
                    </a:lnTo>
                    <a:close/>
                    <a:moveTo>
                      <a:pt x="321462" y="129696"/>
                    </a:moveTo>
                    <a:lnTo>
                      <a:pt x="321197" y="129960"/>
                    </a:lnTo>
                    <a:lnTo>
                      <a:pt x="321197" y="129696"/>
                    </a:lnTo>
                    <a:lnTo>
                      <a:pt x="321197" y="129079"/>
                    </a:lnTo>
                    <a:lnTo>
                      <a:pt x="321197" y="128814"/>
                    </a:lnTo>
                    <a:lnTo>
                      <a:pt x="321462" y="128814"/>
                    </a:lnTo>
                    <a:lnTo>
                      <a:pt x="321815" y="128814"/>
                    </a:lnTo>
                    <a:lnTo>
                      <a:pt x="322079" y="128814"/>
                    </a:lnTo>
                    <a:lnTo>
                      <a:pt x="322344" y="128814"/>
                    </a:lnTo>
                    <a:lnTo>
                      <a:pt x="322344" y="129079"/>
                    </a:lnTo>
                    <a:lnTo>
                      <a:pt x="322079" y="129696"/>
                    </a:lnTo>
                    <a:lnTo>
                      <a:pt x="321815" y="129696"/>
                    </a:lnTo>
                    <a:lnTo>
                      <a:pt x="321462" y="129696"/>
                    </a:lnTo>
                    <a:close/>
                    <a:moveTo>
                      <a:pt x="313086" y="130577"/>
                    </a:moveTo>
                    <a:lnTo>
                      <a:pt x="312205" y="130930"/>
                    </a:lnTo>
                    <a:lnTo>
                      <a:pt x="311940" y="130930"/>
                    </a:lnTo>
                    <a:lnTo>
                      <a:pt x="311676" y="130577"/>
                    </a:lnTo>
                    <a:lnTo>
                      <a:pt x="311411" y="130577"/>
                    </a:lnTo>
                    <a:lnTo>
                      <a:pt x="311411" y="130313"/>
                    </a:lnTo>
                    <a:lnTo>
                      <a:pt x="311411" y="130048"/>
                    </a:lnTo>
                    <a:lnTo>
                      <a:pt x="313439" y="129167"/>
                    </a:lnTo>
                    <a:lnTo>
                      <a:pt x="313703" y="129167"/>
                    </a:lnTo>
                    <a:lnTo>
                      <a:pt x="313703" y="129431"/>
                    </a:lnTo>
                    <a:lnTo>
                      <a:pt x="313703" y="129696"/>
                    </a:lnTo>
                    <a:lnTo>
                      <a:pt x="313439" y="130313"/>
                    </a:lnTo>
                    <a:lnTo>
                      <a:pt x="313086" y="130577"/>
                    </a:lnTo>
                    <a:close/>
                    <a:moveTo>
                      <a:pt x="316877" y="133223"/>
                    </a:moveTo>
                    <a:lnTo>
                      <a:pt x="314497" y="133840"/>
                    </a:lnTo>
                    <a:lnTo>
                      <a:pt x="314497" y="133223"/>
                    </a:lnTo>
                    <a:lnTo>
                      <a:pt x="313615" y="132076"/>
                    </a:lnTo>
                    <a:lnTo>
                      <a:pt x="313968" y="130930"/>
                    </a:lnTo>
                    <a:lnTo>
                      <a:pt x="314497" y="130048"/>
                    </a:lnTo>
                    <a:lnTo>
                      <a:pt x="314849" y="130048"/>
                    </a:lnTo>
                    <a:lnTo>
                      <a:pt x="315731" y="129431"/>
                    </a:lnTo>
                    <a:lnTo>
                      <a:pt x="316348" y="129431"/>
                    </a:lnTo>
                    <a:lnTo>
                      <a:pt x="317494" y="132605"/>
                    </a:lnTo>
                    <a:lnTo>
                      <a:pt x="317494" y="132870"/>
                    </a:lnTo>
                    <a:lnTo>
                      <a:pt x="317230" y="132870"/>
                    </a:lnTo>
                    <a:lnTo>
                      <a:pt x="316877" y="133223"/>
                    </a:lnTo>
                    <a:close/>
                    <a:moveTo>
                      <a:pt x="579090" y="138424"/>
                    </a:moveTo>
                    <a:lnTo>
                      <a:pt x="579090" y="138689"/>
                    </a:lnTo>
                    <a:lnTo>
                      <a:pt x="579090" y="138424"/>
                    </a:lnTo>
                    <a:lnTo>
                      <a:pt x="579090" y="137807"/>
                    </a:lnTo>
                    <a:lnTo>
                      <a:pt x="579090" y="137543"/>
                    </a:lnTo>
                    <a:lnTo>
                      <a:pt x="579355" y="136397"/>
                    </a:lnTo>
                    <a:lnTo>
                      <a:pt x="579972" y="135779"/>
                    </a:lnTo>
                    <a:lnTo>
                      <a:pt x="580236" y="135515"/>
                    </a:lnTo>
                    <a:lnTo>
                      <a:pt x="580236" y="135250"/>
                    </a:lnTo>
                    <a:lnTo>
                      <a:pt x="580236" y="137014"/>
                    </a:lnTo>
                    <a:lnTo>
                      <a:pt x="579972" y="137631"/>
                    </a:lnTo>
                    <a:lnTo>
                      <a:pt x="579707" y="138248"/>
                    </a:lnTo>
                    <a:lnTo>
                      <a:pt x="579707" y="138601"/>
                    </a:lnTo>
                    <a:lnTo>
                      <a:pt x="579090" y="138601"/>
                    </a:lnTo>
                    <a:close/>
                    <a:moveTo>
                      <a:pt x="572390" y="138689"/>
                    </a:moveTo>
                    <a:lnTo>
                      <a:pt x="572125" y="138953"/>
                    </a:lnTo>
                    <a:lnTo>
                      <a:pt x="572125" y="138689"/>
                    </a:lnTo>
                    <a:lnTo>
                      <a:pt x="571508" y="138424"/>
                    </a:lnTo>
                    <a:lnTo>
                      <a:pt x="572390" y="136397"/>
                    </a:lnTo>
                    <a:lnTo>
                      <a:pt x="573888" y="135515"/>
                    </a:lnTo>
                    <a:lnTo>
                      <a:pt x="574417" y="135779"/>
                    </a:lnTo>
                    <a:lnTo>
                      <a:pt x="574417" y="136397"/>
                    </a:lnTo>
                    <a:lnTo>
                      <a:pt x="573888" y="137895"/>
                    </a:lnTo>
                    <a:lnTo>
                      <a:pt x="573888" y="138160"/>
                    </a:lnTo>
                    <a:lnTo>
                      <a:pt x="573536" y="138777"/>
                    </a:lnTo>
                    <a:lnTo>
                      <a:pt x="572390" y="138777"/>
                    </a:lnTo>
                    <a:close/>
                    <a:moveTo>
                      <a:pt x="583146" y="143362"/>
                    </a:moveTo>
                    <a:lnTo>
                      <a:pt x="582882" y="143362"/>
                    </a:lnTo>
                    <a:lnTo>
                      <a:pt x="582617" y="143362"/>
                    </a:lnTo>
                    <a:lnTo>
                      <a:pt x="581735" y="142480"/>
                    </a:lnTo>
                    <a:lnTo>
                      <a:pt x="580853" y="140717"/>
                    </a:lnTo>
                    <a:lnTo>
                      <a:pt x="580853" y="140188"/>
                    </a:lnTo>
                    <a:lnTo>
                      <a:pt x="580853" y="139923"/>
                    </a:lnTo>
                    <a:lnTo>
                      <a:pt x="580853" y="139659"/>
                    </a:lnTo>
                    <a:lnTo>
                      <a:pt x="581471" y="139041"/>
                    </a:lnTo>
                    <a:lnTo>
                      <a:pt x="582353" y="137631"/>
                    </a:lnTo>
                    <a:lnTo>
                      <a:pt x="582705" y="137631"/>
                    </a:lnTo>
                    <a:lnTo>
                      <a:pt x="582969" y="137631"/>
                    </a:lnTo>
                    <a:lnTo>
                      <a:pt x="583587" y="139041"/>
                    </a:lnTo>
                    <a:lnTo>
                      <a:pt x="583851" y="139923"/>
                    </a:lnTo>
                    <a:lnTo>
                      <a:pt x="583851" y="141951"/>
                    </a:lnTo>
                    <a:lnTo>
                      <a:pt x="583851" y="142216"/>
                    </a:lnTo>
                    <a:lnTo>
                      <a:pt x="583851" y="142480"/>
                    </a:lnTo>
                    <a:lnTo>
                      <a:pt x="583146" y="143362"/>
                    </a:lnTo>
                    <a:close/>
                    <a:moveTo>
                      <a:pt x="576445" y="141687"/>
                    </a:moveTo>
                    <a:lnTo>
                      <a:pt x="576181" y="141687"/>
                    </a:lnTo>
                    <a:lnTo>
                      <a:pt x="576181" y="141334"/>
                    </a:lnTo>
                    <a:lnTo>
                      <a:pt x="576181" y="141069"/>
                    </a:lnTo>
                    <a:lnTo>
                      <a:pt x="576445" y="139041"/>
                    </a:lnTo>
                    <a:lnTo>
                      <a:pt x="576798" y="139041"/>
                    </a:lnTo>
                    <a:lnTo>
                      <a:pt x="576798" y="138777"/>
                    </a:lnTo>
                    <a:lnTo>
                      <a:pt x="577327" y="138777"/>
                    </a:lnTo>
                    <a:lnTo>
                      <a:pt x="577944" y="139041"/>
                    </a:lnTo>
                    <a:lnTo>
                      <a:pt x="578208" y="139041"/>
                    </a:lnTo>
                    <a:lnTo>
                      <a:pt x="578473" y="139394"/>
                    </a:lnTo>
                    <a:lnTo>
                      <a:pt x="578473" y="139659"/>
                    </a:lnTo>
                    <a:lnTo>
                      <a:pt x="578473" y="139923"/>
                    </a:lnTo>
                    <a:lnTo>
                      <a:pt x="578473" y="140188"/>
                    </a:lnTo>
                    <a:lnTo>
                      <a:pt x="577591" y="140717"/>
                    </a:lnTo>
                    <a:lnTo>
                      <a:pt x="576974" y="141246"/>
                    </a:lnTo>
                    <a:lnTo>
                      <a:pt x="576445" y="141687"/>
                    </a:lnTo>
                    <a:close/>
                    <a:moveTo>
                      <a:pt x="574681" y="142216"/>
                    </a:moveTo>
                    <a:lnTo>
                      <a:pt x="574417" y="142216"/>
                    </a:lnTo>
                    <a:lnTo>
                      <a:pt x="574152" y="141951"/>
                    </a:lnTo>
                    <a:lnTo>
                      <a:pt x="574152" y="141687"/>
                    </a:lnTo>
                    <a:lnTo>
                      <a:pt x="573888" y="141069"/>
                    </a:lnTo>
                    <a:lnTo>
                      <a:pt x="573536" y="141069"/>
                    </a:lnTo>
                    <a:lnTo>
                      <a:pt x="573536" y="140805"/>
                    </a:lnTo>
                    <a:lnTo>
                      <a:pt x="573888" y="140805"/>
                    </a:lnTo>
                    <a:lnTo>
                      <a:pt x="573888" y="140540"/>
                    </a:lnTo>
                    <a:lnTo>
                      <a:pt x="574417" y="139659"/>
                    </a:lnTo>
                    <a:lnTo>
                      <a:pt x="575034" y="139659"/>
                    </a:lnTo>
                    <a:lnTo>
                      <a:pt x="575916" y="140276"/>
                    </a:lnTo>
                    <a:lnTo>
                      <a:pt x="575916" y="140540"/>
                    </a:lnTo>
                    <a:lnTo>
                      <a:pt x="575034" y="141951"/>
                    </a:lnTo>
                    <a:lnTo>
                      <a:pt x="574681" y="142216"/>
                    </a:lnTo>
                    <a:close/>
                    <a:moveTo>
                      <a:pt x="624585" y="165845"/>
                    </a:moveTo>
                    <a:lnTo>
                      <a:pt x="623703" y="166462"/>
                    </a:lnTo>
                    <a:lnTo>
                      <a:pt x="623703" y="165580"/>
                    </a:lnTo>
                    <a:lnTo>
                      <a:pt x="623703" y="164963"/>
                    </a:lnTo>
                    <a:lnTo>
                      <a:pt x="624585" y="162935"/>
                    </a:lnTo>
                    <a:lnTo>
                      <a:pt x="624849" y="162671"/>
                    </a:lnTo>
                    <a:lnTo>
                      <a:pt x="626349" y="160643"/>
                    </a:lnTo>
                    <a:lnTo>
                      <a:pt x="627847" y="159761"/>
                    </a:lnTo>
                    <a:lnTo>
                      <a:pt x="628111" y="159409"/>
                    </a:lnTo>
                    <a:lnTo>
                      <a:pt x="628376" y="159144"/>
                    </a:lnTo>
                    <a:lnTo>
                      <a:pt x="628641" y="159144"/>
                    </a:lnTo>
                    <a:lnTo>
                      <a:pt x="629787" y="159144"/>
                    </a:lnTo>
                    <a:lnTo>
                      <a:pt x="631550" y="158791"/>
                    </a:lnTo>
                    <a:lnTo>
                      <a:pt x="632079" y="158527"/>
                    </a:lnTo>
                    <a:lnTo>
                      <a:pt x="633490" y="157910"/>
                    </a:lnTo>
                    <a:lnTo>
                      <a:pt x="637281" y="158527"/>
                    </a:lnTo>
                    <a:lnTo>
                      <a:pt x="637546" y="158791"/>
                    </a:lnTo>
                    <a:lnTo>
                      <a:pt x="637546" y="159409"/>
                    </a:lnTo>
                    <a:lnTo>
                      <a:pt x="637546" y="159761"/>
                    </a:lnTo>
                    <a:lnTo>
                      <a:pt x="637281" y="160026"/>
                    </a:lnTo>
                    <a:lnTo>
                      <a:pt x="637281" y="160290"/>
                    </a:lnTo>
                    <a:lnTo>
                      <a:pt x="636399" y="160643"/>
                    </a:lnTo>
                    <a:lnTo>
                      <a:pt x="634901" y="160907"/>
                    </a:lnTo>
                    <a:lnTo>
                      <a:pt x="634019" y="160026"/>
                    </a:lnTo>
                    <a:lnTo>
                      <a:pt x="631991" y="160907"/>
                    </a:lnTo>
                    <a:lnTo>
                      <a:pt x="631991" y="161789"/>
                    </a:lnTo>
                    <a:lnTo>
                      <a:pt x="630492" y="164169"/>
                    </a:lnTo>
                    <a:lnTo>
                      <a:pt x="630228" y="164169"/>
                    </a:lnTo>
                    <a:lnTo>
                      <a:pt x="627582" y="165316"/>
                    </a:lnTo>
                    <a:lnTo>
                      <a:pt x="625555" y="165933"/>
                    </a:lnTo>
                    <a:lnTo>
                      <a:pt x="624585" y="165933"/>
                    </a:lnTo>
                    <a:close/>
                    <a:moveTo>
                      <a:pt x="622557" y="169019"/>
                    </a:moveTo>
                    <a:lnTo>
                      <a:pt x="621940" y="169019"/>
                    </a:lnTo>
                    <a:lnTo>
                      <a:pt x="622204" y="168137"/>
                    </a:lnTo>
                    <a:lnTo>
                      <a:pt x="623086" y="167520"/>
                    </a:lnTo>
                    <a:lnTo>
                      <a:pt x="623351" y="167873"/>
                    </a:lnTo>
                    <a:lnTo>
                      <a:pt x="623351" y="168137"/>
                    </a:lnTo>
                    <a:lnTo>
                      <a:pt x="623615" y="168137"/>
                    </a:lnTo>
                    <a:lnTo>
                      <a:pt x="623351" y="168402"/>
                    </a:lnTo>
                    <a:lnTo>
                      <a:pt x="622557" y="169019"/>
                    </a:lnTo>
                    <a:close/>
                    <a:moveTo>
                      <a:pt x="628111" y="175808"/>
                    </a:moveTo>
                    <a:lnTo>
                      <a:pt x="628111" y="176072"/>
                    </a:lnTo>
                    <a:lnTo>
                      <a:pt x="627847" y="176072"/>
                    </a:lnTo>
                    <a:lnTo>
                      <a:pt x="627847" y="175808"/>
                    </a:lnTo>
                    <a:lnTo>
                      <a:pt x="627847" y="175543"/>
                    </a:lnTo>
                    <a:lnTo>
                      <a:pt x="627582" y="174662"/>
                    </a:lnTo>
                    <a:lnTo>
                      <a:pt x="627847" y="174662"/>
                    </a:lnTo>
                    <a:lnTo>
                      <a:pt x="630140" y="172369"/>
                    </a:lnTo>
                    <a:lnTo>
                      <a:pt x="631021" y="172986"/>
                    </a:lnTo>
                    <a:lnTo>
                      <a:pt x="631021" y="173251"/>
                    </a:lnTo>
                    <a:lnTo>
                      <a:pt x="631286" y="173251"/>
                    </a:lnTo>
                    <a:lnTo>
                      <a:pt x="631286" y="173515"/>
                    </a:lnTo>
                    <a:lnTo>
                      <a:pt x="631286" y="175014"/>
                    </a:lnTo>
                    <a:lnTo>
                      <a:pt x="631286" y="175279"/>
                    </a:lnTo>
                    <a:lnTo>
                      <a:pt x="631021" y="175279"/>
                    </a:lnTo>
                    <a:lnTo>
                      <a:pt x="630140" y="175279"/>
                    </a:lnTo>
                    <a:lnTo>
                      <a:pt x="629258" y="175014"/>
                    </a:lnTo>
                    <a:lnTo>
                      <a:pt x="628993" y="175014"/>
                    </a:lnTo>
                    <a:lnTo>
                      <a:pt x="628729" y="175014"/>
                    </a:lnTo>
                    <a:lnTo>
                      <a:pt x="628464" y="175279"/>
                    </a:lnTo>
                    <a:lnTo>
                      <a:pt x="628200" y="175632"/>
                    </a:lnTo>
                    <a:lnTo>
                      <a:pt x="628200" y="175808"/>
                    </a:lnTo>
                    <a:close/>
                    <a:moveTo>
                      <a:pt x="768652" y="209312"/>
                    </a:moveTo>
                    <a:lnTo>
                      <a:pt x="768388" y="209576"/>
                    </a:lnTo>
                    <a:lnTo>
                      <a:pt x="767506" y="209047"/>
                    </a:lnTo>
                    <a:lnTo>
                      <a:pt x="767241" y="209047"/>
                    </a:lnTo>
                    <a:lnTo>
                      <a:pt x="766977" y="208783"/>
                    </a:lnTo>
                    <a:lnTo>
                      <a:pt x="766977" y="208518"/>
                    </a:lnTo>
                    <a:lnTo>
                      <a:pt x="766977" y="208254"/>
                    </a:lnTo>
                    <a:lnTo>
                      <a:pt x="766977" y="207901"/>
                    </a:lnTo>
                    <a:lnTo>
                      <a:pt x="767241" y="207284"/>
                    </a:lnTo>
                    <a:lnTo>
                      <a:pt x="767241" y="207019"/>
                    </a:lnTo>
                    <a:lnTo>
                      <a:pt x="767241" y="206755"/>
                    </a:lnTo>
                    <a:lnTo>
                      <a:pt x="766977" y="206490"/>
                    </a:lnTo>
                    <a:lnTo>
                      <a:pt x="766712" y="205344"/>
                    </a:lnTo>
                    <a:lnTo>
                      <a:pt x="766448" y="205344"/>
                    </a:lnTo>
                    <a:lnTo>
                      <a:pt x="766095" y="205080"/>
                    </a:lnTo>
                    <a:lnTo>
                      <a:pt x="765831" y="205080"/>
                    </a:lnTo>
                    <a:lnTo>
                      <a:pt x="765831" y="204727"/>
                    </a:lnTo>
                    <a:lnTo>
                      <a:pt x="765478" y="204463"/>
                    </a:lnTo>
                    <a:lnTo>
                      <a:pt x="765214" y="203845"/>
                    </a:lnTo>
                    <a:lnTo>
                      <a:pt x="765478" y="203581"/>
                    </a:lnTo>
                    <a:lnTo>
                      <a:pt x="766007" y="203581"/>
                    </a:lnTo>
                    <a:lnTo>
                      <a:pt x="766360" y="203581"/>
                    </a:lnTo>
                    <a:lnTo>
                      <a:pt x="768123" y="204463"/>
                    </a:lnTo>
                    <a:lnTo>
                      <a:pt x="769005" y="205080"/>
                    </a:lnTo>
                    <a:lnTo>
                      <a:pt x="770151" y="207725"/>
                    </a:lnTo>
                    <a:lnTo>
                      <a:pt x="770151" y="207989"/>
                    </a:lnTo>
                    <a:lnTo>
                      <a:pt x="769269" y="209135"/>
                    </a:lnTo>
                    <a:lnTo>
                      <a:pt x="768652" y="209312"/>
                    </a:lnTo>
                    <a:close/>
                    <a:moveTo>
                      <a:pt x="777116" y="226240"/>
                    </a:moveTo>
                    <a:lnTo>
                      <a:pt x="775882" y="226505"/>
                    </a:lnTo>
                    <a:lnTo>
                      <a:pt x="775618" y="226505"/>
                    </a:lnTo>
                    <a:lnTo>
                      <a:pt x="775353" y="225623"/>
                    </a:lnTo>
                    <a:lnTo>
                      <a:pt x="775353" y="225270"/>
                    </a:lnTo>
                    <a:lnTo>
                      <a:pt x="775618" y="225006"/>
                    </a:lnTo>
                    <a:lnTo>
                      <a:pt x="777381" y="224741"/>
                    </a:lnTo>
                    <a:lnTo>
                      <a:pt x="777733" y="224741"/>
                    </a:lnTo>
                    <a:lnTo>
                      <a:pt x="777733" y="225006"/>
                    </a:lnTo>
                    <a:lnTo>
                      <a:pt x="777381" y="225270"/>
                    </a:lnTo>
                    <a:lnTo>
                      <a:pt x="777116" y="226240"/>
                    </a:lnTo>
                    <a:close/>
                    <a:moveTo>
                      <a:pt x="806565" y="248106"/>
                    </a:moveTo>
                    <a:lnTo>
                      <a:pt x="806300" y="248106"/>
                    </a:lnTo>
                    <a:lnTo>
                      <a:pt x="805947" y="247841"/>
                    </a:lnTo>
                    <a:lnTo>
                      <a:pt x="806300" y="246695"/>
                    </a:lnTo>
                    <a:lnTo>
                      <a:pt x="806300" y="246431"/>
                    </a:lnTo>
                    <a:lnTo>
                      <a:pt x="806565" y="246431"/>
                    </a:lnTo>
                    <a:lnTo>
                      <a:pt x="806565" y="246078"/>
                    </a:lnTo>
                    <a:lnTo>
                      <a:pt x="806565" y="246431"/>
                    </a:lnTo>
                    <a:lnTo>
                      <a:pt x="806917" y="247312"/>
                    </a:lnTo>
                    <a:lnTo>
                      <a:pt x="806565" y="247929"/>
                    </a:lnTo>
                    <a:lnTo>
                      <a:pt x="806565" y="248106"/>
                    </a:lnTo>
                    <a:close/>
                    <a:moveTo>
                      <a:pt x="815646" y="251280"/>
                    </a:moveTo>
                    <a:lnTo>
                      <a:pt x="815646" y="251280"/>
                    </a:lnTo>
                    <a:lnTo>
                      <a:pt x="814764" y="250663"/>
                    </a:lnTo>
                    <a:lnTo>
                      <a:pt x="814764" y="250398"/>
                    </a:lnTo>
                    <a:lnTo>
                      <a:pt x="814764" y="250046"/>
                    </a:lnTo>
                    <a:lnTo>
                      <a:pt x="815646" y="248635"/>
                    </a:lnTo>
                    <a:lnTo>
                      <a:pt x="815911" y="248370"/>
                    </a:lnTo>
                    <a:lnTo>
                      <a:pt x="817057" y="248018"/>
                    </a:lnTo>
                    <a:lnTo>
                      <a:pt x="817321" y="248370"/>
                    </a:lnTo>
                    <a:lnTo>
                      <a:pt x="817057" y="248635"/>
                    </a:lnTo>
                    <a:lnTo>
                      <a:pt x="816175" y="250398"/>
                    </a:lnTo>
                    <a:lnTo>
                      <a:pt x="815646" y="251280"/>
                    </a:lnTo>
                    <a:close/>
                    <a:moveTo>
                      <a:pt x="816528" y="254807"/>
                    </a:moveTo>
                    <a:lnTo>
                      <a:pt x="815646" y="255071"/>
                    </a:lnTo>
                    <a:lnTo>
                      <a:pt x="815646" y="254190"/>
                    </a:lnTo>
                    <a:lnTo>
                      <a:pt x="815911" y="252426"/>
                    </a:lnTo>
                    <a:lnTo>
                      <a:pt x="816175" y="251280"/>
                    </a:lnTo>
                    <a:lnTo>
                      <a:pt x="816440" y="251015"/>
                    </a:lnTo>
                    <a:lnTo>
                      <a:pt x="816440" y="250663"/>
                    </a:lnTo>
                    <a:lnTo>
                      <a:pt x="816704" y="250663"/>
                    </a:lnTo>
                    <a:lnTo>
                      <a:pt x="816704" y="251544"/>
                    </a:lnTo>
                    <a:lnTo>
                      <a:pt x="817233" y="253572"/>
                    </a:lnTo>
                    <a:lnTo>
                      <a:pt x="816528" y="254807"/>
                    </a:lnTo>
                    <a:close/>
                    <a:moveTo>
                      <a:pt x="816528" y="260097"/>
                    </a:moveTo>
                    <a:lnTo>
                      <a:pt x="816528" y="260097"/>
                    </a:lnTo>
                    <a:lnTo>
                      <a:pt x="816263" y="260097"/>
                    </a:lnTo>
                    <a:lnTo>
                      <a:pt x="816263" y="259832"/>
                    </a:lnTo>
                    <a:lnTo>
                      <a:pt x="815999" y="259832"/>
                    </a:lnTo>
                    <a:lnTo>
                      <a:pt x="815999" y="259479"/>
                    </a:lnTo>
                    <a:lnTo>
                      <a:pt x="816263" y="259215"/>
                    </a:lnTo>
                    <a:lnTo>
                      <a:pt x="817144" y="258950"/>
                    </a:lnTo>
                    <a:lnTo>
                      <a:pt x="817144" y="259215"/>
                    </a:lnTo>
                    <a:lnTo>
                      <a:pt x="816880" y="259832"/>
                    </a:lnTo>
                    <a:lnTo>
                      <a:pt x="816880" y="260097"/>
                    </a:lnTo>
                    <a:lnTo>
                      <a:pt x="816528" y="260097"/>
                    </a:lnTo>
                    <a:close/>
                    <a:moveTo>
                      <a:pt x="93723" y="274644"/>
                    </a:moveTo>
                    <a:lnTo>
                      <a:pt x="93371" y="274909"/>
                    </a:lnTo>
                    <a:lnTo>
                      <a:pt x="93371" y="274292"/>
                    </a:lnTo>
                    <a:lnTo>
                      <a:pt x="93106" y="274027"/>
                    </a:lnTo>
                    <a:lnTo>
                      <a:pt x="92842" y="274027"/>
                    </a:lnTo>
                    <a:lnTo>
                      <a:pt x="92842" y="274292"/>
                    </a:lnTo>
                    <a:lnTo>
                      <a:pt x="92489" y="274644"/>
                    </a:lnTo>
                    <a:lnTo>
                      <a:pt x="92224" y="274909"/>
                    </a:lnTo>
                    <a:lnTo>
                      <a:pt x="92224" y="274644"/>
                    </a:lnTo>
                    <a:lnTo>
                      <a:pt x="91960" y="274292"/>
                    </a:lnTo>
                    <a:lnTo>
                      <a:pt x="92224" y="273675"/>
                    </a:lnTo>
                    <a:lnTo>
                      <a:pt x="92224" y="273410"/>
                    </a:lnTo>
                    <a:lnTo>
                      <a:pt x="92489" y="273146"/>
                    </a:lnTo>
                    <a:lnTo>
                      <a:pt x="92489" y="272881"/>
                    </a:lnTo>
                    <a:lnTo>
                      <a:pt x="93371" y="272000"/>
                    </a:lnTo>
                    <a:lnTo>
                      <a:pt x="95134" y="270236"/>
                    </a:lnTo>
                    <a:lnTo>
                      <a:pt x="95134" y="269972"/>
                    </a:lnTo>
                    <a:lnTo>
                      <a:pt x="95751" y="269707"/>
                    </a:lnTo>
                    <a:lnTo>
                      <a:pt x="96015" y="269707"/>
                    </a:lnTo>
                    <a:lnTo>
                      <a:pt x="96015" y="269972"/>
                    </a:lnTo>
                    <a:lnTo>
                      <a:pt x="96015" y="271471"/>
                    </a:lnTo>
                    <a:lnTo>
                      <a:pt x="96015" y="272088"/>
                    </a:lnTo>
                    <a:lnTo>
                      <a:pt x="96015" y="272352"/>
                    </a:lnTo>
                    <a:lnTo>
                      <a:pt x="95751" y="272705"/>
                    </a:lnTo>
                    <a:lnTo>
                      <a:pt x="94252" y="274468"/>
                    </a:lnTo>
                    <a:lnTo>
                      <a:pt x="93723" y="274644"/>
                    </a:lnTo>
                    <a:close/>
                    <a:moveTo>
                      <a:pt x="836013" y="288928"/>
                    </a:moveTo>
                    <a:lnTo>
                      <a:pt x="835748" y="288928"/>
                    </a:lnTo>
                    <a:lnTo>
                      <a:pt x="835131" y="288399"/>
                    </a:lnTo>
                    <a:lnTo>
                      <a:pt x="835131" y="287782"/>
                    </a:lnTo>
                    <a:lnTo>
                      <a:pt x="835395" y="287517"/>
                    </a:lnTo>
                    <a:lnTo>
                      <a:pt x="836277" y="288046"/>
                    </a:lnTo>
                    <a:lnTo>
                      <a:pt x="836277" y="288399"/>
                    </a:lnTo>
                    <a:lnTo>
                      <a:pt x="836277" y="288663"/>
                    </a:lnTo>
                    <a:lnTo>
                      <a:pt x="836013" y="288928"/>
                    </a:lnTo>
                    <a:close/>
                    <a:moveTo>
                      <a:pt x="836366" y="290956"/>
                    </a:moveTo>
                    <a:lnTo>
                      <a:pt x="836366" y="290956"/>
                    </a:lnTo>
                    <a:lnTo>
                      <a:pt x="835748" y="290338"/>
                    </a:lnTo>
                    <a:lnTo>
                      <a:pt x="835748" y="290074"/>
                    </a:lnTo>
                    <a:lnTo>
                      <a:pt x="836013" y="290074"/>
                    </a:lnTo>
                    <a:lnTo>
                      <a:pt x="837159" y="289809"/>
                    </a:lnTo>
                    <a:lnTo>
                      <a:pt x="837159" y="290074"/>
                    </a:lnTo>
                    <a:lnTo>
                      <a:pt x="836895" y="290338"/>
                    </a:lnTo>
                    <a:lnTo>
                      <a:pt x="836630" y="290603"/>
                    </a:lnTo>
                    <a:lnTo>
                      <a:pt x="836630" y="290956"/>
                    </a:lnTo>
                    <a:lnTo>
                      <a:pt x="836366" y="290956"/>
                    </a:lnTo>
                    <a:close/>
                    <a:moveTo>
                      <a:pt x="824374" y="302329"/>
                    </a:moveTo>
                    <a:lnTo>
                      <a:pt x="824374" y="302329"/>
                    </a:lnTo>
                    <a:lnTo>
                      <a:pt x="824110" y="302329"/>
                    </a:lnTo>
                    <a:lnTo>
                      <a:pt x="824110" y="302065"/>
                    </a:lnTo>
                    <a:lnTo>
                      <a:pt x="823757" y="302065"/>
                    </a:lnTo>
                    <a:lnTo>
                      <a:pt x="824110" y="301183"/>
                    </a:lnTo>
                    <a:lnTo>
                      <a:pt x="824110" y="300919"/>
                    </a:lnTo>
                    <a:lnTo>
                      <a:pt x="824727" y="299155"/>
                    </a:lnTo>
                    <a:lnTo>
                      <a:pt x="824992" y="298274"/>
                    </a:lnTo>
                    <a:lnTo>
                      <a:pt x="825256" y="298274"/>
                    </a:lnTo>
                    <a:lnTo>
                      <a:pt x="825256" y="298009"/>
                    </a:lnTo>
                    <a:lnTo>
                      <a:pt x="825521" y="298009"/>
                    </a:lnTo>
                    <a:lnTo>
                      <a:pt x="825521" y="297745"/>
                    </a:lnTo>
                    <a:lnTo>
                      <a:pt x="825785" y="297745"/>
                    </a:lnTo>
                    <a:lnTo>
                      <a:pt x="825785" y="299773"/>
                    </a:lnTo>
                    <a:lnTo>
                      <a:pt x="825785" y="300125"/>
                    </a:lnTo>
                    <a:lnTo>
                      <a:pt x="825256" y="301271"/>
                    </a:lnTo>
                    <a:lnTo>
                      <a:pt x="824992" y="301536"/>
                    </a:lnTo>
                    <a:lnTo>
                      <a:pt x="824727" y="302153"/>
                    </a:lnTo>
                    <a:lnTo>
                      <a:pt x="824374" y="302329"/>
                    </a:lnTo>
                    <a:close/>
                    <a:moveTo>
                      <a:pt x="836366" y="305239"/>
                    </a:moveTo>
                    <a:lnTo>
                      <a:pt x="836101" y="305239"/>
                    </a:lnTo>
                    <a:lnTo>
                      <a:pt x="835837" y="304357"/>
                    </a:lnTo>
                    <a:lnTo>
                      <a:pt x="836101" y="304093"/>
                    </a:lnTo>
                    <a:lnTo>
                      <a:pt x="836718" y="302329"/>
                    </a:lnTo>
                    <a:lnTo>
                      <a:pt x="836982" y="302065"/>
                    </a:lnTo>
                    <a:lnTo>
                      <a:pt x="836982" y="301800"/>
                    </a:lnTo>
                    <a:lnTo>
                      <a:pt x="837247" y="301800"/>
                    </a:lnTo>
                    <a:lnTo>
                      <a:pt x="837511" y="302065"/>
                    </a:lnTo>
                    <a:lnTo>
                      <a:pt x="838129" y="303828"/>
                    </a:lnTo>
                    <a:lnTo>
                      <a:pt x="838129" y="304093"/>
                    </a:lnTo>
                    <a:lnTo>
                      <a:pt x="837864" y="304357"/>
                    </a:lnTo>
                    <a:lnTo>
                      <a:pt x="836982" y="304974"/>
                    </a:lnTo>
                    <a:lnTo>
                      <a:pt x="836718" y="305327"/>
                    </a:lnTo>
                    <a:lnTo>
                      <a:pt x="836366" y="305327"/>
                    </a:lnTo>
                    <a:close/>
                    <a:moveTo>
                      <a:pt x="819702" y="307002"/>
                    </a:moveTo>
                    <a:lnTo>
                      <a:pt x="819437" y="307620"/>
                    </a:lnTo>
                    <a:lnTo>
                      <a:pt x="819437" y="307355"/>
                    </a:lnTo>
                    <a:lnTo>
                      <a:pt x="819173" y="307355"/>
                    </a:lnTo>
                    <a:lnTo>
                      <a:pt x="819437" y="307091"/>
                    </a:lnTo>
                    <a:lnTo>
                      <a:pt x="819437" y="306209"/>
                    </a:lnTo>
                    <a:lnTo>
                      <a:pt x="819702" y="305327"/>
                    </a:lnTo>
                    <a:lnTo>
                      <a:pt x="819966" y="305327"/>
                    </a:lnTo>
                    <a:lnTo>
                      <a:pt x="819966" y="304974"/>
                    </a:lnTo>
                    <a:lnTo>
                      <a:pt x="820583" y="303564"/>
                    </a:lnTo>
                    <a:lnTo>
                      <a:pt x="821465" y="303299"/>
                    </a:lnTo>
                    <a:lnTo>
                      <a:pt x="820319" y="305063"/>
                    </a:lnTo>
                    <a:lnTo>
                      <a:pt x="820671" y="305680"/>
                    </a:lnTo>
                    <a:lnTo>
                      <a:pt x="820319" y="306826"/>
                    </a:lnTo>
                    <a:lnTo>
                      <a:pt x="819702" y="307002"/>
                    </a:lnTo>
                    <a:close/>
                    <a:moveTo>
                      <a:pt x="841567" y="326223"/>
                    </a:moveTo>
                    <a:lnTo>
                      <a:pt x="840950" y="326223"/>
                    </a:lnTo>
                    <a:lnTo>
                      <a:pt x="840950" y="325959"/>
                    </a:lnTo>
                    <a:lnTo>
                      <a:pt x="840950" y="325694"/>
                    </a:lnTo>
                    <a:lnTo>
                      <a:pt x="841567" y="325077"/>
                    </a:lnTo>
                    <a:lnTo>
                      <a:pt x="841832" y="325077"/>
                    </a:lnTo>
                    <a:lnTo>
                      <a:pt x="841832" y="325341"/>
                    </a:lnTo>
                    <a:lnTo>
                      <a:pt x="841832" y="325959"/>
                    </a:lnTo>
                    <a:lnTo>
                      <a:pt x="841832" y="326223"/>
                    </a:lnTo>
                    <a:lnTo>
                      <a:pt x="841567" y="326223"/>
                    </a:lnTo>
                    <a:close/>
                    <a:moveTo>
                      <a:pt x="844212" y="340859"/>
                    </a:moveTo>
                    <a:lnTo>
                      <a:pt x="843066" y="340859"/>
                    </a:lnTo>
                    <a:lnTo>
                      <a:pt x="842802" y="340859"/>
                    </a:lnTo>
                    <a:lnTo>
                      <a:pt x="842537" y="339977"/>
                    </a:lnTo>
                    <a:lnTo>
                      <a:pt x="842273" y="339713"/>
                    </a:lnTo>
                    <a:lnTo>
                      <a:pt x="842273" y="339096"/>
                    </a:lnTo>
                    <a:lnTo>
                      <a:pt x="842008" y="337950"/>
                    </a:lnTo>
                    <a:lnTo>
                      <a:pt x="840862" y="336539"/>
                    </a:lnTo>
                    <a:lnTo>
                      <a:pt x="840862" y="335657"/>
                    </a:lnTo>
                    <a:lnTo>
                      <a:pt x="840862" y="335393"/>
                    </a:lnTo>
                    <a:lnTo>
                      <a:pt x="840598" y="334511"/>
                    </a:lnTo>
                    <a:lnTo>
                      <a:pt x="840862" y="332747"/>
                    </a:lnTo>
                    <a:lnTo>
                      <a:pt x="841744" y="332483"/>
                    </a:lnTo>
                    <a:lnTo>
                      <a:pt x="842008" y="332483"/>
                    </a:lnTo>
                    <a:lnTo>
                      <a:pt x="843154" y="333629"/>
                    </a:lnTo>
                    <a:lnTo>
                      <a:pt x="844300" y="334511"/>
                    </a:lnTo>
                    <a:lnTo>
                      <a:pt x="844565" y="335393"/>
                    </a:lnTo>
                    <a:lnTo>
                      <a:pt x="845183" y="338038"/>
                    </a:lnTo>
                    <a:lnTo>
                      <a:pt x="845183" y="338390"/>
                    </a:lnTo>
                    <a:lnTo>
                      <a:pt x="845183" y="340154"/>
                    </a:lnTo>
                    <a:lnTo>
                      <a:pt x="844918" y="340154"/>
                    </a:lnTo>
                    <a:lnTo>
                      <a:pt x="844212" y="340859"/>
                    </a:lnTo>
                    <a:close/>
                    <a:moveTo>
                      <a:pt x="845976" y="343151"/>
                    </a:moveTo>
                    <a:lnTo>
                      <a:pt x="845711" y="343416"/>
                    </a:lnTo>
                    <a:lnTo>
                      <a:pt x="845711" y="343151"/>
                    </a:lnTo>
                    <a:lnTo>
                      <a:pt x="845447" y="343151"/>
                    </a:lnTo>
                    <a:lnTo>
                      <a:pt x="845183" y="341388"/>
                    </a:lnTo>
                    <a:lnTo>
                      <a:pt x="845183" y="340506"/>
                    </a:lnTo>
                    <a:lnTo>
                      <a:pt x="845183" y="340242"/>
                    </a:lnTo>
                    <a:lnTo>
                      <a:pt x="845447" y="340242"/>
                    </a:lnTo>
                    <a:lnTo>
                      <a:pt x="845447" y="339977"/>
                    </a:lnTo>
                    <a:lnTo>
                      <a:pt x="845711" y="339977"/>
                    </a:lnTo>
                    <a:lnTo>
                      <a:pt x="845976" y="342005"/>
                    </a:lnTo>
                    <a:lnTo>
                      <a:pt x="846240" y="342270"/>
                    </a:lnTo>
                    <a:lnTo>
                      <a:pt x="846240" y="342799"/>
                    </a:lnTo>
                    <a:lnTo>
                      <a:pt x="845976" y="342799"/>
                    </a:lnTo>
                    <a:lnTo>
                      <a:pt x="845976" y="343151"/>
                    </a:lnTo>
                    <a:close/>
                    <a:moveTo>
                      <a:pt x="867577" y="388382"/>
                    </a:moveTo>
                    <a:lnTo>
                      <a:pt x="866696" y="389528"/>
                    </a:lnTo>
                    <a:lnTo>
                      <a:pt x="866431" y="390145"/>
                    </a:lnTo>
                    <a:lnTo>
                      <a:pt x="865285" y="390674"/>
                    </a:lnTo>
                    <a:lnTo>
                      <a:pt x="863786" y="389528"/>
                    </a:lnTo>
                    <a:lnTo>
                      <a:pt x="863257" y="388382"/>
                    </a:lnTo>
                    <a:lnTo>
                      <a:pt x="863257" y="387236"/>
                    </a:lnTo>
                    <a:lnTo>
                      <a:pt x="863521" y="385472"/>
                    </a:lnTo>
                    <a:lnTo>
                      <a:pt x="863786" y="384238"/>
                    </a:lnTo>
                    <a:lnTo>
                      <a:pt x="864050" y="383356"/>
                    </a:lnTo>
                    <a:lnTo>
                      <a:pt x="865196" y="382827"/>
                    </a:lnTo>
                    <a:lnTo>
                      <a:pt x="866078" y="382210"/>
                    </a:lnTo>
                    <a:lnTo>
                      <a:pt x="866607" y="380711"/>
                    </a:lnTo>
                    <a:lnTo>
                      <a:pt x="866343" y="380094"/>
                    </a:lnTo>
                    <a:lnTo>
                      <a:pt x="867489" y="378948"/>
                    </a:lnTo>
                    <a:lnTo>
                      <a:pt x="868370" y="378683"/>
                    </a:lnTo>
                    <a:lnTo>
                      <a:pt x="868900" y="379300"/>
                    </a:lnTo>
                    <a:lnTo>
                      <a:pt x="869164" y="380447"/>
                    </a:lnTo>
                    <a:lnTo>
                      <a:pt x="870046" y="381593"/>
                    </a:lnTo>
                    <a:lnTo>
                      <a:pt x="870928" y="381328"/>
                    </a:lnTo>
                    <a:lnTo>
                      <a:pt x="870928" y="382474"/>
                    </a:lnTo>
                    <a:lnTo>
                      <a:pt x="870575" y="383092"/>
                    </a:lnTo>
                    <a:lnTo>
                      <a:pt x="870046" y="383973"/>
                    </a:lnTo>
                    <a:lnTo>
                      <a:pt x="868900" y="384590"/>
                    </a:lnTo>
                    <a:lnTo>
                      <a:pt x="868370" y="385737"/>
                    </a:lnTo>
                    <a:lnTo>
                      <a:pt x="867754" y="387236"/>
                    </a:lnTo>
                    <a:lnTo>
                      <a:pt x="867577" y="388382"/>
                    </a:lnTo>
                    <a:close/>
                    <a:moveTo>
                      <a:pt x="29801" y="369161"/>
                    </a:moveTo>
                    <a:lnTo>
                      <a:pt x="28919" y="370924"/>
                    </a:lnTo>
                    <a:lnTo>
                      <a:pt x="28919" y="370043"/>
                    </a:lnTo>
                    <a:lnTo>
                      <a:pt x="29537" y="367750"/>
                    </a:lnTo>
                    <a:lnTo>
                      <a:pt x="29537" y="367486"/>
                    </a:lnTo>
                    <a:lnTo>
                      <a:pt x="30683" y="365194"/>
                    </a:lnTo>
                    <a:lnTo>
                      <a:pt x="30683" y="365458"/>
                    </a:lnTo>
                    <a:lnTo>
                      <a:pt x="30683" y="365723"/>
                    </a:lnTo>
                    <a:lnTo>
                      <a:pt x="30683" y="365987"/>
                    </a:lnTo>
                    <a:lnTo>
                      <a:pt x="29801" y="369161"/>
                    </a:lnTo>
                    <a:close/>
                    <a:moveTo>
                      <a:pt x="26627" y="376744"/>
                    </a:moveTo>
                    <a:lnTo>
                      <a:pt x="26010" y="377890"/>
                    </a:lnTo>
                    <a:lnTo>
                      <a:pt x="26010" y="377625"/>
                    </a:lnTo>
                    <a:lnTo>
                      <a:pt x="26010" y="377361"/>
                    </a:lnTo>
                    <a:lnTo>
                      <a:pt x="26010" y="377096"/>
                    </a:lnTo>
                    <a:lnTo>
                      <a:pt x="27421" y="374187"/>
                    </a:lnTo>
                    <a:lnTo>
                      <a:pt x="28037" y="373658"/>
                    </a:lnTo>
                    <a:lnTo>
                      <a:pt x="26627" y="376744"/>
                    </a:lnTo>
                    <a:close/>
                    <a:moveTo>
                      <a:pt x="871368" y="380535"/>
                    </a:moveTo>
                    <a:lnTo>
                      <a:pt x="870222" y="380270"/>
                    </a:lnTo>
                    <a:lnTo>
                      <a:pt x="870222" y="379389"/>
                    </a:lnTo>
                    <a:lnTo>
                      <a:pt x="869870" y="378507"/>
                    </a:lnTo>
                    <a:lnTo>
                      <a:pt x="869605" y="378242"/>
                    </a:lnTo>
                    <a:lnTo>
                      <a:pt x="869605" y="377978"/>
                    </a:lnTo>
                    <a:lnTo>
                      <a:pt x="869870" y="377978"/>
                    </a:lnTo>
                    <a:lnTo>
                      <a:pt x="869252" y="377978"/>
                    </a:lnTo>
                    <a:lnTo>
                      <a:pt x="868988" y="377361"/>
                    </a:lnTo>
                    <a:lnTo>
                      <a:pt x="868723" y="376479"/>
                    </a:lnTo>
                    <a:lnTo>
                      <a:pt x="868723" y="375333"/>
                    </a:lnTo>
                    <a:lnTo>
                      <a:pt x="868988" y="373922"/>
                    </a:lnTo>
                    <a:lnTo>
                      <a:pt x="869870" y="373040"/>
                    </a:lnTo>
                    <a:lnTo>
                      <a:pt x="870751" y="372688"/>
                    </a:lnTo>
                    <a:lnTo>
                      <a:pt x="871368" y="373305"/>
                    </a:lnTo>
                    <a:lnTo>
                      <a:pt x="871633" y="374451"/>
                    </a:lnTo>
                    <a:lnTo>
                      <a:pt x="871985" y="375597"/>
                    </a:lnTo>
                    <a:lnTo>
                      <a:pt x="872250" y="376479"/>
                    </a:lnTo>
                    <a:lnTo>
                      <a:pt x="872779" y="376479"/>
                    </a:lnTo>
                    <a:lnTo>
                      <a:pt x="873396" y="377361"/>
                    </a:lnTo>
                    <a:lnTo>
                      <a:pt x="873396" y="379124"/>
                    </a:lnTo>
                    <a:lnTo>
                      <a:pt x="872779" y="379389"/>
                    </a:lnTo>
                    <a:lnTo>
                      <a:pt x="872250" y="380270"/>
                    </a:lnTo>
                    <a:lnTo>
                      <a:pt x="871368" y="380535"/>
                    </a:lnTo>
                    <a:close/>
                    <a:moveTo>
                      <a:pt x="24246" y="399491"/>
                    </a:moveTo>
                    <a:lnTo>
                      <a:pt x="24246" y="399491"/>
                    </a:lnTo>
                    <a:lnTo>
                      <a:pt x="23629" y="398874"/>
                    </a:lnTo>
                    <a:lnTo>
                      <a:pt x="21601" y="393936"/>
                    </a:lnTo>
                    <a:lnTo>
                      <a:pt x="21072" y="390410"/>
                    </a:lnTo>
                    <a:lnTo>
                      <a:pt x="20720" y="386618"/>
                    </a:lnTo>
                    <a:lnTo>
                      <a:pt x="21072" y="385472"/>
                    </a:lnTo>
                    <a:lnTo>
                      <a:pt x="21337" y="385208"/>
                    </a:lnTo>
                    <a:lnTo>
                      <a:pt x="21601" y="384326"/>
                    </a:lnTo>
                    <a:lnTo>
                      <a:pt x="21601" y="384061"/>
                    </a:lnTo>
                    <a:lnTo>
                      <a:pt x="22483" y="383444"/>
                    </a:lnTo>
                    <a:lnTo>
                      <a:pt x="22483" y="383180"/>
                    </a:lnTo>
                    <a:lnTo>
                      <a:pt x="22748" y="383180"/>
                    </a:lnTo>
                    <a:lnTo>
                      <a:pt x="23629" y="383444"/>
                    </a:lnTo>
                    <a:lnTo>
                      <a:pt x="23365" y="383797"/>
                    </a:lnTo>
                    <a:lnTo>
                      <a:pt x="23012" y="384061"/>
                    </a:lnTo>
                    <a:lnTo>
                      <a:pt x="23012" y="384326"/>
                    </a:lnTo>
                    <a:lnTo>
                      <a:pt x="23012" y="384679"/>
                    </a:lnTo>
                    <a:lnTo>
                      <a:pt x="22748" y="384943"/>
                    </a:lnTo>
                    <a:lnTo>
                      <a:pt x="22748" y="385208"/>
                    </a:lnTo>
                    <a:lnTo>
                      <a:pt x="23365" y="387236"/>
                    </a:lnTo>
                    <a:lnTo>
                      <a:pt x="23629" y="390410"/>
                    </a:lnTo>
                    <a:lnTo>
                      <a:pt x="23629" y="392173"/>
                    </a:lnTo>
                    <a:lnTo>
                      <a:pt x="23629" y="392790"/>
                    </a:lnTo>
                    <a:lnTo>
                      <a:pt x="24246" y="395347"/>
                    </a:lnTo>
                    <a:lnTo>
                      <a:pt x="24599" y="395611"/>
                    </a:lnTo>
                    <a:lnTo>
                      <a:pt x="24599" y="395964"/>
                    </a:lnTo>
                    <a:lnTo>
                      <a:pt x="24864" y="396229"/>
                    </a:lnTo>
                    <a:lnTo>
                      <a:pt x="24864" y="396758"/>
                    </a:lnTo>
                    <a:lnTo>
                      <a:pt x="24864" y="398257"/>
                    </a:lnTo>
                    <a:lnTo>
                      <a:pt x="24864" y="398521"/>
                    </a:lnTo>
                    <a:lnTo>
                      <a:pt x="24246" y="399491"/>
                    </a:lnTo>
                    <a:close/>
                    <a:moveTo>
                      <a:pt x="864050" y="426559"/>
                    </a:moveTo>
                    <a:lnTo>
                      <a:pt x="862904" y="429733"/>
                    </a:lnTo>
                    <a:lnTo>
                      <a:pt x="863257" y="427969"/>
                    </a:lnTo>
                    <a:lnTo>
                      <a:pt x="864050" y="426559"/>
                    </a:lnTo>
                    <a:close/>
                    <a:moveTo>
                      <a:pt x="860259" y="438814"/>
                    </a:moveTo>
                    <a:lnTo>
                      <a:pt x="859377" y="438814"/>
                    </a:lnTo>
                    <a:lnTo>
                      <a:pt x="859113" y="438814"/>
                    </a:lnTo>
                    <a:lnTo>
                      <a:pt x="859113" y="438549"/>
                    </a:lnTo>
                    <a:lnTo>
                      <a:pt x="859113" y="438285"/>
                    </a:lnTo>
                    <a:lnTo>
                      <a:pt x="859377" y="438020"/>
                    </a:lnTo>
                    <a:lnTo>
                      <a:pt x="860259" y="435993"/>
                    </a:lnTo>
                    <a:lnTo>
                      <a:pt x="860259" y="435728"/>
                    </a:lnTo>
                    <a:lnTo>
                      <a:pt x="861141" y="433700"/>
                    </a:lnTo>
                    <a:lnTo>
                      <a:pt x="862640" y="431055"/>
                    </a:lnTo>
                    <a:lnTo>
                      <a:pt x="863521" y="430791"/>
                    </a:lnTo>
                    <a:lnTo>
                      <a:pt x="865020" y="431055"/>
                    </a:lnTo>
                    <a:lnTo>
                      <a:pt x="865020" y="431408"/>
                    </a:lnTo>
                    <a:lnTo>
                      <a:pt x="864138" y="432290"/>
                    </a:lnTo>
                    <a:lnTo>
                      <a:pt x="863874" y="433171"/>
                    </a:lnTo>
                    <a:lnTo>
                      <a:pt x="862728" y="434935"/>
                    </a:lnTo>
                    <a:lnTo>
                      <a:pt x="861846" y="436081"/>
                    </a:lnTo>
                    <a:lnTo>
                      <a:pt x="861582" y="436962"/>
                    </a:lnTo>
                    <a:lnTo>
                      <a:pt x="860964" y="437844"/>
                    </a:lnTo>
                    <a:lnTo>
                      <a:pt x="860700" y="438726"/>
                    </a:lnTo>
                    <a:lnTo>
                      <a:pt x="860259" y="438814"/>
                    </a:lnTo>
                    <a:close/>
                    <a:moveTo>
                      <a:pt x="938993" y="534829"/>
                    </a:moveTo>
                    <a:lnTo>
                      <a:pt x="938729" y="534829"/>
                    </a:lnTo>
                    <a:lnTo>
                      <a:pt x="939258" y="534300"/>
                    </a:lnTo>
                    <a:lnTo>
                      <a:pt x="939522" y="534036"/>
                    </a:lnTo>
                    <a:lnTo>
                      <a:pt x="939522" y="533419"/>
                    </a:lnTo>
                    <a:lnTo>
                      <a:pt x="939258" y="533066"/>
                    </a:lnTo>
                    <a:lnTo>
                      <a:pt x="938993" y="533066"/>
                    </a:lnTo>
                    <a:lnTo>
                      <a:pt x="939258" y="533066"/>
                    </a:lnTo>
                    <a:lnTo>
                      <a:pt x="939258" y="532801"/>
                    </a:lnTo>
                    <a:lnTo>
                      <a:pt x="939522" y="532801"/>
                    </a:lnTo>
                    <a:lnTo>
                      <a:pt x="939522" y="533066"/>
                    </a:lnTo>
                    <a:lnTo>
                      <a:pt x="939787" y="533419"/>
                    </a:lnTo>
                    <a:lnTo>
                      <a:pt x="939787" y="533683"/>
                    </a:lnTo>
                    <a:lnTo>
                      <a:pt x="939787" y="534300"/>
                    </a:lnTo>
                    <a:lnTo>
                      <a:pt x="939522" y="534300"/>
                    </a:lnTo>
                    <a:lnTo>
                      <a:pt x="939258" y="534565"/>
                    </a:lnTo>
                    <a:lnTo>
                      <a:pt x="938993" y="534829"/>
                    </a:lnTo>
                    <a:close/>
                    <a:moveTo>
                      <a:pt x="32446" y="550523"/>
                    </a:moveTo>
                    <a:lnTo>
                      <a:pt x="32182" y="550788"/>
                    </a:lnTo>
                    <a:lnTo>
                      <a:pt x="31829" y="550523"/>
                    </a:lnTo>
                    <a:lnTo>
                      <a:pt x="31829" y="549024"/>
                    </a:lnTo>
                    <a:lnTo>
                      <a:pt x="32182" y="549024"/>
                    </a:lnTo>
                    <a:lnTo>
                      <a:pt x="32182" y="548760"/>
                    </a:lnTo>
                    <a:lnTo>
                      <a:pt x="32182" y="548495"/>
                    </a:lnTo>
                    <a:lnTo>
                      <a:pt x="32446" y="548495"/>
                    </a:lnTo>
                    <a:lnTo>
                      <a:pt x="32446" y="550259"/>
                    </a:lnTo>
                    <a:lnTo>
                      <a:pt x="32446" y="550523"/>
                    </a:lnTo>
                    <a:close/>
                    <a:moveTo>
                      <a:pt x="402577" y="552551"/>
                    </a:moveTo>
                    <a:lnTo>
                      <a:pt x="401960" y="552816"/>
                    </a:lnTo>
                    <a:lnTo>
                      <a:pt x="401695" y="552551"/>
                    </a:lnTo>
                    <a:lnTo>
                      <a:pt x="401431" y="552551"/>
                    </a:lnTo>
                    <a:lnTo>
                      <a:pt x="401431" y="552287"/>
                    </a:lnTo>
                    <a:lnTo>
                      <a:pt x="401695" y="552022"/>
                    </a:lnTo>
                    <a:lnTo>
                      <a:pt x="402577" y="551405"/>
                    </a:lnTo>
                    <a:lnTo>
                      <a:pt x="404076" y="550788"/>
                    </a:lnTo>
                    <a:lnTo>
                      <a:pt x="404957" y="550523"/>
                    </a:lnTo>
                    <a:lnTo>
                      <a:pt x="405222" y="550788"/>
                    </a:lnTo>
                    <a:lnTo>
                      <a:pt x="403723" y="551670"/>
                    </a:lnTo>
                    <a:lnTo>
                      <a:pt x="402577" y="552551"/>
                    </a:lnTo>
                    <a:close/>
                    <a:moveTo>
                      <a:pt x="406104" y="589053"/>
                    </a:moveTo>
                    <a:lnTo>
                      <a:pt x="405839" y="589053"/>
                    </a:lnTo>
                    <a:lnTo>
                      <a:pt x="405575" y="589053"/>
                    </a:lnTo>
                    <a:lnTo>
                      <a:pt x="405575" y="588788"/>
                    </a:lnTo>
                    <a:lnTo>
                      <a:pt x="406721" y="587290"/>
                    </a:lnTo>
                    <a:lnTo>
                      <a:pt x="407867" y="586673"/>
                    </a:lnTo>
                    <a:lnTo>
                      <a:pt x="407867" y="586937"/>
                    </a:lnTo>
                    <a:lnTo>
                      <a:pt x="407867" y="587554"/>
                    </a:lnTo>
                    <a:lnTo>
                      <a:pt x="407867" y="587819"/>
                    </a:lnTo>
                    <a:lnTo>
                      <a:pt x="407603" y="588083"/>
                    </a:lnTo>
                    <a:lnTo>
                      <a:pt x="406104" y="589053"/>
                    </a:lnTo>
                    <a:close/>
                    <a:moveTo>
                      <a:pt x="170165" y="597253"/>
                    </a:moveTo>
                    <a:lnTo>
                      <a:pt x="169636" y="597253"/>
                    </a:lnTo>
                    <a:lnTo>
                      <a:pt x="169636" y="596636"/>
                    </a:lnTo>
                    <a:lnTo>
                      <a:pt x="169901" y="596636"/>
                    </a:lnTo>
                    <a:lnTo>
                      <a:pt x="170782" y="596371"/>
                    </a:lnTo>
                    <a:lnTo>
                      <a:pt x="170782" y="596636"/>
                    </a:lnTo>
                    <a:lnTo>
                      <a:pt x="170782" y="596988"/>
                    </a:lnTo>
                    <a:lnTo>
                      <a:pt x="170518" y="597253"/>
                    </a:lnTo>
                    <a:lnTo>
                      <a:pt x="170165" y="597253"/>
                    </a:lnTo>
                    <a:close/>
                    <a:moveTo>
                      <a:pt x="150063" y="598134"/>
                    </a:moveTo>
                    <a:lnTo>
                      <a:pt x="150063" y="598399"/>
                    </a:lnTo>
                    <a:lnTo>
                      <a:pt x="149798" y="598399"/>
                    </a:lnTo>
                    <a:lnTo>
                      <a:pt x="149798" y="598134"/>
                    </a:lnTo>
                    <a:lnTo>
                      <a:pt x="150063" y="597605"/>
                    </a:lnTo>
                    <a:lnTo>
                      <a:pt x="150063" y="597341"/>
                    </a:lnTo>
                    <a:lnTo>
                      <a:pt x="150328" y="597341"/>
                    </a:lnTo>
                    <a:lnTo>
                      <a:pt x="150592" y="597605"/>
                    </a:lnTo>
                    <a:lnTo>
                      <a:pt x="150063" y="598134"/>
                    </a:lnTo>
                    <a:close/>
                    <a:moveTo>
                      <a:pt x="456536" y="607745"/>
                    </a:moveTo>
                    <a:lnTo>
                      <a:pt x="456536" y="607745"/>
                    </a:lnTo>
                    <a:lnTo>
                      <a:pt x="456271" y="607745"/>
                    </a:lnTo>
                    <a:lnTo>
                      <a:pt x="456271" y="607480"/>
                    </a:lnTo>
                    <a:lnTo>
                      <a:pt x="456536" y="607216"/>
                    </a:lnTo>
                    <a:lnTo>
                      <a:pt x="456536" y="606951"/>
                    </a:lnTo>
                    <a:lnTo>
                      <a:pt x="456800" y="606951"/>
                    </a:lnTo>
                    <a:lnTo>
                      <a:pt x="457153" y="606334"/>
                    </a:lnTo>
                    <a:lnTo>
                      <a:pt x="457418" y="606334"/>
                    </a:lnTo>
                    <a:lnTo>
                      <a:pt x="457418" y="606951"/>
                    </a:lnTo>
                    <a:lnTo>
                      <a:pt x="457418" y="607216"/>
                    </a:lnTo>
                    <a:lnTo>
                      <a:pt x="457153" y="607480"/>
                    </a:lnTo>
                    <a:lnTo>
                      <a:pt x="456800" y="607745"/>
                    </a:lnTo>
                    <a:lnTo>
                      <a:pt x="456536" y="607745"/>
                    </a:lnTo>
                    <a:close/>
                    <a:moveTo>
                      <a:pt x="64804" y="617619"/>
                    </a:moveTo>
                    <a:lnTo>
                      <a:pt x="64539" y="617619"/>
                    </a:lnTo>
                    <a:lnTo>
                      <a:pt x="64275" y="617619"/>
                    </a:lnTo>
                    <a:lnTo>
                      <a:pt x="64275" y="617267"/>
                    </a:lnTo>
                    <a:lnTo>
                      <a:pt x="64010" y="617002"/>
                    </a:lnTo>
                    <a:lnTo>
                      <a:pt x="64275" y="616738"/>
                    </a:lnTo>
                    <a:lnTo>
                      <a:pt x="64539" y="616738"/>
                    </a:lnTo>
                    <a:lnTo>
                      <a:pt x="64804" y="617002"/>
                    </a:lnTo>
                    <a:lnTo>
                      <a:pt x="65068" y="617002"/>
                    </a:lnTo>
                    <a:lnTo>
                      <a:pt x="65068" y="617267"/>
                    </a:lnTo>
                    <a:lnTo>
                      <a:pt x="64804" y="617619"/>
                    </a:lnTo>
                    <a:close/>
                    <a:moveTo>
                      <a:pt x="426823" y="621146"/>
                    </a:moveTo>
                    <a:lnTo>
                      <a:pt x="426559" y="621146"/>
                    </a:lnTo>
                    <a:lnTo>
                      <a:pt x="425941" y="620882"/>
                    </a:lnTo>
                    <a:lnTo>
                      <a:pt x="425677" y="618237"/>
                    </a:lnTo>
                    <a:lnTo>
                      <a:pt x="425677" y="617884"/>
                    </a:lnTo>
                    <a:lnTo>
                      <a:pt x="425941" y="617884"/>
                    </a:lnTo>
                    <a:lnTo>
                      <a:pt x="426206" y="617619"/>
                    </a:lnTo>
                    <a:lnTo>
                      <a:pt x="426470" y="617619"/>
                    </a:lnTo>
                    <a:lnTo>
                      <a:pt x="426470" y="617884"/>
                    </a:lnTo>
                    <a:lnTo>
                      <a:pt x="426470" y="618237"/>
                    </a:lnTo>
                    <a:lnTo>
                      <a:pt x="427088" y="620000"/>
                    </a:lnTo>
                    <a:lnTo>
                      <a:pt x="427088" y="620882"/>
                    </a:lnTo>
                    <a:lnTo>
                      <a:pt x="426823" y="621146"/>
                    </a:lnTo>
                    <a:close/>
                    <a:moveTo>
                      <a:pt x="431761" y="623439"/>
                    </a:moveTo>
                    <a:lnTo>
                      <a:pt x="431496" y="623703"/>
                    </a:lnTo>
                    <a:lnTo>
                      <a:pt x="430967" y="623439"/>
                    </a:lnTo>
                    <a:lnTo>
                      <a:pt x="430703" y="623439"/>
                    </a:lnTo>
                    <a:lnTo>
                      <a:pt x="430703" y="623174"/>
                    </a:lnTo>
                    <a:lnTo>
                      <a:pt x="430703" y="622910"/>
                    </a:lnTo>
                    <a:lnTo>
                      <a:pt x="431584" y="622645"/>
                    </a:lnTo>
                    <a:lnTo>
                      <a:pt x="431584" y="622910"/>
                    </a:lnTo>
                    <a:lnTo>
                      <a:pt x="431761" y="623439"/>
                    </a:lnTo>
                    <a:close/>
                    <a:moveTo>
                      <a:pt x="440842" y="649448"/>
                    </a:moveTo>
                    <a:lnTo>
                      <a:pt x="440578" y="649448"/>
                    </a:lnTo>
                    <a:lnTo>
                      <a:pt x="439960" y="648567"/>
                    </a:lnTo>
                    <a:lnTo>
                      <a:pt x="439960" y="648302"/>
                    </a:lnTo>
                    <a:lnTo>
                      <a:pt x="439696" y="647685"/>
                    </a:lnTo>
                    <a:lnTo>
                      <a:pt x="439696" y="647420"/>
                    </a:lnTo>
                    <a:lnTo>
                      <a:pt x="439431" y="647420"/>
                    </a:lnTo>
                    <a:lnTo>
                      <a:pt x="437404" y="647156"/>
                    </a:lnTo>
                    <a:lnTo>
                      <a:pt x="437139" y="647156"/>
                    </a:lnTo>
                    <a:lnTo>
                      <a:pt x="436875" y="647156"/>
                    </a:lnTo>
                    <a:lnTo>
                      <a:pt x="436610" y="647156"/>
                    </a:lnTo>
                    <a:lnTo>
                      <a:pt x="436258" y="647156"/>
                    </a:lnTo>
                    <a:lnTo>
                      <a:pt x="436258" y="647420"/>
                    </a:lnTo>
                    <a:lnTo>
                      <a:pt x="435993" y="647420"/>
                    </a:lnTo>
                    <a:lnTo>
                      <a:pt x="435993" y="647685"/>
                    </a:lnTo>
                    <a:lnTo>
                      <a:pt x="435993" y="647949"/>
                    </a:lnTo>
                    <a:lnTo>
                      <a:pt x="435729" y="648302"/>
                    </a:lnTo>
                    <a:lnTo>
                      <a:pt x="435376" y="648302"/>
                    </a:lnTo>
                    <a:lnTo>
                      <a:pt x="435111" y="648567"/>
                    </a:lnTo>
                    <a:lnTo>
                      <a:pt x="434847" y="648567"/>
                    </a:lnTo>
                    <a:lnTo>
                      <a:pt x="432819" y="648302"/>
                    </a:lnTo>
                    <a:lnTo>
                      <a:pt x="429909" y="648919"/>
                    </a:lnTo>
                    <a:lnTo>
                      <a:pt x="426735" y="648919"/>
                    </a:lnTo>
                    <a:lnTo>
                      <a:pt x="425854" y="648919"/>
                    </a:lnTo>
                    <a:lnTo>
                      <a:pt x="425854" y="648038"/>
                    </a:lnTo>
                    <a:lnTo>
                      <a:pt x="425854" y="647773"/>
                    </a:lnTo>
                    <a:lnTo>
                      <a:pt x="424972" y="646627"/>
                    </a:lnTo>
                    <a:lnTo>
                      <a:pt x="424707" y="646010"/>
                    </a:lnTo>
                    <a:lnTo>
                      <a:pt x="424090" y="645393"/>
                    </a:lnTo>
                    <a:lnTo>
                      <a:pt x="424443" y="644511"/>
                    </a:lnTo>
                    <a:lnTo>
                      <a:pt x="426470" y="641866"/>
                    </a:lnTo>
                    <a:lnTo>
                      <a:pt x="426735" y="641601"/>
                    </a:lnTo>
                    <a:lnTo>
                      <a:pt x="426999" y="641601"/>
                    </a:lnTo>
                    <a:lnTo>
                      <a:pt x="427264" y="641601"/>
                    </a:lnTo>
                    <a:lnTo>
                      <a:pt x="434229" y="639838"/>
                    </a:lnTo>
                    <a:lnTo>
                      <a:pt x="435111" y="639574"/>
                    </a:lnTo>
                    <a:lnTo>
                      <a:pt x="436258" y="639574"/>
                    </a:lnTo>
                    <a:lnTo>
                      <a:pt x="436610" y="639574"/>
                    </a:lnTo>
                    <a:lnTo>
                      <a:pt x="436875" y="639574"/>
                    </a:lnTo>
                    <a:lnTo>
                      <a:pt x="437756" y="639574"/>
                    </a:lnTo>
                    <a:lnTo>
                      <a:pt x="438902" y="638956"/>
                    </a:lnTo>
                    <a:lnTo>
                      <a:pt x="441547" y="638075"/>
                    </a:lnTo>
                    <a:lnTo>
                      <a:pt x="443575" y="637193"/>
                    </a:lnTo>
                    <a:lnTo>
                      <a:pt x="443928" y="637193"/>
                    </a:lnTo>
                    <a:lnTo>
                      <a:pt x="444192" y="637193"/>
                    </a:lnTo>
                    <a:lnTo>
                      <a:pt x="447984" y="637810"/>
                    </a:lnTo>
                    <a:lnTo>
                      <a:pt x="448601" y="638692"/>
                    </a:lnTo>
                    <a:lnTo>
                      <a:pt x="447719" y="640720"/>
                    </a:lnTo>
                    <a:lnTo>
                      <a:pt x="447719" y="641072"/>
                    </a:lnTo>
                    <a:lnTo>
                      <a:pt x="447719" y="641337"/>
                    </a:lnTo>
                    <a:lnTo>
                      <a:pt x="449483" y="641601"/>
                    </a:lnTo>
                    <a:lnTo>
                      <a:pt x="450893" y="642483"/>
                    </a:lnTo>
                    <a:lnTo>
                      <a:pt x="450893" y="642747"/>
                    </a:lnTo>
                    <a:lnTo>
                      <a:pt x="451158" y="642747"/>
                    </a:lnTo>
                    <a:lnTo>
                      <a:pt x="451775" y="642747"/>
                    </a:lnTo>
                    <a:lnTo>
                      <a:pt x="452128" y="642747"/>
                    </a:lnTo>
                    <a:lnTo>
                      <a:pt x="452392" y="642747"/>
                    </a:lnTo>
                    <a:lnTo>
                      <a:pt x="452657" y="642483"/>
                    </a:lnTo>
                    <a:lnTo>
                      <a:pt x="452921" y="642130"/>
                    </a:lnTo>
                    <a:lnTo>
                      <a:pt x="453186" y="641866"/>
                    </a:lnTo>
                    <a:lnTo>
                      <a:pt x="453450" y="641601"/>
                    </a:lnTo>
                    <a:lnTo>
                      <a:pt x="454332" y="640720"/>
                    </a:lnTo>
                    <a:lnTo>
                      <a:pt x="455213" y="641072"/>
                    </a:lnTo>
                    <a:lnTo>
                      <a:pt x="456360" y="641337"/>
                    </a:lnTo>
                    <a:lnTo>
                      <a:pt x="456624" y="641337"/>
                    </a:lnTo>
                    <a:lnTo>
                      <a:pt x="456889" y="641601"/>
                    </a:lnTo>
                    <a:lnTo>
                      <a:pt x="457242" y="643100"/>
                    </a:lnTo>
                    <a:lnTo>
                      <a:pt x="456624" y="644246"/>
                    </a:lnTo>
                    <a:lnTo>
                      <a:pt x="454861" y="645393"/>
                    </a:lnTo>
                    <a:lnTo>
                      <a:pt x="454596" y="645657"/>
                    </a:lnTo>
                    <a:lnTo>
                      <a:pt x="454332" y="645657"/>
                    </a:lnTo>
                    <a:lnTo>
                      <a:pt x="453715" y="645128"/>
                    </a:lnTo>
                    <a:lnTo>
                      <a:pt x="453450" y="645128"/>
                    </a:lnTo>
                    <a:lnTo>
                      <a:pt x="453186" y="644864"/>
                    </a:lnTo>
                    <a:lnTo>
                      <a:pt x="452921" y="644599"/>
                    </a:lnTo>
                    <a:lnTo>
                      <a:pt x="452657" y="644335"/>
                    </a:lnTo>
                    <a:lnTo>
                      <a:pt x="450893" y="644335"/>
                    </a:lnTo>
                    <a:lnTo>
                      <a:pt x="450276" y="644335"/>
                    </a:lnTo>
                    <a:lnTo>
                      <a:pt x="449659" y="644335"/>
                    </a:lnTo>
                    <a:lnTo>
                      <a:pt x="449395" y="644335"/>
                    </a:lnTo>
                    <a:lnTo>
                      <a:pt x="446132" y="645481"/>
                    </a:lnTo>
                    <a:lnTo>
                      <a:pt x="445515" y="645745"/>
                    </a:lnTo>
                    <a:lnTo>
                      <a:pt x="445250" y="646010"/>
                    </a:lnTo>
                    <a:lnTo>
                      <a:pt x="445250" y="646362"/>
                    </a:lnTo>
                    <a:lnTo>
                      <a:pt x="445250" y="646627"/>
                    </a:lnTo>
                    <a:lnTo>
                      <a:pt x="445250" y="646891"/>
                    </a:lnTo>
                    <a:lnTo>
                      <a:pt x="445250" y="647156"/>
                    </a:lnTo>
                    <a:lnTo>
                      <a:pt x="444986" y="647420"/>
                    </a:lnTo>
                    <a:lnTo>
                      <a:pt x="444721" y="647685"/>
                    </a:lnTo>
                    <a:lnTo>
                      <a:pt x="444457" y="647949"/>
                    </a:lnTo>
                    <a:lnTo>
                      <a:pt x="444104" y="648302"/>
                    </a:lnTo>
                    <a:lnTo>
                      <a:pt x="441459" y="649184"/>
                    </a:lnTo>
                    <a:lnTo>
                      <a:pt x="440842" y="649448"/>
                    </a:lnTo>
                    <a:close/>
                    <a:moveTo>
                      <a:pt x="571155" y="703936"/>
                    </a:moveTo>
                    <a:lnTo>
                      <a:pt x="570890" y="704201"/>
                    </a:lnTo>
                    <a:lnTo>
                      <a:pt x="570361" y="703936"/>
                    </a:lnTo>
                    <a:lnTo>
                      <a:pt x="569744" y="703672"/>
                    </a:lnTo>
                    <a:lnTo>
                      <a:pt x="570097" y="702790"/>
                    </a:lnTo>
                    <a:lnTo>
                      <a:pt x="570097" y="702526"/>
                    </a:lnTo>
                    <a:lnTo>
                      <a:pt x="571508" y="700762"/>
                    </a:lnTo>
                    <a:lnTo>
                      <a:pt x="571772" y="700762"/>
                    </a:lnTo>
                    <a:lnTo>
                      <a:pt x="574152" y="701291"/>
                    </a:lnTo>
                    <a:lnTo>
                      <a:pt x="574417" y="701291"/>
                    </a:lnTo>
                    <a:lnTo>
                      <a:pt x="574417" y="701644"/>
                    </a:lnTo>
                    <a:lnTo>
                      <a:pt x="574681" y="702173"/>
                    </a:lnTo>
                    <a:lnTo>
                      <a:pt x="574681" y="702526"/>
                    </a:lnTo>
                    <a:lnTo>
                      <a:pt x="574417" y="702526"/>
                    </a:lnTo>
                    <a:lnTo>
                      <a:pt x="574417" y="702790"/>
                    </a:lnTo>
                    <a:lnTo>
                      <a:pt x="574152" y="702790"/>
                    </a:lnTo>
                    <a:lnTo>
                      <a:pt x="573888" y="702790"/>
                    </a:lnTo>
                    <a:lnTo>
                      <a:pt x="573006" y="702790"/>
                    </a:lnTo>
                    <a:lnTo>
                      <a:pt x="572742" y="703055"/>
                    </a:lnTo>
                    <a:lnTo>
                      <a:pt x="571155" y="703936"/>
                    </a:lnTo>
                    <a:close/>
                    <a:moveTo>
                      <a:pt x="569127" y="707463"/>
                    </a:moveTo>
                    <a:lnTo>
                      <a:pt x="568863" y="707463"/>
                    </a:lnTo>
                    <a:lnTo>
                      <a:pt x="568863" y="707111"/>
                    </a:lnTo>
                    <a:lnTo>
                      <a:pt x="568598" y="706846"/>
                    </a:lnTo>
                    <a:lnTo>
                      <a:pt x="568598" y="706582"/>
                    </a:lnTo>
                    <a:lnTo>
                      <a:pt x="568334" y="706582"/>
                    </a:lnTo>
                    <a:lnTo>
                      <a:pt x="568069" y="706317"/>
                    </a:lnTo>
                    <a:lnTo>
                      <a:pt x="567805" y="706317"/>
                    </a:lnTo>
                    <a:lnTo>
                      <a:pt x="567540" y="706317"/>
                    </a:lnTo>
                    <a:lnTo>
                      <a:pt x="566923" y="706582"/>
                    </a:lnTo>
                    <a:lnTo>
                      <a:pt x="566041" y="706582"/>
                    </a:lnTo>
                    <a:lnTo>
                      <a:pt x="564895" y="706582"/>
                    </a:lnTo>
                    <a:lnTo>
                      <a:pt x="564454" y="706582"/>
                    </a:lnTo>
                    <a:lnTo>
                      <a:pt x="564719" y="706317"/>
                    </a:lnTo>
                    <a:lnTo>
                      <a:pt x="566218" y="705435"/>
                    </a:lnTo>
                    <a:lnTo>
                      <a:pt x="566835" y="705171"/>
                    </a:lnTo>
                    <a:lnTo>
                      <a:pt x="567099" y="705171"/>
                    </a:lnTo>
                    <a:lnTo>
                      <a:pt x="567364" y="704906"/>
                    </a:lnTo>
                    <a:lnTo>
                      <a:pt x="568510" y="704906"/>
                    </a:lnTo>
                    <a:lnTo>
                      <a:pt x="568774" y="704642"/>
                    </a:lnTo>
                    <a:lnTo>
                      <a:pt x="569039" y="704642"/>
                    </a:lnTo>
                    <a:lnTo>
                      <a:pt x="569039" y="704906"/>
                    </a:lnTo>
                    <a:lnTo>
                      <a:pt x="569303" y="704906"/>
                    </a:lnTo>
                    <a:lnTo>
                      <a:pt x="569303" y="705171"/>
                    </a:lnTo>
                    <a:lnTo>
                      <a:pt x="569127" y="707463"/>
                    </a:lnTo>
                    <a:close/>
                    <a:moveTo>
                      <a:pt x="590464" y="712753"/>
                    </a:moveTo>
                    <a:lnTo>
                      <a:pt x="589582" y="713370"/>
                    </a:lnTo>
                    <a:lnTo>
                      <a:pt x="588965" y="712753"/>
                    </a:lnTo>
                    <a:lnTo>
                      <a:pt x="588700" y="712753"/>
                    </a:lnTo>
                    <a:lnTo>
                      <a:pt x="588700" y="712489"/>
                    </a:lnTo>
                    <a:lnTo>
                      <a:pt x="588700" y="712224"/>
                    </a:lnTo>
                    <a:lnTo>
                      <a:pt x="588965" y="711960"/>
                    </a:lnTo>
                    <a:lnTo>
                      <a:pt x="589229" y="711960"/>
                    </a:lnTo>
                    <a:lnTo>
                      <a:pt x="590993" y="711960"/>
                    </a:lnTo>
                    <a:lnTo>
                      <a:pt x="591345" y="711960"/>
                    </a:lnTo>
                    <a:lnTo>
                      <a:pt x="592492" y="712224"/>
                    </a:lnTo>
                    <a:lnTo>
                      <a:pt x="592492" y="712489"/>
                    </a:lnTo>
                    <a:lnTo>
                      <a:pt x="592227" y="712489"/>
                    </a:lnTo>
                    <a:lnTo>
                      <a:pt x="591963" y="712753"/>
                    </a:lnTo>
                    <a:lnTo>
                      <a:pt x="591698" y="712489"/>
                    </a:lnTo>
                    <a:lnTo>
                      <a:pt x="591434" y="712489"/>
                    </a:lnTo>
                    <a:lnTo>
                      <a:pt x="591081" y="712489"/>
                    </a:lnTo>
                    <a:lnTo>
                      <a:pt x="590816" y="712753"/>
                    </a:lnTo>
                    <a:lnTo>
                      <a:pt x="590464" y="712753"/>
                    </a:lnTo>
                    <a:close/>
                    <a:moveTo>
                      <a:pt x="540560" y="710108"/>
                    </a:moveTo>
                    <a:lnTo>
                      <a:pt x="538533" y="709226"/>
                    </a:lnTo>
                    <a:lnTo>
                      <a:pt x="538180" y="709491"/>
                    </a:lnTo>
                    <a:lnTo>
                      <a:pt x="536769" y="715663"/>
                    </a:lnTo>
                    <a:lnTo>
                      <a:pt x="535623" y="718308"/>
                    </a:lnTo>
                    <a:lnTo>
                      <a:pt x="533243" y="718925"/>
                    </a:lnTo>
                    <a:lnTo>
                      <a:pt x="530068" y="718308"/>
                    </a:lnTo>
                    <a:lnTo>
                      <a:pt x="527423" y="719190"/>
                    </a:lnTo>
                    <a:lnTo>
                      <a:pt x="525660" y="716897"/>
                    </a:lnTo>
                    <a:lnTo>
                      <a:pt x="525043" y="715751"/>
                    </a:lnTo>
                    <a:lnTo>
                      <a:pt x="518959" y="714605"/>
                    </a:lnTo>
                    <a:lnTo>
                      <a:pt x="517460" y="711431"/>
                    </a:lnTo>
                    <a:lnTo>
                      <a:pt x="513669" y="708786"/>
                    </a:lnTo>
                    <a:lnTo>
                      <a:pt x="509878" y="707022"/>
                    </a:lnTo>
                    <a:lnTo>
                      <a:pt x="505822" y="709050"/>
                    </a:lnTo>
                    <a:lnTo>
                      <a:pt x="505205" y="702614"/>
                    </a:lnTo>
                    <a:lnTo>
                      <a:pt x="502913" y="707551"/>
                    </a:lnTo>
                    <a:lnTo>
                      <a:pt x="500267" y="706670"/>
                    </a:lnTo>
                    <a:lnTo>
                      <a:pt x="498240" y="705523"/>
                    </a:lnTo>
                    <a:lnTo>
                      <a:pt x="496476" y="706141"/>
                    </a:lnTo>
                    <a:lnTo>
                      <a:pt x="495330" y="708169"/>
                    </a:lnTo>
                    <a:lnTo>
                      <a:pt x="493302" y="707287"/>
                    </a:lnTo>
                    <a:lnTo>
                      <a:pt x="492156" y="705259"/>
                    </a:lnTo>
                    <a:lnTo>
                      <a:pt x="490657" y="703848"/>
                    </a:lnTo>
                    <a:lnTo>
                      <a:pt x="489159" y="704113"/>
                    </a:lnTo>
                    <a:lnTo>
                      <a:pt x="487130" y="701203"/>
                    </a:lnTo>
                    <a:lnTo>
                      <a:pt x="484750" y="700586"/>
                    </a:lnTo>
                    <a:lnTo>
                      <a:pt x="483339" y="699969"/>
                    </a:lnTo>
                    <a:lnTo>
                      <a:pt x="478931" y="699087"/>
                    </a:lnTo>
                    <a:lnTo>
                      <a:pt x="478049" y="695296"/>
                    </a:lnTo>
                    <a:lnTo>
                      <a:pt x="476551" y="694414"/>
                    </a:lnTo>
                    <a:lnTo>
                      <a:pt x="476815" y="694062"/>
                    </a:lnTo>
                    <a:lnTo>
                      <a:pt x="476286" y="691417"/>
                    </a:lnTo>
                    <a:lnTo>
                      <a:pt x="476815" y="689124"/>
                    </a:lnTo>
                    <a:lnTo>
                      <a:pt x="475933" y="688860"/>
                    </a:lnTo>
                    <a:lnTo>
                      <a:pt x="476286" y="684187"/>
                    </a:lnTo>
                    <a:lnTo>
                      <a:pt x="476551" y="685950"/>
                    </a:lnTo>
                    <a:lnTo>
                      <a:pt x="475404" y="683922"/>
                    </a:lnTo>
                    <a:lnTo>
                      <a:pt x="476021" y="680484"/>
                    </a:lnTo>
                    <a:lnTo>
                      <a:pt x="476021" y="681365"/>
                    </a:lnTo>
                    <a:lnTo>
                      <a:pt x="475404" y="675282"/>
                    </a:lnTo>
                    <a:lnTo>
                      <a:pt x="475404" y="675899"/>
                    </a:lnTo>
                    <a:lnTo>
                      <a:pt x="474522" y="677398"/>
                    </a:lnTo>
                    <a:lnTo>
                      <a:pt x="473905" y="672989"/>
                    </a:lnTo>
                    <a:lnTo>
                      <a:pt x="474170" y="672989"/>
                    </a:lnTo>
                    <a:lnTo>
                      <a:pt x="474434" y="672725"/>
                    </a:lnTo>
                    <a:lnTo>
                      <a:pt x="474434" y="672460"/>
                    </a:lnTo>
                    <a:lnTo>
                      <a:pt x="475051" y="671579"/>
                    </a:lnTo>
                    <a:lnTo>
                      <a:pt x="475051" y="669551"/>
                    </a:lnTo>
                    <a:lnTo>
                      <a:pt x="475051" y="669286"/>
                    </a:lnTo>
                    <a:lnTo>
                      <a:pt x="476815" y="667258"/>
                    </a:lnTo>
                    <a:lnTo>
                      <a:pt x="477696" y="666641"/>
                    </a:lnTo>
                    <a:lnTo>
                      <a:pt x="477961" y="666377"/>
                    </a:lnTo>
                    <a:lnTo>
                      <a:pt x="478578" y="666112"/>
                    </a:lnTo>
                    <a:lnTo>
                      <a:pt x="478842" y="665848"/>
                    </a:lnTo>
                    <a:lnTo>
                      <a:pt x="479460" y="665583"/>
                    </a:lnTo>
                    <a:lnTo>
                      <a:pt x="479813" y="665054"/>
                    </a:lnTo>
                    <a:lnTo>
                      <a:pt x="480077" y="664702"/>
                    </a:lnTo>
                    <a:lnTo>
                      <a:pt x="480342" y="664084"/>
                    </a:lnTo>
                    <a:lnTo>
                      <a:pt x="480694" y="663820"/>
                    </a:lnTo>
                    <a:lnTo>
                      <a:pt x="480959" y="663555"/>
                    </a:lnTo>
                    <a:lnTo>
                      <a:pt x="481223" y="662938"/>
                    </a:lnTo>
                    <a:lnTo>
                      <a:pt x="481488" y="662321"/>
                    </a:lnTo>
                    <a:lnTo>
                      <a:pt x="482105" y="660910"/>
                    </a:lnTo>
                    <a:lnTo>
                      <a:pt x="482458" y="660646"/>
                    </a:lnTo>
                    <a:lnTo>
                      <a:pt x="482458" y="660029"/>
                    </a:lnTo>
                    <a:lnTo>
                      <a:pt x="482722" y="658618"/>
                    </a:lnTo>
                    <a:lnTo>
                      <a:pt x="482722" y="658265"/>
                    </a:lnTo>
                    <a:lnTo>
                      <a:pt x="482722" y="658001"/>
                    </a:lnTo>
                    <a:lnTo>
                      <a:pt x="483339" y="650683"/>
                    </a:lnTo>
                    <a:lnTo>
                      <a:pt x="483604" y="649537"/>
                    </a:lnTo>
                    <a:lnTo>
                      <a:pt x="482458" y="645745"/>
                    </a:lnTo>
                    <a:lnTo>
                      <a:pt x="482458" y="645128"/>
                    </a:lnTo>
                    <a:lnTo>
                      <a:pt x="481840" y="643365"/>
                    </a:lnTo>
                    <a:lnTo>
                      <a:pt x="481840" y="643100"/>
                    </a:lnTo>
                    <a:lnTo>
                      <a:pt x="481576" y="642218"/>
                    </a:lnTo>
                    <a:lnTo>
                      <a:pt x="480959" y="641072"/>
                    </a:lnTo>
                    <a:lnTo>
                      <a:pt x="480694" y="640455"/>
                    </a:lnTo>
                    <a:lnTo>
                      <a:pt x="479548" y="638163"/>
                    </a:lnTo>
                    <a:lnTo>
                      <a:pt x="478137" y="636399"/>
                    </a:lnTo>
                    <a:lnTo>
                      <a:pt x="478402" y="636399"/>
                    </a:lnTo>
                    <a:lnTo>
                      <a:pt x="478755" y="636399"/>
                    </a:lnTo>
                    <a:lnTo>
                      <a:pt x="479019" y="636399"/>
                    </a:lnTo>
                    <a:lnTo>
                      <a:pt x="479019" y="636752"/>
                    </a:lnTo>
                    <a:lnTo>
                      <a:pt x="479371" y="636752"/>
                    </a:lnTo>
                    <a:lnTo>
                      <a:pt x="482017" y="640543"/>
                    </a:lnTo>
                    <a:lnTo>
                      <a:pt x="482634" y="641689"/>
                    </a:lnTo>
                    <a:lnTo>
                      <a:pt x="483163" y="643453"/>
                    </a:lnTo>
                    <a:lnTo>
                      <a:pt x="483780" y="646362"/>
                    </a:lnTo>
                    <a:lnTo>
                      <a:pt x="483780" y="646715"/>
                    </a:lnTo>
                    <a:lnTo>
                      <a:pt x="484045" y="647509"/>
                    </a:lnTo>
                    <a:lnTo>
                      <a:pt x="483780" y="649008"/>
                    </a:lnTo>
                    <a:lnTo>
                      <a:pt x="483780" y="649625"/>
                    </a:lnTo>
                    <a:lnTo>
                      <a:pt x="483780" y="649713"/>
                    </a:lnTo>
                    <a:lnTo>
                      <a:pt x="483780" y="649448"/>
                    </a:lnTo>
                    <a:lnTo>
                      <a:pt x="484045" y="649184"/>
                    </a:lnTo>
                    <a:lnTo>
                      <a:pt x="484309" y="648567"/>
                    </a:lnTo>
                    <a:lnTo>
                      <a:pt x="484309" y="647685"/>
                    </a:lnTo>
                    <a:lnTo>
                      <a:pt x="484926" y="645040"/>
                    </a:lnTo>
                    <a:lnTo>
                      <a:pt x="484662" y="644423"/>
                    </a:lnTo>
                    <a:lnTo>
                      <a:pt x="484662" y="643805"/>
                    </a:lnTo>
                    <a:lnTo>
                      <a:pt x="484662" y="643541"/>
                    </a:lnTo>
                    <a:lnTo>
                      <a:pt x="484397" y="643276"/>
                    </a:lnTo>
                    <a:lnTo>
                      <a:pt x="483780" y="641778"/>
                    </a:lnTo>
                    <a:lnTo>
                      <a:pt x="483516" y="640984"/>
                    </a:lnTo>
                    <a:lnTo>
                      <a:pt x="481752" y="638339"/>
                    </a:lnTo>
                    <a:lnTo>
                      <a:pt x="480606" y="635959"/>
                    </a:lnTo>
                    <a:lnTo>
                      <a:pt x="480342" y="635430"/>
                    </a:lnTo>
                    <a:lnTo>
                      <a:pt x="480077" y="635077"/>
                    </a:lnTo>
                    <a:lnTo>
                      <a:pt x="479724" y="634812"/>
                    </a:lnTo>
                    <a:lnTo>
                      <a:pt x="479724" y="634548"/>
                    </a:lnTo>
                    <a:lnTo>
                      <a:pt x="479460" y="634548"/>
                    </a:lnTo>
                    <a:lnTo>
                      <a:pt x="479724" y="634548"/>
                    </a:lnTo>
                    <a:lnTo>
                      <a:pt x="479724" y="634283"/>
                    </a:lnTo>
                    <a:lnTo>
                      <a:pt x="480606" y="632255"/>
                    </a:lnTo>
                    <a:lnTo>
                      <a:pt x="480959" y="631991"/>
                    </a:lnTo>
                    <a:lnTo>
                      <a:pt x="481576" y="631991"/>
                    </a:lnTo>
                    <a:lnTo>
                      <a:pt x="481576" y="631726"/>
                    </a:lnTo>
                    <a:lnTo>
                      <a:pt x="481840" y="631726"/>
                    </a:lnTo>
                    <a:lnTo>
                      <a:pt x="482105" y="631726"/>
                    </a:lnTo>
                    <a:lnTo>
                      <a:pt x="482369" y="631726"/>
                    </a:lnTo>
                    <a:lnTo>
                      <a:pt x="482987" y="632873"/>
                    </a:lnTo>
                    <a:lnTo>
                      <a:pt x="483251" y="632873"/>
                    </a:lnTo>
                    <a:lnTo>
                      <a:pt x="483251" y="633225"/>
                    </a:lnTo>
                    <a:lnTo>
                      <a:pt x="482987" y="633754"/>
                    </a:lnTo>
                    <a:lnTo>
                      <a:pt x="482722" y="634107"/>
                    </a:lnTo>
                    <a:lnTo>
                      <a:pt x="481576" y="636135"/>
                    </a:lnTo>
                    <a:lnTo>
                      <a:pt x="481576" y="636488"/>
                    </a:lnTo>
                    <a:lnTo>
                      <a:pt x="481576" y="636752"/>
                    </a:lnTo>
                    <a:lnTo>
                      <a:pt x="481840" y="636752"/>
                    </a:lnTo>
                    <a:lnTo>
                      <a:pt x="483251" y="636752"/>
                    </a:lnTo>
                    <a:lnTo>
                      <a:pt x="483604" y="636752"/>
                    </a:lnTo>
                    <a:lnTo>
                      <a:pt x="483604" y="636488"/>
                    </a:lnTo>
                    <a:lnTo>
                      <a:pt x="483868" y="636135"/>
                    </a:lnTo>
                    <a:lnTo>
                      <a:pt x="485367" y="634460"/>
                    </a:lnTo>
                    <a:lnTo>
                      <a:pt x="487130" y="631286"/>
                    </a:lnTo>
                    <a:lnTo>
                      <a:pt x="487130" y="631021"/>
                    </a:lnTo>
                    <a:lnTo>
                      <a:pt x="488012" y="628729"/>
                    </a:lnTo>
                    <a:lnTo>
                      <a:pt x="486249" y="627495"/>
                    </a:lnTo>
                    <a:lnTo>
                      <a:pt x="485984" y="627230"/>
                    </a:lnTo>
                    <a:lnTo>
                      <a:pt x="485720" y="627230"/>
                    </a:lnTo>
                    <a:lnTo>
                      <a:pt x="485103" y="627230"/>
                    </a:lnTo>
                    <a:lnTo>
                      <a:pt x="484838" y="627495"/>
                    </a:lnTo>
                    <a:lnTo>
                      <a:pt x="485103" y="627847"/>
                    </a:lnTo>
                    <a:lnTo>
                      <a:pt x="483339" y="628729"/>
                    </a:lnTo>
                    <a:lnTo>
                      <a:pt x="483075" y="628993"/>
                    </a:lnTo>
                    <a:lnTo>
                      <a:pt x="482193" y="629258"/>
                    </a:lnTo>
                    <a:lnTo>
                      <a:pt x="481929" y="629258"/>
                    </a:lnTo>
                    <a:lnTo>
                      <a:pt x="481664" y="629258"/>
                    </a:lnTo>
                    <a:lnTo>
                      <a:pt x="481400" y="629258"/>
                    </a:lnTo>
                    <a:lnTo>
                      <a:pt x="481135" y="629258"/>
                    </a:lnTo>
                    <a:lnTo>
                      <a:pt x="480782" y="629258"/>
                    </a:lnTo>
                    <a:lnTo>
                      <a:pt x="480253" y="629258"/>
                    </a:lnTo>
                    <a:lnTo>
                      <a:pt x="479900" y="629258"/>
                    </a:lnTo>
                    <a:lnTo>
                      <a:pt x="479636" y="629522"/>
                    </a:lnTo>
                    <a:lnTo>
                      <a:pt x="479019" y="630139"/>
                    </a:lnTo>
                    <a:lnTo>
                      <a:pt x="478666" y="630404"/>
                    </a:lnTo>
                    <a:lnTo>
                      <a:pt x="478666" y="630757"/>
                    </a:lnTo>
                    <a:lnTo>
                      <a:pt x="478402" y="631021"/>
                    </a:lnTo>
                    <a:lnTo>
                      <a:pt x="478402" y="631286"/>
                    </a:lnTo>
                    <a:lnTo>
                      <a:pt x="478666" y="631286"/>
                    </a:lnTo>
                    <a:lnTo>
                      <a:pt x="479019" y="631550"/>
                    </a:lnTo>
                    <a:lnTo>
                      <a:pt x="479284" y="631550"/>
                    </a:lnTo>
                    <a:lnTo>
                      <a:pt x="479636" y="631550"/>
                    </a:lnTo>
                    <a:lnTo>
                      <a:pt x="479900" y="631815"/>
                    </a:lnTo>
                    <a:lnTo>
                      <a:pt x="479636" y="632079"/>
                    </a:lnTo>
                    <a:lnTo>
                      <a:pt x="478490" y="632961"/>
                    </a:lnTo>
                    <a:lnTo>
                      <a:pt x="478490" y="633314"/>
                    </a:lnTo>
                    <a:lnTo>
                      <a:pt x="478225" y="633314"/>
                    </a:lnTo>
                    <a:lnTo>
                      <a:pt x="477961" y="633314"/>
                    </a:lnTo>
                    <a:lnTo>
                      <a:pt x="476462" y="633314"/>
                    </a:lnTo>
                    <a:lnTo>
                      <a:pt x="475316" y="632961"/>
                    </a:lnTo>
                    <a:lnTo>
                      <a:pt x="474963" y="632696"/>
                    </a:lnTo>
                    <a:lnTo>
                      <a:pt x="474699" y="632696"/>
                    </a:lnTo>
                    <a:lnTo>
                      <a:pt x="474082" y="632696"/>
                    </a:lnTo>
                    <a:lnTo>
                      <a:pt x="473200" y="632696"/>
                    </a:lnTo>
                    <a:lnTo>
                      <a:pt x="472935" y="632696"/>
                    </a:lnTo>
                    <a:lnTo>
                      <a:pt x="471437" y="633314"/>
                    </a:lnTo>
                    <a:lnTo>
                      <a:pt x="471172" y="633314"/>
                    </a:lnTo>
                    <a:lnTo>
                      <a:pt x="470908" y="633578"/>
                    </a:lnTo>
                    <a:lnTo>
                      <a:pt x="470379" y="633843"/>
                    </a:lnTo>
                    <a:lnTo>
                      <a:pt x="470379" y="634195"/>
                    </a:lnTo>
                    <a:lnTo>
                      <a:pt x="469761" y="634460"/>
                    </a:lnTo>
                    <a:lnTo>
                      <a:pt x="469497" y="634724"/>
                    </a:lnTo>
                    <a:lnTo>
                      <a:pt x="469232" y="634989"/>
                    </a:lnTo>
                    <a:lnTo>
                      <a:pt x="468350" y="635253"/>
                    </a:lnTo>
                    <a:lnTo>
                      <a:pt x="468086" y="635606"/>
                    </a:lnTo>
                    <a:lnTo>
                      <a:pt x="467821" y="635606"/>
                    </a:lnTo>
                    <a:lnTo>
                      <a:pt x="461121" y="635870"/>
                    </a:lnTo>
                    <a:lnTo>
                      <a:pt x="460592" y="635870"/>
                    </a:lnTo>
                    <a:lnTo>
                      <a:pt x="460327" y="635870"/>
                    </a:lnTo>
                    <a:lnTo>
                      <a:pt x="459975" y="635606"/>
                    </a:lnTo>
                    <a:lnTo>
                      <a:pt x="459358" y="634724"/>
                    </a:lnTo>
                    <a:lnTo>
                      <a:pt x="460856" y="633314"/>
                    </a:lnTo>
                    <a:lnTo>
                      <a:pt x="461121" y="632961"/>
                    </a:lnTo>
                    <a:lnTo>
                      <a:pt x="461385" y="632696"/>
                    </a:lnTo>
                    <a:lnTo>
                      <a:pt x="461650" y="632432"/>
                    </a:lnTo>
                    <a:lnTo>
                      <a:pt x="462532" y="632432"/>
                    </a:lnTo>
                    <a:lnTo>
                      <a:pt x="463149" y="632167"/>
                    </a:lnTo>
                    <a:lnTo>
                      <a:pt x="464295" y="631638"/>
                    </a:lnTo>
                    <a:lnTo>
                      <a:pt x="464824" y="631374"/>
                    </a:lnTo>
                    <a:lnTo>
                      <a:pt x="465088" y="631374"/>
                    </a:lnTo>
                    <a:lnTo>
                      <a:pt x="469144" y="628464"/>
                    </a:lnTo>
                    <a:lnTo>
                      <a:pt x="469408" y="628111"/>
                    </a:lnTo>
                    <a:lnTo>
                      <a:pt x="469673" y="627847"/>
                    </a:lnTo>
                    <a:lnTo>
                      <a:pt x="469673" y="627495"/>
                    </a:lnTo>
                    <a:lnTo>
                      <a:pt x="471437" y="625202"/>
                    </a:lnTo>
                    <a:lnTo>
                      <a:pt x="471701" y="624673"/>
                    </a:lnTo>
                    <a:lnTo>
                      <a:pt x="471701" y="624320"/>
                    </a:lnTo>
                    <a:lnTo>
                      <a:pt x="471701" y="623968"/>
                    </a:lnTo>
                    <a:lnTo>
                      <a:pt x="471701" y="623703"/>
                    </a:lnTo>
                    <a:lnTo>
                      <a:pt x="471966" y="623703"/>
                    </a:lnTo>
                    <a:lnTo>
                      <a:pt x="472583" y="622293"/>
                    </a:lnTo>
                    <a:lnTo>
                      <a:pt x="472935" y="622293"/>
                    </a:lnTo>
                    <a:lnTo>
                      <a:pt x="473200" y="621675"/>
                    </a:lnTo>
                    <a:lnTo>
                      <a:pt x="473817" y="621411"/>
                    </a:lnTo>
                    <a:lnTo>
                      <a:pt x="473817" y="621146"/>
                    </a:lnTo>
                    <a:lnTo>
                      <a:pt x="474346" y="620882"/>
                    </a:lnTo>
                    <a:lnTo>
                      <a:pt x="474611" y="620529"/>
                    </a:lnTo>
                    <a:lnTo>
                      <a:pt x="474611" y="620265"/>
                    </a:lnTo>
                    <a:lnTo>
                      <a:pt x="474875" y="619912"/>
                    </a:lnTo>
                    <a:lnTo>
                      <a:pt x="474875" y="619647"/>
                    </a:lnTo>
                    <a:lnTo>
                      <a:pt x="475492" y="617884"/>
                    </a:lnTo>
                    <a:lnTo>
                      <a:pt x="475845" y="616738"/>
                    </a:lnTo>
                    <a:lnTo>
                      <a:pt x="475845" y="616121"/>
                    </a:lnTo>
                    <a:lnTo>
                      <a:pt x="476109" y="615856"/>
                    </a:lnTo>
                    <a:lnTo>
                      <a:pt x="476991" y="614093"/>
                    </a:lnTo>
                    <a:lnTo>
                      <a:pt x="477255" y="614093"/>
                    </a:lnTo>
                    <a:lnTo>
                      <a:pt x="477520" y="613828"/>
                    </a:lnTo>
                    <a:lnTo>
                      <a:pt x="477784" y="612682"/>
                    </a:lnTo>
                    <a:lnTo>
                      <a:pt x="477520" y="610654"/>
                    </a:lnTo>
                    <a:lnTo>
                      <a:pt x="477520" y="610390"/>
                    </a:lnTo>
                    <a:lnTo>
                      <a:pt x="477255" y="610125"/>
                    </a:lnTo>
                    <a:lnTo>
                      <a:pt x="476374" y="607216"/>
                    </a:lnTo>
                    <a:lnTo>
                      <a:pt x="476109" y="606863"/>
                    </a:lnTo>
                    <a:lnTo>
                      <a:pt x="476109" y="606598"/>
                    </a:lnTo>
                    <a:lnTo>
                      <a:pt x="476109" y="605981"/>
                    </a:lnTo>
                    <a:lnTo>
                      <a:pt x="476726" y="604218"/>
                    </a:lnTo>
                    <a:lnTo>
                      <a:pt x="476726" y="603601"/>
                    </a:lnTo>
                    <a:lnTo>
                      <a:pt x="476991" y="602719"/>
                    </a:lnTo>
                    <a:lnTo>
                      <a:pt x="476991" y="602455"/>
                    </a:lnTo>
                    <a:lnTo>
                      <a:pt x="476991" y="602190"/>
                    </a:lnTo>
                    <a:lnTo>
                      <a:pt x="476726" y="599810"/>
                    </a:lnTo>
                    <a:lnTo>
                      <a:pt x="476374" y="598046"/>
                    </a:lnTo>
                    <a:lnTo>
                      <a:pt x="476374" y="597782"/>
                    </a:lnTo>
                    <a:lnTo>
                      <a:pt x="476109" y="597782"/>
                    </a:lnTo>
                    <a:lnTo>
                      <a:pt x="475845" y="598046"/>
                    </a:lnTo>
                    <a:lnTo>
                      <a:pt x="475492" y="598311"/>
                    </a:lnTo>
                    <a:lnTo>
                      <a:pt x="473464" y="600603"/>
                    </a:lnTo>
                    <a:lnTo>
                      <a:pt x="473200" y="600867"/>
                    </a:lnTo>
                    <a:lnTo>
                      <a:pt x="473200" y="601485"/>
                    </a:lnTo>
                    <a:lnTo>
                      <a:pt x="473200" y="601749"/>
                    </a:lnTo>
                    <a:lnTo>
                      <a:pt x="473464" y="601749"/>
                    </a:lnTo>
                    <a:lnTo>
                      <a:pt x="473200" y="602366"/>
                    </a:lnTo>
                    <a:lnTo>
                      <a:pt x="472935" y="602366"/>
                    </a:lnTo>
                    <a:lnTo>
                      <a:pt x="472583" y="602984"/>
                    </a:lnTo>
                    <a:lnTo>
                      <a:pt x="472318" y="603336"/>
                    </a:lnTo>
                    <a:lnTo>
                      <a:pt x="471437" y="603865"/>
                    </a:lnTo>
                    <a:lnTo>
                      <a:pt x="471172" y="604218"/>
                    </a:lnTo>
                    <a:lnTo>
                      <a:pt x="470290" y="604835"/>
                    </a:lnTo>
                    <a:lnTo>
                      <a:pt x="469938" y="604835"/>
                    </a:lnTo>
                    <a:lnTo>
                      <a:pt x="469673" y="605100"/>
                    </a:lnTo>
                    <a:lnTo>
                      <a:pt x="469408" y="605364"/>
                    </a:lnTo>
                    <a:lnTo>
                      <a:pt x="467910" y="607392"/>
                    </a:lnTo>
                    <a:lnTo>
                      <a:pt x="467645" y="607921"/>
                    </a:lnTo>
                    <a:lnTo>
                      <a:pt x="466763" y="609420"/>
                    </a:lnTo>
                    <a:lnTo>
                      <a:pt x="466763" y="609684"/>
                    </a:lnTo>
                    <a:lnTo>
                      <a:pt x="466146" y="610831"/>
                    </a:lnTo>
                    <a:lnTo>
                      <a:pt x="465265" y="612330"/>
                    </a:lnTo>
                    <a:lnTo>
                      <a:pt x="463237" y="614974"/>
                    </a:lnTo>
                    <a:lnTo>
                      <a:pt x="462972" y="615503"/>
                    </a:lnTo>
                    <a:lnTo>
                      <a:pt x="462708" y="615503"/>
                    </a:lnTo>
                    <a:lnTo>
                      <a:pt x="462091" y="616385"/>
                    </a:lnTo>
                    <a:lnTo>
                      <a:pt x="458917" y="620794"/>
                    </a:lnTo>
                    <a:lnTo>
                      <a:pt x="458387" y="621675"/>
                    </a:lnTo>
                    <a:lnTo>
                      <a:pt x="458387" y="621940"/>
                    </a:lnTo>
                    <a:lnTo>
                      <a:pt x="458123" y="622557"/>
                    </a:lnTo>
                    <a:lnTo>
                      <a:pt x="457771" y="622910"/>
                    </a:lnTo>
                    <a:lnTo>
                      <a:pt x="456007" y="624056"/>
                    </a:lnTo>
                    <a:lnTo>
                      <a:pt x="455742" y="624056"/>
                    </a:lnTo>
                    <a:lnTo>
                      <a:pt x="455478" y="624056"/>
                    </a:lnTo>
                    <a:lnTo>
                      <a:pt x="455125" y="624056"/>
                    </a:lnTo>
                    <a:lnTo>
                      <a:pt x="455125" y="623791"/>
                    </a:lnTo>
                    <a:lnTo>
                      <a:pt x="454861" y="623791"/>
                    </a:lnTo>
                    <a:lnTo>
                      <a:pt x="454596" y="623262"/>
                    </a:lnTo>
                    <a:lnTo>
                      <a:pt x="454244" y="622998"/>
                    </a:lnTo>
                    <a:lnTo>
                      <a:pt x="453979" y="622998"/>
                    </a:lnTo>
                    <a:lnTo>
                      <a:pt x="453450" y="622645"/>
                    </a:lnTo>
                    <a:lnTo>
                      <a:pt x="452304" y="622381"/>
                    </a:lnTo>
                    <a:lnTo>
                      <a:pt x="451951" y="622381"/>
                    </a:lnTo>
                    <a:lnTo>
                      <a:pt x="451334" y="622645"/>
                    </a:lnTo>
                    <a:lnTo>
                      <a:pt x="446926" y="623791"/>
                    </a:lnTo>
                    <a:lnTo>
                      <a:pt x="446573" y="624056"/>
                    </a:lnTo>
                    <a:lnTo>
                      <a:pt x="446308" y="624056"/>
                    </a:lnTo>
                    <a:lnTo>
                      <a:pt x="446044" y="624409"/>
                    </a:lnTo>
                    <a:lnTo>
                      <a:pt x="445779" y="624761"/>
                    </a:lnTo>
                    <a:lnTo>
                      <a:pt x="445515" y="625026"/>
                    </a:lnTo>
                    <a:lnTo>
                      <a:pt x="445515" y="625290"/>
                    </a:lnTo>
                    <a:lnTo>
                      <a:pt x="445250" y="625555"/>
                    </a:lnTo>
                    <a:lnTo>
                      <a:pt x="444986" y="625555"/>
                    </a:lnTo>
                    <a:lnTo>
                      <a:pt x="444721" y="625819"/>
                    </a:lnTo>
                    <a:lnTo>
                      <a:pt x="444369" y="625819"/>
                    </a:lnTo>
                    <a:lnTo>
                      <a:pt x="444104" y="625819"/>
                    </a:lnTo>
                    <a:lnTo>
                      <a:pt x="443487" y="625555"/>
                    </a:lnTo>
                    <a:lnTo>
                      <a:pt x="443223" y="625290"/>
                    </a:lnTo>
                    <a:lnTo>
                      <a:pt x="442958" y="625290"/>
                    </a:lnTo>
                    <a:lnTo>
                      <a:pt x="442694" y="625290"/>
                    </a:lnTo>
                    <a:lnTo>
                      <a:pt x="442076" y="625290"/>
                    </a:lnTo>
                    <a:lnTo>
                      <a:pt x="441812" y="625290"/>
                    </a:lnTo>
                    <a:lnTo>
                      <a:pt x="441547" y="625555"/>
                    </a:lnTo>
                    <a:lnTo>
                      <a:pt x="440401" y="626084"/>
                    </a:lnTo>
                    <a:lnTo>
                      <a:pt x="440401" y="626436"/>
                    </a:lnTo>
                    <a:lnTo>
                      <a:pt x="440137" y="626436"/>
                    </a:lnTo>
                    <a:lnTo>
                      <a:pt x="439520" y="626701"/>
                    </a:lnTo>
                    <a:lnTo>
                      <a:pt x="438638" y="627054"/>
                    </a:lnTo>
                    <a:lnTo>
                      <a:pt x="438373" y="627054"/>
                    </a:lnTo>
                    <a:lnTo>
                      <a:pt x="438109" y="626701"/>
                    </a:lnTo>
                    <a:lnTo>
                      <a:pt x="437844" y="625819"/>
                    </a:lnTo>
                    <a:lnTo>
                      <a:pt x="438726" y="624673"/>
                    </a:lnTo>
                    <a:lnTo>
                      <a:pt x="439343" y="624673"/>
                    </a:lnTo>
                    <a:lnTo>
                      <a:pt x="439608" y="624320"/>
                    </a:lnTo>
                    <a:lnTo>
                      <a:pt x="439872" y="624320"/>
                    </a:lnTo>
                    <a:lnTo>
                      <a:pt x="439872" y="623968"/>
                    </a:lnTo>
                    <a:lnTo>
                      <a:pt x="441283" y="623086"/>
                    </a:lnTo>
                    <a:lnTo>
                      <a:pt x="442165" y="621940"/>
                    </a:lnTo>
                    <a:lnTo>
                      <a:pt x="442429" y="621675"/>
                    </a:lnTo>
                    <a:lnTo>
                      <a:pt x="442429" y="621411"/>
                    </a:lnTo>
                    <a:lnTo>
                      <a:pt x="442694" y="621146"/>
                    </a:lnTo>
                    <a:lnTo>
                      <a:pt x="442694" y="620882"/>
                    </a:lnTo>
                    <a:lnTo>
                      <a:pt x="442429" y="620882"/>
                    </a:lnTo>
                    <a:lnTo>
                      <a:pt x="444192" y="618589"/>
                    </a:lnTo>
                    <a:lnTo>
                      <a:pt x="445692" y="617090"/>
                    </a:lnTo>
                    <a:lnTo>
                      <a:pt x="445956" y="617090"/>
                    </a:lnTo>
                    <a:lnTo>
                      <a:pt x="446221" y="617355"/>
                    </a:lnTo>
                    <a:lnTo>
                      <a:pt x="446837" y="617619"/>
                    </a:lnTo>
                    <a:lnTo>
                      <a:pt x="447190" y="617619"/>
                    </a:lnTo>
                    <a:lnTo>
                      <a:pt x="447455" y="617972"/>
                    </a:lnTo>
                    <a:lnTo>
                      <a:pt x="447719" y="617619"/>
                    </a:lnTo>
                    <a:lnTo>
                      <a:pt x="447984" y="617619"/>
                    </a:lnTo>
                    <a:lnTo>
                      <a:pt x="449130" y="617355"/>
                    </a:lnTo>
                    <a:lnTo>
                      <a:pt x="449395" y="617355"/>
                    </a:lnTo>
                    <a:lnTo>
                      <a:pt x="450805" y="617090"/>
                    </a:lnTo>
                    <a:lnTo>
                      <a:pt x="451070" y="617090"/>
                    </a:lnTo>
                    <a:lnTo>
                      <a:pt x="451070" y="617355"/>
                    </a:lnTo>
                    <a:lnTo>
                      <a:pt x="451070" y="617619"/>
                    </a:lnTo>
                    <a:lnTo>
                      <a:pt x="451070" y="617972"/>
                    </a:lnTo>
                    <a:lnTo>
                      <a:pt x="452216" y="618589"/>
                    </a:lnTo>
                    <a:lnTo>
                      <a:pt x="452480" y="618589"/>
                    </a:lnTo>
                    <a:lnTo>
                      <a:pt x="452745" y="618589"/>
                    </a:lnTo>
                    <a:lnTo>
                      <a:pt x="453362" y="618237"/>
                    </a:lnTo>
                    <a:lnTo>
                      <a:pt x="453626" y="617972"/>
                    </a:lnTo>
                    <a:lnTo>
                      <a:pt x="453891" y="617619"/>
                    </a:lnTo>
                    <a:lnTo>
                      <a:pt x="454155" y="617355"/>
                    </a:lnTo>
                    <a:lnTo>
                      <a:pt x="454508" y="617090"/>
                    </a:lnTo>
                    <a:lnTo>
                      <a:pt x="458300" y="610919"/>
                    </a:lnTo>
                    <a:lnTo>
                      <a:pt x="460063" y="606246"/>
                    </a:lnTo>
                    <a:lnTo>
                      <a:pt x="462355" y="601837"/>
                    </a:lnTo>
                    <a:lnTo>
                      <a:pt x="462620" y="600691"/>
                    </a:lnTo>
                    <a:lnTo>
                      <a:pt x="462884" y="599545"/>
                    </a:lnTo>
                    <a:lnTo>
                      <a:pt x="462884" y="599192"/>
                    </a:lnTo>
                    <a:lnTo>
                      <a:pt x="462620" y="598928"/>
                    </a:lnTo>
                    <a:lnTo>
                      <a:pt x="462620" y="598663"/>
                    </a:lnTo>
                    <a:lnTo>
                      <a:pt x="462884" y="598663"/>
                    </a:lnTo>
                    <a:lnTo>
                      <a:pt x="462884" y="598399"/>
                    </a:lnTo>
                    <a:lnTo>
                      <a:pt x="463149" y="598134"/>
                    </a:lnTo>
                    <a:lnTo>
                      <a:pt x="463413" y="598134"/>
                    </a:lnTo>
                    <a:lnTo>
                      <a:pt x="463413" y="598399"/>
                    </a:lnTo>
                    <a:lnTo>
                      <a:pt x="464030" y="598399"/>
                    </a:lnTo>
                    <a:lnTo>
                      <a:pt x="464295" y="598134"/>
                    </a:lnTo>
                    <a:lnTo>
                      <a:pt x="465176" y="597253"/>
                    </a:lnTo>
                    <a:lnTo>
                      <a:pt x="465441" y="596900"/>
                    </a:lnTo>
                    <a:lnTo>
                      <a:pt x="466058" y="596283"/>
                    </a:lnTo>
                    <a:lnTo>
                      <a:pt x="467821" y="593638"/>
                    </a:lnTo>
                    <a:lnTo>
                      <a:pt x="468968" y="591874"/>
                    </a:lnTo>
                    <a:lnTo>
                      <a:pt x="468968" y="591610"/>
                    </a:lnTo>
                    <a:lnTo>
                      <a:pt x="469850" y="590728"/>
                    </a:lnTo>
                    <a:lnTo>
                      <a:pt x="474522" y="587201"/>
                    </a:lnTo>
                    <a:lnTo>
                      <a:pt x="474787" y="586937"/>
                    </a:lnTo>
                    <a:lnTo>
                      <a:pt x="477696" y="584909"/>
                    </a:lnTo>
                    <a:lnTo>
                      <a:pt x="477961" y="584645"/>
                    </a:lnTo>
                    <a:lnTo>
                      <a:pt x="478225" y="584645"/>
                    </a:lnTo>
                    <a:lnTo>
                      <a:pt x="478842" y="584645"/>
                    </a:lnTo>
                    <a:lnTo>
                      <a:pt x="479460" y="584027"/>
                    </a:lnTo>
                    <a:lnTo>
                      <a:pt x="479724" y="583763"/>
                    </a:lnTo>
                    <a:lnTo>
                      <a:pt x="479724" y="583498"/>
                    </a:lnTo>
                    <a:lnTo>
                      <a:pt x="480077" y="582617"/>
                    </a:lnTo>
                    <a:lnTo>
                      <a:pt x="480342" y="580853"/>
                    </a:lnTo>
                    <a:lnTo>
                      <a:pt x="480077" y="577944"/>
                    </a:lnTo>
                    <a:lnTo>
                      <a:pt x="479724" y="577062"/>
                    </a:lnTo>
                    <a:lnTo>
                      <a:pt x="479724" y="576798"/>
                    </a:lnTo>
                    <a:lnTo>
                      <a:pt x="480077" y="576533"/>
                    </a:lnTo>
                    <a:lnTo>
                      <a:pt x="480606" y="575651"/>
                    </a:lnTo>
                    <a:lnTo>
                      <a:pt x="480959" y="575299"/>
                    </a:lnTo>
                    <a:lnTo>
                      <a:pt x="481223" y="575034"/>
                    </a:lnTo>
                    <a:lnTo>
                      <a:pt x="481488" y="574681"/>
                    </a:lnTo>
                    <a:lnTo>
                      <a:pt x="482898" y="573800"/>
                    </a:lnTo>
                    <a:lnTo>
                      <a:pt x="484045" y="573535"/>
                    </a:lnTo>
                    <a:lnTo>
                      <a:pt x="485191" y="573535"/>
                    </a:lnTo>
                    <a:lnTo>
                      <a:pt x="485455" y="573535"/>
                    </a:lnTo>
                    <a:lnTo>
                      <a:pt x="485720" y="573183"/>
                    </a:lnTo>
                    <a:lnTo>
                      <a:pt x="485984" y="573183"/>
                    </a:lnTo>
                    <a:lnTo>
                      <a:pt x="485984" y="572918"/>
                    </a:lnTo>
                    <a:lnTo>
                      <a:pt x="486249" y="572918"/>
                    </a:lnTo>
                    <a:lnTo>
                      <a:pt x="486513" y="571772"/>
                    </a:lnTo>
                    <a:lnTo>
                      <a:pt x="486513" y="570626"/>
                    </a:lnTo>
                    <a:lnTo>
                      <a:pt x="486249" y="570273"/>
                    </a:lnTo>
                    <a:lnTo>
                      <a:pt x="485984" y="570273"/>
                    </a:lnTo>
                    <a:lnTo>
                      <a:pt x="485720" y="570273"/>
                    </a:lnTo>
                    <a:lnTo>
                      <a:pt x="485455" y="570273"/>
                    </a:lnTo>
                    <a:lnTo>
                      <a:pt x="485455" y="570009"/>
                    </a:lnTo>
                    <a:lnTo>
                      <a:pt x="485455" y="569656"/>
                    </a:lnTo>
                    <a:lnTo>
                      <a:pt x="486601" y="564454"/>
                    </a:lnTo>
                    <a:lnTo>
                      <a:pt x="486601" y="562162"/>
                    </a:lnTo>
                    <a:lnTo>
                      <a:pt x="486954" y="560663"/>
                    </a:lnTo>
                    <a:lnTo>
                      <a:pt x="487219" y="559252"/>
                    </a:lnTo>
                    <a:lnTo>
                      <a:pt x="487219" y="558988"/>
                    </a:lnTo>
                    <a:lnTo>
                      <a:pt x="486954" y="558106"/>
                    </a:lnTo>
                    <a:lnTo>
                      <a:pt x="486601" y="558106"/>
                    </a:lnTo>
                    <a:lnTo>
                      <a:pt x="486337" y="558635"/>
                    </a:lnTo>
                    <a:lnTo>
                      <a:pt x="486072" y="559252"/>
                    </a:lnTo>
                    <a:lnTo>
                      <a:pt x="484926" y="561897"/>
                    </a:lnTo>
                    <a:lnTo>
                      <a:pt x="484662" y="562250"/>
                    </a:lnTo>
                    <a:lnTo>
                      <a:pt x="484662" y="562514"/>
                    </a:lnTo>
                    <a:lnTo>
                      <a:pt x="484926" y="562514"/>
                    </a:lnTo>
                    <a:lnTo>
                      <a:pt x="485191" y="562514"/>
                    </a:lnTo>
                    <a:lnTo>
                      <a:pt x="485191" y="562779"/>
                    </a:lnTo>
                    <a:lnTo>
                      <a:pt x="485191" y="563131"/>
                    </a:lnTo>
                    <a:lnTo>
                      <a:pt x="485191" y="563396"/>
                    </a:lnTo>
                    <a:lnTo>
                      <a:pt x="485191" y="563660"/>
                    </a:lnTo>
                    <a:lnTo>
                      <a:pt x="484309" y="565953"/>
                    </a:lnTo>
                    <a:lnTo>
                      <a:pt x="484045" y="566217"/>
                    </a:lnTo>
                    <a:lnTo>
                      <a:pt x="482281" y="569392"/>
                    </a:lnTo>
                    <a:lnTo>
                      <a:pt x="482017" y="569656"/>
                    </a:lnTo>
                    <a:lnTo>
                      <a:pt x="481752" y="569656"/>
                    </a:lnTo>
                    <a:lnTo>
                      <a:pt x="480871" y="569656"/>
                    </a:lnTo>
                    <a:lnTo>
                      <a:pt x="477961" y="570538"/>
                    </a:lnTo>
                    <a:lnTo>
                      <a:pt x="474699" y="572830"/>
                    </a:lnTo>
                    <a:lnTo>
                      <a:pt x="472935" y="574593"/>
                    </a:lnTo>
                    <a:lnTo>
                      <a:pt x="470908" y="576886"/>
                    </a:lnTo>
                    <a:lnTo>
                      <a:pt x="470643" y="577238"/>
                    </a:lnTo>
                    <a:lnTo>
                      <a:pt x="470379" y="577767"/>
                    </a:lnTo>
                    <a:lnTo>
                      <a:pt x="470114" y="578032"/>
                    </a:lnTo>
                    <a:lnTo>
                      <a:pt x="470114" y="578296"/>
                    </a:lnTo>
                    <a:lnTo>
                      <a:pt x="469761" y="578561"/>
                    </a:lnTo>
                    <a:lnTo>
                      <a:pt x="469761" y="579178"/>
                    </a:lnTo>
                    <a:lnTo>
                      <a:pt x="468879" y="580060"/>
                    </a:lnTo>
                    <a:lnTo>
                      <a:pt x="468615" y="580324"/>
                    </a:lnTo>
                    <a:lnTo>
                      <a:pt x="465970" y="583234"/>
                    </a:lnTo>
                    <a:lnTo>
                      <a:pt x="465353" y="583763"/>
                    </a:lnTo>
                    <a:lnTo>
                      <a:pt x="463589" y="585526"/>
                    </a:lnTo>
                    <a:lnTo>
                      <a:pt x="462972" y="586144"/>
                    </a:lnTo>
                    <a:lnTo>
                      <a:pt x="461826" y="586937"/>
                    </a:lnTo>
                    <a:lnTo>
                      <a:pt x="461562" y="586937"/>
                    </a:lnTo>
                    <a:lnTo>
                      <a:pt x="461297" y="587201"/>
                    </a:lnTo>
                    <a:lnTo>
                      <a:pt x="461033" y="587201"/>
                    </a:lnTo>
                    <a:lnTo>
                      <a:pt x="459005" y="587466"/>
                    </a:lnTo>
                    <a:lnTo>
                      <a:pt x="458740" y="587466"/>
                    </a:lnTo>
                    <a:lnTo>
                      <a:pt x="458740" y="587201"/>
                    </a:lnTo>
                    <a:lnTo>
                      <a:pt x="458211" y="586937"/>
                    </a:lnTo>
                    <a:lnTo>
                      <a:pt x="458211" y="586673"/>
                    </a:lnTo>
                    <a:lnTo>
                      <a:pt x="458211" y="586408"/>
                    </a:lnTo>
                    <a:lnTo>
                      <a:pt x="457947" y="586408"/>
                    </a:lnTo>
                    <a:lnTo>
                      <a:pt x="457594" y="586408"/>
                    </a:lnTo>
                    <a:lnTo>
                      <a:pt x="455566" y="588171"/>
                    </a:lnTo>
                    <a:lnTo>
                      <a:pt x="455302" y="588524"/>
                    </a:lnTo>
                    <a:lnTo>
                      <a:pt x="455302" y="588788"/>
                    </a:lnTo>
                    <a:lnTo>
                      <a:pt x="455566" y="588788"/>
                    </a:lnTo>
                    <a:lnTo>
                      <a:pt x="455831" y="588788"/>
                    </a:lnTo>
                    <a:lnTo>
                      <a:pt x="454420" y="589670"/>
                    </a:lnTo>
                    <a:lnTo>
                      <a:pt x="449483" y="591698"/>
                    </a:lnTo>
                    <a:lnTo>
                      <a:pt x="447455" y="592844"/>
                    </a:lnTo>
                    <a:lnTo>
                      <a:pt x="442782" y="595225"/>
                    </a:lnTo>
                    <a:lnTo>
                      <a:pt x="442517" y="595489"/>
                    </a:lnTo>
                    <a:lnTo>
                      <a:pt x="441371" y="596371"/>
                    </a:lnTo>
                    <a:lnTo>
                      <a:pt x="441107" y="596636"/>
                    </a:lnTo>
                    <a:lnTo>
                      <a:pt x="440842" y="596988"/>
                    </a:lnTo>
                    <a:lnTo>
                      <a:pt x="440842" y="597253"/>
                    </a:lnTo>
                    <a:lnTo>
                      <a:pt x="440578" y="597517"/>
                    </a:lnTo>
                    <a:lnTo>
                      <a:pt x="439431" y="598928"/>
                    </a:lnTo>
                    <a:lnTo>
                      <a:pt x="439167" y="599281"/>
                    </a:lnTo>
                    <a:lnTo>
                      <a:pt x="438814" y="599281"/>
                    </a:lnTo>
                    <a:lnTo>
                      <a:pt x="437051" y="601044"/>
                    </a:lnTo>
                    <a:lnTo>
                      <a:pt x="436787" y="601308"/>
                    </a:lnTo>
                    <a:lnTo>
                      <a:pt x="436433" y="601925"/>
                    </a:lnTo>
                    <a:lnTo>
                      <a:pt x="435552" y="602543"/>
                    </a:lnTo>
                    <a:lnTo>
                      <a:pt x="435287" y="602807"/>
                    </a:lnTo>
                    <a:lnTo>
                      <a:pt x="435023" y="602807"/>
                    </a:lnTo>
                    <a:lnTo>
                      <a:pt x="434758" y="602807"/>
                    </a:lnTo>
                    <a:lnTo>
                      <a:pt x="434141" y="603160"/>
                    </a:lnTo>
                    <a:lnTo>
                      <a:pt x="433877" y="603160"/>
                    </a:lnTo>
                    <a:lnTo>
                      <a:pt x="433612" y="603160"/>
                    </a:lnTo>
                    <a:lnTo>
                      <a:pt x="433348" y="603424"/>
                    </a:lnTo>
                    <a:lnTo>
                      <a:pt x="430438" y="606334"/>
                    </a:lnTo>
                    <a:lnTo>
                      <a:pt x="430174" y="606598"/>
                    </a:lnTo>
                    <a:lnTo>
                      <a:pt x="428763" y="607216"/>
                    </a:lnTo>
                    <a:lnTo>
                      <a:pt x="428499" y="607216"/>
                    </a:lnTo>
                    <a:lnTo>
                      <a:pt x="427881" y="607480"/>
                    </a:lnTo>
                    <a:lnTo>
                      <a:pt x="427881" y="607745"/>
                    </a:lnTo>
                    <a:lnTo>
                      <a:pt x="427617" y="607745"/>
                    </a:lnTo>
                    <a:lnTo>
                      <a:pt x="425236" y="610390"/>
                    </a:lnTo>
                    <a:lnTo>
                      <a:pt x="421710" y="614445"/>
                    </a:lnTo>
                    <a:lnTo>
                      <a:pt x="421710" y="614798"/>
                    </a:lnTo>
                    <a:lnTo>
                      <a:pt x="421974" y="614798"/>
                    </a:lnTo>
                    <a:lnTo>
                      <a:pt x="422239" y="614798"/>
                    </a:lnTo>
                    <a:lnTo>
                      <a:pt x="422856" y="614798"/>
                    </a:lnTo>
                    <a:lnTo>
                      <a:pt x="423120" y="614798"/>
                    </a:lnTo>
                    <a:lnTo>
                      <a:pt x="423737" y="614445"/>
                    </a:lnTo>
                    <a:lnTo>
                      <a:pt x="424090" y="614445"/>
                    </a:lnTo>
                    <a:lnTo>
                      <a:pt x="425589" y="613564"/>
                    </a:lnTo>
                    <a:lnTo>
                      <a:pt x="426470" y="612682"/>
                    </a:lnTo>
                    <a:lnTo>
                      <a:pt x="426735" y="612682"/>
                    </a:lnTo>
                    <a:lnTo>
                      <a:pt x="426999" y="612947"/>
                    </a:lnTo>
                    <a:lnTo>
                      <a:pt x="426735" y="612947"/>
                    </a:lnTo>
                    <a:lnTo>
                      <a:pt x="426470" y="613828"/>
                    </a:lnTo>
                    <a:lnTo>
                      <a:pt x="426470" y="614445"/>
                    </a:lnTo>
                    <a:lnTo>
                      <a:pt x="424178" y="618854"/>
                    </a:lnTo>
                    <a:lnTo>
                      <a:pt x="423825" y="619118"/>
                    </a:lnTo>
                    <a:lnTo>
                      <a:pt x="422944" y="619383"/>
                    </a:lnTo>
                    <a:lnTo>
                      <a:pt x="422679" y="619383"/>
                    </a:lnTo>
                    <a:lnTo>
                      <a:pt x="422679" y="618766"/>
                    </a:lnTo>
                    <a:lnTo>
                      <a:pt x="422679" y="618501"/>
                    </a:lnTo>
                    <a:lnTo>
                      <a:pt x="422679" y="618237"/>
                    </a:lnTo>
                    <a:lnTo>
                      <a:pt x="421798" y="616473"/>
                    </a:lnTo>
                    <a:lnTo>
                      <a:pt x="421533" y="616209"/>
                    </a:lnTo>
                    <a:lnTo>
                      <a:pt x="421269" y="615944"/>
                    </a:lnTo>
                    <a:lnTo>
                      <a:pt x="420916" y="615944"/>
                    </a:lnTo>
                    <a:lnTo>
                      <a:pt x="420652" y="615680"/>
                    </a:lnTo>
                    <a:lnTo>
                      <a:pt x="420299" y="615680"/>
                    </a:lnTo>
                    <a:lnTo>
                      <a:pt x="420034" y="615944"/>
                    </a:lnTo>
                    <a:lnTo>
                      <a:pt x="419770" y="615944"/>
                    </a:lnTo>
                    <a:lnTo>
                      <a:pt x="419417" y="615944"/>
                    </a:lnTo>
                    <a:lnTo>
                      <a:pt x="419153" y="616209"/>
                    </a:lnTo>
                    <a:lnTo>
                      <a:pt x="419153" y="616473"/>
                    </a:lnTo>
                    <a:lnTo>
                      <a:pt x="418888" y="616473"/>
                    </a:lnTo>
                    <a:lnTo>
                      <a:pt x="418624" y="617090"/>
                    </a:lnTo>
                    <a:lnTo>
                      <a:pt x="418095" y="617972"/>
                    </a:lnTo>
                    <a:lnTo>
                      <a:pt x="417830" y="617972"/>
                    </a:lnTo>
                    <a:lnTo>
                      <a:pt x="417830" y="618325"/>
                    </a:lnTo>
                    <a:lnTo>
                      <a:pt x="417566" y="618325"/>
                    </a:lnTo>
                    <a:lnTo>
                      <a:pt x="416949" y="617972"/>
                    </a:lnTo>
                    <a:lnTo>
                      <a:pt x="416949" y="617355"/>
                    </a:lnTo>
                    <a:lnTo>
                      <a:pt x="416949" y="616473"/>
                    </a:lnTo>
                    <a:lnTo>
                      <a:pt x="416949" y="615856"/>
                    </a:lnTo>
                    <a:lnTo>
                      <a:pt x="415802" y="612947"/>
                    </a:lnTo>
                    <a:lnTo>
                      <a:pt x="414303" y="610037"/>
                    </a:lnTo>
                    <a:lnTo>
                      <a:pt x="414303" y="609773"/>
                    </a:lnTo>
                    <a:lnTo>
                      <a:pt x="413422" y="608626"/>
                    </a:lnTo>
                    <a:lnTo>
                      <a:pt x="413157" y="608626"/>
                    </a:lnTo>
                    <a:lnTo>
                      <a:pt x="412893" y="608362"/>
                    </a:lnTo>
                    <a:lnTo>
                      <a:pt x="412628" y="608362"/>
                    </a:lnTo>
                    <a:lnTo>
                      <a:pt x="411217" y="608891"/>
                    </a:lnTo>
                    <a:lnTo>
                      <a:pt x="410953" y="609155"/>
                    </a:lnTo>
                    <a:lnTo>
                      <a:pt x="410600" y="609420"/>
                    </a:lnTo>
                    <a:lnTo>
                      <a:pt x="410336" y="609420"/>
                    </a:lnTo>
                    <a:lnTo>
                      <a:pt x="410071" y="609420"/>
                    </a:lnTo>
                    <a:lnTo>
                      <a:pt x="410071" y="609155"/>
                    </a:lnTo>
                    <a:lnTo>
                      <a:pt x="410688" y="608891"/>
                    </a:lnTo>
                    <a:lnTo>
                      <a:pt x="412099" y="606863"/>
                    </a:lnTo>
                    <a:lnTo>
                      <a:pt x="413862" y="605364"/>
                    </a:lnTo>
                    <a:lnTo>
                      <a:pt x="414127" y="605100"/>
                    </a:lnTo>
                    <a:lnTo>
                      <a:pt x="413862" y="605717"/>
                    </a:lnTo>
                    <a:lnTo>
                      <a:pt x="413862" y="605981"/>
                    </a:lnTo>
                    <a:lnTo>
                      <a:pt x="413598" y="606246"/>
                    </a:lnTo>
                    <a:lnTo>
                      <a:pt x="413598" y="606510"/>
                    </a:lnTo>
                    <a:lnTo>
                      <a:pt x="413598" y="606863"/>
                    </a:lnTo>
                    <a:lnTo>
                      <a:pt x="415097" y="609773"/>
                    </a:lnTo>
                    <a:lnTo>
                      <a:pt x="415362" y="610390"/>
                    </a:lnTo>
                    <a:lnTo>
                      <a:pt x="415626" y="610390"/>
                    </a:lnTo>
                    <a:lnTo>
                      <a:pt x="415891" y="610390"/>
                    </a:lnTo>
                    <a:lnTo>
                      <a:pt x="417918" y="610125"/>
                    </a:lnTo>
                    <a:lnTo>
                      <a:pt x="418183" y="609861"/>
                    </a:lnTo>
                    <a:lnTo>
                      <a:pt x="417918" y="609596"/>
                    </a:lnTo>
                    <a:lnTo>
                      <a:pt x="417037" y="609596"/>
                    </a:lnTo>
                    <a:lnTo>
                      <a:pt x="416155" y="608979"/>
                    </a:lnTo>
                    <a:lnTo>
                      <a:pt x="416420" y="608097"/>
                    </a:lnTo>
                    <a:lnTo>
                      <a:pt x="416420" y="607745"/>
                    </a:lnTo>
                    <a:lnTo>
                      <a:pt x="416420" y="607480"/>
                    </a:lnTo>
                    <a:lnTo>
                      <a:pt x="416772" y="607216"/>
                    </a:lnTo>
                    <a:lnTo>
                      <a:pt x="417037" y="606951"/>
                    </a:lnTo>
                    <a:lnTo>
                      <a:pt x="417301" y="606598"/>
                    </a:lnTo>
                    <a:lnTo>
                      <a:pt x="417301" y="606334"/>
                    </a:lnTo>
                    <a:lnTo>
                      <a:pt x="418447" y="601661"/>
                    </a:lnTo>
                    <a:lnTo>
                      <a:pt x="418712" y="599369"/>
                    </a:lnTo>
                    <a:lnTo>
                      <a:pt x="418712" y="597605"/>
                    </a:lnTo>
                    <a:lnTo>
                      <a:pt x="418712" y="597341"/>
                    </a:lnTo>
                    <a:lnTo>
                      <a:pt x="419858" y="595048"/>
                    </a:lnTo>
                    <a:lnTo>
                      <a:pt x="419858" y="594696"/>
                    </a:lnTo>
                    <a:lnTo>
                      <a:pt x="419858" y="594431"/>
                    </a:lnTo>
                    <a:lnTo>
                      <a:pt x="419329" y="592403"/>
                    </a:lnTo>
                    <a:lnTo>
                      <a:pt x="418183" y="589229"/>
                    </a:lnTo>
                    <a:lnTo>
                      <a:pt x="417918" y="588965"/>
                    </a:lnTo>
                    <a:lnTo>
                      <a:pt x="417037" y="588083"/>
                    </a:lnTo>
                    <a:lnTo>
                      <a:pt x="416420" y="587201"/>
                    </a:lnTo>
                    <a:lnTo>
                      <a:pt x="415273" y="585791"/>
                    </a:lnTo>
                    <a:lnTo>
                      <a:pt x="415273" y="585526"/>
                    </a:lnTo>
                    <a:lnTo>
                      <a:pt x="415891" y="584645"/>
                    </a:lnTo>
                    <a:lnTo>
                      <a:pt x="415891" y="584380"/>
                    </a:lnTo>
                    <a:lnTo>
                      <a:pt x="416507" y="584027"/>
                    </a:lnTo>
                    <a:lnTo>
                      <a:pt x="416507" y="583763"/>
                    </a:lnTo>
                    <a:lnTo>
                      <a:pt x="416860" y="583498"/>
                    </a:lnTo>
                    <a:lnTo>
                      <a:pt x="416860" y="583234"/>
                    </a:lnTo>
                    <a:lnTo>
                      <a:pt x="417125" y="583234"/>
                    </a:lnTo>
                    <a:lnTo>
                      <a:pt x="417389" y="582088"/>
                    </a:lnTo>
                    <a:lnTo>
                      <a:pt x="417389" y="581559"/>
                    </a:lnTo>
                    <a:lnTo>
                      <a:pt x="417654" y="579795"/>
                    </a:lnTo>
                    <a:lnTo>
                      <a:pt x="417654" y="578649"/>
                    </a:lnTo>
                    <a:lnTo>
                      <a:pt x="417389" y="574329"/>
                    </a:lnTo>
                    <a:lnTo>
                      <a:pt x="417125" y="573976"/>
                    </a:lnTo>
                    <a:lnTo>
                      <a:pt x="415362" y="573359"/>
                    </a:lnTo>
                    <a:lnTo>
                      <a:pt x="411570" y="573976"/>
                    </a:lnTo>
                    <a:lnTo>
                      <a:pt x="411306" y="573976"/>
                    </a:lnTo>
                    <a:lnTo>
                      <a:pt x="411041" y="574329"/>
                    </a:lnTo>
                    <a:lnTo>
                      <a:pt x="410688" y="574593"/>
                    </a:lnTo>
                    <a:lnTo>
                      <a:pt x="409542" y="575210"/>
                    </a:lnTo>
                    <a:lnTo>
                      <a:pt x="409190" y="574858"/>
                    </a:lnTo>
                    <a:lnTo>
                      <a:pt x="408573" y="573976"/>
                    </a:lnTo>
                    <a:lnTo>
                      <a:pt x="408573" y="573712"/>
                    </a:lnTo>
                    <a:lnTo>
                      <a:pt x="408573" y="573359"/>
                    </a:lnTo>
                    <a:lnTo>
                      <a:pt x="408925" y="573094"/>
                    </a:lnTo>
                    <a:lnTo>
                      <a:pt x="408925" y="572830"/>
                    </a:lnTo>
                    <a:lnTo>
                      <a:pt x="409190" y="569039"/>
                    </a:lnTo>
                    <a:lnTo>
                      <a:pt x="409190" y="568774"/>
                    </a:lnTo>
                    <a:lnTo>
                      <a:pt x="408925" y="566129"/>
                    </a:lnTo>
                    <a:lnTo>
                      <a:pt x="408925" y="563484"/>
                    </a:lnTo>
                    <a:lnTo>
                      <a:pt x="408925" y="563220"/>
                    </a:lnTo>
                    <a:lnTo>
                      <a:pt x="408925" y="562867"/>
                    </a:lnTo>
                    <a:lnTo>
                      <a:pt x="409190" y="562867"/>
                    </a:lnTo>
                    <a:lnTo>
                      <a:pt x="409542" y="562867"/>
                    </a:lnTo>
                    <a:lnTo>
                      <a:pt x="410688" y="563220"/>
                    </a:lnTo>
                    <a:lnTo>
                      <a:pt x="411306" y="563484"/>
                    </a:lnTo>
                    <a:lnTo>
                      <a:pt x="411306" y="563749"/>
                    </a:lnTo>
                    <a:lnTo>
                      <a:pt x="411041" y="564013"/>
                    </a:lnTo>
                    <a:lnTo>
                      <a:pt x="411041" y="564630"/>
                    </a:lnTo>
                    <a:lnTo>
                      <a:pt x="410688" y="565248"/>
                    </a:lnTo>
                    <a:lnTo>
                      <a:pt x="411041" y="565248"/>
                    </a:lnTo>
                    <a:lnTo>
                      <a:pt x="411306" y="565248"/>
                    </a:lnTo>
                    <a:lnTo>
                      <a:pt x="411570" y="564630"/>
                    </a:lnTo>
                    <a:lnTo>
                      <a:pt x="413069" y="563131"/>
                    </a:lnTo>
                    <a:lnTo>
                      <a:pt x="413333" y="563131"/>
                    </a:lnTo>
                    <a:lnTo>
                      <a:pt x="414215" y="561985"/>
                    </a:lnTo>
                    <a:lnTo>
                      <a:pt x="414568" y="559957"/>
                    </a:lnTo>
                    <a:lnTo>
                      <a:pt x="414568" y="559693"/>
                    </a:lnTo>
                    <a:lnTo>
                      <a:pt x="414215" y="558282"/>
                    </a:lnTo>
                    <a:lnTo>
                      <a:pt x="413951" y="557665"/>
                    </a:lnTo>
                    <a:lnTo>
                      <a:pt x="413686" y="557401"/>
                    </a:lnTo>
                    <a:lnTo>
                      <a:pt x="413157" y="556519"/>
                    </a:lnTo>
                    <a:lnTo>
                      <a:pt x="412893" y="556519"/>
                    </a:lnTo>
                    <a:lnTo>
                      <a:pt x="412628" y="556519"/>
                    </a:lnTo>
                    <a:lnTo>
                      <a:pt x="409102" y="557401"/>
                    </a:lnTo>
                    <a:lnTo>
                      <a:pt x="407603" y="558547"/>
                    </a:lnTo>
                    <a:lnTo>
                      <a:pt x="407338" y="558811"/>
                    </a:lnTo>
                    <a:lnTo>
                      <a:pt x="407074" y="558811"/>
                    </a:lnTo>
                    <a:lnTo>
                      <a:pt x="406457" y="558811"/>
                    </a:lnTo>
                    <a:lnTo>
                      <a:pt x="406457" y="558547"/>
                    </a:lnTo>
                    <a:lnTo>
                      <a:pt x="407338" y="556783"/>
                    </a:lnTo>
                    <a:lnTo>
                      <a:pt x="407338" y="556519"/>
                    </a:lnTo>
                    <a:lnTo>
                      <a:pt x="408220" y="555373"/>
                    </a:lnTo>
                    <a:lnTo>
                      <a:pt x="408484" y="555373"/>
                    </a:lnTo>
                    <a:lnTo>
                      <a:pt x="408484" y="555108"/>
                    </a:lnTo>
                    <a:lnTo>
                      <a:pt x="408749" y="555108"/>
                    </a:lnTo>
                    <a:lnTo>
                      <a:pt x="408749" y="555373"/>
                    </a:lnTo>
                    <a:lnTo>
                      <a:pt x="408749" y="555637"/>
                    </a:lnTo>
                    <a:lnTo>
                      <a:pt x="409102" y="555637"/>
                    </a:lnTo>
                    <a:lnTo>
                      <a:pt x="409366" y="555637"/>
                    </a:lnTo>
                    <a:lnTo>
                      <a:pt x="409719" y="555637"/>
                    </a:lnTo>
                    <a:lnTo>
                      <a:pt x="409983" y="555373"/>
                    </a:lnTo>
                    <a:lnTo>
                      <a:pt x="409983" y="555108"/>
                    </a:lnTo>
                    <a:lnTo>
                      <a:pt x="409983" y="554844"/>
                    </a:lnTo>
                    <a:lnTo>
                      <a:pt x="409719" y="553345"/>
                    </a:lnTo>
                    <a:lnTo>
                      <a:pt x="409366" y="552816"/>
                    </a:lnTo>
                    <a:lnTo>
                      <a:pt x="408749" y="551317"/>
                    </a:lnTo>
                    <a:lnTo>
                      <a:pt x="407603" y="550435"/>
                    </a:lnTo>
                    <a:lnTo>
                      <a:pt x="407338" y="550171"/>
                    </a:lnTo>
                    <a:lnTo>
                      <a:pt x="406721" y="549818"/>
                    </a:lnTo>
                    <a:lnTo>
                      <a:pt x="406457" y="549201"/>
                    </a:lnTo>
                    <a:lnTo>
                      <a:pt x="406457" y="548936"/>
                    </a:lnTo>
                    <a:lnTo>
                      <a:pt x="406457" y="548672"/>
                    </a:lnTo>
                    <a:lnTo>
                      <a:pt x="407074" y="548319"/>
                    </a:lnTo>
                    <a:lnTo>
                      <a:pt x="407074" y="548055"/>
                    </a:lnTo>
                    <a:lnTo>
                      <a:pt x="406192" y="547526"/>
                    </a:lnTo>
                    <a:lnTo>
                      <a:pt x="405928" y="547526"/>
                    </a:lnTo>
                    <a:lnTo>
                      <a:pt x="405663" y="547526"/>
                    </a:lnTo>
                    <a:lnTo>
                      <a:pt x="405663" y="547790"/>
                    </a:lnTo>
                    <a:lnTo>
                      <a:pt x="405399" y="547790"/>
                    </a:lnTo>
                    <a:lnTo>
                      <a:pt x="405134" y="548055"/>
                    </a:lnTo>
                    <a:lnTo>
                      <a:pt x="404870" y="548936"/>
                    </a:lnTo>
                    <a:lnTo>
                      <a:pt x="404605" y="548936"/>
                    </a:lnTo>
                    <a:lnTo>
                      <a:pt x="404605" y="549201"/>
                    </a:lnTo>
                    <a:lnTo>
                      <a:pt x="404341" y="549465"/>
                    </a:lnTo>
                    <a:lnTo>
                      <a:pt x="402577" y="550347"/>
                    </a:lnTo>
                    <a:lnTo>
                      <a:pt x="402312" y="550347"/>
                    </a:lnTo>
                    <a:lnTo>
                      <a:pt x="400814" y="550347"/>
                    </a:lnTo>
                    <a:lnTo>
                      <a:pt x="397022" y="550083"/>
                    </a:lnTo>
                    <a:lnTo>
                      <a:pt x="395876" y="549730"/>
                    </a:lnTo>
                    <a:lnTo>
                      <a:pt x="395259" y="549730"/>
                    </a:lnTo>
                    <a:lnTo>
                      <a:pt x="394642" y="548584"/>
                    </a:lnTo>
                    <a:lnTo>
                      <a:pt x="394642" y="548231"/>
                    </a:lnTo>
                    <a:lnTo>
                      <a:pt x="394378" y="547966"/>
                    </a:lnTo>
                    <a:lnTo>
                      <a:pt x="394113" y="547702"/>
                    </a:lnTo>
                    <a:lnTo>
                      <a:pt x="393760" y="547702"/>
                    </a:lnTo>
                    <a:lnTo>
                      <a:pt x="392878" y="547437"/>
                    </a:lnTo>
                    <a:lnTo>
                      <a:pt x="391468" y="545410"/>
                    </a:lnTo>
                    <a:lnTo>
                      <a:pt x="391203" y="544528"/>
                    </a:lnTo>
                    <a:lnTo>
                      <a:pt x="390322" y="544264"/>
                    </a:lnTo>
                    <a:lnTo>
                      <a:pt x="390322" y="543999"/>
                    </a:lnTo>
                    <a:lnTo>
                      <a:pt x="389969" y="543999"/>
                    </a:lnTo>
                    <a:lnTo>
                      <a:pt x="386442" y="543735"/>
                    </a:lnTo>
                    <a:lnTo>
                      <a:pt x="386178" y="543735"/>
                    </a:lnTo>
                    <a:lnTo>
                      <a:pt x="385561" y="543735"/>
                    </a:lnTo>
                    <a:lnTo>
                      <a:pt x="384679" y="543735"/>
                    </a:lnTo>
                    <a:lnTo>
                      <a:pt x="384061" y="543999"/>
                    </a:lnTo>
                    <a:lnTo>
                      <a:pt x="383444" y="544264"/>
                    </a:lnTo>
                    <a:lnTo>
                      <a:pt x="383180" y="544264"/>
                    </a:lnTo>
                    <a:lnTo>
                      <a:pt x="383180" y="544528"/>
                    </a:lnTo>
                    <a:lnTo>
                      <a:pt x="382915" y="544528"/>
                    </a:lnTo>
                    <a:lnTo>
                      <a:pt x="382034" y="545410"/>
                    </a:lnTo>
                    <a:lnTo>
                      <a:pt x="380006" y="546027"/>
                    </a:lnTo>
                    <a:lnTo>
                      <a:pt x="378595" y="546379"/>
                    </a:lnTo>
                    <a:lnTo>
                      <a:pt x="377449" y="546027"/>
                    </a:lnTo>
                    <a:lnTo>
                      <a:pt x="377185" y="545762"/>
                    </a:lnTo>
                    <a:lnTo>
                      <a:pt x="377185" y="545498"/>
                    </a:lnTo>
                    <a:lnTo>
                      <a:pt x="376920" y="544881"/>
                    </a:lnTo>
                    <a:lnTo>
                      <a:pt x="376656" y="544616"/>
                    </a:lnTo>
                    <a:lnTo>
                      <a:pt x="375509" y="542324"/>
                    </a:lnTo>
                    <a:lnTo>
                      <a:pt x="372335" y="539150"/>
                    </a:lnTo>
                    <a:lnTo>
                      <a:pt x="371453" y="538268"/>
                    </a:lnTo>
                    <a:lnTo>
                      <a:pt x="369955" y="537122"/>
                    </a:lnTo>
                    <a:lnTo>
                      <a:pt x="367045" y="535358"/>
                    </a:lnTo>
                    <a:lnTo>
                      <a:pt x="366693" y="535094"/>
                    </a:lnTo>
                    <a:lnTo>
                      <a:pt x="364665" y="533948"/>
                    </a:lnTo>
                    <a:lnTo>
                      <a:pt x="363166" y="533330"/>
                    </a:lnTo>
                    <a:lnTo>
                      <a:pt x="361402" y="532449"/>
                    </a:lnTo>
                    <a:lnTo>
                      <a:pt x="361050" y="532185"/>
                    </a:lnTo>
                    <a:lnTo>
                      <a:pt x="360785" y="532185"/>
                    </a:lnTo>
                    <a:lnTo>
                      <a:pt x="360521" y="532185"/>
                    </a:lnTo>
                    <a:lnTo>
                      <a:pt x="360256" y="532449"/>
                    </a:lnTo>
                    <a:lnTo>
                      <a:pt x="359992" y="532449"/>
                    </a:lnTo>
                    <a:lnTo>
                      <a:pt x="359727" y="532713"/>
                    </a:lnTo>
                    <a:lnTo>
                      <a:pt x="359110" y="532978"/>
                    </a:lnTo>
                    <a:lnTo>
                      <a:pt x="358228" y="533507"/>
                    </a:lnTo>
                    <a:lnTo>
                      <a:pt x="357964" y="533859"/>
                    </a:lnTo>
                    <a:lnTo>
                      <a:pt x="357699" y="534124"/>
                    </a:lnTo>
                    <a:lnTo>
                      <a:pt x="357347" y="534124"/>
                    </a:lnTo>
                    <a:lnTo>
                      <a:pt x="353556" y="535270"/>
                    </a:lnTo>
                    <a:lnTo>
                      <a:pt x="353291" y="535535"/>
                    </a:lnTo>
                    <a:lnTo>
                      <a:pt x="352409" y="535535"/>
                    </a:lnTo>
                    <a:lnTo>
                      <a:pt x="351792" y="535535"/>
                    </a:lnTo>
                    <a:lnTo>
                      <a:pt x="351527" y="535535"/>
                    </a:lnTo>
                    <a:lnTo>
                      <a:pt x="350911" y="535535"/>
                    </a:lnTo>
                    <a:lnTo>
                      <a:pt x="350293" y="535535"/>
                    </a:lnTo>
                    <a:lnTo>
                      <a:pt x="349147" y="535270"/>
                    </a:lnTo>
                    <a:lnTo>
                      <a:pt x="341564" y="534741"/>
                    </a:lnTo>
                    <a:lnTo>
                      <a:pt x="340948" y="534741"/>
                    </a:lnTo>
                    <a:lnTo>
                      <a:pt x="339184" y="534741"/>
                    </a:lnTo>
                    <a:lnTo>
                      <a:pt x="334511" y="535270"/>
                    </a:lnTo>
                    <a:lnTo>
                      <a:pt x="333894" y="535270"/>
                    </a:lnTo>
                    <a:lnTo>
                      <a:pt x="333629" y="535270"/>
                    </a:lnTo>
                    <a:lnTo>
                      <a:pt x="333365" y="535270"/>
                    </a:lnTo>
                    <a:lnTo>
                      <a:pt x="333365" y="535094"/>
                    </a:lnTo>
                    <a:lnTo>
                      <a:pt x="332218" y="535094"/>
                    </a:lnTo>
                    <a:lnTo>
                      <a:pt x="329309" y="535358"/>
                    </a:lnTo>
                    <a:lnTo>
                      <a:pt x="324636" y="535711"/>
                    </a:lnTo>
                    <a:lnTo>
                      <a:pt x="319346" y="536328"/>
                    </a:lnTo>
                    <a:lnTo>
                      <a:pt x="315555" y="536857"/>
                    </a:lnTo>
                    <a:lnTo>
                      <a:pt x="315026" y="537210"/>
                    </a:lnTo>
                    <a:lnTo>
                      <a:pt x="314144" y="537210"/>
                    </a:lnTo>
                    <a:lnTo>
                      <a:pt x="313792" y="537210"/>
                    </a:lnTo>
                    <a:lnTo>
                      <a:pt x="313527" y="537210"/>
                    </a:lnTo>
                    <a:lnTo>
                      <a:pt x="313174" y="537474"/>
                    </a:lnTo>
                    <a:lnTo>
                      <a:pt x="309118" y="538973"/>
                    </a:lnTo>
                    <a:lnTo>
                      <a:pt x="308501" y="539326"/>
                    </a:lnTo>
                    <a:lnTo>
                      <a:pt x="306738" y="540208"/>
                    </a:lnTo>
                    <a:lnTo>
                      <a:pt x="302947" y="542236"/>
                    </a:lnTo>
                    <a:lnTo>
                      <a:pt x="293865" y="545674"/>
                    </a:lnTo>
                    <a:lnTo>
                      <a:pt x="290074" y="547173"/>
                    </a:lnTo>
                    <a:lnTo>
                      <a:pt x="289809" y="547173"/>
                    </a:lnTo>
                    <a:lnTo>
                      <a:pt x="288311" y="547437"/>
                    </a:lnTo>
                    <a:lnTo>
                      <a:pt x="285666" y="547702"/>
                    </a:lnTo>
                    <a:lnTo>
                      <a:pt x="283638" y="548319"/>
                    </a:lnTo>
                    <a:lnTo>
                      <a:pt x="281081" y="549201"/>
                    </a:lnTo>
                    <a:lnTo>
                      <a:pt x="279053" y="549818"/>
                    </a:lnTo>
                    <a:lnTo>
                      <a:pt x="274116" y="551581"/>
                    </a:lnTo>
                    <a:lnTo>
                      <a:pt x="272617" y="551846"/>
                    </a:lnTo>
                    <a:lnTo>
                      <a:pt x="270325" y="552199"/>
                    </a:lnTo>
                    <a:lnTo>
                      <a:pt x="269443" y="552463"/>
                    </a:lnTo>
                    <a:lnTo>
                      <a:pt x="267415" y="552463"/>
                    </a:lnTo>
                    <a:lnTo>
                      <a:pt x="266798" y="552463"/>
                    </a:lnTo>
                    <a:lnTo>
                      <a:pt x="260361" y="552728"/>
                    </a:lnTo>
                    <a:lnTo>
                      <a:pt x="259215" y="552728"/>
                    </a:lnTo>
                    <a:lnTo>
                      <a:pt x="258069" y="552463"/>
                    </a:lnTo>
                    <a:lnTo>
                      <a:pt x="255688" y="552463"/>
                    </a:lnTo>
                    <a:lnTo>
                      <a:pt x="254542" y="552199"/>
                    </a:lnTo>
                    <a:lnTo>
                      <a:pt x="253396" y="551581"/>
                    </a:lnTo>
                    <a:lnTo>
                      <a:pt x="252867" y="551317"/>
                    </a:lnTo>
                    <a:lnTo>
                      <a:pt x="252603" y="551317"/>
                    </a:lnTo>
                    <a:lnTo>
                      <a:pt x="252338" y="551317"/>
                    </a:lnTo>
                    <a:lnTo>
                      <a:pt x="251721" y="551052"/>
                    </a:lnTo>
                    <a:lnTo>
                      <a:pt x="251104" y="551052"/>
                    </a:lnTo>
                    <a:lnTo>
                      <a:pt x="250839" y="550788"/>
                    </a:lnTo>
                    <a:lnTo>
                      <a:pt x="250575" y="550788"/>
                    </a:lnTo>
                    <a:lnTo>
                      <a:pt x="250310" y="551052"/>
                    </a:lnTo>
                    <a:lnTo>
                      <a:pt x="249958" y="551052"/>
                    </a:lnTo>
                    <a:lnTo>
                      <a:pt x="249693" y="551052"/>
                    </a:lnTo>
                    <a:lnTo>
                      <a:pt x="249429" y="551317"/>
                    </a:lnTo>
                    <a:lnTo>
                      <a:pt x="248547" y="551934"/>
                    </a:lnTo>
                    <a:lnTo>
                      <a:pt x="248194" y="551934"/>
                    </a:lnTo>
                    <a:lnTo>
                      <a:pt x="247577" y="551934"/>
                    </a:lnTo>
                    <a:lnTo>
                      <a:pt x="247313" y="551934"/>
                    </a:lnTo>
                    <a:lnTo>
                      <a:pt x="246695" y="551670"/>
                    </a:lnTo>
                    <a:lnTo>
                      <a:pt x="246078" y="551670"/>
                    </a:lnTo>
                    <a:lnTo>
                      <a:pt x="245813" y="551670"/>
                    </a:lnTo>
                    <a:lnTo>
                      <a:pt x="242022" y="553433"/>
                    </a:lnTo>
                    <a:lnTo>
                      <a:pt x="241758" y="553433"/>
                    </a:lnTo>
                    <a:lnTo>
                      <a:pt x="236821" y="556607"/>
                    </a:lnTo>
                    <a:lnTo>
                      <a:pt x="235939" y="556872"/>
                    </a:lnTo>
                    <a:lnTo>
                      <a:pt x="235939" y="557224"/>
                    </a:lnTo>
                    <a:lnTo>
                      <a:pt x="235674" y="557224"/>
                    </a:lnTo>
                    <a:lnTo>
                      <a:pt x="235674" y="557489"/>
                    </a:lnTo>
                    <a:lnTo>
                      <a:pt x="235410" y="557753"/>
                    </a:lnTo>
                    <a:lnTo>
                      <a:pt x="235145" y="557753"/>
                    </a:lnTo>
                    <a:lnTo>
                      <a:pt x="234616" y="558106"/>
                    </a:lnTo>
                    <a:lnTo>
                      <a:pt x="234352" y="558371"/>
                    </a:lnTo>
                    <a:lnTo>
                      <a:pt x="233734" y="558635"/>
                    </a:lnTo>
                    <a:lnTo>
                      <a:pt x="232588" y="559252"/>
                    </a:lnTo>
                    <a:lnTo>
                      <a:pt x="232324" y="559252"/>
                    </a:lnTo>
                    <a:lnTo>
                      <a:pt x="231442" y="559516"/>
                    </a:lnTo>
                    <a:lnTo>
                      <a:pt x="230913" y="559516"/>
                    </a:lnTo>
                    <a:lnTo>
                      <a:pt x="230032" y="559516"/>
                    </a:lnTo>
                    <a:lnTo>
                      <a:pt x="229414" y="559781"/>
                    </a:lnTo>
                    <a:lnTo>
                      <a:pt x="229150" y="559781"/>
                    </a:lnTo>
                    <a:lnTo>
                      <a:pt x="227739" y="560398"/>
                    </a:lnTo>
                    <a:lnTo>
                      <a:pt x="221567" y="563308"/>
                    </a:lnTo>
                    <a:lnTo>
                      <a:pt x="220068" y="564189"/>
                    </a:lnTo>
                    <a:lnTo>
                      <a:pt x="219804" y="564454"/>
                    </a:lnTo>
                    <a:lnTo>
                      <a:pt x="219451" y="564454"/>
                    </a:lnTo>
                    <a:lnTo>
                      <a:pt x="219187" y="564718"/>
                    </a:lnTo>
                    <a:lnTo>
                      <a:pt x="218922" y="565071"/>
                    </a:lnTo>
                    <a:lnTo>
                      <a:pt x="218658" y="565336"/>
                    </a:lnTo>
                    <a:lnTo>
                      <a:pt x="218393" y="565336"/>
                    </a:lnTo>
                    <a:lnTo>
                      <a:pt x="218041" y="565600"/>
                    </a:lnTo>
                    <a:lnTo>
                      <a:pt x="215131" y="567099"/>
                    </a:lnTo>
                    <a:lnTo>
                      <a:pt x="214866" y="567364"/>
                    </a:lnTo>
                    <a:lnTo>
                      <a:pt x="213985" y="567628"/>
                    </a:lnTo>
                    <a:lnTo>
                      <a:pt x="213103" y="567628"/>
                    </a:lnTo>
                    <a:lnTo>
                      <a:pt x="211075" y="567893"/>
                    </a:lnTo>
                    <a:lnTo>
                      <a:pt x="209312" y="568157"/>
                    </a:lnTo>
                    <a:lnTo>
                      <a:pt x="208430" y="568157"/>
                    </a:lnTo>
                    <a:lnTo>
                      <a:pt x="207284" y="568422"/>
                    </a:lnTo>
                    <a:lnTo>
                      <a:pt x="206138" y="568686"/>
                    </a:lnTo>
                    <a:lnTo>
                      <a:pt x="205520" y="568686"/>
                    </a:lnTo>
                    <a:lnTo>
                      <a:pt x="204903" y="568951"/>
                    </a:lnTo>
                    <a:lnTo>
                      <a:pt x="204287" y="569215"/>
                    </a:lnTo>
                    <a:lnTo>
                      <a:pt x="201994" y="570626"/>
                    </a:lnTo>
                    <a:lnTo>
                      <a:pt x="201729" y="570890"/>
                    </a:lnTo>
                    <a:lnTo>
                      <a:pt x="200848" y="571508"/>
                    </a:lnTo>
                    <a:lnTo>
                      <a:pt x="200583" y="571772"/>
                    </a:lnTo>
                    <a:lnTo>
                      <a:pt x="200583" y="572037"/>
                    </a:lnTo>
                    <a:lnTo>
                      <a:pt x="199437" y="572918"/>
                    </a:lnTo>
                    <a:lnTo>
                      <a:pt x="198820" y="573535"/>
                    </a:lnTo>
                    <a:lnTo>
                      <a:pt x="194764" y="579354"/>
                    </a:lnTo>
                    <a:lnTo>
                      <a:pt x="192736" y="582881"/>
                    </a:lnTo>
                    <a:lnTo>
                      <a:pt x="192383" y="583146"/>
                    </a:lnTo>
                    <a:lnTo>
                      <a:pt x="192119" y="583410"/>
                    </a:lnTo>
                    <a:lnTo>
                      <a:pt x="191854" y="583675"/>
                    </a:lnTo>
                    <a:lnTo>
                      <a:pt x="191325" y="584027"/>
                    </a:lnTo>
                    <a:lnTo>
                      <a:pt x="189562" y="584909"/>
                    </a:lnTo>
                    <a:lnTo>
                      <a:pt x="187534" y="586408"/>
                    </a:lnTo>
                    <a:lnTo>
                      <a:pt x="186917" y="586673"/>
                    </a:lnTo>
                    <a:lnTo>
                      <a:pt x="186653" y="587290"/>
                    </a:lnTo>
                    <a:lnTo>
                      <a:pt x="186036" y="587907"/>
                    </a:lnTo>
                    <a:lnTo>
                      <a:pt x="185771" y="588171"/>
                    </a:lnTo>
                    <a:lnTo>
                      <a:pt x="185507" y="588788"/>
                    </a:lnTo>
                    <a:lnTo>
                      <a:pt x="185507" y="589053"/>
                    </a:lnTo>
                    <a:lnTo>
                      <a:pt x="184360" y="589935"/>
                    </a:lnTo>
                    <a:lnTo>
                      <a:pt x="183214" y="590552"/>
                    </a:lnTo>
                    <a:lnTo>
                      <a:pt x="180304" y="592051"/>
                    </a:lnTo>
                    <a:lnTo>
                      <a:pt x="178894" y="592315"/>
                    </a:lnTo>
                    <a:lnTo>
                      <a:pt x="178894" y="592051"/>
                    </a:lnTo>
                    <a:lnTo>
                      <a:pt x="178629" y="592051"/>
                    </a:lnTo>
                    <a:lnTo>
                      <a:pt x="178277" y="592051"/>
                    </a:lnTo>
                    <a:lnTo>
                      <a:pt x="177660" y="591786"/>
                    </a:lnTo>
                    <a:lnTo>
                      <a:pt x="177131" y="591786"/>
                    </a:lnTo>
                    <a:lnTo>
                      <a:pt x="176866" y="591786"/>
                    </a:lnTo>
                    <a:lnTo>
                      <a:pt x="176602" y="592051"/>
                    </a:lnTo>
                    <a:lnTo>
                      <a:pt x="176249" y="592051"/>
                    </a:lnTo>
                    <a:lnTo>
                      <a:pt x="175103" y="592932"/>
                    </a:lnTo>
                    <a:lnTo>
                      <a:pt x="174486" y="593550"/>
                    </a:lnTo>
                    <a:lnTo>
                      <a:pt x="174486" y="593814"/>
                    </a:lnTo>
                    <a:lnTo>
                      <a:pt x="173868" y="594079"/>
                    </a:lnTo>
                    <a:lnTo>
                      <a:pt x="172986" y="594343"/>
                    </a:lnTo>
                    <a:lnTo>
                      <a:pt x="171488" y="594960"/>
                    </a:lnTo>
                    <a:lnTo>
                      <a:pt x="171488" y="593197"/>
                    </a:lnTo>
                    <a:lnTo>
                      <a:pt x="171488" y="591698"/>
                    </a:lnTo>
                    <a:lnTo>
                      <a:pt x="171223" y="591434"/>
                    </a:lnTo>
                    <a:lnTo>
                      <a:pt x="170959" y="591434"/>
                    </a:lnTo>
                    <a:lnTo>
                      <a:pt x="170077" y="590816"/>
                    </a:lnTo>
                    <a:lnTo>
                      <a:pt x="169812" y="590816"/>
                    </a:lnTo>
                    <a:lnTo>
                      <a:pt x="167785" y="591698"/>
                    </a:lnTo>
                    <a:lnTo>
                      <a:pt x="166021" y="591963"/>
                    </a:lnTo>
                    <a:lnTo>
                      <a:pt x="165757" y="591963"/>
                    </a:lnTo>
                    <a:lnTo>
                      <a:pt x="165492" y="592227"/>
                    </a:lnTo>
                    <a:lnTo>
                      <a:pt x="165492" y="591963"/>
                    </a:lnTo>
                    <a:lnTo>
                      <a:pt x="163729" y="591698"/>
                    </a:lnTo>
                    <a:lnTo>
                      <a:pt x="161084" y="591698"/>
                    </a:lnTo>
                    <a:lnTo>
                      <a:pt x="160819" y="591963"/>
                    </a:lnTo>
                    <a:lnTo>
                      <a:pt x="160555" y="592227"/>
                    </a:lnTo>
                    <a:lnTo>
                      <a:pt x="157645" y="592492"/>
                    </a:lnTo>
                    <a:lnTo>
                      <a:pt x="157381" y="592492"/>
                    </a:lnTo>
                    <a:lnTo>
                      <a:pt x="156499" y="592227"/>
                    </a:lnTo>
                    <a:lnTo>
                      <a:pt x="156235" y="592227"/>
                    </a:lnTo>
                    <a:lnTo>
                      <a:pt x="155970" y="592227"/>
                    </a:lnTo>
                    <a:lnTo>
                      <a:pt x="154824" y="592492"/>
                    </a:lnTo>
                    <a:lnTo>
                      <a:pt x="154559" y="592756"/>
                    </a:lnTo>
                    <a:lnTo>
                      <a:pt x="153942" y="593021"/>
                    </a:lnTo>
                    <a:lnTo>
                      <a:pt x="153677" y="593285"/>
                    </a:lnTo>
                    <a:lnTo>
                      <a:pt x="153325" y="593550"/>
                    </a:lnTo>
                    <a:lnTo>
                      <a:pt x="153325" y="594431"/>
                    </a:lnTo>
                    <a:lnTo>
                      <a:pt x="153061" y="594431"/>
                    </a:lnTo>
                    <a:lnTo>
                      <a:pt x="153061" y="594784"/>
                    </a:lnTo>
                    <a:lnTo>
                      <a:pt x="152708" y="594784"/>
                    </a:lnTo>
                    <a:lnTo>
                      <a:pt x="152443" y="594784"/>
                    </a:lnTo>
                    <a:lnTo>
                      <a:pt x="150151" y="595048"/>
                    </a:lnTo>
                    <a:lnTo>
                      <a:pt x="149534" y="594784"/>
                    </a:lnTo>
                    <a:lnTo>
                      <a:pt x="149269" y="594784"/>
                    </a:lnTo>
                    <a:lnTo>
                      <a:pt x="149269" y="594431"/>
                    </a:lnTo>
                    <a:lnTo>
                      <a:pt x="149534" y="594167"/>
                    </a:lnTo>
                    <a:lnTo>
                      <a:pt x="149798" y="593902"/>
                    </a:lnTo>
                    <a:lnTo>
                      <a:pt x="150063" y="593902"/>
                    </a:lnTo>
                    <a:lnTo>
                      <a:pt x="150063" y="593638"/>
                    </a:lnTo>
                    <a:lnTo>
                      <a:pt x="150328" y="592492"/>
                    </a:lnTo>
                    <a:lnTo>
                      <a:pt x="150328" y="591874"/>
                    </a:lnTo>
                    <a:lnTo>
                      <a:pt x="150328" y="591610"/>
                    </a:lnTo>
                    <a:lnTo>
                      <a:pt x="150063" y="591081"/>
                    </a:lnTo>
                    <a:lnTo>
                      <a:pt x="150063" y="590728"/>
                    </a:lnTo>
                    <a:lnTo>
                      <a:pt x="149798" y="590199"/>
                    </a:lnTo>
                    <a:lnTo>
                      <a:pt x="149534" y="589846"/>
                    </a:lnTo>
                    <a:lnTo>
                      <a:pt x="149269" y="589846"/>
                    </a:lnTo>
                    <a:lnTo>
                      <a:pt x="147770" y="590199"/>
                    </a:lnTo>
                    <a:lnTo>
                      <a:pt x="147506" y="590464"/>
                    </a:lnTo>
                    <a:lnTo>
                      <a:pt x="147241" y="590464"/>
                    </a:lnTo>
                    <a:lnTo>
                      <a:pt x="146977" y="590728"/>
                    </a:lnTo>
                    <a:lnTo>
                      <a:pt x="146712" y="591081"/>
                    </a:lnTo>
                    <a:lnTo>
                      <a:pt x="146095" y="591345"/>
                    </a:lnTo>
                    <a:lnTo>
                      <a:pt x="145831" y="591610"/>
                    </a:lnTo>
                    <a:lnTo>
                      <a:pt x="145566" y="591610"/>
                    </a:lnTo>
                    <a:lnTo>
                      <a:pt x="144685" y="591874"/>
                    </a:lnTo>
                    <a:lnTo>
                      <a:pt x="144420" y="591874"/>
                    </a:lnTo>
                    <a:lnTo>
                      <a:pt x="142656" y="590728"/>
                    </a:lnTo>
                    <a:lnTo>
                      <a:pt x="140011" y="589846"/>
                    </a:lnTo>
                    <a:lnTo>
                      <a:pt x="139747" y="589846"/>
                    </a:lnTo>
                    <a:lnTo>
                      <a:pt x="138601" y="589846"/>
                    </a:lnTo>
                    <a:lnTo>
                      <a:pt x="136838" y="589846"/>
                    </a:lnTo>
                    <a:lnTo>
                      <a:pt x="136220" y="589846"/>
                    </a:lnTo>
                    <a:lnTo>
                      <a:pt x="135956" y="589846"/>
                    </a:lnTo>
                    <a:lnTo>
                      <a:pt x="133311" y="590464"/>
                    </a:lnTo>
                    <a:lnTo>
                      <a:pt x="129784" y="590728"/>
                    </a:lnTo>
                    <a:lnTo>
                      <a:pt x="127227" y="591081"/>
                    </a:lnTo>
                    <a:lnTo>
                      <a:pt x="126610" y="590728"/>
                    </a:lnTo>
                    <a:lnTo>
                      <a:pt x="126345" y="590728"/>
                    </a:lnTo>
                    <a:lnTo>
                      <a:pt x="126081" y="590728"/>
                    </a:lnTo>
                    <a:lnTo>
                      <a:pt x="125728" y="590728"/>
                    </a:lnTo>
                    <a:lnTo>
                      <a:pt x="125199" y="591081"/>
                    </a:lnTo>
                    <a:lnTo>
                      <a:pt x="124847" y="591345"/>
                    </a:lnTo>
                    <a:lnTo>
                      <a:pt x="124582" y="591345"/>
                    </a:lnTo>
                    <a:lnTo>
                      <a:pt x="124318" y="591610"/>
                    </a:lnTo>
                    <a:lnTo>
                      <a:pt x="124053" y="591610"/>
                    </a:lnTo>
                    <a:lnTo>
                      <a:pt x="122907" y="591610"/>
                    </a:lnTo>
                    <a:lnTo>
                      <a:pt x="122025" y="591610"/>
                    </a:lnTo>
                    <a:lnTo>
                      <a:pt x="118763" y="592227"/>
                    </a:lnTo>
                    <a:lnTo>
                      <a:pt x="117352" y="593109"/>
                    </a:lnTo>
                    <a:lnTo>
                      <a:pt x="116206" y="593726"/>
                    </a:lnTo>
                    <a:lnTo>
                      <a:pt x="115853" y="593726"/>
                    </a:lnTo>
                    <a:lnTo>
                      <a:pt x="115589" y="593726"/>
                    </a:lnTo>
                    <a:lnTo>
                      <a:pt x="114707" y="593461"/>
                    </a:lnTo>
                    <a:lnTo>
                      <a:pt x="113297" y="593197"/>
                    </a:lnTo>
                    <a:lnTo>
                      <a:pt x="112679" y="592932"/>
                    </a:lnTo>
                    <a:lnTo>
                      <a:pt x="112062" y="592932"/>
                    </a:lnTo>
                    <a:lnTo>
                      <a:pt x="108271" y="592668"/>
                    </a:lnTo>
                    <a:lnTo>
                      <a:pt x="108006" y="592668"/>
                    </a:lnTo>
                    <a:lnTo>
                      <a:pt x="105979" y="592668"/>
                    </a:lnTo>
                    <a:lnTo>
                      <a:pt x="105361" y="592932"/>
                    </a:lnTo>
                    <a:lnTo>
                      <a:pt x="101570" y="593814"/>
                    </a:lnTo>
                    <a:lnTo>
                      <a:pt x="101305" y="594079"/>
                    </a:lnTo>
                    <a:lnTo>
                      <a:pt x="101041" y="594079"/>
                    </a:lnTo>
                    <a:lnTo>
                      <a:pt x="100776" y="594343"/>
                    </a:lnTo>
                    <a:lnTo>
                      <a:pt x="100160" y="594608"/>
                    </a:lnTo>
                    <a:lnTo>
                      <a:pt x="99895" y="595225"/>
                    </a:lnTo>
                    <a:lnTo>
                      <a:pt x="99542" y="595225"/>
                    </a:lnTo>
                    <a:lnTo>
                      <a:pt x="99278" y="595489"/>
                    </a:lnTo>
                    <a:lnTo>
                      <a:pt x="98660" y="595754"/>
                    </a:lnTo>
                    <a:lnTo>
                      <a:pt x="98396" y="596018"/>
                    </a:lnTo>
                    <a:lnTo>
                      <a:pt x="97514" y="596283"/>
                    </a:lnTo>
                    <a:lnTo>
                      <a:pt x="96897" y="596547"/>
                    </a:lnTo>
                    <a:lnTo>
                      <a:pt x="96280" y="596900"/>
                    </a:lnTo>
                    <a:lnTo>
                      <a:pt x="94869" y="598046"/>
                    </a:lnTo>
                    <a:lnTo>
                      <a:pt x="94605" y="598046"/>
                    </a:lnTo>
                    <a:lnTo>
                      <a:pt x="91960" y="600691"/>
                    </a:lnTo>
                    <a:lnTo>
                      <a:pt x="91695" y="600956"/>
                    </a:lnTo>
                    <a:lnTo>
                      <a:pt x="91695" y="601220"/>
                    </a:lnTo>
                    <a:lnTo>
                      <a:pt x="91078" y="602366"/>
                    </a:lnTo>
                    <a:lnTo>
                      <a:pt x="90814" y="602631"/>
                    </a:lnTo>
                    <a:lnTo>
                      <a:pt x="86758" y="605276"/>
                    </a:lnTo>
                    <a:lnTo>
                      <a:pt x="83848" y="606775"/>
                    </a:lnTo>
                    <a:lnTo>
                      <a:pt x="83496" y="606422"/>
                    </a:lnTo>
                    <a:lnTo>
                      <a:pt x="82085" y="606158"/>
                    </a:lnTo>
                    <a:lnTo>
                      <a:pt x="81467" y="605893"/>
                    </a:lnTo>
                    <a:lnTo>
                      <a:pt x="78823" y="605629"/>
                    </a:lnTo>
                    <a:lnTo>
                      <a:pt x="78205" y="605629"/>
                    </a:lnTo>
                    <a:lnTo>
                      <a:pt x="77676" y="605893"/>
                    </a:lnTo>
                    <a:lnTo>
                      <a:pt x="74767" y="607304"/>
                    </a:lnTo>
                    <a:lnTo>
                      <a:pt x="74150" y="607568"/>
                    </a:lnTo>
                    <a:lnTo>
                      <a:pt x="73885" y="607921"/>
                    </a:lnTo>
                    <a:lnTo>
                      <a:pt x="73268" y="608538"/>
                    </a:lnTo>
                    <a:lnTo>
                      <a:pt x="72915" y="608538"/>
                    </a:lnTo>
                    <a:lnTo>
                      <a:pt x="73533" y="609420"/>
                    </a:lnTo>
                    <a:lnTo>
                      <a:pt x="72915" y="609684"/>
                    </a:lnTo>
                    <a:lnTo>
                      <a:pt x="72651" y="609949"/>
                    </a:lnTo>
                    <a:lnTo>
                      <a:pt x="72386" y="610213"/>
                    </a:lnTo>
                    <a:lnTo>
                      <a:pt x="71769" y="610478"/>
                    </a:lnTo>
                    <a:lnTo>
                      <a:pt x="70623" y="611095"/>
                    </a:lnTo>
                    <a:lnTo>
                      <a:pt x="70359" y="611095"/>
                    </a:lnTo>
                    <a:lnTo>
                      <a:pt x="69741" y="611360"/>
                    </a:lnTo>
                    <a:lnTo>
                      <a:pt x="69388" y="611360"/>
                    </a:lnTo>
                    <a:lnTo>
                      <a:pt x="68859" y="611360"/>
                    </a:lnTo>
                    <a:lnTo>
                      <a:pt x="67713" y="611977"/>
                    </a:lnTo>
                    <a:lnTo>
                      <a:pt x="66832" y="612241"/>
                    </a:lnTo>
                    <a:lnTo>
                      <a:pt x="66568" y="612241"/>
                    </a:lnTo>
                    <a:lnTo>
                      <a:pt x="65950" y="612506"/>
                    </a:lnTo>
                    <a:lnTo>
                      <a:pt x="65686" y="612770"/>
                    </a:lnTo>
                    <a:lnTo>
                      <a:pt x="64804" y="613299"/>
                    </a:lnTo>
                    <a:lnTo>
                      <a:pt x="64187" y="613917"/>
                    </a:lnTo>
                    <a:lnTo>
                      <a:pt x="63922" y="614798"/>
                    </a:lnTo>
                    <a:lnTo>
                      <a:pt x="63658" y="615063"/>
                    </a:lnTo>
                    <a:lnTo>
                      <a:pt x="60748" y="616561"/>
                    </a:lnTo>
                    <a:lnTo>
                      <a:pt x="55811" y="618854"/>
                    </a:lnTo>
                    <a:lnTo>
                      <a:pt x="50785" y="619736"/>
                    </a:lnTo>
                    <a:lnTo>
                      <a:pt x="50521" y="619736"/>
                    </a:lnTo>
                    <a:lnTo>
                      <a:pt x="50256" y="619736"/>
                    </a:lnTo>
                    <a:lnTo>
                      <a:pt x="50256" y="620000"/>
                    </a:lnTo>
                    <a:lnTo>
                      <a:pt x="50256" y="620353"/>
                    </a:lnTo>
                    <a:lnTo>
                      <a:pt x="50256" y="620617"/>
                    </a:lnTo>
                    <a:lnTo>
                      <a:pt x="50521" y="620882"/>
                    </a:lnTo>
                    <a:lnTo>
                      <a:pt x="50785" y="620882"/>
                    </a:lnTo>
                    <a:lnTo>
                      <a:pt x="51138" y="620882"/>
                    </a:lnTo>
                    <a:lnTo>
                      <a:pt x="52020" y="621146"/>
                    </a:lnTo>
                    <a:lnTo>
                      <a:pt x="52284" y="621146"/>
                    </a:lnTo>
                    <a:lnTo>
                      <a:pt x="52901" y="620882"/>
                    </a:lnTo>
                    <a:lnTo>
                      <a:pt x="53166" y="621146"/>
                    </a:lnTo>
                    <a:lnTo>
                      <a:pt x="53166" y="621411"/>
                    </a:lnTo>
                    <a:lnTo>
                      <a:pt x="51667" y="622028"/>
                    </a:lnTo>
                    <a:lnTo>
                      <a:pt x="51314" y="622028"/>
                    </a:lnTo>
                    <a:lnTo>
                      <a:pt x="50168" y="621763"/>
                    </a:lnTo>
                    <a:lnTo>
                      <a:pt x="49904" y="621763"/>
                    </a:lnTo>
                    <a:lnTo>
                      <a:pt x="49904" y="621411"/>
                    </a:lnTo>
                    <a:lnTo>
                      <a:pt x="49286" y="620882"/>
                    </a:lnTo>
                    <a:lnTo>
                      <a:pt x="49022" y="620617"/>
                    </a:lnTo>
                    <a:lnTo>
                      <a:pt x="48404" y="620353"/>
                    </a:lnTo>
                    <a:lnTo>
                      <a:pt x="48140" y="620000"/>
                    </a:lnTo>
                    <a:lnTo>
                      <a:pt x="46994" y="620000"/>
                    </a:lnTo>
                    <a:lnTo>
                      <a:pt x="46730" y="620353"/>
                    </a:lnTo>
                    <a:lnTo>
                      <a:pt x="46465" y="620353"/>
                    </a:lnTo>
                    <a:lnTo>
                      <a:pt x="46200" y="620617"/>
                    </a:lnTo>
                    <a:lnTo>
                      <a:pt x="45936" y="620882"/>
                    </a:lnTo>
                    <a:lnTo>
                      <a:pt x="45583" y="620882"/>
                    </a:lnTo>
                    <a:lnTo>
                      <a:pt x="45319" y="621411"/>
                    </a:lnTo>
                    <a:lnTo>
                      <a:pt x="44701" y="622293"/>
                    </a:lnTo>
                    <a:lnTo>
                      <a:pt x="44084" y="621411"/>
                    </a:lnTo>
                    <a:lnTo>
                      <a:pt x="43820" y="621146"/>
                    </a:lnTo>
                    <a:lnTo>
                      <a:pt x="40910" y="619647"/>
                    </a:lnTo>
                    <a:lnTo>
                      <a:pt x="40646" y="619295"/>
                    </a:lnTo>
                    <a:lnTo>
                      <a:pt x="40381" y="619295"/>
                    </a:lnTo>
                    <a:lnTo>
                      <a:pt x="37472" y="619030"/>
                    </a:lnTo>
                    <a:lnTo>
                      <a:pt x="32799" y="619295"/>
                    </a:lnTo>
                    <a:lnTo>
                      <a:pt x="32534" y="619295"/>
                    </a:lnTo>
                    <a:lnTo>
                      <a:pt x="32270" y="619295"/>
                    </a:lnTo>
                    <a:lnTo>
                      <a:pt x="31917" y="619647"/>
                    </a:lnTo>
                    <a:lnTo>
                      <a:pt x="31564" y="619912"/>
                    </a:lnTo>
                    <a:lnTo>
                      <a:pt x="31300" y="620265"/>
                    </a:lnTo>
                    <a:lnTo>
                      <a:pt x="31035" y="620265"/>
                    </a:lnTo>
                    <a:lnTo>
                      <a:pt x="30771" y="620265"/>
                    </a:lnTo>
                    <a:lnTo>
                      <a:pt x="30506" y="620265"/>
                    </a:lnTo>
                    <a:lnTo>
                      <a:pt x="29889" y="620265"/>
                    </a:lnTo>
                    <a:lnTo>
                      <a:pt x="29889" y="619912"/>
                    </a:lnTo>
                    <a:lnTo>
                      <a:pt x="29625" y="619912"/>
                    </a:lnTo>
                    <a:lnTo>
                      <a:pt x="27862" y="619295"/>
                    </a:lnTo>
                    <a:lnTo>
                      <a:pt x="26451" y="619647"/>
                    </a:lnTo>
                    <a:lnTo>
                      <a:pt x="25304" y="619647"/>
                    </a:lnTo>
                    <a:lnTo>
                      <a:pt x="22659" y="618766"/>
                    </a:lnTo>
                    <a:lnTo>
                      <a:pt x="21513" y="617619"/>
                    </a:lnTo>
                    <a:lnTo>
                      <a:pt x="20632" y="616738"/>
                    </a:lnTo>
                    <a:lnTo>
                      <a:pt x="19750" y="616121"/>
                    </a:lnTo>
                    <a:lnTo>
                      <a:pt x="19485" y="615856"/>
                    </a:lnTo>
                    <a:lnTo>
                      <a:pt x="19221" y="615592"/>
                    </a:lnTo>
                    <a:lnTo>
                      <a:pt x="18339" y="615327"/>
                    </a:lnTo>
                    <a:lnTo>
                      <a:pt x="16929" y="614974"/>
                    </a:lnTo>
                    <a:lnTo>
                      <a:pt x="14548" y="614445"/>
                    </a:lnTo>
                    <a:lnTo>
                      <a:pt x="14548" y="613299"/>
                    </a:lnTo>
                    <a:lnTo>
                      <a:pt x="14548" y="612770"/>
                    </a:lnTo>
                    <a:lnTo>
                      <a:pt x="14548" y="611624"/>
                    </a:lnTo>
                    <a:lnTo>
                      <a:pt x="13402" y="609332"/>
                    </a:lnTo>
                    <a:lnTo>
                      <a:pt x="13049" y="609067"/>
                    </a:lnTo>
                    <a:lnTo>
                      <a:pt x="12785" y="608803"/>
                    </a:lnTo>
                    <a:lnTo>
                      <a:pt x="11286" y="605893"/>
                    </a:lnTo>
                    <a:lnTo>
                      <a:pt x="8993" y="603865"/>
                    </a:lnTo>
                    <a:lnTo>
                      <a:pt x="8641" y="603865"/>
                    </a:lnTo>
                    <a:lnTo>
                      <a:pt x="7230" y="602719"/>
                    </a:lnTo>
                    <a:lnTo>
                      <a:pt x="6966" y="602455"/>
                    </a:lnTo>
                    <a:lnTo>
                      <a:pt x="6084" y="601837"/>
                    </a:lnTo>
                    <a:lnTo>
                      <a:pt x="5731" y="601837"/>
                    </a:lnTo>
                    <a:lnTo>
                      <a:pt x="4585" y="601837"/>
                    </a:lnTo>
                    <a:lnTo>
                      <a:pt x="4320" y="601837"/>
                    </a:lnTo>
                    <a:lnTo>
                      <a:pt x="4056" y="601837"/>
                    </a:lnTo>
                    <a:lnTo>
                      <a:pt x="3439" y="601837"/>
                    </a:lnTo>
                    <a:lnTo>
                      <a:pt x="3174" y="601837"/>
                    </a:lnTo>
                    <a:lnTo>
                      <a:pt x="2910" y="602102"/>
                    </a:lnTo>
                    <a:lnTo>
                      <a:pt x="2645" y="602102"/>
                    </a:lnTo>
                    <a:lnTo>
                      <a:pt x="2381" y="602366"/>
                    </a:lnTo>
                    <a:lnTo>
                      <a:pt x="2028" y="602984"/>
                    </a:lnTo>
                    <a:lnTo>
                      <a:pt x="1499" y="603248"/>
                    </a:lnTo>
                    <a:lnTo>
                      <a:pt x="882" y="602366"/>
                    </a:lnTo>
                    <a:lnTo>
                      <a:pt x="0" y="600867"/>
                    </a:lnTo>
                    <a:lnTo>
                      <a:pt x="0" y="600603"/>
                    </a:lnTo>
                    <a:lnTo>
                      <a:pt x="265" y="599986"/>
                    </a:lnTo>
                    <a:lnTo>
                      <a:pt x="265" y="599721"/>
                    </a:lnTo>
                    <a:lnTo>
                      <a:pt x="529" y="599457"/>
                    </a:lnTo>
                    <a:lnTo>
                      <a:pt x="529" y="599192"/>
                    </a:lnTo>
                    <a:lnTo>
                      <a:pt x="794" y="598840"/>
                    </a:lnTo>
                    <a:lnTo>
                      <a:pt x="794" y="598575"/>
                    </a:lnTo>
                    <a:lnTo>
                      <a:pt x="1675" y="594784"/>
                    </a:lnTo>
                    <a:lnTo>
                      <a:pt x="2557" y="590993"/>
                    </a:lnTo>
                    <a:lnTo>
                      <a:pt x="4056" y="586584"/>
                    </a:lnTo>
                    <a:lnTo>
                      <a:pt x="4320" y="586584"/>
                    </a:lnTo>
                    <a:lnTo>
                      <a:pt x="6348" y="582529"/>
                    </a:lnTo>
                    <a:lnTo>
                      <a:pt x="6613" y="582529"/>
                    </a:lnTo>
                    <a:lnTo>
                      <a:pt x="6877" y="582529"/>
                    </a:lnTo>
                    <a:lnTo>
                      <a:pt x="7142" y="582529"/>
                    </a:lnTo>
                    <a:lnTo>
                      <a:pt x="7406" y="582793"/>
                    </a:lnTo>
                    <a:lnTo>
                      <a:pt x="7671" y="583410"/>
                    </a:lnTo>
                    <a:lnTo>
                      <a:pt x="7671" y="583675"/>
                    </a:lnTo>
                    <a:lnTo>
                      <a:pt x="7671" y="584027"/>
                    </a:lnTo>
                    <a:lnTo>
                      <a:pt x="7671" y="584292"/>
                    </a:lnTo>
                    <a:lnTo>
                      <a:pt x="7671" y="584556"/>
                    </a:lnTo>
                    <a:lnTo>
                      <a:pt x="7935" y="584821"/>
                    </a:lnTo>
                    <a:lnTo>
                      <a:pt x="8817" y="585086"/>
                    </a:lnTo>
                    <a:lnTo>
                      <a:pt x="9699" y="585703"/>
                    </a:lnTo>
                    <a:lnTo>
                      <a:pt x="9963" y="585703"/>
                    </a:lnTo>
                    <a:lnTo>
                      <a:pt x="10845" y="585703"/>
                    </a:lnTo>
                    <a:lnTo>
                      <a:pt x="11109" y="585703"/>
                    </a:lnTo>
                    <a:lnTo>
                      <a:pt x="11727" y="585438"/>
                    </a:lnTo>
                    <a:lnTo>
                      <a:pt x="11991" y="585438"/>
                    </a:lnTo>
                    <a:lnTo>
                      <a:pt x="12873" y="585174"/>
                    </a:lnTo>
                    <a:lnTo>
                      <a:pt x="13754" y="584909"/>
                    </a:lnTo>
                    <a:lnTo>
                      <a:pt x="14636" y="584645"/>
                    </a:lnTo>
                    <a:lnTo>
                      <a:pt x="21954" y="577327"/>
                    </a:lnTo>
                    <a:lnTo>
                      <a:pt x="22219" y="577327"/>
                    </a:lnTo>
                    <a:lnTo>
                      <a:pt x="22483" y="577062"/>
                    </a:lnTo>
                    <a:lnTo>
                      <a:pt x="22748" y="577062"/>
                    </a:lnTo>
                    <a:lnTo>
                      <a:pt x="23012" y="576709"/>
                    </a:lnTo>
                    <a:lnTo>
                      <a:pt x="23365" y="576445"/>
                    </a:lnTo>
                    <a:lnTo>
                      <a:pt x="23365" y="576180"/>
                    </a:lnTo>
                    <a:lnTo>
                      <a:pt x="23629" y="575916"/>
                    </a:lnTo>
                    <a:lnTo>
                      <a:pt x="23629" y="575651"/>
                    </a:lnTo>
                    <a:lnTo>
                      <a:pt x="25128" y="569215"/>
                    </a:lnTo>
                    <a:lnTo>
                      <a:pt x="25393" y="567716"/>
                    </a:lnTo>
                    <a:lnTo>
                      <a:pt x="25393" y="566217"/>
                    </a:lnTo>
                    <a:lnTo>
                      <a:pt x="25657" y="564807"/>
                    </a:lnTo>
                    <a:lnTo>
                      <a:pt x="26186" y="561544"/>
                    </a:lnTo>
                    <a:lnTo>
                      <a:pt x="26186" y="561280"/>
                    </a:lnTo>
                    <a:lnTo>
                      <a:pt x="26627" y="561280"/>
                    </a:lnTo>
                    <a:lnTo>
                      <a:pt x="27508" y="559781"/>
                    </a:lnTo>
                    <a:lnTo>
                      <a:pt x="27508" y="559516"/>
                    </a:lnTo>
                    <a:lnTo>
                      <a:pt x="29537" y="557841"/>
                    </a:lnTo>
                    <a:lnTo>
                      <a:pt x="29801" y="557489"/>
                    </a:lnTo>
                    <a:lnTo>
                      <a:pt x="29801" y="558106"/>
                    </a:lnTo>
                    <a:lnTo>
                      <a:pt x="29537" y="558371"/>
                    </a:lnTo>
                    <a:lnTo>
                      <a:pt x="29272" y="558635"/>
                    </a:lnTo>
                    <a:lnTo>
                      <a:pt x="28390" y="559164"/>
                    </a:lnTo>
                    <a:lnTo>
                      <a:pt x="27773" y="559429"/>
                    </a:lnTo>
                    <a:lnTo>
                      <a:pt x="27773" y="559693"/>
                    </a:lnTo>
                    <a:lnTo>
                      <a:pt x="27508" y="560575"/>
                    </a:lnTo>
                    <a:lnTo>
                      <a:pt x="27508" y="560839"/>
                    </a:lnTo>
                    <a:lnTo>
                      <a:pt x="27508" y="562867"/>
                    </a:lnTo>
                    <a:lnTo>
                      <a:pt x="27508" y="563131"/>
                    </a:lnTo>
                    <a:lnTo>
                      <a:pt x="27508" y="563749"/>
                    </a:lnTo>
                    <a:lnTo>
                      <a:pt x="27508" y="564013"/>
                    </a:lnTo>
                    <a:lnTo>
                      <a:pt x="27773" y="564013"/>
                    </a:lnTo>
                    <a:lnTo>
                      <a:pt x="28126" y="563749"/>
                    </a:lnTo>
                    <a:lnTo>
                      <a:pt x="28390" y="563396"/>
                    </a:lnTo>
                    <a:lnTo>
                      <a:pt x="28655" y="562250"/>
                    </a:lnTo>
                    <a:lnTo>
                      <a:pt x="29537" y="560486"/>
                    </a:lnTo>
                    <a:lnTo>
                      <a:pt x="30683" y="558723"/>
                    </a:lnTo>
                    <a:lnTo>
                      <a:pt x="31564" y="555549"/>
                    </a:lnTo>
                    <a:lnTo>
                      <a:pt x="32446" y="552287"/>
                    </a:lnTo>
                    <a:lnTo>
                      <a:pt x="32711" y="551141"/>
                    </a:lnTo>
                    <a:lnTo>
                      <a:pt x="32975" y="550876"/>
                    </a:lnTo>
                    <a:lnTo>
                      <a:pt x="33857" y="549465"/>
                    </a:lnTo>
                    <a:lnTo>
                      <a:pt x="33857" y="549113"/>
                    </a:lnTo>
                    <a:lnTo>
                      <a:pt x="34474" y="546820"/>
                    </a:lnTo>
                    <a:lnTo>
                      <a:pt x="35620" y="543029"/>
                    </a:lnTo>
                    <a:lnTo>
                      <a:pt x="35973" y="542765"/>
                    </a:lnTo>
                    <a:lnTo>
                      <a:pt x="36238" y="542147"/>
                    </a:lnTo>
                    <a:lnTo>
                      <a:pt x="36238" y="541883"/>
                    </a:lnTo>
                    <a:lnTo>
                      <a:pt x="36238" y="541266"/>
                    </a:lnTo>
                    <a:lnTo>
                      <a:pt x="36854" y="537739"/>
                    </a:lnTo>
                    <a:lnTo>
                      <a:pt x="36854" y="537122"/>
                    </a:lnTo>
                    <a:lnTo>
                      <a:pt x="36854" y="536505"/>
                    </a:lnTo>
                    <a:lnTo>
                      <a:pt x="36854" y="535976"/>
                    </a:lnTo>
                    <a:lnTo>
                      <a:pt x="36590" y="534477"/>
                    </a:lnTo>
                    <a:lnTo>
                      <a:pt x="35973" y="531567"/>
                    </a:lnTo>
                    <a:lnTo>
                      <a:pt x="35091" y="527159"/>
                    </a:lnTo>
                    <a:lnTo>
                      <a:pt x="35091" y="526542"/>
                    </a:lnTo>
                    <a:lnTo>
                      <a:pt x="35091" y="526277"/>
                    </a:lnTo>
                    <a:lnTo>
                      <a:pt x="34827" y="524249"/>
                    </a:lnTo>
                    <a:lnTo>
                      <a:pt x="34827" y="522486"/>
                    </a:lnTo>
                    <a:lnTo>
                      <a:pt x="35091" y="522221"/>
                    </a:lnTo>
                    <a:lnTo>
                      <a:pt x="34827" y="519312"/>
                    </a:lnTo>
                    <a:lnTo>
                      <a:pt x="34209" y="516931"/>
                    </a:lnTo>
                    <a:lnTo>
                      <a:pt x="33945" y="516050"/>
                    </a:lnTo>
                    <a:lnTo>
                      <a:pt x="33592" y="515785"/>
                    </a:lnTo>
                    <a:lnTo>
                      <a:pt x="33328" y="514022"/>
                    </a:lnTo>
                    <a:lnTo>
                      <a:pt x="33063" y="509349"/>
                    </a:lnTo>
                    <a:lnTo>
                      <a:pt x="33063" y="507585"/>
                    </a:lnTo>
                    <a:lnTo>
                      <a:pt x="33063" y="507321"/>
                    </a:lnTo>
                    <a:lnTo>
                      <a:pt x="33063" y="506968"/>
                    </a:lnTo>
                    <a:lnTo>
                      <a:pt x="33328" y="506704"/>
                    </a:lnTo>
                    <a:lnTo>
                      <a:pt x="33328" y="506439"/>
                    </a:lnTo>
                    <a:lnTo>
                      <a:pt x="34209" y="501502"/>
                    </a:lnTo>
                    <a:lnTo>
                      <a:pt x="34474" y="498592"/>
                    </a:lnTo>
                    <a:lnTo>
                      <a:pt x="34474" y="498328"/>
                    </a:lnTo>
                    <a:lnTo>
                      <a:pt x="34474" y="496829"/>
                    </a:lnTo>
                    <a:lnTo>
                      <a:pt x="34474" y="496564"/>
                    </a:lnTo>
                    <a:lnTo>
                      <a:pt x="34209" y="496564"/>
                    </a:lnTo>
                    <a:lnTo>
                      <a:pt x="34209" y="496300"/>
                    </a:lnTo>
                    <a:lnTo>
                      <a:pt x="36502" y="488453"/>
                    </a:lnTo>
                    <a:lnTo>
                      <a:pt x="36502" y="488188"/>
                    </a:lnTo>
                    <a:lnTo>
                      <a:pt x="37031" y="486690"/>
                    </a:lnTo>
                    <a:lnTo>
                      <a:pt x="37296" y="485808"/>
                    </a:lnTo>
                    <a:lnTo>
                      <a:pt x="37560" y="485543"/>
                    </a:lnTo>
                    <a:lnTo>
                      <a:pt x="38177" y="484397"/>
                    </a:lnTo>
                    <a:lnTo>
                      <a:pt x="38177" y="484133"/>
                    </a:lnTo>
                    <a:lnTo>
                      <a:pt x="38442" y="483515"/>
                    </a:lnTo>
                    <a:lnTo>
                      <a:pt x="38706" y="483251"/>
                    </a:lnTo>
                    <a:lnTo>
                      <a:pt x="38706" y="482898"/>
                    </a:lnTo>
                    <a:lnTo>
                      <a:pt x="38971" y="482281"/>
                    </a:lnTo>
                    <a:lnTo>
                      <a:pt x="38971" y="482017"/>
                    </a:lnTo>
                    <a:lnTo>
                      <a:pt x="38971" y="478490"/>
                    </a:lnTo>
                    <a:lnTo>
                      <a:pt x="38971" y="478225"/>
                    </a:lnTo>
                    <a:lnTo>
                      <a:pt x="38706" y="477344"/>
                    </a:lnTo>
                    <a:lnTo>
                      <a:pt x="38971" y="476727"/>
                    </a:lnTo>
                    <a:lnTo>
                      <a:pt x="38971" y="476462"/>
                    </a:lnTo>
                    <a:lnTo>
                      <a:pt x="39235" y="476198"/>
                    </a:lnTo>
                    <a:lnTo>
                      <a:pt x="39235" y="475316"/>
                    </a:lnTo>
                    <a:lnTo>
                      <a:pt x="39235" y="474963"/>
                    </a:lnTo>
                    <a:lnTo>
                      <a:pt x="38971" y="472583"/>
                    </a:lnTo>
                    <a:lnTo>
                      <a:pt x="38706" y="472318"/>
                    </a:lnTo>
                    <a:lnTo>
                      <a:pt x="37207" y="469056"/>
                    </a:lnTo>
                    <a:lnTo>
                      <a:pt x="36943" y="468439"/>
                    </a:lnTo>
                    <a:lnTo>
                      <a:pt x="36414" y="468174"/>
                    </a:lnTo>
                    <a:lnTo>
                      <a:pt x="36414" y="467821"/>
                    </a:lnTo>
                    <a:lnTo>
                      <a:pt x="36149" y="467557"/>
                    </a:lnTo>
                    <a:lnTo>
                      <a:pt x="36149" y="466940"/>
                    </a:lnTo>
                    <a:lnTo>
                      <a:pt x="35885" y="466323"/>
                    </a:lnTo>
                    <a:lnTo>
                      <a:pt x="35885" y="465705"/>
                    </a:lnTo>
                    <a:lnTo>
                      <a:pt x="35885" y="465441"/>
                    </a:lnTo>
                    <a:lnTo>
                      <a:pt x="35885" y="464824"/>
                    </a:lnTo>
                    <a:lnTo>
                      <a:pt x="36149" y="464206"/>
                    </a:lnTo>
                    <a:lnTo>
                      <a:pt x="36149" y="464559"/>
                    </a:lnTo>
                    <a:lnTo>
                      <a:pt x="36149" y="464295"/>
                    </a:lnTo>
                    <a:lnTo>
                      <a:pt x="36414" y="463766"/>
                    </a:lnTo>
                    <a:lnTo>
                      <a:pt x="36414" y="463501"/>
                    </a:lnTo>
                    <a:lnTo>
                      <a:pt x="36678" y="462620"/>
                    </a:lnTo>
                    <a:lnTo>
                      <a:pt x="36943" y="461473"/>
                    </a:lnTo>
                    <a:lnTo>
                      <a:pt x="36943" y="461121"/>
                    </a:lnTo>
                    <a:lnTo>
                      <a:pt x="36414" y="458740"/>
                    </a:lnTo>
                    <a:lnTo>
                      <a:pt x="36414" y="458211"/>
                    </a:lnTo>
                    <a:lnTo>
                      <a:pt x="36149" y="457594"/>
                    </a:lnTo>
                    <a:lnTo>
                      <a:pt x="34650" y="453538"/>
                    </a:lnTo>
                    <a:lnTo>
                      <a:pt x="33769" y="451510"/>
                    </a:lnTo>
                    <a:lnTo>
                      <a:pt x="33769" y="451158"/>
                    </a:lnTo>
                    <a:lnTo>
                      <a:pt x="33151" y="450893"/>
                    </a:lnTo>
                    <a:lnTo>
                      <a:pt x="32887" y="450893"/>
                    </a:lnTo>
                    <a:lnTo>
                      <a:pt x="32887" y="450629"/>
                    </a:lnTo>
                    <a:lnTo>
                      <a:pt x="32622" y="450364"/>
                    </a:lnTo>
                    <a:lnTo>
                      <a:pt x="32358" y="449747"/>
                    </a:lnTo>
                    <a:lnTo>
                      <a:pt x="32093" y="449747"/>
                    </a:lnTo>
                    <a:lnTo>
                      <a:pt x="32093" y="449483"/>
                    </a:lnTo>
                    <a:lnTo>
                      <a:pt x="31476" y="447984"/>
                    </a:lnTo>
                    <a:lnTo>
                      <a:pt x="31476" y="447631"/>
                    </a:lnTo>
                    <a:lnTo>
                      <a:pt x="31476" y="447366"/>
                    </a:lnTo>
                    <a:lnTo>
                      <a:pt x="31829" y="444104"/>
                    </a:lnTo>
                    <a:lnTo>
                      <a:pt x="31829" y="442076"/>
                    </a:lnTo>
                    <a:lnTo>
                      <a:pt x="32182" y="441812"/>
                    </a:lnTo>
                    <a:lnTo>
                      <a:pt x="32182" y="441195"/>
                    </a:lnTo>
                    <a:lnTo>
                      <a:pt x="32446" y="440930"/>
                    </a:lnTo>
                    <a:lnTo>
                      <a:pt x="32711" y="440048"/>
                    </a:lnTo>
                    <a:lnTo>
                      <a:pt x="33328" y="439167"/>
                    </a:lnTo>
                    <a:lnTo>
                      <a:pt x="33592" y="438814"/>
                    </a:lnTo>
                    <a:lnTo>
                      <a:pt x="33945" y="438549"/>
                    </a:lnTo>
                    <a:lnTo>
                      <a:pt x="33945" y="438285"/>
                    </a:lnTo>
                    <a:lnTo>
                      <a:pt x="33945" y="438020"/>
                    </a:lnTo>
                    <a:lnTo>
                      <a:pt x="34209" y="437139"/>
                    </a:lnTo>
                    <a:lnTo>
                      <a:pt x="34209" y="435640"/>
                    </a:lnTo>
                    <a:lnTo>
                      <a:pt x="34209" y="433260"/>
                    </a:lnTo>
                    <a:lnTo>
                      <a:pt x="34209" y="431849"/>
                    </a:lnTo>
                    <a:lnTo>
                      <a:pt x="33592" y="429821"/>
                    </a:lnTo>
                    <a:lnTo>
                      <a:pt x="32975" y="425765"/>
                    </a:lnTo>
                    <a:lnTo>
                      <a:pt x="31476" y="419946"/>
                    </a:lnTo>
                    <a:lnTo>
                      <a:pt x="31212" y="419329"/>
                    </a:lnTo>
                    <a:lnTo>
                      <a:pt x="30066" y="416155"/>
                    </a:lnTo>
                    <a:lnTo>
                      <a:pt x="28655" y="412893"/>
                    </a:lnTo>
                    <a:lnTo>
                      <a:pt x="28037" y="411482"/>
                    </a:lnTo>
                    <a:lnTo>
                      <a:pt x="27421" y="410865"/>
                    </a:lnTo>
                    <a:lnTo>
                      <a:pt x="27421" y="410600"/>
                    </a:lnTo>
                    <a:lnTo>
                      <a:pt x="27156" y="410600"/>
                    </a:lnTo>
                    <a:lnTo>
                      <a:pt x="26627" y="409718"/>
                    </a:lnTo>
                    <a:lnTo>
                      <a:pt x="23982" y="405927"/>
                    </a:lnTo>
                    <a:lnTo>
                      <a:pt x="23982" y="405663"/>
                    </a:lnTo>
                    <a:lnTo>
                      <a:pt x="23629" y="401872"/>
                    </a:lnTo>
                    <a:lnTo>
                      <a:pt x="24511" y="400725"/>
                    </a:lnTo>
                    <a:lnTo>
                      <a:pt x="25128" y="400108"/>
                    </a:lnTo>
                    <a:lnTo>
                      <a:pt x="25128" y="399844"/>
                    </a:lnTo>
                    <a:lnTo>
                      <a:pt x="25393" y="399579"/>
                    </a:lnTo>
                    <a:lnTo>
                      <a:pt x="25393" y="398962"/>
                    </a:lnTo>
                    <a:lnTo>
                      <a:pt x="25393" y="398345"/>
                    </a:lnTo>
                    <a:lnTo>
                      <a:pt x="25657" y="397728"/>
                    </a:lnTo>
                    <a:lnTo>
                      <a:pt x="25657" y="397198"/>
                    </a:lnTo>
                    <a:lnTo>
                      <a:pt x="25922" y="396581"/>
                    </a:lnTo>
                    <a:lnTo>
                      <a:pt x="25922" y="396317"/>
                    </a:lnTo>
                    <a:lnTo>
                      <a:pt x="26186" y="396317"/>
                    </a:lnTo>
                    <a:lnTo>
                      <a:pt x="26186" y="396581"/>
                    </a:lnTo>
                    <a:lnTo>
                      <a:pt x="25922" y="398962"/>
                    </a:lnTo>
                    <a:lnTo>
                      <a:pt x="25657" y="400108"/>
                    </a:lnTo>
                    <a:lnTo>
                      <a:pt x="25393" y="401254"/>
                    </a:lnTo>
                    <a:lnTo>
                      <a:pt x="25657" y="402665"/>
                    </a:lnTo>
                    <a:lnTo>
                      <a:pt x="26804" y="400373"/>
                    </a:lnTo>
                    <a:lnTo>
                      <a:pt x="27421" y="398874"/>
                    </a:lnTo>
                    <a:lnTo>
                      <a:pt x="29448" y="402930"/>
                    </a:lnTo>
                    <a:lnTo>
                      <a:pt x="29713" y="404076"/>
                    </a:lnTo>
                    <a:lnTo>
                      <a:pt x="29713" y="404340"/>
                    </a:lnTo>
                    <a:lnTo>
                      <a:pt x="29448" y="405839"/>
                    </a:lnTo>
                    <a:lnTo>
                      <a:pt x="28831" y="408484"/>
                    </a:lnTo>
                    <a:lnTo>
                      <a:pt x="28831" y="409895"/>
                    </a:lnTo>
                    <a:lnTo>
                      <a:pt x="29977" y="411923"/>
                    </a:lnTo>
                    <a:lnTo>
                      <a:pt x="30595" y="412275"/>
                    </a:lnTo>
                    <a:lnTo>
                      <a:pt x="30859" y="411658"/>
                    </a:lnTo>
                    <a:lnTo>
                      <a:pt x="32270" y="410512"/>
                    </a:lnTo>
                    <a:lnTo>
                      <a:pt x="32887" y="410776"/>
                    </a:lnTo>
                    <a:lnTo>
                      <a:pt x="33151" y="410776"/>
                    </a:lnTo>
                    <a:lnTo>
                      <a:pt x="33416" y="410776"/>
                    </a:lnTo>
                    <a:lnTo>
                      <a:pt x="34033" y="409895"/>
                    </a:lnTo>
                    <a:lnTo>
                      <a:pt x="35179" y="408484"/>
                    </a:lnTo>
                    <a:lnTo>
                      <a:pt x="35444" y="407867"/>
                    </a:lnTo>
                    <a:lnTo>
                      <a:pt x="35796" y="407250"/>
                    </a:lnTo>
                    <a:lnTo>
                      <a:pt x="36414" y="404340"/>
                    </a:lnTo>
                    <a:lnTo>
                      <a:pt x="36414" y="404076"/>
                    </a:lnTo>
                    <a:lnTo>
                      <a:pt x="36149" y="403194"/>
                    </a:lnTo>
                    <a:lnTo>
                      <a:pt x="36149" y="402930"/>
                    </a:lnTo>
                    <a:lnTo>
                      <a:pt x="36149" y="402577"/>
                    </a:lnTo>
                    <a:lnTo>
                      <a:pt x="35532" y="402048"/>
                    </a:lnTo>
                    <a:lnTo>
                      <a:pt x="34650" y="401431"/>
                    </a:lnTo>
                    <a:lnTo>
                      <a:pt x="33151" y="399932"/>
                    </a:lnTo>
                    <a:lnTo>
                      <a:pt x="31388" y="397551"/>
                    </a:lnTo>
                    <a:lnTo>
                      <a:pt x="31388" y="397287"/>
                    </a:lnTo>
                    <a:lnTo>
                      <a:pt x="31741" y="395524"/>
                    </a:lnTo>
                    <a:lnTo>
                      <a:pt x="31388" y="392349"/>
                    </a:lnTo>
                    <a:lnTo>
                      <a:pt x="31388" y="392085"/>
                    </a:lnTo>
                    <a:lnTo>
                      <a:pt x="30859" y="390586"/>
                    </a:lnTo>
                    <a:lnTo>
                      <a:pt x="30595" y="389440"/>
                    </a:lnTo>
                    <a:lnTo>
                      <a:pt x="30330" y="389175"/>
                    </a:lnTo>
                    <a:lnTo>
                      <a:pt x="30330" y="388911"/>
                    </a:lnTo>
                    <a:lnTo>
                      <a:pt x="30330" y="388294"/>
                    </a:lnTo>
                    <a:lnTo>
                      <a:pt x="30330" y="388029"/>
                    </a:lnTo>
                    <a:lnTo>
                      <a:pt x="30595" y="387765"/>
                    </a:lnTo>
                    <a:lnTo>
                      <a:pt x="30595" y="387147"/>
                    </a:lnTo>
                    <a:lnTo>
                      <a:pt x="31124" y="386530"/>
                    </a:lnTo>
                    <a:lnTo>
                      <a:pt x="31124" y="386266"/>
                    </a:lnTo>
                    <a:lnTo>
                      <a:pt x="31388" y="386001"/>
                    </a:lnTo>
                    <a:lnTo>
                      <a:pt x="32887" y="384238"/>
                    </a:lnTo>
                    <a:lnTo>
                      <a:pt x="33504" y="384855"/>
                    </a:lnTo>
                    <a:lnTo>
                      <a:pt x="33857" y="386618"/>
                    </a:lnTo>
                    <a:lnTo>
                      <a:pt x="34474" y="388382"/>
                    </a:lnTo>
                    <a:lnTo>
                      <a:pt x="34474" y="388734"/>
                    </a:lnTo>
                    <a:lnTo>
                      <a:pt x="34738" y="388999"/>
                    </a:lnTo>
                    <a:lnTo>
                      <a:pt x="35620" y="389881"/>
                    </a:lnTo>
                    <a:lnTo>
                      <a:pt x="36238" y="390762"/>
                    </a:lnTo>
                    <a:lnTo>
                      <a:pt x="36502" y="390762"/>
                    </a:lnTo>
                    <a:lnTo>
                      <a:pt x="36502" y="391027"/>
                    </a:lnTo>
                    <a:lnTo>
                      <a:pt x="36502" y="392790"/>
                    </a:lnTo>
                    <a:lnTo>
                      <a:pt x="36502" y="393055"/>
                    </a:lnTo>
                    <a:lnTo>
                      <a:pt x="36502" y="393319"/>
                    </a:lnTo>
                    <a:lnTo>
                      <a:pt x="35356" y="395964"/>
                    </a:lnTo>
                    <a:lnTo>
                      <a:pt x="34827" y="396493"/>
                    </a:lnTo>
                    <a:lnTo>
                      <a:pt x="34562" y="396758"/>
                    </a:lnTo>
                    <a:lnTo>
                      <a:pt x="34298" y="398521"/>
                    </a:lnTo>
                    <a:lnTo>
                      <a:pt x="34298" y="398874"/>
                    </a:lnTo>
                    <a:lnTo>
                      <a:pt x="34298" y="400637"/>
                    </a:lnTo>
                    <a:lnTo>
                      <a:pt x="34562" y="400637"/>
                    </a:lnTo>
                    <a:lnTo>
                      <a:pt x="35179" y="400902"/>
                    </a:lnTo>
                    <a:lnTo>
                      <a:pt x="35444" y="400902"/>
                    </a:lnTo>
                    <a:lnTo>
                      <a:pt x="35709" y="400637"/>
                    </a:lnTo>
                    <a:lnTo>
                      <a:pt x="36061" y="400284"/>
                    </a:lnTo>
                    <a:lnTo>
                      <a:pt x="36325" y="400020"/>
                    </a:lnTo>
                    <a:lnTo>
                      <a:pt x="36590" y="399755"/>
                    </a:lnTo>
                    <a:lnTo>
                      <a:pt x="37119" y="399138"/>
                    </a:lnTo>
                    <a:lnTo>
                      <a:pt x="38265" y="397375"/>
                    </a:lnTo>
                    <a:lnTo>
                      <a:pt x="38265" y="397110"/>
                    </a:lnTo>
                    <a:lnTo>
                      <a:pt x="38883" y="396493"/>
                    </a:lnTo>
                    <a:lnTo>
                      <a:pt x="38883" y="398874"/>
                    </a:lnTo>
                    <a:lnTo>
                      <a:pt x="38883" y="400902"/>
                    </a:lnTo>
                    <a:lnTo>
                      <a:pt x="38618" y="402312"/>
                    </a:lnTo>
                    <a:lnTo>
                      <a:pt x="38883" y="403811"/>
                    </a:lnTo>
                    <a:lnTo>
                      <a:pt x="40381" y="407338"/>
                    </a:lnTo>
                    <a:lnTo>
                      <a:pt x="43291" y="405310"/>
                    </a:lnTo>
                    <a:lnTo>
                      <a:pt x="43555" y="405046"/>
                    </a:lnTo>
                    <a:lnTo>
                      <a:pt x="44437" y="403547"/>
                    </a:lnTo>
                    <a:lnTo>
                      <a:pt x="44437" y="403194"/>
                    </a:lnTo>
                    <a:lnTo>
                      <a:pt x="44437" y="402930"/>
                    </a:lnTo>
                    <a:lnTo>
                      <a:pt x="44437" y="402577"/>
                    </a:lnTo>
                    <a:lnTo>
                      <a:pt x="44437" y="402312"/>
                    </a:lnTo>
                    <a:lnTo>
                      <a:pt x="44084" y="402048"/>
                    </a:lnTo>
                    <a:lnTo>
                      <a:pt x="44084" y="401431"/>
                    </a:lnTo>
                    <a:lnTo>
                      <a:pt x="44084" y="400549"/>
                    </a:lnTo>
                    <a:lnTo>
                      <a:pt x="44084" y="400196"/>
                    </a:lnTo>
                    <a:lnTo>
                      <a:pt x="45583" y="396405"/>
                    </a:lnTo>
                    <a:lnTo>
                      <a:pt x="45936" y="395524"/>
                    </a:lnTo>
                    <a:lnTo>
                      <a:pt x="46817" y="395876"/>
                    </a:lnTo>
                    <a:lnTo>
                      <a:pt x="47082" y="394994"/>
                    </a:lnTo>
                    <a:lnTo>
                      <a:pt x="47964" y="392349"/>
                    </a:lnTo>
                    <a:lnTo>
                      <a:pt x="47964" y="392085"/>
                    </a:lnTo>
                    <a:lnTo>
                      <a:pt x="47964" y="391732"/>
                    </a:lnTo>
                    <a:lnTo>
                      <a:pt x="46200" y="389087"/>
                    </a:lnTo>
                    <a:lnTo>
                      <a:pt x="44701" y="387059"/>
                    </a:lnTo>
                    <a:lnTo>
                      <a:pt x="44437" y="386795"/>
                    </a:lnTo>
                    <a:lnTo>
                      <a:pt x="44437" y="386530"/>
                    </a:lnTo>
                    <a:lnTo>
                      <a:pt x="43555" y="383356"/>
                    </a:lnTo>
                    <a:lnTo>
                      <a:pt x="43026" y="381945"/>
                    </a:lnTo>
                    <a:lnTo>
                      <a:pt x="43026" y="381681"/>
                    </a:lnTo>
                    <a:lnTo>
                      <a:pt x="42674" y="379036"/>
                    </a:lnTo>
                    <a:lnTo>
                      <a:pt x="42409" y="377273"/>
                    </a:lnTo>
                    <a:lnTo>
                      <a:pt x="42409" y="375509"/>
                    </a:lnTo>
                    <a:lnTo>
                      <a:pt x="42145" y="375245"/>
                    </a:lnTo>
                    <a:lnTo>
                      <a:pt x="41880" y="374980"/>
                    </a:lnTo>
                    <a:lnTo>
                      <a:pt x="41263" y="374363"/>
                    </a:lnTo>
                    <a:lnTo>
                      <a:pt x="40381" y="374363"/>
                    </a:lnTo>
                    <a:lnTo>
                      <a:pt x="40381" y="374098"/>
                    </a:lnTo>
                    <a:lnTo>
                      <a:pt x="40029" y="373834"/>
                    </a:lnTo>
                    <a:lnTo>
                      <a:pt x="39764" y="371453"/>
                    </a:lnTo>
                    <a:lnTo>
                      <a:pt x="39764" y="371189"/>
                    </a:lnTo>
                    <a:lnTo>
                      <a:pt x="39500" y="368279"/>
                    </a:lnTo>
                    <a:lnTo>
                      <a:pt x="39500" y="367398"/>
                    </a:lnTo>
                    <a:lnTo>
                      <a:pt x="39764" y="367133"/>
                    </a:lnTo>
                    <a:lnTo>
                      <a:pt x="40029" y="366516"/>
                    </a:lnTo>
                    <a:lnTo>
                      <a:pt x="40029" y="366252"/>
                    </a:lnTo>
                    <a:lnTo>
                      <a:pt x="40381" y="365105"/>
                    </a:lnTo>
                    <a:lnTo>
                      <a:pt x="40381" y="364753"/>
                    </a:lnTo>
                    <a:lnTo>
                      <a:pt x="40029" y="364488"/>
                    </a:lnTo>
                    <a:lnTo>
                      <a:pt x="39764" y="363342"/>
                    </a:lnTo>
                    <a:lnTo>
                      <a:pt x="39500" y="362725"/>
                    </a:lnTo>
                    <a:lnTo>
                      <a:pt x="38618" y="361226"/>
                    </a:lnTo>
                    <a:lnTo>
                      <a:pt x="38354" y="360697"/>
                    </a:lnTo>
                    <a:lnTo>
                      <a:pt x="38089" y="360344"/>
                    </a:lnTo>
                    <a:lnTo>
                      <a:pt x="38089" y="360080"/>
                    </a:lnTo>
                    <a:lnTo>
                      <a:pt x="37472" y="359198"/>
                    </a:lnTo>
                    <a:lnTo>
                      <a:pt x="37207" y="358052"/>
                    </a:lnTo>
                    <a:lnTo>
                      <a:pt x="37207" y="357435"/>
                    </a:lnTo>
                    <a:lnTo>
                      <a:pt x="37207" y="356906"/>
                    </a:lnTo>
                    <a:lnTo>
                      <a:pt x="37825" y="352233"/>
                    </a:lnTo>
                    <a:lnTo>
                      <a:pt x="38089" y="351968"/>
                    </a:lnTo>
                    <a:lnTo>
                      <a:pt x="38089" y="351616"/>
                    </a:lnTo>
                    <a:lnTo>
                      <a:pt x="39235" y="349588"/>
                    </a:lnTo>
                    <a:lnTo>
                      <a:pt x="40381" y="346414"/>
                    </a:lnTo>
                    <a:lnTo>
                      <a:pt x="41880" y="343239"/>
                    </a:lnTo>
                    <a:lnTo>
                      <a:pt x="43291" y="340330"/>
                    </a:lnTo>
                    <a:lnTo>
                      <a:pt x="45319" y="337156"/>
                    </a:lnTo>
                    <a:lnTo>
                      <a:pt x="46200" y="336274"/>
                    </a:lnTo>
                    <a:lnTo>
                      <a:pt x="46465" y="336274"/>
                    </a:lnTo>
                    <a:lnTo>
                      <a:pt x="46730" y="336274"/>
                    </a:lnTo>
                    <a:lnTo>
                      <a:pt x="46994" y="336010"/>
                    </a:lnTo>
                    <a:lnTo>
                      <a:pt x="47259" y="336010"/>
                    </a:lnTo>
                    <a:lnTo>
                      <a:pt x="48757" y="334864"/>
                    </a:lnTo>
                    <a:lnTo>
                      <a:pt x="48757" y="334599"/>
                    </a:lnTo>
                    <a:lnTo>
                      <a:pt x="49022" y="334599"/>
                    </a:lnTo>
                    <a:lnTo>
                      <a:pt x="49639" y="333100"/>
                    </a:lnTo>
                    <a:lnTo>
                      <a:pt x="49992" y="332483"/>
                    </a:lnTo>
                    <a:lnTo>
                      <a:pt x="50521" y="329838"/>
                    </a:lnTo>
                    <a:lnTo>
                      <a:pt x="50521" y="329573"/>
                    </a:lnTo>
                    <a:lnTo>
                      <a:pt x="50521" y="329221"/>
                    </a:lnTo>
                    <a:lnTo>
                      <a:pt x="50785" y="326311"/>
                    </a:lnTo>
                    <a:lnTo>
                      <a:pt x="51667" y="324019"/>
                    </a:lnTo>
                    <a:lnTo>
                      <a:pt x="51931" y="323754"/>
                    </a:lnTo>
                    <a:lnTo>
                      <a:pt x="52549" y="322873"/>
                    </a:lnTo>
                    <a:lnTo>
                      <a:pt x="52813" y="322255"/>
                    </a:lnTo>
                    <a:lnTo>
                      <a:pt x="52813" y="319963"/>
                    </a:lnTo>
                    <a:lnTo>
                      <a:pt x="52813" y="319346"/>
                    </a:lnTo>
                    <a:lnTo>
                      <a:pt x="52549" y="317053"/>
                    </a:lnTo>
                    <a:lnTo>
                      <a:pt x="52549" y="316789"/>
                    </a:lnTo>
                    <a:lnTo>
                      <a:pt x="52549" y="316436"/>
                    </a:lnTo>
                    <a:lnTo>
                      <a:pt x="52549" y="316172"/>
                    </a:lnTo>
                    <a:lnTo>
                      <a:pt x="52284" y="316172"/>
                    </a:lnTo>
                    <a:lnTo>
                      <a:pt x="52284" y="315819"/>
                    </a:lnTo>
                    <a:lnTo>
                      <a:pt x="52284" y="315555"/>
                    </a:lnTo>
                    <a:lnTo>
                      <a:pt x="52020" y="314937"/>
                    </a:lnTo>
                    <a:lnTo>
                      <a:pt x="51755" y="314937"/>
                    </a:lnTo>
                    <a:lnTo>
                      <a:pt x="51138" y="313791"/>
                    </a:lnTo>
                    <a:lnTo>
                      <a:pt x="51402" y="311764"/>
                    </a:lnTo>
                    <a:lnTo>
                      <a:pt x="52284" y="310265"/>
                    </a:lnTo>
                    <a:lnTo>
                      <a:pt x="52284" y="310000"/>
                    </a:lnTo>
                    <a:lnTo>
                      <a:pt x="52549" y="309736"/>
                    </a:lnTo>
                    <a:lnTo>
                      <a:pt x="53430" y="308589"/>
                    </a:lnTo>
                    <a:lnTo>
                      <a:pt x="55458" y="305063"/>
                    </a:lnTo>
                    <a:lnTo>
                      <a:pt x="56340" y="303652"/>
                    </a:lnTo>
                    <a:lnTo>
                      <a:pt x="56869" y="302506"/>
                    </a:lnTo>
                    <a:lnTo>
                      <a:pt x="57751" y="300478"/>
                    </a:lnTo>
                    <a:lnTo>
                      <a:pt x="58632" y="298186"/>
                    </a:lnTo>
                    <a:lnTo>
                      <a:pt x="58896" y="297921"/>
                    </a:lnTo>
                    <a:lnTo>
                      <a:pt x="60043" y="296158"/>
                    </a:lnTo>
                    <a:lnTo>
                      <a:pt x="61806" y="293865"/>
                    </a:lnTo>
                    <a:lnTo>
                      <a:pt x="62071" y="293336"/>
                    </a:lnTo>
                    <a:lnTo>
                      <a:pt x="62335" y="293072"/>
                    </a:lnTo>
                    <a:lnTo>
                      <a:pt x="62600" y="293072"/>
                    </a:lnTo>
                    <a:lnTo>
                      <a:pt x="63746" y="292190"/>
                    </a:lnTo>
                    <a:lnTo>
                      <a:pt x="64010" y="292190"/>
                    </a:lnTo>
                    <a:lnTo>
                      <a:pt x="65157" y="291661"/>
                    </a:lnTo>
                    <a:lnTo>
                      <a:pt x="65421" y="291926"/>
                    </a:lnTo>
                    <a:lnTo>
                      <a:pt x="65686" y="292190"/>
                    </a:lnTo>
                    <a:lnTo>
                      <a:pt x="65686" y="292455"/>
                    </a:lnTo>
                    <a:lnTo>
                      <a:pt x="65068" y="293072"/>
                    </a:lnTo>
                    <a:lnTo>
                      <a:pt x="64804" y="293336"/>
                    </a:lnTo>
                    <a:lnTo>
                      <a:pt x="64539" y="293601"/>
                    </a:lnTo>
                    <a:lnTo>
                      <a:pt x="64539" y="293865"/>
                    </a:lnTo>
                    <a:lnTo>
                      <a:pt x="64275" y="294747"/>
                    </a:lnTo>
                    <a:lnTo>
                      <a:pt x="61983" y="300830"/>
                    </a:lnTo>
                    <a:lnTo>
                      <a:pt x="61983" y="301095"/>
                    </a:lnTo>
                    <a:lnTo>
                      <a:pt x="61983" y="301359"/>
                    </a:lnTo>
                    <a:lnTo>
                      <a:pt x="61983" y="301624"/>
                    </a:lnTo>
                    <a:lnTo>
                      <a:pt x="62600" y="303387"/>
                    </a:lnTo>
                    <a:lnTo>
                      <a:pt x="62864" y="304269"/>
                    </a:lnTo>
                    <a:lnTo>
                      <a:pt x="61983" y="306297"/>
                    </a:lnTo>
                    <a:lnTo>
                      <a:pt x="61983" y="306561"/>
                    </a:lnTo>
                    <a:lnTo>
                      <a:pt x="61894" y="306561"/>
                    </a:lnTo>
                    <a:lnTo>
                      <a:pt x="61894" y="306914"/>
                    </a:lnTo>
                    <a:lnTo>
                      <a:pt x="61630" y="308678"/>
                    </a:lnTo>
                    <a:lnTo>
                      <a:pt x="61630" y="308942"/>
                    </a:lnTo>
                    <a:lnTo>
                      <a:pt x="61630" y="309559"/>
                    </a:lnTo>
                    <a:lnTo>
                      <a:pt x="61894" y="309559"/>
                    </a:lnTo>
                    <a:lnTo>
                      <a:pt x="61894" y="309824"/>
                    </a:lnTo>
                    <a:lnTo>
                      <a:pt x="62159" y="309824"/>
                    </a:lnTo>
                    <a:lnTo>
                      <a:pt x="63305" y="309207"/>
                    </a:lnTo>
                    <a:lnTo>
                      <a:pt x="67097" y="307708"/>
                    </a:lnTo>
                    <a:lnTo>
                      <a:pt x="67713" y="306209"/>
                    </a:lnTo>
                    <a:lnTo>
                      <a:pt x="67978" y="305680"/>
                    </a:lnTo>
                    <a:lnTo>
                      <a:pt x="68242" y="305063"/>
                    </a:lnTo>
                    <a:lnTo>
                      <a:pt x="68507" y="304445"/>
                    </a:lnTo>
                    <a:lnTo>
                      <a:pt x="70270" y="301271"/>
                    </a:lnTo>
                    <a:lnTo>
                      <a:pt x="72034" y="298891"/>
                    </a:lnTo>
                    <a:lnTo>
                      <a:pt x="74943" y="294835"/>
                    </a:lnTo>
                    <a:lnTo>
                      <a:pt x="74943" y="294571"/>
                    </a:lnTo>
                    <a:lnTo>
                      <a:pt x="74943" y="294218"/>
                    </a:lnTo>
                    <a:lnTo>
                      <a:pt x="75208" y="293953"/>
                    </a:lnTo>
                    <a:lnTo>
                      <a:pt x="75208" y="293336"/>
                    </a:lnTo>
                    <a:lnTo>
                      <a:pt x="75472" y="293072"/>
                    </a:lnTo>
                    <a:lnTo>
                      <a:pt x="75472" y="292807"/>
                    </a:lnTo>
                    <a:lnTo>
                      <a:pt x="75825" y="292807"/>
                    </a:lnTo>
                    <a:lnTo>
                      <a:pt x="76971" y="291926"/>
                    </a:lnTo>
                    <a:lnTo>
                      <a:pt x="77853" y="291661"/>
                    </a:lnTo>
                    <a:lnTo>
                      <a:pt x="80234" y="290515"/>
                    </a:lnTo>
                    <a:lnTo>
                      <a:pt x="82526" y="289016"/>
                    </a:lnTo>
                    <a:lnTo>
                      <a:pt x="82790" y="289016"/>
                    </a:lnTo>
                    <a:lnTo>
                      <a:pt x="83143" y="288751"/>
                    </a:lnTo>
                    <a:lnTo>
                      <a:pt x="83760" y="289016"/>
                    </a:lnTo>
                    <a:lnTo>
                      <a:pt x="84025" y="289016"/>
                    </a:lnTo>
                    <a:lnTo>
                      <a:pt x="84289" y="289016"/>
                    </a:lnTo>
                    <a:lnTo>
                      <a:pt x="84554" y="289016"/>
                    </a:lnTo>
                    <a:lnTo>
                      <a:pt x="85171" y="288751"/>
                    </a:lnTo>
                    <a:lnTo>
                      <a:pt x="87463" y="287605"/>
                    </a:lnTo>
                    <a:lnTo>
                      <a:pt x="89491" y="286459"/>
                    </a:lnTo>
                    <a:lnTo>
                      <a:pt x="91519" y="285842"/>
                    </a:lnTo>
                    <a:lnTo>
                      <a:pt x="94164" y="284696"/>
                    </a:lnTo>
                    <a:lnTo>
                      <a:pt x="94429" y="284696"/>
                    </a:lnTo>
                    <a:lnTo>
                      <a:pt x="94693" y="284431"/>
                    </a:lnTo>
                    <a:lnTo>
                      <a:pt x="95310" y="283550"/>
                    </a:lnTo>
                    <a:lnTo>
                      <a:pt x="96192" y="282932"/>
                    </a:lnTo>
                    <a:lnTo>
                      <a:pt x="96809" y="281786"/>
                    </a:lnTo>
                    <a:lnTo>
                      <a:pt x="98837" y="280023"/>
                    </a:lnTo>
                    <a:lnTo>
                      <a:pt x="99101" y="279758"/>
                    </a:lnTo>
                    <a:lnTo>
                      <a:pt x="99983" y="279141"/>
                    </a:lnTo>
                    <a:lnTo>
                      <a:pt x="100247" y="278877"/>
                    </a:lnTo>
                    <a:lnTo>
                      <a:pt x="101394" y="278612"/>
                    </a:lnTo>
                    <a:lnTo>
                      <a:pt x="102540" y="277995"/>
                    </a:lnTo>
                    <a:lnTo>
                      <a:pt x="102893" y="277995"/>
                    </a:lnTo>
                    <a:lnTo>
                      <a:pt x="103157" y="277730"/>
                    </a:lnTo>
                    <a:lnTo>
                      <a:pt x="103510" y="277466"/>
                    </a:lnTo>
                    <a:lnTo>
                      <a:pt x="104127" y="276584"/>
                    </a:lnTo>
                    <a:lnTo>
                      <a:pt x="104744" y="275438"/>
                    </a:lnTo>
                    <a:lnTo>
                      <a:pt x="105273" y="275173"/>
                    </a:lnTo>
                    <a:lnTo>
                      <a:pt x="105890" y="274292"/>
                    </a:lnTo>
                    <a:lnTo>
                      <a:pt x="106155" y="274027"/>
                    </a:lnTo>
                    <a:lnTo>
                      <a:pt x="106419" y="273763"/>
                    </a:lnTo>
                    <a:lnTo>
                      <a:pt x="107037" y="273498"/>
                    </a:lnTo>
                    <a:lnTo>
                      <a:pt x="107918" y="272881"/>
                    </a:lnTo>
                    <a:lnTo>
                      <a:pt x="108448" y="272881"/>
                    </a:lnTo>
                    <a:lnTo>
                      <a:pt x="111092" y="271735"/>
                    </a:lnTo>
                    <a:lnTo>
                      <a:pt x="111445" y="271471"/>
                    </a:lnTo>
                    <a:lnTo>
                      <a:pt x="111710" y="271471"/>
                    </a:lnTo>
                    <a:lnTo>
                      <a:pt x="111974" y="271206"/>
                    </a:lnTo>
                    <a:lnTo>
                      <a:pt x="112239" y="270589"/>
                    </a:lnTo>
                    <a:lnTo>
                      <a:pt x="112856" y="269707"/>
                    </a:lnTo>
                    <a:lnTo>
                      <a:pt x="114355" y="268825"/>
                    </a:lnTo>
                    <a:lnTo>
                      <a:pt x="115501" y="268561"/>
                    </a:lnTo>
                    <a:lnTo>
                      <a:pt x="119292" y="267415"/>
                    </a:lnTo>
                    <a:lnTo>
                      <a:pt x="122202" y="265651"/>
                    </a:lnTo>
                    <a:lnTo>
                      <a:pt x="122466" y="265387"/>
                    </a:lnTo>
                    <a:lnTo>
                      <a:pt x="122731" y="265387"/>
                    </a:lnTo>
                    <a:lnTo>
                      <a:pt x="125023" y="263359"/>
                    </a:lnTo>
                    <a:lnTo>
                      <a:pt x="126522" y="263359"/>
                    </a:lnTo>
                    <a:lnTo>
                      <a:pt x="126522" y="263623"/>
                    </a:lnTo>
                    <a:lnTo>
                      <a:pt x="126522" y="263888"/>
                    </a:lnTo>
                    <a:lnTo>
                      <a:pt x="126786" y="264152"/>
                    </a:lnTo>
                    <a:lnTo>
                      <a:pt x="127139" y="264770"/>
                    </a:lnTo>
                    <a:lnTo>
                      <a:pt x="127403" y="264770"/>
                    </a:lnTo>
                    <a:lnTo>
                      <a:pt x="127932" y="265034"/>
                    </a:lnTo>
                    <a:lnTo>
                      <a:pt x="128285" y="265034"/>
                    </a:lnTo>
                    <a:lnTo>
                      <a:pt x="128550" y="265034"/>
                    </a:lnTo>
                    <a:lnTo>
                      <a:pt x="128814" y="265034"/>
                    </a:lnTo>
                    <a:lnTo>
                      <a:pt x="129079" y="264770"/>
                    </a:lnTo>
                    <a:lnTo>
                      <a:pt x="129343" y="264505"/>
                    </a:lnTo>
                    <a:lnTo>
                      <a:pt x="129608" y="264505"/>
                    </a:lnTo>
                    <a:lnTo>
                      <a:pt x="129872" y="264241"/>
                    </a:lnTo>
                    <a:lnTo>
                      <a:pt x="129872" y="263976"/>
                    </a:lnTo>
                    <a:lnTo>
                      <a:pt x="130754" y="263359"/>
                    </a:lnTo>
                    <a:lnTo>
                      <a:pt x="131900" y="263094"/>
                    </a:lnTo>
                    <a:lnTo>
                      <a:pt x="132164" y="262742"/>
                    </a:lnTo>
                    <a:lnTo>
                      <a:pt x="132429" y="262742"/>
                    </a:lnTo>
                    <a:lnTo>
                      <a:pt x="134457" y="263359"/>
                    </a:lnTo>
                    <a:lnTo>
                      <a:pt x="134457" y="263623"/>
                    </a:lnTo>
                    <a:lnTo>
                      <a:pt x="134722" y="264241"/>
                    </a:lnTo>
                    <a:lnTo>
                      <a:pt x="134986" y="264241"/>
                    </a:lnTo>
                    <a:lnTo>
                      <a:pt x="134986" y="264505"/>
                    </a:lnTo>
                    <a:lnTo>
                      <a:pt x="136132" y="265122"/>
                    </a:lnTo>
                    <a:lnTo>
                      <a:pt x="136397" y="265122"/>
                    </a:lnTo>
                    <a:lnTo>
                      <a:pt x="136749" y="265122"/>
                    </a:lnTo>
                    <a:lnTo>
                      <a:pt x="137014" y="265387"/>
                    </a:lnTo>
                    <a:lnTo>
                      <a:pt x="137278" y="265387"/>
                    </a:lnTo>
                    <a:lnTo>
                      <a:pt x="137543" y="265387"/>
                    </a:lnTo>
                    <a:lnTo>
                      <a:pt x="137807" y="265387"/>
                    </a:lnTo>
                    <a:lnTo>
                      <a:pt x="138689" y="265387"/>
                    </a:lnTo>
                    <a:lnTo>
                      <a:pt x="138953" y="265387"/>
                    </a:lnTo>
                    <a:lnTo>
                      <a:pt x="139218" y="265387"/>
                    </a:lnTo>
                    <a:lnTo>
                      <a:pt x="140717" y="265122"/>
                    </a:lnTo>
                    <a:lnTo>
                      <a:pt x="145125" y="264241"/>
                    </a:lnTo>
                    <a:lnTo>
                      <a:pt x="145390" y="263976"/>
                    </a:lnTo>
                    <a:lnTo>
                      <a:pt x="146536" y="263712"/>
                    </a:lnTo>
                    <a:lnTo>
                      <a:pt x="148564" y="262830"/>
                    </a:lnTo>
                    <a:lnTo>
                      <a:pt x="148917" y="262565"/>
                    </a:lnTo>
                    <a:lnTo>
                      <a:pt x="149269" y="262565"/>
                    </a:lnTo>
                    <a:lnTo>
                      <a:pt x="151032" y="261419"/>
                    </a:lnTo>
                    <a:lnTo>
                      <a:pt x="151032" y="261155"/>
                    </a:lnTo>
                    <a:lnTo>
                      <a:pt x="151297" y="260890"/>
                    </a:lnTo>
                    <a:lnTo>
                      <a:pt x="151297" y="260537"/>
                    </a:lnTo>
                    <a:lnTo>
                      <a:pt x="153061" y="259039"/>
                    </a:lnTo>
                    <a:lnTo>
                      <a:pt x="154824" y="257540"/>
                    </a:lnTo>
                    <a:lnTo>
                      <a:pt x="156323" y="256394"/>
                    </a:lnTo>
                    <a:lnTo>
                      <a:pt x="156587" y="256394"/>
                    </a:lnTo>
                    <a:lnTo>
                      <a:pt x="157204" y="256129"/>
                    </a:lnTo>
                    <a:lnTo>
                      <a:pt x="157557" y="255865"/>
                    </a:lnTo>
                    <a:lnTo>
                      <a:pt x="157557" y="256129"/>
                    </a:lnTo>
                    <a:lnTo>
                      <a:pt x="157557" y="256394"/>
                    </a:lnTo>
                    <a:lnTo>
                      <a:pt x="157557" y="256746"/>
                    </a:lnTo>
                    <a:lnTo>
                      <a:pt x="157822" y="256746"/>
                    </a:lnTo>
                    <a:lnTo>
                      <a:pt x="158439" y="256746"/>
                    </a:lnTo>
                    <a:lnTo>
                      <a:pt x="162230" y="256129"/>
                    </a:lnTo>
                    <a:lnTo>
                      <a:pt x="165404" y="255600"/>
                    </a:lnTo>
                    <a:lnTo>
                      <a:pt x="167432" y="255600"/>
                    </a:lnTo>
                    <a:lnTo>
                      <a:pt x="167696" y="255600"/>
                    </a:lnTo>
                    <a:lnTo>
                      <a:pt x="168049" y="255600"/>
                    </a:lnTo>
                    <a:lnTo>
                      <a:pt x="170959" y="254454"/>
                    </a:lnTo>
                    <a:lnTo>
                      <a:pt x="171576" y="254190"/>
                    </a:lnTo>
                    <a:lnTo>
                      <a:pt x="174750" y="250398"/>
                    </a:lnTo>
                    <a:lnTo>
                      <a:pt x="175015" y="250398"/>
                    </a:lnTo>
                    <a:lnTo>
                      <a:pt x="175279" y="249869"/>
                    </a:lnTo>
                    <a:lnTo>
                      <a:pt x="175544" y="248987"/>
                    </a:lnTo>
                    <a:lnTo>
                      <a:pt x="175808" y="248635"/>
                    </a:lnTo>
                    <a:lnTo>
                      <a:pt x="175808" y="248370"/>
                    </a:lnTo>
                    <a:lnTo>
                      <a:pt x="178188" y="246607"/>
                    </a:lnTo>
                    <a:lnTo>
                      <a:pt x="178453" y="246607"/>
                    </a:lnTo>
                    <a:lnTo>
                      <a:pt x="180216" y="246342"/>
                    </a:lnTo>
                    <a:lnTo>
                      <a:pt x="180833" y="246607"/>
                    </a:lnTo>
                    <a:lnTo>
                      <a:pt x="184272" y="247489"/>
                    </a:lnTo>
                    <a:lnTo>
                      <a:pt x="185771" y="247753"/>
                    </a:lnTo>
                    <a:lnTo>
                      <a:pt x="187799" y="249252"/>
                    </a:lnTo>
                    <a:lnTo>
                      <a:pt x="188063" y="249252"/>
                    </a:lnTo>
                    <a:lnTo>
                      <a:pt x="188328" y="249252"/>
                    </a:lnTo>
                    <a:lnTo>
                      <a:pt x="188681" y="249252"/>
                    </a:lnTo>
                    <a:lnTo>
                      <a:pt x="188945" y="249252"/>
                    </a:lnTo>
                    <a:lnTo>
                      <a:pt x="191237" y="248106"/>
                    </a:lnTo>
                    <a:lnTo>
                      <a:pt x="191854" y="247489"/>
                    </a:lnTo>
                    <a:lnTo>
                      <a:pt x="193353" y="246960"/>
                    </a:lnTo>
                    <a:lnTo>
                      <a:pt x="198644" y="245813"/>
                    </a:lnTo>
                    <a:lnTo>
                      <a:pt x="201553" y="245549"/>
                    </a:lnTo>
                    <a:lnTo>
                      <a:pt x="201818" y="245549"/>
                    </a:lnTo>
                    <a:lnTo>
                      <a:pt x="202699" y="245549"/>
                    </a:lnTo>
                    <a:lnTo>
                      <a:pt x="203316" y="245285"/>
                    </a:lnTo>
                    <a:lnTo>
                      <a:pt x="203581" y="245285"/>
                    </a:lnTo>
                    <a:lnTo>
                      <a:pt x="205345" y="244667"/>
                    </a:lnTo>
                    <a:lnTo>
                      <a:pt x="205962" y="244315"/>
                    </a:lnTo>
                    <a:lnTo>
                      <a:pt x="210899" y="242287"/>
                    </a:lnTo>
                    <a:lnTo>
                      <a:pt x="218217" y="239377"/>
                    </a:lnTo>
                    <a:lnTo>
                      <a:pt x="219099" y="238848"/>
                    </a:lnTo>
                    <a:lnTo>
                      <a:pt x="220862" y="237966"/>
                    </a:lnTo>
                    <a:lnTo>
                      <a:pt x="221126" y="237966"/>
                    </a:lnTo>
                    <a:lnTo>
                      <a:pt x="221744" y="237437"/>
                    </a:lnTo>
                    <a:lnTo>
                      <a:pt x="222890" y="236556"/>
                    </a:lnTo>
                    <a:lnTo>
                      <a:pt x="224036" y="235674"/>
                    </a:lnTo>
                    <a:lnTo>
                      <a:pt x="224300" y="235674"/>
                    </a:lnTo>
                    <a:lnTo>
                      <a:pt x="226329" y="234175"/>
                    </a:lnTo>
                    <a:lnTo>
                      <a:pt x="226593" y="233911"/>
                    </a:lnTo>
                    <a:lnTo>
                      <a:pt x="226858" y="233558"/>
                    </a:lnTo>
                    <a:lnTo>
                      <a:pt x="228004" y="232676"/>
                    </a:lnTo>
                    <a:lnTo>
                      <a:pt x="229150" y="231178"/>
                    </a:lnTo>
                    <a:lnTo>
                      <a:pt x="229414" y="230913"/>
                    </a:lnTo>
                    <a:lnTo>
                      <a:pt x="233470" y="225623"/>
                    </a:lnTo>
                    <a:lnTo>
                      <a:pt x="234087" y="225094"/>
                    </a:lnTo>
                    <a:lnTo>
                      <a:pt x="235498" y="222449"/>
                    </a:lnTo>
                    <a:lnTo>
                      <a:pt x="238143" y="218041"/>
                    </a:lnTo>
                    <a:lnTo>
                      <a:pt x="241670" y="214249"/>
                    </a:lnTo>
                    <a:lnTo>
                      <a:pt x="242022" y="213985"/>
                    </a:lnTo>
                    <a:lnTo>
                      <a:pt x="242022" y="213720"/>
                    </a:lnTo>
                    <a:lnTo>
                      <a:pt x="242022" y="213456"/>
                    </a:lnTo>
                    <a:lnTo>
                      <a:pt x="242022" y="213191"/>
                    </a:lnTo>
                    <a:lnTo>
                      <a:pt x="242022" y="212927"/>
                    </a:lnTo>
                    <a:lnTo>
                      <a:pt x="241670" y="212927"/>
                    </a:lnTo>
                    <a:lnTo>
                      <a:pt x="242022" y="211780"/>
                    </a:lnTo>
                    <a:lnTo>
                      <a:pt x="243169" y="210017"/>
                    </a:lnTo>
                    <a:lnTo>
                      <a:pt x="243433" y="209400"/>
                    </a:lnTo>
                    <a:lnTo>
                      <a:pt x="243786" y="209400"/>
                    </a:lnTo>
                    <a:lnTo>
                      <a:pt x="244050" y="209400"/>
                    </a:lnTo>
                    <a:lnTo>
                      <a:pt x="244315" y="209664"/>
                    </a:lnTo>
                    <a:lnTo>
                      <a:pt x="244932" y="209664"/>
                    </a:lnTo>
                    <a:lnTo>
                      <a:pt x="245196" y="209664"/>
                    </a:lnTo>
                    <a:lnTo>
                      <a:pt x="246342" y="209047"/>
                    </a:lnTo>
                    <a:lnTo>
                      <a:pt x="247489" y="208166"/>
                    </a:lnTo>
                    <a:lnTo>
                      <a:pt x="248018" y="207813"/>
                    </a:lnTo>
                    <a:lnTo>
                      <a:pt x="248282" y="207548"/>
                    </a:lnTo>
                    <a:lnTo>
                      <a:pt x="248282" y="207284"/>
                    </a:lnTo>
                    <a:lnTo>
                      <a:pt x="248900" y="206755"/>
                    </a:lnTo>
                    <a:lnTo>
                      <a:pt x="249517" y="205873"/>
                    </a:lnTo>
                    <a:lnTo>
                      <a:pt x="249781" y="205873"/>
                    </a:lnTo>
                    <a:lnTo>
                      <a:pt x="250398" y="205609"/>
                    </a:lnTo>
                    <a:lnTo>
                      <a:pt x="250751" y="205256"/>
                    </a:lnTo>
                    <a:lnTo>
                      <a:pt x="251016" y="204991"/>
                    </a:lnTo>
                    <a:lnTo>
                      <a:pt x="255424" y="201729"/>
                    </a:lnTo>
                    <a:lnTo>
                      <a:pt x="255688" y="201729"/>
                    </a:lnTo>
                    <a:lnTo>
                      <a:pt x="256306" y="201200"/>
                    </a:lnTo>
                    <a:lnTo>
                      <a:pt x="256570" y="200583"/>
                    </a:lnTo>
                    <a:lnTo>
                      <a:pt x="256835" y="200319"/>
                    </a:lnTo>
                    <a:lnTo>
                      <a:pt x="257099" y="199701"/>
                    </a:lnTo>
                    <a:lnTo>
                      <a:pt x="257099" y="199084"/>
                    </a:lnTo>
                    <a:lnTo>
                      <a:pt x="257099" y="198820"/>
                    </a:lnTo>
                    <a:lnTo>
                      <a:pt x="257099" y="198203"/>
                    </a:lnTo>
                    <a:lnTo>
                      <a:pt x="257099" y="197938"/>
                    </a:lnTo>
                    <a:lnTo>
                      <a:pt x="257099" y="197674"/>
                    </a:lnTo>
                    <a:lnTo>
                      <a:pt x="256835" y="197409"/>
                    </a:lnTo>
                    <a:lnTo>
                      <a:pt x="255071" y="196880"/>
                    </a:lnTo>
                    <a:lnTo>
                      <a:pt x="254454" y="195381"/>
                    </a:lnTo>
                    <a:lnTo>
                      <a:pt x="254454" y="195028"/>
                    </a:lnTo>
                    <a:lnTo>
                      <a:pt x="255071" y="190620"/>
                    </a:lnTo>
                    <a:lnTo>
                      <a:pt x="255071" y="190356"/>
                    </a:lnTo>
                    <a:lnTo>
                      <a:pt x="254807" y="190091"/>
                    </a:lnTo>
                    <a:lnTo>
                      <a:pt x="254807" y="189827"/>
                    </a:lnTo>
                    <a:lnTo>
                      <a:pt x="254807" y="189474"/>
                    </a:lnTo>
                    <a:lnTo>
                      <a:pt x="254454" y="187711"/>
                    </a:lnTo>
                    <a:lnTo>
                      <a:pt x="254454" y="187446"/>
                    </a:lnTo>
                    <a:lnTo>
                      <a:pt x="254454" y="186829"/>
                    </a:lnTo>
                    <a:lnTo>
                      <a:pt x="254454" y="186212"/>
                    </a:lnTo>
                    <a:lnTo>
                      <a:pt x="254454" y="185683"/>
                    </a:lnTo>
                    <a:lnTo>
                      <a:pt x="255336" y="182156"/>
                    </a:lnTo>
                    <a:lnTo>
                      <a:pt x="256482" y="178982"/>
                    </a:lnTo>
                    <a:lnTo>
                      <a:pt x="258510" y="175808"/>
                    </a:lnTo>
                    <a:lnTo>
                      <a:pt x="258775" y="175808"/>
                    </a:lnTo>
                    <a:lnTo>
                      <a:pt x="259392" y="175191"/>
                    </a:lnTo>
                    <a:lnTo>
                      <a:pt x="259392" y="174926"/>
                    </a:lnTo>
                    <a:lnTo>
                      <a:pt x="261419" y="173515"/>
                    </a:lnTo>
                    <a:lnTo>
                      <a:pt x="261684" y="172898"/>
                    </a:lnTo>
                    <a:lnTo>
                      <a:pt x="262301" y="172634"/>
                    </a:lnTo>
                    <a:lnTo>
                      <a:pt x="263183" y="172017"/>
                    </a:lnTo>
                    <a:lnTo>
                      <a:pt x="263447" y="172017"/>
                    </a:lnTo>
                    <a:lnTo>
                      <a:pt x="264858" y="172017"/>
                    </a:lnTo>
                    <a:lnTo>
                      <a:pt x="266004" y="172017"/>
                    </a:lnTo>
                    <a:lnTo>
                      <a:pt x="266004" y="171752"/>
                    </a:lnTo>
                    <a:lnTo>
                      <a:pt x="265475" y="169989"/>
                    </a:lnTo>
                    <a:lnTo>
                      <a:pt x="265475" y="169636"/>
                    </a:lnTo>
                    <a:lnTo>
                      <a:pt x="265475" y="169371"/>
                    </a:lnTo>
                    <a:lnTo>
                      <a:pt x="265475" y="169107"/>
                    </a:lnTo>
                    <a:lnTo>
                      <a:pt x="266357" y="167961"/>
                    </a:lnTo>
                    <a:lnTo>
                      <a:pt x="266621" y="167696"/>
                    </a:lnTo>
                    <a:lnTo>
                      <a:pt x="266974" y="167696"/>
                    </a:lnTo>
                    <a:lnTo>
                      <a:pt x="267238" y="167696"/>
                    </a:lnTo>
                    <a:lnTo>
                      <a:pt x="267503" y="167961"/>
                    </a:lnTo>
                    <a:lnTo>
                      <a:pt x="267503" y="168225"/>
                    </a:lnTo>
                    <a:lnTo>
                      <a:pt x="267856" y="168225"/>
                    </a:lnTo>
                    <a:lnTo>
                      <a:pt x="268120" y="168225"/>
                    </a:lnTo>
                    <a:lnTo>
                      <a:pt x="269002" y="167961"/>
                    </a:lnTo>
                    <a:lnTo>
                      <a:pt x="270765" y="167079"/>
                    </a:lnTo>
                    <a:lnTo>
                      <a:pt x="271030" y="166462"/>
                    </a:lnTo>
                    <a:lnTo>
                      <a:pt x="270413" y="165845"/>
                    </a:lnTo>
                    <a:lnTo>
                      <a:pt x="270413" y="165580"/>
                    </a:lnTo>
                    <a:lnTo>
                      <a:pt x="271294" y="163200"/>
                    </a:lnTo>
                    <a:lnTo>
                      <a:pt x="271559" y="162935"/>
                    </a:lnTo>
                    <a:lnTo>
                      <a:pt x="271823" y="162671"/>
                    </a:lnTo>
                    <a:lnTo>
                      <a:pt x="272088" y="162318"/>
                    </a:lnTo>
                    <a:lnTo>
                      <a:pt x="272352" y="162318"/>
                    </a:lnTo>
                    <a:lnTo>
                      <a:pt x="272617" y="162318"/>
                    </a:lnTo>
                    <a:lnTo>
                      <a:pt x="272881" y="162318"/>
                    </a:lnTo>
                    <a:lnTo>
                      <a:pt x="273146" y="162054"/>
                    </a:lnTo>
                    <a:lnTo>
                      <a:pt x="274292" y="160907"/>
                    </a:lnTo>
                    <a:lnTo>
                      <a:pt x="274645" y="160643"/>
                    </a:lnTo>
                    <a:lnTo>
                      <a:pt x="274645" y="160378"/>
                    </a:lnTo>
                    <a:lnTo>
                      <a:pt x="274645" y="159761"/>
                    </a:lnTo>
                    <a:lnTo>
                      <a:pt x="274909" y="159409"/>
                    </a:lnTo>
                    <a:lnTo>
                      <a:pt x="274909" y="159144"/>
                    </a:lnTo>
                    <a:lnTo>
                      <a:pt x="275526" y="158527"/>
                    </a:lnTo>
                    <a:lnTo>
                      <a:pt x="277025" y="157910"/>
                    </a:lnTo>
                    <a:lnTo>
                      <a:pt x="278436" y="159409"/>
                    </a:lnTo>
                    <a:lnTo>
                      <a:pt x="278436" y="159761"/>
                    </a:lnTo>
                    <a:lnTo>
                      <a:pt x="278172" y="159761"/>
                    </a:lnTo>
                    <a:lnTo>
                      <a:pt x="277819" y="160026"/>
                    </a:lnTo>
                    <a:lnTo>
                      <a:pt x="277819" y="160378"/>
                    </a:lnTo>
                    <a:lnTo>
                      <a:pt x="277554" y="160378"/>
                    </a:lnTo>
                    <a:lnTo>
                      <a:pt x="277201" y="160026"/>
                    </a:lnTo>
                    <a:lnTo>
                      <a:pt x="276937" y="160026"/>
                    </a:lnTo>
                    <a:lnTo>
                      <a:pt x="276672" y="160026"/>
                    </a:lnTo>
                    <a:lnTo>
                      <a:pt x="276672" y="160378"/>
                    </a:lnTo>
                    <a:lnTo>
                      <a:pt x="275526" y="162671"/>
                    </a:lnTo>
                    <a:lnTo>
                      <a:pt x="275526" y="162935"/>
                    </a:lnTo>
                    <a:lnTo>
                      <a:pt x="275791" y="163817"/>
                    </a:lnTo>
                    <a:lnTo>
                      <a:pt x="276672" y="164963"/>
                    </a:lnTo>
                    <a:lnTo>
                      <a:pt x="277201" y="165227"/>
                    </a:lnTo>
                    <a:lnTo>
                      <a:pt x="277554" y="165492"/>
                    </a:lnTo>
                    <a:lnTo>
                      <a:pt x="278172" y="166109"/>
                    </a:lnTo>
                    <a:lnTo>
                      <a:pt x="278172" y="167873"/>
                    </a:lnTo>
                    <a:lnTo>
                      <a:pt x="279317" y="171928"/>
                    </a:lnTo>
                    <a:lnTo>
                      <a:pt x="280728" y="176337"/>
                    </a:lnTo>
                    <a:lnTo>
                      <a:pt x="281875" y="179246"/>
                    </a:lnTo>
                    <a:lnTo>
                      <a:pt x="282756" y="181539"/>
                    </a:lnTo>
                    <a:lnTo>
                      <a:pt x="283373" y="183302"/>
                    </a:lnTo>
                    <a:lnTo>
                      <a:pt x="284255" y="185330"/>
                    </a:lnTo>
                    <a:lnTo>
                      <a:pt x="284520" y="185683"/>
                    </a:lnTo>
                    <a:lnTo>
                      <a:pt x="284520" y="185947"/>
                    </a:lnTo>
                    <a:lnTo>
                      <a:pt x="284872" y="187975"/>
                    </a:lnTo>
                    <a:lnTo>
                      <a:pt x="284872" y="187711"/>
                    </a:lnTo>
                    <a:lnTo>
                      <a:pt x="285137" y="187446"/>
                    </a:lnTo>
                    <a:lnTo>
                      <a:pt x="285401" y="185683"/>
                    </a:lnTo>
                    <a:lnTo>
                      <a:pt x="285137" y="184801"/>
                    </a:lnTo>
                    <a:lnTo>
                      <a:pt x="285137" y="184448"/>
                    </a:lnTo>
                    <a:lnTo>
                      <a:pt x="285137" y="184184"/>
                    </a:lnTo>
                    <a:lnTo>
                      <a:pt x="285401" y="182156"/>
                    </a:lnTo>
                    <a:lnTo>
                      <a:pt x="287164" y="178365"/>
                    </a:lnTo>
                    <a:lnTo>
                      <a:pt x="287429" y="178100"/>
                    </a:lnTo>
                    <a:lnTo>
                      <a:pt x="286812" y="175191"/>
                    </a:lnTo>
                    <a:lnTo>
                      <a:pt x="286812" y="174662"/>
                    </a:lnTo>
                    <a:lnTo>
                      <a:pt x="286812" y="174044"/>
                    </a:lnTo>
                    <a:lnTo>
                      <a:pt x="287076" y="174044"/>
                    </a:lnTo>
                    <a:lnTo>
                      <a:pt x="287076" y="173780"/>
                    </a:lnTo>
                    <a:lnTo>
                      <a:pt x="287341" y="173251"/>
                    </a:lnTo>
                    <a:lnTo>
                      <a:pt x="287605" y="172898"/>
                    </a:lnTo>
                    <a:lnTo>
                      <a:pt x="288751" y="172898"/>
                    </a:lnTo>
                    <a:lnTo>
                      <a:pt x="289898" y="174662"/>
                    </a:lnTo>
                    <a:lnTo>
                      <a:pt x="290427" y="175808"/>
                    </a:lnTo>
                    <a:lnTo>
                      <a:pt x="290691" y="176425"/>
                    </a:lnTo>
                    <a:lnTo>
                      <a:pt x="290691" y="176690"/>
                    </a:lnTo>
                    <a:lnTo>
                      <a:pt x="291838" y="178188"/>
                    </a:lnTo>
                    <a:lnTo>
                      <a:pt x="292102" y="178453"/>
                    </a:lnTo>
                    <a:lnTo>
                      <a:pt x="292367" y="178453"/>
                    </a:lnTo>
                    <a:lnTo>
                      <a:pt x="292631" y="178717"/>
                    </a:lnTo>
                    <a:lnTo>
                      <a:pt x="292896" y="178453"/>
                    </a:lnTo>
                    <a:lnTo>
                      <a:pt x="293160" y="178453"/>
                    </a:lnTo>
                    <a:lnTo>
                      <a:pt x="293160" y="178188"/>
                    </a:lnTo>
                    <a:lnTo>
                      <a:pt x="292543" y="177924"/>
                    </a:lnTo>
                    <a:lnTo>
                      <a:pt x="292278" y="177924"/>
                    </a:lnTo>
                    <a:lnTo>
                      <a:pt x="291661" y="176778"/>
                    </a:lnTo>
                    <a:lnTo>
                      <a:pt x="291661" y="176513"/>
                    </a:lnTo>
                    <a:lnTo>
                      <a:pt x="291661" y="176249"/>
                    </a:lnTo>
                    <a:lnTo>
                      <a:pt x="291397" y="174221"/>
                    </a:lnTo>
                    <a:lnTo>
                      <a:pt x="291397" y="173339"/>
                    </a:lnTo>
                    <a:lnTo>
                      <a:pt x="291397" y="172986"/>
                    </a:lnTo>
                    <a:lnTo>
                      <a:pt x="292543" y="171840"/>
                    </a:lnTo>
                    <a:lnTo>
                      <a:pt x="294042" y="170694"/>
                    </a:lnTo>
                    <a:lnTo>
                      <a:pt x="293425" y="170077"/>
                    </a:lnTo>
                    <a:lnTo>
                      <a:pt x="291661" y="170694"/>
                    </a:lnTo>
                    <a:lnTo>
                      <a:pt x="291397" y="170694"/>
                    </a:lnTo>
                    <a:lnTo>
                      <a:pt x="291132" y="170341"/>
                    </a:lnTo>
                    <a:lnTo>
                      <a:pt x="291132" y="170077"/>
                    </a:lnTo>
                    <a:lnTo>
                      <a:pt x="290515" y="168049"/>
                    </a:lnTo>
                    <a:lnTo>
                      <a:pt x="288751" y="165139"/>
                    </a:lnTo>
                    <a:lnTo>
                      <a:pt x="289369" y="162494"/>
                    </a:lnTo>
                    <a:lnTo>
                      <a:pt x="287870" y="162494"/>
                    </a:lnTo>
                    <a:lnTo>
                      <a:pt x="286989" y="162494"/>
                    </a:lnTo>
                    <a:lnTo>
                      <a:pt x="286724" y="162494"/>
                    </a:lnTo>
                    <a:lnTo>
                      <a:pt x="286195" y="161613"/>
                    </a:lnTo>
                    <a:lnTo>
                      <a:pt x="285578" y="160996"/>
                    </a:lnTo>
                    <a:lnTo>
                      <a:pt x="285578" y="160731"/>
                    </a:lnTo>
                    <a:lnTo>
                      <a:pt x="286989" y="160731"/>
                    </a:lnTo>
                    <a:lnTo>
                      <a:pt x="288487" y="160996"/>
                    </a:lnTo>
                    <a:lnTo>
                      <a:pt x="289369" y="161613"/>
                    </a:lnTo>
                    <a:lnTo>
                      <a:pt x="289722" y="161613"/>
                    </a:lnTo>
                    <a:lnTo>
                      <a:pt x="289986" y="161613"/>
                    </a:lnTo>
                    <a:lnTo>
                      <a:pt x="292014" y="158968"/>
                    </a:lnTo>
                    <a:lnTo>
                      <a:pt x="292278" y="157821"/>
                    </a:lnTo>
                    <a:lnTo>
                      <a:pt x="292278" y="156940"/>
                    </a:lnTo>
                    <a:lnTo>
                      <a:pt x="292014" y="156675"/>
                    </a:lnTo>
                    <a:lnTo>
                      <a:pt x="291749" y="156675"/>
                    </a:lnTo>
                    <a:lnTo>
                      <a:pt x="291485" y="156675"/>
                    </a:lnTo>
                    <a:lnTo>
                      <a:pt x="290074" y="156411"/>
                    </a:lnTo>
                    <a:lnTo>
                      <a:pt x="289809" y="156146"/>
                    </a:lnTo>
                    <a:lnTo>
                      <a:pt x="289457" y="155529"/>
                    </a:lnTo>
                    <a:lnTo>
                      <a:pt x="289457" y="153501"/>
                    </a:lnTo>
                    <a:lnTo>
                      <a:pt x="289809" y="153237"/>
                    </a:lnTo>
                    <a:lnTo>
                      <a:pt x="290074" y="152972"/>
                    </a:lnTo>
                    <a:lnTo>
                      <a:pt x="290074" y="152708"/>
                    </a:lnTo>
                    <a:lnTo>
                      <a:pt x="290603" y="152443"/>
                    </a:lnTo>
                    <a:lnTo>
                      <a:pt x="290867" y="152443"/>
                    </a:lnTo>
                    <a:lnTo>
                      <a:pt x="293513" y="151826"/>
                    </a:lnTo>
                    <a:lnTo>
                      <a:pt x="294923" y="153237"/>
                    </a:lnTo>
                    <a:lnTo>
                      <a:pt x="294923" y="153501"/>
                    </a:lnTo>
                    <a:lnTo>
                      <a:pt x="294306" y="154647"/>
                    </a:lnTo>
                    <a:lnTo>
                      <a:pt x="293160" y="154647"/>
                    </a:lnTo>
                    <a:lnTo>
                      <a:pt x="293160" y="155000"/>
                    </a:lnTo>
                    <a:lnTo>
                      <a:pt x="294923" y="157645"/>
                    </a:lnTo>
                    <a:lnTo>
                      <a:pt x="296070" y="157910"/>
                    </a:lnTo>
                    <a:lnTo>
                      <a:pt x="296070" y="157028"/>
                    </a:lnTo>
                    <a:lnTo>
                      <a:pt x="296334" y="156763"/>
                    </a:lnTo>
                    <a:lnTo>
                      <a:pt x="298097" y="154735"/>
                    </a:lnTo>
                    <a:lnTo>
                      <a:pt x="300390" y="155088"/>
                    </a:lnTo>
                    <a:lnTo>
                      <a:pt x="300743" y="155088"/>
                    </a:lnTo>
                    <a:lnTo>
                      <a:pt x="301359" y="155353"/>
                    </a:lnTo>
                    <a:lnTo>
                      <a:pt x="301712" y="155617"/>
                    </a:lnTo>
                    <a:lnTo>
                      <a:pt x="302241" y="155882"/>
                    </a:lnTo>
                    <a:lnTo>
                      <a:pt x="302241" y="156146"/>
                    </a:lnTo>
                    <a:lnTo>
                      <a:pt x="302506" y="156763"/>
                    </a:lnTo>
                    <a:lnTo>
                      <a:pt x="302506" y="157645"/>
                    </a:lnTo>
                    <a:lnTo>
                      <a:pt x="302859" y="157910"/>
                    </a:lnTo>
                    <a:lnTo>
                      <a:pt x="302859" y="158174"/>
                    </a:lnTo>
                    <a:lnTo>
                      <a:pt x="302859" y="158439"/>
                    </a:lnTo>
                    <a:lnTo>
                      <a:pt x="303123" y="158439"/>
                    </a:lnTo>
                    <a:lnTo>
                      <a:pt x="303476" y="158439"/>
                    </a:lnTo>
                    <a:lnTo>
                      <a:pt x="305239" y="158703"/>
                    </a:lnTo>
                    <a:lnTo>
                      <a:pt x="305592" y="158439"/>
                    </a:lnTo>
                    <a:lnTo>
                      <a:pt x="305856" y="158174"/>
                    </a:lnTo>
                    <a:lnTo>
                      <a:pt x="306738" y="157292"/>
                    </a:lnTo>
                    <a:lnTo>
                      <a:pt x="306738" y="157028"/>
                    </a:lnTo>
                    <a:lnTo>
                      <a:pt x="307002" y="157028"/>
                    </a:lnTo>
                    <a:lnTo>
                      <a:pt x="307002" y="157292"/>
                    </a:lnTo>
                    <a:lnTo>
                      <a:pt x="307531" y="157645"/>
                    </a:lnTo>
                    <a:lnTo>
                      <a:pt x="308678" y="158174"/>
                    </a:lnTo>
                    <a:lnTo>
                      <a:pt x="310705" y="158439"/>
                    </a:lnTo>
                    <a:lnTo>
                      <a:pt x="310970" y="158439"/>
                    </a:lnTo>
                    <a:lnTo>
                      <a:pt x="312734" y="158174"/>
                    </a:lnTo>
                    <a:lnTo>
                      <a:pt x="313880" y="157910"/>
                    </a:lnTo>
                    <a:lnTo>
                      <a:pt x="314144" y="157910"/>
                    </a:lnTo>
                    <a:lnTo>
                      <a:pt x="314409" y="157910"/>
                    </a:lnTo>
                    <a:lnTo>
                      <a:pt x="314673" y="158174"/>
                    </a:lnTo>
                    <a:lnTo>
                      <a:pt x="316172" y="159056"/>
                    </a:lnTo>
                    <a:lnTo>
                      <a:pt x="316436" y="159056"/>
                    </a:lnTo>
                    <a:lnTo>
                      <a:pt x="317318" y="158791"/>
                    </a:lnTo>
                    <a:lnTo>
                      <a:pt x="317583" y="158791"/>
                    </a:lnTo>
                    <a:lnTo>
                      <a:pt x="317583" y="158527"/>
                    </a:lnTo>
                    <a:lnTo>
                      <a:pt x="317318" y="158527"/>
                    </a:lnTo>
                    <a:lnTo>
                      <a:pt x="317054" y="158527"/>
                    </a:lnTo>
                    <a:lnTo>
                      <a:pt x="316436" y="158527"/>
                    </a:lnTo>
                    <a:lnTo>
                      <a:pt x="316172" y="158527"/>
                    </a:lnTo>
                    <a:lnTo>
                      <a:pt x="315907" y="158527"/>
                    </a:lnTo>
                    <a:lnTo>
                      <a:pt x="314409" y="157998"/>
                    </a:lnTo>
                    <a:lnTo>
                      <a:pt x="313527" y="157381"/>
                    </a:lnTo>
                    <a:lnTo>
                      <a:pt x="313527" y="157116"/>
                    </a:lnTo>
                    <a:lnTo>
                      <a:pt x="313174" y="157116"/>
                    </a:lnTo>
                    <a:lnTo>
                      <a:pt x="311764" y="156852"/>
                    </a:lnTo>
                    <a:lnTo>
                      <a:pt x="311764" y="156587"/>
                    </a:lnTo>
                    <a:lnTo>
                      <a:pt x="310618" y="156587"/>
                    </a:lnTo>
                    <a:lnTo>
                      <a:pt x="310353" y="156587"/>
                    </a:lnTo>
                    <a:lnTo>
                      <a:pt x="309471" y="156852"/>
                    </a:lnTo>
                    <a:lnTo>
                      <a:pt x="309118" y="156852"/>
                    </a:lnTo>
                    <a:lnTo>
                      <a:pt x="308854" y="157116"/>
                    </a:lnTo>
                    <a:lnTo>
                      <a:pt x="307708" y="157116"/>
                    </a:lnTo>
                    <a:lnTo>
                      <a:pt x="307355" y="157116"/>
                    </a:lnTo>
                    <a:lnTo>
                      <a:pt x="307091" y="156852"/>
                    </a:lnTo>
                    <a:lnTo>
                      <a:pt x="306826" y="155705"/>
                    </a:lnTo>
                    <a:lnTo>
                      <a:pt x="307091" y="154295"/>
                    </a:lnTo>
                    <a:lnTo>
                      <a:pt x="307355" y="153148"/>
                    </a:lnTo>
                    <a:lnTo>
                      <a:pt x="307708" y="152884"/>
                    </a:lnTo>
                    <a:lnTo>
                      <a:pt x="308589" y="151121"/>
                    </a:lnTo>
                    <a:lnTo>
                      <a:pt x="309471" y="151121"/>
                    </a:lnTo>
                    <a:lnTo>
                      <a:pt x="310089" y="152267"/>
                    </a:lnTo>
                    <a:lnTo>
                      <a:pt x="310089" y="152796"/>
                    </a:lnTo>
                    <a:lnTo>
                      <a:pt x="310353" y="152796"/>
                    </a:lnTo>
                    <a:lnTo>
                      <a:pt x="312116" y="151297"/>
                    </a:lnTo>
                    <a:lnTo>
                      <a:pt x="312381" y="149269"/>
                    </a:lnTo>
                    <a:lnTo>
                      <a:pt x="312998" y="147506"/>
                    </a:lnTo>
                    <a:lnTo>
                      <a:pt x="313263" y="146624"/>
                    </a:lnTo>
                    <a:lnTo>
                      <a:pt x="314761" y="145125"/>
                    </a:lnTo>
                    <a:lnTo>
                      <a:pt x="316260" y="143891"/>
                    </a:lnTo>
                    <a:lnTo>
                      <a:pt x="316260" y="143626"/>
                    </a:lnTo>
                    <a:lnTo>
                      <a:pt x="315731" y="143362"/>
                    </a:lnTo>
                    <a:lnTo>
                      <a:pt x="315114" y="143097"/>
                    </a:lnTo>
                    <a:lnTo>
                      <a:pt x="315114" y="143362"/>
                    </a:lnTo>
                    <a:lnTo>
                      <a:pt x="314232" y="143362"/>
                    </a:lnTo>
                    <a:lnTo>
                      <a:pt x="313968" y="143626"/>
                    </a:lnTo>
                    <a:lnTo>
                      <a:pt x="313703" y="143626"/>
                    </a:lnTo>
                    <a:lnTo>
                      <a:pt x="312822" y="144773"/>
                    </a:lnTo>
                    <a:lnTo>
                      <a:pt x="312469" y="145390"/>
                    </a:lnTo>
                    <a:lnTo>
                      <a:pt x="312205" y="146007"/>
                    </a:lnTo>
                    <a:lnTo>
                      <a:pt x="311587" y="146889"/>
                    </a:lnTo>
                    <a:lnTo>
                      <a:pt x="310705" y="146889"/>
                    </a:lnTo>
                    <a:lnTo>
                      <a:pt x="308942" y="145390"/>
                    </a:lnTo>
                    <a:lnTo>
                      <a:pt x="308942" y="144773"/>
                    </a:lnTo>
                    <a:lnTo>
                      <a:pt x="308942" y="141863"/>
                    </a:lnTo>
                    <a:lnTo>
                      <a:pt x="308942" y="140452"/>
                    </a:lnTo>
                    <a:lnTo>
                      <a:pt x="309207" y="140188"/>
                    </a:lnTo>
                    <a:lnTo>
                      <a:pt x="311235" y="135779"/>
                    </a:lnTo>
                    <a:lnTo>
                      <a:pt x="311499" y="135515"/>
                    </a:lnTo>
                    <a:lnTo>
                      <a:pt x="311852" y="135515"/>
                    </a:lnTo>
                    <a:lnTo>
                      <a:pt x="312116" y="135250"/>
                    </a:lnTo>
                    <a:lnTo>
                      <a:pt x="312381" y="135250"/>
                    </a:lnTo>
                    <a:lnTo>
                      <a:pt x="313263" y="135515"/>
                    </a:lnTo>
                    <a:lnTo>
                      <a:pt x="313263" y="135779"/>
                    </a:lnTo>
                    <a:lnTo>
                      <a:pt x="313263" y="136044"/>
                    </a:lnTo>
                    <a:lnTo>
                      <a:pt x="314144" y="136573"/>
                    </a:lnTo>
                    <a:lnTo>
                      <a:pt x="314144" y="136308"/>
                    </a:lnTo>
                    <a:lnTo>
                      <a:pt x="314761" y="136308"/>
                    </a:lnTo>
                    <a:lnTo>
                      <a:pt x="315907" y="135427"/>
                    </a:lnTo>
                    <a:lnTo>
                      <a:pt x="316525" y="134810"/>
                    </a:lnTo>
                    <a:lnTo>
                      <a:pt x="316260" y="134810"/>
                    </a:lnTo>
                    <a:lnTo>
                      <a:pt x="316525" y="132164"/>
                    </a:lnTo>
                    <a:lnTo>
                      <a:pt x="316789" y="130401"/>
                    </a:lnTo>
                    <a:lnTo>
                      <a:pt x="316789" y="130137"/>
                    </a:lnTo>
                    <a:lnTo>
                      <a:pt x="316789" y="129872"/>
                    </a:lnTo>
                    <a:lnTo>
                      <a:pt x="317054" y="129872"/>
                    </a:lnTo>
                    <a:lnTo>
                      <a:pt x="317671" y="129872"/>
                    </a:lnTo>
                    <a:lnTo>
                      <a:pt x="317935" y="129872"/>
                    </a:lnTo>
                    <a:lnTo>
                      <a:pt x="321726" y="132517"/>
                    </a:lnTo>
                    <a:lnTo>
                      <a:pt x="322344" y="133134"/>
                    </a:lnTo>
                    <a:lnTo>
                      <a:pt x="323226" y="134016"/>
                    </a:lnTo>
                    <a:lnTo>
                      <a:pt x="323490" y="134281"/>
                    </a:lnTo>
                    <a:lnTo>
                      <a:pt x="323490" y="134545"/>
                    </a:lnTo>
                    <a:lnTo>
                      <a:pt x="327017" y="136573"/>
                    </a:lnTo>
                    <a:lnTo>
                      <a:pt x="327017" y="136308"/>
                    </a:lnTo>
                    <a:lnTo>
                      <a:pt x="327017" y="136044"/>
                    </a:lnTo>
                    <a:lnTo>
                      <a:pt x="325871" y="135162"/>
                    </a:lnTo>
                    <a:lnTo>
                      <a:pt x="325606" y="134898"/>
                    </a:lnTo>
                    <a:lnTo>
                      <a:pt x="325253" y="134633"/>
                    </a:lnTo>
                    <a:lnTo>
                      <a:pt x="325253" y="134369"/>
                    </a:lnTo>
                    <a:lnTo>
                      <a:pt x="324989" y="134369"/>
                    </a:lnTo>
                    <a:lnTo>
                      <a:pt x="324989" y="134104"/>
                    </a:lnTo>
                    <a:lnTo>
                      <a:pt x="325253" y="133840"/>
                    </a:lnTo>
                    <a:lnTo>
                      <a:pt x="325606" y="132693"/>
                    </a:lnTo>
                    <a:lnTo>
                      <a:pt x="325871" y="132429"/>
                    </a:lnTo>
                    <a:lnTo>
                      <a:pt x="326223" y="132076"/>
                    </a:lnTo>
                    <a:lnTo>
                      <a:pt x="326488" y="132076"/>
                    </a:lnTo>
                    <a:lnTo>
                      <a:pt x="326488" y="131459"/>
                    </a:lnTo>
                    <a:lnTo>
                      <a:pt x="326223" y="131195"/>
                    </a:lnTo>
                    <a:lnTo>
                      <a:pt x="325871" y="131195"/>
                    </a:lnTo>
                    <a:lnTo>
                      <a:pt x="324107" y="131195"/>
                    </a:lnTo>
                    <a:lnTo>
                      <a:pt x="323490" y="131459"/>
                    </a:lnTo>
                    <a:lnTo>
                      <a:pt x="323226" y="131812"/>
                    </a:lnTo>
                    <a:lnTo>
                      <a:pt x="322961" y="131812"/>
                    </a:lnTo>
                    <a:lnTo>
                      <a:pt x="322344" y="132076"/>
                    </a:lnTo>
                    <a:lnTo>
                      <a:pt x="322079" y="132429"/>
                    </a:lnTo>
                    <a:lnTo>
                      <a:pt x="322079" y="132076"/>
                    </a:lnTo>
                    <a:lnTo>
                      <a:pt x="321815" y="132076"/>
                    </a:lnTo>
                    <a:lnTo>
                      <a:pt x="321815" y="130930"/>
                    </a:lnTo>
                    <a:lnTo>
                      <a:pt x="321815" y="130666"/>
                    </a:lnTo>
                    <a:lnTo>
                      <a:pt x="322079" y="130666"/>
                    </a:lnTo>
                    <a:lnTo>
                      <a:pt x="322961" y="129519"/>
                    </a:lnTo>
                    <a:lnTo>
                      <a:pt x="323490" y="128902"/>
                    </a:lnTo>
                    <a:lnTo>
                      <a:pt x="323755" y="128902"/>
                    </a:lnTo>
                    <a:lnTo>
                      <a:pt x="323755" y="129167"/>
                    </a:lnTo>
                    <a:lnTo>
                      <a:pt x="324019" y="129167"/>
                    </a:lnTo>
                    <a:lnTo>
                      <a:pt x="324019" y="129431"/>
                    </a:lnTo>
                    <a:lnTo>
                      <a:pt x="324284" y="129431"/>
                    </a:lnTo>
                    <a:lnTo>
                      <a:pt x="325518" y="127932"/>
                    </a:lnTo>
                    <a:lnTo>
                      <a:pt x="325518" y="127668"/>
                    </a:lnTo>
                    <a:lnTo>
                      <a:pt x="325165" y="127668"/>
                    </a:lnTo>
                    <a:lnTo>
                      <a:pt x="324548" y="127668"/>
                    </a:lnTo>
                    <a:lnTo>
                      <a:pt x="322785" y="128814"/>
                    </a:lnTo>
                    <a:lnTo>
                      <a:pt x="322520" y="128814"/>
                    </a:lnTo>
                    <a:lnTo>
                      <a:pt x="321903" y="129431"/>
                    </a:lnTo>
                    <a:lnTo>
                      <a:pt x="321639" y="129431"/>
                    </a:lnTo>
                    <a:lnTo>
                      <a:pt x="321639" y="129696"/>
                    </a:lnTo>
                    <a:lnTo>
                      <a:pt x="321374" y="129696"/>
                    </a:lnTo>
                    <a:lnTo>
                      <a:pt x="321021" y="129696"/>
                    </a:lnTo>
                    <a:lnTo>
                      <a:pt x="320492" y="127932"/>
                    </a:lnTo>
                    <a:lnTo>
                      <a:pt x="320492" y="127668"/>
                    </a:lnTo>
                    <a:lnTo>
                      <a:pt x="321374" y="126786"/>
                    </a:lnTo>
                    <a:lnTo>
                      <a:pt x="322256" y="126169"/>
                    </a:lnTo>
                    <a:lnTo>
                      <a:pt x="322520" y="126169"/>
                    </a:lnTo>
                    <a:lnTo>
                      <a:pt x="323666" y="126433"/>
                    </a:lnTo>
                    <a:lnTo>
                      <a:pt x="323931" y="126433"/>
                    </a:lnTo>
                    <a:lnTo>
                      <a:pt x="325077" y="125816"/>
                    </a:lnTo>
                    <a:lnTo>
                      <a:pt x="325430" y="125552"/>
                    </a:lnTo>
                    <a:lnTo>
                      <a:pt x="325430" y="125287"/>
                    </a:lnTo>
                    <a:lnTo>
                      <a:pt x="325077" y="124670"/>
                    </a:lnTo>
                    <a:lnTo>
                      <a:pt x="326488" y="123524"/>
                    </a:lnTo>
                    <a:lnTo>
                      <a:pt x="327369" y="127315"/>
                    </a:lnTo>
                    <a:lnTo>
                      <a:pt x="327634" y="127580"/>
                    </a:lnTo>
                    <a:lnTo>
                      <a:pt x="327898" y="127580"/>
                    </a:lnTo>
                    <a:lnTo>
                      <a:pt x="328163" y="126698"/>
                    </a:lnTo>
                    <a:lnTo>
                      <a:pt x="328163" y="126433"/>
                    </a:lnTo>
                    <a:lnTo>
                      <a:pt x="327898" y="125552"/>
                    </a:lnTo>
                    <a:lnTo>
                      <a:pt x="328163" y="124406"/>
                    </a:lnTo>
                    <a:lnTo>
                      <a:pt x="329309" y="125287"/>
                    </a:lnTo>
                    <a:lnTo>
                      <a:pt x="329926" y="125552"/>
                    </a:lnTo>
                    <a:lnTo>
                      <a:pt x="330191" y="126169"/>
                    </a:lnTo>
                    <a:lnTo>
                      <a:pt x="330455" y="126169"/>
                    </a:lnTo>
                    <a:lnTo>
                      <a:pt x="330191" y="127051"/>
                    </a:lnTo>
                    <a:lnTo>
                      <a:pt x="330455" y="127403"/>
                    </a:lnTo>
                    <a:lnTo>
                      <a:pt x="330808" y="127668"/>
                    </a:lnTo>
                    <a:lnTo>
                      <a:pt x="331073" y="127668"/>
                    </a:lnTo>
                    <a:lnTo>
                      <a:pt x="331337" y="127668"/>
                    </a:lnTo>
                    <a:lnTo>
                      <a:pt x="332747" y="127668"/>
                    </a:lnTo>
                    <a:lnTo>
                      <a:pt x="333365" y="127403"/>
                    </a:lnTo>
                    <a:lnTo>
                      <a:pt x="333629" y="127051"/>
                    </a:lnTo>
                    <a:lnTo>
                      <a:pt x="333629" y="126786"/>
                    </a:lnTo>
                    <a:lnTo>
                      <a:pt x="333365" y="126522"/>
                    </a:lnTo>
                    <a:lnTo>
                      <a:pt x="333100" y="126786"/>
                    </a:lnTo>
                    <a:lnTo>
                      <a:pt x="332747" y="126786"/>
                    </a:lnTo>
                    <a:lnTo>
                      <a:pt x="332483" y="126786"/>
                    </a:lnTo>
                    <a:lnTo>
                      <a:pt x="332218" y="126522"/>
                    </a:lnTo>
                    <a:lnTo>
                      <a:pt x="332218" y="126257"/>
                    </a:lnTo>
                    <a:lnTo>
                      <a:pt x="332747" y="125640"/>
                    </a:lnTo>
                    <a:lnTo>
                      <a:pt x="332483" y="125111"/>
                    </a:lnTo>
                    <a:lnTo>
                      <a:pt x="330720" y="123612"/>
                    </a:lnTo>
                    <a:lnTo>
                      <a:pt x="328692" y="122731"/>
                    </a:lnTo>
                    <a:lnTo>
                      <a:pt x="328692" y="122466"/>
                    </a:lnTo>
                    <a:lnTo>
                      <a:pt x="328956" y="122466"/>
                    </a:lnTo>
                    <a:lnTo>
                      <a:pt x="329485" y="121584"/>
                    </a:lnTo>
                    <a:lnTo>
                      <a:pt x="330102" y="121320"/>
                    </a:lnTo>
                    <a:lnTo>
                      <a:pt x="329485" y="120174"/>
                    </a:lnTo>
                    <a:lnTo>
                      <a:pt x="328339" y="117881"/>
                    </a:lnTo>
                    <a:lnTo>
                      <a:pt x="328339" y="117617"/>
                    </a:lnTo>
                    <a:lnTo>
                      <a:pt x="328692" y="117352"/>
                    </a:lnTo>
                    <a:lnTo>
                      <a:pt x="331337" y="113825"/>
                    </a:lnTo>
                    <a:lnTo>
                      <a:pt x="331954" y="113473"/>
                    </a:lnTo>
                    <a:lnTo>
                      <a:pt x="333718" y="111974"/>
                    </a:lnTo>
                    <a:lnTo>
                      <a:pt x="334599" y="112591"/>
                    </a:lnTo>
                    <a:lnTo>
                      <a:pt x="337861" y="112855"/>
                    </a:lnTo>
                    <a:lnTo>
                      <a:pt x="338126" y="112855"/>
                    </a:lnTo>
                    <a:lnTo>
                      <a:pt x="338390" y="112855"/>
                    </a:lnTo>
                    <a:lnTo>
                      <a:pt x="339008" y="112591"/>
                    </a:lnTo>
                    <a:lnTo>
                      <a:pt x="339272" y="111180"/>
                    </a:lnTo>
                    <a:lnTo>
                      <a:pt x="339537" y="109681"/>
                    </a:lnTo>
                    <a:lnTo>
                      <a:pt x="339537" y="106772"/>
                    </a:lnTo>
                    <a:lnTo>
                      <a:pt x="339537" y="106419"/>
                    </a:lnTo>
                    <a:lnTo>
                      <a:pt x="339801" y="105538"/>
                    </a:lnTo>
                    <a:lnTo>
                      <a:pt x="340066" y="104920"/>
                    </a:lnTo>
                    <a:lnTo>
                      <a:pt x="340330" y="104303"/>
                    </a:lnTo>
                    <a:lnTo>
                      <a:pt x="340595" y="104303"/>
                    </a:lnTo>
                    <a:lnTo>
                      <a:pt x="340859" y="104303"/>
                    </a:lnTo>
                    <a:lnTo>
                      <a:pt x="342887" y="105449"/>
                    </a:lnTo>
                    <a:lnTo>
                      <a:pt x="342887" y="105714"/>
                    </a:lnTo>
                    <a:lnTo>
                      <a:pt x="342270" y="106860"/>
                    </a:lnTo>
                    <a:lnTo>
                      <a:pt x="342270" y="107125"/>
                    </a:lnTo>
                    <a:lnTo>
                      <a:pt x="342005" y="107125"/>
                    </a:lnTo>
                    <a:lnTo>
                      <a:pt x="342005" y="107389"/>
                    </a:lnTo>
                    <a:lnTo>
                      <a:pt x="339713" y="114090"/>
                    </a:lnTo>
                    <a:lnTo>
                      <a:pt x="339713" y="114443"/>
                    </a:lnTo>
                    <a:lnTo>
                      <a:pt x="339713" y="114707"/>
                    </a:lnTo>
                    <a:lnTo>
                      <a:pt x="339977" y="114443"/>
                    </a:lnTo>
                    <a:lnTo>
                      <a:pt x="340242" y="113825"/>
                    </a:lnTo>
                    <a:lnTo>
                      <a:pt x="341388" y="110916"/>
                    </a:lnTo>
                    <a:lnTo>
                      <a:pt x="341652" y="110563"/>
                    </a:lnTo>
                    <a:lnTo>
                      <a:pt x="341917" y="109681"/>
                    </a:lnTo>
                    <a:lnTo>
                      <a:pt x="341917" y="109417"/>
                    </a:lnTo>
                    <a:lnTo>
                      <a:pt x="341917" y="109153"/>
                    </a:lnTo>
                    <a:lnTo>
                      <a:pt x="341917" y="108888"/>
                    </a:lnTo>
                    <a:lnTo>
                      <a:pt x="342181" y="108624"/>
                    </a:lnTo>
                    <a:lnTo>
                      <a:pt x="342446" y="108888"/>
                    </a:lnTo>
                    <a:lnTo>
                      <a:pt x="344474" y="110034"/>
                    </a:lnTo>
                    <a:lnTo>
                      <a:pt x="344474" y="110387"/>
                    </a:lnTo>
                    <a:lnTo>
                      <a:pt x="344210" y="110651"/>
                    </a:lnTo>
                    <a:lnTo>
                      <a:pt x="343592" y="112944"/>
                    </a:lnTo>
                    <a:lnTo>
                      <a:pt x="343857" y="113825"/>
                    </a:lnTo>
                    <a:lnTo>
                      <a:pt x="345003" y="114707"/>
                    </a:lnTo>
                    <a:lnTo>
                      <a:pt x="345356" y="114707"/>
                    </a:lnTo>
                    <a:lnTo>
                      <a:pt x="345620" y="114090"/>
                    </a:lnTo>
                    <a:lnTo>
                      <a:pt x="347384" y="112326"/>
                    </a:lnTo>
                    <a:lnTo>
                      <a:pt x="348265" y="111709"/>
                    </a:lnTo>
                    <a:lnTo>
                      <a:pt x="348530" y="111445"/>
                    </a:lnTo>
                    <a:lnTo>
                      <a:pt x="349676" y="107389"/>
                    </a:lnTo>
                    <a:lnTo>
                      <a:pt x="351704" y="103598"/>
                    </a:lnTo>
                    <a:lnTo>
                      <a:pt x="351969" y="101834"/>
                    </a:lnTo>
                    <a:lnTo>
                      <a:pt x="351351" y="98043"/>
                    </a:lnTo>
                    <a:lnTo>
                      <a:pt x="351087" y="97779"/>
                    </a:lnTo>
                    <a:lnTo>
                      <a:pt x="350469" y="97514"/>
                    </a:lnTo>
                    <a:lnTo>
                      <a:pt x="350205" y="97250"/>
                    </a:lnTo>
                    <a:lnTo>
                      <a:pt x="349940" y="97250"/>
                    </a:lnTo>
                    <a:lnTo>
                      <a:pt x="349940" y="96897"/>
                    </a:lnTo>
                    <a:lnTo>
                      <a:pt x="351087" y="96632"/>
                    </a:lnTo>
                    <a:lnTo>
                      <a:pt x="352850" y="96897"/>
                    </a:lnTo>
                    <a:lnTo>
                      <a:pt x="353996" y="97779"/>
                    </a:lnTo>
                    <a:lnTo>
                      <a:pt x="353996" y="99542"/>
                    </a:lnTo>
                    <a:lnTo>
                      <a:pt x="353644" y="99542"/>
                    </a:lnTo>
                    <a:lnTo>
                      <a:pt x="353644" y="99807"/>
                    </a:lnTo>
                    <a:lnTo>
                      <a:pt x="353379" y="99807"/>
                    </a:lnTo>
                    <a:lnTo>
                      <a:pt x="353027" y="100071"/>
                    </a:lnTo>
                    <a:lnTo>
                      <a:pt x="352498" y="100071"/>
                    </a:lnTo>
                    <a:lnTo>
                      <a:pt x="352498" y="100336"/>
                    </a:lnTo>
                    <a:lnTo>
                      <a:pt x="352762" y="102716"/>
                    </a:lnTo>
                    <a:lnTo>
                      <a:pt x="352762" y="102981"/>
                    </a:lnTo>
                    <a:lnTo>
                      <a:pt x="353027" y="102981"/>
                    </a:lnTo>
                    <a:lnTo>
                      <a:pt x="353644" y="103245"/>
                    </a:lnTo>
                    <a:lnTo>
                      <a:pt x="354525" y="103862"/>
                    </a:lnTo>
                    <a:lnTo>
                      <a:pt x="354525" y="104127"/>
                    </a:lnTo>
                    <a:lnTo>
                      <a:pt x="354789" y="104391"/>
                    </a:lnTo>
                    <a:lnTo>
                      <a:pt x="355407" y="103510"/>
                    </a:lnTo>
                    <a:lnTo>
                      <a:pt x="355142" y="102364"/>
                    </a:lnTo>
                    <a:lnTo>
                      <a:pt x="355142" y="102011"/>
                    </a:lnTo>
                    <a:lnTo>
                      <a:pt x="355671" y="100865"/>
                    </a:lnTo>
                    <a:lnTo>
                      <a:pt x="356289" y="99983"/>
                    </a:lnTo>
                    <a:lnTo>
                      <a:pt x="358669" y="97955"/>
                    </a:lnTo>
                    <a:lnTo>
                      <a:pt x="360168" y="97691"/>
                    </a:lnTo>
                    <a:lnTo>
                      <a:pt x="359903" y="98837"/>
                    </a:lnTo>
                    <a:lnTo>
                      <a:pt x="359022" y="100247"/>
                    </a:lnTo>
                    <a:lnTo>
                      <a:pt x="359022" y="100512"/>
                    </a:lnTo>
                    <a:lnTo>
                      <a:pt x="358669" y="100512"/>
                    </a:lnTo>
                    <a:lnTo>
                      <a:pt x="359022" y="100776"/>
                    </a:lnTo>
                    <a:lnTo>
                      <a:pt x="360785" y="103951"/>
                    </a:lnTo>
                    <a:lnTo>
                      <a:pt x="361667" y="104215"/>
                    </a:lnTo>
                    <a:lnTo>
                      <a:pt x="363959" y="101570"/>
                    </a:lnTo>
                    <a:lnTo>
                      <a:pt x="364224" y="101570"/>
                    </a:lnTo>
                    <a:lnTo>
                      <a:pt x="366516" y="97779"/>
                    </a:lnTo>
                    <a:lnTo>
                      <a:pt x="366252" y="94605"/>
                    </a:lnTo>
                    <a:lnTo>
                      <a:pt x="365987" y="93459"/>
                    </a:lnTo>
                    <a:lnTo>
                      <a:pt x="366252" y="93459"/>
                    </a:lnTo>
                    <a:lnTo>
                      <a:pt x="368632" y="92312"/>
                    </a:lnTo>
                    <a:lnTo>
                      <a:pt x="368985" y="92312"/>
                    </a:lnTo>
                    <a:lnTo>
                      <a:pt x="370748" y="91695"/>
                    </a:lnTo>
                    <a:lnTo>
                      <a:pt x="371101" y="91695"/>
                    </a:lnTo>
                    <a:lnTo>
                      <a:pt x="372247" y="92841"/>
                    </a:lnTo>
                    <a:lnTo>
                      <a:pt x="373129" y="94340"/>
                    </a:lnTo>
                    <a:lnTo>
                      <a:pt x="373129" y="94605"/>
                    </a:lnTo>
                    <a:lnTo>
                      <a:pt x="373129" y="94869"/>
                    </a:lnTo>
                    <a:lnTo>
                      <a:pt x="372864" y="95398"/>
                    </a:lnTo>
                    <a:lnTo>
                      <a:pt x="372600" y="95751"/>
                    </a:lnTo>
                    <a:lnTo>
                      <a:pt x="373482" y="97514"/>
                    </a:lnTo>
                    <a:lnTo>
                      <a:pt x="373746" y="97779"/>
                    </a:lnTo>
                    <a:lnTo>
                      <a:pt x="374011" y="97779"/>
                    </a:lnTo>
                    <a:lnTo>
                      <a:pt x="374627" y="96897"/>
                    </a:lnTo>
                    <a:lnTo>
                      <a:pt x="374627" y="96015"/>
                    </a:lnTo>
                    <a:lnTo>
                      <a:pt x="376656" y="96015"/>
                    </a:lnTo>
                    <a:lnTo>
                      <a:pt x="379036" y="96544"/>
                    </a:lnTo>
                    <a:lnTo>
                      <a:pt x="380447" y="97161"/>
                    </a:lnTo>
                    <a:lnTo>
                      <a:pt x="380447" y="97426"/>
                    </a:lnTo>
                    <a:lnTo>
                      <a:pt x="380711" y="98043"/>
                    </a:lnTo>
                    <a:lnTo>
                      <a:pt x="380711" y="98308"/>
                    </a:lnTo>
                    <a:lnTo>
                      <a:pt x="381857" y="100600"/>
                    </a:lnTo>
                    <a:lnTo>
                      <a:pt x="384503" y="102628"/>
                    </a:lnTo>
                    <a:lnTo>
                      <a:pt x="384767" y="102893"/>
                    </a:lnTo>
                    <a:lnTo>
                      <a:pt x="385913" y="104920"/>
                    </a:lnTo>
                    <a:lnTo>
                      <a:pt x="386530" y="105802"/>
                    </a:lnTo>
                    <a:lnTo>
                      <a:pt x="386795" y="106684"/>
                    </a:lnTo>
                    <a:lnTo>
                      <a:pt x="388294" y="110122"/>
                    </a:lnTo>
                    <a:lnTo>
                      <a:pt x="389440" y="112415"/>
                    </a:lnTo>
                    <a:lnTo>
                      <a:pt x="389440" y="112679"/>
                    </a:lnTo>
                    <a:lnTo>
                      <a:pt x="389704" y="112679"/>
                    </a:lnTo>
                    <a:lnTo>
                      <a:pt x="389969" y="112679"/>
                    </a:lnTo>
                    <a:lnTo>
                      <a:pt x="390233" y="112415"/>
                    </a:lnTo>
                    <a:lnTo>
                      <a:pt x="390586" y="112150"/>
                    </a:lnTo>
                    <a:lnTo>
                      <a:pt x="391203" y="112679"/>
                    </a:lnTo>
                    <a:lnTo>
                      <a:pt x="392967" y="114443"/>
                    </a:lnTo>
                    <a:lnTo>
                      <a:pt x="392967" y="114707"/>
                    </a:lnTo>
                    <a:lnTo>
                      <a:pt x="393849" y="115589"/>
                    </a:lnTo>
                    <a:lnTo>
                      <a:pt x="393849" y="116735"/>
                    </a:lnTo>
                    <a:lnTo>
                      <a:pt x="393849" y="118234"/>
                    </a:lnTo>
                    <a:lnTo>
                      <a:pt x="392702" y="119733"/>
                    </a:lnTo>
                    <a:lnTo>
                      <a:pt x="390939" y="123788"/>
                    </a:lnTo>
                    <a:lnTo>
                      <a:pt x="390322" y="125552"/>
                    </a:lnTo>
                    <a:lnTo>
                      <a:pt x="390057" y="125816"/>
                    </a:lnTo>
                    <a:lnTo>
                      <a:pt x="390057" y="126081"/>
                    </a:lnTo>
                    <a:lnTo>
                      <a:pt x="390057" y="126345"/>
                    </a:lnTo>
                    <a:lnTo>
                      <a:pt x="390057" y="126698"/>
                    </a:lnTo>
                    <a:lnTo>
                      <a:pt x="390057" y="127844"/>
                    </a:lnTo>
                    <a:lnTo>
                      <a:pt x="390057" y="128109"/>
                    </a:lnTo>
                    <a:lnTo>
                      <a:pt x="390057" y="128373"/>
                    </a:lnTo>
                    <a:lnTo>
                      <a:pt x="389175" y="132782"/>
                    </a:lnTo>
                    <a:lnTo>
                      <a:pt x="389175" y="133046"/>
                    </a:lnTo>
                    <a:lnTo>
                      <a:pt x="388911" y="133663"/>
                    </a:lnTo>
                    <a:lnTo>
                      <a:pt x="388911" y="133928"/>
                    </a:lnTo>
                    <a:lnTo>
                      <a:pt x="388646" y="134192"/>
                    </a:lnTo>
                    <a:lnTo>
                      <a:pt x="388029" y="134457"/>
                    </a:lnTo>
                    <a:lnTo>
                      <a:pt x="388029" y="134721"/>
                    </a:lnTo>
                    <a:lnTo>
                      <a:pt x="387765" y="134986"/>
                    </a:lnTo>
                    <a:lnTo>
                      <a:pt x="387500" y="135250"/>
                    </a:lnTo>
                    <a:lnTo>
                      <a:pt x="387765" y="135250"/>
                    </a:lnTo>
                    <a:lnTo>
                      <a:pt x="388382" y="134986"/>
                    </a:lnTo>
                    <a:lnTo>
                      <a:pt x="388646" y="134721"/>
                    </a:lnTo>
                    <a:lnTo>
                      <a:pt x="388911" y="134457"/>
                    </a:lnTo>
                    <a:lnTo>
                      <a:pt x="389175" y="134457"/>
                    </a:lnTo>
                    <a:lnTo>
                      <a:pt x="389440" y="134192"/>
                    </a:lnTo>
                    <a:lnTo>
                      <a:pt x="389440" y="133928"/>
                    </a:lnTo>
                    <a:lnTo>
                      <a:pt x="389704" y="133663"/>
                    </a:lnTo>
                    <a:lnTo>
                      <a:pt x="389704" y="133046"/>
                    </a:lnTo>
                    <a:lnTo>
                      <a:pt x="390233" y="131547"/>
                    </a:lnTo>
                    <a:lnTo>
                      <a:pt x="390586" y="130137"/>
                    </a:lnTo>
                    <a:lnTo>
                      <a:pt x="390851" y="129519"/>
                    </a:lnTo>
                    <a:lnTo>
                      <a:pt x="390851" y="129255"/>
                    </a:lnTo>
                    <a:lnTo>
                      <a:pt x="390586" y="129255"/>
                    </a:lnTo>
                    <a:lnTo>
                      <a:pt x="390586" y="128990"/>
                    </a:lnTo>
                    <a:lnTo>
                      <a:pt x="390851" y="128373"/>
                    </a:lnTo>
                    <a:lnTo>
                      <a:pt x="391203" y="128373"/>
                    </a:lnTo>
                    <a:lnTo>
                      <a:pt x="392085" y="128638"/>
                    </a:lnTo>
                    <a:lnTo>
                      <a:pt x="392702" y="129519"/>
                    </a:lnTo>
                    <a:lnTo>
                      <a:pt x="392967" y="129784"/>
                    </a:lnTo>
                    <a:lnTo>
                      <a:pt x="393584" y="130401"/>
                    </a:lnTo>
                    <a:lnTo>
                      <a:pt x="393584" y="130666"/>
                    </a:lnTo>
                    <a:lnTo>
                      <a:pt x="393584" y="131283"/>
                    </a:lnTo>
                    <a:lnTo>
                      <a:pt x="393584" y="131635"/>
                    </a:lnTo>
                    <a:lnTo>
                      <a:pt x="393584" y="131900"/>
                    </a:lnTo>
                    <a:lnTo>
                      <a:pt x="393584" y="133046"/>
                    </a:lnTo>
                    <a:lnTo>
                      <a:pt x="393849" y="133046"/>
                    </a:lnTo>
                    <a:lnTo>
                      <a:pt x="393849" y="132429"/>
                    </a:lnTo>
                    <a:lnTo>
                      <a:pt x="394113" y="131547"/>
                    </a:lnTo>
                    <a:lnTo>
                      <a:pt x="394113" y="130666"/>
                    </a:lnTo>
                    <a:lnTo>
                      <a:pt x="394113" y="130401"/>
                    </a:lnTo>
                    <a:lnTo>
                      <a:pt x="394113" y="130137"/>
                    </a:lnTo>
                    <a:lnTo>
                      <a:pt x="394113" y="129872"/>
                    </a:lnTo>
                    <a:lnTo>
                      <a:pt x="393849" y="128726"/>
                    </a:lnTo>
                    <a:lnTo>
                      <a:pt x="393584" y="128726"/>
                    </a:lnTo>
                    <a:lnTo>
                      <a:pt x="393584" y="128461"/>
                    </a:lnTo>
                    <a:lnTo>
                      <a:pt x="393231" y="128197"/>
                    </a:lnTo>
                    <a:lnTo>
                      <a:pt x="393231" y="127932"/>
                    </a:lnTo>
                    <a:lnTo>
                      <a:pt x="393231" y="127668"/>
                    </a:lnTo>
                    <a:lnTo>
                      <a:pt x="392967" y="125023"/>
                    </a:lnTo>
                    <a:lnTo>
                      <a:pt x="392967" y="124758"/>
                    </a:lnTo>
                    <a:lnTo>
                      <a:pt x="392967" y="124494"/>
                    </a:lnTo>
                    <a:lnTo>
                      <a:pt x="393231" y="124141"/>
                    </a:lnTo>
                    <a:lnTo>
                      <a:pt x="393584" y="123524"/>
                    </a:lnTo>
                    <a:lnTo>
                      <a:pt x="393849" y="123259"/>
                    </a:lnTo>
                    <a:lnTo>
                      <a:pt x="395876" y="121232"/>
                    </a:lnTo>
                    <a:lnTo>
                      <a:pt x="395876" y="120967"/>
                    </a:lnTo>
                    <a:lnTo>
                      <a:pt x="396140" y="120967"/>
                    </a:lnTo>
                    <a:lnTo>
                      <a:pt x="396493" y="120967"/>
                    </a:lnTo>
                    <a:lnTo>
                      <a:pt x="396493" y="121232"/>
                    </a:lnTo>
                    <a:lnTo>
                      <a:pt x="396493" y="121584"/>
                    </a:lnTo>
                    <a:lnTo>
                      <a:pt x="396493" y="122113"/>
                    </a:lnTo>
                    <a:lnTo>
                      <a:pt x="396493" y="123612"/>
                    </a:lnTo>
                    <a:lnTo>
                      <a:pt x="396493" y="124229"/>
                    </a:lnTo>
                    <a:lnTo>
                      <a:pt x="396493" y="124582"/>
                    </a:lnTo>
                    <a:lnTo>
                      <a:pt x="396758" y="124582"/>
                    </a:lnTo>
                    <a:lnTo>
                      <a:pt x="398257" y="124582"/>
                    </a:lnTo>
                    <a:lnTo>
                      <a:pt x="398521" y="124582"/>
                    </a:lnTo>
                    <a:lnTo>
                      <a:pt x="398786" y="124229"/>
                    </a:lnTo>
                    <a:lnTo>
                      <a:pt x="399050" y="123347"/>
                    </a:lnTo>
                    <a:lnTo>
                      <a:pt x="398786" y="123083"/>
                    </a:lnTo>
                    <a:lnTo>
                      <a:pt x="398521" y="122466"/>
                    </a:lnTo>
                    <a:lnTo>
                      <a:pt x="398521" y="122202"/>
                    </a:lnTo>
                    <a:lnTo>
                      <a:pt x="398521" y="121937"/>
                    </a:lnTo>
                    <a:lnTo>
                      <a:pt x="398257" y="121672"/>
                    </a:lnTo>
                    <a:lnTo>
                      <a:pt x="398257" y="121055"/>
                    </a:lnTo>
                    <a:lnTo>
                      <a:pt x="398257" y="120791"/>
                    </a:lnTo>
                    <a:lnTo>
                      <a:pt x="397904" y="118498"/>
                    </a:lnTo>
                    <a:lnTo>
                      <a:pt x="398257" y="118234"/>
                    </a:lnTo>
                    <a:lnTo>
                      <a:pt x="398521" y="118234"/>
                    </a:lnTo>
                    <a:lnTo>
                      <a:pt x="400814" y="117352"/>
                    </a:lnTo>
                    <a:lnTo>
                      <a:pt x="401431" y="117352"/>
                    </a:lnTo>
                    <a:lnTo>
                      <a:pt x="401695" y="117352"/>
                    </a:lnTo>
                    <a:lnTo>
                      <a:pt x="404076" y="117969"/>
                    </a:lnTo>
                    <a:lnTo>
                      <a:pt x="409013" y="119468"/>
                    </a:lnTo>
                    <a:lnTo>
                      <a:pt x="411041" y="120350"/>
                    </a:lnTo>
                    <a:lnTo>
                      <a:pt x="412540" y="120703"/>
                    </a:lnTo>
                    <a:lnTo>
                      <a:pt x="412804" y="120967"/>
                    </a:lnTo>
                    <a:lnTo>
                      <a:pt x="414568" y="122731"/>
                    </a:lnTo>
                    <a:lnTo>
                      <a:pt x="414833" y="122995"/>
                    </a:lnTo>
                    <a:lnTo>
                      <a:pt x="413686" y="127403"/>
                    </a:lnTo>
                    <a:lnTo>
                      <a:pt x="413951" y="128020"/>
                    </a:lnTo>
                    <a:lnTo>
                      <a:pt x="415714" y="125993"/>
                    </a:lnTo>
                    <a:lnTo>
                      <a:pt x="415714" y="123700"/>
                    </a:lnTo>
                    <a:lnTo>
                      <a:pt x="415714" y="123436"/>
                    </a:lnTo>
                    <a:lnTo>
                      <a:pt x="415714" y="120174"/>
                    </a:lnTo>
                    <a:lnTo>
                      <a:pt x="415714" y="119909"/>
                    </a:lnTo>
                    <a:lnTo>
                      <a:pt x="415978" y="119645"/>
                    </a:lnTo>
                    <a:lnTo>
                      <a:pt x="416243" y="119645"/>
                    </a:lnTo>
                    <a:lnTo>
                      <a:pt x="418007" y="120262"/>
                    </a:lnTo>
                    <a:lnTo>
                      <a:pt x="418359" y="120262"/>
                    </a:lnTo>
                    <a:lnTo>
                      <a:pt x="420652" y="121761"/>
                    </a:lnTo>
                    <a:lnTo>
                      <a:pt x="420916" y="122113"/>
                    </a:lnTo>
                    <a:lnTo>
                      <a:pt x="421181" y="122378"/>
                    </a:lnTo>
                    <a:lnTo>
                      <a:pt x="421181" y="122642"/>
                    </a:lnTo>
                    <a:lnTo>
                      <a:pt x="423825" y="126433"/>
                    </a:lnTo>
                    <a:lnTo>
                      <a:pt x="424443" y="127315"/>
                    </a:lnTo>
                    <a:lnTo>
                      <a:pt x="424443" y="127580"/>
                    </a:lnTo>
                    <a:lnTo>
                      <a:pt x="424178" y="128461"/>
                    </a:lnTo>
                    <a:lnTo>
                      <a:pt x="424178" y="128726"/>
                    </a:lnTo>
                    <a:lnTo>
                      <a:pt x="424443" y="128726"/>
                    </a:lnTo>
                    <a:lnTo>
                      <a:pt x="424707" y="128726"/>
                    </a:lnTo>
                    <a:lnTo>
                      <a:pt x="425589" y="128461"/>
                    </a:lnTo>
                    <a:lnTo>
                      <a:pt x="425854" y="128197"/>
                    </a:lnTo>
                    <a:lnTo>
                      <a:pt x="425589" y="128197"/>
                    </a:lnTo>
                    <a:lnTo>
                      <a:pt x="425589" y="127932"/>
                    </a:lnTo>
                    <a:lnTo>
                      <a:pt x="424972" y="127051"/>
                    </a:lnTo>
                    <a:lnTo>
                      <a:pt x="424972" y="126786"/>
                    </a:lnTo>
                    <a:lnTo>
                      <a:pt x="424707" y="126169"/>
                    </a:lnTo>
                    <a:lnTo>
                      <a:pt x="424443" y="125904"/>
                    </a:lnTo>
                    <a:lnTo>
                      <a:pt x="424178" y="124494"/>
                    </a:lnTo>
                    <a:lnTo>
                      <a:pt x="424178" y="124229"/>
                    </a:lnTo>
                    <a:lnTo>
                      <a:pt x="423914" y="122731"/>
                    </a:lnTo>
                    <a:lnTo>
                      <a:pt x="423914" y="122466"/>
                    </a:lnTo>
                    <a:lnTo>
                      <a:pt x="424178" y="122466"/>
                    </a:lnTo>
                    <a:lnTo>
                      <a:pt x="424795" y="121320"/>
                    </a:lnTo>
                    <a:lnTo>
                      <a:pt x="425060" y="120703"/>
                    </a:lnTo>
                    <a:lnTo>
                      <a:pt x="425060" y="119821"/>
                    </a:lnTo>
                    <a:lnTo>
                      <a:pt x="425060" y="119556"/>
                    </a:lnTo>
                    <a:lnTo>
                      <a:pt x="425324" y="119821"/>
                    </a:lnTo>
                    <a:lnTo>
                      <a:pt x="426206" y="120085"/>
                    </a:lnTo>
                    <a:lnTo>
                      <a:pt x="427970" y="120350"/>
                    </a:lnTo>
                    <a:lnTo>
                      <a:pt x="428234" y="120350"/>
                    </a:lnTo>
                    <a:lnTo>
                      <a:pt x="428499" y="120350"/>
                    </a:lnTo>
                    <a:lnTo>
                      <a:pt x="429645" y="119733"/>
                    </a:lnTo>
                    <a:lnTo>
                      <a:pt x="431408" y="118587"/>
                    </a:lnTo>
                    <a:lnTo>
                      <a:pt x="431673" y="117969"/>
                    </a:lnTo>
                    <a:lnTo>
                      <a:pt x="428410" y="119116"/>
                    </a:lnTo>
                    <a:lnTo>
                      <a:pt x="427793" y="119380"/>
                    </a:lnTo>
                    <a:lnTo>
                      <a:pt x="427528" y="119116"/>
                    </a:lnTo>
                    <a:lnTo>
                      <a:pt x="426647" y="118587"/>
                    </a:lnTo>
                    <a:lnTo>
                      <a:pt x="426030" y="117969"/>
                    </a:lnTo>
                    <a:lnTo>
                      <a:pt x="425677" y="117969"/>
                    </a:lnTo>
                    <a:lnTo>
                      <a:pt x="425677" y="117705"/>
                    </a:lnTo>
                    <a:lnTo>
                      <a:pt x="424531" y="115677"/>
                    </a:lnTo>
                    <a:lnTo>
                      <a:pt x="424531" y="115412"/>
                    </a:lnTo>
                    <a:lnTo>
                      <a:pt x="424266" y="114883"/>
                    </a:lnTo>
                    <a:lnTo>
                      <a:pt x="424266" y="114619"/>
                    </a:lnTo>
                    <a:lnTo>
                      <a:pt x="424531" y="114266"/>
                    </a:lnTo>
                    <a:lnTo>
                      <a:pt x="425148" y="114266"/>
                    </a:lnTo>
                    <a:lnTo>
                      <a:pt x="425148" y="114002"/>
                    </a:lnTo>
                    <a:lnTo>
                      <a:pt x="425412" y="114002"/>
                    </a:lnTo>
                    <a:lnTo>
                      <a:pt x="425677" y="114002"/>
                    </a:lnTo>
                    <a:lnTo>
                      <a:pt x="426294" y="114002"/>
                    </a:lnTo>
                    <a:lnTo>
                      <a:pt x="426912" y="114002"/>
                    </a:lnTo>
                    <a:lnTo>
                      <a:pt x="427176" y="113737"/>
                    </a:lnTo>
                    <a:lnTo>
                      <a:pt x="428322" y="112855"/>
                    </a:lnTo>
                    <a:lnTo>
                      <a:pt x="428675" y="112855"/>
                    </a:lnTo>
                    <a:lnTo>
                      <a:pt x="428939" y="112591"/>
                    </a:lnTo>
                    <a:lnTo>
                      <a:pt x="429204" y="112238"/>
                    </a:lnTo>
                    <a:lnTo>
                      <a:pt x="428939" y="112238"/>
                    </a:lnTo>
                    <a:lnTo>
                      <a:pt x="428675" y="112238"/>
                    </a:lnTo>
                    <a:lnTo>
                      <a:pt x="427528" y="112855"/>
                    </a:lnTo>
                    <a:lnTo>
                      <a:pt x="426647" y="113120"/>
                    </a:lnTo>
                    <a:lnTo>
                      <a:pt x="426383" y="113120"/>
                    </a:lnTo>
                    <a:lnTo>
                      <a:pt x="426118" y="113120"/>
                    </a:lnTo>
                    <a:lnTo>
                      <a:pt x="424972" y="113120"/>
                    </a:lnTo>
                    <a:lnTo>
                      <a:pt x="423825" y="112591"/>
                    </a:lnTo>
                    <a:lnTo>
                      <a:pt x="422062" y="111445"/>
                    </a:lnTo>
                    <a:lnTo>
                      <a:pt x="420299" y="109681"/>
                    </a:lnTo>
                    <a:lnTo>
                      <a:pt x="420299" y="109417"/>
                    </a:lnTo>
                    <a:lnTo>
                      <a:pt x="420299" y="109153"/>
                    </a:lnTo>
                    <a:lnTo>
                      <a:pt x="420828" y="107389"/>
                    </a:lnTo>
                    <a:lnTo>
                      <a:pt x="422591" y="104480"/>
                    </a:lnTo>
                    <a:lnTo>
                      <a:pt x="424002" y="102716"/>
                    </a:lnTo>
                    <a:lnTo>
                      <a:pt x="426383" y="101217"/>
                    </a:lnTo>
                    <a:lnTo>
                      <a:pt x="428763" y="99718"/>
                    </a:lnTo>
                    <a:lnTo>
                      <a:pt x="429028" y="99454"/>
                    </a:lnTo>
                    <a:lnTo>
                      <a:pt x="429292" y="99454"/>
                    </a:lnTo>
                    <a:lnTo>
                      <a:pt x="429557" y="99189"/>
                    </a:lnTo>
                    <a:lnTo>
                      <a:pt x="429821" y="98925"/>
                    </a:lnTo>
                    <a:lnTo>
                      <a:pt x="430086" y="98043"/>
                    </a:lnTo>
                    <a:lnTo>
                      <a:pt x="431849" y="92841"/>
                    </a:lnTo>
                    <a:lnTo>
                      <a:pt x="431849" y="91960"/>
                    </a:lnTo>
                    <a:lnTo>
                      <a:pt x="431849" y="91695"/>
                    </a:lnTo>
                    <a:lnTo>
                      <a:pt x="431849" y="91431"/>
                    </a:lnTo>
                    <a:lnTo>
                      <a:pt x="432113" y="90813"/>
                    </a:lnTo>
                    <a:lnTo>
                      <a:pt x="433260" y="87287"/>
                    </a:lnTo>
                    <a:lnTo>
                      <a:pt x="433612" y="87022"/>
                    </a:lnTo>
                    <a:lnTo>
                      <a:pt x="435023" y="85259"/>
                    </a:lnTo>
                    <a:lnTo>
                      <a:pt x="435287" y="85259"/>
                    </a:lnTo>
                    <a:lnTo>
                      <a:pt x="435023" y="86758"/>
                    </a:lnTo>
                    <a:lnTo>
                      <a:pt x="435287" y="87022"/>
                    </a:lnTo>
                    <a:lnTo>
                      <a:pt x="435552" y="87287"/>
                    </a:lnTo>
                    <a:lnTo>
                      <a:pt x="435816" y="87287"/>
                    </a:lnTo>
                    <a:lnTo>
                      <a:pt x="436081" y="87551"/>
                    </a:lnTo>
                    <a:lnTo>
                      <a:pt x="436698" y="87287"/>
                    </a:lnTo>
                    <a:lnTo>
                      <a:pt x="436962" y="87287"/>
                    </a:lnTo>
                    <a:lnTo>
                      <a:pt x="437580" y="87022"/>
                    </a:lnTo>
                    <a:lnTo>
                      <a:pt x="437844" y="87022"/>
                    </a:lnTo>
                    <a:lnTo>
                      <a:pt x="438109" y="86758"/>
                    </a:lnTo>
                    <a:lnTo>
                      <a:pt x="439608" y="85876"/>
                    </a:lnTo>
                    <a:lnTo>
                      <a:pt x="440754" y="84994"/>
                    </a:lnTo>
                    <a:lnTo>
                      <a:pt x="443399" y="82349"/>
                    </a:lnTo>
                    <a:lnTo>
                      <a:pt x="443399" y="81468"/>
                    </a:lnTo>
                    <a:lnTo>
                      <a:pt x="442253" y="79440"/>
                    </a:lnTo>
                    <a:lnTo>
                      <a:pt x="442253" y="79175"/>
                    </a:lnTo>
                    <a:lnTo>
                      <a:pt x="441900" y="78911"/>
                    </a:lnTo>
                    <a:lnTo>
                      <a:pt x="441636" y="78646"/>
                    </a:lnTo>
                    <a:lnTo>
                      <a:pt x="441283" y="78646"/>
                    </a:lnTo>
                    <a:lnTo>
                      <a:pt x="441018" y="78646"/>
                    </a:lnTo>
                    <a:lnTo>
                      <a:pt x="440754" y="78646"/>
                    </a:lnTo>
                    <a:lnTo>
                      <a:pt x="440754" y="78294"/>
                    </a:lnTo>
                    <a:lnTo>
                      <a:pt x="440754" y="78029"/>
                    </a:lnTo>
                    <a:lnTo>
                      <a:pt x="440754" y="76618"/>
                    </a:lnTo>
                    <a:lnTo>
                      <a:pt x="441018" y="74855"/>
                    </a:lnTo>
                    <a:lnTo>
                      <a:pt x="441283" y="72563"/>
                    </a:lnTo>
                    <a:lnTo>
                      <a:pt x="441636" y="72563"/>
                    </a:lnTo>
                    <a:lnTo>
                      <a:pt x="441900" y="71681"/>
                    </a:lnTo>
                    <a:lnTo>
                      <a:pt x="441900" y="71416"/>
                    </a:lnTo>
                    <a:lnTo>
                      <a:pt x="442782" y="70799"/>
                    </a:lnTo>
                    <a:lnTo>
                      <a:pt x="443046" y="70799"/>
                    </a:lnTo>
                    <a:lnTo>
                      <a:pt x="443046" y="71064"/>
                    </a:lnTo>
                    <a:lnTo>
                      <a:pt x="443046" y="71328"/>
                    </a:lnTo>
                    <a:lnTo>
                      <a:pt x="443046" y="71593"/>
                    </a:lnTo>
                    <a:lnTo>
                      <a:pt x="443311" y="71593"/>
                    </a:lnTo>
                    <a:lnTo>
                      <a:pt x="443311" y="71857"/>
                    </a:lnTo>
                    <a:lnTo>
                      <a:pt x="443575" y="71857"/>
                    </a:lnTo>
                    <a:lnTo>
                      <a:pt x="443840" y="71857"/>
                    </a:lnTo>
                    <a:lnTo>
                      <a:pt x="444104" y="71593"/>
                    </a:lnTo>
                    <a:lnTo>
                      <a:pt x="444721" y="71593"/>
                    </a:lnTo>
                    <a:lnTo>
                      <a:pt x="444986" y="71328"/>
                    </a:lnTo>
                    <a:lnTo>
                      <a:pt x="445250" y="71064"/>
                    </a:lnTo>
                    <a:lnTo>
                      <a:pt x="445868" y="70799"/>
                    </a:lnTo>
                    <a:lnTo>
                      <a:pt x="446132" y="70535"/>
                    </a:lnTo>
                    <a:lnTo>
                      <a:pt x="446132" y="70270"/>
                    </a:lnTo>
                    <a:lnTo>
                      <a:pt x="446397" y="69653"/>
                    </a:lnTo>
                    <a:lnTo>
                      <a:pt x="446661" y="69388"/>
                    </a:lnTo>
                    <a:lnTo>
                      <a:pt x="446661" y="69036"/>
                    </a:lnTo>
                    <a:lnTo>
                      <a:pt x="446926" y="67008"/>
                    </a:lnTo>
                    <a:lnTo>
                      <a:pt x="446926" y="66744"/>
                    </a:lnTo>
                    <a:lnTo>
                      <a:pt x="446926" y="66479"/>
                    </a:lnTo>
                    <a:lnTo>
                      <a:pt x="446661" y="66215"/>
                    </a:lnTo>
                    <a:lnTo>
                      <a:pt x="446926" y="65950"/>
                    </a:lnTo>
                    <a:lnTo>
                      <a:pt x="447190" y="65333"/>
                    </a:lnTo>
                    <a:lnTo>
                      <a:pt x="447190" y="65068"/>
                    </a:lnTo>
                    <a:lnTo>
                      <a:pt x="450452" y="63569"/>
                    </a:lnTo>
                    <a:lnTo>
                      <a:pt x="450717" y="63305"/>
                    </a:lnTo>
                    <a:lnTo>
                      <a:pt x="450717" y="63569"/>
                    </a:lnTo>
                    <a:lnTo>
                      <a:pt x="450981" y="63569"/>
                    </a:lnTo>
                    <a:lnTo>
                      <a:pt x="451246" y="64716"/>
                    </a:lnTo>
                    <a:lnTo>
                      <a:pt x="451510" y="64980"/>
                    </a:lnTo>
                    <a:lnTo>
                      <a:pt x="452128" y="65862"/>
                    </a:lnTo>
                    <a:lnTo>
                      <a:pt x="452392" y="65862"/>
                    </a:lnTo>
                    <a:lnTo>
                      <a:pt x="452745" y="66126"/>
                    </a:lnTo>
                    <a:lnTo>
                      <a:pt x="453891" y="66126"/>
                    </a:lnTo>
                    <a:lnTo>
                      <a:pt x="454155" y="65862"/>
                    </a:lnTo>
                    <a:lnTo>
                      <a:pt x="454420" y="65862"/>
                    </a:lnTo>
                    <a:lnTo>
                      <a:pt x="454155" y="65509"/>
                    </a:lnTo>
                    <a:lnTo>
                      <a:pt x="453274" y="65245"/>
                    </a:lnTo>
                    <a:lnTo>
                      <a:pt x="452392" y="65245"/>
                    </a:lnTo>
                    <a:lnTo>
                      <a:pt x="452128" y="64098"/>
                    </a:lnTo>
                    <a:lnTo>
                      <a:pt x="452128" y="62952"/>
                    </a:lnTo>
                    <a:lnTo>
                      <a:pt x="452128" y="62688"/>
                    </a:lnTo>
                    <a:lnTo>
                      <a:pt x="452392" y="62071"/>
                    </a:lnTo>
                    <a:lnTo>
                      <a:pt x="452745" y="61806"/>
                    </a:lnTo>
                    <a:lnTo>
                      <a:pt x="452745" y="61189"/>
                    </a:lnTo>
                    <a:lnTo>
                      <a:pt x="453009" y="60924"/>
                    </a:lnTo>
                    <a:lnTo>
                      <a:pt x="453626" y="59161"/>
                    </a:lnTo>
                    <a:lnTo>
                      <a:pt x="453362" y="59161"/>
                    </a:lnTo>
                    <a:lnTo>
                      <a:pt x="453097" y="58896"/>
                    </a:lnTo>
                    <a:lnTo>
                      <a:pt x="452833" y="58544"/>
                    </a:lnTo>
                    <a:lnTo>
                      <a:pt x="453097" y="58279"/>
                    </a:lnTo>
                    <a:lnTo>
                      <a:pt x="453362" y="58015"/>
                    </a:lnTo>
                    <a:lnTo>
                      <a:pt x="453626" y="58015"/>
                    </a:lnTo>
                    <a:lnTo>
                      <a:pt x="454244" y="58015"/>
                    </a:lnTo>
                    <a:lnTo>
                      <a:pt x="454508" y="58015"/>
                    </a:lnTo>
                    <a:lnTo>
                      <a:pt x="456800" y="59161"/>
                    </a:lnTo>
                    <a:lnTo>
                      <a:pt x="458829" y="64451"/>
                    </a:lnTo>
                    <a:lnTo>
                      <a:pt x="458829" y="63569"/>
                    </a:lnTo>
                    <a:lnTo>
                      <a:pt x="460327" y="61806"/>
                    </a:lnTo>
                    <a:lnTo>
                      <a:pt x="458564" y="59778"/>
                    </a:lnTo>
                    <a:lnTo>
                      <a:pt x="458564" y="60131"/>
                    </a:lnTo>
                    <a:lnTo>
                      <a:pt x="458300" y="60131"/>
                    </a:lnTo>
                    <a:lnTo>
                      <a:pt x="458035" y="59778"/>
                    </a:lnTo>
                    <a:lnTo>
                      <a:pt x="457771" y="59514"/>
                    </a:lnTo>
                    <a:lnTo>
                      <a:pt x="458035" y="58632"/>
                    </a:lnTo>
                    <a:lnTo>
                      <a:pt x="458652" y="57750"/>
                    </a:lnTo>
                    <a:lnTo>
                      <a:pt x="459534" y="57133"/>
                    </a:lnTo>
                    <a:lnTo>
                      <a:pt x="460416" y="57133"/>
                    </a:lnTo>
                    <a:lnTo>
                      <a:pt x="460680" y="57133"/>
                    </a:lnTo>
                    <a:lnTo>
                      <a:pt x="461562" y="57133"/>
                    </a:lnTo>
                    <a:lnTo>
                      <a:pt x="462708" y="57486"/>
                    </a:lnTo>
                    <a:lnTo>
                      <a:pt x="462972" y="56604"/>
                    </a:lnTo>
                    <a:lnTo>
                      <a:pt x="462972" y="54841"/>
                    </a:lnTo>
                    <a:lnTo>
                      <a:pt x="462972" y="54576"/>
                    </a:lnTo>
                    <a:lnTo>
                      <a:pt x="462972" y="54312"/>
                    </a:lnTo>
                    <a:lnTo>
                      <a:pt x="462708" y="54047"/>
                    </a:lnTo>
                    <a:lnTo>
                      <a:pt x="462708" y="53783"/>
                    </a:lnTo>
                    <a:lnTo>
                      <a:pt x="462355" y="53783"/>
                    </a:lnTo>
                    <a:lnTo>
                      <a:pt x="462355" y="53518"/>
                    </a:lnTo>
                    <a:lnTo>
                      <a:pt x="462708" y="53254"/>
                    </a:lnTo>
                    <a:lnTo>
                      <a:pt x="462708" y="52637"/>
                    </a:lnTo>
                    <a:lnTo>
                      <a:pt x="462972" y="52372"/>
                    </a:lnTo>
                    <a:lnTo>
                      <a:pt x="463237" y="52372"/>
                    </a:lnTo>
                    <a:lnTo>
                      <a:pt x="465000" y="52372"/>
                    </a:lnTo>
                    <a:lnTo>
                      <a:pt x="465265" y="52637"/>
                    </a:lnTo>
                    <a:lnTo>
                      <a:pt x="466146" y="53518"/>
                    </a:lnTo>
                    <a:lnTo>
                      <a:pt x="467028" y="54136"/>
                    </a:lnTo>
                    <a:lnTo>
                      <a:pt x="469938" y="54136"/>
                    </a:lnTo>
                    <a:lnTo>
                      <a:pt x="470290" y="54665"/>
                    </a:lnTo>
                    <a:lnTo>
                      <a:pt x="471172" y="55546"/>
                    </a:lnTo>
                    <a:lnTo>
                      <a:pt x="471437" y="55546"/>
                    </a:lnTo>
                    <a:lnTo>
                      <a:pt x="471437" y="55811"/>
                    </a:lnTo>
                    <a:lnTo>
                      <a:pt x="471701" y="55811"/>
                    </a:lnTo>
                    <a:lnTo>
                      <a:pt x="471966" y="55811"/>
                    </a:lnTo>
                    <a:lnTo>
                      <a:pt x="472230" y="55811"/>
                    </a:lnTo>
                    <a:lnTo>
                      <a:pt x="472583" y="56075"/>
                    </a:lnTo>
                    <a:lnTo>
                      <a:pt x="472847" y="56075"/>
                    </a:lnTo>
                    <a:lnTo>
                      <a:pt x="476903" y="55811"/>
                    </a:lnTo>
                    <a:lnTo>
                      <a:pt x="477784" y="55546"/>
                    </a:lnTo>
                    <a:lnTo>
                      <a:pt x="478402" y="55546"/>
                    </a:lnTo>
                    <a:lnTo>
                      <a:pt x="478666" y="55546"/>
                    </a:lnTo>
                    <a:lnTo>
                      <a:pt x="479284" y="55281"/>
                    </a:lnTo>
                    <a:lnTo>
                      <a:pt x="482458" y="55281"/>
                    </a:lnTo>
                    <a:lnTo>
                      <a:pt x="483339" y="55899"/>
                    </a:lnTo>
                    <a:lnTo>
                      <a:pt x="484838" y="56516"/>
                    </a:lnTo>
                    <a:lnTo>
                      <a:pt x="485103" y="56516"/>
                    </a:lnTo>
                    <a:lnTo>
                      <a:pt x="485455" y="56251"/>
                    </a:lnTo>
                    <a:lnTo>
                      <a:pt x="488982" y="53607"/>
                    </a:lnTo>
                    <a:lnTo>
                      <a:pt x="491892" y="53607"/>
                    </a:lnTo>
                    <a:lnTo>
                      <a:pt x="491892" y="53871"/>
                    </a:lnTo>
                    <a:lnTo>
                      <a:pt x="492156" y="54136"/>
                    </a:lnTo>
                    <a:lnTo>
                      <a:pt x="492421" y="54400"/>
                    </a:lnTo>
                    <a:lnTo>
                      <a:pt x="492685" y="55899"/>
                    </a:lnTo>
                    <a:lnTo>
                      <a:pt x="492685" y="56163"/>
                    </a:lnTo>
                    <a:lnTo>
                      <a:pt x="492685" y="56428"/>
                    </a:lnTo>
                    <a:lnTo>
                      <a:pt x="492421" y="56692"/>
                    </a:lnTo>
                    <a:lnTo>
                      <a:pt x="492156" y="57045"/>
                    </a:lnTo>
                    <a:lnTo>
                      <a:pt x="492156" y="57309"/>
                    </a:lnTo>
                    <a:lnTo>
                      <a:pt x="491892" y="57309"/>
                    </a:lnTo>
                    <a:lnTo>
                      <a:pt x="491892" y="57662"/>
                    </a:lnTo>
                    <a:lnTo>
                      <a:pt x="491892" y="58279"/>
                    </a:lnTo>
                    <a:lnTo>
                      <a:pt x="492156" y="57662"/>
                    </a:lnTo>
                    <a:lnTo>
                      <a:pt x="492421" y="57309"/>
                    </a:lnTo>
                    <a:lnTo>
                      <a:pt x="492950" y="56692"/>
                    </a:lnTo>
                    <a:lnTo>
                      <a:pt x="493214" y="56692"/>
                    </a:lnTo>
                    <a:lnTo>
                      <a:pt x="493214" y="56075"/>
                    </a:lnTo>
                    <a:lnTo>
                      <a:pt x="493214" y="55811"/>
                    </a:lnTo>
                    <a:lnTo>
                      <a:pt x="493214" y="54929"/>
                    </a:lnTo>
                    <a:lnTo>
                      <a:pt x="493214" y="54665"/>
                    </a:lnTo>
                    <a:lnTo>
                      <a:pt x="493214" y="54400"/>
                    </a:lnTo>
                    <a:lnTo>
                      <a:pt x="493214" y="54136"/>
                    </a:lnTo>
                    <a:lnTo>
                      <a:pt x="493214" y="53254"/>
                    </a:lnTo>
                    <a:lnTo>
                      <a:pt x="493479" y="52637"/>
                    </a:lnTo>
                    <a:lnTo>
                      <a:pt x="493743" y="52372"/>
                    </a:lnTo>
                    <a:lnTo>
                      <a:pt x="494008" y="52108"/>
                    </a:lnTo>
                    <a:lnTo>
                      <a:pt x="496653" y="51226"/>
                    </a:lnTo>
                    <a:lnTo>
                      <a:pt x="496917" y="51490"/>
                    </a:lnTo>
                    <a:lnTo>
                      <a:pt x="497182" y="51490"/>
                    </a:lnTo>
                    <a:lnTo>
                      <a:pt x="498945" y="52108"/>
                    </a:lnTo>
                    <a:lnTo>
                      <a:pt x="499562" y="52372"/>
                    </a:lnTo>
                    <a:lnTo>
                      <a:pt x="500180" y="52108"/>
                    </a:lnTo>
                    <a:lnTo>
                      <a:pt x="500444" y="52108"/>
                    </a:lnTo>
                    <a:lnTo>
                      <a:pt x="500444" y="51843"/>
                    </a:lnTo>
                    <a:lnTo>
                      <a:pt x="499562" y="52108"/>
                    </a:lnTo>
                    <a:lnTo>
                      <a:pt x="499562" y="51843"/>
                    </a:lnTo>
                    <a:lnTo>
                      <a:pt x="499298" y="51843"/>
                    </a:lnTo>
                    <a:lnTo>
                      <a:pt x="498416" y="50961"/>
                    </a:lnTo>
                    <a:lnTo>
                      <a:pt x="498151" y="50697"/>
                    </a:lnTo>
                    <a:lnTo>
                      <a:pt x="498151" y="50432"/>
                    </a:lnTo>
                    <a:lnTo>
                      <a:pt x="498151" y="49815"/>
                    </a:lnTo>
                    <a:lnTo>
                      <a:pt x="498151" y="49198"/>
                    </a:lnTo>
                    <a:lnTo>
                      <a:pt x="498680" y="43996"/>
                    </a:lnTo>
                    <a:lnTo>
                      <a:pt x="499033" y="42585"/>
                    </a:lnTo>
                    <a:lnTo>
                      <a:pt x="499298" y="41968"/>
                    </a:lnTo>
                    <a:lnTo>
                      <a:pt x="500444" y="40205"/>
                    </a:lnTo>
                    <a:lnTo>
                      <a:pt x="499827" y="39676"/>
                    </a:lnTo>
                    <a:lnTo>
                      <a:pt x="497446" y="37648"/>
                    </a:lnTo>
                    <a:lnTo>
                      <a:pt x="496564" y="35885"/>
                    </a:lnTo>
                    <a:lnTo>
                      <a:pt x="495947" y="35267"/>
                    </a:lnTo>
                    <a:lnTo>
                      <a:pt x="495683" y="35267"/>
                    </a:lnTo>
                    <a:lnTo>
                      <a:pt x="495683" y="35003"/>
                    </a:lnTo>
                    <a:lnTo>
                      <a:pt x="494537" y="35003"/>
                    </a:lnTo>
                    <a:lnTo>
                      <a:pt x="494272" y="34738"/>
                    </a:lnTo>
                    <a:lnTo>
                      <a:pt x="491363" y="35267"/>
                    </a:lnTo>
                    <a:lnTo>
                      <a:pt x="490746" y="35620"/>
                    </a:lnTo>
                    <a:lnTo>
                      <a:pt x="489599" y="36237"/>
                    </a:lnTo>
                    <a:lnTo>
                      <a:pt x="489335" y="36237"/>
                    </a:lnTo>
                    <a:lnTo>
                      <a:pt x="488188" y="37119"/>
                    </a:lnTo>
                    <a:lnTo>
                      <a:pt x="487924" y="37119"/>
                    </a:lnTo>
                    <a:lnTo>
                      <a:pt x="487659" y="37119"/>
                    </a:lnTo>
                    <a:lnTo>
                      <a:pt x="487659" y="36766"/>
                    </a:lnTo>
                    <a:lnTo>
                      <a:pt x="487395" y="36766"/>
                    </a:lnTo>
                    <a:lnTo>
                      <a:pt x="487395" y="36502"/>
                    </a:lnTo>
                    <a:lnTo>
                      <a:pt x="485984" y="34738"/>
                    </a:lnTo>
                    <a:lnTo>
                      <a:pt x="485720" y="33239"/>
                    </a:lnTo>
                    <a:lnTo>
                      <a:pt x="485984" y="33239"/>
                    </a:lnTo>
                    <a:lnTo>
                      <a:pt x="485984" y="32534"/>
                    </a:lnTo>
                    <a:lnTo>
                      <a:pt x="485984" y="32270"/>
                    </a:lnTo>
                    <a:lnTo>
                      <a:pt x="485720" y="32270"/>
                    </a:lnTo>
                    <a:lnTo>
                      <a:pt x="484574" y="31741"/>
                    </a:lnTo>
                    <a:lnTo>
                      <a:pt x="483956" y="31388"/>
                    </a:lnTo>
                    <a:lnTo>
                      <a:pt x="483692" y="31123"/>
                    </a:lnTo>
                    <a:lnTo>
                      <a:pt x="483075" y="31388"/>
                    </a:lnTo>
                    <a:lnTo>
                      <a:pt x="482458" y="31388"/>
                    </a:lnTo>
                    <a:lnTo>
                      <a:pt x="482193" y="31741"/>
                    </a:lnTo>
                    <a:lnTo>
                      <a:pt x="481929" y="31741"/>
                    </a:lnTo>
                    <a:lnTo>
                      <a:pt x="481664" y="31388"/>
                    </a:lnTo>
                    <a:lnTo>
                      <a:pt x="481664" y="31123"/>
                    </a:lnTo>
                    <a:lnTo>
                      <a:pt x="481929" y="30859"/>
                    </a:lnTo>
                    <a:lnTo>
                      <a:pt x="484221" y="27949"/>
                    </a:lnTo>
                    <a:lnTo>
                      <a:pt x="486513" y="26803"/>
                    </a:lnTo>
                    <a:lnTo>
                      <a:pt x="486778" y="26803"/>
                    </a:lnTo>
                    <a:lnTo>
                      <a:pt x="487042" y="26803"/>
                    </a:lnTo>
                    <a:lnTo>
                      <a:pt x="487042" y="27068"/>
                    </a:lnTo>
                    <a:lnTo>
                      <a:pt x="488806" y="29360"/>
                    </a:lnTo>
                    <a:lnTo>
                      <a:pt x="489688" y="33416"/>
                    </a:lnTo>
                    <a:lnTo>
                      <a:pt x="489952" y="33680"/>
                    </a:lnTo>
                    <a:lnTo>
                      <a:pt x="490569" y="33680"/>
                    </a:lnTo>
                    <a:lnTo>
                      <a:pt x="490921" y="33680"/>
                    </a:lnTo>
                    <a:lnTo>
                      <a:pt x="493919" y="32534"/>
                    </a:lnTo>
                    <a:lnTo>
                      <a:pt x="493919" y="32270"/>
                    </a:lnTo>
                    <a:lnTo>
                      <a:pt x="493302" y="29007"/>
                    </a:lnTo>
                    <a:lnTo>
                      <a:pt x="492950" y="28126"/>
                    </a:lnTo>
                    <a:lnTo>
                      <a:pt x="492685" y="27508"/>
                    </a:lnTo>
                    <a:lnTo>
                      <a:pt x="492685" y="27244"/>
                    </a:lnTo>
                    <a:lnTo>
                      <a:pt x="492421" y="26980"/>
                    </a:lnTo>
                    <a:lnTo>
                      <a:pt x="492685" y="26980"/>
                    </a:lnTo>
                    <a:lnTo>
                      <a:pt x="492685" y="26715"/>
                    </a:lnTo>
                    <a:lnTo>
                      <a:pt x="493302" y="26715"/>
                    </a:lnTo>
                    <a:lnTo>
                      <a:pt x="493567" y="26715"/>
                    </a:lnTo>
                    <a:lnTo>
                      <a:pt x="495330" y="27597"/>
                    </a:lnTo>
                    <a:lnTo>
                      <a:pt x="495595" y="27597"/>
                    </a:lnTo>
                    <a:lnTo>
                      <a:pt x="496741" y="26715"/>
                    </a:lnTo>
                    <a:lnTo>
                      <a:pt x="497005" y="26715"/>
                    </a:lnTo>
                    <a:lnTo>
                      <a:pt x="499033" y="29007"/>
                    </a:lnTo>
                    <a:lnTo>
                      <a:pt x="499915" y="29889"/>
                    </a:lnTo>
                    <a:lnTo>
                      <a:pt x="499915" y="30154"/>
                    </a:lnTo>
                    <a:lnTo>
                      <a:pt x="499915" y="31035"/>
                    </a:lnTo>
                    <a:lnTo>
                      <a:pt x="499915" y="31300"/>
                    </a:lnTo>
                    <a:lnTo>
                      <a:pt x="502296" y="35444"/>
                    </a:lnTo>
                    <a:lnTo>
                      <a:pt x="502560" y="35708"/>
                    </a:lnTo>
                    <a:lnTo>
                      <a:pt x="502825" y="35973"/>
                    </a:lnTo>
                    <a:lnTo>
                      <a:pt x="503089" y="36237"/>
                    </a:lnTo>
                    <a:lnTo>
                      <a:pt x="503706" y="36590"/>
                    </a:lnTo>
                    <a:lnTo>
                      <a:pt x="503971" y="36590"/>
                    </a:lnTo>
                    <a:lnTo>
                      <a:pt x="504235" y="36237"/>
                    </a:lnTo>
                    <a:lnTo>
                      <a:pt x="505117" y="35356"/>
                    </a:lnTo>
                    <a:lnTo>
                      <a:pt x="506616" y="33328"/>
                    </a:lnTo>
                    <a:lnTo>
                      <a:pt x="507762" y="32181"/>
                    </a:lnTo>
                    <a:lnTo>
                      <a:pt x="507497" y="31917"/>
                    </a:lnTo>
                    <a:lnTo>
                      <a:pt x="507762" y="31917"/>
                    </a:lnTo>
                    <a:lnTo>
                      <a:pt x="507762" y="31652"/>
                    </a:lnTo>
                    <a:lnTo>
                      <a:pt x="508643" y="31917"/>
                    </a:lnTo>
                    <a:lnTo>
                      <a:pt x="509261" y="32534"/>
                    </a:lnTo>
                    <a:lnTo>
                      <a:pt x="510143" y="33680"/>
                    </a:lnTo>
                    <a:lnTo>
                      <a:pt x="510143" y="33945"/>
                    </a:lnTo>
                    <a:lnTo>
                      <a:pt x="511024" y="35973"/>
                    </a:lnTo>
                    <a:lnTo>
                      <a:pt x="511288" y="37119"/>
                    </a:lnTo>
                    <a:lnTo>
                      <a:pt x="511288" y="37383"/>
                    </a:lnTo>
                    <a:lnTo>
                      <a:pt x="511553" y="37383"/>
                    </a:lnTo>
                    <a:lnTo>
                      <a:pt x="511906" y="38530"/>
                    </a:lnTo>
                    <a:lnTo>
                      <a:pt x="512435" y="40293"/>
                    </a:lnTo>
                    <a:lnTo>
                      <a:pt x="512699" y="40558"/>
                    </a:lnTo>
                    <a:lnTo>
                      <a:pt x="512699" y="40822"/>
                    </a:lnTo>
                    <a:lnTo>
                      <a:pt x="512964" y="40822"/>
                    </a:lnTo>
                    <a:lnTo>
                      <a:pt x="513228" y="41175"/>
                    </a:lnTo>
                    <a:lnTo>
                      <a:pt x="513846" y="41439"/>
                    </a:lnTo>
                    <a:lnTo>
                      <a:pt x="514375" y="41704"/>
                    </a:lnTo>
                    <a:lnTo>
                      <a:pt x="514727" y="41704"/>
                    </a:lnTo>
                    <a:lnTo>
                      <a:pt x="515873" y="40822"/>
                    </a:lnTo>
                    <a:lnTo>
                      <a:pt x="516755" y="40558"/>
                    </a:lnTo>
                    <a:lnTo>
                      <a:pt x="517108" y="40558"/>
                    </a:lnTo>
                    <a:lnTo>
                      <a:pt x="517108" y="40822"/>
                    </a:lnTo>
                    <a:lnTo>
                      <a:pt x="517108" y="41351"/>
                    </a:lnTo>
                    <a:lnTo>
                      <a:pt x="517989" y="42762"/>
                    </a:lnTo>
                    <a:lnTo>
                      <a:pt x="520899" y="44260"/>
                    </a:lnTo>
                    <a:lnTo>
                      <a:pt x="522398" y="44260"/>
                    </a:lnTo>
                    <a:lnTo>
                      <a:pt x="523544" y="43996"/>
                    </a:lnTo>
                    <a:lnTo>
                      <a:pt x="525572" y="42850"/>
                    </a:lnTo>
                    <a:lnTo>
                      <a:pt x="525925" y="42585"/>
                    </a:lnTo>
                    <a:lnTo>
                      <a:pt x="526189" y="42321"/>
                    </a:lnTo>
                    <a:lnTo>
                      <a:pt x="526189" y="42056"/>
                    </a:lnTo>
                    <a:lnTo>
                      <a:pt x="526806" y="41439"/>
                    </a:lnTo>
                    <a:lnTo>
                      <a:pt x="527423" y="41439"/>
                    </a:lnTo>
                    <a:lnTo>
                      <a:pt x="529187" y="42056"/>
                    </a:lnTo>
                    <a:lnTo>
                      <a:pt x="529187" y="42673"/>
                    </a:lnTo>
                    <a:lnTo>
                      <a:pt x="527776" y="43820"/>
                    </a:lnTo>
                    <a:lnTo>
                      <a:pt x="527423" y="43820"/>
                    </a:lnTo>
                    <a:lnTo>
                      <a:pt x="527423" y="44084"/>
                    </a:lnTo>
                    <a:lnTo>
                      <a:pt x="527159" y="44349"/>
                    </a:lnTo>
                    <a:lnTo>
                      <a:pt x="527159" y="44613"/>
                    </a:lnTo>
                    <a:lnTo>
                      <a:pt x="527159" y="44878"/>
                    </a:lnTo>
                    <a:lnTo>
                      <a:pt x="527423" y="44878"/>
                    </a:lnTo>
                    <a:lnTo>
                      <a:pt x="527776" y="45495"/>
                    </a:lnTo>
                    <a:lnTo>
                      <a:pt x="528922" y="46377"/>
                    </a:lnTo>
                    <a:lnTo>
                      <a:pt x="529187" y="46377"/>
                    </a:lnTo>
                    <a:lnTo>
                      <a:pt x="529452" y="46377"/>
                    </a:lnTo>
                    <a:lnTo>
                      <a:pt x="530333" y="45759"/>
                    </a:lnTo>
                    <a:lnTo>
                      <a:pt x="530597" y="45759"/>
                    </a:lnTo>
                    <a:lnTo>
                      <a:pt x="530862" y="45495"/>
                    </a:lnTo>
                    <a:lnTo>
                      <a:pt x="530862" y="45230"/>
                    </a:lnTo>
                    <a:lnTo>
                      <a:pt x="530862" y="44878"/>
                    </a:lnTo>
                    <a:lnTo>
                      <a:pt x="531126" y="44878"/>
                    </a:lnTo>
                    <a:lnTo>
                      <a:pt x="531479" y="44613"/>
                    </a:lnTo>
                    <a:lnTo>
                      <a:pt x="531743" y="44613"/>
                    </a:lnTo>
                    <a:lnTo>
                      <a:pt x="534389" y="47258"/>
                    </a:lnTo>
                    <a:lnTo>
                      <a:pt x="534124" y="47611"/>
                    </a:lnTo>
                    <a:lnTo>
                      <a:pt x="534124" y="49639"/>
                    </a:lnTo>
                    <a:lnTo>
                      <a:pt x="534389" y="49903"/>
                    </a:lnTo>
                    <a:lnTo>
                      <a:pt x="538180" y="49374"/>
                    </a:lnTo>
                    <a:lnTo>
                      <a:pt x="538533" y="49903"/>
                    </a:lnTo>
                    <a:lnTo>
                      <a:pt x="539150" y="49903"/>
                    </a:lnTo>
                    <a:lnTo>
                      <a:pt x="539414" y="49903"/>
                    </a:lnTo>
                    <a:lnTo>
                      <a:pt x="540560" y="50168"/>
                    </a:lnTo>
                    <a:lnTo>
                      <a:pt x="540825" y="50168"/>
                    </a:lnTo>
                    <a:lnTo>
                      <a:pt x="541089" y="50168"/>
                    </a:lnTo>
                    <a:lnTo>
                      <a:pt x="542853" y="49903"/>
                    </a:lnTo>
                    <a:lnTo>
                      <a:pt x="544616" y="48757"/>
                    </a:lnTo>
                    <a:lnTo>
                      <a:pt x="544881" y="48493"/>
                    </a:lnTo>
                    <a:lnTo>
                      <a:pt x="546909" y="48493"/>
                    </a:lnTo>
                    <a:lnTo>
                      <a:pt x="547526" y="49639"/>
                    </a:lnTo>
                    <a:lnTo>
                      <a:pt x="548407" y="51667"/>
                    </a:lnTo>
                    <a:lnTo>
                      <a:pt x="548672" y="51931"/>
                    </a:lnTo>
                    <a:lnTo>
                      <a:pt x="548936" y="51931"/>
                    </a:lnTo>
                    <a:lnTo>
                      <a:pt x="549201" y="51931"/>
                    </a:lnTo>
                    <a:lnTo>
                      <a:pt x="551229" y="53430"/>
                    </a:lnTo>
                    <a:lnTo>
                      <a:pt x="552728" y="55193"/>
                    </a:lnTo>
                    <a:lnTo>
                      <a:pt x="555020" y="55458"/>
                    </a:lnTo>
                    <a:lnTo>
                      <a:pt x="555902" y="55722"/>
                    </a:lnTo>
                    <a:lnTo>
                      <a:pt x="555902" y="55458"/>
                    </a:lnTo>
                    <a:lnTo>
                      <a:pt x="556166" y="54047"/>
                    </a:lnTo>
                    <a:lnTo>
                      <a:pt x="557048" y="52813"/>
                    </a:lnTo>
                    <a:lnTo>
                      <a:pt x="558547" y="51402"/>
                    </a:lnTo>
                    <a:lnTo>
                      <a:pt x="559693" y="50785"/>
                    </a:lnTo>
                    <a:lnTo>
                      <a:pt x="560311" y="50785"/>
                    </a:lnTo>
                    <a:lnTo>
                      <a:pt x="560575" y="51050"/>
                    </a:lnTo>
                    <a:lnTo>
                      <a:pt x="560575" y="51314"/>
                    </a:lnTo>
                    <a:lnTo>
                      <a:pt x="560927" y="51314"/>
                    </a:lnTo>
                    <a:lnTo>
                      <a:pt x="561192" y="51314"/>
                    </a:lnTo>
                    <a:lnTo>
                      <a:pt x="564102" y="51050"/>
                    </a:lnTo>
                    <a:lnTo>
                      <a:pt x="565865" y="49903"/>
                    </a:lnTo>
                    <a:lnTo>
                      <a:pt x="565865" y="49639"/>
                    </a:lnTo>
                    <a:lnTo>
                      <a:pt x="566129" y="49639"/>
                    </a:lnTo>
                    <a:lnTo>
                      <a:pt x="566129" y="49374"/>
                    </a:lnTo>
                    <a:lnTo>
                      <a:pt x="566129" y="49022"/>
                    </a:lnTo>
                    <a:lnTo>
                      <a:pt x="565865" y="49022"/>
                    </a:lnTo>
                    <a:lnTo>
                      <a:pt x="565600" y="49022"/>
                    </a:lnTo>
                    <a:lnTo>
                      <a:pt x="565248" y="49374"/>
                    </a:lnTo>
                    <a:lnTo>
                      <a:pt x="564983" y="49639"/>
                    </a:lnTo>
                    <a:lnTo>
                      <a:pt x="564454" y="49903"/>
                    </a:lnTo>
                    <a:lnTo>
                      <a:pt x="564189" y="49903"/>
                    </a:lnTo>
                    <a:lnTo>
                      <a:pt x="564189" y="49639"/>
                    </a:lnTo>
                    <a:lnTo>
                      <a:pt x="564189" y="49374"/>
                    </a:lnTo>
                    <a:lnTo>
                      <a:pt x="564189" y="49022"/>
                    </a:lnTo>
                    <a:lnTo>
                      <a:pt x="564719" y="47611"/>
                    </a:lnTo>
                    <a:lnTo>
                      <a:pt x="564719" y="47258"/>
                    </a:lnTo>
                    <a:lnTo>
                      <a:pt x="566747" y="46994"/>
                    </a:lnTo>
                    <a:lnTo>
                      <a:pt x="567364" y="46994"/>
                    </a:lnTo>
                    <a:lnTo>
                      <a:pt x="567628" y="46994"/>
                    </a:lnTo>
                    <a:lnTo>
                      <a:pt x="567893" y="46994"/>
                    </a:lnTo>
                    <a:lnTo>
                      <a:pt x="568157" y="46994"/>
                    </a:lnTo>
                    <a:lnTo>
                      <a:pt x="568422" y="46729"/>
                    </a:lnTo>
                    <a:lnTo>
                      <a:pt x="570185" y="45230"/>
                    </a:lnTo>
                    <a:lnTo>
                      <a:pt x="571067" y="44613"/>
                    </a:lnTo>
                    <a:lnTo>
                      <a:pt x="571332" y="44613"/>
                    </a:lnTo>
                    <a:lnTo>
                      <a:pt x="571332" y="44349"/>
                    </a:lnTo>
                    <a:lnTo>
                      <a:pt x="571332" y="44084"/>
                    </a:lnTo>
                    <a:lnTo>
                      <a:pt x="571596" y="43820"/>
                    </a:lnTo>
                    <a:lnTo>
                      <a:pt x="571596" y="43555"/>
                    </a:lnTo>
                    <a:lnTo>
                      <a:pt x="571332" y="43291"/>
                    </a:lnTo>
                    <a:lnTo>
                      <a:pt x="571332" y="43026"/>
                    </a:lnTo>
                    <a:lnTo>
                      <a:pt x="571067" y="43026"/>
                    </a:lnTo>
                    <a:lnTo>
                      <a:pt x="571332" y="43026"/>
                    </a:lnTo>
                    <a:lnTo>
                      <a:pt x="571332" y="42762"/>
                    </a:lnTo>
                    <a:lnTo>
                      <a:pt x="571596" y="42762"/>
                    </a:lnTo>
                    <a:lnTo>
                      <a:pt x="572213" y="42762"/>
                    </a:lnTo>
                    <a:lnTo>
                      <a:pt x="572213" y="43026"/>
                    </a:lnTo>
                    <a:lnTo>
                      <a:pt x="572477" y="43026"/>
                    </a:lnTo>
                    <a:lnTo>
                      <a:pt x="572742" y="43643"/>
                    </a:lnTo>
                    <a:lnTo>
                      <a:pt x="572742" y="43908"/>
                    </a:lnTo>
                    <a:lnTo>
                      <a:pt x="571861" y="45054"/>
                    </a:lnTo>
                    <a:lnTo>
                      <a:pt x="570450" y="45936"/>
                    </a:lnTo>
                    <a:lnTo>
                      <a:pt x="567805" y="48316"/>
                    </a:lnTo>
                    <a:lnTo>
                      <a:pt x="567805" y="48581"/>
                    </a:lnTo>
                    <a:lnTo>
                      <a:pt x="568069" y="48581"/>
                    </a:lnTo>
                    <a:lnTo>
                      <a:pt x="568598" y="49727"/>
                    </a:lnTo>
                    <a:lnTo>
                      <a:pt x="566041" y="52372"/>
                    </a:lnTo>
                    <a:lnTo>
                      <a:pt x="565777" y="52637"/>
                    </a:lnTo>
                    <a:lnTo>
                      <a:pt x="565512" y="52901"/>
                    </a:lnTo>
                    <a:lnTo>
                      <a:pt x="565512" y="53254"/>
                    </a:lnTo>
                    <a:lnTo>
                      <a:pt x="565512" y="53518"/>
                    </a:lnTo>
                    <a:lnTo>
                      <a:pt x="565512" y="53783"/>
                    </a:lnTo>
                    <a:lnTo>
                      <a:pt x="565777" y="54047"/>
                    </a:lnTo>
                    <a:lnTo>
                      <a:pt x="565777" y="54312"/>
                    </a:lnTo>
                    <a:lnTo>
                      <a:pt x="566041" y="54576"/>
                    </a:lnTo>
                    <a:lnTo>
                      <a:pt x="566658" y="55458"/>
                    </a:lnTo>
                    <a:lnTo>
                      <a:pt x="567805" y="55193"/>
                    </a:lnTo>
                    <a:lnTo>
                      <a:pt x="567805" y="54841"/>
                    </a:lnTo>
                    <a:lnTo>
                      <a:pt x="568069" y="54312"/>
                    </a:lnTo>
                    <a:lnTo>
                      <a:pt x="568334" y="54047"/>
                    </a:lnTo>
                    <a:lnTo>
                      <a:pt x="568334" y="53783"/>
                    </a:lnTo>
                    <a:lnTo>
                      <a:pt x="570097" y="52284"/>
                    </a:lnTo>
                    <a:lnTo>
                      <a:pt x="570361" y="52284"/>
                    </a:lnTo>
                    <a:lnTo>
                      <a:pt x="573271" y="51402"/>
                    </a:lnTo>
                    <a:lnTo>
                      <a:pt x="571243" y="53430"/>
                    </a:lnTo>
                    <a:lnTo>
                      <a:pt x="571243" y="53695"/>
                    </a:lnTo>
                    <a:lnTo>
                      <a:pt x="571243" y="53959"/>
                    </a:lnTo>
                    <a:lnTo>
                      <a:pt x="571243" y="54224"/>
                    </a:lnTo>
                    <a:lnTo>
                      <a:pt x="571508" y="55105"/>
                    </a:lnTo>
                    <a:lnTo>
                      <a:pt x="571772" y="55105"/>
                    </a:lnTo>
                    <a:lnTo>
                      <a:pt x="572037" y="55105"/>
                    </a:lnTo>
                    <a:lnTo>
                      <a:pt x="572301" y="55105"/>
                    </a:lnTo>
                    <a:lnTo>
                      <a:pt x="572565" y="54752"/>
                    </a:lnTo>
                    <a:lnTo>
                      <a:pt x="572565" y="54488"/>
                    </a:lnTo>
                    <a:lnTo>
                      <a:pt x="573271" y="54488"/>
                    </a:lnTo>
                    <a:lnTo>
                      <a:pt x="573536" y="54224"/>
                    </a:lnTo>
                    <a:lnTo>
                      <a:pt x="573888" y="54224"/>
                    </a:lnTo>
                    <a:lnTo>
                      <a:pt x="574152" y="54224"/>
                    </a:lnTo>
                    <a:lnTo>
                      <a:pt x="574152" y="54488"/>
                    </a:lnTo>
                    <a:lnTo>
                      <a:pt x="574152" y="54752"/>
                    </a:lnTo>
                    <a:lnTo>
                      <a:pt x="574152" y="55105"/>
                    </a:lnTo>
                    <a:lnTo>
                      <a:pt x="572125" y="57486"/>
                    </a:lnTo>
                    <a:lnTo>
                      <a:pt x="572125" y="57750"/>
                    </a:lnTo>
                    <a:lnTo>
                      <a:pt x="571861" y="57750"/>
                    </a:lnTo>
                    <a:lnTo>
                      <a:pt x="571861" y="58015"/>
                    </a:lnTo>
                    <a:lnTo>
                      <a:pt x="572477" y="59425"/>
                    </a:lnTo>
                    <a:lnTo>
                      <a:pt x="572742" y="60043"/>
                    </a:lnTo>
                    <a:lnTo>
                      <a:pt x="573006" y="60043"/>
                    </a:lnTo>
                    <a:lnTo>
                      <a:pt x="573359" y="59690"/>
                    </a:lnTo>
                    <a:lnTo>
                      <a:pt x="573976" y="59425"/>
                    </a:lnTo>
                    <a:lnTo>
                      <a:pt x="575387" y="59161"/>
                    </a:lnTo>
                    <a:lnTo>
                      <a:pt x="575740" y="59161"/>
                    </a:lnTo>
                    <a:lnTo>
                      <a:pt x="575740" y="59425"/>
                    </a:lnTo>
                    <a:lnTo>
                      <a:pt x="575740" y="59690"/>
                    </a:lnTo>
                    <a:lnTo>
                      <a:pt x="575740" y="60043"/>
                    </a:lnTo>
                    <a:lnTo>
                      <a:pt x="576004" y="60043"/>
                    </a:lnTo>
                    <a:lnTo>
                      <a:pt x="577150" y="59690"/>
                    </a:lnTo>
                    <a:lnTo>
                      <a:pt x="577415" y="59690"/>
                    </a:lnTo>
                    <a:lnTo>
                      <a:pt x="578561" y="58808"/>
                    </a:lnTo>
                    <a:lnTo>
                      <a:pt x="578561" y="58456"/>
                    </a:lnTo>
                    <a:lnTo>
                      <a:pt x="580324" y="55546"/>
                    </a:lnTo>
                    <a:lnTo>
                      <a:pt x="580589" y="54665"/>
                    </a:lnTo>
                    <a:lnTo>
                      <a:pt x="580589" y="54400"/>
                    </a:lnTo>
                    <a:lnTo>
                      <a:pt x="580589" y="53871"/>
                    </a:lnTo>
                    <a:lnTo>
                      <a:pt x="580324" y="53607"/>
                    </a:lnTo>
                    <a:lnTo>
                      <a:pt x="580060" y="53607"/>
                    </a:lnTo>
                    <a:lnTo>
                      <a:pt x="579795" y="53342"/>
                    </a:lnTo>
                    <a:lnTo>
                      <a:pt x="579531" y="53607"/>
                    </a:lnTo>
                    <a:lnTo>
                      <a:pt x="579266" y="53607"/>
                    </a:lnTo>
                    <a:lnTo>
                      <a:pt x="578385" y="53871"/>
                    </a:lnTo>
                    <a:lnTo>
                      <a:pt x="578120" y="53871"/>
                    </a:lnTo>
                    <a:lnTo>
                      <a:pt x="576974" y="53254"/>
                    </a:lnTo>
                    <a:lnTo>
                      <a:pt x="576974" y="52989"/>
                    </a:lnTo>
                    <a:lnTo>
                      <a:pt x="576974" y="52637"/>
                    </a:lnTo>
                    <a:lnTo>
                      <a:pt x="576974" y="52372"/>
                    </a:lnTo>
                    <a:lnTo>
                      <a:pt x="579619" y="50080"/>
                    </a:lnTo>
                    <a:lnTo>
                      <a:pt x="583675" y="47170"/>
                    </a:lnTo>
                    <a:lnTo>
                      <a:pt x="586056" y="46906"/>
                    </a:lnTo>
                    <a:lnTo>
                      <a:pt x="585438" y="48669"/>
                    </a:lnTo>
                    <a:lnTo>
                      <a:pt x="586056" y="52725"/>
                    </a:lnTo>
                    <a:lnTo>
                      <a:pt x="586320" y="53077"/>
                    </a:lnTo>
                    <a:lnTo>
                      <a:pt x="586320" y="53695"/>
                    </a:lnTo>
                    <a:lnTo>
                      <a:pt x="587202" y="55458"/>
                    </a:lnTo>
                    <a:lnTo>
                      <a:pt x="587466" y="55722"/>
                    </a:lnTo>
                    <a:lnTo>
                      <a:pt x="588083" y="55722"/>
                    </a:lnTo>
                    <a:lnTo>
                      <a:pt x="588348" y="55722"/>
                    </a:lnTo>
                    <a:lnTo>
                      <a:pt x="588612" y="55458"/>
                    </a:lnTo>
                    <a:lnTo>
                      <a:pt x="589229" y="55193"/>
                    </a:lnTo>
                    <a:lnTo>
                      <a:pt x="589229" y="54841"/>
                    </a:lnTo>
                    <a:lnTo>
                      <a:pt x="589494" y="54576"/>
                    </a:lnTo>
                    <a:lnTo>
                      <a:pt x="589229" y="54312"/>
                    </a:lnTo>
                    <a:lnTo>
                      <a:pt x="589229" y="54047"/>
                    </a:lnTo>
                    <a:lnTo>
                      <a:pt x="588965" y="54047"/>
                    </a:lnTo>
                    <a:lnTo>
                      <a:pt x="588700" y="53783"/>
                    </a:lnTo>
                    <a:lnTo>
                      <a:pt x="588436" y="54047"/>
                    </a:lnTo>
                    <a:lnTo>
                      <a:pt x="588171" y="54047"/>
                    </a:lnTo>
                    <a:lnTo>
                      <a:pt x="587907" y="53783"/>
                    </a:lnTo>
                    <a:lnTo>
                      <a:pt x="588171" y="53518"/>
                    </a:lnTo>
                    <a:lnTo>
                      <a:pt x="588171" y="53254"/>
                    </a:lnTo>
                    <a:lnTo>
                      <a:pt x="589935" y="52901"/>
                    </a:lnTo>
                    <a:lnTo>
                      <a:pt x="590199" y="52901"/>
                    </a:lnTo>
                    <a:lnTo>
                      <a:pt x="591963" y="54136"/>
                    </a:lnTo>
                    <a:lnTo>
                      <a:pt x="592227" y="54136"/>
                    </a:lnTo>
                    <a:lnTo>
                      <a:pt x="593109" y="55546"/>
                    </a:lnTo>
                    <a:lnTo>
                      <a:pt x="593990" y="57045"/>
                    </a:lnTo>
                    <a:lnTo>
                      <a:pt x="593990" y="57309"/>
                    </a:lnTo>
                    <a:lnTo>
                      <a:pt x="593990" y="57662"/>
                    </a:lnTo>
                    <a:lnTo>
                      <a:pt x="593726" y="57927"/>
                    </a:lnTo>
                    <a:lnTo>
                      <a:pt x="593461" y="58191"/>
                    </a:lnTo>
                    <a:lnTo>
                      <a:pt x="589670" y="60484"/>
                    </a:lnTo>
                    <a:lnTo>
                      <a:pt x="588260" y="62247"/>
                    </a:lnTo>
                    <a:lnTo>
                      <a:pt x="585702" y="66038"/>
                    </a:lnTo>
                    <a:lnTo>
                      <a:pt x="584821" y="68948"/>
                    </a:lnTo>
                    <a:lnTo>
                      <a:pt x="582176" y="68066"/>
                    </a:lnTo>
                    <a:lnTo>
                      <a:pt x="581911" y="69565"/>
                    </a:lnTo>
                    <a:lnTo>
                      <a:pt x="582793" y="72474"/>
                    </a:lnTo>
                    <a:lnTo>
                      <a:pt x="582529" y="74767"/>
                    </a:lnTo>
                    <a:lnTo>
                      <a:pt x="581647" y="77059"/>
                    </a:lnTo>
                    <a:lnTo>
                      <a:pt x="580501" y="78558"/>
                    </a:lnTo>
                    <a:lnTo>
                      <a:pt x="579884" y="79704"/>
                    </a:lnTo>
                    <a:lnTo>
                      <a:pt x="579884" y="79087"/>
                    </a:lnTo>
                    <a:lnTo>
                      <a:pt x="579884" y="78823"/>
                    </a:lnTo>
                    <a:lnTo>
                      <a:pt x="579619" y="78823"/>
                    </a:lnTo>
                    <a:lnTo>
                      <a:pt x="579002" y="79440"/>
                    </a:lnTo>
                    <a:lnTo>
                      <a:pt x="578737" y="79440"/>
                    </a:lnTo>
                    <a:lnTo>
                      <a:pt x="577856" y="79440"/>
                    </a:lnTo>
                    <a:lnTo>
                      <a:pt x="578120" y="77676"/>
                    </a:lnTo>
                    <a:lnTo>
                      <a:pt x="578737" y="75384"/>
                    </a:lnTo>
                    <a:lnTo>
                      <a:pt x="578737" y="75031"/>
                    </a:lnTo>
                    <a:lnTo>
                      <a:pt x="578473" y="74767"/>
                    </a:lnTo>
                    <a:lnTo>
                      <a:pt x="578208" y="74767"/>
                    </a:lnTo>
                    <a:lnTo>
                      <a:pt x="577944" y="74767"/>
                    </a:lnTo>
                    <a:lnTo>
                      <a:pt x="577679" y="75031"/>
                    </a:lnTo>
                    <a:lnTo>
                      <a:pt x="577415" y="75031"/>
                    </a:lnTo>
                    <a:lnTo>
                      <a:pt x="577415" y="75384"/>
                    </a:lnTo>
                    <a:lnTo>
                      <a:pt x="577415" y="75649"/>
                    </a:lnTo>
                    <a:lnTo>
                      <a:pt x="577062" y="75913"/>
                    </a:lnTo>
                    <a:lnTo>
                      <a:pt x="577415" y="75913"/>
                    </a:lnTo>
                    <a:lnTo>
                      <a:pt x="576533" y="77324"/>
                    </a:lnTo>
                    <a:lnTo>
                      <a:pt x="575652" y="78470"/>
                    </a:lnTo>
                    <a:lnTo>
                      <a:pt x="574505" y="79087"/>
                    </a:lnTo>
                    <a:lnTo>
                      <a:pt x="574505" y="79352"/>
                    </a:lnTo>
                    <a:lnTo>
                      <a:pt x="573623" y="79352"/>
                    </a:lnTo>
                    <a:lnTo>
                      <a:pt x="573359" y="78470"/>
                    </a:lnTo>
                    <a:lnTo>
                      <a:pt x="573359" y="78205"/>
                    </a:lnTo>
                    <a:lnTo>
                      <a:pt x="572477" y="77941"/>
                    </a:lnTo>
                    <a:lnTo>
                      <a:pt x="570185" y="78823"/>
                    </a:lnTo>
                    <a:lnTo>
                      <a:pt x="570185" y="79087"/>
                    </a:lnTo>
                    <a:lnTo>
                      <a:pt x="568686" y="79969"/>
                    </a:lnTo>
                    <a:lnTo>
                      <a:pt x="568422" y="80233"/>
                    </a:lnTo>
                    <a:lnTo>
                      <a:pt x="567540" y="81732"/>
                    </a:lnTo>
                    <a:lnTo>
                      <a:pt x="567540" y="81996"/>
                    </a:lnTo>
                    <a:lnTo>
                      <a:pt x="567540" y="82614"/>
                    </a:lnTo>
                    <a:lnTo>
                      <a:pt x="568422" y="83231"/>
                    </a:lnTo>
                    <a:lnTo>
                      <a:pt x="567540" y="84730"/>
                    </a:lnTo>
                    <a:lnTo>
                      <a:pt x="566394" y="85611"/>
                    </a:lnTo>
                    <a:lnTo>
                      <a:pt x="565777" y="87728"/>
                    </a:lnTo>
                    <a:lnTo>
                      <a:pt x="565512" y="87992"/>
                    </a:lnTo>
                    <a:lnTo>
                      <a:pt x="565512" y="88521"/>
                    </a:lnTo>
                    <a:lnTo>
                      <a:pt x="566129" y="91431"/>
                    </a:lnTo>
                    <a:lnTo>
                      <a:pt x="566129" y="91783"/>
                    </a:lnTo>
                    <a:lnTo>
                      <a:pt x="566482" y="91783"/>
                    </a:lnTo>
                    <a:lnTo>
                      <a:pt x="566747" y="92048"/>
                    </a:lnTo>
                    <a:lnTo>
                      <a:pt x="567011" y="92048"/>
                    </a:lnTo>
                    <a:lnTo>
                      <a:pt x="567276" y="92048"/>
                    </a:lnTo>
                    <a:lnTo>
                      <a:pt x="567628" y="92048"/>
                    </a:lnTo>
                    <a:lnTo>
                      <a:pt x="568245" y="91783"/>
                    </a:lnTo>
                    <a:lnTo>
                      <a:pt x="568774" y="91166"/>
                    </a:lnTo>
                    <a:lnTo>
                      <a:pt x="569392" y="90549"/>
                    </a:lnTo>
                    <a:lnTo>
                      <a:pt x="568774" y="92312"/>
                    </a:lnTo>
                    <a:lnTo>
                      <a:pt x="567893" y="94957"/>
                    </a:lnTo>
                    <a:lnTo>
                      <a:pt x="566129" y="97250"/>
                    </a:lnTo>
                    <a:lnTo>
                      <a:pt x="565248" y="99895"/>
                    </a:lnTo>
                    <a:lnTo>
                      <a:pt x="564983" y="101923"/>
                    </a:lnTo>
                    <a:lnTo>
                      <a:pt x="564102" y="103069"/>
                    </a:lnTo>
                    <a:lnTo>
                      <a:pt x="562602" y="103951"/>
                    </a:lnTo>
                    <a:lnTo>
                      <a:pt x="561985" y="104215"/>
                    </a:lnTo>
                    <a:lnTo>
                      <a:pt x="561721" y="104568"/>
                    </a:lnTo>
                    <a:lnTo>
                      <a:pt x="561104" y="104832"/>
                    </a:lnTo>
                    <a:lnTo>
                      <a:pt x="557930" y="108888"/>
                    </a:lnTo>
                    <a:lnTo>
                      <a:pt x="557665" y="109153"/>
                    </a:lnTo>
                    <a:lnTo>
                      <a:pt x="556255" y="111445"/>
                    </a:lnTo>
                    <a:lnTo>
                      <a:pt x="555902" y="111797"/>
                    </a:lnTo>
                    <a:lnTo>
                      <a:pt x="555637" y="112326"/>
                    </a:lnTo>
                    <a:lnTo>
                      <a:pt x="555373" y="113208"/>
                    </a:lnTo>
                    <a:lnTo>
                      <a:pt x="555373" y="113473"/>
                    </a:lnTo>
                    <a:lnTo>
                      <a:pt x="555373" y="113825"/>
                    </a:lnTo>
                    <a:lnTo>
                      <a:pt x="555373" y="114090"/>
                    </a:lnTo>
                    <a:lnTo>
                      <a:pt x="554491" y="114619"/>
                    </a:lnTo>
                    <a:lnTo>
                      <a:pt x="552463" y="116382"/>
                    </a:lnTo>
                    <a:lnTo>
                      <a:pt x="551581" y="116118"/>
                    </a:lnTo>
                    <a:lnTo>
                      <a:pt x="551846" y="118763"/>
                    </a:lnTo>
                    <a:lnTo>
                      <a:pt x="551846" y="119380"/>
                    </a:lnTo>
                    <a:lnTo>
                      <a:pt x="552110" y="120526"/>
                    </a:lnTo>
                    <a:lnTo>
                      <a:pt x="552110" y="120791"/>
                    </a:lnTo>
                    <a:lnTo>
                      <a:pt x="552110" y="121055"/>
                    </a:lnTo>
                    <a:lnTo>
                      <a:pt x="552375" y="121672"/>
                    </a:lnTo>
                    <a:lnTo>
                      <a:pt x="552639" y="121937"/>
                    </a:lnTo>
                    <a:lnTo>
                      <a:pt x="552639" y="122202"/>
                    </a:lnTo>
                    <a:lnTo>
                      <a:pt x="553786" y="123347"/>
                    </a:lnTo>
                    <a:lnTo>
                      <a:pt x="554668" y="123965"/>
                    </a:lnTo>
                    <a:lnTo>
                      <a:pt x="554932" y="123965"/>
                    </a:lnTo>
                    <a:lnTo>
                      <a:pt x="555197" y="123965"/>
                    </a:lnTo>
                    <a:lnTo>
                      <a:pt x="556343" y="124582"/>
                    </a:lnTo>
                    <a:lnTo>
                      <a:pt x="559869" y="127491"/>
                    </a:lnTo>
                    <a:lnTo>
                      <a:pt x="560486" y="127756"/>
                    </a:lnTo>
                    <a:lnTo>
                      <a:pt x="561104" y="128373"/>
                    </a:lnTo>
                    <a:lnTo>
                      <a:pt x="561104" y="128638"/>
                    </a:lnTo>
                    <a:lnTo>
                      <a:pt x="561368" y="129255"/>
                    </a:lnTo>
                    <a:lnTo>
                      <a:pt x="561721" y="129519"/>
                    </a:lnTo>
                    <a:lnTo>
                      <a:pt x="563749" y="130666"/>
                    </a:lnTo>
                    <a:lnTo>
                      <a:pt x="566923" y="132693"/>
                    </a:lnTo>
                    <a:lnTo>
                      <a:pt x="567187" y="133311"/>
                    </a:lnTo>
                    <a:lnTo>
                      <a:pt x="567540" y="134810"/>
                    </a:lnTo>
                    <a:lnTo>
                      <a:pt x="567540" y="136220"/>
                    </a:lnTo>
                    <a:lnTo>
                      <a:pt x="567187" y="136485"/>
                    </a:lnTo>
                    <a:lnTo>
                      <a:pt x="567540" y="136749"/>
                    </a:lnTo>
                    <a:lnTo>
                      <a:pt x="567540" y="137014"/>
                    </a:lnTo>
                    <a:lnTo>
                      <a:pt x="568157" y="137895"/>
                    </a:lnTo>
                    <a:lnTo>
                      <a:pt x="568422" y="137895"/>
                    </a:lnTo>
                    <a:lnTo>
                      <a:pt x="568686" y="138160"/>
                    </a:lnTo>
                    <a:lnTo>
                      <a:pt x="571067" y="139306"/>
                    </a:lnTo>
                    <a:lnTo>
                      <a:pt x="573094" y="140805"/>
                    </a:lnTo>
                    <a:lnTo>
                      <a:pt x="573712" y="141069"/>
                    </a:lnTo>
                    <a:lnTo>
                      <a:pt x="575123" y="142833"/>
                    </a:lnTo>
                    <a:lnTo>
                      <a:pt x="575740" y="144332"/>
                    </a:lnTo>
                    <a:lnTo>
                      <a:pt x="576621" y="145213"/>
                    </a:lnTo>
                    <a:lnTo>
                      <a:pt x="578649" y="145478"/>
                    </a:lnTo>
                    <a:lnTo>
                      <a:pt x="580148" y="145478"/>
                    </a:lnTo>
                    <a:lnTo>
                      <a:pt x="582440" y="145478"/>
                    </a:lnTo>
                    <a:lnTo>
                      <a:pt x="584469" y="146889"/>
                    </a:lnTo>
                    <a:lnTo>
                      <a:pt x="587113" y="148917"/>
                    </a:lnTo>
                    <a:lnTo>
                      <a:pt x="587113" y="149269"/>
                    </a:lnTo>
                    <a:lnTo>
                      <a:pt x="587378" y="149534"/>
                    </a:lnTo>
                    <a:lnTo>
                      <a:pt x="587642" y="149886"/>
                    </a:lnTo>
                    <a:lnTo>
                      <a:pt x="588260" y="150415"/>
                    </a:lnTo>
                    <a:lnTo>
                      <a:pt x="588524" y="150680"/>
                    </a:lnTo>
                    <a:lnTo>
                      <a:pt x="588789" y="150944"/>
                    </a:lnTo>
                    <a:lnTo>
                      <a:pt x="589935" y="151561"/>
                    </a:lnTo>
                    <a:lnTo>
                      <a:pt x="590816" y="151826"/>
                    </a:lnTo>
                    <a:lnTo>
                      <a:pt x="591081" y="152090"/>
                    </a:lnTo>
                    <a:lnTo>
                      <a:pt x="591345" y="152090"/>
                    </a:lnTo>
                    <a:lnTo>
                      <a:pt x="591610" y="151826"/>
                    </a:lnTo>
                    <a:lnTo>
                      <a:pt x="591963" y="151826"/>
                    </a:lnTo>
                    <a:lnTo>
                      <a:pt x="592227" y="152090"/>
                    </a:lnTo>
                    <a:lnTo>
                      <a:pt x="593109" y="152355"/>
                    </a:lnTo>
                    <a:lnTo>
                      <a:pt x="594255" y="152619"/>
                    </a:lnTo>
                    <a:lnTo>
                      <a:pt x="595666" y="153766"/>
                    </a:lnTo>
                    <a:lnTo>
                      <a:pt x="595930" y="153766"/>
                    </a:lnTo>
                    <a:lnTo>
                      <a:pt x="596548" y="154912"/>
                    </a:lnTo>
                    <a:lnTo>
                      <a:pt x="596812" y="155529"/>
                    </a:lnTo>
                    <a:lnTo>
                      <a:pt x="596812" y="155970"/>
                    </a:lnTo>
                    <a:lnTo>
                      <a:pt x="597077" y="156852"/>
                    </a:lnTo>
                    <a:lnTo>
                      <a:pt x="597077" y="157116"/>
                    </a:lnTo>
                    <a:lnTo>
                      <a:pt x="597694" y="158527"/>
                    </a:lnTo>
                    <a:lnTo>
                      <a:pt x="598311" y="158791"/>
                    </a:lnTo>
                    <a:lnTo>
                      <a:pt x="599193" y="160026"/>
                    </a:lnTo>
                    <a:lnTo>
                      <a:pt x="599810" y="160643"/>
                    </a:lnTo>
                    <a:lnTo>
                      <a:pt x="600427" y="161525"/>
                    </a:lnTo>
                    <a:lnTo>
                      <a:pt x="601573" y="163023"/>
                    </a:lnTo>
                    <a:lnTo>
                      <a:pt x="602455" y="163905"/>
                    </a:lnTo>
                    <a:lnTo>
                      <a:pt x="603072" y="164434"/>
                    </a:lnTo>
                    <a:lnTo>
                      <a:pt x="603601" y="165316"/>
                    </a:lnTo>
                    <a:lnTo>
                      <a:pt x="603865" y="165316"/>
                    </a:lnTo>
                    <a:lnTo>
                      <a:pt x="605629" y="166197"/>
                    </a:lnTo>
                    <a:lnTo>
                      <a:pt x="608538" y="167079"/>
                    </a:lnTo>
                    <a:lnTo>
                      <a:pt x="609420" y="167079"/>
                    </a:lnTo>
                    <a:lnTo>
                      <a:pt x="609685" y="167344"/>
                    </a:lnTo>
                    <a:lnTo>
                      <a:pt x="610302" y="167344"/>
                    </a:lnTo>
                    <a:lnTo>
                      <a:pt x="612065" y="167079"/>
                    </a:lnTo>
                    <a:lnTo>
                      <a:pt x="612947" y="167079"/>
                    </a:lnTo>
                    <a:lnTo>
                      <a:pt x="613212" y="167079"/>
                    </a:lnTo>
                    <a:lnTo>
                      <a:pt x="613476" y="167344"/>
                    </a:lnTo>
                    <a:lnTo>
                      <a:pt x="613741" y="167608"/>
                    </a:lnTo>
                    <a:lnTo>
                      <a:pt x="614005" y="167961"/>
                    </a:lnTo>
                    <a:lnTo>
                      <a:pt x="616650" y="169371"/>
                    </a:lnTo>
                    <a:lnTo>
                      <a:pt x="616914" y="169371"/>
                    </a:lnTo>
                    <a:lnTo>
                      <a:pt x="617532" y="169636"/>
                    </a:lnTo>
                    <a:lnTo>
                      <a:pt x="618149" y="169636"/>
                    </a:lnTo>
                    <a:lnTo>
                      <a:pt x="618766" y="169636"/>
                    </a:lnTo>
                    <a:lnTo>
                      <a:pt x="619912" y="169636"/>
                    </a:lnTo>
                    <a:lnTo>
                      <a:pt x="620177" y="169636"/>
                    </a:lnTo>
                    <a:lnTo>
                      <a:pt x="620177" y="169989"/>
                    </a:lnTo>
                    <a:lnTo>
                      <a:pt x="620441" y="169989"/>
                    </a:lnTo>
                    <a:lnTo>
                      <a:pt x="620706" y="170253"/>
                    </a:lnTo>
                    <a:lnTo>
                      <a:pt x="620706" y="170518"/>
                    </a:lnTo>
                    <a:lnTo>
                      <a:pt x="622469" y="174309"/>
                    </a:lnTo>
                    <a:lnTo>
                      <a:pt x="622204" y="175455"/>
                    </a:lnTo>
                    <a:lnTo>
                      <a:pt x="622204" y="175720"/>
                    </a:lnTo>
                    <a:lnTo>
                      <a:pt x="622204" y="175984"/>
                    </a:lnTo>
                    <a:lnTo>
                      <a:pt x="622204" y="176249"/>
                    </a:lnTo>
                    <a:lnTo>
                      <a:pt x="622204" y="176513"/>
                    </a:lnTo>
                    <a:lnTo>
                      <a:pt x="622204" y="177395"/>
                    </a:lnTo>
                    <a:lnTo>
                      <a:pt x="622822" y="179423"/>
                    </a:lnTo>
                    <a:lnTo>
                      <a:pt x="622822" y="179775"/>
                    </a:lnTo>
                    <a:lnTo>
                      <a:pt x="623086" y="180040"/>
                    </a:lnTo>
                    <a:lnTo>
                      <a:pt x="623351" y="180657"/>
                    </a:lnTo>
                    <a:lnTo>
                      <a:pt x="623615" y="180921"/>
                    </a:lnTo>
                    <a:lnTo>
                      <a:pt x="624233" y="181186"/>
                    </a:lnTo>
                    <a:lnTo>
                      <a:pt x="625114" y="181451"/>
                    </a:lnTo>
                    <a:lnTo>
                      <a:pt x="625378" y="181451"/>
                    </a:lnTo>
                    <a:lnTo>
                      <a:pt x="625996" y="181451"/>
                    </a:lnTo>
                    <a:lnTo>
                      <a:pt x="626613" y="181451"/>
                    </a:lnTo>
                    <a:lnTo>
                      <a:pt x="626878" y="181451"/>
                    </a:lnTo>
                    <a:lnTo>
                      <a:pt x="627142" y="181803"/>
                    </a:lnTo>
                    <a:lnTo>
                      <a:pt x="627407" y="181803"/>
                    </a:lnTo>
                    <a:lnTo>
                      <a:pt x="628905" y="183214"/>
                    </a:lnTo>
                    <a:lnTo>
                      <a:pt x="629170" y="183214"/>
                    </a:lnTo>
                    <a:lnTo>
                      <a:pt x="629170" y="183478"/>
                    </a:lnTo>
                    <a:lnTo>
                      <a:pt x="630051" y="184360"/>
                    </a:lnTo>
                    <a:lnTo>
                      <a:pt x="630051" y="184625"/>
                    </a:lnTo>
                    <a:lnTo>
                      <a:pt x="630316" y="185242"/>
                    </a:lnTo>
                    <a:lnTo>
                      <a:pt x="630580" y="185242"/>
                    </a:lnTo>
                    <a:lnTo>
                      <a:pt x="630845" y="185506"/>
                    </a:lnTo>
                    <a:lnTo>
                      <a:pt x="631462" y="185771"/>
                    </a:lnTo>
                    <a:lnTo>
                      <a:pt x="632079" y="185771"/>
                    </a:lnTo>
                    <a:lnTo>
                      <a:pt x="632961" y="186388"/>
                    </a:lnTo>
                    <a:lnTo>
                      <a:pt x="633843" y="186388"/>
                    </a:lnTo>
                    <a:lnTo>
                      <a:pt x="634460" y="186653"/>
                    </a:lnTo>
                    <a:lnTo>
                      <a:pt x="635870" y="187534"/>
                    </a:lnTo>
                    <a:lnTo>
                      <a:pt x="637017" y="188680"/>
                    </a:lnTo>
                    <a:lnTo>
                      <a:pt x="637017" y="189033"/>
                    </a:lnTo>
                    <a:lnTo>
                      <a:pt x="637281" y="189298"/>
                    </a:lnTo>
                    <a:lnTo>
                      <a:pt x="637281" y="189562"/>
                    </a:lnTo>
                    <a:lnTo>
                      <a:pt x="637546" y="189827"/>
                    </a:lnTo>
                    <a:lnTo>
                      <a:pt x="638163" y="189827"/>
                    </a:lnTo>
                    <a:lnTo>
                      <a:pt x="638780" y="190179"/>
                    </a:lnTo>
                    <a:lnTo>
                      <a:pt x="639045" y="190179"/>
                    </a:lnTo>
                    <a:lnTo>
                      <a:pt x="640544" y="190179"/>
                    </a:lnTo>
                    <a:lnTo>
                      <a:pt x="646098" y="189298"/>
                    </a:lnTo>
                    <a:lnTo>
                      <a:pt x="646362" y="189033"/>
                    </a:lnTo>
                    <a:lnTo>
                      <a:pt x="648655" y="188151"/>
                    </a:lnTo>
                    <a:lnTo>
                      <a:pt x="649537" y="187887"/>
                    </a:lnTo>
                    <a:lnTo>
                      <a:pt x="651565" y="186653"/>
                    </a:lnTo>
                    <a:lnTo>
                      <a:pt x="651829" y="186653"/>
                    </a:lnTo>
                    <a:lnTo>
                      <a:pt x="652094" y="186388"/>
                    </a:lnTo>
                    <a:lnTo>
                      <a:pt x="652711" y="185771"/>
                    </a:lnTo>
                    <a:lnTo>
                      <a:pt x="655003" y="184007"/>
                    </a:lnTo>
                    <a:lnTo>
                      <a:pt x="655620" y="183655"/>
                    </a:lnTo>
                    <a:lnTo>
                      <a:pt x="655885" y="183655"/>
                    </a:lnTo>
                    <a:lnTo>
                      <a:pt x="656149" y="183655"/>
                    </a:lnTo>
                    <a:lnTo>
                      <a:pt x="656414" y="183655"/>
                    </a:lnTo>
                    <a:lnTo>
                      <a:pt x="656678" y="183390"/>
                    </a:lnTo>
                    <a:lnTo>
                      <a:pt x="657560" y="182509"/>
                    </a:lnTo>
                    <a:lnTo>
                      <a:pt x="658177" y="181627"/>
                    </a:lnTo>
                    <a:lnTo>
                      <a:pt x="658177" y="181010"/>
                    </a:lnTo>
                    <a:lnTo>
                      <a:pt x="660558" y="176072"/>
                    </a:lnTo>
                    <a:lnTo>
                      <a:pt x="661175" y="174573"/>
                    </a:lnTo>
                    <a:lnTo>
                      <a:pt x="661175" y="173956"/>
                    </a:lnTo>
                    <a:lnTo>
                      <a:pt x="661175" y="173692"/>
                    </a:lnTo>
                    <a:lnTo>
                      <a:pt x="661175" y="173427"/>
                    </a:lnTo>
                    <a:lnTo>
                      <a:pt x="661175" y="172810"/>
                    </a:lnTo>
                    <a:lnTo>
                      <a:pt x="661175" y="172546"/>
                    </a:lnTo>
                    <a:lnTo>
                      <a:pt x="661439" y="172546"/>
                    </a:lnTo>
                    <a:lnTo>
                      <a:pt x="661439" y="172281"/>
                    </a:lnTo>
                    <a:lnTo>
                      <a:pt x="661968" y="171664"/>
                    </a:lnTo>
                    <a:lnTo>
                      <a:pt x="663996" y="169283"/>
                    </a:lnTo>
                    <a:lnTo>
                      <a:pt x="667523" y="165492"/>
                    </a:lnTo>
                    <a:lnTo>
                      <a:pt x="667523" y="165227"/>
                    </a:lnTo>
                    <a:lnTo>
                      <a:pt x="668140" y="164875"/>
                    </a:lnTo>
                    <a:lnTo>
                      <a:pt x="668404" y="163993"/>
                    </a:lnTo>
                    <a:lnTo>
                      <a:pt x="668669" y="163729"/>
                    </a:lnTo>
                    <a:lnTo>
                      <a:pt x="670433" y="160819"/>
                    </a:lnTo>
                    <a:lnTo>
                      <a:pt x="670962" y="159673"/>
                    </a:lnTo>
                    <a:lnTo>
                      <a:pt x="671314" y="159056"/>
                    </a:lnTo>
                    <a:lnTo>
                      <a:pt x="671314" y="158791"/>
                    </a:lnTo>
                    <a:lnTo>
                      <a:pt x="671314" y="158439"/>
                    </a:lnTo>
                    <a:lnTo>
                      <a:pt x="671314" y="158174"/>
                    </a:lnTo>
                    <a:lnTo>
                      <a:pt x="672196" y="156146"/>
                    </a:lnTo>
                    <a:lnTo>
                      <a:pt x="672460" y="155529"/>
                    </a:lnTo>
                    <a:lnTo>
                      <a:pt x="673342" y="153501"/>
                    </a:lnTo>
                    <a:lnTo>
                      <a:pt x="675370" y="149975"/>
                    </a:lnTo>
                    <a:lnTo>
                      <a:pt x="675634" y="149446"/>
                    </a:lnTo>
                    <a:lnTo>
                      <a:pt x="675634" y="149093"/>
                    </a:lnTo>
                    <a:lnTo>
                      <a:pt x="675899" y="148828"/>
                    </a:lnTo>
                    <a:lnTo>
                      <a:pt x="675899" y="145037"/>
                    </a:lnTo>
                    <a:lnTo>
                      <a:pt x="676163" y="140629"/>
                    </a:lnTo>
                    <a:lnTo>
                      <a:pt x="676163" y="138865"/>
                    </a:lnTo>
                    <a:lnTo>
                      <a:pt x="676428" y="137366"/>
                    </a:lnTo>
                    <a:lnTo>
                      <a:pt x="677045" y="136220"/>
                    </a:lnTo>
                    <a:lnTo>
                      <a:pt x="677927" y="133311"/>
                    </a:lnTo>
                    <a:lnTo>
                      <a:pt x="678192" y="131547"/>
                    </a:lnTo>
                    <a:lnTo>
                      <a:pt x="679690" y="130666"/>
                    </a:lnTo>
                    <a:lnTo>
                      <a:pt x="680837" y="129784"/>
                    </a:lnTo>
                    <a:lnTo>
                      <a:pt x="682335" y="129167"/>
                    </a:lnTo>
                    <a:lnTo>
                      <a:pt x="682335" y="127139"/>
                    </a:lnTo>
                    <a:lnTo>
                      <a:pt x="682864" y="127139"/>
                    </a:lnTo>
                    <a:lnTo>
                      <a:pt x="682864" y="126257"/>
                    </a:lnTo>
                    <a:lnTo>
                      <a:pt x="684010" y="125993"/>
                    </a:lnTo>
                    <a:lnTo>
                      <a:pt x="683746" y="123965"/>
                    </a:lnTo>
                    <a:lnTo>
                      <a:pt x="683746" y="123083"/>
                    </a:lnTo>
                    <a:lnTo>
                      <a:pt x="685157" y="123347"/>
                    </a:lnTo>
                    <a:lnTo>
                      <a:pt x="685157" y="122731"/>
                    </a:lnTo>
                    <a:lnTo>
                      <a:pt x="685157" y="122466"/>
                    </a:lnTo>
                    <a:lnTo>
                      <a:pt x="685157" y="121849"/>
                    </a:lnTo>
                    <a:lnTo>
                      <a:pt x="684892" y="120703"/>
                    </a:lnTo>
                    <a:lnTo>
                      <a:pt x="684539" y="120350"/>
                    </a:lnTo>
                    <a:lnTo>
                      <a:pt x="684539" y="120085"/>
                    </a:lnTo>
                    <a:lnTo>
                      <a:pt x="684539" y="119821"/>
                    </a:lnTo>
                    <a:lnTo>
                      <a:pt x="684539" y="119556"/>
                    </a:lnTo>
                    <a:lnTo>
                      <a:pt x="684275" y="118939"/>
                    </a:lnTo>
                    <a:lnTo>
                      <a:pt x="684010" y="116647"/>
                    </a:lnTo>
                    <a:lnTo>
                      <a:pt x="684010" y="116382"/>
                    </a:lnTo>
                    <a:lnTo>
                      <a:pt x="683481" y="114883"/>
                    </a:lnTo>
                    <a:lnTo>
                      <a:pt x="684980" y="111709"/>
                    </a:lnTo>
                    <a:lnTo>
                      <a:pt x="684628" y="112855"/>
                    </a:lnTo>
                    <a:lnTo>
                      <a:pt x="685245" y="111092"/>
                    </a:lnTo>
                    <a:lnTo>
                      <a:pt x="684363" y="111092"/>
                    </a:lnTo>
                    <a:lnTo>
                      <a:pt x="684363" y="109681"/>
                    </a:lnTo>
                    <a:lnTo>
                      <a:pt x="684363" y="109329"/>
                    </a:lnTo>
                    <a:lnTo>
                      <a:pt x="684363" y="108712"/>
                    </a:lnTo>
                    <a:lnTo>
                      <a:pt x="684628" y="108447"/>
                    </a:lnTo>
                    <a:lnTo>
                      <a:pt x="684980" y="107301"/>
                    </a:lnTo>
                    <a:lnTo>
                      <a:pt x="685245" y="106684"/>
                    </a:lnTo>
                    <a:lnTo>
                      <a:pt x="684980" y="105273"/>
                    </a:lnTo>
                    <a:lnTo>
                      <a:pt x="685597" y="104656"/>
                    </a:lnTo>
                    <a:lnTo>
                      <a:pt x="686479" y="104656"/>
                    </a:lnTo>
                    <a:lnTo>
                      <a:pt x="686744" y="104391"/>
                    </a:lnTo>
                    <a:lnTo>
                      <a:pt x="686744" y="104127"/>
                    </a:lnTo>
                    <a:lnTo>
                      <a:pt x="686744" y="103510"/>
                    </a:lnTo>
                    <a:lnTo>
                      <a:pt x="687008" y="102364"/>
                    </a:lnTo>
                    <a:lnTo>
                      <a:pt x="687361" y="101217"/>
                    </a:lnTo>
                    <a:lnTo>
                      <a:pt x="687361" y="100865"/>
                    </a:lnTo>
                    <a:lnTo>
                      <a:pt x="687361" y="100247"/>
                    </a:lnTo>
                    <a:lnTo>
                      <a:pt x="687361" y="99983"/>
                    </a:lnTo>
                    <a:lnTo>
                      <a:pt x="687361" y="99366"/>
                    </a:lnTo>
                    <a:lnTo>
                      <a:pt x="687008" y="98749"/>
                    </a:lnTo>
                    <a:lnTo>
                      <a:pt x="686744" y="98131"/>
                    </a:lnTo>
                    <a:lnTo>
                      <a:pt x="686215" y="97867"/>
                    </a:lnTo>
                    <a:lnTo>
                      <a:pt x="686215" y="97602"/>
                    </a:lnTo>
                    <a:lnTo>
                      <a:pt x="685862" y="96985"/>
                    </a:lnTo>
                    <a:lnTo>
                      <a:pt x="685597" y="96103"/>
                    </a:lnTo>
                    <a:lnTo>
                      <a:pt x="685333" y="96103"/>
                    </a:lnTo>
                    <a:lnTo>
                      <a:pt x="685333" y="95839"/>
                    </a:lnTo>
                    <a:lnTo>
                      <a:pt x="685333" y="95222"/>
                    </a:lnTo>
                    <a:lnTo>
                      <a:pt x="685333" y="94957"/>
                    </a:lnTo>
                    <a:lnTo>
                      <a:pt x="685333" y="94605"/>
                    </a:lnTo>
                    <a:lnTo>
                      <a:pt x="685597" y="93988"/>
                    </a:lnTo>
                    <a:lnTo>
                      <a:pt x="685597" y="93106"/>
                    </a:lnTo>
                    <a:lnTo>
                      <a:pt x="685862" y="92224"/>
                    </a:lnTo>
                    <a:lnTo>
                      <a:pt x="686215" y="91607"/>
                    </a:lnTo>
                    <a:lnTo>
                      <a:pt x="685068" y="89579"/>
                    </a:lnTo>
                    <a:lnTo>
                      <a:pt x="685068" y="88962"/>
                    </a:lnTo>
                    <a:lnTo>
                      <a:pt x="685333" y="87463"/>
                    </a:lnTo>
                    <a:lnTo>
                      <a:pt x="686479" y="86934"/>
                    </a:lnTo>
                    <a:lnTo>
                      <a:pt x="686479" y="85788"/>
                    </a:lnTo>
                    <a:lnTo>
                      <a:pt x="686744" y="85523"/>
                    </a:lnTo>
                    <a:lnTo>
                      <a:pt x="687361" y="83760"/>
                    </a:lnTo>
                    <a:lnTo>
                      <a:pt x="687978" y="83143"/>
                    </a:lnTo>
                    <a:lnTo>
                      <a:pt x="687978" y="82261"/>
                    </a:lnTo>
                    <a:lnTo>
                      <a:pt x="688595" y="81644"/>
                    </a:lnTo>
                    <a:lnTo>
                      <a:pt x="689213" y="81380"/>
                    </a:lnTo>
                    <a:lnTo>
                      <a:pt x="689829" y="80762"/>
                    </a:lnTo>
                    <a:lnTo>
                      <a:pt x="689829" y="79881"/>
                    </a:lnTo>
                    <a:lnTo>
                      <a:pt x="690094" y="78382"/>
                    </a:lnTo>
                    <a:lnTo>
                      <a:pt x="690094" y="77765"/>
                    </a:lnTo>
                    <a:lnTo>
                      <a:pt x="690359" y="76883"/>
                    </a:lnTo>
                    <a:lnTo>
                      <a:pt x="690094" y="76618"/>
                    </a:lnTo>
                    <a:lnTo>
                      <a:pt x="690711" y="75384"/>
                    </a:lnTo>
                    <a:lnTo>
                      <a:pt x="690359" y="74855"/>
                    </a:lnTo>
                    <a:lnTo>
                      <a:pt x="690359" y="73092"/>
                    </a:lnTo>
                    <a:lnTo>
                      <a:pt x="691240" y="72210"/>
                    </a:lnTo>
                    <a:lnTo>
                      <a:pt x="691240" y="71857"/>
                    </a:lnTo>
                    <a:lnTo>
                      <a:pt x="691505" y="71593"/>
                    </a:lnTo>
                    <a:lnTo>
                      <a:pt x="691505" y="71328"/>
                    </a:lnTo>
                    <a:lnTo>
                      <a:pt x="691769" y="70711"/>
                    </a:lnTo>
                    <a:lnTo>
                      <a:pt x="692122" y="70446"/>
                    </a:lnTo>
                    <a:lnTo>
                      <a:pt x="692739" y="70182"/>
                    </a:lnTo>
                    <a:lnTo>
                      <a:pt x="692739" y="69917"/>
                    </a:lnTo>
                    <a:lnTo>
                      <a:pt x="692739" y="70182"/>
                    </a:lnTo>
                    <a:lnTo>
                      <a:pt x="693004" y="70182"/>
                    </a:lnTo>
                    <a:lnTo>
                      <a:pt x="692387" y="68419"/>
                    </a:lnTo>
                    <a:lnTo>
                      <a:pt x="693268" y="67537"/>
                    </a:lnTo>
                    <a:lnTo>
                      <a:pt x="693885" y="66391"/>
                    </a:lnTo>
                    <a:lnTo>
                      <a:pt x="694503" y="65509"/>
                    </a:lnTo>
                    <a:lnTo>
                      <a:pt x="695384" y="65245"/>
                    </a:lnTo>
                    <a:lnTo>
                      <a:pt x="696001" y="64980"/>
                    </a:lnTo>
                    <a:lnTo>
                      <a:pt x="696266" y="65862"/>
                    </a:lnTo>
                    <a:lnTo>
                      <a:pt x="696795" y="65597"/>
                    </a:lnTo>
                    <a:lnTo>
                      <a:pt x="696795" y="65333"/>
                    </a:lnTo>
                    <a:lnTo>
                      <a:pt x="696795" y="65068"/>
                    </a:lnTo>
                    <a:lnTo>
                      <a:pt x="697059" y="64716"/>
                    </a:lnTo>
                    <a:lnTo>
                      <a:pt x="697324" y="64716"/>
                    </a:lnTo>
                    <a:lnTo>
                      <a:pt x="697588" y="64716"/>
                    </a:lnTo>
                    <a:lnTo>
                      <a:pt x="697853" y="65068"/>
                    </a:lnTo>
                    <a:lnTo>
                      <a:pt x="698205" y="65068"/>
                    </a:lnTo>
                    <a:lnTo>
                      <a:pt x="698205" y="65333"/>
                    </a:lnTo>
                    <a:lnTo>
                      <a:pt x="698205" y="65597"/>
                    </a:lnTo>
                    <a:lnTo>
                      <a:pt x="698734" y="66126"/>
                    </a:lnTo>
                    <a:lnTo>
                      <a:pt x="698734" y="66744"/>
                    </a:lnTo>
                    <a:lnTo>
                      <a:pt x="698470" y="67008"/>
                    </a:lnTo>
                    <a:lnTo>
                      <a:pt x="698470" y="67625"/>
                    </a:lnTo>
                    <a:lnTo>
                      <a:pt x="698470" y="67978"/>
                    </a:lnTo>
                    <a:lnTo>
                      <a:pt x="698470" y="68242"/>
                    </a:lnTo>
                    <a:lnTo>
                      <a:pt x="698470" y="68595"/>
                    </a:lnTo>
                    <a:lnTo>
                      <a:pt x="698999" y="70006"/>
                    </a:lnTo>
                    <a:lnTo>
                      <a:pt x="698999" y="70270"/>
                    </a:lnTo>
                    <a:lnTo>
                      <a:pt x="699352" y="69388"/>
                    </a:lnTo>
                    <a:lnTo>
                      <a:pt x="699352" y="69124"/>
                    </a:lnTo>
                    <a:lnTo>
                      <a:pt x="699352" y="68859"/>
                    </a:lnTo>
                    <a:lnTo>
                      <a:pt x="698734" y="65068"/>
                    </a:lnTo>
                    <a:lnTo>
                      <a:pt x="697853" y="64187"/>
                    </a:lnTo>
                    <a:lnTo>
                      <a:pt x="696707" y="61894"/>
                    </a:lnTo>
                    <a:lnTo>
                      <a:pt x="695825" y="60395"/>
                    </a:lnTo>
                    <a:lnTo>
                      <a:pt x="695825" y="59778"/>
                    </a:lnTo>
                    <a:lnTo>
                      <a:pt x="696354" y="59514"/>
                    </a:lnTo>
                    <a:lnTo>
                      <a:pt x="696618" y="59249"/>
                    </a:lnTo>
                    <a:lnTo>
                      <a:pt x="696354" y="58896"/>
                    </a:lnTo>
                    <a:lnTo>
                      <a:pt x="696089" y="58896"/>
                    </a:lnTo>
                    <a:lnTo>
                      <a:pt x="694943" y="58632"/>
                    </a:lnTo>
                    <a:lnTo>
                      <a:pt x="694591" y="58632"/>
                    </a:lnTo>
                    <a:lnTo>
                      <a:pt x="694591" y="58896"/>
                    </a:lnTo>
                    <a:lnTo>
                      <a:pt x="694326" y="60043"/>
                    </a:lnTo>
                    <a:lnTo>
                      <a:pt x="694326" y="60307"/>
                    </a:lnTo>
                    <a:lnTo>
                      <a:pt x="694326" y="60660"/>
                    </a:lnTo>
                    <a:lnTo>
                      <a:pt x="694326" y="60924"/>
                    </a:lnTo>
                    <a:lnTo>
                      <a:pt x="694591" y="60924"/>
                    </a:lnTo>
                    <a:lnTo>
                      <a:pt x="694943" y="61189"/>
                    </a:lnTo>
                    <a:lnTo>
                      <a:pt x="693797" y="61806"/>
                    </a:lnTo>
                    <a:lnTo>
                      <a:pt x="693533" y="61806"/>
                    </a:lnTo>
                    <a:lnTo>
                      <a:pt x="692916" y="61542"/>
                    </a:lnTo>
                    <a:lnTo>
                      <a:pt x="692916" y="61277"/>
                    </a:lnTo>
                    <a:lnTo>
                      <a:pt x="692916" y="60748"/>
                    </a:lnTo>
                    <a:lnTo>
                      <a:pt x="693533" y="60395"/>
                    </a:lnTo>
                    <a:lnTo>
                      <a:pt x="693797" y="59514"/>
                    </a:lnTo>
                    <a:lnTo>
                      <a:pt x="694943" y="57486"/>
                    </a:lnTo>
                    <a:lnTo>
                      <a:pt x="695208" y="57221"/>
                    </a:lnTo>
                    <a:lnTo>
                      <a:pt x="695825" y="55722"/>
                    </a:lnTo>
                    <a:lnTo>
                      <a:pt x="695208" y="53959"/>
                    </a:lnTo>
                    <a:lnTo>
                      <a:pt x="695825" y="52196"/>
                    </a:lnTo>
                    <a:lnTo>
                      <a:pt x="695825" y="51579"/>
                    </a:lnTo>
                    <a:lnTo>
                      <a:pt x="697588" y="50080"/>
                    </a:lnTo>
                    <a:lnTo>
                      <a:pt x="697853" y="49463"/>
                    </a:lnTo>
                    <a:lnTo>
                      <a:pt x="698999" y="48845"/>
                    </a:lnTo>
                    <a:lnTo>
                      <a:pt x="699352" y="48581"/>
                    </a:lnTo>
                    <a:lnTo>
                      <a:pt x="699352" y="48316"/>
                    </a:lnTo>
                    <a:lnTo>
                      <a:pt x="699616" y="47964"/>
                    </a:lnTo>
                    <a:lnTo>
                      <a:pt x="700234" y="47435"/>
                    </a:lnTo>
                    <a:lnTo>
                      <a:pt x="700498" y="47170"/>
                    </a:lnTo>
                    <a:lnTo>
                      <a:pt x="700763" y="46817"/>
                    </a:lnTo>
                    <a:lnTo>
                      <a:pt x="701380" y="46553"/>
                    </a:lnTo>
                    <a:lnTo>
                      <a:pt x="701380" y="46817"/>
                    </a:lnTo>
                    <a:lnTo>
                      <a:pt x="701027" y="47170"/>
                    </a:lnTo>
                    <a:lnTo>
                      <a:pt x="701027" y="47435"/>
                    </a:lnTo>
                    <a:lnTo>
                      <a:pt x="701380" y="49727"/>
                    </a:lnTo>
                    <a:lnTo>
                      <a:pt x="703760" y="49110"/>
                    </a:lnTo>
                    <a:lnTo>
                      <a:pt x="704025" y="49110"/>
                    </a:lnTo>
                    <a:lnTo>
                      <a:pt x="704025" y="48845"/>
                    </a:lnTo>
                    <a:lnTo>
                      <a:pt x="704025" y="48581"/>
                    </a:lnTo>
                    <a:lnTo>
                      <a:pt x="704025" y="48316"/>
                    </a:lnTo>
                    <a:lnTo>
                      <a:pt x="703143" y="47170"/>
                    </a:lnTo>
                    <a:lnTo>
                      <a:pt x="702879" y="47170"/>
                    </a:lnTo>
                    <a:lnTo>
                      <a:pt x="702526" y="46817"/>
                    </a:lnTo>
                    <a:lnTo>
                      <a:pt x="702526" y="46553"/>
                    </a:lnTo>
                    <a:lnTo>
                      <a:pt x="702526" y="46200"/>
                    </a:lnTo>
                    <a:lnTo>
                      <a:pt x="702526" y="45671"/>
                    </a:lnTo>
                    <a:lnTo>
                      <a:pt x="703143" y="43908"/>
                    </a:lnTo>
                    <a:lnTo>
                      <a:pt x="703408" y="42762"/>
                    </a:lnTo>
                    <a:lnTo>
                      <a:pt x="702790" y="39852"/>
                    </a:lnTo>
                    <a:lnTo>
                      <a:pt x="702438" y="38442"/>
                    </a:lnTo>
                    <a:lnTo>
                      <a:pt x="703319" y="36414"/>
                    </a:lnTo>
                    <a:lnTo>
                      <a:pt x="703055" y="35267"/>
                    </a:lnTo>
                    <a:lnTo>
                      <a:pt x="703937" y="34121"/>
                    </a:lnTo>
                    <a:lnTo>
                      <a:pt x="704201" y="33239"/>
                    </a:lnTo>
                    <a:lnTo>
                      <a:pt x="705347" y="32093"/>
                    </a:lnTo>
                    <a:lnTo>
                      <a:pt x="706229" y="31564"/>
                    </a:lnTo>
                    <a:lnTo>
                      <a:pt x="706493" y="30683"/>
                    </a:lnTo>
                    <a:lnTo>
                      <a:pt x="707111" y="29801"/>
                    </a:lnTo>
                    <a:lnTo>
                      <a:pt x="708257" y="27773"/>
                    </a:lnTo>
                    <a:lnTo>
                      <a:pt x="708522" y="26891"/>
                    </a:lnTo>
                    <a:lnTo>
                      <a:pt x="709403" y="26627"/>
                    </a:lnTo>
                    <a:lnTo>
                      <a:pt x="709403" y="26010"/>
                    </a:lnTo>
                    <a:lnTo>
                      <a:pt x="709667" y="25128"/>
                    </a:lnTo>
                    <a:lnTo>
                      <a:pt x="709667" y="24246"/>
                    </a:lnTo>
                    <a:lnTo>
                      <a:pt x="709667" y="23982"/>
                    </a:lnTo>
                    <a:lnTo>
                      <a:pt x="708169" y="23982"/>
                    </a:lnTo>
                    <a:lnTo>
                      <a:pt x="709667" y="23629"/>
                    </a:lnTo>
                    <a:lnTo>
                      <a:pt x="708522" y="23100"/>
                    </a:lnTo>
                    <a:lnTo>
                      <a:pt x="709403" y="22218"/>
                    </a:lnTo>
                    <a:lnTo>
                      <a:pt x="709403" y="21954"/>
                    </a:lnTo>
                    <a:lnTo>
                      <a:pt x="709667" y="21689"/>
                    </a:lnTo>
                    <a:lnTo>
                      <a:pt x="709932" y="21689"/>
                    </a:lnTo>
                    <a:lnTo>
                      <a:pt x="710284" y="21072"/>
                    </a:lnTo>
                    <a:lnTo>
                      <a:pt x="710549" y="21072"/>
                    </a:lnTo>
                    <a:lnTo>
                      <a:pt x="710902" y="20808"/>
                    </a:lnTo>
                    <a:lnTo>
                      <a:pt x="711166" y="20808"/>
                    </a:lnTo>
                    <a:lnTo>
                      <a:pt x="711431" y="21072"/>
                    </a:lnTo>
                    <a:lnTo>
                      <a:pt x="709667" y="19926"/>
                    </a:lnTo>
                    <a:lnTo>
                      <a:pt x="709667" y="19309"/>
                    </a:lnTo>
                    <a:lnTo>
                      <a:pt x="710813" y="19044"/>
                    </a:lnTo>
                    <a:lnTo>
                      <a:pt x="710813" y="18163"/>
                    </a:lnTo>
                    <a:lnTo>
                      <a:pt x="712224" y="18427"/>
                    </a:lnTo>
                    <a:lnTo>
                      <a:pt x="713723" y="17545"/>
                    </a:lnTo>
                    <a:lnTo>
                      <a:pt x="714605" y="16928"/>
                    </a:lnTo>
                    <a:lnTo>
                      <a:pt x="714605" y="16047"/>
                    </a:lnTo>
                    <a:lnTo>
                      <a:pt x="715222" y="16047"/>
                    </a:lnTo>
                    <a:lnTo>
                      <a:pt x="715487" y="15429"/>
                    </a:lnTo>
                    <a:lnTo>
                      <a:pt x="716104" y="14548"/>
                    </a:lnTo>
                    <a:lnTo>
                      <a:pt x="717250" y="13049"/>
                    </a:lnTo>
                    <a:lnTo>
                      <a:pt x="719014" y="12432"/>
                    </a:lnTo>
                    <a:lnTo>
                      <a:pt x="719895" y="12079"/>
                    </a:lnTo>
                    <a:lnTo>
                      <a:pt x="720248" y="13578"/>
                    </a:lnTo>
                    <a:lnTo>
                      <a:pt x="719895" y="15341"/>
                    </a:lnTo>
                    <a:lnTo>
                      <a:pt x="720512" y="16487"/>
                    </a:lnTo>
                    <a:lnTo>
                      <a:pt x="720512" y="16752"/>
                    </a:lnTo>
                    <a:lnTo>
                      <a:pt x="719895" y="17369"/>
                    </a:lnTo>
                    <a:lnTo>
                      <a:pt x="719630" y="17722"/>
                    </a:lnTo>
                    <a:lnTo>
                      <a:pt x="719366" y="17722"/>
                    </a:lnTo>
                    <a:lnTo>
                      <a:pt x="718220" y="18868"/>
                    </a:lnTo>
                    <a:lnTo>
                      <a:pt x="718220" y="19133"/>
                    </a:lnTo>
                    <a:lnTo>
                      <a:pt x="717955" y="19133"/>
                    </a:lnTo>
                    <a:lnTo>
                      <a:pt x="717955" y="19397"/>
                    </a:lnTo>
                    <a:lnTo>
                      <a:pt x="717691" y="21425"/>
                    </a:lnTo>
                    <a:lnTo>
                      <a:pt x="717955" y="21425"/>
                    </a:lnTo>
                    <a:lnTo>
                      <a:pt x="718220" y="21072"/>
                    </a:lnTo>
                    <a:lnTo>
                      <a:pt x="718220" y="20808"/>
                    </a:lnTo>
                    <a:lnTo>
                      <a:pt x="718749" y="19926"/>
                    </a:lnTo>
                    <a:lnTo>
                      <a:pt x="718749" y="19662"/>
                    </a:lnTo>
                    <a:lnTo>
                      <a:pt x="719101" y="19662"/>
                    </a:lnTo>
                    <a:lnTo>
                      <a:pt x="719101" y="19397"/>
                    </a:lnTo>
                    <a:lnTo>
                      <a:pt x="719366" y="19397"/>
                    </a:lnTo>
                    <a:lnTo>
                      <a:pt x="719630" y="19397"/>
                    </a:lnTo>
                    <a:lnTo>
                      <a:pt x="719895" y="19397"/>
                    </a:lnTo>
                    <a:lnTo>
                      <a:pt x="720248" y="19397"/>
                    </a:lnTo>
                    <a:lnTo>
                      <a:pt x="720248" y="19662"/>
                    </a:lnTo>
                    <a:lnTo>
                      <a:pt x="722540" y="19662"/>
                    </a:lnTo>
                    <a:lnTo>
                      <a:pt x="722276" y="21689"/>
                    </a:lnTo>
                    <a:lnTo>
                      <a:pt x="722540" y="22307"/>
                    </a:lnTo>
                    <a:lnTo>
                      <a:pt x="723951" y="22924"/>
                    </a:lnTo>
                    <a:lnTo>
                      <a:pt x="724832" y="22924"/>
                    </a:lnTo>
                    <a:lnTo>
                      <a:pt x="724568" y="22659"/>
                    </a:lnTo>
                    <a:lnTo>
                      <a:pt x="723686" y="21778"/>
                    </a:lnTo>
                    <a:lnTo>
                      <a:pt x="724568" y="21160"/>
                    </a:lnTo>
                    <a:lnTo>
                      <a:pt x="726067" y="21513"/>
                    </a:lnTo>
                    <a:lnTo>
                      <a:pt x="726067" y="22395"/>
                    </a:lnTo>
                    <a:lnTo>
                      <a:pt x="725450" y="23541"/>
                    </a:lnTo>
                    <a:lnTo>
                      <a:pt x="725185" y="24423"/>
                    </a:lnTo>
                    <a:lnTo>
                      <a:pt x="724921" y="24687"/>
                    </a:lnTo>
                    <a:lnTo>
                      <a:pt x="724303" y="25833"/>
                    </a:lnTo>
                    <a:lnTo>
                      <a:pt x="723422" y="26715"/>
                    </a:lnTo>
                    <a:lnTo>
                      <a:pt x="724568" y="27068"/>
                    </a:lnTo>
                    <a:lnTo>
                      <a:pt x="724568" y="27949"/>
                    </a:lnTo>
                    <a:lnTo>
                      <a:pt x="724568" y="29713"/>
                    </a:lnTo>
                    <a:lnTo>
                      <a:pt x="723951" y="31741"/>
                    </a:lnTo>
                    <a:lnTo>
                      <a:pt x="723951" y="32358"/>
                    </a:lnTo>
                    <a:lnTo>
                      <a:pt x="723951" y="32622"/>
                    </a:lnTo>
                    <a:lnTo>
                      <a:pt x="723951" y="34033"/>
                    </a:lnTo>
                    <a:lnTo>
                      <a:pt x="723069" y="35179"/>
                    </a:lnTo>
                    <a:lnTo>
                      <a:pt x="723069" y="35444"/>
                    </a:lnTo>
                    <a:lnTo>
                      <a:pt x="724215" y="34915"/>
                    </a:lnTo>
                    <a:lnTo>
                      <a:pt x="723951" y="35796"/>
                    </a:lnTo>
                    <a:lnTo>
                      <a:pt x="724568" y="36414"/>
                    </a:lnTo>
                    <a:lnTo>
                      <a:pt x="725185" y="37824"/>
                    </a:lnTo>
                    <a:lnTo>
                      <a:pt x="725450" y="38442"/>
                    </a:lnTo>
                    <a:lnTo>
                      <a:pt x="726331" y="40205"/>
                    </a:lnTo>
                    <a:lnTo>
                      <a:pt x="725714" y="39940"/>
                    </a:lnTo>
                    <a:lnTo>
                      <a:pt x="723951" y="40205"/>
                    </a:lnTo>
                    <a:lnTo>
                      <a:pt x="722805" y="41086"/>
                    </a:lnTo>
                    <a:lnTo>
                      <a:pt x="723951" y="41704"/>
                    </a:lnTo>
                    <a:lnTo>
                      <a:pt x="725450" y="42321"/>
                    </a:lnTo>
                    <a:lnTo>
                      <a:pt x="726596" y="42585"/>
                    </a:lnTo>
                    <a:lnTo>
                      <a:pt x="727742" y="42850"/>
                    </a:lnTo>
                    <a:lnTo>
                      <a:pt x="728888" y="42585"/>
                    </a:lnTo>
                    <a:lnTo>
                      <a:pt x="729417" y="43202"/>
                    </a:lnTo>
                    <a:lnTo>
                      <a:pt x="730564" y="44701"/>
                    </a:lnTo>
                    <a:lnTo>
                      <a:pt x="730035" y="46465"/>
                    </a:lnTo>
                    <a:lnTo>
                      <a:pt x="730035" y="47346"/>
                    </a:lnTo>
                    <a:lnTo>
                      <a:pt x="729417" y="48140"/>
                    </a:lnTo>
                    <a:lnTo>
                      <a:pt x="728535" y="48493"/>
                    </a:lnTo>
                    <a:lnTo>
                      <a:pt x="727654" y="49639"/>
                    </a:lnTo>
                    <a:lnTo>
                      <a:pt x="726508" y="51138"/>
                    </a:lnTo>
                    <a:lnTo>
                      <a:pt x="725979" y="53166"/>
                    </a:lnTo>
                    <a:lnTo>
                      <a:pt x="725626" y="54929"/>
                    </a:lnTo>
                    <a:lnTo>
                      <a:pt x="725361" y="55546"/>
                    </a:lnTo>
                    <a:lnTo>
                      <a:pt x="725361" y="56163"/>
                    </a:lnTo>
                    <a:lnTo>
                      <a:pt x="725626" y="56163"/>
                    </a:lnTo>
                    <a:lnTo>
                      <a:pt x="726508" y="56428"/>
                    </a:lnTo>
                    <a:lnTo>
                      <a:pt x="726772" y="56163"/>
                    </a:lnTo>
                    <a:lnTo>
                      <a:pt x="727037" y="56163"/>
                    </a:lnTo>
                    <a:lnTo>
                      <a:pt x="727389" y="56163"/>
                    </a:lnTo>
                    <a:lnTo>
                      <a:pt x="727654" y="56163"/>
                    </a:lnTo>
                    <a:lnTo>
                      <a:pt x="727918" y="56428"/>
                    </a:lnTo>
                    <a:lnTo>
                      <a:pt x="728183" y="56780"/>
                    </a:lnTo>
                    <a:lnTo>
                      <a:pt x="728183" y="57045"/>
                    </a:lnTo>
                    <a:lnTo>
                      <a:pt x="728447" y="57045"/>
                    </a:lnTo>
                    <a:lnTo>
                      <a:pt x="728800" y="57309"/>
                    </a:lnTo>
                    <a:lnTo>
                      <a:pt x="729064" y="57309"/>
                    </a:lnTo>
                    <a:lnTo>
                      <a:pt x="729329" y="57838"/>
                    </a:lnTo>
                    <a:lnTo>
                      <a:pt x="729329" y="58191"/>
                    </a:lnTo>
                    <a:lnTo>
                      <a:pt x="729329" y="58808"/>
                    </a:lnTo>
                    <a:lnTo>
                      <a:pt x="729329" y="59073"/>
                    </a:lnTo>
                    <a:lnTo>
                      <a:pt x="729329" y="59425"/>
                    </a:lnTo>
                    <a:lnTo>
                      <a:pt x="729064" y="59690"/>
                    </a:lnTo>
                    <a:lnTo>
                      <a:pt x="729064" y="59954"/>
                    </a:lnTo>
                    <a:lnTo>
                      <a:pt x="729064" y="60572"/>
                    </a:lnTo>
                    <a:lnTo>
                      <a:pt x="729064" y="60924"/>
                    </a:lnTo>
                    <a:lnTo>
                      <a:pt x="729682" y="61806"/>
                    </a:lnTo>
                    <a:lnTo>
                      <a:pt x="730035" y="61806"/>
                    </a:lnTo>
                    <a:lnTo>
                      <a:pt x="730299" y="62071"/>
                    </a:lnTo>
                    <a:lnTo>
                      <a:pt x="730564" y="61806"/>
                    </a:lnTo>
                    <a:lnTo>
                      <a:pt x="730916" y="61806"/>
                    </a:lnTo>
                    <a:lnTo>
                      <a:pt x="731798" y="62688"/>
                    </a:lnTo>
                    <a:lnTo>
                      <a:pt x="732062" y="63305"/>
                    </a:lnTo>
                    <a:lnTo>
                      <a:pt x="732062" y="64187"/>
                    </a:lnTo>
                    <a:lnTo>
                      <a:pt x="732062" y="64451"/>
                    </a:lnTo>
                    <a:lnTo>
                      <a:pt x="732327" y="64716"/>
                    </a:lnTo>
                    <a:lnTo>
                      <a:pt x="732591" y="65597"/>
                    </a:lnTo>
                    <a:lnTo>
                      <a:pt x="732944" y="66126"/>
                    </a:lnTo>
                    <a:lnTo>
                      <a:pt x="733209" y="66126"/>
                    </a:lnTo>
                    <a:lnTo>
                      <a:pt x="733473" y="66391"/>
                    </a:lnTo>
                    <a:lnTo>
                      <a:pt x="733738" y="67273"/>
                    </a:lnTo>
                    <a:lnTo>
                      <a:pt x="733473" y="68154"/>
                    </a:lnTo>
                    <a:lnTo>
                      <a:pt x="732944" y="69565"/>
                    </a:lnTo>
                    <a:lnTo>
                      <a:pt x="732327" y="70446"/>
                    </a:lnTo>
                    <a:lnTo>
                      <a:pt x="732327" y="71593"/>
                    </a:lnTo>
                    <a:lnTo>
                      <a:pt x="732591" y="72474"/>
                    </a:lnTo>
                    <a:lnTo>
                      <a:pt x="732327" y="73621"/>
                    </a:lnTo>
                    <a:lnTo>
                      <a:pt x="732062" y="74238"/>
                    </a:lnTo>
                    <a:lnTo>
                      <a:pt x="732062" y="74590"/>
                    </a:lnTo>
                    <a:lnTo>
                      <a:pt x="733209" y="75737"/>
                    </a:lnTo>
                    <a:lnTo>
                      <a:pt x="733473" y="76971"/>
                    </a:lnTo>
                    <a:lnTo>
                      <a:pt x="733473" y="78382"/>
                    </a:lnTo>
                    <a:lnTo>
                      <a:pt x="733473" y="78999"/>
                    </a:lnTo>
                    <a:lnTo>
                      <a:pt x="732944" y="79616"/>
                    </a:lnTo>
                    <a:lnTo>
                      <a:pt x="733209" y="79881"/>
                    </a:lnTo>
                    <a:lnTo>
                      <a:pt x="734355" y="80498"/>
                    </a:lnTo>
                    <a:lnTo>
                      <a:pt x="734090" y="81380"/>
                    </a:lnTo>
                    <a:lnTo>
                      <a:pt x="734090" y="82261"/>
                    </a:lnTo>
                    <a:lnTo>
                      <a:pt x="731798" y="81644"/>
                    </a:lnTo>
                    <a:lnTo>
                      <a:pt x="732062" y="81909"/>
                    </a:lnTo>
                    <a:lnTo>
                      <a:pt x="732327" y="81909"/>
                    </a:lnTo>
                    <a:lnTo>
                      <a:pt x="732591" y="82173"/>
                    </a:lnTo>
                    <a:lnTo>
                      <a:pt x="732944" y="83055"/>
                    </a:lnTo>
                    <a:lnTo>
                      <a:pt x="732944" y="83319"/>
                    </a:lnTo>
                    <a:lnTo>
                      <a:pt x="732944" y="83584"/>
                    </a:lnTo>
                    <a:lnTo>
                      <a:pt x="732327" y="85611"/>
                    </a:lnTo>
                    <a:lnTo>
                      <a:pt x="732062" y="86493"/>
                    </a:lnTo>
                    <a:lnTo>
                      <a:pt x="732327" y="87992"/>
                    </a:lnTo>
                    <a:lnTo>
                      <a:pt x="732327" y="88874"/>
                    </a:lnTo>
                    <a:lnTo>
                      <a:pt x="732327" y="90020"/>
                    </a:lnTo>
                    <a:lnTo>
                      <a:pt x="731709" y="91166"/>
                    </a:lnTo>
                    <a:lnTo>
                      <a:pt x="731445" y="91695"/>
                    </a:lnTo>
                    <a:lnTo>
                      <a:pt x="731709" y="92577"/>
                    </a:lnTo>
                    <a:lnTo>
                      <a:pt x="731974" y="92930"/>
                    </a:lnTo>
                    <a:lnTo>
                      <a:pt x="731709" y="94076"/>
                    </a:lnTo>
                    <a:lnTo>
                      <a:pt x="731093" y="95839"/>
                    </a:lnTo>
                    <a:lnTo>
                      <a:pt x="731357" y="96368"/>
                    </a:lnTo>
                    <a:lnTo>
                      <a:pt x="731622" y="96632"/>
                    </a:lnTo>
                    <a:lnTo>
                      <a:pt x="731622" y="96985"/>
                    </a:lnTo>
                    <a:lnTo>
                      <a:pt x="731886" y="97250"/>
                    </a:lnTo>
                    <a:lnTo>
                      <a:pt x="732151" y="97514"/>
                    </a:lnTo>
                    <a:lnTo>
                      <a:pt x="732415" y="97779"/>
                    </a:lnTo>
                    <a:lnTo>
                      <a:pt x="732415" y="98043"/>
                    </a:lnTo>
                    <a:lnTo>
                      <a:pt x="732415" y="98925"/>
                    </a:lnTo>
                    <a:lnTo>
                      <a:pt x="731798" y="99189"/>
                    </a:lnTo>
                    <a:lnTo>
                      <a:pt x="732415" y="100688"/>
                    </a:lnTo>
                    <a:lnTo>
                      <a:pt x="732415" y="101041"/>
                    </a:lnTo>
                    <a:lnTo>
                      <a:pt x="732151" y="101394"/>
                    </a:lnTo>
                    <a:lnTo>
                      <a:pt x="732151" y="101658"/>
                    </a:lnTo>
                    <a:lnTo>
                      <a:pt x="732151" y="101923"/>
                    </a:lnTo>
                    <a:lnTo>
                      <a:pt x="732151" y="102187"/>
                    </a:lnTo>
                    <a:lnTo>
                      <a:pt x="732151" y="103333"/>
                    </a:lnTo>
                    <a:lnTo>
                      <a:pt x="732415" y="103686"/>
                    </a:lnTo>
                    <a:lnTo>
                      <a:pt x="733297" y="104215"/>
                    </a:lnTo>
                    <a:lnTo>
                      <a:pt x="733561" y="104480"/>
                    </a:lnTo>
                    <a:lnTo>
                      <a:pt x="733561" y="105626"/>
                    </a:lnTo>
                    <a:lnTo>
                      <a:pt x="733297" y="105890"/>
                    </a:lnTo>
                    <a:lnTo>
                      <a:pt x="733914" y="107037"/>
                    </a:lnTo>
                    <a:lnTo>
                      <a:pt x="734796" y="107654"/>
                    </a:lnTo>
                    <a:lnTo>
                      <a:pt x="735413" y="107918"/>
                    </a:lnTo>
                    <a:lnTo>
                      <a:pt x="736030" y="108800"/>
                    </a:lnTo>
                    <a:lnTo>
                      <a:pt x="737176" y="108183"/>
                    </a:lnTo>
                    <a:lnTo>
                      <a:pt x="737793" y="107301"/>
                    </a:lnTo>
                    <a:lnTo>
                      <a:pt x="738058" y="106684"/>
                    </a:lnTo>
                    <a:lnTo>
                      <a:pt x="738675" y="105802"/>
                    </a:lnTo>
                    <a:lnTo>
                      <a:pt x="739292" y="106067"/>
                    </a:lnTo>
                    <a:lnTo>
                      <a:pt x="740438" y="106331"/>
                    </a:lnTo>
                    <a:lnTo>
                      <a:pt x="740174" y="105449"/>
                    </a:lnTo>
                    <a:lnTo>
                      <a:pt x="740438" y="105185"/>
                    </a:lnTo>
                    <a:lnTo>
                      <a:pt x="741056" y="103686"/>
                    </a:lnTo>
                    <a:lnTo>
                      <a:pt x="741937" y="103069"/>
                    </a:lnTo>
                    <a:lnTo>
                      <a:pt x="742554" y="101923"/>
                    </a:lnTo>
                    <a:lnTo>
                      <a:pt x="743172" y="101658"/>
                    </a:lnTo>
                    <a:lnTo>
                      <a:pt x="744053" y="101658"/>
                    </a:lnTo>
                    <a:lnTo>
                      <a:pt x="744670" y="101129"/>
                    </a:lnTo>
                    <a:lnTo>
                      <a:pt x="745552" y="101658"/>
                    </a:lnTo>
                    <a:lnTo>
                      <a:pt x="746169" y="102804"/>
                    </a:lnTo>
                    <a:lnTo>
                      <a:pt x="745552" y="102540"/>
                    </a:lnTo>
                    <a:lnTo>
                      <a:pt x="746169" y="103422"/>
                    </a:lnTo>
                    <a:lnTo>
                      <a:pt x="746786" y="103951"/>
                    </a:lnTo>
                    <a:lnTo>
                      <a:pt x="747933" y="103422"/>
                    </a:lnTo>
                    <a:lnTo>
                      <a:pt x="748285" y="103422"/>
                    </a:lnTo>
                    <a:lnTo>
                      <a:pt x="748285" y="103069"/>
                    </a:lnTo>
                    <a:lnTo>
                      <a:pt x="748550" y="102452"/>
                    </a:lnTo>
                    <a:lnTo>
                      <a:pt x="748814" y="102187"/>
                    </a:lnTo>
                    <a:lnTo>
                      <a:pt x="749079" y="101923"/>
                    </a:lnTo>
                    <a:lnTo>
                      <a:pt x="749079" y="101041"/>
                    </a:lnTo>
                    <a:lnTo>
                      <a:pt x="749343" y="101041"/>
                    </a:lnTo>
                    <a:lnTo>
                      <a:pt x="749960" y="101305"/>
                    </a:lnTo>
                    <a:lnTo>
                      <a:pt x="751106" y="101570"/>
                    </a:lnTo>
                    <a:lnTo>
                      <a:pt x="751724" y="102452"/>
                    </a:lnTo>
                    <a:lnTo>
                      <a:pt x="750842" y="102716"/>
                    </a:lnTo>
                    <a:lnTo>
                      <a:pt x="751106" y="103333"/>
                    </a:lnTo>
                    <a:lnTo>
                      <a:pt x="751106" y="103598"/>
                    </a:lnTo>
                    <a:lnTo>
                      <a:pt x="750842" y="103862"/>
                    </a:lnTo>
                    <a:lnTo>
                      <a:pt x="750489" y="104480"/>
                    </a:lnTo>
                    <a:lnTo>
                      <a:pt x="750489" y="104832"/>
                    </a:lnTo>
                    <a:lnTo>
                      <a:pt x="751635" y="105097"/>
                    </a:lnTo>
                    <a:lnTo>
                      <a:pt x="751900" y="105978"/>
                    </a:lnTo>
                    <a:lnTo>
                      <a:pt x="751900" y="106860"/>
                    </a:lnTo>
                    <a:lnTo>
                      <a:pt x="751635" y="108006"/>
                    </a:lnTo>
                    <a:lnTo>
                      <a:pt x="752517" y="108271"/>
                    </a:lnTo>
                    <a:lnTo>
                      <a:pt x="754016" y="108271"/>
                    </a:lnTo>
                    <a:lnTo>
                      <a:pt x="754281" y="108888"/>
                    </a:lnTo>
                    <a:lnTo>
                      <a:pt x="754633" y="109505"/>
                    </a:lnTo>
                    <a:lnTo>
                      <a:pt x="755515" y="110651"/>
                    </a:lnTo>
                    <a:lnTo>
                      <a:pt x="756132" y="110034"/>
                    </a:lnTo>
                    <a:lnTo>
                      <a:pt x="756661" y="110299"/>
                    </a:lnTo>
                    <a:lnTo>
                      <a:pt x="757014" y="110916"/>
                    </a:lnTo>
                    <a:lnTo>
                      <a:pt x="757278" y="112679"/>
                    </a:lnTo>
                    <a:lnTo>
                      <a:pt x="758160" y="112326"/>
                    </a:lnTo>
                    <a:lnTo>
                      <a:pt x="759042" y="113208"/>
                    </a:lnTo>
                    <a:lnTo>
                      <a:pt x="759042" y="114090"/>
                    </a:lnTo>
                    <a:lnTo>
                      <a:pt x="759306" y="115236"/>
                    </a:lnTo>
                    <a:lnTo>
                      <a:pt x="760188" y="115501"/>
                    </a:lnTo>
                    <a:lnTo>
                      <a:pt x="760717" y="115765"/>
                    </a:lnTo>
                    <a:lnTo>
                      <a:pt x="761599" y="115765"/>
                    </a:lnTo>
                    <a:lnTo>
                      <a:pt x="762745" y="115501"/>
                    </a:lnTo>
                    <a:lnTo>
                      <a:pt x="763627" y="115765"/>
                    </a:lnTo>
                    <a:lnTo>
                      <a:pt x="764156" y="116647"/>
                    </a:lnTo>
                    <a:lnTo>
                      <a:pt x="764508" y="117793"/>
                    </a:lnTo>
                    <a:lnTo>
                      <a:pt x="765125" y="118939"/>
                    </a:lnTo>
                    <a:lnTo>
                      <a:pt x="764508" y="119556"/>
                    </a:lnTo>
                    <a:lnTo>
                      <a:pt x="765390" y="120967"/>
                    </a:lnTo>
                    <a:lnTo>
                      <a:pt x="763891" y="121584"/>
                    </a:lnTo>
                    <a:lnTo>
                      <a:pt x="764156" y="122731"/>
                    </a:lnTo>
                    <a:lnTo>
                      <a:pt x="763891" y="123612"/>
                    </a:lnTo>
                    <a:lnTo>
                      <a:pt x="763627" y="124229"/>
                    </a:lnTo>
                    <a:lnTo>
                      <a:pt x="763274" y="125111"/>
                    </a:lnTo>
                    <a:lnTo>
                      <a:pt x="763274" y="125728"/>
                    </a:lnTo>
                    <a:lnTo>
                      <a:pt x="763627" y="126610"/>
                    </a:lnTo>
                    <a:lnTo>
                      <a:pt x="763274" y="127756"/>
                    </a:lnTo>
                    <a:lnTo>
                      <a:pt x="763274" y="128638"/>
                    </a:lnTo>
                    <a:lnTo>
                      <a:pt x="763274" y="129784"/>
                    </a:lnTo>
                    <a:lnTo>
                      <a:pt x="763010" y="130401"/>
                    </a:lnTo>
                    <a:lnTo>
                      <a:pt x="763274" y="131900"/>
                    </a:lnTo>
                    <a:lnTo>
                      <a:pt x="762745" y="133046"/>
                    </a:lnTo>
                    <a:lnTo>
                      <a:pt x="763010" y="135074"/>
                    </a:lnTo>
                    <a:lnTo>
                      <a:pt x="762392" y="137102"/>
                    </a:lnTo>
                    <a:lnTo>
                      <a:pt x="761510" y="139747"/>
                    </a:lnTo>
                    <a:lnTo>
                      <a:pt x="761510" y="140276"/>
                    </a:lnTo>
                    <a:lnTo>
                      <a:pt x="761510" y="140629"/>
                    </a:lnTo>
                    <a:lnTo>
                      <a:pt x="761158" y="142039"/>
                    </a:lnTo>
                    <a:lnTo>
                      <a:pt x="761775" y="143538"/>
                    </a:lnTo>
                    <a:lnTo>
                      <a:pt x="760894" y="143803"/>
                    </a:lnTo>
                    <a:lnTo>
                      <a:pt x="760894" y="144067"/>
                    </a:lnTo>
                    <a:lnTo>
                      <a:pt x="760894" y="144332"/>
                    </a:lnTo>
                    <a:lnTo>
                      <a:pt x="760894" y="144684"/>
                    </a:lnTo>
                    <a:lnTo>
                      <a:pt x="761158" y="144949"/>
                    </a:lnTo>
                    <a:lnTo>
                      <a:pt x="761510" y="145213"/>
                    </a:lnTo>
                    <a:lnTo>
                      <a:pt x="761775" y="145742"/>
                    </a:lnTo>
                    <a:lnTo>
                      <a:pt x="762128" y="147241"/>
                    </a:lnTo>
                    <a:lnTo>
                      <a:pt x="762392" y="147506"/>
                    </a:lnTo>
                    <a:lnTo>
                      <a:pt x="762392" y="148388"/>
                    </a:lnTo>
                    <a:lnTo>
                      <a:pt x="762392" y="148740"/>
                    </a:lnTo>
                    <a:lnTo>
                      <a:pt x="763010" y="150239"/>
                    </a:lnTo>
                    <a:lnTo>
                      <a:pt x="762745" y="151121"/>
                    </a:lnTo>
                    <a:lnTo>
                      <a:pt x="762745" y="151650"/>
                    </a:lnTo>
                    <a:lnTo>
                      <a:pt x="761863" y="153148"/>
                    </a:lnTo>
                    <a:lnTo>
                      <a:pt x="761246" y="153677"/>
                    </a:lnTo>
                    <a:lnTo>
                      <a:pt x="760981" y="153942"/>
                    </a:lnTo>
                    <a:lnTo>
                      <a:pt x="760364" y="154559"/>
                    </a:lnTo>
                    <a:lnTo>
                      <a:pt x="760100" y="154824"/>
                    </a:lnTo>
                    <a:lnTo>
                      <a:pt x="760100" y="155088"/>
                    </a:lnTo>
                    <a:lnTo>
                      <a:pt x="759483" y="157381"/>
                    </a:lnTo>
                    <a:lnTo>
                      <a:pt x="759218" y="157998"/>
                    </a:lnTo>
                    <a:lnTo>
                      <a:pt x="759483" y="157998"/>
                    </a:lnTo>
                    <a:lnTo>
                      <a:pt x="759483" y="158262"/>
                    </a:lnTo>
                    <a:lnTo>
                      <a:pt x="759747" y="158262"/>
                    </a:lnTo>
                    <a:lnTo>
                      <a:pt x="760276" y="158879"/>
                    </a:lnTo>
                    <a:lnTo>
                      <a:pt x="761158" y="160290"/>
                    </a:lnTo>
                    <a:lnTo>
                      <a:pt x="762304" y="161172"/>
                    </a:lnTo>
                    <a:lnTo>
                      <a:pt x="762656" y="161172"/>
                    </a:lnTo>
                    <a:lnTo>
                      <a:pt x="763185" y="162671"/>
                    </a:lnTo>
                    <a:lnTo>
                      <a:pt x="762656" y="163817"/>
                    </a:lnTo>
                    <a:lnTo>
                      <a:pt x="763803" y="164698"/>
                    </a:lnTo>
                    <a:lnTo>
                      <a:pt x="764685" y="166726"/>
                    </a:lnTo>
                    <a:lnTo>
                      <a:pt x="764685" y="167608"/>
                    </a:lnTo>
                    <a:lnTo>
                      <a:pt x="765302" y="168490"/>
                    </a:lnTo>
                    <a:lnTo>
                      <a:pt x="766448" y="167344"/>
                    </a:lnTo>
                    <a:lnTo>
                      <a:pt x="767330" y="167344"/>
                    </a:lnTo>
                    <a:lnTo>
                      <a:pt x="767947" y="167961"/>
                    </a:lnTo>
                    <a:lnTo>
                      <a:pt x="768564" y="168313"/>
                    </a:lnTo>
                    <a:lnTo>
                      <a:pt x="768828" y="168313"/>
                    </a:lnTo>
                    <a:lnTo>
                      <a:pt x="769093" y="168578"/>
                    </a:lnTo>
                    <a:lnTo>
                      <a:pt x="769446" y="168931"/>
                    </a:lnTo>
                    <a:lnTo>
                      <a:pt x="769093" y="168931"/>
                    </a:lnTo>
                    <a:lnTo>
                      <a:pt x="769093" y="169195"/>
                    </a:lnTo>
                    <a:lnTo>
                      <a:pt x="769975" y="170341"/>
                    </a:lnTo>
                    <a:lnTo>
                      <a:pt x="769446" y="171488"/>
                    </a:lnTo>
                    <a:lnTo>
                      <a:pt x="768828" y="172634"/>
                    </a:lnTo>
                    <a:lnTo>
                      <a:pt x="769093" y="173251"/>
                    </a:lnTo>
                    <a:lnTo>
                      <a:pt x="768476" y="173868"/>
                    </a:lnTo>
                    <a:lnTo>
                      <a:pt x="767859" y="174485"/>
                    </a:lnTo>
                    <a:lnTo>
                      <a:pt x="766712" y="173339"/>
                    </a:lnTo>
                    <a:lnTo>
                      <a:pt x="767594" y="176249"/>
                    </a:lnTo>
                    <a:lnTo>
                      <a:pt x="767594" y="177747"/>
                    </a:lnTo>
                    <a:lnTo>
                      <a:pt x="768476" y="178894"/>
                    </a:lnTo>
                    <a:lnTo>
                      <a:pt x="768476" y="180657"/>
                    </a:lnTo>
                    <a:lnTo>
                      <a:pt x="769357" y="181274"/>
                    </a:lnTo>
                    <a:lnTo>
                      <a:pt x="769357" y="182156"/>
                    </a:lnTo>
                    <a:lnTo>
                      <a:pt x="769357" y="183655"/>
                    </a:lnTo>
                    <a:lnTo>
                      <a:pt x="768740" y="185418"/>
                    </a:lnTo>
                    <a:lnTo>
                      <a:pt x="769005" y="186035"/>
                    </a:lnTo>
                    <a:lnTo>
                      <a:pt x="768740" y="187534"/>
                    </a:lnTo>
                    <a:lnTo>
                      <a:pt x="768476" y="188680"/>
                    </a:lnTo>
                    <a:lnTo>
                      <a:pt x="768211" y="188945"/>
                    </a:lnTo>
                    <a:lnTo>
                      <a:pt x="768476" y="190356"/>
                    </a:lnTo>
                    <a:lnTo>
                      <a:pt x="767594" y="191237"/>
                    </a:lnTo>
                    <a:lnTo>
                      <a:pt x="767330" y="193530"/>
                    </a:lnTo>
                    <a:lnTo>
                      <a:pt x="766801" y="195293"/>
                    </a:lnTo>
                    <a:lnTo>
                      <a:pt x="766536" y="195822"/>
                    </a:lnTo>
                    <a:lnTo>
                      <a:pt x="766183" y="196086"/>
                    </a:lnTo>
                    <a:lnTo>
                      <a:pt x="766183" y="196351"/>
                    </a:lnTo>
                    <a:lnTo>
                      <a:pt x="765919" y="196615"/>
                    </a:lnTo>
                    <a:lnTo>
                      <a:pt x="767065" y="197233"/>
                    </a:lnTo>
                    <a:lnTo>
                      <a:pt x="766183" y="197497"/>
                    </a:lnTo>
                    <a:lnTo>
                      <a:pt x="767330" y="198114"/>
                    </a:lnTo>
                    <a:lnTo>
                      <a:pt x="767947" y="199261"/>
                    </a:lnTo>
                    <a:lnTo>
                      <a:pt x="766801" y="200671"/>
                    </a:lnTo>
                    <a:lnTo>
                      <a:pt x="766183" y="201024"/>
                    </a:lnTo>
                    <a:lnTo>
                      <a:pt x="765037" y="201289"/>
                    </a:lnTo>
                    <a:lnTo>
                      <a:pt x="764420" y="200671"/>
                    </a:lnTo>
                    <a:lnTo>
                      <a:pt x="763803" y="200671"/>
                    </a:lnTo>
                    <a:lnTo>
                      <a:pt x="763539" y="202170"/>
                    </a:lnTo>
                    <a:lnTo>
                      <a:pt x="763803" y="202787"/>
                    </a:lnTo>
                    <a:lnTo>
                      <a:pt x="763803" y="203052"/>
                    </a:lnTo>
                    <a:lnTo>
                      <a:pt x="764949" y="203934"/>
                    </a:lnTo>
                    <a:lnTo>
                      <a:pt x="766095" y="205961"/>
                    </a:lnTo>
                    <a:lnTo>
                      <a:pt x="766712" y="208606"/>
                    </a:lnTo>
                    <a:lnTo>
                      <a:pt x="766977" y="208959"/>
                    </a:lnTo>
                    <a:lnTo>
                      <a:pt x="767594" y="208959"/>
                    </a:lnTo>
                    <a:lnTo>
                      <a:pt x="768211" y="209224"/>
                    </a:lnTo>
                    <a:lnTo>
                      <a:pt x="768828" y="209576"/>
                    </a:lnTo>
                    <a:lnTo>
                      <a:pt x="769093" y="209576"/>
                    </a:lnTo>
                    <a:lnTo>
                      <a:pt x="769093" y="209841"/>
                    </a:lnTo>
                    <a:lnTo>
                      <a:pt x="768828" y="210458"/>
                    </a:lnTo>
                    <a:lnTo>
                      <a:pt x="768564" y="211604"/>
                    </a:lnTo>
                    <a:lnTo>
                      <a:pt x="769181" y="211869"/>
                    </a:lnTo>
                    <a:lnTo>
                      <a:pt x="769534" y="212486"/>
                    </a:lnTo>
                    <a:lnTo>
                      <a:pt x="769534" y="213015"/>
                    </a:lnTo>
                    <a:lnTo>
                      <a:pt x="769534" y="214161"/>
                    </a:lnTo>
                    <a:lnTo>
                      <a:pt x="769534" y="214778"/>
                    </a:lnTo>
                    <a:lnTo>
                      <a:pt x="768917" y="216189"/>
                    </a:lnTo>
                    <a:lnTo>
                      <a:pt x="767770" y="216453"/>
                    </a:lnTo>
                    <a:lnTo>
                      <a:pt x="766007" y="217335"/>
                    </a:lnTo>
                    <a:lnTo>
                      <a:pt x="766007" y="217600"/>
                    </a:lnTo>
                    <a:lnTo>
                      <a:pt x="766007" y="218128"/>
                    </a:lnTo>
                    <a:lnTo>
                      <a:pt x="766007" y="218393"/>
                    </a:lnTo>
                    <a:lnTo>
                      <a:pt x="766889" y="219804"/>
                    </a:lnTo>
                    <a:lnTo>
                      <a:pt x="766889" y="220068"/>
                    </a:lnTo>
                    <a:lnTo>
                      <a:pt x="767770" y="220950"/>
                    </a:lnTo>
                    <a:lnTo>
                      <a:pt x="768388" y="221479"/>
                    </a:lnTo>
                    <a:lnTo>
                      <a:pt x="768652" y="222361"/>
                    </a:lnTo>
                    <a:lnTo>
                      <a:pt x="768652" y="222625"/>
                    </a:lnTo>
                    <a:lnTo>
                      <a:pt x="769798" y="224124"/>
                    </a:lnTo>
                    <a:lnTo>
                      <a:pt x="770680" y="224477"/>
                    </a:lnTo>
                    <a:lnTo>
                      <a:pt x="772091" y="225358"/>
                    </a:lnTo>
                    <a:lnTo>
                      <a:pt x="772355" y="225623"/>
                    </a:lnTo>
                    <a:lnTo>
                      <a:pt x="772973" y="225623"/>
                    </a:lnTo>
                    <a:lnTo>
                      <a:pt x="773589" y="225623"/>
                    </a:lnTo>
                    <a:lnTo>
                      <a:pt x="774207" y="225358"/>
                    </a:lnTo>
                    <a:lnTo>
                      <a:pt x="774471" y="225358"/>
                    </a:lnTo>
                    <a:lnTo>
                      <a:pt x="774736" y="225358"/>
                    </a:lnTo>
                    <a:lnTo>
                      <a:pt x="774736" y="225623"/>
                    </a:lnTo>
                    <a:lnTo>
                      <a:pt x="775000" y="225623"/>
                    </a:lnTo>
                    <a:lnTo>
                      <a:pt x="775618" y="227034"/>
                    </a:lnTo>
                    <a:lnTo>
                      <a:pt x="775353" y="227298"/>
                    </a:lnTo>
                    <a:lnTo>
                      <a:pt x="776499" y="228180"/>
                    </a:lnTo>
                    <a:lnTo>
                      <a:pt x="776764" y="228444"/>
                    </a:lnTo>
                    <a:lnTo>
                      <a:pt x="777028" y="228444"/>
                    </a:lnTo>
                    <a:lnTo>
                      <a:pt x="778174" y="228444"/>
                    </a:lnTo>
                    <a:lnTo>
                      <a:pt x="779585" y="228709"/>
                    </a:lnTo>
                    <a:lnTo>
                      <a:pt x="780467" y="229326"/>
                    </a:lnTo>
                    <a:lnTo>
                      <a:pt x="781084" y="230472"/>
                    </a:lnTo>
                    <a:lnTo>
                      <a:pt x="781613" y="230737"/>
                    </a:lnTo>
                    <a:lnTo>
                      <a:pt x="782494" y="231354"/>
                    </a:lnTo>
                    <a:lnTo>
                      <a:pt x="783905" y="231354"/>
                    </a:lnTo>
                    <a:lnTo>
                      <a:pt x="785052" y="231001"/>
                    </a:lnTo>
                    <a:lnTo>
                      <a:pt x="786198" y="231354"/>
                    </a:lnTo>
                    <a:lnTo>
                      <a:pt x="787344" y="231001"/>
                    </a:lnTo>
                    <a:lnTo>
                      <a:pt x="787608" y="231883"/>
                    </a:lnTo>
                    <a:lnTo>
                      <a:pt x="788755" y="232148"/>
                    </a:lnTo>
                    <a:lnTo>
                      <a:pt x="788755" y="233911"/>
                    </a:lnTo>
                    <a:lnTo>
                      <a:pt x="789636" y="233911"/>
                    </a:lnTo>
                    <a:lnTo>
                      <a:pt x="789636" y="234175"/>
                    </a:lnTo>
                    <a:lnTo>
                      <a:pt x="789636" y="235057"/>
                    </a:lnTo>
                    <a:lnTo>
                      <a:pt x="789284" y="236203"/>
                    </a:lnTo>
                    <a:lnTo>
                      <a:pt x="789284" y="237349"/>
                    </a:lnTo>
                    <a:lnTo>
                      <a:pt x="789284" y="238848"/>
                    </a:lnTo>
                    <a:lnTo>
                      <a:pt x="789636" y="239730"/>
                    </a:lnTo>
                    <a:lnTo>
                      <a:pt x="789636" y="239994"/>
                    </a:lnTo>
                    <a:lnTo>
                      <a:pt x="790165" y="241141"/>
                    </a:lnTo>
                    <a:lnTo>
                      <a:pt x="791311" y="241405"/>
                    </a:lnTo>
                    <a:lnTo>
                      <a:pt x="791576" y="241405"/>
                    </a:lnTo>
                    <a:lnTo>
                      <a:pt x="792457" y="241405"/>
                    </a:lnTo>
                    <a:lnTo>
                      <a:pt x="792457" y="240788"/>
                    </a:lnTo>
                    <a:lnTo>
                      <a:pt x="792457" y="240435"/>
                    </a:lnTo>
                    <a:lnTo>
                      <a:pt x="792457" y="239025"/>
                    </a:lnTo>
                    <a:lnTo>
                      <a:pt x="792722" y="238407"/>
                    </a:lnTo>
                    <a:lnTo>
                      <a:pt x="792986" y="238143"/>
                    </a:lnTo>
                    <a:lnTo>
                      <a:pt x="793868" y="238143"/>
                    </a:lnTo>
                    <a:lnTo>
                      <a:pt x="794221" y="238143"/>
                    </a:lnTo>
                    <a:lnTo>
                      <a:pt x="794221" y="238407"/>
                    </a:lnTo>
                    <a:lnTo>
                      <a:pt x="794486" y="238672"/>
                    </a:lnTo>
                    <a:lnTo>
                      <a:pt x="794486" y="239025"/>
                    </a:lnTo>
                    <a:lnTo>
                      <a:pt x="794486" y="239289"/>
                    </a:lnTo>
                    <a:lnTo>
                      <a:pt x="793339" y="239554"/>
                    </a:lnTo>
                    <a:lnTo>
                      <a:pt x="793339" y="240788"/>
                    </a:lnTo>
                    <a:lnTo>
                      <a:pt x="793339" y="241670"/>
                    </a:lnTo>
                    <a:lnTo>
                      <a:pt x="794221" y="241052"/>
                    </a:lnTo>
                    <a:lnTo>
                      <a:pt x="794221" y="241317"/>
                    </a:lnTo>
                    <a:lnTo>
                      <a:pt x="794221" y="241581"/>
                    </a:lnTo>
                    <a:lnTo>
                      <a:pt x="794221" y="241846"/>
                    </a:lnTo>
                    <a:lnTo>
                      <a:pt x="795102" y="242728"/>
                    </a:lnTo>
                    <a:lnTo>
                      <a:pt x="795367" y="242992"/>
                    </a:lnTo>
                    <a:lnTo>
                      <a:pt x="795631" y="243257"/>
                    </a:lnTo>
                    <a:lnTo>
                      <a:pt x="795896" y="243257"/>
                    </a:lnTo>
                    <a:lnTo>
                      <a:pt x="796161" y="243257"/>
                    </a:lnTo>
                    <a:lnTo>
                      <a:pt x="796778" y="244756"/>
                    </a:lnTo>
                    <a:lnTo>
                      <a:pt x="796778" y="245637"/>
                    </a:lnTo>
                    <a:lnTo>
                      <a:pt x="797924" y="245373"/>
                    </a:lnTo>
                    <a:lnTo>
                      <a:pt x="799070" y="245990"/>
                    </a:lnTo>
                    <a:lnTo>
                      <a:pt x="799335" y="245725"/>
                    </a:lnTo>
                    <a:lnTo>
                      <a:pt x="800834" y="245725"/>
                    </a:lnTo>
                    <a:lnTo>
                      <a:pt x="802597" y="246342"/>
                    </a:lnTo>
                    <a:lnTo>
                      <a:pt x="802509" y="246342"/>
                    </a:lnTo>
                    <a:lnTo>
                      <a:pt x="802244" y="246342"/>
                    </a:lnTo>
                    <a:lnTo>
                      <a:pt x="801980" y="246607"/>
                    </a:lnTo>
                    <a:lnTo>
                      <a:pt x="801715" y="246960"/>
                    </a:lnTo>
                    <a:lnTo>
                      <a:pt x="801980" y="247577"/>
                    </a:lnTo>
                    <a:lnTo>
                      <a:pt x="801363" y="248458"/>
                    </a:lnTo>
                    <a:lnTo>
                      <a:pt x="802774" y="248458"/>
                    </a:lnTo>
                    <a:lnTo>
                      <a:pt x="802774" y="249076"/>
                    </a:lnTo>
                    <a:lnTo>
                      <a:pt x="803919" y="250486"/>
                    </a:lnTo>
                    <a:lnTo>
                      <a:pt x="803919" y="250751"/>
                    </a:lnTo>
                    <a:lnTo>
                      <a:pt x="804184" y="250751"/>
                    </a:lnTo>
                    <a:lnTo>
                      <a:pt x="805065" y="250222"/>
                    </a:lnTo>
                    <a:lnTo>
                      <a:pt x="805330" y="250222"/>
                    </a:lnTo>
                    <a:lnTo>
                      <a:pt x="805330" y="249957"/>
                    </a:lnTo>
                    <a:lnTo>
                      <a:pt x="805594" y="248811"/>
                    </a:lnTo>
                    <a:lnTo>
                      <a:pt x="805594" y="248547"/>
                    </a:lnTo>
                    <a:lnTo>
                      <a:pt x="805330" y="248282"/>
                    </a:lnTo>
                    <a:lnTo>
                      <a:pt x="805065" y="248282"/>
                    </a:lnTo>
                    <a:lnTo>
                      <a:pt x="805065" y="248018"/>
                    </a:lnTo>
                    <a:lnTo>
                      <a:pt x="805330" y="247400"/>
                    </a:lnTo>
                    <a:lnTo>
                      <a:pt x="805594" y="247136"/>
                    </a:lnTo>
                    <a:lnTo>
                      <a:pt x="805859" y="247136"/>
                    </a:lnTo>
                    <a:lnTo>
                      <a:pt x="807005" y="247753"/>
                    </a:lnTo>
                    <a:lnTo>
                      <a:pt x="807623" y="248370"/>
                    </a:lnTo>
                    <a:lnTo>
                      <a:pt x="807623" y="248635"/>
                    </a:lnTo>
                    <a:lnTo>
                      <a:pt x="807270" y="249252"/>
                    </a:lnTo>
                    <a:lnTo>
                      <a:pt x="807270" y="250134"/>
                    </a:lnTo>
                    <a:lnTo>
                      <a:pt x="806388" y="250134"/>
                    </a:lnTo>
                    <a:lnTo>
                      <a:pt x="807005" y="251280"/>
                    </a:lnTo>
                    <a:lnTo>
                      <a:pt x="807270" y="251280"/>
                    </a:lnTo>
                    <a:lnTo>
                      <a:pt x="808152" y="252691"/>
                    </a:lnTo>
                    <a:lnTo>
                      <a:pt x="809033" y="252691"/>
                    </a:lnTo>
                    <a:lnTo>
                      <a:pt x="809650" y="254101"/>
                    </a:lnTo>
                    <a:lnTo>
                      <a:pt x="809650" y="255600"/>
                    </a:lnTo>
                    <a:lnTo>
                      <a:pt x="810532" y="256482"/>
                    </a:lnTo>
                    <a:lnTo>
                      <a:pt x="811061" y="257099"/>
                    </a:lnTo>
                    <a:lnTo>
                      <a:pt x="811326" y="258863"/>
                    </a:lnTo>
                    <a:lnTo>
                      <a:pt x="811943" y="259744"/>
                    </a:lnTo>
                    <a:lnTo>
                      <a:pt x="811326" y="260361"/>
                    </a:lnTo>
                    <a:lnTo>
                      <a:pt x="811943" y="262742"/>
                    </a:lnTo>
                    <a:lnTo>
                      <a:pt x="811326" y="263359"/>
                    </a:lnTo>
                    <a:lnTo>
                      <a:pt x="809298" y="262742"/>
                    </a:lnTo>
                    <a:lnTo>
                      <a:pt x="808681" y="261596"/>
                    </a:lnTo>
                    <a:lnTo>
                      <a:pt x="808416" y="261860"/>
                    </a:lnTo>
                    <a:lnTo>
                      <a:pt x="807799" y="263623"/>
                    </a:lnTo>
                    <a:lnTo>
                      <a:pt x="806652" y="264770"/>
                    </a:lnTo>
                    <a:lnTo>
                      <a:pt x="805771" y="266180"/>
                    </a:lnTo>
                    <a:lnTo>
                      <a:pt x="806917" y="268561"/>
                    </a:lnTo>
                    <a:lnTo>
                      <a:pt x="809298" y="268825"/>
                    </a:lnTo>
                    <a:lnTo>
                      <a:pt x="811061" y="269707"/>
                    </a:lnTo>
                    <a:lnTo>
                      <a:pt x="812560" y="271735"/>
                    </a:lnTo>
                    <a:lnTo>
                      <a:pt x="813706" y="273498"/>
                    </a:lnTo>
                    <a:lnTo>
                      <a:pt x="814059" y="274909"/>
                    </a:lnTo>
                    <a:lnTo>
                      <a:pt x="815205" y="276055"/>
                    </a:lnTo>
                    <a:lnTo>
                      <a:pt x="814324" y="278436"/>
                    </a:lnTo>
                    <a:lnTo>
                      <a:pt x="813442" y="279935"/>
                    </a:lnTo>
                    <a:lnTo>
                      <a:pt x="814059" y="281963"/>
                    </a:lnTo>
                    <a:lnTo>
                      <a:pt x="813706" y="284255"/>
                    </a:lnTo>
                    <a:lnTo>
                      <a:pt x="814588" y="286018"/>
                    </a:lnTo>
                    <a:lnTo>
                      <a:pt x="816351" y="286900"/>
                    </a:lnTo>
                    <a:lnTo>
                      <a:pt x="817233" y="287782"/>
                    </a:lnTo>
                    <a:lnTo>
                      <a:pt x="816704" y="289545"/>
                    </a:lnTo>
                    <a:lnTo>
                      <a:pt x="816704" y="289898"/>
                    </a:lnTo>
                    <a:lnTo>
                      <a:pt x="814940" y="291661"/>
                    </a:lnTo>
                    <a:lnTo>
                      <a:pt x="814676" y="294306"/>
                    </a:lnTo>
                    <a:lnTo>
                      <a:pt x="814940" y="298362"/>
                    </a:lnTo>
                    <a:lnTo>
                      <a:pt x="815558" y="300390"/>
                    </a:lnTo>
                    <a:lnTo>
                      <a:pt x="814676" y="302153"/>
                    </a:lnTo>
                    <a:lnTo>
                      <a:pt x="814059" y="304798"/>
                    </a:lnTo>
                    <a:lnTo>
                      <a:pt x="814059" y="308589"/>
                    </a:lnTo>
                    <a:lnTo>
                      <a:pt x="815469" y="310353"/>
                    </a:lnTo>
                    <a:lnTo>
                      <a:pt x="818379" y="310970"/>
                    </a:lnTo>
                    <a:lnTo>
                      <a:pt x="816351" y="307796"/>
                    </a:lnTo>
                    <a:lnTo>
                      <a:pt x="818996" y="304269"/>
                    </a:lnTo>
                    <a:lnTo>
                      <a:pt x="818996" y="305856"/>
                    </a:lnTo>
                    <a:lnTo>
                      <a:pt x="818996" y="306121"/>
                    </a:lnTo>
                    <a:lnTo>
                      <a:pt x="818732" y="307267"/>
                    </a:lnTo>
                    <a:lnTo>
                      <a:pt x="818467" y="307884"/>
                    </a:lnTo>
                    <a:lnTo>
                      <a:pt x="817586" y="308501"/>
                    </a:lnTo>
                    <a:lnTo>
                      <a:pt x="817586" y="308766"/>
                    </a:lnTo>
                    <a:lnTo>
                      <a:pt x="817321" y="308766"/>
                    </a:lnTo>
                    <a:lnTo>
                      <a:pt x="817586" y="309030"/>
                    </a:lnTo>
                    <a:lnTo>
                      <a:pt x="817850" y="308766"/>
                    </a:lnTo>
                    <a:lnTo>
                      <a:pt x="818467" y="308501"/>
                    </a:lnTo>
                    <a:lnTo>
                      <a:pt x="818732" y="308501"/>
                    </a:lnTo>
                    <a:lnTo>
                      <a:pt x="819349" y="308237"/>
                    </a:lnTo>
                    <a:lnTo>
                      <a:pt x="820495" y="307355"/>
                    </a:lnTo>
                    <a:lnTo>
                      <a:pt x="820495" y="307091"/>
                    </a:lnTo>
                    <a:lnTo>
                      <a:pt x="820760" y="307091"/>
                    </a:lnTo>
                    <a:lnTo>
                      <a:pt x="821024" y="306209"/>
                    </a:lnTo>
                    <a:lnTo>
                      <a:pt x="821289" y="305944"/>
                    </a:lnTo>
                    <a:lnTo>
                      <a:pt x="821289" y="306209"/>
                    </a:lnTo>
                    <a:lnTo>
                      <a:pt x="821553" y="306209"/>
                    </a:lnTo>
                    <a:lnTo>
                      <a:pt x="822435" y="305327"/>
                    </a:lnTo>
                    <a:lnTo>
                      <a:pt x="823052" y="307620"/>
                    </a:lnTo>
                    <a:lnTo>
                      <a:pt x="823581" y="309912"/>
                    </a:lnTo>
                    <a:lnTo>
                      <a:pt x="823581" y="310176"/>
                    </a:lnTo>
                    <a:lnTo>
                      <a:pt x="823581" y="310794"/>
                    </a:lnTo>
                    <a:lnTo>
                      <a:pt x="823581" y="311146"/>
                    </a:lnTo>
                    <a:lnTo>
                      <a:pt x="824198" y="312293"/>
                    </a:lnTo>
                    <a:lnTo>
                      <a:pt x="824463" y="312910"/>
                    </a:lnTo>
                    <a:lnTo>
                      <a:pt x="824463" y="312645"/>
                    </a:lnTo>
                    <a:lnTo>
                      <a:pt x="824463" y="310265"/>
                    </a:lnTo>
                    <a:lnTo>
                      <a:pt x="824463" y="308501"/>
                    </a:lnTo>
                    <a:lnTo>
                      <a:pt x="824198" y="306738"/>
                    </a:lnTo>
                    <a:lnTo>
                      <a:pt x="823581" y="305239"/>
                    </a:lnTo>
                    <a:lnTo>
                      <a:pt x="823934" y="304093"/>
                    </a:lnTo>
                    <a:lnTo>
                      <a:pt x="824198" y="304093"/>
                    </a:lnTo>
                    <a:lnTo>
                      <a:pt x="825080" y="304710"/>
                    </a:lnTo>
                    <a:lnTo>
                      <a:pt x="825961" y="304710"/>
                    </a:lnTo>
                    <a:lnTo>
                      <a:pt x="826226" y="305856"/>
                    </a:lnTo>
                    <a:lnTo>
                      <a:pt x="826490" y="307002"/>
                    </a:lnTo>
                    <a:lnTo>
                      <a:pt x="826490" y="308501"/>
                    </a:lnTo>
                    <a:lnTo>
                      <a:pt x="827372" y="310529"/>
                    </a:lnTo>
                    <a:lnTo>
                      <a:pt x="827108" y="312293"/>
                    </a:lnTo>
                    <a:lnTo>
                      <a:pt x="827372" y="314320"/>
                    </a:lnTo>
                    <a:lnTo>
                      <a:pt x="828254" y="313438"/>
                    </a:lnTo>
                    <a:lnTo>
                      <a:pt x="828871" y="311940"/>
                    </a:lnTo>
                    <a:lnTo>
                      <a:pt x="828871" y="309912"/>
                    </a:lnTo>
                    <a:lnTo>
                      <a:pt x="829400" y="308501"/>
                    </a:lnTo>
                    <a:lnTo>
                      <a:pt x="831163" y="308501"/>
                    </a:lnTo>
                    <a:lnTo>
                      <a:pt x="831781" y="307620"/>
                    </a:lnTo>
                    <a:lnTo>
                      <a:pt x="832927" y="307355"/>
                    </a:lnTo>
                    <a:lnTo>
                      <a:pt x="833808" y="308237"/>
                    </a:lnTo>
                    <a:lnTo>
                      <a:pt x="834690" y="308237"/>
                    </a:lnTo>
                    <a:lnTo>
                      <a:pt x="834955" y="310000"/>
                    </a:lnTo>
                    <a:lnTo>
                      <a:pt x="835572" y="311499"/>
                    </a:lnTo>
                    <a:lnTo>
                      <a:pt x="835572" y="312381"/>
                    </a:lnTo>
                    <a:lnTo>
                      <a:pt x="836453" y="312381"/>
                    </a:lnTo>
                    <a:lnTo>
                      <a:pt x="836189" y="313527"/>
                    </a:lnTo>
                    <a:lnTo>
                      <a:pt x="836453" y="315819"/>
                    </a:lnTo>
                    <a:lnTo>
                      <a:pt x="836718" y="316436"/>
                    </a:lnTo>
                    <a:lnTo>
                      <a:pt x="835837" y="317318"/>
                    </a:lnTo>
                    <a:lnTo>
                      <a:pt x="835837" y="320492"/>
                    </a:lnTo>
                    <a:lnTo>
                      <a:pt x="835307" y="323754"/>
                    </a:lnTo>
                    <a:lnTo>
                      <a:pt x="834426" y="326929"/>
                    </a:lnTo>
                    <a:lnTo>
                      <a:pt x="833544" y="328074"/>
                    </a:lnTo>
                    <a:lnTo>
                      <a:pt x="832662" y="331249"/>
                    </a:lnTo>
                    <a:lnTo>
                      <a:pt x="832398" y="333276"/>
                    </a:lnTo>
                    <a:lnTo>
                      <a:pt x="831516" y="333276"/>
                    </a:lnTo>
                    <a:lnTo>
                      <a:pt x="833015" y="335040"/>
                    </a:lnTo>
                    <a:lnTo>
                      <a:pt x="832398" y="337950"/>
                    </a:lnTo>
                    <a:lnTo>
                      <a:pt x="830987" y="338831"/>
                    </a:lnTo>
                    <a:lnTo>
                      <a:pt x="832750" y="339448"/>
                    </a:lnTo>
                    <a:lnTo>
                      <a:pt x="834249" y="338567"/>
                    </a:lnTo>
                    <a:lnTo>
                      <a:pt x="834514" y="337420"/>
                    </a:lnTo>
                    <a:lnTo>
                      <a:pt x="838041" y="337950"/>
                    </a:lnTo>
                    <a:lnTo>
                      <a:pt x="838393" y="339448"/>
                    </a:lnTo>
                    <a:lnTo>
                      <a:pt x="839275" y="340859"/>
                    </a:lnTo>
                    <a:lnTo>
                      <a:pt x="839540" y="342622"/>
                    </a:lnTo>
                    <a:lnTo>
                      <a:pt x="839892" y="344121"/>
                    </a:lnTo>
                    <a:lnTo>
                      <a:pt x="839011" y="345885"/>
                    </a:lnTo>
                    <a:lnTo>
                      <a:pt x="838393" y="347648"/>
                    </a:lnTo>
                    <a:lnTo>
                      <a:pt x="839540" y="348530"/>
                    </a:lnTo>
                    <a:lnTo>
                      <a:pt x="839540" y="351175"/>
                    </a:lnTo>
                    <a:lnTo>
                      <a:pt x="841303" y="351439"/>
                    </a:lnTo>
                    <a:lnTo>
                      <a:pt x="843683" y="351439"/>
                    </a:lnTo>
                    <a:lnTo>
                      <a:pt x="844300" y="352938"/>
                    </a:lnTo>
                    <a:lnTo>
                      <a:pt x="846328" y="353203"/>
                    </a:lnTo>
                    <a:lnTo>
                      <a:pt x="846064" y="354349"/>
                    </a:lnTo>
                    <a:lnTo>
                      <a:pt x="847827" y="354702"/>
                    </a:lnTo>
                    <a:lnTo>
                      <a:pt x="849326" y="354966"/>
                    </a:lnTo>
                    <a:lnTo>
                      <a:pt x="849591" y="355848"/>
                    </a:lnTo>
                    <a:lnTo>
                      <a:pt x="849591" y="358228"/>
                    </a:lnTo>
                    <a:lnTo>
                      <a:pt x="849591" y="359639"/>
                    </a:lnTo>
                    <a:lnTo>
                      <a:pt x="849943" y="360521"/>
                    </a:lnTo>
                    <a:lnTo>
                      <a:pt x="850561" y="362284"/>
                    </a:lnTo>
                    <a:lnTo>
                      <a:pt x="849943" y="364047"/>
                    </a:lnTo>
                    <a:lnTo>
                      <a:pt x="850208" y="365458"/>
                    </a:lnTo>
                    <a:lnTo>
                      <a:pt x="850208" y="367486"/>
                    </a:lnTo>
                    <a:lnTo>
                      <a:pt x="851619" y="367486"/>
                    </a:lnTo>
                    <a:lnTo>
                      <a:pt x="851619" y="368367"/>
                    </a:lnTo>
                    <a:lnTo>
                      <a:pt x="852236" y="369249"/>
                    </a:lnTo>
                    <a:lnTo>
                      <a:pt x="853735" y="370395"/>
                    </a:lnTo>
                    <a:lnTo>
                      <a:pt x="854881" y="370660"/>
                    </a:lnTo>
                    <a:lnTo>
                      <a:pt x="856380" y="372159"/>
                    </a:lnTo>
                    <a:lnTo>
                      <a:pt x="856027" y="373305"/>
                    </a:lnTo>
                    <a:lnTo>
                      <a:pt x="856027" y="374187"/>
                    </a:lnTo>
                    <a:lnTo>
                      <a:pt x="856644" y="375333"/>
                    </a:lnTo>
                    <a:lnTo>
                      <a:pt x="856909" y="376215"/>
                    </a:lnTo>
                    <a:lnTo>
                      <a:pt x="856909" y="378595"/>
                    </a:lnTo>
                    <a:lnTo>
                      <a:pt x="856644" y="377713"/>
                    </a:lnTo>
                    <a:lnTo>
                      <a:pt x="856380" y="379741"/>
                    </a:lnTo>
                    <a:lnTo>
                      <a:pt x="856997" y="380888"/>
                    </a:lnTo>
                    <a:lnTo>
                      <a:pt x="857879" y="382034"/>
                    </a:lnTo>
                    <a:lnTo>
                      <a:pt x="858495" y="382298"/>
                    </a:lnTo>
                    <a:lnTo>
                      <a:pt x="861141" y="384061"/>
                    </a:lnTo>
                    <a:lnTo>
                      <a:pt x="862022" y="385560"/>
                    </a:lnTo>
                    <a:lnTo>
                      <a:pt x="862640" y="389087"/>
                    </a:lnTo>
                    <a:lnTo>
                      <a:pt x="864403" y="391732"/>
                    </a:lnTo>
                    <a:lnTo>
                      <a:pt x="862992" y="394906"/>
                    </a:lnTo>
                    <a:lnTo>
                      <a:pt x="864138" y="396405"/>
                    </a:lnTo>
                    <a:lnTo>
                      <a:pt x="863874" y="401342"/>
                    </a:lnTo>
                    <a:lnTo>
                      <a:pt x="864138" y="401078"/>
                    </a:lnTo>
                    <a:lnTo>
                      <a:pt x="863609" y="405134"/>
                    </a:lnTo>
                    <a:lnTo>
                      <a:pt x="863609" y="406015"/>
                    </a:lnTo>
                    <a:lnTo>
                      <a:pt x="860700" y="407779"/>
                    </a:lnTo>
                    <a:lnTo>
                      <a:pt x="860083" y="411041"/>
                    </a:lnTo>
                    <a:lnTo>
                      <a:pt x="858584" y="414215"/>
                    </a:lnTo>
                    <a:lnTo>
                      <a:pt x="857173" y="416860"/>
                    </a:lnTo>
                    <a:lnTo>
                      <a:pt x="857173" y="418888"/>
                    </a:lnTo>
                    <a:lnTo>
                      <a:pt x="856291" y="419770"/>
                    </a:lnTo>
                    <a:lnTo>
                      <a:pt x="856027" y="420651"/>
                    </a:lnTo>
                    <a:lnTo>
                      <a:pt x="853999" y="421798"/>
                    </a:lnTo>
                    <a:lnTo>
                      <a:pt x="853999" y="423561"/>
                    </a:lnTo>
                    <a:lnTo>
                      <a:pt x="854616" y="424972"/>
                    </a:lnTo>
                    <a:lnTo>
                      <a:pt x="855233" y="427352"/>
                    </a:lnTo>
                    <a:lnTo>
                      <a:pt x="856380" y="429116"/>
                    </a:lnTo>
                    <a:lnTo>
                      <a:pt x="857526" y="430614"/>
                    </a:lnTo>
                    <a:lnTo>
                      <a:pt x="858672" y="432642"/>
                    </a:lnTo>
                    <a:lnTo>
                      <a:pt x="858672" y="433260"/>
                    </a:lnTo>
                    <a:lnTo>
                      <a:pt x="858672" y="433524"/>
                    </a:lnTo>
                    <a:lnTo>
                      <a:pt x="858320" y="435905"/>
                    </a:lnTo>
                    <a:lnTo>
                      <a:pt x="858320" y="437051"/>
                    </a:lnTo>
                    <a:lnTo>
                      <a:pt x="858055" y="437668"/>
                    </a:lnTo>
                    <a:lnTo>
                      <a:pt x="858672" y="439696"/>
                    </a:lnTo>
                    <a:lnTo>
                      <a:pt x="858937" y="439960"/>
                    </a:lnTo>
                    <a:lnTo>
                      <a:pt x="858937" y="440225"/>
                    </a:lnTo>
                    <a:lnTo>
                      <a:pt x="858937" y="441988"/>
                    </a:lnTo>
                    <a:lnTo>
                      <a:pt x="858320" y="443487"/>
                    </a:lnTo>
                    <a:lnTo>
                      <a:pt x="858055" y="443752"/>
                    </a:lnTo>
                    <a:lnTo>
                      <a:pt x="857438" y="445250"/>
                    </a:lnTo>
                    <a:lnTo>
                      <a:pt x="855410" y="444369"/>
                    </a:lnTo>
                    <a:lnTo>
                      <a:pt x="853382" y="446397"/>
                    </a:lnTo>
                    <a:lnTo>
                      <a:pt x="851883" y="450188"/>
                    </a:lnTo>
                    <a:lnTo>
                      <a:pt x="852765" y="452480"/>
                    </a:lnTo>
                    <a:lnTo>
                      <a:pt x="851266" y="453979"/>
                    </a:lnTo>
                    <a:lnTo>
                      <a:pt x="853558" y="456360"/>
                    </a:lnTo>
                    <a:lnTo>
                      <a:pt x="853823" y="456624"/>
                    </a:lnTo>
                    <a:lnTo>
                      <a:pt x="853823" y="457241"/>
                    </a:lnTo>
                    <a:lnTo>
                      <a:pt x="853558" y="458387"/>
                    </a:lnTo>
                    <a:lnTo>
                      <a:pt x="852677" y="460151"/>
                    </a:lnTo>
                    <a:lnTo>
                      <a:pt x="852059" y="462443"/>
                    </a:lnTo>
                    <a:lnTo>
                      <a:pt x="851442" y="463590"/>
                    </a:lnTo>
                    <a:lnTo>
                      <a:pt x="849679" y="463854"/>
                    </a:lnTo>
                    <a:lnTo>
                      <a:pt x="849150" y="464735"/>
                    </a:lnTo>
                    <a:lnTo>
                      <a:pt x="847651" y="466763"/>
                    </a:lnTo>
                    <a:lnTo>
                      <a:pt x="847651" y="467381"/>
                    </a:lnTo>
                    <a:lnTo>
                      <a:pt x="848532" y="469673"/>
                    </a:lnTo>
                    <a:lnTo>
                      <a:pt x="847916" y="470555"/>
                    </a:lnTo>
                    <a:lnTo>
                      <a:pt x="846769" y="471701"/>
                    </a:lnTo>
                    <a:lnTo>
                      <a:pt x="845006" y="474346"/>
                    </a:lnTo>
                    <a:lnTo>
                      <a:pt x="845006" y="475492"/>
                    </a:lnTo>
                    <a:lnTo>
                      <a:pt x="843860" y="477784"/>
                    </a:lnTo>
                    <a:lnTo>
                      <a:pt x="843595" y="478137"/>
                    </a:lnTo>
                    <a:lnTo>
                      <a:pt x="843331" y="478402"/>
                    </a:lnTo>
                    <a:lnTo>
                      <a:pt x="843066" y="479019"/>
                    </a:lnTo>
                    <a:lnTo>
                      <a:pt x="843066" y="479371"/>
                    </a:lnTo>
                    <a:lnTo>
                      <a:pt x="843066" y="479636"/>
                    </a:lnTo>
                    <a:lnTo>
                      <a:pt x="843331" y="479900"/>
                    </a:lnTo>
                    <a:lnTo>
                      <a:pt x="839275" y="479900"/>
                    </a:lnTo>
                    <a:lnTo>
                      <a:pt x="840157" y="481664"/>
                    </a:lnTo>
                    <a:lnTo>
                      <a:pt x="840157" y="481928"/>
                    </a:lnTo>
                    <a:lnTo>
                      <a:pt x="838129" y="483956"/>
                    </a:lnTo>
                    <a:lnTo>
                      <a:pt x="836366" y="487748"/>
                    </a:lnTo>
                    <a:lnTo>
                      <a:pt x="834602" y="490392"/>
                    </a:lnTo>
                    <a:lnTo>
                      <a:pt x="834602" y="494536"/>
                    </a:lnTo>
                    <a:lnTo>
                      <a:pt x="832221" y="497182"/>
                    </a:lnTo>
                    <a:lnTo>
                      <a:pt x="831075" y="500356"/>
                    </a:lnTo>
                    <a:lnTo>
                      <a:pt x="829929" y="501237"/>
                    </a:lnTo>
                    <a:lnTo>
                      <a:pt x="828430" y="501237"/>
                    </a:lnTo>
                    <a:lnTo>
                      <a:pt x="827020" y="502384"/>
                    </a:lnTo>
                    <a:lnTo>
                      <a:pt x="826138" y="503530"/>
                    </a:lnTo>
                    <a:lnTo>
                      <a:pt x="825874" y="504411"/>
                    </a:lnTo>
                    <a:lnTo>
                      <a:pt x="825609" y="505557"/>
                    </a:lnTo>
                    <a:lnTo>
                      <a:pt x="824463" y="507056"/>
                    </a:lnTo>
                    <a:lnTo>
                      <a:pt x="823316" y="508467"/>
                    </a:lnTo>
                    <a:lnTo>
                      <a:pt x="822170" y="511641"/>
                    </a:lnTo>
                    <a:lnTo>
                      <a:pt x="820407" y="514022"/>
                    </a:lnTo>
                    <a:lnTo>
                      <a:pt x="818996" y="516050"/>
                    </a:lnTo>
                    <a:lnTo>
                      <a:pt x="818996" y="516314"/>
                    </a:lnTo>
                    <a:lnTo>
                      <a:pt x="818115" y="516843"/>
                    </a:lnTo>
                    <a:lnTo>
                      <a:pt x="818115" y="518077"/>
                    </a:lnTo>
                    <a:lnTo>
                      <a:pt x="818115" y="518959"/>
                    </a:lnTo>
                    <a:lnTo>
                      <a:pt x="817850" y="520458"/>
                    </a:lnTo>
                    <a:lnTo>
                      <a:pt x="817321" y="521075"/>
                    </a:lnTo>
                    <a:lnTo>
                      <a:pt x="815293" y="521692"/>
                    </a:lnTo>
                    <a:lnTo>
                      <a:pt x="814940" y="521957"/>
                    </a:lnTo>
                    <a:lnTo>
                      <a:pt x="814059" y="522838"/>
                    </a:lnTo>
                    <a:lnTo>
                      <a:pt x="813442" y="524249"/>
                    </a:lnTo>
                    <a:lnTo>
                      <a:pt x="814059" y="525131"/>
                    </a:lnTo>
                    <a:lnTo>
                      <a:pt x="814324" y="526630"/>
                    </a:lnTo>
                    <a:lnTo>
                      <a:pt x="814059" y="527776"/>
                    </a:lnTo>
                    <a:lnTo>
                      <a:pt x="811678" y="529539"/>
                    </a:lnTo>
                    <a:lnTo>
                      <a:pt x="810268" y="531567"/>
                    </a:lnTo>
                    <a:lnTo>
                      <a:pt x="808240" y="533948"/>
                    </a:lnTo>
                    <a:lnTo>
                      <a:pt x="806741" y="536240"/>
                    </a:lnTo>
                    <a:lnTo>
                      <a:pt x="803832" y="539150"/>
                    </a:lnTo>
                    <a:lnTo>
                      <a:pt x="803214" y="542412"/>
                    </a:lnTo>
                    <a:lnTo>
                      <a:pt x="802597" y="542676"/>
                    </a:lnTo>
                    <a:lnTo>
                      <a:pt x="801980" y="543294"/>
                    </a:lnTo>
                    <a:lnTo>
                      <a:pt x="801098" y="543911"/>
                    </a:lnTo>
                    <a:lnTo>
                      <a:pt x="800216" y="544793"/>
                    </a:lnTo>
                    <a:lnTo>
                      <a:pt x="798718" y="545939"/>
                    </a:lnTo>
                    <a:lnTo>
                      <a:pt x="796954" y="547966"/>
                    </a:lnTo>
                    <a:lnTo>
                      <a:pt x="796690" y="548231"/>
                    </a:lnTo>
                    <a:lnTo>
                      <a:pt x="796690" y="548584"/>
                    </a:lnTo>
                    <a:lnTo>
                      <a:pt x="794926" y="550876"/>
                    </a:lnTo>
                    <a:lnTo>
                      <a:pt x="791752" y="553786"/>
                    </a:lnTo>
                    <a:lnTo>
                      <a:pt x="790253" y="557577"/>
                    </a:lnTo>
                    <a:lnTo>
                      <a:pt x="789724" y="557841"/>
                    </a:lnTo>
                    <a:lnTo>
                      <a:pt x="789107" y="558194"/>
                    </a:lnTo>
                    <a:lnTo>
                      <a:pt x="788226" y="558723"/>
                    </a:lnTo>
                    <a:lnTo>
                      <a:pt x="786462" y="559869"/>
                    </a:lnTo>
                    <a:lnTo>
                      <a:pt x="784963" y="560751"/>
                    </a:lnTo>
                    <a:lnTo>
                      <a:pt x="782318" y="561897"/>
                    </a:lnTo>
                    <a:lnTo>
                      <a:pt x="781701" y="563043"/>
                    </a:lnTo>
                    <a:lnTo>
                      <a:pt x="781701" y="564189"/>
                    </a:lnTo>
                    <a:lnTo>
                      <a:pt x="778174" y="565071"/>
                    </a:lnTo>
                    <a:lnTo>
                      <a:pt x="777028" y="565336"/>
                    </a:lnTo>
                    <a:lnTo>
                      <a:pt x="777028" y="565600"/>
                    </a:lnTo>
                    <a:lnTo>
                      <a:pt x="777293" y="567364"/>
                    </a:lnTo>
                    <a:lnTo>
                      <a:pt x="775793" y="568245"/>
                    </a:lnTo>
                    <a:lnTo>
                      <a:pt x="774912" y="568862"/>
                    </a:lnTo>
                    <a:lnTo>
                      <a:pt x="774648" y="570626"/>
                    </a:lnTo>
                    <a:lnTo>
                      <a:pt x="773237" y="571772"/>
                    </a:lnTo>
                    <a:lnTo>
                      <a:pt x="770592" y="571508"/>
                    </a:lnTo>
                    <a:lnTo>
                      <a:pt x="768564" y="571508"/>
                    </a:lnTo>
                    <a:lnTo>
                      <a:pt x="768299" y="571772"/>
                    </a:lnTo>
                    <a:lnTo>
                      <a:pt x="766536" y="573800"/>
                    </a:lnTo>
                    <a:lnTo>
                      <a:pt x="764772" y="575563"/>
                    </a:lnTo>
                    <a:lnTo>
                      <a:pt x="764156" y="576445"/>
                    </a:lnTo>
                    <a:lnTo>
                      <a:pt x="763274" y="577062"/>
                    </a:lnTo>
                    <a:lnTo>
                      <a:pt x="763627" y="576798"/>
                    </a:lnTo>
                    <a:lnTo>
                      <a:pt x="763274" y="576798"/>
                    </a:lnTo>
                    <a:lnTo>
                      <a:pt x="763010" y="576798"/>
                    </a:lnTo>
                    <a:lnTo>
                      <a:pt x="762392" y="576798"/>
                    </a:lnTo>
                    <a:lnTo>
                      <a:pt x="760894" y="577679"/>
                    </a:lnTo>
                    <a:lnTo>
                      <a:pt x="760276" y="578561"/>
                    </a:lnTo>
                    <a:lnTo>
                      <a:pt x="760276" y="578825"/>
                    </a:lnTo>
                    <a:lnTo>
                      <a:pt x="760276" y="579090"/>
                    </a:lnTo>
                    <a:lnTo>
                      <a:pt x="760541" y="579090"/>
                    </a:lnTo>
                    <a:lnTo>
                      <a:pt x="759130" y="579707"/>
                    </a:lnTo>
                    <a:lnTo>
                      <a:pt x="755956" y="581735"/>
                    </a:lnTo>
                    <a:lnTo>
                      <a:pt x="753928" y="583763"/>
                    </a:lnTo>
                    <a:lnTo>
                      <a:pt x="753046" y="584645"/>
                    </a:lnTo>
                    <a:lnTo>
                      <a:pt x="752164" y="586144"/>
                    </a:lnTo>
                    <a:lnTo>
                      <a:pt x="751018" y="589670"/>
                    </a:lnTo>
                    <a:lnTo>
                      <a:pt x="748109" y="592315"/>
                    </a:lnTo>
                    <a:lnTo>
                      <a:pt x="746963" y="595225"/>
                    </a:lnTo>
                    <a:lnTo>
                      <a:pt x="745464" y="596371"/>
                    </a:lnTo>
                    <a:lnTo>
                      <a:pt x="741408" y="599016"/>
                    </a:lnTo>
                    <a:lnTo>
                      <a:pt x="738498" y="603424"/>
                    </a:lnTo>
                    <a:lnTo>
                      <a:pt x="734707" y="608097"/>
                    </a:lnTo>
                    <a:lnTo>
                      <a:pt x="732944" y="608979"/>
                    </a:lnTo>
                    <a:lnTo>
                      <a:pt x="731180" y="611624"/>
                    </a:lnTo>
                    <a:lnTo>
                      <a:pt x="728271" y="614269"/>
                    </a:lnTo>
                    <a:lnTo>
                      <a:pt x="726243" y="618060"/>
                    </a:lnTo>
                    <a:lnTo>
                      <a:pt x="726243" y="620088"/>
                    </a:lnTo>
                    <a:lnTo>
                      <a:pt x="726243" y="620970"/>
                    </a:lnTo>
                    <a:lnTo>
                      <a:pt x="723863" y="621852"/>
                    </a:lnTo>
                    <a:lnTo>
                      <a:pt x="724127" y="621587"/>
                    </a:lnTo>
                    <a:lnTo>
                      <a:pt x="720336" y="625378"/>
                    </a:lnTo>
                    <a:lnTo>
                      <a:pt x="720336" y="629434"/>
                    </a:lnTo>
                    <a:lnTo>
                      <a:pt x="720336" y="630933"/>
                    </a:lnTo>
                    <a:lnTo>
                      <a:pt x="719190" y="632079"/>
                    </a:lnTo>
                    <a:lnTo>
                      <a:pt x="717426" y="631815"/>
                    </a:lnTo>
                    <a:lnTo>
                      <a:pt x="714517" y="630933"/>
                    </a:lnTo>
                    <a:lnTo>
                      <a:pt x="713018" y="632961"/>
                    </a:lnTo>
                    <a:lnTo>
                      <a:pt x="710726" y="637369"/>
                    </a:lnTo>
                    <a:lnTo>
                      <a:pt x="707816" y="637105"/>
                    </a:lnTo>
                    <a:lnTo>
                      <a:pt x="704642" y="640279"/>
                    </a:lnTo>
                    <a:lnTo>
                      <a:pt x="701997" y="646098"/>
                    </a:lnTo>
                    <a:lnTo>
                      <a:pt x="701997" y="645833"/>
                    </a:lnTo>
                    <a:lnTo>
                      <a:pt x="700234" y="649360"/>
                    </a:lnTo>
                    <a:lnTo>
                      <a:pt x="699087" y="651653"/>
                    </a:lnTo>
                    <a:lnTo>
                      <a:pt x="697941" y="654297"/>
                    </a:lnTo>
                    <a:lnTo>
                      <a:pt x="692387" y="655444"/>
                    </a:lnTo>
                    <a:lnTo>
                      <a:pt x="690976" y="659852"/>
                    </a:lnTo>
                    <a:lnTo>
                      <a:pt x="690094" y="661880"/>
                    </a:lnTo>
                    <a:lnTo>
                      <a:pt x="689213" y="664261"/>
                    </a:lnTo>
                    <a:lnTo>
                      <a:pt x="686038" y="666553"/>
                    </a:lnTo>
                    <a:lnTo>
                      <a:pt x="686567" y="665936"/>
                    </a:lnTo>
                    <a:lnTo>
                      <a:pt x="683658" y="670344"/>
                    </a:lnTo>
                    <a:lnTo>
                      <a:pt x="681630" y="671490"/>
                    </a:lnTo>
                    <a:lnTo>
                      <a:pt x="678985" y="673871"/>
                    </a:lnTo>
                    <a:lnTo>
                      <a:pt x="681012" y="678191"/>
                    </a:lnTo>
                    <a:lnTo>
                      <a:pt x="678632" y="678191"/>
                    </a:lnTo>
                    <a:lnTo>
                      <a:pt x="676869" y="681983"/>
                    </a:lnTo>
                    <a:lnTo>
                      <a:pt x="674224" y="685509"/>
                    </a:lnTo>
                    <a:lnTo>
                      <a:pt x="674224" y="684627"/>
                    </a:lnTo>
                    <a:lnTo>
                      <a:pt x="672460" y="689036"/>
                    </a:lnTo>
                    <a:lnTo>
                      <a:pt x="671050" y="690182"/>
                    </a:lnTo>
                    <a:lnTo>
                      <a:pt x="667875" y="690182"/>
                    </a:lnTo>
                    <a:lnTo>
                      <a:pt x="668140" y="690182"/>
                    </a:lnTo>
                    <a:lnTo>
                      <a:pt x="666994" y="694591"/>
                    </a:lnTo>
                    <a:lnTo>
                      <a:pt x="665231" y="695472"/>
                    </a:lnTo>
                    <a:lnTo>
                      <a:pt x="662850" y="694855"/>
                    </a:lnTo>
                    <a:lnTo>
                      <a:pt x="661439" y="693092"/>
                    </a:lnTo>
                    <a:lnTo>
                      <a:pt x="659676" y="697147"/>
                    </a:lnTo>
                    <a:lnTo>
                      <a:pt x="657031" y="696530"/>
                    </a:lnTo>
                    <a:lnTo>
                      <a:pt x="655356" y="696001"/>
                    </a:lnTo>
                    <a:lnTo>
                      <a:pt x="653328" y="695384"/>
                    </a:lnTo>
                    <a:lnTo>
                      <a:pt x="650418" y="697147"/>
                    </a:lnTo>
                    <a:lnTo>
                      <a:pt x="647509" y="697147"/>
                    </a:lnTo>
                    <a:lnTo>
                      <a:pt x="644864" y="697147"/>
                    </a:lnTo>
                    <a:lnTo>
                      <a:pt x="642219" y="697147"/>
                    </a:lnTo>
                    <a:lnTo>
                      <a:pt x="640808" y="697147"/>
                    </a:lnTo>
                    <a:lnTo>
                      <a:pt x="637899" y="696530"/>
                    </a:lnTo>
                    <a:lnTo>
                      <a:pt x="635254" y="698558"/>
                    </a:lnTo>
                    <a:lnTo>
                      <a:pt x="633225" y="699175"/>
                    </a:lnTo>
                    <a:lnTo>
                      <a:pt x="631198" y="698823"/>
                    </a:lnTo>
                    <a:lnTo>
                      <a:pt x="629434" y="699440"/>
                    </a:lnTo>
                    <a:lnTo>
                      <a:pt x="623880" y="699969"/>
                    </a:lnTo>
                    <a:lnTo>
                      <a:pt x="626172" y="699969"/>
                    </a:lnTo>
                    <a:lnTo>
                      <a:pt x="624673" y="699704"/>
                    </a:lnTo>
                    <a:lnTo>
                      <a:pt x="620617" y="702878"/>
                    </a:lnTo>
                    <a:lnTo>
                      <a:pt x="621764" y="699969"/>
                    </a:lnTo>
                    <a:lnTo>
                      <a:pt x="621146" y="701115"/>
                    </a:lnTo>
                    <a:lnTo>
                      <a:pt x="616738" y="701379"/>
                    </a:lnTo>
                    <a:lnTo>
                      <a:pt x="614093" y="704025"/>
                    </a:lnTo>
                    <a:lnTo>
                      <a:pt x="613212" y="705171"/>
                    </a:lnTo>
                    <a:lnTo>
                      <a:pt x="612065" y="706582"/>
                    </a:lnTo>
                    <a:lnTo>
                      <a:pt x="609420" y="707728"/>
                    </a:lnTo>
                    <a:lnTo>
                      <a:pt x="605011" y="711519"/>
                    </a:lnTo>
                    <a:lnTo>
                      <a:pt x="605893" y="711519"/>
                    </a:lnTo>
                    <a:lnTo>
                      <a:pt x="601573" y="713282"/>
                    </a:lnTo>
                    <a:lnTo>
                      <a:pt x="597165" y="719101"/>
                    </a:lnTo>
                    <a:lnTo>
                      <a:pt x="600074" y="716192"/>
                    </a:lnTo>
                    <a:lnTo>
                      <a:pt x="599193" y="717074"/>
                    </a:lnTo>
                    <a:lnTo>
                      <a:pt x="595137" y="719101"/>
                    </a:lnTo>
                    <a:lnTo>
                      <a:pt x="592227" y="719101"/>
                    </a:lnTo>
                    <a:lnTo>
                      <a:pt x="591345" y="719366"/>
                    </a:lnTo>
                    <a:lnTo>
                      <a:pt x="589053" y="720248"/>
                    </a:lnTo>
                    <a:lnTo>
                      <a:pt x="587290" y="721394"/>
                    </a:lnTo>
                    <a:lnTo>
                      <a:pt x="585879" y="723157"/>
                    </a:lnTo>
                    <a:lnTo>
                      <a:pt x="584998" y="724039"/>
                    </a:lnTo>
                    <a:lnTo>
                      <a:pt x="584733" y="726331"/>
                    </a:lnTo>
                    <a:lnTo>
                      <a:pt x="582705" y="728359"/>
                    </a:lnTo>
                    <a:lnTo>
                      <a:pt x="580060" y="726331"/>
                    </a:lnTo>
                    <a:lnTo>
                      <a:pt x="579795" y="724039"/>
                    </a:lnTo>
                    <a:lnTo>
                      <a:pt x="575740" y="722628"/>
                    </a:lnTo>
                    <a:lnTo>
                      <a:pt x="573976" y="721482"/>
                    </a:lnTo>
                    <a:lnTo>
                      <a:pt x="573623" y="719190"/>
                    </a:lnTo>
                    <a:lnTo>
                      <a:pt x="569568" y="715927"/>
                    </a:lnTo>
                    <a:lnTo>
                      <a:pt x="568069" y="714164"/>
                    </a:lnTo>
                    <a:lnTo>
                      <a:pt x="566923" y="712136"/>
                    </a:lnTo>
                    <a:lnTo>
                      <a:pt x="560486" y="706582"/>
                    </a:lnTo>
                    <a:lnTo>
                      <a:pt x="559869" y="707199"/>
                    </a:lnTo>
                    <a:lnTo>
                      <a:pt x="560134" y="708609"/>
                    </a:lnTo>
                    <a:lnTo>
                      <a:pt x="563925" y="713547"/>
                    </a:lnTo>
                    <a:lnTo>
                      <a:pt x="563044" y="713811"/>
                    </a:lnTo>
                    <a:lnTo>
                      <a:pt x="561015" y="710284"/>
                    </a:lnTo>
                    <a:lnTo>
                      <a:pt x="558988" y="709403"/>
                    </a:lnTo>
                    <a:lnTo>
                      <a:pt x="556695" y="707111"/>
                    </a:lnTo>
                    <a:lnTo>
                      <a:pt x="556078" y="705964"/>
                    </a:lnTo>
                    <a:lnTo>
                      <a:pt x="555197" y="705964"/>
                    </a:lnTo>
                    <a:lnTo>
                      <a:pt x="552023" y="706582"/>
                    </a:lnTo>
                    <a:lnTo>
                      <a:pt x="549730" y="708080"/>
                    </a:lnTo>
                    <a:lnTo>
                      <a:pt x="547349" y="709579"/>
                    </a:lnTo>
                    <a:lnTo>
                      <a:pt x="546203" y="711078"/>
                    </a:lnTo>
                    <a:lnTo>
                      <a:pt x="540560" y="71010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1" name="Freihandform: Form 2030">
                <a:extLst>
                  <a:ext uri="{FF2B5EF4-FFF2-40B4-BE49-F238E27FC236}">
                    <a16:creationId xmlns:a16="http://schemas.microsoft.com/office/drawing/2014/main" id="{EFF868F5-8B27-2DFD-0AB6-E5A51CD14EE1}"/>
                  </a:ext>
                </a:extLst>
              </p:cNvPr>
              <p:cNvSpPr/>
              <p:nvPr/>
            </p:nvSpPr>
            <p:spPr>
              <a:xfrm>
                <a:off x="7167372" y="4195711"/>
                <a:ext cx="278347" cy="249781"/>
              </a:xfrm>
              <a:custGeom>
                <a:avLst/>
                <a:gdLst>
                  <a:gd name="connsiteX0" fmla="*/ 5026 w 278347"/>
                  <a:gd name="connsiteY0" fmla="*/ 108535 h 249781"/>
                  <a:gd name="connsiteX1" fmla="*/ 5290 w 278347"/>
                  <a:gd name="connsiteY1" fmla="*/ 99189 h 249781"/>
                  <a:gd name="connsiteX2" fmla="*/ 6172 w 278347"/>
                  <a:gd name="connsiteY2" fmla="*/ 82878 h 249781"/>
                  <a:gd name="connsiteX3" fmla="*/ 6701 w 278347"/>
                  <a:gd name="connsiteY3" fmla="*/ 66215 h 249781"/>
                  <a:gd name="connsiteX4" fmla="*/ 7318 w 278347"/>
                  <a:gd name="connsiteY4" fmla="*/ 49903 h 249781"/>
                  <a:gd name="connsiteX5" fmla="*/ 8200 w 278347"/>
                  <a:gd name="connsiteY5" fmla="*/ 33592 h 249781"/>
                  <a:gd name="connsiteX6" fmla="*/ 8817 w 278347"/>
                  <a:gd name="connsiteY6" fmla="*/ 17281 h 249781"/>
                  <a:gd name="connsiteX7" fmla="*/ 11462 w 278347"/>
                  <a:gd name="connsiteY7" fmla="*/ 17281 h 249781"/>
                  <a:gd name="connsiteX8" fmla="*/ 21072 w 278347"/>
                  <a:gd name="connsiteY8" fmla="*/ 22219 h 249781"/>
                  <a:gd name="connsiteX9" fmla="*/ 27773 w 278347"/>
                  <a:gd name="connsiteY9" fmla="*/ 26892 h 249781"/>
                  <a:gd name="connsiteX10" fmla="*/ 30154 w 278347"/>
                  <a:gd name="connsiteY10" fmla="*/ 26627 h 249781"/>
                  <a:gd name="connsiteX11" fmla="*/ 31917 w 278347"/>
                  <a:gd name="connsiteY11" fmla="*/ 28038 h 249781"/>
                  <a:gd name="connsiteX12" fmla="*/ 31388 w 278347"/>
                  <a:gd name="connsiteY12" fmla="*/ 28919 h 249781"/>
                  <a:gd name="connsiteX13" fmla="*/ 41263 w 278347"/>
                  <a:gd name="connsiteY13" fmla="*/ 33328 h 249781"/>
                  <a:gd name="connsiteX14" fmla="*/ 52020 w 278347"/>
                  <a:gd name="connsiteY14" fmla="*/ 37384 h 249781"/>
                  <a:gd name="connsiteX15" fmla="*/ 61365 w 278347"/>
                  <a:gd name="connsiteY15" fmla="*/ 39147 h 249781"/>
                  <a:gd name="connsiteX16" fmla="*/ 64539 w 278347"/>
                  <a:gd name="connsiteY16" fmla="*/ 41792 h 249781"/>
                  <a:gd name="connsiteX17" fmla="*/ 66303 w 278347"/>
                  <a:gd name="connsiteY17" fmla="*/ 43203 h 249781"/>
                  <a:gd name="connsiteX18" fmla="*/ 66920 w 278347"/>
                  <a:gd name="connsiteY18" fmla="*/ 42938 h 249781"/>
                  <a:gd name="connsiteX19" fmla="*/ 67184 w 278347"/>
                  <a:gd name="connsiteY19" fmla="*/ 44084 h 249781"/>
                  <a:gd name="connsiteX20" fmla="*/ 71857 w 278347"/>
                  <a:gd name="connsiteY20" fmla="*/ 47346 h 249781"/>
                  <a:gd name="connsiteX21" fmla="*/ 73268 w 278347"/>
                  <a:gd name="connsiteY21" fmla="*/ 49374 h 249781"/>
                  <a:gd name="connsiteX22" fmla="*/ 77324 w 278347"/>
                  <a:gd name="connsiteY22" fmla="*/ 50256 h 249781"/>
                  <a:gd name="connsiteX23" fmla="*/ 78205 w 278347"/>
                  <a:gd name="connsiteY23" fmla="*/ 51138 h 249781"/>
                  <a:gd name="connsiteX24" fmla="*/ 79087 w 278347"/>
                  <a:gd name="connsiteY24" fmla="*/ 49639 h 249781"/>
                  <a:gd name="connsiteX25" fmla="*/ 84025 w 278347"/>
                  <a:gd name="connsiteY25" fmla="*/ 50256 h 249781"/>
                  <a:gd name="connsiteX26" fmla="*/ 84906 w 278347"/>
                  <a:gd name="connsiteY26" fmla="*/ 51755 h 249781"/>
                  <a:gd name="connsiteX27" fmla="*/ 84642 w 278347"/>
                  <a:gd name="connsiteY27" fmla="*/ 53518 h 249781"/>
                  <a:gd name="connsiteX28" fmla="*/ 85523 w 278347"/>
                  <a:gd name="connsiteY28" fmla="*/ 54665 h 249781"/>
                  <a:gd name="connsiteX29" fmla="*/ 90461 w 278347"/>
                  <a:gd name="connsiteY29" fmla="*/ 56692 h 249781"/>
                  <a:gd name="connsiteX30" fmla="*/ 91607 w 278347"/>
                  <a:gd name="connsiteY30" fmla="*/ 57574 h 249781"/>
                  <a:gd name="connsiteX31" fmla="*/ 91078 w 278347"/>
                  <a:gd name="connsiteY31" fmla="*/ 58456 h 249781"/>
                  <a:gd name="connsiteX32" fmla="*/ 95134 w 278347"/>
                  <a:gd name="connsiteY32" fmla="*/ 60219 h 249781"/>
                  <a:gd name="connsiteX33" fmla="*/ 98308 w 278347"/>
                  <a:gd name="connsiteY33" fmla="*/ 64892 h 249781"/>
                  <a:gd name="connsiteX34" fmla="*/ 100600 w 278347"/>
                  <a:gd name="connsiteY34" fmla="*/ 64539 h 249781"/>
                  <a:gd name="connsiteX35" fmla="*/ 103774 w 278347"/>
                  <a:gd name="connsiteY35" fmla="*/ 67449 h 249781"/>
                  <a:gd name="connsiteX36" fmla="*/ 105273 w 278347"/>
                  <a:gd name="connsiteY36" fmla="*/ 71505 h 249781"/>
                  <a:gd name="connsiteX37" fmla="*/ 104921 w 278347"/>
                  <a:gd name="connsiteY37" fmla="*/ 74767 h 249781"/>
                  <a:gd name="connsiteX38" fmla="*/ 104656 w 278347"/>
                  <a:gd name="connsiteY38" fmla="*/ 79704 h 249781"/>
                  <a:gd name="connsiteX39" fmla="*/ 101129 w 278347"/>
                  <a:gd name="connsiteY39" fmla="*/ 82966 h 249781"/>
                  <a:gd name="connsiteX40" fmla="*/ 100247 w 278347"/>
                  <a:gd name="connsiteY40" fmla="*/ 84730 h 249781"/>
                  <a:gd name="connsiteX41" fmla="*/ 99983 w 278347"/>
                  <a:gd name="connsiteY41" fmla="*/ 87904 h 249781"/>
                  <a:gd name="connsiteX42" fmla="*/ 102893 w 278347"/>
                  <a:gd name="connsiteY42" fmla="*/ 88168 h 249781"/>
                  <a:gd name="connsiteX43" fmla="*/ 106155 w 278347"/>
                  <a:gd name="connsiteY43" fmla="*/ 88168 h 249781"/>
                  <a:gd name="connsiteX44" fmla="*/ 108712 w 278347"/>
                  <a:gd name="connsiteY44" fmla="*/ 90549 h 249781"/>
                  <a:gd name="connsiteX45" fmla="*/ 109593 w 278347"/>
                  <a:gd name="connsiteY45" fmla="*/ 91960 h 249781"/>
                  <a:gd name="connsiteX46" fmla="*/ 118322 w 278347"/>
                  <a:gd name="connsiteY46" fmla="*/ 93723 h 249781"/>
                  <a:gd name="connsiteX47" fmla="*/ 120967 w 278347"/>
                  <a:gd name="connsiteY47" fmla="*/ 95134 h 249781"/>
                  <a:gd name="connsiteX48" fmla="*/ 122731 w 278347"/>
                  <a:gd name="connsiteY48" fmla="*/ 95134 h 249781"/>
                  <a:gd name="connsiteX49" fmla="*/ 129431 w 278347"/>
                  <a:gd name="connsiteY49" fmla="*/ 98043 h 249781"/>
                  <a:gd name="connsiteX50" fmla="*/ 131459 w 278347"/>
                  <a:gd name="connsiteY50" fmla="*/ 100688 h 249781"/>
                  <a:gd name="connsiteX51" fmla="*/ 132341 w 278347"/>
                  <a:gd name="connsiteY51" fmla="*/ 101835 h 249781"/>
                  <a:gd name="connsiteX52" fmla="*/ 133487 w 278347"/>
                  <a:gd name="connsiteY52" fmla="*/ 101217 h 249781"/>
                  <a:gd name="connsiteX53" fmla="*/ 138424 w 278347"/>
                  <a:gd name="connsiteY53" fmla="*/ 105009 h 249781"/>
                  <a:gd name="connsiteX54" fmla="*/ 139306 w 278347"/>
                  <a:gd name="connsiteY54" fmla="*/ 107654 h 249781"/>
                  <a:gd name="connsiteX55" fmla="*/ 144861 w 278347"/>
                  <a:gd name="connsiteY55" fmla="*/ 109946 h 249781"/>
                  <a:gd name="connsiteX56" fmla="*/ 145743 w 278347"/>
                  <a:gd name="connsiteY56" fmla="*/ 111445 h 249781"/>
                  <a:gd name="connsiteX57" fmla="*/ 147241 w 278347"/>
                  <a:gd name="connsiteY57" fmla="*/ 113208 h 249781"/>
                  <a:gd name="connsiteX58" fmla="*/ 146095 w 278347"/>
                  <a:gd name="connsiteY58" fmla="*/ 116382 h 249781"/>
                  <a:gd name="connsiteX59" fmla="*/ 147241 w 278347"/>
                  <a:gd name="connsiteY59" fmla="*/ 118410 h 249781"/>
                  <a:gd name="connsiteX60" fmla="*/ 144949 w 278347"/>
                  <a:gd name="connsiteY60" fmla="*/ 121584 h 249781"/>
                  <a:gd name="connsiteX61" fmla="*/ 143450 w 278347"/>
                  <a:gd name="connsiteY61" fmla="*/ 123083 h 249781"/>
                  <a:gd name="connsiteX62" fmla="*/ 141687 w 278347"/>
                  <a:gd name="connsiteY62" fmla="*/ 124229 h 249781"/>
                  <a:gd name="connsiteX63" fmla="*/ 137278 w 278347"/>
                  <a:gd name="connsiteY63" fmla="*/ 123348 h 249781"/>
                  <a:gd name="connsiteX64" fmla="*/ 134369 w 278347"/>
                  <a:gd name="connsiteY64" fmla="*/ 123965 h 249781"/>
                  <a:gd name="connsiteX65" fmla="*/ 133840 w 278347"/>
                  <a:gd name="connsiteY65" fmla="*/ 128902 h 249781"/>
                  <a:gd name="connsiteX66" fmla="*/ 134986 w 278347"/>
                  <a:gd name="connsiteY66" fmla="*/ 132076 h 249781"/>
                  <a:gd name="connsiteX67" fmla="*/ 133840 w 278347"/>
                  <a:gd name="connsiteY67" fmla="*/ 133840 h 249781"/>
                  <a:gd name="connsiteX68" fmla="*/ 131459 w 278347"/>
                  <a:gd name="connsiteY68" fmla="*/ 135868 h 249781"/>
                  <a:gd name="connsiteX69" fmla="*/ 132341 w 278347"/>
                  <a:gd name="connsiteY69" fmla="*/ 138777 h 249781"/>
                  <a:gd name="connsiteX70" fmla="*/ 136749 w 278347"/>
                  <a:gd name="connsiteY70" fmla="*/ 142568 h 249781"/>
                  <a:gd name="connsiteX71" fmla="*/ 137014 w 278347"/>
                  <a:gd name="connsiteY71" fmla="*/ 147241 h 249781"/>
                  <a:gd name="connsiteX72" fmla="*/ 139923 w 278347"/>
                  <a:gd name="connsiteY72" fmla="*/ 148652 h 249781"/>
                  <a:gd name="connsiteX73" fmla="*/ 146624 w 278347"/>
                  <a:gd name="connsiteY73" fmla="*/ 151914 h 249781"/>
                  <a:gd name="connsiteX74" fmla="*/ 147770 w 278347"/>
                  <a:gd name="connsiteY74" fmla="*/ 155441 h 249781"/>
                  <a:gd name="connsiteX75" fmla="*/ 149269 w 278347"/>
                  <a:gd name="connsiteY75" fmla="*/ 156323 h 249781"/>
                  <a:gd name="connsiteX76" fmla="*/ 147506 w 278347"/>
                  <a:gd name="connsiteY76" fmla="*/ 159497 h 249781"/>
                  <a:gd name="connsiteX77" fmla="*/ 149534 w 278347"/>
                  <a:gd name="connsiteY77" fmla="*/ 160114 h 249781"/>
                  <a:gd name="connsiteX78" fmla="*/ 152443 w 278347"/>
                  <a:gd name="connsiteY78" fmla="*/ 160731 h 249781"/>
                  <a:gd name="connsiteX79" fmla="*/ 149269 w 278347"/>
                  <a:gd name="connsiteY79" fmla="*/ 163376 h 249781"/>
                  <a:gd name="connsiteX80" fmla="*/ 151032 w 278347"/>
                  <a:gd name="connsiteY80" fmla="*/ 166903 h 249781"/>
                  <a:gd name="connsiteX81" fmla="*/ 153677 w 278347"/>
                  <a:gd name="connsiteY81" fmla="*/ 168402 h 249781"/>
                  <a:gd name="connsiteX82" fmla="*/ 152532 w 278347"/>
                  <a:gd name="connsiteY82" fmla="*/ 171047 h 249781"/>
                  <a:gd name="connsiteX83" fmla="*/ 154559 w 278347"/>
                  <a:gd name="connsiteY83" fmla="*/ 175103 h 249781"/>
                  <a:gd name="connsiteX84" fmla="*/ 155177 w 278347"/>
                  <a:gd name="connsiteY84" fmla="*/ 177130 h 249781"/>
                  <a:gd name="connsiteX85" fmla="*/ 156058 w 278347"/>
                  <a:gd name="connsiteY85" fmla="*/ 177747 h 249781"/>
                  <a:gd name="connsiteX86" fmla="*/ 160467 w 278347"/>
                  <a:gd name="connsiteY86" fmla="*/ 178629 h 249781"/>
                  <a:gd name="connsiteX87" fmla="*/ 162142 w 278347"/>
                  <a:gd name="connsiteY87" fmla="*/ 179775 h 249781"/>
                  <a:gd name="connsiteX88" fmla="*/ 163640 w 278347"/>
                  <a:gd name="connsiteY88" fmla="*/ 180393 h 249781"/>
                  <a:gd name="connsiteX89" fmla="*/ 166021 w 278347"/>
                  <a:gd name="connsiteY89" fmla="*/ 179511 h 249781"/>
                  <a:gd name="connsiteX90" fmla="*/ 167432 w 278347"/>
                  <a:gd name="connsiteY90" fmla="*/ 180128 h 249781"/>
                  <a:gd name="connsiteX91" fmla="*/ 167167 w 278347"/>
                  <a:gd name="connsiteY91" fmla="*/ 181274 h 249781"/>
                  <a:gd name="connsiteX92" fmla="*/ 167696 w 278347"/>
                  <a:gd name="connsiteY92" fmla="*/ 181803 h 249781"/>
                  <a:gd name="connsiteX93" fmla="*/ 168578 w 278347"/>
                  <a:gd name="connsiteY93" fmla="*/ 183302 h 249781"/>
                  <a:gd name="connsiteX94" fmla="*/ 169107 w 278347"/>
                  <a:gd name="connsiteY94" fmla="*/ 185595 h 249781"/>
                  <a:gd name="connsiteX95" fmla="*/ 171399 w 278347"/>
                  <a:gd name="connsiteY95" fmla="*/ 189386 h 249781"/>
                  <a:gd name="connsiteX96" fmla="*/ 167873 w 278347"/>
                  <a:gd name="connsiteY96" fmla="*/ 188504 h 249781"/>
                  <a:gd name="connsiteX97" fmla="*/ 170253 w 278347"/>
                  <a:gd name="connsiteY97" fmla="*/ 189650 h 249781"/>
                  <a:gd name="connsiteX98" fmla="*/ 170518 w 278347"/>
                  <a:gd name="connsiteY98" fmla="*/ 189650 h 249781"/>
                  <a:gd name="connsiteX99" fmla="*/ 172546 w 278347"/>
                  <a:gd name="connsiteY99" fmla="*/ 192560 h 249781"/>
                  <a:gd name="connsiteX100" fmla="*/ 173163 w 278347"/>
                  <a:gd name="connsiteY100" fmla="*/ 192824 h 249781"/>
                  <a:gd name="connsiteX101" fmla="*/ 175455 w 278347"/>
                  <a:gd name="connsiteY101" fmla="*/ 193441 h 249781"/>
                  <a:gd name="connsiteX102" fmla="*/ 179864 w 278347"/>
                  <a:gd name="connsiteY102" fmla="*/ 193794 h 249781"/>
                  <a:gd name="connsiteX103" fmla="*/ 181010 w 278347"/>
                  <a:gd name="connsiteY103" fmla="*/ 194059 h 249781"/>
                  <a:gd name="connsiteX104" fmla="*/ 182773 w 278347"/>
                  <a:gd name="connsiteY104" fmla="*/ 194588 h 249781"/>
                  <a:gd name="connsiteX105" fmla="*/ 182773 w 278347"/>
                  <a:gd name="connsiteY105" fmla="*/ 195734 h 249781"/>
                  <a:gd name="connsiteX106" fmla="*/ 182509 w 278347"/>
                  <a:gd name="connsiteY106" fmla="*/ 198114 h 249781"/>
                  <a:gd name="connsiteX107" fmla="*/ 181891 w 278347"/>
                  <a:gd name="connsiteY107" fmla="*/ 198732 h 249781"/>
                  <a:gd name="connsiteX108" fmla="*/ 182156 w 278347"/>
                  <a:gd name="connsiteY108" fmla="*/ 200495 h 249781"/>
                  <a:gd name="connsiteX109" fmla="*/ 182773 w 278347"/>
                  <a:gd name="connsiteY109" fmla="*/ 202523 h 249781"/>
                  <a:gd name="connsiteX110" fmla="*/ 185683 w 278347"/>
                  <a:gd name="connsiteY110" fmla="*/ 205168 h 249781"/>
                  <a:gd name="connsiteX111" fmla="*/ 190091 w 278347"/>
                  <a:gd name="connsiteY111" fmla="*/ 206931 h 249781"/>
                  <a:gd name="connsiteX112" fmla="*/ 194147 w 278347"/>
                  <a:gd name="connsiteY112" fmla="*/ 206049 h 249781"/>
                  <a:gd name="connsiteX113" fmla="*/ 196528 w 278347"/>
                  <a:gd name="connsiteY113" fmla="*/ 209576 h 249781"/>
                  <a:gd name="connsiteX114" fmla="*/ 200936 w 278347"/>
                  <a:gd name="connsiteY114" fmla="*/ 210193 h 249781"/>
                  <a:gd name="connsiteX115" fmla="*/ 200054 w 278347"/>
                  <a:gd name="connsiteY115" fmla="*/ 212221 h 249781"/>
                  <a:gd name="connsiteX116" fmla="*/ 198908 w 278347"/>
                  <a:gd name="connsiteY116" fmla="*/ 214602 h 249781"/>
                  <a:gd name="connsiteX117" fmla="*/ 199173 w 278347"/>
                  <a:gd name="connsiteY117" fmla="*/ 216101 h 249781"/>
                  <a:gd name="connsiteX118" fmla="*/ 200054 w 278347"/>
                  <a:gd name="connsiteY118" fmla="*/ 217247 h 249781"/>
                  <a:gd name="connsiteX119" fmla="*/ 200583 w 278347"/>
                  <a:gd name="connsiteY119" fmla="*/ 218393 h 249781"/>
                  <a:gd name="connsiteX120" fmla="*/ 202347 w 278347"/>
                  <a:gd name="connsiteY120" fmla="*/ 219539 h 249781"/>
                  <a:gd name="connsiteX121" fmla="*/ 205873 w 278347"/>
                  <a:gd name="connsiteY121" fmla="*/ 221303 h 249781"/>
                  <a:gd name="connsiteX122" fmla="*/ 206491 w 278347"/>
                  <a:gd name="connsiteY122" fmla="*/ 223066 h 249781"/>
                  <a:gd name="connsiteX123" fmla="*/ 202082 w 278347"/>
                  <a:gd name="connsiteY123" fmla="*/ 222537 h 249781"/>
                  <a:gd name="connsiteX124" fmla="*/ 200936 w 278347"/>
                  <a:gd name="connsiteY124" fmla="*/ 221920 h 249781"/>
                  <a:gd name="connsiteX125" fmla="*/ 195646 w 278347"/>
                  <a:gd name="connsiteY125" fmla="*/ 219627 h 249781"/>
                  <a:gd name="connsiteX126" fmla="*/ 191854 w 278347"/>
                  <a:gd name="connsiteY126" fmla="*/ 219627 h 249781"/>
                  <a:gd name="connsiteX127" fmla="*/ 186653 w 278347"/>
                  <a:gd name="connsiteY127" fmla="*/ 217600 h 249781"/>
                  <a:gd name="connsiteX128" fmla="*/ 181980 w 278347"/>
                  <a:gd name="connsiteY128" fmla="*/ 215572 h 249781"/>
                  <a:gd name="connsiteX129" fmla="*/ 179952 w 278347"/>
                  <a:gd name="connsiteY129" fmla="*/ 213544 h 249781"/>
                  <a:gd name="connsiteX130" fmla="*/ 176778 w 278347"/>
                  <a:gd name="connsiteY130" fmla="*/ 211781 h 249781"/>
                  <a:gd name="connsiteX131" fmla="*/ 174397 w 278347"/>
                  <a:gd name="connsiteY131" fmla="*/ 212927 h 249781"/>
                  <a:gd name="connsiteX132" fmla="*/ 172634 w 278347"/>
                  <a:gd name="connsiteY132" fmla="*/ 211781 h 249781"/>
                  <a:gd name="connsiteX133" fmla="*/ 169460 w 278347"/>
                  <a:gd name="connsiteY133" fmla="*/ 210634 h 249781"/>
                  <a:gd name="connsiteX134" fmla="*/ 158086 w 278347"/>
                  <a:gd name="connsiteY134" fmla="*/ 207725 h 249781"/>
                  <a:gd name="connsiteX135" fmla="*/ 155177 w 278347"/>
                  <a:gd name="connsiteY135" fmla="*/ 206843 h 249781"/>
                  <a:gd name="connsiteX136" fmla="*/ 154295 w 278347"/>
                  <a:gd name="connsiteY136" fmla="*/ 208342 h 249781"/>
                  <a:gd name="connsiteX137" fmla="*/ 154030 w 278347"/>
                  <a:gd name="connsiteY137" fmla="*/ 208959 h 249781"/>
                  <a:gd name="connsiteX138" fmla="*/ 144420 w 278347"/>
                  <a:gd name="connsiteY138" fmla="*/ 206667 h 249781"/>
                  <a:gd name="connsiteX139" fmla="*/ 143009 w 278347"/>
                  <a:gd name="connsiteY139" fmla="*/ 207196 h 249781"/>
                  <a:gd name="connsiteX140" fmla="*/ 140100 w 278347"/>
                  <a:gd name="connsiteY140" fmla="*/ 207813 h 249781"/>
                  <a:gd name="connsiteX141" fmla="*/ 136309 w 278347"/>
                  <a:gd name="connsiteY141" fmla="*/ 206931 h 249781"/>
                  <a:gd name="connsiteX142" fmla="*/ 133399 w 278347"/>
                  <a:gd name="connsiteY142" fmla="*/ 205520 h 249781"/>
                  <a:gd name="connsiteX143" fmla="*/ 130754 w 278347"/>
                  <a:gd name="connsiteY143" fmla="*/ 204375 h 249781"/>
                  <a:gd name="connsiteX144" fmla="*/ 128990 w 278347"/>
                  <a:gd name="connsiteY144" fmla="*/ 203228 h 249781"/>
                  <a:gd name="connsiteX145" fmla="*/ 128638 w 278347"/>
                  <a:gd name="connsiteY145" fmla="*/ 202082 h 249781"/>
                  <a:gd name="connsiteX146" fmla="*/ 128638 w 278347"/>
                  <a:gd name="connsiteY146" fmla="*/ 200319 h 249781"/>
                  <a:gd name="connsiteX147" fmla="*/ 128638 w 278347"/>
                  <a:gd name="connsiteY147" fmla="*/ 199172 h 249781"/>
                  <a:gd name="connsiteX148" fmla="*/ 127492 w 278347"/>
                  <a:gd name="connsiteY148" fmla="*/ 195646 h 249781"/>
                  <a:gd name="connsiteX149" fmla="*/ 127139 w 278347"/>
                  <a:gd name="connsiteY149" fmla="*/ 194235 h 249781"/>
                  <a:gd name="connsiteX150" fmla="*/ 124229 w 278347"/>
                  <a:gd name="connsiteY150" fmla="*/ 194499 h 249781"/>
                  <a:gd name="connsiteX151" fmla="*/ 122202 w 278347"/>
                  <a:gd name="connsiteY151" fmla="*/ 193353 h 249781"/>
                  <a:gd name="connsiteX152" fmla="*/ 120791 w 278347"/>
                  <a:gd name="connsiteY152" fmla="*/ 193089 h 249781"/>
                  <a:gd name="connsiteX153" fmla="*/ 120791 w 278347"/>
                  <a:gd name="connsiteY153" fmla="*/ 190179 h 249781"/>
                  <a:gd name="connsiteX154" fmla="*/ 121056 w 278347"/>
                  <a:gd name="connsiteY154" fmla="*/ 187534 h 249781"/>
                  <a:gd name="connsiteX155" fmla="*/ 119027 w 278347"/>
                  <a:gd name="connsiteY155" fmla="*/ 180569 h 249781"/>
                  <a:gd name="connsiteX156" fmla="*/ 118675 w 278347"/>
                  <a:gd name="connsiteY156" fmla="*/ 178276 h 249781"/>
                  <a:gd name="connsiteX157" fmla="*/ 116647 w 278347"/>
                  <a:gd name="connsiteY157" fmla="*/ 177130 h 249781"/>
                  <a:gd name="connsiteX158" fmla="*/ 112856 w 278347"/>
                  <a:gd name="connsiteY158" fmla="*/ 178894 h 249781"/>
                  <a:gd name="connsiteX159" fmla="*/ 111445 w 278347"/>
                  <a:gd name="connsiteY159" fmla="*/ 175984 h 249781"/>
                  <a:gd name="connsiteX160" fmla="*/ 111445 w 278347"/>
                  <a:gd name="connsiteY160" fmla="*/ 174221 h 249781"/>
                  <a:gd name="connsiteX161" fmla="*/ 110563 w 278347"/>
                  <a:gd name="connsiteY161" fmla="*/ 169548 h 249781"/>
                  <a:gd name="connsiteX162" fmla="*/ 106243 w 278347"/>
                  <a:gd name="connsiteY162" fmla="*/ 167784 h 249781"/>
                  <a:gd name="connsiteX163" fmla="*/ 105361 w 278347"/>
                  <a:gd name="connsiteY163" fmla="*/ 164522 h 249781"/>
                  <a:gd name="connsiteX164" fmla="*/ 104215 w 278347"/>
                  <a:gd name="connsiteY164" fmla="*/ 160996 h 249781"/>
                  <a:gd name="connsiteX165" fmla="*/ 102716 w 278347"/>
                  <a:gd name="connsiteY165" fmla="*/ 158615 h 249781"/>
                  <a:gd name="connsiteX166" fmla="*/ 99807 w 278347"/>
                  <a:gd name="connsiteY166" fmla="*/ 157733 h 249781"/>
                  <a:gd name="connsiteX167" fmla="*/ 94517 w 278347"/>
                  <a:gd name="connsiteY167" fmla="*/ 153589 h 249781"/>
                  <a:gd name="connsiteX168" fmla="*/ 90726 w 278347"/>
                  <a:gd name="connsiteY168" fmla="*/ 152708 h 249781"/>
                  <a:gd name="connsiteX169" fmla="*/ 86670 w 278347"/>
                  <a:gd name="connsiteY169" fmla="*/ 152972 h 249781"/>
                  <a:gd name="connsiteX170" fmla="*/ 79705 w 278347"/>
                  <a:gd name="connsiteY170" fmla="*/ 149181 h 249781"/>
                  <a:gd name="connsiteX171" fmla="*/ 77060 w 278347"/>
                  <a:gd name="connsiteY171" fmla="*/ 148652 h 249781"/>
                  <a:gd name="connsiteX172" fmla="*/ 75296 w 278347"/>
                  <a:gd name="connsiteY172" fmla="*/ 148652 h 249781"/>
                  <a:gd name="connsiteX173" fmla="*/ 71769 w 278347"/>
                  <a:gd name="connsiteY173" fmla="*/ 147153 h 249781"/>
                  <a:gd name="connsiteX174" fmla="*/ 68243 w 278347"/>
                  <a:gd name="connsiteY174" fmla="*/ 145742 h 249781"/>
                  <a:gd name="connsiteX175" fmla="*/ 65597 w 278347"/>
                  <a:gd name="connsiteY175" fmla="*/ 143979 h 249781"/>
                  <a:gd name="connsiteX176" fmla="*/ 61277 w 278347"/>
                  <a:gd name="connsiteY176" fmla="*/ 138424 h 249781"/>
                  <a:gd name="connsiteX177" fmla="*/ 61542 w 278347"/>
                  <a:gd name="connsiteY177" fmla="*/ 139306 h 249781"/>
                  <a:gd name="connsiteX178" fmla="*/ 63922 w 278347"/>
                  <a:gd name="connsiteY178" fmla="*/ 142745 h 249781"/>
                  <a:gd name="connsiteX179" fmla="*/ 63922 w 278347"/>
                  <a:gd name="connsiteY179" fmla="*/ 146007 h 249781"/>
                  <a:gd name="connsiteX180" fmla="*/ 67713 w 278347"/>
                  <a:gd name="connsiteY180" fmla="*/ 148035 h 249781"/>
                  <a:gd name="connsiteX181" fmla="*/ 67713 w 278347"/>
                  <a:gd name="connsiteY181" fmla="*/ 151561 h 249781"/>
                  <a:gd name="connsiteX182" fmla="*/ 67713 w 278347"/>
                  <a:gd name="connsiteY182" fmla="*/ 152179 h 249781"/>
                  <a:gd name="connsiteX183" fmla="*/ 66568 w 278347"/>
                  <a:gd name="connsiteY183" fmla="*/ 151561 h 249781"/>
                  <a:gd name="connsiteX184" fmla="*/ 64539 w 278347"/>
                  <a:gd name="connsiteY184" fmla="*/ 150680 h 249781"/>
                  <a:gd name="connsiteX185" fmla="*/ 66568 w 278347"/>
                  <a:gd name="connsiteY185" fmla="*/ 152443 h 249781"/>
                  <a:gd name="connsiteX186" fmla="*/ 66303 w 278347"/>
                  <a:gd name="connsiteY186" fmla="*/ 153325 h 249781"/>
                  <a:gd name="connsiteX187" fmla="*/ 63393 w 278347"/>
                  <a:gd name="connsiteY187" fmla="*/ 153325 h 249781"/>
                  <a:gd name="connsiteX188" fmla="*/ 60748 w 278347"/>
                  <a:gd name="connsiteY188" fmla="*/ 151826 h 249781"/>
                  <a:gd name="connsiteX189" fmla="*/ 57838 w 278347"/>
                  <a:gd name="connsiteY189" fmla="*/ 151826 h 249781"/>
                  <a:gd name="connsiteX190" fmla="*/ 56340 w 278347"/>
                  <a:gd name="connsiteY190" fmla="*/ 149798 h 249781"/>
                  <a:gd name="connsiteX191" fmla="*/ 54841 w 278347"/>
                  <a:gd name="connsiteY191" fmla="*/ 149534 h 249781"/>
                  <a:gd name="connsiteX192" fmla="*/ 54576 w 278347"/>
                  <a:gd name="connsiteY192" fmla="*/ 149798 h 249781"/>
                  <a:gd name="connsiteX193" fmla="*/ 56340 w 278347"/>
                  <a:gd name="connsiteY193" fmla="*/ 150151 h 249781"/>
                  <a:gd name="connsiteX194" fmla="*/ 56957 w 278347"/>
                  <a:gd name="connsiteY194" fmla="*/ 151914 h 249781"/>
                  <a:gd name="connsiteX195" fmla="*/ 58632 w 278347"/>
                  <a:gd name="connsiteY195" fmla="*/ 152796 h 249781"/>
                  <a:gd name="connsiteX196" fmla="*/ 60396 w 278347"/>
                  <a:gd name="connsiteY196" fmla="*/ 157204 h 249781"/>
                  <a:gd name="connsiteX197" fmla="*/ 60043 w 278347"/>
                  <a:gd name="connsiteY197" fmla="*/ 158086 h 249781"/>
                  <a:gd name="connsiteX198" fmla="*/ 55722 w 278347"/>
                  <a:gd name="connsiteY198" fmla="*/ 157557 h 249781"/>
                  <a:gd name="connsiteX199" fmla="*/ 52196 w 278347"/>
                  <a:gd name="connsiteY199" fmla="*/ 159320 h 249781"/>
                  <a:gd name="connsiteX200" fmla="*/ 47788 w 278347"/>
                  <a:gd name="connsiteY200" fmla="*/ 159320 h 249781"/>
                  <a:gd name="connsiteX201" fmla="*/ 45759 w 278347"/>
                  <a:gd name="connsiteY201" fmla="*/ 160202 h 249781"/>
                  <a:gd name="connsiteX202" fmla="*/ 40205 w 278347"/>
                  <a:gd name="connsiteY202" fmla="*/ 158174 h 249781"/>
                  <a:gd name="connsiteX203" fmla="*/ 37031 w 278347"/>
                  <a:gd name="connsiteY203" fmla="*/ 158439 h 249781"/>
                  <a:gd name="connsiteX204" fmla="*/ 35620 w 278347"/>
                  <a:gd name="connsiteY204" fmla="*/ 159585 h 249781"/>
                  <a:gd name="connsiteX205" fmla="*/ 33857 w 278347"/>
                  <a:gd name="connsiteY205" fmla="*/ 159232 h 249781"/>
                  <a:gd name="connsiteX206" fmla="*/ 32975 w 278347"/>
                  <a:gd name="connsiteY206" fmla="*/ 155705 h 249781"/>
                  <a:gd name="connsiteX207" fmla="*/ 29448 w 278347"/>
                  <a:gd name="connsiteY207" fmla="*/ 155088 h 249781"/>
                  <a:gd name="connsiteX208" fmla="*/ 27685 w 278347"/>
                  <a:gd name="connsiteY208" fmla="*/ 156234 h 249781"/>
                  <a:gd name="connsiteX209" fmla="*/ 28831 w 278347"/>
                  <a:gd name="connsiteY209" fmla="*/ 155970 h 249781"/>
                  <a:gd name="connsiteX210" fmla="*/ 31476 w 278347"/>
                  <a:gd name="connsiteY210" fmla="*/ 155353 h 249781"/>
                  <a:gd name="connsiteX211" fmla="*/ 32358 w 278347"/>
                  <a:gd name="connsiteY211" fmla="*/ 155970 h 249781"/>
                  <a:gd name="connsiteX212" fmla="*/ 32975 w 278347"/>
                  <a:gd name="connsiteY212" fmla="*/ 158880 h 249781"/>
                  <a:gd name="connsiteX213" fmla="*/ 34121 w 278347"/>
                  <a:gd name="connsiteY213" fmla="*/ 160026 h 249781"/>
                  <a:gd name="connsiteX214" fmla="*/ 35267 w 278347"/>
                  <a:gd name="connsiteY214" fmla="*/ 160290 h 249781"/>
                  <a:gd name="connsiteX215" fmla="*/ 38177 w 278347"/>
                  <a:gd name="connsiteY215" fmla="*/ 158880 h 249781"/>
                  <a:gd name="connsiteX216" fmla="*/ 41439 w 278347"/>
                  <a:gd name="connsiteY216" fmla="*/ 159497 h 249781"/>
                  <a:gd name="connsiteX217" fmla="*/ 44349 w 278347"/>
                  <a:gd name="connsiteY217" fmla="*/ 161789 h 249781"/>
                  <a:gd name="connsiteX218" fmla="*/ 48405 w 278347"/>
                  <a:gd name="connsiteY218" fmla="*/ 162935 h 249781"/>
                  <a:gd name="connsiteX219" fmla="*/ 49904 w 278347"/>
                  <a:gd name="connsiteY219" fmla="*/ 165580 h 249781"/>
                  <a:gd name="connsiteX220" fmla="*/ 48757 w 278347"/>
                  <a:gd name="connsiteY220" fmla="*/ 167079 h 249781"/>
                  <a:gd name="connsiteX221" fmla="*/ 45848 w 278347"/>
                  <a:gd name="connsiteY221" fmla="*/ 169372 h 249781"/>
                  <a:gd name="connsiteX222" fmla="*/ 48493 w 278347"/>
                  <a:gd name="connsiteY222" fmla="*/ 172898 h 249781"/>
                  <a:gd name="connsiteX223" fmla="*/ 43555 w 278347"/>
                  <a:gd name="connsiteY223" fmla="*/ 174045 h 249781"/>
                  <a:gd name="connsiteX224" fmla="*/ 42145 w 278347"/>
                  <a:gd name="connsiteY224" fmla="*/ 178100 h 249781"/>
                  <a:gd name="connsiteX225" fmla="*/ 40117 w 278347"/>
                  <a:gd name="connsiteY225" fmla="*/ 182509 h 249781"/>
                  <a:gd name="connsiteX226" fmla="*/ 37736 w 278347"/>
                  <a:gd name="connsiteY226" fmla="*/ 184007 h 249781"/>
                  <a:gd name="connsiteX227" fmla="*/ 35973 w 278347"/>
                  <a:gd name="connsiteY227" fmla="*/ 183743 h 249781"/>
                  <a:gd name="connsiteX228" fmla="*/ 31829 w 278347"/>
                  <a:gd name="connsiteY228" fmla="*/ 180833 h 249781"/>
                  <a:gd name="connsiteX229" fmla="*/ 32093 w 278347"/>
                  <a:gd name="connsiteY229" fmla="*/ 185506 h 249781"/>
                  <a:gd name="connsiteX230" fmla="*/ 26539 w 278347"/>
                  <a:gd name="connsiteY230" fmla="*/ 186388 h 249781"/>
                  <a:gd name="connsiteX231" fmla="*/ 25040 w 278347"/>
                  <a:gd name="connsiteY231" fmla="*/ 188151 h 249781"/>
                  <a:gd name="connsiteX232" fmla="*/ 23012 w 278347"/>
                  <a:gd name="connsiteY232" fmla="*/ 188769 h 249781"/>
                  <a:gd name="connsiteX233" fmla="*/ 20103 w 278347"/>
                  <a:gd name="connsiteY233" fmla="*/ 188151 h 249781"/>
                  <a:gd name="connsiteX234" fmla="*/ 18956 w 278347"/>
                  <a:gd name="connsiteY234" fmla="*/ 186124 h 249781"/>
                  <a:gd name="connsiteX235" fmla="*/ 12520 w 278347"/>
                  <a:gd name="connsiteY235" fmla="*/ 185242 h 249781"/>
                  <a:gd name="connsiteX236" fmla="*/ 10228 w 278347"/>
                  <a:gd name="connsiteY236" fmla="*/ 184977 h 249781"/>
                  <a:gd name="connsiteX237" fmla="*/ 1499 w 278347"/>
                  <a:gd name="connsiteY237" fmla="*/ 185506 h 249781"/>
                  <a:gd name="connsiteX238" fmla="*/ 0 w 278347"/>
                  <a:gd name="connsiteY238" fmla="*/ 177395 h 249781"/>
                  <a:gd name="connsiteX239" fmla="*/ 265 w 278347"/>
                  <a:gd name="connsiteY239" fmla="*/ 172105 h 249781"/>
                  <a:gd name="connsiteX240" fmla="*/ 1146 w 278347"/>
                  <a:gd name="connsiteY240" fmla="*/ 159585 h 249781"/>
                  <a:gd name="connsiteX241" fmla="*/ 3174 w 278347"/>
                  <a:gd name="connsiteY241" fmla="*/ 140629 h 249781"/>
                  <a:gd name="connsiteX242" fmla="*/ 4321 w 278347"/>
                  <a:gd name="connsiteY242" fmla="*/ 122819 h 249781"/>
                  <a:gd name="connsiteX243" fmla="*/ 2028 w 278347"/>
                  <a:gd name="connsiteY243" fmla="*/ 121673 h 249781"/>
                  <a:gd name="connsiteX244" fmla="*/ 1146 w 278347"/>
                  <a:gd name="connsiteY244" fmla="*/ 115853 h 249781"/>
                  <a:gd name="connsiteX245" fmla="*/ 2292 w 278347"/>
                  <a:gd name="connsiteY245" fmla="*/ 115324 h 249781"/>
                  <a:gd name="connsiteX246" fmla="*/ 3439 w 278347"/>
                  <a:gd name="connsiteY246" fmla="*/ 111533 h 249781"/>
                  <a:gd name="connsiteX247" fmla="*/ 3703 w 278347"/>
                  <a:gd name="connsiteY247" fmla="*/ 110034 h 249781"/>
                  <a:gd name="connsiteX248" fmla="*/ 5026 w 278347"/>
                  <a:gd name="connsiteY248" fmla="*/ 108535 h 249781"/>
                  <a:gd name="connsiteX249" fmla="*/ 260273 w 278347"/>
                  <a:gd name="connsiteY249" fmla="*/ 190532 h 249781"/>
                  <a:gd name="connsiteX250" fmla="*/ 258510 w 278347"/>
                  <a:gd name="connsiteY250" fmla="*/ 188769 h 249781"/>
                  <a:gd name="connsiteX251" fmla="*/ 258246 w 278347"/>
                  <a:gd name="connsiteY251" fmla="*/ 189915 h 249781"/>
                  <a:gd name="connsiteX252" fmla="*/ 257011 w 278347"/>
                  <a:gd name="connsiteY252" fmla="*/ 188769 h 249781"/>
                  <a:gd name="connsiteX253" fmla="*/ 257893 w 278347"/>
                  <a:gd name="connsiteY253" fmla="*/ 188240 h 249781"/>
                  <a:gd name="connsiteX254" fmla="*/ 254983 w 278347"/>
                  <a:gd name="connsiteY254" fmla="*/ 184977 h 249781"/>
                  <a:gd name="connsiteX255" fmla="*/ 253220 w 278347"/>
                  <a:gd name="connsiteY255" fmla="*/ 184977 h 249781"/>
                  <a:gd name="connsiteX256" fmla="*/ 254366 w 278347"/>
                  <a:gd name="connsiteY256" fmla="*/ 183831 h 249781"/>
                  <a:gd name="connsiteX257" fmla="*/ 259921 w 278347"/>
                  <a:gd name="connsiteY257" fmla="*/ 183831 h 249781"/>
                  <a:gd name="connsiteX258" fmla="*/ 264329 w 278347"/>
                  <a:gd name="connsiteY258" fmla="*/ 187622 h 249781"/>
                  <a:gd name="connsiteX259" fmla="*/ 263712 w 278347"/>
                  <a:gd name="connsiteY259" fmla="*/ 189121 h 249781"/>
                  <a:gd name="connsiteX260" fmla="*/ 262830 w 278347"/>
                  <a:gd name="connsiteY260" fmla="*/ 188504 h 249781"/>
                  <a:gd name="connsiteX261" fmla="*/ 262830 w 278347"/>
                  <a:gd name="connsiteY261" fmla="*/ 189386 h 249781"/>
                  <a:gd name="connsiteX262" fmla="*/ 260273 w 278347"/>
                  <a:gd name="connsiteY262" fmla="*/ 190532 h 249781"/>
                  <a:gd name="connsiteX263" fmla="*/ 264946 w 278347"/>
                  <a:gd name="connsiteY263" fmla="*/ 78823 h 249781"/>
                  <a:gd name="connsiteX264" fmla="*/ 261684 w 278347"/>
                  <a:gd name="connsiteY264" fmla="*/ 74414 h 249781"/>
                  <a:gd name="connsiteX265" fmla="*/ 259921 w 278347"/>
                  <a:gd name="connsiteY265" fmla="*/ 69124 h 249781"/>
                  <a:gd name="connsiteX266" fmla="*/ 261067 w 278347"/>
                  <a:gd name="connsiteY266" fmla="*/ 65597 h 249781"/>
                  <a:gd name="connsiteX267" fmla="*/ 259568 w 278347"/>
                  <a:gd name="connsiteY267" fmla="*/ 59161 h 249781"/>
                  <a:gd name="connsiteX268" fmla="*/ 254895 w 278347"/>
                  <a:gd name="connsiteY268" fmla="*/ 51314 h 249781"/>
                  <a:gd name="connsiteX269" fmla="*/ 251368 w 278347"/>
                  <a:gd name="connsiteY269" fmla="*/ 46024 h 249781"/>
                  <a:gd name="connsiteX270" fmla="*/ 248194 w 278347"/>
                  <a:gd name="connsiteY270" fmla="*/ 44525 h 249781"/>
                  <a:gd name="connsiteX271" fmla="*/ 244667 w 278347"/>
                  <a:gd name="connsiteY271" fmla="*/ 43026 h 249781"/>
                  <a:gd name="connsiteX272" fmla="*/ 239730 w 278347"/>
                  <a:gd name="connsiteY272" fmla="*/ 38089 h 249781"/>
                  <a:gd name="connsiteX273" fmla="*/ 236556 w 278347"/>
                  <a:gd name="connsiteY273" fmla="*/ 35444 h 249781"/>
                  <a:gd name="connsiteX274" fmla="*/ 228092 w 278347"/>
                  <a:gd name="connsiteY274" fmla="*/ 28743 h 249781"/>
                  <a:gd name="connsiteX275" fmla="*/ 224036 w 278347"/>
                  <a:gd name="connsiteY275" fmla="*/ 26098 h 249781"/>
                  <a:gd name="connsiteX276" fmla="*/ 220245 w 278347"/>
                  <a:gd name="connsiteY276" fmla="*/ 25745 h 249781"/>
                  <a:gd name="connsiteX277" fmla="*/ 219628 w 278347"/>
                  <a:gd name="connsiteY277" fmla="*/ 24864 h 249781"/>
                  <a:gd name="connsiteX278" fmla="*/ 220245 w 278347"/>
                  <a:gd name="connsiteY278" fmla="*/ 24246 h 249781"/>
                  <a:gd name="connsiteX279" fmla="*/ 223154 w 278347"/>
                  <a:gd name="connsiteY279" fmla="*/ 24511 h 249781"/>
                  <a:gd name="connsiteX280" fmla="*/ 223154 w 278347"/>
                  <a:gd name="connsiteY280" fmla="*/ 22748 h 249781"/>
                  <a:gd name="connsiteX281" fmla="*/ 221126 w 278347"/>
                  <a:gd name="connsiteY281" fmla="*/ 21866 h 249781"/>
                  <a:gd name="connsiteX282" fmla="*/ 221744 w 278347"/>
                  <a:gd name="connsiteY282" fmla="*/ 20720 h 249781"/>
                  <a:gd name="connsiteX283" fmla="*/ 228445 w 278347"/>
                  <a:gd name="connsiteY283" fmla="*/ 26274 h 249781"/>
                  <a:gd name="connsiteX284" fmla="*/ 229591 w 278347"/>
                  <a:gd name="connsiteY284" fmla="*/ 26803 h 249781"/>
                  <a:gd name="connsiteX285" fmla="*/ 229855 w 278347"/>
                  <a:gd name="connsiteY285" fmla="*/ 28302 h 249781"/>
                  <a:gd name="connsiteX286" fmla="*/ 234528 w 278347"/>
                  <a:gd name="connsiteY286" fmla="*/ 29448 h 249781"/>
                  <a:gd name="connsiteX287" fmla="*/ 242111 w 278347"/>
                  <a:gd name="connsiteY287" fmla="*/ 36414 h 249781"/>
                  <a:gd name="connsiteX288" fmla="*/ 244403 w 278347"/>
                  <a:gd name="connsiteY288" fmla="*/ 37295 h 249781"/>
                  <a:gd name="connsiteX289" fmla="*/ 247929 w 278347"/>
                  <a:gd name="connsiteY289" fmla="*/ 38442 h 249781"/>
                  <a:gd name="connsiteX290" fmla="*/ 249076 w 278347"/>
                  <a:gd name="connsiteY290" fmla="*/ 40734 h 249781"/>
                  <a:gd name="connsiteX291" fmla="*/ 251104 w 278347"/>
                  <a:gd name="connsiteY291" fmla="*/ 43643 h 249781"/>
                  <a:gd name="connsiteX292" fmla="*/ 255159 w 278347"/>
                  <a:gd name="connsiteY292" fmla="*/ 48052 h 249781"/>
                  <a:gd name="connsiteX293" fmla="*/ 255777 w 278347"/>
                  <a:gd name="connsiteY293" fmla="*/ 49198 h 249781"/>
                  <a:gd name="connsiteX294" fmla="*/ 257275 w 278347"/>
                  <a:gd name="connsiteY294" fmla="*/ 48581 h 249781"/>
                  <a:gd name="connsiteX295" fmla="*/ 258422 w 278347"/>
                  <a:gd name="connsiteY295" fmla="*/ 51226 h 249781"/>
                  <a:gd name="connsiteX296" fmla="*/ 258686 w 278347"/>
                  <a:gd name="connsiteY296" fmla="*/ 52989 h 249781"/>
                  <a:gd name="connsiteX297" fmla="*/ 262742 w 278347"/>
                  <a:gd name="connsiteY297" fmla="*/ 55017 h 249781"/>
                  <a:gd name="connsiteX298" fmla="*/ 263888 w 278347"/>
                  <a:gd name="connsiteY298" fmla="*/ 54488 h 249781"/>
                  <a:gd name="connsiteX299" fmla="*/ 264770 w 278347"/>
                  <a:gd name="connsiteY299" fmla="*/ 57398 h 249781"/>
                  <a:gd name="connsiteX300" fmla="*/ 267415 w 278347"/>
                  <a:gd name="connsiteY300" fmla="*/ 59690 h 249781"/>
                  <a:gd name="connsiteX301" fmla="*/ 270325 w 278347"/>
                  <a:gd name="connsiteY301" fmla="*/ 64099 h 249781"/>
                  <a:gd name="connsiteX302" fmla="*/ 270325 w 278347"/>
                  <a:gd name="connsiteY302" fmla="*/ 67625 h 249781"/>
                  <a:gd name="connsiteX303" fmla="*/ 268296 w 278347"/>
                  <a:gd name="connsiteY303" fmla="*/ 69653 h 249781"/>
                  <a:gd name="connsiteX304" fmla="*/ 268914 w 278347"/>
                  <a:gd name="connsiteY304" fmla="*/ 72298 h 249781"/>
                  <a:gd name="connsiteX305" fmla="*/ 264946 w 278347"/>
                  <a:gd name="connsiteY305" fmla="*/ 78823 h 249781"/>
                  <a:gd name="connsiteX306" fmla="*/ 148299 w 278347"/>
                  <a:gd name="connsiteY306" fmla="*/ 100071 h 249781"/>
                  <a:gd name="connsiteX307" fmla="*/ 146007 w 278347"/>
                  <a:gd name="connsiteY307" fmla="*/ 98043 h 249781"/>
                  <a:gd name="connsiteX308" fmla="*/ 143362 w 278347"/>
                  <a:gd name="connsiteY308" fmla="*/ 94252 h 249781"/>
                  <a:gd name="connsiteX309" fmla="*/ 143362 w 278347"/>
                  <a:gd name="connsiteY309" fmla="*/ 91960 h 249781"/>
                  <a:gd name="connsiteX310" fmla="*/ 145390 w 278347"/>
                  <a:gd name="connsiteY310" fmla="*/ 91078 h 249781"/>
                  <a:gd name="connsiteX311" fmla="*/ 149446 w 278347"/>
                  <a:gd name="connsiteY311" fmla="*/ 93988 h 249781"/>
                  <a:gd name="connsiteX312" fmla="*/ 150063 w 278347"/>
                  <a:gd name="connsiteY312" fmla="*/ 95487 h 249781"/>
                  <a:gd name="connsiteX313" fmla="*/ 149181 w 278347"/>
                  <a:gd name="connsiteY313" fmla="*/ 99278 h 249781"/>
                  <a:gd name="connsiteX314" fmla="*/ 148299 w 278347"/>
                  <a:gd name="connsiteY314" fmla="*/ 100071 h 249781"/>
                  <a:gd name="connsiteX315" fmla="*/ 131988 w 278347"/>
                  <a:gd name="connsiteY315" fmla="*/ 89050 h 249781"/>
                  <a:gd name="connsiteX316" fmla="*/ 129696 w 278347"/>
                  <a:gd name="connsiteY316" fmla="*/ 86405 h 249781"/>
                  <a:gd name="connsiteX317" fmla="*/ 128550 w 278347"/>
                  <a:gd name="connsiteY317" fmla="*/ 84994 h 249781"/>
                  <a:gd name="connsiteX318" fmla="*/ 129696 w 278347"/>
                  <a:gd name="connsiteY318" fmla="*/ 84113 h 249781"/>
                  <a:gd name="connsiteX319" fmla="*/ 129696 w 278347"/>
                  <a:gd name="connsiteY319" fmla="*/ 82614 h 249781"/>
                  <a:gd name="connsiteX320" fmla="*/ 132341 w 278347"/>
                  <a:gd name="connsiteY320" fmla="*/ 82614 h 249781"/>
                  <a:gd name="connsiteX321" fmla="*/ 134722 w 278347"/>
                  <a:gd name="connsiteY321" fmla="*/ 86670 h 249781"/>
                  <a:gd name="connsiteX322" fmla="*/ 134457 w 278347"/>
                  <a:gd name="connsiteY322" fmla="*/ 88433 h 249781"/>
                  <a:gd name="connsiteX323" fmla="*/ 131988 w 278347"/>
                  <a:gd name="connsiteY323" fmla="*/ 89050 h 249781"/>
                  <a:gd name="connsiteX324" fmla="*/ 275174 w 278347"/>
                  <a:gd name="connsiteY324" fmla="*/ 249781 h 249781"/>
                  <a:gd name="connsiteX325" fmla="*/ 271912 w 278347"/>
                  <a:gd name="connsiteY325" fmla="*/ 248899 h 249781"/>
                  <a:gd name="connsiteX326" fmla="*/ 271647 w 278347"/>
                  <a:gd name="connsiteY326" fmla="*/ 247753 h 249781"/>
                  <a:gd name="connsiteX327" fmla="*/ 269619 w 278347"/>
                  <a:gd name="connsiteY327" fmla="*/ 248018 h 249781"/>
                  <a:gd name="connsiteX328" fmla="*/ 269884 w 278347"/>
                  <a:gd name="connsiteY328" fmla="*/ 246519 h 249781"/>
                  <a:gd name="connsiteX329" fmla="*/ 267591 w 278347"/>
                  <a:gd name="connsiteY329" fmla="*/ 245373 h 249781"/>
                  <a:gd name="connsiteX330" fmla="*/ 266092 w 278347"/>
                  <a:gd name="connsiteY330" fmla="*/ 241846 h 249781"/>
                  <a:gd name="connsiteX331" fmla="*/ 275703 w 278347"/>
                  <a:gd name="connsiteY331" fmla="*/ 247048 h 249781"/>
                  <a:gd name="connsiteX332" fmla="*/ 278348 w 278347"/>
                  <a:gd name="connsiteY332" fmla="*/ 249076 h 249781"/>
                  <a:gd name="connsiteX333" fmla="*/ 275174 w 278347"/>
                  <a:gd name="connsiteY333" fmla="*/ 249781 h 249781"/>
                  <a:gd name="connsiteX334" fmla="*/ 192912 w 278347"/>
                  <a:gd name="connsiteY334" fmla="*/ 109417 h 249781"/>
                  <a:gd name="connsiteX335" fmla="*/ 192031 w 278347"/>
                  <a:gd name="connsiteY335" fmla="*/ 108271 h 249781"/>
                  <a:gd name="connsiteX336" fmla="*/ 188592 w 278347"/>
                  <a:gd name="connsiteY336" fmla="*/ 108535 h 249781"/>
                  <a:gd name="connsiteX337" fmla="*/ 187711 w 278347"/>
                  <a:gd name="connsiteY337" fmla="*/ 108888 h 249781"/>
                  <a:gd name="connsiteX338" fmla="*/ 183920 w 278347"/>
                  <a:gd name="connsiteY338" fmla="*/ 108535 h 249781"/>
                  <a:gd name="connsiteX339" fmla="*/ 179246 w 278347"/>
                  <a:gd name="connsiteY339" fmla="*/ 107389 h 249781"/>
                  <a:gd name="connsiteX340" fmla="*/ 176073 w 278347"/>
                  <a:gd name="connsiteY340" fmla="*/ 105890 h 249781"/>
                  <a:gd name="connsiteX341" fmla="*/ 171135 w 278347"/>
                  <a:gd name="connsiteY341" fmla="*/ 104127 h 249781"/>
                  <a:gd name="connsiteX342" fmla="*/ 171135 w 278347"/>
                  <a:gd name="connsiteY342" fmla="*/ 102716 h 249781"/>
                  <a:gd name="connsiteX343" fmla="*/ 169107 w 278347"/>
                  <a:gd name="connsiteY343" fmla="*/ 100336 h 249781"/>
                  <a:gd name="connsiteX344" fmla="*/ 166462 w 278347"/>
                  <a:gd name="connsiteY344" fmla="*/ 100071 h 249781"/>
                  <a:gd name="connsiteX345" fmla="*/ 166198 w 278347"/>
                  <a:gd name="connsiteY345" fmla="*/ 98308 h 249781"/>
                  <a:gd name="connsiteX346" fmla="*/ 161260 w 278347"/>
                  <a:gd name="connsiteY346" fmla="*/ 95134 h 249781"/>
                  <a:gd name="connsiteX347" fmla="*/ 159497 w 278347"/>
                  <a:gd name="connsiteY347" fmla="*/ 95751 h 249781"/>
                  <a:gd name="connsiteX348" fmla="*/ 155177 w 278347"/>
                  <a:gd name="connsiteY348" fmla="*/ 93459 h 249781"/>
                  <a:gd name="connsiteX349" fmla="*/ 154295 w 278347"/>
                  <a:gd name="connsiteY349" fmla="*/ 91431 h 249781"/>
                  <a:gd name="connsiteX350" fmla="*/ 154912 w 278347"/>
                  <a:gd name="connsiteY350" fmla="*/ 87904 h 249781"/>
                  <a:gd name="connsiteX351" fmla="*/ 155529 w 278347"/>
                  <a:gd name="connsiteY351" fmla="*/ 86758 h 249781"/>
                  <a:gd name="connsiteX352" fmla="*/ 156940 w 278347"/>
                  <a:gd name="connsiteY352" fmla="*/ 85876 h 249781"/>
                  <a:gd name="connsiteX353" fmla="*/ 160114 w 278347"/>
                  <a:gd name="connsiteY353" fmla="*/ 88521 h 249781"/>
                  <a:gd name="connsiteX354" fmla="*/ 163640 w 278347"/>
                  <a:gd name="connsiteY354" fmla="*/ 87022 h 249781"/>
                  <a:gd name="connsiteX355" fmla="*/ 166550 w 278347"/>
                  <a:gd name="connsiteY355" fmla="*/ 88786 h 249781"/>
                  <a:gd name="connsiteX356" fmla="*/ 169460 w 278347"/>
                  <a:gd name="connsiteY356" fmla="*/ 87022 h 249781"/>
                  <a:gd name="connsiteX357" fmla="*/ 175015 w 278347"/>
                  <a:gd name="connsiteY357" fmla="*/ 89667 h 249781"/>
                  <a:gd name="connsiteX358" fmla="*/ 175279 w 278347"/>
                  <a:gd name="connsiteY358" fmla="*/ 90549 h 249781"/>
                  <a:gd name="connsiteX359" fmla="*/ 185771 w 278347"/>
                  <a:gd name="connsiteY359" fmla="*/ 88433 h 249781"/>
                  <a:gd name="connsiteX360" fmla="*/ 186917 w 278347"/>
                  <a:gd name="connsiteY360" fmla="*/ 90196 h 249781"/>
                  <a:gd name="connsiteX361" fmla="*/ 189562 w 278347"/>
                  <a:gd name="connsiteY361" fmla="*/ 88697 h 249781"/>
                  <a:gd name="connsiteX362" fmla="*/ 190708 w 278347"/>
                  <a:gd name="connsiteY362" fmla="*/ 89315 h 249781"/>
                  <a:gd name="connsiteX363" fmla="*/ 193089 w 278347"/>
                  <a:gd name="connsiteY363" fmla="*/ 86934 h 249781"/>
                  <a:gd name="connsiteX364" fmla="*/ 191943 w 278347"/>
                  <a:gd name="connsiteY364" fmla="*/ 84642 h 249781"/>
                  <a:gd name="connsiteX365" fmla="*/ 194588 w 278347"/>
                  <a:gd name="connsiteY365" fmla="*/ 79087 h 249781"/>
                  <a:gd name="connsiteX366" fmla="*/ 194588 w 278347"/>
                  <a:gd name="connsiteY366" fmla="*/ 77324 h 249781"/>
                  <a:gd name="connsiteX367" fmla="*/ 196351 w 278347"/>
                  <a:gd name="connsiteY367" fmla="*/ 76178 h 249781"/>
                  <a:gd name="connsiteX368" fmla="*/ 198379 w 278347"/>
                  <a:gd name="connsiteY368" fmla="*/ 77059 h 249781"/>
                  <a:gd name="connsiteX369" fmla="*/ 198996 w 278347"/>
                  <a:gd name="connsiteY369" fmla="*/ 77941 h 249781"/>
                  <a:gd name="connsiteX370" fmla="*/ 195822 w 278347"/>
                  <a:gd name="connsiteY370" fmla="*/ 79704 h 249781"/>
                  <a:gd name="connsiteX371" fmla="*/ 195205 w 278347"/>
                  <a:gd name="connsiteY371" fmla="*/ 85259 h 249781"/>
                  <a:gd name="connsiteX372" fmla="*/ 196351 w 278347"/>
                  <a:gd name="connsiteY372" fmla="*/ 89050 h 249781"/>
                  <a:gd name="connsiteX373" fmla="*/ 197850 w 278347"/>
                  <a:gd name="connsiteY373" fmla="*/ 90196 h 249781"/>
                  <a:gd name="connsiteX374" fmla="*/ 200495 w 278347"/>
                  <a:gd name="connsiteY374" fmla="*/ 90549 h 249781"/>
                  <a:gd name="connsiteX375" fmla="*/ 203405 w 278347"/>
                  <a:gd name="connsiteY375" fmla="*/ 87904 h 249781"/>
                  <a:gd name="connsiteX376" fmla="*/ 206931 w 278347"/>
                  <a:gd name="connsiteY376" fmla="*/ 88521 h 249781"/>
                  <a:gd name="connsiteX377" fmla="*/ 208078 w 278347"/>
                  <a:gd name="connsiteY377" fmla="*/ 90637 h 249781"/>
                  <a:gd name="connsiteX378" fmla="*/ 210987 w 278347"/>
                  <a:gd name="connsiteY378" fmla="*/ 89756 h 249781"/>
                  <a:gd name="connsiteX379" fmla="*/ 212133 w 278347"/>
                  <a:gd name="connsiteY379" fmla="*/ 88257 h 249781"/>
                  <a:gd name="connsiteX380" fmla="*/ 214779 w 278347"/>
                  <a:gd name="connsiteY380" fmla="*/ 89491 h 249781"/>
                  <a:gd name="connsiteX381" fmla="*/ 217071 w 278347"/>
                  <a:gd name="connsiteY381" fmla="*/ 87728 h 249781"/>
                  <a:gd name="connsiteX382" fmla="*/ 218834 w 278347"/>
                  <a:gd name="connsiteY382" fmla="*/ 81644 h 249781"/>
                  <a:gd name="connsiteX383" fmla="*/ 224653 w 278347"/>
                  <a:gd name="connsiteY383" fmla="*/ 76354 h 249781"/>
                  <a:gd name="connsiteX384" fmla="*/ 226064 w 278347"/>
                  <a:gd name="connsiteY384" fmla="*/ 74855 h 249781"/>
                  <a:gd name="connsiteX385" fmla="*/ 228709 w 278347"/>
                  <a:gd name="connsiteY385" fmla="*/ 76001 h 249781"/>
                  <a:gd name="connsiteX386" fmla="*/ 231001 w 278347"/>
                  <a:gd name="connsiteY386" fmla="*/ 75737 h 249781"/>
                  <a:gd name="connsiteX387" fmla="*/ 231530 w 278347"/>
                  <a:gd name="connsiteY387" fmla="*/ 76618 h 249781"/>
                  <a:gd name="connsiteX388" fmla="*/ 233029 w 278347"/>
                  <a:gd name="connsiteY388" fmla="*/ 75384 h 249781"/>
                  <a:gd name="connsiteX389" fmla="*/ 233911 w 278347"/>
                  <a:gd name="connsiteY389" fmla="*/ 73092 h 249781"/>
                  <a:gd name="connsiteX390" fmla="*/ 233029 w 278347"/>
                  <a:gd name="connsiteY390" fmla="*/ 71945 h 249781"/>
                  <a:gd name="connsiteX391" fmla="*/ 232676 w 278347"/>
                  <a:gd name="connsiteY391" fmla="*/ 64980 h 249781"/>
                  <a:gd name="connsiteX392" fmla="*/ 229767 w 278347"/>
                  <a:gd name="connsiteY392" fmla="*/ 58015 h 249781"/>
                  <a:gd name="connsiteX393" fmla="*/ 230649 w 278347"/>
                  <a:gd name="connsiteY393" fmla="*/ 56869 h 249781"/>
                  <a:gd name="connsiteX394" fmla="*/ 237967 w 278347"/>
                  <a:gd name="connsiteY394" fmla="*/ 58015 h 249781"/>
                  <a:gd name="connsiteX395" fmla="*/ 238848 w 278347"/>
                  <a:gd name="connsiteY395" fmla="*/ 60307 h 249781"/>
                  <a:gd name="connsiteX396" fmla="*/ 240876 w 278347"/>
                  <a:gd name="connsiteY396" fmla="*/ 60924 h 249781"/>
                  <a:gd name="connsiteX397" fmla="*/ 242022 w 278347"/>
                  <a:gd name="connsiteY397" fmla="*/ 59426 h 249781"/>
                  <a:gd name="connsiteX398" fmla="*/ 241405 w 278347"/>
                  <a:gd name="connsiteY398" fmla="*/ 57662 h 249781"/>
                  <a:gd name="connsiteX399" fmla="*/ 245813 w 278347"/>
                  <a:gd name="connsiteY399" fmla="*/ 56516 h 249781"/>
                  <a:gd name="connsiteX400" fmla="*/ 246960 w 278347"/>
                  <a:gd name="connsiteY400" fmla="*/ 58015 h 249781"/>
                  <a:gd name="connsiteX401" fmla="*/ 246960 w 278347"/>
                  <a:gd name="connsiteY401" fmla="*/ 58897 h 249781"/>
                  <a:gd name="connsiteX402" fmla="*/ 245813 w 278347"/>
                  <a:gd name="connsiteY402" fmla="*/ 58279 h 249781"/>
                  <a:gd name="connsiteX403" fmla="*/ 245549 w 278347"/>
                  <a:gd name="connsiteY403" fmla="*/ 59778 h 249781"/>
                  <a:gd name="connsiteX404" fmla="*/ 245813 w 278347"/>
                  <a:gd name="connsiteY404" fmla="*/ 60660 h 249781"/>
                  <a:gd name="connsiteX405" fmla="*/ 251104 w 278347"/>
                  <a:gd name="connsiteY405" fmla="*/ 61542 h 249781"/>
                  <a:gd name="connsiteX406" fmla="*/ 249340 w 278347"/>
                  <a:gd name="connsiteY406" fmla="*/ 65950 h 249781"/>
                  <a:gd name="connsiteX407" fmla="*/ 250487 w 278347"/>
                  <a:gd name="connsiteY407" fmla="*/ 68595 h 249781"/>
                  <a:gd name="connsiteX408" fmla="*/ 249869 w 278347"/>
                  <a:gd name="connsiteY408" fmla="*/ 73003 h 249781"/>
                  <a:gd name="connsiteX409" fmla="*/ 246342 w 278347"/>
                  <a:gd name="connsiteY409" fmla="*/ 77941 h 249781"/>
                  <a:gd name="connsiteX410" fmla="*/ 241934 w 278347"/>
                  <a:gd name="connsiteY410" fmla="*/ 77941 h 249781"/>
                  <a:gd name="connsiteX411" fmla="*/ 240171 w 278347"/>
                  <a:gd name="connsiteY411" fmla="*/ 77412 h 249781"/>
                  <a:gd name="connsiteX412" fmla="*/ 239554 w 278347"/>
                  <a:gd name="connsiteY412" fmla="*/ 81468 h 249781"/>
                  <a:gd name="connsiteX413" fmla="*/ 243080 w 278347"/>
                  <a:gd name="connsiteY413" fmla="*/ 85876 h 249781"/>
                  <a:gd name="connsiteX414" fmla="*/ 243609 w 278347"/>
                  <a:gd name="connsiteY414" fmla="*/ 87287 h 249781"/>
                  <a:gd name="connsiteX415" fmla="*/ 242199 w 278347"/>
                  <a:gd name="connsiteY415" fmla="*/ 89667 h 249781"/>
                  <a:gd name="connsiteX416" fmla="*/ 236027 w 278347"/>
                  <a:gd name="connsiteY416" fmla="*/ 93194 h 249781"/>
                  <a:gd name="connsiteX417" fmla="*/ 234528 w 278347"/>
                  <a:gd name="connsiteY417" fmla="*/ 92930 h 249781"/>
                  <a:gd name="connsiteX418" fmla="*/ 233911 w 278347"/>
                  <a:gd name="connsiteY418" fmla="*/ 91783 h 249781"/>
                  <a:gd name="connsiteX419" fmla="*/ 231883 w 278347"/>
                  <a:gd name="connsiteY419" fmla="*/ 91431 h 249781"/>
                  <a:gd name="connsiteX420" fmla="*/ 230737 w 278347"/>
                  <a:gd name="connsiteY420" fmla="*/ 92577 h 249781"/>
                  <a:gd name="connsiteX421" fmla="*/ 228092 w 278347"/>
                  <a:gd name="connsiteY421" fmla="*/ 91166 h 249781"/>
                  <a:gd name="connsiteX422" fmla="*/ 227210 w 278347"/>
                  <a:gd name="connsiteY422" fmla="*/ 91166 h 249781"/>
                  <a:gd name="connsiteX423" fmla="*/ 226946 w 278347"/>
                  <a:gd name="connsiteY423" fmla="*/ 92577 h 249781"/>
                  <a:gd name="connsiteX424" fmla="*/ 228709 w 278347"/>
                  <a:gd name="connsiteY424" fmla="*/ 93723 h 249781"/>
                  <a:gd name="connsiteX425" fmla="*/ 228709 w 278347"/>
                  <a:gd name="connsiteY425" fmla="*/ 94869 h 249781"/>
                  <a:gd name="connsiteX426" fmla="*/ 225800 w 278347"/>
                  <a:gd name="connsiteY426" fmla="*/ 96368 h 249781"/>
                  <a:gd name="connsiteX427" fmla="*/ 224653 w 278347"/>
                  <a:gd name="connsiteY427" fmla="*/ 98660 h 249781"/>
                  <a:gd name="connsiteX428" fmla="*/ 221391 w 278347"/>
                  <a:gd name="connsiteY428" fmla="*/ 100424 h 249781"/>
                  <a:gd name="connsiteX429" fmla="*/ 220509 w 278347"/>
                  <a:gd name="connsiteY429" fmla="*/ 101923 h 249781"/>
                  <a:gd name="connsiteX430" fmla="*/ 218129 w 278347"/>
                  <a:gd name="connsiteY430" fmla="*/ 102187 h 249781"/>
                  <a:gd name="connsiteX431" fmla="*/ 216718 w 278347"/>
                  <a:gd name="connsiteY431" fmla="*/ 103598 h 249781"/>
                  <a:gd name="connsiteX432" fmla="*/ 215219 w 278347"/>
                  <a:gd name="connsiteY432" fmla="*/ 102981 h 249781"/>
                  <a:gd name="connsiteX433" fmla="*/ 211692 w 278347"/>
                  <a:gd name="connsiteY433" fmla="*/ 102628 h 249781"/>
                  <a:gd name="connsiteX434" fmla="*/ 210546 w 278347"/>
                  <a:gd name="connsiteY434" fmla="*/ 105538 h 249781"/>
                  <a:gd name="connsiteX435" fmla="*/ 204462 w 278347"/>
                  <a:gd name="connsiteY435" fmla="*/ 107566 h 249781"/>
                  <a:gd name="connsiteX436" fmla="*/ 201818 w 278347"/>
                  <a:gd name="connsiteY436" fmla="*/ 109329 h 249781"/>
                  <a:gd name="connsiteX437" fmla="*/ 192472 w 278347"/>
                  <a:gd name="connsiteY437" fmla="*/ 110828 h 249781"/>
                  <a:gd name="connsiteX438" fmla="*/ 192912 w 278347"/>
                  <a:gd name="connsiteY438" fmla="*/ 109417 h 249781"/>
                  <a:gd name="connsiteX439" fmla="*/ 208342 w 278347"/>
                  <a:gd name="connsiteY439" fmla="*/ 19309 h 249781"/>
                  <a:gd name="connsiteX440" fmla="*/ 205168 w 278347"/>
                  <a:gd name="connsiteY440" fmla="*/ 19044 h 249781"/>
                  <a:gd name="connsiteX441" fmla="*/ 202787 w 278347"/>
                  <a:gd name="connsiteY441" fmla="*/ 17546 h 249781"/>
                  <a:gd name="connsiteX442" fmla="*/ 201641 w 278347"/>
                  <a:gd name="connsiteY442" fmla="*/ 14900 h 249781"/>
                  <a:gd name="connsiteX443" fmla="*/ 199613 w 278347"/>
                  <a:gd name="connsiteY443" fmla="*/ 13402 h 249781"/>
                  <a:gd name="connsiteX444" fmla="*/ 201641 w 278347"/>
                  <a:gd name="connsiteY444" fmla="*/ 12785 h 249781"/>
                  <a:gd name="connsiteX445" fmla="*/ 204816 w 278347"/>
                  <a:gd name="connsiteY445" fmla="*/ 11286 h 249781"/>
                  <a:gd name="connsiteX446" fmla="*/ 210105 w 278347"/>
                  <a:gd name="connsiteY446" fmla="*/ 13931 h 249781"/>
                  <a:gd name="connsiteX447" fmla="*/ 210370 w 278347"/>
                  <a:gd name="connsiteY447" fmla="*/ 18339 h 249781"/>
                  <a:gd name="connsiteX448" fmla="*/ 208342 w 278347"/>
                  <a:gd name="connsiteY448" fmla="*/ 19309 h 249781"/>
                  <a:gd name="connsiteX449" fmla="*/ 123524 w 278347"/>
                  <a:gd name="connsiteY449" fmla="*/ 7054 h 249781"/>
                  <a:gd name="connsiteX450" fmla="*/ 122378 w 278347"/>
                  <a:gd name="connsiteY450" fmla="*/ 5026 h 249781"/>
                  <a:gd name="connsiteX451" fmla="*/ 122995 w 278347"/>
                  <a:gd name="connsiteY451" fmla="*/ 3879 h 249781"/>
                  <a:gd name="connsiteX452" fmla="*/ 124406 w 278347"/>
                  <a:gd name="connsiteY452" fmla="*/ 4144 h 249781"/>
                  <a:gd name="connsiteX453" fmla="*/ 124670 w 278347"/>
                  <a:gd name="connsiteY453" fmla="*/ 3527 h 249781"/>
                  <a:gd name="connsiteX454" fmla="*/ 123789 w 278347"/>
                  <a:gd name="connsiteY454" fmla="*/ 1499 h 249781"/>
                  <a:gd name="connsiteX455" fmla="*/ 124318 w 278347"/>
                  <a:gd name="connsiteY455" fmla="*/ 1499 h 249781"/>
                  <a:gd name="connsiteX456" fmla="*/ 126610 w 278347"/>
                  <a:gd name="connsiteY456" fmla="*/ 617 h 249781"/>
                  <a:gd name="connsiteX457" fmla="*/ 128109 w 278347"/>
                  <a:gd name="connsiteY457" fmla="*/ 882 h 249781"/>
                  <a:gd name="connsiteX458" fmla="*/ 129608 w 278347"/>
                  <a:gd name="connsiteY458" fmla="*/ 0 h 249781"/>
                  <a:gd name="connsiteX459" fmla="*/ 140100 w 278347"/>
                  <a:gd name="connsiteY459" fmla="*/ 2645 h 249781"/>
                  <a:gd name="connsiteX460" fmla="*/ 142127 w 278347"/>
                  <a:gd name="connsiteY460" fmla="*/ 3174 h 249781"/>
                  <a:gd name="connsiteX461" fmla="*/ 142127 w 278347"/>
                  <a:gd name="connsiteY461" fmla="*/ 2028 h 249781"/>
                  <a:gd name="connsiteX462" fmla="*/ 141511 w 278347"/>
                  <a:gd name="connsiteY462" fmla="*/ 882 h 249781"/>
                  <a:gd name="connsiteX463" fmla="*/ 142656 w 278347"/>
                  <a:gd name="connsiteY463" fmla="*/ 2028 h 249781"/>
                  <a:gd name="connsiteX464" fmla="*/ 142392 w 278347"/>
                  <a:gd name="connsiteY464" fmla="*/ 3527 h 249781"/>
                  <a:gd name="connsiteX465" fmla="*/ 139218 w 278347"/>
                  <a:gd name="connsiteY465" fmla="*/ 3527 h 249781"/>
                  <a:gd name="connsiteX466" fmla="*/ 138336 w 278347"/>
                  <a:gd name="connsiteY466" fmla="*/ 5555 h 249781"/>
                  <a:gd name="connsiteX467" fmla="*/ 137190 w 278347"/>
                  <a:gd name="connsiteY467" fmla="*/ 6436 h 249781"/>
                  <a:gd name="connsiteX468" fmla="*/ 128373 w 278347"/>
                  <a:gd name="connsiteY468" fmla="*/ 5555 h 249781"/>
                  <a:gd name="connsiteX469" fmla="*/ 126610 w 278347"/>
                  <a:gd name="connsiteY469" fmla="*/ 4144 h 249781"/>
                  <a:gd name="connsiteX470" fmla="*/ 126963 w 278347"/>
                  <a:gd name="connsiteY470" fmla="*/ 5555 h 249781"/>
                  <a:gd name="connsiteX471" fmla="*/ 123524 w 278347"/>
                  <a:gd name="connsiteY471" fmla="*/ 7054 h 249781"/>
                  <a:gd name="connsiteX472" fmla="*/ 224124 w 278347"/>
                  <a:gd name="connsiteY472" fmla="*/ 212662 h 249781"/>
                  <a:gd name="connsiteX473" fmla="*/ 220333 w 278347"/>
                  <a:gd name="connsiteY473" fmla="*/ 210370 h 249781"/>
                  <a:gd name="connsiteX474" fmla="*/ 218305 w 278347"/>
                  <a:gd name="connsiteY474" fmla="*/ 210105 h 249781"/>
                  <a:gd name="connsiteX475" fmla="*/ 218305 w 278347"/>
                  <a:gd name="connsiteY475" fmla="*/ 208077 h 249781"/>
                  <a:gd name="connsiteX476" fmla="*/ 219187 w 278347"/>
                  <a:gd name="connsiteY476" fmla="*/ 207548 h 249781"/>
                  <a:gd name="connsiteX477" fmla="*/ 218305 w 278347"/>
                  <a:gd name="connsiteY477" fmla="*/ 206402 h 249781"/>
                  <a:gd name="connsiteX478" fmla="*/ 217688 w 278347"/>
                  <a:gd name="connsiteY478" fmla="*/ 207548 h 249781"/>
                  <a:gd name="connsiteX479" fmla="*/ 216806 w 278347"/>
                  <a:gd name="connsiteY479" fmla="*/ 206667 h 249781"/>
                  <a:gd name="connsiteX480" fmla="*/ 216542 w 278347"/>
                  <a:gd name="connsiteY480" fmla="*/ 203757 h 249781"/>
                  <a:gd name="connsiteX481" fmla="*/ 214514 w 278347"/>
                  <a:gd name="connsiteY481" fmla="*/ 202611 h 249781"/>
                  <a:gd name="connsiteX482" fmla="*/ 214779 w 278347"/>
                  <a:gd name="connsiteY482" fmla="*/ 200319 h 249781"/>
                  <a:gd name="connsiteX483" fmla="*/ 220597 w 278347"/>
                  <a:gd name="connsiteY483" fmla="*/ 206402 h 249781"/>
                  <a:gd name="connsiteX484" fmla="*/ 219980 w 278347"/>
                  <a:gd name="connsiteY484" fmla="*/ 207284 h 249781"/>
                  <a:gd name="connsiteX485" fmla="*/ 221744 w 278347"/>
                  <a:gd name="connsiteY485" fmla="*/ 208783 h 249781"/>
                  <a:gd name="connsiteX486" fmla="*/ 222625 w 278347"/>
                  <a:gd name="connsiteY486" fmla="*/ 208518 h 249781"/>
                  <a:gd name="connsiteX487" fmla="*/ 222361 w 278347"/>
                  <a:gd name="connsiteY487" fmla="*/ 207637 h 249781"/>
                  <a:gd name="connsiteX488" fmla="*/ 224389 w 278347"/>
                  <a:gd name="connsiteY488" fmla="*/ 206138 h 249781"/>
                  <a:gd name="connsiteX489" fmla="*/ 225535 w 278347"/>
                  <a:gd name="connsiteY489" fmla="*/ 206138 h 249781"/>
                  <a:gd name="connsiteX490" fmla="*/ 225535 w 278347"/>
                  <a:gd name="connsiteY490" fmla="*/ 208430 h 249781"/>
                  <a:gd name="connsiteX491" fmla="*/ 224124 w 278347"/>
                  <a:gd name="connsiteY491" fmla="*/ 212662 h 249781"/>
                  <a:gd name="connsiteX492" fmla="*/ 216542 w 278347"/>
                  <a:gd name="connsiteY492" fmla="*/ 200495 h 249781"/>
                  <a:gd name="connsiteX493" fmla="*/ 216542 w 278347"/>
                  <a:gd name="connsiteY493" fmla="*/ 198996 h 249781"/>
                  <a:gd name="connsiteX494" fmla="*/ 207460 w 278347"/>
                  <a:gd name="connsiteY494" fmla="*/ 198114 h 249781"/>
                  <a:gd name="connsiteX495" fmla="*/ 207460 w 278347"/>
                  <a:gd name="connsiteY495" fmla="*/ 197497 h 249781"/>
                  <a:gd name="connsiteX496" fmla="*/ 209224 w 278347"/>
                  <a:gd name="connsiteY496" fmla="*/ 196351 h 249781"/>
                  <a:gd name="connsiteX497" fmla="*/ 209224 w 278347"/>
                  <a:gd name="connsiteY497" fmla="*/ 195469 h 249781"/>
                  <a:gd name="connsiteX498" fmla="*/ 207460 w 278347"/>
                  <a:gd name="connsiteY498" fmla="*/ 193441 h 249781"/>
                  <a:gd name="connsiteX499" fmla="*/ 207725 w 278347"/>
                  <a:gd name="connsiteY499" fmla="*/ 191414 h 249781"/>
                  <a:gd name="connsiteX500" fmla="*/ 209224 w 278347"/>
                  <a:gd name="connsiteY500" fmla="*/ 190797 h 249781"/>
                  <a:gd name="connsiteX501" fmla="*/ 212750 w 278347"/>
                  <a:gd name="connsiteY501" fmla="*/ 193441 h 249781"/>
                  <a:gd name="connsiteX502" fmla="*/ 214779 w 278347"/>
                  <a:gd name="connsiteY502" fmla="*/ 192560 h 249781"/>
                  <a:gd name="connsiteX503" fmla="*/ 217424 w 278347"/>
                  <a:gd name="connsiteY503" fmla="*/ 195734 h 249781"/>
                  <a:gd name="connsiteX504" fmla="*/ 217688 w 278347"/>
                  <a:gd name="connsiteY504" fmla="*/ 197762 h 249781"/>
                  <a:gd name="connsiteX505" fmla="*/ 218305 w 278347"/>
                  <a:gd name="connsiteY505" fmla="*/ 198643 h 249781"/>
                  <a:gd name="connsiteX506" fmla="*/ 216542 w 278347"/>
                  <a:gd name="connsiteY506" fmla="*/ 200495 h 249781"/>
                  <a:gd name="connsiteX507" fmla="*/ 205433 w 278347"/>
                  <a:gd name="connsiteY507" fmla="*/ 195205 h 249781"/>
                  <a:gd name="connsiteX508" fmla="*/ 203405 w 278347"/>
                  <a:gd name="connsiteY508" fmla="*/ 194588 h 249781"/>
                  <a:gd name="connsiteX509" fmla="*/ 203405 w 278347"/>
                  <a:gd name="connsiteY509" fmla="*/ 193441 h 249781"/>
                  <a:gd name="connsiteX510" fmla="*/ 201377 w 278347"/>
                  <a:gd name="connsiteY510" fmla="*/ 191943 h 249781"/>
                  <a:gd name="connsiteX511" fmla="*/ 200495 w 278347"/>
                  <a:gd name="connsiteY511" fmla="*/ 190444 h 249781"/>
                  <a:gd name="connsiteX512" fmla="*/ 201112 w 278347"/>
                  <a:gd name="connsiteY512" fmla="*/ 188416 h 249781"/>
                  <a:gd name="connsiteX513" fmla="*/ 203758 w 278347"/>
                  <a:gd name="connsiteY513" fmla="*/ 187534 h 249781"/>
                  <a:gd name="connsiteX514" fmla="*/ 205785 w 278347"/>
                  <a:gd name="connsiteY514" fmla="*/ 189562 h 249781"/>
                  <a:gd name="connsiteX515" fmla="*/ 206667 w 278347"/>
                  <a:gd name="connsiteY515" fmla="*/ 191854 h 249781"/>
                  <a:gd name="connsiteX516" fmla="*/ 205520 w 278347"/>
                  <a:gd name="connsiteY516" fmla="*/ 193618 h 249781"/>
                  <a:gd name="connsiteX517" fmla="*/ 206138 w 278347"/>
                  <a:gd name="connsiteY517" fmla="*/ 194147 h 249781"/>
                  <a:gd name="connsiteX518" fmla="*/ 205433 w 278347"/>
                  <a:gd name="connsiteY518" fmla="*/ 195205 h 249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</a:cxnLst>
                <a:rect l="l" t="t" r="r" b="b"/>
                <a:pathLst>
                  <a:path w="278347" h="249781">
                    <a:moveTo>
                      <a:pt x="5026" y="108535"/>
                    </a:moveTo>
                    <a:lnTo>
                      <a:pt x="5290" y="99189"/>
                    </a:lnTo>
                    <a:lnTo>
                      <a:pt x="6172" y="82878"/>
                    </a:lnTo>
                    <a:lnTo>
                      <a:pt x="6701" y="66215"/>
                    </a:lnTo>
                    <a:lnTo>
                      <a:pt x="7318" y="49903"/>
                    </a:lnTo>
                    <a:lnTo>
                      <a:pt x="8200" y="33592"/>
                    </a:lnTo>
                    <a:lnTo>
                      <a:pt x="8817" y="17281"/>
                    </a:lnTo>
                    <a:lnTo>
                      <a:pt x="11462" y="17281"/>
                    </a:lnTo>
                    <a:lnTo>
                      <a:pt x="21072" y="22219"/>
                    </a:lnTo>
                    <a:lnTo>
                      <a:pt x="27773" y="26892"/>
                    </a:lnTo>
                    <a:lnTo>
                      <a:pt x="30154" y="26627"/>
                    </a:lnTo>
                    <a:lnTo>
                      <a:pt x="31917" y="28038"/>
                    </a:lnTo>
                    <a:lnTo>
                      <a:pt x="31388" y="28919"/>
                    </a:lnTo>
                    <a:lnTo>
                      <a:pt x="41263" y="33328"/>
                    </a:lnTo>
                    <a:lnTo>
                      <a:pt x="52020" y="37384"/>
                    </a:lnTo>
                    <a:lnTo>
                      <a:pt x="61365" y="39147"/>
                    </a:lnTo>
                    <a:lnTo>
                      <a:pt x="64539" y="41792"/>
                    </a:lnTo>
                    <a:lnTo>
                      <a:pt x="66303" y="43203"/>
                    </a:lnTo>
                    <a:lnTo>
                      <a:pt x="66920" y="42938"/>
                    </a:lnTo>
                    <a:lnTo>
                      <a:pt x="67184" y="44084"/>
                    </a:lnTo>
                    <a:lnTo>
                      <a:pt x="71857" y="47346"/>
                    </a:lnTo>
                    <a:lnTo>
                      <a:pt x="73268" y="49374"/>
                    </a:lnTo>
                    <a:lnTo>
                      <a:pt x="77324" y="50256"/>
                    </a:lnTo>
                    <a:lnTo>
                      <a:pt x="78205" y="51138"/>
                    </a:lnTo>
                    <a:lnTo>
                      <a:pt x="79087" y="49639"/>
                    </a:lnTo>
                    <a:lnTo>
                      <a:pt x="84025" y="50256"/>
                    </a:lnTo>
                    <a:lnTo>
                      <a:pt x="84906" y="51755"/>
                    </a:lnTo>
                    <a:lnTo>
                      <a:pt x="84642" y="53518"/>
                    </a:lnTo>
                    <a:lnTo>
                      <a:pt x="85523" y="54665"/>
                    </a:lnTo>
                    <a:lnTo>
                      <a:pt x="90461" y="56692"/>
                    </a:lnTo>
                    <a:lnTo>
                      <a:pt x="91607" y="57574"/>
                    </a:lnTo>
                    <a:lnTo>
                      <a:pt x="91078" y="58456"/>
                    </a:lnTo>
                    <a:lnTo>
                      <a:pt x="95134" y="60219"/>
                    </a:lnTo>
                    <a:lnTo>
                      <a:pt x="98308" y="64892"/>
                    </a:lnTo>
                    <a:lnTo>
                      <a:pt x="100600" y="64539"/>
                    </a:lnTo>
                    <a:lnTo>
                      <a:pt x="103774" y="67449"/>
                    </a:lnTo>
                    <a:lnTo>
                      <a:pt x="105273" y="71505"/>
                    </a:lnTo>
                    <a:lnTo>
                      <a:pt x="104921" y="74767"/>
                    </a:lnTo>
                    <a:lnTo>
                      <a:pt x="104656" y="79704"/>
                    </a:lnTo>
                    <a:lnTo>
                      <a:pt x="101129" y="82966"/>
                    </a:lnTo>
                    <a:lnTo>
                      <a:pt x="100247" y="84730"/>
                    </a:lnTo>
                    <a:lnTo>
                      <a:pt x="99983" y="87904"/>
                    </a:lnTo>
                    <a:lnTo>
                      <a:pt x="102893" y="88168"/>
                    </a:lnTo>
                    <a:lnTo>
                      <a:pt x="106155" y="88168"/>
                    </a:lnTo>
                    <a:lnTo>
                      <a:pt x="108712" y="90549"/>
                    </a:lnTo>
                    <a:lnTo>
                      <a:pt x="109593" y="91960"/>
                    </a:lnTo>
                    <a:lnTo>
                      <a:pt x="118322" y="93723"/>
                    </a:lnTo>
                    <a:lnTo>
                      <a:pt x="120967" y="95134"/>
                    </a:lnTo>
                    <a:lnTo>
                      <a:pt x="122731" y="95134"/>
                    </a:lnTo>
                    <a:lnTo>
                      <a:pt x="129431" y="98043"/>
                    </a:lnTo>
                    <a:lnTo>
                      <a:pt x="131459" y="100688"/>
                    </a:lnTo>
                    <a:lnTo>
                      <a:pt x="132341" y="101835"/>
                    </a:lnTo>
                    <a:lnTo>
                      <a:pt x="133487" y="101217"/>
                    </a:lnTo>
                    <a:lnTo>
                      <a:pt x="138424" y="105009"/>
                    </a:lnTo>
                    <a:lnTo>
                      <a:pt x="139306" y="107654"/>
                    </a:lnTo>
                    <a:lnTo>
                      <a:pt x="144861" y="109946"/>
                    </a:lnTo>
                    <a:lnTo>
                      <a:pt x="145743" y="111445"/>
                    </a:lnTo>
                    <a:lnTo>
                      <a:pt x="147241" y="113208"/>
                    </a:lnTo>
                    <a:lnTo>
                      <a:pt x="146095" y="116382"/>
                    </a:lnTo>
                    <a:lnTo>
                      <a:pt x="147241" y="118410"/>
                    </a:lnTo>
                    <a:lnTo>
                      <a:pt x="144949" y="121584"/>
                    </a:lnTo>
                    <a:lnTo>
                      <a:pt x="143450" y="123083"/>
                    </a:lnTo>
                    <a:lnTo>
                      <a:pt x="141687" y="124229"/>
                    </a:lnTo>
                    <a:lnTo>
                      <a:pt x="137278" y="123348"/>
                    </a:lnTo>
                    <a:lnTo>
                      <a:pt x="134369" y="123965"/>
                    </a:lnTo>
                    <a:lnTo>
                      <a:pt x="133840" y="128902"/>
                    </a:lnTo>
                    <a:lnTo>
                      <a:pt x="134986" y="132076"/>
                    </a:lnTo>
                    <a:lnTo>
                      <a:pt x="133840" y="133840"/>
                    </a:lnTo>
                    <a:lnTo>
                      <a:pt x="131459" y="135868"/>
                    </a:lnTo>
                    <a:lnTo>
                      <a:pt x="132341" y="138777"/>
                    </a:lnTo>
                    <a:lnTo>
                      <a:pt x="136749" y="142568"/>
                    </a:lnTo>
                    <a:lnTo>
                      <a:pt x="137014" y="147241"/>
                    </a:lnTo>
                    <a:lnTo>
                      <a:pt x="139923" y="148652"/>
                    </a:lnTo>
                    <a:lnTo>
                      <a:pt x="146624" y="151914"/>
                    </a:lnTo>
                    <a:lnTo>
                      <a:pt x="147770" y="155441"/>
                    </a:lnTo>
                    <a:lnTo>
                      <a:pt x="149269" y="156323"/>
                    </a:lnTo>
                    <a:lnTo>
                      <a:pt x="147506" y="159497"/>
                    </a:lnTo>
                    <a:lnTo>
                      <a:pt x="149534" y="160114"/>
                    </a:lnTo>
                    <a:lnTo>
                      <a:pt x="152443" y="160731"/>
                    </a:lnTo>
                    <a:lnTo>
                      <a:pt x="149269" y="163376"/>
                    </a:lnTo>
                    <a:lnTo>
                      <a:pt x="151032" y="166903"/>
                    </a:lnTo>
                    <a:lnTo>
                      <a:pt x="153677" y="168402"/>
                    </a:lnTo>
                    <a:lnTo>
                      <a:pt x="152532" y="171047"/>
                    </a:lnTo>
                    <a:lnTo>
                      <a:pt x="154559" y="175103"/>
                    </a:lnTo>
                    <a:lnTo>
                      <a:pt x="155177" y="177130"/>
                    </a:lnTo>
                    <a:lnTo>
                      <a:pt x="156058" y="177747"/>
                    </a:lnTo>
                    <a:lnTo>
                      <a:pt x="160467" y="178629"/>
                    </a:lnTo>
                    <a:lnTo>
                      <a:pt x="162142" y="179775"/>
                    </a:lnTo>
                    <a:lnTo>
                      <a:pt x="163640" y="180393"/>
                    </a:lnTo>
                    <a:lnTo>
                      <a:pt x="166021" y="179511"/>
                    </a:lnTo>
                    <a:lnTo>
                      <a:pt x="167432" y="180128"/>
                    </a:lnTo>
                    <a:lnTo>
                      <a:pt x="167167" y="181274"/>
                    </a:lnTo>
                    <a:lnTo>
                      <a:pt x="167696" y="181803"/>
                    </a:lnTo>
                    <a:lnTo>
                      <a:pt x="168578" y="183302"/>
                    </a:lnTo>
                    <a:lnTo>
                      <a:pt x="169107" y="185595"/>
                    </a:lnTo>
                    <a:lnTo>
                      <a:pt x="171399" y="189386"/>
                    </a:lnTo>
                    <a:lnTo>
                      <a:pt x="167873" y="188504"/>
                    </a:lnTo>
                    <a:lnTo>
                      <a:pt x="170253" y="189650"/>
                    </a:lnTo>
                    <a:lnTo>
                      <a:pt x="170518" y="189650"/>
                    </a:lnTo>
                    <a:lnTo>
                      <a:pt x="172546" y="192560"/>
                    </a:lnTo>
                    <a:lnTo>
                      <a:pt x="173163" y="192824"/>
                    </a:lnTo>
                    <a:lnTo>
                      <a:pt x="175455" y="193441"/>
                    </a:lnTo>
                    <a:lnTo>
                      <a:pt x="179864" y="193794"/>
                    </a:lnTo>
                    <a:lnTo>
                      <a:pt x="181010" y="194059"/>
                    </a:lnTo>
                    <a:lnTo>
                      <a:pt x="182773" y="194588"/>
                    </a:lnTo>
                    <a:lnTo>
                      <a:pt x="182773" y="195734"/>
                    </a:lnTo>
                    <a:lnTo>
                      <a:pt x="182509" y="198114"/>
                    </a:lnTo>
                    <a:lnTo>
                      <a:pt x="181891" y="198732"/>
                    </a:lnTo>
                    <a:lnTo>
                      <a:pt x="182156" y="200495"/>
                    </a:lnTo>
                    <a:lnTo>
                      <a:pt x="182773" y="202523"/>
                    </a:lnTo>
                    <a:lnTo>
                      <a:pt x="185683" y="205168"/>
                    </a:lnTo>
                    <a:lnTo>
                      <a:pt x="190091" y="206931"/>
                    </a:lnTo>
                    <a:lnTo>
                      <a:pt x="194147" y="206049"/>
                    </a:lnTo>
                    <a:lnTo>
                      <a:pt x="196528" y="209576"/>
                    </a:lnTo>
                    <a:lnTo>
                      <a:pt x="200936" y="210193"/>
                    </a:lnTo>
                    <a:lnTo>
                      <a:pt x="200054" y="212221"/>
                    </a:lnTo>
                    <a:lnTo>
                      <a:pt x="198908" y="214602"/>
                    </a:lnTo>
                    <a:lnTo>
                      <a:pt x="199173" y="216101"/>
                    </a:lnTo>
                    <a:lnTo>
                      <a:pt x="200054" y="217247"/>
                    </a:lnTo>
                    <a:lnTo>
                      <a:pt x="200583" y="218393"/>
                    </a:lnTo>
                    <a:lnTo>
                      <a:pt x="202347" y="219539"/>
                    </a:lnTo>
                    <a:lnTo>
                      <a:pt x="205873" y="221303"/>
                    </a:lnTo>
                    <a:lnTo>
                      <a:pt x="206491" y="223066"/>
                    </a:lnTo>
                    <a:lnTo>
                      <a:pt x="202082" y="222537"/>
                    </a:lnTo>
                    <a:lnTo>
                      <a:pt x="200936" y="221920"/>
                    </a:lnTo>
                    <a:lnTo>
                      <a:pt x="195646" y="219627"/>
                    </a:lnTo>
                    <a:lnTo>
                      <a:pt x="191854" y="219627"/>
                    </a:lnTo>
                    <a:lnTo>
                      <a:pt x="186653" y="217600"/>
                    </a:lnTo>
                    <a:lnTo>
                      <a:pt x="181980" y="215572"/>
                    </a:lnTo>
                    <a:lnTo>
                      <a:pt x="179952" y="213544"/>
                    </a:lnTo>
                    <a:lnTo>
                      <a:pt x="176778" y="211781"/>
                    </a:lnTo>
                    <a:lnTo>
                      <a:pt x="174397" y="212927"/>
                    </a:lnTo>
                    <a:lnTo>
                      <a:pt x="172634" y="211781"/>
                    </a:lnTo>
                    <a:lnTo>
                      <a:pt x="169460" y="210634"/>
                    </a:lnTo>
                    <a:lnTo>
                      <a:pt x="158086" y="207725"/>
                    </a:lnTo>
                    <a:lnTo>
                      <a:pt x="155177" y="206843"/>
                    </a:lnTo>
                    <a:lnTo>
                      <a:pt x="154295" y="208342"/>
                    </a:lnTo>
                    <a:lnTo>
                      <a:pt x="154030" y="208959"/>
                    </a:lnTo>
                    <a:lnTo>
                      <a:pt x="144420" y="206667"/>
                    </a:lnTo>
                    <a:lnTo>
                      <a:pt x="143009" y="207196"/>
                    </a:lnTo>
                    <a:lnTo>
                      <a:pt x="140100" y="207813"/>
                    </a:lnTo>
                    <a:lnTo>
                      <a:pt x="136309" y="206931"/>
                    </a:lnTo>
                    <a:lnTo>
                      <a:pt x="133399" y="205520"/>
                    </a:lnTo>
                    <a:lnTo>
                      <a:pt x="130754" y="204375"/>
                    </a:lnTo>
                    <a:lnTo>
                      <a:pt x="128990" y="203228"/>
                    </a:lnTo>
                    <a:lnTo>
                      <a:pt x="128638" y="202082"/>
                    </a:lnTo>
                    <a:lnTo>
                      <a:pt x="128638" y="200319"/>
                    </a:lnTo>
                    <a:lnTo>
                      <a:pt x="128638" y="199172"/>
                    </a:lnTo>
                    <a:lnTo>
                      <a:pt x="127492" y="195646"/>
                    </a:lnTo>
                    <a:lnTo>
                      <a:pt x="127139" y="194235"/>
                    </a:lnTo>
                    <a:lnTo>
                      <a:pt x="124229" y="194499"/>
                    </a:lnTo>
                    <a:lnTo>
                      <a:pt x="122202" y="193353"/>
                    </a:lnTo>
                    <a:lnTo>
                      <a:pt x="120791" y="193089"/>
                    </a:lnTo>
                    <a:lnTo>
                      <a:pt x="120791" y="190179"/>
                    </a:lnTo>
                    <a:lnTo>
                      <a:pt x="121056" y="187534"/>
                    </a:lnTo>
                    <a:lnTo>
                      <a:pt x="119027" y="180569"/>
                    </a:lnTo>
                    <a:lnTo>
                      <a:pt x="118675" y="178276"/>
                    </a:lnTo>
                    <a:lnTo>
                      <a:pt x="116647" y="177130"/>
                    </a:lnTo>
                    <a:lnTo>
                      <a:pt x="112856" y="178894"/>
                    </a:lnTo>
                    <a:lnTo>
                      <a:pt x="111445" y="175984"/>
                    </a:lnTo>
                    <a:lnTo>
                      <a:pt x="111445" y="174221"/>
                    </a:lnTo>
                    <a:lnTo>
                      <a:pt x="110563" y="169548"/>
                    </a:lnTo>
                    <a:lnTo>
                      <a:pt x="106243" y="167784"/>
                    </a:lnTo>
                    <a:lnTo>
                      <a:pt x="105361" y="164522"/>
                    </a:lnTo>
                    <a:lnTo>
                      <a:pt x="104215" y="160996"/>
                    </a:lnTo>
                    <a:lnTo>
                      <a:pt x="102716" y="158615"/>
                    </a:lnTo>
                    <a:lnTo>
                      <a:pt x="99807" y="157733"/>
                    </a:lnTo>
                    <a:lnTo>
                      <a:pt x="94517" y="153589"/>
                    </a:lnTo>
                    <a:lnTo>
                      <a:pt x="90726" y="152708"/>
                    </a:lnTo>
                    <a:lnTo>
                      <a:pt x="86670" y="152972"/>
                    </a:lnTo>
                    <a:lnTo>
                      <a:pt x="79705" y="149181"/>
                    </a:lnTo>
                    <a:lnTo>
                      <a:pt x="77060" y="148652"/>
                    </a:lnTo>
                    <a:lnTo>
                      <a:pt x="75296" y="148652"/>
                    </a:lnTo>
                    <a:lnTo>
                      <a:pt x="71769" y="147153"/>
                    </a:lnTo>
                    <a:lnTo>
                      <a:pt x="68243" y="145742"/>
                    </a:lnTo>
                    <a:lnTo>
                      <a:pt x="65597" y="143979"/>
                    </a:lnTo>
                    <a:lnTo>
                      <a:pt x="61277" y="138424"/>
                    </a:lnTo>
                    <a:lnTo>
                      <a:pt x="61542" y="139306"/>
                    </a:lnTo>
                    <a:lnTo>
                      <a:pt x="63922" y="142745"/>
                    </a:lnTo>
                    <a:lnTo>
                      <a:pt x="63922" y="146007"/>
                    </a:lnTo>
                    <a:lnTo>
                      <a:pt x="67713" y="148035"/>
                    </a:lnTo>
                    <a:lnTo>
                      <a:pt x="67713" y="151561"/>
                    </a:lnTo>
                    <a:lnTo>
                      <a:pt x="67713" y="152179"/>
                    </a:lnTo>
                    <a:lnTo>
                      <a:pt x="66568" y="151561"/>
                    </a:lnTo>
                    <a:lnTo>
                      <a:pt x="64539" y="150680"/>
                    </a:lnTo>
                    <a:lnTo>
                      <a:pt x="66568" y="152443"/>
                    </a:lnTo>
                    <a:lnTo>
                      <a:pt x="66303" y="153325"/>
                    </a:lnTo>
                    <a:lnTo>
                      <a:pt x="63393" y="153325"/>
                    </a:lnTo>
                    <a:lnTo>
                      <a:pt x="60748" y="151826"/>
                    </a:lnTo>
                    <a:lnTo>
                      <a:pt x="57838" y="151826"/>
                    </a:lnTo>
                    <a:lnTo>
                      <a:pt x="56340" y="149798"/>
                    </a:lnTo>
                    <a:lnTo>
                      <a:pt x="54841" y="149534"/>
                    </a:lnTo>
                    <a:lnTo>
                      <a:pt x="54576" y="149798"/>
                    </a:lnTo>
                    <a:lnTo>
                      <a:pt x="56340" y="150151"/>
                    </a:lnTo>
                    <a:lnTo>
                      <a:pt x="56957" y="151914"/>
                    </a:lnTo>
                    <a:lnTo>
                      <a:pt x="58632" y="152796"/>
                    </a:lnTo>
                    <a:lnTo>
                      <a:pt x="60396" y="157204"/>
                    </a:lnTo>
                    <a:lnTo>
                      <a:pt x="60043" y="158086"/>
                    </a:lnTo>
                    <a:lnTo>
                      <a:pt x="55722" y="157557"/>
                    </a:lnTo>
                    <a:lnTo>
                      <a:pt x="52196" y="159320"/>
                    </a:lnTo>
                    <a:lnTo>
                      <a:pt x="47788" y="159320"/>
                    </a:lnTo>
                    <a:lnTo>
                      <a:pt x="45759" y="160202"/>
                    </a:lnTo>
                    <a:lnTo>
                      <a:pt x="40205" y="158174"/>
                    </a:lnTo>
                    <a:lnTo>
                      <a:pt x="37031" y="158439"/>
                    </a:lnTo>
                    <a:lnTo>
                      <a:pt x="35620" y="159585"/>
                    </a:lnTo>
                    <a:lnTo>
                      <a:pt x="33857" y="159232"/>
                    </a:lnTo>
                    <a:lnTo>
                      <a:pt x="32975" y="155705"/>
                    </a:lnTo>
                    <a:lnTo>
                      <a:pt x="29448" y="155088"/>
                    </a:lnTo>
                    <a:lnTo>
                      <a:pt x="27685" y="156234"/>
                    </a:lnTo>
                    <a:lnTo>
                      <a:pt x="28831" y="155970"/>
                    </a:lnTo>
                    <a:lnTo>
                      <a:pt x="31476" y="155353"/>
                    </a:lnTo>
                    <a:lnTo>
                      <a:pt x="32358" y="155970"/>
                    </a:lnTo>
                    <a:lnTo>
                      <a:pt x="32975" y="158880"/>
                    </a:lnTo>
                    <a:lnTo>
                      <a:pt x="34121" y="160026"/>
                    </a:lnTo>
                    <a:lnTo>
                      <a:pt x="35267" y="160290"/>
                    </a:lnTo>
                    <a:lnTo>
                      <a:pt x="38177" y="158880"/>
                    </a:lnTo>
                    <a:lnTo>
                      <a:pt x="41439" y="159497"/>
                    </a:lnTo>
                    <a:lnTo>
                      <a:pt x="44349" y="161789"/>
                    </a:lnTo>
                    <a:lnTo>
                      <a:pt x="48405" y="162935"/>
                    </a:lnTo>
                    <a:lnTo>
                      <a:pt x="49904" y="165580"/>
                    </a:lnTo>
                    <a:lnTo>
                      <a:pt x="48757" y="167079"/>
                    </a:lnTo>
                    <a:lnTo>
                      <a:pt x="45848" y="169372"/>
                    </a:lnTo>
                    <a:lnTo>
                      <a:pt x="48493" y="172898"/>
                    </a:lnTo>
                    <a:lnTo>
                      <a:pt x="43555" y="174045"/>
                    </a:lnTo>
                    <a:lnTo>
                      <a:pt x="42145" y="178100"/>
                    </a:lnTo>
                    <a:lnTo>
                      <a:pt x="40117" y="182509"/>
                    </a:lnTo>
                    <a:lnTo>
                      <a:pt x="37736" y="184007"/>
                    </a:lnTo>
                    <a:lnTo>
                      <a:pt x="35973" y="183743"/>
                    </a:lnTo>
                    <a:lnTo>
                      <a:pt x="31829" y="180833"/>
                    </a:lnTo>
                    <a:lnTo>
                      <a:pt x="32093" y="185506"/>
                    </a:lnTo>
                    <a:lnTo>
                      <a:pt x="26539" y="186388"/>
                    </a:lnTo>
                    <a:lnTo>
                      <a:pt x="25040" y="188151"/>
                    </a:lnTo>
                    <a:lnTo>
                      <a:pt x="23012" y="188769"/>
                    </a:lnTo>
                    <a:lnTo>
                      <a:pt x="20103" y="188151"/>
                    </a:lnTo>
                    <a:lnTo>
                      <a:pt x="18956" y="186124"/>
                    </a:lnTo>
                    <a:lnTo>
                      <a:pt x="12520" y="185242"/>
                    </a:lnTo>
                    <a:lnTo>
                      <a:pt x="10228" y="184977"/>
                    </a:lnTo>
                    <a:lnTo>
                      <a:pt x="1499" y="185506"/>
                    </a:lnTo>
                    <a:lnTo>
                      <a:pt x="0" y="177395"/>
                    </a:lnTo>
                    <a:lnTo>
                      <a:pt x="265" y="172105"/>
                    </a:lnTo>
                    <a:lnTo>
                      <a:pt x="1146" y="159585"/>
                    </a:lnTo>
                    <a:lnTo>
                      <a:pt x="3174" y="140629"/>
                    </a:lnTo>
                    <a:lnTo>
                      <a:pt x="4321" y="122819"/>
                    </a:lnTo>
                    <a:lnTo>
                      <a:pt x="2028" y="121673"/>
                    </a:lnTo>
                    <a:lnTo>
                      <a:pt x="1146" y="115853"/>
                    </a:lnTo>
                    <a:lnTo>
                      <a:pt x="2292" y="115324"/>
                    </a:lnTo>
                    <a:lnTo>
                      <a:pt x="3439" y="111533"/>
                    </a:lnTo>
                    <a:lnTo>
                      <a:pt x="3703" y="110034"/>
                    </a:lnTo>
                    <a:lnTo>
                      <a:pt x="5026" y="108535"/>
                    </a:lnTo>
                    <a:close/>
                    <a:moveTo>
                      <a:pt x="260273" y="190532"/>
                    </a:moveTo>
                    <a:lnTo>
                      <a:pt x="258510" y="188769"/>
                    </a:lnTo>
                    <a:lnTo>
                      <a:pt x="258246" y="189915"/>
                    </a:lnTo>
                    <a:lnTo>
                      <a:pt x="257011" y="188769"/>
                    </a:lnTo>
                    <a:lnTo>
                      <a:pt x="257893" y="188240"/>
                    </a:lnTo>
                    <a:lnTo>
                      <a:pt x="254983" y="184977"/>
                    </a:lnTo>
                    <a:lnTo>
                      <a:pt x="253220" y="184977"/>
                    </a:lnTo>
                    <a:lnTo>
                      <a:pt x="254366" y="183831"/>
                    </a:lnTo>
                    <a:lnTo>
                      <a:pt x="259921" y="183831"/>
                    </a:lnTo>
                    <a:lnTo>
                      <a:pt x="264329" y="187622"/>
                    </a:lnTo>
                    <a:lnTo>
                      <a:pt x="263712" y="189121"/>
                    </a:lnTo>
                    <a:lnTo>
                      <a:pt x="262830" y="188504"/>
                    </a:lnTo>
                    <a:lnTo>
                      <a:pt x="262830" y="189386"/>
                    </a:lnTo>
                    <a:lnTo>
                      <a:pt x="260273" y="190532"/>
                    </a:lnTo>
                    <a:close/>
                    <a:moveTo>
                      <a:pt x="264946" y="78823"/>
                    </a:moveTo>
                    <a:lnTo>
                      <a:pt x="261684" y="74414"/>
                    </a:lnTo>
                    <a:lnTo>
                      <a:pt x="259921" y="69124"/>
                    </a:lnTo>
                    <a:lnTo>
                      <a:pt x="261067" y="65597"/>
                    </a:lnTo>
                    <a:lnTo>
                      <a:pt x="259568" y="59161"/>
                    </a:lnTo>
                    <a:lnTo>
                      <a:pt x="254895" y="51314"/>
                    </a:lnTo>
                    <a:lnTo>
                      <a:pt x="251368" y="46024"/>
                    </a:lnTo>
                    <a:lnTo>
                      <a:pt x="248194" y="44525"/>
                    </a:lnTo>
                    <a:lnTo>
                      <a:pt x="244667" y="43026"/>
                    </a:lnTo>
                    <a:lnTo>
                      <a:pt x="239730" y="38089"/>
                    </a:lnTo>
                    <a:lnTo>
                      <a:pt x="236556" y="35444"/>
                    </a:lnTo>
                    <a:lnTo>
                      <a:pt x="228092" y="28743"/>
                    </a:lnTo>
                    <a:lnTo>
                      <a:pt x="224036" y="26098"/>
                    </a:lnTo>
                    <a:lnTo>
                      <a:pt x="220245" y="25745"/>
                    </a:lnTo>
                    <a:lnTo>
                      <a:pt x="219628" y="24864"/>
                    </a:lnTo>
                    <a:lnTo>
                      <a:pt x="220245" y="24246"/>
                    </a:lnTo>
                    <a:lnTo>
                      <a:pt x="223154" y="24511"/>
                    </a:lnTo>
                    <a:lnTo>
                      <a:pt x="223154" y="22748"/>
                    </a:lnTo>
                    <a:lnTo>
                      <a:pt x="221126" y="21866"/>
                    </a:lnTo>
                    <a:lnTo>
                      <a:pt x="221744" y="20720"/>
                    </a:lnTo>
                    <a:lnTo>
                      <a:pt x="228445" y="26274"/>
                    </a:lnTo>
                    <a:lnTo>
                      <a:pt x="229591" y="26803"/>
                    </a:lnTo>
                    <a:lnTo>
                      <a:pt x="229855" y="28302"/>
                    </a:lnTo>
                    <a:lnTo>
                      <a:pt x="234528" y="29448"/>
                    </a:lnTo>
                    <a:lnTo>
                      <a:pt x="242111" y="36414"/>
                    </a:lnTo>
                    <a:lnTo>
                      <a:pt x="244403" y="37295"/>
                    </a:lnTo>
                    <a:lnTo>
                      <a:pt x="247929" y="38442"/>
                    </a:lnTo>
                    <a:lnTo>
                      <a:pt x="249076" y="40734"/>
                    </a:lnTo>
                    <a:lnTo>
                      <a:pt x="251104" y="43643"/>
                    </a:lnTo>
                    <a:lnTo>
                      <a:pt x="255159" y="48052"/>
                    </a:lnTo>
                    <a:lnTo>
                      <a:pt x="255777" y="49198"/>
                    </a:lnTo>
                    <a:lnTo>
                      <a:pt x="257275" y="48581"/>
                    </a:lnTo>
                    <a:lnTo>
                      <a:pt x="258422" y="51226"/>
                    </a:lnTo>
                    <a:lnTo>
                      <a:pt x="258686" y="52989"/>
                    </a:lnTo>
                    <a:lnTo>
                      <a:pt x="262742" y="55017"/>
                    </a:lnTo>
                    <a:lnTo>
                      <a:pt x="263888" y="54488"/>
                    </a:lnTo>
                    <a:lnTo>
                      <a:pt x="264770" y="57398"/>
                    </a:lnTo>
                    <a:lnTo>
                      <a:pt x="267415" y="59690"/>
                    </a:lnTo>
                    <a:lnTo>
                      <a:pt x="270325" y="64099"/>
                    </a:lnTo>
                    <a:lnTo>
                      <a:pt x="270325" y="67625"/>
                    </a:lnTo>
                    <a:lnTo>
                      <a:pt x="268296" y="69653"/>
                    </a:lnTo>
                    <a:lnTo>
                      <a:pt x="268914" y="72298"/>
                    </a:lnTo>
                    <a:lnTo>
                      <a:pt x="264946" y="78823"/>
                    </a:lnTo>
                    <a:close/>
                    <a:moveTo>
                      <a:pt x="148299" y="100071"/>
                    </a:moveTo>
                    <a:lnTo>
                      <a:pt x="146007" y="98043"/>
                    </a:lnTo>
                    <a:lnTo>
                      <a:pt x="143362" y="94252"/>
                    </a:lnTo>
                    <a:lnTo>
                      <a:pt x="143362" y="91960"/>
                    </a:lnTo>
                    <a:lnTo>
                      <a:pt x="145390" y="91078"/>
                    </a:lnTo>
                    <a:lnTo>
                      <a:pt x="149446" y="93988"/>
                    </a:lnTo>
                    <a:lnTo>
                      <a:pt x="150063" y="95487"/>
                    </a:lnTo>
                    <a:lnTo>
                      <a:pt x="149181" y="99278"/>
                    </a:lnTo>
                    <a:lnTo>
                      <a:pt x="148299" y="100071"/>
                    </a:lnTo>
                    <a:close/>
                    <a:moveTo>
                      <a:pt x="131988" y="89050"/>
                    </a:moveTo>
                    <a:lnTo>
                      <a:pt x="129696" y="86405"/>
                    </a:lnTo>
                    <a:lnTo>
                      <a:pt x="128550" y="84994"/>
                    </a:lnTo>
                    <a:lnTo>
                      <a:pt x="129696" y="84113"/>
                    </a:lnTo>
                    <a:lnTo>
                      <a:pt x="129696" y="82614"/>
                    </a:lnTo>
                    <a:lnTo>
                      <a:pt x="132341" y="82614"/>
                    </a:lnTo>
                    <a:lnTo>
                      <a:pt x="134722" y="86670"/>
                    </a:lnTo>
                    <a:lnTo>
                      <a:pt x="134457" y="88433"/>
                    </a:lnTo>
                    <a:lnTo>
                      <a:pt x="131988" y="89050"/>
                    </a:lnTo>
                    <a:close/>
                    <a:moveTo>
                      <a:pt x="275174" y="249781"/>
                    </a:moveTo>
                    <a:lnTo>
                      <a:pt x="271912" y="248899"/>
                    </a:lnTo>
                    <a:lnTo>
                      <a:pt x="271647" y="247753"/>
                    </a:lnTo>
                    <a:lnTo>
                      <a:pt x="269619" y="248018"/>
                    </a:lnTo>
                    <a:lnTo>
                      <a:pt x="269884" y="246519"/>
                    </a:lnTo>
                    <a:lnTo>
                      <a:pt x="267591" y="245373"/>
                    </a:lnTo>
                    <a:lnTo>
                      <a:pt x="266092" y="241846"/>
                    </a:lnTo>
                    <a:lnTo>
                      <a:pt x="275703" y="247048"/>
                    </a:lnTo>
                    <a:lnTo>
                      <a:pt x="278348" y="249076"/>
                    </a:lnTo>
                    <a:lnTo>
                      <a:pt x="275174" y="249781"/>
                    </a:lnTo>
                    <a:close/>
                    <a:moveTo>
                      <a:pt x="192912" y="109417"/>
                    </a:moveTo>
                    <a:lnTo>
                      <a:pt x="192031" y="108271"/>
                    </a:lnTo>
                    <a:lnTo>
                      <a:pt x="188592" y="108535"/>
                    </a:lnTo>
                    <a:lnTo>
                      <a:pt x="187711" y="108888"/>
                    </a:lnTo>
                    <a:lnTo>
                      <a:pt x="183920" y="108535"/>
                    </a:lnTo>
                    <a:lnTo>
                      <a:pt x="179246" y="107389"/>
                    </a:lnTo>
                    <a:lnTo>
                      <a:pt x="176073" y="105890"/>
                    </a:lnTo>
                    <a:lnTo>
                      <a:pt x="171135" y="104127"/>
                    </a:lnTo>
                    <a:lnTo>
                      <a:pt x="171135" y="102716"/>
                    </a:lnTo>
                    <a:lnTo>
                      <a:pt x="169107" y="100336"/>
                    </a:lnTo>
                    <a:lnTo>
                      <a:pt x="166462" y="100071"/>
                    </a:lnTo>
                    <a:lnTo>
                      <a:pt x="166198" y="98308"/>
                    </a:lnTo>
                    <a:lnTo>
                      <a:pt x="161260" y="95134"/>
                    </a:lnTo>
                    <a:lnTo>
                      <a:pt x="159497" y="95751"/>
                    </a:lnTo>
                    <a:lnTo>
                      <a:pt x="155177" y="93459"/>
                    </a:lnTo>
                    <a:lnTo>
                      <a:pt x="154295" y="91431"/>
                    </a:lnTo>
                    <a:lnTo>
                      <a:pt x="154912" y="87904"/>
                    </a:lnTo>
                    <a:lnTo>
                      <a:pt x="155529" y="86758"/>
                    </a:lnTo>
                    <a:lnTo>
                      <a:pt x="156940" y="85876"/>
                    </a:lnTo>
                    <a:lnTo>
                      <a:pt x="160114" y="88521"/>
                    </a:lnTo>
                    <a:lnTo>
                      <a:pt x="163640" y="87022"/>
                    </a:lnTo>
                    <a:lnTo>
                      <a:pt x="166550" y="88786"/>
                    </a:lnTo>
                    <a:lnTo>
                      <a:pt x="169460" y="87022"/>
                    </a:lnTo>
                    <a:lnTo>
                      <a:pt x="175015" y="89667"/>
                    </a:lnTo>
                    <a:lnTo>
                      <a:pt x="175279" y="90549"/>
                    </a:lnTo>
                    <a:lnTo>
                      <a:pt x="185771" y="88433"/>
                    </a:lnTo>
                    <a:lnTo>
                      <a:pt x="186917" y="90196"/>
                    </a:lnTo>
                    <a:lnTo>
                      <a:pt x="189562" y="88697"/>
                    </a:lnTo>
                    <a:lnTo>
                      <a:pt x="190708" y="89315"/>
                    </a:lnTo>
                    <a:lnTo>
                      <a:pt x="193089" y="86934"/>
                    </a:lnTo>
                    <a:lnTo>
                      <a:pt x="191943" y="84642"/>
                    </a:lnTo>
                    <a:lnTo>
                      <a:pt x="194588" y="79087"/>
                    </a:lnTo>
                    <a:lnTo>
                      <a:pt x="194588" y="77324"/>
                    </a:lnTo>
                    <a:lnTo>
                      <a:pt x="196351" y="76178"/>
                    </a:lnTo>
                    <a:lnTo>
                      <a:pt x="198379" y="77059"/>
                    </a:lnTo>
                    <a:lnTo>
                      <a:pt x="198996" y="77941"/>
                    </a:lnTo>
                    <a:lnTo>
                      <a:pt x="195822" y="79704"/>
                    </a:lnTo>
                    <a:lnTo>
                      <a:pt x="195205" y="85259"/>
                    </a:lnTo>
                    <a:lnTo>
                      <a:pt x="196351" y="89050"/>
                    </a:lnTo>
                    <a:lnTo>
                      <a:pt x="197850" y="90196"/>
                    </a:lnTo>
                    <a:lnTo>
                      <a:pt x="200495" y="90549"/>
                    </a:lnTo>
                    <a:lnTo>
                      <a:pt x="203405" y="87904"/>
                    </a:lnTo>
                    <a:lnTo>
                      <a:pt x="206931" y="88521"/>
                    </a:lnTo>
                    <a:lnTo>
                      <a:pt x="208078" y="90637"/>
                    </a:lnTo>
                    <a:lnTo>
                      <a:pt x="210987" y="89756"/>
                    </a:lnTo>
                    <a:lnTo>
                      <a:pt x="212133" y="88257"/>
                    </a:lnTo>
                    <a:lnTo>
                      <a:pt x="214779" y="89491"/>
                    </a:lnTo>
                    <a:lnTo>
                      <a:pt x="217071" y="87728"/>
                    </a:lnTo>
                    <a:lnTo>
                      <a:pt x="218834" y="81644"/>
                    </a:lnTo>
                    <a:lnTo>
                      <a:pt x="224653" y="76354"/>
                    </a:lnTo>
                    <a:lnTo>
                      <a:pt x="226064" y="74855"/>
                    </a:lnTo>
                    <a:lnTo>
                      <a:pt x="228709" y="76001"/>
                    </a:lnTo>
                    <a:lnTo>
                      <a:pt x="231001" y="75737"/>
                    </a:lnTo>
                    <a:lnTo>
                      <a:pt x="231530" y="76618"/>
                    </a:lnTo>
                    <a:lnTo>
                      <a:pt x="233029" y="75384"/>
                    </a:lnTo>
                    <a:lnTo>
                      <a:pt x="233911" y="73092"/>
                    </a:lnTo>
                    <a:lnTo>
                      <a:pt x="233029" y="71945"/>
                    </a:lnTo>
                    <a:lnTo>
                      <a:pt x="232676" y="64980"/>
                    </a:lnTo>
                    <a:lnTo>
                      <a:pt x="229767" y="58015"/>
                    </a:lnTo>
                    <a:lnTo>
                      <a:pt x="230649" y="56869"/>
                    </a:lnTo>
                    <a:lnTo>
                      <a:pt x="237967" y="58015"/>
                    </a:lnTo>
                    <a:lnTo>
                      <a:pt x="238848" y="60307"/>
                    </a:lnTo>
                    <a:lnTo>
                      <a:pt x="240876" y="60924"/>
                    </a:lnTo>
                    <a:lnTo>
                      <a:pt x="242022" y="59426"/>
                    </a:lnTo>
                    <a:lnTo>
                      <a:pt x="241405" y="57662"/>
                    </a:lnTo>
                    <a:lnTo>
                      <a:pt x="245813" y="56516"/>
                    </a:lnTo>
                    <a:lnTo>
                      <a:pt x="246960" y="58015"/>
                    </a:lnTo>
                    <a:lnTo>
                      <a:pt x="246960" y="58897"/>
                    </a:lnTo>
                    <a:lnTo>
                      <a:pt x="245813" y="58279"/>
                    </a:lnTo>
                    <a:lnTo>
                      <a:pt x="245549" y="59778"/>
                    </a:lnTo>
                    <a:lnTo>
                      <a:pt x="245813" y="60660"/>
                    </a:lnTo>
                    <a:lnTo>
                      <a:pt x="251104" y="61542"/>
                    </a:lnTo>
                    <a:lnTo>
                      <a:pt x="249340" y="65950"/>
                    </a:lnTo>
                    <a:lnTo>
                      <a:pt x="250487" y="68595"/>
                    </a:lnTo>
                    <a:lnTo>
                      <a:pt x="249869" y="73003"/>
                    </a:lnTo>
                    <a:lnTo>
                      <a:pt x="246342" y="77941"/>
                    </a:lnTo>
                    <a:lnTo>
                      <a:pt x="241934" y="77941"/>
                    </a:lnTo>
                    <a:lnTo>
                      <a:pt x="240171" y="77412"/>
                    </a:lnTo>
                    <a:lnTo>
                      <a:pt x="239554" y="81468"/>
                    </a:lnTo>
                    <a:lnTo>
                      <a:pt x="243080" y="85876"/>
                    </a:lnTo>
                    <a:lnTo>
                      <a:pt x="243609" y="87287"/>
                    </a:lnTo>
                    <a:lnTo>
                      <a:pt x="242199" y="89667"/>
                    </a:lnTo>
                    <a:lnTo>
                      <a:pt x="236027" y="93194"/>
                    </a:lnTo>
                    <a:lnTo>
                      <a:pt x="234528" y="92930"/>
                    </a:lnTo>
                    <a:lnTo>
                      <a:pt x="233911" y="91783"/>
                    </a:lnTo>
                    <a:lnTo>
                      <a:pt x="231883" y="91431"/>
                    </a:lnTo>
                    <a:lnTo>
                      <a:pt x="230737" y="92577"/>
                    </a:lnTo>
                    <a:lnTo>
                      <a:pt x="228092" y="91166"/>
                    </a:lnTo>
                    <a:lnTo>
                      <a:pt x="227210" y="91166"/>
                    </a:lnTo>
                    <a:lnTo>
                      <a:pt x="226946" y="92577"/>
                    </a:lnTo>
                    <a:lnTo>
                      <a:pt x="228709" y="93723"/>
                    </a:lnTo>
                    <a:lnTo>
                      <a:pt x="228709" y="94869"/>
                    </a:lnTo>
                    <a:lnTo>
                      <a:pt x="225800" y="96368"/>
                    </a:lnTo>
                    <a:lnTo>
                      <a:pt x="224653" y="98660"/>
                    </a:lnTo>
                    <a:lnTo>
                      <a:pt x="221391" y="100424"/>
                    </a:lnTo>
                    <a:lnTo>
                      <a:pt x="220509" y="101923"/>
                    </a:lnTo>
                    <a:lnTo>
                      <a:pt x="218129" y="102187"/>
                    </a:lnTo>
                    <a:lnTo>
                      <a:pt x="216718" y="103598"/>
                    </a:lnTo>
                    <a:lnTo>
                      <a:pt x="215219" y="102981"/>
                    </a:lnTo>
                    <a:lnTo>
                      <a:pt x="211692" y="102628"/>
                    </a:lnTo>
                    <a:lnTo>
                      <a:pt x="210546" y="105538"/>
                    </a:lnTo>
                    <a:lnTo>
                      <a:pt x="204462" y="107566"/>
                    </a:lnTo>
                    <a:lnTo>
                      <a:pt x="201818" y="109329"/>
                    </a:lnTo>
                    <a:lnTo>
                      <a:pt x="192472" y="110828"/>
                    </a:lnTo>
                    <a:lnTo>
                      <a:pt x="192912" y="109417"/>
                    </a:lnTo>
                    <a:close/>
                    <a:moveTo>
                      <a:pt x="208342" y="19309"/>
                    </a:moveTo>
                    <a:lnTo>
                      <a:pt x="205168" y="19044"/>
                    </a:lnTo>
                    <a:lnTo>
                      <a:pt x="202787" y="17546"/>
                    </a:lnTo>
                    <a:lnTo>
                      <a:pt x="201641" y="14900"/>
                    </a:lnTo>
                    <a:lnTo>
                      <a:pt x="199613" y="13402"/>
                    </a:lnTo>
                    <a:lnTo>
                      <a:pt x="201641" y="12785"/>
                    </a:lnTo>
                    <a:lnTo>
                      <a:pt x="204816" y="11286"/>
                    </a:lnTo>
                    <a:lnTo>
                      <a:pt x="210105" y="13931"/>
                    </a:lnTo>
                    <a:lnTo>
                      <a:pt x="210370" y="18339"/>
                    </a:lnTo>
                    <a:lnTo>
                      <a:pt x="208342" y="19309"/>
                    </a:lnTo>
                    <a:close/>
                    <a:moveTo>
                      <a:pt x="123524" y="7054"/>
                    </a:moveTo>
                    <a:lnTo>
                      <a:pt x="122378" y="5026"/>
                    </a:lnTo>
                    <a:lnTo>
                      <a:pt x="122995" y="3879"/>
                    </a:lnTo>
                    <a:lnTo>
                      <a:pt x="124406" y="4144"/>
                    </a:lnTo>
                    <a:lnTo>
                      <a:pt x="124670" y="3527"/>
                    </a:lnTo>
                    <a:lnTo>
                      <a:pt x="123789" y="1499"/>
                    </a:lnTo>
                    <a:lnTo>
                      <a:pt x="124318" y="1499"/>
                    </a:lnTo>
                    <a:lnTo>
                      <a:pt x="126610" y="617"/>
                    </a:lnTo>
                    <a:lnTo>
                      <a:pt x="128109" y="882"/>
                    </a:lnTo>
                    <a:lnTo>
                      <a:pt x="129608" y="0"/>
                    </a:lnTo>
                    <a:lnTo>
                      <a:pt x="140100" y="2645"/>
                    </a:lnTo>
                    <a:lnTo>
                      <a:pt x="142127" y="3174"/>
                    </a:lnTo>
                    <a:lnTo>
                      <a:pt x="142127" y="2028"/>
                    </a:lnTo>
                    <a:lnTo>
                      <a:pt x="141511" y="882"/>
                    </a:lnTo>
                    <a:lnTo>
                      <a:pt x="142656" y="2028"/>
                    </a:lnTo>
                    <a:lnTo>
                      <a:pt x="142392" y="3527"/>
                    </a:lnTo>
                    <a:lnTo>
                      <a:pt x="139218" y="3527"/>
                    </a:lnTo>
                    <a:lnTo>
                      <a:pt x="138336" y="5555"/>
                    </a:lnTo>
                    <a:lnTo>
                      <a:pt x="137190" y="6436"/>
                    </a:lnTo>
                    <a:lnTo>
                      <a:pt x="128373" y="5555"/>
                    </a:lnTo>
                    <a:lnTo>
                      <a:pt x="126610" y="4144"/>
                    </a:lnTo>
                    <a:lnTo>
                      <a:pt x="126963" y="5555"/>
                    </a:lnTo>
                    <a:lnTo>
                      <a:pt x="123524" y="7054"/>
                    </a:lnTo>
                    <a:close/>
                    <a:moveTo>
                      <a:pt x="224124" y="212662"/>
                    </a:moveTo>
                    <a:lnTo>
                      <a:pt x="220333" y="210370"/>
                    </a:lnTo>
                    <a:lnTo>
                      <a:pt x="218305" y="210105"/>
                    </a:lnTo>
                    <a:lnTo>
                      <a:pt x="218305" y="208077"/>
                    </a:lnTo>
                    <a:lnTo>
                      <a:pt x="219187" y="207548"/>
                    </a:lnTo>
                    <a:lnTo>
                      <a:pt x="218305" y="206402"/>
                    </a:lnTo>
                    <a:lnTo>
                      <a:pt x="217688" y="207548"/>
                    </a:lnTo>
                    <a:lnTo>
                      <a:pt x="216806" y="206667"/>
                    </a:lnTo>
                    <a:lnTo>
                      <a:pt x="216542" y="203757"/>
                    </a:lnTo>
                    <a:lnTo>
                      <a:pt x="214514" y="202611"/>
                    </a:lnTo>
                    <a:lnTo>
                      <a:pt x="214779" y="200319"/>
                    </a:lnTo>
                    <a:lnTo>
                      <a:pt x="220597" y="206402"/>
                    </a:lnTo>
                    <a:lnTo>
                      <a:pt x="219980" y="207284"/>
                    </a:lnTo>
                    <a:lnTo>
                      <a:pt x="221744" y="208783"/>
                    </a:lnTo>
                    <a:lnTo>
                      <a:pt x="222625" y="208518"/>
                    </a:lnTo>
                    <a:lnTo>
                      <a:pt x="222361" y="207637"/>
                    </a:lnTo>
                    <a:lnTo>
                      <a:pt x="224389" y="206138"/>
                    </a:lnTo>
                    <a:lnTo>
                      <a:pt x="225535" y="206138"/>
                    </a:lnTo>
                    <a:lnTo>
                      <a:pt x="225535" y="208430"/>
                    </a:lnTo>
                    <a:lnTo>
                      <a:pt x="224124" y="212662"/>
                    </a:lnTo>
                    <a:close/>
                    <a:moveTo>
                      <a:pt x="216542" y="200495"/>
                    </a:moveTo>
                    <a:lnTo>
                      <a:pt x="216542" y="198996"/>
                    </a:lnTo>
                    <a:lnTo>
                      <a:pt x="207460" y="198114"/>
                    </a:lnTo>
                    <a:lnTo>
                      <a:pt x="207460" y="197497"/>
                    </a:lnTo>
                    <a:lnTo>
                      <a:pt x="209224" y="196351"/>
                    </a:lnTo>
                    <a:lnTo>
                      <a:pt x="209224" y="195469"/>
                    </a:lnTo>
                    <a:lnTo>
                      <a:pt x="207460" y="193441"/>
                    </a:lnTo>
                    <a:lnTo>
                      <a:pt x="207725" y="191414"/>
                    </a:lnTo>
                    <a:lnTo>
                      <a:pt x="209224" y="190797"/>
                    </a:lnTo>
                    <a:lnTo>
                      <a:pt x="212750" y="193441"/>
                    </a:lnTo>
                    <a:lnTo>
                      <a:pt x="214779" y="192560"/>
                    </a:lnTo>
                    <a:lnTo>
                      <a:pt x="217424" y="195734"/>
                    </a:lnTo>
                    <a:lnTo>
                      <a:pt x="217688" y="197762"/>
                    </a:lnTo>
                    <a:lnTo>
                      <a:pt x="218305" y="198643"/>
                    </a:lnTo>
                    <a:lnTo>
                      <a:pt x="216542" y="200495"/>
                    </a:lnTo>
                    <a:close/>
                    <a:moveTo>
                      <a:pt x="205433" y="195205"/>
                    </a:moveTo>
                    <a:lnTo>
                      <a:pt x="203405" y="194588"/>
                    </a:lnTo>
                    <a:lnTo>
                      <a:pt x="203405" y="193441"/>
                    </a:lnTo>
                    <a:lnTo>
                      <a:pt x="201377" y="191943"/>
                    </a:lnTo>
                    <a:lnTo>
                      <a:pt x="200495" y="190444"/>
                    </a:lnTo>
                    <a:lnTo>
                      <a:pt x="201112" y="188416"/>
                    </a:lnTo>
                    <a:lnTo>
                      <a:pt x="203758" y="187534"/>
                    </a:lnTo>
                    <a:lnTo>
                      <a:pt x="205785" y="189562"/>
                    </a:lnTo>
                    <a:lnTo>
                      <a:pt x="206667" y="191854"/>
                    </a:lnTo>
                    <a:lnTo>
                      <a:pt x="205520" y="193618"/>
                    </a:lnTo>
                    <a:lnTo>
                      <a:pt x="206138" y="194147"/>
                    </a:lnTo>
                    <a:lnTo>
                      <a:pt x="205433" y="19520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2" name="Freihandform: Form 2031">
                <a:extLst>
                  <a:ext uri="{FF2B5EF4-FFF2-40B4-BE49-F238E27FC236}">
                    <a16:creationId xmlns:a16="http://schemas.microsoft.com/office/drawing/2014/main" id="{B5B9B7F1-467C-08E6-19A4-83040B5D1CCC}"/>
                  </a:ext>
                </a:extLst>
              </p:cNvPr>
              <p:cNvSpPr/>
              <p:nvPr/>
            </p:nvSpPr>
            <p:spPr>
              <a:xfrm>
                <a:off x="7689594" y="4416397"/>
                <a:ext cx="38264" cy="233822"/>
              </a:xfrm>
              <a:custGeom>
                <a:avLst/>
                <a:gdLst>
                  <a:gd name="connsiteX0" fmla="*/ 3174 w 38264"/>
                  <a:gd name="connsiteY0" fmla="*/ 129431 h 233822"/>
                  <a:gd name="connsiteX1" fmla="*/ 2028 w 38264"/>
                  <a:gd name="connsiteY1" fmla="*/ 128814 h 233822"/>
                  <a:gd name="connsiteX2" fmla="*/ 0 w 38264"/>
                  <a:gd name="connsiteY2" fmla="*/ 122995 h 233822"/>
                  <a:gd name="connsiteX3" fmla="*/ 617 w 38264"/>
                  <a:gd name="connsiteY3" fmla="*/ 120350 h 233822"/>
                  <a:gd name="connsiteX4" fmla="*/ 0 w 38264"/>
                  <a:gd name="connsiteY4" fmla="*/ 107830 h 233822"/>
                  <a:gd name="connsiteX5" fmla="*/ 1146 w 38264"/>
                  <a:gd name="connsiteY5" fmla="*/ 103774 h 233822"/>
                  <a:gd name="connsiteX6" fmla="*/ 2557 w 38264"/>
                  <a:gd name="connsiteY6" fmla="*/ 103245 h 233822"/>
                  <a:gd name="connsiteX7" fmla="*/ 3438 w 38264"/>
                  <a:gd name="connsiteY7" fmla="*/ 107037 h 233822"/>
                  <a:gd name="connsiteX8" fmla="*/ 4849 w 38264"/>
                  <a:gd name="connsiteY8" fmla="*/ 108535 h 233822"/>
                  <a:gd name="connsiteX9" fmla="*/ 4584 w 38264"/>
                  <a:gd name="connsiteY9" fmla="*/ 113208 h 233822"/>
                  <a:gd name="connsiteX10" fmla="*/ 4849 w 38264"/>
                  <a:gd name="connsiteY10" fmla="*/ 117264 h 233822"/>
                  <a:gd name="connsiteX11" fmla="*/ 7759 w 38264"/>
                  <a:gd name="connsiteY11" fmla="*/ 117264 h 233822"/>
                  <a:gd name="connsiteX12" fmla="*/ 9258 w 38264"/>
                  <a:gd name="connsiteY12" fmla="*/ 112591 h 233822"/>
                  <a:gd name="connsiteX13" fmla="*/ 10139 w 38264"/>
                  <a:gd name="connsiteY13" fmla="*/ 111974 h 233822"/>
                  <a:gd name="connsiteX14" fmla="*/ 11903 w 38264"/>
                  <a:gd name="connsiteY14" fmla="*/ 112591 h 233822"/>
                  <a:gd name="connsiteX15" fmla="*/ 10756 w 38264"/>
                  <a:gd name="connsiteY15" fmla="*/ 113208 h 233822"/>
                  <a:gd name="connsiteX16" fmla="*/ 11285 w 38264"/>
                  <a:gd name="connsiteY16" fmla="*/ 117881 h 233822"/>
                  <a:gd name="connsiteX17" fmla="*/ 11903 w 38264"/>
                  <a:gd name="connsiteY17" fmla="*/ 117264 h 233822"/>
                  <a:gd name="connsiteX18" fmla="*/ 13049 w 38264"/>
                  <a:gd name="connsiteY18" fmla="*/ 127756 h 233822"/>
                  <a:gd name="connsiteX19" fmla="*/ 8993 w 38264"/>
                  <a:gd name="connsiteY19" fmla="*/ 128902 h 233822"/>
                  <a:gd name="connsiteX20" fmla="*/ 5202 w 38264"/>
                  <a:gd name="connsiteY20" fmla="*/ 128021 h 233822"/>
                  <a:gd name="connsiteX21" fmla="*/ 3174 w 38264"/>
                  <a:gd name="connsiteY21" fmla="*/ 129431 h 233822"/>
                  <a:gd name="connsiteX22" fmla="*/ 2645 w 38264"/>
                  <a:gd name="connsiteY22" fmla="*/ 4585 h 233822"/>
                  <a:gd name="connsiteX23" fmla="*/ 2380 w 38264"/>
                  <a:gd name="connsiteY23" fmla="*/ 3086 h 233822"/>
                  <a:gd name="connsiteX24" fmla="*/ 1234 w 38264"/>
                  <a:gd name="connsiteY24" fmla="*/ 3968 h 233822"/>
                  <a:gd name="connsiteX25" fmla="*/ 617 w 38264"/>
                  <a:gd name="connsiteY25" fmla="*/ 2557 h 233822"/>
                  <a:gd name="connsiteX26" fmla="*/ 1234 w 38264"/>
                  <a:gd name="connsiteY26" fmla="*/ 1411 h 233822"/>
                  <a:gd name="connsiteX27" fmla="*/ 2116 w 38264"/>
                  <a:gd name="connsiteY27" fmla="*/ 2028 h 233822"/>
                  <a:gd name="connsiteX28" fmla="*/ 2645 w 38264"/>
                  <a:gd name="connsiteY28" fmla="*/ 529 h 233822"/>
                  <a:gd name="connsiteX29" fmla="*/ 4937 w 38264"/>
                  <a:gd name="connsiteY29" fmla="*/ 0 h 233822"/>
                  <a:gd name="connsiteX30" fmla="*/ 9346 w 38264"/>
                  <a:gd name="connsiteY30" fmla="*/ 882 h 233822"/>
                  <a:gd name="connsiteX31" fmla="*/ 9610 w 38264"/>
                  <a:gd name="connsiteY31" fmla="*/ 1499 h 233822"/>
                  <a:gd name="connsiteX32" fmla="*/ 6965 w 38264"/>
                  <a:gd name="connsiteY32" fmla="*/ 3527 h 233822"/>
                  <a:gd name="connsiteX33" fmla="*/ 4937 w 38264"/>
                  <a:gd name="connsiteY33" fmla="*/ 2381 h 233822"/>
                  <a:gd name="connsiteX34" fmla="*/ 2645 w 38264"/>
                  <a:gd name="connsiteY34" fmla="*/ 4585 h 233822"/>
                  <a:gd name="connsiteX35" fmla="*/ 20455 w 38264"/>
                  <a:gd name="connsiteY35" fmla="*/ 129431 h 233822"/>
                  <a:gd name="connsiteX36" fmla="*/ 16928 w 38264"/>
                  <a:gd name="connsiteY36" fmla="*/ 128814 h 233822"/>
                  <a:gd name="connsiteX37" fmla="*/ 16047 w 38264"/>
                  <a:gd name="connsiteY37" fmla="*/ 128197 h 233822"/>
                  <a:gd name="connsiteX38" fmla="*/ 17810 w 38264"/>
                  <a:gd name="connsiteY38" fmla="*/ 126786 h 233822"/>
                  <a:gd name="connsiteX39" fmla="*/ 21601 w 38264"/>
                  <a:gd name="connsiteY39" fmla="*/ 125023 h 233822"/>
                  <a:gd name="connsiteX40" fmla="*/ 23629 w 38264"/>
                  <a:gd name="connsiteY40" fmla="*/ 125023 h 233822"/>
                  <a:gd name="connsiteX41" fmla="*/ 24246 w 38264"/>
                  <a:gd name="connsiteY41" fmla="*/ 125287 h 233822"/>
                  <a:gd name="connsiteX42" fmla="*/ 20455 w 38264"/>
                  <a:gd name="connsiteY42" fmla="*/ 129431 h 233822"/>
                  <a:gd name="connsiteX43" fmla="*/ 12520 w 38264"/>
                  <a:gd name="connsiteY43" fmla="*/ 150680 h 233822"/>
                  <a:gd name="connsiteX44" fmla="*/ 11021 w 38264"/>
                  <a:gd name="connsiteY44" fmla="*/ 148652 h 233822"/>
                  <a:gd name="connsiteX45" fmla="*/ 11903 w 38264"/>
                  <a:gd name="connsiteY45" fmla="*/ 148652 h 233822"/>
                  <a:gd name="connsiteX46" fmla="*/ 11285 w 38264"/>
                  <a:gd name="connsiteY46" fmla="*/ 146889 h 233822"/>
                  <a:gd name="connsiteX47" fmla="*/ 11285 w 38264"/>
                  <a:gd name="connsiteY47" fmla="*/ 141069 h 233822"/>
                  <a:gd name="connsiteX48" fmla="*/ 10404 w 38264"/>
                  <a:gd name="connsiteY48" fmla="*/ 138424 h 233822"/>
                  <a:gd name="connsiteX49" fmla="*/ 7230 w 38264"/>
                  <a:gd name="connsiteY49" fmla="*/ 138424 h 233822"/>
                  <a:gd name="connsiteX50" fmla="*/ 6613 w 38264"/>
                  <a:gd name="connsiteY50" fmla="*/ 136397 h 233822"/>
                  <a:gd name="connsiteX51" fmla="*/ 8111 w 38264"/>
                  <a:gd name="connsiteY51" fmla="*/ 132341 h 233822"/>
                  <a:gd name="connsiteX52" fmla="*/ 9258 w 38264"/>
                  <a:gd name="connsiteY52" fmla="*/ 131812 h 233822"/>
                  <a:gd name="connsiteX53" fmla="*/ 11285 w 38264"/>
                  <a:gd name="connsiteY53" fmla="*/ 133223 h 233822"/>
                  <a:gd name="connsiteX54" fmla="*/ 12432 w 38264"/>
                  <a:gd name="connsiteY54" fmla="*/ 138160 h 233822"/>
                  <a:gd name="connsiteX55" fmla="*/ 13578 w 38264"/>
                  <a:gd name="connsiteY55" fmla="*/ 139306 h 233822"/>
                  <a:gd name="connsiteX56" fmla="*/ 19397 w 38264"/>
                  <a:gd name="connsiteY56" fmla="*/ 145125 h 233822"/>
                  <a:gd name="connsiteX57" fmla="*/ 19397 w 38264"/>
                  <a:gd name="connsiteY57" fmla="*/ 147153 h 233822"/>
                  <a:gd name="connsiteX58" fmla="*/ 20279 w 38264"/>
                  <a:gd name="connsiteY58" fmla="*/ 148299 h 233822"/>
                  <a:gd name="connsiteX59" fmla="*/ 18515 w 38264"/>
                  <a:gd name="connsiteY59" fmla="*/ 150327 h 233822"/>
                  <a:gd name="connsiteX60" fmla="*/ 14988 w 38264"/>
                  <a:gd name="connsiteY60" fmla="*/ 148564 h 233822"/>
                  <a:gd name="connsiteX61" fmla="*/ 12520 w 38264"/>
                  <a:gd name="connsiteY61" fmla="*/ 150680 h 233822"/>
                  <a:gd name="connsiteX62" fmla="*/ 23364 w 38264"/>
                  <a:gd name="connsiteY62" fmla="*/ 143715 h 233822"/>
                  <a:gd name="connsiteX63" fmla="*/ 23100 w 38264"/>
                  <a:gd name="connsiteY63" fmla="*/ 141687 h 233822"/>
                  <a:gd name="connsiteX64" fmla="*/ 23100 w 38264"/>
                  <a:gd name="connsiteY64" fmla="*/ 141069 h 233822"/>
                  <a:gd name="connsiteX65" fmla="*/ 23100 w 38264"/>
                  <a:gd name="connsiteY65" fmla="*/ 139306 h 233822"/>
                  <a:gd name="connsiteX66" fmla="*/ 22835 w 38264"/>
                  <a:gd name="connsiteY66" fmla="*/ 134898 h 233822"/>
                  <a:gd name="connsiteX67" fmla="*/ 24246 w 38264"/>
                  <a:gd name="connsiteY67" fmla="*/ 130489 h 233822"/>
                  <a:gd name="connsiteX68" fmla="*/ 24864 w 38264"/>
                  <a:gd name="connsiteY68" fmla="*/ 131107 h 233822"/>
                  <a:gd name="connsiteX69" fmla="*/ 24599 w 38264"/>
                  <a:gd name="connsiteY69" fmla="*/ 143626 h 233822"/>
                  <a:gd name="connsiteX70" fmla="*/ 23364 w 38264"/>
                  <a:gd name="connsiteY70" fmla="*/ 143626 h 233822"/>
                  <a:gd name="connsiteX71" fmla="*/ 36766 w 38264"/>
                  <a:gd name="connsiteY71" fmla="*/ 233823 h 233822"/>
                  <a:gd name="connsiteX72" fmla="*/ 34738 w 38264"/>
                  <a:gd name="connsiteY72" fmla="*/ 233205 h 233822"/>
                  <a:gd name="connsiteX73" fmla="*/ 32093 w 38264"/>
                  <a:gd name="connsiteY73" fmla="*/ 228533 h 233822"/>
                  <a:gd name="connsiteX74" fmla="*/ 33239 w 38264"/>
                  <a:gd name="connsiteY74" fmla="*/ 225888 h 233822"/>
                  <a:gd name="connsiteX75" fmla="*/ 34385 w 38264"/>
                  <a:gd name="connsiteY75" fmla="*/ 225270 h 233822"/>
                  <a:gd name="connsiteX76" fmla="*/ 35885 w 38264"/>
                  <a:gd name="connsiteY76" fmla="*/ 225623 h 233822"/>
                  <a:gd name="connsiteX77" fmla="*/ 35356 w 38264"/>
                  <a:gd name="connsiteY77" fmla="*/ 228533 h 233822"/>
                  <a:gd name="connsiteX78" fmla="*/ 38265 w 38264"/>
                  <a:gd name="connsiteY78" fmla="*/ 231178 h 233822"/>
                  <a:gd name="connsiteX79" fmla="*/ 37383 w 38264"/>
                  <a:gd name="connsiteY79" fmla="*/ 232324 h 233822"/>
                  <a:gd name="connsiteX80" fmla="*/ 36766 w 38264"/>
                  <a:gd name="connsiteY80" fmla="*/ 233823 h 233822"/>
                  <a:gd name="connsiteX81" fmla="*/ 33856 w 38264"/>
                  <a:gd name="connsiteY81" fmla="*/ 162671 h 233822"/>
                  <a:gd name="connsiteX82" fmla="*/ 31211 w 38264"/>
                  <a:gd name="connsiteY82" fmla="*/ 160643 h 233822"/>
                  <a:gd name="connsiteX83" fmla="*/ 27684 w 38264"/>
                  <a:gd name="connsiteY83" fmla="*/ 160996 h 233822"/>
                  <a:gd name="connsiteX84" fmla="*/ 26539 w 38264"/>
                  <a:gd name="connsiteY84" fmla="*/ 158086 h 233822"/>
                  <a:gd name="connsiteX85" fmla="*/ 27420 w 38264"/>
                  <a:gd name="connsiteY85" fmla="*/ 154824 h 233822"/>
                  <a:gd name="connsiteX86" fmla="*/ 28566 w 38264"/>
                  <a:gd name="connsiteY86" fmla="*/ 154824 h 233822"/>
                  <a:gd name="connsiteX87" fmla="*/ 29095 w 38264"/>
                  <a:gd name="connsiteY87" fmla="*/ 157733 h 233822"/>
                  <a:gd name="connsiteX88" fmla="*/ 30594 w 38264"/>
                  <a:gd name="connsiteY88" fmla="*/ 157998 h 233822"/>
                  <a:gd name="connsiteX89" fmla="*/ 31476 w 38264"/>
                  <a:gd name="connsiteY89" fmla="*/ 160290 h 233822"/>
                  <a:gd name="connsiteX90" fmla="*/ 33504 w 38264"/>
                  <a:gd name="connsiteY90" fmla="*/ 160555 h 233822"/>
                  <a:gd name="connsiteX91" fmla="*/ 33856 w 38264"/>
                  <a:gd name="connsiteY91" fmla="*/ 162671 h 233822"/>
                  <a:gd name="connsiteX92" fmla="*/ 36149 w 38264"/>
                  <a:gd name="connsiteY92" fmla="*/ 215396 h 233822"/>
                  <a:gd name="connsiteX93" fmla="*/ 32358 w 38264"/>
                  <a:gd name="connsiteY93" fmla="*/ 213103 h 233822"/>
                  <a:gd name="connsiteX94" fmla="*/ 30330 w 38264"/>
                  <a:gd name="connsiteY94" fmla="*/ 210811 h 233822"/>
                  <a:gd name="connsiteX95" fmla="*/ 30947 w 38264"/>
                  <a:gd name="connsiteY95" fmla="*/ 209929 h 233822"/>
                  <a:gd name="connsiteX96" fmla="*/ 30947 w 38264"/>
                  <a:gd name="connsiteY96" fmla="*/ 208518 h 233822"/>
                  <a:gd name="connsiteX97" fmla="*/ 32093 w 38264"/>
                  <a:gd name="connsiteY97" fmla="*/ 205609 h 233822"/>
                  <a:gd name="connsiteX98" fmla="*/ 33856 w 38264"/>
                  <a:gd name="connsiteY98" fmla="*/ 205344 h 233822"/>
                  <a:gd name="connsiteX99" fmla="*/ 35091 w 38264"/>
                  <a:gd name="connsiteY99" fmla="*/ 206226 h 233822"/>
                  <a:gd name="connsiteX100" fmla="*/ 35091 w 38264"/>
                  <a:gd name="connsiteY100" fmla="*/ 208254 h 233822"/>
                  <a:gd name="connsiteX101" fmla="*/ 36854 w 38264"/>
                  <a:gd name="connsiteY101" fmla="*/ 208871 h 233822"/>
                  <a:gd name="connsiteX102" fmla="*/ 37119 w 38264"/>
                  <a:gd name="connsiteY102" fmla="*/ 210017 h 233822"/>
                  <a:gd name="connsiteX103" fmla="*/ 35972 w 38264"/>
                  <a:gd name="connsiteY103" fmla="*/ 209753 h 233822"/>
                  <a:gd name="connsiteX104" fmla="*/ 35443 w 38264"/>
                  <a:gd name="connsiteY104" fmla="*/ 210370 h 233822"/>
                  <a:gd name="connsiteX105" fmla="*/ 36854 w 38264"/>
                  <a:gd name="connsiteY105" fmla="*/ 211869 h 233822"/>
                  <a:gd name="connsiteX106" fmla="*/ 38001 w 38264"/>
                  <a:gd name="connsiteY106" fmla="*/ 213279 h 233822"/>
                  <a:gd name="connsiteX107" fmla="*/ 37736 w 38264"/>
                  <a:gd name="connsiteY107" fmla="*/ 214778 h 233822"/>
                  <a:gd name="connsiteX108" fmla="*/ 36149 w 38264"/>
                  <a:gd name="connsiteY108" fmla="*/ 215396 h 233822"/>
                  <a:gd name="connsiteX109" fmla="*/ 23893 w 38264"/>
                  <a:gd name="connsiteY109" fmla="*/ 184537 h 233822"/>
                  <a:gd name="connsiteX110" fmla="*/ 23893 w 38264"/>
                  <a:gd name="connsiteY110" fmla="*/ 183655 h 233822"/>
                  <a:gd name="connsiteX111" fmla="*/ 22483 w 38264"/>
                  <a:gd name="connsiteY111" fmla="*/ 183390 h 233822"/>
                  <a:gd name="connsiteX112" fmla="*/ 22747 w 38264"/>
                  <a:gd name="connsiteY112" fmla="*/ 182244 h 233822"/>
                  <a:gd name="connsiteX113" fmla="*/ 22130 w 38264"/>
                  <a:gd name="connsiteY113" fmla="*/ 181098 h 233822"/>
                  <a:gd name="connsiteX114" fmla="*/ 20984 w 38264"/>
                  <a:gd name="connsiteY114" fmla="*/ 180833 h 233822"/>
                  <a:gd name="connsiteX115" fmla="*/ 19485 w 38264"/>
                  <a:gd name="connsiteY115" fmla="*/ 181980 h 233822"/>
                  <a:gd name="connsiteX116" fmla="*/ 19485 w 38264"/>
                  <a:gd name="connsiteY116" fmla="*/ 180833 h 233822"/>
                  <a:gd name="connsiteX117" fmla="*/ 23541 w 38264"/>
                  <a:gd name="connsiteY117" fmla="*/ 177042 h 233822"/>
                  <a:gd name="connsiteX118" fmla="*/ 26451 w 38264"/>
                  <a:gd name="connsiteY118" fmla="*/ 177924 h 233822"/>
                  <a:gd name="connsiteX119" fmla="*/ 27597 w 38264"/>
                  <a:gd name="connsiteY119" fmla="*/ 180833 h 233822"/>
                  <a:gd name="connsiteX120" fmla="*/ 28743 w 38264"/>
                  <a:gd name="connsiteY120" fmla="*/ 181980 h 233822"/>
                  <a:gd name="connsiteX121" fmla="*/ 27244 w 38264"/>
                  <a:gd name="connsiteY121" fmla="*/ 184537 h 233822"/>
                  <a:gd name="connsiteX122" fmla="*/ 23893 w 38264"/>
                  <a:gd name="connsiteY122" fmla="*/ 184537 h 233822"/>
                  <a:gd name="connsiteX123" fmla="*/ 21248 w 38264"/>
                  <a:gd name="connsiteY123" fmla="*/ 155000 h 233822"/>
                  <a:gd name="connsiteX124" fmla="*/ 17192 w 38264"/>
                  <a:gd name="connsiteY124" fmla="*/ 152090 h 233822"/>
                  <a:gd name="connsiteX125" fmla="*/ 17457 w 38264"/>
                  <a:gd name="connsiteY125" fmla="*/ 150856 h 233822"/>
                  <a:gd name="connsiteX126" fmla="*/ 21248 w 38264"/>
                  <a:gd name="connsiteY126" fmla="*/ 150239 h 233822"/>
                  <a:gd name="connsiteX127" fmla="*/ 22747 w 38264"/>
                  <a:gd name="connsiteY127" fmla="*/ 148476 h 233822"/>
                  <a:gd name="connsiteX128" fmla="*/ 23893 w 38264"/>
                  <a:gd name="connsiteY128" fmla="*/ 148740 h 233822"/>
                  <a:gd name="connsiteX129" fmla="*/ 24158 w 38264"/>
                  <a:gd name="connsiteY129" fmla="*/ 151385 h 233822"/>
                  <a:gd name="connsiteX130" fmla="*/ 25569 w 38264"/>
                  <a:gd name="connsiteY130" fmla="*/ 153678 h 233822"/>
                  <a:gd name="connsiteX131" fmla="*/ 25922 w 38264"/>
                  <a:gd name="connsiteY131" fmla="*/ 154559 h 233822"/>
                  <a:gd name="connsiteX132" fmla="*/ 25304 w 38264"/>
                  <a:gd name="connsiteY132" fmla="*/ 155176 h 233822"/>
                  <a:gd name="connsiteX133" fmla="*/ 21248 w 38264"/>
                  <a:gd name="connsiteY133" fmla="*/ 155000 h 23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</a:cxnLst>
                <a:rect l="l" t="t" r="r" b="b"/>
                <a:pathLst>
                  <a:path w="38264" h="233822">
                    <a:moveTo>
                      <a:pt x="3174" y="129431"/>
                    </a:moveTo>
                    <a:lnTo>
                      <a:pt x="2028" y="128814"/>
                    </a:lnTo>
                    <a:lnTo>
                      <a:pt x="0" y="122995"/>
                    </a:lnTo>
                    <a:lnTo>
                      <a:pt x="617" y="120350"/>
                    </a:lnTo>
                    <a:lnTo>
                      <a:pt x="0" y="107830"/>
                    </a:lnTo>
                    <a:lnTo>
                      <a:pt x="1146" y="103774"/>
                    </a:lnTo>
                    <a:lnTo>
                      <a:pt x="2557" y="103245"/>
                    </a:lnTo>
                    <a:lnTo>
                      <a:pt x="3438" y="107037"/>
                    </a:lnTo>
                    <a:lnTo>
                      <a:pt x="4849" y="108535"/>
                    </a:lnTo>
                    <a:lnTo>
                      <a:pt x="4584" y="113208"/>
                    </a:lnTo>
                    <a:lnTo>
                      <a:pt x="4849" y="117264"/>
                    </a:lnTo>
                    <a:lnTo>
                      <a:pt x="7759" y="117264"/>
                    </a:lnTo>
                    <a:lnTo>
                      <a:pt x="9258" y="112591"/>
                    </a:lnTo>
                    <a:lnTo>
                      <a:pt x="10139" y="111974"/>
                    </a:lnTo>
                    <a:lnTo>
                      <a:pt x="11903" y="112591"/>
                    </a:lnTo>
                    <a:lnTo>
                      <a:pt x="10756" y="113208"/>
                    </a:lnTo>
                    <a:lnTo>
                      <a:pt x="11285" y="117881"/>
                    </a:lnTo>
                    <a:lnTo>
                      <a:pt x="11903" y="117264"/>
                    </a:lnTo>
                    <a:lnTo>
                      <a:pt x="13049" y="127756"/>
                    </a:lnTo>
                    <a:lnTo>
                      <a:pt x="8993" y="128902"/>
                    </a:lnTo>
                    <a:lnTo>
                      <a:pt x="5202" y="128021"/>
                    </a:lnTo>
                    <a:lnTo>
                      <a:pt x="3174" y="129431"/>
                    </a:lnTo>
                    <a:close/>
                    <a:moveTo>
                      <a:pt x="2645" y="4585"/>
                    </a:moveTo>
                    <a:lnTo>
                      <a:pt x="2380" y="3086"/>
                    </a:lnTo>
                    <a:lnTo>
                      <a:pt x="1234" y="3968"/>
                    </a:lnTo>
                    <a:lnTo>
                      <a:pt x="617" y="2557"/>
                    </a:lnTo>
                    <a:lnTo>
                      <a:pt x="1234" y="1411"/>
                    </a:lnTo>
                    <a:lnTo>
                      <a:pt x="2116" y="2028"/>
                    </a:lnTo>
                    <a:lnTo>
                      <a:pt x="2645" y="529"/>
                    </a:lnTo>
                    <a:lnTo>
                      <a:pt x="4937" y="0"/>
                    </a:lnTo>
                    <a:lnTo>
                      <a:pt x="9346" y="882"/>
                    </a:lnTo>
                    <a:lnTo>
                      <a:pt x="9610" y="1499"/>
                    </a:lnTo>
                    <a:lnTo>
                      <a:pt x="6965" y="3527"/>
                    </a:lnTo>
                    <a:lnTo>
                      <a:pt x="4937" y="2381"/>
                    </a:lnTo>
                    <a:lnTo>
                      <a:pt x="2645" y="4585"/>
                    </a:lnTo>
                    <a:close/>
                    <a:moveTo>
                      <a:pt x="20455" y="129431"/>
                    </a:moveTo>
                    <a:lnTo>
                      <a:pt x="16928" y="128814"/>
                    </a:lnTo>
                    <a:lnTo>
                      <a:pt x="16047" y="128197"/>
                    </a:lnTo>
                    <a:lnTo>
                      <a:pt x="17810" y="126786"/>
                    </a:lnTo>
                    <a:lnTo>
                      <a:pt x="21601" y="125023"/>
                    </a:lnTo>
                    <a:lnTo>
                      <a:pt x="23629" y="125023"/>
                    </a:lnTo>
                    <a:lnTo>
                      <a:pt x="24246" y="125287"/>
                    </a:lnTo>
                    <a:lnTo>
                      <a:pt x="20455" y="129431"/>
                    </a:lnTo>
                    <a:close/>
                    <a:moveTo>
                      <a:pt x="12520" y="150680"/>
                    </a:moveTo>
                    <a:lnTo>
                      <a:pt x="11021" y="148652"/>
                    </a:lnTo>
                    <a:lnTo>
                      <a:pt x="11903" y="148652"/>
                    </a:lnTo>
                    <a:lnTo>
                      <a:pt x="11285" y="146889"/>
                    </a:lnTo>
                    <a:lnTo>
                      <a:pt x="11285" y="141069"/>
                    </a:lnTo>
                    <a:lnTo>
                      <a:pt x="10404" y="138424"/>
                    </a:lnTo>
                    <a:lnTo>
                      <a:pt x="7230" y="138424"/>
                    </a:lnTo>
                    <a:lnTo>
                      <a:pt x="6613" y="136397"/>
                    </a:lnTo>
                    <a:lnTo>
                      <a:pt x="8111" y="132341"/>
                    </a:lnTo>
                    <a:lnTo>
                      <a:pt x="9258" y="131812"/>
                    </a:lnTo>
                    <a:lnTo>
                      <a:pt x="11285" y="133223"/>
                    </a:lnTo>
                    <a:lnTo>
                      <a:pt x="12432" y="138160"/>
                    </a:lnTo>
                    <a:lnTo>
                      <a:pt x="13578" y="139306"/>
                    </a:lnTo>
                    <a:lnTo>
                      <a:pt x="19397" y="145125"/>
                    </a:lnTo>
                    <a:lnTo>
                      <a:pt x="19397" y="147153"/>
                    </a:lnTo>
                    <a:lnTo>
                      <a:pt x="20279" y="148299"/>
                    </a:lnTo>
                    <a:lnTo>
                      <a:pt x="18515" y="150327"/>
                    </a:lnTo>
                    <a:lnTo>
                      <a:pt x="14988" y="148564"/>
                    </a:lnTo>
                    <a:lnTo>
                      <a:pt x="12520" y="150680"/>
                    </a:lnTo>
                    <a:close/>
                    <a:moveTo>
                      <a:pt x="23364" y="143715"/>
                    </a:moveTo>
                    <a:lnTo>
                      <a:pt x="23100" y="141687"/>
                    </a:lnTo>
                    <a:lnTo>
                      <a:pt x="23100" y="141069"/>
                    </a:lnTo>
                    <a:lnTo>
                      <a:pt x="23100" y="139306"/>
                    </a:lnTo>
                    <a:lnTo>
                      <a:pt x="22835" y="134898"/>
                    </a:lnTo>
                    <a:lnTo>
                      <a:pt x="24246" y="130489"/>
                    </a:lnTo>
                    <a:lnTo>
                      <a:pt x="24864" y="131107"/>
                    </a:lnTo>
                    <a:lnTo>
                      <a:pt x="24599" y="143626"/>
                    </a:lnTo>
                    <a:lnTo>
                      <a:pt x="23364" y="143626"/>
                    </a:lnTo>
                    <a:close/>
                    <a:moveTo>
                      <a:pt x="36766" y="233823"/>
                    </a:moveTo>
                    <a:lnTo>
                      <a:pt x="34738" y="233205"/>
                    </a:lnTo>
                    <a:lnTo>
                      <a:pt x="32093" y="228533"/>
                    </a:lnTo>
                    <a:lnTo>
                      <a:pt x="33239" y="225888"/>
                    </a:lnTo>
                    <a:lnTo>
                      <a:pt x="34385" y="225270"/>
                    </a:lnTo>
                    <a:lnTo>
                      <a:pt x="35885" y="225623"/>
                    </a:lnTo>
                    <a:lnTo>
                      <a:pt x="35356" y="228533"/>
                    </a:lnTo>
                    <a:lnTo>
                      <a:pt x="38265" y="231178"/>
                    </a:lnTo>
                    <a:lnTo>
                      <a:pt x="37383" y="232324"/>
                    </a:lnTo>
                    <a:lnTo>
                      <a:pt x="36766" y="233823"/>
                    </a:lnTo>
                    <a:close/>
                    <a:moveTo>
                      <a:pt x="33856" y="162671"/>
                    </a:moveTo>
                    <a:lnTo>
                      <a:pt x="31211" y="160643"/>
                    </a:lnTo>
                    <a:lnTo>
                      <a:pt x="27684" y="160996"/>
                    </a:lnTo>
                    <a:lnTo>
                      <a:pt x="26539" y="158086"/>
                    </a:lnTo>
                    <a:lnTo>
                      <a:pt x="27420" y="154824"/>
                    </a:lnTo>
                    <a:lnTo>
                      <a:pt x="28566" y="154824"/>
                    </a:lnTo>
                    <a:lnTo>
                      <a:pt x="29095" y="157733"/>
                    </a:lnTo>
                    <a:lnTo>
                      <a:pt x="30594" y="157998"/>
                    </a:lnTo>
                    <a:lnTo>
                      <a:pt x="31476" y="160290"/>
                    </a:lnTo>
                    <a:lnTo>
                      <a:pt x="33504" y="160555"/>
                    </a:lnTo>
                    <a:lnTo>
                      <a:pt x="33856" y="162671"/>
                    </a:lnTo>
                    <a:close/>
                    <a:moveTo>
                      <a:pt x="36149" y="215396"/>
                    </a:moveTo>
                    <a:lnTo>
                      <a:pt x="32358" y="213103"/>
                    </a:lnTo>
                    <a:lnTo>
                      <a:pt x="30330" y="210811"/>
                    </a:lnTo>
                    <a:lnTo>
                      <a:pt x="30947" y="209929"/>
                    </a:lnTo>
                    <a:lnTo>
                      <a:pt x="30947" y="208518"/>
                    </a:lnTo>
                    <a:lnTo>
                      <a:pt x="32093" y="205609"/>
                    </a:lnTo>
                    <a:lnTo>
                      <a:pt x="33856" y="205344"/>
                    </a:lnTo>
                    <a:lnTo>
                      <a:pt x="35091" y="206226"/>
                    </a:lnTo>
                    <a:lnTo>
                      <a:pt x="35091" y="208254"/>
                    </a:lnTo>
                    <a:lnTo>
                      <a:pt x="36854" y="208871"/>
                    </a:lnTo>
                    <a:lnTo>
                      <a:pt x="37119" y="210017"/>
                    </a:lnTo>
                    <a:lnTo>
                      <a:pt x="35972" y="209753"/>
                    </a:lnTo>
                    <a:lnTo>
                      <a:pt x="35443" y="210370"/>
                    </a:lnTo>
                    <a:lnTo>
                      <a:pt x="36854" y="211869"/>
                    </a:lnTo>
                    <a:lnTo>
                      <a:pt x="38001" y="213279"/>
                    </a:lnTo>
                    <a:lnTo>
                      <a:pt x="37736" y="214778"/>
                    </a:lnTo>
                    <a:lnTo>
                      <a:pt x="36149" y="215396"/>
                    </a:lnTo>
                    <a:close/>
                    <a:moveTo>
                      <a:pt x="23893" y="184537"/>
                    </a:moveTo>
                    <a:lnTo>
                      <a:pt x="23893" y="183655"/>
                    </a:lnTo>
                    <a:lnTo>
                      <a:pt x="22483" y="183390"/>
                    </a:lnTo>
                    <a:lnTo>
                      <a:pt x="22747" y="182244"/>
                    </a:lnTo>
                    <a:lnTo>
                      <a:pt x="22130" y="181098"/>
                    </a:lnTo>
                    <a:lnTo>
                      <a:pt x="20984" y="180833"/>
                    </a:lnTo>
                    <a:lnTo>
                      <a:pt x="19485" y="181980"/>
                    </a:lnTo>
                    <a:lnTo>
                      <a:pt x="19485" y="180833"/>
                    </a:lnTo>
                    <a:lnTo>
                      <a:pt x="23541" y="177042"/>
                    </a:lnTo>
                    <a:lnTo>
                      <a:pt x="26451" y="177924"/>
                    </a:lnTo>
                    <a:lnTo>
                      <a:pt x="27597" y="180833"/>
                    </a:lnTo>
                    <a:lnTo>
                      <a:pt x="28743" y="181980"/>
                    </a:lnTo>
                    <a:lnTo>
                      <a:pt x="27244" y="184537"/>
                    </a:lnTo>
                    <a:lnTo>
                      <a:pt x="23893" y="184537"/>
                    </a:lnTo>
                    <a:close/>
                    <a:moveTo>
                      <a:pt x="21248" y="155000"/>
                    </a:moveTo>
                    <a:lnTo>
                      <a:pt x="17192" y="152090"/>
                    </a:lnTo>
                    <a:lnTo>
                      <a:pt x="17457" y="150856"/>
                    </a:lnTo>
                    <a:lnTo>
                      <a:pt x="21248" y="150239"/>
                    </a:lnTo>
                    <a:lnTo>
                      <a:pt x="22747" y="148476"/>
                    </a:lnTo>
                    <a:lnTo>
                      <a:pt x="23893" y="148740"/>
                    </a:lnTo>
                    <a:lnTo>
                      <a:pt x="24158" y="151385"/>
                    </a:lnTo>
                    <a:lnTo>
                      <a:pt x="25569" y="153678"/>
                    </a:lnTo>
                    <a:lnTo>
                      <a:pt x="25922" y="154559"/>
                    </a:lnTo>
                    <a:lnTo>
                      <a:pt x="25304" y="155176"/>
                    </a:lnTo>
                    <a:lnTo>
                      <a:pt x="21248" y="15500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3" name="Freihandform: Form 2032">
                <a:extLst>
                  <a:ext uri="{FF2B5EF4-FFF2-40B4-BE49-F238E27FC236}">
                    <a16:creationId xmlns:a16="http://schemas.microsoft.com/office/drawing/2014/main" id="{B213CD7E-A747-E412-6827-E91C1889B42C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4" name="Freihandform: Form 2033">
                <a:extLst>
                  <a:ext uri="{FF2B5EF4-FFF2-40B4-BE49-F238E27FC236}">
                    <a16:creationId xmlns:a16="http://schemas.microsoft.com/office/drawing/2014/main" id="{B20C29A2-D986-6C58-D6EC-AB81041B0C4C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5" name="Freihandform: Form 2034">
                <a:extLst>
                  <a:ext uri="{FF2B5EF4-FFF2-40B4-BE49-F238E27FC236}">
                    <a16:creationId xmlns:a16="http://schemas.microsoft.com/office/drawing/2014/main" id="{2AAB19ED-61A7-5925-E28A-E9FC7DAF7387}"/>
                  </a:ext>
                </a:extLst>
              </p:cNvPr>
              <p:cNvSpPr/>
              <p:nvPr/>
            </p:nvSpPr>
            <p:spPr>
              <a:xfrm>
                <a:off x="7603629" y="4665649"/>
                <a:ext cx="76970" cy="53518"/>
              </a:xfrm>
              <a:custGeom>
                <a:avLst/>
                <a:gdLst>
                  <a:gd name="connsiteX0" fmla="*/ 9258 w 76970"/>
                  <a:gd name="connsiteY0" fmla="*/ 25128 h 53518"/>
                  <a:gd name="connsiteX1" fmla="*/ 1675 w 76970"/>
                  <a:gd name="connsiteY1" fmla="*/ 7318 h 53518"/>
                  <a:gd name="connsiteX2" fmla="*/ 2557 w 76970"/>
                  <a:gd name="connsiteY2" fmla="*/ 3527 h 53518"/>
                  <a:gd name="connsiteX3" fmla="*/ 0 w 76970"/>
                  <a:gd name="connsiteY3" fmla="*/ 617 h 53518"/>
                  <a:gd name="connsiteX4" fmla="*/ 3791 w 76970"/>
                  <a:gd name="connsiteY4" fmla="*/ 0 h 53518"/>
                  <a:gd name="connsiteX5" fmla="*/ 14283 w 76970"/>
                  <a:gd name="connsiteY5" fmla="*/ 9081 h 53518"/>
                  <a:gd name="connsiteX6" fmla="*/ 20719 w 76970"/>
                  <a:gd name="connsiteY6" fmla="*/ 13490 h 53518"/>
                  <a:gd name="connsiteX7" fmla="*/ 23364 w 76970"/>
                  <a:gd name="connsiteY7" fmla="*/ 13754 h 53518"/>
                  <a:gd name="connsiteX8" fmla="*/ 23893 w 76970"/>
                  <a:gd name="connsiteY8" fmla="*/ 21954 h 53518"/>
                  <a:gd name="connsiteX9" fmla="*/ 26186 w 76970"/>
                  <a:gd name="connsiteY9" fmla="*/ 29272 h 53518"/>
                  <a:gd name="connsiteX10" fmla="*/ 31123 w 76970"/>
                  <a:gd name="connsiteY10" fmla="*/ 31300 h 53518"/>
                  <a:gd name="connsiteX11" fmla="*/ 42144 w 76970"/>
                  <a:gd name="connsiteY11" fmla="*/ 39764 h 53518"/>
                  <a:gd name="connsiteX12" fmla="*/ 44172 w 76970"/>
                  <a:gd name="connsiteY12" fmla="*/ 43291 h 53518"/>
                  <a:gd name="connsiteX13" fmla="*/ 46553 w 76970"/>
                  <a:gd name="connsiteY13" fmla="*/ 45671 h 53518"/>
                  <a:gd name="connsiteX14" fmla="*/ 46288 w 76970"/>
                  <a:gd name="connsiteY14" fmla="*/ 53518 h 53518"/>
                  <a:gd name="connsiteX15" fmla="*/ 43379 w 76970"/>
                  <a:gd name="connsiteY15" fmla="*/ 53518 h 53518"/>
                  <a:gd name="connsiteX16" fmla="*/ 36325 w 76970"/>
                  <a:gd name="connsiteY16" fmla="*/ 48228 h 53518"/>
                  <a:gd name="connsiteX17" fmla="*/ 31652 w 76970"/>
                  <a:gd name="connsiteY17" fmla="*/ 46200 h 53518"/>
                  <a:gd name="connsiteX18" fmla="*/ 28126 w 76970"/>
                  <a:gd name="connsiteY18" fmla="*/ 40998 h 53518"/>
                  <a:gd name="connsiteX19" fmla="*/ 23717 w 76970"/>
                  <a:gd name="connsiteY19" fmla="*/ 38970 h 53518"/>
                  <a:gd name="connsiteX20" fmla="*/ 17634 w 76970"/>
                  <a:gd name="connsiteY20" fmla="*/ 32270 h 53518"/>
                  <a:gd name="connsiteX21" fmla="*/ 16134 w 76970"/>
                  <a:gd name="connsiteY21" fmla="*/ 29977 h 53518"/>
                  <a:gd name="connsiteX22" fmla="*/ 9258 w 76970"/>
                  <a:gd name="connsiteY22" fmla="*/ 25128 h 53518"/>
                  <a:gd name="connsiteX23" fmla="*/ 68419 w 76970"/>
                  <a:gd name="connsiteY23" fmla="*/ 19573 h 53518"/>
                  <a:gd name="connsiteX24" fmla="*/ 64363 w 76970"/>
                  <a:gd name="connsiteY24" fmla="*/ 18427 h 53518"/>
                  <a:gd name="connsiteX25" fmla="*/ 62599 w 76970"/>
                  <a:gd name="connsiteY25" fmla="*/ 17016 h 53518"/>
                  <a:gd name="connsiteX26" fmla="*/ 63128 w 76970"/>
                  <a:gd name="connsiteY26" fmla="*/ 14371 h 53518"/>
                  <a:gd name="connsiteX27" fmla="*/ 68419 w 76970"/>
                  <a:gd name="connsiteY27" fmla="*/ 19573 h 53518"/>
                  <a:gd name="connsiteX28" fmla="*/ 76971 w 76970"/>
                  <a:gd name="connsiteY28" fmla="*/ 28566 h 53518"/>
                  <a:gd name="connsiteX29" fmla="*/ 74326 w 76970"/>
                  <a:gd name="connsiteY29" fmla="*/ 32622 h 53518"/>
                  <a:gd name="connsiteX30" fmla="*/ 74326 w 76970"/>
                  <a:gd name="connsiteY30" fmla="*/ 29977 h 53518"/>
                  <a:gd name="connsiteX31" fmla="*/ 76971 w 76970"/>
                  <a:gd name="connsiteY31" fmla="*/ 28566 h 53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6970" h="53518">
                    <a:moveTo>
                      <a:pt x="9258" y="25128"/>
                    </a:moveTo>
                    <a:lnTo>
                      <a:pt x="1675" y="7318"/>
                    </a:lnTo>
                    <a:lnTo>
                      <a:pt x="2557" y="3527"/>
                    </a:lnTo>
                    <a:lnTo>
                      <a:pt x="0" y="617"/>
                    </a:lnTo>
                    <a:lnTo>
                      <a:pt x="3791" y="0"/>
                    </a:lnTo>
                    <a:lnTo>
                      <a:pt x="14283" y="9081"/>
                    </a:lnTo>
                    <a:lnTo>
                      <a:pt x="20719" y="13490"/>
                    </a:lnTo>
                    <a:lnTo>
                      <a:pt x="23364" y="13754"/>
                    </a:lnTo>
                    <a:lnTo>
                      <a:pt x="23893" y="21954"/>
                    </a:lnTo>
                    <a:lnTo>
                      <a:pt x="26186" y="29272"/>
                    </a:lnTo>
                    <a:lnTo>
                      <a:pt x="31123" y="31300"/>
                    </a:lnTo>
                    <a:lnTo>
                      <a:pt x="42144" y="39764"/>
                    </a:lnTo>
                    <a:lnTo>
                      <a:pt x="44172" y="43291"/>
                    </a:lnTo>
                    <a:lnTo>
                      <a:pt x="46553" y="45671"/>
                    </a:lnTo>
                    <a:lnTo>
                      <a:pt x="46288" y="53518"/>
                    </a:lnTo>
                    <a:lnTo>
                      <a:pt x="43379" y="53518"/>
                    </a:lnTo>
                    <a:lnTo>
                      <a:pt x="36325" y="48228"/>
                    </a:lnTo>
                    <a:lnTo>
                      <a:pt x="31652" y="46200"/>
                    </a:lnTo>
                    <a:lnTo>
                      <a:pt x="28126" y="40998"/>
                    </a:lnTo>
                    <a:lnTo>
                      <a:pt x="23717" y="38970"/>
                    </a:lnTo>
                    <a:lnTo>
                      <a:pt x="17634" y="32270"/>
                    </a:lnTo>
                    <a:lnTo>
                      <a:pt x="16134" y="29977"/>
                    </a:lnTo>
                    <a:lnTo>
                      <a:pt x="9258" y="25128"/>
                    </a:lnTo>
                    <a:close/>
                    <a:moveTo>
                      <a:pt x="68419" y="19573"/>
                    </a:moveTo>
                    <a:lnTo>
                      <a:pt x="64363" y="18427"/>
                    </a:lnTo>
                    <a:lnTo>
                      <a:pt x="62599" y="17016"/>
                    </a:lnTo>
                    <a:lnTo>
                      <a:pt x="63128" y="14371"/>
                    </a:lnTo>
                    <a:lnTo>
                      <a:pt x="68419" y="19573"/>
                    </a:lnTo>
                    <a:close/>
                    <a:moveTo>
                      <a:pt x="76971" y="28566"/>
                    </a:moveTo>
                    <a:lnTo>
                      <a:pt x="74326" y="32622"/>
                    </a:lnTo>
                    <a:lnTo>
                      <a:pt x="74326" y="29977"/>
                    </a:lnTo>
                    <a:lnTo>
                      <a:pt x="76971" y="285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6" name="Freihandform: Form 2035">
                <a:extLst>
                  <a:ext uri="{FF2B5EF4-FFF2-40B4-BE49-F238E27FC236}">
                    <a16:creationId xmlns:a16="http://schemas.microsoft.com/office/drawing/2014/main" id="{F7BE27F4-4F26-624D-03BC-4EFE7C9DA470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7" name="Freihandform: Form 2036">
                <a:extLst>
                  <a:ext uri="{FF2B5EF4-FFF2-40B4-BE49-F238E27FC236}">
                    <a16:creationId xmlns:a16="http://schemas.microsoft.com/office/drawing/2014/main" id="{72AD6559-B8F9-984B-043B-7864D95E58C8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8" name="Freihandform: Form 2037">
                <a:extLst>
                  <a:ext uri="{FF2B5EF4-FFF2-40B4-BE49-F238E27FC236}">
                    <a16:creationId xmlns:a16="http://schemas.microsoft.com/office/drawing/2014/main" id="{A737E831-E938-EA32-973A-EE50B9596FD6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9" name="Freihandform: Form 2038">
                <a:extLst>
                  <a:ext uri="{FF2B5EF4-FFF2-40B4-BE49-F238E27FC236}">
                    <a16:creationId xmlns:a16="http://schemas.microsoft.com/office/drawing/2014/main" id="{356CE078-AE72-F5DF-EE3D-0E020C0FA129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0" name="Freihandform: Form 2039">
                <a:extLst>
                  <a:ext uri="{FF2B5EF4-FFF2-40B4-BE49-F238E27FC236}">
                    <a16:creationId xmlns:a16="http://schemas.microsoft.com/office/drawing/2014/main" id="{8FB64D81-039E-EEAB-4BFA-97607F232D30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1" name="Freihandform: Form 2040">
                <a:extLst>
                  <a:ext uri="{FF2B5EF4-FFF2-40B4-BE49-F238E27FC236}">
                    <a16:creationId xmlns:a16="http://schemas.microsoft.com/office/drawing/2014/main" id="{94444704-577A-5255-2422-26AB101AFBC2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2" name="Freihandform: Form 2041">
                <a:extLst>
                  <a:ext uri="{FF2B5EF4-FFF2-40B4-BE49-F238E27FC236}">
                    <a16:creationId xmlns:a16="http://schemas.microsoft.com/office/drawing/2014/main" id="{3F59E2E5-846E-15A8-7D3F-8F5043D3FF91}"/>
                  </a:ext>
                </a:extLst>
              </p:cNvPr>
              <p:cNvSpPr/>
              <p:nvPr/>
            </p:nvSpPr>
            <p:spPr>
              <a:xfrm>
                <a:off x="6922440" y="4149776"/>
                <a:ext cx="253836" cy="231970"/>
              </a:xfrm>
              <a:custGeom>
                <a:avLst/>
                <a:gdLst>
                  <a:gd name="connsiteX0" fmla="*/ 144155 w 253836"/>
                  <a:gd name="connsiteY0" fmla="*/ 29977 h 231970"/>
                  <a:gd name="connsiteX1" fmla="*/ 142127 w 253836"/>
                  <a:gd name="connsiteY1" fmla="*/ 28478 h 231970"/>
                  <a:gd name="connsiteX2" fmla="*/ 139218 w 253836"/>
                  <a:gd name="connsiteY2" fmla="*/ 29095 h 231970"/>
                  <a:gd name="connsiteX3" fmla="*/ 137719 w 253836"/>
                  <a:gd name="connsiteY3" fmla="*/ 27597 h 231970"/>
                  <a:gd name="connsiteX4" fmla="*/ 136308 w 253836"/>
                  <a:gd name="connsiteY4" fmla="*/ 20631 h 231970"/>
                  <a:gd name="connsiteX5" fmla="*/ 135691 w 253836"/>
                  <a:gd name="connsiteY5" fmla="*/ 20102 h 231970"/>
                  <a:gd name="connsiteX6" fmla="*/ 133928 w 253836"/>
                  <a:gd name="connsiteY6" fmla="*/ 21866 h 231970"/>
                  <a:gd name="connsiteX7" fmla="*/ 128990 w 253836"/>
                  <a:gd name="connsiteY7" fmla="*/ 18692 h 231970"/>
                  <a:gd name="connsiteX8" fmla="*/ 127491 w 253836"/>
                  <a:gd name="connsiteY8" fmla="*/ 16399 h 231970"/>
                  <a:gd name="connsiteX9" fmla="*/ 127756 w 253836"/>
                  <a:gd name="connsiteY9" fmla="*/ 15518 h 231970"/>
                  <a:gd name="connsiteX10" fmla="*/ 129519 w 253836"/>
                  <a:gd name="connsiteY10" fmla="*/ 16135 h 231970"/>
                  <a:gd name="connsiteX11" fmla="*/ 136220 w 253836"/>
                  <a:gd name="connsiteY11" fmla="*/ 18427 h 231970"/>
                  <a:gd name="connsiteX12" fmla="*/ 137631 w 253836"/>
                  <a:gd name="connsiteY12" fmla="*/ 17281 h 231970"/>
                  <a:gd name="connsiteX13" fmla="*/ 139129 w 253836"/>
                  <a:gd name="connsiteY13" fmla="*/ 17810 h 231970"/>
                  <a:gd name="connsiteX14" fmla="*/ 146448 w 253836"/>
                  <a:gd name="connsiteY14" fmla="*/ 26010 h 231970"/>
                  <a:gd name="connsiteX15" fmla="*/ 147329 w 253836"/>
                  <a:gd name="connsiteY15" fmla="*/ 25745 h 231970"/>
                  <a:gd name="connsiteX16" fmla="*/ 149886 w 253836"/>
                  <a:gd name="connsiteY16" fmla="*/ 27244 h 231970"/>
                  <a:gd name="connsiteX17" fmla="*/ 147329 w 253836"/>
                  <a:gd name="connsiteY17" fmla="*/ 29272 h 231970"/>
                  <a:gd name="connsiteX18" fmla="*/ 144155 w 253836"/>
                  <a:gd name="connsiteY18" fmla="*/ 29977 h 231970"/>
                  <a:gd name="connsiteX19" fmla="*/ 253837 w 253836"/>
                  <a:gd name="connsiteY19" fmla="*/ 63217 h 231970"/>
                  <a:gd name="connsiteX20" fmla="*/ 253219 w 253836"/>
                  <a:gd name="connsiteY20" fmla="*/ 80410 h 231970"/>
                  <a:gd name="connsiteX21" fmla="*/ 252338 w 253836"/>
                  <a:gd name="connsiteY21" fmla="*/ 96721 h 231970"/>
                  <a:gd name="connsiteX22" fmla="*/ 251721 w 253836"/>
                  <a:gd name="connsiteY22" fmla="*/ 113296 h 231970"/>
                  <a:gd name="connsiteX23" fmla="*/ 250839 w 253836"/>
                  <a:gd name="connsiteY23" fmla="*/ 129343 h 231970"/>
                  <a:gd name="connsiteX24" fmla="*/ 250222 w 253836"/>
                  <a:gd name="connsiteY24" fmla="*/ 145919 h 231970"/>
                  <a:gd name="connsiteX25" fmla="*/ 249957 w 253836"/>
                  <a:gd name="connsiteY25" fmla="*/ 154383 h 231970"/>
                  <a:gd name="connsiteX26" fmla="*/ 248811 w 253836"/>
                  <a:gd name="connsiteY26" fmla="*/ 155265 h 231970"/>
                  <a:gd name="connsiteX27" fmla="*/ 248547 w 253836"/>
                  <a:gd name="connsiteY27" fmla="*/ 156763 h 231970"/>
                  <a:gd name="connsiteX28" fmla="*/ 247400 w 253836"/>
                  <a:gd name="connsiteY28" fmla="*/ 160555 h 231970"/>
                  <a:gd name="connsiteX29" fmla="*/ 246254 w 253836"/>
                  <a:gd name="connsiteY29" fmla="*/ 161084 h 231970"/>
                  <a:gd name="connsiteX30" fmla="*/ 247136 w 253836"/>
                  <a:gd name="connsiteY30" fmla="*/ 166903 h 231970"/>
                  <a:gd name="connsiteX31" fmla="*/ 249428 w 253836"/>
                  <a:gd name="connsiteY31" fmla="*/ 168049 h 231970"/>
                  <a:gd name="connsiteX32" fmla="*/ 248282 w 253836"/>
                  <a:gd name="connsiteY32" fmla="*/ 186124 h 231970"/>
                  <a:gd name="connsiteX33" fmla="*/ 246254 w 253836"/>
                  <a:gd name="connsiteY33" fmla="*/ 204815 h 231970"/>
                  <a:gd name="connsiteX34" fmla="*/ 245373 w 253836"/>
                  <a:gd name="connsiteY34" fmla="*/ 217952 h 231970"/>
                  <a:gd name="connsiteX35" fmla="*/ 245108 w 253836"/>
                  <a:gd name="connsiteY35" fmla="*/ 222625 h 231970"/>
                  <a:gd name="connsiteX36" fmla="*/ 242198 w 253836"/>
                  <a:gd name="connsiteY36" fmla="*/ 231971 h 231970"/>
                  <a:gd name="connsiteX37" fmla="*/ 239024 w 253836"/>
                  <a:gd name="connsiteY37" fmla="*/ 231089 h 231970"/>
                  <a:gd name="connsiteX38" fmla="*/ 235233 w 253836"/>
                  <a:gd name="connsiteY38" fmla="*/ 229943 h 231970"/>
                  <a:gd name="connsiteX39" fmla="*/ 232852 w 253836"/>
                  <a:gd name="connsiteY39" fmla="*/ 226769 h 231970"/>
                  <a:gd name="connsiteX40" fmla="*/ 232852 w 253836"/>
                  <a:gd name="connsiteY40" fmla="*/ 223860 h 231970"/>
                  <a:gd name="connsiteX41" fmla="*/ 229326 w 253836"/>
                  <a:gd name="connsiteY41" fmla="*/ 225006 h 231970"/>
                  <a:gd name="connsiteX42" fmla="*/ 227563 w 253836"/>
                  <a:gd name="connsiteY42" fmla="*/ 220950 h 231970"/>
                  <a:gd name="connsiteX43" fmla="*/ 227298 w 253836"/>
                  <a:gd name="connsiteY43" fmla="*/ 217776 h 231970"/>
                  <a:gd name="connsiteX44" fmla="*/ 226416 w 253836"/>
                  <a:gd name="connsiteY44" fmla="*/ 215748 h 231970"/>
                  <a:gd name="connsiteX45" fmla="*/ 223507 w 253836"/>
                  <a:gd name="connsiteY45" fmla="*/ 216630 h 231970"/>
                  <a:gd name="connsiteX46" fmla="*/ 221479 w 253836"/>
                  <a:gd name="connsiteY46" fmla="*/ 214337 h 231970"/>
                  <a:gd name="connsiteX47" fmla="*/ 221214 w 253836"/>
                  <a:gd name="connsiteY47" fmla="*/ 211692 h 231970"/>
                  <a:gd name="connsiteX48" fmla="*/ 218657 w 253836"/>
                  <a:gd name="connsiteY48" fmla="*/ 211692 h 231970"/>
                  <a:gd name="connsiteX49" fmla="*/ 216013 w 253836"/>
                  <a:gd name="connsiteY49" fmla="*/ 208783 h 231970"/>
                  <a:gd name="connsiteX50" fmla="*/ 213368 w 253836"/>
                  <a:gd name="connsiteY50" fmla="*/ 205344 h 231970"/>
                  <a:gd name="connsiteX51" fmla="*/ 212221 w 253836"/>
                  <a:gd name="connsiteY51" fmla="*/ 204110 h 231970"/>
                  <a:gd name="connsiteX52" fmla="*/ 208783 w 253836"/>
                  <a:gd name="connsiteY52" fmla="*/ 202347 h 231970"/>
                  <a:gd name="connsiteX53" fmla="*/ 207019 w 253836"/>
                  <a:gd name="connsiteY53" fmla="*/ 200319 h 231970"/>
                  <a:gd name="connsiteX54" fmla="*/ 204109 w 253836"/>
                  <a:gd name="connsiteY54" fmla="*/ 197762 h 231970"/>
                  <a:gd name="connsiteX55" fmla="*/ 200054 w 253836"/>
                  <a:gd name="connsiteY55" fmla="*/ 196880 h 231970"/>
                  <a:gd name="connsiteX56" fmla="*/ 197409 w 253836"/>
                  <a:gd name="connsiteY56" fmla="*/ 198908 h 231970"/>
                  <a:gd name="connsiteX57" fmla="*/ 196263 w 253836"/>
                  <a:gd name="connsiteY57" fmla="*/ 200054 h 231970"/>
                  <a:gd name="connsiteX58" fmla="*/ 192736 w 253836"/>
                  <a:gd name="connsiteY58" fmla="*/ 201553 h 231970"/>
                  <a:gd name="connsiteX59" fmla="*/ 193088 w 253836"/>
                  <a:gd name="connsiteY59" fmla="*/ 199525 h 231970"/>
                  <a:gd name="connsiteX60" fmla="*/ 193088 w 253836"/>
                  <a:gd name="connsiteY60" fmla="*/ 195998 h 231970"/>
                  <a:gd name="connsiteX61" fmla="*/ 198291 w 253836"/>
                  <a:gd name="connsiteY61" fmla="*/ 195117 h 231970"/>
                  <a:gd name="connsiteX62" fmla="*/ 194499 w 253836"/>
                  <a:gd name="connsiteY62" fmla="*/ 193970 h 231970"/>
                  <a:gd name="connsiteX63" fmla="*/ 195646 w 253836"/>
                  <a:gd name="connsiteY63" fmla="*/ 190532 h 231970"/>
                  <a:gd name="connsiteX64" fmla="*/ 192119 w 253836"/>
                  <a:gd name="connsiteY64" fmla="*/ 186741 h 231970"/>
                  <a:gd name="connsiteX65" fmla="*/ 190972 w 253836"/>
                  <a:gd name="connsiteY65" fmla="*/ 184360 h 231970"/>
                  <a:gd name="connsiteX66" fmla="*/ 190091 w 253836"/>
                  <a:gd name="connsiteY66" fmla="*/ 184096 h 231970"/>
                  <a:gd name="connsiteX67" fmla="*/ 189474 w 253836"/>
                  <a:gd name="connsiteY67" fmla="*/ 181803 h 231970"/>
                  <a:gd name="connsiteX68" fmla="*/ 188592 w 253836"/>
                  <a:gd name="connsiteY68" fmla="*/ 179158 h 231970"/>
                  <a:gd name="connsiteX69" fmla="*/ 187710 w 253836"/>
                  <a:gd name="connsiteY69" fmla="*/ 177130 h 231970"/>
                  <a:gd name="connsiteX70" fmla="*/ 188592 w 253836"/>
                  <a:gd name="connsiteY70" fmla="*/ 174838 h 231970"/>
                  <a:gd name="connsiteX71" fmla="*/ 185683 w 253836"/>
                  <a:gd name="connsiteY71" fmla="*/ 175984 h 231970"/>
                  <a:gd name="connsiteX72" fmla="*/ 184536 w 253836"/>
                  <a:gd name="connsiteY72" fmla="*/ 174485 h 231970"/>
                  <a:gd name="connsiteX73" fmla="*/ 183655 w 253836"/>
                  <a:gd name="connsiteY73" fmla="*/ 173604 h 231970"/>
                  <a:gd name="connsiteX74" fmla="*/ 184272 w 253836"/>
                  <a:gd name="connsiteY74" fmla="*/ 172193 h 231970"/>
                  <a:gd name="connsiteX75" fmla="*/ 185154 w 253836"/>
                  <a:gd name="connsiteY75" fmla="*/ 170694 h 231970"/>
                  <a:gd name="connsiteX76" fmla="*/ 185154 w 253836"/>
                  <a:gd name="connsiteY76" fmla="*/ 169548 h 231970"/>
                  <a:gd name="connsiteX77" fmla="*/ 185506 w 253836"/>
                  <a:gd name="connsiteY77" fmla="*/ 168049 h 231970"/>
                  <a:gd name="connsiteX78" fmla="*/ 186388 w 253836"/>
                  <a:gd name="connsiteY78" fmla="*/ 166286 h 231970"/>
                  <a:gd name="connsiteX79" fmla="*/ 186123 w 253836"/>
                  <a:gd name="connsiteY79" fmla="*/ 164875 h 231970"/>
                  <a:gd name="connsiteX80" fmla="*/ 184713 w 253836"/>
                  <a:gd name="connsiteY80" fmla="*/ 163112 h 231970"/>
                  <a:gd name="connsiteX81" fmla="*/ 183831 w 253836"/>
                  <a:gd name="connsiteY81" fmla="*/ 161613 h 231970"/>
                  <a:gd name="connsiteX82" fmla="*/ 185242 w 253836"/>
                  <a:gd name="connsiteY82" fmla="*/ 160202 h 231970"/>
                  <a:gd name="connsiteX83" fmla="*/ 184713 w 253836"/>
                  <a:gd name="connsiteY83" fmla="*/ 159320 h 231970"/>
                  <a:gd name="connsiteX84" fmla="*/ 183302 w 253836"/>
                  <a:gd name="connsiteY84" fmla="*/ 159585 h 231970"/>
                  <a:gd name="connsiteX85" fmla="*/ 181803 w 253836"/>
                  <a:gd name="connsiteY85" fmla="*/ 157557 h 231970"/>
                  <a:gd name="connsiteX86" fmla="*/ 180657 w 253836"/>
                  <a:gd name="connsiteY86" fmla="*/ 152267 h 231970"/>
                  <a:gd name="connsiteX87" fmla="*/ 180657 w 253836"/>
                  <a:gd name="connsiteY87" fmla="*/ 154912 h 231970"/>
                  <a:gd name="connsiteX88" fmla="*/ 179775 w 253836"/>
                  <a:gd name="connsiteY88" fmla="*/ 155794 h 231970"/>
                  <a:gd name="connsiteX89" fmla="*/ 178629 w 253836"/>
                  <a:gd name="connsiteY89" fmla="*/ 155794 h 231970"/>
                  <a:gd name="connsiteX90" fmla="*/ 179511 w 253836"/>
                  <a:gd name="connsiteY90" fmla="*/ 153766 h 231970"/>
                  <a:gd name="connsiteX91" fmla="*/ 180657 w 253836"/>
                  <a:gd name="connsiteY91" fmla="*/ 150503 h 231970"/>
                  <a:gd name="connsiteX92" fmla="*/ 181538 w 253836"/>
                  <a:gd name="connsiteY92" fmla="*/ 148211 h 231970"/>
                  <a:gd name="connsiteX93" fmla="*/ 179775 w 253836"/>
                  <a:gd name="connsiteY93" fmla="*/ 146800 h 231970"/>
                  <a:gd name="connsiteX94" fmla="*/ 178012 w 253836"/>
                  <a:gd name="connsiteY94" fmla="*/ 146800 h 231970"/>
                  <a:gd name="connsiteX95" fmla="*/ 178012 w 253836"/>
                  <a:gd name="connsiteY95" fmla="*/ 145919 h 231970"/>
                  <a:gd name="connsiteX96" fmla="*/ 178012 w 253836"/>
                  <a:gd name="connsiteY96" fmla="*/ 144155 h 231970"/>
                  <a:gd name="connsiteX97" fmla="*/ 178012 w 253836"/>
                  <a:gd name="connsiteY97" fmla="*/ 143009 h 231970"/>
                  <a:gd name="connsiteX98" fmla="*/ 176866 w 253836"/>
                  <a:gd name="connsiteY98" fmla="*/ 140981 h 231970"/>
                  <a:gd name="connsiteX99" fmla="*/ 175455 w 253836"/>
                  <a:gd name="connsiteY99" fmla="*/ 140717 h 231970"/>
                  <a:gd name="connsiteX100" fmla="*/ 174573 w 253836"/>
                  <a:gd name="connsiteY100" fmla="*/ 140717 h 231970"/>
                  <a:gd name="connsiteX101" fmla="*/ 173427 w 253836"/>
                  <a:gd name="connsiteY101" fmla="*/ 138072 h 231970"/>
                  <a:gd name="connsiteX102" fmla="*/ 173427 w 253836"/>
                  <a:gd name="connsiteY102" fmla="*/ 135427 h 231970"/>
                  <a:gd name="connsiteX103" fmla="*/ 170782 w 253836"/>
                  <a:gd name="connsiteY103" fmla="*/ 133399 h 231970"/>
                  <a:gd name="connsiteX104" fmla="*/ 169283 w 253836"/>
                  <a:gd name="connsiteY104" fmla="*/ 132517 h 231970"/>
                  <a:gd name="connsiteX105" fmla="*/ 168401 w 253836"/>
                  <a:gd name="connsiteY105" fmla="*/ 130754 h 231970"/>
                  <a:gd name="connsiteX106" fmla="*/ 166638 w 253836"/>
                  <a:gd name="connsiteY106" fmla="*/ 128990 h 231970"/>
                  <a:gd name="connsiteX107" fmla="*/ 165227 w 253836"/>
                  <a:gd name="connsiteY107" fmla="*/ 129255 h 231970"/>
                  <a:gd name="connsiteX108" fmla="*/ 161701 w 253836"/>
                  <a:gd name="connsiteY108" fmla="*/ 126962 h 231970"/>
                  <a:gd name="connsiteX109" fmla="*/ 158791 w 253836"/>
                  <a:gd name="connsiteY109" fmla="*/ 124670 h 231970"/>
                  <a:gd name="connsiteX110" fmla="*/ 155000 w 253836"/>
                  <a:gd name="connsiteY110" fmla="*/ 123171 h 231970"/>
                  <a:gd name="connsiteX111" fmla="*/ 152972 w 253836"/>
                  <a:gd name="connsiteY111" fmla="*/ 123436 h 231970"/>
                  <a:gd name="connsiteX112" fmla="*/ 150944 w 253836"/>
                  <a:gd name="connsiteY112" fmla="*/ 122554 h 231970"/>
                  <a:gd name="connsiteX113" fmla="*/ 148035 w 253836"/>
                  <a:gd name="connsiteY113" fmla="*/ 122202 h 231970"/>
                  <a:gd name="connsiteX114" fmla="*/ 147153 w 253836"/>
                  <a:gd name="connsiteY114" fmla="*/ 119556 h 231970"/>
                  <a:gd name="connsiteX115" fmla="*/ 147770 w 253836"/>
                  <a:gd name="connsiteY115" fmla="*/ 117264 h 231970"/>
                  <a:gd name="connsiteX116" fmla="*/ 143979 w 253836"/>
                  <a:gd name="connsiteY116" fmla="*/ 116382 h 231970"/>
                  <a:gd name="connsiteX117" fmla="*/ 141951 w 253836"/>
                  <a:gd name="connsiteY117" fmla="*/ 114619 h 231970"/>
                  <a:gd name="connsiteX118" fmla="*/ 137895 w 253836"/>
                  <a:gd name="connsiteY118" fmla="*/ 114002 h 231970"/>
                  <a:gd name="connsiteX119" fmla="*/ 135867 w 253836"/>
                  <a:gd name="connsiteY119" fmla="*/ 114266 h 231970"/>
                  <a:gd name="connsiteX120" fmla="*/ 134104 w 253836"/>
                  <a:gd name="connsiteY120" fmla="*/ 113120 h 231970"/>
                  <a:gd name="connsiteX121" fmla="*/ 128285 w 253836"/>
                  <a:gd name="connsiteY121" fmla="*/ 112855 h 231970"/>
                  <a:gd name="connsiteX122" fmla="*/ 125992 w 253836"/>
                  <a:gd name="connsiteY122" fmla="*/ 111974 h 231970"/>
                  <a:gd name="connsiteX123" fmla="*/ 122201 w 253836"/>
                  <a:gd name="connsiteY123" fmla="*/ 107918 h 231970"/>
                  <a:gd name="connsiteX124" fmla="*/ 116382 w 253836"/>
                  <a:gd name="connsiteY124" fmla="*/ 109064 h 231970"/>
                  <a:gd name="connsiteX125" fmla="*/ 114354 w 253836"/>
                  <a:gd name="connsiteY125" fmla="*/ 108447 h 231970"/>
                  <a:gd name="connsiteX126" fmla="*/ 112855 w 253836"/>
                  <a:gd name="connsiteY126" fmla="*/ 107037 h 231970"/>
                  <a:gd name="connsiteX127" fmla="*/ 112591 w 253836"/>
                  <a:gd name="connsiteY127" fmla="*/ 103862 h 231970"/>
                  <a:gd name="connsiteX128" fmla="*/ 107918 w 253836"/>
                  <a:gd name="connsiteY128" fmla="*/ 103862 h 231970"/>
                  <a:gd name="connsiteX129" fmla="*/ 107037 w 253836"/>
                  <a:gd name="connsiteY129" fmla="*/ 101217 h 231970"/>
                  <a:gd name="connsiteX130" fmla="*/ 103862 w 253836"/>
                  <a:gd name="connsiteY130" fmla="*/ 100336 h 231970"/>
                  <a:gd name="connsiteX131" fmla="*/ 101570 w 253836"/>
                  <a:gd name="connsiteY131" fmla="*/ 99189 h 231970"/>
                  <a:gd name="connsiteX132" fmla="*/ 101041 w 253836"/>
                  <a:gd name="connsiteY132" fmla="*/ 97690 h 231970"/>
                  <a:gd name="connsiteX133" fmla="*/ 97249 w 253836"/>
                  <a:gd name="connsiteY133" fmla="*/ 97426 h 231970"/>
                  <a:gd name="connsiteX134" fmla="*/ 95487 w 253836"/>
                  <a:gd name="connsiteY134" fmla="*/ 97426 h 231970"/>
                  <a:gd name="connsiteX135" fmla="*/ 94340 w 253836"/>
                  <a:gd name="connsiteY135" fmla="*/ 97426 h 231970"/>
                  <a:gd name="connsiteX136" fmla="*/ 94340 w 253836"/>
                  <a:gd name="connsiteY136" fmla="*/ 95663 h 231970"/>
                  <a:gd name="connsiteX137" fmla="*/ 92312 w 253836"/>
                  <a:gd name="connsiteY137" fmla="*/ 93635 h 231970"/>
                  <a:gd name="connsiteX138" fmla="*/ 93723 w 253836"/>
                  <a:gd name="connsiteY138" fmla="*/ 93018 h 231970"/>
                  <a:gd name="connsiteX139" fmla="*/ 90196 w 253836"/>
                  <a:gd name="connsiteY139" fmla="*/ 91519 h 231970"/>
                  <a:gd name="connsiteX140" fmla="*/ 91078 w 253836"/>
                  <a:gd name="connsiteY140" fmla="*/ 89755 h 231970"/>
                  <a:gd name="connsiteX141" fmla="*/ 91342 w 253836"/>
                  <a:gd name="connsiteY141" fmla="*/ 88257 h 231970"/>
                  <a:gd name="connsiteX142" fmla="*/ 89932 w 253836"/>
                  <a:gd name="connsiteY142" fmla="*/ 85347 h 231970"/>
                  <a:gd name="connsiteX143" fmla="*/ 89932 w 253836"/>
                  <a:gd name="connsiteY143" fmla="*/ 84730 h 231970"/>
                  <a:gd name="connsiteX144" fmla="*/ 91078 w 253836"/>
                  <a:gd name="connsiteY144" fmla="*/ 83584 h 231970"/>
                  <a:gd name="connsiteX145" fmla="*/ 91342 w 253836"/>
                  <a:gd name="connsiteY145" fmla="*/ 78029 h 231970"/>
                  <a:gd name="connsiteX146" fmla="*/ 92753 w 253836"/>
                  <a:gd name="connsiteY146" fmla="*/ 78029 h 231970"/>
                  <a:gd name="connsiteX147" fmla="*/ 94516 w 253836"/>
                  <a:gd name="connsiteY147" fmla="*/ 75384 h 231970"/>
                  <a:gd name="connsiteX148" fmla="*/ 96015 w 253836"/>
                  <a:gd name="connsiteY148" fmla="*/ 76530 h 231970"/>
                  <a:gd name="connsiteX149" fmla="*/ 95751 w 253836"/>
                  <a:gd name="connsiteY149" fmla="*/ 75384 h 231970"/>
                  <a:gd name="connsiteX150" fmla="*/ 94605 w 253836"/>
                  <a:gd name="connsiteY150" fmla="*/ 74502 h 231970"/>
                  <a:gd name="connsiteX151" fmla="*/ 95222 w 253836"/>
                  <a:gd name="connsiteY151" fmla="*/ 72210 h 231970"/>
                  <a:gd name="connsiteX152" fmla="*/ 94076 w 253836"/>
                  <a:gd name="connsiteY152" fmla="*/ 71328 h 231970"/>
                  <a:gd name="connsiteX153" fmla="*/ 93458 w 253836"/>
                  <a:gd name="connsiteY153" fmla="*/ 73973 h 231970"/>
                  <a:gd name="connsiteX154" fmla="*/ 91960 w 253836"/>
                  <a:gd name="connsiteY154" fmla="*/ 74590 h 231970"/>
                  <a:gd name="connsiteX155" fmla="*/ 90196 w 253836"/>
                  <a:gd name="connsiteY155" fmla="*/ 76618 h 231970"/>
                  <a:gd name="connsiteX156" fmla="*/ 90196 w 253836"/>
                  <a:gd name="connsiteY156" fmla="*/ 82437 h 231970"/>
                  <a:gd name="connsiteX157" fmla="*/ 89932 w 253836"/>
                  <a:gd name="connsiteY157" fmla="*/ 83584 h 231970"/>
                  <a:gd name="connsiteX158" fmla="*/ 88168 w 253836"/>
                  <a:gd name="connsiteY158" fmla="*/ 84201 h 231970"/>
                  <a:gd name="connsiteX159" fmla="*/ 87022 w 253836"/>
                  <a:gd name="connsiteY159" fmla="*/ 82702 h 231970"/>
                  <a:gd name="connsiteX160" fmla="*/ 86405 w 253836"/>
                  <a:gd name="connsiteY160" fmla="*/ 84201 h 231970"/>
                  <a:gd name="connsiteX161" fmla="*/ 88168 w 253836"/>
                  <a:gd name="connsiteY161" fmla="*/ 84818 h 231970"/>
                  <a:gd name="connsiteX162" fmla="*/ 88697 w 253836"/>
                  <a:gd name="connsiteY162" fmla="*/ 86581 h 231970"/>
                  <a:gd name="connsiteX163" fmla="*/ 88433 w 253836"/>
                  <a:gd name="connsiteY163" fmla="*/ 87728 h 231970"/>
                  <a:gd name="connsiteX164" fmla="*/ 84906 w 253836"/>
                  <a:gd name="connsiteY164" fmla="*/ 90902 h 231970"/>
                  <a:gd name="connsiteX165" fmla="*/ 84641 w 253836"/>
                  <a:gd name="connsiteY165" fmla="*/ 92665 h 231970"/>
                  <a:gd name="connsiteX166" fmla="*/ 85788 w 253836"/>
                  <a:gd name="connsiteY166" fmla="*/ 94428 h 231970"/>
                  <a:gd name="connsiteX167" fmla="*/ 75560 w 253836"/>
                  <a:gd name="connsiteY167" fmla="*/ 95927 h 231970"/>
                  <a:gd name="connsiteX168" fmla="*/ 75560 w 253836"/>
                  <a:gd name="connsiteY168" fmla="*/ 100865 h 231970"/>
                  <a:gd name="connsiteX169" fmla="*/ 73797 w 253836"/>
                  <a:gd name="connsiteY169" fmla="*/ 100247 h 231970"/>
                  <a:gd name="connsiteX170" fmla="*/ 71416 w 253836"/>
                  <a:gd name="connsiteY170" fmla="*/ 98484 h 231970"/>
                  <a:gd name="connsiteX171" fmla="*/ 67625 w 253836"/>
                  <a:gd name="connsiteY171" fmla="*/ 98749 h 231970"/>
                  <a:gd name="connsiteX172" fmla="*/ 65333 w 253836"/>
                  <a:gd name="connsiteY172" fmla="*/ 95574 h 231970"/>
                  <a:gd name="connsiteX173" fmla="*/ 66215 w 253836"/>
                  <a:gd name="connsiteY173" fmla="*/ 91783 h 231970"/>
                  <a:gd name="connsiteX174" fmla="*/ 69741 w 253836"/>
                  <a:gd name="connsiteY174" fmla="*/ 89755 h 231970"/>
                  <a:gd name="connsiteX175" fmla="*/ 70006 w 253836"/>
                  <a:gd name="connsiteY175" fmla="*/ 88874 h 231970"/>
                  <a:gd name="connsiteX176" fmla="*/ 72915 w 253836"/>
                  <a:gd name="connsiteY176" fmla="*/ 89491 h 231970"/>
                  <a:gd name="connsiteX177" fmla="*/ 72033 w 253836"/>
                  <a:gd name="connsiteY177" fmla="*/ 87463 h 231970"/>
                  <a:gd name="connsiteX178" fmla="*/ 70535 w 253836"/>
                  <a:gd name="connsiteY178" fmla="*/ 85700 h 231970"/>
                  <a:gd name="connsiteX179" fmla="*/ 70270 w 253836"/>
                  <a:gd name="connsiteY179" fmla="*/ 83672 h 231970"/>
                  <a:gd name="connsiteX180" fmla="*/ 71681 w 253836"/>
                  <a:gd name="connsiteY180" fmla="*/ 81027 h 231970"/>
                  <a:gd name="connsiteX181" fmla="*/ 71152 w 253836"/>
                  <a:gd name="connsiteY181" fmla="*/ 80145 h 231970"/>
                  <a:gd name="connsiteX182" fmla="*/ 70006 w 253836"/>
                  <a:gd name="connsiteY182" fmla="*/ 80498 h 231970"/>
                  <a:gd name="connsiteX183" fmla="*/ 70006 w 253836"/>
                  <a:gd name="connsiteY183" fmla="*/ 81644 h 231970"/>
                  <a:gd name="connsiteX184" fmla="*/ 69388 w 253836"/>
                  <a:gd name="connsiteY184" fmla="*/ 81909 h 231970"/>
                  <a:gd name="connsiteX185" fmla="*/ 65862 w 253836"/>
                  <a:gd name="connsiteY185" fmla="*/ 85435 h 231970"/>
                  <a:gd name="connsiteX186" fmla="*/ 64099 w 253836"/>
                  <a:gd name="connsiteY186" fmla="*/ 82173 h 231970"/>
                  <a:gd name="connsiteX187" fmla="*/ 61189 w 253836"/>
                  <a:gd name="connsiteY187" fmla="*/ 81027 h 231970"/>
                  <a:gd name="connsiteX188" fmla="*/ 59690 w 253836"/>
                  <a:gd name="connsiteY188" fmla="*/ 76354 h 231970"/>
                  <a:gd name="connsiteX189" fmla="*/ 58191 w 253836"/>
                  <a:gd name="connsiteY189" fmla="*/ 71416 h 231970"/>
                  <a:gd name="connsiteX190" fmla="*/ 55811 w 253836"/>
                  <a:gd name="connsiteY190" fmla="*/ 72563 h 231970"/>
                  <a:gd name="connsiteX191" fmla="*/ 51138 w 253836"/>
                  <a:gd name="connsiteY191" fmla="*/ 70535 h 231970"/>
                  <a:gd name="connsiteX192" fmla="*/ 49991 w 253836"/>
                  <a:gd name="connsiteY192" fmla="*/ 68507 h 231970"/>
                  <a:gd name="connsiteX193" fmla="*/ 50256 w 253836"/>
                  <a:gd name="connsiteY193" fmla="*/ 66126 h 231970"/>
                  <a:gd name="connsiteX194" fmla="*/ 52019 w 253836"/>
                  <a:gd name="connsiteY194" fmla="*/ 67273 h 231970"/>
                  <a:gd name="connsiteX195" fmla="*/ 52901 w 253836"/>
                  <a:gd name="connsiteY195" fmla="*/ 68154 h 231970"/>
                  <a:gd name="connsiteX196" fmla="*/ 53782 w 253836"/>
                  <a:gd name="connsiteY196" fmla="*/ 67537 h 231970"/>
                  <a:gd name="connsiteX197" fmla="*/ 56692 w 253836"/>
                  <a:gd name="connsiteY197" fmla="*/ 66391 h 231970"/>
                  <a:gd name="connsiteX198" fmla="*/ 56163 w 253836"/>
                  <a:gd name="connsiteY198" fmla="*/ 66391 h 231970"/>
                  <a:gd name="connsiteX199" fmla="*/ 58191 w 253836"/>
                  <a:gd name="connsiteY199" fmla="*/ 65509 h 231970"/>
                  <a:gd name="connsiteX200" fmla="*/ 63128 w 253836"/>
                  <a:gd name="connsiteY200" fmla="*/ 66126 h 231970"/>
                  <a:gd name="connsiteX201" fmla="*/ 63128 w 253836"/>
                  <a:gd name="connsiteY201" fmla="*/ 67273 h 231970"/>
                  <a:gd name="connsiteX202" fmla="*/ 66038 w 253836"/>
                  <a:gd name="connsiteY202" fmla="*/ 66391 h 231970"/>
                  <a:gd name="connsiteX203" fmla="*/ 69212 w 253836"/>
                  <a:gd name="connsiteY203" fmla="*/ 68771 h 231970"/>
                  <a:gd name="connsiteX204" fmla="*/ 70975 w 253836"/>
                  <a:gd name="connsiteY204" fmla="*/ 67890 h 231970"/>
                  <a:gd name="connsiteX205" fmla="*/ 69829 w 253836"/>
                  <a:gd name="connsiteY205" fmla="*/ 65862 h 231970"/>
                  <a:gd name="connsiteX206" fmla="*/ 70446 w 253836"/>
                  <a:gd name="connsiteY206" fmla="*/ 64098 h 231970"/>
                  <a:gd name="connsiteX207" fmla="*/ 72210 w 253836"/>
                  <a:gd name="connsiteY207" fmla="*/ 61453 h 231970"/>
                  <a:gd name="connsiteX208" fmla="*/ 74502 w 253836"/>
                  <a:gd name="connsiteY208" fmla="*/ 59690 h 231970"/>
                  <a:gd name="connsiteX209" fmla="*/ 78558 w 253836"/>
                  <a:gd name="connsiteY209" fmla="*/ 59690 h 231970"/>
                  <a:gd name="connsiteX210" fmla="*/ 80939 w 253836"/>
                  <a:gd name="connsiteY210" fmla="*/ 59073 h 231970"/>
                  <a:gd name="connsiteX211" fmla="*/ 82349 w 253836"/>
                  <a:gd name="connsiteY211" fmla="*/ 59690 h 231970"/>
                  <a:gd name="connsiteX212" fmla="*/ 84112 w 253836"/>
                  <a:gd name="connsiteY212" fmla="*/ 61718 h 231970"/>
                  <a:gd name="connsiteX213" fmla="*/ 84377 w 253836"/>
                  <a:gd name="connsiteY213" fmla="*/ 64627 h 231970"/>
                  <a:gd name="connsiteX214" fmla="*/ 84994 w 253836"/>
                  <a:gd name="connsiteY214" fmla="*/ 61101 h 231970"/>
                  <a:gd name="connsiteX215" fmla="*/ 85611 w 253836"/>
                  <a:gd name="connsiteY215" fmla="*/ 61101 h 231970"/>
                  <a:gd name="connsiteX216" fmla="*/ 85611 w 253836"/>
                  <a:gd name="connsiteY216" fmla="*/ 64627 h 231970"/>
                  <a:gd name="connsiteX217" fmla="*/ 85876 w 253836"/>
                  <a:gd name="connsiteY217" fmla="*/ 62864 h 231970"/>
                  <a:gd name="connsiteX218" fmla="*/ 85876 w 253836"/>
                  <a:gd name="connsiteY218" fmla="*/ 61718 h 231970"/>
                  <a:gd name="connsiteX219" fmla="*/ 87022 w 253836"/>
                  <a:gd name="connsiteY219" fmla="*/ 63217 h 231970"/>
                  <a:gd name="connsiteX220" fmla="*/ 89403 w 253836"/>
                  <a:gd name="connsiteY220" fmla="*/ 62335 h 231970"/>
                  <a:gd name="connsiteX221" fmla="*/ 90549 w 253836"/>
                  <a:gd name="connsiteY221" fmla="*/ 62952 h 231970"/>
                  <a:gd name="connsiteX222" fmla="*/ 90549 w 253836"/>
                  <a:gd name="connsiteY222" fmla="*/ 66479 h 231970"/>
                  <a:gd name="connsiteX223" fmla="*/ 91166 w 253836"/>
                  <a:gd name="connsiteY223" fmla="*/ 61542 h 231970"/>
                  <a:gd name="connsiteX224" fmla="*/ 91783 w 253836"/>
                  <a:gd name="connsiteY224" fmla="*/ 61542 h 231970"/>
                  <a:gd name="connsiteX225" fmla="*/ 93282 w 253836"/>
                  <a:gd name="connsiteY225" fmla="*/ 65068 h 231970"/>
                  <a:gd name="connsiteX226" fmla="*/ 93547 w 253836"/>
                  <a:gd name="connsiteY226" fmla="*/ 64187 h 231970"/>
                  <a:gd name="connsiteX227" fmla="*/ 93547 w 253836"/>
                  <a:gd name="connsiteY227" fmla="*/ 60660 h 231970"/>
                  <a:gd name="connsiteX228" fmla="*/ 92136 w 253836"/>
                  <a:gd name="connsiteY228" fmla="*/ 60395 h 231970"/>
                  <a:gd name="connsiteX229" fmla="*/ 92400 w 253836"/>
                  <a:gd name="connsiteY229" fmla="*/ 59514 h 231970"/>
                  <a:gd name="connsiteX230" fmla="*/ 95662 w 253836"/>
                  <a:gd name="connsiteY230" fmla="*/ 60660 h 231970"/>
                  <a:gd name="connsiteX231" fmla="*/ 94516 w 253836"/>
                  <a:gd name="connsiteY231" fmla="*/ 59161 h 231970"/>
                  <a:gd name="connsiteX232" fmla="*/ 97778 w 253836"/>
                  <a:gd name="connsiteY232" fmla="*/ 58896 h 231970"/>
                  <a:gd name="connsiteX233" fmla="*/ 96632 w 253836"/>
                  <a:gd name="connsiteY233" fmla="*/ 58632 h 231970"/>
                  <a:gd name="connsiteX234" fmla="*/ 95487 w 253836"/>
                  <a:gd name="connsiteY234" fmla="*/ 58367 h 231970"/>
                  <a:gd name="connsiteX235" fmla="*/ 96897 w 253836"/>
                  <a:gd name="connsiteY235" fmla="*/ 57221 h 231970"/>
                  <a:gd name="connsiteX236" fmla="*/ 94869 w 253836"/>
                  <a:gd name="connsiteY236" fmla="*/ 57221 h 231970"/>
                  <a:gd name="connsiteX237" fmla="*/ 96368 w 253836"/>
                  <a:gd name="connsiteY237" fmla="*/ 56604 h 231970"/>
                  <a:gd name="connsiteX238" fmla="*/ 96985 w 253836"/>
                  <a:gd name="connsiteY238" fmla="*/ 54576 h 231970"/>
                  <a:gd name="connsiteX239" fmla="*/ 96720 w 253836"/>
                  <a:gd name="connsiteY239" fmla="*/ 54841 h 231970"/>
                  <a:gd name="connsiteX240" fmla="*/ 96456 w 253836"/>
                  <a:gd name="connsiteY240" fmla="*/ 55722 h 231970"/>
                  <a:gd name="connsiteX241" fmla="*/ 94164 w 253836"/>
                  <a:gd name="connsiteY241" fmla="*/ 56340 h 231970"/>
                  <a:gd name="connsiteX242" fmla="*/ 93282 w 253836"/>
                  <a:gd name="connsiteY242" fmla="*/ 55458 h 231970"/>
                  <a:gd name="connsiteX243" fmla="*/ 95310 w 253836"/>
                  <a:gd name="connsiteY243" fmla="*/ 53695 h 231970"/>
                  <a:gd name="connsiteX244" fmla="*/ 96456 w 253836"/>
                  <a:gd name="connsiteY244" fmla="*/ 52284 h 231970"/>
                  <a:gd name="connsiteX245" fmla="*/ 94958 w 253836"/>
                  <a:gd name="connsiteY245" fmla="*/ 51667 h 231970"/>
                  <a:gd name="connsiteX246" fmla="*/ 89138 w 253836"/>
                  <a:gd name="connsiteY246" fmla="*/ 54841 h 231970"/>
                  <a:gd name="connsiteX247" fmla="*/ 85082 w 253836"/>
                  <a:gd name="connsiteY247" fmla="*/ 53342 h 231970"/>
                  <a:gd name="connsiteX248" fmla="*/ 81291 w 253836"/>
                  <a:gd name="connsiteY248" fmla="*/ 54488 h 231970"/>
                  <a:gd name="connsiteX249" fmla="*/ 76618 w 253836"/>
                  <a:gd name="connsiteY249" fmla="*/ 55017 h 231970"/>
                  <a:gd name="connsiteX250" fmla="*/ 74590 w 253836"/>
                  <a:gd name="connsiteY250" fmla="*/ 55899 h 231970"/>
                  <a:gd name="connsiteX251" fmla="*/ 72298 w 253836"/>
                  <a:gd name="connsiteY251" fmla="*/ 55017 h 231970"/>
                  <a:gd name="connsiteX252" fmla="*/ 69388 w 253836"/>
                  <a:gd name="connsiteY252" fmla="*/ 56516 h 231970"/>
                  <a:gd name="connsiteX253" fmla="*/ 67096 w 253836"/>
                  <a:gd name="connsiteY253" fmla="*/ 53606 h 231970"/>
                  <a:gd name="connsiteX254" fmla="*/ 64186 w 253836"/>
                  <a:gd name="connsiteY254" fmla="*/ 54224 h 231970"/>
                  <a:gd name="connsiteX255" fmla="*/ 61806 w 253836"/>
                  <a:gd name="connsiteY255" fmla="*/ 55634 h 231970"/>
                  <a:gd name="connsiteX256" fmla="*/ 60660 w 253836"/>
                  <a:gd name="connsiteY256" fmla="*/ 55370 h 231970"/>
                  <a:gd name="connsiteX257" fmla="*/ 57133 w 253836"/>
                  <a:gd name="connsiteY257" fmla="*/ 52460 h 231970"/>
                  <a:gd name="connsiteX258" fmla="*/ 55987 w 253836"/>
                  <a:gd name="connsiteY258" fmla="*/ 53606 h 231970"/>
                  <a:gd name="connsiteX259" fmla="*/ 53078 w 253836"/>
                  <a:gd name="connsiteY259" fmla="*/ 52725 h 231970"/>
                  <a:gd name="connsiteX260" fmla="*/ 54840 w 253836"/>
                  <a:gd name="connsiteY260" fmla="*/ 49551 h 231970"/>
                  <a:gd name="connsiteX261" fmla="*/ 52548 w 253836"/>
                  <a:gd name="connsiteY261" fmla="*/ 50697 h 231970"/>
                  <a:gd name="connsiteX262" fmla="*/ 51931 w 253836"/>
                  <a:gd name="connsiteY262" fmla="*/ 49551 h 231970"/>
                  <a:gd name="connsiteX263" fmla="*/ 51314 w 253836"/>
                  <a:gd name="connsiteY263" fmla="*/ 47787 h 231970"/>
                  <a:gd name="connsiteX264" fmla="*/ 50961 w 253836"/>
                  <a:gd name="connsiteY264" fmla="*/ 46377 h 231970"/>
                  <a:gd name="connsiteX265" fmla="*/ 49815 w 253836"/>
                  <a:gd name="connsiteY265" fmla="*/ 46377 h 231970"/>
                  <a:gd name="connsiteX266" fmla="*/ 47787 w 253836"/>
                  <a:gd name="connsiteY266" fmla="*/ 45759 h 231970"/>
                  <a:gd name="connsiteX267" fmla="*/ 47787 w 253836"/>
                  <a:gd name="connsiteY267" fmla="*/ 44613 h 231970"/>
                  <a:gd name="connsiteX268" fmla="*/ 49198 w 253836"/>
                  <a:gd name="connsiteY268" fmla="*/ 43467 h 231970"/>
                  <a:gd name="connsiteX269" fmla="*/ 50080 w 253836"/>
                  <a:gd name="connsiteY269" fmla="*/ 41968 h 231970"/>
                  <a:gd name="connsiteX270" fmla="*/ 46553 w 253836"/>
                  <a:gd name="connsiteY270" fmla="*/ 39940 h 231970"/>
                  <a:gd name="connsiteX271" fmla="*/ 47699 w 253836"/>
                  <a:gd name="connsiteY271" fmla="*/ 38177 h 231970"/>
                  <a:gd name="connsiteX272" fmla="*/ 47435 w 253836"/>
                  <a:gd name="connsiteY272" fmla="*/ 36414 h 231970"/>
                  <a:gd name="connsiteX273" fmla="*/ 43908 w 253836"/>
                  <a:gd name="connsiteY273" fmla="*/ 37031 h 231970"/>
                  <a:gd name="connsiteX274" fmla="*/ 41263 w 253836"/>
                  <a:gd name="connsiteY274" fmla="*/ 37648 h 231970"/>
                  <a:gd name="connsiteX275" fmla="*/ 38618 w 253836"/>
                  <a:gd name="connsiteY275" fmla="*/ 36766 h 231970"/>
                  <a:gd name="connsiteX276" fmla="*/ 36590 w 253836"/>
                  <a:gd name="connsiteY276" fmla="*/ 37031 h 231970"/>
                  <a:gd name="connsiteX277" fmla="*/ 36325 w 253836"/>
                  <a:gd name="connsiteY277" fmla="*/ 36149 h 231970"/>
                  <a:gd name="connsiteX278" fmla="*/ 34298 w 253836"/>
                  <a:gd name="connsiteY278" fmla="*/ 35267 h 231970"/>
                  <a:gd name="connsiteX279" fmla="*/ 31652 w 253836"/>
                  <a:gd name="connsiteY279" fmla="*/ 35532 h 231970"/>
                  <a:gd name="connsiteX280" fmla="*/ 31035 w 253836"/>
                  <a:gd name="connsiteY280" fmla="*/ 35267 h 231970"/>
                  <a:gd name="connsiteX281" fmla="*/ 31035 w 253836"/>
                  <a:gd name="connsiteY281" fmla="*/ 34650 h 231970"/>
                  <a:gd name="connsiteX282" fmla="*/ 34827 w 253836"/>
                  <a:gd name="connsiteY282" fmla="*/ 31741 h 231970"/>
                  <a:gd name="connsiteX283" fmla="*/ 34209 w 253836"/>
                  <a:gd name="connsiteY283" fmla="*/ 30594 h 231970"/>
                  <a:gd name="connsiteX284" fmla="*/ 35973 w 253836"/>
                  <a:gd name="connsiteY284" fmla="*/ 30065 h 231970"/>
                  <a:gd name="connsiteX285" fmla="*/ 37736 w 253836"/>
                  <a:gd name="connsiteY285" fmla="*/ 26539 h 231970"/>
                  <a:gd name="connsiteX286" fmla="*/ 37472 w 253836"/>
                  <a:gd name="connsiteY286" fmla="*/ 20720 h 231970"/>
                  <a:gd name="connsiteX287" fmla="*/ 39499 w 253836"/>
                  <a:gd name="connsiteY287" fmla="*/ 19573 h 231970"/>
                  <a:gd name="connsiteX288" fmla="*/ 43555 w 253836"/>
                  <a:gd name="connsiteY288" fmla="*/ 17810 h 231970"/>
                  <a:gd name="connsiteX289" fmla="*/ 43555 w 253836"/>
                  <a:gd name="connsiteY289" fmla="*/ 18692 h 231970"/>
                  <a:gd name="connsiteX290" fmla="*/ 43290 w 253836"/>
                  <a:gd name="connsiteY290" fmla="*/ 19309 h 231970"/>
                  <a:gd name="connsiteX291" fmla="*/ 48845 w 253836"/>
                  <a:gd name="connsiteY291" fmla="*/ 14900 h 231970"/>
                  <a:gd name="connsiteX292" fmla="*/ 51226 w 253836"/>
                  <a:gd name="connsiteY292" fmla="*/ 13137 h 231970"/>
                  <a:gd name="connsiteX293" fmla="*/ 54400 w 253836"/>
                  <a:gd name="connsiteY293" fmla="*/ 11109 h 231970"/>
                  <a:gd name="connsiteX294" fmla="*/ 57309 w 253836"/>
                  <a:gd name="connsiteY294" fmla="*/ 10492 h 231970"/>
                  <a:gd name="connsiteX295" fmla="*/ 59602 w 253836"/>
                  <a:gd name="connsiteY295" fmla="*/ 8464 h 231970"/>
                  <a:gd name="connsiteX296" fmla="*/ 63393 w 253836"/>
                  <a:gd name="connsiteY296" fmla="*/ 8464 h 231970"/>
                  <a:gd name="connsiteX297" fmla="*/ 70711 w 253836"/>
                  <a:gd name="connsiteY297" fmla="*/ 9346 h 231970"/>
                  <a:gd name="connsiteX298" fmla="*/ 74238 w 253836"/>
                  <a:gd name="connsiteY298" fmla="*/ 11109 h 231970"/>
                  <a:gd name="connsiteX299" fmla="*/ 75384 w 253836"/>
                  <a:gd name="connsiteY299" fmla="*/ 10845 h 231970"/>
                  <a:gd name="connsiteX300" fmla="*/ 76530 w 253836"/>
                  <a:gd name="connsiteY300" fmla="*/ 12344 h 231970"/>
                  <a:gd name="connsiteX301" fmla="*/ 80939 w 253836"/>
                  <a:gd name="connsiteY301" fmla="*/ 14371 h 231970"/>
                  <a:gd name="connsiteX302" fmla="*/ 84730 w 253836"/>
                  <a:gd name="connsiteY302" fmla="*/ 17898 h 231970"/>
                  <a:gd name="connsiteX303" fmla="*/ 92312 w 253836"/>
                  <a:gd name="connsiteY303" fmla="*/ 18515 h 231970"/>
                  <a:gd name="connsiteX304" fmla="*/ 93458 w 253836"/>
                  <a:gd name="connsiteY304" fmla="*/ 17898 h 231970"/>
                  <a:gd name="connsiteX305" fmla="*/ 94869 w 253836"/>
                  <a:gd name="connsiteY305" fmla="*/ 18163 h 231970"/>
                  <a:gd name="connsiteX306" fmla="*/ 97514 w 253836"/>
                  <a:gd name="connsiteY306" fmla="*/ 17898 h 231970"/>
                  <a:gd name="connsiteX307" fmla="*/ 101570 w 253836"/>
                  <a:gd name="connsiteY307" fmla="*/ 21425 h 231970"/>
                  <a:gd name="connsiteX308" fmla="*/ 100424 w 253836"/>
                  <a:gd name="connsiteY308" fmla="*/ 21689 h 231970"/>
                  <a:gd name="connsiteX309" fmla="*/ 99278 w 253836"/>
                  <a:gd name="connsiteY309" fmla="*/ 21954 h 231970"/>
                  <a:gd name="connsiteX310" fmla="*/ 98396 w 253836"/>
                  <a:gd name="connsiteY310" fmla="*/ 23717 h 231970"/>
                  <a:gd name="connsiteX311" fmla="*/ 97249 w 253836"/>
                  <a:gd name="connsiteY311" fmla="*/ 28655 h 231970"/>
                  <a:gd name="connsiteX312" fmla="*/ 99278 w 253836"/>
                  <a:gd name="connsiteY312" fmla="*/ 32181 h 231970"/>
                  <a:gd name="connsiteX313" fmla="*/ 103598 w 253836"/>
                  <a:gd name="connsiteY313" fmla="*/ 33592 h 231970"/>
                  <a:gd name="connsiteX314" fmla="*/ 102716 w 253836"/>
                  <a:gd name="connsiteY314" fmla="*/ 36237 h 231970"/>
                  <a:gd name="connsiteX315" fmla="*/ 101834 w 253836"/>
                  <a:gd name="connsiteY315" fmla="*/ 38882 h 231970"/>
                  <a:gd name="connsiteX316" fmla="*/ 99807 w 253836"/>
                  <a:gd name="connsiteY316" fmla="*/ 40910 h 231970"/>
                  <a:gd name="connsiteX317" fmla="*/ 101041 w 253836"/>
                  <a:gd name="connsiteY317" fmla="*/ 44437 h 231970"/>
                  <a:gd name="connsiteX318" fmla="*/ 98660 w 253836"/>
                  <a:gd name="connsiteY318" fmla="*/ 46729 h 231970"/>
                  <a:gd name="connsiteX319" fmla="*/ 101041 w 253836"/>
                  <a:gd name="connsiteY319" fmla="*/ 50256 h 231970"/>
                  <a:gd name="connsiteX320" fmla="*/ 100424 w 253836"/>
                  <a:gd name="connsiteY320" fmla="*/ 50521 h 231970"/>
                  <a:gd name="connsiteX321" fmla="*/ 101305 w 253836"/>
                  <a:gd name="connsiteY321" fmla="*/ 56957 h 231970"/>
                  <a:gd name="connsiteX322" fmla="*/ 101041 w 253836"/>
                  <a:gd name="connsiteY322" fmla="*/ 60484 h 231970"/>
                  <a:gd name="connsiteX323" fmla="*/ 102452 w 253836"/>
                  <a:gd name="connsiteY323" fmla="*/ 64275 h 231970"/>
                  <a:gd name="connsiteX324" fmla="*/ 106243 w 253836"/>
                  <a:gd name="connsiteY324" fmla="*/ 66038 h 231970"/>
                  <a:gd name="connsiteX325" fmla="*/ 107742 w 253836"/>
                  <a:gd name="connsiteY325" fmla="*/ 70094 h 231970"/>
                  <a:gd name="connsiteX326" fmla="*/ 108888 w 253836"/>
                  <a:gd name="connsiteY326" fmla="*/ 69829 h 231970"/>
                  <a:gd name="connsiteX327" fmla="*/ 109152 w 253836"/>
                  <a:gd name="connsiteY327" fmla="*/ 69565 h 231970"/>
                  <a:gd name="connsiteX328" fmla="*/ 108006 w 253836"/>
                  <a:gd name="connsiteY328" fmla="*/ 63129 h 231970"/>
                  <a:gd name="connsiteX329" fmla="*/ 108270 w 253836"/>
                  <a:gd name="connsiteY329" fmla="*/ 61982 h 231970"/>
                  <a:gd name="connsiteX330" fmla="*/ 109505 w 253836"/>
                  <a:gd name="connsiteY330" fmla="*/ 60572 h 231970"/>
                  <a:gd name="connsiteX331" fmla="*/ 111797 w 253836"/>
                  <a:gd name="connsiteY331" fmla="*/ 61718 h 231970"/>
                  <a:gd name="connsiteX332" fmla="*/ 112062 w 253836"/>
                  <a:gd name="connsiteY332" fmla="*/ 65245 h 231970"/>
                  <a:gd name="connsiteX333" fmla="*/ 111445 w 253836"/>
                  <a:gd name="connsiteY333" fmla="*/ 69036 h 231970"/>
                  <a:gd name="connsiteX334" fmla="*/ 110916 w 253836"/>
                  <a:gd name="connsiteY334" fmla="*/ 71945 h 231970"/>
                  <a:gd name="connsiteX335" fmla="*/ 110916 w 253836"/>
                  <a:gd name="connsiteY335" fmla="*/ 73709 h 231970"/>
                  <a:gd name="connsiteX336" fmla="*/ 112944 w 253836"/>
                  <a:gd name="connsiteY336" fmla="*/ 72827 h 231970"/>
                  <a:gd name="connsiteX337" fmla="*/ 113561 w 253836"/>
                  <a:gd name="connsiteY337" fmla="*/ 73356 h 231970"/>
                  <a:gd name="connsiteX338" fmla="*/ 115324 w 253836"/>
                  <a:gd name="connsiteY338" fmla="*/ 72827 h 231970"/>
                  <a:gd name="connsiteX339" fmla="*/ 115941 w 253836"/>
                  <a:gd name="connsiteY339" fmla="*/ 71328 h 231970"/>
                  <a:gd name="connsiteX340" fmla="*/ 116558 w 253836"/>
                  <a:gd name="connsiteY340" fmla="*/ 71328 h 231970"/>
                  <a:gd name="connsiteX341" fmla="*/ 116558 w 253836"/>
                  <a:gd name="connsiteY341" fmla="*/ 73973 h 231970"/>
                  <a:gd name="connsiteX342" fmla="*/ 115677 w 253836"/>
                  <a:gd name="connsiteY342" fmla="*/ 76618 h 231970"/>
                  <a:gd name="connsiteX343" fmla="*/ 114531 w 253836"/>
                  <a:gd name="connsiteY343" fmla="*/ 79792 h 231970"/>
                  <a:gd name="connsiteX344" fmla="*/ 117176 w 253836"/>
                  <a:gd name="connsiteY344" fmla="*/ 79792 h 231970"/>
                  <a:gd name="connsiteX345" fmla="*/ 118322 w 253836"/>
                  <a:gd name="connsiteY345" fmla="*/ 79792 h 231970"/>
                  <a:gd name="connsiteX346" fmla="*/ 119468 w 253836"/>
                  <a:gd name="connsiteY346" fmla="*/ 81820 h 231970"/>
                  <a:gd name="connsiteX347" fmla="*/ 121232 w 253836"/>
                  <a:gd name="connsiteY347" fmla="*/ 82966 h 231970"/>
                  <a:gd name="connsiteX348" fmla="*/ 123876 w 253836"/>
                  <a:gd name="connsiteY348" fmla="*/ 82349 h 231970"/>
                  <a:gd name="connsiteX349" fmla="*/ 127050 w 253836"/>
                  <a:gd name="connsiteY349" fmla="*/ 83231 h 231970"/>
                  <a:gd name="connsiteX350" fmla="*/ 126433 w 253836"/>
                  <a:gd name="connsiteY350" fmla="*/ 80322 h 231970"/>
                  <a:gd name="connsiteX351" fmla="*/ 130225 w 253836"/>
                  <a:gd name="connsiteY351" fmla="*/ 80939 h 231970"/>
                  <a:gd name="connsiteX352" fmla="*/ 129608 w 253836"/>
                  <a:gd name="connsiteY352" fmla="*/ 77412 h 231970"/>
                  <a:gd name="connsiteX353" fmla="*/ 132517 w 253836"/>
                  <a:gd name="connsiteY353" fmla="*/ 75384 h 231970"/>
                  <a:gd name="connsiteX354" fmla="*/ 132517 w 253836"/>
                  <a:gd name="connsiteY354" fmla="*/ 73885 h 231970"/>
                  <a:gd name="connsiteX355" fmla="*/ 135427 w 253836"/>
                  <a:gd name="connsiteY355" fmla="*/ 71857 h 231970"/>
                  <a:gd name="connsiteX356" fmla="*/ 137719 w 253836"/>
                  <a:gd name="connsiteY356" fmla="*/ 72122 h 231970"/>
                  <a:gd name="connsiteX357" fmla="*/ 136573 w 253836"/>
                  <a:gd name="connsiteY357" fmla="*/ 68948 h 231970"/>
                  <a:gd name="connsiteX358" fmla="*/ 139218 w 253836"/>
                  <a:gd name="connsiteY358" fmla="*/ 68948 h 231970"/>
                  <a:gd name="connsiteX359" fmla="*/ 140364 w 253836"/>
                  <a:gd name="connsiteY359" fmla="*/ 68330 h 231970"/>
                  <a:gd name="connsiteX360" fmla="*/ 141510 w 253836"/>
                  <a:gd name="connsiteY360" fmla="*/ 64539 h 231970"/>
                  <a:gd name="connsiteX361" fmla="*/ 144420 w 253836"/>
                  <a:gd name="connsiteY361" fmla="*/ 62776 h 231970"/>
                  <a:gd name="connsiteX362" fmla="*/ 144420 w 253836"/>
                  <a:gd name="connsiteY362" fmla="*/ 58985 h 231970"/>
                  <a:gd name="connsiteX363" fmla="*/ 145566 w 253836"/>
                  <a:gd name="connsiteY363" fmla="*/ 55810 h 231970"/>
                  <a:gd name="connsiteX364" fmla="*/ 146448 w 253836"/>
                  <a:gd name="connsiteY364" fmla="*/ 54929 h 231970"/>
                  <a:gd name="connsiteX365" fmla="*/ 149092 w 253836"/>
                  <a:gd name="connsiteY365" fmla="*/ 54047 h 231970"/>
                  <a:gd name="connsiteX366" fmla="*/ 150239 w 253836"/>
                  <a:gd name="connsiteY366" fmla="*/ 54312 h 231970"/>
                  <a:gd name="connsiteX367" fmla="*/ 153148 w 253836"/>
                  <a:gd name="connsiteY367" fmla="*/ 53695 h 231970"/>
                  <a:gd name="connsiteX368" fmla="*/ 153148 w 253836"/>
                  <a:gd name="connsiteY368" fmla="*/ 54841 h 231970"/>
                  <a:gd name="connsiteX369" fmla="*/ 157557 w 253836"/>
                  <a:gd name="connsiteY369" fmla="*/ 52196 h 231970"/>
                  <a:gd name="connsiteX370" fmla="*/ 159056 w 253836"/>
                  <a:gd name="connsiteY370" fmla="*/ 51050 h 231970"/>
                  <a:gd name="connsiteX371" fmla="*/ 161348 w 253836"/>
                  <a:gd name="connsiteY371" fmla="*/ 50785 h 231970"/>
                  <a:gd name="connsiteX372" fmla="*/ 162494 w 253836"/>
                  <a:gd name="connsiteY372" fmla="*/ 48493 h 231970"/>
                  <a:gd name="connsiteX373" fmla="*/ 162494 w 253836"/>
                  <a:gd name="connsiteY373" fmla="*/ 46112 h 231970"/>
                  <a:gd name="connsiteX374" fmla="*/ 163376 w 253836"/>
                  <a:gd name="connsiteY374" fmla="*/ 46729 h 231970"/>
                  <a:gd name="connsiteX375" fmla="*/ 165404 w 253836"/>
                  <a:gd name="connsiteY375" fmla="*/ 46465 h 231970"/>
                  <a:gd name="connsiteX376" fmla="*/ 166021 w 253836"/>
                  <a:gd name="connsiteY376" fmla="*/ 44701 h 231970"/>
                  <a:gd name="connsiteX377" fmla="*/ 165756 w 253836"/>
                  <a:gd name="connsiteY377" fmla="*/ 41175 h 231970"/>
                  <a:gd name="connsiteX378" fmla="*/ 167255 w 253836"/>
                  <a:gd name="connsiteY378" fmla="*/ 41439 h 231970"/>
                  <a:gd name="connsiteX379" fmla="*/ 168401 w 253836"/>
                  <a:gd name="connsiteY379" fmla="*/ 39676 h 231970"/>
                  <a:gd name="connsiteX380" fmla="*/ 172457 w 253836"/>
                  <a:gd name="connsiteY380" fmla="*/ 38177 h 231970"/>
                  <a:gd name="connsiteX381" fmla="*/ 171928 w 253836"/>
                  <a:gd name="connsiteY381" fmla="*/ 36149 h 231970"/>
                  <a:gd name="connsiteX382" fmla="*/ 174838 w 253836"/>
                  <a:gd name="connsiteY382" fmla="*/ 34121 h 231970"/>
                  <a:gd name="connsiteX383" fmla="*/ 178276 w 253836"/>
                  <a:gd name="connsiteY383" fmla="*/ 34386 h 231970"/>
                  <a:gd name="connsiteX384" fmla="*/ 181803 w 253836"/>
                  <a:gd name="connsiteY384" fmla="*/ 36149 h 231970"/>
                  <a:gd name="connsiteX385" fmla="*/ 183567 w 253836"/>
                  <a:gd name="connsiteY385" fmla="*/ 36414 h 231970"/>
                  <a:gd name="connsiteX386" fmla="*/ 186476 w 253836"/>
                  <a:gd name="connsiteY386" fmla="*/ 39059 h 231970"/>
                  <a:gd name="connsiteX387" fmla="*/ 197321 w 253836"/>
                  <a:gd name="connsiteY387" fmla="*/ 43467 h 231970"/>
                  <a:gd name="connsiteX388" fmla="*/ 199349 w 253836"/>
                  <a:gd name="connsiteY388" fmla="*/ 43731 h 231970"/>
                  <a:gd name="connsiteX389" fmla="*/ 203757 w 253836"/>
                  <a:gd name="connsiteY389" fmla="*/ 47787 h 231970"/>
                  <a:gd name="connsiteX390" fmla="*/ 210458 w 253836"/>
                  <a:gd name="connsiteY390" fmla="*/ 50168 h 231970"/>
                  <a:gd name="connsiteX391" fmla="*/ 220333 w 253836"/>
                  <a:gd name="connsiteY391" fmla="*/ 55722 h 231970"/>
                  <a:gd name="connsiteX392" fmla="*/ 224741 w 253836"/>
                  <a:gd name="connsiteY392" fmla="*/ 58103 h 231970"/>
                  <a:gd name="connsiteX393" fmla="*/ 230296 w 253836"/>
                  <a:gd name="connsiteY393" fmla="*/ 57838 h 231970"/>
                  <a:gd name="connsiteX394" fmla="*/ 232323 w 253836"/>
                  <a:gd name="connsiteY394" fmla="*/ 56957 h 231970"/>
                  <a:gd name="connsiteX395" fmla="*/ 235850 w 253836"/>
                  <a:gd name="connsiteY395" fmla="*/ 60131 h 231970"/>
                  <a:gd name="connsiteX396" fmla="*/ 236997 w 253836"/>
                  <a:gd name="connsiteY396" fmla="*/ 60131 h 231970"/>
                  <a:gd name="connsiteX397" fmla="*/ 236997 w 253836"/>
                  <a:gd name="connsiteY397" fmla="*/ 58985 h 231970"/>
                  <a:gd name="connsiteX398" fmla="*/ 244314 w 253836"/>
                  <a:gd name="connsiteY398" fmla="*/ 60748 h 231970"/>
                  <a:gd name="connsiteX399" fmla="*/ 245196 w 253836"/>
                  <a:gd name="connsiteY399" fmla="*/ 61365 h 231970"/>
                  <a:gd name="connsiteX400" fmla="*/ 245196 w 253836"/>
                  <a:gd name="connsiteY400" fmla="*/ 62511 h 231970"/>
                  <a:gd name="connsiteX401" fmla="*/ 244314 w 253836"/>
                  <a:gd name="connsiteY401" fmla="*/ 63922 h 231970"/>
                  <a:gd name="connsiteX402" fmla="*/ 244931 w 253836"/>
                  <a:gd name="connsiteY402" fmla="*/ 64539 h 231970"/>
                  <a:gd name="connsiteX403" fmla="*/ 246960 w 253836"/>
                  <a:gd name="connsiteY403" fmla="*/ 63922 h 231970"/>
                  <a:gd name="connsiteX404" fmla="*/ 253837 w 253836"/>
                  <a:gd name="connsiteY404" fmla="*/ 63217 h 231970"/>
                  <a:gd name="connsiteX405" fmla="*/ 27773 w 253836"/>
                  <a:gd name="connsiteY405" fmla="*/ 10757 h 231970"/>
                  <a:gd name="connsiteX406" fmla="*/ 26274 w 253836"/>
                  <a:gd name="connsiteY406" fmla="*/ 10757 h 231970"/>
                  <a:gd name="connsiteX407" fmla="*/ 25128 w 253836"/>
                  <a:gd name="connsiteY407" fmla="*/ 8464 h 231970"/>
                  <a:gd name="connsiteX408" fmla="*/ 25393 w 253836"/>
                  <a:gd name="connsiteY408" fmla="*/ 7318 h 231970"/>
                  <a:gd name="connsiteX409" fmla="*/ 23012 w 253836"/>
                  <a:gd name="connsiteY409" fmla="*/ 7935 h 231970"/>
                  <a:gd name="connsiteX410" fmla="*/ 22395 w 253836"/>
                  <a:gd name="connsiteY410" fmla="*/ 10580 h 231970"/>
                  <a:gd name="connsiteX411" fmla="*/ 21513 w 253836"/>
                  <a:gd name="connsiteY411" fmla="*/ 6172 h 231970"/>
                  <a:gd name="connsiteX412" fmla="*/ 17105 w 253836"/>
                  <a:gd name="connsiteY412" fmla="*/ 6436 h 231970"/>
                  <a:gd name="connsiteX413" fmla="*/ 14812 w 253836"/>
                  <a:gd name="connsiteY413" fmla="*/ 4937 h 231970"/>
                  <a:gd name="connsiteX414" fmla="*/ 15694 w 253836"/>
                  <a:gd name="connsiteY414" fmla="*/ 4937 h 231970"/>
                  <a:gd name="connsiteX415" fmla="*/ 18603 w 253836"/>
                  <a:gd name="connsiteY415" fmla="*/ 5202 h 231970"/>
                  <a:gd name="connsiteX416" fmla="*/ 19485 w 253836"/>
                  <a:gd name="connsiteY416" fmla="*/ 4585 h 231970"/>
                  <a:gd name="connsiteX417" fmla="*/ 17722 w 253836"/>
                  <a:gd name="connsiteY417" fmla="*/ 3439 h 231970"/>
                  <a:gd name="connsiteX418" fmla="*/ 17722 w 253836"/>
                  <a:gd name="connsiteY418" fmla="*/ 4320 h 231970"/>
                  <a:gd name="connsiteX419" fmla="*/ 16223 w 253836"/>
                  <a:gd name="connsiteY419" fmla="*/ 3439 h 231970"/>
                  <a:gd name="connsiteX420" fmla="*/ 16223 w 253836"/>
                  <a:gd name="connsiteY420" fmla="*/ 2557 h 231970"/>
                  <a:gd name="connsiteX421" fmla="*/ 17369 w 253836"/>
                  <a:gd name="connsiteY421" fmla="*/ 2028 h 231970"/>
                  <a:gd name="connsiteX422" fmla="*/ 20014 w 253836"/>
                  <a:gd name="connsiteY422" fmla="*/ 2028 h 231970"/>
                  <a:gd name="connsiteX423" fmla="*/ 24070 w 253836"/>
                  <a:gd name="connsiteY423" fmla="*/ 1146 h 231970"/>
                  <a:gd name="connsiteX424" fmla="*/ 28126 w 253836"/>
                  <a:gd name="connsiteY424" fmla="*/ 0 h 231970"/>
                  <a:gd name="connsiteX425" fmla="*/ 35444 w 253836"/>
                  <a:gd name="connsiteY425" fmla="*/ 2028 h 231970"/>
                  <a:gd name="connsiteX426" fmla="*/ 38618 w 253836"/>
                  <a:gd name="connsiteY426" fmla="*/ 4673 h 231970"/>
                  <a:gd name="connsiteX427" fmla="*/ 38618 w 253836"/>
                  <a:gd name="connsiteY427" fmla="*/ 5819 h 231970"/>
                  <a:gd name="connsiteX428" fmla="*/ 39499 w 253836"/>
                  <a:gd name="connsiteY428" fmla="*/ 6965 h 231970"/>
                  <a:gd name="connsiteX429" fmla="*/ 37472 w 253836"/>
                  <a:gd name="connsiteY429" fmla="*/ 9346 h 231970"/>
                  <a:gd name="connsiteX430" fmla="*/ 33945 w 253836"/>
                  <a:gd name="connsiteY430" fmla="*/ 7935 h 231970"/>
                  <a:gd name="connsiteX431" fmla="*/ 31652 w 253836"/>
                  <a:gd name="connsiteY431" fmla="*/ 8817 h 231970"/>
                  <a:gd name="connsiteX432" fmla="*/ 29889 w 253836"/>
                  <a:gd name="connsiteY432" fmla="*/ 7318 h 231970"/>
                  <a:gd name="connsiteX433" fmla="*/ 29272 w 253836"/>
                  <a:gd name="connsiteY433" fmla="*/ 6172 h 231970"/>
                  <a:gd name="connsiteX434" fmla="*/ 27508 w 253836"/>
                  <a:gd name="connsiteY434" fmla="*/ 5819 h 231970"/>
                  <a:gd name="connsiteX435" fmla="*/ 25481 w 253836"/>
                  <a:gd name="connsiteY435" fmla="*/ 2292 h 231970"/>
                  <a:gd name="connsiteX436" fmla="*/ 23717 w 253836"/>
                  <a:gd name="connsiteY436" fmla="*/ 2028 h 231970"/>
                  <a:gd name="connsiteX437" fmla="*/ 26010 w 253836"/>
                  <a:gd name="connsiteY437" fmla="*/ 6965 h 231970"/>
                  <a:gd name="connsiteX438" fmla="*/ 30065 w 253836"/>
                  <a:gd name="connsiteY438" fmla="*/ 7583 h 231970"/>
                  <a:gd name="connsiteX439" fmla="*/ 30330 w 253836"/>
                  <a:gd name="connsiteY439" fmla="*/ 9346 h 231970"/>
                  <a:gd name="connsiteX440" fmla="*/ 27773 w 253836"/>
                  <a:gd name="connsiteY440" fmla="*/ 10757 h 231970"/>
                  <a:gd name="connsiteX441" fmla="*/ 99189 w 253836"/>
                  <a:gd name="connsiteY441" fmla="*/ 155705 h 231970"/>
                  <a:gd name="connsiteX442" fmla="*/ 94516 w 253836"/>
                  <a:gd name="connsiteY442" fmla="*/ 152179 h 231970"/>
                  <a:gd name="connsiteX443" fmla="*/ 92753 w 253836"/>
                  <a:gd name="connsiteY443" fmla="*/ 149886 h 231970"/>
                  <a:gd name="connsiteX444" fmla="*/ 93370 w 253836"/>
                  <a:gd name="connsiteY444" fmla="*/ 148123 h 231970"/>
                  <a:gd name="connsiteX445" fmla="*/ 93987 w 253836"/>
                  <a:gd name="connsiteY445" fmla="*/ 146095 h 231970"/>
                  <a:gd name="connsiteX446" fmla="*/ 93106 w 253836"/>
                  <a:gd name="connsiteY446" fmla="*/ 145213 h 231970"/>
                  <a:gd name="connsiteX447" fmla="*/ 95133 w 253836"/>
                  <a:gd name="connsiteY447" fmla="*/ 142304 h 231970"/>
                  <a:gd name="connsiteX448" fmla="*/ 94869 w 253836"/>
                  <a:gd name="connsiteY448" fmla="*/ 141687 h 231970"/>
                  <a:gd name="connsiteX449" fmla="*/ 92489 w 253836"/>
                  <a:gd name="connsiteY449" fmla="*/ 141422 h 231970"/>
                  <a:gd name="connsiteX450" fmla="*/ 91342 w 253836"/>
                  <a:gd name="connsiteY450" fmla="*/ 140540 h 231970"/>
                  <a:gd name="connsiteX451" fmla="*/ 91960 w 253836"/>
                  <a:gd name="connsiteY451" fmla="*/ 139394 h 231970"/>
                  <a:gd name="connsiteX452" fmla="*/ 94252 w 253836"/>
                  <a:gd name="connsiteY452" fmla="*/ 140276 h 231970"/>
                  <a:gd name="connsiteX453" fmla="*/ 97778 w 253836"/>
                  <a:gd name="connsiteY453" fmla="*/ 134104 h 231970"/>
                  <a:gd name="connsiteX454" fmla="*/ 98043 w 253836"/>
                  <a:gd name="connsiteY454" fmla="*/ 133311 h 231970"/>
                  <a:gd name="connsiteX455" fmla="*/ 100688 w 253836"/>
                  <a:gd name="connsiteY455" fmla="*/ 133575 h 231970"/>
                  <a:gd name="connsiteX456" fmla="*/ 101834 w 253836"/>
                  <a:gd name="connsiteY456" fmla="*/ 136220 h 231970"/>
                  <a:gd name="connsiteX457" fmla="*/ 101217 w 253836"/>
                  <a:gd name="connsiteY457" fmla="*/ 137102 h 231970"/>
                  <a:gd name="connsiteX458" fmla="*/ 102981 w 253836"/>
                  <a:gd name="connsiteY458" fmla="*/ 138248 h 231970"/>
                  <a:gd name="connsiteX459" fmla="*/ 102716 w 253836"/>
                  <a:gd name="connsiteY459" fmla="*/ 140276 h 231970"/>
                  <a:gd name="connsiteX460" fmla="*/ 102981 w 253836"/>
                  <a:gd name="connsiteY460" fmla="*/ 142039 h 231970"/>
                  <a:gd name="connsiteX461" fmla="*/ 102099 w 253836"/>
                  <a:gd name="connsiteY461" fmla="*/ 142921 h 231970"/>
                  <a:gd name="connsiteX462" fmla="*/ 103245 w 253836"/>
                  <a:gd name="connsiteY462" fmla="*/ 144067 h 231970"/>
                  <a:gd name="connsiteX463" fmla="*/ 102628 w 253836"/>
                  <a:gd name="connsiteY463" fmla="*/ 144949 h 231970"/>
                  <a:gd name="connsiteX464" fmla="*/ 102628 w 253836"/>
                  <a:gd name="connsiteY464" fmla="*/ 146360 h 231970"/>
                  <a:gd name="connsiteX465" fmla="*/ 100600 w 253836"/>
                  <a:gd name="connsiteY465" fmla="*/ 145742 h 231970"/>
                  <a:gd name="connsiteX466" fmla="*/ 103245 w 253836"/>
                  <a:gd name="connsiteY466" fmla="*/ 148387 h 231970"/>
                  <a:gd name="connsiteX467" fmla="*/ 103510 w 253836"/>
                  <a:gd name="connsiteY467" fmla="*/ 149534 h 231970"/>
                  <a:gd name="connsiteX468" fmla="*/ 101746 w 253836"/>
                  <a:gd name="connsiteY468" fmla="*/ 151561 h 231970"/>
                  <a:gd name="connsiteX469" fmla="*/ 103245 w 253836"/>
                  <a:gd name="connsiteY469" fmla="*/ 151032 h 231970"/>
                  <a:gd name="connsiteX470" fmla="*/ 102628 w 253836"/>
                  <a:gd name="connsiteY470" fmla="*/ 153677 h 231970"/>
                  <a:gd name="connsiteX471" fmla="*/ 101746 w 253836"/>
                  <a:gd name="connsiteY471" fmla="*/ 155088 h 231970"/>
                  <a:gd name="connsiteX472" fmla="*/ 99189 w 253836"/>
                  <a:gd name="connsiteY472" fmla="*/ 155705 h 231970"/>
                  <a:gd name="connsiteX473" fmla="*/ 67977 w 253836"/>
                  <a:gd name="connsiteY473" fmla="*/ 146360 h 231970"/>
                  <a:gd name="connsiteX474" fmla="*/ 68595 w 253836"/>
                  <a:gd name="connsiteY474" fmla="*/ 142568 h 231970"/>
                  <a:gd name="connsiteX475" fmla="*/ 72915 w 253836"/>
                  <a:gd name="connsiteY475" fmla="*/ 132076 h 231970"/>
                  <a:gd name="connsiteX476" fmla="*/ 73797 w 253836"/>
                  <a:gd name="connsiteY476" fmla="*/ 129431 h 231970"/>
                  <a:gd name="connsiteX477" fmla="*/ 74943 w 253836"/>
                  <a:gd name="connsiteY477" fmla="*/ 129431 h 231970"/>
                  <a:gd name="connsiteX478" fmla="*/ 74590 w 253836"/>
                  <a:gd name="connsiteY478" fmla="*/ 132076 h 231970"/>
                  <a:gd name="connsiteX479" fmla="*/ 73444 w 253836"/>
                  <a:gd name="connsiteY479" fmla="*/ 136485 h 231970"/>
                  <a:gd name="connsiteX480" fmla="*/ 70535 w 253836"/>
                  <a:gd name="connsiteY480" fmla="*/ 140276 h 231970"/>
                  <a:gd name="connsiteX481" fmla="*/ 67977 w 253836"/>
                  <a:gd name="connsiteY481" fmla="*/ 146360 h 231970"/>
                  <a:gd name="connsiteX482" fmla="*/ 63040 w 253836"/>
                  <a:gd name="connsiteY482" fmla="*/ 153942 h 231970"/>
                  <a:gd name="connsiteX483" fmla="*/ 61012 w 253836"/>
                  <a:gd name="connsiteY483" fmla="*/ 151561 h 231970"/>
                  <a:gd name="connsiteX484" fmla="*/ 61630 w 253836"/>
                  <a:gd name="connsiteY484" fmla="*/ 148652 h 231970"/>
                  <a:gd name="connsiteX485" fmla="*/ 60483 w 253836"/>
                  <a:gd name="connsiteY485" fmla="*/ 145742 h 231970"/>
                  <a:gd name="connsiteX486" fmla="*/ 62247 w 253836"/>
                  <a:gd name="connsiteY486" fmla="*/ 145213 h 231970"/>
                  <a:gd name="connsiteX487" fmla="*/ 63128 w 253836"/>
                  <a:gd name="connsiteY487" fmla="*/ 147241 h 231970"/>
                  <a:gd name="connsiteX488" fmla="*/ 64539 w 253836"/>
                  <a:gd name="connsiteY488" fmla="*/ 150415 h 231970"/>
                  <a:gd name="connsiteX489" fmla="*/ 64010 w 253836"/>
                  <a:gd name="connsiteY489" fmla="*/ 153325 h 231970"/>
                  <a:gd name="connsiteX490" fmla="*/ 63040 w 253836"/>
                  <a:gd name="connsiteY490" fmla="*/ 153942 h 231970"/>
                  <a:gd name="connsiteX491" fmla="*/ 91607 w 253836"/>
                  <a:gd name="connsiteY491" fmla="*/ 169636 h 231970"/>
                  <a:gd name="connsiteX492" fmla="*/ 88962 w 253836"/>
                  <a:gd name="connsiteY492" fmla="*/ 167344 h 231970"/>
                  <a:gd name="connsiteX493" fmla="*/ 88345 w 253836"/>
                  <a:gd name="connsiteY493" fmla="*/ 165845 h 231970"/>
                  <a:gd name="connsiteX494" fmla="*/ 89491 w 253836"/>
                  <a:gd name="connsiteY494" fmla="*/ 158262 h 231970"/>
                  <a:gd name="connsiteX495" fmla="*/ 91783 w 253836"/>
                  <a:gd name="connsiteY495" fmla="*/ 159408 h 231970"/>
                  <a:gd name="connsiteX496" fmla="*/ 91166 w 253836"/>
                  <a:gd name="connsiteY496" fmla="*/ 157910 h 231970"/>
                  <a:gd name="connsiteX497" fmla="*/ 90549 w 253836"/>
                  <a:gd name="connsiteY497" fmla="*/ 158174 h 231970"/>
                  <a:gd name="connsiteX498" fmla="*/ 89667 w 253836"/>
                  <a:gd name="connsiteY498" fmla="*/ 157292 h 231970"/>
                  <a:gd name="connsiteX499" fmla="*/ 89932 w 253836"/>
                  <a:gd name="connsiteY499" fmla="*/ 151121 h 231970"/>
                  <a:gd name="connsiteX500" fmla="*/ 97249 w 253836"/>
                  <a:gd name="connsiteY500" fmla="*/ 158086 h 231970"/>
                  <a:gd name="connsiteX501" fmla="*/ 98131 w 253836"/>
                  <a:gd name="connsiteY501" fmla="*/ 162494 h 231970"/>
                  <a:gd name="connsiteX502" fmla="*/ 97249 w 253836"/>
                  <a:gd name="connsiteY502" fmla="*/ 163376 h 231970"/>
                  <a:gd name="connsiteX503" fmla="*/ 95839 w 253836"/>
                  <a:gd name="connsiteY503" fmla="*/ 164522 h 231970"/>
                  <a:gd name="connsiteX504" fmla="*/ 94340 w 253836"/>
                  <a:gd name="connsiteY504" fmla="*/ 167696 h 231970"/>
                  <a:gd name="connsiteX505" fmla="*/ 91607 w 253836"/>
                  <a:gd name="connsiteY505" fmla="*/ 169636 h 231970"/>
                  <a:gd name="connsiteX506" fmla="*/ 8817 w 253836"/>
                  <a:gd name="connsiteY506" fmla="*/ 50961 h 231970"/>
                  <a:gd name="connsiteX507" fmla="*/ 5555 w 253836"/>
                  <a:gd name="connsiteY507" fmla="*/ 49463 h 231970"/>
                  <a:gd name="connsiteX508" fmla="*/ 3262 w 253836"/>
                  <a:gd name="connsiteY508" fmla="*/ 48581 h 231970"/>
                  <a:gd name="connsiteX509" fmla="*/ 0 w 253836"/>
                  <a:gd name="connsiteY509" fmla="*/ 46553 h 231970"/>
                  <a:gd name="connsiteX510" fmla="*/ 0 w 253836"/>
                  <a:gd name="connsiteY510" fmla="*/ 46288 h 231970"/>
                  <a:gd name="connsiteX511" fmla="*/ 8464 w 253836"/>
                  <a:gd name="connsiteY511" fmla="*/ 42497 h 231970"/>
                  <a:gd name="connsiteX512" fmla="*/ 13666 w 253836"/>
                  <a:gd name="connsiteY512" fmla="*/ 41615 h 231970"/>
                  <a:gd name="connsiteX513" fmla="*/ 13666 w 253836"/>
                  <a:gd name="connsiteY513" fmla="*/ 42762 h 231970"/>
                  <a:gd name="connsiteX514" fmla="*/ 15165 w 253836"/>
                  <a:gd name="connsiteY514" fmla="*/ 44525 h 231970"/>
                  <a:gd name="connsiteX515" fmla="*/ 15165 w 253836"/>
                  <a:gd name="connsiteY515" fmla="*/ 46288 h 231970"/>
                  <a:gd name="connsiteX516" fmla="*/ 13402 w 253836"/>
                  <a:gd name="connsiteY516" fmla="*/ 47170 h 231970"/>
                  <a:gd name="connsiteX517" fmla="*/ 13931 w 253836"/>
                  <a:gd name="connsiteY517" fmla="*/ 47699 h 231970"/>
                  <a:gd name="connsiteX518" fmla="*/ 15429 w 253836"/>
                  <a:gd name="connsiteY518" fmla="*/ 48316 h 231970"/>
                  <a:gd name="connsiteX519" fmla="*/ 14547 w 253836"/>
                  <a:gd name="connsiteY519" fmla="*/ 49463 h 231970"/>
                  <a:gd name="connsiteX520" fmla="*/ 13666 w 253836"/>
                  <a:gd name="connsiteY520" fmla="*/ 49198 h 231970"/>
                  <a:gd name="connsiteX521" fmla="*/ 13402 w 253836"/>
                  <a:gd name="connsiteY521" fmla="*/ 48052 h 231970"/>
                  <a:gd name="connsiteX522" fmla="*/ 11638 w 253836"/>
                  <a:gd name="connsiteY522" fmla="*/ 50344 h 231970"/>
                  <a:gd name="connsiteX523" fmla="*/ 8817 w 253836"/>
                  <a:gd name="connsiteY523" fmla="*/ 50961 h 231970"/>
                  <a:gd name="connsiteX524" fmla="*/ 203934 w 253836"/>
                  <a:gd name="connsiteY524" fmla="*/ 206138 h 231970"/>
                  <a:gd name="connsiteX525" fmla="*/ 197762 w 253836"/>
                  <a:gd name="connsiteY525" fmla="*/ 205256 h 231970"/>
                  <a:gd name="connsiteX526" fmla="*/ 196880 w 253836"/>
                  <a:gd name="connsiteY526" fmla="*/ 204639 h 231970"/>
                  <a:gd name="connsiteX527" fmla="*/ 197233 w 253836"/>
                  <a:gd name="connsiteY527" fmla="*/ 203757 h 231970"/>
                  <a:gd name="connsiteX528" fmla="*/ 199878 w 253836"/>
                  <a:gd name="connsiteY528" fmla="*/ 200583 h 231970"/>
                  <a:gd name="connsiteX529" fmla="*/ 203052 w 253836"/>
                  <a:gd name="connsiteY529" fmla="*/ 200230 h 231970"/>
                  <a:gd name="connsiteX530" fmla="*/ 205080 w 253836"/>
                  <a:gd name="connsiteY530" fmla="*/ 204903 h 231970"/>
                  <a:gd name="connsiteX531" fmla="*/ 203934 w 253836"/>
                  <a:gd name="connsiteY531" fmla="*/ 206138 h 231970"/>
                  <a:gd name="connsiteX532" fmla="*/ 146448 w 253836"/>
                  <a:gd name="connsiteY532" fmla="*/ 46553 h 231970"/>
                  <a:gd name="connsiteX533" fmla="*/ 145919 w 253836"/>
                  <a:gd name="connsiteY533" fmla="*/ 45407 h 231970"/>
                  <a:gd name="connsiteX534" fmla="*/ 139218 w 253836"/>
                  <a:gd name="connsiteY534" fmla="*/ 43379 h 231970"/>
                  <a:gd name="connsiteX535" fmla="*/ 134016 w 253836"/>
                  <a:gd name="connsiteY535" fmla="*/ 41351 h 231970"/>
                  <a:gd name="connsiteX536" fmla="*/ 130225 w 253836"/>
                  <a:gd name="connsiteY536" fmla="*/ 41086 h 231970"/>
                  <a:gd name="connsiteX537" fmla="*/ 128814 w 253836"/>
                  <a:gd name="connsiteY537" fmla="*/ 39323 h 231970"/>
                  <a:gd name="connsiteX538" fmla="*/ 130842 w 253836"/>
                  <a:gd name="connsiteY538" fmla="*/ 39059 h 231970"/>
                  <a:gd name="connsiteX539" fmla="*/ 139306 w 253836"/>
                  <a:gd name="connsiteY539" fmla="*/ 40205 h 231970"/>
                  <a:gd name="connsiteX540" fmla="*/ 147770 w 253836"/>
                  <a:gd name="connsiteY540" fmla="*/ 41086 h 231970"/>
                  <a:gd name="connsiteX541" fmla="*/ 150415 w 253836"/>
                  <a:gd name="connsiteY541" fmla="*/ 42233 h 231970"/>
                  <a:gd name="connsiteX542" fmla="*/ 159144 w 253836"/>
                  <a:gd name="connsiteY542" fmla="*/ 42850 h 231970"/>
                  <a:gd name="connsiteX543" fmla="*/ 161172 w 253836"/>
                  <a:gd name="connsiteY543" fmla="*/ 43731 h 231970"/>
                  <a:gd name="connsiteX544" fmla="*/ 160554 w 253836"/>
                  <a:gd name="connsiteY544" fmla="*/ 44613 h 231970"/>
                  <a:gd name="connsiteX545" fmla="*/ 153237 w 253836"/>
                  <a:gd name="connsiteY545" fmla="*/ 45759 h 231970"/>
                  <a:gd name="connsiteX546" fmla="*/ 153589 w 253836"/>
                  <a:gd name="connsiteY546" fmla="*/ 46641 h 231970"/>
                  <a:gd name="connsiteX547" fmla="*/ 148035 w 253836"/>
                  <a:gd name="connsiteY547" fmla="*/ 46024 h 231970"/>
                  <a:gd name="connsiteX548" fmla="*/ 146448 w 253836"/>
                  <a:gd name="connsiteY548" fmla="*/ 46553 h 231970"/>
                  <a:gd name="connsiteX549" fmla="*/ 26010 w 253836"/>
                  <a:gd name="connsiteY549" fmla="*/ 31388 h 231970"/>
                  <a:gd name="connsiteX550" fmla="*/ 21601 w 253836"/>
                  <a:gd name="connsiteY550" fmla="*/ 29095 h 231970"/>
                  <a:gd name="connsiteX551" fmla="*/ 19838 w 253836"/>
                  <a:gd name="connsiteY551" fmla="*/ 25569 h 231970"/>
                  <a:gd name="connsiteX552" fmla="*/ 20367 w 253836"/>
                  <a:gd name="connsiteY552" fmla="*/ 24687 h 231970"/>
                  <a:gd name="connsiteX553" fmla="*/ 18868 w 253836"/>
                  <a:gd name="connsiteY553" fmla="*/ 22395 h 231970"/>
                  <a:gd name="connsiteX554" fmla="*/ 19132 w 253836"/>
                  <a:gd name="connsiteY554" fmla="*/ 21778 h 231970"/>
                  <a:gd name="connsiteX555" fmla="*/ 24335 w 253836"/>
                  <a:gd name="connsiteY555" fmla="*/ 20014 h 231970"/>
                  <a:gd name="connsiteX556" fmla="*/ 27244 w 253836"/>
                  <a:gd name="connsiteY556" fmla="*/ 20543 h 231970"/>
                  <a:gd name="connsiteX557" fmla="*/ 28126 w 253836"/>
                  <a:gd name="connsiteY557" fmla="*/ 24335 h 231970"/>
                  <a:gd name="connsiteX558" fmla="*/ 26715 w 253836"/>
                  <a:gd name="connsiteY558" fmla="*/ 30771 h 231970"/>
                  <a:gd name="connsiteX559" fmla="*/ 26010 w 253836"/>
                  <a:gd name="connsiteY559" fmla="*/ 31388 h 231970"/>
                  <a:gd name="connsiteX560" fmla="*/ 160467 w 253836"/>
                  <a:gd name="connsiteY560" fmla="*/ 210546 h 231970"/>
                  <a:gd name="connsiteX561" fmla="*/ 160202 w 253836"/>
                  <a:gd name="connsiteY561" fmla="*/ 209400 h 231970"/>
                  <a:gd name="connsiteX562" fmla="*/ 163729 w 253836"/>
                  <a:gd name="connsiteY562" fmla="*/ 203845 h 231970"/>
                  <a:gd name="connsiteX563" fmla="*/ 162847 w 253836"/>
                  <a:gd name="connsiteY563" fmla="*/ 201818 h 231970"/>
                  <a:gd name="connsiteX564" fmla="*/ 166021 w 253836"/>
                  <a:gd name="connsiteY564" fmla="*/ 198555 h 231970"/>
                  <a:gd name="connsiteX565" fmla="*/ 168666 w 253836"/>
                  <a:gd name="connsiteY565" fmla="*/ 195646 h 231970"/>
                  <a:gd name="connsiteX566" fmla="*/ 168137 w 253836"/>
                  <a:gd name="connsiteY566" fmla="*/ 191590 h 231970"/>
                  <a:gd name="connsiteX567" fmla="*/ 170782 w 253836"/>
                  <a:gd name="connsiteY567" fmla="*/ 190708 h 231970"/>
                  <a:gd name="connsiteX568" fmla="*/ 171664 w 253836"/>
                  <a:gd name="connsiteY568" fmla="*/ 187799 h 231970"/>
                  <a:gd name="connsiteX569" fmla="*/ 175455 w 253836"/>
                  <a:gd name="connsiteY569" fmla="*/ 187799 h 231970"/>
                  <a:gd name="connsiteX570" fmla="*/ 177218 w 253836"/>
                  <a:gd name="connsiteY570" fmla="*/ 185154 h 231970"/>
                  <a:gd name="connsiteX571" fmla="*/ 180392 w 253836"/>
                  <a:gd name="connsiteY571" fmla="*/ 184272 h 231970"/>
                  <a:gd name="connsiteX572" fmla="*/ 184448 w 253836"/>
                  <a:gd name="connsiteY572" fmla="*/ 184272 h 231970"/>
                  <a:gd name="connsiteX573" fmla="*/ 185859 w 253836"/>
                  <a:gd name="connsiteY573" fmla="*/ 184536 h 231970"/>
                  <a:gd name="connsiteX574" fmla="*/ 187622 w 253836"/>
                  <a:gd name="connsiteY574" fmla="*/ 185683 h 231970"/>
                  <a:gd name="connsiteX575" fmla="*/ 188504 w 253836"/>
                  <a:gd name="connsiteY575" fmla="*/ 188240 h 231970"/>
                  <a:gd name="connsiteX576" fmla="*/ 191413 w 253836"/>
                  <a:gd name="connsiteY576" fmla="*/ 189121 h 231970"/>
                  <a:gd name="connsiteX577" fmla="*/ 189386 w 253836"/>
                  <a:gd name="connsiteY577" fmla="*/ 195822 h 231970"/>
                  <a:gd name="connsiteX578" fmla="*/ 187622 w 253836"/>
                  <a:gd name="connsiteY578" fmla="*/ 196968 h 231970"/>
                  <a:gd name="connsiteX579" fmla="*/ 189386 w 253836"/>
                  <a:gd name="connsiteY579" fmla="*/ 205432 h 231970"/>
                  <a:gd name="connsiteX580" fmla="*/ 190003 w 253836"/>
                  <a:gd name="connsiteY580" fmla="*/ 204286 h 231970"/>
                  <a:gd name="connsiteX581" fmla="*/ 187975 w 253836"/>
                  <a:gd name="connsiteY581" fmla="*/ 201377 h 231970"/>
                  <a:gd name="connsiteX582" fmla="*/ 186476 w 253836"/>
                  <a:gd name="connsiteY582" fmla="*/ 201641 h 231970"/>
                  <a:gd name="connsiteX583" fmla="*/ 185330 w 253836"/>
                  <a:gd name="connsiteY583" fmla="*/ 202787 h 231970"/>
                  <a:gd name="connsiteX584" fmla="*/ 183038 w 253836"/>
                  <a:gd name="connsiteY584" fmla="*/ 203316 h 231970"/>
                  <a:gd name="connsiteX585" fmla="*/ 186476 w 253836"/>
                  <a:gd name="connsiteY585" fmla="*/ 207372 h 231970"/>
                  <a:gd name="connsiteX586" fmla="*/ 183038 w 253836"/>
                  <a:gd name="connsiteY586" fmla="*/ 207372 h 231970"/>
                  <a:gd name="connsiteX587" fmla="*/ 178364 w 253836"/>
                  <a:gd name="connsiteY587" fmla="*/ 208518 h 231970"/>
                  <a:gd name="connsiteX588" fmla="*/ 175455 w 253836"/>
                  <a:gd name="connsiteY588" fmla="*/ 209664 h 231970"/>
                  <a:gd name="connsiteX589" fmla="*/ 169901 w 253836"/>
                  <a:gd name="connsiteY589" fmla="*/ 210811 h 231970"/>
                  <a:gd name="connsiteX590" fmla="*/ 166991 w 253836"/>
                  <a:gd name="connsiteY590" fmla="*/ 208430 h 231970"/>
                  <a:gd name="connsiteX591" fmla="*/ 162935 w 253836"/>
                  <a:gd name="connsiteY591" fmla="*/ 206667 h 231970"/>
                  <a:gd name="connsiteX592" fmla="*/ 162935 w 253836"/>
                  <a:gd name="connsiteY592" fmla="*/ 208959 h 231970"/>
                  <a:gd name="connsiteX593" fmla="*/ 160467 w 253836"/>
                  <a:gd name="connsiteY593" fmla="*/ 210546 h 231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</a:cxnLst>
                <a:rect l="l" t="t" r="r" b="b"/>
                <a:pathLst>
                  <a:path w="253836" h="231970">
                    <a:moveTo>
                      <a:pt x="144155" y="29977"/>
                    </a:moveTo>
                    <a:lnTo>
                      <a:pt x="142127" y="28478"/>
                    </a:lnTo>
                    <a:lnTo>
                      <a:pt x="139218" y="29095"/>
                    </a:lnTo>
                    <a:lnTo>
                      <a:pt x="137719" y="27597"/>
                    </a:lnTo>
                    <a:lnTo>
                      <a:pt x="136308" y="20631"/>
                    </a:lnTo>
                    <a:lnTo>
                      <a:pt x="135691" y="20102"/>
                    </a:lnTo>
                    <a:lnTo>
                      <a:pt x="133928" y="21866"/>
                    </a:lnTo>
                    <a:lnTo>
                      <a:pt x="128990" y="18692"/>
                    </a:lnTo>
                    <a:lnTo>
                      <a:pt x="127491" y="16399"/>
                    </a:lnTo>
                    <a:lnTo>
                      <a:pt x="127756" y="15518"/>
                    </a:lnTo>
                    <a:lnTo>
                      <a:pt x="129519" y="16135"/>
                    </a:lnTo>
                    <a:lnTo>
                      <a:pt x="136220" y="18427"/>
                    </a:lnTo>
                    <a:lnTo>
                      <a:pt x="137631" y="17281"/>
                    </a:lnTo>
                    <a:lnTo>
                      <a:pt x="139129" y="17810"/>
                    </a:lnTo>
                    <a:lnTo>
                      <a:pt x="146448" y="26010"/>
                    </a:lnTo>
                    <a:lnTo>
                      <a:pt x="147329" y="25745"/>
                    </a:lnTo>
                    <a:lnTo>
                      <a:pt x="149886" y="27244"/>
                    </a:lnTo>
                    <a:lnTo>
                      <a:pt x="147329" y="29272"/>
                    </a:lnTo>
                    <a:lnTo>
                      <a:pt x="144155" y="29977"/>
                    </a:lnTo>
                    <a:close/>
                    <a:moveTo>
                      <a:pt x="253837" y="63217"/>
                    </a:moveTo>
                    <a:lnTo>
                      <a:pt x="253219" y="80410"/>
                    </a:lnTo>
                    <a:lnTo>
                      <a:pt x="252338" y="96721"/>
                    </a:lnTo>
                    <a:lnTo>
                      <a:pt x="251721" y="113296"/>
                    </a:lnTo>
                    <a:lnTo>
                      <a:pt x="250839" y="129343"/>
                    </a:lnTo>
                    <a:lnTo>
                      <a:pt x="250222" y="145919"/>
                    </a:lnTo>
                    <a:lnTo>
                      <a:pt x="249957" y="154383"/>
                    </a:lnTo>
                    <a:lnTo>
                      <a:pt x="248811" y="155265"/>
                    </a:lnTo>
                    <a:lnTo>
                      <a:pt x="248547" y="156763"/>
                    </a:lnTo>
                    <a:lnTo>
                      <a:pt x="247400" y="160555"/>
                    </a:lnTo>
                    <a:lnTo>
                      <a:pt x="246254" y="161084"/>
                    </a:lnTo>
                    <a:lnTo>
                      <a:pt x="247136" y="166903"/>
                    </a:lnTo>
                    <a:lnTo>
                      <a:pt x="249428" y="168049"/>
                    </a:lnTo>
                    <a:lnTo>
                      <a:pt x="248282" y="186124"/>
                    </a:lnTo>
                    <a:lnTo>
                      <a:pt x="246254" y="204815"/>
                    </a:lnTo>
                    <a:lnTo>
                      <a:pt x="245373" y="217952"/>
                    </a:lnTo>
                    <a:lnTo>
                      <a:pt x="245108" y="222625"/>
                    </a:lnTo>
                    <a:lnTo>
                      <a:pt x="242198" y="231971"/>
                    </a:lnTo>
                    <a:lnTo>
                      <a:pt x="239024" y="231089"/>
                    </a:lnTo>
                    <a:lnTo>
                      <a:pt x="235233" y="229943"/>
                    </a:lnTo>
                    <a:lnTo>
                      <a:pt x="232852" y="226769"/>
                    </a:lnTo>
                    <a:lnTo>
                      <a:pt x="232852" y="223860"/>
                    </a:lnTo>
                    <a:lnTo>
                      <a:pt x="229326" y="225006"/>
                    </a:lnTo>
                    <a:lnTo>
                      <a:pt x="227563" y="220950"/>
                    </a:lnTo>
                    <a:lnTo>
                      <a:pt x="227298" y="217776"/>
                    </a:lnTo>
                    <a:lnTo>
                      <a:pt x="226416" y="215748"/>
                    </a:lnTo>
                    <a:lnTo>
                      <a:pt x="223507" y="216630"/>
                    </a:lnTo>
                    <a:lnTo>
                      <a:pt x="221479" y="214337"/>
                    </a:lnTo>
                    <a:lnTo>
                      <a:pt x="221214" y="211692"/>
                    </a:lnTo>
                    <a:lnTo>
                      <a:pt x="218657" y="211692"/>
                    </a:lnTo>
                    <a:lnTo>
                      <a:pt x="216013" y="208783"/>
                    </a:lnTo>
                    <a:lnTo>
                      <a:pt x="213368" y="205344"/>
                    </a:lnTo>
                    <a:lnTo>
                      <a:pt x="212221" y="204110"/>
                    </a:lnTo>
                    <a:lnTo>
                      <a:pt x="208783" y="202347"/>
                    </a:lnTo>
                    <a:lnTo>
                      <a:pt x="207019" y="200319"/>
                    </a:lnTo>
                    <a:lnTo>
                      <a:pt x="204109" y="197762"/>
                    </a:lnTo>
                    <a:lnTo>
                      <a:pt x="200054" y="196880"/>
                    </a:lnTo>
                    <a:lnTo>
                      <a:pt x="197409" y="198908"/>
                    </a:lnTo>
                    <a:lnTo>
                      <a:pt x="196263" y="200054"/>
                    </a:lnTo>
                    <a:lnTo>
                      <a:pt x="192736" y="201553"/>
                    </a:lnTo>
                    <a:lnTo>
                      <a:pt x="193088" y="199525"/>
                    </a:lnTo>
                    <a:lnTo>
                      <a:pt x="193088" y="195998"/>
                    </a:lnTo>
                    <a:lnTo>
                      <a:pt x="198291" y="195117"/>
                    </a:lnTo>
                    <a:lnTo>
                      <a:pt x="194499" y="193970"/>
                    </a:lnTo>
                    <a:lnTo>
                      <a:pt x="195646" y="190532"/>
                    </a:lnTo>
                    <a:lnTo>
                      <a:pt x="192119" y="186741"/>
                    </a:lnTo>
                    <a:lnTo>
                      <a:pt x="190972" y="184360"/>
                    </a:lnTo>
                    <a:lnTo>
                      <a:pt x="190091" y="184096"/>
                    </a:lnTo>
                    <a:lnTo>
                      <a:pt x="189474" y="181803"/>
                    </a:lnTo>
                    <a:lnTo>
                      <a:pt x="188592" y="179158"/>
                    </a:lnTo>
                    <a:lnTo>
                      <a:pt x="187710" y="177130"/>
                    </a:lnTo>
                    <a:lnTo>
                      <a:pt x="188592" y="174838"/>
                    </a:lnTo>
                    <a:lnTo>
                      <a:pt x="185683" y="175984"/>
                    </a:lnTo>
                    <a:lnTo>
                      <a:pt x="184536" y="174485"/>
                    </a:lnTo>
                    <a:lnTo>
                      <a:pt x="183655" y="173604"/>
                    </a:lnTo>
                    <a:lnTo>
                      <a:pt x="184272" y="172193"/>
                    </a:lnTo>
                    <a:lnTo>
                      <a:pt x="185154" y="170694"/>
                    </a:lnTo>
                    <a:lnTo>
                      <a:pt x="185154" y="169548"/>
                    </a:lnTo>
                    <a:lnTo>
                      <a:pt x="185506" y="168049"/>
                    </a:lnTo>
                    <a:lnTo>
                      <a:pt x="186388" y="166286"/>
                    </a:lnTo>
                    <a:lnTo>
                      <a:pt x="186123" y="164875"/>
                    </a:lnTo>
                    <a:lnTo>
                      <a:pt x="184713" y="163112"/>
                    </a:lnTo>
                    <a:lnTo>
                      <a:pt x="183831" y="161613"/>
                    </a:lnTo>
                    <a:lnTo>
                      <a:pt x="185242" y="160202"/>
                    </a:lnTo>
                    <a:lnTo>
                      <a:pt x="184713" y="159320"/>
                    </a:lnTo>
                    <a:lnTo>
                      <a:pt x="183302" y="159585"/>
                    </a:lnTo>
                    <a:lnTo>
                      <a:pt x="181803" y="157557"/>
                    </a:lnTo>
                    <a:lnTo>
                      <a:pt x="180657" y="152267"/>
                    </a:lnTo>
                    <a:lnTo>
                      <a:pt x="180657" y="154912"/>
                    </a:lnTo>
                    <a:lnTo>
                      <a:pt x="179775" y="155794"/>
                    </a:lnTo>
                    <a:lnTo>
                      <a:pt x="178629" y="155794"/>
                    </a:lnTo>
                    <a:lnTo>
                      <a:pt x="179511" y="153766"/>
                    </a:lnTo>
                    <a:lnTo>
                      <a:pt x="180657" y="150503"/>
                    </a:lnTo>
                    <a:lnTo>
                      <a:pt x="181538" y="148211"/>
                    </a:lnTo>
                    <a:lnTo>
                      <a:pt x="179775" y="146800"/>
                    </a:lnTo>
                    <a:lnTo>
                      <a:pt x="178012" y="146800"/>
                    </a:lnTo>
                    <a:lnTo>
                      <a:pt x="178012" y="145919"/>
                    </a:lnTo>
                    <a:lnTo>
                      <a:pt x="178012" y="144155"/>
                    </a:lnTo>
                    <a:lnTo>
                      <a:pt x="178012" y="143009"/>
                    </a:lnTo>
                    <a:lnTo>
                      <a:pt x="176866" y="140981"/>
                    </a:lnTo>
                    <a:lnTo>
                      <a:pt x="175455" y="140717"/>
                    </a:lnTo>
                    <a:lnTo>
                      <a:pt x="174573" y="140717"/>
                    </a:lnTo>
                    <a:lnTo>
                      <a:pt x="173427" y="138072"/>
                    </a:lnTo>
                    <a:lnTo>
                      <a:pt x="173427" y="135427"/>
                    </a:lnTo>
                    <a:lnTo>
                      <a:pt x="170782" y="133399"/>
                    </a:lnTo>
                    <a:lnTo>
                      <a:pt x="169283" y="132517"/>
                    </a:lnTo>
                    <a:lnTo>
                      <a:pt x="168401" y="130754"/>
                    </a:lnTo>
                    <a:lnTo>
                      <a:pt x="166638" y="128990"/>
                    </a:lnTo>
                    <a:lnTo>
                      <a:pt x="165227" y="129255"/>
                    </a:lnTo>
                    <a:lnTo>
                      <a:pt x="161701" y="126962"/>
                    </a:lnTo>
                    <a:lnTo>
                      <a:pt x="158791" y="124670"/>
                    </a:lnTo>
                    <a:lnTo>
                      <a:pt x="155000" y="123171"/>
                    </a:lnTo>
                    <a:lnTo>
                      <a:pt x="152972" y="123436"/>
                    </a:lnTo>
                    <a:lnTo>
                      <a:pt x="150944" y="122554"/>
                    </a:lnTo>
                    <a:lnTo>
                      <a:pt x="148035" y="122202"/>
                    </a:lnTo>
                    <a:lnTo>
                      <a:pt x="147153" y="119556"/>
                    </a:lnTo>
                    <a:lnTo>
                      <a:pt x="147770" y="117264"/>
                    </a:lnTo>
                    <a:lnTo>
                      <a:pt x="143979" y="116382"/>
                    </a:lnTo>
                    <a:lnTo>
                      <a:pt x="141951" y="114619"/>
                    </a:lnTo>
                    <a:lnTo>
                      <a:pt x="137895" y="114002"/>
                    </a:lnTo>
                    <a:lnTo>
                      <a:pt x="135867" y="114266"/>
                    </a:lnTo>
                    <a:lnTo>
                      <a:pt x="134104" y="113120"/>
                    </a:lnTo>
                    <a:lnTo>
                      <a:pt x="128285" y="112855"/>
                    </a:lnTo>
                    <a:lnTo>
                      <a:pt x="125992" y="111974"/>
                    </a:lnTo>
                    <a:lnTo>
                      <a:pt x="122201" y="107918"/>
                    </a:lnTo>
                    <a:lnTo>
                      <a:pt x="116382" y="109064"/>
                    </a:lnTo>
                    <a:lnTo>
                      <a:pt x="114354" y="108447"/>
                    </a:lnTo>
                    <a:lnTo>
                      <a:pt x="112855" y="107037"/>
                    </a:lnTo>
                    <a:lnTo>
                      <a:pt x="112591" y="103862"/>
                    </a:lnTo>
                    <a:lnTo>
                      <a:pt x="107918" y="103862"/>
                    </a:lnTo>
                    <a:lnTo>
                      <a:pt x="107037" y="101217"/>
                    </a:lnTo>
                    <a:lnTo>
                      <a:pt x="103862" y="100336"/>
                    </a:lnTo>
                    <a:lnTo>
                      <a:pt x="101570" y="99189"/>
                    </a:lnTo>
                    <a:lnTo>
                      <a:pt x="101041" y="97690"/>
                    </a:lnTo>
                    <a:lnTo>
                      <a:pt x="97249" y="97426"/>
                    </a:lnTo>
                    <a:lnTo>
                      <a:pt x="95487" y="97426"/>
                    </a:lnTo>
                    <a:lnTo>
                      <a:pt x="94340" y="97426"/>
                    </a:lnTo>
                    <a:lnTo>
                      <a:pt x="94340" y="95663"/>
                    </a:lnTo>
                    <a:lnTo>
                      <a:pt x="92312" y="93635"/>
                    </a:lnTo>
                    <a:lnTo>
                      <a:pt x="93723" y="93018"/>
                    </a:lnTo>
                    <a:lnTo>
                      <a:pt x="90196" y="91519"/>
                    </a:lnTo>
                    <a:lnTo>
                      <a:pt x="91078" y="89755"/>
                    </a:lnTo>
                    <a:lnTo>
                      <a:pt x="91342" y="88257"/>
                    </a:lnTo>
                    <a:lnTo>
                      <a:pt x="89932" y="85347"/>
                    </a:lnTo>
                    <a:lnTo>
                      <a:pt x="89932" y="84730"/>
                    </a:lnTo>
                    <a:lnTo>
                      <a:pt x="91078" y="83584"/>
                    </a:lnTo>
                    <a:lnTo>
                      <a:pt x="91342" y="78029"/>
                    </a:lnTo>
                    <a:lnTo>
                      <a:pt x="92753" y="78029"/>
                    </a:lnTo>
                    <a:lnTo>
                      <a:pt x="94516" y="75384"/>
                    </a:lnTo>
                    <a:lnTo>
                      <a:pt x="96015" y="76530"/>
                    </a:lnTo>
                    <a:lnTo>
                      <a:pt x="95751" y="75384"/>
                    </a:lnTo>
                    <a:lnTo>
                      <a:pt x="94605" y="74502"/>
                    </a:lnTo>
                    <a:lnTo>
                      <a:pt x="95222" y="72210"/>
                    </a:lnTo>
                    <a:lnTo>
                      <a:pt x="94076" y="71328"/>
                    </a:lnTo>
                    <a:lnTo>
                      <a:pt x="93458" y="73973"/>
                    </a:lnTo>
                    <a:lnTo>
                      <a:pt x="91960" y="74590"/>
                    </a:lnTo>
                    <a:lnTo>
                      <a:pt x="90196" y="76618"/>
                    </a:lnTo>
                    <a:lnTo>
                      <a:pt x="90196" y="82437"/>
                    </a:lnTo>
                    <a:lnTo>
                      <a:pt x="89932" y="83584"/>
                    </a:lnTo>
                    <a:lnTo>
                      <a:pt x="88168" y="84201"/>
                    </a:lnTo>
                    <a:lnTo>
                      <a:pt x="87022" y="82702"/>
                    </a:lnTo>
                    <a:lnTo>
                      <a:pt x="86405" y="84201"/>
                    </a:lnTo>
                    <a:lnTo>
                      <a:pt x="88168" y="84818"/>
                    </a:lnTo>
                    <a:lnTo>
                      <a:pt x="88697" y="86581"/>
                    </a:lnTo>
                    <a:lnTo>
                      <a:pt x="88433" y="87728"/>
                    </a:lnTo>
                    <a:lnTo>
                      <a:pt x="84906" y="90902"/>
                    </a:lnTo>
                    <a:lnTo>
                      <a:pt x="84641" y="92665"/>
                    </a:lnTo>
                    <a:lnTo>
                      <a:pt x="85788" y="94428"/>
                    </a:lnTo>
                    <a:lnTo>
                      <a:pt x="75560" y="95927"/>
                    </a:lnTo>
                    <a:lnTo>
                      <a:pt x="75560" y="100865"/>
                    </a:lnTo>
                    <a:lnTo>
                      <a:pt x="73797" y="100247"/>
                    </a:lnTo>
                    <a:lnTo>
                      <a:pt x="71416" y="98484"/>
                    </a:lnTo>
                    <a:lnTo>
                      <a:pt x="67625" y="98749"/>
                    </a:lnTo>
                    <a:lnTo>
                      <a:pt x="65333" y="95574"/>
                    </a:lnTo>
                    <a:lnTo>
                      <a:pt x="66215" y="91783"/>
                    </a:lnTo>
                    <a:lnTo>
                      <a:pt x="69741" y="89755"/>
                    </a:lnTo>
                    <a:lnTo>
                      <a:pt x="70006" y="88874"/>
                    </a:lnTo>
                    <a:lnTo>
                      <a:pt x="72915" y="89491"/>
                    </a:lnTo>
                    <a:lnTo>
                      <a:pt x="72033" y="87463"/>
                    </a:lnTo>
                    <a:lnTo>
                      <a:pt x="70535" y="85700"/>
                    </a:lnTo>
                    <a:lnTo>
                      <a:pt x="70270" y="83672"/>
                    </a:lnTo>
                    <a:lnTo>
                      <a:pt x="71681" y="81027"/>
                    </a:lnTo>
                    <a:lnTo>
                      <a:pt x="71152" y="80145"/>
                    </a:lnTo>
                    <a:lnTo>
                      <a:pt x="70006" y="80498"/>
                    </a:lnTo>
                    <a:lnTo>
                      <a:pt x="70006" y="81644"/>
                    </a:lnTo>
                    <a:lnTo>
                      <a:pt x="69388" y="81909"/>
                    </a:lnTo>
                    <a:lnTo>
                      <a:pt x="65862" y="85435"/>
                    </a:lnTo>
                    <a:lnTo>
                      <a:pt x="64099" y="82173"/>
                    </a:lnTo>
                    <a:lnTo>
                      <a:pt x="61189" y="81027"/>
                    </a:lnTo>
                    <a:lnTo>
                      <a:pt x="59690" y="76354"/>
                    </a:lnTo>
                    <a:lnTo>
                      <a:pt x="58191" y="71416"/>
                    </a:lnTo>
                    <a:lnTo>
                      <a:pt x="55811" y="72563"/>
                    </a:lnTo>
                    <a:lnTo>
                      <a:pt x="51138" y="70535"/>
                    </a:lnTo>
                    <a:lnTo>
                      <a:pt x="49991" y="68507"/>
                    </a:lnTo>
                    <a:lnTo>
                      <a:pt x="50256" y="66126"/>
                    </a:lnTo>
                    <a:lnTo>
                      <a:pt x="52019" y="67273"/>
                    </a:lnTo>
                    <a:lnTo>
                      <a:pt x="52901" y="68154"/>
                    </a:lnTo>
                    <a:lnTo>
                      <a:pt x="53782" y="67537"/>
                    </a:lnTo>
                    <a:lnTo>
                      <a:pt x="56692" y="66391"/>
                    </a:lnTo>
                    <a:lnTo>
                      <a:pt x="56163" y="66391"/>
                    </a:lnTo>
                    <a:lnTo>
                      <a:pt x="58191" y="65509"/>
                    </a:lnTo>
                    <a:lnTo>
                      <a:pt x="63128" y="66126"/>
                    </a:lnTo>
                    <a:lnTo>
                      <a:pt x="63128" y="67273"/>
                    </a:lnTo>
                    <a:lnTo>
                      <a:pt x="66038" y="66391"/>
                    </a:lnTo>
                    <a:lnTo>
                      <a:pt x="69212" y="68771"/>
                    </a:lnTo>
                    <a:lnTo>
                      <a:pt x="70975" y="67890"/>
                    </a:lnTo>
                    <a:lnTo>
                      <a:pt x="69829" y="65862"/>
                    </a:lnTo>
                    <a:lnTo>
                      <a:pt x="70446" y="64098"/>
                    </a:lnTo>
                    <a:lnTo>
                      <a:pt x="72210" y="61453"/>
                    </a:lnTo>
                    <a:lnTo>
                      <a:pt x="74502" y="59690"/>
                    </a:lnTo>
                    <a:lnTo>
                      <a:pt x="78558" y="59690"/>
                    </a:lnTo>
                    <a:lnTo>
                      <a:pt x="80939" y="59073"/>
                    </a:lnTo>
                    <a:lnTo>
                      <a:pt x="82349" y="59690"/>
                    </a:lnTo>
                    <a:lnTo>
                      <a:pt x="84112" y="61718"/>
                    </a:lnTo>
                    <a:lnTo>
                      <a:pt x="84377" y="64627"/>
                    </a:lnTo>
                    <a:lnTo>
                      <a:pt x="84994" y="61101"/>
                    </a:lnTo>
                    <a:lnTo>
                      <a:pt x="85611" y="61101"/>
                    </a:lnTo>
                    <a:lnTo>
                      <a:pt x="85611" y="64627"/>
                    </a:lnTo>
                    <a:lnTo>
                      <a:pt x="85876" y="62864"/>
                    </a:lnTo>
                    <a:lnTo>
                      <a:pt x="85876" y="61718"/>
                    </a:lnTo>
                    <a:lnTo>
                      <a:pt x="87022" y="63217"/>
                    </a:lnTo>
                    <a:lnTo>
                      <a:pt x="89403" y="62335"/>
                    </a:lnTo>
                    <a:lnTo>
                      <a:pt x="90549" y="62952"/>
                    </a:lnTo>
                    <a:lnTo>
                      <a:pt x="90549" y="66479"/>
                    </a:lnTo>
                    <a:lnTo>
                      <a:pt x="91166" y="61542"/>
                    </a:lnTo>
                    <a:lnTo>
                      <a:pt x="91783" y="61542"/>
                    </a:lnTo>
                    <a:lnTo>
                      <a:pt x="93282" y="65068"/>
                    </a:lnTo>
                    <a:lnTo>
                      <a:pt x="93547" y="64187"/>
                    </a:lnTo>
                    <a:lnTo>
                      <a:pt x="93547" y="60660"/>
                    </a:lnTo>
                    <a:lnTo>
                      <a:pt x="92136" y="60395"/>
                    </a:lnTo>
                    <a:lnTo>
                      <a:pt x="92400" y="59514"/>
                    </a:lnTo>
                    <a:lnTo>
                      <a:pt x="95662" y="60660"/>
                    </a:lnTo>
                    <a:lnTo>
                      <a:pt x="94516" y="59161"/>
                    </a:lnTo>
                    <a:lnTo>
                      <a:pt x="97778" y="58896"/>
                    </a:lnTo>
                    <a:lnTo>
                      <a:pt x="96632" y="58632"/>
                    </a:lnTo>
                    <a:lnTo>
                      <a:pt x="95487" y="58367"/>
                    </a:lnTo>
                    <a:lnTo>
                      <a:pt x="96897" y="57221"/>
                    </a:lnTo>
                    <a:lnTo>
                      <a:pt x="94869" y="57221"/>
                    </a:lnTo>
                    <a:lnTo>
                      <a:pt x="96368" y="56604"/>
                    </a:lnTo>
                    <a:lnTo>
                      <a:pt x="96985" y="54576"/>
                    </a:lnTo>
                    <a:lnTo>
                      <a:pt x="96720" y="54841"/>
                    </a:lnTo>
                    <a:lnTo>
                      <a:pt x="96456" y="55722"/>
                    </a:lnTo>
                    <a:lnTo>
                      <a:pt x="94164" y="56340"/>
                    </a:lnTo>
                    <a:lnTo>
                      <a:pt x="93282" y="55458"/>
                    </a:lnTo>
                    <a:lnTo>
                      <a:pt x="95310" y="53695"/>
                    </a:lnTo>
                    <a:lnTo>
                      <a:pt x="96456" y="52284"/>
                    </a:lnTo>
                    <a:lnTo>
                      <a:pt x="94958" y="51667"/>
                    </a:lnTo>
                    <a:lnTo>
                      <a:pt x="89138" y="54841"/>
                    </a:lnTo>
                    <a:lnTo>
                      <a:pt x="85082" y="53342"/>
                    </a:lnTo>
                    <a:lnTo>
                      <a:pt x="81291" y="54488"/>
                    </a:lnTo>
                    <a:lnTo>
                      <a:pt x="76618" y="55017"/>
                    </a:lnTo>
                    <a:lnTo>
                      <a:pt x="74590" y="55899"/>
                    </a:lnTo>
                    <a:lnTo>
                      <a:pt x="72298" y="55017"/>
                    </a:lnTo>
                    <a:lnTo>
                      <a:pt x="69388" y="56516"/>
                    </a:lnTo>
                    <a:lnTo>
                      <a:pt x="67096" y="53606"/>
                    </a:lnTo>
                    <a:lnTo>
                      <a:pt x="64186" y="54224"/>
                    </a:lnTo>
                    <a:lnTo>
                      <a:pt x="61806" y="55634"/>
                    </a:lnTo>
                    <a:lnTo>
                      <a:pt x="60660" y="55370"/>
                    </a:lnTo>
                    <a:lnTo>
                      <a:pt x="57133" y="52460"/>
                    </a:lnTo>
                    <a:lnTo>
                      <a:pt x="55987" y="53606"/>
                    </a:lnTo>
                    <a:lnTo>
                      <a:pt x="53078" y="52725"/>
                    </a:lnTo>
                    <a:lnTo>
                      <a:pt x="54840" y="49551"/>
                    </a:lnTo>
                    <a:lnTo>
                      <a:pt x="52548" y="50697"/>
                    </a:lnTo>
                    <a:lnTo>
                      <a:pt x="51931" y="49551"/>
                    </a:lnTo>
                    <a:lnTo>
                      <a:pt x="51314" y="47787"/>
                    </a:lnTo>
                    <a:lnTo>
                      <a:pt x="50961" y="46377"/>
                    </a:lnTo>
                    <a:lnTo>
                      <a:pt x="49815" y="46377"/>
                    </a:lnTo>
                    <a:lnTo>
                      <a:pt x="47787" y="45759"/>
                    </a:lnTo>
                    <a:lnTo>
                      <a:pt x="47787" y="44613"/>
                    </a:lnTo>
                    <a:lnTo>
                      <a:pt x="49198" y="43467"/>
                    </a:lnTo>
                    <a:lnTo>
                      <a:pt x="50080" y="41968"/>
                    </a:lnTo>
                    <a:lnTo>
                      <a:pt x="46553" y="39940"/>
                    </a:lnTo>
                    <a:lnTo>
                      <a:pt x="47699" y="38177"/>
                    </a:lnTo>
                    <a:lnTo>
                      <a:pt x="47435" y="36414"/>
                    </a:lnTo>
                    <a:lnTo>
                      <a:pt x="43908" y="37031"/>
                    </a:lnTo>
                    <a:lnTo>
                      <a:pt x="41263" y="37648"/>
                    </a:lnTo>
                    <a:lnTo>
                      <a:pt x="38618" y="36766"/>
                    </a:lnTo>
                    <a:lnTo>
                      <a:pt x="36590" y="37031"/>
                    </a:lnTo>
                    <a:lnTo>
                      <a:pt x="36325" y="36149"/>
                    </a:lnTo>
                    <a:lnTo>
                      <a:pt x="34298" y="35267"/>
                    </a:lnTo>
                    <a:lnTo>
                      <a:pt x="31652" y="35532"/>
                    </a:lnTo>
                    <a:lnTo>
                      <a:pt x="31035" y="35267"/>
                    </a:lnTo>
                    <a:lnTo>
                      <a:pt x="31035" y="34650"/>
                    </a:lnTo>
                    <a:lnTo>
                      <a:pt x="34827" y="31741"/>
                    </a:lnTo>
                    <a:lnTo>
                      <a:pt x="34209" y="30594"/>
                    </a:lnTo>
                    <a:lnTo>
                      <a:pt x="35973" y="30065"/>
                    </a:lnTo>
                    <a:lnTo>
                      <a:pt x="37736" y="26539"/>
                    </a:lnTo>
                    <a:lnTo>
                      <a:pt x="37472" y="20720"/>
                    </a:lnTo>
                    <a:lnTo>
                      <a:pt x="39499" y="19573"/>
                    </a:lnTo>
                    <a:lnTo>
                      <a:pt x="43555" y="17810"/>
                    </a:lnTo>
                    <a:lnTo>
                      <a:pt x="43555" y="18692"/>
                    </a:lnTo>
                    <a:lnTo>
                      <a:pt x="43290" y="19309"/>
                    </a:lnTo>
                    <a:lnTo>
                      <a:pt x="48845" y="14900"/>
                    </a:lnTo>
                    <a:lnTo>
                      <a:pt x="51226" y="13137"/>
                    </a:lnTo>
                    <a:lnTo>
                      <a:pt x="54400" y="11109"/>
                    </a:lnTo>
                    <a:lnTo>
                      <a:pt x="57309" y="10492"/>
                    </a:lnTo>
                    <a:lnTo>
                      <a:pt x="59602" y="8464"/>
                    </a:lnTo>
                    <a:lnTo>
                      <a:pt x="63393" y="8464"/>
                    </a:lnTo>
                    <a:lnTo>
                      <a:pt x="70711" y="9346"/>
                    </a:lnTo>
                    <a:lnTo>
                      <a:pt x="74238" y="11109"/>
                    </a:lnTo>
                    <a:lnTo>
                      <a:pt x="75384" y="10845"/>
                    </a:lnTo>
                    <a:lnTo>
                      <a:pt x="76530" y="12344"/>
                    </a:lnTo>
                    <a:lnTo>
                      <a:pt x="80939" y="14371"/>
                    </a:lnTo>
                    <a:lnTo>
                      <a:pt x="84730" y="17898"/>
                    </a:lnTo>
                    <a:lnTo>
                      <a:pt x="92312" y="18515"/>
                    </a:lnTo>
                    <a:lnTo>
                      <a:pt x="93458" y="17898"/>
                    </a:lnTo>
                    <a:lnTo>
                      <a:pt x="94869" y="18163"/>
                    </a:lnTo>
                    <a:lnTo>
                      <a:pt x="97514" y="17898"/>
                    </a:lnTo>
                    <a:lnTo>
                      <a:pt x="101570" y="21425"/>
                    </a:lnTo>
                    <a:lnTo>
                      <a:pt x="100424" y="21689"/>
                    </a:lnTo>
                    <a:lnTo>
                      <a:pt x="99278" y="21954"/>
                    </a:lnTo>
                    <a:lnTo>
                      <a:pt x="98396" y="23717"/>
                    </a:lnTo>
                    <a:lnTo>
                      <a:pt x="97249" y="28655"/>
                    </a:lnTo>
                    <a:lnTo>
                      <a:pt x="99278" y="32181"/>
                    </a:lnTo>
                    <a:lnTo>
                      <a:pt x="103598" y="33592"/>
                    </a:lnTo>
                    <a:lnTo>
                      <a:pt x="102716" y="36237"/>
                    </a:lnTo>
                    <a:lnTo>
                      <a:pt x="101834" y="38882"/>
                    </a:lnTo>
                    <a:lnTo>
                      <a:pt x="99807" y="40910"/>
                    </a:lnTo>
                    <a:lnTo>
                      <a:pt x="101041" y="44437"/>
                    </a:lnTo>
                    <a:lnTo>
                      <a:pt x="98660" y="46729"/>
                    </a:lnTo>
                    <a:lnTo>
                      <a:pt x="101041" y="50256"/>
                    </a:lnTo>
                    <a:lnTo>
                      <a:pt x="100424" y="50521"/>
                    </a:lnTo>
                    <a:lnTo>
                      <a:pt x="101305" y="56957"/>
                    </a:lnTo>
                    <a:lnTo>
                      <a:pt x="101041" y="60484"/>
                    </a:lnTo>
                    <a:lnTo>
                      <a:pt x="102452" y="64275"/>
                    </a:lnTo>
                    <a:lnTo>
                      <a:pt x="106243" y="66038"/>
                    </a:lnTo>
                    <a:lnTo>
                      <a:pt x="107742" y="70094"/>
                    </a:lnTo>
                    <a:lnTo>
                      <a:pt x="108888" y="69829"/>
                    </a:lnTo>
                    <a:lnTo>
                      <a:pt x="109152" y="69565"/>
                    </a:lnTo>
                    <a:lnTo>
                      <a:pt x="108006" y="63129"/>
                    </a:lnTo>
                    <a:lnTo>
                      <a:pt x="108270" y="61982"/>
                    </a:lnTo>
                    <a:lnTo>
                      <a:pt x="109505" y="60572"/>
                    </a:lnTo>
                    <a:lnTo>
                      <a:pt x="111797" y="61718"/>
                    </a:lnTo>
                    <a:lnTo>
                      <a:pt x="112062" y="65245"/>
                    </a:lnTo>
                    <a:lnTo>
                      <a:pt x="111445" y="69036"/>
                    </a:lnTo>
                    <a:lnTo>
                      <a:pt x="110916" y="71945"/>
                    </a:lnTo>
                    <a:lnTo>
                      <a:pt x="110916" y="73709"/>
                    </a:lnTo>
                    <a:lnTo>
                      <a:pt x="112944" y="72827"/>
                    </a:lnTo>
                    <a:lnTo>
                      <a:pt x="113561" y="73356"/>
                    </a:lnTo>
                    <a:lnTo>
                      <a:pt x="115324" y="72827"/>
                    </a:lnTo>
                    <a:lnTo>
                      <a:pt x="115941" y="71328"/>
                    </a:lnTo>
                    <a:lnTo>
                      <a:pt x="116558" y="71328"/>
                    </a:lnTo>
                    <a:lnTo>
                      <a:pt x="116558" y="73973"/>
                    </a:lnTo>
                    <a:lnTo>
                      <a:pt x="115677" y="76618"/>
                    </a:lnTo>
                    <a:lnTo>
                      <a:pt x="114531" y="79792"/>
                    </a:lnTo>
                    <a:lnTo>
                      <a:pt x="117176" y="79792"/>
                    </a:lnTo>
                    <a:lnTo>
                      <a:pt x="118322" y="79792"/>
                    </a:lnTo>
                    <a:lnTo>
                      <a:pt x="119468" y="81820"/>
                    </a:lnTo>
                    <a:lnTo>
                      <a:pt x="121232" y="82966"/>
                    </a:lnTo>
                    <a:lnTo>
                      <a:pt x="123876" y="82349"/>
                    </a:lnTo>
                    <a:lnTo>
                      <a:pt x="127050" y="83231"/>
                    </a:lnTo>
                    <a:lnTo>
                      <a:pt x="126433" y="80322"/>
                    </a:lnTo>
                    <a:lnTo>
                      <a:pt x="130225" y="80939"/>
                    </a:lnTo>
                    <a:lnTo>
                      <a:pt x="129608" y="77412"/>
                    </a:lnTo>
                    <a:lnTo>
                      <a:pt x="132517" y="75384"/>
                    </a:lnTo>
                    <a:lnTo>
                      <a:pt x="132517" y="73885"/>
                    </a:lnTo>
                    <a:lnTo>
                      <a:pt x="135427" y="71857"/>
                    </a:lnTo>
                    <a:lnTo>
                      <a:pt x="137719" y="72122"/>
                    </a:lnTo>
                    <a:lnTo>
                      <a:pt x="136573" y="68948"/>
                    </a:lnTo>
                    <a:lnTo>
                      <a:pt x="139218" y="68948"/>
                    </a:lnTo>
                    <a:lnTo>
                      <a:pt x="140364" y="68330"/>
                    </a:lnTo>
                    <a:lnTo>
                      <a:pt x="141510" y="64539"/>
                    </a:lnTo>
                    <a:lnTo>
                      <a:pt x="144420" y="62776"/>
                    </a:lnTo>
                    <a:lnTo>
                      <a:pt x="144420" y="58985"/>
                    </a:lnTo>
                    <a:lnTo>
                      <a:pt x="145566" y="55810"/>
                    </a:lnTo>
                    <a:lnTo>
                      <a:pt x="146448" y="54929"/>
                    </a:lnTo>
                    <a:lnTo>
                      <a:pt x="149092" y="54047"/>
                    </a:lnTo>
                    <a:lnTo>
                      <a:pt x="150239" y="54312"/>
                    </a:lnTo>
                    <a:lnTo>
                      <a:pt x="153148" y="53695"/>
                    </a:lnTo>
                    <a:lnTo>
                      <a:pt x="153148" y="54841"/>
                    </a:lnTo>
                    <a:lnTo>
                      <a:pt x="157557" y="52196"/>
                    </a:lnTo>
                    <a:lnTo>
                      <a:pt x="159056" y="51050"/>
                    </a:lnTo>
                    <a:lnTo>
                      <a:pt x="161348" y="50785"/>
                    </a:lnTo>
                    <a:lnTo>
                      <a:pt x="162494" y="48493"/>
                    </a:lnTo>
                    <a:lnTo>
                      <a:pt x="162494" y="46112"/>
                    </a:lnTo>
                    <a:lnTo>
                      <a:pt x="163376" y="46729"/>
                    </a:lnTo>
                    <a:lnTo>
                      <a:pt x="165404" y="46465"/>
                    </a:lnTo>
                    <a:lnTo>
                      <a:pt x="166021" y="44701"/>
                    </a:lnTo>
                    <a:lnTo>
                      <a:pt x="165756" y="41175"/>
                    </a:lnTo>
                    <a:lnTo>
                      <a:pt x="167255" y="41439"/>
                    </a:lnTo>
                    <a:lnTo>
                      <a:pt x="168401" y="39676"/>
                    </a:lnTo>
                    <a:lnTo>
                      <a:pt x="172457" y="38177"/>
                    </a:lnTo>
                    <a:lnTo>
                      <a:pt x="171928" y="36149"/>
                    </a:lnTo>
                    <a:lnTo>
                      <a:pt x="174838" y="34121"/>
                    </a:lnTo>
                    <a:lnTo>
                      <a:pt x="178276" y="34386"/>
                    </a:lnTo>
                    <a:lnTo>
                      <a:pt x="181803" y="36149"/>
                    </a:lnTo>
                    <a:lnTo>
                      <a:pt x="183567" y="36414"/>
                    </a:lnTo>
                    <a:lnTo>
                      <a:pt x="186476" y="39059"/>
                    </a:lnTo>
                    <a:lnTo>
                      <a:pt x="197321" y="43467"/>
                    </a:lnTo>
                    <a:lnTo>
                      <a:pt x="199349" y="43731"/>
                    </a:lnTo>
                    <a:lnTo>
                      <a:pt x="203757" y="47787"/>
                    </a:lnTo>
                    <a:lnTo>
                      <a:pt x="210458" y="50168"/>
                    </a:lnTo>
                    <a:lnTo>
                      <a:pt x="220333" y="55722"/>
                    </a:lnTo>
                    <a:lnTo>
                      <a:pt x="224741" y="58103"/>
                    </a:lnTo>
                    <a:lnTo>
                      <a:pt x="230296" y="57838"/>
                    </a:lnTo>
                    <a:lnTo>
                      <a:pt x="232323" y="56957"/>
                    </a:lnTo>
                    <a:lnTo>
                      <a:pt x="235850" y="60131"/>
                    </a:lnTo>
                    <a:lnTo>
                      <a:pt x="236997" y="60131"/>
                    </a:lnTo>
                    <a:lnTo>
                      <a:pt x="236997" y="58985"/>
                    </a:lnTo>
                    <a:lnTo>
                      <a:pt x="244314" y="60748"/>
                    </a:lnTo>
                    <a:lnTo>
                      <a:pt x="245196" y="61365"/>
                    </a:lnTo>
                    <a:lnTo>
                      <a:pt x="245196" y="62511"/>
                    </a:lnTo>
                    <a:lnTo>
                      <a:pt x="244314" y="63922"/>
                    </a:lnTo>
                    <a:lnTo>
                      <a:pt x="244931" y="64539"/>
                    </a:lnTo>
                    <a:lnTo>
                      <a:pt x="246960" y="63922"/>
                    </a:lnTo>
                    <a:lnTo>
                      <a:pt x="253837" y="63217"/>
                    </a:lnTo>
                    <a:close/>
                    <a:moveTo>
                      <a:pt x="27773" y="10757"/>
                    </a:moveTo>
                    <a:lnTo>
                      <a:pt x="26274" y="10757"/>
                    </a:lnTo>
                    <a:lnTo>
                      <a:pt x="25128" y="8464"/>
                    </a:lnTo>
                    <a:lnTo>
                      <a:pt x="25393" y="7318"/>
                    </a:lnTo>
                    <a:lnTo>
                      <a:pt x="23012" y="7935"/>
                    </a:lnTo>
                    <a:lnTo>
                      <a:pt x="22395" y="10580"/>
                    </a:lnTo>
                    <a:lnTo>
                      <a:pt x="21513" y="6172"/>
                    </a:lnTo>
                    <a:lnTo>
                      <a:pt x="17105" y="6436"/>
                    </a:lnTo>
                    <a:lnTo>
                      <a:pt x="14812" y="4937"/>
                    </a:lnTo>
                    <a:lnTo>
                      <a:pt x="15694" y="4937"/>
                    </a:lnTo>
                    <a:lnTo>
                      <a:pt x="18603" y="5202"/>
                    </a:lnTo>
                    <a:lnTo>
                      <a:pt x="19485" y="4585"/>
                    </a:lnTo>
                    <a:lnTo>
                      <a:pt x="17722" y="3439"/>
                    </a:lnTo>
                    <a:lnTo>
                      <a:pt x="17722" y="4320"/>
                    </a:lnTo>
                    <a:lnTo>
                      <a:pt x="16223" y="3439"/>
                    </a:lnTo>
                    <a:lnTo>
                      <a:pt x="16223" y="2557"/>
                    </a:lnTo>
                    <a:lnTo>
                      <a:pt x="17369" y="2028"/>
                    </a:lnTo>
                    <a:lnTo>
                      <a:pt x="20014" y="2028"/>
                    </a:lnTo>
                    <a:lnTo>
                      <a:pt x="24070" y="1146"/>
                    </a:lnTo>
                    <a:lnTo>
                      <a:pt x="28126" y="0"/>
                    </a:lnTo>
                    <a:lnTo>
                      <a:pt x="35444" y="2028"/>
                    </a:lnTo>
                    <a:lnTo>
                      <a:pt x="38618" y="4673"/>
                    </a:lnTo>
                    <a:lnTo>
                      <a:pt x="38618" y="5819"/>
                    </a:lnTo>
                    <a:lnTo>
                      <a:pt x="39499" y="6965"/>
                    </a:lnTo>
                    <a:lnTo>
                      <a:pt x="37472" y="9346"/>
                    </a:lnTo>
                    <a:lnTo>
                      <a:pt x="33945" y="7935"/>
                    </a:lnTo>
                    <a:lnTo>
                      <a:pt x="31652" y="8817"/>
                    </a:lnTo>
                    <a:lnTo>
                      <a:pt x="29889" y="7318"/>
                    </a:lnTo>
                    <a:lnTo>
                      <a:pt x="29272" y="6172"/>
                    </a:lnTo>
                    <a:lnTo>
                      <a:pt x="27508" y="5819"/>
                    </a:lnTo>
                    <a:lnTo>
                      <a:pt x="25481" y="2292"/>
                    </a:lnTo>
                    <a:lnTo>
                      <a:pt x="23717" y="2028"/>
                    </a:lnTo>
                    <a:lnTo>
                      <a:pt x="26010" y="6965"/>
                    </a:lnTo>
                    <a:lnTo>
                      <a:pt x="30065" y="7583"/>
                    </a:lnTo>
                    <a:lnTo>
                      <a:pt x="30330" y="9346"/>
                    </a:lnTo>
                    <a:lnTo>
                      <a:pt x="27773" y="10757"/>
                    </a:lnTo>
                    <a:close/>
                    <a:moveTo>
                      <a:pt x="99189" y="155705"/>
                    </a:moveTo>
                    <a:lnTo>
                      <a:pt x="94516" y="152179"/>
                    </a:lnTo>
                    <a:lnTo>
                      <a:pt x="92753" y="149886"/>
                    </a:lnTo>
                    <a:lnTo>
                      <a:pt x="93370" y="148123"/>
                    </a:lnTo>
                    <a:lnTo>
                      <a:pt x="93987" y="146095"/>
                    </a:lnTo>
                    <a:lnTo>
                      <a:pt x="93106" y="145213"/>
                    </a:lnTo>
                    <a:lnTo>
                      <a:pt x="95133" y="142304"/>
                    </a:lnTo>
                    <a:lnTo>
                      <a:pt x="94869" y="141687"/>
                    </a:lnTo>
                    <a:lnTo>
                      <a:pt x="92489" y="141422"/>
                    </a:lnTo>
                    <a:lnTo>
                      <a:pt x="91342" y="140540"/>
                    </a:lnTo>
                    <a:lnTo>
                      <a:pt x="91960" y="139394"/>
                    </a:lnTo>
                    <a:lnTo>
                      <a:pt x="94252" y="140276"/>
                    </a:lnTo>
                    <a:lnTo>
                      <a:pt x="97778" y="134104"/>
                    </a:lnTo>
                    <a:lnTo>
                      <a:pt x="98043" y="133311"/>
                    </a:lnTo>
                    <a:lnTo>
                      <a:pt x="100688" y="133575"/>
                    </a:lnTo>
                    <a:lnTo>
                      <a:pt x="101834" y="136220"/>
                    </a:lnTo>
                    <a:lnTo>
                      <a:pt x="101217" y="137102"/>
                    </a:lnTo>
                    <a:lnTo>
                      <a:pt x="102981" y="138248"/>
                    </a:lnTo>
                    <a:lnTo>
                      <a:pt x="102716" y="140276"/>
                    </a:lnTo>
                    <a:lnTo>
                      <a:pt x="102981" y="142039"/>
                    </a:lnTo>
                    <a:lnTo>
                      <a:pt x="102099" y="142921"/>
                    </a:lnTo>
                    <a:lnTo>
                      <a:pt x="103245" y="144067"/>
                    </a:lnTo>
                    <a:lnTo>
                      <a:pt x="102628" y="144949"/>
                    </a:lnTo>
                    <a:lnTo>
                      <a:pt x="102628" y="146360"/>
                    </a:lnTo>
                    <a:lnTo>
                      <a:pt x="100600" y="145742"/>
                    </a:lnTo>
                    <a:lnTo>
                      <a:pt x="103245" y="148387"/>
                    </a:lnTo>
                    <a:lnTo>
                      <a:pt x="103510" y="149534"/>
                    </a:lnTo>
                    <a:lnTo>
                      <a:pt x="101746" y="151561"/>
                    </a:lnTo>
                    <a:lnTo>
                      <a:pt x="103245" y="151032"/>
                    </a:lnTo>
                    <a:lnTo>
                      <a:pt x="102628" y="153677"/>
                    </a:lnTo>
                    <a:lnTo>
                      <a:pt x="101746" y="155088"/>
                    </a:lnTo>
                    <a:lnTo>
                      <a:pt x="99189" y="155705"/>
                    </a:lnTo>
                    <a:close/>
                    <a:moveTo>
                      <a:pt x="67977" y="146360"/>
                    </a:moveTo>
                    <a:lnTo>
                      <a:pt x="68595" y="142568"/>
                    </a:lnTo>
                    <a:lnTo>
                      <a:pt x="72915" y="132076"/>
                    </a:lnTo>
                    <a:lnTo>
                      <a:pt x="73797" y="129431"/>
                    </a:lnTo>
                    <a:lnTo>
                      <a:pt x="74943" y="129431"/>
                    </a:lnTo>
                    <a:lnTo>
                      <a:pt x="74590" y="132076"/>
                    </a:lnTo>
                    <a:lnTo>
                      <a:pt x="73444" y="136485"/>
                    </a:lnTo>
                    <a:lnTo>
                      <a:pt x="70535" y="140276"/>
                    </a:lnTo>
                    <a:lnTo>
                      <a:pt x="67977" y="146360"/>
                    </a:lnTo>
                    <a:close/>
                    <a:moveTo>
                      <a:pt x="63040" y="153942"/>
                    </a:moveTo>
                    <a:lnTo>
                      <a:pt x="61012" y="151561"/>
                    </a:lnTo>
                    <a:lnTo>
                      <a:pt x="61630" y="148652"/>
                    </a:lnTo>
                    <a:lnTo>
                      <a:pt x="60483" y="145742"/>
                    </a:lnTo>
                    <a:lnTo>
                      <a:pt x="62247" y="145213"/>
                    </a:lnTo>
                    <a:lnTo>
                      <a:pt x="63128" y="147241"/>
                    </a:lnTo>
                    <a:lnTo>
                      <a:pt x="64539" y="150415"/>
                    </a:lnTo>
                    <a:lnTo>
                      <a:pt x="64010" y="153325"/>
                    </a:lnTo>
                    <a:lnTo>
                      <a:pt x="63040" y="153942"/>
                    </a:lnTo>
                    <a:close/>
                    <a:moveTo>
                      <a:pt x="91607" y="169636"/>
                    </a:moveTo>
                    <a:lnTo>
                      <a:pt x="88962" y="167344"/>
                    </a:lnTo>
                    <a:lnTo>
                      <a:pt x="88345" y="165845"/>
                    </a:lnTo>
                    <a:lnTo>
                      <a:pt x="89491" y="158262"/>
                    </a:lnTo>
                    <a:lnTo>
                      <a:pt x="91783" y="159408"/>
                    </a:lnTo>
                    <a:lnTo>
                      <a:pt x="91166" y="157910"/>
                    </a:lnTo>
                    <a:lnTo>
                      <a:pt x="90549" y="158174"/>
                    </a:lnTo>
                    <a:lnTo>
                      <a:pt x="89667" y="157292"/>
                    </a:lnTo>
                    <a:lnTo>
                      <a:pt x="89932" y="151121"/>
                    </a:lnTo>
                    <a:lnTo>
                      <a:pt x="97249" y="158086"/>
                    </a:lnTo>
                    <a:lnTo>
                      <a:pt x="98131" y="162494"/>
                    </a:lnTo>
                    <a:lnTo>
                      <a:pt x="97249" y="163376"/>
                    </a:lnTo>
                    <a:lnTo>
                      <a:pt x="95839" y="164522"/>
                    </a:lnTo>
                    <a:lnTo>
                      <a:pt x="94340" y="167696"/>
                    </a:lnTo>
                    <a:lnTo>
                      <a:pt x="91607" y="169636"/>
                    </a:lnTo>
                    <a:close/>
                    <a:moveTo>
                      <a:pt x="8817" y="50961"/>
                    </a:moveTo>
                    <a:lnTo>
                      <a:pt x="5555" y="49463"/>
                    </a:lnTo>
                    <a:lnTo>
                      <a:pt x="3262" y="48581"/>
                    </a:lnTo>
                    <a:lnTo>
                      <a:pt x="0" y="46553"/>
                    </a:lnTo>
                    <a:lnTo>
                      <a:pt x="0" y="46288"/>
                    </a:lnTo>
                    <a:lnTo>
                      <a:pt x="8464" y="42497"/>
                    </a:lnTo>
                    <a:lnTo>
                      <a:pt x="13666" y="41615"/>
                    </a:lnTo>
                    <a:lnTo>
                      <a:pt x="13666" y="42762"/>
                    </a:lnTo>
                    <a:lnTo>
                      <a:pt x="15165" y="44525"/>
                    </a:lnTo>
                    <a:lnTo>
                      <a:pt x="15165" y="46288"/>
                    </a:lnTo>
                    <a:lnTo>
                      <a:pt x="13402" y="47170"/>
                    </a:lnTo>
                    <a:lnTo>
                      <a:pt x="13931" y="47699"/>
                    </a:lnTo>
                    <a:lnTo>
                      <a:pt x="15429" y="48316"/>
                    </a:lnTo>
                    <a:lnTo>
                      <a:pt x="14547" y="49463"/>
                    </a:lnTo>
                    <a:lnTo>
                      <a:pt x="13666" y="49198"/>
                    </a:lnTo>
                    <a:lnTo>
                      <a:pt x="13402" y="48052"/>
                    </a:lnTo>
                    <a:lnTo>
                      <a:pt x="11638" y="50344"/>
                    </a:lnTo>
                    <a:lnTo>
                      <a:pt x="8817" y="50961"/>
                    </a:lnTo>
                    <a:close/>
                    <a:moveTo>
                      <a:pt x="203934" y="206138"/>
                    </a:moveTo>
                    <a:lnTo>
                      <a:pt x="197762" y="205256"/>
                    </a:lnTo>
                    <a:lnTo>
                      <a:pt x="196880" y="204639"/>
                    </a:lnTo>
                    <a:lnTo>
                      <a:pt x="197233" y="203757"/>
                    </a:lnTo>
                    <a:lnTo>
                      <a:pt x="199878" y="200583"/>
                    </a:lnTo>
                    <a:lnTo>
                      <a:pt x="203052" y="200230"/>
                    </a:lnTo>
                    <a:lnTo>
                      <a:pt x="205080" y="204903"/>
                    </a:lnTo>
                    <a:lnTo>
                      <a:pt x="203934" y="206138"/>
                    </a:lnTo>
                    <a:close/>
                    <a:moveTo>
                      <a:pt x="146448" y="46553"/>
                    </a:moveTo>
                    <a:lnTo>
                      <a:pt x="145919" y="45407"/>
                    </a:lnTo>
                    <a:lnTo>
                      <a:pt x="139218" y="43379"/>
                    </a:lnTo>
                    <a:lnTo>
                      <a:pt x="134016" y="41351"/>
                    </a:lnTo>
                    <a:lnTo>
                      <a:pt x="130225" y="41086"/>
                    </a:lnTo>
                    <a:lnTo>
                      <a:pt x="128814" y="39323"/>
                    </a:lnTo>
                    <a:lnTo>
                      <a:pt x="130842" y="39059"/>
                    </a:lnTo>
                    <a:lnTo>
                      <a:pt x="139306" y="40205"/>
                    </a:lnTo>
                    <a:lnTo>
                      <a:pt x="147770" y="41086"/>
                    </a:lnTo>
                    <a:lnTo>
                      <a:pt x="150415" y="42233"/>
                    </a:lnTo>
                    <a:lnTo>
                      <a:pt x="159144" y="42850"/>
                    </a:lnTo>
                    <a:lnTo>
                      <a:pt x="161172" y="43731"/>
                    </a:lnTo>
                    <a:lnTo>
                      <a:pt x="160554" y="44613"/>
                    </a:lnTo>
                    <a:lnTo>
                      <a:pt x="153237" y="45759"/>
                    </a:lnTo>
                    <a:lnTo>
                      <a:pt x="153589" y="46641"/>
                    </a:lnTo>
                    <a:lnTo>
                      <a:pt x="148035" y="46024"/>
                    </a:lnTo>
                    <a:lnTo>
                      <a:pt x="146448" y="46553"/>
                    </a:lnTo>
                    <a:close/>
                    <a:moveTo>
                      <a:pt x="26010" y="31388"/>
                    </a:moveTo>
                    <a:lnTo>
                      <a:pt x="21601" y="29095"/>
                    </a:lnTo>
                    <a:lnTo>
                      <a:pt x="19838" y="25569"/>
                    </a:lnTo>
                    <a:lnTo>
                      <a:pt x="20367" y="24687"/>
                    </a:lnTo>
                    <a:lnTo>
                      <a:pt x="18868" y="22395"/>
                    </a:lnTo>
                    <a:lnTo>
                      <a:pt x="19132" y="21778"/>
                    </a:lnTo>
                    <a:lnTo>
                      <a:pt x="24335" y="20014"/>
                    </a:lnTo>
                    <a:lnTo>
                      <a:pt x="27244" y="20543"/>
                    </a:lnTo>
                    <a:lnTo>
                      <a:pt x="28126" y="24335"/>
                    </a:lnTo>
                    <a:lnTo>
                      <a:pt x="26715" y="30771"/>
                    </a:lnTo>
                    <a:lnTo>
                      <a:pt x="26010" y="31388"/>
                    </a:lnTo>
                    <a:close/>
                    <a:moveTo>
                      <a:pt x="160467" y="210546"/>
                    </a:moveTo>
                    <a:lnTo>
                      <a:pt x="160202" y="209400"/>
                    </a:lnTo>
                    <a:lnTo>
                      <a:pt x="163729" y="203845"/>
                    </a:lnTo>
                    <a:lnTo>
                      <a:pt x="162847" y="201818"/>
                    </a:lnTo>
                    <a:lnTo>
                      <a:pt x="166021" y="198555"/>
                    </a:lnTo>
                    <a:lnTo>
                      <a:pt x="168666" y="195646"/>
                    </a:lnTo>
                    <a:lnTo>
                      <a:pt x="168137" y="191590"/>
                    </a:lnTo>
                    <a:lnTo>
                      <a:pt x="170782" y="190708"/>
                    </a:lnTo>
                    <a:lnTo>
                      <a:pt x="171664" y="187799"/>
                    </a:lnTo>
                    <a:lnTo>
                      <a:pt x="175455" y="187799"/>
                    </a:lnTo>
                    <a:lnTo>
                      <a:pt x="177218" y="185154"/>
                    </a:lnTo>
                    <a:lnTo>
                      <a:pt x="180392" y="184272"/>
                    </a:lnTo>
                    <a:lnTo>
                      <a:pt x="184448" y="184272"/>
                    </a:lnTo>
                    <a:lnTo>
                      <a:pt x="185859" y="184536"/>
                    </a:lnTo>
                    <a:lnTo>
                      <a:pt x="187622" y="185683"/>
                    </a:lnTo>
                    <a:lnTo>
                      <a:pt x="188504" y="188240"/>
                    </a:lnTo>
                    <a:lnTo>
                      <a:pt x="191413" y="189121"/>
                    </a:lnTo>
                    <a:lnTo>
                      <a:pt x="189386" y="195822"/>
                    </a:lnTo>
                    <a:lnTo>
                      <a:pt x="187622" y="196968"/>
                    </a:lnTo>
                    <a:lnTo>
                      <a:pt x="189386" y="205432"/>
                    </a:lnTo>
                    <a:lnTo>
                      <a:pt x="190003" y="204286"/>
                    </a:lnTo>
                    <a:lnTo>
                      <a:pt x="187975" y="201377"/>
                    </a:lnTo>
                    <a:lnTo>
                      <a:pt x="186476" y="201641"/>
                    </a:lnTo>
                    <a:lnTo>
                      <a:pt x="185330" y="202787"/>
                    </a:lnTo>
                    <a:lnTo>
                      <a:pt x="183038" y="203316"/>
                    </a:lnTo>
                    <a:lnTo>
                      <a:pt x="186476" y="207372"/>
                    </a:lnTo>
                    <a:lnTo>
                      <a:pt x="183038" y="207372"/>
                    </a:lnTo>
                    <a:lnTo>
                      <a:pt x="178364" y="208518"/>
                    </a:lnTo>
                    <a:lnTo>
                      <a:pt x="175455" y="209664"/>
                    </a:lnTo>
                    <a:lnTo>
                      <a:pt x="169901" y="210811"/>
                    </a:lnTo>
                    <a:lnTo>
                      <a:pt x="166991" y="208430"/>
                    </a:lnTo>
                    <a:lnTo>
                      <a:pt x="162935" y="206667"/>
                    </a:lnTo>
                    <a:lnTo>
                      <a:pt x="162935" y="208959"/>
                    </a:lnTo>
                    <a:lnTo>
                      <a:pt x="160467" y="21054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3" name="Freihandform: Form 2042">
                <a:extLst>
                  <a:ext uri="{FF2B5EF4-FFF2-40B4-BE49-F238E27FC236}">
                    <a16:creationId xmlns:a16="http://schemas.microsoft.com/office/drawing/2014/main" id="{018D331D-730B-A220-09B3-5E0103C4D9DD}"/>
                  </a:ext>
                </a:extLst>
              </p:cNvPr>
              <p:cNvSpPr/>
              <p:nvPr/>
            </p:nvSpPr>
            <p:spPr>
              <a:xfrm>
                <a:off x="7856672" y="4545828"/>
                <a:ext cx="3438" cy="2821"/>
              </a:xfrm>
              <a:custGeom>
                <a:avLst/>
                <a:gdLst>
                  <a:gd name="connsiteX0" fmla="*/ 441 w 3438"/>
                  <a:gd name="connsiteY0" fmla="*/ 2645 h 2821"/>
                  <a:gd name="connsiteX1" fmla="*/ 0 w 3438"/>
                  <a:gd name="connsiteY1" fmla="*/ 1763 h 2821"/>
                  <a:gd name="connsiteX2" fmla="*/ 441 w 3438"/>
                  <a:gd name="connsiteY2" fmla="*/ 705 h 2821"/>
                  <a:gd name="connsiteX3" fmla="*/ 1499 w 3438"/>
                  <a:gd name="connsiteY3" fmla="*/ 0 h 2821"/>
                  <a:gd name="connsiteX4" fmla="*/ 3439 w 3438"/>
                  <a:gd name="connsiteY4" fmla="*/ 617 h 2821"/>
                  <a:gd name="connsiteX5" fmla="*/ 2998 w 3438"/>
                  <a:gd name="connsiteY5" fmla="*/ 2821 h 2821"/>
                  <a:gd name="connsiteX6" fmla="*/ 1499 w 3438"/>
                  <a:gd name="connsiteY6" fmla="*/ 2292 h 2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38" h="2821">
                    <a:moveTo>
                      <a:pt x="441" y="2645"/>
                    </a:moveTo>
                    <a:lnTo>
                      <a:pt x="0" y="1763"/>
                    </a:lnTo>
                    <a:lnTo>
                      <a:pt x="441" y="705"/>
                    </a:lnTo>
                    <a:lnTo>
                      <a:pt x="1499" y="0"/>
                    </a:lnTo>
                    <a:lnTo>
                      <a:pt x="3439" y="617"/>
                    </a:lnTo>
                    <a:lnTo>
                      <a:pt x="2998" y="2821"/>
                    </a:lnTo>
                    <a:lnTo>
                      <a:pt x="1499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4" name="Freihandform: Form 2043">
                <a:extLst>
                  <a:ext uri="{FF2B5EF4-FFF2-40B4-BE49-F238E27FC236}">
                    <a16:creationId xmlns:a16="http://schemas.microsoft.com/office/drawing/2014/main" id="{96CDC34F-E4E7-5648-AB9F-84295BA86DD5}"/>
                  </a:ext>
                </a:extLst>
              </p:cNvPr>
              <p:cNvSpPr/>
              <p:nvPr/>
            </p:nvSpPr>
            <p:spPr>
              <a:xfrm>
                <a:off x="7864267" y="4542444"/>
                <a:ext cx="3254" cy="2679"/>
              </a:xfrm>
              <a:custGeom>
                <a:avLst/>
                <a:gdLst>
                  <a:gd name="connsiteX0" fmla="*/ 341 w 3254"/>
                  <a:gd name="connsiteY0" fmla="*/ 2591 h 2679"/>
                  <a:gd name="connsiteX1" fmla="*/ 782 w 3254"/>
                  <a:gd name="connsiteY1" fmla="*/ 299 h 2679"/>
                  <a:gd name="connsiteX2" fmla="*/ 2898 w 3254"/>
                  <a:gd name="connsiteY2" fmla="*/ 299 h 2679"/>
                  <a:gd name="connsiteX3" fmla="*/ 2898 w 3254"/>
                  <a:gd name="connsiteY3" fmla="*/ 2679 h 2679"/>
                  <a:gd name="connsiteX4" fmla="*/ 341 w 3254"/>
                  <a:gd name="connsiteY4" fmla="*/ 2591 h 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54" h="2679">
                    <a:moveTo>
                      <a:pt x="341" y="2591"/>
                    </a:moveTo>
                    <a:cubicBezTo>
                      <a:pt x="-276" y="1974"/>
                      <a:pt x="-12" y="828"/>
                      <a:pt x="782" y="299"/>
                    </a:cubicBezTo>
                    <a:cubicBezTo>
                      <a:pt x="1311" y="-54"/>
                      <a:pt x="2457" y="-142"/>
                      <a:pt x="2898" y="299"/>
                    </a:cubicBezTo>
                    <a:cubicBezTo>
                      <a:pt x="3603" y="916"/>
                      <a:pt x="3074" y="1886"/>
                      <a:pt x="2898" y="2679"/>
                    </a:cubicBezTo>
                    <a:cubicBezTo>
                      <a:pt x="2193" y="2326"/>
                      <a:pt x="1222" y="2238"/>
                      <a:pt x="341" y="2591"/>
                    </a:cubicBez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" name="Grafik 9">
              <a:extLst>
                <a:ext uri="{FF2B5EF4-FFF2-40B4-BE49-F238E27FC236}">
                  <a16:creationId xmlns:a16="http://schemas.microsoft.com/office/drawing/2014/main" id="{4B764D17-E4EA-C201-A0E7-B3F76CBD596E}"/>
                </a:ext>
              </a:extLst>
            </p:cNvPr>
            <p:cNvGrpSpPr/>
            <p:nvPr/>
          </p:nvGrpSpPr>
          <p:grpSpPr>
            <a:xfrm>
              <a:off x="5357628" y="2823812"/>
              <a:ext cx="1749171" cy="1596287"/>
              <a:chOff x="5357628" y="2823812"/>
              <a:chExt cx="1749171" cy="1596287"/>
            </a:xfrm>
            <a:solidFill>
              <a:schemeClr val="accent6"/>
            </a:solidFill>
          </p:grpSpPr>
          <p:sp>
            <p:nvSpPr>
              <p:cNvPr id="1957" name="Freihandform: Form 1956">
                <a:extLst>
                  <a:ext uri="{FF2B5EF4-FFF2-40B4-BE49-F238E27FC236}">
                    <a16:creationId xmlns:a16="http://schemas.microsoft.com/office/drawing/2014/main" id="{C8FF8B80-B095-242E-E0A0-61DC79C7D0AF}"/>
                  </a:ext>
                </a:extLst>
              </p:cNvPr>
              <p:cNvSpPr/>
              <p:nvPr/>
            </p:nvSpPr>
            <p:spPr>
              <a:xfrm>
                <a:off x="6164898" y="4009147"/>
                <a:ext cx="793427" cy="410952"/>
              </a:xfrm>
              <a:custGeom>
                <a:avLst/>
                <a:gdLst>
                  <a:gd name="connsiteX0" fmla="*/ 380711 w 793427"/>
                  <a:gd name="connsiteY0" fmla="*/ 324283 h 410952"/>
                  <a:gd name="connsiteX1" fmla="*/ 380446 w 793427"/>
                  <a:gd name="connsiteY1" fmla="*/ 324283 h 410952"/>
                  <a:gd name="connsiteX2" fmla="*/ 377537 w 793427"/>
                  <a:gd name="connsiteY2" fmla="*/ 320757 h 410952"/>
                  <a:gd name="connsiteX3" fmla="*/ 377537 w 793427"/>
                  <a:gd name="connsiteY3" fmla="*/ 317847 h 410952"/>
                  <a:gd name="connsiteX4" fmla="*/ 380446 w 793427"/>
                  <a:gd name="connsiteY4" fmla="*/ 314585 h 410952"/>
                  <a:gd name="connsiteX5" fmla="*/ 384855 w 793427"/>
                  <a:gd name="connsiteY5" fmla="*/ 315731 h 410952"/>
                  <a:gd name="connsiteX6" fmla="*/ 389263 w 793427"/>
                  <a:gd name="connsiteY6" fmla="*/ 316877 h 410952"/>
                  <a:gd name="connsiteX7" fmla="*/ 392173 w 793427"/>
                  <a:gd name="connsiteY7" fmla="*/ 317142 h 410952"/>
                  <a:gd name="connsiteX8" fmla="*/ 395964 w 793427"/>
                  <a:gd name="connsiteY8" fmla="*/ 315731 h 410952"/>
                  <a:gd name="connsiteX9" fmla="*/ 399138 w 793427"/>
                  <a:gd name="connsiteY9" fmla="*/ 313968 h 410952"/>
                  <a:gd name="connsiteX10" fmla="*/ 401166 w 793427"/>
                  <a:gd name="connsiteY10" fmla="*/ 315731 h 410952"/>
                  <a:gd name="connsiteX11" fmla="*/ 402929 w 793427"/>
                  <a:gd name="connsiteY11" fmla="*/ 315731 h 410952"/>
                  <a:gd name="connsiteX12" fmla="*/ 405575 w 793427"/>
                  <a:gd name="connsiteY12" fmla="*/ 316348 h 410952"/>
                  <a:gd name="connsiteX13" fmla="*/ 405575 w 793427"/>
                  <a:gd name="connsiteY13" fmla="*/ 317230 h 410952"/>
                  <a:gd name="connsiteX14" fmla="*/ 403194 w 793427"/>
                  <a:gd name="connsiteY14" fmla="*/ 318112 h 410952"/>
                  <a:gd name="connsiteX15" fmla="*/ 400549 w 793427"/>
                  <a:gd name="connsiteY15" fmla="*/ 319610 h 410952"/>
                  <a:gd name="connsiteX16" fmla="*/ 398256 w 793427"/>
                  <a:gd name="connsiteY16" fmla="*/ 320492 h 410952"/>
                  <a:gd name="connsiteX17" fmla="*/ 398256 w 793427"/>
                  <a:gd name="connsiteY17" fmla="*/ 321638 h 410952"/>
                  <a:gd name="connsiteX18" fmla="*/ 395611 w 793427"/>
                  <a:gd name="connsiteY18" fmla="*/ 322785 h 410952"/>
                  <a:gd name="connsiteX19" fmla="*/ 390938 w 793427"/>
                  <a:gd name="connsiteY19" fmla="*/ 322520 h 410952"/>
                  <a:gd name="connsiteX20" fmla="*/ 386882 w 793427"/>
                  <a:gd name="connsiteY20" fmla="*/ 321638 h 410952"/>
                  <a:gd name="connsiteX21" fmla="*/ 383091 w 793427"/>
                  <a:gd name="connsiteY21" fmla="*/ 322520 h 410952"/>
                  <a:gd name="connsiteX22" fmla="*/ 380711 w 793427"/>
                  <a:gd name="connsiteY22" fmla="*/ 324283 h 410952"/>
                  <a:gd name="connsiteX23" fmla="*/ 970 w 793427"/>
                  <a:gd name="connsiteY23" fmla="*/ 2028 h 410952"/>
                  <a:gd name="connsiteX24" fmla="*/ 3879 w 793427"/>
                  <a:gd name="connsiteY24" fmla="*/ 882 h 410952"/>
                  <a:gd name="connsiteX25" fmla="*/ 5025 w 793427"/>
                  <a:gd name="connsiteY25" fmla="*/ 0 h 410952"/>
                  <a:gd name="connsiteX26" fmla="*/ 14900 w 793427"/>
                  <a:gd name="connsiteY26" fmla="*/ 3527 h 410952"/>
                  <a:gd name="connsiteX27" fmla="*/ 16663 w 793427"/>
                  <a:gd name="connsiteY27" fmla="*/ 6436 h 410952"/>
                  <a:gd name="connsiteX28" fmla="*/ 19838 w 793427"/>
                  <a:gd name="connsiteY28" fmla="*/ 9081 h 410952"/>
                  <a:gd name="connsiteX29" fmla="*/ 28919 w 793427"/>
                  <a:gd name="connsiteY29" fmla="*/ 10845 h 410952"/>
                  <a:gd name="connsiteX30" fmla="*/ 31829 w 793427"/>
                  <a:gd name="connsiteY30" fmla="*/ 10580 h 410952"/>
                  <a:gd name="connsiteX31" fmla="*/ 35620 w 793427"/>
                  <a:gd name="connsiteY31" fmla="*/ 9081 h 410952"/>
                  <a:gd name="connsiteX32" fmla="*/ 40557 w 793427"/>
                  <a:gd name="connsiteY32" fmla="*/ 9346 h 410952"/>
                  <a:gd name="connsiteX33" fmla="*/ 42321 w 793427"/>
                  <a:gd name="connsiteY33" fmla="*/ 10492 h 410952"/>
                  <a:gd name="connsiteX34" fmla="*/ 43202 w 793427"/>
                  <a:gd name="connsiteY34" fmla="*/ 11991 h 410952"/>
                  <a:gd name="connsiteX35" fmla="*/ 44701 w 793427"/>
                  <a:gd name="connsiteY35" fmla="*/ 12256 h 410952"/>
                  <a:gd name="connsiteX36" fmla="*/ 50256 w 793427"/>
                  <a:gd name="connsiteY36" fmla="*/ 9611 h 410952"/>
                  <a:gd name="connsiteX37" fmla="*/ 52901 w 793427"/>
                  <a:gd name="connsiteY37" fmla="*/ 12520 h 410952"/>
                  <a:gd name="connsiteX38" fmla="*/ 57838 w 793427"/>
                  <a:gd name="connsiteY38" fmla="*/ 17722 h 410952"/>
                  <a:gd name="connsiteX39" fmla="*/ 58985 w 793427"/>
                  <a:gd name="connsiteY39" fmla="*/ 18339 h 410952"/>
                  <a:gd name="connsiteX40" fmla="*/ 60483 w 793427"/>
                  <a:gd name="connsiteY40" fmla="*/ 21249 h 410952"/>
                  <a:gd name="connsiteX41" fmla="*/ 61365 w 793427"/>
                  <a:gd name="connsiteY41" fmla="*/ 27068 h 410952"/>
                  <a:gd name="connsiteX42" fmla="*/ 63922 w 793427"/>
                  <a:gd name="connsiteY42" fmla="*/ 27332 h 410952"/>
                  <a:gd name="connsiteX43" fmla="*/ 67184 w 793427"/>
                  <a:gd name="connsiteY43" fmla="*/ 29625 h 410952"/>
                  <a:gd name="connsiteX44" fmla="*/ 67184 w 793427"/>
                  <a:gd name="connsiteY44" fmla="*/ 35179 h 410952"/>
                  <a:gd name="connsiteX45" fmla="*/ 65685 w 793427"/>
                  <a:gd name="connsiteY45" fmla="*/ 37207 h 410952"/>
                  <a:gd name="connsiteX46" fmla="*/ 66831 w 793427"/>
                  <a:gd name="connsiteY46" fmla="*/ 36061 h 410952"/>
                  <a:gd name="connsiteX47" fmla="*/ 67977 w 793427"/>
                  <a:gd name="connsiteY47" fmla="*/ 38353 h 410952"/>
                  <a:gd name="connsiteX48" fmla="*/ 69388 w 793427"/>
                  <a:gd name="connsiteY48" fmla="*/ 38089 h 410952"/>
                  <a:gd name="connsiteX49" fmla="*/ 73180 w 793427"/>
                  <a:gd name="connsiteY49" fmla="*/ 40470 h 410952"/>
                  <a:gd name="connsiteX50" fmla="*/ 74061 w 793427"/>
                  <a:gd name="connsiteY50" fmla="*/ 41968 h 410952"/>
                  <a:gd name="connsiteX51" fmla="*/ 75825 w 793427"/>
                  <a:gd name="connsiteY51" fmla="*/ 42233 h 410952"/>
                  <a:gd name="connsiteX52" fmla="*/ 76706 w 793427"/>
                  <a:gd name="connsiteY52" fmla="*/ 45407 h 410952"/>
                  <a:gd name="connsiteX53" fmla="*/ 83672 w 793427"/>
                  <a:gd name="connsiteY53" fmla="*/ 49198 h 410952"/>
                  <a:gd name="connsiteX54" fmla="*/ 87463 w 793427"/>
                  <a:gd name="connsiteY54" fmla="*/ 51226 h 410952"/>
                  <a:gd name="connsiteX55" fmla="*/ 95310 w 793427"/>
                  <a:gd name="connsiteY55" fmla="*/ 59073 h 410952"/>
                  <a:gd name="connsiteX56" fmla="*/ 99101 w 793427"/>
                  <a:gd name="connsiteY56" fmla="*/ 60219 h 410952"/>
                  <a:gd name="connsiteX57" fmla="*/ 103245 w 793427"/>
                  <a:gd name="connsiteY57" fmla="*/ 65421 h 410952"/>
                  <a:gd name="connsiteX58" fmla="*/ 104391 w 793427"/>
                  <a:gd name="connsiteY58" fmla="*/ 66038 h 410952"/>
                  <a:gd name="connsiteX59" fmla="*/ 104656 w 793427"/>
                  <a:gd name="connsiteY59" fmla="*/ 69565 h 410952"/>
                  <a:gd name="connsiteX60" fmla="*/ 103774 w 793427"/>
                  <a:gd name="connsiteY60" fmla="*/ 72474 h 410952"/>
                  <a:gd name="connsiteX61" fmla="*/ 104920 w 793427"/>
                  <a:gd name="connsiteY61" fmla="*/ 74502 h 410952"/>
                  <a:gd name="connsiteX62" fmla="*/ 105185 w 793427"/>
                  <a:gd name="connsiteY62" fmla="*/ 73885 h 410952"/>
                  <a:gd name="connsiteX63" fmla="*/ 104303 w 793427"/>
                  <a:gd name="connsiteY63" fmla="*/ 72122 h 410952"/>
                  <a:gd name="connsiteX64" fmla="*/ 105449 w 793427"/>
                  <a:gd name="connsiteY64" fmla="*/ 71240 h 410952"/>
                  <a:gd name="connsiteX65" fmla="*/ 106331 w 793427"/>
                  <a:gd name="connsiteY65" fmla="*/ 71857 h 410952"/>
                  <a:gd name="connsiteX66" fmla="*/ 107477 w 793427"/>
                  <a:gd name="connsiteY66" fmla="*/ 76530 h 410952"/>
                  <a:gd name="connsiteX67" fmla="*/ 107477 w 793427"/>
                  <a:gd name="connsiteY67" fmla="*/ 75649 h 410952"/>
                  <a:gd name="connsiteX68" fmla="*/ 107213 w 793427"/>
                  <a:gd name="connsiteY68" fmla="*/ 73885 h 410952"/>
                  <a:gd name="connsiteX69" fmla="*/ 107830 w 793427"/>
                  <a:gd name="connsiteY69" fmla="*/ 72474 h 410952"/>
                  <a:gd name="connsiteX70" fmla="*/ 108447 w 793427"/>
                  <a:gd name="connsiteY70" fmla="*/ 71857 h 410952"/>
                  <a:gd name="connsiteX71" fmla="*/ 110210 w 793427"/>
                  <a:gd name="connsiteY71" fmla="*/ 73356 h 410952"/>
                  <a:gd name="connsiteX72" fmla="*/ 115148 w 793427"/>
                  <a:gd name="connsiteY72" fmla="*/ 83848 h 410952"/>
                  <a:gd name="connsiteX73" fmla="*/ 118322 w 793427"/>
                  <a:gd name="connsiteY73" fmla="*/ 86229 h 410952"/>
                  <a:gd name="connsiteX74" fmla="*/ 119468 w 793427"/>
                  <a:gd name="connsiteY74" fmla="*/ 86229 h 410952"/>
                  <a:gd name="connsiteX75" fmla="*/ 122642 w 793427"/>
                  <a:gd name="connsiteY75" fmla="*/ 88521 h 410952"/>
                  <a:gd name="connsiteX76" fmla="*/ 125287 w 793427"/>
                  <a:gd name="connsiteY76" fmla="*/ 93723 h 410952"/>
                  <a:gd name="connsiteX77" fmla="*/ 124405 w 793427"/>
                  <a:gd name="connsiteY77" fmla="*/ 88786 h 410952"/>
                  <a:gd name="connsiteX78" fmla="*/ 122642 w 793427"/>
                  <a:gd name="connsiteY78" fmla="*/ 86493 h 410952"/>
                  <a:gd name="connsiteX79" fmla="*/ 122025 w 793427"/>
                  <a:gd name="connsiteY79" fmla="*/ 84465 h 410952"/>
                  <a:gd name="connsiteX80" fmla="*/ 122642 w 793427"/>
                  <a:gd name="connsiteY80" fmla="*/ 82966 h 410952"/>
                  <a:gd name="connsiteX81" fmla="*/ 124670 w 793427"/>
                  <a:gd name="connsiteY81" fmla="*/ 82085 h 410952"/>
                  <a:gd name="connsiteX82" fmla="*/ 127932 w 793427"/>
                  <a:gd name="connsiteY82" fmla="*/ 82350 h 410952"/>
                  <a:gd name="connsiteX83" fmla="*/ 127932 w 793427"/>
                  <a:gd name="connsiteY83" fmla="*/ 83760 h 410952"/>
                  <a:gd name="connsiteX84" fmla="*/ 132605 w 793427"/>
                  <a:gd name="connsiteY84" fmla="*/ 87551 h 410952"/>
                  <a:gd name="connsiteX85" fmla="*/ 133840 w 793427"/>
                  <a:gd name="connsiteY85" fmla="*/ 89050 h 410952"/>
                  <a:gd name="connsiteX86" fmla="*/ 134721 w 793427"/>
                  <a:gd name="connsiteY86" fmla="*/ 94340 h 410952"/>
                  <a:gd name="connsiteX87" fmla="*/ 135602 w 793427"/>
                  <a:gd name="connsiteY87" fmla="*/ 96104 h 410952"/>
                  <a:gd name="connsiteX88" fmla="*/ 138865 w 793427"/>
                  <a:gd name="connsiteY88" fmla="*/ 97867 h 410952"/>
                  <a:gd name="connsiteX89" fmla="*/ 142039 w 793427"/>
                  <a:gd name="connsiteY89" fmla="*/ 97338 h 410952"/>
                  <a:gd name="connsiteX90" fmla="*/ 145566 w 793427"/>
                  <a:gd name="connsiteY90" fmla="*/ 99983 h 410952"/>
                  <a:gd name="connsiteX91" fmla="*/ 151385 w 793427"/>
                  <a:gd name="connsiteY91" fmla="*/ 104656 h 410952"/>
                  <a:gd name="connsiteX92" fmla="*/ 153148 w 793427"/>
                  <a:gd name="connsiteY92" fmla="*/ 113385 h 410952"/>
                  <a:gd name="connsiteX93" fmla="*/ 158703 w 793427"/>
                  <a:gd name="connsiteY93" fmla="*/ 119557 h 410952"/>
                  <a:gd name="connsiteX94" fmla="*/ 160731 w 793427"/>
                  <a:gd name="connsiteY94" fmla="*/ 120703 h 410952"/>
                  <a:gd name="connsiteX95" fmla="*/ 166285 w 793427"/>
                  <a:gd name="connsiteY95" fmla="*/ 121320 h 410952"/>
                  <a:gd name="connsiteX96" fmla="*/ 168313 w 793427"/>
                  <a:gd name="connsiteY96" fmla="*/ 122202 h 410952"/>
                  <a:gd name="connsiteX97" fmla="*/ 170077 w 793427"/>
                  <a:gd name="connsiteY97" fmla="*/ 123348 h 410952"/>
                  <a:gd name="connsiteX98" fmla="*/ 169195 w 793427"/>
                  <a:gd name="connsiteY98" fmla="*/ 124846 h 410952"/>
                  <a:gd name="connsiteX99" fmla="*/ 166903 w 793427"/>
                  <a:gd name="connsiteY99" fmla="*/ 128021 h 410952"/>
                  <a:gd name="connsiteX100" fmla="*/ 172457 w 793427"/>
                  <a:gd name="connsiteY100" fmla="*/ 125993 h 410952"/>
                  <a:gd name="connsiteX101" fmla="*/ 172193 w 793427"/>
                  <a:gd name="connsiteY101" fmla="*/ 124229 h 410952"/>
                  <a:gd name="connsiteX102" fmla="*/ 175102 w 793427"/>
                  <a:gd name="connsiteY102" fmla="*/ 124229 h 410952"/>
                  <a:gd name="connsiteX103" fmla="*/ 177747 w 793427"/>
                  <a:gd name="connsiteY103" fmla="*/ 125728 h 410952"/>
                  <a:gd name="connsiteX104" fmla="*/ 178893 w 793427"/>
                  <a:gd name="connsiteY104" fmla="*/ 125464 h 410952"/>
                  <a:gd name="connsiteX105" fmla="*/ 182949 w 793427"/>
                  <a:gd name="connsiteY105" fmla="*/ 128990 h 410952"/>
                  <a:gd name="connsiteX106" fmla="*/ 186741 w 793427"/>
                  <a:gd name="connsiteY106" fmla="*/ 131636 h 410952"/>
                  <a:gd name="connsiteX107" fmla="*/ 188239 w 793427"/>
                  <a:gd name="connsiteY107" fmla="*/ 138601 h 410952"/>
                  <a:gd name="connsiteX108" fmla="*/ 187622 w 793427"/>
                  <a:gd name="connsiteY108" fmla="*/ 138865 h 410952"/>
                  <a:gd name="connsiteX109" fmla="*/ 183214 w 793427"/>
                  <a:gd name="connsiteY109" fmla="*/ 138865 h 410952"/>
                  <a:gd name="connsiteX110" fmla="*/ 183214 w 793427"/>
                  <a:gd name="connsiteY110" fmla="*/ 141158 h 410952"/>
                  <a:gd name="connsiteX111" fmla="*/ 176513 w 793427"/>
                  <a:gd name="connsiteY111" fmla="*/ 144949 h 410952"/>
                  <a:gd name="connsiteX112" fmla="*/ 178276 w 793427"/>
                  <a:gd name="connsiteY112" fmla="*/ 144949 h 410952"/>
                  <a:gd name="connsiteX113" fmla="*/ 180921 w 793427"/>
                  <a:gd name="connsiteY113" fmla="*/ 143803 h 410952"/>
                  <a:gd name="connsiteX114" fmla="*/ 181450 w 793427"/>
                  <a:gd name="connsiteY114" fmla="*/ 144067 h 410952"/>
                  <a:gd name="connsiteX115" fmla="*/ 180040 w 793427"/>
                  <a:gd name="connsiteY115" fmla="*/ 146712 h 410952"/>
                  <a:gd name="connsiteX116" fmla="*/ 178012 w 793427"/>
                  <a:gd name="connsiteY116" fmla="*/ 147594 h 410952"/>
                  <a:gd name="connsiteX117" fmla="*/ 182949 w 793427"/>
                  <a:gd name="connsiteY117" fmla="*/ 148476 h 410952"/>
                  <a:gd name="connsiteX118" fmla="*/ 183478 w 793427"/>
                  <a:gd name="connsiteY118" fmla="*/ 149357 h 410952"/>
                  <a:gd name="connsiteX119" fmla="*/ 182332 w 793427"/>
                  <a:gd name="connsiteY119" fmla="*/ 150856 h 410952"/>
                  <a:gd name="connsiteX120" fmla="*/ 179687 w 793427"/>
                  <a:gd name="connsiteY120" fmla="*/ 151473 h 410952"/>
                  <a:gd name="connsiteX121" fmla="*/ 178541 w 793427"/>
                  <a:gd name="connsiteY121" fmla="*/ 149710 h 410952"/>
                  <a:gd name="connsiteX122" fmla="*/ 179687 w 793427"/>
                  <a:gd name="connsiteY122" fmla="*/ 152355 h 410952"/>
                  <a:gd name="connsiteX123" fmla="*/ 178805 w 793427"/>
                  <a:gd name="connsiteY123" fmla="*/ 155529 h 410952"/>
                  <a:gd name="connsiteX124" fmla="*/ 177924 w 793427"/>
                  <a:gd name="connsiteY124" fmla="*/ 155794 h 410952"/>
                  <a:gd name="connsiteX125" fmla="*/ 180480 w 793427"/>
                  <a:gd name="connsiteY125" fmla="*/ 157293 h 410952"/>
                  <a:gd name="connsiteX126" fmla="*/ 179951 w 793427"/>
                  <a:gd name="connsiteY126" fmla="*/ 158791 h 410952"/>
                  <a:gd name="connsiteX127" fmla="*/ 181715 w 793427"/>
                  <a:gd name="connsiteY127" fmla="*/ 158527 h 410952"/>
                  <a:gd name="connsiteX128" fmla="*/ 186388 w 793427"/>
                  <a:gd name="connsiteY128" fmla="*/ 162935 h 410952"/>
                  <a:gd name="connsiteX129" fmla="*/ 187799 w 793427"/>
                  <a:gd name="connsiteY129" fmla="*/ 163553 h 410952"/>
                  <a:gd name="connsiteX130" fmla="*/ 188416 w 793427"/>
                  <a:gd name="connsiteY130" fmla="*/ 165316 h 410952"/>
                  <a:gd name="connsiteX131" fmla="*/ 189297 w 793427"/>
                  <a:gd name="connsiteY131" fmla="*/ 163553 h 410952"/>
                  <a:gd name="connsiteX132" fmla="*/ 191325 w 793427"/>
                  <a:gd name="connsiteY132" fmla="*/ 162935 h 410952"/>
                  <a:gd name="connsiteX133" fmla="*/ 196527 w 793427"/>
                  <a:gd name="connsiteY133" fmla="*/ 165316 h 410952"/>
                  <a:gd name="connsiteX134" fmla="*/ 199701 w 793427"/>
                  <a:gd name="connsiteY134" fmla="*/ 163817 h 410952"/>
                  <a:gd name="connsiteX135" fmla="*/ 200583 w 793427"/>
                  <a:gd name="connsiteY135" fmla="*/ 164082 h 410952"/>
                  <a:gd name="connsiteX136" fmla="*/ 201200 w 793427"/>
                  <a:gd name="connsiteY136" fmla="*/ 166726 h 410952"/>
                  <a:gd name="connsiteX137" fmla="*/ 200936 w 793427"/>
                  <a:gd name="connsiteY137" fmla="*/ 168490 h 410952"/>
                  <a:gd name="connsiteX138" fmla="*/ 202346 w 793427"/>
                  <a:gd name="connsiteY138" fmla="*/ 172017 h 410952"/>
                  <a:gd name="connsiteX139" fmla="*/ 202346 w 793427"/>
                  <a:gd name="connsiteY139" fmla="*/ 177307 h 410952"/>
                  <a:gd name="connsiteX140" fmla="*/ 204109 w 793427"/>
                  <a:gd name="connsiteY140" fmla="*/ 181715 h 410952"/>
                  <a:gd name="connsiteX141" fmla="*/ 202699 w 793427"/>
                  <a:gd name="connsiteY141" fmla="*/ 185242 h 410952"/>
                  <a:gd name="connsiteX142" fmla="*/ 203580 w 793427"/>
                  <a:gd name="connsiteY142" fmla="*/ 186124 h 410952"/>
                  <a:gd name="connsiteX143" fmla="*/ 203845 w 793427"/>
                  <a:gd name="connsiteY143" fmla="*/ 184625 h 410952"/>
                  <a:gd name="connsiteX144" fmla="*/ 204727 w 793427"/>
                  <a:gd name="connsiteY144" fmla="*/ 184625 h 410952"/>
                  <a:gd name="connsiteX145" fmla="*/ 206225 w 793427"/>
                  <a:gd name="connsiteY145" fmla="*/ 186124 h 410952"/>
                  <a:gd name="connsiteX146" fmla="*/ 205079 w 793427"/>
                  <a:gd name="connsiteY146" fmla="*/ 188416 h 410952"/>
                  <a:gd name="connsiteX147" fmla="*/ 206225 w 793427"/>
                  <a:gd name="connsiteY147" fmla="*/ 187534 h 410952"/>
                  <a:gd name="connsiteX148" fmla="*/ 207107 w 793427"/>
                  <a:gd name="connsiteY148" fmla="*/ 189033 h 410952"/>
                  <a:gd name="connsiteX149" fmla="*/ 209135 w 793427"/>
                  <a:gd name="connsiteY149" fmla="*/ 187887 h 410952"/>
                  <a:gd name="connsiteX150" fmla="*/ 210281 w 793427"/>
                  <a:gd name="connsiteY150" fmla="*/ 188416 h 410952"/>
                  <a:gd name="connsiteX151" fmla="*/ 211428 w 793427"/>
                  <a:gd name="connsiteY151" fmla="*/ 189915 h 410952"/>
                  <a:gd name="connsiteX152" fmla="*/ 211428 w 793427"/>
                  <a:gd name="connsiteY152" fmla="*/ 191943 h 410952"/>
                  <a:gd name="connsiteX153" fmla="*/ 208783 w 793427"/>
                  <a:gd name="connsiteY153" fmla="*/ 196351 h 410952"/>
                  <a:gd name="connsiteX154" fmla="*/ 205608 w 793427"/>
                  <a:gd name="connsiteY154" fmla="*/ 197497 h 410952"/>
                  <a:gd name="connsiteX155" fmla="*/ 207636 w 793427"/>
                  <a:gd name="connsiteY155" fmla="*/ 197233 h 410952"/>
                  <a:gd name="connsiteX156" fmla="*/ 208254 w 793427"/>
                  <a:gd name="connsiteY156" fmla="*/ 197497 h 410952"/>
                  <a:gd name="connsiteX157" fmla="*/ 207372 w 793427"/>
                  <a:gd name="connsiteY157" fmla="*/ 202170 h 410952"/>
                  <a:gd name="connsiteX158" fmla="*/ 205079 w 793427"/>
                  <a:gd name="connsiteY158" fmla="*/ 203934 h 410952"/>
                  <a:gd name="connsiteX159" fmla="*/ 204198 w 793427"/>
                  <a:gd name="connsiteY159" fmla="*/ 205432 h 410952"/>
                  <a:gd name="connsiteX160" fmla="*/ 203933 w 793427"/>
                  <a:gd name="connsiteY160" fmla="*/ 206843 h 410952"/>
                  <a:gd name="connsiteX161" fmla="*/ 205432 w 793427"/>
                  <a:gd name="connsiteY161" fmla="*/ 204551 h 410952"/>
                  <a:gd name="connsiteX162" fmla="*/ 208341 w 793427"/>
                  <a:gd name="connsiteY162" fmla="*/ 202787 h 410952"/>
                  <a:gd name="connsiteX163" fmla="*/ 209223 w 793427"/>
                  <a:gd name="connsiteY163" fmla="*/ 199878 h 410952"/>
                  <a:gd name="connsiteX164" fmla="*/ 209223 w 793427"/>
                  <a:gd name="connsiteY164" fmla="*/ 198114 h 410952"/>
                  <a:gd name="connsiteX165" fmla="*/ 210987 w 793427"/>
                  <a:gd name="connsiteY165" fmla="*/ 195205 h 410952"/>
                  <a:gd name="connsiteX166" fmla="*/ 211868 w 793427"/>
                  <a:gd name="connsiteY166" fmla="*/ 195205 h 410952"/>
                  <a:gd name="connsiteX167" fmla="*/ 212397 w 793427"/>
                  <a:gd name="connsiteY167" fmla="*/ 197233 h 410952"/>
                  <a:gd name="connsiteX168" fmla="*/ 213279 w 793427"/>
                  <a:gd name="connsiteY168" fmla="*/ 196087 h 410952"/>
                  <a:gd name="connsiteX169" fmla="*/ 216806 w 793427"/>
                  <a:gd name="connsiteY169" fmla="*/ 197233 h 410952"/>
                  <a:gd name="connsiteX170" fmla="*/ 219362 w 793427"/>
                  <a:gd name="connsiteY170" fmla="*/ 196351 h 410952"/>
                  <a:gd name="connsiteX171" fmla="*/ 226063 w 793427"/>
                  <a:gd name="connsiteY171" fmla="*/ 198379 h 410952"/>
                  <a:gd name="connsiteX172" fmla="*/ 227563 w 793427"/>
                  <a:gd name="connsiteY172" fmla="*/ 197497 h 410952"/>
                  <a:gd name="connsiteX173" fmla="*/ 228179 w 793427"/>
                  <a:gd name="connsiteY173" fmla="*/ 198114 h 410952"/>
                  <a:gd name="connsiteX174" fmla="*/ 227563 w 793427"/>
                  <a:gd name="connsiteY174" fmla="*/ 201641 h 410952"/>
                  <a:gd name="connsiteX175" fmla="*/ 228179 w 793427"/>
                  <a:gd name="connsiteY175" fmla="*/ 203669 h 410952"/>
                  <a:gd name="connsiteX176" fmla="*/ 231354 w 793427"/>
                  <a:gd name="connsiteY176" fmla="*/ 205168 h 410952"/>
                  <a:gd name="connsiteX177" fmla="*/ 231618 w 793427"/>
                  <a:gd name="connsiteY177" fmla="*/ 208959 h 410952"/>
                  <a:gd name="connsiteX178" fmla="*/ 232764 w 793427"/>
                  <a:gd name="connsiteY178" fmla="*/ 210987 h 410952"/>
                  <a:gd name="connsiteX179" fmla="*/ 235674 w 793427"/>
                  <a:gd name="connsiteY179" fmla="*/ 211604 h 410952"/>
                  <a:gd name="connsiteX180" fmla="*/ 237084 w 793427"/>
                  <a:gd name="connsiteY180" fmla="*/ 213015 h 410952"/>
                  <a:gd name="connsiteX181" fmla="*/ 237702 w 793427"/>
                  <a:gd name="connsiteY181" fmla="*/ 218305 h 410952"/>
                  <a:gd name="connsiteX182" fmla="*/ 234175 w 793427"/>
                  <a:gd name="connsiteY182" fmla="*/ 222096 h 410952"/>
                  <a:gd name="connsiteX183" fmla="*/ 232147 w 793427"/>
                  <a:gd name="connsiteY183" fmla="*/ 228533 h 410952"/>
                  <a:gd name="connsiteX184" fmla="*/ 231883 w 793427"/>
                  <a:gd name="connsiteY184" fmla="*/ 230032 h 410952"/>
                  <a:gd name="connsiteX185" fmla="*/ 234792 w 793427"/>
                  <a:gd name="connsiteY185" fmla="*/ 232324 h 410952"/>
                  <a:gd name="connsiteX186" fmla="*/ 235057 w 793427"/>
                  <a:gd name="connsiteY186" fmla="*/ 233470 h 410952"/>
                  <a:gd name="connsiteX187" fmla="*/ 232147 w 793427"/>
                  <a:gd name="connsiteY187" fmla="*/ 241670 h 410952"/>
                  <a:gd name="connsiteX188" fmla="*/ 231883 w 793427"/>
                  <a:gd name="connsiteY188" fmla="*/ 244315 h 410952"/>
                  <a:gd name="connsiteX189" fmla="*/ 231618 w 793427"/>
                  <a:gd name="connsiteY189" fmla="*/ 249517 h 410952"/>
                  <a:gd name="connsiteX190" fmla="*/ 232764 w 793427"/>
                  <a:gd name="connsiteY190" fmla="*/ 255071 h 410952"/>
                  <a:gd name="connsiteX191" fmla="*/ 231001 w 793427"/>
                  <a:gd name="connsiteY191" fmla="*/ 259744 h 410952"/>
                  <a:gd name="connsiteX192" fmla="*/ 231883 w 793427"/>
                  <a:gd name="connsiteY192" fmla="*/ 262654 h 410952"/>
                  <a:gd name="connsiteX193" fmla="*/ 230119 w 793427"/>
                  <a:gd name="connsiteY193" fmla="*/ 265299 h 410952"/>
                  <a:gd name="connsiteX194" fmla="*/ 231618 w 793427"/>
                  <a:gd name="connsiteY194" fmla="*/ 270853 h 410952"/>
                  <a:gd name="connsiteX195" fmla="*/ 231001 w 793427"/>
                  <a:gd name="connsiteY195" fmla="*/ 274909 h 410952"/>
                  <a:gd name="connsiteX196" fmla="*/ 232500 w 793427"/>
                  <a:gd name="connsiteY196" fmla="*/ 277290 h 410952"/>
                  <a:gd name="connsiteX197" fmla="*/ 230119 w 793427"/>
                  <a:gd name="connsiteY197" fmla="*/ 283726 h 410952"/>
                  <a:gd name="connsiteX198" fmla="*/ 228092 w 793427"/>
                  <a:gd name="connsiteY198" fmla="*/ 283726 h 410952"/>
                  <a:gd name="connsiteX199" fmla="*/ 227210 w 793427"/>
                  <a:gd name="connsiteY199" fmla="*/ 286900 h 410952"/>
                  <a:gd name="connsiteX200" fmla="*/ 225446 w 793427"/>
                  <a:gd name="connsiteY200" fmla="*/ 287782 h 410952"/>
                  <a:gd name="connsiteX201" fmla="*/ 224300 w 793427"/>
                  <a:gd name="connsiteY201" fmla="*/ 287429 h 410952"/>
                  <a:gd name="connsiteX202" fmla="*/ 223683 w 793427"/>
                  <a:gd name="connsiteY202" fmla="*/ 284520 h 410952"/>
                  <a:gd name="connsiteX203" fmla="*/ 223330 w 793427"/>
                  <a:gd name="connsiteY203" fmla="*/ 280993 h 410952"/>
                  <a:gd name="connsiteX204" fmla="*/ 225975 w 793427"/>
                  <a:gd name="connsiteY204" fmla="*/ 277819 h 410952"/>
                  <a:gd name="connsiteX205" fmla="*/ 225358 w 793427"/>
                  <a:gd name="connsiteY205" fmla="*/ 278436 h 410952"/>
                  <a:gd name="connsiteX206" fmla="*/ 223595 w 793427"/>
                  <a:gd name="connsiteY206" fmla="*/ 278436 h 410952"/>
                  <a:gd name="connsiteX207" fmla="*/ 222096 w 793427"/>
                  <a:gd name="connsiteY207" fmla="*/ 275174 h 410952"/>
                  <a:gd name="connsiteX208" fmla="*/ 220597 w 793427"/>
                  <a:gd name="connsiteY208" fmla="*/ 273146 h 410952"/>
                  <a:gd name="connsiteX209" fmla="*/ 220862 w 793427"/>
                  <a:gd name="connsiteY209" fmla="*/ 280111 h 410952"/>
                  <a:gd name="connsiteX210" fmla="*/ 219362 w 793427"/>
                  <a:gd name="connsiteY210" fmla="*/ 275438 h 410952"/>
                  <a:gd name="connsiteX211" fmla="*/ 217599 w 793427"/>
                  <a:gd name="connsiteY211" fmla="*/ 276055 h 410952"/>
                  <a:gd name="connsiteX212" fmla="*/ 218746 w 793427"/>
                  <a:gd name="connsiteY212" fmla="*/ 278965 h 410952"/>
                  <a:gd name="connsiteX213" fmla="*/ 217335 w 793427"/>
                  <a:gd name="connsiteY213" fmla="*/ 279229 h 410952"/>
                  <a:gd name="connsiteX214" fmla="*/ 217335 w 793427"/>
                  <a:gd name="connsiteY214" fmla="*/ 279847 h 410952"/>
                  <a:gd name="connsiteX215" fmla="*/ 218746 w 793427"/>
                  <a:gd name="connsiteY215" fmla="*/ 280111 h 410952"/>
                  <a:gd name="connsiteX216" fmla="*/ 216982 w 793427"/>
                  <a:gd name="connsiteY216" fmla="*/ 280993 h 410952"/>
                  <a:gd name="connsiteX217" fmla="*/ 215836 w 793427"/>
                  <a:gd name="connsiteY217" fmla="*/ 283373 h 410952"/>
                  <a:gd name="connsiteX218" fmla="*/ 213808 w 793427"/>
                  <a:gd name="connsiteY218" fmla="*/ 284784 h 410952"/>
                  <a:gd name="connsiteX219" fmla="*/ 212309 w 793427"/>
                  <a:gd name="connsiteY219" fmla="*/ 282139 h 410952"/>
                  <a:gd name="connsiteX220" fmla="*/ 208518 w 793427"/>
                  <a:gd name="connsiteY220" fmla="*/ 281257 h 410952"/>
                  <a:gd name="connsiteX221" fmla="*/ 207372 w 793427"/>
                  <a:gd name="connsiteY221" fmla="*/ 279229 h 410952"/>
                  <a:gd name="connsiteX222" fmla="*/ 205344 w 793427"/>
                  <a:gd name="connsiteY222" fmla="*/ 273410 h 410952"/>
                  <a:gd name="connsiteX223" fmla="*/ 203845 w 793427"/>
                  <a:gd name="connsiteY223" fmla="*/ 274027 h 410952"/>
                  <a:gd name="connsiteX224" fmla="*/ 203580 w 793427"/>
                  <a:gd name="connsiteY224" fmla="*/ 274909 h 410952"/>
                  <a:gd name="connsiteX225" fmla="*/ 203580 w 793427"/>
                  <a:gd name="connsiteY225" fmla="*/ 277554 h 410952"/>
                  <a:gd name="connsiteX226" fmla="*/ 205344 w 793427"/>
                  <a:gd name="connsiteY226" fmla="*/ 281610 h 410952"/>
                  <a:gd name="connsiteX227" fmla="*/ 207636 w 793427"/>
                  <a:gd name="connsiteY227" fmla="*/ 283902 h 410952"/>
                  <a:gd name="connsiteX228" fmla="*/ 209664 w 793427"/>
                  <a:gd name="connsiteY228" fmla="*/ 283285 h 410952"/>
                  <a:gd name="connsiteX229" fmla="*/ 208518 w 793427"/>
                  <a:gd name="connsiteY229" fmla="*/ 284696 h 410952"/>
                  <a:gd name="connsiteX230" fmla="*/ 208518 w 793427"/>
                  <a:gd name="connsiteY230" fmla="*/ 287605 h 410952"/>
                  <a:gd name="connsiteX231" fmla="*/ 208254 w 793427"/>
                  <a:gd name="connsiteY231" fmla="*/ 289633 h 410952"/>
                  <a:gd name="connsiteX232" fmla="*/ 207372 w 793427"/>
                  <a:gd name="connsiteY232" fmla="*/ 290250 h 410952"/>
                  <a:gd name="connsiteX233" fmla="*/ 204462 w 793427"/>
                  <a:gd name="connsiteY233" fmla="*/ 288751 h 410952"/>
                  <a:gd name="connsiteX234" fmla="*/ 201553 w 793427"/>
                  <a:gd name="connsiteY234" fmla="*/ 287253 h 410952"/>
                  <a:gd name="connsiteX235" fmla="*/ 197144 w 793427"/>
                  <a:gd name="connsiteY235" fmla="*/ 284343 h 410952"/>
                  <a:gd name="connsiteX236" fmla="*/ 194235 w 793427"/>
                  <a:gd name="connsiteY236" fmla="*/ 279670 h 410952"/>
                  <a:gd name="connsiteX237" fmla="*/ 189562 w 793427"/>
                  <a:gd name="connsiteY237" fmla="*/ 275879 h 410952"/>
                  <a:gd name="connsiteX238" fmla="*/ 189297 w 793427"/>
                  <a:gd name="connsiteY238" fmla="*/ 270589 h 410952"/>
                  <a:gd name="connsiteX239" fmla="*/ 187534 w 793427"/>
                  <a:gd name="connsiteY239" fmla="*/ 268561 h 410952"/>
                  <a:gd name="connsiteX240" fmla="*/ 187270 w 793427"/>
                  <a:gd name="connsiteY240" fmla="*/ 266180 h 410952"/>
                  <a:gd name="connsiteX241" fmla="*/ 187270 w 793427"/>
                  <a:gd name="connsiteY241" fmla="*/ 262125 h 410952"/>
                  <a:gd name="connsiteX242" fmla="*/ 186123 w 793427"/>
                  <a:gd name="connsiteY242" fmla="*/ 261860 h 410952"/>
                  <a:gd name="connsiteX243" fmla="*/ 185594 w 793427"/>
                  <a:gd name="connsiteY243" fmla="*/ 265651 h 410952"/>
                  <a:gd name="connsiteX244" fmla="*/ 184095 w 793427"/>
                  <a:gd name="connsiteY244" fmla="*/ 263888 h 410952"/>
                  <a:gd name="connsiteX245" fmla="*/ 182067 w 793427"/>
                  <a:gd name="connsiteY245" fmla="*/ 262742 h 410952"/>
                  <a:gd name="connsiteX246" fmla="*/ 180921 w 793427"/>
                  <a:gd name="connsiteY246" fmla="*/ 260978 h 410952"/>
                  <a:gd name="connsiteX247" fmla="*/ 177130 w 793427"/>
                  <a:gd name="connsiteY247" fmla="*/ 257187 h 410952"/>
                  <a:gd name="connsiteX248" fmla="*/ 174485 w 793427"/>
                  <a:gd name="connsiteY248" fmla="*/ 255159 h 410952"/>
                  <a:gd name="connsiteX249" fmla="*/ 171311 w 793427"/>
                  <a:gd name="connsiteY249" fmla="*/ 250222 h 410952"/>
                  <a:gd name="connsiteX250" fmla="*/ 168401 w 793427"/>
                  <a:gd name="connsiteY250" fmla="*/ 249076 h 410952"/>
                  <a:gd name="connsiteX251" fmla="*/ 162847 w 793427"/>
                  <a:gd name="connsiteY251" fmla="*/ 249076 h 410952"/>
                  <a:gd name="connsiteX252" fmla="*/ 159673 w 793427"/>
                  <a:gd name="connsiteY252" fmla="*/ 242904 h 410952"/>
                  <a:gd name="connsiteX253" fmla="*/ 157028 w 793427"/>
                  <a:gd name="connsiteY253" fmla="*/ 236468 h 410952"/>
                  <a:gd name="connsiteX254" fmla="*/ 154735 w 793427"/>
                  <a:gd name="connsiteY254" fmla="*/ 235850 h 410952"/>
                  <a:gd name="connsiteX255" fmla="*/ 153853 w 793427"/>
                  <a:gd name="connsiteY255" fmla="*/ 229150 h 410952"/>
                  <a:gd name="connsiteX256" fmla="*/ 152972 w 793427"/>
                  <a:gd name="connsiteY256" fmla="*/ 228004 h 410952"/>
                  <a:gd name="connsiteX257" fmla="*/ 149533 w 793427"/>
                  <a:gd name="connsiteY257" fmla="*/ 229767 h 410952"/>
                  <a:gd name="connsiteX258" fmla="*/ 146359 w 793427"/>
                  <a:gd name="connsiteY258" fmla="*/ 224829 h 410952"/>
                  <a:gd name="connsiteX259" fmla="*/ 144596 w 793427"/>
                  <a:gd name="connsiteY259" fmla="*/ 221655 h 410952"/>
                  <a:gd name="connsiteX260" fmla="*/ 143097 w 793427"/>
                  <a:gd name="connsiteY260" fmla="*/ 222273 h 410952"/>
                  <a:gd name="connsiteX261" fmla="*/ 140540 w 793427"/>
                  <a:gd name="connsiteY261" fmla="*/ 218481 h 410952"/>
                  <a:gd name="connsiteX262" fmla="*/ 141686 w 793427"/>
                  <a:gd name="connsiteY262" fmla="*/ 216718 h 410952"/>
                  <a:gd name="connsiteX263" fmla="*/ 137278 w 793427"/>
                  <a:gd name="connsiteY263" fmla="*/ 214690 h 410952"/>
                  <a:gd name="connsiteX264" fmla="*/ 134986 w 793427"/>
                  <a:gd name="connsiteY264" fmla="*/ 210634 h 410952"/>
                  <a:gd name="connsiteX265" fmla="*/ 134986 w 793427"/>
                  <a:gd name="connsiteY265" fmla="*/ 208606 h 410952"/>
                  <a:gd name="connsiteX266" fmla="*/ 133487 w 793427"/>
                  <a:gd name="connsiteY266" fmla="*/ 205697 h 410952"/>
                  <a:gd name="connsiteX267" fmla="*/ 129078 w 793427"/>
                  <a:gd name="connsiteY267" fmla="*/ 202523 h 410952"/>
                  <a:gd name="connsiteX268" fmla="*/ 126169 w 793427"/>
                  <a:gd name="connsiteY268" fmla="*/ 198732 h 410952"/>
                  <a:gd name="connsiteX269" fmla="*/ 126433 w 793427"/>
                  <a:gd name="connsiteY269" fmla="*/ 197850 h 410952"/>
                  <a:gd name="connsiteX270" fmla="*/ 124670 w 793427"/>
                  <a:gd name="connsiteY270" fmla="*/ 195822 h 410952"/>
                  <a:gd name="connsiteX271" fmla="*/ 122907 w 793427"/>
                  <a:gd name="connsiteY271" fmla="*/ 192295 h 410952"/>
                  <a:gd name="connsiteX272" fmla="*/ 124052 w 793427"/>
                  <a:gd name="connsiteY272" fmla="*/ 189121 h 410952"/>
                  <a:gd name="connsiteX273" fmla="*/ 123788 w 793427"/>
                  <a:gd name="connsiteY273" fmla="*/ 186212 h 410952"/>
                  <a:gd name="connsiteX274" fmla="*/ 120879 w 793427"/>
                  <a:gd name="connsiteY274" fmla="*/ 181539 h 410952"/>
                  <a:gd name="connsiteX275" fmla="*/ 119997 w 793427"/>
                  <a:gd name="connsiteY275" fmla="*/ 181539 h 410952"/>
                  <a:gd name="connsiteX276" fmla="*/ 118498 w 793427"/>
                  <a:gd name="connsiteY276" fmla="*/ 175720 h 410952"/>
                  <a:gd name="connsiteX277" fmla="*/ 117352 w 793427"/>
                  <a:gd name="connsiteY277" fmla="*/ 174838 h 410952"/>
                  <a:gd name="connsiteX278" fmla="*/ 117087 w 793427"/>
                  <a:gd name="connsiteY278" fmla="*/ 171664 h 410952"/>
                  <a:gd name="connsiteX279" fmla="*/ 114795 w 793427"/>
                  <a:gd name="connsiteY279" fmla="*/ 170165 h 410952"/>
                  <a:gd name="connsiteX280" fmla="*/ 113913 w 793427"/>
                  <a:gd name="connsiteY280" fmla="*/ 170165 h 410952"/>
                  <a:gd name="connsiteX281" fmla="*/ 113296 w 793427"/>
                  <a:gd name="connsiteY281" fmla="*/ 167520 h 410952"/>
                  <a:gd name="connsiteX282" fmla="*/ 113031 w 793427"/>
                  <a:gd name="connsiteY282" fmla="*/ 165492 h 410952"/>
                  <a:gd name="connsiteX283" fmla="*/ 113913 w 793427"/>
                  <a:gd name="connsiteY283" fmla="*/ 164610 h 410952"/>
                  <a:gd name="connsiteX284" fmla="*/ 112767 w 793427"/>
                  <a:gd name="connsiteY284" fmla="*/ 163464 h 410952"/>
                  <a:gd name="connsiteX285" fmla="*/ 113120 w 793427"/>
                  <a:gd name="connsiteY285" fmla="*/ 160202 h 410952"/>
                  <a:gd name="connsiteX286" fmla="*/ 111973 w 793427"/>
                  <a:gd name="connsiteY286" fmla="*/ 159585 h 410952"/>
                  <a:gd name="connsiteX287" fmla="*/ 110563 w 793427"/>
                  <a:gd name="connsiteY287" fmla="*/ 157822 h 410952"/>
                  <a:gd name="connsiteX288" fmla="*/ 108799 w 793427"/>
                  <a:gd name="connsiteY288" fmla="*/ 153149 h 410952"/>
                  <a:gd name="connsiteX289" fmla="*/ 105273 w 793427"/>
                  <a:gd name="connsiteY289" fmla="*/ 150503 h 410952"/>
                  <a:gd name="connsiteX290" fmla="*/ 103862 w 793427"/>
                  <a:gd name="connsiteY290" fmla="*/ 149357 h 410952"/>
                  <a:gd name="connsiteX291" fmla="*/ 100952 w 793427"/>
                  <a:gd name="connsiteY291" fmla="*/ 146448 h 410952"/>
                  <a:gd name="connsiteX292" fmla="*/ 99806 w 793427"/>
                  <a:gd name="connsiteY292" fmla="*/ 140276 h 410952"/>
                  <a:gd name="connsiteX293" fmla="*/ 96015 w 793427"/>
                  <a:gd name="connsiteY293" fmla="*/ 134721 h 410952"/>
                  <a:gd name="connsiteX294" fmla="*/ 96632 w 793427"/>
                  <a:gd name="connsiteY294" fmla="*/ 136485 h 410952"/>
                  <a:gd name="connsiteX295" fmla="*/ 93370 w 793427"/>
                  <a:gd name="connsiteY295" fmla="*/ 135603 h 410952"/>
                  <a:gd name="connsiteX296" fmla="*/ 90460 w 793427"/>
                  <a:gd name="connsiteY296" fmla="*/ 132958 h 410952"/>
                  <a:gd name="connsiteX297" fmla="*/ 89844 w 793427"/>
                  <a:gd name="connsiteY297" fmla="*/ 137014 h 410952"/>
                  <a:gd name="connsiteX298" fmla="*/ 87815 w 793427"/>
                  <a:gd name="connsiteY298" fmla="*/ 134986 h 410952"/>
                  <a:gd name="connsiteX299" fmla="*/ 86669 w 793427"/>
                  <a:gd name="connsiteY299" fmla="*/ 132958 h 410952"/>
                  <a:gd name="connsiteX300" fmla="*/ 86052 w 793427"/>
                  <a:gd name="connsiteY300" fmla="*/ 132341 h 410952"/>
                  <a:gd name="connsiteX301" fmla="*/ 86669 w 793427"/>
                  <a:gd name="connsiteY301" fmla="*/ 130930 h 410952"/>
                  <a:gd name="connsiteX302" fmla="*/ 85523 w 793427"/>
                  <a:gd name="connsiteY302" fmla="*/ 130313 h 410952"/>
                  <a:gd name="connsiteX303" fmla="*/ 86140 w 793427"/>
                  <a:gd name="connsiteY303" fmla="*/ 128902 h 410952"/>
                  <a:gd name="connsiteX304" fmla="*/ 85259 w 793427"/>
                  <a:gd name="connsiteY304" fmla="*/ 123965 h 410952"/>
                  <a:gd name="connsiteX305" fmla="*/ 84112 w 793427"/>
                  <a:gd name="connsiteY305" fmla="*/ 123700 h 410952"/>
                  <a:gd name="connsiteX306" fmla="*/ 84112 w 793427"/>
                  <a:gd name="connsiteY306" fmla="*/ 120438 h 410952"/>
                  <a:gd name="connsiteX307" fmla="*/ 85523 w 793427"/>
                  <a:gd name="connsiteY307" fmla="*/ 117793 h 410952"/>
                  <a:gd name="connsiteX308" fmla="*/ 82878 w 793427"/>
                  <a:gd name="connsiteY308" fmla="*/ 116030 h 410952"/>
                  <a:gd name="connsiteX309" fmla="*/ 81379 w 793427"/>
                  <a:gd name="connsiteY309" fmla="*/ 112856 h 410952"/>
                  <a:gd name="connsiteX310" fmla="*/ 80233 w 793427"/>
                  <a:gd name="connsiteY310" fmla="*/ 109329 h 410952"/>
                  <a:gd name="connsiteX311" fmla="*/ 80233 w 793427"/>
                  <a:gd name="connsiteY311" fmla="*/ 107037 h 410952"/>
                  <a:gd name="connsiteX312" fmla="*/ 79968 w 793427"/>
                  <a:gd name="connsiteY312" fmla="*/ 107037 h 410952"/>
                  <a:gd name="connsiteX313" fmla="*/ 78205 w 793427"/>
                  <a:gd name="connsiteY313" fmla="*/ 102628 h 410952"/>
                  <a:gd name="connsiteX314" fmla="*/ 76706 w 793427"/>
                  <a:gd name="connsiteY314" fmla="*/ 100600 h 410952"/>
                  <a:gd name="connsiteX315" fmla="*/ 77235 w 793427"/>
                  <a:gd name="connsiteY315" fmla="*/ 100336 h 410952"/>
                  <a:gd name="connsiteX316" fmla="*/ 77852 w 793427"/>
                  <a:gd name="connsiteY316" fmla="*/ 101217 h 410952"/>
                  <a:gd name="connsiteX317" fmla="*/ 78999 w 793427"/>
                  <a:gd name="connsiteY317" fmla="*/ 99189 h 410952"/>
                  <a:gd name="connsiteX318" fmla="*/ 78999 w 793427"/>
                  <a:gd name="connsiteY318" fmla="*/ 97691 h 410952"/>
                  <a:gd name="connsiteX319" fmla="*/ 76971 w 793427"/>
                  <a:gd name="connsiteY319" fmla="*/ 95663 h 410952"/>
                  <a:gd name="connsiteX320" fmla="*/ 76971 w 793427"/>
                  <a:gd name="connsiteY320" fmla="*/ 96544 h 410952"/>
                  <a:gd name="connsiteX321" fmla="*/ 76089 w 793427"/>
                  <a:gd name="connsiteY321" fmla="*/ 96280 h 410952"/>
                  <a:gd name="connsiteX322" fmla="*/ 72298 w 793427"/>
                  <a:gd name="connsiteY322" fmla="*/ 91343 h 410952"/>
                  <a:gd name="connsiteX323" fmla="*/ 70799 w 793427"/>
                  <a:gd name="connsiteY323" fmla="*/ 88433 h 410952"/>
                  <a:gd name="connsiteX324" fmla="*/ 67008 w 793427"/>
                  <a:gd name="connsiteY324" fmla="*/ 87022 h 410952"/>
                  <a:gd name="connsiteX325" fmla="*/ 65773 w 793427"/>
                  <a:gd name="connsiteY325" fmla="*/ 87022 h 410952"/>
                  <a:gd name="connsiteX326" fmla="*/ 63481 w 793427"/>
                  <a:gd name="connsiteY326" fmla="*/ 85259 h 410952"/>
                  <a:gd name="connsiteX327" fmla="*/ 59425 w 793427"/>
                  <a:gd name="connsiteY327" fmla="*/ 84113 h 410952"/>
                  <a:gd name="connsiteX328" fmla="*/ 60043 w 793427"/>
                  <a:gd name="connsiteY328" fmla="*/ 83231 h 410952"/>
                  <a:gd name="connsiteX329" fmla="*/ 57397 w 793427"/>
                  <a:gd name="connsiteY329" fmla="*/ 82085 h 410952"/>
                  <a:gd name="connsiteX330" fmla="*/ 55987 w 793427"/>
                  <a:gd name="connsiteY330" fmla="*/ 83231 h 410952"/>
                  <a:gd name="connsiteX331" fmla="*/ 53606 w 793427"/>
                  <a:gd name="connsiteY331" fmla="*/ 80057 h 410952"/>
                  <a:gd name="connsiteX332" fmla="*/ 55369 w 793427"/>
                  <a:gd name="connsiteY332" fmla="*/ 75384 h 410952"/>
                  <a:gd name="connsiteX333" fmla="*/ 55017 w 793427"/>
                  <a:gd name="connsiteY333" fmla="*/ 71593 h 410952"/>
                  <a:gd name="connsiteX334" fmla="*/ 53254 w 793427"/>
                  <a:gd name="connsiteY334" fmla="*/ 71328 h 410952"/>
                  <a:gd name="connsiteX335" fmla="*/ 52636 w 793427"/>
                  <a:gd name="connsiteY335" fmla="*/ 69829 h 410952"/>
                  <a:gd name="connsiteX336" fmla="*/ 52107 w 793427"/>
                  <a:gd name="connsiteY336" fmla="*/ 68330 h 410952"/>
                  <a:gd name="connsiteX337" fmla="*/ 48580 w 793427"/>
                  <a:gd name="connsiteY337" fmla="*/ 67185 h 410952"/>
                  <a:gd name="connsiteX338" fmla="*/ 46553 w 793427"/>
                  <a:gd name="connsiteY338" fmla="*/ 64892 h 410952"/>
                  <a:gd name="connsiteX339" fmla="*/ 45054 w 793427"/>
                  <a:gd name="connsiteY339" fmla="*/ 60219 h 410952"/>
                  <a:gd name="connsiteX340" fmla="*/ 43026 w 793427"/>
                  <a:gd name="connsiteY340" fmla="*/ 59337 h 410952"/>
                  <a:gd name="connsiteX341" fmla="*/ 36943 w 793427"/>
                  <a:gd name="connsiteY341" fmla="*/ 49374 h 410952"/>
                  <a:gd name="connsiteX342" fmla="*/ 34914 w 793427"/>
                  <a:gd name="connsiteY342" fmla="*/ 47347 h 410952"/>
                  <a:gd name="connsiteX343" fmla="*/ 32887 w 793427"/>
                  <a:gd name="connsiteY343" fmla="*/ 46818 h 410952"/>
                  <a:gd name="connsiteX344" fmla="*/ 29713 w 793427"/>
                  <a:gd name="connsiteY344" fmla="*/ 47347 h 410952"/>
                  <a:gd name="connsiteX345" fmla="*/ 28566 w 793427"/>
                  <a:gd name="connsiteY345" fmla="*/ 46818 h 410952"/>
                  <a:gd name="connsiteX346" fmla="*/ 25040 w 793427"/>
                  <a:gd name="connsiteY346" fmla="*/ 42762 h 410952"/>
                  <a:gd name="connsiteX347" fmla="*/ 21866 w 793427"/>
                  <a:gd name="connsiteY347" fmla="*/ 38089 h 410952"/>
                  <a:gd name="connsiteX348" fmla="*/ 16311 w 793427"/>
                  <a:gd name="connsiteY348" fmla="*/ 34033 h 410952"/>
                  <a:gd name="connsiteX349" fmla="*/ 8993 w 793427"/>
                  <a:gd name="connsiteY349" fmla="*/ 25569 h 410952"/>
                  <a:gd name="connsiteX350" fmla="*/ 7229 w 793427"/>
                  <a:gd name="connsiteY350" fmla="*/ 24423 h 410952"/>
                  <a:gd name="connsiteX351" fmla="*/ 2292 w 793427"/>
                  <a:gd name="connsiteY351" fmla="*/ 13931 h 410952"/>
                  <a:gd name="connsiteX352" fmla="*/ 881 w 793427"/>
                  <a:gd name="connsiteY352" fmla="*/ 9522 h 410952"/>
                  <a:gd name="connsiteX353" fmla="*/ 0 w 793427"/>
                  <a:gd name="connsiteY353" fmla="*/ 9522 h 410952"/>
                  <a:gd name="connsiteX354" fmla="*/ 1146 w 793427"/>
                  <a:gd name="connsiteY354" fmla="*/ 5114 h 410952"/>
                  <a:gd name="connsiteX355" fmla="*/ 0 w 793427"/>
                  <a:gd name="connsiteY355" fmla="*/ 3350 h 410952"/>
                  <a:gd name="connsiteX356" fmla="*/ 970 w 793427"/>
                  <a:gd name="connsiteY356" fmla="*/ 2028 h 410952"/>
                  <a:gd name="connsiteX357" fmla="*/ 667699 w 793427"/>
                  <a:gd name="connsiteY357" fmla="*/ 55370 h 410952"/>
                  <a:gd name="connsiteX358" fmla="*/ 666200 w 793427"/>
                  <a:gd name="connsiteY358" fmla="*/ 55370 h 410952"/>
                  <a:gd name="connsiteX359" fmla="*/ 665583 w 793427"/>
                  <a:gd name="connsiteY359" fmla="*/ 53871 h 410952"/>
                  <a:gd name="connsiteX360" fmla="*/ 664701 w 793427"/>
                  <a:gd name="connsiteY360" fmla="*/ 53871 h 410952"/>
                  <a:gd name="connsiteX361" fmla="*/ 664437 w 793427"/>
                  <a:gd name="connsiteY361" fmla="*/ 53342 h 410952"/>
                  <a:gd name="connsiteX362" fmla="*/ 664437 w 793427"/>
                  <a:gd name="connsiteY362" fmla="*/ 49815 h 410952"/>
                  <a:gd name="connsiteX363" fmla="*/ 663291 w 793427"/>
                  <a:gd name="connsiteY363" fmla="*/ 49551 h 410952"/>
                  <a:gd name="connsiteX364" fmla="*/ 662144 w 793427"/>
                  <a:gd name="connsiteY364" fmla="*/ 48140 h 410952"/>
                  <a:gd name="connsiteX365" fmla="*/ 662497 w 793427"/>
                  <a:gd name="connsiteY365" fmla="*/ 46994 h 410952"/>
                  <a:gd name="connsiteX366" fmla="*/ 664260 w 793427"/>
                  <a:gd name="connsiteY366" fmla="*/ 46729 h 410952"/>
                  <a:gd name="connsiteX367" fmla="*/ 666288 w 793427"/>
                  <a:gd name="connsiteY367" fmla="*/ 48757 h 410952"/>
                  <a:gd name="connsiteX368" fmla="*/ 666288 w 793427"/>
                  <a:gd name="connsiteY368" fmla="*/ 50168 h 410952"/>
                  <a:gd name="connsiteX369" fmla="*/ 668316 w 793427"/>
                  <a:gd name="connsiteY369" fmla="*/ 53695 h 410952"/>
                  <a:gd name="connsiteX370" fmla="*/ 667699 w 793427"/>
                  <a:gd name="connsiteY370" fmla="*/ 55370 h 410952"/>
                  <a:gd name="connsiteX371" fmla="*/ 444016 w 793427"/>
                  <a:gd name="connsiteY371" fmla="*/ 63305 h 410952"/>
                  <a:gd name="connsiteX372" fmla="*/ 445779 w 793427"/>
                  <a:gd name="connsiteY372" fmla="*/ 53695 h 410952"/>
                  <a:gd name="connsiteX373" fmla="*/ 446926 w 793427"/>
                  <a:gd name="connsiteY373" fmla="*/ 53430 h 410952"/>
                  <a:gd name="connsiteX374" fmla="*/ 445779 w 793427"/>
                  <a:gd name="connsiteY374" fmla="*/ 48757 h 410952"/>
                  <a:gd name="connsiteX375" fmla="*/ 446926 w 793427"/>
                  <a:gd name="connsiteY375" fmla="*/ 42674 h 410952"/>
                  <a:gd name="connsiteX376" fmla="*/ 445779 w 793427"/>
                  <a:gd name="connsiteY376" fmla="*/ 41528 h 410952"/>
                  <a:gd name="connsiteX377" fmla="*/ 449835 w 793427"/>
                  <a:gd name="connsiteY377" fmla="*/ 33328 h 410952"/>
                  <a:gd name="connsiteX378" fmla="*/ 452127 w 793427"/>
                  <a:gd name="connsiteY378" fmla="*/ 32182 h 410952"/>
                  <a:gd name="connsiteX379" fmla="*/ 452127 w 793427"/>
                  <a:gd name="connsiteY379" fmla="*/ 30683 h 410952"/>
                  <a:gd name="connsiteX380" fmla="*/ 452744 w 793427"/>
                  <a:gd name="connsiteY380" fmla="*/ 30065 h 410952"/>
                  <a:gd name="connsiteX381" fmla="*/ 456536 w 793427"/>
                  <a:gd name="connsiteY381" fmla="*/ 32093 h 410952"/>
                  <a:gd name="connsiteX382" fmla="*/ 458828 w 793427"/>
                  <a:gd name="connsiteY382" fmla="*/ 29713 h 410952"/>
                  <a:gd name="connsiteX383" fmla="*/ 462884 w 793427"/>
                  <a:gd name="connsiteY383" fmla="*/ 29713 h 410952"/>
                  <a:gd name="connsiteX384" fmla="*/ 465176 w 793427"/>
                  <a:gd name="connsiteY384" fmla="*/ 31741 h 410952"/>
                  <a:gd name="connsiteX385" fmla="*/ 466939 w 793427"/>
                  <a:gd name="connsiteY385" fmla="*/ 31123 h 410952"/>
                  <a:gd name="connsiteX386" fmla="*/ 466675 w 793427"/>
                  <a:gd name="connsiteY386" fmla="*/ 29977 h 410952"/>
                  <a:gd name="connsiteX387" fmla="*/ 467821 w 793427"/>
                  <a:gd name="connsiteY387" fmla="*/ 29360 h 410952"/>
                  <a:gd name="connsiteX388" fmla="*/ 469584 w 793427"/>
                  <a:gd name="connsiteY388" fmla="*/ 30771 h 410952"/>
                  <a:gd name="connsiteX389" fmla="*/ 470731 w 793427"/>
                  <a:gd name="connsiteY389" fmla="*/ 30771 h 410952"/>
                  <a:gd name="connsiteX390" fmla="*/ 471613 w 793427"/>
                  <a:gd name="connsiteY390" fmla="*/ 29625 h 410952"/>
                  <a:gd name="connsiteX391" fmla="*/ 473640 w 793427"/>
                  <a:gd name="connsiteY391" fmla="*/ 30771 h 410952"/>
                  <a:gd name="connsiteX392" fmla="*/ 482457 w 793427"/>
                  <a:gd name="connsiteY392" fmla="*/ 29889 h 410952"/>
                  <a:gd name="connsiteX393" fmla="*/ 487130 w 793427"/>
                  <a:gd name="connsiteY393" fmla="*/ 34298 h 410952"/>
                  <a:gd name="connsiteX394" fmla="*/ 490304 w 793427"/>
                  <a:gd name="connsiteY394" fmla="*/ 34562 h 410952"/>
                  <a:gd name="connsiteX395" fmla="*/ 488806 w 793427"/>
                  <a:gd name="connsiteY395" fmla="*/ 36326 h 410952"/>
                  <a:gd name="connsiteX396" fmla="*/ 485896 w 793427"/>
                  <a:gd name="connsiteY396" fmla="*/ 35444 h 410952"/>
                  <a:gd name="connsiteX397" fmla="*/ 487659 w 793427"/>
                  <a:gd name="connsiteY397" fmla="*/ 36943 h 410952"/>
                  <a:gd name="connsiteX398" fmla="*/ 487659 w 793427"/>
                  <a:gd name="connsiteY398" fmla="*/ 38089 h 410952"/>
                  <a:gd name="connsiteX399" fmla="*/ 488806 w 793427"/>
                  <a:gd name="connsiteY399" fmla="*/ 37824 h 410952"/>
                  <a:gd name="connsiteX400" fmla="*/ 492597 w 793427"/>
                  <a:gd name="connsiteY400" fmla="*/ 41351 h 410952"/>
                  <a:gd name="connsiteX401" fmla="*/ 491450 w 793427"/>
                  <a:gd name="connsiteY401" fmla="*/ 41615 h 410952"/>
                  <a:gd name="connsiteX402" fmla="*/ 489687 w 793427"/>
                  <a:gd name="connsiteY402" fmla="*/ 40734 h 410952"/>
                  <a:gd name="connsiteX403" fmla="*/ 488806 w 793427"/>
                  <a:gd name="connsiteY403" fmla="*/ 40734 h 410952"/>
                  <a:gd name="connsiteX404" fmla="*/ 492861 w 793427"/>
                  <a:gd name="connsiteY404" fmla="*/ 42233 h 410952"/>
                  <a:gd name="connsiteX405" fmla="*/ 494624 w 793427"/>
                  <a:gd name="connsiteY405" fmla="*/ 44261 h 410952"/>
                  <a:gd name="connsiteX406" fmla="*/ 494624 w 793427"/>
                  <a:gd name="connsiteY406" fmla="*/ 44878 h 410952"/>
                  <a:gd name="connsiteX407" fmla="*/ 493478 w 793427"/>
                  <a:gd name="connsiteY407" fmla="*/ 44613 h 410952"/>
                  <a:gd name="connsiteX408" fmla="*/ 493214 w 793427"/>
                  <a:gd name="connsiteY408" fmla="*/ 45230 h 410952"/>
                  <a:gd name="connsiteX409" fmla="*/ 495506 w 793427"/>
                  <a:gd name="connsiteY409" fmla="*/ 46112 h 410952"/>
                  <a:gd name="connsiteX410" fmla="*/ 495859 w 793427"/>
                  <a:gd name="connsiteY410" fmla="*/ 46377 h 410952"/>
                  <a:gd name="connsiteX411" fmla="*/ 494095 w 793427"/>
                  <a:gd name="connsiteY411" fmla="*/ 48140 h 410952"/>
                  <a:gd name="connsiteX412" fmla="*/ 491186 w 793427"/>
                  <a:gd name="connsiteY412" fmla="*/ 48405 h 410952"/>
                  <a:gd name="connsiteX413" fmla="*/ 489422 w 793427"/>
                  <a:gd name="connsiteY413" fmla="*/ 47523 h 410952"/>
                  <a:gd name="connsiteX414" fmla="*/ 487659 w 793427"/>
                  <a:gd name="connsiteY414" fmla="*/ 44349 h 410952"/>
                  <a:gd name="connsiteX415" fmla="*/ 488806 w 793427"/>
                  <a:gd name="connsiteY415" fmla="*/ 48140 h 410952"/>
                  <a:gd name="connsiteX416" fmla="*/ 488541 w 793427"/>
                  <a:gd name="connsiteY416" fmla="*/ 49022 h 410952"/>
                  <a:gd name="connsiteX417" fmla="*/ 481223 w 793427"/>
                  <a:gd name="connsiteY417" fmla="*/ 47876 h 410952"/>
                  <a:gd name="connsiteX418" fmla="*/ 478578 w 793427"/>
                  <a:gd name="connsiteY418" fmla="*/ 48140 h 410952"/>
                  <a:gd name="connsiteX419" fmla="*/ 478049 w 793427"/>
                  <a:gd name="connsiteY419" fmla="*/ 49286 h 410952"/>
                  <a:gd name="connsiteX420" fmla="*/ 480076 w 793427"/>
                  <a:gd name="connsiteY420" fmla="*/ 48405 h 410952"/>
                  <a:gd name="connsiteX421" fmla="*/ 482105 w 793427"/>
                  <a:gd name="connsiteY421" fmla="*/ 48669 h 410952"/>
                  <a:gd name="connsiteX422" fmla="*/ 482105 w 793427"/>
                  <a:gd name="connsiteY422" fmla="*/ 50961 h 410952"/>
                  <a:gd name="connsiteX423" fmla="*/ 483251 w 793427"/>
                  <a:gd name="connsiteY423" fmla="*/ 52108 h 410952"/>
                  <a:gd name="connsiteX424" fmla="*/ 487042 w 793427"/>
                  <a:gd name="connsiteY424" fmla="*/ 53254 h 410952"/>
                  <a:gd name="connsiteX425" fmla="*/ 487042 w 793427"/>
                  <a:gd name="connsiteY425" fmla="*/ 54753 h 410952"/>
                  <a:gd name="connsiteX426" fmla="*/ 485014 w 793427"/>
                  <a:gd name="connsiteY426" fmla="*/ 58279 h 410952"/>
                  <a:gd name="connsiteX427" fmla="*/ 483251 w 793427"/>
                  <a:gd name="connsiteY427" fmla="*/ 57398 h 410952"/>
                  <a:gd name="connsiteX428" fmla="*/ 483515 w 793427"/>
                  <a:gd name="connsiteY428" fmla="*/ 58544 h 410952"/>
                  <a:gd name="connsiteX429" fmla="*/ 487306 w 793427"/>
                  <a:gd name="connsiteY429" fmla="*/ 59690 h 410952"/>
                  <a:gd name="connsiteX430" fmla="*/ 487306 w 793427"/>
                  <a:gd name="connsiteY430" fmla="*/ 60836 h 410952"/>
                  <a:gd name="connsiteX431" fmla="*/ 491097 w 793427"/>
                  <a:gd name="connsiteY431" fmla="*/ 61718 h 410952"/>
                  <a:gd name="connsiteX432" fmla="*/ 491362 w 793427"/>
                  <a:gd name="connsiteY432" fmla="*/ 62600 h 410952"/>
                  <a:gd name="connsiteX433" fmla="*/ 489951 w 793427"/>
                  <a:gd name="connsiteY433" fmla="*/ 64363 h 410952"/>
                  <a:gd name="connsiteX434" fmla="*/ 491979 w 793427"/>
                  <a:gd name="connsiteY434" fmla="*/ 64099 h 410952"/>
                  <a:gd name="connsiteX435" fmla="*/ 492597 w 793427"/>
                  <a:gd name="connsiteY435" fmla="*/ 64980 h 410952"/>
                  <a:gd name="connsiteX436" fmla="*/ 489422 w 793427"/>
                  <a:gd name="connsiteY436" fmla="*/ 65862 h 410952"/>
                  <a:gd name="connsiteX437" fmla="*/ 493478 w 793427"/>
                  <a:gd name="connsiteY437" fmla="*/ 66479 h 410952"/>
                  <a:gd name="connsiteX438" fmla="*/ 492332 w 793427"/>
                  <a:gd name="connsiteY438" fmla="*/ 67096 h 410952"/>
                  <a:gd name="connsiteX439" fmla="*/ 491186 w 793427"/>
                  <a:gd name="connsiteY439" fmla="*/ 68860 h 410952"/>
                  <a:gd name="connsiteX440" fmla="*/ 493831 w 793427"/>
                  <a:gd name="connsiteY440" fmla="*/ 69477 h 410952"/>
                  <a:gd name="connsiteX441" fmla="*/ 494977 w 793427"/>
                  <a:gd name="connsiteY441" fmla="*/ 70358 h 410952"/>
                  <a:gd name="connsiteX442" fmla="*/ 494977 w 793427"/>
                  <a:gd name="connsiteY442" fmla="*/ 72122 h 410952"/>
                  <a:gd name="connsiteX443" fmla="*/ 501414 w 793427"/>
                  <a:gd name="connsiteY443" fmla="*/ 80851 h 410952"/>
                  <a:gd name="connsiteX444" fmla="*/ 496740 w 793427"/>
                  <a:gd name="connsiteY444" fmla="*/ 87287 h 410952"/>
                  <a:gd name="connsiteX445" fmla="*/ 497093 w 793427"/>
                  <a:gd name="connsiteY445" fmla="*/ 87904 h 410952"/>
                  <a:gd name="connsiteX446" fmla="*/ 493919 w 793427"/>
                  <a:gd name="connsiteY446" fmla="*/ 87904 h 410952"/>
                  <a:gd name="connsiteX447" fmla="*/ 496300 w 793427"/>
                  <a:gd name="connsiteY447" fmla="*/ 89050 h 410952"/>
                  <a:gd name="connsiteX448" fmla="*/ 496564 w 793427"/>
                  <a:gd name="connsiteY448" fmla="*/ 91960 h 410952"/>
                  <a:gd name="connsiteX449" fmla="*/ 499827 w 793427"/>
                  <a:gd name="connsiteY449" fmla="*/ 94252 h 410952"/>
                  <a:gd name="connsiteX450" fmla="*/ 502736 w 793427"/>
                  <a:gd name="connsiteY450" fmla="*/ 97779 h 410952"/>
                  <a:gd name="connsiteX451" fmla="*/ 508290 w 793427"/>
                  <a:gd name="connsiteY451" fmla="*/ 101306 h 410952"/>
                  <a:gd name="connsiteX452" fmla="*/ 508555 w 793427"/>
                  <a:gd name="connsiteY452" fmla="*/ 102804 h 410952"/>
                  <a:gd name="connsiteX453" fmla="*/ 513228 w 793427"/>
                  <a:gd name="connsiteY453" fmla="*/ 105450 h 410952"/>
                  <a:gd name="connsiteX454" fmla="*/ 518782 w 793427"/>
                  <a:gd name="connsiteY454" fmla="*/ 112767 h 410952"/>
                  <a:gd name="connsiteX455" fmla="*/ 520281 w 793427"/>
                  <a:gd name="connsiteY455" fmla="*/ 112150 h 410952"/>
                  <a:gd name="connsiteX456" fmla="*/ 522045 w 793427"/>
                  <a:gd name="connsiteY456" fmla="*/ 112767 h 410952"/>
                  <a:gd name="connsiteX457" fmla="*/ 522045 w 793427"/>
                  <a:gd name="connsiteY457" fmla="*/ 114795 h 410952"/>
                  <a:gd name="connsiteX458" fmla="*/ 517901 w 793427"/>
                  <a:gd name="connsiteY458" fmla="*/ 118587 h 410952"/>
                  <a:gd name="connsiteX459" fmla="*/ 517019 w 793427"/>
                  <a:gd name="connsiteY459" fmla="*/ 118851 h 410952"/>
                  <a:gd name="connsiteX460" fmla="*/ 514727 w 793427"/>
                  <a:gd name="connsiteY460" fmla="*/ 117705 h 410952"/>
                  <a:gd name="connsiteX461" fmla="*/ 507673 w 793427"/>
                  <a:gd name="connsiteY461" fmla="*/ 118587 h 410952"/>
                  <a:gd name="connsiteX462" fmla="*/ 501237 w 793427"/>
                  <a:gd name="connsiteY462" fmla="*/ 115677 h 410952"/>
                  <a:gd name="connsiteX463" fmla="*/ 499474 w 793427"/>
                  <a:gd name="connsiteY463" fmla="*/ 112150 h 410952"/>
                  <a:gd name="connsiteX464" fmla="*/ 497446 w 793427"/>
                  <a:gd name="connsiteY464" fmla="*/ 111004 h 410952"/>
                  <a:gd name="connsiteX465" fmla="*/ 497181 w 793427"/>
                  <a:gd name="connsiteY465" fmla="*/ 111621 h 410952"/>
                  <a:gd name="connsiteX466" fmla="*/ 498327 w 793427"/>
                  <a:gd name="connsiteY466" fmla="*/ 113385 h 410952"/>
                  <a:gd name="connsiteX467" fmla="*/ 500356 w 793427"/>
                  <a:gd name="connsiteY467" fmla="*/ 118675 h 410952"/>
                  <a:gd name="connsiteX468" fmla="*/ 500091 w 793427"/>
                  <a:gd name="connsiteY468" fmla="*/ 119292 h 410952"/>
                  <a:gd name="connsiteX469" fmla="*/ 497446 w 793427"/>
                  <a:gd name="connsiteY469" fmla="*/ 118146 h 410952"/>
                  <a:gd name="connsiteX470" fmla="*/ 494272 w 793427"/>
                  <a:gd name="connsiteY470" fmla="*/ 120174 h 410952"/>
                  <a:gd name="connsiteX471" fmla="*/ 489246 w 793427"/>
                  <a:gd name="connsiteY471" fmla="*/ 131018 h 410952"/>
                  <a:gd name="connsiteX472" fmla="*/ 489246 w 793427"/>
                  <a:gd name="connsiteY472" fmla="*/ 132782 h 410952"/>
                  <a:gd name="connsiteX473" fmla="*/ 487835 w 793427"/>
                  <a:gd name="connsiteY473" fmla="*/ 136309 h 410952"/>
                  <a:gd name="connsiteX474" fmla="*/ 488453 w 793427"/>
                  <a:gd name="connsiteY474" fmla="*/ 137455 h 410952"/>
                  <a:gd name="connsiteX475" fmla="*/ 489335 w 793427"/>
                  <a:gd name="connsiteY475" fmla="*/ 139747 h 410952"/>
                  <a:gd name="connsiteX476" fmla="*/ 488188 w 793427"/>
                  <a:gd name="connsiteY476" fmla="*/ 141510 h 410952"/>
                  <a:gd name="connsiteX477" fmla="*/ 487306 w 793427"/>
                  <a:gd name="connsiteY477" fmla="*/ 145566 h 410952"/>
                  <a:gd name="connsiteX478" fmla="*/ 488806 w 793427"/>
                  <a:gd name="connsiteY478" fmla="*/ 147859 h 410952"/>
                  <a:gd name="connsiteX479" fmla="*/ 487306 w 793427"/>
                  <a:gd name="connsiteY479" fmla="*/ 151914 h 410952"/>
                  <a:gd name="connsiteX480" fmla="*/ 488188 w 793427"/>
                  <a:gd name="connsiteY480" fmla="*/ 151297 h 410952"/>
                  <a:gd name="connsiteX481" fmla="*/ 491715 w 793427"/>
                  <a:gd name="connsiteY481" fmla="*/ 149269 h 410952"/>
                  <a:gd name="connsiteX482" fmla="*/ 491715 w 793427"/>
                  <a:gd name="connsiteY482" fmla="*/ 150151 h 410952"/>
                  <a:gd name="connsiteX483" fmla="*/ 489687 w 793427"/>
                  <a:gd name="connsiteY483" fmla="*/ 151297 h 410952"/>
                  <a:gd name="connsiteX484" fmla="*/ 490833 w 793427"/>
                  <a:gd name="connsiteY484" fmla="*/ 151914 h 410952"/>
                  <a:gd name="connsiteX485" fmla="*/ 490568 w 793427"/>
                  <a:gd name="connsiteY485" fmla="*/ 154559 h 410952"/>
                  <a:gd name="connsiteX486" fmla="*/ 490304 w 793427"/>
                  <a:gd name="connsiteY486" fmla="*/ 155441 h 410952"/>
                  <a:gd name="connsiteX487" fmla="*/ 488806 w 793427"/>
                  <a:gd name="connsiteY487" fmla="*/ 156058 h 410952"/>
                  <a:gd name="connsiteX488" fmla="*/ 488541 w 793427"/>
                  <a:gd name="connsiteY488" fmla="*/ 156675 h 410952"/>
                  <a:gd name="connsiteX489" fmla="*/ 491186 w 793427"/>
                  <a:gd name="connsiteY489" fmla="*/ 157293 h 410952"/>
                  <a:gd name="connsiteX490" fmla="*/ 491450 w 793427"/>
                  <a:gd name="connsiteY490" fmla="*/ 157910 h 410952"/>
                  <a:gd name="connsiteX491" fmla="*/ 491186 w 793427"/>
                  <a:gd name="connsiteY491" fmla="*/ 158527 h 410952"/>
                  <a:gd name="connsiteX492" fmla="*/ 487659 w 793427"/>
                  <a:gd name="connsiteY492" fmla="*/ 159409 h 410952"/>
                  <a:gd name="connsiteX493" fmla="*/ 487659 w 793427"/>
                  <a:gd name="connsiteY493" fmla="*/ 160555 h 410952"/>
                  <a:gd name="connsiteX494" fmla="*/ 487042 w 793427"/>
                  <a:gd name="connsiteY494" fmla="*/ 160819 h 410952"/>
                  <a:gd name="connsiteX495" fmla="*/ 486160 w 793427"/>
                  <a:gd name="connsiteY495" fmla="*/ 159938 h 410952"/>
                  <a:gd name="connsiteX496" fmla="*/ 485014 w 793427"/>
                  <a:gd name="connsiteY496" fmla="*/ 161437 h 410952"/>
                  <a:gd name="connsiteX497" fmla="*/ 484132 w 793427"/>
                  <a:gd name="connsiteY497" fmla="*/ 159056 h 410952"/>
                  <a:gd name="connsiteX498" fmla="*/ 483515 w 793427"/>
                  <a:gd name="connsiteY498" fmla="*/ 159673 h 410952"/>
                  <a:gd name="connsiteX499" fmla="*/ 477343 w 793427"/>
                  <a:gd name="connsiteY499" fmla="*/ 169283 h 410952"/>
                  <a:gd name="connsiteX500" fmla="*/ 473552 w 793427"/>
                  <a:gd name="connsiteY500" fmla="*/ 170430 h 410952"/>
                  <a:gd name="connsiteX501" fmla="*/ 471789 w 793427"/>
                  <a:gd name="connsiteY501" fmla="*/ 164610 h 410952"/>
                  <a:gd name="connsiteX502" fmla="*/ 471172 w 793427"/>
                  <a:gd name="connsiteY502" fmla="*/ 167255 h 410952"/>
                  <a:gd name="connsiteX503" fmla="*/ 472935 w 793427"/>
                  <a:gd name="connsiteY503" fmla="*/ 169901 h 410952"/>
                  <a:gd name="connsiteX504" fmla="*/ 472053 w 793427"/>
                  <a:gd name="connsiteY504" fmla="*/ 173075 h 410952"/>
                  <a:gd name="connsiteX505" fmla="*/ 468526 w 793427"/>
                  <a:gd name="connsiteY505" fmla="*/ 174485 h 410952"/>
                  <a:gd name="connsiteX506" fmla="*/ 467116 w 793427"/>
                  <a:gd name="connsiteY506" fmla="*/ 176249 h 410952"/>
                  <a:gd name="connsiteX507" fmla="*/ 467997 w 793427"/>
                  <a:gd name="connsiteY507" fmla="*/ 178276 h 410952"/>
                  <a:gd name="connsiteX508" fmla="*/ 467116 w 793427"/>
                  <a:gd name="connsiteY508" fmla="*/ 179423 h 410952"/>
                  <a:gd name="connsiteX509" fmla="*/ 462707 w 793427"/>
                  <a:gd name="connsiteY509" fmla="*/ 181186 h 410952"/>
                  <a:gd name="connsiteX510" fmla="*/ 460327 w 793427"/>
                  <a:gd name="connsiteY510" fmla="*/ 183479 h 410952"/>
                  <a:gd name="connsiteX511" fmla="*/ 461209 w 793427"/>
                  <a:gd name="connsiteY511" fmla="*/ 184096 h 410952"/>
                  <a:gd name="connsiteX512" fmla="*/ 464118 w 793427"/>
                  <a:gd name="connsiteY512" fmla="*/ 182949 h 410952"/>
                  <a:gd name="connsiteX513" fmla="*/ 465264 w 793427"/>
                  <a:gd name="connsiteY513" fmla="*/ 183214 h 410952"/>
                  <a:gd name="connsiteX514" fmla="*/ 465529 w 793427"/>
                  <a:gd name="connsiteY514" fmla="*/ 186741 h 410952"/>
                  <a:gd name="connsiteX515" fmla="*/ 464912 w 793427"/>
                  <a:gd name="connsiteY515" fmla="*/ 190532 h 410952"/>
                  <a:gd name="connsiteX516" fmla="*/ 462884 w 793427"/>
                  <a:gd name="connsiteY516" fmla="*/ 191149 h 410952"/>
                  <a:gd name="connsiteX517" fmla="*/ 461385 w 793427"/>
                  <a:gd name="connsiteY517" fmla="*/ 192912 h 410952"/>
                  <a:gd name="connsiteX518" fmla="*/ 463765 w 793427"/>
                  <a:gd name="connsiteY518" fmla="*/ 192383 h 410952"/>
                  <a:gd name="connsiteX519" fmla="*/ 464383 w 793427"/>
                  <a:gd name="connsiteY519" fmla="*/ 194147 h 410952"/>
                  <a:gd name="connsiteX520" fmla="*/ 468791 w 793427"/>
                  <a:gd name="connsiteY520" fmla="*/ 193530 h 410952"/>
                  <a:gd name="connsiteX521" fmla="*/ 468438 w 793427"/>
                  <a:gd name="connsiteY521" fmla="*/ 195558 h 410952"/>
                  <a:gd name="connsiteX522" fmla="*/ 466675 w 793427"/>
                  <a:gd name="connsiteY522" fmla="*/ 202523 h 410952"/>
                  <a:gd name="connsiteX523" fmla="*/ 465793 w 793427"/>
                  <a:gd name="connsiteY523" fmla="*/ 202523 h 410952"/>
                  <a:gd name="connsiteX524" fmla="*/ 465529 w 793427"/>
                  <a:gd name="connsiteY524" fmla="*/ 201641 h 410952"/>
                  <a:gd name="connsiteX525" fmla="*/ 464647 w 793427"/>
                  <a:gd name="connsiteY525" fmla="*/ 201024 h 410952"/>
                  <a:gd name="connsiteX526" fmla="*/ 462002 w 793427"/>
                  <a:gd name="connsiteY526" fmla="*/ 201906 h 410952"/>
                  <a:gd name="connsiteX527" fmla="*/ 462884 w 793427"/>
                  <a:gd name="connsiteY527" fmla="*/ 202787 h 410952"/>
                  <a:gd name="connsiteX528" fmla="*/ 464030 w 793427"/>
                  <a:gd name="connsiteY528" fmla="*/ 202787 h 410952"/>
                  <a:gd name="connsiteX529" fmla="*/ 463501 w 793427"/>
                  <a:gd name="connsiteY529" fmla="*/ 209753 h 410952"/>
                  <a:gd name="connsiteX530" fmla="*/ 462884 w 793427"/>
                  <a:gd name="connsiteY530" fmla="*/ 211516 h 410952"/>
                  <a:gd name="connsiteX531" fmla="*/ 460592 w 793427"/>
                  <a:gd name="connsiteY531" fmla="*/ 213897 h 410952"/>
                  <a:gd name="connsiteX532" fmla="*/ 460327 w 793427"/>
                  <a:gd name="connsiteY532" fmla="*/ 213632 h 410952"/>
                  <a:gd name="connsiteX533" fmla="*/ 458563 w 793427"/>
                  <a:gd name="connsiteY533" fmla="*/ 209224 h 410952"/>
                  <a:gd name="connsiteX534" fmla="*/ 458299 w 793427"/>
                  <a:gd name="connsiteY534" fmla="*/ 209224 h 410952"/>
                  <a:gd name="connsiteX535" fmla="*/ 457682 w 793427"/>
                  <a:gd name="connsiteY535" fmla="*/ 213897 h 410952"/>
                  <a:gd name="connsiteX536" fmla="*/ 461209 w 793427"/>
                  <a:gd name="connsiteY536" fmla="*/ 216542 h 410952"/>
                  <a:gd name="connsiteX537" fmla="*/ 461209 w 793427"/>
                  <a:gd name="connsiteY537" fmla="*/ 217159 h 410952"/>
                  <a:gd name="connsiteX538" fmla="*/ 458916 w 793427"/>
                  <a:gd name="connsiteY538" fmla="*/ 217776 h 410952"/>
                  <a:gd name="connsiteX539" fmla="*/ 459534 w 793427"/>
                  <a:gd name="connsiteY539" fmla="*/ 218922 h 410952"/>
                  <a:gd name="connsiteX540" fmla="*/ 459181 w 793427"/>
                  <a:gd name="connsiteY540" fmla="*/ 220068 h 410952"/>
                  <a:gd name="connsiteX541" fmla="*/ 458034 w 793427"/>
                  <a:gd name="connsiteY541" fmla="*/ 220333 h 410952"/>
                  <a:gd name="connsiteX542" fmla="*/ 459181 w 793427"/>
                  <a:gd name="connsiteY542" fmla="*/ 219187 h 410952"/>
                  <a:gd name="connsiteX543" fmla="*/ 458299 w 793427"/>
                  <a:gd name="connsiteY543" fmla="*/ 219451 h 410952"/>
                  <a:gd name="connsiteX544" fmla="*/ 457417 w 793427"/>
                  <a:gd name="connsiteY544" fmla="*/ 220597 h 410952"/>
                  <a:gd name="connsiteX545" fmla="*/ 455125 w 793427"/>
                  <a:gd name="connsiteY545" fmla="*/ 227915 h 410952"/>
                  <a:gd name="connsiteX546" fmla="*/ 454508 w 793427"/>
                  <a:gd name="connsiteY546" fmla="*/ 228797 h 410952"/>
                  <a:gd name="connsiteX547" fmla="*/ 453009 w 793427"/>
                  <a:gd name="connsiteY547" fmla="*/ 230561 h 410952"/>
                  <a:gd name="connsiteX548" fmla="*/ 449835 w 793427"/>
                  <a:gd name="connsiteY548" fmla="*/ 229679 h 410952"/>
                  <a:gd name="connsiteX549" fmla="*/ 452127 w 793427"/>
                  <a:gd name="connsiteY549" fmla="*/ 231706 h 410952"/>
                  <a:gd name="connsiteX550" fmla="*/ 450099 w 793427"/>
                  <a:gd name="connsiteY550" fmla="*/ 231090 h 410952"/>
                  <a:gd name="connsiteX551" fmla="*/ 447190 w 793427"/>
                  <a:gd name="connsiteY551" fmla="*/ 232588 h 410952"/>
                  <a:gd name="connsiteX552" fmla="*/ 445162 w 793427"/>
                  <a:gd name="connsiteY552" fmla="*/ 234969 h 410952"/>
                  <a:gd name="connsiteX553" fmla="*/ 440489 w 793427"/>
                  <a:gd name="connsiteY553" fmla="*/ 234969 h 410952"/>
                  <a:gd name="connsiteX554" fmla="*/ 439343 w 793427"/>
                  <a:gd name="connsiteY554" fmla="*/ 237261 h 410952"/>
                  <a:gd name="connsiteX555" fmla="*/ 436433 w 793427"/>
                  <a:gd name="connsiteY555" fmla="*/ 237261 h 410952"/>
                  <a:gd name="connsiteX556" fmla="*/ 432378 w 793427"/>
                  <a:gd name="connsiteY556" fmla="*/ 234616 h 410952"/>
                  <a:gd name="connsiteX557" fmla="*/ 432995 w 793427"/>
                  <a:gd name="connsiteY557" fmla="*/ 237261 h 410952"/>
                  <a:gd name="connsiteX558" fmla="*/ 431496 w 793427"/>
                  <a:gd name="connsiteY558" fmla="*/ 237526 h 410952"/>
                  <a:gd name="connsiteX559" fmla="*/ 430350 w 793427"/>
                  <a:gd name="connsiteY559" fmla="*/ 239554 h 410952"/>
                  <a:gd name="connsiteX560" fmla="*/ 429204 w 793427"/>
                  <a:gd name="connsiteY560" fmla="*/ 241934 h 410952"/>
                  <a:gd name="connsiteX561" fmla="*/ 426911 w 793427"/>
                  <a:gd name="connsiteY561" fmla="*/ 242816 h 410952"/>
                  <a:gd name="connsiteX562" fmla="*/ 425148 w 793427"/>
                  <a:gd name="connsiteY562" fmla="*/ 243080 h 410952"/>
                  <a:gd name="connsiteX563" fmla="*/ 424619 w 793427"/>
                  <a:gd name="connsiteY563" fmla="*/ 242199 h 410952"/>
                  <a:gd name="connsiteX564" fmla="*/ 426029 w 793427"/>
                  <a:gd name="connsiteY564" fmla="*/ 239025 h 410952"/>
                  <a:gd name="connsiteX565" fmla="*/ 425148 w 793427"/>
                  <a:gd name="connsiteY565" fmla="*/ 236380 h 410952"/>
                  <a:gd name="connsiteX566" fmla="*/ 424883 w 793427"/>
                  <a:gd name="connsiteY566" fmla="*/ 234616 h 410952"/>
                  <a:gd name="connsiteX567" fmla="*/ 424619 w 793427"/>
                  <a:gd name="connsiteY567" fmla="*/ 229943 h 410952"/>
                  <a:gd name="connsiteX568" fmla="*/ 422855 w 793427"/>
                  <a:gd name="connsiteY568" fmla="*/ 226681 h 410952"/>
                  <a:gd name="connsiteX569" fmla="*/ 423120 w 793427"/>
                  <a:gd name="connsiteY569" fmla="*/ 222273 h 410952"/>
                  <a:gd name="connsiteX570" fmla="*/ 421621 w 793427"/>
                  <a:gd name="connsiteY570" fmla="*/ 225799 h 410952"/>
                  <a:gd name="connsiteX571" fmla="*/ 420739 w 793427"/>
                  <a:gd name="connsiteY571" fmla="*/ 226064 h 410952"/>
                  <a:gd name="connsiteX572" fmla="*/ 416948 w 793427"/>
                  <a:gd name="connsiteY572" fmla="*/ 223683 h 410952"/>
                  <a:gd name="connsiteX573" fmla="*/ 416948 w 793427"/>
                  <a:gd name="connsiteY573" fmla="*/ 223066 h 410952"/>
                  <a:gd name="connsiteX574" fmla="*/ 417830 w 793427"/>
                  <a:gd name="connsiteY574" fmla="*/ 221920 h 410952"/>
                  <a:gd name="connsiteX575" fmla="*/ 418976 w 793427"/>
                  <a:gd name="connsiteY575" fmla="*/ 218746 h 410952"/>
                  <a:gd name="connsiteX576" fmla="*/ 415714 w 793427"/>
                  <a:gd name="connsiteY576" fmla="*/ 223154 h 410952"/>
                  <a:gd name="connsiteX577" fmla="*/ 413686 w 793427"/>
                  <a:gd name="connsiteY577" fmla="*/ 222537 h 410952"/>
                  <a:gd name="connsiteX578" fmla="*/ 413069 w 793427"/>
                  <a:gd name="connsiteY578" fmla="*/ 221920 h 410952"/>
                  <a:gd name="connsiteX579" fmla="*/ 413686 w 793427"/>
                  <a:gd name="connsiteY579" fmla="*/ 218129 h 410952"/>
                  <a:gd name="connsiteX580" fmla="*/ 411658 w 793427"/>
                  <a:gd name="connsiteY580" fmla="*/ 222537 h 410952"/>
                  <a:gd name="connsiteX581" fmla="*/ 407250 w 793427"/>
                  <a:gd name="connsiteY581" fmla="*/ 224829 h 410952"/>
                  <a:gd name="connsiteX582" fmla="*/ 403723 w 793427"/>
                  <a:gd name="connsiteY582" fmla="*/ 225094 h 410952"/>
                  <a:gd name="connsiteX583" fmla="*/ 402312 w 793427"/>
                  <a:gd name="connsiteY583" fmla="*/ 224212 h 410952"/>
                  <a:gd name="connsiteX584" fmla="*/ 402929 w 793427"/>
                  <a:gd name="connsiteY584" fmla="*/ 218922 h 410952"/>
                  <a:gd name="connsiteX585" fmla="*/ 402312 w 793427"/>
                  <a:gd name="connsiteY585" fmla="*/ 217512 h 410952"/>
                  <a:gd name="connsiteX586" fmla="*/ 399138 w 793427"/>
                  <a:gd name="connsiteY586" fmla="*/ 217776 h 410952"/>
                  <a:gd name="connsiteX587" fmla="*/ 396493 w 793427"/>
                  <a:gd name="connsiteY587" fmla="*/ 220068 h 410952"/>
                  <a:gd name="connsiteX588" fmla="*/ 391291 w 793427"/>
                  <a:gd name="connsiteY588" fmla="*/ 214249 h 410952"/>
                  <a:gd name="connsiteX589" fmla="*/ 389880 w 793427"/>
                  <a:gd name="connsiteY589" fmla="*/ 211604 h 410952"/>
                  <a:gd name="connsiteX590" fmla="*/ 389263 w 793427"/>
                  <a:gd name="connsiteY590" fmla="*/ 214249 h 410952"/>
                  <a:gd name="connsiteX591" fmla="*/ 387764 w 793427"/>
                  <a:gd name="connsiteY591" fmla="*/ 215396 h 410952"/>
                  <a:gd name="connsiteX592" fmla="*/ 387764 w 793427"/>
                  <a:gd name="connsiteY592" fmla="*/ 216542 h 410952"/>
                  <a:gd name="connsiteX593" fmla="*/ 388646 w 793427"/>
                  <a:gd name="connsiteY593" fmla="*/ 217159 h 410952"/>
                  <a:gd name="connsiteX594" fmla="*/ 387235 w 793427"/>
                  <a:gd name="connsiteY594" fmla="*/ 220950 h 410952"/>
                  <a:gd name="connsiteX595" fmla="*/ 385737 w 793427"/>
                  <a:gd name="connsiteY595" fmla="*/ 219539 h 410952"/>
                  <a:gd name="connsiteX596" fmla="*/ 384237 w 793427"/>
                  <a:gd name="connsiteY596" fmla="*/ 221303 h 410952"/>
                  <a:gd name="connsiteX597" fmla="*/ 381063 w 793427"/>
                  <a:gd name="connsiteY597" fmla="*/ 223595 h 410952"/>
                  <a:gd name="connsiteX598" fmla="*/ 378419 w 793427"/>
                  <a:gd name="connsiteY598" fmla="*/ 224477 h 410952"/>
                  <a:gd name="connsiteX599" fmla="*/ 375774 w 793427"/>
                  <a:gd name="connsiteY599" fmla="*/ 222184 h 410952"/>
                  <a:gd name="connsiteX600" fmla="*/ 372247 w 793427"/>
                  <a:gd name="connsiteY600" fmla="*/ 221303 h 410952"/>
                  <a:gd name="connsiteX601" fmla="*/ 370219 w 793427"/>
                  <a:gd name="connsiteY601" fmla="*/ 221920 h 410952"/>
                  <a:gd name="connsiteX602" fmla="*/ 365811 w 793427"/>
                  <a:gd name="connsiteY602" fmla="*/ 226857 h 410952"/>
                  <a:gd name="connsiteX603" fmla="*/ 364311 w 793427"/>
                  <a:gd name="connsiteY603" fmla="*/ 227739 h 410952"/>
                  <a:gd name="connsiteX604" fmla="*/ 362284 w 793427"/>
                  <a:gd name="connsiteY604" fmla="*/ 226857 h 410952"/>
                  <a:gd name="connsiteX605" fmla="*/ 361666 w 793427"/>
                  <a:gd name="connsiteY605" fmla="*/ 222184 h 410952"/>
                  <a:gd name="connsiteX606" fmla="*/ 362813 w 793427"/>
                  <a:gd name="connsiteY606" fmla="*/ 219275 h 410952"/>
                  <a:gd name="connsiteX607" fmla="*/ 362813 w 793427"/>
                  <a:gd name="connsiteY607" fmla="*/ 214338 h 410952"/>
                  <a:gd name="connsiteX608" fmla="*/ 361049 w 793427"/>
                  <a:gd name="connsiteY608" fmla="*/ 210546 h 410952"/>
                  <a:gd name="connsiteX609" fmla="*/ 361049 w 793427"/>
                  <a:gd name="connsiteY609" fmla="*/ 207637 h 410952"/>
                  <a:gd name="connsiteX610" fmla="*/ 359286 w 793427"/>
                  <a:gd name="connsiteY610" fmla="*/ 210811 h 410952"/>
                  <a:gd name="connsiteX611" fmla="*/ 359903 w 793427"/>
                  <a:gd name="connsiteY611" fmla="*/ 211957 h 410952"/>
                  <a:gd name="connsiteX612" fmla="*/ 356376 w 793427"/>
                  <a:gd name="connsiteY612" fmla="*/ 213985 h 410952"/>
                  <a:gd name="connsiteX613" fmla="*/ 354878 w 793427"/>
                  <a:gd name="connsiteY613" fmla="*/ 211692 h 410952"/>
                  <a:gd name="connsiteX614" fmla="*/ 351615 w 793427"/>
                  <a:gd name="connsiteY614" fmla="*/ 211428 h 410952"/>
                  <a:gd name="connsiteX615" fmla="*/ 345267 w 793427"/>
                  <a:gd name="connsiteY615" fmla="*/ 215219 h 410952"/>
                  <a:gd name="connsiteX616" fmla="*/ 342357 w 793427"/>
                  <a:gd name="connsiteY616" fmla="*/ 215748 h 410952"/>
                  <a:gd name="connsiteX617" fmla="*/ 338919 w 793427"/>
                  <a:gd name="connsiteY617" fmla="*/ 213985 h 410952"/>
                  <a:gd name="connsiteX618" fmla="*/ 339801 w 793427"/>
                  <a:gd name="connsiteY618" fmla="*/ 212486 h 410952"/>
                  <a:gd name="connsiteX619" fmla="*/ 343063 w 793427"/>
                  <a:gd name="connsiteY619" fmla="*/ 211075 h 410952"/>
                  <a:gd name="connsiteX620" fmla="*/ 339801 w 793427"/>
                  <a:gd name="connsiteY620" fmla="*/ 211957 h 410952"/>
                  <a:gd name="connsiteX621" fmla="*/ 338037 w 793427"/>
                  <a:gd name="connsiteY621" fmla="*/ 214867 h 410952"/>
                  <a:gd name="connsiteX622" fmla="*/ 336891 w 793427"/>
                  <a:gd name="connsiteY622" fmla="*/ 215484 h 410952"/>
                  <a:gd name="connsiteX623" fmla="*/ 336010 w 793427"/>
                  <a:gd name="connsiteY623" fmla="*/ 214602 h 410952"/>
                  <a:gd name="connsiteX624" fmla="*/ 336539 w 793427"/>
                  <a:gd name="connsiteY624" fmla="*/ 213720 h 410952"/>
                  <a:gd name="connsiteX625" fmla="*/ 335657 w 793427"/>
                  <a:gd name="connsiteY625" fmla="*/ 210546 h 410952"/>
                  <a:gd name="connsiteX626" fmla="*/ 334775 w 793427"/>
                  <a:gd name="connsiteY626" fmla="*/ 210282 h 410952"/>
                  <a:gd name="connsiteX627" fmla="*/ 333012 w 793427"/>
                  <a:gd name="connsiteY627" fmla="*/ 210546 h 410952"/>
                  <a:gd name="connsiteX628" fmla="*/ 328339 w 793427"/>
                  <a:gd name="connsiteY628" fmla="*/ 213720 h 410952"/>
                  <a:gd name="connsiteX629" fmla="*/ 327457 w 793427"/>
                  <a:gd name="connsiteY629" fmla="*/ 212839 h 410952"/>
                  <a:gd name="connsiteX630" fmla="*/ 326840 w 793427"/>
                  <a:gd name="connsiteY630" fmla="*/ 210811 h 410952"/>
                  <a:gd name="connsiteX631" fmla="*/ 327722 w 793427"/>
                  <a:gd name="connsiteY631" fmla="*/ 208430 h 410952"/>
                  <a:gd name="connsiteX632" fmla="*/ 327104 w 793427"/>
                  <a:gd name="connsiteY632" fmla="*/ 205785 h 410952"/>
                  <a:gd name="connsiteX633" fmla="*/ 325694 w 793427"/>
                  <a:gd name="connsiteY633" fmla="*/ 204022 h 410952"/>
                  <a:gd name="connsiteX634" fmla="*/ 326575 w 793427"/>
                  <a:gd name="connsiteY634" fmla="*/ 201994 h 410952"/>
                  <a:gd name="connsiteX635" fmla="*/ 327986 w 793427"/>
                  <a:gd name="connsiteY635" fmla="*/ 202258 h 410952"/>
                  <a:gd name="connsiteX636" fmla="*/ 328251 w 793427"/>
                  <a:gd name="connsiteY636" fmla="*/ 201377 h 410952"/>
                  <a:gd name="connsiteX637" fmla="*/ 327369 w 793427"/>
                  <a:gd name="connsiteY637" fmla="*/ 201994 h 410952"/>
                  <a:gd name="connsiteX638" fmla="*/ 326487 w 793427"/>
                  <a:gd name="connsiteY638" fmla="*/ 200848 h 410952"/>
                  <a:gd name="connsiteX639" fmla="*/ 325341 w 793427"/>
                  <a:gd name="connsiteY639" fmla="*/ 196175 h 410952"/>
                  <a:gd name="connsiteX640" fmla="*/ 324195 w 793427"/>
                  <a:gd name="connsiteY640" fmla="*/ 194411 h 410952"/>
                  <a:gd name="connsiteX641" fmla="*/ 325077 w 793427"/>
                  <a:gd name="connsiteY641" fmla="*/ 189739 h 410952"/>
                  <a:gd name="connsiteX642" fmla="*/ 324195 w 793427"/>
                  <a:gd name="connsiteY642" fmla="*/ 187093 h 410952"/>
                  <a:gd name="connsiteX643" fmla="*/ 320139 w 793427"/>
                  <a:gd name="connsiteY643" fmla="*/ 184184 h 410952"/>
                  <a:gd name="connsiteX644" fmla="*/ 322167 w 793427"/>
                  <a:gd name="connsiteY644" fmla="*/ 181274 h 410952"/>
                  <a:gd name="connsiteX645" fmla="*/ 323578 w 793427"/>
                  <a:gd name="connsiteY645" fmla="*/ 175191 h 410952"/>
                  <a:gd name="connsiteX646" fmla="*/ 323313 w 793427"/>
                  <a:gd name="connsiteY646" fmla="*/ 171399 h 410952"/>
                  <a:gd name="connsiteX647" fmla="*/ 320933 w 793427"/>
                  <a:gd name="connsiteY647" fmla="*/ 169636 h 410952"/>
                  <a:gd name="connsiteX648" fmla="*/ 320933 w 793427"/>
                  <a:gd name="connsiteY648" fmla="*/ 166374 h 410952"/>
                  <a:gd name="connsiteX649" fmla="*/ 318288 w 793427"/>
                  <a:gd name="connsiteY649" fmla="*/ 165757 h 410952"/>
                  <a:gd name="connsiteX650" fmla="*/ 316260 w 793427"/>
                  <a:gd name="connsiteY650" fmla="*/ 162230 h 410952"/>
                  <a:gd name="connsiteX651" fmla="*/ 316877 w 793427"/>
                  <a:gd name="connsiteY651" fmla="*/ 160202 h 410952"/>
                  <a:gd name="connsiteX652" fmla="*/ 314849 w 793427"/>
                  <a:gd name="connsiteY652" fmla="*/ 163112 h 410952"/>
                  <a:gd name="connsiteX653" fmla="*/ 314232 w 793427"/>
                  <a:gd name="connsiteY653" fmla="*/ 162847 h 410952"/>
                  <a:gd name="connsiteX654" fmla="*/ 312733 w 793427"/>
                  <a:gd name="connsiteY654" fmla="*/ 160819 h 410952"/>
                  <a:gd name="connsiteX655" fmla="*/ 311852 w 793427"/>
                  <a:gd name="connsiteY655" fmla="*/ 160202 h 410952"/>
                  <a:gd name="connsiteX656" fmla="*/ 308942 w 793427"/>
                  <a:gd name="connsiteY656" fmla="*/ 159938 h 410952"/>
                  <a:gd name="connsiteX657" fmla="*/ 309206 w 793427"/>
                  <a:gd name="connsiteY657" fmla="*/ 161437 h 410952"/>
                  <a:gd name="connsiteX658" fmla="*/ 308325 w 793427"/>
                  <a:gd name="connsiteY658" fmla="*/ 161437 h 410952"/>
                  <a:gd name="connsiteX659" fmla="*/ 306032 w 793427"/>
                  <a:gd name="connsiteY659" fmla="*/ 159938 h 410952"/>
                  <a:gd name="connsiteX660" fmla="*/ 305415 w 793427"/>
                  <a:gd name="connsiteY660" fmla="*/ 155882 h 410952"/>
                  <a:gd name="connsiteX661" fmla="*/ 305680 w 793427"/>
                  <a:gd name="connsiteY661" fmla="*/ 155265 h 410952"/>
                  <a:gd name="connsiteX662" fmla="*/ 310088 w 793427"/>
                  <a:gd name="connsiteY662" fmla="*/ 157293 h 410952"/>
                  <a:gd name="connsiteX663" fmla="*/ 311234 w 793427"/>
                  <a:gd name="connsiteY663" fmla="*/ 156675 h 410952"/>
                  <a:gd name="connsiteX664" fmla="*/ 307707 w 793427"/>
                  <a:gd name="connsiteY664" fmla="*/ 154647 h 410952"/>
                  <a:gd name="connsiteX665" fmla="*/ 308325 w 793427"/>
                  <a:gd name="connsiteY665" fmla="*/ 153766 h 410952"/>
                  <a:gd name="connsiteX666" fmla="*/ 303652 w 793427"/>
                  <a:gd name="connsiteY666" fmla="*/ 152620 h 410952"/>
                  <a:gd name="connsiteX667" fmla="*/ 302417 w 793427"/>
                  <a:gd name="connsiteY667" fmla="*/ 151121 h 410952"/>
                  <a:gd name="connsiteX668" fmla="*/ 301888 w 793427"/>
                  <a:gd name="connsiteY668" fmla="*/ 147594 h 410952"/>
                  <a:gd name="connsiteX669" fmla="*/ 302770 w 793427"/>
                  <a:gd name="connsiteY669" fmla="*/ 147594 h 410952"/>
                  <a:gd name="connsiteX670" fmla="*/ 301006 w 793427"/>
                  <a:gd name="connsiteY670" fmla="*/ 144420 h 410952"/>
                  <a:gd name="connsiteX671" fmla="*/ 301624 w 793427"/>
                  <a:gd name="connsiteY671" fmla="*/ 143803 h 410952"/>
                  <a:gd name="connsiteX672" fmla="*/ 304798 w 793427"/>
                  <a:gd name="connsiteY672" fmla="*/ 144420 h 410952"/>
                  <a:gd name="connsiteX673" fmla="*/ 305062 w 793427"/>
                  <a:gd name="connsiteY673" fmla="*/ 140629 h 410952"/>
                  <a:gd name="connsiteX674" fmla="*/ 303299 w 793427"/>
                  <a:gd name="connsiteY674" fmla="*/ 138248 h 410952"/>
                  <a:gd name="connsiteX675" fmla="*/ 303564 w 793427"/>
                  <a:gd name="connsiteY675" fmla="*/ 137631 h 410952"/>
                  <a:gd name="connsiteX676" fmla="*/ 306473 w 793427"/>
                  <a:gd name="connsiteY676" fmla="*/ 138513 h 410952"/>
                  <a:gd name="connsiteX677" fmla="*/ 304445 w 793427"/>
                  <a:gd name="connsiteY677" fmla="*/ 136749 h 410952"/>
                  <a:gd name="connsiteX678" fmla="*/ 304710 w 793427"/>
                  <a:gd name="connsiteY678" fmla="*/ 134457 h 410952"/>
                  <a:gd name="connsiteX679" fmla="*/ 302329 w 793427"/>
                  <a:gd name="connsiteY679" fmla="*/ 132958 h 410952"/>
                  <a:gd name="connsiteX680" fmla="*/ 300566 w 793427"/>
                  <a:gd name="connsiteY680" fmla="*/ 131195 h 410952"/>
                  <a:gd name="connsiteX681" fmla="*/ 300301 w 793427"/>
                  <a:gd name="connsiteY681" fmla="*/ 129696 h 410952"/>
                  <a:gd name="connsiteX682" fmla="*/ 298273 w 793427"/>
                  <a:gd name="connsiteY682" fmla="*/ 130842 h 410952"/>
                  <a:gd name="connsiteX683" fmla="*/ 298009 w 793427"/>
                  <a:gd name="connsiteY683" fmla="*/ 130225 h 410952"/>
                  <a:gd name="connsiteX684" fmla="*/ 301535 w 793427"/>
                  <a:gd name="connsiteY684" fmla="*/ 127051 h 410952"/>
                  <a:gd name="connsiteX685" fmla="*/ 300037 w 793427"/>
                  <a:gd name="connsiteY685" fmla="*/ 122378 h 410952"/>
                  <a:gd name="connsiteX686" fmla="*/ 296598 w 793427"/>
                  <a:gd name="connsiteY686" fmla="*/ 117969 h 410952"/>
                  <a:gd name="connsiteX687" fmla="*/ 298362 w 793427"/>
                  <a:gd name="connsiteY687" fmla="*/ 118322 h 410952"/>
                  <a:gd name="connsiteX688" fmla="*/ 299244 w 793427"/>
                  <a:gd name="connsiteY688" fmla="*/ 115413 h 410952"/>
                  <a:gd name="connsiteX689" fmla="*/ 299508 w 793427"/>
                  <a:gd name="connsiteY689" fmla="*/ 113914 h 410952"/>
                  <a:gd name="connsiteX690" fmla="*/ 299244 w 793427"/>
                  <a:gd name="connsiteY690" fmla="*/ 111886 h 410952"/>
                  <a:gd name="connsiteX691" fmla="*/ 298097 w 793427"/>
                  <a:gd name="connsiteY691" fmla="*/ 109858 h 410952"/>
                  <a:gd name="connsiteX692" fmla="*/ 298362 w 793427"/>
                  <a:gd name="connsiteY692" fmla="*/ 108976 h 410952"/>
                  <a:gd name="connsiteX693" fmla="*/ 301888 w 793427"/>
                  <a:gd name="connsiteY693" fmla="*/ 108359 h 410952"/>
                  <a:gd name="connsiteX694" fmla="*/ 305062 w 793427"/>
                  <a:gd name="connsiteY694" fmla="*/ 104568 h 410952"/>
                  <a:gd name="connsiteX695" fmla="*/ 304798 w 793427"/>
                  <a:gd name="connsiteY695" fmla="*/ 104568 h 410952"/>
                  <a:gd name="connsiteX696" fmla="*/ 302770 w 793427"/>
                  <a:gd name="connsiteY696" fmla="*/ 107213 h 410952"/>
                  <a:gd name="connsiteX697" fmla="*/ 299596 w 793427"/>
                  <a:gd name="connsiteY697" fmla="*/ 108359 h 410952"/>
                  <a:gd name="connsiteX698" fmla="*/ 299596 w 793427"/>
                  <a:gd name="connsiteY698" fmla="*/ 107742 h 410952"/>
                  <a:gd name="connsiteX699" fmla="*/ 301359 w 793427"/>
                  <a:gd name="connsiteY699" fmla="*/ 104215 h 410952"/>
                  <a:gd name="connsiteX700" fmla="*/ 302506 w 793427"/>
                  <a:gd name="connsiteY700" fmla="*/ 101835 h 410952"/>
                  <a:gd name="connsiteX701" fmla="*/ 303122 w 793427"/>
                  <a:gd name="connsiteY701" fmla="*/ 100424 h 410952"/>
                  <a:gd name="connsiteX702" fmla="*/ 305151 w 793427"/>
                  <a:gd name="connsiteY702" fmla="*/ 97250 h 410952"/>
                  <a:gd name="connsiteX703" fmla="*/ 308942 w 793427"/>
                  <a:gd name="connsiteY703" fmla="*/ 93723 h 410952"/>
                  <a:gd name="connsiteX704" fmla="*/ 307178 w 793427"/>
                  <a:gd name="connsiteY704" fmla="*/ 99542 h 410952"/>
                  <a:gd name="connsiteX705" fmla="*/ 310705 w 793427"/>
                  <a:gd name="connsiteY705" fmla="*/ 90196 h 410952"/>
                  <a:gd name="connsiteX706" fmla="*/ 312733 w 793427"/>
                  <a:gd name="connsiteY706" fmla="*/ 89050 h 410952"/>
                  <a:gd name="connsiteX707" fmla="*/ 314496 w 793427"/>
                  <a:gd name="connsiteY707" fmla="*/ 87022 h 410952"/>
                  <a:gd name="connsiteX708" fmla="*/ 312116 w 793427"/>
                  <a:gd name="connsiteY708" fmla="*/ 92224 h 410952"/>
                  <a:gd name="connsiteX709" fmla="*/ 312998 w 793427"/>
                  <a:gd name="connsiteY709" fmla="*/ 93723 h 410952"/>
                  <a:gd name="connsiteX710" fmla="*/ 314761 w 793427"/>
                  <a:gd name="connsiteY710" fmla="*/ 93988 h 410952"/>
                  <a:gd name="connsiteX711" fmla="*/ 314761 w 793427"/>
                  <a:gd name="connsiteY711" fmla="*/ 98131 h 410952"/>
                  <a:gd name="connsiteX712" fmla="*/ 318817 w 793427"/>
                  <a:gd name="connsiteY712" fmla="*/ 103069 h 410952"/>
                  <a:gd name="connsiteX713" fmla="*/ 320580 w 793427"/>
                  <a:gd name="connsiteY713" fmla="*/ 103333 h 410952"/>
                  <a:gd name="connsiteX714" fmla="*/ 323490 w 793427"/>
                  <a:gd name="connsiteY714" fmla="*/ 108006 h 410952"/>
                  <a:gd name="connsiteX715" fmla="*/ 327281 w 793427"/>
                  <a:gd name="connsiteY715" fmla="*/ 110651 h 410952"/>
                  <a:gd name="connsiteX716" fmla="*/ 329926 w 793427"/>
                  <a:gd name="connsiteY716" fmla="*/ 113825 h 410952"/>
                  <a:gd name="connsiteX717" fmla="*/ 331689 w 793427"/>
                  <a:gd name="connsiteY717" fmla="*/ 114972 h 410952"/>
                  <a:gd name="connsiteX718" fmla="*/ 333717 w 793427"/>
                  <a:gd name="connsiteY718" fmla="*/ 116735 h 410952"/>
                  <a:gd name="connsiteX719" fmla="*/ 335128 w 793427"/>
                  <a:gd name="connsiteY719" fmla="*/ 117000 h 410952"/>
                  <a:gd name="connsiteX720" fmla="*/ 340682 w 793427"/>
                  <a:gd name="connsiteY720" fmla="*/ 114354 h 410952"/>
                  <a:gd name="connsiteX721" fmla="*/ 342181 w 793427"/>
                  <a:gd name="connsiteY721" fmla="*/ 113208 h 410952"/>
                  <a:gd name="connsiteX722" fmla="*/ 349499 w 793427"/>
                  <a:gd name="connsiteY722" fmla="*/ 111180 h 410952"/>
                  <a:gd name="connsiteX723" fmla="*/ 353026 w 793427"/>
                  <a:gd name="connsiteY723" fmla="*/ 113208 h 410952"/>
                  <a:gd name="connsiteX724" fmla="*/ 355318 w 793427"/>
                  <a:gd name="connsiteY724" fmla="*/ 112944 h 410952"/>
                  <a:gd name="connsiteX725" fmla="*/ 356200 w 793427"/>
                  <a:gd name="connsiteY725" fmla="*/ 114443 h 410952"/>
                  <a:gd name="connsiteX726" fmla="*/ 358581 w 793427"/>
                  <a:gd name="connsiteY726" fmla="*/ 112679 h 410952"/>
                  <a:gd name="connsiteX727" fmla="*/ 362107 w 793427"/>
                  <a:gd name="connsiteY727" fmla="*/ 113561 h 410952"/>
                  <a:gd name="connsiteX728" fmla="*/ 363253 w 793427"/>
                  <a:gd name="connsiteY728" fmla="*/ 112944 h 410952"/>
                  <a:gd name="connsiteX729" fmla="*/ 365282 w 793427"/>
                  <a:gd name="connsiteY729" fmla="*/ 110299 h 410952"/>
                  <a:gd name="connsiteX730" fmla="*/ 369337 w 793427"/>
                  <a:gd name="connsiteY730" fmla="*/ 109681 h 410952"/>
                  <a:gd name="connsiteX731" fmla="*/ 370483 w 793427"/>
                  <a:gd name="connsiteY731" fmla="*/ 102981 h 410952"/>
                  <a:gd name="connsiteX732" fmla="*/ 373393 w 793427"/>
                  <a:gd name="connsiteY732" fmla="*/ 100953 h 410952"/>
                  <a:gd name="connsiteX733" fmla="*/ 377184 w 793427"/>
                  <a:gd name="connsiteY733" fmla="*/ 99189 h 410952"/>
                  <a:gd name="connsiteX734" fmla="*/ 389440 w 793427"/>
                  <a:gd name="connsiteY734" fmla="*/ 99807 h 410952"/>
                  <a:gd name="connsiteX735" fmla="*/ 389440 w 793427"/>
                  <a:gd name="connsiteY735" fmla="*/ 100953 h 410952"/>
                  <a:gd name="connsiteX736" fmla="*/ 387941 w 793427"/>
                  <a:gd name="connsiteY736" fmla="*/ 102981 h 410952"/>
                  <a:gd name="connsiteX737" fmla="*/ 390586 w 793427"/>
                  <a:gd name="connsiteY737" fmla="*/ 102452 h 410952"/>
                  <a:gd name="connsiteX738" fmla="*/ 398168 w 793427"/>
                  <a:gd name="connsiteY738" fmla="*/ 106243 h 410952"/>
                  <a:gd name="connsiteX739" fmla="*/ 400813 w 793427"/>
                  <a:gd name="connsiteY739" fmla="*/ 105626 h 410952"/>
                  <a:gd name="connsiteX740" fmla="*/ 402841 w 793427"/>
                  <a:gd name="connsiteY740" fmla="*/ 107654 h 410952"/>
                  <a:gd name="connsiteX741" fmla="*/ 405751 w 793427"/>
                  <a:gd name="connsiteY741" fmla="*/ 105890 h 410952"/>
                  <a:gd name="connsiteX742" fmla="*/ 409013 w 793427"/>
                  <a:gd name="connsiteY742" fmla="*/ 102452 h 410952"/>
                  <a:gd name="connsiteX743" fmla="*/ 413686 w 793427"/>
                  <a:gd name="connsiteY743" fmla="*/ 101835 h 410952"/>
                  <a:gd name="connsiteX744" fmla="*/ 415185 w 793427"/>
                  <a:gd name="connsiteY744" fmla="*/ 102981 h 410952"/>
                  <a:gd name="connsiteX745" fmla="*/ 419241 w 793427"/>
                  <a:gd name="connsiteY745" fmla="*/ 100688 h 410952"/>
                  <a:gd name="connsiteX746" fmla="*/ 422767 w 793427"/>
                  <a:gd name="connsiteY746" fmla="*/ 102716 h 410952"/>
                  <a:gd name="connsiteX747" fmla="*/ 423913 w 793427"/>
                  <a:gd name="connsiteY747" fmla="*/ 102099 h 410952"/>
                  <a:gd name="connsiteX748" fmla="*/ 425677 w 793427"/>
                  <a:gd name="connsiteY748" fmla="*/ 97691 h 410952"/>
                  <a:gd name="connsiteX749" fmla="*/ 426558 w 793427"/>
                  <a:gd name="connsiteY749" fmla="*/ 94252 h 410952"/>
                  <a:gd name="connsiteX750" fmla="*/ 426294 w 793427"/>
                  <a:gd name="connsiteY750" fmla="*/ 92753 h 410952"/>
                  <a:gd name="connsiteX751" fmla="*/ 429821 w 793427"/>
                  <a:gd name="connsiteY751" fmla="*/ 90990 h 410952"/>
                  <a:gd name="connsiteX752" fmla="*/ 430085 w 793427"/>
                  <a:gd name="connsiteY752" fmla="*/ 87463 h 410952"/>
                  <a:gd name="connsiteX753" fmla="*/ 428586 w 793427"/>
                  <a:gd name="connsiteY753" fmla="*/ 87728 h 410952"/>
                  <a:gd name="connsiteX754" fmla="*/ 428057 w 793427"/>
                  <a:gd name="connsiteY754" fmla="*/ 84818 h 410952"/>
                  <a:gd name="connsiteX755" fmla="*/ 428586 w 793427"/>
                  <a:gd name="connsiteY755" fmla="*/ 82173 h 410952"/>
                  <a:gd name="connsiteX756" fmla="*/ 431849 w 793427"/>
                  <a:gd name="connsiteY756" fmla="*/ 81291 h 410952"/>
                  <a:gd name="connsiteX757" fmla="*/ 431849 w 793427"/>
                  <a:gd name="connsiteY757" fmla="*/ 79528 h 410952"/>
                  <a:gd name="connsiteX758" fmla="*/ 434758 w 793427"/>
                  <a:gd name="connsiteY758" fmla="*/ 78117 h 410952"/>
                  <a:gd name="connsiteX759" fmla="*/ 436257 w 793427"/>
                  <a:gd name="connsiteY759" fmla="*/ 76618 h 410952"/>
                  <a:gd name="connsiteX760" fmla="*/ 437667 w 793427"/>
                  <a:gd name="connsiteY760" fmla="*/ 76354 h 410952"/>
                  <a:gd name="connsiteX761" fmla="*/ 438285 w 793427"/>
                  <a:gd name="connsiteY761" fmla="*/ 75472 h 410952"/>
                  <a:gd name="connsiteX762" fmla="*/ 436257 w 793427"/>
                  <a:gd name="connsiteY762" fmla="*/ 73444 h 410952"/>
                  <a:gd name="connsiteX763" fmla="*/ 435111 w 793427"/>
                  <a:gd name="connsiteY763" fmla="*/ 73709 h 410952"/>
                  <a:gd name="connsiteX764" fmla="*/ 434846 w 793427"/>
                  <a:gd name="connsiteY764" fmla="*/ 73092 h 410952"/>
                  <a:gd name="connsiteX765" fmla="*/ 435992 w 793427"/>
                  <a:gd name="connsiteY765" fmla="*/ 69300 h 410952"/>
                  <a:gd name="connsiteX766" fmla="*/ 435992 w 793427"/>
                  <a:gd name="connsiteY766" fmla="*/ 66391 h 410952"/>
                  <a:gd name="connsiteX767" fmla="*/ 436609 w 793427"/>
                  <a:gd name="connsiteY767" fmla="*/ 65509 h 410952"/>
                  <a:gd name="connsiteX768" fmla="*/ 438902 w 793427"/>
                  <a:gd name="connsiteY768" fmla="*/ 62335 h 410952"/>
                  <a:gd name="connsiteX769" fmla="*/ 440048 w 793427"/>
                  <a:gd name="connsiteY769" fmla="*/ 63834 h 410952"/>
                  <a:gd name="connsiteX770" fmla="*/ 444016 w 793427"/>
                  <a:gd name="connsiteY770" fmla="*/ 63305 h 410952"/>
                  <a:gd name="connsiteX771" fmla="*/ 724920 w 793427"/>
                  <a:gd name="connsiteY771" fmla="*/ 89491 h 410952"/>
                  <a:gd name="connsiteX772" fmla="*/ 724039 w 793427"/>
                  <a:gd name="connsiteY772" fmla="*/ 84289 h 410952"/>
                  <a:gd name="connsiteX773" fmla="*/ 723157 w 793427"/>
                  <a:gd name="connsiteY773" fmla="*/ 83407 h 410952"/>
                  <a:gd name="connsiteX774" fmla="*/ 728359 w 793427"/>
                  <a:gd name="connsiteY774" fmla="*/ 75825 h 410952"/>
                  <a:gd name="connsiteX775" fmla="*/ 731004 w 793427"/>
                  <a:gd name="connsiteY775" fmla="*/ 74414 h 410952"/>
                  <a:gd name="connsiteX776" fmla="*/ 733914 w 793427"/>
                  <a:gd name="connsiteY776" fmla="*/ 78206 h 410952"/>
                  <a:gd name="connsiteX777" fmla="*/ 733914 w 793427"/>
                  <a:gd name="connsiteY777" fmla="*/ 79969 h 410952"/>
                  <a:gd name="connsiteX778" fmla="*/ 730387 w 793427"/>
                  <a:gd name="connsiteY778" fmla="*/ 88168 h 410952"/>
                  <a:gd name="connsiteX779" fmla="*/ 728976 w 793427"/>
                  <a:gd name="connsiteY779" fmla="*/ 89050 h 410952"/>
                  <a:gd name="connsiteX780" fmla="*/ 726066 w 793427"/>
                  <a:gd name="connsiteY780" fmla="*/ 89315 h 410952"/>
                  <a:gd name="connsiteX781" fmla="*/ 724920 w 793427"/>
                  <a:gd name="connsiteY781" fmla="*/ 89491 h 410952"/>
                  <a:gd name="connsiteX782" fmla="*/ 457153 w 793427"/>
                  <a:gd name="connsiteY782" fmla="*/ 242640 h 410952"/>
                  <a:gd name="connsiteX783" fmla="*/ 456007 w 793427"/>
                  <a:gd name="connsiteY783" fmla="*/ 242022 h 410952"/>
                  <a:gd name="connsiteX784" fmla="*/ 456271 w 793427"/>
                  <a:gd name="connsiteY784" fmla="*/ 239994 h 410952"/>
                  <a:gd name="connsiteX785" fmla="*/ 456888 w 793427"/>
                  <a:gd name="connsiteY785" fmla="*/ 239377 h 410952"/>
                  <a:gd name="connsiteX786" fmla="*/ 455125 w 793427"/>
                  <a:gd name="connsiteY786" fmla="*/ 233558 h 410952"/>
                  <a:gd name="connsiteX787" fmla="*/ 456007 w 793427"/>
                  <a:gd name="connsiteY787" fmla="*/ 228356 h 410952"/>
                  <a:gd name="connsiteX788" fmla="*/ 458916 w 793427"/>
                  <a:gd name="connsiteY788" fmla="*/ 223419 h 410952"/>
                  <a:gd name="connsiteX789" fmla="*/ 460680 w 793427"/>
                  <a:gd name="connsiteY789" fmla="*/ 222008 h 410952"/>
                  <a:gd name="connsiteX790" fmla="*/ 460944 w 793427"/>
                  <a:gd name="connsiteY790" fmla="*/ 223419 h 410952"/>
                  <a:gd name="connsiteX791" fmla="*/ 460680 w 793427"/>
                  <a:gd name="connsiteY791" fmla="*/ 226328 h 410952"/>
                  <a:gd name="connsiteX792" fmla="*/ 461825 w 793427"/>
                  <a:gd name="connsiteY792" fmla="*/ 228092 h 410952"/>
                  <a:gd name="connsiteX793" fmla="*/ 461209 w 793427"/>
                  <a:gd name="connsiteY793" fmla="*/ 231619 h 410952"/>
                  <a:gd name="connsiteX794" fmla="*/ 462972 w 793427"/>
                  <a:gd name="connsiteY794" fmla="*/ 235145 h 410952"/>
                  <a:gd name="connsiteX795" fmla="*/ 461825 w 793427"/>
                  <a:gd name="connsiteY795" fmla="*/ 238319 h 410952"/>
                  <a:gd name="connsiteX796" fmla="*/ 460327 w 793427"/>
                  <a:gd name="connsiteY796" fmla="*/ 240083 h 410952"/>
                  <a:gd name="connsiteX797" fmla="*/ 457153 w 793427"/>
                  <a:gd name="connsiteY797" fmla="*/ 242640 h 410952"/>
                  <a:gd name="connsiteX798" fmla="*/ 714428 w 793427"/>
                  <a:gd name="connsiteY798" fmla="*/ 183126 h 410952"/>
                  <a:gd name="connsiteX799" fmla="*/ 710901 w 793427"/>
                  <a:gd name="connsiteY799" fmla="*/ 181098 h 410952"/>
                  <a:gd name="connsiteX800" fmla="*/ 710637 w 793427"/>
                  <a:gd name="connsiteY800" fmla="*/ 180216 h 410952"/>
                  <a:gd name="connsiteX801" fmla="*/ 711518 w 793427"/>
                  <a:gd name="connsiteY801" fmla="*/ 175279 h 410952"/>
                  <a:gd name="connsiteX802" fmla="*/ 712400 w 793427"/>
                  <a:gd name="connsiteY802" fmla="*/ 175543 h 410952"/>
                  <a:gd name="connsiteX803" fmla="*/ 713018 w 793427"/>
                  <a:gd name="connsiteY803" fmla="*/ 176161 h 410952"/>
                  <a:gd name="connsiteX804" fmla="*/ 715663 w 793427"/>
                  <a:gd name="connsiteY804" fmla="*/ 173251 h 410952"/>
                  <a:gd name="connsiteX805" fmla="*/ 717690 w 793427"/>
                  <a:gd name="connsiteY805" fmla="*/ 173516 h 410952"/>
                  <a:gd name="connsiteX806" fmla="*/ 726772 w 793427"/>
                  <a:gd name="connsiteY806" fmla="*/ 178805 h 410952"/>
                  <a:gd name="connsiteX807" fmla="*/ 727653 w 793427"/>
                  <a:gd name="connsiteY807" fmla="*/ 179952 h 410952"/>
                  <a:gd name="connsiteX808" fmla="*/ 727389 w 793427"/>
                  <a:gd name="connsiteY808" fmla="*/ 181715 h 410952"/>
                  <a:gd name="connsiteX809" fmla="*/ 726243 w 793427"/>
                  <a:gd name="connsiteY809" fmla="*/ 182597 h 410952"/>
                  <a:gd name="connsiteX810" fmla="*/ 718043 w 793427"/>
                  <a:gd name="connsiteY810" fmla="*/ 182068 h 410952"/>
                  <a:gd name="connsiteX811" fmla="*/ 714428 w 793427"/>
                  <a:gd name="connsiteY811" fmla="*/ 183126 h 410952"/>
                  <a:gd name="connsiteX812" fmla="*/ 620529 w 793427"/>
                  <a:gd name="connsiteY812" fmla="*/ 180216 h 410952"/>
                  <a:gd name="connsiteX813" fmla="*/ 619912 w 793427"/>
                  <a:gd name="connsiteY813" fmla="*/ 179952 h 410952"/>
                  <a:gd name="connsiteX814" fmla="*/ 617619 w 793427"/>
                  <a:gd name="connsiteY814" fmla="*/ 179687 h 410952"/>
                  <a:gd name="connsiteX815" fmla="*/ 617266 w 793427"/>
                  <a:gd name="connsiteY815" fmla="*/ 178805 h 410952"/>
                  <a:gd name="connsiteX816" fmla="*/ 618766 w 793427"/>
                  <a:gd name="connsiteY816" fmla="*/ 177660 h 410952"/>
                  <a:gd name="connsiteX817" fmla="*/ 618501 w 793427"/>
                  <a:gd name="connsiteY817" fmla="*/ 172722 h 410952"/>
                  <a:gd name="connsiteX818" fmla="*/ 617002 w 793427"/>
                  <a:gd name="connsiteY818" fmla="*/ 173604 h 410952"/>
                  <a:gd name="connsiteX819" fmla="*/ 613211 w 793427"/>
                  <a:gd name="connsiteY819" fmla="*/ 179423 h 410952"/>
                  <a:gd name="connsiteX820" fmla="*/ 612329 w 793427"/>
                  <a:gd name="connsiteY820" fmla="*/ 179687 h 410952"/>
                  <a:gd name="connsiteX821" fmla="*/ 610566 w 793427"/>
                  <a:gd name="connsiteY821" fmla="*/ 176161 h 410952"/>
                  <a:gd name="connsiteX822" fmla="*/ 610830 w 793427"/>
                  <a:gd name="connsiteY822" fmla="*/ 172634 h 410952"/>
                  <a:gd name="connsiteX823" fmla="*/ 612594 w 793427"/>
                  <a:gd name="connsiteY823" fmla="*/ 169460 h 410952"/>
                  <a:gd name="connsiteX824" fmla="*/ 618766 w 793427"/>
                  <a:gd name="connsiteY824" fmla="*/ 168578 h 410952"/>
                  <a:gd name="connsiteX825" fmla="*/ 619912 w 793427"/>
                  <a:gd name="connsiteY825" fmla="*/ 170341 h 410952"/>
                  <a:gd name="connsiteX826" fmla="*/ 619030 w 793427"/>
                  <a:gd name="connsiteY826" fmla="*/ 172369 h 410952"/>
                  <a:gd name="connsiteX827" fmla="*/ 619912 w 793427"/>
                  <a:gd name="connsiteY827" fmla="*/ 174662 h 410952"/>
                  <a:gd name="connsiteX828" fmla="*/ 623086 w 793427"/>
                  <a:gd name="connsiteY828" fmla="*/ 170606 h 410952"/>
                  <a:gd name="connsiteX829" fmla="*/ 626877 w 793427"/>
                  <a:gd name="connsiteY829" fmla="*/ 172634 h 410952"/>
                  <a:gd name="connsiteX830" fmla="*/ 626524 w 793427"/>
                  <a:gd name="connsiteY830" fmla="*/ 175543 h 410952"/>
                  <a:gd name="connsiteX831" fmla="*/ 623879 w 793427"/>
                  <a:gd name="connsiteY831" fmla="*/ 177571 h 410952"/>
                  <a:gd name="connsiteX832" fmla="*/ 622733 w 793427"/>
                  <a:gd name="connsiteY832" fmla="*/ 177571 h 410952"/>
                  <a:gd name="connsiteX833" fmla="*/ 621851 w 793427"/>
                  <a:gd name="connsiteY833" fmla="*/ 175279 h 410952"/>
                  <a:gd name="connsiteX834" fmla="*/ 621234 w 793427"/>
                  <a:gd name="connsiteY834" fmla="*/ 175279 h 410952"/>
                  <a:gd name="connsiteX835" fmla="*/ 620353 w 793427"/>
                  <a:gd name="connsiteY835" fmla="*/ 177042 h 410952"/>
                  <a:gd name="connsiteX836" fmla="*/ 620353 w 793427"/>
                  <a:gd name="connsiteY836" fmla="*/ 180216 h 410952"/>
                  <a:gd name="connsiteX837" fmla="*/ 783817 w 793427"/>
                  <a:gd name="connsiteY837" fmla="*/ 340066 h 410952"/>
                  <a:gd name="connsiteX838" fmla="*/ 783817 w 793427"/>
                  <a:gd name="connsiteY838" fmla="*/ 338038 h 410952"/>
                  <a:gd name="connsiteX839" fmla="*/ 782935 w 793427"/>
                  <a:gd name="connsiteY839" fmla="*/ 338302 h 410952"/>
                  <a:gd name="connsiteX840" fmla="*/ 782670 w 793427"/>
                  <a:gd name="connsiteY840" fmla="*/ 339448 h 410952"/>
                  <a:gd name="connsiteX841" fmla="*/ 780378 w 793427"/>
                  <a:gd name="connsiteY841" fmla="*/ 339448 h 410952"/>
                  <a:gd name="connsiteX842" fmla="*/ 779761 w 793427"/>
                  <a:gd name="connsiteY842" fmla="*/ 338831 h 410952"/>
                  <a:gd name="connsiteX843" fmla="*/ 779144 w 793427"/>
                  <a:gd name="connsiteY843" fmla="*/ 335657 h 410952"/>
                  <a:gd name="connsiteX844" fmla="*/ 780554 w 793427"/>
                  <a:gd name="connsiteY844" fmla="*/ 333012 h 410952"/>
                  <a:gd name="connsiteX845" fmla="*/ 779937 w 793427"/>
                  <a:gd name="connsiteY845" fmla="*/ 332748 h 410952"/>
                  <a:gd name="connsiteX846" fmla="*/ 779673 w 793427"/>
                  <a:gd name="connsiteY846" fmla="*/ 331866 h 410952"/>
                  <a:gd name="connsiteX847" fmla="*/ 780290 w 793427"/>
                  <a:gd name="connsiteY847" fmla="*/ 331249 h 410952"/>
                  <a:gd name="connsiteX848" fmla="*/ 781172 w 793427"/>
                  <a:gd name="connsiteY848" fmla="*/ 332130 h 410952"/>
                  <a:gd name="connsiteX849" fmla="*/ 782670 w 793427"/>
                  <a:gd name="connsiteY849" fmla="*/ 332130 h 410952"/>
                  <a:gd name="connsiteX850" fmla="*/ 781172 w 793427"/>
                  <a:gd name="connsiteY850" fmla="*/ 330984 h 410952"/>
                  <a:gd name="connsiteX851" fmla="*/ 782318 w 793427"/>
                  <a:gd name="connsiteY851" fmla="*/ 326576 h 410952"/>
                  <a:gd name="connsiteX852" fmla="*/ 784346 w 793427"/>
                  <a:gd name="connsiteY852" fmla="*/ 325077 h 410952"/>
                  <a:gd name="connsiteX853" fmla="*/ 785757 w 793427"/>
                  <a:gd name="connsiteY853" fmla="*/ 324195 h 410952"/>
                  <a:gd name="connsiteX854" fmla="*/ 785757 w 793427"/>
                  <a:gd name="connsiteY854" fmla="*/ 322961 h 410952"/>
                  <a:gd name="connsiteX855" fmla="*/ 787520 w 793427"/>
                  <a:gd name="connsiteY855" fmla="*/ 321198 h 410952"/>
                  <a:gd name="connsiteX856" fmla="*/ 790782 w 793427"/>
                  <a:gd name="connsiteY856" fmla="*/ 317406 h 410952"/>
                  <a:gd name="connsiteX857" fmla="*/ 791399 w 793427"/>
                  <a:gd name="connsiteY857" fmla="*/ 317406 h 410952"/>
                  <a:gd name="connsiteX858" fmla="*/ 791399 w 793427"/>
                  <a:gd name="connsiteY858" fmla="*/ 318552 h 410952"/>
                  <a:gd name="connsiteX859" fmla="*/ 792810 w 793427"/>
                  <a:gd name="connsiteY859" fmla="*/ 317935 h 410952"/>
                  <a:gd name="connsiteX860" fmla="*/ 793427 w 793427"/>
                  <a:gd name="connsiteY860" fmla="*/ 319434 h 410952"/>
                  <a:gd name="connsiteX861" fmla="*/ 791399 w 793427"/>
                  <a:gd name="connsiteY861" fmla="*/ 320316 h 410952"/>
                  <a:gd name="connsiteX862" fmla="*/ 791664 w 793427"/>
                  <a:gd name="connsiteY862" fmla="*/ 322873 h 410952"/>
                  <a:gd name="connsiteX863" fmla="*/ 791928 w 793427"/>
                  <a:gd name="connsiteY863" fmla="*/ 325782 h 410952"/>
                  <a:gd name="connsiteX864" fmla="*/ 789900 w 793427"/>
                  <a:gd name="connsiteY864" fmla="*/ 331601 h 410952"/>
                  <a:gd name="connsiteX865" fmla="*/ 787608 w 793427"/>
                  <a:gd name="connsiteY865" fmla="*/ 333012 h 410952"/>
                  <a:gd name="connsiteX866" fmla="*/ 786726 w 793427"/>
                  <a:gd name="connsiteY866" fmla="*/ 334511 h 410952"/>
                  <a:gd name="connsiteX867" fmla="*/ 785580 w 793427"/>
                  <a:gd name="connsiteY867" fmla="*/ 335657 h 410952"/>
                  <a:gd name="connsiteX868" fmla="*/ 784699 w 793427"/>
                  <a:gd name="connsiteY868" fmla="*/ 339184 h 410952"/>
                  <a:gd name="connsiteX869" fmla="*/ 783817 w 793427"/>
                  <a:gd name="connsiteY869" fmla="*/ 340066 h 410952"/>
                  <a:gd name="connsiteX870" fmla="*/ 668051 w 793427"/>
                  <a:gd name="connsiteY870" fmla="*/ 188416 h 410952"/>
                  <a:gd name="connsiteX871" fmla="*/ 668051 w 793427"/>
                  <a:gd name="connsiteY871" fmla="*/ 187005 h 410952"/>
                  <a:gd name="connsiteX872" fmla="*/ 666905 w 793427"/>
                  <a:gd name="connsiteY872" fmla="*/ 186124 h 410952"/>
                  <a:gd name="connsiteX873" fmla="*/ 666288 w 793427"/>
                  <a:gd name="connsiteY873" fmla="*/ 186653 h 410952"/>
                  <a:gd name="connsiteX874" fmla="*/ 665936 w 793427"/>
                  <a:gd name="connsiteY874" fmla="*/ 185771 h 410952"/>
                  <a:gd name="connsiteX875" fmla="*/ 666817 w 793427"/>
                  <a:gd name="connsiteY875" fmla="*/ 184008 h 410952"/>
                  <a:gd name="connsiteX876" fmla="*/ 667699 w 793427"/>
                  <a:gd name="connsiteY876" fmla="*/ 184272 h 410952"/>
                  <a:gd name="connsiteX877" fmla="*/ 667963 w 793427"/>
                  <a:gd name="connsiteY877" fmla="*/ 184889 h 410952"/>
                  <a:gd name="connsiteX878" fmla="*/ 672019 w 793427"/>
                  <a:gd name="connsiteY878" fmla="*/ 184889 h 410952"/>
                  <a:gd name="connsiteX879" fmla="*/ 674312 w 793427"/>
                  <a:gd name="connsiteY879" fmla="*/ 184889 h 410952"/>
                  <a:gd name="connsiteX880" fmla="*/ 680130 w 793427"/>
                  <a:gd name="connsiteY880" fmla="*/ 184272 h 410952"/>
                  <a:gd name="connsiteX881" fmla="*/ 687978 w 793427"/>
                  <a:gd name="connsiteY881" fmla="*/ 184889 h 410952"/>
                  <a:gd name="connsiteX882" fmla="*/ 686479 w 793427"/>
                  <a:gd name="connsiteY882" fmla="*/ 186035 h 410952"/>
                  <a:gd name="connsiteX883" fmla="*/ 675105 w 793427"/>
                  <a:gd name="connsiteY883" fmla="*/ 187534 h 410952"/>
                  <a:gd name="connsiteX884" fmla="*/ 668051 w 793427"/>
                  <a:gd name="connsiteY884" fmla="*/ 188416 h 410952"/>
                  <a:gd name="connsiteX885" fmla="*/ 726684 w 793427"/>
                  <a:gd name="connsiteY885" fmla="*/ 233029 h 410952"/>
                  <a:gd name="connsiteX886" fmla="*/ 726684 w 793427"/>
                  <a:gd name="connsiteY886" fmla="*/ 232412 h 410952"/>
                  <a:gd name="connsiteX887" fmla="*/ 728711 w 793427"/>
                  <a:gd name="connsiteY887" fmla="*/ 230120 h 410952"/>
                  <a:gd name="connsiteX888" fmla="*/ 727830 w 793427"/>
                  <a:gd name="connsiteY888" fmla="*/ 230120 h 410952"/>
                  <a:gd name="connsiteX889" fmla="*/ 723774 w 793427"/>
                  <a:gd name="connsiteY889" fmla="*/ 233029 h 410952"/>
                  <a:gd name="connsiteX890" fmla="*/ 722892 w 793427"/>
                  <a:gd name="connsiteY890" fmla="*/ 233029 h 410952"/>
                  <a:gd name="connsiteX891" fmla="*/ 722275 w 793427"/>
                  <a:gd name="connsiteY891" fmla="*/ 231883 h 410952"/>
                  <a:gd name="connsiteX892" fmla="*/ 722275 w 793427"/>
                  <a:gd name="connsiteY892" fmla="*/ 231001 h 410952"/>
                  <a:gd name="connsiteX893" fmla="*/ 724920 w 793427"/>
                  <a:gd name="connsiteY893" fmla="*/ 228709 h 410952"/>
                  <a:gd name="connsiteX894" fmla="*/ 727565 w 793427"/>
                  <a:gd name="connsiteY894" fmla="*/ 228709 h 410952"/>
                  <a:gd name="connsiteX895" fmla="*/ 729329 w 793427"/>
                  <a:gd name="connsiteY895" fmla="*/ 226946 h 410952"/>
                  <a:gd name="connsiteX896" fmla="*/ 731092 w 793427"/>
                  <a:gd name="connsiteY896" fmla="*/ 226681 h 410952"/>
                  <a:gd name="connsiteX897" fmla="*/ 731709 w 793427"/>
                  <a:gd name="connsiteY897" fmla="*/ 226946 h 410952"/>
                  <a:gd name="connsiteX898" fmla="*/ 731709 w 793427"/>
                  <a:gd name="connsiteY898" fmla="*/ 229238 h 410952"/>
                  <a:gd name="connsiteX899" fmla="*/ 730827 w 793427"/>
                  <a:gd name="connsiteY899" fmla="*/ 229855 h 410952"/>
                  <a:gd name="connsiteX900" fmla="*/ 729946 w 793427"/>
                  <a:gd name="connsiteY900" fmla="*/ 229238 h 410952"/>
                  <a:gd name="connsiteX901" fmla="*/ 730210 w 793427"/>
                  <a:gd name="connsiteY901" fmla="*/ 231001 h 410952"/>
                  <a:gd name="connsiteX902" fmla="*/ 726684 w 793427"/>
                  <a:gd name="connsiteY902" fmla="*/ 233029 h 410952"/>
                  <a:gd name="connsiteX903" fmla="*/ 550435 w 793427"/>
                  <a:gd name="connsiteY903" fmla="*/ 303299 h 410952"/>
                  <a:gd name="connsiteX904" fmla="*/ 549818 w 793427"/>
                  <a:gd name="connsiteY904" fmla="*/ 300654 h 410952"/>
                  <a:gd name="connsiteX905" fmla="*/ 550082 w 793427"/>
                  <a:gd name="connsiteY905" fmla="*/ 298009 h 410952"/>
                  <a:gd name="connsiteX906" fmla="*/ 549201 w 793427"/>
                  <a:gd name="connsiteY906" fmla="*/ 295981 h 410952"/>
                  <a:gd name="connsiteX907" fmla="*/ 549465 w 793427"/>
                  <a:gd name="connsiteY907" fmla="*/ 290779 h 410952"/>
                  <a:gd name="connsiteX908" fmla="*/ 549730 w 793427"/>
                  <a:gd name="connsiteY908" fmla="*/ 286988 h 410952"/>
                  <a:gd name="connsiteX909" fmla="*/ 549994 w 793427"/>
                  <a:gd name="connsiteY909" fmla="*/ 285842 h 410952"/>
                  <a:gd name="connsiteX910" fmla="*/ 550523 w 793427"/>
                  <a:gd name="connsiteY910" fmla="*/ 286107 h 410952"/>
                  <a:gd name="connsiteX911" fmla="*/ 552022 w 793427"/>
                  <a:gd name="connsiteY911" fmla="*/ 291661 h 410952"/>
                  <a:gd name="connsiteX912" fmla="*/ 550876 w 793427"/>
                  <a:gd name="connsiteY912" fmla="*/ 301889 h 410952"/>
                  <a:gd name="connsiteX913" fmla="*/ 550435 w 793427"/>
                  <a:gd name="connsiteY913" fmla="*/ 303299 h 410952"/>
                  <a:gd name="connsiteX914" fmla="*/ 250045 w 793427"/>
                  <a:gd name="connsiteY914" fmla="*/ 293424 h 410952"/>
                  <a:gd name="connsiteX915" fmla="*/ 250663 w 793427"/>
                  <a:gd name="connsiteY915" fmla="*/ 290779 h 410952"/>
                  <a:gd name="connsiteX916" fmla="*/ 254189 w 793427"/>
                  <a:gd name="connsiteY916" fmla="*/ 292543 h 410952"/>
                  <a:gd name="connsiteX917" fmla="*/ 256217 w 793427"/>
                  <a:gd name="connsiteY917" fmla="*/ 291661 h 410952"/>
                  <a:gd name="connsiteX918" fmla="*/ 264417 w 793427"/>
                  <a:gd name="connsiteY918" fmla="*/ 298979 h 410952"/>
                  <a:gd name="connsiteX919" fmla="*/ 265916 w 793427"/>
                  <a:gd name="connsiteY919" fmla="*/ 298979 h 410952"/>
                  <a:gd name="connsiteX920" fmla="*/ 268296 w 793427"/>
                  <a:gd name="connsiteY920" fmla="*/ 297568 h 410952"/>
                  <a:gd name="connsiteX921" fmla="*/ 274380 w 793427"/>
                  <a:gd name="connsiteY921" fmla="*/ 301360 h 410952"/>
                  <a:gd name="connsiteX922" fmla="*/ 276143 w 793427"/>
                  <a:gd name="connsiteY922" fmla="*/ 301095 h 410952"/>
                  <a:gd name="connsiteX923" fmla="*/ 276760 w 793427"/>
                  <a:gd name="connsiteY923" fmla="*/ 299685 h 410952"/>
                  <a:gd name="connsiteX924" fmla="*/ 279053 w 793427"/>
                  <a:gd name="connsiteY924" fmla="*/ 299420 h 410952"/>
                  <a:gd name="connsiteX925" fmla="*/ 284078 w 793427"/>
                  <a:gd name="connsiteY925" fmla="*/ 305592 h 410952"/>
                  <a:gd name="connsiteX926" fmla="*/ 284960 w 793427"/>
                  <a:gd name="connsiteY926" fmla="*/ 311058 h 410952"/>
                  <a:gd name="connsiteX927" fmla="*/ 285842 w 793427"/>
                  <a:gd name="connsiteY927" fmla="*/ 312204 h 410952"/>
                  <a:gd name="connsiteX928" fmla="*/ 289368 w 793427"/>
                  <a:gd name="connsiteY928" fmla="*/ 313086 h 410952"/>
                  <a:gd name="connsiteX929" fmla="*/ 290250 w 793427"/>
                  <a:gd name="connsiteY929" fmla="*/ 312469 h 410952"/>
                  <a:gd name="connsiteX930" fmla="*/ 292278 w 793427"/>
                  <a:gd name="connsiteY930" fmla="*/ 313968 h 410952"/>
                  <a:gd name="connsiteX931" fmla="*/ 293777 w 793427"/>
                  <a:gd name="connsiteY931" fmla="*/ 313703 h 410952"/>
                  <a:gd name="connsiteX932" fmla="*/ 294041 w 793427"/>
                  <a:gd name="connsiteY932" fmla="*/ 312557 h 410952"/>
                  <a:gd name="connsiteX933" fmla="*/ 294923 w 793427"/>
                  <a:gd name="connsiteY933" fmla="*/ 312557 h 410952"/>
                  <a:gd name="connsiteX934" fmla="*/ 296951 w 793427"/>
                  <a:gd name="connsiteY934" fmla="*/ 314056 h 410952"/>
                  <a:gd name="connsiteX935" fmla="*/ 300742 w 793427"/>
                  <a:gd name="connsiteY935" fmla="*/ 314937 h 410952"/>
                  <a:gd name="connsiteX936" fmla="*/ 304004 w 793427"/>
                  <a:gd name="connsiteY936" fmla="*/ 314056 h 410952"/>
                  <a:gd name="connsiteX937" fmla="*/ 304886 w 793427"/>
                  <a:gd name="connsiteY937" fmla="*/ 312910 h 410952"/>
                  <a:gd name="connsiteX938" fmla="*/ 308148 w 793427"/>
                  <a:gd name="connsiteY938" fmla="*/ 313439 h 410952"/>
                  <a:gd name="connsiteX939" fmla="*/ 310441 w 793427"/>
                  <a:gd name="connsiteY939" fmla="*/ 314849 h 410952"/>
                  <a:gd name="connsiteX940" fmla="*/ 309823 w 793427"/>
                  <a:gd name="connsiteY940" fmla="*/ 314849 h 410952"/>
                  <a:gd name="connsiteX941" fmla="*/ 312998 w 793427"/>
                  <a:gd name="connsiteY941" fmla="*/ 315466 h 410952"/>
                  <a:gd name="connsiteX942" fmla="*/ 316524 w 793427"/>
                  <a:gd name="connsiteY942" fmla="*/ 315731 h 410952"/>
                  <a:gd name="connsiteX943" fmla="*/ 319698 w 793427"/>
                  <a:gd name="connsiteY943" fmla="*/ 314232 h 410952"/>
                  <a:gd name="connsiteX944" fmla="*/ 321726 w 793427"/>
                  <a:gd name="connsiteY944" fmla="*/ 315731 h 410952"/>
                  <a:gd name="connsiteX945" fmla="*/ 324371 w 793427"/>
                  <a:gd name="connsiteY945" fmla="*/ 317142 h 410952"/>
                  <a:gd name="connsiteX946" fmla="*/ 326664 w 793427"/>
                  <a:gd name="connsiteY946" fmla="*/ 315996 h 410952"/>
                  <a:gd name="connsiteX947" fmla="*/ 329926 w 793427"/>
                  <a:gd name="connsiteY947" fmla="*/ 313968 h 410952"/>
                  <a:gd name="connsiteX948" fmla="*/ 329661 w 793427"/>
                  <a:gd name="connsiteY948" fmla="*/ 311058 h 410952"/>
                  <a:gd name="connsiteX949" fmla="*/ 331072 w 793427"/>
                  <a:gd name="connsiteY949" fmla="*/ 308413 h 410952"/>
                  <a:gd name="connsiteX950" fmla="*/ 331689 w 793427"/>
                  <a:gd name="connsiteY950" fmla="*/ 307531 h 410952"/>
                  <a:gd name="connsiteX951" fmla="*/ 330543 w 793427"/>
                  <a:gd name="connsiteY951" fmla="*/ 305504 h 410952"/>
                  <a:gd name="connsiteX952" fmla="*/ 332836 w 793427"/>
                  <a:gd name="connsiteY952" fmla="*/ 303740 h 410952"/>
                  <a:gd name="connsiteX953" fmla="*/ 338126 w 793427"/>
                  <a:gd name="connsiteY953" fmla="*/ 303476 h 410952"/>
                  <a:gd name="connsiteX954" fmla="*/ 339272 w 793427"/>
                  <a:gd name="connsiteY954" fmla="*/ 305504 h 410952"/>
                  <a:gd name="connsiteX955" fmla="*/ 340947 w 793427"/>
                  <a:gd name="connsiteY955" fmla="*/ 310177 h 410952"/>
                  <a:gd name="connsiteX956" fmla="*/ 346502 w 793427"/>
                  <a:gd name="connsiteY956" fmla="*/ 310441 h 410952"/>
                  <a:gd name="connsiteX957" fmla="*/ 348529 w 793427"/>
                  <a:gd name="connsiteY957" fmla="*/ 308413 h 410952"/>
                  <a:gd name="connsiteX958" fmla="*/ 351439 w 793427"/>
                  <a:gd name="connsiteY958" fmla="*/ 310177 h 410952"/>
                  <a:gd name="connsiteX959" fmla="*/ 353203 w 793427"/>
                  <a:gd name="connsiteY959" fmla="*/ 311940 h 410952"/>
                  <a:gd name="connsiteX960" fmla="*/ 356729 w 793427"/>
                  <a:gd name="connsiteY960" fmla="*/ 313086 h 410952"/>
                  <a:gd name="connsiteX961" fmla="*/ 358492 w 793427"/>
                  <a:gd name="connsiteY961" fmla="*/ 312204 h 410952"/>
                  <a:gd name="connsiteX962" fmla="*/ 359374 w 793427"/>
                  <a:gd name="connsiteY962" fmla="*/ 312469 h 410952"/>
                  <a:gd name="connsiteX963" fmla="*/ 361402 w 793427"/>
                  <a:gd name="connsiteY963" fmla="*/ 315378 h 410952"/>
                  <a:gd name="connsiteX964" fmla="*/ 362284 w 793427"/>
                  <a:gd name="connsiteY964" fmla="*/ 315378 h 410952"/>
                  <a:gd name="connsiteX965" fmla="*/ 365193 w 793427"/>
                  <a:gd name="connsiteY965" fmla="*/ 314761 h 410952"/>
                  <a:gd name="connsiteX966" fmla="*/ 371629 w 793427"/>
                  <a:gd name="connsiteY966" fmla="*/ 315378 h 410952"/>
                  <a:gd name="connsiteX967" fmla="*/ 372158 w 793427"/>
                  <a:gd name="connsiteY967" fmla="*/ 314497 h 410952"/>
                  <a:gd name="connsiteX968" fmla="*/ 372776 w 793427"/>
                  <a:gd name="connsiteY968" fmla="*/ 315643 h 410952"/>
                  <a:gd name="connsiteX969" fmla="*/ 372158 w 793427"/>
                  <a:gd name="connsiteY969" fmla="*/ 316789 h 410952"/>
                  <a:gd name="connsiteX970" fmla="*/ 373040 w 793427"/>
                  <a:gd name="connsiteY970" fmla="*/ 318552 h 410952"/>
                  <a:gd name="connsiteX971" fmla="*/ 372776 w 793427"/>
                  <a:gd name="connsiteY971" fmla="*/ 319699 h 410952"/>
                  <a:gd name="connsiteX972" fmla="*/ 374187 w 793427"/>
                  <a:gd name="connsiteY972" fmla="*/ 321462 h 410952"/>
                  <a:gd name="connsiteX973" fmla="*/ 374187 w 793427"/>
                  <a:gd name="connsiteY973" fmla="*/ 322344 h 410952"/>
                  <a:gd name="connsiteX974" fmla="*/ 372776 w 793427"/>
                  <a:gd name="connsiteY974" fmla="*/ 322608 h 410952"/>
                  <a:gd name="connsiteX975" fmla="*/ 374803 w 793427"/>
                  <a:gd name="connsiteY975" fmla="*/ 323843 h 410952"/>
                  <a:gd name="connsiteX976" fmla="*/ 376214 w 793427"/>
                  <a:gd name="connsiteY976" fmla="*/ 322344 h 410952"/>
                  <a:gd name="connsiteX977" fmla="*/ 376832 w 793427"/>
                  <a:gd name="connsiteY977" fmla="*/ 322961 h 410952"/>
                  <a:gd name="connsiteX978" fmla="*/ 377713 w 793427"/>
                  <a:gd name="connsiteY978" fmla="*/ 324724 h 410952"/>
                  <a:gd name="connsiteX979" fmla="*/ 375950 w 793427"/>
                  <a:gd name="connsiteY979" fmla="*/ 330896 h 410952"/>
                  <a:gd name="connsiteX980" fmla="*/ 377978 w 793427"/>
                  <a:gd name="connsiteY980" fmla="*/ 332395 h 410952"/>
                  <a:gd name="connsiteX981" fmla="*/ 384414 w 793427"/>
                  <a:gd name="connsiteY981" fmla="*/ 337068 h 410952"/>
                  <a:gd name="connsiteX982" fmla="*/ 387941 w 793427"/>
                  <a:gd name="connsiteY982" fmla="*/ 337068 h 410952"/>
                  <a:gd name="connsiteX983" fmla="*/ 390850 w 793427"/>
                  <a:gd name="connsiteY983" fmla="*/ 335569 h 410952"/>
                  <a:gd name="connsiteX984" fmla="*/ 391115 w 793427"/>
                  <a:gd name="connsiteY984" fmla="*/ 332659 h 410952"/>
                  <a:gd name="connsiteX985" fmla="*/ 393143 w 793427"/>
                  <a:gd name="connsiteY985" fmla="*/ 332924 h 410952"/>
                  <a:gd name="connsiteX986" fmla="*/ 396316 w 793427"/>
                  <a:gd name="connsiteY986" fmla="*/ 332307 h 410952"/>
                  <a:gd name="connsiteX987" fmla="*/ 398697 w 793427"/>
                  <a:gd name="connsiteY987" fmla="*/ 335481 h 410952"/>
                  <a:gd name="connsiteX988" fmla="*/ 402488 w 793427"/>
                  <a:gd name="connsiteY988" fmla="*/ 335834 h 410952"/>
                  <a:gd name="connsiteX989" fmla="*/ 404252 w 793427"/>
                  <a:gd name="connsiteY989" fmla="*/ 332659 h 410952"/>
                  <a:gd name="connsiteX990" fmla="*/ 406280 w 793427"/>
                  <a:gd name="connsiteY990" fmla="*/ 334952 h 410952"/>
                  <a:gd name="connsiteX991" fmla="*/ 411570 w 793427"/>
                  <a:gd name="connsiteY991" fmla="*/ 336098 h 410952"/>
                  <a:gd name="connsiteX992" fmla="*/ 413333 w 793427"/>
                  <a:gd name="connsiteY992" fmla="*/ 337861 h 410952"/>
                  <a:gd name="connsiteX993" fmla="*/ 413333 w 793427"/>
                  <a:gd name="connsiteY993" fmla="*/ 339625 h 410952"/>
                  <a:gd name="connsiteX994" fmla="*/ 410953 w 793427"/>
                  <a:gd name="connsiteY994" fmla="*/ 352762 h 410952"/>
                  <a:gd name="connsiteX995" fmla="*/ 411570 w 793427"/>
                  <a:gd name="connsiteY995" fmla="*/ 355142 h 410952"/>
                  <a:gd name="connsiteX996" fmla="*/ 412451 w 793427"/>
                  <a:gd name="connsiteY996" fmla="*/ 353379 h 410952"/>
                  <a:gd name="connsiteX997" fmla="*/ 413333 w 793427"/>
                  <a:gd name="connsiteY997" fmla="*/ 357435 h 410952"/>
                  <a:gd name="connsiteX998" fmla="*/ 414215 w 793427"/>
                  <a:gd name="connsiteY998" fmla="*/ 357435 h 410952"/>
                  <a:gd name="connsiteX999" fmla="*/ 416860 w 793427"/>
                  <a:gd name="connsiteY999" fmla="*/ 359463 h 410952"/>
                  <a:gd name="connsiteX1000" fmla="*/ 416507 w 793427"/>
                  <a:gd name="connsiteY1000" fmla="*/ 360961 h 410952"/>
                  <a:gd name="connsiteX1001" fmla="*/ 415361 w 793427"/>
                  <a:gd name="connsiteY1001" fmla="*/ 361226 h 410952"/>
                  <a:gd name="connsiteX1002" fmla="*/ 411305 w 793427"/>
                  <a:gd name="connsiteY1002" fmla="*/ 360080 h 410952"/>
                  <a:gd name="connsiteX1003" fmla="*/ 411922 w 793427"/>
                  <a:gd name="connsiteY1003" fmla="*/ 358934 h 410952"/>
                  <a:gd name="connsiteX1004" fmla="*/ 411658 w 793427"/>
                  <a:gd name="connsiteY1004" fmla="*/ 358052 h 410952"/>
                  <a:gd name="connsiteX1005" fmla="*/ 409366 w 793427"/>
                  <a:gd name="connsiteY1005" fmla="*/ 357170 h 410952"/>
                  <a:gd name="connsiteX1006" fmla="*/ 405575 w 793427"/>
                  <a:gd name="connsiteY1006" fmla="*/ 357787 h 410952"/>
                  <a:gd name="connsiteX1007" fmla="*/ 400020 w 793427"/>
                  <a:gd name="connsiteY1007" fmla="*/ 356641 h 410952"/>
                  <a:gd name="connsiteX1008" fmla="*/ 399491 w 793427"/>
                  <a:gd name="connsiteY1008" fmla="*/ 355230 h 410952"/>
                  <a:gd name="connsiteX1009" fmla="*/ 397463 w 793427"/>
                  <a:gd name="connsiteY1009" fmla="*/ 355230 h 410952"/>
                  <a:gd name="connsiteX1010" fmla="*/ 393671 w 793427"/>
                  <a:gd name="connsiteY1010" fmla="*/ 354966 h 410952"/>
                  <a:gd name="connsiteX1011" fmla="*/ 393054 w 793427"/>
                  <a:gd name="connsiteY1011" fmla="*/ 352938 h 410952"/>
                  <a:gd name="connsiteX1012" fmla="*/ 388646 w 793427"/>
                  <a:gd name="connsiteY1012" fmla="*/ 350029 h 410952"/>
                  <a:gd name="connsiteX1013" fmla="*/ 385737 w 793427"/>
                  <a:gd name="connsiteY1013" fmla="*/ 350910 h 410952"/>
                  <a:gd name="connsiteX1014" fmla="*/ 384237 w 793427"/>
                  <a:gd name="connsiteY1014" fmla="*/ 350910 h 410952"/>
                  <a:gd name="connsiteX1015" fmla="*/ 379565 w 793427"/>
                  <a:gd name="connsiteY1015" fmla="*/ 352057 h 410952"/>
                  <a:gd name="connsiteX1016" fmla="*/ 378683 w 793427"/>
                  <a:gd name="connsiteY1016" fmla="*/ 352057 h 410952"/>
                  <a:gd name="connsiteX1017" fmla="*/ 374010 w 793427"/>
                  <a:gd name="connsiteY1017" fmla="*/ 353203 h 410952"/>
                  <a:gd name="connsiteX1018" fmla="*/ 367044 w 793427"/>
                  <a:gd name="connsiteY1018" fmla="*/ 350558 h 410952"/>
                  <a:gd name="connsiteX1019" fmla="*/ 365017 w 793427"/>
                  <a:gd name="connsiteY1019" fmla="*/ 350822 h 410952"/>
                  <a:gd name="connsiteX1020" fmla="*/ 354789 w 793427"/>
                  <a:gd name="connsiteY1020" fmla="*/ 348794 h 410952"/>
                  <a:gd name="connsiteX1021" fmla="*/ 354525 w 793427"/>
                  <a:gd name="connsiteY1021" fmla="*/ 350293 h 410952"/>
                  <a:gd name="connsiteX1022" fmla="*/ 353378 w 793427"/>
                  <a:gd name="connsiteY1022" fmla="*/ 349411 h 410952"/>
                  <a:gd name="connsiteX1023" fmla="*/ 353114 w 793427"/>
                  <a:gd name="connsiteY1023" fmla="*/ 351439 h 410952"/>
                  <a:gd name="connsiteX1024" fmla="*/ 345796 w 793427"/>
                  <a:gd name="connsiteY1024" fmla="*/ 348530 h 410952"/>
                  <a:gd name="connsiteX1025" fmla="*/ 341388 w 793427"/>
                  <a:gd name="connsiteY1025" fmla="*/ 349147 h 410952"/>
                  <a:gd name="connsiteX1026" fmla="*/ 340859 w 793427"/>
                  <a:gd name="connsiteY1026" fmla="*/ 348530 h 410952"/>
                  <a:gd name="connsiteX1027" fmla="*/ 338214 w 793427"/>
                  <a:gd name="connsiteY1027" fmla="*/ 348530 h 410952"/>
                  <a:gd name="connsiteX1028" fmla="*/ 336450 w 793427"/>
                  <a:gd name="connsiteY1028" fmla="*/ 347648 h 410952"/>
                  <a:gd name="connsiteX1029" fmla="*/ 331513 w 793427"/>
                  <a:gd name="connsiteY1029" fmla="*/ 347119 h 410952"/>
                  <a:gd name="connsiteX1030" fmla="*/ 329485 w 793427"/>
                  <a:gd name="connsiteY1030" fmla="*/ 345356 h 410952"/>
                  <a:gd name="connsiteX1031" fmla="*/ 324548 w 793427"/>
                  <a:gd name="connsiteY1031" fmla="*/ 343945 h 410952"/>
                  <a:gd name="connsiteX1032" fmla="*/ 324019 w 793427"/>
                  <a:gd name="connsiteY1032" fmla="*/ 343592 h 410952"/>
                  <a:gd name="connsiteX1033" fmla="*/ 321373 w 793427"/>
                  <a:gd name="connsiteY1033" fmla="*/ 342446 h 410952"/>
                  <a:gd name="connsiteX1034" fmla="*/ 314937 w 793427"/>
                  <a:gd name="connsiteY1034" fmla="*/ 339537 h 410952"/>
                  <a:gd name="connsiteX1035" fmla="*/ 317230 w 793427"/>
                  <a:gd name="connsiteY1035" fmla="*/ 339801 h 410952"/>
                  <a:gd name="connsiteX1036" fmla="*/ 314056 w 793427"/>
                  <a:gd name="connsiteY1036" fmla="*/ 338302 h 410952"/>
                  <a:gd name="connsiteX1037" fmla="*/ 310000 w 793427"/>
                  <a:gd name="connsiteY1037" fmla="*/ 337421 h 410952"/>
                  <a:gd name="connsiteX1038" fmla="*/ 306209 w 793427"/>
                  <a:gd name="connsiteY1038" fmla="*/ 336539 h 410952"/>
                  <a:gd name="connsiteX1039" fmla="*/ 303299 w 793427"/>
                  <a:gd name="connsiteY1039" fmla="*/ 336539 h 410952"/>
                  <a:gd name="connsiteX1040" fmla="*/ 302770 w 793427"/>
                  <a:gd name="connsiteY1040" fmla="*/ 335393 h 410952"/>
                  <a:gd name="connsiteX1041" fmla="*/ 300125 w 793427"/>
                  <a:gd name="connsiteY1041" fmla="*/ 334775 h 410952"/>
                  <a:gd name="connsiteX1042" fmla="*/ 295981 w 793427"/>
                  <a:gd name="connsiteY1042" fmla="*/ 334775 h 410952"/>
                  <a:gd name="connsiteX1043" fmla="*/ 291925 w 793427"/>
                  <a:gd name="connsiteY1043" fmla="*/ 334775 h 410952"/>
                  <a:gd name="connsiteX1044" fmla="*/ 291308 w 793427"/>
                  <a:gd name="connsiteY1044" fmla="*/ 332748 h 410952"/>
                  <a:gd name="connsiteX1045" fmla="*/ 289280 w 793427"/>
                  <a:gd name="connsiteY1045" fmla="*/ 334511 h 410952"/>
                  <a:gd name="connsiteX1046" fmla="*/ 287517 w 793427"/>
                  <a:gd name="connsiteY1046" fmla="*/ 334158 h 410952"/>
                  <a:gd name="connsiteX1047" fmla="*/ 287164 w 793427"/>
                  <a:gd name="connsiteY1047" fmla="*/ 335304 h 410952"/>
                  <a:gd name="connsiteX1048" fmla="*/ 286018 w 793427"/>
                  <a:gd name="connsiteY1048" fmla="*/ 334423 h 410952"/>
                  <a:gd name="connsiteX1049" fmla="*/ 283726 w 793427"/>
                  <a:gd name="connsiteY1049" fmla="*/ 335040 h 410952"/>
                  <a:gd name="connsiteX1050" fmla="*/ 282844 w 793427"/>
                  <a:gd name="connsiteY1050" fmla="*/ 337332 h 410952"/>
                  <a:gd name="connsiteX1051" fmla="*/ 281433 w 793427"/>
                  <a:gd name="connsiteY1051" fmla="*/ 335040 h 410952"/>
                  <a:gd name="connsiteX1052" fmla="*/ 280551 w 793427"/>
                  <a:gd name="connsiteY1052" fmla="*/ 336803 h 410952"/>
                  <a:gd name="connsiteX1053" fmla="*/ 280199 w 793427"/>
                  <a:gd name="connsiteY1053" fmla="*/ 336803 h 410952"/>
                  <a:gd name="connsiteX1054" fmla="*/ 273763 w 793427"/>
                  <a:gd name="connsiteY1054" fmla="*/ 335040 h 410952"/>
                  <a:gd name="connsiteX1055" fmla="*/ 269090 w 793427"/>
                  <a:gd name="connsiteY1055" fmla="*/ 335304 h 410952"/>
                  <a:gd name="connsiteX1056" fmla="*/ 266797 w 793427"/>
                  <a:gd name="connsiteY1056" fmla="*/ 332395 h 410952"/>
                  <a:gd name="connsiteX1057" fmla="*/ 262389 w 793427"/>
                  <a:gd name="connsiteY1057" fmla="*/ 330896 h 410952"/>
                  <a:gd name="connsiteX1058" fmla="*/ 265651 w 793427"/>
                  <a:gd name="connsiteY1058" fmla="*/ 330014 h 410952"/>
                  <a:gd name="connsiteX1059" fmla="*/ 263623 w 793427"/>
                  <a:gd name="connsiteY1059" fmla="*/ 329397 h 410952"/>
                  <a:gd name="connsiteX1060" fmla="*/ 260978 w 793427"/>
                  <a:gd name="connsiteY1060" fmla="*/ 330014 h 410952"/>
                  <a:gd name="connsiteX1061" fmla="*/ 253396 w 793427"/>
                  <a:gd name="connsiteY1061" fmla="*/ 330014 h 410952"/>
                  <a:gd name="connsiteX1062" fmla="*/ 250221 w 793427"/>
                  <a:gd name="connsiteY1062" fmla="*/ 328251 h 410952"/>
                  <a:gd name="connsiteX1063" fmla="*/ 249076 w 793427"/>
                  <a:gd name="connsiteY1063" fmla="*/ 328515 h 410952"/>
                  <a:gd name="connsiteX1064" fmla="*/ 247929 w 793427"/>
                  <a:gd name="connsiteY1064" fmla="*/ 328251 h 410952"/>
                  <a:gd name="connsiteX1065" fmla="*/ 245549 w 793427"/>
                  <a:gd name="connsiteY1065" fmla="*/ 327369 h 410952"/>
                  <a:gd name="connsiteX1066" fmla="*/ 239730 w 793427"/>
                  <a:gd name="connsiteY1066" fmla="*/ 328251 h 410952"/>
                  <a:gd name="connsiteX1067" fmla="*/ 237702 w 793427"/>
                  <a:gd name="connsiteY1067" fmla="*/ 326488 h 410952"/>
                  <a:gd name="connsiteX1068" fmla="*/ 237084 w 793427"/>
                  <a:gd name="connsiteY1068" fmla="*/ 323225 h 410952"/>
                  <a:gd name="connsiteX1069" fmla="*/ 238848 w 793427"/>
                  <a:gd name="connsiteY1069" fmla="*/ 322079 h 410952"/>
                  <a:gd name="connsiteX1070" fmla="*/ 238584 w 793427"/>
                  <a:gd name="connsiteY1070" fmla="*/ 320933 h 410952"/>
                  <a:gd name="connsiteX1071" fmla="*/ 240347 w 793427"/>
                  <a:gd name="connsiteY1071" fmla="*/ 319522 h 410952"/>
                  <a:gd name="connsiteX1072" fmla="*/ 240611 w 793427"/>
                  <a:gd name="connsiteY1072" fmla="*/ 318641 h 410952"/>
                  <a:gd name="connsiteX1073" fmla="*/ 240347 w 793427"/>
                  <a:gd name="connsiteY1073" fmla="*/ 317142 h 410952"/>
                  <a:gd name="connsiteX1074" fmla="*/ 238584 w 793427"/>
                  <a:gd name="connsiteY1074" fmla="*/ 316613 h 410952"/>
                  <a:gd name="connsiteX1075" fmla="*/ 235674 w 793427"/>
                  <a:gd name="connsiteY1075" fmla="*/ 317494 h 410952"/>
                  <a:gd name="connsiteX1076" fmla="*/ 231001 w 793427"/>
                  <a:gd name="connsiteY1076" fmla="*/ 314321 h 410952"/>
                  <a:gd name="connsiteX1077" fmla="*/ 228356 w 793427"/>
                  <a:gd name="connsiteY1077" fmla="*/ 313439 h 410952"/>
                  <a:gd name="connsiteX1078" fmla="*/ 218746 w 793427"/>
                  <a:gd name="connsiteY1078" fmla="*/ 314585 h 410952"/>
                  <a:gd name="connsiteX1079" fmla="*/ 213544 w 793427"/>
                  <a:gd name="connsiteY1079" fmla="*/ 313174 h 410952"/>
                  <a:gd name="connsiteX1080" fmla="*/ 213191 w 793427"/>
                  <a:gd name="connsiteY1080" fmla="*/ 313792 h 410952"/>
                  <a:gd name="connsiteX1081" fmla="*/ 212309 w 793427"/>
                  <a:gd name="connsiteY1081" fmla="*/ 313792 h 410952"/>
                  <a:gd name="connsiteX1082" fmla="*/ 211692 w 793427"/>
                  <a:gd name="connsiteY1082" fmla="*/ 312028 h 410952"/>
                  <a:gd name="connsiteX1083" fmla="*/ 212838 w 793427"/>
                  <a:gd name="connsiteY1083" fmla="*/ 311764 h 410952"/>
                  <a:gd name="connsiteX1084" fmla="*/ 214337 w 793427"/>
                  <a:gd name="connsiteY1084" fmla="*/ 309736 h 410952"/>
                  <a:gd name="connsiteX1085" fmla="*/ 215219 w 793427"/>
                  <a:gd name="connsiteY1085" fmla="*/ 309736 h 410952"/>
                  <a:gd name="connsiteX1086" fmla="*/ 216100 w 793427"/>
                  <a:gd name="connsiteY1086" fmla="*/ 312028 h 410952"/>
                  <a:gd name="connsiteX1087" fmla="*/ 217246 w 793427"/>
                  <a:gd name="connsiteY1087" fmla="*/ 313174 h 410952"/>
                  <a:gd name="connsiteX1088" fmla="*/ 220421 w 793427"/>
                  <a:gd name="connsiteY1088" fmla="*/ 308237 h 410952"/>
                  <a:gd name="connsiteX1089" fmla="*/ 220421 w 793427"/>
                  <a:gd name="connsiteY1089" fmla="*/ 304710 h 410952"/>
                  <a:gd name="connsiteX1090" fmla="*/ 221302 w 793427"/>
                  <a:gd name="connsiteY1090" fmla="*/ 304181 h 410952"/>
                  <a:gd name="connsiteX1091" fmla="*/ 222449 w 793427"/>
                  <a:gd name="connsiteY1091" fmla="*/ 305944 h 410952"/>
                  <a:gd name="connsiteX1092" fmla="*/ 224476 w 793427"/>
                  <a:gd name="connsiteY1092" fmla="*/ 303916 h 410952"/>
                  <a:gd name="connsiteX1093" fmla="*/ 225623 w 793427"/>
                  <a:gd name="connsiteY1093" fmla="*/ 301007 h 410952"/>
                  <a:gd name="connsiteX1094" fmla="*/ 227034 w 793427"/>
                  <a:gd name="connsiteY1094" fmla="*/ 298627 h 410952"/>
                  <a:gd name="connsiteX1095" fmla="*/ 225887 w 793427"/>
                  <a:gd name="connsiteY1095" fmla="*/ 295100 h 410952"/>
                  <a:gd name="connsiteX1096" fmla="*/ 227650 w 793427"/>
                  <a:gd name="connsiteY1096" fmla="*/ 292807 h 410952"/>
                  <a:gd name="connsiteX1097" fmla="*/ 228797 w 793427"/>
                  <a:gd name="connsiteY1097" fmla="*/ 290779 h 410952"/>
                  <a:gd name="connsiteX1098" fmla="*/ 230296 w 793427"/>
                  <a:gd name="connsiteY1098" fmla="*/ 290162 h 410952"/>
                  <a:gd name="connsiteX1099" fmla="*/ 230913 w 793427"/>
                  <a:gd name="connsiteY1099" fmla="*/ 290779 h 410952"/>
                  <a:gd name="connsiteX1100" fmla="*/ 231177 w 793427"/>
                  <a:gd name="connsiteY1100" fmla="*/ 292807 h 410952"/>
                  <a:gd name="connsiteX1101" fmla="*/ 231794 w 793427"/>
                  <a:gd name="connsiteY1101" fmla="*/ 293424 h 410952"/>
                  <a:gd name="connsiteX1102" fmla="*/ 232941 w 793427"/>
                  <a:gd name="connsiteY1102" fmla="*/ 293424 h 410952"/>
                  <a:gd name="connsiteX1103" fmla="*/ 233822 w 793427"/>
                  <a:gd name="connsiteY1103" fmla="*/ 291926 h 410952"/>
                  <a:gd name="connsiteX1104" fmla="*/ 234704 w 793427"/>
                  <a:gd name="connsiteY1104" fmla="*/ 291661 h 410952"/>
                  <a:gd name="connsiteX1105" fmla="*/ 239377 w 793427"/>
                  <a:gd name="connsiteY1105" fmla="*/ 294218 h 410952"/>
                  <a:gd name="connsiteX1106" fmla="*/ 244050 w 793427"/>
                  <a:gd name="connsiteY1106" fmla="*/ 293689 h 410952"/>
                  <a:gd name="connsiteX1107" fmla="*/ 245196 w 793427"/>
                  <a:gd name="connsiteY1107" fmla="*/ 295717 h 410952"/>
                  <a:gd name="connsiteX1108" fmla="*/ 250486 w 793427"/>
                  <a:gd name="connsiteY1108" fmla="*/ 295100 h 410952"/>
                  <a:gd name="connsiteX1109" fmla="*/ 250486 w 793427"/>
                  <a:gd name="connsiteY1109" fmla="*/ 293424 h 410952"/>
                  <a:gd name="connsiteX1110" fmla="*/ 581118 w 793427"/>
                  <a:gd name="connsiteY1110" fmla="*/ 277378 h 410952"/>
                  <a:gd name="connsiteX1111" fmla="*/ 577591 w 793427"/>
                  <a:gd name="connsiteY1111" fmla="*/ 272705 h 410952"/>
                  <a:gd name="connsiteX1112" fmla="*/ 578208 w 793427"/>
                  <a:gd name="connsiteY1112" fmla="*/ 269795 h 410952"/>
                  <a:gd name="connsiteX1113" fmla="*/ 579090 w 793427"/>
                  <a:gd name="connsiteY1113" fmla="*/ 269178 h 410952"/>
                  <a:gd name="connsiteX1114" fmla="*/ 578561 w 793427"/>
                  <a:gd name="connsiteY1114" fmla="*/ 268297 h 410952"/>
                  <a:gd name="connsiteX1115" fmla="*/ 579707 w 793427"/>
                  <a:gd name="connsiteY1115" fmla="*/ 267150 h 410952"/>
                  <a:gd name="connsiteX1116" fmla="*/ 580060 w 793427"/>
                  <a:gd name="connsiteY1116" fmla="*/ 268032 h 410952"/>
                  <a:gd name="connsiteX1117" fmla="*/ 581470 w 793427"/>
                  <a:gd name="connsiteY1117" fmla="*/ 267768 h 410952"/>
                  <a:gd name="connsiteX1118" fmla="*/ 582616 w 793427"/>
                  <a:gd name="connsiteY1118" fmla="*/ 269795 h 410952"/>
                  <a:gd name="connsiteX1119" fmla="*/ 583145 w 793427"/>
                  <a:gd name="connsiteY1119" fmla="*/ 270677 h 410952"/>
                  <a:gd name="connsiteX1120" fmla="*/ 582881 w 793427"/>
                  <a:gd name="connsiteY1120" fmla="*/ 276849 h 410952"/>
                  <a:gd name="connsiteX1121" fmla="*/ 581118 w 793427"/>
                  <a:gd name="connsiteY1121" fmla="*/ 277378 h 410952"/>
                  <a:gd name="connsiteX1122" fmla="*/ 713547 w 793427"/>
                  <a:gd name="connsiteY1122" fmla="*/ 160731 h 410952"/>
                  <a:gd name="connsiteX1123" fmla="*/ 711254 w 793427"/>
                  <a:gd name="connsiteY1123" fmla="*/ 159232 h 410952"/>
                  <a:gd name="connsiteX1124" fmla="*/ 711254 w 793427"/>
                  <a:gd name="connsiteY1124" fmla="*/ 157733 h 410952"/>
                  <a:gd name="connsiteX1125" fmla="*/ 709491 w 793427"/>
                  <a:gd name="connsiteY1125" fmla="*/ 157998 h 410952"/>
                  <a:gd name="connsiteX1126" fmla="*/ 707463 w 793427"/>
                  <a:gd name="connsiteY1126" fmla="*/ 159144 h 410952"/>
                  <a:gd name="connsiteX1127" fmla="*/ 706846 w 793427"/>
                  <a:gd name="connsiteY1127" fmla="*/ 158880 h 410952"/>
                  <a:gd name="connsiteX1128" fmla="*/ 706581 w 793427"/>
                  <a:gd name="connsiteY1128" fmla="*/ 157381 h 410952"/>
                  <a:gd name="connsiteX1129" fmla="*/ 707463 w 793427"/>
                  <a:gd name="connsiteY1129" fmla="*/ 155088 h 410952"/>
                  <a:gd name="connsiteX1130" fmla="*/ 703672 w 793427"/>
                  <a:gd name="connsiteY1130" fmla="*/ 151561 h 410952"/>
                  <a:gd name="connsiteX1131" fmla="*/ 703407 w 793427"/>
                  <a:gd name="connsiteY1131" fmla="*/ 150063 h 410952"/>
                  <a:gd name="connsiteX1132" fmla="*/ 704289 w 793427"/>
                  <a:gd name="connsiteY1132" fmla="*/ 148917 h 410952"/>
                  <a:gd name="connsiteX1133" fmla="*/ 704024 w 793427"/>
                  <a:gd name="connsiteY1133" fmla="*/ 147418 h 410952"/>
                  <a:gd name="connsiteX1134" fmla="*/ 705171 w 793427"/>
                  <a:gd name="connsiteY1134" fmla="*/ 146889 h 410952"/>
                  <a:gd name="connsiteX1135" fmla="*/ 706581 w 793427"/>
                  <a:gd name="connsiteY1135" fmla="*/ 149181 h 410952"/>
                  <a:gd name="connsiteX1136" fmla="*/ 706846 w 793427"/>
                  <a:gd name="connsiteY1136" fmla="*/ 149181 h 410952"/>
                  <a:gd name="connsiteX1137" fmla="*/ 708609 w 793427"/>
                  <a:gd name="connsiteY1137" fmla="*/ 146536 h 410952"/>
                  <a:gd name="connsiteX1138" fmla="*/ 710108 w 793427"/>
                  <a:gd name="connsiteY1138" fmla="*/ 147682 h 410952"/>
                  <a:gd name="connsiteX1139" fmla="*/ 711871 w 793427"/>
                  <a:gd name="connsiteY1139" fmla="*/ 150327 h 410952"/>
                  <a:gd name="connsiteX1140" fmla="*/ 710460 w 793427"/>
                  <a:gd name="connsiteY1140" fmla="*/ 153854 h 410952"/>
                  <a:gd name="connsiteX1141" fmla="*/ 711342 w 793427"/>
                  <a:gd name="connsiteY1141" fmla="*/ 156146 h 410952"/>
                  <a:gd name="connsiteX1142" fmla="*/ 715398 w 793427"/>
                  <a:gd name="connsiteY1142" fmla="*/ 156146 h 410952"/>
                  <a:gd name="connsiteX1143" fmla="*/ 716544 w 793427"/>
                  <a:gd name="connsiteY1143" fmla="*/ 157910 h 410952"/>
                  <a:gd name="connsiteX1144" fmla="*/ 715398 w 793427"/>
                  <a:gd name="connsiteY1144" fmla="*/ 159673 h 410952"/>
                  <a:gd name="connsiteX1145" fmla="*/ 713547 w 793427"/>
                  <a:gd name="connsiteY1145" fmla="*/ 160731 h 410952"/>
                  <a:gd name="connsiteX1146" fmla="*/ 689653 w 793427"/>
                  <a:gd name="connsiteY1146" fmla="*/ 39940 h 410952"/>
                  <a:gd name="connsiteX1147" fmla="*/ 689389 w 793427"/>
                  <a:gd name="connsiteY1147" fmla="*/ 39059 h 410952"/>
                  <a:gd name="connsiteX1148" fmla="*/ 690887 w 793427"/>
                  <a:gd name="connsiteY1148" fmla="*/ 36414 h 410952"/>
                  <a:gd name="connsiteX1149" fmla="*/ 692034 w 793427"/>
                  <a:gd name="connsiteY1149" fmla="*/ 34033 h 410952"/>
                  <a:gd name="connsiteX1150" fmla="*/ 689741 w 793427"/>
                  <a:gd name="connsiteY1150" fmla="*/ 31741 h 410952"/>
                  <a:gd name="connsiteX1151" fmla="*/ 690623 w 793427"/>
                  <a:gd name="connsiteY1151" fmla="*/ 27068 h 410952"/>
                  <a:gd name="connsiteX1152" fmla="*/ 690887 w 793427"/>
                  <a:gd name="connsiteY1152" fmla="*/ 26539 h 410952"/>
                  <a:gd name="connsiteX1153" fmla="*/ 693532 w 793427"/>
                  <a:gd name="connsiteY1153" fmla="*/ 27685 h 410952"/>
                  <a:gd name="connsiteX1154" fmla="*/ 694678 w 793427"/>
                  <a:gd name="connsiteY1154" fmla="*/ 32975 h 410952"/>
                  <a:gd name="connsiteX1155" fmla="*/ 692034 w 793427"/>
                  <a:gd name="connsiteY1155" fmla="*/ 36149 h 410952"/>
                  <a:gd name="connsiteX1156" fmla="*/ 692298 w 793427"/>
                  <a:gd name="connsiteY1156" fmla="*/ 39059 h 410952"/>
                  <a:gd name="connsiteX1157" fmla="*/ 689653 w 793427"/>
                  <a:gd name="connsiteY1157" fmla="*/ 39940 h 410952"/>
                  <a:gd name="connsiteX1158" fmla="*/ 700410 w 793427"/>
                  <a:gd name="connsiteY1158" fmla="*/ 151914 h 410952"/>
                  <a:gd name="connsiteX1159" fmla="*/ 699528 w 793427"/>
                  <a:gd name="connsiteY1159" fmla="*/ 151297 h 410952"/>
                  <a:gd name="connsiteX1160" fmla="*/ 699263 w 793427"/>
                  <a:gd name="connsiteY1160" fmla="*/ 146360 h 410952"/>
                  <a:gd name="connsiteX1161" fmla="*/ 701026 w 793427"/>
                  <a:gd name="connsiteY1161" fmla="*/ 145478 h 410952"/>
                  <a:gd name="connsiteX1162" fmla="*/ 702437 w 793427"/>
                  <a:gd name="connsiteY1162" fmla="*/ 145478 h 410952"/>
                  <a:gd name="connsiteX1163" fmla="*/ 703319 w 793427"/>
                  <a:gd name="connsiteY1163" fmla="*/ 145742 h 410952"/>
                  <a:gd name="connsiteX1164" fmla="*/ 701820 w 793427"/>
                  <a:gd name="connsiteY1164" fmla="*/ 151561 h 410952"/>
                  <a:gd name="connsiteX1165" fmla="*/ 700410 w 793427"/>
                  <a:gd name="connsiteY1165" fmla="*/ 151914 h 410952"/>
                  <a:gd name="connsiteX1166" fmla="*/ 556607 w 793427"/>
                  <a:gd name="connsiteY1166" fmla="*/ 365105 h 410952"/>
                  <a:gd name="connsiteX1167" fmla="*/ 553080 w 793427"/>
                  <a:gd name="connsiteY1167" fmla="*/ 363342 h 410952"/>
                  <a:gd name="connsiteX1168" fmla="*/ 552551 w 793427"/>
                  <a:gd name="connsiteY1168" fmla="*/ 361843 h 410952"/>
                  <a:gd name="connsiteX1169" fmla="*/ 551405 w 793427"/>
                  <a:gd name="connsiteY1169" fmla="*/ 362108 h 410952"/>
                  <a:gd name="connsiteX1170" fmla="*/ 550788 w 793427"/>
                  <a:gd name="connsiteY1170" fmla="*/ 363254 h 410952"/>
                  <a:gd name="connsiteX1171" fmla="*/ 548495 w 793427"/>
                  <a:gd name="connsiteY1171" fmla="*/ 362637 h 410952"/>
                  <a:gd name="connsiteX1172" fmla="*/ 546996 w 793427"/>
                  <a:gd name="connsiteY1172" fmla="*/ 361138 h 410952"/>
                  <a:gd name="connsiteX1173" fmla="*/ 539678 w 793427"/>
                  <a:gd name="connsiteY1173" fmla="*/ 362020 h 410952"/>
                  <a:gd name="connsiteX1174" fmla="*/ 537651 w 793427"/>
                  <a:gd name="connsiteY1174" fmla="*/ 360521 h 410952"/>
                  <a:gd name="connsiteX1175" fmla="*/ 536240 w 793427"/>
                  <a:gd name="connsiteY1175" fmla="*/ 362813 h 410952"/>
                  <a:gd name="connsiteX1176" fmla="*/ 533330 w 793427"/>
                  <a:gd name="connsiteY1176" fmla="*/ 363695 h 410952"/>
                  <a:gd name="connsiteX1177" fmla="*/ 532713 w 793427"/>
                  <a:gd name="connsiteY1177" fmla="*/ 362196 h 410952"/>
                  <a:gd name="connsiteX1178" fmla="*/ 532713 w 793427"/>
                  <a:gd name="connsiteY1178" fmla="*/ 363078 h 410952"/>
                  <a:gd name="connsiteX1179" fmla="*/ 532096 w 793427"/>
                  <a:gd name="connsiteY1179" fmla="*/ 362725 h 410952"/>
                  <a:gd name="connsiteX1180" fmla="*/ 528040 w 793427"/>
                  <a:gd name="connsiteY1180" fmla="*/ 360697 h 410952"/>
                  <a:gd name="connsiteX1181" fmla="*/ 528922 w 793427"/>
                  <a:gd name="connsiteY1181" fmla="*/ 361843 h 410952"/>
                  <a:gd name="connsiteX1182" fmla="*/ 528657 w 793427"/>
                  <a:gd name="connsiteY1182" fmla="*/ 360961 h 410952"/>
                  <a:gd name="connsiteX1183" fmla="*/ 524249 w 793427"/>
                  <a:gd name="connsiteY1183" fmla="*/ 358669 h 410952"/>
                  <a:gd name="connsiteX1184" fmla="*/ 527776 w 793427"/>
                  <a:gd name="connsiteY1184" fmla="*/ 357523 h 410952"/>
                  <a:gd name="connsiteX1185" fmla="*/ 527776 w 793427"/>
                  <a:gd name="connsiteY1185" fmla="*/ 358140 h 410952"/>
                  <a:gd name="connsiteX1186" fmla="*/ 528922 w 793427"/>
                  <a:gd name="connsiteY1186" fmla="*/ 355495 h 410952"/>
                  <a:gd name="connsiteX1187" fmla="*/ 531567 w 793427"/>
                  <a:gd name="connsiteY1187" fmla="*/ 353732 h 410952"/>
                  <a:gd name="connsiteX1188" fmla="*/ 526277 w 793427"/>
                  <a:gd name="connsiteY1188" fmla="*/ 352586 h 410952"/>
                  <a:gd name="connsiteX1189" fmla="*/ 528569 w 793427"/>
                  <a:gd name="connsiteY1189" fmla="*/ 351968 h 410952"/>
                  <a:gd name="connsiteX1190" fmla="*/ 528834 w 793427"/>
                  <a:gd name="connsiteY1190" fmla="*/ 350822 h 410952"/>
                  <a:gd name="connsiteX1191" fmla="*/ 530332 w 793427"/>
                  <a:gd name="connsiteY1191" fmla="*/ 351439 h 410952"/>
                  <a:gd name="connsiteX1192" fmla="*/ 533859 w 793427"/>
                  <a:gd name="connsiteY1192" fmla="*/ 352586 h 410952"/>
                  <a:gd name="connsiteX1193" fmla="*/ 534741 w 793427"/>
                  <a:gd name="connsiteY1193" fmla="*/ 351087 h 410952"/>
                  <a:gd name="connsiteX1194" fmla="*/ 536504 w 793427"/>
                  <a:gd name="connsiteY1194" fmla="*/ 351351 h 410952"/>
                  <a:gd name="connsiteX1195" fmla="*/ 538532 w 793427"/>
                  <a:gd name="connsiteY1195" fmla="*/ 348971 h 410952"/>
                  <a:gd name="connsiteX1196" fmla="*/ 540296 w 793427"/>
                  <a:gd name="connsiteY1196" fmla="*/ 348089 h 410952"/>
                  <a:gd name="connsiteX1197" fmla="*/ 542323 w 793427"/>
                  <a:gd name="connsiteY1197" fmla="*/ 348353 h 410952"/>
                  <a:gd name="connsiteX1198" fmla="*/ 543470 w 793427"/>
                  <a:gd name="connsiteY1198" fmla="*/ 347207 h 410952"/>
                  <a:gd name="connsiteX1199" fmla="*/ 544352 w 793427"/>
                  <a:gd name="connsiteY1199" fmla="*/ 348353 h 410952"/>
                  <a:gd name="connsiteX1200" fmla="*/ 547878 w 793427"/>
                  <a:gd name="connsiteY1200" fmla="*/ 347472 h 410952"/>
                  <a:gd name="connsiteX1201" fmla="*/ 550259 w 793427"/>
                  <a:gd name="connsiteY1201" fmla="*/ 349500 h 410952"/>
                  <a:gd name="connsiteX1202" fmla="*/ 555461 w 793427"/>
                  <a:gd name="connsiteY1202" fmla="*/ 349764 h 410952"/>
                  <a:gd name="connsiteX1203" fmla="*/ 558106 w 793427"/>
                  <a:gd name="connsiteY1203" fmla="*/ 351792 h 410952"/>
                  <a:gd name="connsiteX1204" fmla="*/ 561897 w 793427"/>
                  <a:gd name="connsiteY1204" fmla="*/ 352938 h 410952"/>
                  <a:gd name="connsiteX1205" fmla="*/ 564807 w 793427"/>
                  <a:gd name="connsiteY1205" fmla="*/ 355848 h 410952"/>
                  <a:gd name="connsiteX1206" fmla="*/ 566570 w 793427"/>
                  <a:gd name="connsiteY1206" fmla="*/ 355583 h 410952"/>
                  <a:gd name="connsiteX1207" fmla="*/ 567187 w 793427"/>
                  <a:gd name="connsiteY1207" fmla="*/ 356465 h 410952"/>
                  <a:gd name="connsiteX1208" fmla="*/ 569568 w 793427"/>
                  <a:gd name="connsiteY1208" fmla="*/ 352938 h 410952"/>
                  <a:gd name="connsiteX1209" fmla="*/ 571066 w 793427"/>
                  <a:gd name="connsiteY1209" fmla="*/ 354084 h 410952"/>
                  <a:gd name="connsiteX1210" fmla="*/ 573711 w 793427"/>
                  <a:gd name="connsiteY1210" fmla="*/ 353467 h 410952"/>
                  <a:gd name="connsiteX1211" fmla="*/ 576357 w 793427"/>
                  <a:gd name="connsiteY1211" fmla="*/ 353467 h 410952"/>
                  <a:gd name="connsiteX1212" fmla="*/ 578384 w 793427"/>
                  <a:gd name="connsiteY1212" fmla="*/ 351968 h 410952"/>
                  <a:gd name="connsiteX1213" fmla="*/ 578649 w 793427"/>
                  <a:gd name="connsiteY1213" fmla="*/ 352586 h 410952"/>
                  <a:gd name="connsiteX1214" fmla="*/ 578384 w 793427"/>
                  <a:gd name="connsiteY1214" fmla="*/ 353732 h 410952"/>
                  <a:gd name="connsiteX1215" fmla="*/ 578649 w 793427"/>
                  <a:gd name="connsiteY1215" fmla="*/ 355495 h 410952"/>
                  <a:gd name="connsiteX1216" fmla="*/ 581558 w 793427"/>
                  <a:gd name="connsiteY1216" fmla="*/ 356641 h 410952"/>
                  <a:gd name="connsiteX1217" fmla="*/ 583587 w 793427"/>
                  <a:gd name="connsiteY1217" fmla="*/ 356994 h 410952"/>
                  <a:gd name="connsiteX1218" fmla="*/ 588259 w 793427"/>
                  <a:gd name="connsiteY1218" fmla="*/ 356112 h 410952"/>
                  <a:gd name="connsiteX1219" fmla="*/ 589141 w 793427"/>
                  <a:gd name="connsiteY1219" fmla="*/ 354966 h 410952"/>
                  <a:gd name="connsiteX1220" fmla="*/ 588612 w 793427"/>
                  <a:gd name="connsiteY1220" fmla="*/ 353555 h 410952"/>
                  <a:gd name="connsiteX1221" fmla="*/ 591257 w 793427"/>
                  <a:gd name="connsiteY1221" fmla="*/ 350910 h 410952"/>
                  <a:gd name="connsiteX1222" fmla="*/ 594784 w 793427"/>
                  <a:gd name="connsiteY1222" fmla="*/ 350029 h 410952"/>
                  <a:gd name="connsiteX1223" fmla="*/ 598839 w 793427"/>
                  <a:gd name="connsiteY1223" fmla="*/ 346502 h 410952"/>
                  <a:gd name="connsiteX1224" fmla="*/ 597693 w 793427"/>
                  <a:gd name="connsiteY1224" fmla="*/ 345885 h 410952"/>
                  <a:gd name="connsiteX1225" fmla="*/ 594519 w 793427"/>
                  <a:gd name="connsiteY1225" fmla="*/ 347031 h 410952"/>
                  <a:gd name="connsiteX1226" fmla="*/ 594519 w 793427"/>
                  <a:gd name="connsiteY1226" fmla="*/ 346149 h 410952"/>
                  <a:gd name="connsiteX1227" fmla="*/ 596547 w 793427"/>
                  <a:gd name="connsiteY1227" fmla="*/ 343240 h 410952"/>
                  <a:gd name="connsiteX1228" fmla="*/ 597957 w 793427"/>
                  <a:gd name="connsiteY1228" fmla="*/ 343769 h 410952"/>
                  <a:gd name="connsiteX1229" fmla="*/ 599368 w 793427"/>
                  <a:gd name="connsiteY1229" fmla="*/ 344915 h 410952"/>
                  <a:gd name="connsiteX1230" fmla="*/ 600515 w 793427"/>
                  <a:gd name="connsiteY1230" fmla="*/ 348706 h 410952"/>
                  <a:gd name="connsiteX1231" fmla="*/ 599633 w 793427"/>
                  <a:gd name="connsiteY1231" fmla="*/ 349852 h 410952"/>
                  <a:gd name="connsiteX1232" fmla="*/ 598486 w 793427"/>
                  <a:gd name="connsiteY1232" fmla="*/ 349588 h 410952"/>
                  <a:gd name="connsiteX1233" fmla="*/ 597605 w 793427"/>
                  <a:gd name="connsiteY1233" fmla="*/ 350734 h 410952"/>
                  <a:gd name="connsiteX1234" fmla="*/ 597605 w 793427"/>
                  <a:gd name="connsiteY1234" fmla="*/ 352233 h 410952"/>
                  <a:gd name="connsiteX1235" fmla="*/ 597341 w 793427"/>
                  <a:gd name="connsiteY1235" fmla="*/ 352850 h 410952"/>
                  <a:gd name="connsiteX1236" fmla="*/ 595930 w 793427"/>
                  <a:gd name="connsiteY1236" fmla="*/ 351968 h 410952"/>
                  <a:gd name="connsiteX1237" fmla="*/ 595313 w 793427"/>
                  <a:gd name="connsiteY1237" fmla="*/ 352586 h 410952"/>
                  <a:gd name="connsiteX1238" fmla="*/ 596812 w 793427"/>
                  <a:gd name="connsiteY1238" fmla="*/ 355230 h 410952"/>
                  <a:gd name="connsiteX1239" fmla="*/ 596547 w 793427"/>
                  <a:gd name="connsiteY1239" fmla="*/ 355848 h 410952"/>
                  <a:gd name="connsiteX1240" fmla="*/ 586320 w 793427"/>
                  <a:gd name="connsiteY1240" fmla="*/ 359903 h 410952"/>
                  <a:gd name="connsiteX1241" fmla="*/ 580765 w 793427"/>
                  <a:gd name="connsiteY1241" fmla="*/ 359374 h 410952"/>
                  <a:gd name="connsiteX1242" fmla="*/ 573447 w 793427"/>
                  <a:gd name="connsiteY1242" fmla="*/ 363166 h 410952"/>
                  <a:gd name="connsiteX1243" fmla="*/ 569656 w 793427"/>
                  <a:gd name="connsiteY1243" fmla="*/ 362020 h 410952"/>
                  <a:gd name="connsiteX1244" fmla="*/ 564983 w 793427"/>
                  <a:gd name="connsiteY1244" fmla="*/ 361138 h 410952"/>
                  <a:gd name="connsiteX1245" fmla="*/ 564365 w 793427"/>
                  <a:gd name="connsiteY1245" fmla="*/ 361138 h 410952"/>
                  <a:gd name="connsiteX1246" fmla="*/ 564365 w 793427"/>
                  <a:gd name="connsiteY1246" fmla="*/ 363166 h 410952"/>
                  <a:gd name="connsiteX1247" fmla="*/ 563219 w 793427"/>
                  <a:gd name="connsiteY1247" fmla="*/ 364047 h 410952"/>
                  <a:gd name="connsiteX1248" fmla="*/ 560574 w 793427"/>
                  <a:gd name="connsiteY1248" fmla="*/ 363166 h 410952"/>
                  <a:gd name="connsiteX1249" fmla="*/ 556607 w 793427"/>
                  <a:gd name="connsiteY1249" fmla="*/ 365105 h 410952"/>
                  <a:gd name="connsiteX1250" fmla="*/ 593902 w 793427"/>
                  <a:gd name="connsiteY1250" fmla="*/ 276496 h 410952"/>
                  <a:gd name="connsiteX1251" fmla="*/ 593373 w 793427"/>
                  <a:gd name="connsiteY1251" fmla="*/ 276143 h 410952"/>
                  <a:gd name="connsiteX1252" fmla="*/ 593637 w 793427"/>
                  <a:gd name="connsiteY1252" fmla="*/ 273851 h 410952"/>
                  <a:gd name="connsiteX1253" fmla="*/ 593020 w 793427"/>
                  <a:gd name="connsiteY1253" fmla="*/ 272705 h 410952"/>
                  <a:gd name="connsiteX1254" fmla="*/ 591874 w 793427"/>
                  <a:gd name="connsiteY1254" fmla="*/ 275614 h 410952"/>
                  <a:gd name="connsiteX1255" fmla="*/ 590992 w 793427"/>
                  <a:gd name="connsiteY1255" fmla="*/ 275350 h 410952"/>
                  <a:gd name="connsiteX1256" fmla="*/ 590463 w 793427"/>
                  <a:gd name="connsiteY1256" fmla="*/ 274468 h 410952"/>
                  <a:gd name="connsiteX1257" fmla="*/ 591610 w 793427"/>
                  <a:gd name="connsiteY1257" fmla="*/ 273586 h 410952"/>
                  <a:gd name="connsiteX1258" fmla="*/ 590728 w 793427"/>
                  <a:gd name="connsiteY1258" fmla="*/ 273322 h 410952"/>
                  <a:gd name="connsiteX1259" fmla="*/ 589846 w 793427"/>
                  <a:gd name="connsiteY1259" fmla="*/ 275350 h 410952"/>
                  <a:gd name="connsiteX1260" fmla="*/ 588083 w 793427"/>
                  <a:gd name="connsiteY1260" fmla="*/ 275350 h 410952"/>
                  <a:gd name="connsiteX1261" fmla="*/ 587818 w 793427"/>
                  <a:gd name="connsiteY1261" fmla="*/ 273586 h 410952"/>
                  <a:gd name="connsiteX1262" fmla="*/ 590463 w 793427"/>
                  <a:gd name="connsiteY1262" fmla="*/ 267503 h 410952"/>
                  <a:gd name="connsiteX1263" fmla="*/ 588965 w 793427"/>
                  <a:gd name="connsiteY1263" fmla="*/ 261684 h 410952"/>
                  <a:gd name="connsiteX1264" fmla="*/ 590111 w 793427"/>
                  <a:gd name="connsiteY1264" fmla="*/ 259656 h 410952"/>
                  <a:gd name="connsiteX1265" fmla="*/ 592756 w 793427"/>
                  <a:gd name="connsiteY1265" fmla="*/ 259039 h 410952"/>
                  <a:gd name="connsiteX1266" fmla="*/ 597164 w 793427"/>
                  <a:gd name="connsiteY1266" fmla="*/ 256394 h 410952"/>
                  <a:gd name="connsiteX1267" fmla="*/ 598046 w 793427"/>
                  <a:gd name="connsiteY1267" fmla="*/ 259656 h 410952"/>
                  <a:gd name="connsiteX1268" fmla="*/ 598575 w 793427"/>
                  <a:gd name="connsiteY1268" fmla="*/ 264593 h 410952"/>
                  <a:gd name="connsiteX1269" fmla="*/ 595666 w 793427"/>
                  <a:gd name="connsiteY1269" fmla="*/ 267503 h 410952"/>
                  <a:gd name="connsiteX1270" fmla="*/ 594784 w 793427"/>
                  <a:gd name="connsiteY1270" fmla="*/ 270413 h 410952"/>
                  <a:gd name="connsiteX1271" fmla="*/ 595666 w 793427"/>
                  <a:gd name="connsiteY1271" fmla="*/ 270677 h 410952"/>
                  <a:gd name="connsiteX1272" fmla="*/ 594784 w 793427"/>
                  <a:gd name="connsiteY1272" fmla="*/ 271559 h 410952"/>
                  <a:gd name="connsiteX1273" fmla="*/ 595930 w 793427"/>
                  <a:gd name="connsiteY1273" fmla="*/ 272176 h 410952"/>
                  <a:gd name="connsiteX1274" fmla="*/ 595666 w 793427"/>
                  <a:gd name="connsiteY1274" fmla="*/ 274468 h 410952"/>
                  <a:gd name="connsiteX1275" fmla="*/ 593902 w 793427"/>
                  <a:gd name="connsiteY1275" fmla="*/ 276496 h 410952"/>
                  <a:gd name="connsiteX1276" fmla="*/ 469937 w 793427"/>
                  <a:gd name="connsiteY1276" fmla="*/ 369249 h 410952"/>
                  <a:gd name="connsiteX1277" fmla="*/ 463236 w 793427"/>
                  <a:gd name="connsiteY1277" fmla="*/ 366957 h 410952"/>
                  <a:gd name="connsiteX1278" fmla="*/ 463236 w 793427"/>
                  <a:gd name="connsiteY1278" fmla="*/ 363783 h 410952"/>
                  <a:gd name="connsiteX1279" fmla="*/ 464647 w 793427"/>
                  <a:gd name="connsiteY1279" fmla="*/ 361755 h 410952"/>
                  <a:gd name="connsiteX1280" fmla="*/ 463501 w 793427"/>
                  <a:gd name="connsiteY1280" fmla="*/ 358581 h 410952"/>
                  <a:gd name="connsiteX1281" fmla="*/ 465000 w 793427"/>
                  <a:gd name="connsiteY1281" fmla="*/ 354790 h 410952"/>
                  <a:gd name="connsiteX1282" fmla="*/ 467292 w 793427"/>
                  <a:gd name="connsiteY1282" fmla="*/ 354790 h 410952"/>
                  <a:gd name="connsiteX1283" fmla="*/ 473111 w 793427"/>
                  <a:gd name="connsiteY1283" fmla="*/ 351528 h 410952"/>
                  <a:gd name="connsiteX1284" fmla="*/ 477784 w 793427"/>
                  <a:gd name="connsiteY1284" fmla="*/ 353908 h 410952"/>
                  <a:gd name="connsiteX1285" fmla="*/ 478137 w 793427"/>
                  <a:gd name="connsiteY1285" fmla="*/ 352145 h 410952"/>
                  <a:gd name="connsiteX1286" fmla="*/ 481047 w 793427"/>
                  <a:gd name="connsiteY1286" fmla="*/ 352145 h 410952"/>
                  <a:gd name="connsiteX1287" fmla="*/ 481047 w 793427"/>
                  <a:gd name="connsiteY1287" fmla="*/ 354437 h 410952"/>
                  <a:gd name="connsiteX1288" fmla="*/ 481663 w 793427"/>
                  <a:gd name="connsiteY1288" fmla="*/ 354173 h 410952"/>
                  <a:gd name="connsiteX1289" fmla="*/ 481663 w 793427"/>
                  <a:gd name="connsiteY1289" fmla="*/ 352674 h 410952"/>
                  <a:gd name="connsiteX1290" fmla="*/ 482545 w 793427"/>
                  <a:gd name="connsiteY1290" fmla="*/ 353291 h 410952"/>
                  <a:gd name="connsiteX1291" fmla="*/ 482545 w 793427"/>
                  <a:gd name="connsiteY1291" fmla="*/ 355319 h 410952"/>
                  <a:gd name="connsiteX1292" fmla="*/ 483692 w 793427"/>
                  <a:gd name="connsiteY1292" fmla="*/ 356200 h 410952"/>
                  <a:gd name="connsiteX1293" fmla="*/ 485455 w 793427"/>
                  <a:gd name="connsiteY1293" fmla="*/ 356729 h 410952"/>
                  <a:gd name="connsiteX1294" fmla="*/ 485719 w 793427"/>
                  <a:gd name="connsiteY1294" fmla="*/ 359374 h 410952"/>
                  <a:gd name="connsiteX1295" fmla="*/ 487483 w 793427"/>
                  <a:gd name="connsiteY1295" fmla="*/ 359374 h 410952"/>
                  <a:gd name="connsiteX1296" fmla="*/ 489775 w 793427"/>
                  <a:gd name="connsiteY1296" fmla="*/ 360256 h 410952"/>
                  <a:gd name="connsiteX1297" fmla="*/ 492155 w 793427"/>
                  <a:gd name="connsiteY1297" fmla="*/ 358228 h 410952"/>
                  <a:gd name="connsiteX1298" fmla="*/ 495947 w 793427"/>
                  <a:gd name="connsiteY1298" fmla="*/ 358228 h 410952"/>
                  <a:gd name="connsiteX1299" fmla="*/ 496829 w 793427"/>
                  <a:gd name="connsiteY1299" fmla="*/ 357611 h 410952"/>
                  <a:gd name="connsiteX1300" fmla="*/ 496564 w 793427"/>
                  <a:gd name="connsiteY1300" fmla="*/ 356465 h 410952"/>
                  <a:gd name="connsiteX1301" fmla="*/ 492155 w 793427"/>
                  <a:gd name="connsiteY1301" fmla="*/ 353555 h 410952"/>
                  <a:gd name="connsiteX1302" fmla="*/ 490128 w 793427"/>
                  <a:gd name="connsiteY1302" fmla="*/ 353820 h 410952"/>
                  <a:gd name="connsiteX1303" fmla="*/ 483956 w 793427"/>
                  <a:gd name="connsiteY1303" fmla="*/ 348001 h 410952"/>
                  <a:gd name="connsiteX1304" fmla="*/ 484573 w 793427"/>
                  <a:gd name="connsiteY1304" fmla="*/ 345973 h 410952"/>
                  <a:gd name="connsiteX1305" fmla="*/ 488629 w 793427"/>
                  <a:gd name="connsiteY1305" fmla="*/ 344209 h 410952"/>
                  <a:gd name="connsiteX1306" fmla="*/ 492684 w 793427"/>
                  <a:gd name="connsiteY1306" fmla="*/ 344827 h 410952"/>
                  <a:gd name="connsiteX1307" fmla="*/ 493831 w 793427"/>
                  <a:gd name="connsiteY1307" fmla="*/ 345708 h 410952"/>
                  <a:gd name="connsiteX1308" fmla="*/ 495594 w 793427"/>
                  <a:gd name="connsiteY1308" fmla="*/ 350117 h 410952"/>
                  <a:gd name="connsiteX1309" fmla="*/ 497358 w 793427"/>
                  <a:gd name="connsiteY1309" fmla="*/ 351263 h 410952"/>
                  <a:gd name="connsiteX1310" fmla="*/ 500532 w 793427"/>
                  <a:gd name="connsiteY1310" fmla="*/ 348089 h 410952"/>
                  <a:gd name="connsiteX1311" fmla="*/ 504323 w 793427"/>
                  <a:gd name="connsiteY1311" fmla="*/ 349235 h 410952"/>
                  <a:gd name="connsiteX1312" fmla="*/ 505469 w 793427"/>
                  <a:gd name="connsiteY1312" fmla="*/ 350646 h 410952"/>
                  <a:gd name="connsiteX1313" fmla="*/ 504587 w 793427"/>
                  <a:gd name="connsiteY1313" fmla="*/ 355319 h 410952"/>
                  <a:gd name="connsiteX1314" fmla="*/ 505469 w 793427"/>
                  <a:gd name="connsiteY1314" fmla="*/ 355054 h 410952"/>
                  <a:gd name="connsiteX1315" fmla="*/ 506086 w 793427"/>
                  <a:gd name="connsiteY1315" fmla="*/ 353291 h 410952"/>
                  <a:gd name="connsiteX1316" fmla="*/ 506086 w 793427"/>
                  <a:gd name="connsiteY1316" fmla="*/ 351528 h 410952"/>
                  <a:gd name="connsiteX1317" fmla="*/ 507497 w 793427"/>
                  <a:gd name="connsiteY1317" fmla="*/ 349500 h 410952"/>
                  <a:gd name="connsiteX1318" fmla="*/ 509525 w 793427"/>
                  <a:gd name="connsiteY1318" fmla="*/ 349235 h 410952"/>
                  <a:gd name="connsiteX1319" fmla="*/ 512170 w 793427"/>
                  <a:gd name="connsiteY1319" fmla="*/ 349852 h 410952"/>
                  <a:gd name="connsiteX1320" fmla="*/ 513316 w 793427"/>
                  <a:gd name="connsiteY1320" fmla="*/ 353908 h 410952"/>
                  <a:gd name="connsiteX1321" fmla="*/ 513052 w 793427"/>
                  <a:gd name="connsiteY1321" fmla="*/ 357346 h 410952"/>
                  <a:gd name="connsiteX1322" fmla="*/ 513316 w 793427"/>
                  <a:gd name="connsiteY1322" fmla="*/ 357964 h 410952"/>
                  <a:gd name="connsiteX1323" fmla="*/ 515080 w 793427"/>
                  <a:gd name="connsiteY1323" fmla="*/ 357699 h 410952"/>
                  <a:gd name="connsiteX1324" fmla="*/ 515961 w 793427"/>
                  <a:gd name="connsiteY1324" fmla="*/ 355936 h 410952"/>
                  <a:gd name="connsiteX1325" fmla="*/ 516490 w 793427"/>
                  <a:gd name="connsiteY1325" fmla="*/ 357346 h 410952"/>
                  <a:gd name="connsiteX1326" fmla="*/ 514727 w 793427"/>
                  <a:gd name="connsiteY1326" fmla="*/ 360609 h 410952"/>
                  <a:gd name="connsiteX1327" fmla="*/ 511817 w 793427"/>
                  <a:gd name="connsiteY1327" fmla="*/ 360873 h 410952"/>
                  <a:gd name="connsiteX1328" fmla="*/ 510054 w 793427"/>
                  <a:gd name="connsiteY1328" fmla="*/ 359110 h 410952"/>
                  <a:gd name="connsiteX1329" fmla="*/ 505645 w 793427"/>
                  <a:gd name="connsiteY1329" fmla="*/ 360256 h 410952"/>
                  <a:gd name="connsiteX1330" fmla="*/ 506174 w 793427"/>
                  <a:gd name="connsiteY1330" fmla="*/ 361138 h 410952"/>
                  <a:gd name="connsiteX1331" fmla="*/ 510230 w 793427"/>
                  <a:gd name="connsiteY1331" fmla="*/ 361755 h 410952"/>
                  <a:gd name="connsiteX1332" fmla="*/ 510848 w 793427"/>
                  <a:gd name="connsiteY1332" fmla="*/ 362637 h 410952"/>
                  <a:gd name="connsiteX1333" fmla="*/ 508555 w 793427"/>
                  <a:gd name="connsiteY1333" fmla="*/ 362989 h 410952"/>
                  <a:gd name="connsiteX1334" fmla="*/ 506792 w 793427"/>
                  <a:gd name="connsiteY1334" fmla="*/ 361843 h 410952"/>
                  <a:gd name="connsiteX1335" fmla="*/ 503618 w 793427"/>
                  <a:gd name="connsiteY1335" fmla="*/ 362372 h 410952"/>
                  <a:gd name="connsiteX1336" fmla="*/ 500443 w 793427"/>
                  <a:gd name="connsiteY1336" fmla="*/ 363518 h 410952"/>
                  <a:gd name="connsiteX1337" fmla="*/ 499297 w 793427"/>
                  <a:gd name="connsiteY1337" fmla="*/ 362901 h 410952"/>
                  <a:gd name="connsiteX1338" fmla="*/ 498768 w 793427"/>
                  <a:gd name="connsiteY1338" fmla="*/ 361402 h 410952"/>
                  <a:gd name="connsiteX1339" fmla="*/ 499914 w 793427"/>
                  <a:gd name="connsiteY1339" fmla="*/ 358228 h 410952"/>
                  <a:gd name="connsiteX1340" fmla="*/ 499297 w 793427"/>
                  <a:gd name="connsiteY1340" fmla="*/ 356465 h 410952"/>
                  <a:gd name="connsiteX1341" fmla="*/ 496123 w 793427"/>
                  <a:gd name="connsiteY1341" fmla="*/ 361402 h 410952"/>
                  <a:gd name="connsiteX1342" fmla="*/ 493743 w 793427"/>
                  <a:gd name="connsiteY1342" fmla="*/ 363166 h 410952"/>
                  <a:gd name="connsiteX1343" fmla="*/ 490833 w 793427"/>
                  <a:gd name="connsiteY1343" fmla="*/ 362901 h 410952"/>
                  <a:gd name="connsiteX1344" fmla="*/ 489687 w 793427"/>
                  <a:gd name="connsiteY1344" fmla="*/ 363166 h 410952"/>
                  <a:gd name="connsiteX1345" fmla="*/ 487395 w 793427"/>
                  <a:gd name="connsiteY1345" fmla="*/ 364929 h 410952"/>
                  <a:gd name="connsiteX1346" fmla="*/ 486777 w 793427"/>
                  <a:gd name="connsiteY1346" fmla="*/ 364312 h 410952"/>
                  <a:gd name="connsiteX1347" fmla="*/ 485896 w 793427"/>
                  <a:gd name="connsiteY1347" fmla="*/ 365194 h 410952"/>
                  <a:gd name="connsiteX1348" fmla="*/ 484750 w 793427"/>
                  <a:gd name="connsiteY1348" fmla="*/ 366075 h 410952"/>
                  <a:gd name="connsiteX1349" fmla="*/ 482986 w 793427"/>
                  <a:gd name="connsiteY1349" fmla="*/ 367222 h 410952"/>
                  <a:gd name="connsiteX1350" fmla="*/ 481223 w 793427"/>
                  <a:gd name="connsiteY1350" fmla="*/ 367222 h 410952"/>
                  <a:gd name="connsiteX1351" fmla="*/ 476550 w 793427"/>
                  <a:gd name="connsiteY1351" fmla="*/ 367486 h 410952"/>
                  <a:gd name="connsiteX1352" fmla="*/ 473640 w 793427"/>
                  <a:gd name="connsiteY1352" fmla="*/ 366869 h 410952"/>
                  <a:gd name="connsiteX1353" fmla="*/ 469937 w 793427"/>
                  <a:gd name="connsiteY1353" fmla="*/ 369249 h 410952"/>
                  <a:gd name="connsiteX1354" fmla="*/ 719630 w 793427"/>
                  <a:gd name="connsiteY1354" fmla="*/ 341565 h 410952"/>
                  <a:gd name="connsiteX1355" fmla="*/ 714957 w 793427"/>
                  <a:gd name="connsiteY1355" fmla="*/ 340066 h 410952"/>
                  <a:gd name="connsiteX1356" fmla="*/ 713547 w 793427"/>
                  <a:gd name="connsiteY1356" fmla="*/ 338038 h 410952"/>
                  <a:gd name="connsiteX1357" fmla="*/ 714428 w 793427"/>
                  <a:gd name="connsiteY1357" fmla="*/ 337773 h 410952"/>
                  <a:gd name="connsiteX1358" fmla="*/ 721129 w 793427"/>
                  <a:gd name="connsiteY1358" fmla="*/ 338655 h 410952"/>
                  <a:gd name="connsiteX1359" fmla="*/ 721746 w 793427"/>
                  <a:gd name="connsiteY1359" fmla="*/ 338919 h 410952"/>
                  <a:gd name="connsiteX1360" fmla="*/ 719630 w 793427"/>
                  <a:gd name="connsiteY1360" fmla="*/ 341565 h 410952"/>
                  <a:gd name="connsiteX1361" fmla="*/ 629522 w 793427"/>
                  <a:gd name="connsiteY1361" fmla="*/ 353203 h 410952"/>
                  <a:gd name="connsiteX1362" fmla="*/ 628905 w 793427"/>
                  <a:gd name="connsiteY1362" fmla="*/ 352321 h 410952"/>
                  <a:gd name="connsiteX1363" fmla="*/ 631285 w 793427"/>
                  <a:gd name="connsiteY1363" fmla="*/ 348794 h 410952"/>
                  <a:gd name="connsiteX1364" fmla="*/ 633313 w 793427"/>
                  <a:gd name="connsiteY1364" fmla="*/ 347648 h 410952"/>
                  <a:gd name="connsiteX1365" fmla="*/ 632167 w 793427"/>
                  <a:gd name="connsiteY1365" fmla="*/ 347648 h 410952"/>
                  <a:gd name="connsiteX1366" fmla="*/ 630668 w 793427"/>
                  <a:gd name="connsiteY1366" fmla="*/ 348794 h 410952"/>
                  <a:gd name="connsiteX1367" fmla="*/ 630051 w 793427"/>
                  <a:gd name="connsiteY1367" fmla="*/ 348177 h 410952"/>
                  <a:gd name="connsiteX1368" fmla="*/ 631814 w 793427"/>
                  <a:gd name="connsiteY1368" fmla="*/ 345267 h 410952"/>
                  <a:gd name="connsiteX1369" fmla="*/ 634107 w 793427"/>
                  <a:gd name="connsiteY1369" fmla="*/ 345267 h 410952"/>
                  <a:gd name="connsiteX1370" fmla="*/ 634371 w 793427"/>
                  <a:gd name="connsiteY1370" fmla="*/ 346766 h 410952"/>
                  <a:gd name="connsiteX1371" fmla="*/ 645128 w 793427"/>
                  <a:gd name="connsiteY1371" fmla="*/ 345620 h 410952"/>
                  <a:gd name="connsiteX1372" fmla="*/ 646274 w 793427"/>
                  <a:gd name="connsiteY1372" fmla="*/ 347648 h 410952"/>
                  <a:gd name="connsiteX1373" fmla="*/ 646274 w 793427"/>
                  <a:gd name="connsiteY1373" fmla="*/ 349940 h 410952"/>
                  <a:gd name="connsiteX1374" fmla="*/ 645128 w 793427"/>
                  <a:gd name="connsiteY1374" fmla="*/ 350822 h 410952"/>
                  <a:gd name="connsiteX1375" fmla="*/ 632872 w 793427"/>
                  <a:gd name="connsiteY1375" fmla="*/ 352850 h 410952"/>
                  <a:gd name="connsiteX1376" fmla="*/ 632343 w 793427"/>
                  <a:gd name="connsiteY1376" fmla="*/ 352586 h 410952"/>
                  <a:gd name="connsiteX1377" fmla="*/ 629522 w 793427"/>
                  <a:gd name="connsiteY1377" fmla="*/ 353203 h 410952"/>
                  <a:gd name="connsiteX1378" fmla="*/ 608803 w 793427"/>
                  <a:gd name="connsiteY1378" fmla="*/ 356641 h 410952"/>
                  <a:gd name="connsiteX1379" fmla="*/ 604658 w 793427"/>
                  <a:gd name="connsiteY1379" fmla="*/ 355495 h 410952"/>
                  <a:gd name="connsiteX1380" fmla="*/ 605276 w 793427"/>
                  <a:gd name="connsiteY1380" fmla="*/ 354084 h 410952"/>
                  <a:gd name="connsiteX1381" fmla="*/ 610213 w 793427"/>
                  <a:gd name="connsiteY1381" fmla="*/ 350910 h 410952"/>
                  <a:gd name="connsiteX1382" fmla="*/ 609596 w 793427"/>
                  <a:gd name="connsiteY1382" fmla="*/ 349764 h 410952"/>
                  <a:gd name="connsiteX1383" fmla="*/ 607568 w 793427"/>
                  <a:gd name="connsiteY1383" fmla="*/ 349764 h 410952"/>
                  <a:gd name="connsiteX1384" fmla="*/ 608714 w 793427"/>
                  <a:gd name="connsiteY1384" fmla="*/ 348618 h 410952"/>
                  <a:gd name="connsiteX1385" fmla="*/ 611888 w 793427"/>
                  <a:gd name="connsiteY1385" fmla="*/ 348001 h 410952"/>
                  <a:gd name="connsiteX1386" fmla="*/ 610654 w 793427"/>
                  <a:gd name="connsiteY1386" fmla="*/ 350646 h 410952"/>
                  <a:gd name="connsiteX1387" fmla="*/ 611536 w 793427"/>
                  <a:gd name="connsiteY1387" fmla="*/ 351263 h 410952"/>
                  <a:gd name="connsiteX1388" fmla="*/ 612682 w 793427"/>
                  <a:gd name="connsiteY1388" fmla="*/ 351263 h 410952"/>
                  <a:gd name="connsiteX1389" fmla="*/ 612946 w 793427"/>
                  <a:gd name="connsiteY1389" fmla="*/ 348089 h 410952"/>
                  <a:gd name="connsiteX1390" fmla="*/ 614092 w 793427"/>
                  <a:gd name="connsiteY1390" fmla="*/ 347472 h 410952"/>
                  <a:gd name="connsiteX1391" fmla="*/ 614092 w 793427"/>
                  <a:gd name="connsiteY1391" fmla="*/ 348353 h 410952"/>
                  <a:gd name="connsiteX1392" fmla="*/ 616737 w 793427"/>
                  <a:gd name="connsiteY1392" fmla="*/ 346590 h 410952"/>
                  <a:gd name="connsiteX1393" fmla="*/ 619912 w 793427"/>
                  <a:gd name="connsiteY1393" fmla="*/ 347736 h 410952"/>
                  <a:gd name="connsiteX1394" fmla="*/ 619912 w 793427"/>
                  <a:gd name="connsiteY1394" fmla="*/ 348618 h 410952"/>
                  <a:gd name="connsiteX1395" fmla="*/ 615503 w 793427"/>
                  <a:gd name="connsiteY1395" fmla="*/ 351528 h 410952"/>
                  <a:gd name="connsiteX1396" fmla="*/ 614621 w 793427"/>
                  <a:gd name="connsiteY1396" fmla="*/ 352674 h 410952"/>
                  <a:gd name="connsiteX1397" fmla="*/ 613475 w 793427"/>
                  <a:gd name="connsiteY1397" fmla="*/ 352145 h 410952"/>
                  <a:gd name="connsiteX1398" fmla="*/ 612065 w 793427"/>
                  <a:gd name="connsiteY1398" fmla="*/ 353644 h 410952"/>
                  <a:gd name="connsiteX1399" fmla="*/ 612594 w 793427"/>
                  <a:gd name="connsiteY1399" fmla="*/ 355407 h 410952"/>
                  <a:gd name="connsiteX1400" fmla="*/ 612065 w 793427"/>
                  <a:gd name="connsiteY1400" fmla="*/ 356288 h 410952"/>
                  <a:gd name="connsiteX1401" fmla="*/ 611448 w 793427"/>
                  <a:gd name="connsiteY1401" fmla="*/ 356288 h 410952"/>
                  <a:gd name="connsiteX1402" fmla="*/ 610301 w 793427"/>
                  <a:gd name="connsiteY1402" fmla="*/ 355142 h 410952"/>
                  <a:gd name="connsiteX1403" fmla="*/ 608803 w 793427"/>
                  <a:gd name="connsiteY1403" fmla="*/ 356641 h 410952"/>
                  <a:gd name="connsiteX1404" fmla="*/ 623967 w 793427"/>
                  <a:gd name="connsiteY1404" fmla="*/ 355495 h 410952"/>
                  <a:gd name="connsiteX1405" fmla="*/ 622821 w 793427"/>
                  <a:gd name="connsiteY1405" fmla="*/ 355495 h 410952"/>
                  <a:gd name="connsiteX1406" fmla="*/ 622204 w 793427"/>
                  <a:gd name="connsiteY1406" fmla="*/ 353203 h 410952"/>
                  <a:gd name="connsiteX1407" fmla="*/ 621675 w 793427"/>
                  <a:gd name="connsiteY1407" fmla="*/ 352586 h 410952"/>
                  <a:gd name="connsiteX1408" fmla="*/ 620176 w 793427"/>
                  <a:gd name="connsiteY1408" fmla="*/ 353467 h 410952"/>
                  <a:gd name="connsiteX1409" fmla="*/ 619912 w 793427"/>
                  <a:gd name="connsiteY1409" fmla="*/ 352586 h 410952"/>
                  <a:gd name="connsiteX1410" fmla="*/ 621058 w 793427"/>
                  <a:gd name="connsiteY1410" fmla="*/ 350293 h 410952"/>
                  <a:gd name="connsiteX1411" fmla="*/ 622469 w 793427"/>
                  <a:gd name="connsiteY1411" fmla="*/ 349411 h 410952"/>
                  <a:gd name="connsiteX1412" fmla="*/ 623086 w 793427"/>
                  <a:gd name="connsiteY1412" fmla="*/ 349764 h 410952"/>
                  <a:gd name="connsiteX1413" fmla="*/ 623703 w 793427"/>
                  <a:gd name="connsiteY1413" fmla="*/ 351175 h 410952"/>
                  <a:gd name="connsiteX1414" fmla="*/ 627141 w 793427"/>
                  <a:gd name="connsiteY1414" fmla="*/ 346502 h 410952"/>
                  <a:gd name="connsiteX1415" fmla="*/ 628023 w 793427"/>
                  <a:gd name="connsiteY1415" fmla="*/ 347384 h 410952"/>
                  <a:gd name="connsiteX1416" fmla="*/ 628023 w 793427"/>
                  <a:gd name="connsiteY1416" fmla="*/ 349764 h 410952"/>
                  <a:gd name="connsiteX1417" fmla="*/ 625114 w 793427"/>
                  <a:gd name="connsiteY1417" fmla="*/ 354966 h 410952"/>
                  <a:gd name="connsiteX1418" fmla="*/ 623967 w 793427"/>
                  <a:gd name="connsiteY1418" fmla="*/ 355495 h 410952"/>
                  <a:gd name="connsiteX1419" fmla="*/ 454508 w 793427"/>
                  <a:gd name="connsiteY1419" fmla="*/ 364576 h 410952"/>
                  <a:gd name="connsiteX1420" fmla="*/ 452480 w 793427"/>
                  <a:gd name="connsiteY1420" fmla="*/ 364224 h 410952"/>
                  <a:gd name="connsiteX1421" fmla="*/ 448424 w 793427"/>
                  <a:gd name="connsiteY1421" fmla="*/ 363078 h 410952"/>
                  <a:gd name="connsiteX1422" fmla="*/ 447542 w 793427"/>
                  <a:gd name="connsiteY1422" fmla="*/ 363959 h 410952"/>
                  <a:gd name="connsiteX1423" fmla="*/ 446926 w 793427"/>
                  <a:gd name="connsiteY1423" fmla="*/ 364224 h 410952"/>
                  <a:gd name="connsiteX1424" fmla="*/ 444280 w 793427"/>
                  <a:gd name="connsiteY1424" fmla="*/ 362196 h 410952"/>
                  <a:gd name="connsiteX1425" fmla="*/ 443399 w 793427"/>
                  <a:gd name="connsiteY1425" fmla="*/ 362196 h 410952"/>
                  <a:gd name="connsiteX1426" fmla="*/ 443399 w 793427"/>
                  <a:gd name="connsiteY1426" fmla="*/ 360432 h 410952"/>
                  <a:gd name="connsiteX1427" fmla="*/ 444280 w 793427"/>
                  <a:gd name="connsiteY1427" fmla="*/ 359903 h 410952"/>
                  <a:gd name="connsiteX1428" fmla="*/ 445426 w 793427"/>
                  <a:gd name="connsiteY1428" fmla="*/ 361050 h 410952"/>
                  <a:gd name="connsiteX1429" fmla="*/ 447984 w 793427"/>
                  <a:gd name="connsiteY1429" fmla="*/ 360785 h 410952"/>
                  <a:gd name="connsiteX1430" fmla="*/ 448600 w 793427"/>
                  <a:gd name="connsiteY1430" fmla="*/ 357258 h 410952"/>
                  <a:gd name="connsiteX1431" fmla="*/ 447719 w 793427"/>
                  <a:gd name="connsiteY1431" fmla="*/ 353203 h 410952"/>
                  <a:gd name="connsiteX1432" fmla="*/ 452656 w 793427"/>
                  <a:gd name="connsiteY1432" fmla="*/ 348001 h 410952"/>
                  <a:gd name="connsiteX1433" fmla="*/ 454155 w 793427"/>
                  <a:gd name="connsiteY1433" fmla="*/ 347384 h 410952"/>
                  <a:gd name="connsiteX1434" fmla="*/ 456183 w 793427"/>
                  <a:gd name="connsiteY1434" fmla="*/ 347384 h 410952"/>
                  <a:gd name="connsiteX1435" fmla="*/ 461121 w 793427"/>
                  <a:gd name="connsiteY1435" fmla="*/ 349147 h 410952"/>
                  <a:gd name="connsiteX1436" fmla="*/ 462619 w 793427"/>
                  <a:gd name="connsiteY1436" fmla="*/ 350910 h 410952"/>
                  <a:gd name="connsiteX1437" fmla="*/ 461473 w 793427"/>
                  <a:gd name="connsiteY1437" fmla="*/ 355848 h 410952"/>
                  <a:gd name="connsiteX1438" fmla="*/ 457947 w 793427"/>
                  <a:gd name="connsiteY1438" fmla="*/ 362020 h 410952"/>
                  <a:gd name="connsiteX1439" fmla="*/ 457682 w 793427"/>
                  <a:gd name="connsiteY1439" fmla="*/ 363166 h 410952"/>
                  <a:gd name="connsiteX1440" fmla="*/ 459710 w 793427"/>
                  <a:gd name="connsiteY1440" fmla="*/ 363518 h 410952"/>
                  <a:gd name="connsiteX1441" fmla="*/ 459445 w 793427"/>
                  <a:gd name="connsiteY1441" fmla="*/ 364136 h 410952"/>
                  <a:gd name="connsiteX1442" fmla="*/ 457065 w 793427"/>
                  <a:gd name="connsiteY1442" fmla="*/ 364753 h 410952"/>
                  <a:gd name="connsiteX1443" fmla="*/ 457329 w 793427"/>
                  <a:gd name="connsiteY1443" fmla="*/ 362372 h 410952"/>
                  <a:gd name="connsiteX1444" fmla="*/ 456447 w 793427"/>
                  <a:gd name="connsiteY1444" fmla="*/ 362637 h 410952"/>
                  <a:gd name="connsiteX1445" fmla="*/ 454508 w 793427"/>
                  <a:gd name="connsiteY1445" fmla="*/ 364576 h 410952"/>
                  <a:gd name="connsiteX1446" fmla="*/ 454508 w 793427"/>
                  <a:gd name="connsiteY1446" fmla="*/ 364576 h 410952"/>
                  <a:gd name="connsiteX1447" fmla="*/ 452480 w 793427"/>
                  <a:gd name="connsiteY1447" fmla="*/ 364224 h 410952"/>
                  <a:gd name="connsiteX1448" fmla="*/ 448424 w 793427"/>
                  <a:gd name="connsiteY1448" fmla="*/ 363078 h 410952"/>
                  <a:gd name="connsiteX1449" fmla="*/ 447542 w 793427"/>
                  <a:gd name="connsiteY1449" fmla="*/ 363959 h 410952"/>
                  <a:gd name="connsiteX1450" fmla="*/ 446926 w 793427"/>
                  <a:gd name="connsiteY1450" fmla="*/ 364224 h 410952"/>
                  <a:gd name="connsiteX1451" fmla="*/ 444280 w 793427"/>
                  <a:gd name="connsiteY1451" fmla="*/ 362196 h 410952"/>
                  <a:gd name="connsiteX1452" fmla="*/ 443399 w 793427"/>
                  <a:gd name="connsiteY1452" fmla="*/ 362196 h 410952"/>
                  <a:gd name="connsiteX1453" fmla="*/ 443399 w 793427"/>
                  <a:gd name="connsiteY1453" fmla="*/ 360432 h 410952"/>
                  <a:gd name="connsiteX1454" fmla="*/ 444280 w 793427"/>
                  <a:gd name="connsiteY1454" fmla="*/ 359903 h 410952"/>
                  <a:gd name="connsiteX1455" fmla="*/ 445426 w 793427"/>
                  <a:gd name="connsiteY1455" fmla="*/ 361050 h 410952"/>
                  <a:gd name="connsiteX1456" fmla="*/ 447984 w 793427"/>
                  <a:gd name="connsiteY1456" fmla="*/ 360785 h 410952"/>
                  <a:gd name="connsiteX1457" fmla="*/ 448600 w 793427"/>
                  <a:gd name="connsiteY1457" fmla="*/ 357258 h 410952"/>
                  <a:gd name="connsiteX1458" fmla="*/ 447719 w 793427"/>
                  <a:gd name="connsiteY1458" fmla="*/ 353203 h 410952"/>
                  <a:gd name="connsiteX1459" fmla="*/ 452656 w 793427"/>
                  <a:gd name="connsiteY1459" fmla="*/ 348001 h 410952"/>
                  <a:gd name="connsiteX1460" fmla="*/ 454155 w 793427"/>
                  <a:gd name="connsiteY1460" fmla="*/ 347384 h 410952"/>
                  <a:gd name="connsiteX1461" fmla="*/ 456183 w 793427"/>
                  <a:gd name="connsiteY1461" fmla="*/ 347384 h 410952"/>
                  <a:gd name="connsiteX1462" fmla="*/ 461121 w 793427"/>
                  <a:gd name="connsiteY1462" fmla="*/ 349147 h 410952"/>
                  <a:gd name="connsiteX1463" fmla="*/ 462619 w 793427"/>
                  <a:gd name="connsiteY1463" fmla="*/ 350910 h 410952"/>
                  <a:gd name="connsiteX1464" fmla="*/ 461473 w 793427"/>
                  <a:gd name="connsiteY1464" fmla="*/ 355848 h 410952"/>
                  <a:gd name="connsiteX1465" fmla="*/ 457947 w 793427"/>
                  <a:gd name="connsiteY1465" fmla="*/ 362020 h 410952"/>
                  <a:gd name="connsiteX1466" fmla="*/ 457682 w 793427"/>
                  <a:gd name="connsiteY1466" fmla="*/ 363166 h 410952"/>
                  <a:gd name="connsiteX1467" fmla="*/ 459710 w 793427"/>
                  <a:gd name="connsiteY1467" fmla="*/ 363518 h 410952"/>
                  <a:gd name="connsiteX1468" fmla="*/ 459445 w 793427"/>
                  <a:gd name="connsiteY1468" fmla="*/ 364136 h 410952"/>
                  <a:gd name="connsiteX1469" fmla="*/ 457065 w 793427"/>
                  <a:gd name="connsiteY1469" fmla="*/ 364753 h 410952"/>
                  <a:gd name="connsiteX1470" fmla="*/ 457329 w 793427"/>
                  <a:gd name="connsiteY1470" fmla="*/ 362372 h 410952"/>
                  <a:gd name="connsiteX1471" fmla="*/ 456447 w 793427"/>
                  <a:gd name="connsiteY1471" fmla="*/ 362637 h 410952"/>
                  <a:gd name="connsiteX1472" fmla="*/ 454508 w 793427"/>
                  <a:gd name="connsiteY1472" fmla="*/ 364576 h 410952"/>
                  <a:gd name="connsiteX1473" fmla="*/ 247753 w 793427"/>
                  <a:gd name="connsiteY1473" fmla="*/ 216718 h 410952"/>
                  <a:gd name="connsiteX1474" fmla="*/ 245989 w 793427"/>
                  <a:gd name="connsiteY1474" fmla="*/ 213544 h 410952"/>
                  <a:gd name="connsiteX1475" fmla="*/ 235497 w 793427"/>
                  <a:gd name="connsiteY1475" fmla="*/ 208871 h 410952"/>
                  <a:gd name="connsiteX1476" fmla="*/ 234351 w 793427"/>
                  <a:gd name="connsiteY1476" fmla="*/ 205609 h 410952"/>
                  <a:gd name="connsiteX1477" fmla="*/ 235233 w 793427"/>
                  <a:gd name="connsiteY1477" fmla="*/ 201818 h 410952"/>
                  <a:gd name="connsiteX1478" fmla="*/ 234616 w 793427"/>
                  <a:gd name="connsiteY1478" fmla="*/ 200671 h 410952"/>
                  <a:gd name="connsiteX1479" fmla="*/ 232588 w 793427"/>
                  <a:gd name="connsiteY1479" fmla="*/ 199173 h 410952"/>
                  <a:gd name="connsiteX1480" fmla="*/ 231971 w 793427"/>
                  <a:gd name="connsiteY1480" fmla="*/ 193618 h 410952"/>
                  <a:gd name="connsiteX1481" fmla="*/ 229061 w 793427"/>
                  <a:gd name="connsiteY1481" fmla="*/ 192472 h 410952"/>
                  <a:gd name="connsiteX1482" fmla="*/ 227650 w 793427"/>
                  <a:gd name="connsiteY1482" fmla="*/ 192472 h 410952"/>
                  <a:gd name="connsiteX1483" fmla="*/ 227034 w 793427"/>
                  <a:gd name="connsiteY1483" fmla="*/ 191325 h 410952"/>
                  <a:gd name="connsiteX1484" fmla="*/ 221567 w 793427"/>
                  <a:gd name="connsiteY1484" fmla="*/ 192824 h 410952"/>
                  <a:gd name="connsiteX1485" fmla="*/ 220068 w 793427"/>
                  <a:gd name="connsiteY1485" fmla="*/ 191325 h 410952"/>
                  <a:gd name="connsiteX1486" fmla="*/ 217775 w 793427"/>
                  <a:gd name="connsiteY1486" fmla="*/ 191325 h 410952"/>
                  <a:gd name="connsiteX1487" fmla="*/ 217511 w 793427"/>
                  <a:gd name="connsiteY1487" fmla="*/ 188416 h 410952"/>
                  <a:gd name="connsiteX1488" fmla="*/ 223066 w 793427"/>
                  <a:gd name="connsiteY1488" fmla="*/ 185242 h 410952"/>
                  <a:gd name="connsiteX1489" fmla="*/ 223330 w 793427"/>
                  <a:gd name="connsiteY1489" fmla="*/ 184096 h 410952"/>
                  <a:gd name="connsiteX1490" fmla="*/ 222184 w 793427"/>
                  <a:gd name="connsiteY1490" fmla="*/ 181186 h 410952"/>
                  <a:gd name="connsiteX1491" fmla="*/ 224565 w 793427"/>
                  <a:gd name="connsiteY1491" fmla="*/ 178894 h 410952"/>
                  <a:gd name="connsiteX1492" fmla="*/ 227474 w 793427"/>
                  <a:gd name="connsiteY1492" fmla="*/ 178012 h 410952"/>
                  <a:gd name="connsiteX1493" fmla="*/ 228092 w 793427"/>
                  <a:gd name="connsiteY1493" fmla="*/ 178012 h 410952"/>
                  <a:gd name="connsiteX1494" fmla="*/ 228356 w 793427"/>
                  <a:gd name="connsiteY1494" fmla="*/ 180040 h 410952"/>
                  <a:gd name="connsiteX1495" fmla="*/ 230119 w 793427"/>
                  <a:gd name="connsiteY1495" fmla="*/ 181186 h 410952"/>
                  <a:gd name="connsiteX1496" fmla="*/ 228973 w 793427"/>
                  <a:gd name="connsiteY1496" fmla="*/ 182332 h 410952"/>
                  <a:gd name="connsiteX1497" fmla="*/ 229590 w 793427"/>
                  <a:gd name="connsiteY1497" fmla="*/ 183743 h 410952"/>
                  <a:gd name="connsiteX1498" fmla="*/ 232500 w 793427"/>
                  <a:gd name="connsiteY1498" fmla="*/ 184625 h 410952"/>
                  <a:gd name="connsiteX1499" fmla="*/ 230119 w 793427"/>
                  <a:gd name="connsiteY1499" fmla="*/ 177924 h 410952"/>
                  <a:gd name="connsiteX1500" fmla="*/ 234175 w 793427"/>
                  <a:gd name="connsiteY1500" fmla="*/ 177042 h 410952"/>
                  <a:gd name="connsiteX1501" fmla="*/ 237084 w 793427"/>
                  <a:gd name="connsiteY1501" fmla="*/ 179070 h 410952"/>
                  <a:gd name="connsiteX1502" fmla="*/ 238495 w 793427"/>
                  <a:gd name="connsiteY1502" fmla="*/ 183743 h 410952"/>
                  <a:gd name="connsiteX1503" fmla="*/ 240523 w 793427"/>
                  <a:gd name="connsiteY1503" fmla="*/ 186388 h 410952"/>
                  <a:gd name="connsiteX1504" fmla="*/ 240259 w 793427"/>
                  <a:gd name="connsiteY1504" fmla="*/ 190179 h 410952"/>
                  <a:gd name="connsiteX1505" fmla="*/ 241669 w 793427"/>
                  <a:gd name="connsiteY1505" fmla="*/ 197145 h 410952"/>
                  <a:gd name="connsiteX1506" fmla="*/ 243697 w 793427"/>
                  <a:gd name="connsiteY1506" fmla="*/ 200671 h 410952"/>
                  <a:gd name="connsiteX1507" fmla="*/ 245108 w 793427"/>
                  <a:gd name="connsiteY1507" fmla="*/ 201289 h 410952"/>
                  <a:gd name="connsiteX1508" fmla="*/ 251544 w 793427"/>
                  <a:gd name="connsiteY1508" fmla="*/ 202699 h 410952"/>
                  <a:gd name="connsiteX1509" fmla="*/ 254454 w 793427"/>
                  <a:gd name="connsiteY1509" fmla="*/ 203317 h 410952"/>
                  <a:gd name="connsiteX1510" fmla="*/ 254189 w 793427"/>
                  <a:gd name="connsiteY1510" fmla="*/ 203846 h 410952"/>
                  <a:gd name="connsiteX1511" fmla="*/ 252690 w 793427"/>
                  <a:gd name="connsiteY1511" fmla="*/ 204727 h 410952"/>
                  <a:gd name="connsiteX1512" fmla="*/ 251280 w 793427"/>
                  <a:gd name="connsiteY1512" fmla="*/ 206490 h 410952"/>
                  <a:gd name="connsiteX1513" fmla="*/ 249516 w 793427"/>
                  <a:gd name="connsiteY1513" fmla="*/ 211781 h 410952"/>
                  <a:gd name="connsiteX1514" fmla="*/ 249781 w 793427"/>
                  <a:gd name="connsiteY1514" fmla="*/ 212662 h 410952"/>
                  <a:gd name="connsiteX1515" fmla="*/ 252690 w 793427"/>
                  <a:gd name="connsiteY1515" fmla="*/ 214161 h 410952"/>
                  <a:gd name="connsiteX1516" fmla="*/ 252073 w 793427"/>
                  <a:gd name="connsiteY1516" fmla="*/ 216454 h 410952"/>
                  <a:gd name="connsiteX1517" fmla="*/ 247753 w 793427"/>
                  <a:gd name="connsiteY1517" fmla="*/ 216718 h 410952"/>
                  <a:gd name="connsiteX1518" fmla="*/ 615239 w 793427"/>
                  <a:gd name="connsiteY1518" fmla="*/ 346766 h 410952"/>
                  <a:gd name="connsiteX1519" fmla="*/ 615239 w 793427"/>
                  <a:gd name="connsiteY1519" fmla="*/ 345885 h 410952"/>
                  <a:gd name="connsiteX1520" fmla="*/ 616737 w 793427"/>
                  <a:gd name="connsiteY1520" fmla="*/ 343592 h 410952"/>
                  <a:gd name="connsiteX1521" fmla="*/ 620529 w 793427"/>
                  <a:gd name="connsiteY1521" fmla="*/ 342446 h 410952"/>
                  <a:gd name="connsiteX1522" fmla="*/ 622292 w 793427"/>
                  <a:gd name="connsiteY1522" fmla="*/ 343328 h 410952"/>
                  <a:gd name="connsiteX1523" fmla="*/ 622028 w 793427"/>
                  <a:gd name="connsiteY1523" fmla="*/ 345973 h 410952"/>
                  <a:gd name="connsiteX1524" fmla="*/ 621411 w 793427"/>
                  <a:gd name="connsiteY1524" fmla="*/ 346502 h 410952"/>
                  <a:gd name="connsiteX1525" fmla="*/ 615239 w 793427"/>
                  <a:gd name="connsiteY1525" fmla="*/ 346766 h 410952"/>
                  <a:gd name="connsiteX1526" fmla="*/ 542588 w 793427"/>
                  <a:gd name="connsiteY1526" fmla="*/ 402489 h 410952"/>
                  <a:gd name="connsiteX1527" fmla="*/ 538532 w 793427"/>
                  <a:gd name="connsiteY1527" fmla="*/ 400725 h 410952"/>
                  <a:gd name="connsiteX1528" fmla="*/ 536152 w 793427"/>
                  <a:gd name="connsiteY1528" fmla="*/ 400196 h 410952"/>
                  <a:gd name="connsiteX1529" fmla="*/ 528834 w 793427"/>
                  <a:gd name="connsiteY1529" fmla="*/ 392614 h 410952"/>
                  <a:gd name="connsiteX1530" fmla="*/ 525924 w 793427"/>
                  <a:gd name="connsiteY1530" fmla="*/ 391115 h 410952"/>
                  <a:gd name="connsiteX1531" fmla="*/ 524425 w 793427"/>
                  <a:gd name="connsiteY1531" fmla="*/ 389087 h 410952"/>
                  <a:gd name="connsiteX1532" fmla="*/ 513581 w 793427"/>
                  <a:gd name="connsiteY1532" fmla="*/ 387941 h 410952"/>
                  <a:gd name="connsiteX1533" fmla="*/ 511553 w 793427"/>
                  <a:gd name="connsiteY1533" fmla="*/ 387412 h 410952"/>
                  <a:gd name="connsiteX1534" fmla="*/ 508908 w 793427"/>
                  <a:gd name="connsiteY1534" fmla="*/ 383885 h 410952"/>
                  <a:gd name="connsiteX1535" fmla="*/ 510671 w 793427"/>
                  <a:gd name="connsiteY1535" fmla="*/ 381240 h 410952"/>
                  <a:gd name="connsiteX1536" fmla="*/ 511200 w 793427"/>
                  <a:gd name="connsiteY1536" fmla="*/ 380711 h 410952"/>
                  <a:gd name="connsiteX1537" fmla="*/ 517901 w 793427"/>
                  <a:gd name="connsiteY1537" fmla="*/ 379301 h 410952"/>
                  <a:gd name="connsiteX1538" fmla="*/ 528657 w 793427"/>
                  <a:gd name="connsiteY1538" fmla="*/ 379301 h 410952"/>
                  <a:gd name="connsiteX1539" fmla="*/ 530950 w 793427"/>
                  <a:gd name="connsiteY1539" fmla="*/ 377273 h 410952"/>
                  <a:gd name="connsiteX1540" fmla="*/ 534212 w 793427"/>
                  <a:gd name="connsiteY1540" fmla="*/ 381328 h 410952"/>
                  <a:gd name="connsiteX1541" fmla="*/ 537122 w 793427"/>
                  <a:gd name="connsiteY1541" fmla="*/ 382474 h 410952"/>
                  <a:gd name="connsiteX1542" fmla="*/ 539149 w 793427"/>
                  <a:gd name="connsiteY1542" fmla="*/ 386530 h 410952"/>
                  <a:gd name="connsiteX1543" fmla="*/ 542059 w 793427"/>
                  <a:gd name="connsiteY1543" fmla="*/ 385649 h 410952"/>
                  <a:gd name="connsiteX1544" fmla="*/ 545233 w 793427"/>
                  <a:gd name="connsiteY1544" fmla="*/ 388558 h 410952"/>
                  <a:gd name="connsiteX1545" fmla="*/ 546644 w 793427"/>
                  <a:gd name="connsiteY1545" fmla="*/ 392085 h 410952"/>
                  <a:gd name="connsiteX1546" fmla="*/ 549024 w 793427"/>
                  <a:gd name="connsiteY1546" fmla="*/ 393231 h 410952"/>
                  <a:gd name="connsiteX1547" fmla="*/ 550170 w 793427"/>
                  <a:gd name="connsiteY1547" fmla="*/ 394995 h 410952"/>
                  <a:gd name="connsiteX1548" fmla="*/ 550435 w 793427"/>
                  <a:gd name="connsiteY1548" fmla="*/ 396405 h 410952"/>
                  <a:gd name="connsiteX1549" fmla="*/ 547790 w 793427"/>
                  <a:gd name="connsiteY1549" fmla="*/ 399579 h 410952"/>
                  <a:gd name="connsiteX1550" fmla="*/ 542588 w 793427"/>
                  <a:gd name="connsiteY1550" fmla="*/ 402489 h 410952"/>
                  <a:gd name="connsiteX1551" fmla="*/ 645833 w 793427"/>
                  <a:gd name="connsiteY1551" fmla="*/ 189827 h 410952"/>
                  <a:gd name="connsiteX1552" fmla="*/ 643805 w 793427"/>
                  <a:gd name="connsiteY1552" fmla="*/ 186653 h 410952"/>
                  <a:gd name="connsiteX1553" fmla="*/ 644687 w 793427"/>
                  <a:gd name="connsiteY1553" fmla="*/ 181980 h 410952"/>
                  <a:gd name="connsiteX1554" fmla="*/ 645833 w 793427"/>
                  <a:gd name="connsiteY1554" fmla="*/ 181098 h 410952"/>
                  <a:gd name="connsiteX1555" fmla="*/ 649889 w 793427"/>
                  <a:gd name="connsiteY1555" fmla="*/ 180481 h 410952"/>
                  <a:gd name="connsiteX1556" fmla="*/ 658617 w 793427"/>
                  <a:gd name="connsiteY1556" fmla="*/ 182509 h 410952"/>
                  <a:gd name="connsiteX1557" fmla="*/ 660117 w 793427"/>
                  <a:gd name="connsiteY1557" fmla="*/ 183655 h 410952"/>
                  <a:gd name="connsiteX1558" fmla="*/ 660734 w 793427"/>
                  <a:gd name="connsiteY1558" fmla="*/ 183038 h 410952"/>
                  <a:gd name="connsiteX1559" fmla="*/ 660998 w 793427"/>
                  <a:gd name="connsiteY1559" fmla="*/ 181891 h 410952"/>
                  <a:gd name="connsiteX1560" fmla="*/ 662762 w 793427"/>
                  <a:gd name="connsiteY1560" fmla="*/ 182420 h 410952"/>
                  <a:gd name="connsiteX1561" fmla="*/ 662762 w 793427"/>
                  <a:gd name="connsiteY1561" fmla="*/ 184184 h 410952"/>
                  <a:gd name="connsiteX1562" fmla="*/ 663643 w 793427"/>
                  <a:gd name="connsiteY1562" fmla="*/ 183567 h 410952"/>
                  <a:gd name="connsiteX1563" fmla="*/ 663996 w 793427"/>
                  <a:gd name="connsiteY1563" fmla="*/ 182685 h 410952"/>
                  <a:gd name="connsiteX1564" fmla="*/ 664878 w 793427"/>
                  <a:gd name="connsiteY1564" fmla="*/ 182685 h 410952"/>
                  <a:gd name="connsiteX1565" fmla="*/ 665759 w 793427"/>
                  <a:gd name="connsiteY1565" fmla="*/ 186476 h 410952"/>
                  <a:gd name="connsiteX1566" fmla="*/ 659940 w 793427"/>
                  <a:gd name="connsiteY1566" fmla="*/ 186741 h 410952"/>
                  <a:gd name="connsiteX1567" fmla="*/ 658794 w 793427"/>
                  <a:gd name="connsiteY1567" fmla="*/ 187887 h 410952"/>
                  <a:gd name="connsiteX1568" fmla="*/ 655620 w 793427"/>
                  <a:gd name="connsiteY1568" fmla="*/ 186741 h 410952"/>
                  <a:gd name="connsiteX1569" fmla="*/ 645833 w 793427"/>
                  <a:gd name="connsiteY1569" fmla="*/ 189827 h 410952"/>
                  <a:gd name="connsiteX1570" fmla="*/ 570273 w 793427"/>
                  <a:gd name="connsiteY1570" fmla="*/ 408573 h 410952"/>
                  <a:gd name="connsiteX1571" fmla="*/ 567363 w 793427"/>
                  <a:gd name="connsiteY1571" fmla="*/ 408573 h 410952"/>
                  <a:gd name="connsiteX1572" fmla="*/ 566217 w 793427"/>
                  <a:gd name="connsiteY1572" fmla="*/ 407691 h 410952"/>
                  <a:gd name="connsiteX1573" fmla="*/ 567099 w 793427"/>
                  <a:gd name="connsiteY1573" fmla="*/ 406809 h 410952"/>
                  <a:gd name="connsiteX1574" fmla="*/ 570890 w 793427"/>
                  <a:gd name="connsiteY1574" fmla="*/ 403900 h 410952"/>
                  <a:gd name="connsiteX1575" fmla="*/ 572918 w 793427"/>
                  <a:gd name="connsiteY1575" fmla="*/ 404429 h 410952"/>
                  <a:gd name="connsiteX1576" fmla="*/ 572918 w 793427"/>
                  <a:gd name="connsiteY1576" fmla="*/ 406192 h 410952"/>
                  <a:gd name="connsiteX1577" fmla="*/ 570273 w 793427"/>
                  <a:gd name="connsiteY1577" fmla="*/ 408573 h 410952"/>
                  <a:gd name="connsiteX1578" fmla="*/ 598928 w 793427"/>
                  <a:gd name="connsiteY1578" fmla="*/ 410953 h 410952"/>
                  <a:gd name="connsiteX1579" fmla="*/ 598663 w 793427"/>
                  <a:gd name="connsiteY1579" fmla="*/ 410336 h 410952"/>
                  <a:gd name="connsiteX1580" fmla="*/ 598134 w 793427"/>
                  <a:gd name="connsiteY1580" fmla="*/ 407426 h 410952"/>
                  <a:gd name="connsiteX1581" fmla="*/ 599280 w 793427"/>
                  <a:gd name="connsiteY1581" fmla="*/ 406809 h 410952"/>
                  <a:gd name="connsiteX1582" fmla="*/ 605981 w 793427"/>
                  <a:gd name="connsiteY1582" fmla="*/ 403635 h 410952"/>
                  <a:gd name="connsiteX1583" fmla="*/ 607480 w 793427"/>
                  <a:gd name="connsiteY1583" fmla="*/ 401254 h 410952"/>
                  <a:gd name="connsiteX1584" fmla="*/ 610742 w 793427"/>
                  <a:gd name="connsiteY1584" fmla="*/ 398609 h 410952"/>
                  <a:gd name="connsiteX1585" fmla="*/ 611007 w 793427"/>
                  <a:gd name="connsiteY1585" fmla="*/ 399756 h 410952"/>
                  <a:gd name="connsiteX1586" fmla="*/ 610125 w 793427"/>
                  <a:gd name="connsiteY1586" fmla="*/ 402665 h 410952"/>
                  <a:gd name="connsiteX1587" fmla="*/ 611271 w 793427"/>
                  <a:gd name="connsiteY1587" fmla="*/ 402665 h 410952"/>
                  <a:gd name="connsiteX1588" fmla="*/ 611888 w 793427"/>
                  <a:gd name="connsiteY1588" fmla="*/ 403194 h 410952"/>
                  <a:gd name="connsiteX1589" fmla="*/ 611271 w 793427"/>
                  <a:gd name="connsiteY1589" fmla="*/ 404605 h 410952"/>
                  <a:gd name="connsiteX1590" fmla="*/ 610125 w 793427"/>
                  <a:gd name="connsiteY1590" fmla="*/ 404605 h 410952"/>
                  <a:gd name="connsiteX1591" fmla="*/ 604306 w 793427"/>
                  <a:gd name="connsiteY1591" fmla="*/ 408749 h 410952"/>
                  <a:gd name="connsiteX1592" fmla="*/ 601661 w 793427"/>
                  <a:gd name="connsiteY1592" fmla="*/ 409278 h 410952"/>
                  <a:gd name="connsiteX1593" fmla="*/ 601661 w 793427"/>
                  <a:gd name="connsiteY1593" fmla="*/ 410159 h 410952"/>
                  <a:gd name="connsiteX1594" fmla="*/ 598928 w 793427"/>
                  <a:gd name="connsiteY1594" fmla="*/ 410953 h 410952"/>
                  <a:gd name="connsiteX1595" fmla="*/ 666288 w 793427"/>
                  <a:gd name="connsiteY1595" fmla="*/ 343240 h 410952"/>
                  <a:gd name="connsiteX1596" fmla="*/ 665936 w 793427"/>
                  <a:gd name="connsiteY1596" fmla="*/ 343240 h 410952"/>
                  <a:gd name="connsiteX1597" fmla="*/ 666553 w 793427"/>
                  <a:gd name="connsiteY1597" fmla="*/ 339448 h 410952"/>
                  <a:gd name="connsiteX1598" fmla="*/ 670344 w 793427"/>
                  <a:gd name="connsiteY1598" fmla="*/ 334511 h 410952"/>
                  <a:gd name="connsiteX1599" fmla="*/ 674664 w 793427"/>
                  <a:gd name="connsiteY1599" fmla="*/ 336010 h 410952"/>
                  <a:gd name="connsiteX1600" fmla="*/ 684539 w 793427"/>
                  <a:gd name="connsiteY1600" fmla="*/ 333100 h 410952"/>
                  <a:gd name="connsiteX1601" fmla="*/ 686567 w 793427"/>
                  <a:gd name="connsiteY1601" fmla="*/ 334864 h 410952"/>
                  <a:gd name="connsiteX1602" fmla="*/ 688330 w 793427"/>
                  <a:gd name="connsiteY1602" fmla="*/ 334864 h 410952"/>
                  <a:gd name="connsiteX1603" fmla="*/ 688947 w 793427"/>
                  <a:gd name="connsiteY1603" fmla="*/ 336627 h 410952"/>
                  <a:gd name="connsiteX1604" fmla="*/ 688683 w 793427"/>
                  <a:gd name="connsiteY1604" fmla="*/ 337244 h 410952"/>
                  <a:gd name="connsiteX1605" fmla="*/ 686391 w 793427"/>
                  <a:gd name="connsiteY1605" fmla="*/ 336980 h 410952"/>
                  <a:gd name="connsiteX1606" fmla="*/ 683128 w 793427"/>
                  <a:gd name="connsiteY1606" fmla="*/ 338479 h 410952"/>
                  <a:gd name="connsiteX1607" fmla="*/ 681101 w 793427"/>
                  <a:gd name="connsiteY1607" fmla="*/ 342270 h 410952"/>
                  <a:gd name="connsiteX1608" fmla="*/ 672372 w 793427"/>
                  <a:gd name="connsiteY1608" fmla="*/ 340242 h 410952"/>
                  <a:gd name="connsiteX1609" fmla="*/ 668580 w 793427"/>
                  <a:gd name="connsiteY1609" fmla="*/ 341741 h 410952"/>
                  <a:gd name="connsiteX1610" fmla="*/ 666288 w 793427"/>
                  <a:gd name="connsiteY1610" fmla="*/ 343240 h 410952"/>
                  <a:gd name="connsiteX1611" fmla="*/ 747668 w 793427"/>
                  <a:gd name="connsiteY1611" fmla="*/ 343857 h 410952"/>
                  <a:gd name="connsiteX1612" fmla="*/ 745904 w 793427"/>
                  <a:gd name="connsiteY1612" fmla="*/ 343592 h 410952"/>
                  <a:gd name="connsiteX1613" fmla="*/ 743259 w 793427"/>
                  <a:gd name="connsiteY1613" fmla="*/ 340066 h 410952"/>
                  <a:gd name="connsiteX1614" fmla="*/ 743524 w 793427"/>
                  <a:gd name="connsiteY1614" fmla="*/ 338038 h 410952"/>
                  <a:gd name="connsiteX1615" fmla="*/ 744406 w 793427"/>
                  <a:gd name="connsiteY1615" fmla="*/ 337509 h 410952"/>
                  <a:gd name="connsiteX1616" fmla="*/ 748197 w 793427"/>
                  <a:gd name="connsiteY1616" fmla="*/ 338038 h 410952"/>
                  <a:gd name="connsiteX1617" fmla="*/ 749343 w 793427"/>
                  <a:gd name="connsiteY1617" fmla="*/ 340066 h 410952"/>
                  <a:gd name="connsiteX1618" fmla="*/ 749343 w 793427"/>
                  <a:gd name="connsiteY1618" fmla="*/ 340947 h 410952"/>
                  <a:gd name="connsiteX1619" fmla="*/ 747668 w 793427"/>
                  <a:gd name="connsiteY1619" fmla="*/ 343857 h 410952"/>
                  <a:gd name="connsiteX1620" fmla="*/ 681982 w 793427"/>
                  <a:gd name="connsiteY1620" fmla="*/ 201200 h 410952"/>
                  <a:gd name="connsiteX1621" fmla="*/ 680484 w 793427"/>
                  <a:gd name="connsiteY1621" fmla="*/ 200936 h 410952"/>
                  <a:gd name="connsiteX1622" fmla="*/ 679601 w 793427"/>
                  <a:gd name="connsiteY1622" fmla="*/ 199437 h 410952"/>
                  <a:gd name="connsiteX1623" fmla="*/ 677221 w 793427"/>
                  <a:gd name="connsiteY1623" fmla="*/ 191590 h 410952"/>
                  <a:gd name="connsiteX1624" fmla="*/ 677838 w 793427"/>
                  <a:gd name="connsiteY1624" fmla="*/ 189298 h 410952"/>
                  <a:gd name="connsiteX1625" fmla="*/ 679337 w 793427"/>
                  <a:gd name="connsiteY1625" fmla="*/ 189033 h 410952"/>
                  <a:gd name="connsiteX1626" fmla="*/ 680219 w 793427"/>
                  <a:gd name="connsiteY1626" fmla="*/ 189915 h 410952"/>
                  <a:gd name="connsiteX1627" fmla="*/ 679601 w 793427"/>
                  <a:gd name="connsiteY1627" fmla="*/ 193441 h 410952"/>
                  <a:gd name="connsiteX1628" fmla="*/ 682246 w 793427"/>
                  <a:gd name="connsiteY1628" fmla="*/ 199878 h 410952"/>
                  <a:gd name="connsiteX1629" fmla="*/ 681982 w 793427"/>
                  <a:gd name="connsiteY1629" fmla="*/ 201200 h 410952"/>
                  <a:gd name="connsiteX1630" fmla="*/ 427704 w 793427"/>
                  <a:gd name="connsiteY1630" fmla="*/ 362813 h 410952"/>
                  <a:gd name="connsiteX1631" fmla="*/ 426823 w 793427"/>
                  <a:gd name="connsiteY1631" fmla="*/ 362460 h 410952"/>
                  <a:gd name="connsiteX1632" fmla="*/ 427704 w 793427"/>
                  <a:gd name="connsiteY1632" fmla="*/ 361314 h 410952"/>
                  <a:gd name="connsiteX1633" fmla="*/ 428586 w 793427"/>
                  <a:gd name="connsiteY1633" fmla="*/ 361050 h 410952"/>
                  <a:gd name="connsiteX1634" fmla="*/ 428851 w 793427"/>
                  <a:gd name="connsiteY1634" fmla="*/ 359639 h 410952"/>
                  <a:gd name="connsiteX1635" fmla="*/ 426558 w 793427"/>
                  <a:gd name="connsiteY1635" fmla="*/ 356465 h 410952"/>
                  <a:gd name="connsiteX1636" fmla="*/ 425412 w 793427"/>
                  <a:gd name="connsiteY1636" fmla="*/ 356200 h 410952"/>
                  <a:gd name="connsiteX1637" fmla="*/ 421885 w 793427"/>
                  <a:gd name="connsiteY1637" fmla="*/ 354173 h 410952"/>
                  <a:gd name="connsiteX1638" fmla="*/ 423032 w 793427"/>
                  <a:gd name="connsiteY1638" fmla="*/ 354173 h 410952"/>
                  <a:gd name="connsiteX1639" fmla="*/ 422414 w 793427"/>
                  <a:gd name="connsiteY1639" fmla="*/ 353026 h 410952"/>
                  <a:gd name="connsiteX1640" fmla="*/ 418623 w 793427"/>
                  <a:gd name="connsiteY1640" fmla="*/ 351880 h 410952"/>
                  <a:gd name="connsiteX1641" fmla="*/ 416243 w 793427"/>
                  <a:gd name="connsiteY1641" fmla="*/ 351616 h 410952"/>
                  <a:gd name="connsiteX1642" fmla="*/ 413333 w 793427"/>
                  <a:gd name="connsiteY1642" fmla="*/ 347207 h 410952"/>
                  <a:gd name="connsiteX1643" fmla="*/ 412804 w 793427"/>
                  <a:gd name="connsiteY1643" fmla="*/ 344562 h 410952"/>
                  <a:gd name="connsiteX1644" fmla="*/ 413333 w 793427"/>
                  <a:gd name="connsiteY1644" fmla="*/ 344298 h 410952"/>
                  <a:gd name="connsiteX1645" fmla="*/ 421533 w 793427"/>
                  <a:gd name="connsiteY1645" fmla="*/ 346943 h 410952"/>
                  <a:gd name="connsiteX1646" fmla="*/ 424707 w 793427"/>
                  <a:gd name="connsiteY1646" fmla="*/ 346678 h 410952"/>
                  <a:gd name="connsiteX1647" fmla="*/ 427881 w 793427"/>
                  <a:gd name="connsiteY1647" fmla="*/ 345532 h 410952"/>
                  <a:gd name="connsiteX1648" fmla="*/ 428233 w 793427"/>
                  <a:gd name="connsiteY1648" fmla="*/ 343769 h 410952"/>
                  <a:gd name="connsiteX1649" fmla="*/ 431760 w 793427"/>
                  <a:gd name="connsiteY1649" fmla="*/ 345179 h 410952"/>
                  <a:gd name="connsiteX1650" fmla="*/ 432642 w 793427"/>
                  <a:gd name="connsiteY1650" fmla="*/ 344827 h 410952"/>
                  <a:gd name="connsiteX1651" fmla="*/ 435551 w 793427"/>
                  <a:gd name="connsiteY1651" fmla="*/ 346325 h 410952"/>
                  <a:gd name="connsiteX1652" fmla="*/ 436962 w 793427"/>
                  <a:gd name="connsiteY1652" fmla="*/ 349500 h 410952"/>
                  <a:gd name="connsiteX1653" fmla="*/ 437844 w 793427"/>
                  <a:gd name="connsiteY1653" fmla="*/ 348353 h 410952"/>
                  <a:gd name="connsiteX1654" fmla="*/ 440489 w 793427"/>
                  <a:gd name="connsiteY1654" fmla="*/ 350999 h 410952"/>
                  <a:gd name="connsiteX1655" fmla="*/ 440489 w 793427"/>
                  <a:gd name="connsiteY1655" fmla="*/ 351880 h 410952"/>
                  <a:gd name="connsiteX1656" fmla="*/ 438196 w 793427"/>
                  <a:gd name="connsiteY1656" fmla="*/ 354261 h 410952"/>
                  <a:gd name="connsiteX1657" fmla="*/ 436433 w 793427"/>
                  <a:gd name="connsiteY1657" fmla="*/ 356553 h 410952"/>
                  <a:gd name="connsiteX1658" fmla="*/ 434053 w 793427"/>
                  <a:gd name="connsiteY1658" fmla="*/ 357170 h 410952"/>
                  <a:gd name="connsiteX1659" fmla="*/ 432289 w 793427"/>
                  <a:gd name="connsiteY1659" fmla="*/ 357170 h 410952"/>
                  <a:gd name="connsiteX1660" fmla="*/ 429380 w 793427"/>
                  <a:gd name="connsiteY1660" fmla="*/ 360080 h 410952"/>
                  <a:gd name="connsiteX1661" fmla="*/ 430262 w 793427"/>
                  <a:gd name="connsiteY1661" fmla="*/ 361843 h 410952"/>
                  <a:gd name="connsiteX1662" fmla="*/ 429380 w 793427"/>
                  <a:gd name="connsiteY1662" fmla="*/ 362725 h 410952"/>
                  <a:gd name="connsiteX1663" fmla="*/ 427704 w 793427"/>
                  <a:gd name="connsiteY1663" fmla="*/ 362813 h 410952"/>
                  <a:gd name="connsiteX1664" fmla="*/ 312469 w 793427"/>
                  <a:gd name="connsiteY1664" fmla="*/ 174397 h 410952"/>
                  <a:gd name="connsiteX1665" fmla="*/ 310705 w 793427"/>
                  <a:gd name="connsiteY1665" fmla="*/ 173868 h 410952"/>
                  <a:gd name="connsiteX1666" fmla="*/ 310441 w 793427"/>
                  <a:gd name="connsiteY1666" fmla="*/ 173251 h 410952"/>
                  <a:gd name="connsiteX1667" fmla="*/ 311058 w 793427"/>
                  <a:gd name="connsiteY1667" fmla="*/ 167432 h 410952"/>
                  <a:gd name="connsiteX1668" fmla="*/ 311939 w 793427"/>
                  <a:gd name="connsiteY1668" fmla="*/ 166550 h 410952"/>
                  <a:gd name="connsiteX1669" fmla="*/ 317759 w 793427"/>
                  <a:gd name="connsiteY1669" fmla="*/ 167696 h 410952"/>
                  <a:gd name="connsiteX1670" fmla="*/ 318288 w 793427"/>
                  <a:gd name="connsiteY1670" fmla="*/ 170341 h 410952"/>
                  <a:gd name="connsiteX1671" fmla="*/ 316260 w 793427"/>
                  <a:gd name="connsiteY1671" fmla="*/ 171223 h 410952"/>
                  <a:gd name="connsiteX1672" fmla="*/ 315114 w 793427"/>
                  <a:gd name="connsiteY1672" fmla="*/ 173251 h 410952"/>
                  <a:gd name="connsiteX1673" fmla="*/ 312469 w 793427"/>
                  <a:gd name="connsiteY1673" fmla="*/ 174397 h 410952"/>
                  <a:gd name="connsiteX1674" fmla="*/ 628905 w 793427"/>
                  <a:gd name="connsiteY1674" fmla="*/ 394906 h 410952"/>
                  <a:gd name="connsiteX1675" fmla="*/ 622821 w 793427"/>
                  <a:gd name="connsiteY1675" fmla="*/ 398433 h 410952"/>
                  <a:gd name="connsiteX1676" fmla="*/ 619912 w 793427"/>
                  <a:gd name="connsiteY1676" fmla="*/ 397904 h 410952"/>
                  <a:gd name="connsiteX1677" fmla="*/ 615503 w 793427"/>
                  <a:gd name="connsiteY1677" fmla="*/ 398168 h 410952"/>
                  <a:gd name="connsiteX1678" fmla="*/ 616120 w 793427"/>
                  <a:gd name="connsiteY1678" fmla="*/ 394906 h 410952"/>
                  <a:gd name="connsiteX1679" fmla="*/ 617619 w 793427"/>
                  <a:gd name="connsiteY1679" fmla="*/ 393760 h 410952"/>
                  <a:gd name="connsiteX1680" fmla="*/ 622028 w 793427"/>
                  <a:gd name="connsiteY1680" fmla="*/ 391468 h 410952"/>
                  <a:gd name="connsiteX1681" fmla="*/ 622028 w 793427"/>
                  <a:gd name="connsiteY1681" fmla="*/ 390586 h 410952"/>
                  <a:gd name="connsiteX1682" fmla="*/ 619647 w 793427"/>
                  <a:gd name="connsiteY1682" fmla="*/ 389704 h 410952"/>
                  <a:gd name="connsiteX1683" fmla="*/ 618501 w 793427"/>
                  <a:gd name="connsiteY1683" fmla="*/ 390586 h 410952"/>
                  <a:gd name="connsiteX1684" fmla="*/ 617972 w 793427"/>
                  <a:gd name="connsiteY1684" fmla="*/ 389969 h 410952"/>
                  <a:gd name="connsiteX1685" fmla="*/ 617972 w 793427"/>
                  <a:gd name="connsiteY1685" fmla="*/ 387588 h 410952"/>
                  <a:gd name="connsiteX1686" fmla="*/ 619735 w 793427"/>
                  <a:gd name="connsiteY1686" fmla="*/ 386178 h 410952"/>
                  <a:gd name="connsiteX1687" fmla="*/ 620353 w 793427"/>
                  <a:gd name="connsiteY1687" fmla="*/ 380006 h 410952"/>
                  <a:gd name="connsiteX1688" fmla="*/ 625907 w 793427"/>
                  <a:gd name="connsiteY1688" fmla="*/ 374451 h 410952"/>
                  <a:gd name="connsiteX1689" fmla="*/ 630580 w 793427"/>
                  <a:gd name="connsiteY1689" fmla="*/ 371806 h 410952"/>
                  <a:gd name="connsiteX1690" fmla="*/ 631462 w 793427"/>
                  <a:gd name="connsiteY1690" fmla="*/ 370924 h 410952"/>
                  <a:gd name="connsiteX1691" fmla="*/ 637633 w 793427"/>
                  <a:gd name="connsiteY1691" fmla="*/ 368897 h 410952"/>
                  <a:gd name="connsiteX1692" fmla="*/ 644334 w 793427"/>
                  <a:gd name="connsiteY1692" fmla="*/ 365370 h 410952"/>
                  <a:gd name="connsiteX1693" fmla="*/ 649272 w 793427"/>
                  <a:gd name="connsiteY1693" fmla="*/ 361314 h 410952"/>
                  <a:gd name="connsiteX1694" fmla="*/ 649272 w 793427"/>
                  <a:gd name="connsiteY1694" fmla="*/ 361667 h 410952"/>
                  <a:gd name="connsiteX1695" fmla="*/ 649272 w 793427"/>
                  <a:gd name="connsiteY1695" fmla="*/ 361931 h 410952"/>
                  <a:gd name="connsiteX1696" fmla="*/ 649272 w 793427"/>
                  <a:gd name="connsiteY1696" fmla="*/ 362196 h 410952"/>
                  <a:gd name="connsiteX1697" fmla="*/ 649272 w 793427"/>
                  <a:gd name="connsiteY1697" fmla="*/ 362460 h 410952"/>
                  <a:gd name="connsiteX1698" fmla="*/ 649536 w 793427"/>
                  <a:gd name="connsiteY1698" fmla="*/ 362460 h 410952"/>
                  <a:gd name="connsiteX1699" fmla="*/ 649536 w 793427"/>
                  <a:gd name="connsiteY1699" fmla="*/ 362813 h 410952"/>
                  <a:gd name="connsiteX1700" fmla="*/ 649801 w 793427"/>
                  <a:gd name="connsiteY1700" fmla="*/ 362813 h 410952"/>
                  <a:gd name="connsiteX1701" fmla="*/ 650065 w 793427"/>
                  <a:gd name="connsiteY1701" fmla="*/ 362813 h 410952"/>
                  <a:gd name="connsiteX1702" fmla="*/ 650065 w 793427"/>
                  <a:gd name="connsiteY1702" fmla="*/ 363078 h 410952"/>
                  <a:gd name="connsiteX1703" fmla="*/ 650330 w 793427"/>
                  <a:gd name="connsiteY1703" fmla="*/ 363430 h 410952"/>
                  <a:gd name="connsiteX1704" fmla="*/ 650330 w 793427"/>
                  <a:gd name="connsiteY1704" fmla="*/ 363078 h 410952"/>
                  <a:gd name="connsiteX1705" fmla="*/ 650683 w 793427"/>
                  <a:gd name="connsiteY1705" fmla="*/ 363078 h 410952"/>
                  <a:gd name="connsiteX1706" fmla="*/ 650683 w 793427"/>
                  <a:gd name="connsiteY1706" fmla="*/ 362813 h 410952"/>
                  <a:gd name="connsiteX1707" fmla="*/ 650947 w 793427"/>
                  <a:gd name="connsiteY1707" fmla="*/ 362813 h 410952"/>
                  <a:gd name="connsiteX1708" fmla="*/ 651212 w 793427"/>
                  <a:gd name="connsiteY1708" fmla="*/ 362460 h 410952"/>
                  <a:gd name="connsiteX1709" fmla="*/ 651564 w 793427"/>
                  <a:gd name="connsiteY1709" fmla="*/ 362460 h 410952"/>
                  <a:gd name="connsiteX1710" fmla="*/ 651564 w 793427"/>
                  <a:gd name="connsiteY1710" fmla="*/ 362813 h 410952"/>
                  <a:gd name="connsiteX1711" fmla="*/ 651829 w 793427"/>
                  <a:gd name="connsiteY1711" fmla="*/ 362813 h 410952"/>
                  <a:gd name="connsiteX1712" fmla="*/ 651829 w 793427"/>
                  <a:gd name="connsiteY1712" fmla="*/ 363078 h 410952"/>
                  <a:gd name="connsiteX1713" fmla="*/ 651829 w 793427"/>
                  <a:gd name="connsiteY1713" fmla="*/ 363430 h 410952"/>
                  <a:gd name="connsiteX1714" fmla="*/ 652181 w 793427"/>
                  <a:gd name="connsiteY1714" fmla="*/ 363695 h 410952"/>
                  <a:gd name="connsiteX1715" fmla="*/ 652181 w 793427"/>
                  <a:gd name="connsiteY1715" fmla="*/ 364047 h 410952"/>
                  <a:gd name="connsiteX1716" fmla="*/ 652181 w 793427"/>
                  <a:gd name="connsiteY1716" fmla="*/ 364312 h 410952"/>
                  <a:gd name="connsiteX1717" fmla="*/ 652181 w 793427"/>
                  <a:gd name="connsiteY1717" fmla="*/ 364047 h 410952"/>
                  <a:gd name="connsiteX1718" fmla="*/ 652181 w 793427"/>
                  <a:gd name="connsiteY1718" fmla="*/ 363695 h 410952"/>
                  <a:gd name="connsiteX1719" fmla="*/ 652181 w 793427"/>
                  <a:gd name="connsiteY1719" fmla="*/ 364047 h 410952"/>
                  <a:gd name="connsiteX1720" fmla="*/ 652446 w 793427"/>
                  <a:gd name="connsiteY1720" fmla="*/ 364312 h 410952"/>
                  <a:gd name="connsiteX1721" fmla="*/ 652446 w 793427"/>
                  <a:gd name="connsiteY1721" fmla="*/ 364665 h 410952"/>
                  <a:gd name="connsiteX1722" fmla="*/ 652446 w 793427"/>
                  <a:gd name="connsiteY1722" fmla="*/ 364929 h 410952"/>
                  <a:gd name="connsiteX1723" fmla="*/ 652446 w 793427"/>
                  <a:gd name="connsiteY1723" fmla="*/ 365194 h 410952"/>
                  <a:gd name="connsiteX1724" fmla="*/ 652446 w 793427"/>
                  <a:gd name="connsiteY1724" fmla="*/ 365458 h 410952"/>
                  <a:gd name="connsiteX1725" fmla="*/ 652446 w 793427"/>
                  <a:gd name="connsiteY1725" fmla="*/ 365811 h 410952"/>
                  <a:gd name="connsiteX1726" fmla="*/ 652446 w 793427"/>
                  <a:gd name="connsiteY1726" fmla="*/ 366075 h 410952"/>
                  <a:gd name="connsiteX1727" fmla="*/ 652446 w 793427"/>
                  <a:gd name="connsiteY1727" fmla="*/ 366340 h 410952"/>
                  <a:gd name="connsiteX1728" fmla="*/ 652446 w 793427"/>
                  <a:gd name="connsiteY1728" fmla="*/ 366604 h 410952"/>
                  <a:gd name="connsiteX1729" fmla="*/ 652181 w 793427"/>
                  <a:gd name="connsiteY1729" fmla="*/ 366604 h 410952"/>
                  <a:gd name="connsiteX1730" fmla="*/ 652181 w 793427"/>
                  <a:gd name="connsiteY1730" fmla="*/ 366869 h 410952"/>
                  <a:gd name="connsiteX1731" fmla="*/ 652181 w 793427"/>
                  <a:gd name="connsiteY1731" fmla="*/ 367133 h 410952"/>
                  <a:gd name="connsiteX1732" fmla="*/ 652181 w 793427"/>
                  <a:gd name="connsiteY1732" fmla="*/ 367398 h 410952"/>
                  <a:gd name="connsiteX1733" fmla="*/ 651829 w 793427"/>
                  <a:gd name="connsiteY1733" fmla="*/ 367398 h 410952"/>
                  <a:gd name="connsiteX1734" fmla="*/ 651829 w 793427"/>
                  <a:gd name="connsiteY1734" fmla="*/ 367662 h 410952"/>
                  <a:gd name="connsiteX1735" fmla="*/ 651564 w 793427"/>
                  <a:gd name="connsiteY1735" fmla="*/ 367662 h 410952"/>
                  <a:gd name="connsiteX1736" fmla="*/ 651564 w 793427"/>
                  <a:gd name="connsiteY1736" fmla="*/ 367927 h 410952"/>
                  <a:gd name="connsiteX1737" fmla="*/ 651212 w 793427"/>
                  <a:gd name="connsiteY1737" fmla="*/ 367927 h 410952"/>
                  <a:gd name="connsiteX1738" fmla="*/ 650947 w 793427"/>
                  <a:gd name="connsiteY1738" fmla="*/ 367927 h 410952"/>
                  <a:gd name="connsiteX1739" fmla="*/ 650947 w 793427"/>
                  <a:gd name="connsiteY1739" fmla="*/ 368191 h 410952"/>
                  <a:gd name="connsiteX1740" fmla="*/ 650683 w 793427"/>
                  <a:gd name="connsiteY1740" fmla="*/ 368191 h 410952"/>
                  <a:gd name="connsiteX1741" fmla="*/ 650683 w 793427"/>
                  <a:gd name="connsiteY1741" fmla="*/ 368456 h 410952"/>
                  <a:gd name="connsiteX1742" fmla="*/ 650330 w 793427"/>
                  <a:gd name="connsiteY1742" fmla="*/ 368456 h 410952"/>
                  <a:gd name="connsiteX1743" fmla="*/ 650065 w 793427"/>
                  <a:gd name="connsiteY1743" fmla="*/ 368456 h 410952"/>
                  <a:gd name="connsiteX1744" fmla="*/ 650065 w 793427"/>
                  <a:gd name="connsiteY1744" fmla="*/ 368808 h 410952"/>
                  <a:gd name="connsiteX1745" fmla="*/ 650065 w 793427"/>
                  <a:gd name="connsiteY1745" fmla="*/ 369073 h 410952"/>
                  <a:gd name="connsiteX1746" fmla="*/ 649801 w 793427"/>
                  <a:gd name="connsiteY1746" fmla="*/ 369073 h 410952"/>
                  <a:gd name="connsiteX1747" fmla="*/ 649801 w 793427"/>
                  <a:gd name="connsiteY1747" fmla="*/ 369337 h 410952"/>
                  <a:gd name="connsiteX1748" fmla="*/ 649801 w 793427"/>
                  <a:gd name="connsiteY1748" fmla="*/ 369602 h 410952"/>
                  <a:gd name="connsiteX1749" fmla="*/ 649536 w 793427"/>
                  <a:gd name="connsiteY1749" fmla="*/ 369866 h 410952"/>
                  <a:gd name="connsiteX1750" fmla="*/ 649536 w 793427"/>
                  <a:gd name="connsiteY1750" fmla="*/ 370219 h 410952"/>
                  <a:gd name="connsiteX1751" fmla="*/ 649536 w 793427"/>
                  <a:gd name="connsiteY1751" fmla="*/ 370484 h 410952"/>
                  <a:gd name="connsiteX1752" fmla="*/ 649272 w 793427"/>
                  <a:gd name="connsiteY1752" fmla="*/ 370748 h 410952"/>
                  <a:gd name="connsiteX1753" fmla="*/ 649272 w 793427"/>
                  <a:gd name="connsiteY1753" fmla="*/ 371013 h 410952"/>
                  <a:gd name="connsiteX1754" fmla="*/ 649272 w 793427"/>
                  <a:gd name="connsiteY1754" fmla="*/ 371277 h 410952"/>
                  <a:gd name="connsiteX1755" fmla="*/ 649272 w 793427"/>
                  <a:gd name="connsiteY1755" fmla="*/ 371630 h 410952"/>
                  <a:gd name="connsiteX1756" fmla="*/ 648919 w 793427"/>
                  <a:gd name="connsiteY1756" fmla="*/ 371894 h 410952"/>
                  <a:gd name="connsiteX1757" fmla="*/ 648919 w 793427"/>
                  <a:gd name="connsiteY1757" fmla="*/ 372159 h 410952"/>
                  <a:gd name="connsiteX1758" fmla="*/ 648919 w 793427"/>
                  <a:gd name="connsiteY1758" fmla="*/ 372511 h 410952"/>
                  <a:gd name="connsiteX1759" fmla="*/ 648919 w 793427"/>
                  <a:gd name="connsiteY1759" fmla="*/ 372776 h 410952"/>
                  <a:gd name="connsiteX1760" fmla="*/ 648919 w 793427"/>
                  <a:gd name="connsiteY1760" fmla="*/ 373129 h 410952"/>
                  <a:gd name="connsiteX1761" fmla="*/ 648919 w 793427"/>
                  <a:gd name="connsiteY1761" fmla="*/ 373393 h 410952"/>
                  <a:gd name="connsiteX1762" fmla="*/ 648919 w 793427"/>
                  <a:gd name="connsiteY1762" fmla="*/ 373658 h 410952"/>
                  <a:gd name="connsiteX1763" fmla="*/ 649272 w 793427"/>
                  <a:gd name="connsiteY1763" fmla="*/ 373658 h 410952"/>
                  <a:gd name="connsiteX1764" fmla="*/ 649272 w 793427"/>
                  <a:gd name="connsiteY1764" fmla="*/ 373922 h 410952"/>
                  <a:gd name="connsiteX1765" fmla="*/ 649272 w 793427"/>
                  <a:gd name="connsiteY1765" fmla="*/ 374187 h 410952"/>
                  <a:gd name="connsiteX1766" fmla="*/ 649536 w 793427"/>
                  <a:gd name="connsiteY1766" fmla="*/ 374187 h 410952"/>
                  <a:gd name="connsiteX1767" fmla="*/ 649536 w 793427"/>
                  <a:gd name="connsiteY1767" fmla="*/ 374451 h 410952"/>
                  <a:gd name="connsiteX1768" fmla="*/ 649801 w 793427"/>
                  <a:gd name="connsiteY1768" fmla="*/ 374451 h 410952"/>
                  <a:gd name="connsiteX1769" fmla="*/ 649801 w 793427"/>
                  <a:gd name="connsiteY1769" fmla="*/ 374716 h 410952"/>
                  <a:gd name="connsiteX1770" fmla="*/ 649801 w 793427"/>
                  <a:gd name="connsiteY1770" fmla="*/ 374980 h 410952"/>
                  <a:gd name="connsiteX1771" fmla="*/ 649801 w 793427"/>
                  <a:gd name="connsiteY1771" fmla="*/ 375333 h 410952"/>
                  <a:gd name="connsiteX1772" fmla="*/ 650065 w 793427"/>
                  <a:gd name="connsiteY1772" fmla="*/ 375597 h 410952"/>
                  <a:gd name="connsiteX1773" fmla="*/ 650065 w 793427"/>
                  <a:gd name="connsiteY1773" fmla="*/ 375862 h 410952"/>
                  <a:gd name="connsiteX1774" fmla="*/ 650065 w 793427"/>
                  <a:gd name="connsiteY1774" fmla="*/ 376126 h 410952"/>
                  <a:gd name="connsiteX1775" fmla="*/ 650065 w 793427"/>
                  <a:gd name="connsiteY1775" fmla="*/ 376391 h 410952"/>
                  <a:gd name="connsiteX1776" fmla="*/ 650065 w 793427"/>
                  <a:gd name="connsiteY1776" fmla="*/ 376655 h 410952"/>
                  <a:gd name="connsiteX1777" fmla="*/ 648919 w 793427"/>
                  <a:gd name="connsiteY1777" fmla="*/ 377537 h 410952"/>
                  <a:gd name="connsiteX1778" fmla="*/ 648654 w 793427"/>
                  <a:gd name="connsiteY1778" fmla="*/ 380182 h 410952"/>
                  <a:gd name="connsiteX1779" fmla="*/ 645128 w 793427"/>
                  <a:gd name="connsiteY1779" fmla="*/ 383709 h 410952"/>
                  <a:gd name="connsiteX1780" fmla="*/ 641601 w 793427"/>
                  <a:gd name="connsiteY1780" fmla="*/ 387500 h 410952"/>
                  <a:gd name="connsiteX1781" fmla="*/ 638075 w 793427"/>
                  <a:gd name="connsiteY1781" fmla="*/ 391556 h 410952"/>
                  <a:gd name="connsiteX1782" fmla="*/ 636046 w 793427"/>
                  <a:gd name="connsiteY1782" fmla="*/ 392967 h 410952"/>
                  <a:gd name="connsiteX1783" fmla="*/ 629610 w 793427"/>
                  <a:gd name="connsiteY1783" fmla="*/ 392967 h 410952"/>
                  <a:gd name="connsiteX1784" fmla="*/ 628905 w 793427"/>
                  <a:gd name="connsiteY1784" fmla="*/ 394906 h 410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</a:cxnLst>
                <a:rect l="l" t="t" r="r" b="b"/>
                <a:pathLst>
                  <a:path w="793427" h="410952">
                    <a:moveTo>
                      <a:pt x="380711" y="324283"/>
                    </a:moveTo>
                    <a:lnTo>
                      <a:pt x="380446" y="324283"/>
                    </a:lnTo>
                    <a:lnTo>
                      <a:pt x="377537" y="320757"/>
                    </a:lnTo>
                    <a:lnTo>
                      <a:pt x="377537" y="317847"/>
                    </a:lnTo>
                    <a:lnTo>
                      <a:pt x="380446" y="314585"/>
                    </a:lnTo>
                    <a:lnTo>
                      <a:pt x="384855" y="315731"/>
                    </a:lnTo>
                    <a:lnTo>
                      <a:pt x="389263" y="316877"/>
                    </a:lnTo>
                    <a:lnTo>
                      <a:pt x="392173" y="317142"/>
                    </a:lnTo>
                    <a:lnTo>
                      <a:pt x="395964" y="315731"/>
                    </a:lnTo>
                    <a:lnTo>
                      <a:pt x="399138" y="313968"/>
                    </a:lnTo>
                    <a:lnTo>
                      <a:pt x="401166" y="315731"/>
                    </a:lnTo>
                    <a:lnTo>
                      <a:pt x="402929" y="315731"/>
                    </a:lnTo>
                    <a:lnTo>
                      <a:pt x="405575" y="316348"/>
                    </a:lnTo>
                    <a:lnTo>
                      <a:pt x="405575" y="317230"/>
                    </a:lnTo>
                    <a:lnTo>
                      <a:pt x="403194" y="318112"/>
                    </a:lnTo>
                    <a:lnTo>
                      <a:pt x="400549" y="319610"/>
                    </a:lnTo>
                    <a:lnTo>
                      <a:pt x="398256" y="320492"/>
                    </a:lnTo>
                    <a:lnTo>
                      <a:pt x="398256" y="321638"/>
                    </a:lnTo>
                    <a:lnTo>
                      <a:pt x="395611" y="322785"/>
                    </a:lnTo>
                    <a:lnTo>
                      <a:pt x="390938" y="322520"/>
                    </a:lnTo>
                    <a:lnTo>
                      <a:pt x="386882" y="321638"/>
                    </a:lnTo>
                    <a:lnTo>
                      <a:pt x="383091" y="322520"/>
                    </a:lnTo>
                    <a:lnTo>
                      <a:pt x="380711" y="324283"/>
                    </a:lnTo>
                    <a:close/>
                    <a:moveTo>
                      <a:pt x="970" y="2028"/>
                    </a:moveTo>
                    <a:lnTo>
                      <a:pt x="3879" y="882"/>
                    </a:lnTo>
                    <a:lnTo>
                      <a:pt x="5025" y="0"/>
                    </a:lnTo>
                    <a:lnTo>
                      <a:pt x="14900" y="3527"/>
                    </a:lnTo>
                    <a:lnTo>
                      <a:pt x="16663" y="6436"/>
                    </a:lnTo>
                    <a:lnTo>
                      <a:pt x="19838" y="9081"/>
                    </a:lnTo>
                    <a:lnTo>
                      <a:pt x="28919" y="10845"/>
                    </a:lnTo>
                    <a:lnTo>
                      <a:pt x="31829" y="10580"/>
                    </a:lnTo>
                    <a:lnTo>
                      <a:pt x="35620" y="9081"/>
                    </a:lnTo>
                    <a:lnTo>
                      <a:pt x="40557" y="9346"/>
                    </a:lnTo>
                    <a:lnTo>
                      <a:pt x="42321" y="10492"/>
                    </a:lnTo>
                    <a:lnTo>
                      <a:pt x="43202" y="11991"/>
                    </a:lnTo>
                    <a:lnTo>
                      <a:pt x="44701" y="12256"/>
                    </a:lnTo>
                    <a:lnTo>
                      <a:pt x="50256" y="9611"/>
                    </a:lnTo>
                    <a:lnTo>
                      <a:pt x="52901" y="12520"/>
                    </a:lnTo>
                    <a:lnTo>
                      <a:pt x="57838" y="17722"/>
                    </a:lnTo>
                    <a:lnTo>
                      <a:pt x="58985" y="18339"/>
                    </a:lnTo>
                    <a:lnTo>
                      <a:pt x="60483" y="21249"/>
                    </a:lnTo>
                    <a:lnTo>
                      <a:pt x="61365" y="27068"/>
                    </a:lnTo>
                    <a:lnTo>
                      <a:pt x="63922" y="27332"/>
                    </a:lnTo>
                    <a:lnTo>
                      <a:pt x="67184" y="29625"/>
                    </a:lnTo>
                    <a:lnTo>
                      <a:pt x="67184" y="35179"/>
                    </a:lnTo>
                    <a:lnTo>
                      <a:pt x="65685" y="37207"/>
                    </a:lnTo>
                    <a:lnTo>
                      <a:pt x="66831" y="36061"/>
                    </a:lnTo>
                    <a:lnTo>
                      <a:pt x="67977" y="38353"/>
                    </a:lnTo>
                    <a:lnTo>
                      <a:pt x="69388" y="38089"/>
                    </a:lnTo>
                    <a:lnTo>
                      <a:pt x="73180" y="40470"/>
                    </a:lnTo>
                    <a:lnTo>
                      <a:pt x="74061" y="41968"/>
                    </a:lnTo>
                    <a:lnTo>
                      <a:pt x="75825" y="42233"/>
                    </a:lnTo>
                    <a:lnTo>
                      <a:pt x="76706" y="45407"/>
                    </a:lnTo>
                    <a:lnTo>
                      <a:pt x="83672" y="49198"/>
                    </a:lnTo>
                    <a:lnTo>
                      <a:pt x="87463" y="51226"/>
                    </a:lnTo>
                    <a:lnTo>
                      <a:pt x="95310" y="59073"/>
                    </a:lnTo>
                    <a:lnTo>
                      <a:pt x="99101" y="60219"/>
                    </a:lnTo>
                    <a:lnTo>
                      <a:pt x="103245" y="65421"/>
                    </a:lnTo>
                    <a:lnTo>
                      <a:pt x="104391" y="66038"/>
                    </a:lnTo>
                    <a:lnTo>
                      <a:pt x="104656" y="69565"/>
                    </a:lnTo>
                    <a:lnTo>
                      <a:pt x="103774" y="72474"/>
                    </a:lnTo>
                    <a:lnTo>
                      <a:pt x="104920" y="74502"/>
                    </a:lnTo>
                    <a:lnTo>
                      <a:pt x="105185" y="73885"/>
                    </a:lnTo>
                    <a:lnTo>
                      <a:pt x="104303" y="72122"/>
                    </a:lnTo>
                    <a:lnTo>
                      <a:pt x="105449" y="71240"/>
                    </a:lnTo>
                    <a:lnTo>
                      <a:pt x="106331" y="71857"/>
                    </a:lnTo>
                    <a:lnTo>
                      <a:pt x="107477" y="76530"/>
                    </a:lnTo>
                    <a:lnTo>
                      <a:pt x="107477" y="75649"/>
                    </a:lnTo>
                    <a:lnTo>
                      <a:pt x="107213" y="73885"/>
                    </a:lnTo>
                    <a:lnTo>
                      <a:pt x="107830" y="72474"/>
                    </a:lnTo>
                    <a:lnTo>
                      <a:pt x="108447" y="71857"/>
                    </a:lnTo>
                    <a:lnTo>
                      <a:pt x="110210" y="73356"/>
                    </a:lnTo>
                    <a:lnTo>
                      <a:pt x="115148" y="83848"/>
                    </a:lnTo>
                    <a:lnTo>
                      <a:pt x="118322" y="86229"/>
                    </a:lnTo>
                    <a:lnTo>
                      <a:pt x="119468" y="86229"/>
                    </a:lnTo>
                    <a:lnTo>
                      <a:pt x="122642" y="88521"/>
                    </a:lnTo>
                    <a:lnTo>
                      <a:pt x="125287" y="93723"/>
                    </a:lnTo>
                    <a:lnTo>
                      <a:pt x="124405" y="88786"/>
                    </a:lnTo>
                    <a:lnTo>
                      <a:pt x="122642" y="86493"/>
                    </a:lnTo>
                    <a:lnTo>
                      <a:pt x="122025" y="84465"/>
                    </a:lnTo>
                    <a:lnTo>
                      <a:pt x="122642" y="82966"/>
                    </a:lnTo>
                    <a:lnTo>
                      <a:pt x="124670" y="82085"/>
                    </a:lnTo>
                    <a:lnTo>
                      <a:pt x="127932" y="82350"/>
                    </a:lnTo>
                    <a:lnTo>
                      <a:pt x="127932" y="83760"/>
                    </a:lnTo>
                    <a:lnTo>
                      <a:pt x="132605" y="87551"/>
                    </a:lnTo>
                    <a:lnTo>
                      <a:pt x="133840" y="89050"/>
                    </a:lnTo>
                    <a:lnTo>
                      <a:pt x="134721" y="94340"/>
                    </a:lnTo>
                    <a:lnTo>
                      <a:pt x="135602" y="96104"/>
                    </a:lnTo>
                    <a:lnTo>
                      <a:pt x="138865" y="97867"/>
                    </a:lnTo>
                    <a:lnTo>
                      <a:pt x="142039" y="97338"/>
                    </a:lnTo>
                    <a:lnTo>
                      <a:pt x="145566" y="99983"/>
                    </a:lnTo>
                    <a:lnTo>
                      <a:pt x="151385" y="104656"/>
                    </a:lnTo>
                    <a:lnTo>
                      <a:pt x="153148" y="113385"/>
                    </a:lnTo>
                    <a:lnTo>
                      <a:pt x="158703" y="119557"/>
                    </a:lnTo>
                    <a:lnTo>
                      <a:pt x="160731" y="120703"/>
                    </a:lnTo>
                    <a:lnTo>
                      <a:pt x="166285" y="121320"/>
                    </a:lnTo>
                    <a:lnTo>
                      <a:pt x="168313" y="122202"/>
                    </a:lnTo>
                    <a:lnTo>
                      <a:pt x="170077" y="123348"/>
                    </a:lnTo>
                    <a:lnTo>
                      <a:pt x="169195" y="124846"/>
                    </a:lnTo>
                    <a:lnTo>
                      <a:pt x="166903" y="128021"/>
                    </a:lnTo>
                    <a:lnTo>
                      <a:pt x="172457" y="125993"/>
                    </a:lnTo>
                    <a:lnTo>
                      <a:pt x="172193" y="124229"/>
                    </a:lnTo>
                    <a:lnTo>
                      <a:pt x="175102" y="124229"/>
                    </a:lnTo>
                    <a:lnTo>
                      <a:pt x="177747" y="125728"/>
                    </a:lnTo>
                    <a:lnTo>
                      <a:pt x="178893" y="125464"/>
                    </a:lnTo>
                    <a:lnTo>
                      <a:pt x="182949" y="128990"/>
                    </a:lnTo>
                    <a:lnTo>
                      <a:pt x="186741" y="131636"/>
                    </a:lnTo>
                    <a:lnTo>
                      <a:pt x="188239" y="138601"/>
                    </a:lnTo>
                    <a:lnTo>
                      <a:pt x="187622" y="138865"/>
                    </a:lnTo>
                    <a:lnTo>
                      <a:pt x="183214" y="138865"/>
                    </a:lnTo>
                    <a:lnTo>
                      <a:pt x="183214" y="141158"/>
                    </a:lnTo>
                    <a:lnTo>
                      <a:pt x="176513" y="144949"/>
                    </a:lnTo>
                    <a:lnTo>
                      <a:pt x="178276" y="144949"/>
                    </a:lnTo>
                    <a:lnTo>
                      <a:pt x="180921" y="143803"/>
                    </a:lnTo>
                    <a:lnTo>
                      <a:pt x="181450" y="144067"/>
                    </a:lnTo>
                    <a:lnTo>
                      <a:pt x="180040" y="146712"/>
                    </a:lnTo>
                    <a:lnTo>
                      <a:pt x="178012" y="147594"/>
                    </a:lnTo>
                    <a:lnTo>
                      <a:pt x="182949" y="148476"/>
                    </a:lnTo>
                    <a:lnTo>
                      <a:pt x="183478" y="149357"/>
                    </a:lnTo>
                    <a:lnTo>
                      <a:pt x="182332" y="150856"/>
                    </a:lnTo>
                    <a:lnTo>
                      <a:pt x="179687" y="151473"/>
                    </a:lnTo>
                    <a:lnTo>
                      <a:pt x="178541" y="149710"/>
                    </a:lnTo>
                    <a:lnTo>
                      <a:pt x="179687" y="152355"/>
                    </a:lnTo>
                    <a:lnTo>
                      <a:pt x="178805" y="155529"/>
                    </a:lnTo>
                    <a:lnTo>
                      <a:pt x="177924" y="155794"/>
                    </a:lnTo>
                    <a:lnTo>
                      <a:pt x="180480" y="157293"/>
                    </a:lnTo>
                    <a:lnTo>
                      <a:pt x="179951" y="158791"/>
                    </a:lnTo>
                    <a:lnTo>
                      <a:pt x="181715" y="158527"/>
                    </a:lnTo>
                    <a:lnTo>
                      <a:pt x="186388" y="162935"/>
                    </a:lnTo>
                    <a:lnTo>
                      <a:pt x="187799" y="163553"/>
                    </a:lnTo>
                    <a:lnTo>
                      <a:pt x="188416" y="165316"/>
                    </a:lnTo>
                    <a:lnTo>
                      <a:pt x="189297" y="163553"/>
                    </a:lnTo>
                    <a:lnTo>
                      <a:pt x="191325" y="162935"/>
                    </a:lnTo>
                    <a:lnTo>
                      <a:pt x="196527" y="165316"/>
                    </a:lnTo>
                    <a:lnTo>
                      <a:pt x="199701" y="163817"/>
                    </a:lnTo>
                    <a:lnTo>
                      <a:pt x="200583" y="164082"/>
                    </a:lnTo>
                    <a:lnTo>
                      <a:pt x="201200" y="166726"/>
                    </a:lnTo>
                    <a:lnTo>
                      <a:pt x="200936" y="168490"/>
                    </a:lnTo>
                    <a:lnTo>
                      <a:pt x="202346" y="172017"/>
                    </a:lnTo>
                    <a:lnTo>
                      <a:pt x="202346" y="177307"/>
                    </a:lnTo>
                    <a:lnTo>
                      <a:pt x="204109" y="181715"/>
                    </a:lnTo>
                    <a:lnTo>
                      <a:pt x="202699" y="185242"/>
                    </a:lnTo>
                    <a:lnTo>
                      <a:pt x="203580" y="186124"/>
                    </a:lnTo>
                    <a:lnTo>
                      <a:pt x="203845" y="184625"/>
                    </a:lnTo>
                    <a:lnTo>
                      <a:pt x="204727" y="184625"/>
                    </a:lnTo>
                    <a:lnTo>
                      <a:pt x="206225" y="186124"/>
                    </a:lnTo>
                    <a:lnTo>
                      <a:pt x="205079" y="188416"/>
                    </a:lnTo>
                    <a:lnTo>
                      <a:pt x="206225" y="187534"/>
                    </a:lnTo>
                    <a:lnTo>
                      <a:pt x="207107" y="189033"/>
                    </a:lnTo>
                    <a:lnTo>
                      <a:pt x="209135" y="187887"/>
                    </a:lnTo>
                    <a:lnTo>
                      <a:pt x="210281" y="188416"/>
                    </a:lnTo>
                    <a:lnTo>
                      <a:pt x="211428" y="189915"/>
                    </a:lnTo>
                    <a:lnTo>
                      <a:pt x="211428" y="191943"/>
                    </a:lnTo>
                    <a:lnTo>
                      <a:pt x="208783" y="196351"/>
                    </a:lnTo>
                    <a:lnTo>
                      <a:pt x="205608" y="197497"/>
                    </a:lnTo>
                    <a:lnTo>
                      <a:pt x="207636" y="197233"/>
                    </a:lnTo>
                    <a:lnTo>
                      <a:pt x="208254" y="197497"/>
                    </a:lnTo>
                    <a:lnTo>
                      <a:pt x="207372" y="202170"/>
                    </a:lnTo>
                    <a:lnTo>
                      <a:pt x="205079" y="203934"/>
                    </a:lnTo>
                    <a:lnTo>
                      <a:pt x="204198" y="205432"/>
                    </a:lnTo>
                    <a:lnTo>
                      <a:pt x="203933" y="206843"/>
                    </a:lnTo>
                    <a:lnTo>
                      <a:pt x="205432" y="204551"/>
                    </a:lnTo>
                    <a:lnTo>
                      <a:pt x="208341" y="202787"/>
                    </a:lnTo>
                    <a:lnTo>
                      <a:pt x="209223" y="199878"/>
                    </a:lnTo>
                    <a:lnTo>
                      <a:pt x="209223" y="198114"/>
                    </a:lnTo>
                    <a:lnTo>
                      <a:pt x="210987" y="195205"/>
                    </a:lnTo>
                    <a:lnTo>
                      <a:pt x="211868" y="195205"/>
                    </a:lnTo>
                    <a:lnTo>
                      <a:pt x="212397" y="197233"/>
                    </a:lnTo>
                    <a:lnTo>
                      <a:pt x="213279" y="196087"/>
                    </a:lnTo>
                    <a:lnTo>
                      <a:pt x="216806" y="197233"/>
                    </a:lnTo>
                    <a:lnTo>
                      <a:pt x="219362" y="196351"/>
                    </a:lnTo>
                    <a:lnTo>
                      <a:pt x="226063" y="198379"/>
                    </a:lnTo>
                    <a:lnTo>
                      <a:pt x="227563" y="197497"/>
                    </a:lnTo>
                    <a:lnTo>
                      <a:pt x="228179" y="198114"/>
                    </a:lnTo>
                    <a:lnTo>
                      <a:pt x="227563" y="201641"/>
                    </a:lnTo>
                    <a:lnTo>
                      <a:pt x="228179" y="203669"/>
                    </a:lnTo>
                    <a:lnTo>
                      <a:pt x="231354" y="205168"/>
                    </a:lnTo>
                    <a:lnTo>
                      <a:pt x="231618" y="208959"/>
                    </a:lnTo>
                    <a:lnTo>
                      <a:pt x="232764" y="210987"/>
                    </a:lnTo>
                    <a:lnTo>
                      <a:pt x="235674" y="211604"/>
                    </a:lnTo>
                    <a:lnTo>
                      <a:pt x="237084" y="213015"/>
                    </a:lnTo>
                    <a:lnTo>
                      <a:pt x="237702" y="218305"/>
                    </a:lnTo>
                    <a:lnTo>
                      <a:pt x="234175" y="222096"/>
                    </a:lnTo>
                    <a:lnTo>
                      <a:pt x="232147" y="228533"/>
                    </a:lnTo>
                    <a:lnTo>
                      <a:pt x="231883" y="230032"/>
                    </a:lnTo>
                    <a:lnTo>
                      <a:pt x="234792" y="232324"/>
                    </a:lnTo>
                    <a:lnTo>
                      <a:pt x="235057" y="233470"/>
                    </a:lnTo>
                    <a:lnTo>
                      <a:pt x="232147" y="241670"/>
                    </a:lnTo>
                    <a:lnTo>
                      <a:pt x="231883" y="244315"/>
                    </a:lnTo>
                    <a:lnTo>
                      <a:pt x="231618" y="249517"/>
                    </a:lnTo>
                    <a:lnTo>
                      <a:pt x="232764" y="255071"/>
                    </a:lnTo>
                    <a:lnTo>
                      <a:pt x="231001" y="259744"/>
                    </a:lnTo>
                    <a:lnTo>
                      <a:pt x="231883" y="262654"/>
                    </a:lnTo>
                    <a:lnTo>
                      <a:pt x="230119" y="265299"/>
                    </a:lnTo>
                    <a:lnTo>
                      <a:pt x="231618" y="270853"/>
                    </a:lnTo>
                    <a:lnTo>
                      <a:pt x="231001" y="274909"/>
                    </a:lnTo>
                    <a:lnTo>
                      <a:pt x="232500" y="277290"/>
                    </a:lnTo>
                    <a:lnTo>
                      <a:pt x="230119" y="283726"/>
                    </a:lnTo>
                    <a:lnTo>
                      <a:pt x="228092" y="283726"/>
                    </a:lnTo>
                    <a:lnTo>
                      <a:pt x="227210" y="286900"/>
                    </a:lnTo>
                    <a:lnTo>
                      <a:pt x="225446" y="287782"/>
                    </a:lnTo>
                    <a:lnTo>
                      <a:pt x="224300" y="287429"/>
                    </a:lnTo>
                    <a:lnTo>
                      <a:pt x="223683" y="284520"/>
                    </a:lnTo>
                    <a:lnTo>
                      <a:pt x="223330" y="280993"/>
                    </a:lnTo>
                    <a:lnTo>
                      <a:pt x="225975" y="277819"/>
                    </a:lnTo>
                    <a:lnTo>
                      <a:pt x="225358" y="278436"/>
                    </a:lnTo>
                    <a:lnTo>
                      <a:pt x="223595" y="278436"/>
                    </a:lnTo>
                    <a:lnTo>
                      <a:pt x="222096" y="275174"/>
                    </a:lnTo>
                    <a:lnTo>
                      <a:pt x="220597" y="273146"/>
                    </a:lnTo>
                    <a:lnTo>
                      <a:pt x="220862" y="280111"/>
                    </a:lnTo>
                    <a:lnTo>
                      <a:pt x="219362" y="275438"/>
                    </a:lnTo>
                    <a:lnTo>
                      <a:pt x="217599" y="276055"/>
                    </a:lnTo>
                    <a:lnTo>
                      <a:pt x="218746" y="278965"/>
                    </a:lnTo>
                    <a:lnTo>
                      <a:pt x="217335" y="279229"/>
                    </a:lnTo>
                    <a:lnTo>
                      <a:pt x="217335" y="279847"/>
                    </a:lnTo>
                    <a:lnTo>
                      <a:pt x="218746" y="280111"/>
                    </a:lnTo>
                    <a:lnTo>
                      <a:pt x="216982" y="280993"/>
                    </a:lnTo>
                    <a:lnTo>
                      <a:pt x="215836" y="283373"/>
                    </a:lnTo>
                    <a:lnTo>
                      <a:pt x="213808" y="284784"/>
                    </a:lnTo>
                    <a:lnTo>
                      <a:pt x="212309" y="282139"/>
                    </a:lnTo>
                    <a:lnTo>
                      <a:pt x="208518" y="281257"/>
                    </a:lnTo>
                    <a:lnTo>
                      <a:pt x="207372" y="279229"/>
                    </a:lnTo>
                    <a:lnTo>
                      <a:pt x="205344" y="273410"/>
                    </a:lnTo>
                    <a:lnTo>
                      <a:pt x="203845" y="274027"/>
                    </a:lnTo>
                    <a:lnTo>
                      <a:pt x="203580" y="274909"/>
                    </a:lnTo>
                    <a:lnTo>
                      <a:pt x="203580" y="277554"/>
                    </a:lnTo>
                    <a:lnTo>
                      <a:pt x="205344" y="281610"/>
                    </a:lnTo>
                    <a:lnTo>
                      <a:pt x="207636" y="283902"/>
                    </a:lnTo>
                    <a:lnTo>
                      <a:pt x="209664" y="283285"/>
                    </a:lnTo>
                    <a:lnTo>
                      <a:pt x="208518" y="284696"/>
                    </a:lnTo>
                    <a:lnTo>
                      <a:pt x="208518" y="287605"/>
                    </a:lnTo>
                    <a:lnTo>
                      <a:pt x="208254" y="289633"/>
                    </a:lnTo>
                    <a:lnTo>
                      <a:pt x="207372" y="290250"/>
                    </a:lnTo>
                    <a:lnTo>
                      <a:pt x="204462" y="288751"/>
                    </a:lnTo>
                    <a:lnTo>
                      <a:pt x="201553" y="287253"/>
                    </a:lnTo>
                    <a:lnTo>
                      <a:pt x="197144" y="284343"/>
                    </a:lnTo>
                    <a:lnTo>
                      <a:pt x="194235" y="279670"/>
                    </a:lnTo>
                    <a:lnTo>
                      <a:pt x="189562" y="275879"/>
                    </a:lnTo>
                    <a:lnTo>
                      <a:pt x="189297" y="270589"/>
                    </a:lnTo>
                    <a:lnTo>
                      <a:pt x="187534" y="268561"/>
                    </a:lnTo>
                    <a:lnTo>
                      <a:pt x="187270" y="266180"/>
                    </a:lnTo>
                    <a:lnTo>
                      <a:pt x="187270" y="262125"/>
                    </a:lnTo>
                    <a:lnTo>
                      <a:pt x="186123" y="261860"/>
                    </a:lnTo>
                    <a:lnTo>
                      <a:pt x="185594" y="265651"/>
                    </a:lnTo>
                    <a:lnTo>
                      <a:pt x="184095" y="263888"/>
                    </a:lnTo>
                    <a:lnTo>
                      <a:pt x="182067" y="262742"/>
                    </a:lnTo>
                    <a:lnTo>
                      <a:pt x="180921" y="260978"/>
                    </a:lnTo>
                    <a:lnTo>
                      <a:pt x="177130" y="257187"/>
                    </a:lnTo>
                    <a:lnTo>
                      <a:pt x="174485" y="255159"/>
                    </a:lnTo>
                    <a:lnTo>
                      <a:pt x="171311" y="250222"/>
                    </a:lnTo>
                    <a:lnTo>
                      <a:pt x="168401" y="249076"/>
                    </a:lnTo>
                    <a:lnTo>
                      <a:pt x="162847" y="249076"/>
                    </a:lnTo>
                    <a:lnTo>
                      <a:pt x="159673" y="242904"/>
                    </a:lnTo>
                    <a:lnTo>
                      <a:pt x="157028" y="236468"/>
                    </a:lnTo>
                    <a:lnTo>
                      <a:pt x="154735" y="235850"/>
                    </a:lnTo>
                    <a:lnTo>
                      <a:pt x="153853" y="229150"/>
                    </a:lnTo>
                    <a:lnTo>
                      <a:pt x="152972" y="228004"/>
                    </a:lnTo>
                    <a:lnTo>
                      <a:pt x="149533" y="229767"/>
                    </a:lnTo>
                    <a:lnTo>
                      <a:pt x="146359" y="224829"/>
                    </a:lnTo>
                    <a:lnTo>
                      <a:pt x="144596" y="221655"/>
                    </a:lnTo>
                    <a:lnTo>
                      <a:pt x="143097" y="222273"/>
                    </a:lnTo>
                    <a:lnTo>
                      <a:pt x="140540" y="218481"/>
                    </a:lnTo>
                    <a:lnTo>
                      <a:pt x="141686" y="216718"/>
                    </a:lnTo>
                    <a:lnTo>
                      <a:pt x="137278" y="214690"/>
                    </a:lnTo>
                    <a:lnTo>
                      <a:pt x="134986" y="210634"/>
                    </a:lnTo>
                    <a:lnTo>
                      <a:pt x="134986" y="208606"/>
                    </a:lnTo>
                    <a:lnTo>
                      <a:pt x="133487" y="205697"/>
                    </a:lnTo>
                    <a:lnTo>
                      <a:pt x="129078" y="202523"/>
                    </a:lnTo>
                    <a:lnTo>
                      <a:pt x="126169" y="198732"/>
                    </a:lnTo>
                    <a:lnTo>
                      <a:pt x="126433" y="197850"/>
                    </a:lnTo>
                    <a:lnTo>
                      <a:pt x="124670" y="195822"/>
                    </a:lnTo>
                    <a:lnTo>
                      <a:pt x="122907" y="192295"/>
                    </a:lnTo>
                    <a:lnTo>
                      <a:pt x="124052" y="189121"/>
                    </a:lnTo>
                    <a:lnTo>
                      <a:pt x="123788" y="186212"/>
                    </a:lnTo>
                    <a:lnTo>
                      <a:pt x="120879" y="181539"/>
                    </a:lnTo>
                    <a:lnTo>
                      <a:pt x="119997" y="181539"/>
                    </a:lnTo>
                    <a:lnTo>
                      <a:pt x="118498" y="175720"/>
                    </a:lnTo>
                    <a:lnTo>
                      <a:pt x="117352" y="174838"/>
                    </a:lnTo>
                    <a:lnTo>
                      <a:pt x="117087" y="171664"/>
                    </a:lnTo>
                    <a:lnTo>
                      <a:pt x="114795" y="170165"/>
                    </a:lnTo>
                    <a:lnTo>
                      <a:pt x="113913" y="170165"/>
                    </a:lnTo>
                    <a:lnTo>
                      <a:pt x="113296" y="167520"/>
                    </a:lnTo>
                    <a:lnTo>
                      <a:pt x="113031" y="165492"/>
                    </a:lnTo>
                    <a:lnTo>
                      <a:pt x="113913" y="164610"/>
                    </a:lnTo>
                    <a:lnTo>
                      <a:pt x="112767" y="163464"/>
                    </a:lnTo>
                    <a:lnTo>
                      <a:pt x="113120" y="160202"/>
                    </a:lnTo>
                    <a:lnTo>
                      <a:pt x="111973" y="159585"/>
                    </a:lnTo>
                    <a:lnTo>
                      <a:pt x="110563" y="157822"/>
                    </a:lnTo>
                    <a:lnTo>
                      <a:pt x="108799" y="153149"/>
                    </a:lnTo>
                    <a:lnTo>
                      <a:pt x="105273" y="150503"/>
                    </a:lnTo>
                    <a:lnTo>
                      <a:pt x="103862" y="149357"/>
                    </a:lnTo>
                    <a:lnTo>
                      <a:pt x="100952" y="146448"/>
                    </a:lnTo>
                    <a:lnTo>
                      <a:pt x="99806" y="140276"/>
                    </a:lnTo>
                    <a:lnTo>
                      <a:pt x="96015" y="134721"/>
                    </a:lnTo>
                    <a:lnTo>
                      <a:pt x="96632" y="136485"/>
                    </a:lnTo>
                    <a:lnTo>
                      <a:pt x="93370" y="135603"/>
                    </a:lnTo>
                    <a:lnTo>
                      <a:pt x="90460" y="132958"/>
                    </a:lnTo>
                    <a:lnTo>
                      <a:pt x="89844" y="137014"/>
                    </a:lnTo>
                    <a:lnTo>
                      <a:pt x="87815" y="134986"/>
                    </a:lnTo>
                    <a:lnTo>
                      <a:pt x="86669" y="132958"/>
                    </a:lnTo>
                    <a:lnTo>
                      <a:pt x="86052" y="132341"/>
                    </a:lnTo>
                    <a:lnTo>
                      <a:pt x="86669" y="130930"/>
                    </a:lnTo>
                    <a:lnTo>
                      <a:pt x="85523" y="130313"/>
                    </a:lnTo>
                    <a:lnTo>
                      <a:pt x="86140" y="128902"/>
                    </a:lnTo>
                    <a:lnTo>
                      <a:pt x="85259" y="123965"/>
                    </a:lnTo>
                    <a:lnTo>
                      <a:pt x="84112" y="123700"/>
                    </a:lnTo>
                    <a:lnTo>
                      <a:pt x="84112" y="120438"/>
                    </a:lnTo>
                    <a:lnTo>
                      <a:pt x="85523" y="117793"/>
                    </a:lnTo>
                    <a:lnTo>
                      <a:pt x="82878" y="116030"/>
                    </a:lnTo>
                    <a:lnTo>
                      <a:pt x="81379" y="112856"/>
                    </a:lnTo>
                    <a:lnTo>
                      <a:pt x="80233" y="109329"/>
                    </a:lnTo>
                    <a:lnTo>
                      <a:pt x="80233" y="107037"/>
                    </a:lnTo>
                    <a:lnTo>
                      <a:pt x="79968" y="107037"/>
                    </a:lnTo>
                    <a:lnTo>
                      <a:pt x="78205" y="102628"/>
                    </a:lnTo>
                    <a:lnTo>
                      <a:pt x="76706" y="100600"/>
                    </a:lnTo>
                    <a:lnTo>
                      <a:pt x="77235" y="100336"/>
                    </a:lnTo>
                    <a:lnTo>
                      <a:pt x="77852" y="101217"/>
                    </a:lnTo>
                    <a:lnTo>
                      <a:pt x="78999" y="99189"/>
                    </a:lnTo>
                    <a:lnTo>
                      <a:pt x="78999" y="97691"/>
                    </a:lnTo>
                    <a:lnTo>
                      <a:pt x="76971" y="95663"/>
                    </a:lnTo>
                    <a:lnTo>
                      <a:pt x="76971" y="96544"/>
                    </a:lnTo>
                    <a:lnTo>
                      <a:pt x="76089" y="96280"/>
                    </a:lnTo>
                    <a:lnTo>
                      <a:pt x="72298" y="91343"/>
                    </a:lnTo>
                    <a:lnTo>
                      <a:pt x="70799" y="88433"/>
                    </a:lnTo>
                    <a:lnTo>
                      <a:pt x="67008" y="87022"/>
                    </a:lnTo>
                    <a:lnTo>
                      <a:pt x="65773" y="87022"/>
                    </a:lnTo>
                    <a:lnTo>
                      <a:pt x="63481" y="85259"/>
                    </a:lnTo>
                    <a:lnTo>
                      <a:pt x="59425" y="84113"/>
                    </a:lnTo>
                    <a:lnTo>
                      <a:pt x="60043" y="83231"/>
                    </a:lnTo>
                    <a:lnTo>
                      <a:pt x="57397" y="82085"/>
                    </a:lnTo>
                    <a:lnTo>
                      <a:pt x="55987" y="83231"/>
                    </a:lnTo>
                    <a:lnTo>
                      <a:pt x="53606" y="80057"/>
                    </a:lnTo>
                    <a:lnTo>
                      <a:pt x="55369" y="75384"/>
                    </a:lnTo>
                    <a:lnTo>
                      <a:pt x="55017" y="71593"/>
                    </a:lnTo>
                    <a:lnTo>
                      <a:pt x="53254" y="71328"/>
                    </a:lnTo>
                    <a:lnTo>
                      <a:pt x="52636" y="69829"/>
                    </a:lnTo>
                    <a:lnTo>
                      <a:pt x="52107" y="68330"/>
                    </a:lnTo>
                    <a:lnTo>
                      <a:pt x="48580" y="67185"/>
                    </a:lnTo>
                    <a:lnTo>
                      <a:pt x="46553" y="64892"/>
                    </a:lnTo>
                    <a:lnTo>
                      <a:pt x="45054" y="60219"/>
                    </a:lnTo>
                    <a:lnTo>
                      <a:pt x="43026" y="59337"/>
                    </a:lnTo>
                    <a:lnTo>
                      <a:pt x="36943" y="49374"/>
                    </a:lnTo>
                    <a:lnTo>
                      <a:pt x="34914" y="47347"/>
                    </a:lnTo>
                    <a:lnTo>
                      <a:pt x="32887" y="46818"/>
                    </a:lnTo>
                    <a:lnTo>
                      <a:pt x="29713" y="47347"/>
                    </a:lnTo>
                    <a:lnTo>
                      <a:pt x="28566" y="46818"/>
                    </a:lnTo>
                    <a:lnTo>
                      <a:pt x="25040" y="42762"/>
                    </a:lnTo>
                    <a:lnTo>
                      <a:pt x="21866" y="38089"/>
                    </a:lnTo>
                    <a:lnTo>
                      <a:pt x="16311" y="34033"/>
                    </a:lnTo>
                    <a:lnTo>
                      <a:pt x="8993" y="25569"/>
                    </a:lnTo>
                    <a:lnTo>
                      <a:pt x="7229" y="24423"/>
                    </a:lnTo>
                    <a:lnTo>
                      <a:pt x="2292" y="13931"/>
                    </a:lnTo>
                    <a:lnTo>
                      <a:pt x="881" y="9522"/>
                    </a:lnTo>
                    <a:lnTo>
                      <a:pt x="0" y="9522"/>
                    </a:lnTo>
                    <a:lnTo>
                      <a:pt x="1146" y="5114"/>
                    </a:lnTo>
                    <a:lnTo>
                      <a:pt x="0" y="3350"/>
                    </a:lnTo>
                    <a:lnTo>
                      <a:pt x="970" y="2028"/>
                    </a:lnTo>
                    <a:close/>
                    <a:moveTo>
                      <a:pt x="667699" y="55370"/>
                    </a:moveTo>
                    <a:lnTo>
                      <a:pt x="666200" y="55370"/>
                    </a:lnTo>
                    <a:lnTo>
                      <a:pt x="665583" y="53871"/>
                    </a:lnTo>
                    <a:lnTo>
                      <a:pt x="664701" y="53871"/>
                    </a:lnTo>
                    <a:lnTo>
                      <a:pt x="664437" y="53342"/>
                    </a:lnTo>
                    <a:lnTo>
                      <a:pt x="664437" y="49815"/>
                    </a:lnTo>
                    <a:lnTo>
                      <a:pt x="663291" y="49551"/>
                    </a:lnTo>
                    <a:lnTo>
                      <a:pt x="662144" y="48140"/>
                    </a:lnTo>
                    <a:lnTo>
                      <a:pt x="662497" y="46994"/>
                    </a:lnTo>
                    <a:lnTo>
                      <a:pt x="664260" y="46729"/>
                    </a:lnTo>
                    <a:lnTo>
                      <a:pt x="666288" y="48757"/>
                    </a:lnTo>
                    <a:lnTo>
                      <a:pt x="666288" y="50168"/>
                    </a:lnTo>
                    <a:lnTo>
                      <a:pt x="668316" y="53695"/>
                    </a:lnTo>
                    <a:lnTo>
                      <a:pt x="667699" y="55370"/>
                    </a:lnTo>
                    <a:close/>
                    <a:moveTo>
                      <a:pt x="444016" y="63305"/>
                    </a:moveTo>
                    <a:lnTo>
                      <a:pt x="445779" y="53695"/>
                    </a:lnTo>
                    <a:lnTo>
                      <a:pt x="446926" y="53430"/>
                    </a:lnTo>
                    <a:lnTo>
                      <a:pt x="445779" y="48757"/>
                    </a:lnTo>
                    <a:lnTo>
                      <a:pt x="446926" y="42674"/>
                    </a:lnTo>
                    <a:lnTo>
                      <a:pt x="445779" y="41528"/>
                    </a:lnTo>
                    <a:lnTo>
                      <a:pt x="449835" y="33328"/>
                    </a:lnTo>
                    <a:lnTo>
                      <a:pt x="452127" y="32182"/>
                    </a:lnTo>
                    <a:lnTo>
                      <a:pt x="452127" y="30683"/>
                    </a:lnTo>
                    <a:lnTo>
                      <a:pt x="452744" y="30065"/>
                    </a:lnTo>
                    <a:lnTo>
                      <a:pt x="456536" y="32093"/>
                    </a:lnTo>
                    <a:lnTo>
                      <a:pt x="458828" y="29713"/>
                    </a:lnTo>
                    <a:lnTo>
                      <a:pt x="462884" y="29713"/>
                    </a:lnTo>
                    <a:lnTo>
                      <a:pt x="465176" y="31741"/>
                    </a:lnTo>
                    <a:lnTo>
                      <a:pt x="466939" y="31123"/>
                    </a:lnTo>
                    <a:lnTo>
                      <a:pt x="466675" y="29977"/>
                    </a:lnTo>
                    <a:lnTo>
                      <a:pt x="467821" y="29360"/>
                    </a:lnTo>
                    <a:lnTo>
                      <a:pt x="469584" y="30771"/>
                    </a:lnTo>
                    <a:lnTo>
                      <a:pt x="470731" y="30771"/>
                    </a:lnTo>
                    <a:lnTo>
                      <a:pt x="471613" y="29625"/>
                    </a:lnTo>
                    <a:lnTo>
                      <a:pt x="473640" y="30771"/>
                    </a:lnTo>
                    <a:lnTo>
                      <a:pt x="482457" y="29889"/>
                    </a:lnTo>
                    <a:lnTo>
                      <a:pt x="487130" y="34298"/>
                    </a:lnTo>
                    <a:lnTo>
                      <a:pt x="490304" y="34562"/>
                    </a:lnTo>
                    <a:lnTo>
                      <a:pt x="488806" y="36326"/>
                    </a:lnTo>
                    <a:lnTo>
                      <a:pt x="485896" y="35444"/>
                    </a:lnTo>
                    <a:lnTo>
                      <a:pt x="487659" y="36943"/>
                    </a:lnTo>
                    <a:lnTo>
                      <a:pt x="487659" y="38089"/>
                    </a:lnTo>
                    <a:lnTo>
                      <a:pt x="488806" y="37824"/>
                    </a:lnTo>
                    <a:lnTo>
                      <a:pt x="492597" y="41351"/>
                    </a:lnTo>
                    <a:lnTo>
                      <a:pt x="491450" y="41615"/>
                    </a:lnTo>
                    <a:lnTo>
                      <a:pt x="489687" y="40734"/>
                    </a:lnTo>
                    <a:lnTo>
                      <a:pt x="488806" y="40734"/>
                    </a:lnTo>
                    <a:lnTo>
                      <a:pt x="492861" y="42233"/>
                    </a:lnTo>
                    <a:lnTo>
                      <a:pt x="494624" y="44261"/>
                    </a:lnTo>
                    <a:lnTo>
                      <a:pt x="494624" y="44878"/>
                    </a:lnTo>
                    <a:lnTo>
                      <a:pt x="493478" y="44613"/>
                    </a:lnTo>
                    <a:lnTo>
                      <a:pt x="493214" y="45230"/>
                    </a:lnTo>
                    <a:lnTo>
                      <a:pt x="495506" y="46112"/>
                    </a:lnTo>
                    <a:lnTo>
                      <a:pt x="495859" y="46377"/>
                    </a:lnTo>
                    <a:lnTo>
                      <a:pt x="494095" y="48140"/>
                    </a:lnTo>
                    <a:lnTo>
                      <a:pt x="491186" y="48405"/>
                    </a:lnTo>
                    <a:lnTo>
                      <a:pt x="489422" y="47523"/>
                    </a:lnTo>
                    <a:lnTo>
                      <a:pt x="487659" y="44349"/>
                    </a:lnTo>
                    <a:lnTo>
                      <a:pt x="488806" y="48140"/>
                    </a:lnTo>
                    <a:lnTo>
                      <a:pt x="488541" y="49022"/>
                    </a:lnTo>
                    <a:lnTo>
                      <a:pt x="481223" y="47876"/>
                    </a:lnTo>
                    <a:lnTo>
                      <a:pt x="478578" y="48140"/>
                    </a:lnTo>
                    <a:lnTo>
                      <a:pt x="478049" y="49286"/>
                    </a:lnTo>
                    <a:lnTo>
                      <a:pt x="480076" y="48405"/>
                    </a:lnTo>
                    <a:lnTo>
                      <a:pt x="482105" y="48669"/>
                    </a:lnTo>
                    <a:lnTo>
                      <a:pt x="482105" y="50961"/>
                    </a:lnTo>
                    <a:lnTo>
                      <a:pt x="483251" y="52108"/>
                    </a:lnTo>
                    <a:lnTo>
                      <a:pt x="487042" y="53254"/>
                    </a:lnTo>
                    <a:lnTo>
                      <a:pt x="487042" y="54753"/>
                    </a:lnTo>
                    <a:lnTo>
                      <a:pt x="485014" y="58279"/>
                    </a:lnTo>
                    <a:lnTo>
                      <a:pt x="483251" y="57398"/>
                    </a:lnTo>
                    <a:lnTo>
                      <a:pt x="483515" y="58544"/>
                    </a:lnTo>
                    <a:lnTo>
                      <a:pt x="487306" y="59690"/>
                    </a:lnTo>
                    <a:lnTo>
                      <a:pt x="487306" y="60836"/>
                    </a:lnTo>
                    <a:lnTo>
                      <a:pt x="491097" y="61718"/>
                    </a:lnTo>
                    <a:lnTo>
                      <a:pt x="491362" y="62600"/>
                    </a:lnTo>
                    <a:lnTo>
                      <a:pt x="489951" y="64363"/>
                    </a:lnTo>
                    <a:lnTo>
                      <a:pt x="491979" y="64099"/>
                    </a:lnTo>
                    <a:lnTo>
                      <a:pt x="492597" y="64980"/>
                    </a:lnTo>
                    <a:lnTo>
                      <a:pt x="489422" y="65862"/>
                    </a:lnTo>
                    <a:lnTo>
                      <a:pt x="493478" y="66479"/>
                    </a:lnTo>
                    <a:lnTo>
                      <a:pt x="492332" y="67096"/>
                    </a:lnTo>
                    <a:lnTo>
                      <a:pt x="491186" y="68860"/>
                    </a:lnTo>
                    <a:lnTo>
                      <a:pt x="493831" y="69477"/>
                    </a:lnTo>
                    <a:lnTo>
                      <a:pt x="494977" y="70358"/>
                    </a:lnTo>
                    <a:lnTo>
                      <a:pt x="494977" y="72122"/>
                    </a:lnTo>
                    <a:lnTo>
                      <a:pt x="501414" y="80851"/>
                    </a:lnTo>
                    <a:lnTo>
                      <a:pt x="496740" y="87287"/>
                    </a:lnTo>
                    <a:lnTo>
                      <a:pt x="497093" y="87904"/>
                    </a:lnTo>
                    <a:lnTo>
                      <a:pt x="493919" y="87904"/>
                    </a:lnTo>
                    <a:lnTo>
                      <a:pt x="496300" y="89050"/>
                    </a:lnTo>
                    <a:lnTo>
                      <a:pt x="496564" y="91960"/>
                    </a:lnTo>
                    <a:lnTo>
                      <a:pt x="499827" y="94252"/>
                    </a:lnTo>
                    <a:lnTo>
                      <a:pt x="502736" y="97779"/>
                    </a:lnTo>
                    <a:lnTo>
                      <a:pt x="508290" y="101306"/>
                    </a:lnTo>
                    <a:lnTo>
                      <a:pt x="508555" y="102804"/>
                    </a:lnTo>
                    <a:lnTo>
                      <a:pt x="513228" y="105450"/>
                    </a:lnTo>
                    <a:lnTo>
                      <a:pt x="518782" y="112767"/>
                    </a:lnTo>
                    <a:lnTo>
                      <a:pt x="520281" y="112150"/>
                    </a:lnTo>
                    <a:lnTo>
                      <a:pt x="522045" y="112767"/>
                    </a:lnTo>
                    <a:lnTo>
                      <a:pt x="522045" y="114795"/>
                    </a:lnTo>
                    <a:lnTo>
                      <a:pt x="517901" y="118587"/>
                    </a:lnTo>
                    <a:lnTo>
                      <a:pt x="517019" y="118851"/>
                    </a:lnTo>
                    <a:lnTo>
                      <a:pt x="514727" y="117705"/>
                    </a:lnTo>
                    <a:lnTo>
                      <a:pt x="507673" y="118587"/>
                    </a:lnTo>
                    <a:lnTo>
                      <a:pt x="501237" y="115677"/>
                    </a:lnTo>
                    <a:lnTo>
                      <a:pt x="499474" y="112150"/>
                    </a:lnTo>
                    <a:lnTo>
                      <a:pt x="497446" y="111004"/>
                    </a:lnTo>
                    <a:lnTo>
                      <a:pt x="497181" y="111621"/>
                    </a:lnTo>
                    <a:lnTo>
                      <a:pt x="498327" y="113385"/>
                    </a:lnTo>
                    <a:lnTo>
                      <a:pt x="500356" y="118675"/>
                    </a:lnTo>
                    <a:lnTo>
                      <a:pt x="500091" y="119292"/>
                    </a:lnTo>
                    <a:lnTo>
                      <a:pt x="497446" y="118146"/>
                    </a:lnTo>
                    <a:lnTo>
                      <a:pt x="494272" y="120174"/>
                    </a:lnTo>
                    <a:lnTo>
                      <a:pt x="489246" y="131018"/>
                    </a:lnTo>
                    <a:lnTo>
                      <a:pt x="489246" y="132782"/>
                    </a:lnTo>
                    <a:lnTo>
                      <a:pt x="487835" y="136309"/>
                    </a:lnTo>
                    <a:lnTo>
                      <a:pt x="488453" y="137455"/>
                    </a:lnTo>
                    <a:lnTo>
                      <a:pt x="489335" y="139747"/>
                    </a:lnTo>
                    <a:lnTo>
                      <a:pt x="488188" y="141510"/>
                    </a:lnTo>
                    <a:lnTo>
                      <a:pt x="487306" y="145566"/>
                    </a:lnTo>
                    <a:lnTo>
                      <a:pt x="488806" y="147859"/>
                    </a:lnTo>
                    <a:lnTo>
                      <a:pt x="487306" y="151914"/>
                    </a:lnTo>
                    <a:lnTo>
                      <a:pt x="488188" y="151297"/>
                    </a:lnTo>
                    <a:lnTo>
                      <a:pt x="491715" y="149269"/>
                    </a:lnTo>
                    <a:lnTo>
                      <a:pt x="491715" y="150151"/>
                    </a:lnTo>
                    <a:lnTo>
                      <a:pt x="489687" y="151297"/>
                    </a:lnTo>
                    <a:lnTo>
                      <a:pt x="490833" y="151914"/>
                    </a:lnTo>
                    <a:lnTo>
                      <a:pt x="490568" y="154559"/>
                    </a:lnTo>
                    <a:lnTo>
                      <a:pt x="490304" y="155441"/>
                    </a:lnTo>
                    <a:lnTo>
                      <a:pt x="488806" y="156058"/>
                    </a:lnTo>
                    <a:lnTo>
                      <a:pt x="488541" y="156675"/>
                    </a:lnTo>
                    <a:lnTo>
                      <a:pt x="491186" y="157293"/>
                    </a:lnTo>
                    <a:lnTo>
                      <a:pt x="491450" y="157910"/>
                    </a:lnTo>
                    <a:lnTo>
                      <a:pt x="491186" y="158527"/>
                    </a:lnTo>
                    <a:lnTo>
                      <a:pt x="487659" y="159409"/>
                    </a:lnTo>
                    <a:lnTo>
                      <a:pt x="487659" y="160555"/>
                    </a:lnTo>
                    <a:lnTo>
                      <a:pt x="487042" y="160819"/>
                    </a:lnTo>
                    <a:lnTo>
                      <a:pt x="486160" y="159938"/>
                    </a:lnTo>
                    <a:lnTo>
                      <a:pt x="485014" y="161437"/>
                    </a:lnTo>
                    <a:lnTo>
                      <a:pt x="484132" y="159056"/>
                    </a:lnTo>
                    <a:lnTo>
                      <a:pt x="483515" y="159673"/>
                    </a:lnTo>
                    <a:lnTo>
                      <a:pt x="477343" y="169283"/>
                    </a:lnTo>
                    <a:lnTo>
                      <a:pt x="473552" y="170430"/>
                    </a:lnTo>
                    <a:lnTo>
                      <a:pt x="471789" y="164610"/>
                    </a:lnTo>
                    <a:lnTo>
                      <a:pt x="471172" y="167255"/>
                    </a:lnTo>
                    <a:lnTo>
                      <a:pt x="472935" y="169901"/>
                    </a:lnTo>
                    <a:lnTo>
                      <a:pt x="472053" y="173075"/>
                    </a:lnTo>
                    <a:lnTo>
                      <a:pt x="468526" y="174485"/>
                    </a:lnTo>
                    <a:lnTo>
                      <a:pt x="467116" y="176249"/>
                    </a:lnTo>
                    <a:lnTo>
                      <a:pt x="467997" y="178276"/>
                    </a:lnTo>
                    <a:lnTo>
                      <a:pt x="467116" y="179423"/>
                    </a:lnTo>
                    <a:lnTo>
                      <a:pt x="462707" y="181186"/>
                    </a:lnTo>
                    <a:lnTo>
                      <a:pt x="460327" y="183479"/>
                    </a:lnTo>
                    <a:lnTo>
                      <a:pt x="461209" y="184096"/>
                    </a:lnTo>
                    <a:lnTo>
                      <a:pt x="464118" y="182949"/>
                    </a:lnTo>
                    <a:lnTo>
                      <a:pt x="465264" y="183214"/>
                    </a:lnTo>
                    <a:lnTo>
                      <a:pt x="465529" y="186741"/>
                    </a:lnTo>
                    <a:lnTo>
                      <a:pt x="464912" y="190532"/>
                    </a:lnTo>
                    <a:lnTo>
                      <a:pt x="462884" y="191149"/>
                    </a:lnTo>
                    <a:lnTo>
                      <a:pt x="461385" y="192912"/>
                    </a:lnTo>
                    <a:lnTo>
                      <a:pt x="463765" y="192383"/>
                    </a:lnTo>
                    <a:lnTo>
                      <a:pt x="464383" y="194147"/>
                    </a:lnTo>
                    <a:lnTo>
                      <a:pt x="468791" y="193530"/>
                    </a:lnTo>
                    <a:lnTo>
                      <a:pt x="468438" y="195558"/>
                    </a:lnTo>
                    <a:lnTo>
                      <a:pt x="466675" y="202523"/>
                    </a:lnTo>
                    <a:lnTo>
                      <a:pt x="465793" y="202523"/>
                    </a:lnTo>
                    <a:lnTo>
                      <a:pt x="465529" y="201641"/>
                    </a:lnTo>
                    <a:lnTo>
                      <a:pt x="464647" y="201024"/>
                    </a:lnTo>
                    <a:lnTo>
                      <a:pt x="462002" y="201906"/>
                    </a:lnTo>
                    <a:lnTo>
                      <a:pt x="462884" y="202787"/>
                    </a:lnTo>
                    <a:lnTo>
                      <a:pt x="464030" y="202787"/>
                    </a:lnTo>
                    <a:lnTo>
                      <a:pt x="463501" y="209753"/>
                    </a:lnTo>
                    <a:lnTo>
                      <a:pt x="462884" y="211516"/>
                    </a:lnTo>
                    <a:lnTo>
                      <a:pt x="460592" y="213897"/>
                    </a:lnTo>
                    <a:lnTo>
                      <a:pt x="460327" y="213632"/>
                    </a:lnTo>
                    <a:lnTo>
                      <a:pt x="458563" y="209224"/>
                    </a:lnTo>
                    <a:lnTo>
                      <a:pt x="458299" y="209224"/>
                    </a:lnTo>
                    <a:lnTo>
                      <a:pt x="457682" y="213897"/>
                    </a:lnTo>
                    <a:lnTo>
                      <a:pt x="461209" y="216542"/>
                    </a:lnTo>
                    <a:lnTo>
                      <a:pt x="461209" y="217159"/>
                    </a:lnTo>
                    <a:lnTo>
                      <a:pt x="458916" y="217776"/>
                    </a:lnTo>
                    <a:lnTo>
                      <a:pt x="459534" y="218922"/>
                    </a:lnTo>
                    <a:lnTo>
                      <a:pt x="459181" y="220068"/>
                    </a:lnTo>
                    <a:lnTo>
                      <a:pt x="458034" y="220333"/>
                    </a:lnTo>
                    <a:lnTo>
                      <a:pt x="459181" y="219187"/>
                    </a:lnTo>
                    <a:lnTo>
                      <a:pt x="458299" y="219451"/>
                    </a:lnTo>
                    <a:lnTo>
                      <a:pt x="457417" y="220597"/>
                    </a:lnTo>
                    <a:lnTo>
                      <a:pt x="455125" y="227915"/>
                    </a:lnTo>
                    <a:lnTo>
                      <a:pt x="454508" y="228797"/>
                    </a:lnTo>
                    <a:lnTo>
                      <a:pt x="453009" y="230561"/>
                    </a:lnTo>
                    <a:lnTo>
                      <a:pt x="449835" y="229679"/>
                    </a:lnTo>
                    <a:lnTo>
                      <a:pt x="452127" y="231706"/>
                    </a:lnTo>
                    <a:lnTo>
                      <a:pt x="450099" y="231090"/>
                    </a:lnTo>
                    <a:lnTo>
                      <a:pt x="447190" y="232588"/>
                    </a:lnTo>
                    <a:lnTo>
                      <a:pt x="445162" y="234969"/>
                    </a:lnTo>
                    <a:lnTo>
                      <a:pt x="440489" y="234969"/>
                    </a:lnTo>
                    <a:lnTo>
                      <a:pt x="439343" y="237261"/>
                    </a:lnTo>
                    <a:lnTo>
                      <a:pt x="436433" y="237261"/>
                    </a:lnTo>
                    <a:lnTo>
                      <a:pt x="432378" y="234616"/>
                    </a:lnTo>
                    <a:lnTo>
                      <a:pt x="432995" y="237261"/>
                    </a:lnTo>
                    <a:lnTo>
                      <a:pt x="431496" y="237526"/>
                    </a:lnTo>
                    <a:lnTo>
                      <a:pt x="430350" y="239554"/>
                    </a:lnTo>
                    <a:lnTo>
                      <a:pt x="429204" y="241934"/>
                    </a:lnTo>
                    <a:lnTo>
                      <a:pt x="426911" y="242816"/>
                    </a:lnTo>
                    <a:lnTo>
                      <a:pt x="425148" y="243080"/>
                    </a:lnTo>
                    <a:lnTo>
                      <a:pt x="424619" y="242199"/>
                    </a:lnTo>
                    <a:lnTo>
                      <a:pt x="426029" y="239025"/>
                    </a:lnTo>
                    <a:lnTo>
                      <a:pt x="425148" y="236380"/>
                    </a:lnTo>
                    <a:lnTo>
                      <a:pt x="424883" y="234616"/>
                    </a:lnTo>
                    <a:lnTo>
                      <a:pt x="424619" y="229943"/>
                    </a:lnTo>
                    <a:lnTo>
                      <a:pt x="422855" y="226681"/>
                    </a:lnTo>
                    <a:lnTo>
                      <a:pt x="423120" y="222273"/>
                    </a:lnTo>
                    <a:lnTo>
                      <a:pt x="421621" y="225799"/>
                    </a:lnTo>
                    <a:lnTo>
                      <a:pt x="420739" y="226064"/>
                    </a:lnTo>
                    <a:lnTo>
                      <a:pt x="416948" y="223683"/>
                    </a:lnTo>
                    <a:lnTo>
                      <a:pt x="416948" y="223066"/>
                    </a:lnTo>
                    <a:lnTo>
                      <a:pt x="417830" y="221920"/>
                    </a:lnTo>
                    <a:lnTo>
                      <a:pt x="418976" y="218746"/>
                    </a:lnTo>
                    <a:lnTo>
                      <a:pt x="415714" y="223154"/>
                    </a:lnTo>
                    <a:lnTo>
                      <a:pt x="413686" y="222537"/>
                    </a:lnTo>
                    <a:lnTo>
                      <a:pt x="413069" y="221920"/>
                    </a:lnTo>
                    <a:lnTo>
                      <a:pt x="413686" y="218129"/>
                    </a:lnTo>
                    <a:lnTo>
                      <a:pt x="411658" y="222537"/>
                    </a:lnTo>
                    <a:lnTo>
                      <a:pt x="407250" y="224829"/>
                    </a:lnTo>
                    <a:lnTo>
                      <a:pt x="403723" y="225094"/>
                    </a:lnTo>
                    <a:lnTo>
                      <a:pt x="402312" y="224212"/>
                    </a:lnTo>
                    <a:lnTo>
                      <a:pt x="402929" y="218922"/>
                    </a:lnTo>
                    <a:lnTo>
                      <a:pt x="402312" y="217512"/>
                    </a:lnTo>
                    <a:lnTo>
                      <a:pt x="399138" y="217776"/>
                    </a:lnTo>
                    <a:lnTo>
                      <a:pt x="396493" y="220068"/>
                    </a:lnTo>
                    <a:lnTo>
                      <a:pt x="391291" y="214249"/>
                    </a:lnTo>
                    <a:lnTo>
                      <a:pt x="389880" y="211604"/>
                    </a:lnTo>
                    <a:lnTo>
                      <a:pt x="389263" y="214249"/>
                    </a:lnTo>
                    <a:lnTo>
                      <a:pt x="387764" y="215396"/>
                    </a:lnTo>
                    <a:lnTo>
                      <a:pt x="387764" y="216542"/>
                    </a:lnTo>
                    <a:lnTo>
                      <a:pt x="388646" y="217159"/>
                    </a:lnTo>
                    <a:lnTo>
                      <a:pt x="387235" y="220950"/>
                    </a:lnTo>
                    <a:lnTo>
                      <a:pt x="385737" y="219539"/>
                    </a:lnTo>
                    <a:lnTo>
                      <a:pt x="384237" y="221303"/>
                    </a:lnTo>
                    <a:lnTo>
                      <a:pt x="381063" y="223595"/>
                    </a:lnTo>
                    <a:lnTo>
                      <a:pt x="378419" y="224477"/>
                    </a:lnTo>
                    <a:lnTo>
                      <a:pt x="375774" y="222184"/>
                    </a:lnTo>
                    <a:lnTo>
                      <a:pt x="372247" y="221303"/>
                    </a:lnTo>
                    <a:lnTo>
                      <a:pt x="370219" y="221920"/>
                    </a:lnTo>
                    <a:lnTo>
                      <a:pt x="365811" y="226857"/>
                    </a:lnTo>
                    <a:lnTo>
                      <a:pt x="364311" y="227739"/>
                    </a:lnTo>
                    <a:lnTo>
                      <a:pt x="362284" y="226857"/>
                    </a:lnTo>
                    <a:lnTo>
                      <a:pt x="361666" y="222184"/>
                    </a:lnTo>
                    <a:lnTo>
                      <a:pt x="362813" y="219275"/>
                    </a:lnTo>
                    <a:lnTo>
                      <a:pt x="362813" y="214338"/>
                    </a:lnTo>
                    <a:lnTo>
                      <a:pt x="361049" y="210546"/>
                    </a:lnTo>
                    <a:lnTo>
                      <a:pt x="361049" y="207637"/>
                    </a:lnTo>
                    <a:lnTo>
                      <a:pt x="359286" y="210811"/>
                    </a:lnTo>
                    <a:lnTo>
                      <a:pt x="359903" y="211957"/>
                    </a:lnTo>
                    <a:lnTo>
                      <a:pt x="356376" y="213985"/>
                    </a:lnTo>
                    <a:lnTo>
                      <a:pt x="354878" y="211692"/>
                    </a:lnTo>
                    <a:lnTo>
                      <a:pt x="351615" y="211428"/>
                    </a:lnTo>
                    <a:lnTo>
                      <a:pt x="345267" y="215219"/>
                    </a:lnTo>
                    <a:lnTo>
                      <a:pt x="342357" y="215748"/>
                    </a:lnTo>
                    <a:lnTo>
                      <a:pt x="338919" y="213985"/>
                    </a:lnTo>
                    <a:lnTo>
                      <a:pt x="339801" y="212486"/>
                    </a:lnTo>
                    <a:lnTo>
                      <a:pt x="343063" y="211075"/>
                    </a:lnTo>
                    <a:lnTo>
                      <a:pt x="339801" y="211957"/>
                    </a:lnTo>
                    <a:lnTo>
                      <a:pt x="338037" y="214867"/>
                    </a:lnTo>
                    <a:lnTo>
                      <a:pt x="336891" y="215484"/>
                    </a:lnTo>
                    <a:lnTo>
                      <a:pt x="336010" y="214602"/>
                    </a:lnTo>
                    <a:lnTo>
                      <a:pt x="336539" y="213720"/>
                    </a:lnTo>
                    <a:lnTo>
                      <a:pt x="335657" y="210546"/>
                    </a:lnTo>
                    <a:lnTo>
                      <a:pt x="334775" y="210282"/>
                    </a:lnTo>
                    <a:lnTo>
                      <a:pt x="333012" y="210546"/>
                    </a:lnTo>
                    <a:lnTo>
                      <a:pt x="328339" y="213720"/>
                    </a:lnTo>
                    <a:lnTo>
                      <a:pt x="327457" y="212839"/>
                    </a:lnTo>
                    <a:lnTo>
                      <a:pt x="326840" y="210811"/>
                    </a:lnTo>
                    <a:lnTo>
                      <a:pt x="327722" y="208430"/>
                    </a:lnTo>
                    <a:lnTo>
                      <a:pt x="327104" y="205785"/>
                    </a:lnTo>
                    <a:lnTo>
                      <a:pt x="325694" y="204022"/>
                    </a:lnTo>
                    <a:lnTo>
                      <a:pt x="326575" y="201994"/>
                    </a:lnTo>
                    <a:lnTo>
                      <a:pt x="327986" y="202258"/>
                    </a:lnTo>
                    <a:lnTo>
                      <a:pt x="328251" y="201377"/>
                    </a:lnTo>
                    <a:lnTo>
                      <a:pt x="327369" y="201994"/>
                    </a:lnTo>
                    <a:lnTo>
                      <a:pt x="326487" y="200848"/>
                    </a:lnTo>
                    <a:lnTo>
                      <a:pt x="325341" y="196175"/>
                    </a:lnTo>
                    <a:lnTo>
                      <a:pt x="324195" y="194411"/>
                    </a:lnTo>
                    <a:lnTo>
                      <a:pt x="325077" y="189739"/>
                    </a:lnTo>
                    <a:lnTo>
                      <a:pt x="324195" y="187093"/>
                    </a:lnTo>
                    <a:lnTo>
                      <a:pt x="320139" y="184184"/>
                    </a:lnTo>
                    <a:lnTo>
                      <a:pt x="322167" y="181274"/>
                    </a:lnTo>
                    <a:lnTo>
                      <a:pt x="323578" y="175191"/>
                    </a:lnTo>
                    <a:lnTo>
                      <a:pt x="323313" y="171399"/>
                    </a:lnTo>
                    <a:lnTo>
                      <a:pt x="320933" y="169636"/>
                    </a:lnTo>
                    <a:lnTo>
                      <a:pt x="320933" y="166374"/>
                    </a:lnTo>
                    <a:lnTo>
                      <a:pt x="318288" y="165757"/>
                    </a:lnTo>
                    <a:lnTo>
                      <a:pt x="316260" y="162230"/>
                    </a:lnTo>
                    <a:lnTo>
                      <a:pt x="316877" y="160202"/>
                    </a:lnTo>
                    <a:lnTo>
                      <a:pt x="314849" y="163112"/>
                    </a:lnTo>
                    <a:lnTo>
                      <a:pt x="314232" y="162847"/>
                    </a:lnTo>
                    <a:lnTo>
                      <a:pt x="312733" y="160819"/>
                    </a:lnTo>
                    <a:lnTo>
                      <a:pt x="311852" y="160202"/>
                    </a:lnTo>
                    <a:lnTo>
                      <a:pt x="308942" y="159938"/>
                    </a:lnTo>
                    <a:lnTo>
                      <a:pt x="309206" y="161437"/>
                    </a:lnTo>
                    <a:lnTo>
                      <a:pt x="308325" y="161437"/>
                    </a:lnTo>
                    <a:lnTo>
                      <a:pt x="306032" y="159938"/>
                    </a:lnTo>
                    <a:lnTo>
                      <a:pt x="305415" y="155882"/>
                    </a:lnTo>
                    <a:lnTo>
                      <a:pt x="305680" y="155265"/>
                    </a:lnTo>
                    <a:lnTo>
                      <a:pt x="310088" y="157293"/>
                    </a:lnTo>
                    <a:lnTo>
                      <a:pt x="311234" y="156675"/>
                    </a:lnTo>
                    <a:lnTo>
                      <a:pt x="307707" y="154647"/>
                    </a:lnTo>
                    <a:lnTo>
                      <a:pt x="308325" y="153766"/>
                    </a:lnTo>
                    <a:lnTo>
                      <a:pt x="303652" y="152620"/>
                    </a:lnTo>
                    <a:lnTo>
                      <a:pt x="302417" y="151121"/>
                    </a:lnTo>
                    <a:lnTo>
                      <a:pt x="301888" y="147594"/>
                    </a:lnTo>
                    <a:lnTo>
                      <a:pt x="302770" y="147594"/>
                    </a:lnTo>
                    <a:lnTo>
                      <a:pt x="301006" y="144420"/>
                    </a:lnTo>
                    <a:lnTo>
                      <a:pt x="301624" y="143803"/>
                    </a:lnTo>
                    <a:lnTo>
                      <a:pt x="304798" y="144420"/>
                    </a:lnTo>
                    <a:lnTo>
                      <a:pt x="305062" y="140629"/>
                    </a:lnTo>
                    <a:lnTo>
                      <a:pt x="303299" y="138248"/>
                    </a:lnTo>
                    <a:lnTo>
                      <a:pt x="303564" y="137631"/>
                    </a:lnTo>
                    <a:lnTo>
                      <a:pt x="306473" y="138513"/>
                    </a:lnTo>
                    <a:lnTo>
                      <a:pt x="304445" y="136749"/>
                    </a:lnTo>
                    <a:lnTo>
                      <a:pt x="304710" y="134457"/>
                    </a:lnTo>
                    <a:lnTo>
                      <a:pt x="302329" y="132958"/>
                    </a:lnTo>
                    <a:lnTo>
                      <a:pt x="300566" y="131195"/>
                    </a:lnTo>
                    <a:lnTo>
                      <a:pt x="300301" y="129696"/>
                    </a:lnTo>
                    <a:lnTo>
                      <a:pt x="298273" y="130842"/>
                    </a:lnTo>
                    <a:lnTo>
                      <a:pt x="298009" y="130225"/>
                    </a:lnTo>
                    <a:lnTo>
                      <a:pt x="301535" y="127051"/>
                    </a:lnTo>
                    <a:lnTo>
                      <a:pt x="300037" y="122378"/>
                    </a:lnTo>
                    <a:lnTo>
                      <a:pt x="296598" y="117969"/>
                    </a:lnTo>
                    <a:lnTo>
                      <a:pt x="298362" y="118322"/>
                    </a:lnTo>
                    <a:lnTo>
                      <a:pt x="299244" y="115413"/>
                    </a:lnTo>
                    <a:lnTo>
                      <a:pt x="299508" y="113914"/>
                    </a:lnTo>
                    <a:lnTo>
                      <a:pt x="299244" y="111886"/>
                    </a:lnTo>
                    <a:lnTo>
                      <a:pt x="298097" y="109858"/>
                    </a:lnTo>
                    <a:lnTo>
                      <a:pt x="298362" y="108976"/>
                    </a:lnTo>
                    <a:lnTo>
                      <a:pt x="301888" y="108359"/>
                    </a:lnTo>
                    <a:lnTo>
                      <a:pt x="305062" y="104568"/>
                    </a:lnTo>
                    <a:lnTo>
                      <a:pt x="304798" y="104568"/>
                    </a:lnTo>
                    <a:lnTo>
                      <a:pt x="302770" y="107213"/>
                    </a:lnTo>
                    <a:lnTo>
                      <a:pt x="299596" y="108359"/>
                    </a:lnTo>
                    <a:lnTo>
                      <a:pt x="299596" y="107742"/>
                    </a:lnTo>
                    <a:lnTo>
                      <a:pt x="301359" y="104215"/>
                    </a:lnTo>
                    <a:lnTo>
                      <a:pt x="302506" y="101835"/>
                    </a:lnTo>
                    <a:lnTo>
                      <a:pt x="303122" y="100424"/>
                    </a:lnTo>
                    <a:lnTo>
                      <a:pt x="305151" y="97250"/>
                    </a:lnTo>
                    <a:lnTo>
                      <a:pt x="308942" y="93723"/>
                    </a:lnTo>
                    <a:lnTo>
                      <a:pt x="307178" y="99542"/>
                    </a:lnTo>
                    <a:lnTo>
                      <a:pt x="310705" y="90196"/>
                    </a:lnTo>
                    <a:lnTo>
                      <a:pt x="312733" y="89050"/>
                    </a:lnTo>
                    <a:lnTo>
                      <a:pt x="314496" y="87022"/>
                    </a:lnTo>
                    <a:lnTo>
                      <a:pt x="312116" y="92224"/>
                    </a:lnTo>
                    <a:lnTo>
                      <a:pt x="312998" y="93723"/>
                    </a:lnTo>
                    <a:lnTo>
                      <a:pt x="314761" y="93988"/>
                    </a:lnTo>
                    <a:lnTo>
                      <a:pt x="314761" y="98131"/>
                    </a:lnTo>
                    <a:lnTo>
                      <a:pt x="318817" y="103069"/>
                    </a:lnTo>
                    <a:lnTo>
                      <a:pt x="320580" y="103333"/>
                    </a:lnTo>
                    <a:lnTo>
                      <a:pt x="323490" y="108006"/>
                    </a:lnTo>
                    <a:lnTo>
                      <a:pt x="327281" y="110651"/>
                    </a:lnTo>
                    <a:lnTo>
                      <a:pt x="329926" y="113825"/>
                    </a:lnTo>
                    <a:lnTo>
                      <a:pt x="331689" y="114972"/>
                    </a:lnTo>
                    <a:lnTo>
                      <a:pt x="333717" y="116735"/>
                    </a:lnTo>
                    <a:lnTo>
                      <a:pt x="335128" y="117000"/>
                    </a:lnTo>
                    <a:lnTo>
                      <a:pt x="340682" y="114354"/>
                    </a:lnTo>
                    <a:lnTo>
                      <a:pt x="342181" y="113208"/>
                    </a:lnTo>
                    <a:lnTo>
                      <a:pt x="349499" y="111180"/>
                    </a:lnTo>
                    <a:lnTo>
                      <a:pt x="353026" y="113208"/>
                    </a:lnTo>
                    <a:lnTo>
                      <a:pt x="355318" y="112944"/>
                    </a:lnTo>
                    <a:lnTo>
                      <a:pt x="356200" y="114443"/>
                    </a:lnTo>
                    <a:lnTo>
                      <a:pt x="358581" y="112679"/>
                    </a:lnTo>
                    <a:lnTo>
                      <a:pt x="362107" y="113561"/>
                    </a:lnTo>
                    <a:lnTo>
                      <a:pt x="363253" y="112944"/>
                    </a:lnTo>
                    <a:lnTo>
                      <a:pt x="365282" y="110299"/>
                    </a:lnTo>
                    <a:lnTo>
                      <a:pt x="369337" y="109681"/>
                    </a:lnTo>
                    <a:lnTo>
                      <a:pt x="370483" y="102981"/>
                    </a:lnTo>
                    <a:lnTo>
                      <a:pt x="373393" y="100953"/>
                    </a:lnTo>
                    <a:lnTo>
                      <a:pt x="377184" y="99189"/>
                    </a:lnTo>
                    <a:lnTo>
                      <a:pt x="389440" y="99807"/>
                    </a:lnTo>
                    <a:lnTo>
                      <a:pt x="389440" y="100953"/>
                    </a:lnTo>
                    <a:lnTo>
                      <a:pt x="387941" y="102981"/>
                    </a:lnTo>
                    <a:lnTo>
                      <a:pt x="390586" y="102452"/>
                    </a:lnTo>
                    <a:lnTo>
                      <a:pt x="398168" y="106243"/>
                    </a:lnTo>
                    <a:lnTo>
                      <a:pt x="400813" y="105626"/>
                    </a:lnTo>
                    <a:lnTo>
                      <a:pt x="402841" y="107654"/>
                    </a:lnTo>
                    <a:lnTo>
                      <a:pt x="405751" y="105890"/>
                    </a:lnTo>
                    <a:lnTo>
                      <a:pt x="409013" y="102452"/>
                    </a:lnTo>
                    <a:lnTo>
                      <a:pt x="413686" y="101835"/>
                    </a:lnTo>
                    <a:lnTo>
                      <a:pt x="415185" y="102981"/>
                    </a:lnTo>
                    <a:lnTo>
                      <a:pt x="419241" y="100688"/>
                    </a:lnTo>
                    <a:lnTo>
                      <a:pt x="422767" y="102716"/>
                    </a:lnTo>
                    <a:lnTo>
                      <a:pt x="423913" y="102099"/>
                    </a:lnTo>
                    <a:lnTo>
                      <a:pt x="425677" y="97691"/>
                    </a:lnTo>
                    <a:lnTo>
                      <a:pt x="426558" y="94252"/>
                    </a:lnTo>
                    <a:lnTo>
                      <a:pt x="426294" y="92753"/>
                    </a:lnTo>
                    <a:lnTo>
                      <a:pt x="429821" y="90990"/>
                    </a:lnTo>
                    <a:lnTo>
                      <a:pt x="430085" y="87463"/>
                    </a:lnTo>
                    <a:lnTo>
                      <a:pt x="428586" y="87728"/>
                    </a:lnTo>
                    <a:lnTo>
                      <a:pt x="428057" y="84818"/>
                    </a:lnTo>
                    <a:lnTo>
                      <a:pt x="428586" y="82173"/>
                    </a:lnTo>
                    <a:lnTo>
                      <a:pt x="431849" y="81291"/>
                    </a:lnTo>
                    <a:lnTo>
                      <a:pt x="431849" y="79528"/>
                    </a:lnTo>
                    <a:lnTo>
                      <a:pt x="434758" y="78117"/>
                    </a:lnTo>
                    <a:lnTo>
                      <a:pt x="436257" y="76618"/>
                    </a:lnTo>
                    <a:lnTo>
                      <a:pt x="437667" y="76354"/>
                    </a:lnTo>
                    <a:lnTo>
                      <a:pt x="438285" y="75472"/>
                    </a:lnTo>
                    <a:lnTo>
                      <a:pt x="436257" y="73444"/>
                    </a:lnTo>
                    <a:lnTo>
                      <a:pt x="435111" y="73709"/>
                    </a:lnTo>
                    <a:lnTo>
                      <a:pt x="434846" y="73092"/>
                    </a:lnTo>
                    <a:lnTo>
                      <a:pt x="435992" y="69300"/>
                    </a:lnTo>
                    <a:lnTo>
                      <a:pt x="435992" y="66391"/>
                    </a:lnTo>
                    <a:lnTo>
                      <a:pt x="436609" y="65509"/>
                    </a:lnTo>
                    <a:lnTo>
                      <a:pt x="438902" y="62335"/>
                    </a:lnTo>
                    <a:lnTo>
                      <a:pt x="440048" y="63834"/>
                    </a:lnTo>
                    <a:lnTo>
                      <a:pt x="444016" y="63305"/>
                    </a:lnTo>
                    <a:close/>
                    <a:moveTo>
                      <a:pt x="724920" y="89491"/>
                    </a:moveTo>
                    <a:lnTo>
                      <a:pt x="724039" y="84289"/>
                    </a:lnTo>
                    <a:lnTo>
                      <a:pt x="723157" y="83407"/>
                    </a:lnTo>
                    <a:lnTo>
                      <a:pt x="728359" y="75825"/>
                    </a:lnTo>
                    <a:lnTo>
                      <a:pt x="731004" y="74414"/>
                    </a:lnTo>
                    <a:lnTo>
                      <a:pt x="733914" y="78206"/>
                    </a:lnTo>
                    <a:lnTo>
                      <a:pt x="733914" y="79969"/>
                    </a:lnTo>
                    <a:lnTo>
                      <a:pt x="730387" y="88168"/>
                    </a:lnTo>
                    <a:lnTo>
                      <a:pt x="728976" y="89050"/>
                    </a:lnTo>
                    <a:lnTo>
                      <a:pt x="726066" y="89315"/>
                    </a:lnTo>
                    <a:lnTo>
                      <a:pt x="724920" y="89491"/>
                    </a:lnTo>
                    <a:close/>
                    <a:moveTo>
                      <a:pt x="457153" y="242640"/>
                    </a:moveTo>
                    <a:lnTo>
                      <a:pt x="456007" y="242022"/>
                    </a:lnTo>
                    <a:lnTo>
                      <a:pt x="456271" y="239994"/>
                    </a:lnTo>
                    <a:lnTo>
                      <a:pt x="456888" y="239377"/>
                    </a:lnTo>
                    <a:lnTo>
                      <a:pt x="455125" y="233558"/>
                    </a:lnTo>
                    <a:lnTo>
                      <a:pt x="456007" y="228356"/>
                    </a:lnTo>
                    <a:lnTo>
                      <a:pt x="458916" y="223419"/>
                    </a:lnTo>
                    <a:lnTo>
                      <a:pt x="460680" y="222008"/>
                    </a:lnTo>
                    <a:lnTo>
                      <a:pt x="460944" y="223419"/>
                    </a:lnTo>
                    <a:lnTo>
                      <a:pt x="460680" y="226328"/>
                    </a:lnTo>
                    <a:lnTo>
                      <a:pt x="461825" y="228092"/>
                    </a:lnTo>
                    <a:lnTo>
                      <a:pt x="461209" y="231619"/>
                    </a:lnTo>
                    <a:lnTo>
                      <a:pt x="462972" y="235145"/>
                    </a:lnTo>
                    <a:lnTo>
                      <a:pt x="461825" y="238319"/>
                    </a:lnTo>
                    <a:lnTo>
                      <a:pt x="460327" y="240083"/>
                    </a:lnTo>
                    <a:lnTo>
                      <a:pt x="457153" y="242640"/>
                    </a:lnTo>
                    <a:close/>
                    <a:moveTo>
                      <a:pt x="714428" y="183126"/>
                    </a:moveTo>
                    <a:lnTo>
                      <a:pt x="710901" y="181098"/>
                    </a:lnTo>
                    <a:lnTo>
                      <a:pt x="710637" y="180216"/>
                    </a:lnTo>
                    <a:lnTo>
                      <a:pt x="711518" y="175279"/>
                    </a:lnTo>
                    <a:lnTo>
                      <a:pt x="712400" y="175543"/>
                    </a:lnTo>
                    <a:lnTo>
                      <a:pt x="713018" y="176161"/>
                    </a:lnTo>
                    <a:lnTo>
                      <a:pt x="715663" y="173251"/>
                    </a:lnTo>
                    <a:lnTo>
                      <a:pt x="717690" y="173516"/>
                    </a:lnTo>
                    <a:lnTo>
                      <a:pt x="726772" y="178805"/>
                    </a:lnTo>
                    <a:lnTo>
                      <a:pt x="727653" y="179952"/>
                    </a:lnTo>
                    <a:lnTo>
                      <a:pt x="727389" y="181715"/>
                    </a:lnTo>
                    <a:lnTo>
                      <a:pt x="726243" y="182597"/>
                    </a:lnTo>
                    <a:lnTo>
                      <a:pt x="718043" y="182068"/>
                    </a:lnTo>
                    <a:lnTo>
                      <a:pt x="714428" y="183126"/>
                    </a:lnTo>
                    <a:close/>
                    <a:moveTo>
                      <a:pt x="620529" y="180216"/>
                    </a:moveTo>
                    <a:lnTo>
                      <a:pt x="619912" y="179952"/>
                    </a:lnTo>
                    <a:lnTo>
                      <a:pt x="617619" y="179687"/>
                    </a:lnTo>
                    <a:lnTo>
                      <a:pt x="617266" y="178805"/>
                    </a:lnTo>
                    <a:lnTo>
                      <a:pt x="618766" y="177660"/>
                    </a:lnTo>
                    <a:lnTo>
                      <a:pt x="618501" y="172722"/>
                    </a:lnTo>
                    <a:lnTo>
                      <a:pt x="617002" y="173604"/>
                    </a:lnTo>
                    <a:lnTo>
                      <a:pt x="613211" y="179423"/>
                    </a:lnTo>
                    <a:lnTo>
                      <a:pt x="612329" y="179687"/>
                    </a:lnTo>
                    <a:lnTo>
                      <a:pt x="610566" y="176161"/>
                    </a:lnTo>
                    <a:lnTo>
                      <a:pt x="610830" y="172634"/>
                    </a:lnTo>
                    <a:lnTo>
                      <a:pt x="612594" y="169460"/>
                    </a:lnTo>
                    <a:lnTo>
                      <a:pt x="618766" y="168578"/>
                    </a:lnTo>
                    <a:lnTo>
                      <a:pt x="619912" y="170341"/>
                    </a:lnTo>
                    <a:lnTo>
                      <a:pt x="619030" y="172369"/>
                    </a:lnTo>
                    <a:lnTo>
                      <a:pt x="619912" y="174662"/>
                    </a:lnTo>
                    <a:lnTo>
                      <a:pt x="623086" y="170606"/>
                    </a:lnTo>
                    <a:lnTo>
                      <a:pt x="626877" y="172634"/>
                    </a:lnTo>
                    <a:lnTo>
                      <a:pt x="626524" y="175543"/>
                    </a:lnTo>
                    <a:lnTo>
                      <a:pt x="623879" y="177571"/>
                    </a:lnTo>
                    <a:lnTo>
                      <a:pt x="622733" y="177571"/>
                    </a:lnTo>
                    <a:lnTo>
                      <a:pt x="621851" y="175279"/>
                    </a:lnTo>
                    <a:lnTo>
                      <a:pt x="621234" y="175279"/>
                    </a:lnTo>
                    <a:lnTo>
                      <a:pt x="620353" y="177042"/>
                    </a:lnTo>
                    <a:lnTo>
                      <a:pt x="620353" y="180216"/>
                    </a:lnTo>
                    <a:close/>
                    <a:moveTo>
                      <a:pt x="783817" y="340066"/>
                    </a:moveTo>
                    <a:lnTo>
                      <a:pt x="783817" y="338038"/>
                    </a:lnTo>
                    <a:lnTo>
                      <a:pt x="782935" y="338302"/>
                    </a:lnTo>
                    <a:lnTo>
                      <a:pt x="782670" y="339448"/>
                    </a:lnTo>
                    <a:lnTo>
                      <a:pt x="780378" y="339448"/>
                    </a:lnTo>
                    <a:lnTo>
                      <a:pt x="779761" y="338831"/>
                    </a:lnTo>
                    <a:lnTo>
                      <a:pt x="779144" y="335657"/>
                    </a:lnTo>
                    <a:lnTo>
                      <a:pt x="780554" y="333012"/>
                    </a:lnTo>
                    <a:lnTo>
                      <a:pt x="779937" y="332748"/>
                    </a:lnTo>
                    <a:lnTo>
                      <a:pt x="779673" y="331866"/>
                    </a:lnTo>
                    <a:lnTo>
                      <a:pt x="780290" y="331249"/>
                    </a:lnTo>
                    <a:lnTo>
                      <a:pt x="781172" y="332130"/>
                    </a:lnTo>
                    <a:lnTo>
                      <a:pt x="782670" y="332130"/>
                    </a:lnTo>
                    <a:lnTo>
                      <a:pt x="781172" y="330984"/>
                    </a:lnTo>
                    <a:lnTo>
                      <a:pt x="782318" y="326576"/>
                    </a:lnTo>
                    <a:lnTo>
                      <a:pt x="784346" y="325077"/>
                    </a:lnTo>
                    <a:lnTo>
                      <a:pt x="785757" y="324195"/>
                    </a:lnTo>
                    <a:lnTo>
                      <a:pt x="785757" y="322961"/>
                    </a:lnTo>
                    <a:lnTo>
                      <a:pt x="787520" y="321198"/>
                    </a:lnTo>
                    <a:lnTo>
                      <a:pt x="790782" y="317406"/>
                    </a:lnTo>
                    <a:lnTo>
                      <a:pt x="791399" y="317406"/>
                    </a:lnTo>
                    <a:lnTo>
                      <a:pt x="791399" y="318552"/>
                    </a:lnTo>
                    <a:lnTo>
                      <a:pt x="792810" y="317935"/>
                    </a:lnTo>
                    <a:lnTo>
                      <a:pt x="793427" y="319434"/>
                    </a:lnTo>
                    <a:lnTo>
                      <a:pt x="791399" y="320316"/>
                    </a:lnTo>
                    <a:lnTo>
                      <a:pt x="791664" y="322873"/>
                    </a:lnTo>
                    <a:lnTo>
                      <a:pt x="791928" y="325782"/>
                    </a:lnTo>
                    <a:lnTo>
                      <a:pt x="789900" y="331601"/>
                    </a:lnTo>
                    <a:lnTo>
                      <a:pt x="787608" y="333012"/>
                    </a:lnTo>
                    <a:lnTo>
                      <a:pt x="786726" y="334511"/>
                    </a:lnTo>
                    <a:lnTo>
                      <a:pt x="785580" y="335657"/>
                    </a:lnTo>
                    <a:lnTo>
                      <a:pt x="784699" y="339184"/>
                    </a:lnTo>
                    <a:lnTo>
                      <a:pt x="783817" y="340066"/>
                    </a:lnTo>
                    <a:close/>
                    <a:moveTo>
                      <a:pt x="668051" y="188416"/>
                    </a:moveTo>
                    <a:lnTo>
                      <a:pt x="668051" y="187005"/>
                    </a:lnTo>
                    <a:lnTo>
                      <a:pt x="666905" y="186124"/>
                    </a:lnTo>
                    <a:lnTo>
                      <a:pt x="666288" y="186653"/>
                    </a:lnTo>
                    <a:lnTo>
                      <a:pt x="665936" y="185771"/>
                    </a:lnTo>
                    <a:lnTo>
                      <a:pt x="666817" y="184008"/>
                    </a:lnTo>
                    <a:lnTo>
                      <a:pt x="667699" y="184272"/>
                    </a:lnTo>
                    <a:lnTo>
                      <a:pt x="667963" y="184889"/>
                    </a:lnTo>
                    <a:lnTo>
                      <a:pt x="672019" y="184889"/>
                    </a:lnTo>
                    <a:lnTo>
                      <a:pt x="674312" y="184889"/>
                    </a:lnTo>
                    <a:lnTo>
                      <a:pt x="680130" y="184272"/>
                    </a:lnTo>
                    <a:lnTo>
                      <a:pt x="687978" y="184889"/>
                    </a:lnTo>
                    <a:lnTo>
                      <a:pt x="686479" y="186035"/>
                    </a:lnTo>
                    <a:lnTo>
                      <a:pt x="675105" y="187534"/>
                    </a:lnTo>
                    <a:lnTo>
                      <a:pt x="668051" y="188416"/>
                    </a:lnTo>
                    <a:close/>
                    <a:moveTo>
                      <a:pt x="726684" y="233029"/>
                    </a:moveTo>
                    <a:lnTo>
                      <a:pt x="726684" y="232412"/>
                    </a:lnTo>
                    <a:lnTo>
                      <a:pt x="728711" y="230120"/>
                    </a:lnTo>
                    <a:lnTo>
                      <a:pt x="727830" y="230120"/>
                    </a:lnTo>
                    <a:lnTo>
                      <a:pt x="723774" y="233029"/>
                    </a:lnTo>
                    <a:lnTo>
                      <a:pt x="722892" y="233029"/>
                    </a:lnTo>
                    <a:lnTo>
                      <a:pt x="722275" y="231883"/>
                    </a:lnTo>
                    <a:lnTo>
                      <a:pt x="722275" y="231001"/>
                    </a:lnTo>
                    <a:lnTo>
                      <a:pt x="724920" y="228709"/>
                    </a:lnTo>
                    <a:lnTo>
                      <a:pt x="727565" y="228709"/>
                    </a:lnTo>
                    <a:lnTo>
                      <a:pt x="729329" y="226946"/>
                    </a:lnTo>
                    <a:lnTo>
                      <a:pt x="731092" y="226681"/>
                    </a:lnTo>
                    <a:lnTo>
                      <a:pt x="731709" y="226946"/>
                    </a:lnTo>
                    <a:lnTo>
                      <a:pt x="731709" y="229238"/>
                    </a:lnTo>
                    <a:lnTo>
                      <a:pt x="730827" y="229855"/>
                    </a:lnTo>
                    <a:lnTo>
                      <a:pt x="729946" y="229238"/>
                    </a:lnTo>
                    <a:lnTo>
                      <a:pt x="730210" y="231001"/>
                    </a:lnTo>
                    <a:lnTo>
                      <a:pt x="726684" y="233029"/>
                    </a:lnTo>
                    <a:close/>
                    <a:moveTo>
                      <a:pt x="550435" y="303299"/>
                    </a:moveTo>
                    <a:lnTo>
                      <a:pt x="549818" y="300654"/>
                    </a:lnTo>
                    <a:lnTo>
                      <a:pt x="550082" y="298009"/>
                    </a:lnTo>
                    <a:lnTo>
                      <a:pt x="549201" y="295981"/>
                    </a:lnTo>
                    <a:lnTo>
                      <a:pt x="549465" y="290779"/>
                    </a:lnTo>
                    <a:lnTo>
                      <a:pt x="549730" y="286988"/>
                    </a:lnTo>
                    <a:lnTo>
                      <a:pt x="549994" y="285842"/>
                    </a:lnTo>
                    <a:lnTo>
                      <a:pt x="550523" y="286107"/>
                    </a:lnTo>
                    <a:lnTo>
                      <a:pt x="552022" y="291661"/>
                    </a:lnTo>
                    <a:lnTo>
                      <a:pt x="550876" y="301889"/>
                    </a:lnTo>
                    <a:lnTo>
                      <a:pt x="550435" y="303299"/>
                    </a:lnTo>
                    <a:close/>
                    <a:moveTo>
                      <a:pt x="250045" y="293424"/>
                    </a:moveTo>
                    <a:lnTo>
                      <a:pt x="250663" y="290779"/>
                    </a:lnTo>
                    <a:lnTo>
                      <a:pt x="254189" y="292543"/>
                    </a:lnTo>
                    <a:lnTo>
                      <a:pt x="256217" y="291661"/>
                    </a:lnTo>
                    <a:lnTo>
                      <a:pt x="264417" y="298979"/>
                    </a:lnTo>
                    <a:lnTo>
                      <a:pt x="265916" y="298979"/>
                    </a:lnTo>
                    <a:lnTo>
                      <a:pt x="268296" y="297568"/>
                    </a:lnTo>
                    <a:lnTo>
                      <a:pt x="274380" y="301360"/>
                    </a:lnTo>
                    <a:lnTo>
                      <a:pt x="276143" y="301095"/>
                    </a:lnTo>
                    <a:lnTo>
                      <a:pt x="276760" y="299685"/>
                    </a:lnTo>
                    <a:lnTo>
                      <a:pt x="279053" y="299420"/>
                    </a:lnTo>
                    <a:lnTo>
                      <a:pt x="284078" y="305592"/>
                    </a:lnTo>
                    <a:lnTo>
                      <a:pt x="284960" y="311058"/>
                    </a:lnTo>
                    <a:lnTo>
                      <a:pt x="285842" y="312204"/>
                    </a:lnTo>
                    <a:lnTo>
                      <a:pt x="289368" y="313086"/>
                    </a:lnTo>
                    <a:lnTo>
                      <a:pt x="290250" y="312469"/>
                    </a:lnTo>
                    <a:lnTo>
                      <a:pt x="292278" y="313968"/>
                    </a:lnTo>
                    <a:lnTo>
                      <a:pt x="293777" y="313703"/>
                    </a:lnTo>
                    <a:lnTo>
                      <a:pt x="294041" y="312557"/>
                    </a:lnTo>
                    <a:lnTo>
                      <a:pt x="294923" y="312557"/>
                    </a:lnTo>
                    <a:lnTo>
                      <a:pt x="296951" y="314056"/>
                    </a:lnTo>
                    <a:lnTo>
                      <a:pt x="300742" y="314937"/>
                    </a:lnTo>
                    <a:lnTo>
                      <a:pt x="304004" y="314056"/>
                    </a:lnTo>
                    <a:lnTo>
                      <a:pt x="304886" y="312910"/>
                    </a:lnTo>
                    <a:lnTo>
                      <a:pt x="308148" y="313439"/>
                    </a:lnTo>
                    <a:lnTo>
                      <a:pt x="310441" y="314849"/>
                    </a:lnTo>
                    <a:lnTo>
                      <a:pt x="309823" y="314849"/>
                    </a:lnTo>
                    <a:lnTo>
                      <a:pt x="312998" y="315466"/>
                    </a:lnTo>
                    <a:lnTo>
                      <a:pt x="316524" y="315731"/>
                    </a:lnTo>
                    <a:lnTo>
                      <a:pt x="319698" y="314232"/>
                    </a:lnTo>
                    <a:lnTo>
                      <a:pt x="321726" y="315731"/>
                    </a:lnTo>
                    <a:lnTo>
                      <a:pt x="324371" y="317142"/>
                    </a:lnTo>
                    <a:lnTo>
                      <a:pt x="326664" y="315996"/>
                    </a:lnTo>
                    <a:lnTo>
                      <a:pt x="329926" y="313968"/>
                    </a:lnTo>
                    <a:lnTo>
                      <a:pt x="329661" y="311058"/>
                    </a:lnTo>
                    <a:lnTo>
                      <a:pt x="331072" y="308413"/>
                    </a:lnTo>
                    <a:lnTo>
                      <a:pt x="331689" y="307531"/>
                    </a:lnTo>
                    <a:lnTo>
                      <a:pt x="330543" y="305504"/>
                    </a:lnTo>
                    <a:lnTo>
                      <a:pt x="332836" y="303740"/>
                    </a:lnTo>
                    <a:lnTo>
                      <a:pt x="338126" y="303476"/>
                    </a:lnTo>
                    <a:lnTo>
                      <a:pt x="339272" y="305504"/>
                    </a:lnTo>
                    <a:lnTo>
                      <a:pt x="340947" y="310177"/>
                    </a:lnTo>
                    <a:lnTo>
                      <a:pt x="346502" y="310441"/>
                    </a:lnTo>
                    <a:lnTo>
                      <a:pt x="348529" y="308413"/>
                    </a:lnTo>
                    <a:lnTo>
                      <a:pt x="351439" y="310177"/>
                    </a:lnTo>
                    <a:lnTo>
                      <a:pt x="353203" y="311940"/>
                    </a:lnTo>
                    <a:lnTo>
                      <a:pt x="356729" y="313086"/>
                    </a:lnTo>
                    <a:lnTo>
                      <a:pt x="358492" y="312204"/>
                    </a:lnTo>
                    <a:lnTo>
                      <a:pt x="359374" y="312469"/>
                    </a:lnTo>
                    <a:lnTo>
                      <a:pt x="361402" y="315378"/>
                    </a:lnTo>
                    <a:lnTo>
                      <a:pt x="362284" y="315378"/>
                    </a:lnTo>
                    <a:lnTo>
                      <a:pt x="365193" y="314761"/>
                    </a:lnTo>
                    <a:lnTo>
                      <a:pt x="371629" y="315378"/>
                    </a:lnTo>
                    <a:lnTo>
                      <a:pt x="372158" y="314497"/>
                    </a:lnTo>
                    <a:lnTo>
                      <a:pt x="372776" y="315643"/>
                    </a:lnTo>
                    <a:lnTo>
                      <a:pt x="372158" y="316789"/>
                    </a:lnTo>
                    <a:lnTo>
                      <a:pt x="373040" y="318552"/>
                    </a:lnTo>
                    <a:lnTo>
                      <a:pt x="372776" y="319699"/>
                    </a:lnTo>
                    <a:lnTo>
                      <a:pt x="374187" y="321462"/>
                    </a:lnTo>
                    <a:lnTo>
                      <a:pt x="374187" y="322344"/>
                    </a:lnTo>
                    <a:lnTo>
                      <a:pt x="372776" y="322608"/>
                    </a:lnTo>
                    <a:lnTo>
                      <a:pt x="374803" y="323843"/>
                    </a:lnTo>
                    <a:lnTo>
                      <a:pt x="376214" y="322344"/>
                    </a:lnTo>
                    <a:lnTo>
                      <a:pt x="376832" y="322961"/>
                    </a:lnTo>
                    <a:lnTo>
                      <a:pt x="377713" y="324724"/>
                    </a:lnTo>
                    <a:lnTo>
                      <a:pt x="375950" y="330896"/>
                    </a:lnTo>
                    <a:lnTo>
                      <a:pt x="377978" y="332395"/>
                    </a:lnTo>
                    <a:lnTo>
                      <a:pt x="384414" y="337068"/>
                    </a:lnTo>
                    <a:lnTo>
                      <a:pt x="387941" y="337068"/>
                    </a:lnTo>
                    <a:lnTo>
                      <a:pt x="390850" y="335569"/>
                    </a:lnTo>
                    <a:lnTo>
                      <a:pt x="391115" y="332659"/>
                    </a:lnTo>
                    <a:lnTo>
                      <a:pt x="393143" y="332924"/>
                    </a:lnTo>
                    <a:lnTo>
                      <a:pt x="396316" y="332307"/>
                    </a:lnTo>
                    <a:lnTo>
                      <a:pt x="398697" y="335481"/>
                    </a:lnTo>
                    <a:lnTo>
                      <a:pt x="402488" y="335834"/>
                    </a:lnTo>
                    <a:lnTo>
                      <a:pt x="404252" y="332659"/>
                    </a:lnTo>
                    <a:lnTo>
                      <a:pt x="406280" y="334952"/>
                    </a:lnTo>
                    <a:lnTo>
                      <a:pt x="411570" y="336098"/>
                    </a:lnTo>
                    <a:lnTo>
                      <a:pt x="413333" y="337861"/>
                    </a:lnTo>
                    <a:lnTo>
                      <a:pt x="413333" y="339625"/>
                    </a:lnTo>
                    <a:lnTo>
                      <a:pt x="410953" y="352762"/>
                    </a:lnTo>
                    <a:lnTo>
                      <a:pt x="411570" y="355142"/>
                    </a:lnTo>
                    <a:lnTo>
                      <a:pt x="412451" y="353379"/>
                    </a:lnTo>
                    <a:lnTo>
                      <a:pt x="413333" y="357435"/>
                    </a:lnTo>
                    <a:lnTo>
                      <a:pt x="414215" y="357435"/>
                    </a:lnTo>
                    <a:lnTo>
                      <a:pt x="416860" y="359463"/>
                    </a:lnTo>
                    <a:lnTo>
                      <a:pt x="416507" y="360961"/>
                    </a:lnTo>
                    <a:lnTo>
                      <a:pt x="415361" y="361226"/>
                    </a:lnTo>
                    <a:lnTo>
                      <a:pt x="411305" y="360080"/>
                    </a:lnTo>
                    <a:lnTo>
                      <a:pt x="411922" y="358934"/>
                    </a:lnTo>
                    <a:lnTo>
                      <a:pt x="411658" y="358052"/>
                    </a:lnTo>
                    <a:lnTo>
                      <a:pt x="409366" y="357170"/>
                    </a:lnTo>
                    <a:lnTo>
                      <a:pt x="405575" y="357787"/>
                    </a:lnTo>
                    <a:lnTo>
                      <a:pt x="400020" y="356641"/>
                    </a:lnTo>
                    <a:lnTo>
                      <a:pt x="399491" y="355230"/>
                    </a:lnTo>
                    <a:lnTo>
                      <a:pt x="397463" y="355230"/>
                    </a:lnTo>
                    <a:lnTo>
                      <a:pt x="393671" y="354966"/>
                    </a:lnTo>
                    <a:lnTo>
                      <a:pt x="393054" y="352938"/>
                    </a:lnTo>
                    <a:lnTo>
                      <a:pt x="388646" y="350029"/>
                    </a:lnTo>
                    <a:lnTo>
                      <a:pt x="385737" y="350910"/>
                    </a:lnTo>
                    <a:lnTo>
                      <a:pt x="384237" y="350910"/>
                    </a:lnTo>
                    <a:lnTo>
                      <a:pt x="379565" y="352057"/>
                    </a:lnTo>
                    <a:lnTo>
                      <a:pt x="378683" y="352057"/>
                    </a:lnTo>
                    <a:lnTo>
                      <a:pt x="374010" y="353203"/>
                    </a:lnTo>
                    <a:lnTo>
                      <a:pt x="367044" y="350558"/>
                    </a:lnTo>
                    <a:lnTo>
                      <a:pt x="365017" y="350822"/>
                    </a:lnTo>
                    <a:lnTo>
                      <a:pt x="354789" y="348794"/>
                    </a:lnTo>
                    <a:lnTo>
                      <a:pt x="354525" y="350293"/>
                    </a:lnTo>
                    <a:lnTo>
                      <a:pt x="353378" y="349411"/>
                    </a:lnTo>
                    <a:lnTo>
                      <a:pt x="353114" y="351439"/>
                    </a:lnTo>
                    <a:lnTo>
                      <a:pt x="345796" y="348530"/>
                    </a:lnTo>
                    <a:lnTo>
                      <a:pt x="341388" y="349147"/>
                    </a:lnTo>
                    <a:lnTo>
                      <a:pt x="340859" y="348530"/>
                    </a:lnTo>
                    <a:lnTo>
                      <a:pt x="338214" y="348530"/>
                    </a:lnTo>
                    <a:lnTo>
                      <a:pt x="336450" y="347648"/>
                    </a:lnTo>
                    <a:lnTo>
                      <a:pt x="331513" y="347119"/>
                    </a:lnTo>
                    <a:lnTo>
                      <a:pt x="329485" y="345356"/>
                    </a:lnTo>
                    <a:lnTo>
                      <a:pt x="324548" y="343945"/>
                    </a:lnTo>
                    <a:lnTo>
                      <a:pt x="324019" y="343592"/>
                    </a:lnTo>
                    <a:lnTo>
                      <a:pt x="321373" y="342446"/>
                    </a:lnTo>
                    <a:lnTo>
                      <a:pt x="314937" y="339537"/>
                    </a:lnTo>
                    <a:lnTo>
                      <a:pt x="317230" y="339801"/>
                    </a:lnTo>
                    <a:lnTo>
                      <a:pt x="314056" y="338302"/>
                    </a:lnTo>
                    <a:lnTo>
                      <a:pt x="310000" y="337421"/>
                    </a:lnTo>
                    <a:lnTo>
                      <a:pt x="306209" y="336539"/>
                    </a:lnTo>
                    <a:lnTo>
                      <a:pt x="303299" y="336539"/>
                    </a:lnTo>
                    <a:lnTo>
                      <a:pt x="302770" y="335393"/>
                    </a:lnTo>
                    <a:lnTo>
                      <a:pt x="300125" y="334775"/>
                    </a:lnTo>
                    <a:lnTo>
                      <a:pt x="295981" y="334775"/>
                    </a:lnTo>
                    <a:lnTo>
                      <a:pt x="291925" y="334775"/>
                    </a:lnTo>
                    <a:lnTo>
                      <a:pt x="291308" y="332748"/>
                    </a:lnTo>
                    <a:lnTo>
                      <a:pt x="289280" y="334511"/>
                    </a:lnTo>
                    <a:lnTo>
                      <a:pt x="287517" y="334158"/>
                    </a:lnTo>
                    <a:lnTo>
                      <a:pt x="287164" y="335304"/>
                    </a:lnTo>
                    <a:lnTo>
                      <a:pt x="286018" y="334423"/>
                    </a:lnTo>
                    <a:lnTo>
                      <a:pt x="283726" y="335040"/>
                    </a:lnTo>
                    <a:lnTo>
                      <a:pt x="282844" y="337332"/>
                    </a:lnTo>
                    <a:lnTo>
                      <a:pt x="281433" y="335040"/>
                    </a:lnTo>
                    <a:lnTo>
                      <a:pt x="280551" y="336803"/>
                    </a:lnTo>
                    <a:lnTo>
                      <a:pt x="280199" y="336803"/>
                    </a:lnTo>
                    <a:lnTo>
                      <a:pt x="273763" y="335040"/>
                    </a:lnTo>
                    <a:lnTo>
                      <a:pt x="269090" y="335304"/>
                    </a:lnTo>
                    <a:lnTo>
                      <a:pt x="266797" y="332395"/>
                    </a:lnTo>
                    <a:lnTo>
                      <a:pt x="262389" y="330896"/>
                    </a:lnTo>
                    <a:lnTo>
                      <a:pt x="265651" y="330014"/>
                    </a:lnTo>
                    <a:lnTo>
                      <a:pt x="263623" y="329397"/>
                    </a:lnTo>
                    <a:lnTo>
                      <a:pt x="260978" y="330014"/>
                    </a:lnTo>
                    <a:lnTo>
                      <a:pt x="253396" y="330014"/>
                    </a:lnTo>
                    <a:lnTo>
                      <a:pt x="250221" y="328251"/>
                    </a:lnTo>
                    <a:lnTo>
                      <a:pt x="249076" y="328515"/>
                    </a:lnTo>
                    <a:lnTo>
                      <a:pt x="247929" y="328251"/>
                    </a:lnTo>
                    <a:lnTo>
                      <a:pt x="245549" y="327369"/>
                    </a:lnTo>
                    <a:lnTo>
                      <a:pt x="239730" y="328251"/>
                    </a:lnTo>
                    <a:lnTo>
                      <a:pt x="237702" y="326488"/>
                    </a:lnTo>
                    <a:lnTo>
                      <a:pt x="237084" y="323225"/>
                    </a:lnTo>
                    <a:lnTo>
                      <a:pt x="238848" y="322079"/>
                    </a:lnTo>
                    <a:lnTo>
                      <a:pt x="238584" y="320933"/>
                    </a:lnTo>
                    <a:lnTo>
                      <a:pt x="240347" y="319522"/>
                    </a:lnTo>
                    <a:lnTo>
                      <a:pt x="240611" y="318641"/>
                    </a:lnTo>
                    <a:lnTo>
                      <a:pt x="240347" y="317142"/>
                    </a:lnTo>
                    <a:lnTo>
                      <a:pt x="238584" y="316613"/>
                    </a:lnTo>
                    <a:lnTo>
                      <a:pt x="235674" y="317494"/>
                    </a:lnTo>
                    <a:lnTo>
                      <a:pt x="231001" y="314321"/>
                    </a:lnTo>
                    <a:lnTo>
                      <a:pt x="228356" y="313439"/>
                    </a:lnTo>
                    <a:lnTo>
                      <a:pt x="218746" y="314585"/>
                    </a:lnTo>
                    <a:lnTo>
                      <a:pt x="213544" y="313174"/>
                    </a:lnTo>
                    <a:lnTo>
                      <a:pt x="213191" y="313792"/>
                    </a:lnTo>
                    <a:lnTo>
                      <a:pt x="212309" y="313792"/>
                    </a:lnTo>
                    <a:lnTo>
                      <a:pt x="211692" y="312028"/>
                    </a:lnTo>
                    <a:lnTo>
                      <a:pt x="212838" y="311764"/>
                    </a:lnTo>
                    <a:lnTo>
                      <a:pt x="214337" y="309736"/>
                    </a:lnTo>
                    <a:lnTo>
                      <a:pt x="215219" y="309736"/>
                    </a:lnTo>
                    <a:lnTo>
                      <a:pt x="216100" y="312028"/>
                    </a:lnTo>
                    <a:lnTo>
                      <a:pt x="217246" y="313174"/>
                    </a:lnTo>
                    <a:lnTo>
                      <a:pt x="220421" y="308237"/>
                    </a:lnTo>
                    <a:lnTo>
                      <a:pt x="220421" y="304710"/>
                    </a:lnTo>
                    <a:lnTo>
                      <a:pt x="221302" y="304181"/>
                    </a:lnTo>
                    <a:lnTo>
                      <a:pt x="222449" y="305944"/>
                    </a:lnTo>
                    <a:lnTo>
                      <a:pt x="224476" y="303916"/>
                    </a:lnTo>
                    <a:lnTo>
                      <a:pt x="225623" y="301007"/>
                    </a:lnTo>
                    <a:lnTo>
                      <a:pt x="227034" y="298627"/>
                    </a:lnTo>
                    <a:lnTo>
                      <a:pt x="225887" y="295100"/>
                    </a:lnTo>
                    <a:lnTo>
                      <a:pt x="227650" y="292807"/>
                    </a:lnTo>
                    <a:lnTo>
                      <a:pt x="228797" y="290779"/>
                    </a:lnTo>
                    <a:lnTo>
                      <a:pt x="230296" y="290162"/>
                    </a:lnTo>
                    <a:lnTo>
                      <a:pt x="230913" y="290779"/>
                    </a:lnTo>
                    <a:lnTo>
                      <a:pt x="231177" y="292807"/>
                    </a:lnTo>
                    <a:lnTo>
                      <a:pt x="231794" y="293424"/>
                    </a:lnTo>
                    <a:lnTo>
                      <a:pt x="232941" y="293424"/>
                    </a:lnTo>
                    <a:lnTo>
                      <a:pt x="233822" y="291926"/>
                    </a:lnTo>
                    <a:lnTo>
                      <a:pt x="234704" y="291661"/>
                    </a:lnTo>
                    <a:lnTo>
                      <a:pt x="239377" y="294218"/>
                    </a:lnTo>
                    <a:lnTo>
                      <a:pt x="244050" y="293689"/>
                    </a:lnTo>
                    <a:lnTo>
                      <a:pt x="245196" y="295717"/>
                    </a:lnTo>
                    <a:lnTo>
                      <a:pt x="250486" y="295100"/>
                    </a:lnTo>
                    <a:lnTo>
                      <a:pt x="250486" y="293424"/>
                    </a:lnTo>
                    <a:close/>
                    <a:moveTo>
                      <a:pt x="581118" y="277378"/>
                    </a:moveTo>
                    <a:lnTo>
                      <a:pt x="577591" y="272705"/>
                    </a:lnTo>
                    <a:lnTo>
                      <a:pt x="578208" y="269795"/>
                    </a:lnTo>
                    <a:lnTo>
                      <a:pt x="579090" y="269178"/>
                    </a:lnTo>
                    <a:lnTo>
                      <a:pt x="578561" y="268297"/>
                    </a:lnTo>
                    <a:lnTo>
                      <a:pt x="579707" y="267150"/>
                    </a:lnTo>
                    <a:lnTo>
                      <a:pt x="580060" y="268032"/>
                    </a:lnTo>
                    <a:lnTo>
                      <a:pt x="581470" y="267768"/>
                    </a:lnTo>
                    <a:lnTo>
                      <a:pt x="582616" y="269795"/>
                    </a:lnTo>
                    <a:lnTo>
                      <a:pt x="583145" y="270677"/>
                    </a:lnTo>
                    <a:lnTo>
                      <a:pt x="582881" y="276849"/>
                    </a:lnTo>
                    <a:lnTo>
                      <a:pt x="581118" y="277378"/>
                    </a:lnTo>
                    <a:close/>
                    <a:moveTo>
                      <a:pt x="713547" y="160731"/>
                    </a:moveTo>
                    <a:lnTo>
                      <a:pt x="711254" y="159232"/>
                    </a:lnTo>
                    <a:lnTo>
                      <a:pt x="711254" y="157733"/>
                    </a:lnTo>
                    <a:lnTo>
                      <a:pt x="709491" y="157998"/>
                    </a:lnTo>
                    <a:lnTo>
                      <a:pt x="707463" y="159144"/>
                    </a:lnTo>
                    <a:lnTo>
                      <a:pt x="706846" y="158880"/>
                    </a:lnTo>
                    <a:lnTo>
                      <a:pt x="706581" y="157381"/>
                    </a:lnTo>
                    <a:lnTo>
                      <a:pt x="707463" y="155088"/>
                    </a:lnTo>
                    <a:lnTo>
                      <a:pt x="703672" y="151561"/>
                    </a:lnTo>
                    <a:lnTo>
                      <a:pt x="703407" y="150063"/>
                    </a:lnTo>
                    <a:lnTo>
                      <a:pt x="704289" y="148917"/>
                    </a:lnTo>
                    <a:lnTo>
                      <a:pt x="704024" y="147418"/>
                    </a:lnTo>
                    <a:lnTo>
                      <a:pt x="705171" y="146889"/>
                    </a:lnTo>
                    <a:lnTo>
                      <a:pt x="706581" y="149181"/>
                    </a:lnTo>
                    <a:lnTo>
                      <a:pt x="706846" y="149181"/>
                    </a:lnTo>
                    <a:lnTo>
                      <a:pt x="708609" y="146536"/>
                    </a:lnTo>
                    <a:lnTo>
                      <a:pt x="710108" y="147682"/>
                    </a:lnTo>
                    <a:lnTo>
                      <a:pt x="711871" y="150327"/>
                    </a:lnTo>
                    <a:lnTo>
                      <a:pt x="710460" y="153854"/>
                    </a:lnTo>
                    <a:lnTo>
                      <a:pt x="711342" y="156146"/>
                    </a:lnTo>
                    <a:lnTo>
                      <a:pt x="715398" y="156146"/>
                    </a:lnTo>
                    <a:lnTo>
                      <a:pt x="716544" y="157910"/>
                    </a:lnTo>
                    <a:lnTo>
                      <a:pt x="715398" y="159673"/>
                    </a:lnTo>
                    <a:lnTo>
                      <a:pt x="713547" y="160731"/>
                    </a:lnTo>
                    <a:close/>
                    <a:moveTo>
                      <a:pt x="689653" y="39940"/>
                    </a:moveTo>
                    <a:lnTo>
                      <a:pt x="689389" y="39059"/>
                    </a:lnTo>
                    <a:lnTo>
                      <a:pt x="690887" y="36414"/>
                    </a:lnTo>
                    <a:lnTo>
                      <a:pt x="692034" y="34033"/>
                    </a:lnTo>
                    <a:lnTo>
                      <a:pt x="689741" y="31741"/>
                    </a:lnTo>
                    <a:lnTo>
                      <a:pt x="690623" y="27068"/>
                    </a:lnTo>
                    <a:lnTo>
                      <a:pt x="690887" y="26539"/>
                    </a:lnTo>
                    <a:lnTo>
                      <a:pt x="693532" y="27685"/>
                    </a:lnTo>
                    <a:lnTo>
                      <a:pt x="694678" y="32975"/>
                    </a:lnTo>
                    <a:lnTo>
                      <a:pt x="692034" y="36149"/>
                    </a:lnTo>
                    <a:lnTo>
                      <a:pt x="692298" y="39059"/>
                    </a:lnTo>
                    <a:lnTo>
                      <a:pt x="689653" y="39940"/>
                    </a:lnTo>
                    <a:close/>
                    <a:moveTo>
                      <a:pt x="700410" y="151914"/>
                    </a:moveTo>
                    <a:lnTo>
                      <a:pt x="699528" y="151297"/>
                    </a:lnTo>
                    <a:lnTo>
                      <a:pt x="699263" y="146360"/>
                    </a:lnTo>
                    <a:lnTo>
                      <a:pt x="701026" y="145478"/>
                    </a:lnTo>
                    <a:lnTo>
                      <a:pt x="702437" y="145478"/>
                    </a:lnTo>
                    <a:lnTo>
                      <a:pt x="703319" y="145742"/>
                    </a:lnTo>
                    <a:lnTo>
                      <a:pt x="701820" y="151561"/>
                    </a:lnTo>
                    <a:lnTo>
                      <a:pt x="700410" y="151914"/>
                    </a:lnTo>
                    <a:close/>
                    <a:moveTo>
                      <a:pt x="556607" y="365105"/>
                    </a:moveTo>
                    <a:lnTo>
                      <a:pt x="553080" y="363342"/>
                    </a:lnTo>
                    <a:lnTo>
                      <a:pt x="552551" y="361843"/>
                    </a:lnTo>
                    <a:lnTo>
                      <a:pt x="551405" y="362108"/>
                    </a:lnTo>
                    <a:lnTo>
                      <a:pt x="550788" y="363254"/>
                    </a:lnTo>
                    <a:lnTo>
                      <a:pt x="548495" y="362637"/>
                    </a:lnTo>
                    <a:lnTo>
                      <a:pt x="546996" y="361138"/>
                    </a:lnTo>
                    <a:lnTo>
                      <a:pt x="539678" y="362020"/>
                    </a:lnTo>
                    <a:lnTo>
                      <a:pt x="537651" y="360521"/>
                    </a:lnTo>
                    <a:lnTo>
                      <a:pt x="536240" y="362813"/>
                    </a:lnTo>
                    <a:lnTo>
                      <a:pt x="533330" y="363695"/>
                    </a:lnTo>
                    <a:lnTo>
                      <a:pt x="532713" y="362196"/>
                    </a:lnTo>
                    <a:lnTo>
                      <a:pt x="532713" y="363078"/>
                    </a:lnTo>
                    <a:lnTo>
                      <a:pt x="532096" y="362725"/>
                    </a:lnTo>
                    <a:lnTo>
                      <a:pt x="528040" y="360697"/>
                    </a:lnTo>
                    <a:lnTo>
                      <a:pt x="528922" y="361843"/>
                    </a:lnTo>
                    <a:lnTo>
                      <a:pt x="528657" y="360961"/>
                    </a:lnTo>
                    <a:lnTo>
                      <a:pt x="524249" y="358669"/>
                    </a:lnTo>
                    <a:lnTo>
                      <a:pt x="527776" y="357523"/>
                    </a:lnTo>
                    <a:lnTo>
                      <a:pt x="527776" y="358140"/>
                    </a:lnTo>
                    <a:lnTo>
                      <a:pt x="528922" y="355495"/>
                    </a:lnTo>
                    <a:lnTo>
                      <a:pt x="531567" y="353732"/>
                    </a:lnTo>
                    <a:lnTo>
                      <a:pt x="526277" y="352586"/>
                    </a:lnTo>
                    <a:lnTo>
                      <a:pt x="528569" y="351968"/>
                    </a:lnTo>
                    <a:lnTo>
                      <a:pt x="528834" y="350822"/>
                    </a:lnTo>
                    <a:lnTo>
                      <a:pt x="530332" y="351439"/>
                    </a:lnTo>
                    <a:lnTo>
                      <a:pt x="533859" y="352586"/>
                    </a:lnTo>
                    <a:lnTo>
                      <a:pt x="534741" y="351087"/>
                    </a:lnTo>
                    <a:lnTo>
                      <a:pt x="536504" y="351351"/>
                    </a:lnTo>
                    <a:lnTo>
                      <a:pt x="538532" y="348971"/>
                    </a:lnTo>
                    <a:lnTo>
                      <a:pt x="540296" y="348089"/>
                    </a:lnTo>
                    <a:lnTo>
                      <a:pt x="542323" y="348353"/>
                    </a:lnTo>
                    <a:lnTo>
                      <a:pt x="543470" y="347207"/>
                    </a:lnTo>
                    <a:lnTo>
                      <a:pt x="544352" y="348353"/>
                    </a:lnTo>
                    <a:lnTo>
                      <a:pt x="547878" y="347472"/>
                    </a:lnTo>
                    <a:lnTo>
                      <a:pt x="550259" y="349500"/>
                    </a:lnTo>
                    <a:lnTo>
                      <a:pt x="555461" y="349764"/>
                    </a:lnTo>
                    <a:lnTo>
                      <a:pt x="558106" y="351792"/>
                    </a:lnTo>
                    <a:lnTo>
                      <a:pt x="561897" y="352938"/>
                    </a:lnTo>
                    <a:lnTo>
                      <a:pt x="564807" y="355848"/>
                    </a:lnTo>
                    <a:lnTo>
                      <a:pt x="566570" y="355583"/>
                    </a:lnTo>
                    <a:lnTo>
                      <a:pt x="567187" y="356465"/>
                    </a:lnTo>
                    <a:lnTo>
                      <a:pt x="569568" y="352938"/>
                    </a:lnTo>
                    <a:lnTo>
                      <a:pt x="571066" y="354084"/>
                    </a:lnTo>
                    <a:lnTo>
                      <a:pt x="573711" y="353467"/>
                    </a:lnTo>
                    <a:lnTo>
                      <a:pt x="576357" y="353467"/>
                    </a:lnTo>
                    <a:lnTo>
                      <a:pt x="578384" y="351968"/>
                    </a:lnTo>
                    <a:lnTo>
                      <a:pt x="578649" y="352586"/>
                    </a:lnTo>
                    <a:lnTo>
                      <a:pt x="578384" y="353732"/>
                    </a:lnTo>
                    <a:lnTo>
                      <a:pt x="578649" y="355495"/>
                    </a:lnTo>
                    <a:lnTo>
                      <a:pt x="581558" y="356641"/>
                    </a:lnTo>
                    <a:lnTo>
                      <a:pt x="583587" y="356994"/>
                    </a:lnTo>
                    <a:lnTo>
                      <a:pt x="588259" y="356112"/>
                    </a:lnTo>
                    <a:lnTo>
                      <a:pt x="589141" y="354966"/>
                    </a:lnTo>
                    <a:lnTo>
                      <a:pt x="588612" y="353555"/>
                    </a:lnTo>
                    <a:lnTo>
                      <a:pt x="591257" y="350910"/>
                    </a:lnTo>
                    <a:lnTo>
                      <a:pt x="594784" y="350029"/>
                    </a:lnTo>
                    <a:lnTo>
                      <a:pt x="598839" y="346502"/>
                    </a:lnTo>
                    <a:lnTo>
                      <a:pt x="597693" y="345885"/>
                    </a:lnTo>
                    <a:lnTo>
                      <a:pt x="594519" y="347031"/>
                    </a:lnTo>
                    <a:lnTo>
                      <a:pt x="594519" y="346149"/>
                    </a:lnTo>
                    <a:lnTo>
                      <a:pt x="596547" y="343240"/>
                    </a:lnTo>
                    <a:lnTo>
                      <a:pt x="597957" y="343769"/>
                    </a:lnTo>
                    <a:lnTo>
                      <a:pt x="599368" y="344915"/>
                    </a:lnTo>
                    <a:lnTo>
                      <a:pt x="600515" y="348706"/>
                    </a:lnTo>
                    <a:lnTo>
                      <a:pt x="599633" y="349852"/>
                    </a:lnTo>
                    <a:lnTo>
                      <a:pt x="598486" y="349588"/>
                    </a:lnTo>
                    <a:lnTo>
                      <a:pt x="597605" y="350734"/>
                    </a:lnTo>
                    <a:lnTo>
                      <a:pt x="597605" y="352233"/>
                    </a:lnTo>
                    <a:lnTo>
                      <a:pt x="597341" y="352850"/>
                    </a:lnTo>
                    <a:lnTo>
                      <a:pt x="595930" y="351968"/>
                    </a:lnTo>
                    <a:lnTo>
                      <a:pt x="595313" y="352586"/>
                    </a:lnTo>
                    <a:lnTo>
                      <a:pt x="596812" y="355230"/>
                    </a:lnTo>
                    <a:lnTo>
                      <a:pt x="596547" y="355848"/>
                    </a:lnTo>
                    <a:lnTo>
                      <a:pt x="586320" y="359903"/>
                    </a:lnTo>
                    <a:lnTo>
                      <a:pt x="580765" y="359374"/>
                    </a:lnTo>
                    <a:lnTo>
                      <a:pt x="573447" y="363166"/>
                    </a:lnTo>
                    <a:lnTo>
                      <a:pt x="569656" y="362020"/>
                    </a:lnTo>
                    <a:lnTo>
                      <a:pt x="564983" y="361138"/>
                    </a:lnTo>
                    <a:lnTo>
                      <a:pt x="564365" y="361138"/>
                    </a:lnTo>
                    <a:lnTo>
                      <a:pt x="564365" y="363166"/>
                    </a:lnTo>
                    <a:lnTo>
                      <a:pt x="563219" y="364047"/>
                    </a:lnTo>
                    <a:lnTo>
                      <a:pt x="560574" y="363166"/>
                    </a:lnTo>
                    <a:lnTo>
                      <a:pt x="556607" y="365105"/>
                    </a:lnTo>
                    <a:close/>
                    <a:moveTo>
                      <a:pt x="593902" y="276496"/>
                    </a:moveTo>
                    <a:lnTo>
                      <a:pt x="593373" y="276143"/>
                    </a:lnTo>
                    <a:lnTo>
                      <a:pt x="593637" y="273851"/>
                    </a:lnTo>
                    <a:lnTo>
                      <a:pt x="593020" y="272705"/>
                    </a:lnTo>
                    <a:lnTo>
                      <a:pt x="591874" y="275614"/>
                    </a:lnTo>
                    <a:lnTo>
                      <a:pt x="590992" y="275350"/>
                    </a:lnTo>
                    <a:lnTo>
                      <a:pt x="590463" y="274468"/>
                    </a:lnTo>
                    <a:lnTo>
                      <a:pt x="591610" y="273586"/>
                    </a:lnTo>
                    <a:lnTo>
                      <a:pt x="590728" y="273322"/>
                    </a:lnTo>
                    <a:lnTo>
                      <a:pt x="589846" y="275350"/>
                    </a:lnTo>
                    <a:lnTo>
                      <a:pt x="588083" y="275350"/>
                    </a:lnTo>
                    <a:lnTo>
                      <a:pt x="587818" y="273586"/>
                    </a:lnTo>
                    <a:lnTo>
                      <a:pt x="590463" y="267503"/>
                    </a:lnTo>
                    <a:lnTo>
                      <a:pt x="588965" y="261684"/>
                    </a:lnTo>
                    <a:lnTo>
                      <a:pt x="590111" y="259656"/>
                    </a:lnTo>
                    <a:lnTo>
                      <a:pt x="592756" y="259039"/>
                    </a:lnTo>
                    <a:lnTo>
                      <a:pt x="597164" y="256394"/>
                    </a:lnTo>
                    <a:lnTo>
                      <a:pt x="598046" y="259656"/>
                    </a:lnTo>
                    <a:lnTo>
                      <a:pt x="598575" y="264593"/>
                    </a:lnTo>
                    <a:lnTo>
                      <a:pt x="595666" y="267503"/>
                    </a:lnTo>
                    <a:lnTo>
                      <a:pt x="594784" y="270413"/>
                    </a:lnTo>
                    <a:lnTo>
                      <a:pt x="595666" y="270677"/>
                    </a:lnTo>
                    <a:lnTo>
                      <a:pt x="594784" y="271559"/>
                    </a:lnTo>
                    <a:lnTo>
                      <a:pt x="595930" y="272176"/>
                    </a:lnTo>
                    <a:lnTo>
                      <a:pt x="595666" y="274468"/>
                    </a:lnTo>
                    <a:lnTo>
                      <a:pt x="593902" y="276496"/>
                    </a:lnTo>
                    <a:close/>
                    <a:moveTo>
                      <a:pt x="469937" y="369249"/>
                    </a:moveTo>
                    <a:lnTo>
                      <a:pt x="463236" y="366957"/>
                    </a:lnTo>
                    <a:lnTo>
                      <a:pt x="463236" y="363783"/>
                    </a:lnTo>
                    <a:lnTo>
                      <a:pt x="464647" y="361755"/>
                    </a:lnTo>
                    <a:lnTo>
                      <a:pt x="463501" y="358581"/>
                    </a:lnTo>
                    <a:lnTo>
                      <a:pt x="465000" y="354790"/>
                    </a:lnTo>
                    <a:lnTo>
                      <a:pt x="467292" y="354790"/>
                    </a:lnTo>
                    <a:lnTo>
                      <a:pt x="473111" y="351528"/>
                    </a:lnTo>
                    <a:lnTo>
                      <a:pt x="477784" y="353908"/>
                    </a:lnTo>
                    <a:lnTo>
                      <a:pt x="478137" y="352145"/>
                    </a:lnTo>
                    <a:lnTo>
                      <a:pt x="481047" y="352145"/>
                    </a:lnTo>
                    <a:lnTo>
                      <a:pt x="481047" y="354437"/>
                    </a:lnTo>
                    <a:lnTo>
                      <a:pt x="481663" y="354173"/>
                    </a:lnTo>
                    <a:lnTo>
                      <a:pt x="481663" y="352674"/>
                    </a:lnTo>
                    <a:lnTo>
                      <a:pt x="482545" y="353291"/>
                    </a:lnTo>
                    <a:lnTo>
                      <a:pt x="482545" y="355319"/>
                    </a:lnTo>
                    <a:lnTo>
                      <a:pt x="483692" y="356200"/>
                    </a:lnTo>
                    <a:lnTo>
                      <a:pt x="485455" y="356729"/>
                    </a:lnTo>
                    <a:lnTo>
                      <a:pt x="485719" y="359374"/>
                    </a:lnTo>
                    <a:lnTo>
                      <a:pt x="487483" y="359374"/>
                    </a:lnTo>
                    <a:lnTo>
                      <a:pt x="489775" y="360256"/>
                    </a:lnTo>
                    <a:lnTo>
                      <a:pt x="492155" y="358228"/>
                    </a:lnTo>
                    <a:lnTo>
                      <a:pt x="495947" y="358228"/>
                    </a:lnTo>
                    <a:lnTo>
                      <a:pt x="496829" y="357611"/>
                    </a:lnTo>
                    <a:lnTo>
                      <a:pt x="496564" y="356465"/>
                    </a:lnTo>
                    <a:lnTo>
                      <a:pt x="492155" y="353555"/>
                    </a:lnTo>
                    <a:lnTo>
                      <a:pt x="490128" y="353820"/>
                    </a:lnTo>
                    <a:lnTo>
                      <a:pt x="483956" y="348001"/>
                    </a:lnTo>
                    <a:lnTo>
                      <a:pt x="484573" y="345973"/>
                    </a:lnTo>
                    <a:lnTo>
                      <a:pt x="488629" y="344209"/>
                    </a:lnTo>
                    <a:lnTo>
                      <a:pt x="492684" y="344827"/>
                    </a:lnTo>
                    <a:lnTo>
                      <a:pt x="493831" y="345708"/>
                    </a:lnTo>
                    <a:lnTo>
                      <a:pt x="495594" y="350117"/>
                    </a:lnTo>
                    <a:lnTo>
                      <a:pt x="497358" y="351263"/>
                    </a:lnTo>
                    <a:lnTo>
                      <a:pt x="500532" y="348089"/>
                    </a:lnTo>
                    <a:lnTo>
                      <a:pt x="504323" y="349235"/>
                    </a:lnTo>
                    <a:lnTo>
                      <a:pt x="505469" y="350646"/>
                    </a:lnTo>
                    <a:lnTo>
                      <a:pt x="504587" y="355319"/>
                    </a:lnTo>
                    <a:lnTo>
                      <a:pt x="505469" y="355054"/>
                    </a:lnTo>
                    <a:lnTo>
                      <a:pt x="506086" y="353291"/>
                    </a:lnTo>
                    <a:lnTo>
                      <a:pt x="506086" y="351528"/>
                    </a:lnTo>
                    <a:lnTo>
                      <a:pt x="507497" y="349500"/>
                    </a:lnTo>
                    <a:lnTo>
                      <a:pt x="509525" y="349235"/>
                    </a:lnTo>
                    <a:lnTo>
                      <a:pt x="512170" y="349852"/>
                    </a:lnTo>
                    <a:lnTo>
                      <a:pt x="513316" y="353908"/>
                    </a:lnTo>
                    <a:lnTo>
                      <a:pt x="513052" y="357346"/>
                    </a:lnTo>
                    <a:lnTo>
                      <a:pt x="513316" y="357964"/>
                    </a:lnTo>
                    <a:lnTo>
                      <a:pt x="515080" y="357699"/>
                    </a:lnTo>
                    <a:lnTo>
                      <a:pt x="515961" y="355936"/>
                    </a:lnTo>
                    <a:lnTo>
                      <a:pt x="516490" y="357346"/>
                    </a:lnTo>
                    <a:lnTo>
                      <a:pt x="514727" y="360609"/>
                    </a:lnTo>
                    <a:lnTo>
                      <a:pt x="511817" y="360873"/>
                    </a:lnTo>
                    <a:lnTo>
                      <a:pt x="510054" y="359110"/>
                    </a:lnTo>
                    <a:lnTo>
                      <a:pt x="505645" y="360256"/>
                    </a:lnTo>
                    <a:lnTo>
                      <a:pt x="506174" y="361138"/>
                    </a:lnTo>
                    <a:lnTo>
                      <a:pt x="510230" y="361755"/>
                    </a:lnTo>
                    <a:lnTo>
                      <a:pt x="510848" y="362637"/>
                    </a:lnTo>
                    <a:lnTo>
                      <a:pt x="508555" y="362989"/>
                    </a:lnTo>
                    <a:lnTo>
                      <a:pt x="506792" y="361843"/>
                    </a:lnTo>
                    <a:lnTo>
                      <a:pt x="503618" y="362372"/>
                    </a:lnTo>
                    <a:lnTo>
                      <a:pt x="500443" y="363518"/>
                    </a:lnTo>
                    <a:lnTo>
                      <a:pt x="499297" y="362901"/>
                    </a:lnTo>
                    <a:lnTo>
                      <a:pt x="498768" y="361402"/>
                    </a:lnTo>
                    <a:lnTo>
                      <a:pt x="499914" y="358228"/>
                    </a:lnTo>
                    <a:lnTo>
                      <a:pt x="499297" y="356465"/>
                    </a:lnTo>
                    <a:lnTo>
                      <a:pt x="496123" y="361402"/>
                    </a:lnTo>
                    <a:lnTo>
                      <a:pt x="493743" y="363166"/>
                    </a:lnTo>
                    <a:lnTo>
                      <a:pt x="490833" y="362901"/>
                    </a:lnTo>
                    <a:lnTo>
                      <a:pt x="489687" y="363166"/>
                    </a:lnTo>
                    <a:lnTo>
                      <a:pt x="487395" y="364929"/>
                    </a:lnTo>
                    <a:lnTo>
                      <a:pt x="486777" y="364312"/>
                    </a:lnTo>
                    <a:lnTo>
                      <a:pt x="485896" y="365194"/>
                    </a:lnTo>
                    <a:lnTo>
                      <a:pt x="484750" y="366075"/>
                    </a:lnTo>
                    <a:lnTo>
                      <a:pt x="482986" y="367222"/>
                    </a:lnTo>
                    <a:lnTo>
                      <a:pt x="481223" y="367222"/>
                    </a:lnTo>
                    <a:lnTo>
                      <a:pt x="476550" y="367486"/>
                    </a:lnTo>
                    <a:lnTo>
                      <a:pt x="473640" y="366869"/>
                    </a:lnTo>
                    <a:lnTo>
                      <a:pt x="469937" y="369249"/>
                    </a:lnTo>
                    <a:close/>
                    <a:moveTo>
                      <a:pt x="719630" y="341565"/>
                    </a:moveTo>
                    <a:lnTo>
                      <a:pt x="714957" y="340066"/>
                    </a:lnTo>
                    <a:lnTo>
                      <a:pt x="713547" y="338038"/>
                    </a:lnTo>
                    <a:lnTo>
                      <a:pt x="714428" y="337773"/>
                    </a:lnTo>
                    <a:lnTo>
                      <a:pt x="721129" y="338655"/>
                    </a:lnTo>
                    <a:lnTo>
                      <a:pt x="721746" y="338919"/>
                    </a:lnTo>
                    <a:lnTo>
                      <a:pt x="719630" y="341565"/>
                    </a:lnTo>
                    <a:close/>
                    <a:moveTo>
                      <a:pt x="629522" y="353203"/>
                    </a:moveTo>
                    <a:lnTo>
                      <a:pt x="628905" y="352321"/>
                    </a:lnTo>
                    <a:lnTo>
                      <a:pt x="631285" y="348794"/>
                    </a:lnTo>
                    <a:lnTo>
                      <a:pt x="633313" y="347648"/>
                    </a:lnTo>
                    <a:lnTo>
                      <a:pt x="632167" y="347648"/>
                    </a:lnTo>
                    <a:lnTo>
                      <a:pt x="630668" y="348794"/>
                    </a:lnTo>
                    <a:lnTo>
                      <a:pt x="630051" y="348177"/>
                    </a:lnTo>
                    <a:lnTo>
                      <a:pt x="631814" y="345267"/>
                    </a:lnTo>
                    <a:lnTo>
                      <a:pt x="634107" y="345267"/>
                    </a:lnTo>
                    <a:lnTo>
                      <a:pt x="634371" y="346766"/>
                    </a:lnTo>
                    <a:lnTo>
                      <a:pt x="645128" y="345620"/>
                    </a:lnTo>
                    <a:lnTo>
                      <a:pt x="646274" y="347648"/>
                    </a:lnTo>
                    <a:lnTo>
                      <a:pt x="646274" y="349940"/>
                    </a:lnTo>
                    <a:lnTo>
                      <a:pt x="645128" y="350822"/>
                    </a:lnTo>
                    <a:lnTo>
                      <a:pt x="632872" y="352850"/>
                    </a:lnTo>
                    <a:lnTo>
                      <a:pt x="632343" y="352586"/>
                    </a:lnTo>
                    <a:lnTo>
                      <a:pt x="629522" y="353203"/>
                    </a:lnTo>
                    <a:close/>
                    <a:moveTo>
                      <a:pt x="608803" y="356641"/>
                    </a:moveTo>
                    <a:lnTo>
                      <a:pt x="604658" y="355495"/>
                    </a:lnTo>
                    <a:lnTo>
                      <a:pt x="605276" y="354084"/>
                    </a:lnTo>
                    <a:lnTo>
                      <a:pt x="610213" y="350910"/>
                    </a:lnTo>
                    <a:lnTo>
                      <a:pt x="609596" y="349764"/>
                    </a:lnTo>
                    <a:lnTo>
                      <a:pt x="607568" y="349764"/>
                    </a:lnTo>
                    <a:lnTo>
                      <a:pt x="608714" y="348618"/>
                    </a:lnTo>
                    <a:lnTo>
                      <a:pt x="611888" y="348001"/>
                    </a:lnTo>
                    <a:lnTo>
                      <a:pt x="610654" y="350646"/>
                    </a:lnTo>
                    <a:lnTo>
                      <a:pt x="611536" y="351263"/>
                    </a:lnTo>
                    <a:lnTo>
                      <a:pt x="612682" y="351263"/>
                    </a:lnTo>
                    <a:lnTo>
                      <a:pt x="612946" y="348089"/>
                    </a:lnTo>
                    <a:lnTo>
                      <a:pt x="614092" y="347472"/>
                    </a:lnTo>
                    <a:lnTo>
                      <a:pt x="614092" y="348353"/>
                    </a:lnTo>
                    <a:lnTo>
                      <a:pt x="616737" y="346590"/>
                    </a:lnTo>
                    <a:lnTo>
                      <a:pt x="619912" y="347736"/>
                    </a:lnTo>
                    <a:lnTo>
                      <a:pt x="619912" y="348618"/>
                    </a:lnTo>
                    <a:lnTo>
                      <a:pt x="615503" y="351528"/>
                    </a:lnTo>
                    <a:lnTo>
                      <a:pt x="614621" y="352674"/>
                    </a:lnTo>
                    <a:lnTo>
                      <a:pt x="613475" y="352145"/>
                    </a:lnTo>
                    <a:lnTo>
                      <a:pt x="612065" y="353644"/>
                    </a:lnTo>
                    <a:lnTo>
                      <a:pt x="612594" y="355407"/>
                    </a:lnTo>
                    <a:lnTo>
                      <a:pt x="612065" y="356288"/>
                    </a:lnTo>
                    <a:lnTo>
                      <a:pt x="611448" y="356288"/>
                    </a:lnTo>
                    <a:lnTo>
                      <a:pt x="610301" y="355142"/>
                    </a:lnTo>
                    <a:lnTo>
                      <a:pt x="608803" y="356641"/>
                    </a:lnTo>
                    <a:close/>
                    <a:moveTo>
                      <a:pt x="623967" y="355495"/>
                    </a:moveTo>
                    <a:lnTo>
                      <a:pt x="622821" y="355495"/>
                    </a:lnTo>
                    <a:lnTo>
                      <a:pt x="622204" y="353203"/>
                    </a:lnTo>
                    <a:lnTo>
                      <a:pt x="621675" y="352586"/>
                    </a:lnTo>
                    <a:lnTo>
                      <a:pt x="620176" y="353467"/>
                    </a:lnTo>
                    <a:lnTo>
                      <a:pt x="619912" y="352586"/>
                    </a:lnTo>
                    <a:lnTo>
                      <a:pt x="621058" y="350293"/>
                    </a:lnTo>
                    <a:lnTo>
                      <a:pt x="622469" y="349411"/>
                    </a:lnTo>
                    <a:lnTo>
                      <a:pt x="623086" y="349764"/>
                    </a:lnTo>
                    <a:lnTo>
                      <a:pt x="623703" y="351175"/>
                    </a:lnTo>
                    <a:lnTo>
                      <a:pt x="627141" y="346502"/>
                    </a:lnTo>
                    <a:lnTo>
                      <a:pt x="628023" y="347384"/>
                    </a:lnTo>
                    <a:lnTo>
                      <a:pt x="628023" y="349764"/>
                    </a:lnTo>
                    <a:lnTo>
                      <a:pt x="625114" y="354966"/>
                    </a:lnTo>
                    <a:lnTo>
                      <a:pt x="623967" y="355495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247753" y="216718"/>
                    </a:moveTo>
                    <a:lnTo>
                      <a:pt x="245989" y="213544"/>
                    </a:lnTo>
                    <a:lnTo>
                      <a:pt x="235497" y="208871"/>
                    </a:lnTo>
                    <a:lnTo>
                      <a:pt x="234351" y="205609"/>
                    </a:lnTo>
                    <a:lnTo>
                      <a:pt x="235233" y="201818"/>
                    </a:lnTo>
                    <a:lnTo>
                      <a:pt x="234616" y="200671"/>
                    </a:lnTo>
                    <a:lnTo>
                      <a:pt x="232588" y="199173"/>
                    </a:lnTo>
                    <a:lnTo>
                      <a:pt x="231971" y="193618"/>
                    </a:lnTo>
                    <a:lnTo>
                      <a:pt x="229061" y="192472"/>
                    </a:lnTo>
                    <a:lnTo>
                      <a:pt x="227650" y="192472"/>
                    </a:lnTo>
                    <a:lnTo>
                      <a:pt x="227034" y="191325"/>
                    </a:lnTo>
                    <a:lnTo>
                      <a:pt x="221567" y="192824"/>
                    </a:lnTo>
                    <a:lnTo>
                      <a:pt x="220068" y="191325"/>
                    </a:lnTo>
                    <a:lnTo>
                      <a:pt x="217775" y="191325"/>
                    </a:lnTo>
                    <a:lnTo>
                      <a:pt x="217511" y="188416"/>
                    </a:lnTo>
                    <a:lnTo>
                      <a:pt x="223066" y="185242"/>
                    </a:lnTo>
                    <a:lnTo>
                      <a:pt x="223330" y="184096"/>
                    </a:lnTo>
                    <a:lnTo>
                      <a:pt x="222184" y="181186"/>
                    </a:lnTo>
                    <a:lnTo>
                      <a:pt x="224565" y="178894"/>
                    </a:lnTo>
                    <a:lnTo>
                      <a:pt x="227474" y="178012"/>
                    </a:lnTo>
                    <a:lnTo>
                      <a:pt x="228092" y="178012"/>
                    </a:lnTo>
                    <a:lnTo>
                      <a:pt x="228356" y="180040"/>
                    </a:lnTo>
                    <a:lnTo>
                      <a:pt x="230119" y="181186"/>
                    </a:lnTo>
                    <a:lnTo>
                      <a:pt x="228973" y="182332"/>
                    </a:lnTo>
                    <a:lnTo>
                      <a:pt x="229590" y="183743"/>
                    </a:lnTo>
                    <a:lnTo>
                      <a:pt x="232500" y="184625"/>
                    </a:lnTo>
                    <a:lnTo>
                      <a:pt x="230119" y="177924"/>
                    </a:lnTo>
                    <a:lnTo>
                      <a:pt x="234175" y="177042"/>
                    </a:lnTo>
                    <a:lnTo>
                      <a:pt x="237084" y="179070"/>
                    </a:lnTo>
                    <a:lnTo>
                      <a:pt x="238495" y="183743"/>
                    </a:lnTo>
                    <a:lnTo>
                      <a:pt x="240523" y="186388"/>
                    </a:lnTo>
                    <a:lnTo>
                      <a:pt x="240259" y="190179"/>
                    </a:lnTo>
                    <a:lnTo>
                      <a:pt x="241669" y="197145"/>
                    </a:lnTo>
                    <a:lnTo>
                      <a:pt x="243697" y="200671"/>
                    </a:lnTo>
                    <a:lnTo>
                      <a:pt x="245108" y="201289"/>
                    </a:lnTo>
                    <a:lnTo>
                      <a:pt x="251544" y="202699"/>
                    </a:lnTo>
                    <a:lnTo>
                      <a:pt x="254454" y="203317"/>
                    </a:lnTo>
                    <a:lnTo>
                      <a:pt x="254189" y="203846"/>
                    </a:lnTo>
                    <a:lnTo>
                      <a:pt x="252690" y="204727"/>
                    </a:lnTo>
                    <a:lnTo>
                      <a:pt x="251280" y="206490"/>
                    </a:lnTo>
                    <a:lnTo>
                      <a:pt x="249516" y="211781"/>
                    </a:lnTo>
                    <a:lnTo>
                      <a:pt x="249781" y="212662"/>
                    </a:lnTo>
                    <a:lnTo>
                      <a:pt x="252690" y="214161"/>
                    </a:lnTo>
                    <a:lnTo>
                      <a:pt x="252073" y="216454"/>
                    </a:lnTo>
                    <a:lnTo>
                      <a:pt x="247753" y="216718"/>
                    </a:lnTo>
                    <a:close/>
                    <a:moveTo>
                      <a:pt x="615239" y="346766"/>
                    </a:moveTo>
                    <a:lnTo>
                      <a:pt x="615239" y="345885"/>
                    </a:lnTo>
                    <a:lnTo>
                      <a:pt x="616737" y="343592"/>
                    </a:lnTo>
                    <a:lnTo>
                      <a:pt x="620529" y="342446"/>
                    </a:lnTo>
                    <a:lnTo>
                      <a:pt x="622292" y="343328"/>
                    </a:lnTo>
                    <a:lnTo>
                      <a:pt x="622028" y="345973"/>
                    </a:lnTo>
                    <a:lnTo>
                      <a:pt x="621411" y="346502"/>
                    </a:lnTo>
                    <a:lnTo>
                      <a:pt x="615239" y="346766"/>
                    </a:lnTo>
                    <a:close/>
                    <a:moveTo>
                      <a:pt x="542588" y="402489"/>
                    </a:moveTo>
                    <a:lnTo>
                      <a:pt x="538532" y="400725"/>
                    </a:lnTo>
                    <a:lnTo>
                      <a:pt x="536152" y="400196"/>
                    </a:lnTo>
                    <a:lnTo>
                      <a:pt x="528834" y="392614"/>
                    </a:lnTo>
                    <a:lnTo>
                      <a:pt x="525924" y="391115"/>
                    </a:lnTo>
                    <a:lnTo>
                      <a:pt x="524425" y="389087"/>
                    </a:lnTo>
                    <a:lnTo>
                      <a:pt x="513581" y="387941"/>
                    </a:lnTo>
                    <a:lnTo>
                      <a:pt x="511553" y="387412"/>
                    </a:lnTo>
                    <a:lnTo>
                      <a:pt x="508908" y="383885"/>
                    </a:lnTo>
                    <a:lnTo>
                      <a:pt x="510671" y="381240"/>
                    </a:lnTo>
                    <a:lnTo>
                      <a:pt x="511200" y="380711"/>
                    </a:lnTo>
                    <a:lnTo>
                      <a:pt x="517901" y="379301"/>
                    </a:lnTo>
                    <a:lnTo>
                      <a:pt x="528657" y="379301"/>
                    </a:lnTo>
                    <a:lnTo>
                      <a:pt x="530950" y="377273"/>
                    </a:lnTo>
                    <a:lnTo>
                      <a:pt x="534212" y="381328"/>
                    </a:lnTo>
                    <a:lnTo>
                      <a:pt x="537122" y="382474"/>
                    </a:lnTo>
                    <a:lnTo>
                      <a:pt x="539149" y="386530"/>
                    </a:lnTo>
                    <a:lnTo>
                      <a:pt x="542059" y="385649"/>
                    </a:lnTo>
                    <a:lnTo>
                      <a:pt x="545233" y="388558"/>
                    </a:lnTo>
                    <a:lnTo>
                      <a:pt x="546644" y="392085"/>
                    </a:lnTo>
                    <a:lnTo>
                      <a:pt x="549024" y="393231"/>
                    </a:lnTo>
                    <a:lnTo>
                      <a:pt x="550170" y="394995"/>
                    </a:lnTo>
                    <a:lnTo>
                      <a:pt x="550435" y="396405"/>
                    </a:lnTo>
                    <a:lnTo>
                      <a:pt x="547790" y="399579"/>
                    </a:lnTo>
                    <a:lnTo>
                      <a:pt x="542588" y="402489"/>
                    </a:lnTo>
                    <a:close/>
                    <a:moveTo>
                      <a:pt x="645833" y="189827"/>
                    </a:moveTo>
                    <a:lnTo>
                      <a:pt x="643805" y="186653"/>
                    </a:lnTo>
                    <a:lnTo>
                      <a:pt x="644687" y="181980"/>
                    </a:lnTo>
                    <a:lnTo>
                      <a:pt x="645833" y="181098"/>
                    </a:lnTo>
                    <a:lnTo>
                      <a:pt x="649889" y="180481"/>
                    </a:lnTo>
                    <a:lnTo>
                      <a:pt x="658617" y="182509"/>
                    </a:lnTo>
                    <a:lnTo>
                      <a:pt x="660117" y="183655"/>
                    </a:lnTo>
                    <a:lnTo>
                      <a:pt x="660734" y="183038"/>
                    </a:lnTo>
                    <a:lnTo>
                      <a:pt x="660998" y="181891"/>
                    </a:lnTo>
                    <a:lnTo>
                      <a:pt x="662762" y="182420"/>
                    </a:lnTo>
                    <a:lnTo>
                      <a:pt x="662762" y="184184"/>
                    </a:lnTo>
                    <a:lnTo>
                      <a:pt x="663643" y="183567"/>
                    </a:lnTo>
                    <a:lnTo>
                      <a:pt x="663996" y="182685"/>
                    </a:lnTo>
                    <a:lnTo>
                      <a:pt x="664878" y="182685"/>
                    </a:lnTo>
                    <a:lnTo>
                      <a:pt x="665759" y="186476"/>
                    </a:lnTo>
                    <a:lnTo>
                      <a:pt x="659940" y="186741"/>
                    </a:lnTo>
                    <a:lnTo>
                      <a:pt x="658794" y="187887"/>
                    </a:lnTo>
                    <a:lnTo>
                      <a:pt x="655620" y="186741"/>
                    </a:lnTo>
                    <a:lnTo>
                      <a:pt x="645833" y="189827"/>
                    </a:lnTo>
                    <a:close/>
                    <a:moveTo>
                      <a:pt x="570273" y="408573"/>
                    </a:moveTo>
                    <a:lnTo>
                      <a:pt x="567363" y="408573"/>
                    </a:lnTo>
                    <a:lnTo>
                      <a:pt x="566217" y="407691"/>
                    </a:lnTo>
                    <a:lnTo>
                      <a:pt x="567099" y="406809"/>
                    </a:lnTo>
                    <a:lnTo>
                      <a:pt x="570890" y="403900"/>
                    </a:lnTo>
                    <a:lnTo>
                      <a:pt x="572918" y="404429"/>
                    </a:lnTo>
                    <a:lnTo>
                      <a:pt x="572918" y="406192"/>
                    </a:lnTo>
                    <a:lnTo>
                      <a:pt x="570273" y="408573"/>
                    </a:lnTo>
                    <a:close/>
                    <a:moveTo>
                      <a:pt x="598928" y="410953"/>
                    </a:moveTo>
                    <a:lnTo>
                      <a:pt x="598663" y="410336"/>
                    </a:lnTo>
                    <a:lnTo>
                      <a:pt x="598134" y="407426"/>
                    </a:lnTo>
                    <a:lnTo>
                      <a:pt x="599280" y="406809"/>
                    </a:lnTo>
                    <a:lnTo>
                      <a:pt x="605981" y="403635"/>
                    </a:lnTo>
                    <a:lnTo>
                      <a:pt x="607480" y="401254"/>
                    </a:lnTo>
                    <a:lnTo>
                      <a:pt x="610742" y="398609"/>
                    </a:lnTo>
                    <a:lnTo>
                      <a:pt x="611007" y="399756"/>
                    </a:lnTo>
                    <a:lnTo>
                      <a:pt x="610125" y="402665"/>
                    </a:lnTo>
                    <a:lnTo>
                      <a:pt x="611271" y="402665"/>
                    </a:lnTo>
                    <a:lnTo>
                      <a:pt x="611888" y="403194"/>
                    </a:lnTo>
                    <a:lnTo>
                      <a:pt x="611271" y="404605"/>
                    </a:lnTo>
                    <a:lnTo>
                      <a:pt x="610125" y="404605"/>
                    </a:lnTo>
                    <a:lnTo>
                      <a:pt x="604306" y="408749"/>
                    </a:lnTo>
                    <a:lnTo>
                      <a:pt x="601661" y="409278"/>
                    </a:lnTo>
                    <a:lnTo>
                      <a:pt x="601661" y="410159"/>
                    </a:lnTo>
                    <a:lnTo>
                      <a:pt x="598928" y="410953"/>
                    </a:lnTo>
                    <a:close/>
                    <a:moveTo>
                      <a:pt x="666288" y="343240"/>
                    </a:moveTo>
                    <a:lnTo>
                      <a:pt x="665936" y="343240"/>
                    </a:lnTo>
                    <a:lnTo>
                      <a:pt x="666553" y="339448"/>
                    </a:lnTo>
                    <a:lnTo>
                      <a:pt x="670344" y="334511"/>
                    </a:lnTo>
                    <a:lnTo>
                      <a:pt x="674664" y="336010"/>
                    </a:lnTo>
                    <a:lnTo>
                      <a:pt x="684539" y="333100"/>
                    </a:lnTo>
                    <a:lnTo>
                      <a:pt x="686567" y="334864"/>
                    </a:lnTo>
                    <a:lnTo>
                      <a:pt x="688330" y="334864"/>
                    </a:lnTo>
                    <a:lnTo>
                      <a:pt x="688947" y="336627"/>
                    </a:lnTo>
                    <a:lnTo>
                      <a:pt x="688683" y="337244"/>
                    </a:lnTo>
                    <a:lnTo>
                      <a:pt x="686391" y="336980"/>
                    </a:lnTo>
                    <a:lnTo>
                      <a:pt x="683128" y="338479"/>
                    </a:lnTo>
                    <a:lnTo>
                      <a:pt x="681101" y="342270"/>
                    </a:lnTo>
                    <a:lnTo>
                      <a:pt x="672372" y="340242"/>
                    </a:lnTo>
                    <a:lnTo>
                      <a:pt x="668580" y="341741"/>
                    </a:lnTo>
                    <a:lnTo>
                      <a:pt x="666288" y="343240"/>
                    </a:lnTo>
                    <a:close/>
                    <a:moveTo>
                      <a:pt x="747668" y="343857"/>
                    </a:moveTo>
                    <a:lnTo>
                      <a:pt x="745904" y="343592"/>
                    </a:lnTo>
                    <a:lnTo>
                      <a:pt x="743259" y="340066"/>
                    </a:lnTo>
                    <a:lnTo>
                      <a:pt x="743524" y="338038"/>
                    </a:lnTo>
                    <a:lnTo>
                      <a:pt x="744406" y="337509"/>
                    </a:lnTo>
                    <a:lnTo>
                      <a:pt x="748197" y="338038"/>
                    </a:lnTo>
                    <a:lnTo>
                      <a:pt x="749343" y="340066"/>
                    </a:lnTo>
                    <a:lnTo>
                      <a:pt x="749343" y="340947"/>
                    </a:lnTo>
                    <a:lnTo>
                      <a:pt x="747668" y="343857"/>
                    </a:lnTo>
                    <a:close/>
                    <a:moveTo>
                      <a:pt x="681982" y="201200"/>
                    </a:moveTo>
                    <a:lnTo>
                      <a:pt x="680484" y="200936"/>
                    </a:lnTo>
                    <a:lnTo>
                      <a:pt x="679601" y="199437"/>
                    </a:lnTo>
                    <a:lnTo>
                      <a:pt x="677221" y="191590"/>
                    </a:lnTo>
                    <a:lnTo>
                      <a:pt x="677838" y="189298"/>
                    </a:lnTo>
                    <a:lnTo>
                      <a:pt x="679337" y="189033"/>
                    </a:lnTo>
                    <a:lnTo>
                      <a:pt x="680219" y="189915"/>
                    </a:lnTo>
                    <a:lnTo>
                      <a:pt x="679601" y="193441"/>
                    </a:lnTo>
                    <a:lnTo>
                      <a:pt x="682246" y="199878"/>
                    </a:lnTo>
                    <a:lnTo>
                      <a:pt x="681982" y="201200"/>
                    </a:lnTo>
                    <a:close/>
                    <a:moveTo>
                      <a:pt x="427704" y="362813"/>
                    </a:moveTo>
                    <a:lnTo>
                      <a:pt x="426823" y="362460"/>
                    </a:lnTo>
                    <a:lnTo>
                      <a:pt x="427704" y="361314"/>
                    </a:lnTo>
                    <a:lnTo>
                      <a:pt x="428586" y="361050"/>
                    </a:lnTo>
                    <a:lnTo>
                      <a:pt x="428851" y="359639"/>
                    </a:lnTo>
                    <a:lnTo>
                      <a:pt x="426558" y="356465"/>
                    </a:lnTo>
                    <a:lnTo>
                      <a:pt x="425412" y="356200"/>
                    </a:lnTo>
                    <a:lnTo>
                      <a:pt x="421885" y="354173"/>
                    </a:lnTo>
                    <a:lnTo>
                      <a:pt x="423032" y="354173"/>
                    </a:lnTo>
                    <a:lnTo>
                      <a:pt x="422414" y="353026"/>
                    </a:lnTo>
                    <a:lnTo>
                      <a:pt x="418623" y="351880"/>
                    </a:lnTo>
                    <a:lnTo>
                      <a:pt x="416243" y="351616"/>
                    </a:lnTo>
                    <a:lnTo>
                      <a:pt x="413333" y="347207"/>
                    </a:lnTo>
                    <a:lnTo>
                      <a:pt x="412804" y="344562"/>
                    </a:lnTo>
                    <a:lnTo>
                      <a:pt x="413333" y="344298"/>
                    </a:lnTo>
                    <a:lnTo>
                      <a:pt x="421533" y="346943"/>
                    </a:lnTo>
                    <a:lnTo>
                      <a:pt x="424707" y="346678"/>
                    </a:lnTo>
                    <a:lnTo>
                      <a:pt x="427881" y="345532"/>
                    </a:lnTo>
                    <a:lnTo>
                      <a:pt x="428233" y="343769"/>
                    </a:lnTo>
                    <a:lnTo>
                      <a:pt x="431760" y="345179"/>
                    </a:lnTo>
                    <a:lnTo>
                      <a:pt x="432642" y="344827"/>
                    </a:lnTo>
                    <a:lnTo>
                      <a:pt x="435551" y="346325"/>
                    </a:lnTo>
                    <a:lnTo>
                      <a:pt x="436962" y="349500"/>
                    </a:lnTo>
                    <a:lnTo>
                      <a:pt x="437844" y="348353"/>
                    </a:lnTo>
                    <a:lnTo>
                      <a:pt x="440489" y="350999"/>
                    </a:lnTo>
                    <a:lnTo>
                      <a:pt x="440489" y="351880"/>
                    </a:lnTo>
                    <a:lnTo>
                      <a:pt x="438196" y="354261"/>
                    </a:lnTo>
                    <a:lnTo>
                      <a:pt x="436433" y="356553"/>
                    </a:lnTo>
                    <a:lnTo>
                      <a:pt x="434053" y="357170"/>
                    </a:lnTo>
                    <a:lnTo>
                      <a:pt x="432289" y="357170"/>
                    </a:lnTo>
                    <a:lnTo>
                      <a:pt x="429380" y="360080"/>
                    </a:lnTo>
                    <a:lnTo>
                      <a:pt x="430262" y="361843"/>
                    </a:lnTo>
                    <a:lnTo>
                      <a:pt x="429380" y="362725"/>
                    </a:lnTo>
                    <a:lnTo>
                      <a:pt x="427704" y="362813"/>
                    </a:lnTo>
                    <a:close/>
                    <a:moveTo>
                      <a:pt x="312469" y="174397"/>
                    </a:moveTo>
                    <a:lnTo>
                      <a:pt x="310705" y="173868"/>
                    </a:lnTo>
                    <a:lnTo>
                      <a:pt x="310441" y="173251"/>
                    </a:lnTo>
                    <a:lnTo>
                      <a:pt x="311058" y="167432"/>
                    </a:lnTo>
                    <a:lnTo>
                      <a:pt x="311939" y="166550"/>
                    </a:lnTo>
                    <a:lnTo>
                      <a:pt x="317759" y="167696"/>
                    </a:lnTo>
                    <a:lnTo>
                      <a:pt x="318288" y="170341"/>
                    </a:lnTo>
                    <a:lnTo>
                      <a:pt x="316260" y="171223"/>
                    </a:lnTo>
                    <a:lnTo>
                      <a:pt x="315114" y="173251"/>
                    </a:lnTo>
                    <a:lnTo>
                      <a:pt x="312469" y="174397"/>
                    </a:lnTo>
                    <a:close/>
                    <a:moveTo>
                      <a:pt x="628905" y="394906"/>
                    </a:moveTo>
                    <a:lnTo>
                      <a:pt x="622821" y="398433"/>
                    </a:lnTo>
                    <a:lnTo>
                      <a:pt x="619912" y="397904"/>
                    </a:lnTo>
                    <a:lnTo>
                      <a:pt x="615503" y="398168"/>
                    </a:lnTo>
                    <a:lnTo>
                      <a:pt x="616120" y="394906"/>
                    </a:lnTo>
                    <a:lnTo>
                      <a:pt x="617619" y="393760"/>
                    </a:lnTo>
                    <a:lnTo>
                      <a:pt x="622028" y="391468"/>
                    </a:lnTo>
                    <a:lnTo>
                      <a:pt x="622028" y="390586"/>
                    </a:lnTo>
                    <a:lnTo>
                      <a:pt x="619647" y="389704"/>
                    </a:lnTo>
                    <a:lnTo>
                      <a:pt x="618501" y="390586"/>
                    </a:lnTo>
                    <a:lnTo>
                      <a:pt x="617972" y="389969"/>
                    </a:lnTo>
                    <a:lnTo>
                      <a:pt x="617972" y="387588"/>
                    </a:lnTo>
                    <a:lnTo>
                      <a:pt x="619735" y="386178"/>
                    </a:lnTo>
                    <a:lnTo>
                      <a:pt x="620353" y="380006"/>
                    </a:lnTo>
                    <a:lnTo>
                      <a:pt x="625907" y="374451"/>
                    </a:lnTo>
                    <a:lnTo>
                      <a:pt x="630580" y="371806"/>
                    </a:lnTo>
                    <a:lnTo>
                      <a:pt x="631462" y="370924"/>
                    </a:lnTo>
                    <a:lnTo>
                      <a:pt x="637633" y="368897"/>
                    </a:lnTo>
                    <a:lnTo>
                      <a:pt x="644334" y="365370"/>
                    </a:lnTo>
                    <a:lnTo>
                      <a:pt x="649272" y="361314"/>
                    </a:lnTo>
                    <a:lnTo>
                      <a:pt x="649272" y="361667"/>
                    </a:lnTo>
                    <a:lnTo>
                      <a:pt x="649272" y="361931"/>
                    </a:lnTo>
                    <a:lnTo>
                      <a:pt x="649272" y="362196"/>
                    </a:lnTo>
                    <a:lnTo>
                      <a:pt x="649272" y="362460"/>
                    </a:lnTo>
                    <a:lnTo>
                      <a:pt x="649536" y="362460"/>
                    </a:lnTo>
                    <a:lnTo>
                      <a:pt x="649536" y="362813"/>
                    </a:lnTo>
                    <a:lnTo>
                      <a:pt x="649801" y="362813"/>
                    </a:lnTo>
                    <a:lnTo>
                      <a:pt x="650065" y="362813"/>
                    </a:lnTo>
                    <a:lnTo>
                      <a:pt x="650065" y="363078"/>
                    </a:lnTo>
                    <a:lnTo>
                      <a:pt x="650330" y="363430"/>
                    </a:lnTo>
                    <a:lnTo>
                      <a:pt x="650330" y="363078"/>
                    </a:lnTo>
                    <a:lnTo>
                      <a:pt x="650683" y="363078"/>
                    </a:lnTo>
                    <a:lnTo>
                      <a:pt x="650683" y="362813"/>
                    </a:lnTo>
                    <a:lnTo>
                      <a:pt x="650947" y="362813"/>
                    </a:lnTo>
                    <a:lnTo>
                      <a:pt x="651212" y="362460"/>
                    </a:lnTo>
                    <a:lnTo>
                      <a:pt x="651564" y="362460"/>
                    </a:lnTo>
                    <a:lnTo>
                      <a:pt x="651564" y="362813"/>
                    </a:lnTo>
                    <a:lnTo>
                      <a:pt x="651829" y="362813"/>
                    </a:lnTo>
                    <a:lnTo>
                      <a:pt x="651829" y="363078"/>
                    </a:lnTo>
                    <a:lnTo>
                      <a:pt x="651829" y="363430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181" y="364312"/>
                    </a:lnTo>
                    <a:lnTo>
                      <a:pt x="652181" y="364047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446" y="364312"/>
                    </a:lnTo>
                    <a:lnTo>
                      <a:pt x="652446" y="364665"/>
                    </a:lnTo>
                    <a:lnTo>
                      <a:pt x="652446" y="364929"/>
                    </a:lnTo>
                    <a:lnTo>
                      <a:pt x="652446" y="365194"/>
                    </a:lnTo>
                    <a:lnTo>
                      <a:pt x="652446" y="365458"/>
                    </a:lnTo>
                    <a:lnTo>
                      <a:pt x="652446" y="365811"/>
                    </a:lnTo>
                    <a:lnTo>
                      <a:pt x="652446" y="366075"/>
                    </a:lnTo>
                    <a:lnTo>
                      <a:pt x="652446" y="366340"/>
                    </a:lnTo>
                    <a:lnTo>
                      <a:pt x="652446" y="366604"/>
                    </a:lnTo>
                    <a:lnTo>
                      <a:pt x="652181" y="366604"/>
                    </a:lnTo>
                    <a:lnTo>
                      <a:pt x="652181" y="366869"/>
                    </a:lnTo>
                    <a:lnTo>
                      <a:pt x="652181" y="367133"/>
                    </a:lnTo>
                    <a:lnTo>
                      <a:pt x="652181" y="367398"/>
                    </a:lnTo>
                    <a:lnTo>
                      <a:pt x="651829" y="367398"/>
                    </a:lnTo>
                    <a:lnTo>
                      <a:pt x="651829" y="367662"/>
                    </a:lnTo>
                    <a:lnTo>
                      <a:pt x="651564" y="367662"/>
                    </a:lnTo>
                    <a:lnTo>
                      <a:pt x="651564" y="367927"/>
                    </a:lnTo>
                    <a:lnTo>
                      <a:pt x="651212" y="367927"/>
                    </a:lnTo>
                    <a:lnTo>
                      <a:pt x="650947" y="367927"/>
                    </a:lnTo>
                    <a:lnTo>
                      <a:pt x="650947" y="368191"/>
                    </a:lnTo>
                    <a:lnTo>
                      <a:pt x="650683" y="368191"/>
                    </a:lnTo>
                    <a:lnTo>
                      <a:pt x="650683" y="368456"/>
                    </a:lnTo>
                    <a:lnTo>
                      <a:pt x="650330" y="368456"/>
                    </a:lnTo>
                    <a:lnTo>
                      <a:pt x="650065" y="368456"/>
                    </a:lnTo>
                    <a:lnTo>
                      <a:pt x="650065" y="368808"/>
                    </a:lnTo>
                    <a:lnTo>
                      <a:pt x="650065" y="369073"/>
                    </a:lnTo>
                    <a:lnTo>
                      <a:pt x="649801" y="369073"/>
                    </a:lnTo>
                    <a:lnTo>
                      <a:pt x="649801" y="369337"/>
                    </a:lnTo>
                    <a:lnTo>
                      <a:pt x="649801" y="369602"/>
                    </a:lnTo>
                    <a:lnTo>
                      <a:pt x="649536" y="369866"/>
                    </a:lnTo>
                    <a:lnTo>
                      <a:pt x="649536" y="370219"/>
                    </a:lnTo>
                    <a:lnTo>
                      <a:pt x="649536" y="370484"/>
                    </a:lnTo>
                    <a:lnTo>
                      <a:pt x="649272" y="370748"/>
                    </a:lnTo>
                    <a:lnTo>
                      <a:pt x="649272" y="371013"/>
                    </a:lnTo>
                    <a:lnTo>
                      <a:pt x="649272" y="371277"/>
                    </a:lnTo>
                    <a:lnTo>
                      <a:pt x="649272" y="371630"/>
                    </a:lnTo>
                    <a:lnTo>
                      <a:pt x="648919" y="371894"/>
                    </a:lnTo>
                    <a:lnTo>
                      <a:pt x="648919" y="372159"/>
                    </a:lnTo>
                    <a:lnTo>
                      <a:pt x="648919" y="372511"/>
                    </a:lnTo>
                    <a:lnTo>
                      <a:pt x="648919" y="372776"/>
                    </a:lnTo>
                    <a:lnTo>
                      <a:pt x="648919" y="373129"/>
                    </a:lnTo>
                    <a:lnTo>
                      <a:pt x="648919" y="373393"/>
                    </a:lnTo>
                    <a:lnTo>
                      <a:pt x="648919" y="373658"/>
                    </a:lnTo>
                    <a:lnTo>
                      <a:pt x="649272" y="373658"/>
                    </a:lnTo>
                    <a:lnTo>
                      <a:pt x="649272" y="373922"/>
                    </a:lnTo>
                    <a:lnTo>
                      <a:pt x="649272" y="374187"/>
                    </a:lnTo>
                    <a:lnTo>
                      <a:pt x="649536" y="374187"/>
                    </a:lnTo>
                    <a:lnTo>
                      <a:pt x="649536" y="374451"/>
                    </a:lnTo>
                    <a:lnTo>
                      <a:pt x="649801" y="374451"/>
                    </a:lnTo>
                    <a:lnTo>
                      <a:pt x="649801" y="374716"/>
                    </a:lnTo>
                    <a:lnTo>
                      <a:pt x="649801" y="374980"/>
                    </a:lnTo>
                    <a:lnTo>
                      <a:pt x="649801" y="375333"/>
                    </a:lnTo>
                    <a:lnTo>
                      <a:pt x="650065" y="375597"/>
                    </a:lnTo>
                    <a:lnTo>
                      <a:pt x="650065" y="375862"/>
                    </a:lnTo>
                    <a:lnTo>
                      <a:pt x="650065" y="376126"/>
                    </a:lnTo>
                    <a:lnTo>
                      <a:pt x="650065" y="376391"/>
                    </a:lnTo>
                    <a:lnTo>
                      <a:pt x="650065" y="376655"/>
                    </a:lnTo>
                    <a:lnTo>
                      <a:pt x="648919" y="377537"/>
                    </a:lnTo>
                    <a:lnTo>
                      <a:pt x="648654" y="380182"/>
                    </a:lnTo>
                    <a:lnTo>
                      <a:pt x="645128" y="383709"/>
                    </a:lnTo>
                    <a:lnTo>
                      <a:pt x="641601" y="387500"/>
                    </a:lnTo>
                    <a:lnTo>
                      <a:pt x="638075" y="391556"/>
                    </a:lnTo>
                    <a:lnTo>
                      <a:pt x="636046" y="392967"/>
                    </a:lnTo>
                    <a:lnTo>
                      <a:pt x="629610" y="392967"/>
                    </a:lnTo>
                    <a:lnTo>
                      <a:pt x="628905" y="39490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8" name="Freihandform: Form 1957">
                <a:extLst>
                  <a:ext uri="{FF2B5EF4-FFF2-40B4-BE49-F238E27FC236}">
                    <a16:creationId xmlns:a16="http://schemas.microsoft.com/office/drawing/2014/main" id="{6BE19329-0730-5819-BFDB-4D079A0AA9A1}"/>
                  </a:ext>
                </a:extLst>
              </p:cNvPr>
              <p:cNvSpPr/>
              <p:nvPr/>
            </p:nvSpPr>
            <p:spPr>
              <a:xfrm>
                <a:off x="6661374" y="3188388"/>
                <a:ext cx="89138" cy="133663"/>
              </a:xfrm>
              <a:custGeom>
                <a:avLst/>
                <a:gdLst>
                  <a:gd name="connsiteX0" fmla="*/ 1234 w 89138"/>
                  <a:gd name="connsiteY0" fmla="*/ 27420 h 133663"/>
                  <a:gd name="connsiteX1" fmla="*/ 970 w 89138"/>
                  <a:gd name="connsiteY1" fmla="*/ 28919 h 133663"/>
                  <a:gd name="connsiteX2" fmla="*/ 2468 w 89138"/>
                  <a:gd name="connsiteY2" fmla="*/ 29801 h 133663"/>
                  <a:gd name="connsiteX3" fmla="*/ 3350 w 89138"/>
                  <a:gd name="connsiteY3" fmla="*/ 28919 h 133663"/>
                  <a:gd name="connsiteX4" fmla="*/ 3086 w 89138"/>
                  <a:gd name="connsiteY4" fmla="*/ 27685 h 133663"/>
                  <a:gd name="connsiteX5" fmla="*/ 3703 w 89138"/>
                  <a:gd name="connsiteY5" fmla="*/ 27949 h 133663"/>
                  <a:gd name="connsiteX6" fmla="*/ 5113 w 89138"/>
                  <a:gd name="connsiteY6" fmla="*/ 26451 h 133663"/>
                  <a:gd name="connsiteX7" fmla="*/ 5995 w 89138"/>
                  <a:gd name="connsiteY7" fmla="*/ 28478 h 133663"/>
                  <a:gd name="connsiteX8" fmla="*/ 8288 w 89138"/>
                  <a:gd name="connsiteY8" fmla="*/ 31652 h 133663"/>
                  <a:gd name="connsiteX9" fmla="*/ 9787 w 89138"/>
                  <a:gd name="connsiteY9" fmla="*/ 31652 h 133663"/>
                  <a:gd name="connsiteX10" fmla="*/ 11550 w 89138"/>
                  <a:gd name="connsiteY10" fmla="*/ 32270 h 133663"/>
                  <a:gd name="connsiteX11" fmla="*/ 10933 w 89138"/>
                  <a:gd name="connsiteY11" fmla="*/ 33416 h 133663"/>
                  <a:gd name="connsiteX12" fmla="*/ 12432 w 89138"/>
                  <a:gd name="connsiteY12" fmla="*/ 34033 h 133663"/>
                  <a:gd name="connsiteX13" fmla="*/ 13842 w 89138"/>
                  <a:gd name="connsiteY13" fmla="*/ 35532 h 133663"/>
                  <a:gd name="connsiteX14" fmla="*/ 11814 w 89138"/>
                  <a:gd name="connsiteY14" fmla="*/ 37295 h 133663"/>
                  <a:gd name="connsiteX15" fmla="*/ 10668 w 89138"/>
                  <a:gd name="connsiteY15" fmla="*/ 36678 h 133663"/>
                  <a:gd name="connsiteX16" fmla="*/ 8023 w 89138"/>
                  <a:gd name="connsiteY16" fmla="*/ 36061 h 133663"/>
                  <a:gd name="connsiteX17" fmla="*/ 6524 w 89138"/>
                  <a:gd name="connsiteY17" fmla="*/ 35444 h 133663"/>
                  <a:gd name="connsiteX18" fmla="*/ 5025 w 89138"/>
                  <a:gd name="connsiteY18" fmla="*/ 36325 h 133663"/>
                  <a:gd name="connsiteX19" fmla="*/ 3879 w 89138"/>
                  <a:gd name="connsiteY19" fmla="*/ 35708 h 133663"/>
                  <a:gd name="connsiteX20" fmla="*/ 3262 w 89138"/>
                  <a:gd name="connsiteY20" fmla="*/ 36854 h 133663"/>
                  <a:gd name="connsiteX21" fmla="*/ 2645 w 89138"/>
                  <a:gd name="connsiteY21" fmla="*/ 37736 h 133663"/>
                  <a:gd name="connsiteX22" fmla="*/ 3262 w 89138"/>
                  <a:gd name="connsiteY22" fmla="*/ 39764 h 133663"/>
                  <a:gd name="connsiteX23" fmla="*/ 5025 w 89138"/>
                  <a:gd name="connsiteY23" fmla="*/ 41263 h 133663"/>
                  <a:gd name="connsiteX24" fmla="*/ 4761 w 89138"/>
                  <a:gd name="connsiteY24" fmla="*/ 42762 h 133663"/>
                  <a:gd name="connsiteX25" fmla="*/ 5642 w 89138"/>
                  <a:gd name="connsiteY25" fmla="*/ 42409 h 133663"/>
                  <a:gd name="connsiteX26" fmla="*/ 6524 w 89138"/>
                  <a:gd name="connsiteY26" fmla="*/ 42409 h 133663"/>
                  <a:gd name="connsiteX27" fmla="*/ 7406 w 89138"/>
                  <a:gd name="connsiteY27" fmla="*/ 43026 h 133663"/>
                  <a:gd name="connsiteX28" fmla="*/ 7671 w 89138"/>
                  <a:gd name="connsiteY28" fmla="*/ 42144 h 133663"/>
                  <a:gd name="connsiteX29" fmla="*/ 8552 w 89138"/>
                  <a:gd name="connsiteY29" fmla="*/ 42409 h 133663"/>
                  <a:gd name="connsiteX30" fmla="*/ 8817 w 89138"/>
                  <a:gd name="connsiteY30" fmla="*/ 43555 h 133663"/>
                  <a:gd name="connsiteX31" fmla="*/ 8817 w 89138"/>
                  <a:gd name="connsiteY31" fmla="*/ 44084 h 133663"/>
                  <a:gd name="connsiteX32" fmla="*/ 8552 w 89138"/>
                  <a:gd name="connsiteY32" fmla="*/ 44437 h 133663"/>
                  <a:gd name="connsiteX33" fmla="*/ 8288 w 89138"/>
                  <a:gd name="connsiteY33" fmla="*/ 43820 h 133663"/>
                  <a:gd name="connsiteX34" fmla="*/ 8023 w 89138"/>
                  <a:gd name="connsiteY34" fmla="*/ 44701 h 133663"/>
                  <a:gd name="connsiteX35" fmla="*/ 8905 w 89138"/>
                  <a:gd name="connsiteY35" fmla="*/ 44701 h 133663"/>
                  <a:gd name="connsiteX36" fmla="*/ 9522 w 89138"/>
                  <a:gd name="connsiteY36" fmla="*/ 44701 h 133663"/>
                  <a:gd name="connsiteX37" fmla="*/ 10051 w 89138"/>
                  <a:gd name="connsiteY37" fmla="*/ 44701 h 133663"/>
                  <a:gd name="connsiteX38" fmla="*/ 10933 w 89138"/>
                  <a:gd name="connsiteY38" fmla="*/ 45319 h 133663"/>
                  <a:gd name="connsiteX39" fmla="*/ 11550 w 89138"/>
                  <a:gd name="connsiteY39" fmla="*/ 46200 h 133663"/>
                  <a:gd name="connsiteX40" fmla="*/ 11285 w 89138"/>
                  <a:gd name="connsiteY40" fmla="*/ 46817 h 133663"/>
                  <a:gd name="connsiteX41" fmla="*/ 13049 w 89138"/>
                  <a:gd name="connsiteY41" fmla="*/ 46200 h 133663"/>
                  <a:gd name="connsiteX42" fmla="*/ 13666 w 89138"/>
                  <a:gd name="connsiteY42" fmla="*/ 46553 h 133663"/>
                  <a:gd name="connsiteX43" fmla="*/ 13401 w 89138"/>
                  <a:gd name="connsiteY43" fmla="*/ 47170 h 133663"/>
                  <a:gd name="connsiteX44" fmla="*/ 12520 w 89138"/>
                  <a:gd name="connsiteY44" fmla="*/ 47787 h 133663"/>
                  <a:gd name="connsiteX45" fmla="*/ 12255 w 89138"/>
                  <a:gd name="connsiteY45" fmla="*/ 48669 h 133663"/>
                  <a:gd name="connsiteX46" fmla="*/ 11374 w 89138"/>
                  <a:gd name="connsiteY46" fmla="*/ 48669 h 133663"/>
                  <a:gd name="connsiteX47" fmla="*/ 11991 w 89138"/>
                  <a:gd name="connsiteY47" fmla="*/ 50080 h 133663"/>
                  <a:gd name="connsiteX48" fmla="*/ 11638 w 89138"/>
                  <a:gd name="connsiteY48" fmla="*/ 50697 h 133663"/>
                  <a:gd name="connsiteX49" fmla="*/ 11021 w 89138"/>
                  <a:gd name="connsiteY49" fmla="*/ 50697 h 133663"/>
                  <a:gd name="connsiteX50" fmla="*/ 11021 w 89138"/>
                  <a:gd name="connsiteY50" fmla="*/ 49815 h 133663"/>
                  <a:gd name="connsiteX51" fmla="*/ 12520 w 89138"/>
                  <a:gd name="connsiteY51" fmla="*/ 51578 h 133663"/>
                  <a:gd name="connsiteX52" fmla="*/ 13049 w 89138"/>
                  <a:gd name="connsiteY52" fmla="*/ 51843 h 133663"/>
                  <a:gd name="connsiteX53" fmla="*/ 13401 w 89138"/>
                  <a:gd name="connsiteY53" fmla="*/ 52989 h 133663"/>
                  <a:gd name="connsiteX54" fmla="*/ 15694 w 89138"/>
                  <a:gd name="connsiteY54" fmla="*/ 52372 h 133663"/>
                  <a:gd name="connsiteX55" fmla="*/ 16311 w 89138"/>
                  <a:gd name="connsiteY55" fmla="*/ 53518 h 133663"/>
                  <a:gd name="connsiteX56" fmla="*/ 16576 w 89138"/>
                  <a:gd name="connsiteY56" fmla="*/ 55017 h 133663"/>
                  <a:gd name="connsiteX57" fmla="*/ 16576 w 89138"/>
                  <a:gd name="connsiteY57" fmla="*/ 56428 h 133663"/>
                  <a:gd name="connsiteX58" fmla="*/ 18339 w 89138"/>
                  <a:gd name="connsiteY58" fmla="*/ 57574 h 133663"/>
                  <a:gd name="connsiteX59" fmla="*/ 17986 w 89138"/>
                  <a:gd name="connsiteY59" fmla="*/ 58191 h 133663"/>
                  <a:gd name="connsiteX60" fmla="*/ 18603 w 89138"/>
                  <a:gd name="connsiteY60" fmla="*/ 58808 h 133663"/>
                  <a:gd name="connsiteX61" fmla="*/ 18603 w 89138"/>
                  <a:gd name="connsiteY61" fmla="*/ 59954 h 133663"/>
                  <a:gd name="connsiteX62" fmla="*/ 20367 w 89138"/>
                  <a:gd name="connsiteY62" fmla="*/ 61101 h 133663"/>
                  <a:gd name="connsiteX63" fmla="*/ 21248 w 89138"/>
                  <a:gd name="connsiteY63" fmla="*/ 61365 h 133663"/>
                  <a:gd name="connsiteX64" fmla="*/ 22747 w 89138"/>
                  <a:gd name="connsiteY64" fmla="*/ 60219 h 133663"/>
                  <a:gd name="connsiteX65" fmla="*/ 23893 w 89138"/>
                  <a:gd name="connsiteY65" fmla="*/ 62247 h 133663"/>
                  <a:gd name="connsiteX66" fmla="*/ 24158 w 89138"/>
                  <a:gd name="connsiteY66" fmla="*/ 64010 h 133663"/>
                  <a:gd name="connsiteX67" fmla="*/ 24158 w 89138"/>
                  <a:gd name="connsiteY67" fmla="*/ 64627 h 133663"/>
                  <a:gd name="connsiteX68" fmla="*/ 23541 w 89138"/>
                  <a:gd name="connsiteY68" fmla="*/ 65774 h 133663"/>
                  <a:gd name="connsiteX69" fmla="*/ 23541 w 89138"/>
                  <a:gd name="connsiteY69" fmla="*/ 68066 h 133663"/>
                  <a:gd name="connsiteX70" fmla="*/ 24687 w 89138"/>
                  <a:gd name="connsiteY70" fmla="*/ 69212 h 133663"/>
                  <a:gd name="connsiteX71" fmla="*/ 24951 w 89138"/>
                  <a:gd name="connsiteY71" fmla="*/ 69477 h 133663"/>
                  <a:gd name="connsiteX72" fmla="*/ 26715 w 89138"/>
                  <a:gd name="connsiteY72" fmla="*/ 70358 h 133663"/>
                  <a:gd name="connsiteX73" fmla="*/ 26980 w 89138"/>
                  <a:gd name="connsiteY73" fmla="*/ 72122 h 133663"/>
                  <a:gd name="connsiteX74" fmla="*/ 27244 w 89138"/>
                  <a:gd name="connsiteY74" fmla="*/ 76177 h 133663"/>
                  <a:gd name="connsiteX75" fmla="*/ 27508 w 89138"/>
                  <a:gd name="connsiteY75" fmla="*/ 79704 h 133663"/>
                  <a:gd name="connsiteX76" fmla="*/ 25745 w 89138"/>
                  <a:gd name="connsiteY76" fmla="*/ 78822 h 133663"/>
                  <a:gd name="connsiteX77" fmla="*/ 25128 w 89138"/>
                  <a:gd name="connsiteY77" fmla="*/ 77059 h 133663"/>
                  <a:gd name="connsiteX78" fmla="*/ 24511 w 89138"/>
                  <a:gd name="connsiteY78" fmla="*/ 73268 h 133663"/>
                  <a:gd name="connsiteX79" fmla="*/ 23364 w 89138"/>
                  <a:gd name="connsiteY79" fmla="*/ 75296 h 133663"/>
                  <a:gd name="connsiteX80" fmla="*/ 23717 w 89138"/>
                  <a:gd name="connsiteY80" fmla="*/ 77059 h 133663"/>
                  <a:gd name="connsiteX81" fmla="*/ 23717 w 89138"/>
                  <a:gd name="connsiteY81" fmla="*/ 77676 h 133663"/>
                  <a:gd name="connsiteX82" fmla="*/ 23982 w 89138"/>
                  <a:gd name="connsiteY82" fmla="*/ 79704 h 133663"/>
                  <a:gd name="connsiteX83" fmla="*/ 24246 w 89138"/>
                  <a:gd name="connsiteY83" fmla="*/ 81996 h 133663"/>
                  <a:gd name="connsiteX84" fmla="*/ 24246 w 89138"/>
                  <a:gd name="connsiteY84" fmla="*/ 84024 h 133663"/>
                  <a:gd name="connsiteX85" fmla="*/ 24863 w 89138"/>
                  <a:gd name="connsiteY85" fmla="*/ 85788 h 133663"/>
                  <a:gd name="connsiteX86" fmla="*/ 25745 w 89138"/>
                  <a:gd name="connsiteY86" fmla="*/ 87816 h 133663"/>
                  <a:gd name="connsiteX87" fmla="*/ 27773 w 89138"/>
                  <a:gd name="connsiteY87" fmla="*/ 88962 h 133663"/>
                  <a:gd name="connsiteX88" fmla="*/ 27155 w 89138"/>
                  <a:gd name="connsiteY88" fmla="*/ 90108 h 133663"/>
                  <a:gd name="connsiteX89" fmla="*/ 28302 w 89138"/>
                  <a:gd name="connsiteY89" fmla="*/ 92400 h 133663"/>
                  <a:gd name="connsiteX90" fmla="*/ 28302 w 89138"/>
                  <a:gd name="connsiteY90" fmla="*/ 93282 h 133663"/>
                  <a:gd name="connsiteX91" fmla="*/ 26803 w 89138"/>
                  <a:gd name="connsiteY91" fmla="*/ 95046 h 133663"/>
                  <a:gd name="connsiteX92" fmla="*/ 26186 w 89138"/>
                  <a:gd name="connsiteY92" fmla="*/ 96544 h 133663"/>
                  <a:gd name="connsiteX93" fmla="*/ 26186 w 89138"/>
                  <a:gd name="connsiteY93" fmla="*/ 97955 h 133663"/>
                  <a:gd name="connsiteX94" fmla="*/ 25922 w 89138"/>
                  <a:gd name="connsiteY94" fmla="*/ 99101 h 133663"/>
                  <a:gd name="connsiteX95" fmla="*/ 26186 w 89138"/>
                  <a:gd name="connsiteY95" fmla="*/ 99983 h 133663"/>
                  <a:gd name="connsiteX96" fmla="*/ 26186 w 89138"/>
                  <a:gd name="connsiteY96" fmla="*/ 101482 h 133663"/>
                  <a:gd name="connsiteX97" fmla="*/ 26803 w 89138"/>
                  <a:gd name="connsiteY97" fmla="*/ 101746 h 133663"/>
                  <a:gd name="connsiteX98" fmla="*/ 29095 w 89138"/>
                  <a:gd name="connsiteY98" fmla="*/ 102363 h 133663"/>
                  <a:gd name="connsiteX99" fmla="*/ 30242 w 89138"/>
                  <a:gd name="connsiteY99" fmla="*/ 102628 h 133663"/>
                  <a:gd name="connsiteX100" fmla="*/ 33416 w 89138"/>
                  <a:gd name="connsiteY100" fmla="*/ 102628 h 133663"/>
                  <a:gd name="connsiteX101" fmla="*/ 34562 w 89138"/>
                  <a:gd name="connsiteY101" fmla="*/ 103245 h 133663"/>
                  <a:gd name="connsiteX102" fmla="*/ 36325 w 89138"/>
                  <a:gd name="connsiteY102" fmla="*/ 103862 h 133663"/>
                  <a:gd name="connsiteX103" fmla="*/ 37824 w 89138"/>
                  <a:gd name="connsiteY103" fmla="*/ 104127 h 133663"/>
                  <a:gd name="connsiteX104" fmla="*/ 38706 w 89138"/>
                  <a:gd name="connsiteY104" fmla="*/ 105008 h 133663"/>
                  <a:gd name="connsiteX105" fmla="*/ 40469 w 89138"/>
                  <a:gd name="connsiteY105" fmla="*/ 104744 h 133663"/>
                  <a:gd name="connsiteX106" fmla="*/ 41703 w 89138"/>
                  <a:gd name="connsiteY106" fmla="*/ 105008 h 133663"/>
                  <a:gd name="connsiteX107" fmla="*/ 42232 w 89138"/>
                  <a:gd name="connsiteY107" fmla="*/ 105008 h 133663"/>
                  <a:gd name="connsiteX108" fmla="*/ 45759 w 89138"/>
                  <a:gd name="connsiteY108" fmla="*/ 104744 h 133663"/>
                  <a:gd name="connsiteX109" fmla="*/ 47522 w 89138"/>
                  <a:gd name="connsiteY109" fmla="*/ 103862 h 133663"/>
                  <a:gd name="connsiteX110" fmla="*/ 48669 w 89138"/>
                  <a:gd name="connsiteY110" fmla="*/ 101834 h 133663"/>
                  <a:gd name="connsiteX111" fmla="*/ 49551 w 89138"/>
                  <a:gd name="connsiteY111" fmla="*/ 100688 h 133663"/>
                  <a:gd name="connsiteX112" fmla="*/ 50697 w 89138"/>
                  <a:gd name="connsiteY112" fmla="*/ 100424 h 133663"/>
                  <a:gd name="connsiteX113" fmla="*/ 51843 w 89138"/>
                  <a:gd name="connsiteY113" fmla="*/ 101041 h 133663"/>
                  <a:gd name="connsiteX114" fmla="*/ 53871 w 89138"/>
                  <a:gd name="connsiteY114" fmla="*/ 101923 h 133663"/>
                  <a:gd name="connsiteX115" fmla="*/ 55017 w 89138"/>
                  <a:gd name="connsiteY115" fmla="*/ 100424 h 133663"/>
                  <a:gd name="connsiteX116" fmla="*/ 57662 w 89138"/>
                  <a:gd name="connsiteY116" fmla="*/ 98660 h 133663"/>
                  <a:gd name="connsiteX117" fmla="*/ 59425 w 89138"/>
                  <a:gd name="connsiteY117" fmla="*/ 97514 h 133663"/>
                  <a:gd name="connsiteX118" fmla="*/ 60572 w 89138"/>
                  <a:gd name="connsiteY118" fmla="*/ 94869 h 133663"/>
                  <a:gd name="connsiteX119" fmla="*/ 64980 w 89138"/>
                  <a:gd name="connsiteY119" fmla="*/ 94252 h 133663"/>
                  <a:gd name="connsiteX120" fmla="*/ 66479 w 89138"/>
                  <a:gd name="connsiteY120" fmla="*/ 93987 h 133663"/>
                  <a:gd name="connsiteX121" fmla="*/ 68506 w 89138"/>
                  <a:gd name="connsiteY121" fmla="*/ 92841 h 133663"/>
                  <a:gd name="connsiteX122" fmla="*/ 72033 w 89138"/>
                  <a:gd name="connsiteY122" fmla="*/ 92841 h 133663"/>
                  <a:gd name="connsiteX123" fmla="*/ 74943 w 89138"/>
                  <a:gd name="connsiteY123" fmla="*/ 91342 h 133663"/>
                  <a:gd name="connsiteX124" fmla="*/ 76089 w 89138"/>
                  <a:gd name="connsiteY124" fmla="*/ 91960 h 133663"/>
                  <a:gd name="connsiteX125" fmla="*/ 76971 w 89138"/>
                  <a:gd name="connsiteY125" fmla="*/ 92577 h 133663"/>
                  <a:gd name="connsiteX126" fmla="*/ 79263 w 89138"/>
                  <a:gd name="connsiteY126" fmla="*/ 92312 h 133663"/>
                  <a:gd name="connsiteX127" fmla="*/ 80145 w 89138"/>
                  <a:gd name="connsiteY127" fmla="*/ 92312 h 133663"/>
                  <a:gd name="connsiteX128" fmla="*/ 81908 w 89138"/>
                  <a:gd name="connsiteY128" fmla="*/ 91431 h 133663"/>
                  <a:gd name="connsiteX129" fmla="*/ 82172 w 89138"/>
                  <a:gd name="connsiteY129" fmla="*/ 90549 h 133663"/>
                  <a:gd name="connsiteX130" fmla="*/ 82172 w 89138"/>
                  <a:gd name="connsiteY130" fmla="*/ 88785 h 133663"/>
                  <a:gd name="connsiteX131" fmla="*/ 82172 w 89138"/>
                  <a:gd name="connsiteY131" fmla="*/ 87904 h 133663"/>
                  <a:gd name="connsiteX132" fmla="*/ 86228 w 89138"/>
                  <a:gd name="connsiteY132" fmla="*/ 84377 h 133663"/>
                  <a:gd name="connsiteX133" fmla="*/ 87110 w 89138"/>
                  <a:gd name="connsiteY133" fmla="*/ 83495 h 133663"/>
                  <a:gd name="connsiteX134" fmla="*/ 87992 w 89138"/>
                  <a:gd name="connsiteY134" fmla="*/ 83231 h 133663"/>
                  <a:gd name="connsiteX135" fmla="*/ 88256 w 89138"/>
                  <a:gd name="connsiteY135" fmla="*/ 80850 h 133663"/>
                  <a:gd name="connsiteX136" fmla="*/ 88256 w 89138"/>
                  <a:gd name="connsiteY136" fmla="*/ 77324 h 133663"/>
                  <a:gd name="connsiteX137" fmla="*/ 88785 w 89138"/>
                  <a:gd name="connsiteY137" fmla="*/ 76177 h 133663"/>
                  <a:gd name="connsiteX138" fmla="*/ 89138 w 89138"/>
                  <a:gd name="connsiteY138" fmla="*/ 73797 h 133663"/>
                  <a:gd name="connsiteX139" fmla="*/ 88521 w 89138"/>
                  <a:gd name="connsiteY139" fmla="*/ 71505 h 133663"/>
                  <a:gd name="connsiteX140" fmla="*/ 88256 w 89138"/>
                  <a:gd name="connsiteY140" fmla="*/ 70358 h 133663"/>
                  <a:gd name="connsiteX141" fmla="*/ 87375 w 89138"/>
                  <a:gd name="connsiteY141" fmla="*/ 69477 h 133663"/>
                  <a:gd name="connsiteX142" fmla="*/ 85611 w 89138"/>
                  <a:gd name="connsiteY142" fmla="*/ 66832 h 133663"/>
                  <a:gd name="connsiteX143" fmla="*/ 84730 w 89138"/>
                  <a:gd name="connsiteY143" fmla="*/ 64804 h 133663"/>
                  <a:gd name="connsiteX144" fmla="*/ 83848 w 89138"/>
                  <a:gd name="connsiteY144" fmla="*/ 63040 h 133663"/>
                  <a:gd name="connsiteX145" fmla="*/ 81820 w 89138"/>
                  <a:gd name="connsiteY145" fmla="*/ 63040 h 133663"/>
                  <a:gd name="connsiteX146" fmla="*/ 82702 w 89138"/>
                  <a:gd name="connsiteY146" fmla="*/ 61277 h 133663"/>
                  <a:gd name="connsiteX147" fmla="*/ 82349 w 89138"/>
                  <a:gd name="connsiteY147" fmla="*/ 59778 h 133663"/>
                  <a:gd name="connsiteX148" fmla="*/ 81203 w 89138"/>
                  <a:gd name="connsiteY148" fmla="*/ 58015 h 133663"/>
                  <a:gd name="connsiteX149" fmla="*/ 80585 w 89138"/>
                  <a:gd name="connsiteY149" fmla="*/ 57133 h 133663"/>
                  <a:gd name="connsiteX150" fmla="*/ 78823 w 89138"/>
                  <a:gd name="connsiteY150" fmla="*/ 55987 h 133663"/>
                  <a:gd name="connsiteX151" fmla="*/ 78558 w 89138"/>
                  <a:gd name="connsiteY151" fmla="*/ 55370 h 133663"/>
                  <a:gd name="connsiteX152" fmla="*/ 77147 w 89138"/>
                  <a:gd name="connsiteY152" fmla="*/ 52989 h 133663"/>
                  <a:gd name="connsiteX153" fmla="*/ 76883 w 89138"/>
                  <a:gd name="connsiteY153" fmla="*/ 51226 h 133663"/>
                  <a:gd name="connsiteX154" fmla="*/ 75736 w 89138"/>
                  <a:gd name="connsiteY154" fmla="*/ 50344 h 133663"/>
                  <a:gd name="connsiteX155" fmla="*/ 76883 w 89138"/>
                  <a:gd name="connsiteY155" fmla="*/ 47699 h 133663"/>
                  <a:gd name="connsiteX156" fmla="*/ 76265 w 89138"/>
                  <a:gd name="connsiteY156" fmla="*/ 46288 h 133663"/>
                  <a:gd name="connsiteX157" fmla="*/ 75736 w 89138"/>
                  <a:gd name="connsiteY157" fmla="*/ 45142 h 133663"/>
                  <a:gd name="connsiteX158" fmla="*/ 76265 w 89138"/>
                  <a:gd name="connsiteY158" fmla="*/ 43643 h 133663"/>
                  <a:gd name="connsiteX159" fmla="*/ 74238 w 89138"/>
                  <a:gd name="connsiteY159" fmla="*/ 42497 h 133663"/>
                  <a:gd name="connsiteX160" fmla="*/ 74238 w 89138"/>
                  <a:gd name="connsiteY160" fmla="*/ 41615 h 133663"/>
                  <a:gd name="connsiteX161" fmla="*/ 72739 w 89138"/>
                  <a:gd name="connsiteY161" fmla="*/ 40734 h 133663"/>
                  <a:gd name="connsiteX162" fmla="*/ 73003 w 89138"/>
                  <a:gd name="connsiteY162" fmla="*/ 38441 h 133663"/>
                  <a:gd name="connsiteX163" fmla="*/ 72739 w 89138"/>
                  <a:gd name="connsiteY163" fmla="*/ 37295 h 133663"/>
                  <a:gd name="connsiteX164" fmla="*/ 71593 w 89138"/>
                  <a:gd name="connsiteY164" fmla="*/ 36413 h 133663"/>
                  <a:gd name="connsiteX165" fmla="*/ 70711 w 89138"/>
                  <a:gd name="connsiteY165" fmla="*/ 37295 h 133663"/>
                  <a:gd name="connsiteX166" fmla="*/ 69300 w 89138"/>
                  <a:gd name="connsiteY166" fmla="*/ 37031 h 133663"/>
                  <a:gd name="connsiteX167" fmla="*/ 68418 w 89138"/>
                  <a:gd name="connsiteY167" fmla="*/ 33769 h 133663"/>
                  <a:gd name="connsiteX168" fmla="*/ 67537 w 89138"/>
                  <a:gd name="connsiteY168" fmla="*/ 32358 h 133663"/>
                  <a:gd name="connsiteX169" fmla="*/ 66655 w 89138"/>
                  <a:gd name="connsiteY169" fmla="*/ 32358 h 133663"/>
                  <a:gd name="connsiteX170" fmla="*/ 66655 w 89138"/>
                  <a:gd name="connsiteY170" fmla="*/ 31212 h 133663"/>
                  <a:gd name="connsiteX171" fmla="*/ 65773 w 89138"/>
                  <a:gd name="connsiteY171" fmla="*/ 30065 h 133663"/>
                  <a:gd name="connsiteX172" fmla="*/ 63746 w 89138"/>
                  <a:gd name="connsiteY172" fmla="*/ 29448 h 133663"/>
                  <a:gd name="connsiteX173" fmla="*/ 63128 w 89138"/>
                  <a:gd name="connsiteY173" fmla="*/ 27420 h 133663"/>
                  <a:gd name="connsiteX174" fmla="*/ 62511 w 89138"/>
                  <a:gd name="connsiteY174" fmla="*/ 26010 h 133663"/>
                  <a:gd name="connsiteX175" fmla="*/ 60748 w 89138"/>
                  <a:gd name="connsiteY175" fmla="*/ 26010 h 133663"/>
                  <a:gd name="connsiteX176" fmla="*/ 58103 w 89138"/>
                  <a:gd name="connsiteY176" fmla="*/ 25745 h 133663"/>
                  <a:gd name="connsiteX177" fmla="*/ 58103 w 89138"/>
                  <a:gd name="connsiteY177" fmla="*/ 24863 h 133663"/>
                  <a:gd name="connsiteX178" fmla="*/ 58632 w 89138"/>
                  <a:gd name="connsiteY178" fmla="*/ 24863 h 133663"/>
                  <a:gd name="connsiteX179" fmla="*/ 59778 w 89138"/>
                  <a:gd name="connsiteY179" fmla="*/ 24863 h 133663"/>
                  <a:gd name="connsiteX180" fmla="*/ 60660 w 89138"/>
                  <a:gd name="connsiteY180" fmla="*/ 23365 h 133663"/>
                  <a:gd name="connsiteX181" fmla="*/ 59778 w 89138"/>
                  <a:gd name="connsiteY181" fmla="*/ 23629 h 133663"/>
                  <a:gd name="connsiteX182" fmla="*/ 57750 w 89138"/>
                  <a:gd name="connsiteY182" fmla="*/ 23365 h 133663"/>
                  <a:gd name="connsiteX183" fmla="*/ 58632 w 89138"/>
                  <a:gd name="connsiteY183" fmla="*/ 22747 h 133663"/>
                  <a:gd name="connsiteX184" fmla="*/ 58896 w 89138"/>
                  <a:gd name="connsiteY184" fmla="*/ 21601 h 133663"/>
                  <a:gd name="connsiteX185" fmla="*/ 59249 w 89138"/>
                  <a:gd name="connsiteY185" fmla="*/ 20102 h 133663"/>
                  <a:gd name="connsiteX186" fmla="*/ 58103 w 89138"/>
                  <a:gd name="connsiteY186" fmla="*/ 19838 h 133663"/>
                  <a:gd name="connsiteX187" fmla="*/ 56956 w 89138"/>
                  <a:gd name="connsiteY187" fmla="*/ 20102 h 133663"/>
                  <a:gd name="connsiteX188" fmla="*/ 56075 w 89138"/>
                  <a:gd name="connsiteY188" fmla="*/ 19221 h 133663"/>
                  <a:gd name="connsiteX189" fmla="*/ 55193 w 89138"/>
                  <a:gd name="connsiteY189" fmla="*/ 17722 h 133663"/>
                  <a:gd name="connsiteX190" fmla="*/ 53165 w 89138"/>
                  <a:gd name="connsiteY190" fmla="*/ 17722 h 133663"/>
                  <a:gd name="connsiteX191" fmla="*/ 51755 w 89138"/>
                  <a:gd name="connsiteY191" fmla="*/ 15429 h 133663"/>
                  <a:gd name="connsiteX192" fmla="*/ 51755 w 89138"/>
                  <a:gd name="connsiteY192" fmla="*/ 14812 h 133663"/>
                  <a:gd name="connsiteX193" fmla="*/ 50609 w 89138"/>
                  <a:gd name="connsiteY193" fmla="*/ 15958 h 133663"/>
                  <a:gd name="connsiteX194" fmla="*/ 48845 w 89138"/>
                  <a:gd name="connsiteY194" fmla="*/ 15077 h 133663"/>
                  <a:gd name="connsiteX195" fmla="*/ 47346 w 89138"/>
                  <a:gd name="connsiteY195" fmla="*/ 13313 h 133663"/>
                  <a:gd name="connsiteX196" fmla="*/ 47611 w 89138"/>
                  <a:gd name="connsiteY196" fmla="*/ 12432 h 133663"/>
                  <a:gd name="connsiteX197" fmla="*/ 46729 w 89138"/>
                  <a:gd name="connsiteY197" fmla="*/ 11550 h 133663"/>
                  <a:gd name="connsiteX198" fmla="*/ 47346 w 89138"/>
                  <a:gd name="connsiteY198" fmla="*/ 10933 h 133663"/>
                  <a:gd name="connsiteX199" fmla="*/ 46729 w 89138"/>
                  <a:gd name="connsiteY199" fmla="*/ 9169 h 133663"/>
                  <a:gd name="connsiteX200" fmla="*/ 45230 w 89138"/>
                  <a:gd name="connsiteY200" fmla="*/ 8552 h 133663"/>
                  <a:gd name="connsiteX201" fmla="*/ 44084 w 89138"/>
                  <a:gd name="connsiteY201" fmla="*/ 6789 h 133663"/>
                  <a:gd name="connsiteX202" fmla="*/ 43202 w 89138"/>
                  <a:gd name="connsiteY202" fmla="*/ 6172 h 133663"/>
                  <a:gd name="connsiteX203" fmla="*/ 42056 w 89138"/>
                  <a:gd name="connsiteY203" fmla="*/ 7053 h 133663"/>
                  <a:gd name="connsiteX204" fmla="*/ 41792 w 89138"/>
                  <a:gd name="connsiteY204" fmla="*/ 5907 h 133663"/>
                  <a:gd name="connsiteX205" fmla="*/ 40910 w 89138"/>
                  <a:gd name="connsiteY205" fmla="*/ 5026 h 133663"/>
                  <a:gd name="connsiteX206" fmla="*/ 40292 w 89138"/>
                  <a:gd name="connsiteY206" fmla="*/ 5026 h 133663"/>
                  <a:gd name="connsiteX207" fmla="*/ 38530 w 89138"/>
                  <a:gd name="connsiteY207" fmla="*/ 4408 h 133663"/>
                  <a:gd name="connsiteX208" fmla="*/ 36501 w 89138"/>
                  <a:gd name="connsiteY208" fmla="*/ 4144 h 133663"/>
                  <a:gd name="connsiteX209" fmla="*/ 34738 w 89138"/>
                  <a:gd name="connsiteY209" fmla="*/ 3262 h 133663"/>
                  <a:gd name="connsiteX210" fmla="*/ 34738 w 89138"/>
                  <a:gd name="connsiteY210" fmla="*/ 1763 h 133663"/>
                  <a:gd name="connsiteX211" fmla="*/ 34121 w 89138"/>
                  <a:gd name="connsiteY211" fmla="*/ 1499 h 133663"/>
                  <a:gd name="connsiteX212" fmla="*/ 33504 w 89138"/>
                  <a:gd name="connsiteY212" fmla="*/ 617 h 133663"/>
                  <a:gd name="connsiteX213" fmla="*/ 31740 w 89138"/>
                  <a:gd name="connsiteY213" fmla="*/ 0 h 133663"/>
                  <a:gd name="connsiteX214" fmla="*/ 31476 w 89138"/>
                  <a:gd name="connsiteY214" fmla="*/ 3174 h 133663"/>
                  <a:gd name="connsiteX215" fmla="*/ 29713 w 89138"/>
                  <a:gd name="connsiteY215" fmla="*/ 6084 h 133663"/>
                  <a:gd name="connsiteX216" fmla="*/ 29977 w 89138"/>
                  <a:gd name="connsiteY216" fmla="*/ 9258 h 133663"/>
                  <a:gd name="connsiteX217" fmla="*/ 25569 w 89138"/>
                  <a:gd name="connsiteY217" fmla="*/ 10139 h 133663"/>
                  <a:gd name="connsiteX218" fmla="*/ 22659 w 89138"/>
                  <a:gd name="connsiteY218" fmla="*/ 11286 h 133663"/>
                  <a:gd name="connsiteX219" fmla="*/ 19750 w 89138"/>
                  <a:gd name="connsiteY219" fmla="*/ 11021 h 133663"/>
                  <a:gd name="connsiteX220" fmla="*/ 14812 w 89138"/>
                  <a:gd name="connsiteY220" fmla="*/ 14548 h 133663"/>
                  <a:gd name="connsiteX221" fmla="*/ 13666 w 89138"/>
                  <a:gd name="connsiteY221" fmla="*/ 18074 h 133663"/>
                  <a:gd name="connsiteX222" fmla="*/ 9610 w 89138"/>
                  <a:gd name="connsiteY222" fmla="*/ 18692 h 133663"/>
                  <a:gd name="connsiteX223" fmla="*/ 6436 w 89138"/>
                  <a:gd name="connsiteY223" fmla="*/ 17810 h 133663"/>
                  <a:gd name="connsiteX224" fmla="*/ 5555 w 89138"/>
                  <a:gd name="connsiteY224" fmla="*/ 18427 h 133663"/>
                  <a:gd name="connsiteX225" fmla="*/ 2645 w 89138"/>
                  <a:gd name="connsiteY225" fmla="*/ 20719 h 133663"/>
                  <a:gd name="connsiteX226" fmla="*/ 1499 w 89138"/>
                  <a:gd name="connsiteY226" fmla="*/ 23100 h 133663"/>
                  <a:gd name="connsiteX227" fmla="*/ 0 w 89138"/>
                  <a:gd name="connsiteY227" fmla="*/ 23982 h 133663"/>
                  <a:gd name="connsiteX228" fmla="*/ 1234 w 89138"/>
                  <a:gd name="connsiteY228" fmla="*/ 27420 h 133663"/>
                  <a:gd name="connsiteX229" fmla="*/ 42321 w 89138"/>
                  <a:gd name="connsiteY229" fmla="*/ 131547 h 133663"/>
                  <a:gd name="connsiteX230" fmla="*/ 43202 w 89138"/>
                  <a:gd name="connsiteY230" fmla="*/ 129255 h 133663"/>
                  <a:gd name="connsiteX231" fmla="*/ 46112 w 89138"/>
                  <a:gd name="connsiteY231" fmla="*/ 133663 h 133663"/>
                  <a:gd name="connsiteX232" fmla="*/ 48757 w 89138"/>
                  <a:gd name="connsiteY232" fmla="*/ 131900 h 133663"/>
                  <a:gd name="connsiteX233" fmla="*/ 51049 w 89138"/>
                  <a:gd name="connsiteY233" fmla="*/ 132164 h 133663"/>
                  <a:gd name="connsiteX234" fmla="*/ 54840 w 89138"/>
                  <a:gd name="connsiteY234" fmla="*/ 130401 h 133663"/>
                  <a:gd name="connsiteX235" fmla="*/ 54223 w 89138"/>
                  <a:gd name="connsiteY235" fmla="*/ 128109 h 133663"/>
                  <a:gd name="connsiteX236" fmla="*/ 60043 w 89138"/>
                  <a:gd name="connsiteY236" fmla="*/ 127491 h 133663"/>
                  <a:gd name="connsiteX237" fmla="*/ 59778 w 89138"/>
                  <a:gd name="connsiteY237" fmla="*/ 126610 h 133663"/>
                  <a:gd name="connsiteX238" fmla="*/ 59161 w 89138"/>
                  <a:gd name="connsiteY238" fmla="*/ 124317 h 133663"/>
                  <a:gd name="connsiteX239" fmla="*/ 55987 w 89138"/>
                  <a:gd name="connsiteY239" fmla="*/ 124053 h 133663"/>
                  <a:gd name="connsiteX240" fmla="*/ 53959 w 89138"/>
                  <a:gd name="connsiteY240" fmla="*/ 123436 h 133663"/>
                  <a:gd name="connsiteX241" fmla="*/ 51931 w 89138"/>
                  <a:gd name="connsiteY241" fmla="*/ 124846 h 133663"/>
                  <a:gd name="connsiteX242" fmla="*/ 51314 w 89138"/>
                  <a:gd name="connsiteY242" fmla="*/ 123965 h 133663"/>
                  <a:gd name="connsiteX243" fmla="*/ 48669 w 89138"/>
                  <a:gd name="connsiteY243" fmla="*/ 123700 h 133663"/>
                  <a:gd name="connsiteX244" fmla="*/ 45406 w 89138"/>
                  <a:gd name="connsiteY244" fmla="*/ 124846 h 133663"/>
                  <a:gd name="connsiteX245" fmla="*/ 40469 w 89138"/>
                  <a:gd name="connsiteY245" fmla="*/ 126874 h 133663"/>
                  <a:gd name="connsiteX246" fmla="*/ 38706 w 89138"/>
                  <a:gd name="connsiteY246" fmla="*/ 131812 h 133663"/>
                  <a:gd name="connsiteX247" fmla="*/ 42321 w 89138"/>
                  <a:gd name="connsiteY247" fmla="*/ 131547 h 133663"/>
                  <a:gd name="connsiteX248" fmla="*/ 57485 w 89138"/>
                  <a:gd name="connsiteY248" fmla="*/ 111445 h 133663"/>
                  <a:gd name="connsiteX249" fmla="*/ 58014 w 89138"/>
                  <a:gd name="connsiteY249" fmla="*/ 110299 h 133663"/>
                  <a:gd name="connsiteX250" fmla="*/ 59161 w 89138"/>
                  <a:gd name="connsiteY250" fmla="*/ 109770 h 133663"/>
                  <a:gd name="connsiteX251" fmla="*/ 59514 w 89138"/>
                  <a:gd name="connsiteY251" fmla="*/ 109152 h 133663"/>
                  <a:gd name="connsiteX252" fmla="*/ 59161 w 89138"/>
                  <a:gd name="connsiteY252" fmla="*/ 107389 h 133663"/>
                  <a:gd name="connsiteX253" fmla="*/ 60043 w 89138"/>
                  <a:gd name="connsiteY253" fmla="*/ 106507 h 133663"/>
                  <a:gd name="connsiteX254" fmla="*/ 59778 w 89138"/>
                  <a:gd name="connsiteY254" fmla="*/ 105626 h 133663"/>
                  <a:gd name="connsiteX255" fmla="*/ 59161 w 89138"/>
                  <a:gd name="connsiteY255" fmla="*/ 104479 h 133663"/>
                  <a:gd name="connsiteX256" fmla="*/ 58632 w 89138"/>
                  <a:gd name="connsiteY256" fmla="*/ 103862 h 133663"/>
                  <a:gd name="connsiteX257" fmla="*/ 58367 w 89138"/>
                  <a:gd name="connsiteY257" fmla="*/ 103862 h 133663"/>
                  <a:gd name="connsiteX258" fmla="*/ 57485 w 89138"/>
                  <a:gd name="connsiteY258" fmla="*/ 103862 h 133663"/>
                  <a:gd name="connsiteX259" fmla="*/ 57221 w 89138"/>
                  <a:gd name="connsiteY259" fmla="*/ 105008 h 133663"/>
                  <a:gd name="connsiteX260" fmla="*/ 56868 w 89138"/>
                  <a:gd name="connsiteY260" fmla="*/ 105890 h 133663"/>
                  <a:gd name="connsiteX261" fmla="*/ 56339 w 89138"/>
                  <a:gd name="connsiteY261" fmla="*/ 106419 h 133663"/>
                  <a:gd name="connsiteX262" fmla="*/ 55458 w 89138"/>
                  <a:gd name="connsiteY262" fmla="*/ 107301 h 133663"/>
                  <a:gd name="connsiteX263" fmla="*/ 55458 w 89138"/>
                  <a:gd name="connsiteY263" fmla="*/ 108447 h 133663"/>
                  <a:gd name="connsiteX264" fmla="*/ 56339 w 89138"/>
                  <a:gd name="connsiteY264" fmla="*/ 110210 h 133663"/>
                  <a:gd name="connsiteX265" fmla="*/ 56868 w 89138"/>
                  <a:gd name="connsiteY265" fmla="*/ 110828 h 133663"/>
                  <a:gd name="connsiteX266" fmla="*/ 57485 w 89138"/>
                  <a:gd name="connsiteY266" fmla="*/ 111445 h 133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</a:cxnLst>
                <a:rect l="l" t="t" r="r" b="b"/>
                <a:pathLst>
                  <a:path w="89138" h="133663">
                    <a:moveTo>
                      <a:pt x="1234" y="27420"/>
                    </a:moveTo>
                    <a:lnTo>
                      <a:pt x="970" y="28919"/>
                    </a:lnTo>
                    <a:lnTo>
                      <a:pt x="2468" y="29801"/>
                    </a:lnTo>
                    <a:lnTo>
                      <a:pt x="3350" y="28919"/>
                    </a:lnTo>
                    <a:lnTo>
                      <a:pt x="3086" y="27685"/>
                    </a:lnTo>
                    <a:lnTo>
                      <a:pt x="3703" y="27949"/>
                    </a:lnTo>
                    <a:lnTo>
                      <a:pt x="5113" y="26451"/>
                    </a:lnTo>
                    <a:lnTo>
                      <a:pt x="5995" y="28478"/>
                    </a:lnTo>
                    <a:lnTo>
                      <a:pt x="8288" y="31652"/>
                    </a:lnTo>
                    <a:lnTo>
                      <a:pt x="9787" y="31652"/>
                    </a:lnTo>
                    <a:lnTo>
                      <a:pt x="11550" y="32270"/>
                    </a:lnTo>
                    <a:lnTo>
                      <a:pt x="10933" y="33416"/>
                    </a:lnTo>
                    <a:lnTo>
                      <a:pt x="12432" y="34033"/>
                    </a:lnTo>
                    <a:lnTo>
                      <a:pt x="13842" y="35532"/>
                    </a:lnTo>
                    <a:lnTo>
                      <a:pt x="11814" y="37295"/>
                    </a:lnTo>
                    <a:lnTo>
                      <a:pt x="10668" y="36678"/>
                    </a:lnTo>
                    <a:lnTo>
                      <a:pt x="8023" y="36061"/>
                    </a:lnTo>
                    <a:lnTo>
                      <a:pt x="6524" y="35444"/>
                    </a:lnTo>
                    <a:lnTo>
                      <a:pt x="5025" y="36325"/>
                    </a:lnTo>
                    <a:lnTo>
                      <a:pt x="3879" y="35708"/>
                    </a:lnTo>
                    <a:lnTo>
                      <a:pt x="3262" y="36854"/>
                    </a:lnTo>
                    <a:lnTo>
                      <a:pt x="2645" y="37736"/>
                    </a:lnTo>
                    <a:lnTo>
                      <a:pt x="3262" y="39764"/>
                    </a:lnTo>
                    <a:lnTo>
                      <a:pt x="5025" y="41263"/>
                    </a:lnTo>
                    <a:lnTo>
                      <a:pt x="4761" y="42762"/>
                    </a:lnTo>
                    <a:lnTo>
                      <a:pt x="5642" y="42409"/>
                    </a:lnTo>
                    <a:lnTo>
                      <a:pt x="6524" y="42409"/>
                    </a:lnTo>
                    <a:lnTo>
                      <a:pt x="7406" y="43026"/>
                    </a:lnTo>
                    <a:lnTo>
                      <a:pt x="7671" y="42144"/>
                    </a:lnTo>
                    <a:lnTo>
                      <a:pt x="8552" y="42409"/>
                    </a:lnTo>
                    <a:lnTo>
                      <a:pt x="8817" y="43555"/>
                    </a:lnTo>
                    <a:lnTo>
                      <a:pt x="8817" y="44084"/>
                    </a:lnTo>
                    <a:lnTo>
                      <a:pt x="8552" y="44437"/>
                    </a:lnTo>
                    <a:lnTo>
                      <a:pt x="8288" y="43820"/>
                    </a:lnTo>
                    <a:lnTo>
                      <a:pt x="8023" y="44701"/>
                    </a:lnTo>
                    <a:lnTo>
                      <a:pt x="8905" y="44701"/>
                    </a:lnTo>
                    <a:lnTo>
                      <a:pt x="9522" y="44701"/>
                    </a:lnTo>
                    <a:lnTo>
                      <a:pt x="10051" y="44701"/>
                    </a:lnTo>
                    <a:lnTo>
                      <a:pt x="10933" y="45319"/>
                    </a:lnTo>
                    <a:lnTo>
                      <a:pt x="11550" y="46200"/>
                    </a:lnTo>
                    <a:lnTo>
                      <a:pt x="11285" y="46817"/>
                    </a:lnTo>
                    <a:lnTo>
                      <a:pt x="13049" y="46200"/>
                    </a:lnTo>
                    <a:lnTo>
                      <a:pt x="13666" y="46553"/>
                    </a:lnTo>
                    <a:lnTo>
                      <a:pt x="13401" y="47170"/>
                    </a:lnTo>
                    <a:lnTo>
                      <a:pt x="12520" y="47787"/>
                    </a:lnTo>
                    <a:lnTo>
                      <a:pt x="12255" y="48669"/>
                    </a:lnTo>
                    <a:lnTo>
                      <a:pt x="11374" y="48669"/>
                    </a:lnTo>
                    <a:lnTo>
                      <a:pt x="11991" y="50080"/>
                    </a:lnTo>
                    <a:lnTo>
                      <a:pt x="11638" y="50697"/>
                    </a:lnTo>
                    <a:lnTo>
                      <a:pt x="11021" y="50697"/>
                    </a:lnTo>
                    <a:lnTo>
                      <a:pt x="11021" y="49815"/>
                    </a:lnTo>
                    <a:lnTo>
                      <a:pt x="12520" y="51578"/>
                    </a:lnTo>
                    <a:lnTo>
                      <a:pt x="13049" y="51843"/>
                    </a:lnTo>
                    <a:lnTo>
                      <a:pt x="13401" y="52989"/>
                    </a:lnTo>
                    <a:lnTo>
                      <a:pt x="15694" y="52372"/>
                    </a:lnTo>
                    <a:lnTo>
                      <a:pt x="16311" y="53518"/>
                    </a:lnTo>
                    <a:lnTo>
                      <a:pt x="16576" y="55017"/>
                    </a:lnTo>
                    <a:lnTo>
                      <a:pt x="16576" y="56428"/>
                    </a:lnTo>
                    <a:lnTo>
                      <a:pt x="18339" y="57574"/>
                    </a:lnTo>
                    <a:lnTo>
                      <a:pt x="17986" y="58191"/>
                    </a:lnTo>
                    <a:lnTo>
                      <a:pt x="18603" y="58808"/>
                    </a:lnTo>
                    <a:lnTo>
                      <a:pt x="18603" y="59954"/>
                    </a:lnTo>
                    <a:lnTo>
                      <a:pt x="20367" y="61101"/>
                    </a:lnTo>
                    <a:lnTo>
                      <a:pt x="21248" y="61365"/>
                    </a:lnTo>
                    <a:lnTo>
                      <a:pt x="22747" y="60219"/>
                    </a:lnTo>
                    <a:lnTo>
                      <a:pt x="23893" y="62247"/>
                    </a:lnTo>
                    <a:lnTo>
                      <a:pt x="24158" y="64010"/>
                    </a:lnTo>
                    <a:lnTo>
                      <a:pt x="24158" y="64627"/>
                    </a:lnTo>
                    <a:lnTo>
                      <a:pt x="23541" y="65774"/>
                    </a:lnTo>
                    <a:lnTo>
                      <a:pt x="23541" y="68066"/>
                    </a:lnTo>
                    <a:lnTo>
                      <a:pt x="24687" y="69212"/>
                    </a:lnTo>
                    <a:lnTo>
                      <a:pt x="24951" y="69477"/>
                    </a:lnTo>
                    <a:lnTo>
                      <a:pt x="26715" y="70358"/>
                    </a:lnTo>
                    <a:lnTo>
                      <a:pt x="26980" y="72122"/>
                    </a:lnTo>
                    <a:lnTo>
                      <a:pt x="27244" y="76177"/>
                    </a:lnTo>
                    <a:lnTo>
                      <a:pt x="27508" y="79704"/>
                    </a:lnTo>
                    <a:lnTo>
                      <a:pt x="25745" y="78822"/>
                    </a:lnTo>
                    <a:lnTo>
                      <a:pt x="25128" y="77059"/>
                    </a:lnTo>
                    <a:lnTo>
                      <a:pt x="24511" y="73268"/>
                    </a:lnTo>
                    <a:lnTo>
                      <a:pt x="23364" y="75296"/>
                    </a:lnTo>
                    <a:lnTo>
                      <a:pt x="23717" y="77059"/>
                    </a:lnTo>
                    <a:lnTo>
                      <a:pt x="23717" y="77676"/>
                    </a:lnTo>
                    <a:lnTo>
                      <a:pt x="23982" y="79704"/>
                    </a:lnTo>
                    <a:lnTo>
                      <a:pt x="24246" y="81996"/>
                    </a:lnTo>
                    <a:lnTo>
                      <a:pt x="24246" y="84024"/>
                    </a:lnTo>
                    <a:lnTo>
                      <a:pt x="24863" y="85788"/>
                    </a:lnTo>
                    <a:lnTo>
                      <a:pt x="25745" y="87816"/>
                    </a:lnTo>
                    <a:lnTo>
                      <a:pt x="27773" y="88962"/>
                    </a:lnTo>
                    <a:lnTo>
                      <a:pt x="27155" y="90108"/>
                    </a:lnTo>
                    <a:lnTo>
                      <a:pt x="28302" y="92400"/>
                    </a:lnTo>
                    <a:lnTo>
                      <a:pt x="28302" y="93282"/>
                    </a:lnTo>
                    <a:lnTo>
                      <a:pt x="26803" y="95046"/>
                    </a:lnTo>
                    <a:lnTo>
                      <a:pt x="26186" y="96544"/>
                    </a:lnTo>
                    <a:lnTo>
                      <a:pt x="26186" y="97955"/>
                    </a:lnTo>
                    <a:lnTo>
                      <a:pt x="25922" y="99101"/>
                    </a:lnTo>
                    <a:lnTo>
                      <a:pt x="26186" y="99983"/>
                    </a:lnTo>
                    <a:lnTo>
                      <a:pt x="26186" y="101482"/>
                    </a:lnTo>
                    <a:lnTo>
                      <a:pt x="26803" y="101746"/>
                    </a:lnTo>
                    <a:lnTo>
                      <a:pt x="29095" y="102363"/>
                    </a:lnTo>
                    <a:lnTo>
                      <a:pt x="30242" y="102628"/>
                    </a:lnTo>
                    <a:lnTo>
                      <a:pt x="33416" y="102628"/>
                    </a:lnTo>
                    <a:lnTo>
                      <a:pt x="34562" y="103245"/>
                    </a:lnTo>
                    <a:lnTo>
                      <a:pt x="36325" y="103862"/>
                    </a:lnTo>
                    <a:lnTo>
                      <a:pt x="37824" y="104127"/>
                    </a:lnTo>
                    <a:lnTo>
                      <a:pt x="38706" y="105008"/>
                    </a:lnTo>
                    <a:lnTo>
                      <a:pt x="40469" y="104744"/>
                    </a:lnTo>
                    <a:lnTo>
                      <a:pt x="41703" y="105008"/>
                    </a:lnTo>
                    <a:lnTo>
                      <a:pt x="42232" y="105008"/>
                    </a:lnTo>
                    <a:lnTo>
                      <a:pt x="45759" y="104744"/>
                    </a:lnTo>
                    <a:lnTo>
                      <a:pt x="47522" y="103862"/>
                    </a:lnTo>
                    <a:lnTo>
                      <a:pt x="48669" y="101834"/>
                    </a:lnTo>
                    <a:lnTo>
                      <a:pt x="49551" y="100688"/>
                    </a:lnTo>
                    <a:lnTo>
                      <a:pt x="50697" y="100424"/>
                    </a:lnTo>
                    <a:lnTo>
                      <a:pt x="51843" y="101041"/>
                    </a:lnTo>
                    <a:lnTo>
                      <a:pt x="53871" y="101923"/>
                    </a:lnTo>
                    <a:lnTo>
                      <a:pt x="55017" y="100424"/>
                    </a:lnTo>
                    <a:lnTo>
                      <a:pt x="57662" y="98660"/>
                    </a:lnTo>
                    <a:lnTo>
                      <a:pt x="59425" y="97514"/>
                    </a:lnTo>
                    <a:lnTo>
                      <a:pt x="60572" y="94869"/>
                    </a:lnTo>
                    <a:lnTo>
                      <a:pt x="64980" y="94252"/>
                    </a:lnTo>
                    <a:lnTo>
                      <a:pt x="66479" y="93987"/>
                    </a:lnTo>
                    <a:lnTo>
                      <a:pt x="68506" y="92841"/>
                    </a:lnTo>
                    <a:lnTo>
                      <a:pt x="72033" y="92841"/>
                    </a:lnTo>
                    <a:lnTo>
                      <a:pt x="74943" y="91342"/>
                    </a:lnTo>
                    <a:lnTo>
                      <a:pt x="76089" y="91960"/>
                    </a:lnTo>
                    <a:lnTo>
                      <a:pt x="76971" y="92577"/>
                    </a:lnTo>
                    <a:lnTo>
                      <a:pt x="79263" y="92312"/>
                    </a:lnTo>
                    <a:lnTo>
                      <a:pt x="80145" y="92312"/>
                    </a:lnTo>
                    <a:lnTo>
                      <a:pt x="81908" y="91431"/>
                    </a:lnTo>
                    <a:lnTo>
                      <a:pt x="82172" y="90549"/>
                    </a:lnTo>
                    <a:lnTo>
                      <a:pt x="82172" y="88785"/>
                    </a:lnTo>
                    <a:lnTo>
                      <a:pt x="82172" y="87904"/>
                    </a:lnTo>
                    <a:lnTo>
                      <a:pt x="86228" y="84377"/>
                    </a:lnTo>
                    <a:lnTo>
                      <a:pt x="87110" y="83495"/>
                    </a:lnTo>
                    <a:lnTo>
                      <a:pt x="87992" y="83231"/>
                    </a:lnTo>
                    <a:lnTo>
                      <a:pt x="88256" y="80850"/>
                    </a:lnTo>
                    <a:lnTo>
                      <a:pt x="88256" y="77324"/>
                    </a:lnTo>
                    <a:lnTo>
                      <a:pt x="88785" y="76177"/>
                    </a:lnTo>
                    <a:lnTo>
                      <a:pt x="89138" y="73797"/>
                    </a:lnTo>
                    <a:lnTo>
                      <a:pt x="88521" y="71505"/>
                    </a:lnTo>
                    <a:lnTo>
                      <a:pt x="88256" y="70358"/>
                    </a:lnTo>
                    <a:lnTo>
                      <a:pt x="87375" y="69477"/>
                    </a:lnTo>
                    <a:lnTo>
                      <a:pt x="85611" y="66832"/>
                    </a:lnTo>
                    <a:lnTo>
                      <a:pt x="84730" y="64804"/>
                    </a:lnTo>
                    <a:lnTo>
                      <a:pt x="83848" y="63040"/>
                    </a:lnTo>
                    <a:lnTo>
                      <a:pt x="81820" y="63040"/>
                    </a:lnTo>
                    <a:lnTo>
                      <a:pt x="82702" y="61277"/>
                    </a:lnTo>
                    <a:lnTo>
                      <a:pt x="82349" y="59778"/>
                    </a:lnTo>
                    <a:lnTo>
                      <a:pt x="81203" y="58015"/>
                    </a:lnTo>
                    <a:lnTo>
                      <a:pt x="80585" y="57133"/>
                    </a:lnTo>
                    <a:lnTo>
                      <a:pt x="78823" y="55987"/>
                    </a:lnTo>
                    <a:lnTo>
                      <a:pt x="78558" y="55370"/>
                    </a:lnTo>
                    <a:lnTo>
                      <a:pt x="77147" y="52989"/>
                    </a:lnTo>
                    <a:lnTo>
                      <a:pt x="76883" y="51226"/>
                    </a:lnTo>
                    <a:lnTo>
                      <a:pt x="75736" y="50344"/>
                    </a:lnTo>
                    <a:lnTo>
                      <a:pt x="76883" y="47699"/>
                    </a:lnTo>
                    <a:lnTo>
                      <a:pt x="76265" y="46288"/>
                    </a:lnTo>
                    <a:lnTo>
                      <a:pt x="75736" y="45142"/>
                    </a:lnTo>
                    <a:lnTo>
                      <a:pt x="76265" y="43643"/>
                    </a:lnTo>
                    <a:lnTo>
                      <a:pt x="74238" y="42497"/>
                    </a:lnTo>
                    <a:lnTo>
                      <a:pt x="74238" y="41615"/>
                    </a:lnTo>
                    <a:lnTo>
                      <a:pt x="72739" y="40734"/>
                    </a:lnTo>
                    <a:lnTo>
                      <a:pt x="73003" y="38441"/>
                    </a:lnTo>
                    <a:lnTo>
                      <a:pt x="72739" y="37295"/>
                    </a:lnTo>
                    <a:lnTo>
                      <a:pt x="71593" y="36413"/>
                    </a:lnTo>
                    <a:lnTo>
                      <a:pt x="70711" y="37295"/>
                    </a:lnTo>
                    <a:lnTo>
                      <a:pt x="69300" y="37031"/>
                    </a:lnTo>
                    <a:lnTo>
                      <a:pt x="68418" y="33769"/>
                    </a:lnTo>
                    <a:lnTo>
                      <a:pt x="67537" y="32358"/>
                    </a:lnTo>
                    <a:lnTo>
                      <a:pt x="66655" y="32358"/>
                    </a:lnTo>
                    <a:lnTo>
                      <a:pt x="66655" y="31212"/>
                    </a:lnTo>
                    <a:lnTo>
                      <a:pt x="65773" y="30065"/>
                    </a:lnTo>
                    <a:lnTo>
                      <a:pt x="63746" y="29448"/>
                    </a:lnTo>
                    <a:lnTo>
                      <a:pt x="63128" y="27420"/>
                    </a:lnTo>
                    <a:lnTo>
                      <a:pt x="62511" y="26010"/>
                    </a:lnTo>
                    <a:lnTo>
                      <a:pt x="60748" y="26010"/>
                    </a:lnTo>
                    <a:lnTo>
                      <a:pt x="58103" y="25745"/>
                    </a:lnTo>
                    <a:lnTo>
                      <a:pt x="58103" y="24863"/>
                    </a:lnTo>
                    <a:lnTo>
                      <a:pt x="58632" y="24863"/>
                    </a:lnTo>
                    <a:lnTo>
                      <a:pt x="59778" y="24863"/>
                    </a:lnTo>
                    <a:lnTo>
                      <a:pt x="60660" y="23365"/>
                    </a:lnTo>
                    <a:lnTo>
                      <a:pt x="59778" y="23629"/>
                    </a:lnTo>
                    <a:lnTo>
                      <a:pt x="57750" y="23365"/>
                    </a:lnTo>
                    <a:lnTo>
                      <a:pt x="58632" y="22747"/>
                    </a:lnTo>
                    <a:lnTo>
                      <a:pt x="58896" y="21601"/>
                    </a:lnTo>
                    <a:lnTo>
                      <a:pt x="59249" y="20102"/>
                    </a:lnTo>
                    <a:lnTo>
                      <a:pt x="58103" y="19838"/>
                    </a:lnTo>
                    <a:lnTo>
                      <a:pt x="56956" y="20102"/>
                    </a:lnTo>
                    <a:lnTo>
                      <a:pt x="56075" y="19221"/>
                    </a:lnTo>
                    <a:lnTo>
                      <a:pt x="55193" y="17722"/>
                    </a:lnTo>
                    <a:lnTo>
                      <a:pt x="53165" y="17722"/>
                    </a:lnTo>
                    <a:lnTo>
                      <a:pt x="51755" y="15429"/>
                    </a:lnTo>
                    <a:lnTo>
                      <a:pt x="51755" y="14812"/>
                    </a:lnTo>
                    <a:lnTo>
                      <a:pt x="50609" y="15958"/>
                    </a:lnTo>
                    <a:lnTo>
                      <a:pt x="48845" y="15077"/>
                    </a:lnTo>
                    <a:lnTo>
                      <a:pt x="47346" y="13313"/>
                    </a:lnTo>
                    <a:lnTo>
                      <a:pt x="47611" y="12432"/>
                    </a:lnTo>
                    <a:lnTo>
                      <a:pt x="46729" y="11550"/>
                    </a:lnTo>
                    <a:lnTo>
                      <a:pt x="47346" y="10933"/>
                    </a:lnTo>
                    <a:lnTo>
                      <a:pt x="46729" y="9169"/>
                    </a:lnTo>
                    <a:lnTo>
                      <a:pt x="45230" y="8552"/>
                    </a:lnTo>
                    <a:lnTo>
                      <a:pt x="44084" y="6789"/>
                    </a:lnTo>
                    <a:lnTo>
                      <a:pt x="43202" y="6172"/>
                    </a:lnTo>
                    <a:lnTo>
                      <a:pt x="42056" y="7053"/>
                    </a:lnTo>
                    <a:lnTo>
                      <a:pt x="41792" y="5907"/>
                    </a:lnTo>
                    <a:lnTo>
                      <a:pt x="40910" y="5026"/>
                    </a:lnTo>
                    <a:lnTo>
                      <a:pt x="40292" y="5026"/>
                    </a:lnTo>
                    <a:lnTo>
                      <a:pt x="38530" y="4408"/>
                    </a:lnTo>
                    <a:lnTo>
                      <a:pt x="36501" y="4144"/>
                    </a:lnTo>
                    <a:lnTo>
                      <a:pt x="34738" y="3262"/>
                    </a:lnTo>
                    <a:lnTo>
                      <a:pt x="34738" y="1763"/>
                    </a:lnTo>
                    <a:lnTo>
                      <a:pt x="34121" y="1499"/>
                    </a:lnTo>
                    <a:lnTo>
                      <a:pt x="33504" y="617"/>
                    </a:lnTo>
                    <a:lnTo>
                      <a:pt x="31740" y="0"/>
                    </a:lnTo>
                    <a:lnTo>
                      <a:pt x="31476" y="3174"/>
                    </a:lnTo>
                    <a:lnTo>
                      <a:pt x="29713" y="6084"/>
                    </a:lnTo>
                    <a:lnTo>
                      <a:pt x="29977" y="9258"/>
                    </a:lnTo>
                    <a:lnTo>
                      <a:pt x="25569" y="10139"/>
                    </a:lnTo>
                    <a:lnTo>
                      <a:pt x="22659" y="11286"/>
                    </a:lnTo>
                    <a:lnTo>
                      <a:pt x="19750" y="11021"/>
                    </a:lnTo>
                    <a:lnTo>
                      <a:pt x="14812" y="14548"/>
                    </a:lnTo>
                    <a:lnTo>
                      <a:pt x="13666" y="18074"/>
                    </a:lnTo>
                    <a:lnTo>
                      <a:pt x="9610" y="18692"/>
                    </a:lnTo>
                    <a:lnTo>
                      <a:pt x="6436" y="17810"/>
                    </a:lnTo>
                    <a:lnTo>
                      <a:pt x="5555" y="18427"/>
                    </a:lnTo>
                    <a:lnTo>
                      <a:pt x="2645" y="20719"/>
                    </a:lnTo>
                    <a:lnTo>
                      <a:pt x="1499" y="23100"/>
                    </a:lnTo>
                    <a:lnTo>
                      <a:pt x="0" y="23982"/>
                    </a:lnTo>
                    <a:lnTo>
                      <a:pt x="1234" y="27420"/>
                    </a:lnTo>
                    <a:close/>
                    <a:moveTo>
                      <a:pt x="42321" y="131547"/>
                    </a:moveTo>
                    <a:lnTo>
                      <a:pt x="43202" y="129255"/>
                    </a:lnTo>
                    <a:lnTo>
                      <a:pt x="46112" y="133663"/>
                    </a:lnTo>
                    <a:lnTo>
                      <a:pt x="48757" y="131900"/>
                    </a:lnTo>
                    <a:lnTo>
                      <a:pt x="51049" y="132164"/>
                    </a:lnTo>
                    <a:lnTo>
                      <a:pt x="54840" y="130401"/>
                    </a:lnTo>
                    <a:lnTo>
                      <a:pt x="54223" y="128109"/>
                    </a:lnTo>
                    <a:lnTo>
                      <a:pt x="60043" y="127491"/>
                    </a:lnTo>
                    <a:lnTo>
                      <a:pt x="59778" y="126610"/>
                    </a:lnTo>
                    <a:lnTo>
                      <a:pt x="59161" y="124317"/>
                    </a:lnTo>
                    <a:lnTo>
                      <a:pt x="55987" y="124053"/>
                    </a:lnTo>
                    <a:lnTo>
                      <a:pt x="53959" y="123436"/>
                    </a:lnTo>
                    <a:lnTo>
                      <a:pt x="51931" y="124846"/>
                    </a:lnTo>
                    <a:lnTo>
                      <a:pt x="51314" y="123965"/>
                    </a:lnTo>
                    <a:lnTo>
                      <a:pt x="48669" y="123700"/>
                    </a:lnTo>
                    <a:lnTo>
                      <a:pt x="45406" y="124846"/>
                    </a:lnTo>
                    <a:lnTo>
                      <a:pt x="40469" y="126874"/>
                    </a:lnTo>
                    <a:lnTo>
                      <a:pt x="38706" y="131812"/>
                    </a:lnTo>
                    <a:lnTo>
                      <a:pt x="42321" y="131547"/>
                    </a:lnTo>
                    <a:close/>
                    <a:moveTo>
                      <a:pt x="57485" y="111445"/>
                    </a:moveTo>
                    <a:lnTo>
                      <a:pt x="58014" y="110299"/>
                    </a:lnTo>
                    <a:lnTo>
                      <a:pt x="59161" y="109770"/>
                    </a:lnTo>
                    <a:lnTo>
                      <a:pt x="59514" y="109152"/>
                    </a:lnTo>
                    <a:lnTo>
                      <a:pt x="59161" y="107389"/>
                    </a:lnTo>
                    <a:lnTo>
                      <a:pt x="60043" y="106507"/>
                    </a:lnTo>
                    <a:lnTo>
                      <a:pt x="59778" y="105626"/>
                    </a:lnTo>
                    <a:lnTo>
                      <a:pt x="59161" y="104479"/>
                    </a:lnTo>
                    <a:lnTo>
                      <a:pt x="58632" y="103862"/>
                    </a:lnTo>
                    <a:lnTo>
                      <a:pt x="58367" y="103862"/>
                    </a:lnTo>
                    <a:lnTo>
                      <a:pt x="57485" y="103862"/>
                    </a:lnTo>
                    <a:lnTo>
                      <a:pt x="57221" y="105008"/>
                    </a:lnTo>
                    <a:lnTo>
                      <a:pt x="56868" y="105890"/>
                    </a:lnTo>
                    <a:lnTo>
                      <a:pt x="56339" y="106419"/>
                    </a:lnTo>
                    <a:lnTo>
                      <a:pt x="55458" y="107301"/>
                    </a:lnTo>
                    <a:lnTo>
                      <a:pt x="55458" y="108447"/>
                    </a:lnTo>
                    <a:lnTo>
                      <a:pt x="56339" y="110210"/>
                    </a:lnTo>
                    <a:lnTo>
                      <a:pt x="56868" y="110828"/>
                    </a:lnTo>
                    <a:lnTo>
                      <a:pt x="57485" y="11144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9" name="Freihandform: Form 1958">
                <a:extLst>
                  <a:ext uri="{FF2B5EF4-FFF2-40B4-BE49-F238E27FC236}">
                    <a16:creationId xmlns:a16="http://schemas.microsoft.com/office/drawing/2014/main" id="{961158A5-2D18-6A9B-6AEB-D5CBECF8EE2F}"/>
                  </a:ext>
                </a:extLst>
              </p:cNvPr>
              <p:cNvSpPr/>
              <p:nvPr/>
            </p:nvSpPr>
            <p:spPr>
              <a:xfrm>
                <a:off x="6591103" y="3079852"/>
                <a:ext cx="107653" cy="135955"/>
              </a:xfrm>
              <a:custGeom>
                <a:avLst/>
                <a:gdLst>
                  <a:gd name="connsiteX0" fmla="*/ 0 w 107653"/>
                  <a:gd name="connsiteY0" fmla="*/ 77941 h 135955"/>
                  <a:gd name="connsiteX1" fmla="*/ 6436 w 107653"/>
                  <a:gd name="connsiteY1" fmla="*/ 62776 h 135955"/>
                  <a:gd name="connsiteX2" fmla="*/ 9611 w 107653"/>
                  <a:gd name="connsiteY2" fmla="*/ 63305 h 135955"/>
                  <a:gd name="connsiteX3" fmla="*/ 7318 w 107653"/>
                  <a:gd name="connsiteY3" fmla="*/ 61277 h 135955"/>
                  <a:gd name="connsiteX4" fmla="*/ 11374 w 107653"/>
                  <a:gd name="connsiteY4" fmla="*/ 58368 h 135955"/>
                  <a:gd name="connsiteX5" fmla="*/ 13754 w 107653"/>
                  <a:gd name="connsiteY5" fmla="*/ 58632 h 135955"/>
                  <a:gd name="connsiteX6" fmla="*/ 14283 w 107653"/>
                  <a:gd name="connsiteY6" fmla="*/ 54312 h 135955"/>
                  <a:gd name="connsiteX7" fmla="*/ 16928 w 107653"/>
                  <a:gd name="connsiteY7" fmla="*/ 54312 h 135955"/>
                  <a:gd name="connsiteX8" fmla="*/ 16928 w 107653"/>
                  <a:gd name="connsiteY8" fmla="*/ 51667 h 135955"/>
                  <a:gd name="connsiteX9" fmla="*/ 21601 w 107653"/>
                  <a:gd name="connsiteY9" fmla="*/ 50521 h 135955"/>
                  <a:gd name="connsiteX10" fmla="*/ 21601 w 107653"/>
                  <a:gd name="connsiteY10" fmla="*/ 46112 h 135955"/>
                  <a:gd name="connsiteX11" fmla="*/ 26539 w 107653"/>
                  <a:gd name="connsiteY11" fmla="*/ 39676 h 135955"/>
                  <a:gd name="connsiteX12" fmla="*/ 23100 w 107653"/>
                  <a:gd name="connsiteY12" fmla="*/ 32093 h 135955"/>
                  <a:gd name="connsiteX13" fmla="*/ 23629 w 107653"/>
                  <a:gd name="connsiteY13" fmla="*/ 29536 h 135955"/>
                  <a:gd name="connsiteX14" fmla="*/ 27420 w 107653"/>
                  <a:gd name="connsiteY14" fmla="*/ 29184 h 135955"/>
                  <a:gd name="connsiteX15" fmla="*/ 36237 w 107653"/>
                  <a:gd name="connsiteY15" fmla="*/ 34121 h 135955"/>
                  <a:gd name="connsiteX16" fmla="*/ 37912 w 107653"/>
                  <a:gd name="connsiteY16" fmla="*/ 37383 h 135955"/>
                  <a:gd name="connsiteX17" fmla="*/ 45495 w 107653"/>
                  <a:gd name="connsiteY17" fmla="*/ 37912 h 135955"/>
                  <a:gd name="connsiteX18" fmla="*/ 47875 w 107653"/>
                  <a:gd name="connsiteY18" fmla="*/ 39676 h 135955"/>
                  <a:gd name="connsiteX19" fmla="*/ 53430 w 107653"/>
                  <a:gd name="connsiteY19" fmla="*/ 38265 h 135955"/>
                  <a:gd name="connsiteX20" fmla="*/ 58985 w 107653"/>
                  <a:gd name="connsiteY20" fmla="*/ 39676 h 135955"/>
                  <a:gd name="connsiteX21" fmla="*/ 58632 w 107653"/>
                  <a:gd name="connsiteY21" fmla="*/ 32975 h 135955"/>
                  <a:gd name="connsiteX22" fmla="*/ 51667 w 107653"/>
                  <a:gd name="connsiteY22" fmla="*/ 29184 h 135955"/>
                  <a:gd name="connsiteX23" fmla="*/ 49022 w 107653"/>
                  <a:gd name="connsiteY23" fmla="*/ 24511 h 135955"/>
                  <a:gd name="connsiteX24" fmla="*/ 65068 w 107653"/>
                  <a:gd name="connsiteY24" fmla="*/ 23629 h 135955"/>
                  <a:gd name="connsiteX25" fmla="*/ 68595 w 107653"/>
                  <a:gd name="connsiteY25" fmla="*/ 20191 h 135955"/>
                  <a:gd name="connsiteX26" fmla="*/ 67096 w 107653"/>
                  <a:gd name="connsiteY26" fmla="*/ 17281 h 135955"/>
                  <a:gd name="connsiteX27" fmla="*/ 67361 w 107653"/>
                  <a:gd name="connsiteY27" fmla="*/ 12873 h 135955"/>
                  <a:gd name="connsiteX28" fmla="*/ 72651 w 107653"/>
                  <a:gd name="connsiteY28" fmla="*/ 15782 h 135955"/>
                  <a:gd name="connsiteX29" fmla="*/ 74414 w 107653"/>
                  <a:gd name="connsiteY29" fmla="*/ 13754 h 135955"/>
                  <a:gd name="connsiteX30" fmla="*/ 71152 w 107653"/>
                  <a:gd name="connsiteY30" fmla="*/ 7582 h 135955"/>
                  <a:gd name="connsiteX31" fmla="*/ 68859 w 107653"/>
                  <a:gd name="connsiteY31" fmla="*/ 4673 h 135955"/>
                  <a:gd name="connsiteX32" fmla="*/ 70006 w 107653"/>
                  <a:gd name="connsiteY32" fmla="*/ 1763 h 135955"/>
                  <a:gd name="connsiteX33" fmla="*/ 71504 w 107653"/>
                  <a:gd name="connsiteY33" fmla="*/ 0 h 135955"/>
                  <a:gd name="connsiteX34" fmla="*/ 74943 w 107653"/>
                  <a:gd name="connsiteY34" fmla="*/ 2381 h 135955"/>
                  <a:gd name="connsiteX35" fmla="*/ 81115 w 107653"/>
                  <a:gd name="connsiteY35" fmla="*/ 5555 h 135955"/>
                  <a:gd name="connsiteX36" fmla="*/ 104480 w 107653"/>
                  <a:gd name="connsiteY36" fmla="*/ 9081 h 135955"/>
                  <a:gd name="connsiteX37" fmla="*/ 105626 w 107653"/>
                  <a:gd name="connsiteY37" fmla="*/ 9963 h 135955"/>
                  <a:gd name="connsiteX38" fmla="*/ 106772 w 107653"/>
                  <a:gd name="connsiteY38" fmla="*/ 10492 h 135955"/>
                  <a:gd name="connsiteX39" fmla="*/ 107301 w 107653"/>
                  <a:gd name="connsiteY39" fmla="*/ 10492 h 135955"/>
                  <a:gd name="connsiteX40" fmla="*/ 106772 w 107653"/>
                  <a:gd name="connsiteY40" fmla="*/ 11374 h 135955"/>
                  <a:gd name="connsiteX41" fmla="*/ 106772 w 107653"/>
                  <a:gd name="connsiteY41" fmla="*/ 12873 h 135955"/>
                  <a:gd name="connsiteX42" fmla="*/ 107654 w 107653"/>
                  <a:gd name="connsiteY42" fmla="*/ 13490 h 135955"/>
                  <a:gd name="connsiteX43" fmla="*/ 107301 w 107653"/>
                  <a:gd name="connsiteY43" fmla="*/ 14019 h 135955"/>
                  <a:gd name="connsiteX44" fmla="*/ 107037 w 107653"/>
                  <a:gd name="connsiteY44" fmla="*/ 14900 h 135955"/>
                  <a:gd name="connsiteX45" fmla="*/ 107037 w 107653"/>
                  <a:gd name="connsiteY45" fmla="*/ 15518 h 135955"/>
                  <a:gd name="connsiteX46" fmla="*/ 105009 w 107653"/>
                  <a:gd name="connsiteY46" fmla="*/ 16928 h 135955"/>
                  <a:gd name="connsiteX47" fmla="*/ 105009 w 107653"/>
                  <a:gd name="connsiteY47" fmla="*/ 17281 h 135955"/>
                  <a:gd name="connsiteX48" fmla="*/ 102981 w 107653"/>
                  <a:gd name="connsiteY48" fmla="*/ 17810 h 135955"/>
                  <a:gd name="connsiteX49" fmla="*/ 102363 w 107653"/>
                  <a:gd name="connsiteY49" fmla="*/ 17810 h 135955"/>
                  <a:gd name="connsiteX50" fmla="*/ 102363 w 107653"/>
                  <a:gd name="connsiteY50" fmla="*/ 16664 h 135955"/>
                  <a:gd name="connsiteX51" fmla="*/ 100336 w 107653"/>
                  <a:gd name="connsiteY51" fmla="*/ 17810 h 135955"/>
                  <a:gd name="connsiteX52" fmla="*/ 99189 w 107653"/>
                  <a:gd name="connsiteY52" fmla="*/ 17546 h 135955"/>
                  <a:gd name="connsiteX53" fmla="*/ 98925 w 107653"/>
                  <a:gd name="connsiteY53" fmla="*/ 18692 h 135955"/>
                  <a:gd name="connsiteX54" fmla="*/ 97691 w 107653"/>
                  <a:gd name="connsiteY54" fmla="*/ 18692 h 135955"/>
                  <a:gd name="connsiteX55" fmla="*/ 95398 w 107653"/>
                  <a:gd name="connsiteY55" fmla="*/ 18075 h 135955"/>
                  <a:gd name="connsiteX56" fmla="*/ 95751 w 107653"/>
                  <a:gd name="connsiteY56" fmla="*/ 18956 h 135955"/>
                  <a:gd name="connsiteX57" fmla="*/ 92224 w 107653"/>
                  <a:gd name="connsiteY57" fmla="*/ 18956 h 135955"/>
                  <a:gd name="connsiteX58" fmla="*/ 91607 w 107653"/>
                  <a:gd name="connsiteY58" fmla="*/ 18956 h 135955"/>
                  <a:gd name="connsiteX59" fmla="*/ 90461 w 107653"/>
                  <a:gd name="connsiteY59" fmla="*/ 18956 h 135955"/>
                  <a:gd name="connsiteX60" fmla="*/ 88962 w 107653"/>
                  <a:gd name="connsiteY60" fmla="*/ 20455 h 135955"/>
                  <a:gd name="connsiteX61" fmla="*/ 89844 w 107653"/>
                  <a:gd name="connsiteY61" fmla="*/ 21601 h 135955"/>
                  <a:gd name="connsiteX62" fmla="*/ 88080 w 107653"/>
                  <a:gd name="connsiteY62" fmla="*/ 22218 h 135955"/>
                  <a:gd name="connsiteX63" fmla="*/ 87199 w 107653"/>
                  <a:gd name="connsiteY63" fmla="*/ 23100 h 135955"/>
                  <a:gd name="connsiteX64" fmla="*/ 87199 w 107653"/>
                  <a:gd name="connsiteY64" fmla="*/ 24864 h 135955"/>
                  <a:gd name="connsiteX65" fmla="*/ 86670 w 107653"/>
                  <a:gd name="connsiteY65" fmla="*/ 26627 h 135955"/>
                  <a:gd name="connsiteX66" fmla="*/ 85788 w 107653"/>
                  <a:gd name="connsiteY66" fmla="*/ 27773 h 135955"/>
                  <a:gd name="connsiteX67" fmla="*/ 85788 w 107653"/>
                  <a:gd name="connsiteY67" fmla="*/ 31212 h 135955"/>
                  <a:gd name="connsiteX68" fmla="*/ 86934 w 107653"/>
                  <a:gd name="connsiteY68" fmla="*/ 29536 h 135955"/>
                  <a:gd name="connsiteX69" fmla="*/ 86670 w 107653"/>
                  <a:gd name="connsiteY69" fmla="*/ 30683 h 135955"/>
                  <a:gd name="connsiteX70" fmla="*/ 86052 w 107653"/>
                  <a:gd name="connsiteY70" fmla="*/ 32358 h 135955"/>
                  <a:gd name="connsiteX71" fmla="*/ 86052 w 107653"/>
                  <a:gd name="connsiteY71" fmla="*/ 33857 h 135955"/>
                  <a:gd name="connsiteX72" fmla="*/ 86052 w 107653"/>
                  <a:gd name="connsiteY72" fmla="*/ 34121 h 135955"/>
                  <a:gd name="connsiteX73" fmla="*/ 86934 w 107653"/>
                  <a:gd name="connsiteY73" fmla="*/ 35356 h 135955"/>
                  <a:gd name="connsiteX74" fmla="*/ 86052 w 107653"/>
                  <a:gd name="connsiteY74" fmla="*/ 37119 h 135955"/>
                  <a:gd name="connsiteX75" fmla="*/ 87199 w 107653"/>
                  <a:gd name="connsiteY75" fmla="*/ 37648 h 135955"/>
                  <a:gd name="connsiteX76" fmla="*/ 86934 w 107653"/>
                  <a:gd name="connsiteY76" fmla="*/ 39147 h 135955"/>
                  <a:gd name="connsiteX77" fmla="*/ 88080 w 107653"/>
                  <a:gd name="connsiteY77" fmla="*/ 40029 h 135955"/>
                  <a:gd name="connsiteX78" fmla="*/ 89315 w 107653"/>
                  <a:gd name="connsiteY78" fmla="*/ 40558 h 135955"/>
                  <a:gd name="connsiteX79" fmla="*/ 89579 w 107653"/>
                  <a:gd name="connsiteY79" fmla="*/ 40558 h 135955"/>
                  <a:gd name="connsiteX80" fmla="*/ 89579 w 107653"/>
                  <a:gd name="connsiteY80" fmla="*/ 42585 h 135955"/>
                  <a:gd name="connsiteX81" fmla="*/ 90725 w 107653"/>
                  <a:gd name="connsiteY81" fmla="*/ 44701 h 135955"/>
                  <a:gd name="connsiteX82" fmla="*/ 90461 w 107653"/>
                  <a:gd name="connsiteY82" fmla="*/ 46112 h 135955"/>
                  <a:gd name="connsiteX83" fmla="*/ 91607 w 107653"/>
                  <a:gd name="connsiteY83" fmla="*/ 46994 h 135955"/>
                  <a:gd name="connsiteX84" fmla="*/ 93371 w 107653"/>
                  <a:gd name="connsiteY84" fmla="*/ 47258 h 135955"/>
                  <a:gd name="connsiteX85" fmla="*/ 94517 w 107653"/>
                  <a:gd name="connsiteY85" fmla="*/ 48404 h 135955"/>
                  <a:gd name="connsiteX86" fmla="*/ 95133 w 107653"/>
                  <a:gd name="connsiteY86" fmla="*/ 50785 h 135955"/>
                  <a:gd name="connsiteX87" fmla="*/ 96544 w 107653"/>
                  <a:gd name="connsiteY87" fmla="*/ 52813 h 135955"/>
                  <a:gd name="connsiteX88" fmla="*/ 95133 w 107653"/>
                  <a:gd name="connsiteY88" fmla="*/ 51931 h 135955"/>
                  <a:gd name="connsiteX89" fmla="*/ 95133 w 107653"/>
                  <a:gd name="connsiteY89" fmla="*/ 53959 h 135955"/>
                  <a:gd name="connsiteX90" fmla="*/ 90461 w 107653"/>
                  <a:gd name="connsiteY90" fmla="*/ 56340 h 135955"/>
                  <a:gd name="connsiteX91" fmla="*/ 88080 w 107653"/>
                  <a:gd name="connsiteY91" fmla="*/ 60395 h 135955"/>
                  <a:gd name="connsiteX92" fmla="*/ 88433 w 107653"/>
                  <a:gd name="connsiteY92" fmla="*/ 61894 h 135955"/>
                  <a:gd name="connsiteX93" fmla="*/ 87199 w 107653"/>
                  <a:gd name="connsiteY93" fmla="*/ 62159 h 135955"/>
                  <a:gd name="connsiteX94" fmla="*/ 87463 w 107653"/>
                  <a:gd name="connsiteY94" fmla="*/ 62776 h 135955"/>
                  <a:gd name="connsiteX95" fmla="*/ 88697 w 107653"/>
                  <a:gd name="connsiteY95" fmla="*/ 63305 h 135955"/>
                  <a:gd name="connsiteX96" fmla="*/ 88962 w 107653"/>
                  <a:gd name="connsiteY96" fmla="*/ 64187 h 135955"/>
                  <a:gd name="connsiteX97" fmla="*/ 89315 w 107653"/>
                  <a:gd name="connsiteY97" fmla="*/ 65686 h 135955"/>
                  <a:gd name="connsiteX98" fmla="*/ 86934 w 107653"/>
                  <a:gd name="connsiteY98" fmla="*/ 65950 h 135955"/>
                  <a:gd name="connsiteX99" fmla="*/ 86670 w 107653"/>
                  <a:gd name="connsiteY99" fmla="*/ 67713 h 135955"/>
                  <a:gd name="connsiteX100" fmla="*/ 86052 w 107653"/>
                  <a:gd name="connsiteY100" fmla="*/ 68595 h 135955"/>
                  <a:gd name="connsiteX101" fmla="*/ 85523 w 107653"/>
                  <a:gd name="connsiteY101" fmla="*/ 69477 h 135955"/>
                  <a:gd name="connsiteX102" fmla="*/ 84906 w 107653"/>
                  <a:gd name="connsiteY102" fmla="*/ 70887 h 135955"/>
                  <a:gd name="connsiteX103" fmla="*/ 84289 w 107653"/>
                  <a:gd name="connsiteY103" fmla="*/ 70006 h 135955"/>
                  <a:gd name="connsiteX104" fmla="*/ 81996 w 107653"/>
                  <a:gd name="connsiteY104" fmla="*/ 71505 h 135955"/>
                  <a:gd name="connsiteX105" fmla="*/ 77853 w 107653"/>
                  <a:gd name="connsiteY105" fmla="*/ 71240 h 135955"/>
                  <a:gd name="connsiteX106" fmla="*/ 76178 w 107653"/>
                  <a:gd name="connsiteY106" fmla="*/ 72034 h 135955"/>
                  <a:gd name="connsiteX107" fmla="*/ 72915 w 107653"/>
                  <a:gd name="connsiteY107" fmla="*/ 71769 h 135955"/>
                  <a:gd name="connsiteX108" fmla="*/ 71769 w 107653"/>
                  <a:gd name="connsiteY108" fmla="*/ 74679 h 135955"/>
                  <a:gd name="connsiteX109" fmla="*/ 72386 w 107653"/>
                  <a:gd name="connsiteY109" fmla="*/ 77588 h 135955"/>
                  <a:gd name="connsiteX110" fmla="*/ 71504 w 107653"/>
                  <a:gd name="connsiteY110" fmla="*/ 79704 h 135955"/>
                  <a:gd name="connsiteX111" fmla="*/ 70623 w 107653"/>
                  <a:gd name="connsiteY111" fmla="*/ 80233 h 135955"/>
                  <a:gd name="connsiteX112" fmla="*/ 71504 w 107653"/>
                  <a:gd name="connsiteY112" fmla="*/ 81997 h 135955"/>
                  <a:gd name="connsiteX113" fmla="*/ 72386 w 107653"/>
                  <a:gd name="connsiteY113" fmla="*/ 83495 h 135955"/>
                  <a:gd name="connsiteX114" fmla="*/ 73268 w 107653"/>
                  <a:gd name="connsiteY114" fmla="*/ 84025 h 135955"/>
                  <a:gd name="connsiteX115" fmla="*/ 74150 w 107653"/>
                  <a:gd name="connsiteY115" fmla="*/ 86052 h 135955"/>
                  <a:gd name="connsiteX116" fmla="*/ 74150 w 107653"/>
                  <a:gd name="connsiteY116" fmla="*/ 86934 h 135955"/>
                  <a:gd name="connsiteX117" fmla="*/ 73533 w 107653"/>
                  <a:gd name="connsiteY117" fmla="*/ 88080 h 135955"/>
                  <a:gd name="connsiteX118" fmla="*/ 73533 w 107653"/>
                  <a:gd name="connsiteY118" fmla="*/ 89579 h 135955"/>
                  <a:gd name="connsiteX119" fmla="*/ 74414 w 107653"/>
                  <a:gd name="connsiteY119" fmla="*/ 90725 h 135955"/>
                  <a:gd name="connsiteX120" fmla="*/ 75825 w 107653"/>
                  <a:gd name="connsiteY120" fmla="*/ 90725 h 135955"/>
                  <a:gd name="connsiteX121" fmla="*/ 77588 w 107653"/>
                  <a:gd name="connsiteY121" fmla="*/ 91078 h 135955"/>
                  <a:gd name="connsiteX122" fmla="*/ 78205 w 107653"/>
                  <a:gd name="connsiteY122" fmla="*/ 92224 h 135955"/>
                  <a:gd name="connsiteX123" fmla="*/ 79352 w 107653"/>
                  <a:gd name="connsiteY123" fmla="*/ 92753 h 135955"/>
                  <a:gd name="connsiteX124" fmla="*/ 80498 w 107653"/>
                  <a:gd name="connsiteY124" fmla="*/ 93635 h 135955"/>
                  <a:gd name="connsiteX125" fmla="*/ 81379 w 107653"/>
                  <a:gd name="connsiteY125" fmla="*/ 94252 h 135955"/>
                  <a:gd name="connsiteX126" fmla="*/ 81379 w 107653"/>
                  <a:gd name="connsiteY126" fmla="*/ 95134 h 135955"/>
                  <a:gd name="connsiteX127" fmla="*/ 83407 w 107653"/>
                  <a:gd name="connsiteY127" fmla="*/ 96544 h 135955"/>
                  <a:gd name="connsiteX128" fmla="*/ 84906 w 107653"/>
                  <a:gd name="connsiteY128" fmla="*/ 96897 h 135955"/>
                  <a:gd name="connsiteX129" fmla="*/ 86934 w 107653"/>
                  <a:gd name="connsiteY129" fmla="*/ 97162 h 135955"/>
                  <a:gd name="connsiteX130" fmla="*/ 88697 w 107653"/>
                  <a:gd name="connsiteY130" fmla="*/ 99189 h 135955"/>
                  <a:gd name="connsiteX131" fmla="*/ 90108 w 107653"/>
                  <a:gd name="connsiteY131" fmla="*/ 100071 h 135955"/>
                  <a:gd name="connsiteX132" fmla="*/ 92224 w 107653"/>
                  <a:gd name="connsiteY132" fmla="*/ 100336 h 135955"/>
                  <a:gd name="connsiteX133" fmla="*/ 94517 w 107653"/>
                  <a:gd name="connsiteY133" fmla="*/ 100688 h 135955"/>
                  <a:gd name="connsiteX134" fmla="*/ 94781 w 107653"/>
                  <a:gd name="connsiteY134" fmla="*/ 100953 h 135955"/>
                  <a:gd name="connsiteX135" fmla="*/ 96280 w 107653"/>
                  <a:gd name="connsiteY135" fmla="*/ 101835 h 135955"/>
                  <a:gd name="connsiteX136" fmla="*/ 98308 w 107653"/>
                  <a:gd name="connsiteY136" fmla="*/ 102099 h 135955"/>
                  <a:gd name="connsiteX137" fmla="*/ 99189 w 107653"/>
                  <a:gd name="connsiteY137" fmla="*/ 102099 h 135955"/>
                  <a:gd name="connsiteX138" fmla="*/ 99454 w 107653"/>
                  <a:gd name="connsiteY138" fmla="*/ 100953 h 135955"/>
                  <a:gd name="connsiteX139" fmla="*/ 99807 w 107653"/>
                  <a:gd name="connsiteY139" fmla="*/ 101835 h 135955"/>
                  <a:gd name="connsiteX140" fmla="*/ 100071 w 107653"/>
                  <a:gd name="connsiteY140" fmla="*/ 102981 h 135955"/>
                  <a:gd name="connsiteX141" fmla="*/ 99807 w 107653"/>
                  <a:gd name="connsiteY141" fmla="*/ 103862 h 135955"/>
                  <a:gd name="connsiteX142" fmla="*/ 102716 w 107653"/>
                  <a:gd name="connsiteY142" fmla="*/ 105626 h 135955"/>
                  <a:gd name="connsiteX143" fmla="*/ 102099 w 107653"/>
                  <a:gd name="connsiteY143" fmla="*/ 106507 h 135955"/>
                  <a:gd name="connsiteX144" fmla="*/ 102099 w 107653"/>
                  <a:gd name="connsiteY144" fmla="*/ 112327 h 135955"/>
                  <a:gd name="connsiteX145" fmla="*/ 100336 w 107653"/>
                  <a:gd name="connsiteY145" fmla="*/ 115236 h 135955"/>
                  <a:gd name="connsiteX146" fmla="*/ 100688 w 107653"/>
                  <a:gd name="connsiteY146" fmla="*/ 118410 h 135955"/>
                  <a:gd name="connsiteX147" fmla="*/ 96280 w 107653"/>
                  <a:gd name="connsiteY147" fmla="*/ 119292 h 135955"/>
                  <a:gd name="connsiteX148" fmla="*/ 93371 w 107653"/>
                  <a:gd name="connsiteY148" fmla="*/ 120526 h 135955"/>
                  <a:gd name="connsiteX149" fmla="*/ 90461 w 107653"/>
                  <a:gd name="connsiteY149" fmla="*/ 120174 h 135955"/>
                  <a:gd name="connsiteX150" fmla="*/ 85523 w 107653"/>
                  <a:gd name="connsiteY150" fmla="*/ 123436 h 135955"/>
                  <a:gd name="connsiteX151" fmla="*/ 84289 w 107653"/>
                  <a:gd name="connsiteY151" fmla="*/ 127227 h 135955"/>
                  <a:gd name="connsiteX152" fmla="*/ 80234 w 107653"/>
                  <a:gd name="connsiteY152" fmla="*/ 127756 h 135955"/>
                  <a:gd name="connsiteX153" fmla="*/ 77059 w 107653"/>
                  <a:gd name="connsiteY153" fmla="*/ 126874 h 135955"/>
                  <a:gd name="connsiteX154" fmla="*/ 76178 w 107653"/>
                  <a:gd name="connsiteY154" fmla="*/ 127492 h 135955"/>
                  <a:gd name="connsiteX155" fmla="*/ 73268 w 107653"/>
                  <a:gd name="connsiteY155" fmla="*/ 129784 h 135955"/>
                  <a:gd name="connsiteX156" fmla="*/ 72033 w 107653"/>
                  <a:gd name="connsiteY156" fmla="*/ 132164 h 135955"/>
                  <a:gd name="connsiteX157" fmla="*/ 70623 w 107653"/>
                  <a:gd name="connsiteY157" fmla="*/ 133046 h 135955"/>
                  <a:gd name="connsiteX158" fmla="*/ 71504 w 107653"/>
                  <a:gd name="connsiteY158" fmla="*/ 135956 h 135955"/>
                  <a:gd name="connsiteX159" fmla="*/ 69124 w 107653"/>
                  <a:gd name="connsiteY159" fmla="*/ 133046 h 135955"/>
                  <a:gd name="connsiteX160" fmla="*/ 68595 w 107653"/>
                  <a:gd name="connsiteY160" fmla="*/ 132429 h 135955"/>
                  <a:gd name="connsiteX161" fmla="*/ 67713 w 107653"/>
                  <a:gd name="connsiteY161" fmla="*/ 131283 h 135955"/>
                  <a:gd name="connsiteX162" fmla="*/ 68595 w 107653"/>
                  <a:gd name="connsiteY162" fmla="*/ 128638 h 135955"/>
                  <a:gd name="connsiteX163" fmla="*/ 67361 w 107653"/>
                  <a:gd name="connsiteY163" fmla="*/ 126874 h 135955"/>
                  <a:gd name="connsiteX164" fmla="*/ 64804 w 107653"/>
                  <a:gd name="connsiteY164" fmla="*/ 127756 h 135955"/>
                  <a:gd name="connsiteX165" fmla="*/ 63041 w 107653"/>
                  <a:gd name="connsiteY165" fmla="*/ 126345 h 135955"/>
                  <a:gd name="connsiteX166" fmla="*/ 63041 w 107653"/>
                  <a:gd name="connsiteY166" fmla="*/ 126610 h 135955"/>
                  <a:gd name="connsiteX167" fmla="*/ 61012 w 107653"/>
                  <a:gd name="connsiteY167" fmla="*/ 125464 h 135955"/>
                  <a:gd name="connsiteX168" fmla="*/ 59514 w 107653"/>
                  <a:gd name="connsiteY168" fmla="*/ 124846 h 135955"/>
                  <a:gd name="connsiteX169" fmla="*/ 57221 w 107653"/>
                  <a:gd name="connsiteY169" fmla="*/ 125199 h 135955"/>
                  <a:gd name="connsiteX170" fmla="*/ 55722 w 107653"/>
                  <a:gd name="connsiteY170" fmla="*/ 125728 h 135955"/>
                  <a:gd name="connsiteX171" fmla="*/ 54576 w 107653"/>
                  <a:gd name="connsiteY171" fmla="*/ 126081 h 135955"/>
                  <a:gd name="connsiteX172" fmla="*/ 52549 w 107653"/>
                  <a:gd name="connsiteY172" fmla="*/ 126874 h 135955"/>
                  <a:gd name="connsiteX173" fmla="*/ 51667 w 107653"/>
                  <a:gd name="connsiteY173" fmla="*/ 126874 h 135955"/>
                  <a:gd name="connsiteX174" fmla="*/ 50520 w 107653"/>
                  <a:gd name="connsiteY174" fmla="*/ 127492 h 135955"/>
                  <a:gd name="connsiteX175" fmla="*/ 49286 w 107653"/>
                  <a:gd name="connsiteY175" fmla="*/ 128373 h 135955"/>
                  <a:gd name="connsiteX176" fmla="*/ 48493 w 107653"/>
                  <a:gd name="connsiteY176" fmla="*/ 130137 h 135955"/>
                  <a:gd name="connsiteX177" fmla="*/ 47258 w 107653"/>
                  <a:gd name="connsiteY177" fmla="*/ 129519 h 135955"/>
                  <a:gd name="connsiteX178" fmla="*/ 46729 w 107653"/>
                  <a:gd name="connsiteY178" fmla="*/ 130401 h 135955"/>
                  <a:gd name="connsiteX179" fmla="*/ 45848 w 107653"/>
                  <a:gd name="connsiteY179" fmla="*/ 131018 h 135955"/>
                  <a:gd name="connsiteX180" fmla="*/ 45495 w 107653"/>
                  <a:gd name="connsiteY180" fmla="*/ 129519 h 135955"/>
                  <a:gd name="connsiteX181" fmla="*/ 44966 w 107653"/>
                  <a:gd name="connsiteY181" fmla="*/ 128902 h 135955"/>
                  <a:gd name="connsiteX182" fmla="*/ 45230 w 107653"/>
                  <a:gd name="connsiteY182" fmla="*/ 127756 h 135955"/>
                  <a:gd name="connsiteX183" fmla="*/ 43467 w 107653"/>
                  <a:gd name="connsiteY183" fmla="*/ 127492 h 135955"/>
                  <a:gd name="connsiteX184" fmla="*/ 44084 w 107653"/>
                  <a:gd name="connsiteY184" fmla="*/ 126610 h 135955"/>
                  <a:gd name="connsiteX185" fmla="*/ 43467 w 107653"/>
                  <a:gd name="connsiteY185" fmla="*/ 126345 h 135955"/>
                  <a:gd name="connsiteX186" fmla="*/ 41703 w 107653"/>
                  <a:gd name="connsiteY186" fmla="*/ 123965 h 135955"/>
                  <a:gd name="connsiteX187" fmla="*/ 41703 w 107653"/>
                  <a:gd name="connsiteY187" fmla="*/ 125464 h 135955"/>
                  <a:gd name="connsiteX188" fmla="*/ 39412 w 107653"/>
                  <a:gd name="connsiteY188" fmla="*/ 124846 h 135955"/>
                  <a:gd name="connsiteX189" fmla="*/ 40293 w 107653"/>
                  <a:gd name="connsiteY189" fmla="*/ 124317 h 135955"/>
                  <a:gd name="connsiteX190" fmla="*/ 40558 w 107653"/>
                  <a:gd name="connsiteY190" fmla="*/ 122819 h 135955"/>
                  <a:gd name="connsiteX191" fmla="*/ 39941 w 107653"/>
                  <a:gd name="connsiteY191" fmla="*/ 121937 h 135955"/>
                  <a:gd name="connsiteX192" fmla="*/ 39059 w 107653"/>
                  <a:gd name="connsiteY192" fmla="*/ 123436 h 135955"/>
                  <a:gd name="connsiteX193" fmla="*/ 38794 w 107653"/>
                  <a:gd name="connsiteY193" fmla="*/ 122554 h 135955"/>
                  <a:gd name="connsiteX194" fmla="*/ 37383 w 107653"/>
                  <a:gd name="connsiteY194" fmla="*/ 120174 h 135955"/>
                  <a:gd name="connsiteX195" fmla="*/ 37119 w 107653"/>
                  <a:gd name="connsiteY195" fmla="*/ 121055 h 135955"/>
                  <a:gd name="connsiteX196" fmla="*/ 36237 w 107653"/>
                  <a:gd name="connsiteY196" fmla="*/ 122819 h 135955"/>
                  <a:gd name="connsiteX197" fmla="*/ 35003 w 107653"/>
                  <a:gd name="connsiteY197" fmla="*/ 122819 h 135955"/>
                  <a:gd name="connsiteX198" fmla="*/ 34474 w 107653"/>
                  <a:gd name="connsiteY198" fmla="*/ 121055 h 135955"/>
                  <a:gd name="connsiteX199" fmla="*/ 33857 w 107653"/>
                  <a:gd name="connsiteY199" fmla="*/ 121408 h 135955"/>
                  <a:gd name="connsiteX200" fmla="*/ 34121 w 107653"/>
                  <a:gd name="connsiteY200" fmla="*/ 119909 h 135955"/>
                  <a:gd name="connsiteX201" fmla="*/ 33592 w 107653"/>
                  <a:gd name="connsiteY201" fmla="*/ 117617 h 135955"/>
                  <a:gd name="connsiteX202" fmla="*/ 32975 w 107653"/>
                  <a:gd name="connsiteY202" fmla="*/ 118146 h 135955"/>
                  <a:gd name="connsiteX203" fmla="*/ 31829 w 107653"/>
                  <a:gd name="connsiteY203" fmla="*/ 118146 h 135955"/>
                  <a:gd name="connsiteX204" fmla="*/ 32093 w 107653"/>
                  <a:gd name="connsiteY204" fmla="*/ 119645 h 135955"/>
                  <a:gd name="connsiteX205" fmla="*/ 30330 w 107653"/>
                  <a:gd name="connsiteY205" fmla="*/ 118763 h 135955"/>
                  <a:gd name="connsiteX206" fmla="*/ 30947 w 107653"/>
                  <a:gd name="connsiteY206" fmla="*/ 119645 h 135955"/>
                  <a:gd name="connsiteX207" fmla="*/ 30066 w 107653"/>
                  <a:gd name="connsiteY207" fmla="*/ 119645 h 135955"/>
                  <a:gd name="connsiteX208" fmla="*/ 29184 w 107653"/>
                  <a:gd name="connsiteY208" fmla="*/ 118146 h 135955"/>
                  <a:gd name="connsiteX209" fmla="*/ 28037 w 107653"/>
                  <a:gd name="connsiteY209" fmla="*/ 118763 h 135955"/>
                  <a:gd name="connsiteX210" fmla="*/ 28037 w 107653"/>
                  <a:gd name="connsiteY210" fmla="*/ 117264 h 135955"/>
                  <a:gd name="connsiteX211" fmla="*/ 28302 w 107653"/>
                  <a:gd name="connsiteY211" fmla="*/ 116382 h 135955"/>
                  <a:gd name="connsiteX212" fmla="*/ 27685 w 107653"/>
                  <a:gd name="connsiteY212" fmla="*/ 115853 h 135955"/>
                  <a:gd name="connsiteX213" fmla="*/ 27685 w 107653"/>
                  <a:gd name="connsiteY213" fmla="*/ 114619 h 135955"/>
                  <a:gd name="connsiteX214" fmla="*/ 28302 w 107653"/>
                  <a:gd name="connsiteY214" fmla="*/ 114354 h 135955"/>
                  <a:gd name="connsiteX215" fmla="*/ 27156 w 107653"/>
                  <a:gd name="connsiteY215" fmla="*/ 113473 h 135955"/>
                  <a:gd name="connsiteX216" fmla="*/ 28037 w 107653"/>
                  <a:gd name="connsiteY216" fmla="*/ 112856 h 135955"/>
                  <a:gd name="connsiteX217" fmla="*/ 28302 w 107653"/>
                  <a:gd name="connsiteY217" fmla="*/ 112062 h 135955"/>
                  <a:gd name="connsiteX218" fmla="*/ 28302 w 107653"/>
                  <a:gd name="connsiteY218" fmla="*/ 111709 h 135955"/>
                  <a:gd name="connsiteX219" fmla="*/ 30066 w 107653"/>
                  <a:gd name="connsiteY219" fmla="*/ 111180 h 135955"/>
                  <a:gd name="connsiteX220" fmla="*/ 30330 w 107653"/>
                  <a:gd name="connsiteY220" fmla="*/ 110034 h 135955"/>
                  <a:gd name="connsiteX221" fmla="*/ 30682 w 107653"/>
                  <a:gd name="connsiteY221" fmla="*/ 107037 h 135955"/>
                  <a:gd name="connsiteX222" fmla="*/ 31211 w 107653"/>
                  <a:gd name="connsiteY222" fmla="*/ 107918 h 135955"/>
                  <a:gd name="connsiteX223" fmla="*/ 31211 w 107653"/>
                  <a:gd name="connsiteY223" fmla="*/ 108535 h 135955"/>
                  <a:gd name="connsiteX224" fmla="*/ 32711 w 107653"/>
                  <a:gd name="connsiteY224" fmla="*/ 107037 h 135955"/>
                  <a:gd name="connsiteX225" fmla="*/ 36766 w 107653"/>
                  <a:gd name="connsiteY225" fmla="*/ 106155 h 135955"/>
                  <a:gd name="connsiteX226" fmla="*/ 37383 w 107653"/>
                  <a:gd name="connsiteY226" fmla="*/ 104127 h 135955"/>
                  <a:gd name="connsiteX227" fmla="*/ 36502 w 107653"/>
                  <a:gd name="connsiteY227" fmla="*/ 105361 h 135955"/>
                  <a:gd name="connsiteX228" fmla="*/ 30947 w 107653"/>
                  <a:gd name="connsiteY228" fmla="*/ 106155 h 135955"/>
                  <a:gd name="connsiteX229" fmla="*/ 30682 w 107653"/>
                  <a:gd name="connsiteY229" fmla="*/ 104127 h 135955"/>
                  <a:gd name="connsiteX230" fmla="*/ 30682 w 107653"/>
                  <a:gd name="connsiteY230" fmla="*/ 104480 h 135955"/>
                  <a:gd name="connsiteX231" fmla="*/ 30066 w 107653"/>
                  <a:gd name="connsiteY231" fmla="*/ 101570 h 135955"/>
                  <a:gd name="connsiteX232" fmla="*/ 30330 w 107653"/>
                  <a:gd name="connsiteY232" fmla="*/ 98043 h 135955"/>
                  <a:gd name="connsiteX233" fmla="*/ 29801 w 107653"/>
                  <a:gd name="connsiteY233" fmla="*/ 96544 h 135955"/>
                  <a:gd name="connsiteX234" fmla="*/ 30330 w 107653"/>
                  <a:gd name="connsiteY234" fmla="*/ 95663 h 135955"/>
                  <a:gd name="connsiteX235" fmla="*/ 28919 w 107653"/>
                  <a:gd name="connsiteY235" fmla="*/ 95134 h 135955"/>
                  <a:gd name="connsiteX236" fmla="*/ 28655 w 107653"/>
                  <a:gd name="connsiteY236" fmla="*/ 92753 h 135955"/>
                  <a:gd name="connsiteX237" fmla="*/ 28655 w 107653"/>
                  <a:gd name="connsiteY237" fmla="*/ 90725 h 135955"/>
                  <a:gd name="connsiteX238" fmla="*/ 27685 w 107653"/>
                  <a:gd name="connsiteY238" fmla="*/ 88080 h 135955"/>
                  <a:gd name="connsiteX239" fmla="*/ 26891 w 107653"/>
                  <a:gd name="connsiteY239" fmla="*/ 87551 h 135955"/>
                  <a:gd name="connsiteX240" fmla="*/ 25393 w 107653"/>
                  <a:gd name="connsiteY240" fmla="*/ 87816 h 135955"/>
                  <a:gd name="connsiteX241" fmla="*/ 23629 w 107653"/>
                  <a:gd name="connsiteY241" fmla="*/ 86934 h 135955"/>
                  <a:gd name="connsiteX242" fmla="*/ 23894 w 107653"/>
                  <a:gd name="connsiteY242" fmla="*/ 86052 h 135955"/>
                  <a:gd name="connsiteX243" fmla="*/ 23100 w 107653"/>
                  <a:gd name="connsiteY243" fmla="*/ 85171 h 135955"/>
                  <a:gd name="connsiteX244" fmla="*/ 20984 w 107653"/>
                  <a:gd name="connsiteY244" fmla="*/ 84906 h 135955"/>
                  <a:gd name="connsiteX245" fmla="*/ 19838 w 107653"/>
                  <a:gd name="connsiteY245" fmla="*/ 85788 h 135955"/>
                  <a:gd name="connsiteX246" fmla="*/ 18956 w 107653"/>
                  <a:gd name="connsiteY246" fmla="*/ 85523 h 135955"/>
                  <a:gd name="connsiteX247" fmla="*/ 17810 w 107653"/>
                  <a:gd name="connsiteY247" fmla="*/ 84906 h 135955"/>
                  <a:gd name="connsiteX248" fmla="*/ 16928 w 107653"/>
                  <a:gd name="connsiteY248" fmla="*/ 84025 h 135955"/>
                  <a:gd name="connsiteX249" fmla="*/ 15165 w 107653"/>
                  <a:gd name="connsiteY249" fmla="*/ 84289 h 135955"/>
                  <a:gd name="connsiteX250" fmla="*/ 14019 w 107653"/>
                  <a:gd name="connsiteY250" fmla="*/ 83143 h 135955"/>
                  <a:gd name="connsiteX251" fmla="*/ 12520 w 107653"/>
                  <a:gd name="connsiteY251" fmla="*/ 82878 h 135955"/>
                  <a:gd name="connsiteX252" fmla="*/ 11374 w 107653"/>
                  <a:gd name="connsiteY252" fmla="*/ 83495 h 135955"/>
                  <a:gd name="connsiteX253" fmla="*/ 11109 w 107653"/>
                  <a:gd name="connsiteY253" fmla="*/ 84642 h 135955"/>
                  <a:gd name="connsiteX254" fmla="*/ 9963 w 107653"/>
                  <a:gd name="connsiteY254" fmla="*/ 84025 h 135955"/>
                  <a:gd name="connsiteX255" fmla="*/ 9082 w 107653"/>
                  <a:gd name="connsiteY255" fmla="*/ 83495 h 135955"/>
                  <a:gd name="connsiteX256" fmla="*/ 7847 w 107653"/>
                  <a:gd name="connsiteY256" fmla="*/ 83495 h 135955"/>
                  <a:gd name="connsiteX257" fmla="*/ 7053 w 107653"/>
                  <a:gd name="connsiteY257" fmla="*/ 82526 h 135955"/>
                  <a:gd name="connsiteX258" fmla="*/ 5819 w 107653"/>
                  <a:gd name="connsiteY258" fmla="*/ 81732 h 135955"/>
                  <a:gd name="connsiteX259" fmla="*/ 7053 w 107653"/>
                  <a:gd name="connsiteY259" fmla="*/ 80851 h 135955"/>
                  <a:gd name="connsiteX260" fmla="*/ 5555 w 107653"/>
                  <a:gd name="connsiteY260" fmla="*/ 79704 h 135955"/>
                  <a:gd name="connsiteX261" fmla="*/ 4673 w 107653"/>
                  <a:gd name="connsiteY261" fmla="*/ 78205 h 135955"/>
                  <a:gd name="connsiteX262" fmla="*/ 3791 w 107653"/>
                  <a:gd name="connsiteY262" fmla="*/ 79704 h 135955"/>
                  <a:gd name="connsiteX263" fmla="*/ 2645 w 107653"/>
                  <a:gd name="connsiteY263" fmla="*/ 79087 h 135955"/>
                  <a:gd name="connsiteX264" fmla="*/ 3262 w 107653"/>
                  <a:gd name="connsiteY264" fmla="*/ 78470 h 135955"/>
                  <a:gd name="connsiteX265" fmla="*/ 2910 w 107653"/>
                  <a:gd name="connsiteY265" fmla="*/ 77941 h 135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</a:cxnLst>
                <a:rect l="l" t="t" r="r" b="b"/>
                <a:pathLst>
                  <a:path w="107653" h="135955">
                    <a:moveTo>
                      <a:pt x="0" y="77941"/>
                    </a:moveTo>
                    <a:lnTo>
                      <a:pt x="6436" y="62776"/>
                    </a:lnTo>
                    <a:lnTo>
                      <a:pt x="9611" y="63305"/>
                    </a:lnTo>
                    <a:lnTo>
                      <a:pt x="7318" y="61277"/>
                    </a:lnTo>
                    <a:lnTo>
                      <a:pt x="11374" y="58368"/>
                    </a:lnTo>
                    <a:lnTo>
                      <a:pt x="13754" y="58632"/>
                    </a:lnTo>
                    <a:lnTo>
                      <a:pt x="14283" y="54312"/>
                    </a:lnTo>
                    <a:lnTo>
                      <a:pt x="16928" y="54312"/>
                    </a:lnTo>
                    <a:lnTo>
                      <a:pt x="16928" y="51667"/>
                    </a:lnTo>
                    <a:lnTo>
                      <a:pt x="21601" y="50521"/>
                    </a:lnTo>
                    <a:lnTo>
                      <a:pt x="21601" y="46112"/>
                    </a:lnTo>
                    <a:lnTo>
                      <a:pt x="26539" y="39676"/>
                    </a:lnTo>
                    <a:lnTo>
                      <a:pt x="23100" y="32093"/>
                    </a:lnTo>
                    <a:lnTo>
                      <a:pt x="23629" y="29536"/>
                    </a:lnTo>
                    <a:lnTo>
                      <a:pt x="27420" y="29184"/>
                    </a:lnTo>
                    <a:lnTo>
                      <a:pt x="36237" y="34121"/>
                    </a:lnTo>
                    <a:lnTo>
                      <a:pt x="37912" y="37383"/>
                    </a:lnTo>
                    <a:lnTo>
                      <a:pt x="45495" y="37912"/>
                    </a:lnTo>
                    <a:lnTo>
                      <a:pt x="47875" y="39676"/>
                    </a:lnTo>
                    <a:lnTo>
                      <a:pt x="53430" y="38265"/>
                    </a:lnTo>
                    <a:lnTo>
                      <a:pt x="58985" y="39676"/>
                    </a:lnTo>
                    <a:lnTo>
                      <a:pt x="58632" y="32975"/>
                    </a:lnTo>
                    <a:lnTo>
                      <a:pt x="51667" y="29184"/>
                    </a:lnTo>
                    <a:lnTo>
                      <a:pt x="49022" y="24511"/>
                    </a:lnTo>
                    <a:lnTo>
                      <a:pt x="65068" y="23629"/>
                    </a:lnTo>
                    <a:lnTo>
                      <a:pt x="68595" y="20191"/>
                    </a:lnTo>
                    <a:lnTo>
                      <a:pt x="67096" y="17281"/>
                    </a:lnTo>
                    <a:lnTo>
                      <a:pt x="67361" y="12873"/>
                    </a:lnTo>
                    <a:lnTo>
                      <a:pt x="72651" y="15782"/>
                    </a:lnTo>
                    <a:lnTo>
                      <a:pt x="74414" y="13754"/>
                    </a:lnTo>
                    <a:lnTo>
                      <a:pt x="71152" y="7582"/>
                    </a:lnTo>
                    <a:lnTo>
                      <a:pt x="68859" y="4673"/>
                    </a:lnTo>
                    <a:lnTo>
                      <a:pt x="70006" y="1763"/>
                    </a:lnTo>
                    <a:lnTo>
                      <a:pt x="71504" y="0"/>
                    </a:lnTo>
                    <a:lnTo>
                      <a:pt x="74943" y="2381"/>
                    </a:lnTo>
                    <a:lnTo>
                      <a:pt x="81115" y="5555"/>
                    </a:lnTo>
                    <a:lnTo>
                      <a:pt x="104480" y="9081"/>
                    </a:lnTo>
                    <a:lnTo>
                      <a:pt x="105626" y="9963"/>
                    </a:lnTo>
                    <a:lnTo>
                      <a:pt x="106772" y="10492"/>
                    </a:lnTo>
                    <a:lnTo>
                      <a:pt x="107301" y="10492"/>
                    </a:lnTo>
                    <a:lnTo>
                      <a:pt x="106772" y="11374"/>
                    </a:lnTo>
                    <a:lnTo>
                      <a:pt x="106772" y="12873"/>
                    </a:lnTo>
                    <a:lnTo>
                      <a:pt x="107654" y="13490"/>
                    </a:lnTo>
                    <a:lnTo>
                      <a:pt x="107301" y="14019"/>
                    </a:lnTo>
                    <a:lnTo>
                      <a:pt x="107037" y="14900"/>
                    </a:lnTo>
                    <a:lnTo>
                      <a:pt x="107037" y="15518"/>
                    </a:lnTo>
                    <a:lnTo>
                      <a:pt x="105009" y="16928"/>
                    </a:lnTo>
                    <a:lnTo>
                      <a:pt x="105009" y="17281"/>
                    </a:lnTo>
                    <a:lnTo>
                      <a:pt x="102981" y="17810"/>
                    </a:lnTo>
                    <a:lnTo>
                      <a:pt x="102363" y="17810"/>
                    </a:lnTo>
                    <a:lnTo>
                      <a:pt x="102363" y="16664"/>
                    </a:lnTo>
                    <a:lnTo>
                      <a:pt x="100336" y="17810"/>
                    </a:lnTo>
                    <a:lnTo>
                      <a:pt x="99189" y="17546"/>
                    </a:lnTo>
                    <a:lnTo>
                      <a:pt x="98925" y="18692"/>
                    </a:lnTo>
                    <a:lnTo>
                      <a:pt x="97691" y="18692"/>
                    </a:lnTo>
                    <a:lnTo>
                      <a:pt x="95398" y="18075"/>
                    </a:lnTo>
                    <a:lnTo>
                      <a:pt x="95751" y="18956"/>
                    </a:lnTo>
                    <a:lnTo>
                      <a:pt x="92224" y="18956"/>
                    </a:lnTo>
                    <a:lnTo>
                      <a:pt x="91607" y="18956"/>
                    </a:lnTo>
                    <a:lnTo>
                      <a:pt x="90461" y="18956"/>
                    </a:lnTo>
                    <a:lnTo>
                      <a:pt x="88962" y="20455"/>
                    </a:lnTo>
                    <a:lnTo>
                      <a:pt x="89844" y="21601"/>
                    </a:lnTo>
                    <a:lnTo>
                      <a:pt x="88080" y="22218"/>
                    </a:lnTo>
                    <a:lnTo>
                      <a:pt x="87199" y="23100"/>
                    </a:lnTo>
                    <a:lnTo>
                      <a:pt x="87199" y="24864"/>
                    </a:lnTo>
                    <a:lnTo>
                      <a:pt x="86670" y="26627"/>
                    </a:lnTo>
                    <a:lnTo>
                      <a:pt x="85788" y="27773"/>
                    </a:lnTo>
                    <a:lnTo>
                      <a:pt x="85788" y="31212"/>
                    </a:lnTo>
                    <a:lnTo>
                      <a:pt x="86934" y="29536"/>
                    </a:lnTo>
                    <a:lnTo>
                      <a:pt x="86670" y="30683"/>
                    </a:lnTo>
                    <a:lnTo>
                      <a:pt x="86052" y="32358"/>
                    </a:lnTo>
                    <a:lnTo>
                      <a:pt x="86052" y="33857"/>
                    </a:lnTo>
                    <a:lnTo>
                      <a:pt x="86052" y="34121"/>
                    </a:lnTo>
                    <a:lnTo>
                      <a:pt x="86934" y="35356"/>
                    </a:lnTo>
                    <a:lnTo>
                      <a:pt x="86052" y="37119"/>
                    </a:lnTo>
                    <a:lnTo>
                      <a:pt x="87199" y="37648"/>
                    </a:lnTo>
                    <a:lnTo>
                      <a:pt x="86934" y="39147"/>
                    </a:lnTo>
                    <a:lnTo>
                      <a:pt x="88080" y="40029"/>
                    </a:lnTo>
                    <a:lnTo>
                      <a:pt x="89315" y="40558"/>
                    </a:lnTo>
                    <a:lnTo>
                      <a:pt x="89579" y="40558"/>
                    </a:lnTo>
                    <a:lnTo>
                      <a:pt x="89579" y="42585"/>
                    </a:lnTo>
                    <a:lnTo>
                      <a:pt x="90725" y="44701"/>
                    </a:lnTo>
                    <a:lnTo>
                      <a:pt x="90461" y="46112"/>
                    </a:lnTo>
                    <a:lnTo>
                      <a:pt x="91607" y="46994"/>
                    </a:lnTo>
                    <a:lnTo>
                      <a:pt x="93371" y="47258"/>
                    </a:lnTo>
                    <a:lnTo>
                      <a:pt x="94517" y="48404"/>
                    </a:lnTo>
                    <a:lnTo>
                      <a:pt x="95133" y="50785"/>
                    </a:lnTo>
                    <a:lnTo>
                      <a:pt x="96544" y="52813"/>
                    </a:lnTo>
                    <a:lnTo>
                      <a:pt x="95133" y="51931"/>
                    </a:lnTo>
                    <a:lnTo>
                      <a:pt x="95133" y="53959"/>
                    </a:lnTo>
                    <a:lnTo>
                      <a:pt x="90461" y="56340"/>
                    </a:lnTo>
                    <a:lnTo>
                      <a:pt x="88080" y="60395"/>
                    </a:lnTo>
                    <a:lnTo>
                      <a:pt x="88433" y="61894"/>
                    </a:lnTo>
                    <a:lnTo>
                      <a:pt x="87199" y="62159"/>
                    </a:lnTo>
                    <a:lnTo>
                      <a:pt x="87463" y="62776"/>
                    </a:lnTo>
                    <a:lnTo>
                      <a:pt x="88697" y="63305"/>
                    </a:lnTo>
                    <a:lnTo>
                      <a:pt x="88962" y="64187"/>
                    </a:lnTo>
                    <a:lnTo>
                      <a:pt x="89315" y="65686"/>
                    </a:lnTo>
                    <a:lnTo>
                      <a:pt x="86934" y="65950"/>
                    </a:lnTo>
                    <a:lnTo>
                      <a:pt x="86670" y="67713"/>
                    </a:lnTo>
                    <a:lnTo>
                      <a:pt x="86052" y="68595"/>
                    </a:lnTo>
                    <a:lnTo>
                      <a:pt x="85523" y="69477"/>
                    </a:lnTo>
                    <a:lnTo>
                      <a:pt x="84906" y="70887"/>
                    </a:lnTo>
                    <a:lnTo>
                      <a:pt x="84289" y="70006"/>
                    </a:lnTo>
                    <a:lnTo>
                      <a:pt x="81996" y="71505"/>
                    </a:lnTo>
                    <a:lnTo>
                      <a:pt x="77853" y="71240"/>
                    </a:lnTo>
                    <a:lnTo>
                      <a:pt x="76178" y="72034"/>
                    </a:lnTo>
                    <a:lnTo>
                      <a:pt x="72915" y="71769"/>
                    </a:lnTo>
                    <a:lnTo>
                      <a:pt x="71769" y="74679"/>
                    </a:lnTo>
                    <a:lnTo>
                      <a:pt x="72386" y="77588"/>
                    </a:lnTo>
                    <a:lnTo>
                      <a:pt x="71504" y="79704"/>
                    </a:lnTo>
                    <a:lnTo>
                      <a:pt x="70623" y="80233"/>
                    </a:lnTo>
                    <a:lnTo>
                      <a:pt x="71504" y="81997"/>
                    </a:lnTo>
                    <a:lnTo>
                      <a:pt x="72386" y="83495"/>
                    </a:lnTo>
                    <a:lnTo>
                      <a:pt x="73268" y="84025"/>
                    </a:lnTo>
                    <a:lnTo>
                      <a:pt x="74150" y="86052"/>
                    </a:lnTo>
                    <a:lnTo>
                      <a:pt x="74150" y="86934"/>
                    </a:lnTo>
                    <a:lnTo>
                      <a:pt x="73533" y="88080"/>
                    </a:lnTo>
                    <a:lnTo>
                      <a:pt x="73533" y="89579"/>
                    </a:lnTo>
                    <a:lnTo>
                      <a:pt x="74414" y="90725"/>
                    </a:lnTo>
                    <a:lnTo>
                      <a:pt x="75825" y="90725"/>
                    </a:lnTo>
                    <a:lnTo>
                      <a:pt x="77588" y="91078"/>
                    </a:lnTo>
                    <a:lnTo>
                      <a:pt x="78205" y="92224"/>
                    </a:lnTo>
                    <a:lnTo>
                      <a:pt x="79352" y="92753"/>
                    </a:lnTo>
                    <a:lnTo>
                      <a:pt x="80498" y="93635"/>
                    </a:lnTo>
                    <a:lnTo>
                      <a:pt x="81379" y="94252"/>
                    </a:lnTo>
                    <a:lnTo>
                      <a:pt x="81379" y="95134"/>
                    </a:lnTo>
                    <a:lnTo>
                      <a:pt x="83407" y="96544"/>
                    </a:lnTo>
                    <a:lnTo>
                      <a:pt x="84906" y="96897"/>
                    </a:lnTo>
                    <a:lnTo>
                      <a:pt x="86934" y="97162"/>
                    </a:lnTo>
                    <a:lnTo>
                      <a:pt x="88697" y="99189"/>
                    </a:lnTo>
                    <a:lnTo>
                      <a:pt x="90108" y="100071"/>
                    </a:lnTo>
                    <a:lnTo>
                      <a:pt x="92224" y="100336"/>
                    </a:lnTo>
                    <a:lnTo>
                      <a:pt x="94517" y="100688"/>
                    </a:lnTo>
                    <a:lnTo>
                      <a:pt x="94781" y="100953"/>
                    </a:lnTo>
                    <a:lnTo>
                      <a:pt x="96280" y="101835"/>
                    </a:lnTo>
                    <a:lnTo>
                      <a:pt x="98308" y="102099"/>
                    </a:lnTo>
                    <a:lnTo>
                      <a:pt x="99189" y="102099"/>
                    </a:lnTo>
                    <a:lnTo>
                      <a:pt x="99454" y="100953"/>
                    </a:lnTo>
                    <a:lnTo>
                      <a:pt x="99807" y="101835"/>
                    </a:lnTo>
                    <a:lnTo>
                      <a:pt x="100071" y="102981"/>
                    </a:lnTo>
                    <a:lnTo>
                      <a:pt x="99807" y="103862"/>
                    </a:lnTo>
                    <a:lnTo>
                      <a:pt x="102716" y="105626"/>
                    </a:lnTo>
                    <a:lnTo>
                      <a:pt x="102099" y="106507"/>
                    </a:lnTo>
                    <a:lnTo>
                      <a:pt x="102099" y="112327"/>
                    </a:lnTo>
                    <a:lnTo>
                      <a:pt x="100336" y="115236"/>
                    </a:lnTo>
                    <a:lnTo>
                      <a:pt x="100688" y="118410"/>
                    </a:lnTo>
                    <a:lnTo>
                      <a:pt x="96280" y="119292"/>
                    </a:lnTo>
                    <a:lnTo>
                      <a:pt x="93371" y="120526"/>
                    </a:lnTo>
                    <a:lnTo>
                      <a:pt x="90461" y="120174"/>
                    </a:lnTo>
                    <a:lnTo>
                      <a:pt x="85523" y="123436"/>
                    </a:lnTo>
                    <a:lnTo>
                      <a:pt x="84289" y="127227"/>
                    </a:lnTo>
                    <a:lnTo>
                      <a:pt x="80234" y="127756"/>
                    </a:lnTo>
                    <a:lnTo>
                      <a:pt x="77059" y="126874"/>
                    </a:lnTo>
                    <a:lnTo>
                      <a:pt x="76178" y="127492"/>
                    </a:lnTo>
                    <a:lnTo>
                      <a:pt x="73268" y="129784"/>
                    </a:lnTo>
                    <a:lnTo>
                      <a:pt x="72033" y="132164"/>
                    </a:lnTo>
                    <a:lnTo>
                      <a:pt x="70623" y="133046"/>
                    </a:lnTo>
                    <a:lnTo>
                      <a:pt x="71504" y="135956"/>
                    </a:lnTo>
                    <a:lnTo>
                      <a:pt x="69124" y="133046"/>
                    </a:lnTo>
                    <a:lnTo>
                      <a:pt x="68595" y="132429"/>
                    </a:lnTo>
                    <a:lnTo>
                      <a:pt x="67713" y="131283"/>
                    </a:lnTo>
                    <a:lnTo>
                      <a:pt x="68595" y="128638"/>
                    </a:lnTo>
                    <a:lnTo>
                      <a:pt x="67361" y="126874"/>
                    </a:lnTo>
                    <a:lnTo>
                      <a:pt x="64804" y="127756"/>
                    </a:lnTo>
                    <a:lnTo>
                      <a:pt x="63041" y="126345"/>
                    </a:lnTo>
                    <a:lnTo>
                      <a:pt x="63041" y="126610"/>
                    </a:lnTo>
                    <a:lnTo>
                      <a:pt x="61012" y="125464"/>
                    </a:lnTo>
                    <a:lnTo>
                      <a:pt x="59514" y="124846"/>
                    </a:lnTo>
                    <a:lnTo>
                      <a:pt x="57221" y="125199"/>
                    </a:lnTo>
                    <a:lnTo>
                      <a:pt x="55722" y="125728"/>
                    </a:lnTo>
                    <a:lnTo>
                      <a:pt x="54576" y="126081"/>
                    </a:lnTo>
                    <a:lnTo>
                      <a:pt x="52549" y="126874"/>
                    </a:lnTo>
                    <a:lnTo>
                      <a:pt x="51667" y="126874"/>
                    </a:lnTo>
                    <a:lnTo>
                      <a:pt x="50520" y="127492"/>
                    </a:lnTo>
                    <a:lnTo>
                      <a:pt x="49286" y="128373"/>
                    </a:lnTo>
                    <a:lnTo>
                      <a:pt x="48493" y="130137"/>
                    </a:lnTo>
                    <a:lnTo>
                      <a:pt x="47258" y="129519"/>
                    </a:lnTo>
                    <a:lnTo>
                      <a:pt x="46729" y="130401"/>
                    </a:lnTo>
                    <a:lnTo>
                      <a:pt x="45848" y="131018"/>
                    </a:lnTo>
                    <a:lnTo>
                      <a:pt x="45495" y="129519"/>
                    </a:lnTo>
                    <a:lnTo>
                      <a:pt x="44966" y="128902"/>
                    </a:lnTo>
                    <a:lnTo>
                      <a:pt x="45230" y="127756"/>
                    </a:lnTo>
                    <a:lnTo>
                      <a:pt x="43467" y="127492"/>
                    </a:lnTo>
                    <a:lnTo>
                      <a:pt x="44084" y="126610"/>
                    </a:lnTo>
                    <a:lnTo>
                      <a:pt x="43467" y="126345"/>
                    </a:lnTo>
                    <a:lnTo>
                      <a:pt x="41703" y="123965"/>
                    </a:lnTo>
                    <a:lnTo>
                      <a:pt x="41703" y="125464"/>
                    </a:lnTo>
                    <a:lnTo>
                      <a:pt x="39412" y="124846"/>
                    </a:lnTo>
                    <a:lnTo>
                      <a:pt x="40293" y="124317"/>
                    </a:lnTo>
                    <a:lnTo>
                      <a:pt x="40558" y="122819"/>
                    </a:lnTo>
                    <a:lnTo>
                      <a:pt x="39941" y="121937"/>
                    </a:lnTo>
                    <a:lnTo>
                      <a:pt x="39059" y="123436"/>
                    </a:lnTo>
                    <a:lnTo>
                      <a:pt x="38794" y="122554"/>
                    </a:lnTo>
                    <a:lnTo>
                      <a:pt x="37383" y="120174"/>
                    </a:lnTo>
                    <a:lnTo>
                      <a:pt x="37119" y="121055"/>
                    </a:lnTo>
                    <a:lnTo>
                      <a:pt x="36237" y="122819"/>
                    </a:lnTo>
                    <a:lnTo>
                      <a:pt x="35003" y="122819"/>
                    </a:lnTo>
                    <a:lnTo>
                      <a:pt x="34474" y="121055"/>
                    </a:lnTo>
                    <a:lnTo>
                      <a:pt x="33857" y="121408"/>
                    </a:lnTo>
                    <a:lnTo>
                      <a:pt x="34121" y="119909"/>
                    </a:lnTo>
                    <a:lnTo>
                      <a:pt x="33592" y="117617"/>
                    </a:lnTo>
                    <a:lnTo>
                      <a:pt x="32975" y="118146"/>
                    </a:lnTo>
                    <a:lnTo>
                      <a:pt x="31829" y="118146"/>
                    </a:lnTo>
                    <a:lnTo>
                      <a:pt x="32093" y="119645"/>
                    </a:lnTo>
                    <a:lnTo>
                      <a:pt x="30330" y="118763"/>
                    </a:lnTo>
                    <a:lnTo>
                      <a:pt x="30947" y="119645"/>
                    </a:lnTo>
                    <a:lnTo>
                      <a:pt x="30066" y="119645"/>
                    </a:lnTo>
                    <a:lnTo>
                      <a:pt x="29184" y="118146"/>
                    </a:lnTo>
                    <a:lnTo>
                      <a:pt x="28037" y="118763"/>
                    </a:lnTo>
                    <a:lnTo>
                      <a:pt x="28037" y="117264"/>
                    </a:lnTo>
                    <a:lnTo>
                      <a:pt x="28302" y="116382"/>
                    </a:lnTo>
                    <a:lnTo>
                      <a:pt x="27685" y="115853"/>
                    </a:lnTo>
                    <a:lnTo>
                      <a:pt x="27685" y="114619"/>
                    </a:lnTo>
                    <a:lnTo>
                      <a:pt x="28302" y="114354"/>
                    </a:lnTo>
                    <a:lnTo>
                      <a:pt x="27156" y="113473"/>
                    </a:lnTo>
                    <a:lnTo>
                      <a:pt x="28037" y="112856"/>
                    </a:lnTo>
                    <a:lnTo>
                      <a:pt x="28302" y="112062"/>
                    </a:lnTo>
                    <a:lnTo>
                      <a:pt x="28302" y="111709"/>
                    </a:lnTo>
                    <a:lnTo>
                      <a:pt x="30066" y="111180"/>
                    </a:lnTo>
                    <a:lnTo>
                      <a:pt x="30330" y="110034"/>
                    </a:lnTo>
                    <a:lnTo>
                      <a:pt x="30682" y="107037"/>
                    </a:lnTo>
                    <a:lnTo>
                      <a:pt x="31211" y="107918"/>
                    </a:lnTo>
                    <a:lnTo>
                      <a:pt x="31211" y="108535"/>
                    </a:lnTo>
                    <a:lnTo>
                      <a:pt x="32711" y="107037"/>
                    </a:lnTo>
                    <a:lnTo>
                      <a:pt x="36766" y="106155"/>
                    </a:lnTo>
                    <a:lnTo>
                      <a:pt x="37383" y="104127"/>
                    </a:lnTo>
                    <a:lnTo>
                      <a:pt x="36502" y="105361"/>
                    </a:lnTo>
                    <a:lnTo>
                      <a:pt x="30947" y="106155"/>
                    </a:lnTo>
                    <a:lnTo>
                      <a:pt x="30682" y="104127"/>
                    </a:lnTo>
                    <a:lnTo>
                      <a:pt x="30682" y="104480"/>
                    </a:lnTo>
                    <a:lnTo>
                      <a:pt x="30066" y="101570"/>
                    </a:lnTo>
                    <a:lnTo>
                      <a:pt x="30330" y="98043"/>
                    </a:lnTo>
                    <a:lnTo>
                      <a:pt x="29801" y="96544"/>
                    </a:lnTo>
                    <a:lnTo>
                      <a:pt x="30330" y="95663"/>
                    </a:lnTo>
                    <a:lnTo>
                      <a:pt x="28919" y="95134"/>
                    </a:lnTo>
                    <a:lnTo>
                      <a:pt x="28655" y="92753"/>
                    </a:lnTo>
                    <a:lnTo>
                      <a:pt x="28655" y="90725"/>
                    </a:lnTo>
                    <a:lnTo>
                      <a:pt x="27685" y="88080"/>
                    </a:lnTo>
                    <a:lnTo>
                      <a:pt x="26891" y="87551"/>
                    </a:lnTo>
                    <a:lnTo>
                      <a:pt x="25393" y="87816"/>
                    </a:lnTo>
                    <a:lnTo>
                      <a:pt x="23629" y="86934"/>
                    </a:lnTo>
                    <a:lnTo>
                      <a:pt x="23894" y="86052"/>
                    </a:lnTo>
                    <a:lnTo>
                      <a:pt x="23100" y="85171"/>
                    </a:lnTo>
                    <a:lnTo>
                      <a:pt x="20984" y="84906"/>
                    </a:lnTo>
                    <a:lnTo>
                      <a:pt x="19838" y="85788"/>
                    </a:lnTo>
                    <a:lnTo>
                      <a:pt x="18956" y="85523"/>
                    </a:lnTo>
                    <a:lnTo>
                      <a:pt x="17810" y="84906"/>
                    </a:lnTo>
                    <a:lnTo>
                      <a:pt x="16928" y="84025"/>
                    </a:lnTo>
                    <a:lnTo>
                      <a:pt x="15165" y="84289"/>
                    </a:lnTo>
                    <a:lnTo>
                      <a:pt x="14019" y="83143"/>
                    </a:lnTo>
                    <a:lnTo>
                      <a:pt x="12520" y="82878"/>
                    </a:lnTo>
                    <a:lnTo>
                      <a:pt x="11374" y="83495"/>
                    </a:lnTo>
                    <a:lnTo>
                      <a:pt x="11109" y="84642"/>
                    </a:lnTo>
                    <a:lnTo>
                      <a:pt x="9963" y="84025"/>
                    </a:lnTo>
                    <a:lnTo>
                      <a:pt x="9082" y="83495"/>
                    </a:lnTo>
                    <a:lnTo>
                      <a:pt x="7847" y="83495"/>
                    </a:lnTo>
                    <a:lnTo>
                      <a:pt x="7053" y="82526"/>
                    </a:lnTo>
                    <a:lnTo>
                      <a:pt x="5819" y="81732"/>
                    </a:lnTo>
                    <a:lnTo>
                      <a:pt x="7053" y="80851"/>
                    </a:lnTo>
                    <a:lnTo>
                      <a:pt x="5555" y="79704"/>
                    </a:lnTo>
                    <a:lnTo>
                      <a:pt x="4673" y="78205"/>
                    </a:lnTo>
                    <a:lnTo>
                      <a:pt x="3791" y="79704"/>
                    </a:lnTo>
                    <a:lnTo>
                      <a:pt x="2645" y="79087"/>
                    </a:lnTo>
                    <a:lnTo>
                      <a:pt x="3262" y="78470"/>
                    </a:lnTo>
                    <a:lnTo>
                      <a:pt x="2910" y="779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0" name="Freihandform: Form 1959">
                <a:extLst>
                  <a:ext uri="{FF2B5EF4-FFF2-40B4-BE49-F238E27FC236}">
                    <a16:creationId xmlns:a16="http://schemas.microsoft.com/office/drawing/2014/main" id="{8C8540BF-6A3A-E4E4-CEFA-B7CD921FE34D}"/>
                  </a:ext>
                </a:extLst>
              </p:cNvPr>
              <p:cNvSpPr/>
              <p:nvPr/>
            </p:nvSpPr>
            <p:spPr>
              <a:xfrm>
                <a:off x="6705722" y="3017517"/>
                <a:ext cx="401077" cy="533771"/>
              </a:xfrm>
              <a:custGeom>
                <a:avLst/>
                <a:gdLst>
                  <a:gd name="connsiteX0" fmla="*/ 20455 w 401077"/>
                  <a:gd name="connsiteY0" fmla="*/ 533683 h 533771"/>
                  <a:gd name="connsiteX1" fmla="*/ 19574 w 401077"/>
                  <a:gd name="connsiteY1" fmla="*/ 533419 h 533771"/>
                  <a:gd name="connsiteX2" fmla="*/ 20455 w 401077"/>
                  <a:gd name="connsiteY2" fmla="*/ 533154 h 533771"/>
                  <a:gd name="connsiteX3" fmla="*/ 20720 w 401077"/>
                  <a:gd name="connsiteY3" fmla="*/ 533771 h 533771"/>
                  <a:gd name="connsiteX4" fmla="*/ 20455 w 401077"/>
                  <a:gd name="connsiteY4" fmla="*/ 533771 h 533771"/>
                  <a:gd name="connsiteX5" fmla="*/ 22836 w 401077"/>
                  <a:gd name="connsiteY5" fmla="*/ 531655 h 533771"/>
                  <a:gd name="connsiteX6" fmla="*/ 22483 w 401077"/>
                  <a:gd name="connsiteY6" fmla="*/ 531655 h 533771"/>
                  <a:gd name="connsiteX7" fmla="*/ 22836 w 401077"/>
                  <a:gd name="connsiteY7" fmla="*/ 531655 h 533771"/>
                  <a:gd name="connsiteX8" fmla="*/ 22836 w 401077"/>
                  <a:gd name="connsiteY8" fmla="*/ 531391 h 533771"/>
                  <a:gd name="connsiteX9" fmla="*/ 22836 w 401077"/>
                  <a:gd name="connsiteY9" fmla="*/ 531126 h 533771"/>
                  <a:gd name="connsiteX10" fmla="*/ 23100 w 401077"/>
                  <a:gd name="connsiteY10" fmla="*/ 531126 h 533771"/>
                  <a:gd name="connsiteX11" fmla="*/ 22836 w 401077"/>
                  <a:gd name="connsiteY11" fmla="*/ 531391 h 533771"/>
                  <a:gd name="connsiteX12" fmla="*/ 24511 w 401077"/>
                  <a:gd name="connsiteY12" fmla="*/ 531391 h 533771"/>
                  <a:gd name="connsiteX13" fmla="*/ 24246 w 401077"/>
                  <a:gd name="connsiteY13" fmla="*/ 531391 h 533771"/>
                  <a:gd name="connsiteX14" fmla="*/ 24864 w 401077"/>
                  <a:gd name="connsiteY14" fmla="*/ 531126 h 533771"/>
                  <a:gd name="connsiteX15" fmla="*/ 24511 w 401077"/>
                  <a:gd name="connsiteY15" fmla="*/ 531391 h 533771"/>
                  <a:gd name="connsiteX16" fmla="*/ 25393 w 401077"/>
                  <a:gd name="connsiteY16" fmla="*/ 529363 h 533771"/>
                  <a:gd name="connsiteX17" fmla="*/ 25393 w 401077"/>
                  <a:gd name="connsiteY17" fmla="*/ 529098 h 533771"/>
                  <a:gd name="connsiteX18" fmla="*/ 25393 w 401077"/>
                  <a:gd name="connsiteY18" fmla="*/ 529363 h 533771"/>
                  <a:gd name="connsiteX19" fmla="*/ 23365 w 401077"/>
                  <a:gd name="connsiteY19" fmla="*/ 528746 h 533771"/>
                  <a:gd name="connsiteX20" fmla="*/ 22748 w 401077"/>
                  <a:gd name="connsiteY20" fmla="*/ 528129 h 533771"/>
                  <a:gd name="connsiteX21" fmla="*/ 23629 w 401077"/>
                  <a:gd name="connsiteY21" fmla="*/ 528746 h 533771"/>
                  <a:gd name="connsiteX22" fmla="*/ 23365 w 401077"/>
                  <a:gd name="connsiteY22" fmla="*/ 528746 h 533771"/>
                  <a:gd name="connsiteX23" fmla="*/ 17810 w 401077"/>
                  <a:gd name="connsiteY23" fmla="*/ 528481 h 533771"/>
                  <a:gd name="connsiteX24" fmla="*/ 17545 w 401077"/>
                  <a:gd name="connsiteY24" fmla="*/ 527864 h 533771"/>
                  <a:gd name="connsiteX25" fmla="*/ 17810 w 401077"/>
                  <a:gd name="connsiteY25" fmla="*/ 528129 h 533771"/>
                  <a:gd name="connsiteX26" fmla="*/ 17810 w 401077"/>
                  <a:gd name="connsiteY26" fmla="*/ 528481 h 533771"/>
                  <a:gd name="connsiteX27" fmla="*/ 17281 w 401077"/>
                  <a:gd name="connsiteY27" fmla="*/ 527864 h 533771"/>
                  <a:gd name="connsiteX28" fmla="*/ 17281 w 401077"/>
                  <a:gd name="connsiteY28" fmla="*/ 527600 h 533771"/>
                  <a:gd name="connsiteX29" fmla="*/ 17545 w 401077"/>
                  <a:gd name="connsiteY29" fmla="*/ 527600 h 533771"/>
                  <a:gd name="connsiteX30" fmla="*/ 17281 w 401077"/>
                  <a:gd name="connsiteY30" fmla="*/ 527864 h 533771"/>
                  <a:gd name="connsiteX31" fmla="*/ 20984 w 401077"/>
                  <a:gd name="connsiteY31" fmla="*/ 528481 h 533771"/>
                  <a:gd name="connsiteX32" fmla="*/ 16928 w 401077"/>
                  <a:gd name="connsiteY32" fmla="*/ 527864 h 533771"/>
                  <a:gd name="connsiteX33" fmla="*/ 17193 w 401077"/>
                  <a:gd name="connsiteY33" fmla="*/ 526718 h 533771"/>
                  <a:gd name="connsiteX34" fmla="*/ 18339 w 401077"/>
                  <a:gd name="connsiteY34" fmla="*/ 526982 h 533771"/>
                  <a:gd name="connsiteX35" fmla="*/ 18074 w 401077"/>
                  <a:gd name="connsiteY35" fmla="*/ 525836 h 533771"/>
                  <a:gd name="connsiteX36" fmla="*/ 18074 w 401077"/>
                  <a:gd name="connsiteY36" fmla="*/ 524690 h 533771"/>
                  <a:gd name="connsiteX37" fmla="*/ 18339 w 401077"/>
                  <a:gd name="connsiteY37" fmla="*/ 524073 h 533771"/>
                  <a:gd name="connsiteX38" fmla="*/ 19838 w 401077"/>
                  <a:gd name="connsiteY38" fmla="*/ 524690 h 533771"/>
                  <a:gd name="connsiteX39" fmla="*/ 21601 w 401077"/>
                  <a:gd name="connsiteY39" fmla="*/ 525572 h 533771"/>
                  <a:gd name="connsiteX40" fmla="*/ 21601 w 401077"/>
                  <a:gd name="connsiteY40" fmla="*/ 527952 h 533771"/>
                  <a:gd name="connsiteX41" fmla="*/ 20984 w 401077"/>
                  <a:gd name="connsiteY41" fmla="*/ 528481 h 533771"/>
                  <a:gd name="connsiteX42" fmla="*/ 882 w 401077"/>
                  <a:gd name="connsiteY42" fmla="*/ 523808 h 533771"/>
                  <a:gd name="connsiteX43" fmla="*/ 617 w 401077"/>
                  <a:gd name="connsiteY43" fmla="*/ 524426 h 533771"/>
                  <a:gd name="connsiteX44" fmla="*/ 0 w 401077"/>
                  <a:gd name="connsiteY44" fmla="*/ 523808 h 533771"/>
                  <a:gd name="connsiteX45" fmla="*/ 0 w 401077"/>
                  <a:gd name="connsiteY45" fmla="*/ 523191 h 533771"/>
                  <a:gd name="connsiteX46" fmla="*/ 882 w 401077"/>
                  <a:gd name="connsiteY46" fmla="*/ 522839 h 533771"/>
                  <a:gd name="connsiteX47" fmla="*/ 1499 w 401077"/>
                  <a:gd name="connsiteY47" fmla="*/ 522839 h 533771"/>
                  <a:gd name="connsiteX48" fmla="*/ 2116 w 401077"/>
                  <a:gd name="connsiteY48" fmla="*/ 523191 h 533771"/>
                  <a:gd name="connsiteX49" fmla="*/ 2998 w 401077"/>
                  <a:gd name="connsiteY49" fmla="*/ 524602 h 533771"/>
                  <a:gd name="connsiteX50" fmla="*/ 1852 w 401077"/>
                  <a:gd name="connsiteY50" fmla="*/ 523720 h 533771"/>
                  <a:gd name="connsiteX51" fmla="*/ 882 w 401077"/>
                  <a:gd name="connsiteY51" fmla="*/ 523720 h 533771"/>
                  <a:gd name="connsiteX52" fmla="*/ 18956 w 401077"/>
                  <a:gd name="connsiteY52" fmla="*/ 525219 h 533771"/>
                  <a:gd name="connsiteX53" fmla="*/ 18692 w 401077"/>
                  <a:gd name="connsiteY53" fmla="*/ 524866 h 533771"/>
                  <a:gd name="connsiteX54" fmla="*/ 18956 w 401077"/>
                  <a:gd name="connsiteY54" fmla="*/ 525219 h 533771"/>
                  <a:gd name="connsiteX55" fmla="*/ 177660 w 401077"/>
                  <a:gd name="connsiteY55" fmla="*/ 525219 h 533771"/>
                  <a:gd name="connsiteX56" fmla="*/ 177660 w 401077"/>
                  <a:gd name="connsiteY56" fmla="*/ 524866 h 533771"/>
                  <a:gd name="connsiteX57" fmla="*/ 177924 w 401077"/>
                  <a:gd name="connsiteY57" fmla="*/ 525219 h 533771"/>
                  <a:gd name="connsiteX58" fmla="*/ 177660 w 401077"/>
                  <a:gd name="connsiteY58" fmla="*/ 525219 h 533771"/>
                  <a:gd name="connsiteX59" fmla="*/ 27420 w 401077"/>
                  <a:gd name="connsiteY59" fmla="*/ 526365 h 533771"/>
                  <a:gd name="connsiteX60" fmla="*/ 25657 w 401077"/>
                  <a:gd name="connsiteY60" fmla="*/ 524073 h 533771"/>
                  <a:gd name="connsiteX61" fmla="*/ 25393 w 401077"/>
                  <a:gd name="connsiteY61" fmla="*/ 523808 h 533771"/>
                  <a:gd name="connsiteX62" fmla="*/ 26010 w 401077"/>
                  <a:gd name="connsiteY62" fmla="*/ 523544 h 533771"/>
                  <a:gd name="connsiteX63" fmla="*/ 24511 w 401077"/>
                  <a:gd name="connsiteY63" fmla="*/ 521516 h 533771"/>
                  <a:gd name="connsiteX64" fmla="*/ 26539 w 401077"/>
                  <a:gd name="connsiteY64" fmla="*/ 521251 h 533771"/>
                  <a:gd name="connsiteX65" fmla="*/ 26274 w 401077"/>
                  <a:gd name="connsiteY65" fmla="*/ 520105 h 533771"/>
                  <a:gd name="connsiteX66" fmla="*/ 28919 w 401077"/>
                  <a:gd name="connsiteY66" fmla="*/ 519488 h 533771"/>
                  <a:gd name="connsiteX67" fmla="*/ 29801 w 401077"/>
                  <a:gd name="connsiteY67" fmla="*/ 522398 h 533771"/>
                  <a:gd name="connsiteX68" fmla="*/ 28302 w 401077"/>
                  <a:gd name="connsiteY68" fmla="*/ 523279 h 533771"/>
                  <a:gd name="connsiteX69" fmla="*/ 27773 w 401077"/>
                  <a:gd name="connsiteY69" fmla="*/ 523897 h 533771"/>
                  <a:gd name="connsiteX70" fmla="*/ 27773 w 401077"/>
                  <a:gd name="connsiteY70" fmla="*/ 525924 h 533771"/>
                  <a:gd name="connsiteX71" fmla="*/ 27420 w 401077"/>
                  <a:gd name="connsiteY71" fmla="*/ 526365 h 533771"/>
                  <a:gd name="connsiteX72" fmla="*/ 37119 w 401077"/>
                  <a:gd name="connsiteY72" fmla="*/ 518783 h 533771"/>
                  <a:gd name="connsiteX73" fmla="*/ 36766 w 401077"/>
                  <a:gd name="connsiteY73" fmla="*/ 517901 h 533771"/>
                  <a:gd name="connsiteX74" fmla="*/ 37119 w 401077"/>
                  <a:gd name="connsiteY74" fmla="*/ 518783 h 533771"/>
                  <a:gd name="connsiteX75" fmla="*/ 48140 w 401077"/>
                  <a:gd name="connsiteY75" fmla="*/ 518783 h 533771"/>
                  <a:gd name="connsiteX76" fmla="*/ 48140 w 401077"/>
                  <a:gd name="connsiteY76" fmla="*/ 518783 h 533771"/>
                  <a:gd name="connsiteX77" fmla="*/ 48404 w 401077"/>
                  <a:gd name="connsiteY77" fmla="*/ 518783 h 533771"/>
                  <a:gd name="connsiteX78" fmla="*/ 48140 w 401077"/>
                  <a:gd name="connsiteY78" fmla="*/ 518783 h 533771"/>
                  <a:gd name="connsiteX79" fmla="*/ 36502 w 401077"/>
                  <a:gd name="connsiteY79" fmla="*/ 516226 h 533771"/>
                  <a:gd name="connsiteX80" fmla="*/ 35885 w 401077"/>
                  <a:gd name="connsiteY80" fmla="*/ 515961 h 533771"/>
                  <a:gd name="connsiteX81" fmla="*/ 36502 w 401077"/>
                  <a:gd name="connsiteY81" fmla="*/ 516226 h 533771"/>
                  <a:gd name="connsiteX82" fmla="*/ 46112 w 401077"/>
                  <a:gd name="connsiteY82" fmla="*/ 516755 h 533771"/>
                  <a:gd name="connsiteX83" fmla="*/ 45848 w 401077"/>
                  <a:gd name="connsiteY83" fmla="*/ 516490 h 533771"/>
                  <a:gd name="connsiteX84" fmla="*/ 45848 w 401077"/>
                  <a:gd name="connsiteY84" fmla="*/ 516226 h 533771"/>
                  <a:gd name="connsiteX85" fmla="*/ 46112 w 401077"/>
                  <a:gd name="connsiteY85" fmla="*/ 516755 h 533771"/>
                  <a:gd name="connsiteX86" fmla="*/ 46994 w 401077"/>
                  <a:gd name="connsiteY86" fmla="*/ 514727 h 533771"/>
                  <a:gd name="connsiteX87" fmla="*/ 46377 w 401077"/>
                  <a:gd name="connsiteY87" fmla="*/ 514463 h 533771"/>
                  <a:gd name="connsiteX88" fmla="*/ 47258 w 401077"/>
                  <a:gd name="connsiteY88" fmla="*/ 514463 h 533771"/>
                  <a:gd name="connsiteX89" fmla="*/ 46994 w 401077"/>
                  <a:gd name="connsiteY89" fmla="*/ 514727 h 533771"/>
                  <a:gd name="connsiteX90" fmla="*/ 49639 w 401077"/>
                  <a:gd name="connsiteY90" fmla="*/ 516755 h 533771"/>
                  <a:gd name="connsiteX91" fmla="*/ 48757 w 401077"/>
                  <a:gd name="connsiteY91" fmla="*/ 515873 h 533771"/>
                  <a:gd name="connsiteX92" fmla="*/ 47611 w 401077"/>
                  <a:gd name="connsiteY92" fmla="*/ 512082 h 533771"/>
                  <a:gd name="connsiteX93" fmla="*/ 49375 w 401077"/>
                  <a:gd name="connsiteY93" fmla="*/ 514110 h 533771"/>
                  <a:gd name="connsiteX94" fmla="*/ 52901 w 401077"/>
                  <a:gd name="connsiteY94" fmla="*/ 516490 h 533771"/>
                  <a:gd name="connsiteX95" fmla="*/ 49639 w 401077"/>
                  <a:gd name="connsiteY95" fmla="*/ 516755 h 533771"/>
                  <a:gd name="connsiteX96" fmla="*/ 47258 w 401077"/>
                  <a:gd name="connsiteY96" fmla="*/ 513845 h 533771"/>
                  <a:gd name="connsiteX97" fmla="*/ 46994 w 401077"/>
                  <a:gd name="connsiteY97" fmla="*/ 513581 h 533771"/>
                  <a:gd name="connsiteX98" fmla="*/ 47258 w 401077"/>
                  <a:gd name="connsiteY98" fmla="*/ 513845 h 533771"/>
                  <a:gd name="connsiteX99" fmla="*/ 4673 w 401077"/>
                  <a:gd name="connsiteY99" fmla="*/ 492597 h 533771"/>
                  <a:gd name="connsiteX100" fmla="*/ 4673 w 401077"/>
                  <a:gd name="connsiteY100" fmla="*/ 492332 h 533771"/>
                  <a:gd name="connsiteX101" fmla="*/ 5290 w 401077"/>
                  <a:gd name="connsiteY101" fmla="*/ 492597 h 533771"/>
                  <a:gd name="connsiteX102" fmla="*/ 4673 w 401077"/>
                  <a:gd name="connsiteY102" fmla="*/ 492597 h 533771"/>
                  <a:gd name="connsiteX103" fmla="*/ 170430 w 401077"/>
                  <a:gd name="connsiteY103" fmla="*/ 491362 h 533771"/>
                  <a:gd name="connsiteX104" fmla="*/ 169812 w 401077"/>
                  <a:gd name="connsiteY104" fmla="*/ 489864 h 533771"/>
                  <a:gd name="connsiteX105" fmla="*/ 170959 w 401077"/>
                  <a:gd name="connsiteY105" fmla="*/ 491010 h 533771"/>
                  <a:gd name="connsiteX106" fmla="*/ 170430 w 401077"/>
                  <a:gd name="connsiteY106" fmla="*/ 491362 h 533771"/>
                  <a:gd name="connsiteX107" fmla="*/ 26539 w 401077"/>
                  <a:gd name="connsiteY107" fmla="*/ 489335 h 533771"/>
                  <a:gd name="connsiteX108" fmla="*/ 26274 w 401077"/>
                  <a:gd name="connsiteY108" fmla="*/ 489335 h 533771"/>
                  <a:gd name="connsiteX109" fmla="*/ 26539 w 401077"/>
                  <a:gd name="connsiteY109" fmla="*/ 489335 h 533771"/>
                  <a:gd name="connsiteX110" fmla="*/ 7318 w 401077"/>
                  <a:gd name="connsiteY110" fmla="*/ 488806 h 533771"/>
                  <a:gd name="connsiteX111" fmla="*/ 7053 w 401077"/>
                  <a:gd name="connsiteY111" fmla="*/ 488541 h 533771"/>
                  <a:gd name="connsiteX112" fmla="*/ 7318 w 401077"/>
                  <a:gd name="connsiteY112" fmla="*/ 488541 h 533771"/>
                  <a:gd name="connsiteX113" fmla="*/ 7318 w 401077"/>
                  <a:gd name="connsiteY113" fmla="*/ 488806 h 533771"/>
                  <a:gd name="connsiteX114" fmla="*/ 170959 w 401077"/>
                  <a:gd name="connsiteY114" fmla="*/ 488453 h 533771"/>
                  <a:gd name="connsiteX115" fmla="*/ 170959 w 401077"/>
                  <a:gd name="connsiteY115" fmla="*/ 487836 h 533771"/>
                  <a:gd name="connsiteX116" fmla="*/ 171576 w 401077"/>
                  <a:gd name="connsiteY116" fmla="*/ 488453 h 533771"/>
                  <a:gd name="connsiteX117" fmla="*/ 170959 w 401077"/>
                  <a:gd name="connsiteY117" fmla="*/ 488453 h 533771"/>
                  <a:gd name="connsiteX118" fmla="*/ 96280 w 401077"/>
                  <a:gd name="connsiteY118" fmla="*/ 482986 h 533771"/>
                  <a:gd name="connsiteX119" fmla="*/ 96015 w 401077"/>
                  <a:gd name="connsiteY119" fmla="*/ 482634 h 533771"/>
                  <a:gd name="connsiteX120" fmla="*/ 96633 w 401077"/>
                  <a:gd name="connsiteY120" fmla="*/ 482634 h 533771"/>
                  <a:gd name="connsiteX121" fmla="*/ 96280 w 401077"/>
                  <a:gd name="connsiteY121" fmla="*/ 482986 h 533771"/>
                  <a:gd name="connsiteX122" fmla="*/ 82261 w 401077"/>
                  <a:gd name="connsiteY122" fmla="*/ 482634 h 533771"/>
                  <a:gd name="connsiteX123" fmla="*/ 81996 w 401077"/>
                  <a:gd name="connsiteY123" fmla="*/ 482634 h 533771"/>
                  <a:gd name="connsiteX124" fmla="*/ 82261 w 401077"/>
                  <a:gd name="connsiteY124" fmla="*/ 482369 h 533771"/>
                  <a:gd name="connsiteX125" fmla="*/ 82261 w 401077"/>
                  <a:gd name="connsiteY125" fmla="*/ 482634 h 533771"/>
                  <a:gd name="connsiteX126" fmla="*/ 83143 w 401077"/>
                  <a:gd name="connsiteY126" fmla="*/ 482369 h 533771"/>
                  <a:gd name="connsiteX127" fmla="*/ 83143 w 401077"/>
                  <a:gd name="connsiteY127" fmla="*/ 482105 h 533771"/>
                  <a:gd name="connsiteX128" fmla="*/ 83143 w 401077"/>
                  <a:gd name="connsiteY128" fmla="*/ 482369 h 533771"/>
                  <a:gd name="connsiteX129" fmla="*/ 82878 w 401077"/>
                  <a:gd name="connsiteY129" fmla="*/ 482105 h 533771"/>
                  <a:gd name="connsiteX130" fmla="*/ 82878 w 401077"/>
                  <a:gd name="connsiteY130" fmla="*/ 482105 h 533771"/>
                  <a:gd name="connsiteX131" fmla="*/ 83143 w 401077"/>
                  <a:gd name="connsiteY131" fmla="*/ 482105 h 533771"/>
                  <a:gd name="connsiteX132" fmla="*/ 82878 w 401077"/>
                  <a:gd name="connsiteY132" fmla="*/ 482105 h 533771"/>
                  <a:gd name="connsiteX133" fmla="*/ 83407 w 401077"/>
                  <a:gd name="connsiteY133" fmla="*/ 481752 h 533771"/>
                  <a:gd name="connsiteX134" fmla="*/ 83407 w 401077"/>
                  <a:gd name="connsiteY134" fmla="*/ 481488 h 533771"/>
                  <a:gd name="connsiteX135" fmla="*/ 83672 w 401077"/>
                  <a:gd name="connsiteY135" fmla="*/ 481752 h 533771"/>
                  <a:gd name="connsiteX136" fmla="*/ 83407 w 401077"/>
                  <a:gd name="connsiteY136" fmla="*/ 481752 h 533771"/>
                  <a:gd name="connsiteX137" fmla="*/ 86317 w 401077"/>
                  <a:gd name="connsiteY137" fmla="*/ 481752 h 533771"/>
                  <a:gd name="connsiteX138" fmla="*/ 86052 w 401077"/>
                  <a:gd name="connsiteY138" fmla="*/ 481752 h 533771"/>
                  <a:gd name="connsiteX139" fmla="*/ 86317 w 401077"/>
                  <a:gd name="connsiteY139" fmla="*/ 481752 h 533771"/>
                  <a:gd name="connsiteX140" fmla="*/ 84642 w 401077"/>
                  <a:gd name="connsiteY140" fmla="*/ 482986 h 533771"/>
                  <a:gd name="connsiteX141" fmla="*/ 84377 w 401077"/>
                  <a:gd name="connsiteY141" fmla="*/ 482105 h 533771"/>
                  <a:gd name="connsiteX142" fmla="*/ 84906 w 401077"/>
                  <a:gd name="connsiteY142" fmla="*/ 482722 h 533771"/>
                  <a:gd name="connsiteX143" fmla="*/ 84642 w 401077"/>
                  <a:gd name="connsiteY143" fmla="*/ 482986 h 533771"/>
                  <a:gd name="connsiteX144" fmla="*/ 83143 w 401077"/>
                  <a:gd name="connsiteY144" fmla="*/ 481223 h 533771"/>
                  <a:gd name="connsiteX145" fmla="*/ 82525 w 401077"/>
                  <a:gd name="connsiteY145" fmla="*/ 480959 h 533771"/>
                  <a:gd name="connsiteX146" fmla="*/ 83407 w 401077"/>
                  <a:gd name="connsiteY146" fmla="*/ 480959 h 533771"/>
                  <a:gd name="connsiteX147" fmla="*/ 83143 w 401077"/>
                  <a:gd name="connsiteY147" fmla="*/ 481223 h 533771"/>
                  <a:gd name="connsiteX148" fmla="*/ 96633 w 401077"/>
                  <a:gd name="connsiteY148" fmla="*/ 480606 h 533771"/>
                  <a:gd name="connsiteX149" fmla="*/ 96633 w 401077"/>
                  <a:gd name="connsiteY149" fmla="*/ 480606 h 533771"/>
                  <a:gd name="connsiteX150" fmla="*/ 96897 w 401077"/>
                  <a:gd name="connsiteY150" fmla="*/ 480606 h 533771"/>
                  <a:gd name="connsiteX151" fmla="*/ 96633 w 401077"/>
                  <a:gd name="connsiteY151" fmla="*/ 480606 h 533771"/>
                  <a:gd name="connsiteX152" fmla="*/ 96633 w 401077"/>
                  <a:gd name="connsiteY152" fmla="*/ 478842 h 533771"/>
                  <a:gd name="connsiteX153" fmla="*/ 96633 w 401077"/>
                  <a:gd name="connsiteY153" fmla="*/ 478842 h 533771"/>
                  <a:gd name="connsiteX154" fmla="*/ 96897 w 401077"/>
                  <a:gd name="connsiteY154" fmla="*/ 478842 h 533771"/>
                  <a:gd name="connsiteX155" fmla="*/ 96633 w 401077"/>
                  <a:gd name="connsiteY155" fmla="*/ 478842 h 533771"/>
                  <a:gd name="connsiteX156" fmla="*/ 72651 w 401077"/>
                  <a:gd name="connsiteY156" fmla="*/ 478313 h 533771"/>
                  <a:gd name="connsiteX157" fmla="*/ 72651 w 401077"/>
                  <a:gd name="connsiteY157" fmla="*/ 478313 h 533771"/>
                  <a:gd name="connsiteX158" fmla="*/ 72915 w 401077"/>
                  <a:gd name="connsiteY158" fmla="*/ 478313 h 533771"/>
                  <a:gd name="connsiteX159" fmla="*/ 72651 w 401077"/>
                  <a:gd name="connsiteY159" fmla="*/ 478313 h 533771"/>
                  <a:gd name="connsiteX160" fmla="*/ 79087 w 401077"/>
                  <a:gd name="connsiteY160" fmla="*/ 477961 h 533771"/>
                  <a:gd name="connsiteX161" fmla="*/ 78823 w 401077"/>
                  <a:gd name="connsiteY161" fmla="*/ 477432 h 533771"/>
                  <a:gd name="connsiteX162" fmla="*/ 79087 w 401077"/>
                  <a:gd name="connsiteY162" fmla="*/ 477961 h 533771"/>
                  <a:gd name="connsiteX163" fmla="*/ 96633 w 401077"/>
                  <a:gd name="connsiteY163" fmla="*/ 478313 h 533771"/>
                  <a:gd name="connsiteX164" fmla="*/ 96368 w 401077"/>
                  <a:gd name="connsiteY164" fmla="*/ 478049 h 533771"/>
                  <a:gd name="connsiteX165" fmla="*/ 96633 w 401077"/>
                  <a:gd name="connsiteY165" fmla="*/ 478049 h 533771"/>
                  <a:gd name="connsiteX166" fmla="*/ 96633 w 401077"/>
                  <a:gd name="connsiteY166" fmla="*/ 478313 h 533771"/>
                  <a:gd name="connsiteX167" fmla="*/ 72033 w 401077"/>
                  <a:gd name="connsiteY167" fmla="*/ 479460 h 533771"/>
                  <a:gd name="connsiteX168" fmla="*/ 69388 w 401077"/>
                  <a:gd name="connsiteY168" fmla="*/ 477432 h 533771"/>
                  <a:gd name="connsiteX169" fmla="*/ 72033 w 401077"/>
                  <a:gd name="connsiteY169" fmla="*/ 477961 h 533771"/>
                  <a:gd name="connsiteX170" fmla="*/ 72033 w 401077"/>
                  <a:gd name="connsiteY170" fmla="*/ 479460 h 533771"/>
                  <a:gd name="connsiteX171" fmla="*/ 96897 w 401077"/>
                  <a:gd name="connsiteY171" fmla="*/ 477079 h 533771"/>
                  <a:gd name="connsiteX172" fmla="*/ 96897 w 401077"/>
                  <a:gd name="connsiteY172" fmla="*/ 476815 h 533771"/>
                  <a:gd name="connsiteX173" fmla="*/ 96897 w 401077"/>
                  <a:gd name="connsiteY173" fmla="*/ 477079 h 533771"/>
                  <a:gd name="connsiteX174" fmla="*/ 79087 w 401077"/>
                  <a:gd name="connsiteY174" fmla="*/ 472406 h 533771"/>
                  <a:gd name="connsiteX175" fmla="*/ 78823 w 401077"/>
                  <a:gd name="connsiteY175" fmla="*/ 472142 h 533771"/>
                  <a:gd name="connsiteX176" fmla="*/ 79440 w 401077"/>
                  <a:gd name="connsiteY176" fmla="*/ 472142 h 533771"/>
                  <a:gd name="connsiteX177" fmla="*/ 79087 w 401077"/>
                  <a:gd name="connsiteY177" fmla="*/ 472406 h 533771"/>
                  <a:gd name="connsiteX178" fmla="*/ 91342 w 401077"/>
                  <a:gd name="connsiteY178" fmla="*/ 470731 h 533771"/>
                  <a:gd name="connsiteX179" fmla="*/ 91078 w 401077"/>
                  <a:gd name="connsiteY179" fmla="*/ 470466 h 533771"/>
                  <a:gd name="connsiteX180" fmla="*/ 91342 w 401077"/>
                  <a:gd name="connsiteY180" fmla="*/ 470731 h 533771"/>
                  <a:gd name="connsiteX181" fmla="*/ 92489 w 401077"/>
                  <a:gd name="connsiteY181" fmla="*/ 470995 h 533771"/>
                  <a:gd name="connsiteX182" fmla="*/ 92136 w 401077"/>
                  <a:gd name="connsiteY182" fmla="*/ 470731 h 533771"/>
                  <a:gd name="connsiteX183" fmla="*/ 92489 w 401077"/>
                  <a:gd name="connsiteY183" fmla="*/ 470731 h 533771"/>
                  <a:gd name="connsiteX184" fmla="*/ 92489 w 401077"/>
                  <a:gd name="connsiteY184" fmla="*/ 470995 h 533771"/>
                  <a:gd name="connsiteX185" fmla="*/ 95663 w 401077"/>
                  <a:gd name="connsiteY185" fmla="*/ 470378 h 533771"/>
                  <a:gd name="connsiteX186" fmla="*/ 95046 w 401077"/>
                  <a:gd name="connsiteY186" fmla="*/ 470114 h 533771"/>
                  <a:gd name="connsiteX187" fmla="*/ 95663 w 401077"/>
                  <a:gd name="connsiteY187" fmla="*/ 470378 h 533771"/>
                  <a:gd name="connsiteX188" fmla="*/ 95398 w 401077"/>
                  <a:gd name="connsiteY188" fmla="*/ 469232 h 533771"/>
                  <a:gd name="connsiteX189" fmla="*/ 95133 w 401077"/>
                  <a:gd name="connsiteY189" fmla="*/ 469232 h 533771"/>
                  <a:gd name="connsiteX190" fmla="*/ 95398 w 401077"/>
                  <a:gd name="connsiteY190" fmla="*/ 469232 h 533771"/>
                  <a:gd name="connsiteX191" fmla="*/ 91078 w 401077"/>
                  <a:gd name="connsiteY191" fmla="*/ 469232 h 533771"/>
                  <a:gd name="connsiteX192" fmla="*/ 89315 w 401077"/>
                  <a:gd name="connsiteY192" fmla="*/ 468615 h 533771"/>
                  <a:gd name="connsiteX193" fmla="*/ 90461 w 401077"/>
                  <a:gd name="connsiteY193" fmla="*/ 468350 h 533771"/>
                  <a:gd name="connsiteX194" fmla="*/ 91078 w 401077"/>
                  <a:gd name="connsiteY194" fmla="*/ 469232 h 533771"/>
                  <a:gd name="connsiteX195" fmla="*/ 92224 w 401077"/>
                  <a:gd name="connsiteY195" fmla="*/ 485014 h 533771"/>
                  <a:gd name="connsiteX196" fmla="*/ 90461 w 401077"/>
                  <a:gd name="connsiteY196" fmla="*/ 481840 h 533771"/>
                  <a:gd name="connsiteX197" fmla="*/ 91078 w 401077"/>
                  <a:gd name="connsiteY197" fmla="*/ 481576 h 533771"/>
                  <a:gd name="connsiteX198" fmla="*/ 92577 w 401077"/>
                  <a:gd name="connsiteY198" fmla="*/ 479548 h 533771"/>
                  <a:gd name="connsiteX199" fmla="*/ 90813 w 401077"/>
                  <a:gd name="connsiteY199" fmla="*/ 475757 h 533771"/>
                  <a:gd name="connsiteX200" fmla="*/ 92842 w 401077"/>
                  <a:gd name="connsiteY200" fmla="*/ 474875 h 533771"/>
                  <a:gd name="connsiteX201" fmla="*/ 93723 w 401077"/>
                  <a:gd name="connsiteY201" fmla="*/ 474346 h 533771"/>
                  <a:gd name="connsiteX202" fmla="*/ 95222 w 401077"/>
                  <a:gd name="connsiteY202" fmla="*/ 473200 h 533771"/>
                  <a:gd name="connsiteX203" fmla="*/ 92929 w 401077"/>
                  <a:gd name="connsiteY203" fmla="*/ 470819 h 533771"/>
                  <a:gd name="connsiteX204" fmla="*/ 94076 w 401077"/>
                  <a:gd name="connsiteY204" fmla="*/ 469409 h 533771"/>
                  <a:gd name="connsiteX205" fmla="*/ 94958 w 401077"/>
                  <a:gd name="connsiteY205" fmla="*/ 470555 h 533771"/>
                  <a:gd name="connsiteX206" fmla="*/ 97250 w 401077"/>
                  <a:gd name="connsiteY206" fmla="*/ 470290 h 533771"/>
                  <a:gd name="connsiteX207" fmla="*/ 97867 w 401077"/>
                  <a:gd name="connsiteY207" fmla="*/ 468262 h 533771"/>
                  <a:gd name="connsiteX208" fmla="*/ 99366 w 401077"/>
                  <a:gd name="connsiteY208" fmla="*/ 465088 h 533771"/>
                  <a:gd name="connsiteX209" fmla="*/ 101129 w 401077"/>
                  <a:gd name="connsiteY209" fmla="*/ 467116 h 533771"/>
                  <a:gd name="connsiteX210" fmla="*/ 101129 w 401077"/>
                  <a:gd name="connsiteY210" fmla="*/ 470026 h 533771"/>
                  <a:gd name="connsiteX211" fmla="*/ 98484 w 401077"/>
                  <a:gd name="connsiteY211" fmla="*/ 472053 h 533771"/>
                  <a:gd name="connsiteX212" fmla="*/ 97867 w 401077"/>
                  <a:gd name="connsiteY212" fmla="*/ 473552 h 533771"/>
                  <a:gd name="connsiteX213" fmla="*/ 96368 w 401077"/>
                  <a:gd name="connsiteY213" fmla="*/ 474434 h 533771"/>
                  <a:gd name="connsiteX214" fmla="*/ 95751 w 401077"/>
                  <a:gd name="connsiteY214" fmla="*/ 475845 h 533771"/>
                  <a:gd name="connsiteX215" fmla="*/ 93459 w 401077"/>
                  <a:gd name="connsiteY215" fmla="*/ 476726 h 533771"/>
                  <a:gd name="connsiteX216" fmla="*/ 96104 w 401077"/>
                  <a:gd name="connsiteY216" fmla="*/ 479371 h 533771"/>
                  <a:gd name="connsiteX217" fmla="*/ 94076 w 401077"/>
                  <a:gd name="connsiteY217" fmla="*/ 479371 h 533771"/>
                  <a:gd name="connsiteX218" fmla="*/ 93194 w 401077"/>
                  <a:gd name="connsiteY218" fmla="*/ 481664 h 533771"/>
                  <a:gd name="connsiteX219" fmla="*/ 94605 w 401077"/>
                  <a:gd name="connsiteY219" fmla="*/ 482546 h 533771"/>
                  <a:gd name="connsiteX220" fmla="*/ 93194 w 401077"/>
                  <a:gd name="connsiteY220" fmla="*/ 484926 h 533771"/>
                  <a:gd name="connsiteX221" fmla="*/ 92224 w 401077"/>
                  <a:gd name="connsiteY221" fmla="*/ 485014 h 533771"/>
                  <a:gd name="connsiteX222" fmla="*/ 92224 w 401077"/>
                  <a:gd name="connsiteY222" fmla="*/ 463942 h 533771"/>
                  <a:gd name="connsiteX223" fmla="*/ 91695 w 401077"/>
                  <a:gd name="connsiteY223" fmla="*/ 462796 h 533771"/>
                  <a:gd name="connsiteX224" fmla="*/ 92224 w 401077"/>
                  <a:gd name="connsiteY224" fmla="*/ 463677 h 533771"/>
                  <a:gd name="connsiteX225" fmla="*/ 92224 w 401077"/>
                  <a:gd name="connsiteY225" fmla="*/ 463942 h 533771"/>
                  <a:gd name="connsiteX226" fmla="*/ 91871 w 401077"/>
                  <a:gd name="connsiteY226" fmla="*/ 462267 h 533771"/>
                  <a:gd name="connsiteX227" fmla="*/ 91607 w 401077"/>
                  <a:gd name="connsiteY227" fmla="*/ 462267 h 533771"/>
                  <a:gd name="connsiteX228" fmla="*/ 91871 w 401077"/>
                  <a:gd name="connsiteY228" fmla="*/ 462267 h 533771"/>
                  <a:gd name="connsiteX229" fmla="*/ 91078 w 401077"/>
                  <a:gd name="connsiteY229" fmla="*/ 461914 h 533771"/>
                  <a:gd name="connsiteX230" fmla="*/ 91078 w 401077"/>
                  <a:gd name="connsiteY230" fmla="*/ 461914 h 533771"/>
                  <a:gd name="connsiteX231" fmla="*/ 91078 w 401077"/>
                  <a:gd name="connsiteY231" fmla="*/ 461650 h 533771"/>
                  <a:gd name="connsiteX232" fmla="*/ 91078 w 401077"/>
                  <a:gd name="connsiteY232" fmla="*/ 461914 h 533771"/>
                  <a:gd name="connsiteX233" fmla="*/ 102099 w 401077"/>
                  <a:gd name="connsiteY233" fmla="*/ 461121 h 533771"/>
                  <a:gd name="connsiteX234" fmla="*/ 100953 w 401077"/>
                  <a:gd name="connsiteY234" fmla="*/ 460503 h 533771"/>
                  <a:gd name="connsiteX235" fmla="*/ 102099 w 401077"/>
                  <a:gd name="connsiteY235" fmla="*/ 460503 h 533771"/>
                  <a:gd name="connsiteX236" fmla="*/ 102099 w 401077"/>
                  <a:gd name="connsiteY236" fmla="*/ 461121 h 533771"/>
                  <a:gd name="connsiteX237" fmla="*/ 91342 w 401077"/>
                  <a:gd name="connsiteY237" fmla="*/ 461914 h 533771"/>
                  <a:gd name="connsiteX238" fmla="*/ 91960 w 401077"/>
                  <a:gd name="connsiteY238" fmla="*/ 459622 h 533771"/>
                  <a:gd name="connsiteX239" fmla="*/ 91342 w 401077"/>
                  <a:gd name="connsiteY239" fmla="*/ 461650 h 533771"/>
                  <a:gd name="connsiteX240" fmla="*/ 91342 w 401077"/>
                  <a:gd name="connsiteY240" fmla="*/ 461914 h 533771"/>
                  <a:gd name="connsiteX241" fmla="*/ 102716 w 401077"/>
                  <a:gd name="connsiteY241" fmla="*/ 453450 h 533771"/>
                  <a:gd name="connsiteX242" fmla="*/ 102981 w 401077"/>
                  <a:gd name="connsiteY242" fmla="*/ 451687 h 533771"/>
                  <a:gd name="connsiteX243" fmla="*/ 102981 w 401077"/>
                  <a:gd name="connsiteY243" fmla="*/ 453450 h 533771"/>
                  <a:gd name="connsiteX244" fmla="*/ 102716 w 401077"/>
                  <a:gd name="connsiteY244" fmla="*/ 453450 h 533771"/>
                  <a:gd name="connsiteX245" fmla="*/ 91342 w 401077"/>
                  <a:gd name="connsiteY245" fmla="*/ 440048 h 533771"/>
                  <a:gd name="connsiteX246" fmla="*/ 91078 w 401077"/>
                  <a:gd name="connsiteY246" fmla="*/ 439519 h 533771"/>
                  <a:gd name="connsiteX247" fmla="*/ 91695 w 401077"/>
                  <a:gd name="connsiteY247" fmla="*/ 440048 h 533771"/>
                  <a:gd name="connsiteX248" fmla="*/ 91342 w 401077"/>
                  <a:gd name="connsiteY248" fmla="*/ 440048 h 533771"/>
                  <a:gd name="connsiteX249" fmla="*/ 107918 w 401077"/>
                  <a:gd name="connsiteY249" fmla="*/ 445338 h 533771"/>
                  <a:gd name="connsiteX250" fmla="*/ 106155 w 401077"/>
                  <a:gd name="connsiteY250" fmla="*/ 442429 h 533771"/>
                  <a:gd name="connsiteX251" fmla="*/ 105538 w 401077"/>
                  <a:gd name="connsiteY251" fmla="*/ 439255 h 533771"/>
                  <a:gd name="connsiteX252" fmla="*/ 107301 w 401077"/>
                  <a:gd name="connsiteY252" fmla="*/ 441018 h 533771"/>
                  <a:gd name="connsiteX253" fmla="*/ 109064 w 401077"/>
                  <a:gd name="connsiteY253" fmla="*/ 444457 h 533771"/>
                  <a:gd name="connsiteX254" fmla="*/ 107918 w 401077"/>
                  <a:gd name="connsiteY254" fmla="*/ 445338 h 533771"/>
                  <a:gd name="connsiteX255" fmla="*/ 112326 w 401077"/>
                  <a:gd name="connsiteY255" fmla="*/ 436257 h 533771"/>
                  <a:gd name="connsiteX256" fmla="*/ 111180 w 401077"/>
                  <a:gd name="connsiteY256" fmla="*/ 435993 h 533771"/>
                  <a:gd name="connsiteX257" fmla="*/ 112326 w 401077"/>
                  <a:gd name="connsiteY257" fmla="*/ 435993 h 533771"/>
                  <a:gd name="connsiteX258" fmla="*/ 112326 w 401077"/>
                  <a:gd name="connsiteY258" fmla="*/ 436257 h 533771"/>
                  <a:gd name="connsiteX259" fmla="*/ 109681 w 401077"/>
                  <a:gd name="connsiteY259" fmla="*/ 436257 h 533771"/>
                  <a:gd name="connsiteX260" fmla="*/ 109329 w 401077"/>
                  <a:gd name="connsiteY260" fmla="*/ 435376 h 533771"/>
                  <a:gd name="connsiteX261" fmla="*/ 109946 w 401077"/>
                  <a:gd name="connsiteY261" fmla="*/ 435111 h 533771"/>
                  <a:gd name="connsiteX262" fmla="*/ 109681 w 401077"/>
                  <a:gd name="connsiteY262" fmla="*/ 436257 h 533771"/>
                  <a:gd name="connsiteX263" fmla="*/ 109681 w 401077"/>
                  <a:gd name="connsiteY263" fmla="*/ 433965 h 533771"/>
                  <a:gd name="connsiteX264" fmla="*/ 109329 w 401077"/>
                  <a:gd name="connsiteY264" fmla="*/ 433700 h 533771"/>
                  <a:gd name="connsiteX265" fmla="*/ 109681 w 401077"/>
                  <a:gd name="connsiteY265" fmla="*/ 433965 h 533771"/>
                  <a:gd name="connsiteX266" fmla="*/ 109152 w 401077"/>
                  <a:gd name="connsiteY266" fmla="*/ 433700 h 533771"/>
                  <a:gd name="connsiteX267" fmla="*/ 108888 w 401077"/>
                  <a:gd name="connsiteY267" fmla="*/ 433436 h 533771"/>
                  <a:gd name="connsiteX268" fmla="*/ 109152 w 401077"/>
                  <a:gd name="connsiteY268" fmla="*/ 433436 h 533771"/>
                  <a:gd name="connsiteX269" fmla="*/ 109152 w 401077"/>
                  <a:gd name="connsiteY269" fmla="*/ 433700 h 533771"/>
                  <a:gd name="connsiteX270" fmla="*/ 113208 w 401077"/>
                  <a:gd name="connsiteY270" fmla="*/ 435111 h 533771"/>
                  <a:gd name="connsiteX271" fmla="*/ 112326 w 401077"/>
                  <a:gd name="connsiteY271" fmla="*/ 434846 h 533771"/>
                  <a:gd name="connsiteX272" fmla="*/ 110828 w 401077"/>
                  <a:gd name="connsiteY272" fmla="*/ 434846 h 533771"/>
                  <a:gd name="connsiteX273" fmla="*/ 109946 w 401077"/>
                  <a:gd name="connsiteY273" fmla="*/ 433083 h 533771"/>
                  <a:gd name="connsiteX274" fmla="*/ 110210 w 401077"/>
                  <a:gd name="connsiteY274" fmla="*/ 431937 h 533771"/>
                  <a:gd name="connsiteX275" fmla="*/ 110210 w 401077"/>
                  <a:gd name="connsiteY275" fmla="*/ 432819 h 533771"/>
                  <a:gd name="connsiteX276" fmla="*/ 111092 w 401077"/>
                  <a:gd name="connsiteY276" fmla="*/ 432554 h 533771"/>
                  <a:gd name="connsiteX277" fmla="*/ 111092 w 401077"/>
                  <a:gd name="connsiteY277" fmla="*/ 433436 h 533771"/>
                  <a:gd name="connsiteX278" fmla="*/ 111974 w 401077"/>
                  <a:gd name="connsiteY278" fmla="*/ 433700 h 533771"/>
                  <a:gd name="connsiteX279" fmla="*/ 113384 w 401077"/>
                  <a:gd name="connsiteY279" fmla="*/ 433965 h 533771"/>
                  <a:gd name="connsiteX280" fmla="*/ 113208 w 401077"/>
                  <a:gd name="connsiteY280" fmla="*/ 435111 h 533771"/>
                  <a:gd name="connsiteX281" fmla="*/ 109152 w 401077"/>
                  <a:gd name="connsiteY281" fmla="*/ 429556 h 533771"/>
                  <a:gd name="connsiteX282" fmla="*/ 108535 w 401077"/>
                  <a:gd name="connsiteY282" fmla="*/ 429556 h 533771"/>
                  <a:gd name="connsiteX283" fmla="*/ 109152 w 401077"/>
                  <a:gd name="connsiteY283" fmla="*/ 429556 h 533771"/>
                  <a:gd name="connsiteX284" fmla="*/ 125111 w 401077"/>
                  <a:gd name="connsiteY284" fmla="*/ 429821 h 533771"/>
                  <a:gd name="connsiteX285" fmla="*/ 125111 w 401077"/>
                  <a:gd name="connsiteY285" fmla="*/ 427529 h 533771"/>
                  <a:gd name="connsiteX286" fmla="*/ 125463 w 401077"/>
                  <a:gd name="connsiteY286" fmla="*/ 429556 h 533771"/>
                  <a:gd name="connsiteX287" fmla="*/ 125111 w 401077"/>
                  <a:gd name="connsiteY287" fmla="*/ 429821 h 533771"/>
                  <a:gd name="connsiteX288" fmla="*/ 113737 w 401077"/>
                  <a:gd name="connsiteY288" fmla="*/ 433965 h 533771"/>
                  <a:gd name="connsiteX289" fmla="*/ 111974 w 401077"/>
                  <a:gd name="connsiteY289" fmla="*/ 432819 h 533771"/>
                  <a:gd name="connsiteX290" fmla="*/ 111357 w 401077"/>
                  <a:gd name="connsiteY290" fmla="*/ 431937 h 533771"/>
                  <a:gd name="connsiteX291" fmla="*/ 111092 w 401077"/>
                  <a:gd name="connsiteY291" fmla="*/ 431055 h 533771"/>
                  <a:gd name="connsiteX292" fmla="*/ 110475 w 401077"/>
                  <a:gd name="connsiteY292" fmla="*/ 431320 h 533771"/>
                  <a:gd name="connsiteX293" fmla="*/ 108447 w 401077"/>
                  <a:gd name="connsiteY293" fmla="*/ 430703 h 533771"/>
                  <a:gd name="connsiteX294" fmla="*/ 108712 w 401077"/>
                  <a:gd name="connsiteY294" fmla="*/ 430085 h 533771"/>
                  <a:gd name="connsiteX295" fmla="*/ 110122 w 401077"/>
                  <a:gd name="connsiteY295" fmla="*/ 430350 h 533771"/>
                  <a:gd name="connsiteX296" fmla="*/ 110387 w 401077"/>
                  <a:gd name="connsiteY296" fmla="*/ 429468 h 533771"/>
                  <a:gd name="connsiteX297" fmla="*/ 108888 w 401077"/>
                  <a:gd name="connsiteY297" fmla="*/ 429204 h 533771"/>
                  <a:gd name="connsiteX298" fmla="*/ 110651 w 401077"/>
                  <a:gd name="connsiteY298" fmla="*/ 427705 h 533771"/>
                  <a:gd name="connsiteX299" fmla="*/ 112415 w 401077"/>
                  <a:gd name="connsiteY299" fmla="*/ 427440 h 533771"/>
                  <a:gd name="connsiteX300" fmla="*/ 113297 w 401077"/>
                  <a:gd name="connsiteY300" fmla="*/ 426559 h 533771"/>
                  <a:gd name="connsiteX301" fmla="*/ 114178 w 401077"/>
                  <a:gd name="connsiteY301" fmla="*/ 426823 h 533771"/>
                  <a:gd name="connsiteX302" fmla="*/ 114795 w 401077"/>
                  <a:gd name="connsiteY302" fmla="*/ 425060 h 533771"/>
                  <a:gd name="connsiteX303" fmla="*/ 115942 w 401077"/>
                  <a:gd name="connsiteY303" fmla="*/ 425677 h 533771"/>
                  <a:gd name="connsiteX304" fmla="*/ 117088 w 401077"/>
                  <a:gd name="connsiteY304" fmla="*/ 425941 h 533771"/>
                  <a:gd name="connsiteX305" fmla="*/ 117352 w 401077"/>
                  <a:gd name="connsiteY305" fmla="*/ 424795 h 533771"/>
                  <a:gd name="connsiteX306" fmla="*/ 117352 w 401077"/>
                  <a:gd name="connsiteY306" fmla="*/ 423914 h 533771"/>
                  <a:gd name="connsiteX307" fmla="*/ 117352 w 401077"/>
                  <a:gd name="connsiteY307" fmla="*/ 426559 h 533771"/>
                  <a:gd name="connsiteX308" fmla="*/ 114090 w 401077"/>
                  <a:gd name="connsiteY308" fmla="*/ 429204 h 533771"/>
                  <a:gd name="connsiteX309" fmla="*/ 113208 w 401077"/>
                  <a:gd name="connsiteY309" fmla="*/ 430350 h 533771"/>
                  <a:gd name="connsiteX310" fmla="*/ 114090 w 401077"/>
                  <a:gd name="connsiteY310" fmla="*/ 431496 h 533771"/>
                  <a:gd name="connsiteX311" fmla="*/ 112944 w 401077"/>
                  <a:gd name="connsiteY311" fmla="*/ 432378 h 533771"/>
                  <a:gd name="connsiteX312" fmla="*/ 113561 w 401077"/>
                  <a:gd name="connsiteY312" fmla="*/ 433524 h 533771"/>
                  <a:gd name="connsiteX313" fmla="*/ 113561 w 401077"/>
                  <a:gd name="connsiteY313" fmla="*/ 433965 h 533771"/>
                  <a:gd name="connsiteX314" fmla="*/ 163640 w 401077"/>
                  <a:gd name="connsiteY314" fmla="*/ 85082 h 533771"/>
                  <a:gd name="connsiteX315" fmla="*/ 162494 w 401077"/>
                  <a:gd name="connsiteY315" fmla="*/ 84201 h 533771"/>
                  <a:gd name="connsiteX316" fmla="*/ 161613 w 401077"/>
                  <a:gd name="connsiteY316" fmla="*/ 82702 h 533771"/>
                  <a:gd name="connsiteX317" fmla="*/ 160996 w 401077"/>
                  <a:gd name="connsiteY317" fmla="*/ 82085 h 533771"/>
                  <a:gd name="connsiteX318" fmla="*/ 160731 w 401077"/>
                  <a:gd name="connsiteY318" fmla="*/ 80939 h 533771"/>
                  <a:gd name="connsiteX319" fmla="*/ 161348 w 401077"/>
                  <a:gd name="connsiteY319" fmla="*/ 80939 h 533771"/>
                  <a:gd name="connsiteX320" fmla="*/ 162230 w 401077"/>
                  <a:gd name="connsiteY320" fmla="*/ 80321 h 533771"/>
                  <a:gd name="connsiteX321" fmla="*/ 162847 w 401077"/>
                  <a:gd name="connsiteY321" fmla="*/ 80057 h 533771"/>
                  <a:gd name="connsiteX322" fmla="*/ 163112 w 401077"/>
                  <a:gd name="connsiteY322" fmla="*/ 80939 h 533771"/>
                  <a:gd name="connsiteX323" fmla="*/ 163112 w 401077"/>
                  <a:gd name="connsiteY323" fmla="*/ 81820 h 533771"/>
                  <a:gd name="connsiteX324" fmla="*/ 163729 w 401077"/>
                  <a:gd name="connsiteY324" fmla="*/ 82702 h 533771"/>
                  <a:gd name="connsiteX325" fmla="*/ 163994 w 401077"/>
                  <a:gd name="connsiteY325" fmla="*/ 84465 h 533771"/>
                  <a:gd name="connsiteX326" fmla="*/ 163640 w 401077"/>
                  <a:gd name="connsiteY326" fmla="*/ 85082 h 533771"/>
                  <a:gd name="connsiteX327" fmla="*/ 258157 w 401077"/>
                  <a:gd name="connsiteY327" fmla="*/ 62688 h 533771"/>
                  <a:gd name="connsiteX328" fmla="*/ 258157 w 401077"/>
                  <a:gd name="connsiteY328" fmla="*/ 62423 h 533771"/>
                  <a:gd name="connsiteX329" fmla="*/ 258422 w 401077"/>
                  <a:gd name="connsiteY329" fmla="*/ 62688 h 533771"/>
                  <a:gd name="connsiteX330" fmla="*/ 258157 w 401077"/>
                  <a:gd name="connsiteY330" fmla="*/ 62688 h 533771"/>
                  <a:gd name="connsiteX331" fmla="*/ 261684 w 401077"/>
                  <a:gd name="connsiteY331" fmla="*/ 60307 h 533771"/>
                  <a:gd name="connsiteX332" fmla="*/ 261155 w 401077"/>
                  <a:gd name="connsiteY332" fmla="*/ 60043 h 533771"/>
                  <a:gd name="connsiteX333" fmla="*/ 261684 w 401077"/>
                  <a:gd name="connsiteY333" fmla="*/ 60307 h 533771"/>
                  <a:gd name="connsiteX334" fmla="*/ 268649 w 401077"/>
                  <a:gd name="connsiteY334" fmla="*/ 56516 h 533771"/>
                  <a:gd name="connsiteX335" fmla="*/ 268385 w 401077"/>
                  <a:gd name="connsiteY335" fmla="*/ 56251 h 533771"/>
                  <a:gd name="connsiteX336" fmla="*/ 268914 w 401077"/>
                  <a:gd name="connsiteY336" fmla="*/ 56251 h 533771"/>
                  <a:gd name="connsiteX337" fmla="*/ 268649 w 401077"/>
                  <a:gd name="connsiteY337" fmla="*/ 56516 h 533771"/>
                  <a:gd name="connsiteX338" fmla="*/ 268649 w 401077"/>
                  <a:gd name="connsiteY338" fmla="*/ 55987 h 533771"/>
                  <a:gd name="connsiteX339" fmla="*/ 268385 w 401077"/>
                  <a:gd name="connsiteY339" fmla="*/ 55722 h 533771"/>
                  <a:gd name="connsiteX340" fmla="*/ 268649 w 401077"/>
                  <a:gd name="connsiteY340" fmla="*/ 55987 h 533771"/>
                  <a:gd name="connsiteX341" fmla="*/ 264858 w 401077"/>
                  <a:gd name="connsiteY341" fmla="*/ 54753 h 533771"/>
                  <a:gd name="connsiteX342" fmla="*/ 263712 w 401077"/>
                  <a:gd name="connsiteY342" fmla="*/ 54400 h 533771"/>
                  <a:gd name="connsiteX343" fmla="*/ 263095 w 401077"/>
                  <a:gd name="connsiteY343" fmla="*/ 54135 h 533771"/>
                  <a:gd name="connsiteX344" fmla="*/ 264505 w 401077"/>
                  <a:gd name="connsiteY344" fmla="*/ 54400 h 533771"/>
                  <a:gd name="connsiteX345" fmla="*/ 264505 w 401077"/>
                  <a:gd name="connsiteY345" fmla="*/ 54753 h 533771"/>
                  <a:gd name="connsiteX346" fmla="*/ 264858 w 401077"/>
                  <a:gd name="connsiteY346" fmla="*/ 54753 h 533771"/>
                  <a:gd name="connsiteX347" fmla="*/ 255248 w 401077"/>
                  <a:gd name="connsiteY347" fmla="*/ 47523 h 533771"/>
                  <a:gd name="connsiteX348" fmla="*/ 254983 w 401077"/>
                  <a:gd name="connsiteY348" fmla="*/ 47258 h 533771"/>
                  <a:gd name="connsiteX349" fmla="*/ 255512 w 401077"/>
                  <a:gd name="connsiteY349" fmla="*/ 47258 h 533771"/>
                  <a:gd name="connsiteX350" fmla="*/ 255248 w 401077"/>
                  <a:gd name="connsiteY350" fmla="*/ 47523 h 533771"/>
                  <a:gd name="connsiteX351" fmla="*/ 162494 w 401077"/>
                  <a:gd name="connsiteY351" fmla="*/ 26451 h 533771"/>
                  <a:gd name="connsiteX352" fmla="*/ 162494 w 401077"/>
                  <a:gd name="connsiteY352" fmla="*/ 25922 h 533771"/>
                  <a:gd name="connsiteX353" fmla="*/ 162759 w 401077"/>
                  <a:gd name="connsiteY353" fmla="*/ 26186 h 533771"/>
                  <a:gd name="connsiteX354" fmla="*/ 162494 w 401077"/>
                  <a:gd name="connsiteY354" fmla="*/ 26451 h 533771"/>
                  <a:gd name="connsiteX355" fmla="*/ 164523 w 401077"/>
                  <a:gd name="connsiteY355" fmla="*/ 26186 h 533771"/>
                  <a:gd name="connsiteX356" fmla="*/ 163640 w 401077"/>
                  <a:gd name="connsiteY356" fmla="*/ 25922 h 533771"/>
                  <a:gd name="connsiteX357" fmla="*/ 164523 w 401077"/>
                  <a:gd name="connsiteY357" fmla="*/ 25922 h 533771"/>
                  <a:gd name="connsiteX358" fmla="*/ 164523 w 401077"/>
                  <a:gd name="connsiteY358" fmla="*/ 26186 h 533771"/>
                  <a:gd name="connsiteX359" fmla="*/ 149357 w 401077"/>
                  <a:gd name="connsiteY359" fmla="*/ 9610 h 533771"/>
                  <a:gd name="connsiteX360" fmla="*/ 148211 w 401077"/>
                  <a:gd name="connsiteY360" fmla="*/ 8993 h 533771"/>
                  <a:gd name="connsiteX361" fmla="*/ 147065 w 401077"/>
                  <a:gd name="connsiteY361" fmla="*/ 8111 h 533771"/>
                  <a:gd name="connsiteX362" fmla="*/ 146183 w 401077"/>
                  <a:gd name="connsiteY362" fmla="*/ 7494 h 533771"/>
                  <a:gd name="connsiteX363" fmla="*/ 145919 w 401077"/>
                  <a:gd name="connsiteY363" fmla="*/ 7230 h 533771"/>
                  <a:gd name="connsiteX364" fmla="*/ 145654 w 401077"/>
                  <a:gd name="connsiteY364" fmla="*/ 6613 h 533771"/>
                  <a:gd name="connsiteX365" fmla="*/ 145654 w 401077"/>
                  <a:gd name="connsiteY365" fmla="*/ 5995 h 533771"/>
                  <a:gd name="connsiteX366" fmla="*/ 145919 w 401077"/>
                  <a:gd name="connsiteY366" fmla="*/ 5731 h 533771"/>
                  <a:gd name="connsiteX367" fmla="*/ 146183 w 401077"/>
                  <a:gd name="connsiteY367" fmla="*/ 5466 h 533771"/>
                  <a:gd name="connsiteX368" fmla="*/ 147065 w 401077"/>
                  <a:gd name="connsiteY368" fmla="*/ 6084 h 533771"/>
                  <a:gd name="connsiteX369" fmla="*/ 147947 w 401077"/>
                  <a:gd name="connsiteY369" fmla="*/ 6084 h 533771"/>
                  <a:gd name="connsiteX370" fmla="*/ 149093 w 401077"/>
                  <a:gd name="connsiteY370" fmla="*/ 6701 h 533771"/>
                  <a:gd name="connsiteX371" fmla="*/ 150592 w 401077"/>
                  <a:gd name="connsiteY371" fmla="*/ 8376 h 533771"/>
                  <a:gd name="connsiteX372" fmla="*/ 150327 w 401077"/>
                  <a:gd name="connsiteY372" fmla="*/ 8729 h 533771"/>
                  <a:gd name="connsiteX373" fmla="*/ 149975 w 401077"/>
                  <a:gd name="connsiteY373" fmla="*/ 9346 h 533771"/>
                  <a:gd name="connsiteX374" fmla="*/ 149357 w 401077"/>
                  <a:gd name="connsiteY374" fmla="*/ 9610 h 533771"/>
                  <a:gd name="connsiteX375" fmla="*/ 142656 w 401077"/>
                  <a:gd name="connsiteY375" fmla="*/ 5202 h 533771"/>
                  <a:gd name="connsiteX376" fmla="*/ 142127 w 401077"/>
                  <a:gd name="connsiteY376" fmla="*/ 4937 h 533771"/>
                  <a:gd name="connsiteX377" fmla="*/ 141863 w 401077"/>
                  <a:gd name="connsiteY377" fmla="*/ 4320 h 533771"/>
                  <a:gd name="connsiteX378" fmla="*/ 140717 w 401077"/>
                  <a:gd name="connsiteY378" fmla="*/ 3174 h 533771"/>
                  <a:gd name="connsiteX379" fmla="*/ 139571 w 401077"/>
                  <a:gd name="connsiteY379" fmla="*/ 2028 h 533771"/>
                  <a:gd name="connsiteX380" fmla="*/ 139218 w 401077"/>
                  <a:gd name="connsiteY380" fmla="*/ 1763 h 533771"/>
                  <a:gd name="connsiteX381" fmla="*/ 138953 w 401077"/>
                  <a:gd name="connsiteY381" fmla="*/ 1499 h 533771"/>
                  <a:gd name="connsiteX382" fmla="*/ 138336 w 401077"/>
                  <a:gd name="connsiteY382" fmla="*/ 882 h 533771"/>
                  <a:gd name="connsiteX383" fmla="*/ 138072 w 401077"/>
                  <a:gd name="connsiteY383" fmla="*/ 617 h 533771"/>
                  <a:gd name="connsiteX384" fmla="*/ 139218 w 401077"/>
                  <a:gd name="connsiteY384" fmla="*/ 1146 h 533771"/>
                  <a:gd name="connsiteX385" fmla="*/ 139747 w 401077"/>
                  <a:gd name="connsiteY385" fmla="*/ 1146 h 533771"/>
                  <a:gd name="connsiteX386" fmla="*/ 139482 w 401077"/>
                  <a:gd name="connsiteY386" fmla="*/ 617 h 533771"/>
                  <a:gd name="connsiteX387" fmla="*/ 140629 w 401077"/>
                  <a:gd name="connsiteY387" fmla="*/ 1763 h 533771"/>
                  <a:gd name="connsiteX388" fmla="*/ 142127 w 401077"/>
                  <a:gd name="connsiteY388" fmla="*/ 3791 h 533771"/>
                  <a:gd name="connsiteX389" fmla="*/ 142656 w 401077"/>
                  <a:gd name="connsiteY389" fmla="*/ 5202 h 533771"/>
                  <a:gd name="connsiteX390" fmla="*/ 137719 w 401077"/>
                  <a:gd name="connsiteY390" fmla="*/ 264 h 533771"/>
                  <a:gd name="connsiteX391" fmla="*/ 137366 w 401077"/>
                  <a:gd name="connsiteY391" fmla="*/ 0 h 533771"/>
                  <a:gd name="connsiteX392" fmla="*/ 137984 w 401077"/>
                  <a:gd name="connsiteY392" fmla="*/ 0 h 533771"/>
                  <a:gd name="connsiteX393" fmla="*/ 137719 w 401077"/>
                  <a:gd name="connsiteY393" fmla="*/ 264 h 533771"/>
                  <a:gd name="connsiteX394" fmla="*/ 181451 w 401077"/>
                  <a:gd name="connsiteY394" fmla="*/ 54488 h 533771"/>
                  <a:gd name="connsiteX395" fmla="*/ 179070 w 401077"/>
                  <a:gd name="connsiteY395" fmla="*/ 52725 h 533771"/>
                  <a:gd name="connsiteX396" fmla="*/ 178541 w 401077"/>
                  <a:gd name="connsiteY396" fmla="*/ 52108 h 533771"/>
                  <a:gd name="connsiteX397" fmla="*/ 177924 w 401077"/>
                  <a:gd name="connsiteY397" fmla="*/ 51579 h 533771"/>
                  <a:gd name="connsiteX398" fmla="*/ 176777 w 401077"/>
                  <a:gd name="connsiteY398" fmla="*/ 49551 h 533771"/>
                  <a:gd name="connsiteX399" fmla="*/ 175367 w 401077"/>
                  <a:gd name="connsiteY399" fmla="*/ 48052 h 533771"/>
                  <a:gd name="connsiteX400" fmla="*/ 174485 w 401077"/>
                  <a:gd name="connsiteY400" fmla="*/ 46288 h 533771"/>
                  <a:gd name="connsiteX401" fmla="*/ 175367 w 401077"/>
                  <a:gd name="connsiteY401" fmla="*/ 44525 h 533771"/>
                  <a:gd name="connsiteX402" fmla="*/ 176513 w 401077"/>
                  <a:gd name="connsiteY402" fmla="*/ 43908 h 533771"/>
                  <a:gd name="connsiteX403" fmla="*/ 176249 w 401077"/>
                  <a:gd name="connsiteY403" fmla="*/ 40998 h 533771"/>
                  <a:gd name="connsiteX404" fmla="*/ 173604 w 401077"/>
                  <a:gd name="connsiteY404" fmla="*/ 40381 h 533771"/>
                  <a:gd name="connsiteX405" fmla="*/ 172457 w 401077"/>
                  <a:gd name="connsiteY405" fmla="*/ 39235 h 533771"/>
                  <a:gd name="connsiteX406" fmla="*/ 171840 w 401077"/>
                  <a:gd name="connsiteY406" fmla="*/ 37207 h 533771"/>
                  <a:gd name="connsiteX407" fmla="*/ 168931 w 401077"/>
                  <a:gd name="connsiteY407" fmla="*/ 35444 h 533771"/>
                  <a:gd name="connsiteX408" fmla="*/ 169195 w 401077"/>
                  <a:gd name="connsiteY408" fmla="*/ 31917 h 533771"/>
                  <a:gd name="connsiteX409" fmla="*/ 166021 w 401077"/>
                  <a:gd name="connsiteY409" fmla="*/ 29272 h 533771"/>
                  <a:gd name="connsiteX410" fmla="*/ 165756 w 401077"/>
                  <a:gd name="connsiteY410" fmla="*/ 25481 h 533771"/>
                  <a:gd name="connsiteX411" fmla="*/ 163729 w 401077"/>
                  <a:gd name="connsiteY411" fmla="*/ 23717 h 533771"/>
                  <a:gd name="connsiteX412" fmla="*/ 163464 w 401077"/>
                  <a:gd name="connsiteY412" fmla="*/ 21425 h 533771"/>
                  <a:gd name="connsiteX413" fmla="*/ 161084 w 401077"/>
                  <a:gd name="connsiteY413" fmla="*/ 19662 h 533771"/>
                  <a:gd name="connsiteX414" fmla="*/ 159320 w 401077"/>
                  <a:gd name="connsiteY414" fmla="*/ 17016 h 533771"/>
                  <a:gd name="connsiteX415" fmla="*/ 157293 w 401077"/>
                  <a:gd name="connsiteY415" fmla="*/ 15253 h 533771"/>
                  <a:gd name="connsiteX416" fmla="*/ 157557 w 401077"/>
                  <a:gd name="connsiteY416" fmla="*/ 14371 h 533771"/>
                  <a:gd name="connsiteX417" fmla="*/ 154030 w 401077"/>
                  <a:gd name="connsiteY417" fmla="*/ 13754 h 533771"/>
                  <a:gd name="connsiteX418" fmla="*/ 152619 w 401077"/>
                  <a:gd name="connsiteY418" fmla="*/ 12873 h 533771"/>
                  <a:gd name="connsiteX419" fmla="*/ 147682 w 401077"/>
                  <a:gd name="connsiteY419" fmla="*/ 13137 h 533771"/>
                  <a:gd name="connsiteX420" fmla="*/ 146183 w 401077"/>
                  <a:gd name="connsiteY420" fmla="*/ 12608 h 533771"/>
                  <a:gd name="connsiteX421" fmla="*/ 149710 w 401077"/>
                  <a:gd name="connsiteY421" fmla="*/ 12344 h 533771"/>
                  <a:gd name="connsiteX422" fmla="*/ 152002 w 401077"/>
                  <a:gd name="connsiteY422" fmla="*/ 10845 h 533771"/>
                  <a:gd name="connsiteX423" fmla="*/ 152884 w 401077"/>
                  <a:gd name="connsiteY423" fmla="*/ 9699 h 533771"/>
                  <a:gd name="connsiteX424" fmla="*/ 152619 w 401077"/>
                  <a:gd name="connsiteY424" fmla="*/ 7671 h 533771"/>
                  <a:gd name="connsiteX425" fmla="*/ 151738 w 401077"/>
                  <a:gd name="connsiteY425" fmla="*/ 6525 h 533771"/>
                  <a:gd name="connsiteX426" fmla="*/ 151738 w 401077"/>
                  <a:gd name="connsiteY426" fmla="*/ 5643 h 533771"/>
                  <a:gd name="connsiteX427" fmla="*/ 152619 w 401077"/>
                  <a:gd name="connsiteY427" fmla="*/ 6260 h 533771"/>
                  <a:gd name="connsiteX428" fmla="*/ 153766 w 401077"/>
                  <a:gd name="connsiteY428" fmla="*/ 6877 h 533771"/>
                  <a:gd name="connsiteX429" fmla="*/ 154030 w 401077"/>
                  <a:gd name="connsiteY429" fmla="*/ 6613 h 533771"/>
                  <a:gd name="connsiteX430" fmla="*/ 155177 w 401077"/>
                  <a:gd name="connsiteY430" fmla="*/ 6613 h 533771"/>
                  <a:gd name="connsiteX431" fmla="*/ 155529 w 401077"/>
                  <a:gd name="connsiteY431" fmla="*/ 5114 h 533771"/>
                  <a:gd name="connsiteX432" fmla="*/ 155177 w 401077"/>
                  <a:gd name="connsiteY432" fmla="*/ 3968 h 533771"/>
                  <a:gd name="connsiteX433" fmla="*/ 156322 w 401077"/>
                  <a:gd name="connsiteY433" fmla="*/ 3968 h 533771"/>
                  <a:gd name="connsiteX434" fmla="*/ 157822 w 401077"/>
                  <a:gd name="connsiteY434" fmla="*/ 5114 h 533771"/>
                  <a:gd name="connsiteX435" fmla="*/ 159320 w 401077"/>
                  <a:gd name="connsiteY435" fmla="*/ 5995 h 533771"/>
                  <a:gd name="connsiteX436" fmla="*/ 160202 w 401077"/>
                  <a:gd name="connsiteY436" fmla="*/ 6877 h 533771"/>
                  <a:gd name="connsiteX437" fmla="*/ 162847 w 401077"/>
                  <a:gd name="connsiteY437" fmla="*/ 7759 h 533771"/>
                  <a:gd name="connsiteX438" fmla="*/ 166374 w 401077"/>
                  <a:gd name="connsiteY438" fmla="*/ 10139 h 533771"/>
                  <a:gd name="connsiteX439" fmla="*/ 169019 w 401077"/>
                  <a:gd name="connsiteY439" fmla="*/ 11638 h 533771"/>
                  <a:gd name="connsiteX440" fmla="*/ 172193 w 401077"/>
                  <a:gd name="connsiteY440" fmla="*/ 13666 h 533771"/>
                  <a:gd name="connsiteX441" fmla="*/ 174838 w 401077"/>
                  <a:gd name="connsiteY441" fmla="*/ 14812 h 533771"/>
                  <a:gd name="connsiteX442" fmla="*/ 175102 w 401077"/>
                  <a:gd name="connsiteY442" fmla="*/ 15077 h 533771"/>
                  <a:gd name="connsiteX443" fmla="*/ 175631 w 401077"/>
                  <a:gd name="connsiteY443" fmla="*/ 15341 h 533771"/>
                  <a:gd name="connsiteX444" fmla="*/ 176777 w 401077"/>
                  <a:gd name="connsiteY444" fmla="*/ 16223 h 533771"/>
                  <a:gd name="connsiteX445" fmla="*/ 177660 w 401077"/>
                  <a:gd name="connsiteY445" fmla="*/ 17105 h 533771"/>
                  <a:gd name="connsiteX446" fmla="*/ 178806 w 401077"/>
                  <a:gd name="connsiteY446" fmla="*/ 17634 h 533771"/>
                  <a:gd name="connsiteX447" fmla="*/ 179070 w 401077"/>
                  <a:gd name="connsiteY447" fmla="*/ 18163 h 533771"/>
                  <a:gd name="connsiteX448" fmla="*/ 181098 w 401077"/>
                  <a:gd name="connsiteY448" fmla="*/ 19309 h 533771"/>
                  <a:gd name="connsiteX449" fmla="*/ 182597 w 401077"/>
                  <a:gd name="connsiteY449" fmla="*/ 20455 h 533771"/>
                  <a:gd name="connsiteX450" fmla="*/ 183743 w 401077"/>
                  <a:gd name="connsiteY450" fmla="*/ 20984 h 533771"/>
                  <a:gd name="connsiteX451" fmla="*/ 186388 w 401077"/>
                  <a:gd name="connsiteY451" fmla="*/ 22747 h 533771"/>
                  <a:gd name="connsiteX452" fmla="*/ 188152 w 401077"/>
                  <a:gd name="connsiteY452" fmla="*/ 23629 h 533771"/>
                  <a:gd name="connsiteX453" fmla="*/ 189914 w 401077"/>
                  <a:gd name="connsiteY453" fmla="*/ 24511 h 533771"/>
                  <a:gd name="connsiteX454" fmla="*/ 191061 w 401077"/>
                  <a:gd name="connsiteY454" fmla="*/ 25128 h 533771"/>
                  <a:gd name="connsiteX455" fmla="*/ 191590 w 401077"/>
                  <a:gd name="connsiteY455" fmla="*/ 25745 h 533771"/>
                  <a:gd name="connsiteX456" fmla="*/ 192472 w 401077"/>
                  <a:gd name="connsiteY456" fmla="*/ 26010 h 533771"/>
                  <a:gd name="connsiteX457" fmla="*/ 194764 w 401077"/>
                  <a:gd name="connsiteY457" fmla="*/ 27508 h 533771"/>
                  <a:gd name="connsiteX458" fmla="*/ 195293 w 401077"/>
                  <a:gd name="connsiteY458" fmla="*/ 27508 h 533771"/>
                  <a:gd name="connsiteX459" fmla="*/ 195910 w 401077"/>
                  <a:gd name="connsiteY459" fmla="*/ 28037 h 533771"/>
                  <a:gd name="connsiteX460" fmla="*/ 199966 w 401077"/>
                  <a:gd name="connsiteY460" fmla="*/ 29801 h 533771"/>
                  <a:gd name="connsiteX461" fmla="*/ 202258 w 401077"/>
                  <a:gd name="connsiteY461" fmla="*/ 30683 h 533771"/>
                  <a:gd name="connsiteX462" fmla="*/ 204286 w 401077"/>
                  <a:gd name="connsiteY462" fmla="*/ 31829 h 533771"/>
                  <a:gd name="connsiteX463" fmla="*/ 205168 w 401077"/>
                  <a:gd name="connsiteY463" fmla="*/ 32446 h 533771"/>
                  <a:gd name="connsiteX464" fmla="*/ 209223 w 401077"/>
                  <a:gd name="connsiteY464" fmla="*/ 34209 h 533771"/>
                  <a:gd name="connsiteX465" fmla="*/ 210105 w 401077"/>
                  <a:gd name="connsiteY465" fmla="*/ 34209 h 533771"/>
                  <a:gd name="connsiteX466" fmla="*/ 212486 w 401077"/>
                  <a:gd name="connsiteY466" fmla="*/ 35091 h 533771"/>
                  <a:gd name="connsiteX467" fmla="*/ 213985 w 401077"/>
                  <a:gd name="connsiteY467" fmla="*/ 39764 h 533771"/>
                  <a:gd name="connsiteX468" fmla="*/ 216365 w 401077"/>
                  <a:gd name="connsiteY468" fmla="*/ 35973 h 533771"/>
                  <a:gd name="connsiteX469" fmla="*/ 220157 w 401077"/>
                  <a:gd name="connsiteY469" fmla="*/ 40028 h 533771"/>
                  <a:gd name="connsiteX470" fmla="*/ 222184 w 401077"/>
                  <a:gd name="connsiteY470" fmla="*/ 37119 h 533771"/>
                  <a:gd name="connsiteX471" fmla="*/ 225094 w 401077"/>
                  <a:gd name="connsiteY471" fmla="*/ 37648 h 533771"/>
                  <a:gd name="connsiteX472" fmla="*/ 225976 w 401077"/>
                  <a:gd name="connsiteY472" fmla="*/ 37383 h 533771"/>
                  <a:gd name="connsiteX473" fmla="*/ 226857 w 401077"/>
                  <a:gd name="connsiteY473" fmla="*/ 38530 h 533771"/>
                  <a:gd name="connsiteX474" fmla="*/ 227474 w 401077"/>
                  <a:gd name="connsiteY474" fmla="*/ 39059 h 533771"/>
                  <a:gd name="connsiteX475" fmla="*/ 228092 w 401077"/>
                  <a:gd name="connsiteY475" fmla="*/ 39323 h 533771"/>
                  <a:gd name="connsiteX476" fmla="*/ 229238 w 401077"/>
                  <a:gd name="connsiteY476" fmla="*/ 40205 h 533771"/>
                  <a:gd name="connsiteX477" fmla="*/ 230384 w 401077"/>
                  <a:gd name="connsiteY477" fmla="*/ 43732 h 533771"/>
                  <a:gd name="connsiteX478" fmla="*/ 234175 w 401077"/>
                  <a:gd name="connsiteY478" fmla="*/ 41704 h 533771"/>
                  <a:gd name="connsiteX479" fmla="*/ 234440 w 401077"/>
                  <a:gd name="connsiteY479" fmla="*/ 45230 h 533771"/>
                  <a:gd name="connsiteX480" fmla="*/ 237966 w 401077"/>
                  <a:gd name="connsiteY480" fmla="*/ 42056 h 533771"/>
                  <a:gd name="connsiteX481" fmla="*/ 239995 w 401077"/>
                  <a:gd name="connsiteY481" fmla="*/ 41792 h 533771"/>
                  <a:gd name="connsiteX482" fmla="*/ 240524 w 401077"/>
                  <a:gd name="connsiteY482" fmla="*/ 41527 h 533771"/>
                  <a:gd name="connsiteX483" fmla="*/ 240876 w 401077"/>
                  <a:gd name="connsiteY483" fmla="*/ 40646 h 533771"/>
                  <a:gd name="connsiteX484" fmla="*/ 241141 w 401077"/>
                  <a:gd name="connsiteY484" fmla="*/ 39499 h 533771"/>
                  <a:gd name="connsiteX485" fmla="*/ 241141 w 401077"/>
                  <a:gd name="connsiteY485" fmla="*/ 39235 h 533771"/>
                  <a:gd name="connsiteX486" fmla="*/ 241405 w 401077"/>
                  <a:gd name="connsiteY486" fmla="*/ 38970 h 533771"/>
                  <a:gd name="connsiteX487" fmla="*/ 241405 w 401077"/>
                  <a:gd name="connsiteY487" fmla="*/ 38706 h 533771"/>
                  <a:gd name="connsiteX488" fmla="*/ 241670 w 401077"/>
                  <a:gd name="connsiteY488" fmla="*/ 38441 h 533771"/>
                  <a:gd name="connsiteX489" fmla="*/ 241670 w 401077"/>
                  <a:gd name="connsiteY489" fmla="*/ 37824 h 533771"/>
                  <a:gd name="connsiteX490" fmla="*/ 242287 w 401077"/>
                  <a:gd name="connsiteY490" fmla="*/ 37560 h 533771"/>
                  <a:gd name="connsiteX491" fmla="*/ 242640 w 401077"/>
                  <a:gd name="connsiteY491" fmla="*/ 37031 h 533771"/>
                  <a:gd name="connsiteX492" fmla="*/ 243169 w 401077"/>
                  <a:gd name="connsiteY492" fmla="*/ 36149 h 533771"/>
                  <a:gd name="connsiteX493" fmla="*/ 243521 w 401077"/>
                  <a:gd name="connsiteY493" fmla="*/ 35532 h 533771"/>
                  <a:gd name="connsiteX494" fmla="*/ 243521 w 401077"/>
                  <a:gd name="connsiteY494" fmla="*/ 34033 h 533771"/>
                  <a:gd name="connsiteX495" fmla="*/ 243786 w 401077"/>
                  <a:gd name="connsiteY495" fmla="*/ 33151 h 533771"/>
                  <a:gd name="connsiteX496" fmla="*/ 243786 w 401077"/>
                  <a:gd name="connsiteY496" fmla="*/ 32887 h 533771"/>
                  <a:gd name="connsiteX497" fmla="*/ 243786 w 401077"/>
                  <a:gd name="connsiteY497" fmla="*/ 32005 h 533771"/>
                  <a:gd name="connsiteX498" fmla="*/ 244403 w 401077"/>
                  <a:gd name="connsiteY498" fmla="*/ 32622 h 533771"/>
                  <a:gd name="connsiteX499" fmla="*/ 244667 w 401077"/>
                  <a:gd name="connsiteY499" fmla="*/ 32887 h 533771"/>
                  <a:gd name="connsiteX500" fmla="*/ 245284 w 401077"/>
                  <a:gd name="connsiteY500" fmla="*/ 33504 h 533771"/>
                  <a:gd name="connsiteX501" fmla="*/ 246166 w 401077"/>
                  <a:gd name="connsiteY501" fmla="*/ 34386 h 533771"/>
                  <a:gd name="connsiteX502" fmla="*/ 246431 w 401077"/>
                  <a:gd name="connsiteY502" fmla="*/ 35532 h 533771"/>
                  <a:gd name="connsiteX503" fmla="*/ 246431 w 401077"/>
                  <a:gd name="connsiteY503" fmla="*/ 36149 h 533771"/>
                  <a:gd name="connsiteX504" fmla="*/ 246431 w 401077"/>
                  <a:gd name="connsiteY504" fmla="*/ 36766 h 533771"/>
                  <a:gd name="connsiteX505" fmla="*/ 246431 w 401077"/>
                  <a:gd name="connsiteY505" fmla="*/ 38177 h 533771"/>
                  <a:gd name="connsiteX506" fmla="*/ 247048 w 401077"/>
                  <a:gd name="connsiteY506" fmla="*/ 39323 h 533771"/>
                  <a:gd name="connsiteX507" fmla="*/ 246695 w 401077"/>
                  <a:gd name="connsiteY507" fmla="*/ 40205 h 533771"/>
                  <a:gd name="connsiteX508" fmla="*/ 246695 w 401077"/>
                  <a:gd name="connsiteY508" fmla="*/ 41086 h 533771"/>
                  <a:gd name="connsiteX509" fmla="*/ 246695 w 401077"/>
                  <a:gd name="connsiteY509" fmla="*/ 41615 h 533771"/>
                  <a:gd name="connsiteX510" fmla="*/ 247048 w 401077"/>
                  <a:gd name="connsiteY510" fmla="*/ 43114 h 533771"/>
                  <a:gd name="connsiteX511" fmla="*/ 247577 w 401077"/>
                  <a:gd name="connsiteY511" fmla="*/ 43732 h 533771"/>
                  <a:gd name="connsiteX512" fmla="*/ 247929 w 401077"/>
                  <a:gd name="connsiteY512" fmla="*/ 45230 h 533771"/>
                  <a:gd name="connsiteX513" fmla="*/ 248194 w 401077"/>
                  <a:gd name="connsiteY513" fmla="*/ 45848 h 533771"/>
                  <a:gd name="connsiteX514" fmla="*/ 250222 w 401077"/>
                  <a:gd name="connsiteY514" fmla="*/ 47611 h 533771"/>
                  <a:gd name="connsiteX515" fmla="*/ 251985 w 401077"/>
                  <a:gd name="connsiteY515" fmla="*/ 49022 h 533771"/>
                  <a:gd name="connsiteX516" fmla="*/ 254895 w 401077"/>
                  <a:gd name="connsiteY516" fmla="*/ 49639 h 533771"/>
                  <a:gd name="connsiteX517" fmla="*/ 257187 w 401077"/>
                  <a:gd name="connsiteY517" fmla="*/ 50520 h 533771"/>
                  <a:gd name="connsiteX518" fmla="*/ 257804 w 401077"/>
                  <a:gd name="connsiteY518" fmla="*/ 51138 h 533771"/>
                  <a:gd name="connsiteX519" fmla="*/ 256923 w 401077"/>
                  <a:gd name="connsiteY519" fmla="*/ 51402 h 533771"/>
                  <a:gd name="connsiteX520" fmla="*/ 256658 w 401077"/>
                  <a:gd name="connsiteY520" fmla="*/ 51138 h 533771"/>
                  <a:gd name="connsiteX521" fmla="*/ 256923 w 401077"/>
                  <a:gd name="connsiteY521" fmla="*/ 51138 h 533771"/>
                  <a:gd name="connsiteX522" fmla="*/ 257187 w 401077"/>
                  <a:gd name="connsiteY522" fmla="*/ 51138 h 533771"/>
                  <a:gd name="connsiteX523" fmla="*/ 257452 w 401077"/>
                  <a:gd name="connsiteY523" fmla="*/ 50873 h 533771"/>
                  <a:gd name="connsiteX524" fmla="*/ 256835 w 401077"/>
                  <a:gd name="connsiteY524" fmla="*/ 50873 h 533771"/>
                  <a:gd name="connsiteX525" fmla="*/ 256570 w 401077"/>
                  <a:gd name="connsiteY525" fmla="*/ 50873 h 533771"/>
                  <a:gd name="connsiteX526" fmla="*/ 256835 w 401077"/>
                  <a:gd name="connsiteY526" fmla="*/ 50609 h 533771"/>
                  <a:gd name="connsiteX527" fmla="*/ 255953 w 401077"/>
                  <a:gd name="connsiteY527" fmla="*/ 50344 h 533771"/>
                  <a:gd name="connsiteX528" fmla="*/ 255688 w 401077"/>
                  <a:gd name="connsiteY528" fmla="*/ 50344 h 533771"/>
                  <a:gd name="connsiteX529" fmla="*/ 255688 w 401077"/>
                  <a:gd name="connsiteY529" fmla="*/ 50609 h 533771"/>
                  <a:gd name="connsiteX530" fmla="*/ 255071 w 401077"/>
                  <a:gd name="connsiteY530" fmla="*/ 49991 h 533771"/>
                  <a:gd name="connsiteX531" fmla="*/ 253572 w 401077"/>
                  <a:gd name="connsiteY531" fmla="*/ 49727 h 533771"/>
                  <a:gd name="connsiteX532" fmla="*/ 253572 w 401077"/>
                  <a:gd name="connsiteY532" fmla="*/ 49991 h 533771"/>
                  <a:gd name="connsiteX533" fmla="*/ 254454 w 401077"/>
                  <a:gd name="connsiteY533" fmla="*/ 50609 h 533771"/>
                  <a:gd name="connsiteX534" fmla="*/ 254983 w 401077"/>
                  <a:gd name="connsiteY534" fmla="*/ 51226 h 533771"/>
                  <a:gd name="connsiteX535" fmla="*/ 256482 w 401077"/>
                  <a:gd name="connsiteY535" fmla="*/ 52637 h 533771"/>
                  <a:gd name="connsiteX536" fmla="*/ 258775 w 401077"/>
                  <a:gd name="connsiteY536" fmla="*/ 55017 h 533771"/>
                  <a:gd name="connsiteX537" fmla="*/ 262566 w 401077"/>
                  <a:gd name="connsiteY537" fmla="*/ 57309 h 533771"/>
                  <a:gd name="connsiteX538" fmla="*/ 262566 w 401077"/>
                  <a:gd name="connsiteY538" fmla="*/ 57574 h 533771"/>
                  <a:gd name="connsiteX539" fmla="*/ 261684 w 401077"/>
                  <a:gd name="connsiteY539" fmla="*/ 57309 h 533771"/>
                  <a:gd name="connsiteX540" fmla="*/ 261066 w 401077"/>
                  <a:gd name="connsiteY540" fmla="*/ 57045 h 533771"/>
                  <a:gd name="connsiteX541" fmla="*/ 259920 w 401077"/>
                  <a:gd name="connsiteY541" fmla="*/ 56428 h 533771"/>
                  <a:gd name="connsiteX542" fmla="*/ 258775 w 401077"/>
                  <a:gd name="connsiteY542" fmla="*/ 56163 h 533771"/>
                  <a:gd name="connsiteX543" fmla="*/ 259391 w 401077"/>
                  <a:gd name="connsiteY543" fmla="*/ 56780 h 533771"/>
                  <a:gd name="connsiteX544" fmla="*/ 258775 w 401077"/>
                  <a:gd name="connsiteY544" fmla="*/ 56780 h 533771"/>
                  <a:gd name="connsiteX545" fmla="*/ 259656 w 401077"/>
                  <a:gd name="connsiteY545" fmla="*/ 57045 h 533771"/>
                  <a:gd name="connsiteX546" fmla="*/ 260802 w 401077"/>
                  <a:gd name="connsiteY546" fmla="*/ 57045 h 533771"/>
                  <a:gd name="connsiteX547" fmla="*/ 261066 w 401077"/>
                  <a:gd name="connsiteY547" fmla="*/ 57309 h 533771"/>
                  <a:gd name="connsiteX548" fmla="*/ 261066 w 401077"/>
                  <a:gd name="connsiteY548" fmla="*/ 57574 h 533771"/>
                  <a:gd name="connsiteX549" fmla="*/ 261066 w 401077"/>
                  <a:gd name="connsiteY549" fmla="*/ 57838 h 533771"/>
                  <a:gd name="connsiteX550" fmla="*/ 261684 w 401077"/>
                  <a:gd name="connsiteY550" fmla="*/ 58103 h 533771"/>
                  <a:gd name="connsiteX551" fmla="*/ 261948 w 401077"/>
                  <a:gd name="connsiteY551" fmla="*/ 57838 h 533771"/>
                  <a:gd name="connsiteX552" fmla="*/ 263095 w 401077"/>
                  <a:gd name="connsiteY552" fmla="*/ 58456 h 533771"/>
                  <a:gd name="connsiteX553" fmla="*/ 264505 w 401077"/>
                  <a:gd name="connsiteY553" fmla="*/ 58456 h 533771"/>
                  <a:gd name="connsiteX554" fmla="*/ 265122 w 401077"/>
                  <a:gd name="connsiteY554" fmla="*/ 58191 h 533771"/>
                  <a:gd name="connsiteX555" fmla="*/ 266269 w 401077"/>
                  <a:gd name="connsiteY555" fmla="*/ 59073 h 533771"/>
                  <a:gd name="connsiteX556" fmla="*/ 266269 w 401077"/>
                  <a:gd name="connsiteY556" fmla="*/ 59337 h 533771"/>
                  <a:gd name="connsiteX557" fmla="*/ 266533 w 401077"/>
                  <a:gd name="connsiteY557" fmla="*/ 58720 h 533771"/>
                  <a:gd name="connsiteX558" fmla="*/ 265299 w 401077"/>
                  <a:gd name="connsiteY558" fmla="*/ 58103 h 533771"/>
                  <a:gd name="connsiteX559" fmla="*/ 265299 w 401077"/>
                  <a:gd name="connsiteY559" fmla="*/ 57486 h 533771"/>
                  <a:gd name="connsiteX560" fmla="*/ 265299 w 401077"/>
                  <a:gd name="connsiteY560" fmla="*/ 57221 h 533771"/>
                  <a:gd name="connsiteX561" fmla="*/ 265299 w 401077"/>
                  <a:gd name="connsiteY561" fmla="*/ 56957 h 533771"/>
                  <a:gd name="connsiteX562" fmla="*/ 265916 w 401077"/>
                  <a:gd name="connsiteY562" fmla="*/ 56692 h 533771"/>
                  <a:gd name="connsiteX563" fmla="*/ 265916 w 401077"/>
                  <a:gd name="connsiteY563" fmla="*/ 56075 h 533771"/>
                  <a:gd name="connsiteX564" fmla="*/ 266180 w 401077"/>
                  <a:gd name="connsiteY564" fmla="*/ 55811 h 533771"/>
                  <a:gd name="connsiteX565" fmla="*/ 266798 w 401077"/>
                  <a:gd name="connsiteY565" fmla="*/ 55282 h 533771"/>
                  <a:gd name="connsiteX566" fmla="*/ 267944 w 401077"/>
                  <a:gd name="connsiteY566" fmla="*/ 55282 h 533771"/>
                  <a:gd name="connsiteX567" fmla="*/ 268208 w 401077"/>
                  <a:gd name="connsiteY567" fmla="*/ 55282 h 533771"/>
                  <a:gd name="connsiteX568" fmla="*/ 268473 w 401077"/>
                  <a:gd name="connsiteY568" fmla="*/ 55282 h 533771"/>
                  <a:gd name="connsiteX569" fmla="*/ 269090 w 401077"/>
                  <a:gd name="connsiteY569" fmla="*/ 55282 h 533771"/>
                  <a:gd name="connsiteX570" fmla="*/ 269707 w 401077"/>
                  <a:gd name="connsiteY570" fmla="*/ 55546 h 533771"/>
                  <a:gd name="connsiteX571" fmla="*/ 269972 w 401077"/>
                  <a:gd name="connsiteY571" fmla="*/ 55811 h 533771"/>
                  <a:gd name="connsiteX572" fmla="*/ 269707 w 401077"/>
                  <a:gd name="connsiteY572" fmla="*/ 56428 h 533771"/>
                  <a:gd name="connsiteX573" fmla="*/ 269090 w 401077"/>
                  <a:gd name="connsiteY573" fmla="*/ 56692 h 533771"/>
                  <a:gd name="connsiteX574" fmla="*/ 268825 w 401077"/>
                  <a:gd name="connsiteY574" fmla="*/ 56692 h 533771"/>
                  <a:gd name="connsiteX575" fmla="*/ 268473 w 401077"/>
                  <a:gd name="connsiteY575" fmla="*/ 56957 h 533771"/>
                  <a:gd name="connsiteX576" fmla="*/ 268208 w 401077"/>
                  <a:gd name="connsiteY576" fmla="*/ 57221 h 533771"/>
                  <a:gd name="connsiteX577" fmla="*/ 267062 w 401077"/>
                  <a:gd name="connsiteY577" fmla="*/ 57221 h 533771"/>
                  <a:gd name="connsiteX578" fmla="*/ 267062 w 401077"/>
                  <a:gd name="connsiteY578" fmla="*/ 57838 h 533771"/>
                  <a:gd name="connsiteX579" fmla="*/ 266533 w 401077"/>
                  <a:gd name="connsiteY579" fmla="*/ 57838 h 533771"/>
                  <a:gd name="connsiteX580" fmla="*/ 266533 w 401077"/>
                  <a:gd name="connsiteY580" fmla="*/ 58103 h 533771"/>
                  <a:gd name="connsiteX581" fmla="*/ 267062 w 401077"/>
                  <a:gd name="connsiteY581" fmla="*/ 58985 h 533771"/>
                  <a:gd name="connsiteX582" fmla="*/ 267415 w 401077"/>
                  <a:gd name="connsiteY582" fmla="*/ 59602 h 533771"/>
                  <a:gd name="connsiteX583" fmla="*/ 267062 w 401077"/>
                  <a:gd name="connsiteY583" fmla="*/ 59866 h 533771"/>
                  <a:gd name="connsiteX584" fmla="*/ 267415 w 401077"/>
                  <a:gd name="connsiteY584" fmla="*/ 60131 h 533771"/>
                  <a:gd name="connsiteX585" fmla="*/ 267062 w 401077"/>
                  <a:gd name="connsiteY585" fmla="*/ 60131 h 533771"/>
                  <a:gd name="connsiteX586" fmla="*/ 267415 w 401077"/>
                  <a:gd name="connsiteY586" fmla="*/ 60395 h 533771"/>
                  <a:gd name="connsiteX587" fmla="*/ 267062 w 401077"/>
                  <a:gd name="connsiteY587" fmla="*/ 60660 h 533771"/>
                  <a:gd name="connsiteX588" fmla="*/ 266798 w 401077"/>
                  <a:gd name="connsiteY588" fmla="*/ 60395 h 533771"/>
                  <a:gd name="connsiteX589" fmla="*/ 264153 w 401077"/>
                  <a:gd name="connsiteY589" fmla="*/ 60131 h 533771"/>
                  <a:gd name="connsiteX590" fmla="*/ 263535 w 401077"/>
                  <a:gd name="connsiteY590" fmla="*/ 60395 h 533771"/>
                  <a:gd name="connsiteX591" fmla="*/ 262653 w 401077"/>
                  <a:gd name="connsiteY591" fmla="*/ 60395 h 533771"/>
                  <a:gd name="connsiteX592" fmla="*/ 261508 w 401077"/>
                  <a:gd name="connsiteY592" fmla="*/ 61277 h 533771"/>
                  <a:gd name="connsiteX593" fmla="*/ 260890 w 401077"/>
                  <a:gd name="connsiteY593" fmla="*/ 61013 h 533771"/>
                  <a:gd name="connsiteX594" fmla="*/ 260008 w 401077"/>
                  <a:gd name="connsiteY594" fmla="*/ 61630 h 533771"/>
                  <a:gd name="connsiteX595" fmla="*/ 260008 w 401077"/>
                  <a:gd name="connsiteY595" fmla="*/ 62159 h 533771"/>
                  <a:gd name="connsiteX596" fmla="*/ 260890 w 401077"/>
                  <a:gd name="connsiteY596" fmla="*/ 62776 h 533771"/>
                  <a:gd name="connsiteX597" fmla="*/ 261772 w 401077"/>
                  <a:gd name="connsiteY597" fmla="*/ 62776 h 533771"/>
                  <a:gd name="connsiteX598" fmla="*/ 261772 w 401077"/>
                  <a:gd name="connsiteY598" fmla="*/ 63040 h 533771"/>
                  <a:gd name="connsiteX599" fmla="*/ 261155 w 401077"/>
                  <a:gd name="connsiteY599" fmla="*/ 63040 h 533771"/>
                  <a:gd name="connsiteX600" fmla="*/ 260626 w 401077"/>
                  <a:gd name="connsiteY600" fmla="*/ 62776 h 533771"/>
                  <a:gd name="connsiteX601" fmla="*/ 260626 w 401077"/>
                  <a:gd name="connsiteY601" fmla="*/ 63393 h 533771"/>
                  <a:gd name="connsiteX602" fmla="*/ 260361 w 401077"/>
                  <a:gd name="connsiteY602" fmla="*/ 63658 h 533771"/>
                  <a:gd name="connsiteX603" fmla="*/ 259744 w 401077"/>
                  <a:gd name="connsiteY603" fmla="*/ 63922 h 533771"/>
                  <a:gd name="connsiteX604" fmla="*/ 259127 w 401077"/>
                  <a:gd name="connsiteY604" fmla="*/ 63658 h 533771"/>
                  <a:gd name="connsiteX605" fmla="*/ 258862 w 401077"/>
                  <a:gd name="connsiteY605" fmla="*/ 63393 h 533771"/>
                  <a:gd name="connsiteX606" fmla="*/ 258862 w 401077"/>
                  <a:gd name="connsiteY606" fmla="*/ 63658 h 533771"/>
                  <a:gd name="connsiteX607" fmla="*/ 259127 w 401077"/>
                  <a:gd name="connsiteY607" fmla="*/ 63922 h 533771"/>
                  <a:gd name="connsiteX608" fmla="*/ 259391 w 401077"/>
                  <a:gd name="connsiteY608" fmla="*/ 63922 h 533771"/>
                  <a:gd name="connsiteX609" fmla="*/ 260008 w 401077"/>
                  <a:gd name="connsiteY609" fmla="*/ 64539 h 533771"/>
                  <a:gd name="connsiteX610" fmla="*/ 260008 w 401077"/>
                  <a:gd name="connsiteY610" fmla="*/ 64804 h 533771"/>
                  <a:gd name="connsiteX611" fmla="*/ 259391 w 401077"/>
                  <a:gd name="connsiteY611" fmla="*/ 65068 h 533771"/>
                  <a:gd name="connsiteX612" fmla="*/ 258775 w 401077"/>
                  <a:gd name="connsiteY612" fmla="*/ 65068 h 533771"/>
                  <a:gd name="connsiteX613" fmla="*/ 258157 w 401077"/>
                  <a:gd name="connsiteY613" fmla="*/ 65068 h 533771"/>
                  <a:gd name="connsiteX614" fmla="*/ 257628 w 401077"/>
                  <a:gd name="connsiteY614" fmla="*/ 64804 h 533771"/>
                  <a:gd name="connsiteX615" fmla="*/ 256746 w 401077"/>
                  <a:gd name="connsiteY615" fmla="*/ 64539 h 533771"/>
                  <a:gd name="connsiteX616" fmla="*/ 256482 w 401077"/>
                  <a:gd name="connsiteY616" fmla="*/ 64275 h 533771"/>
                  <a:gd name="connsiteX617" fmla="*/ 255865 w 401077"/>
                  <a:gd name="connsiteY617" fmla="*/ 64010 h 533771"/>
                  <a:gd name="connsiteX618" fmla="*/ 256129 w 401077"/>
                  <a:gd name="connsiteY618" fmla="*/ 63746 h 533771"/>
                  <a:gd name="connsiteX619" fmla="*/ 257628 w 401077"/>
                  <a:gd name="connsiteY619" fmla="*/ 64363 h 533771"/>
                  <a:gd name="connsiteX620" fmla="*/ 257893 w 401077"/>
                  <a:gd name="connsiteY620" fmla="*/ 64363 h 533771"/>
                  <a:gd name="connsiteX621" fmla="*/ 257893 w 401077"/>
                  <a:gd name="connsiteY621" fmla="*/ 63746 h 533771"/>
                  <a:gd name="connsiteX622" fmla="*/ 257628 w 401077"/>
                  <a:gd name="connsiteY622" fmla="*/ 63746 h 533771"/>
                  <a:gd name="connsiteX623" fmla="*/ 256746 w 401077"/>
                  <a:gd name="connsiteY623" fmla="*/ 63129 h 533771"/>
                  <a:gd name="connsiteX624" fmla="*/ 255600 w 401077"/>
                  <a:gd name="connsiteY624" fmla="*/ 62864 h 533771"/>
                  <a:gd name="connsiteX625" fmla="*/ 255336 w 401077"/>
                  <a:gd name="connsiteY625" fmla="*/ 62600 h 533771"/>
                  <a:gd name="connsiteX626" fmla="*/ 255600 w 401077"/>
                  <a:gd name="connsiteY626" fmla="*/ 63217 h 533771"/>
                  <a:gd name="connsiteX627" fmla="*/ 256217 w 401077"/>
                  <a:gd name="connsiteY627" fmla="*/ 63481 h 533771"/>
                  <a:gd name="connsiteX628" fmla="*/ 254719 w 401077"/>
                  <a:gd name="connsiteY628" fmla="*/ 63481 h 533771"/>
                  <a:gd name="connsiteX629" fmla="*/ 254454 w 401077"/>
                  <a:gd name="connsiteY629" fmla="*/ 63746 h 533771"/>
                  <a:gd name="connsiteX630" fmla="*/ 254454 w 401077"/>
                  <a:gd name="connsiteY630" fmla="*/ 65156 h 533771"/>
                  <a:gd name="connsiteX631" fmla="*/ 255600 w 401077"/>
                  <a:gd name="connsiteY631" fmla="*/ 65774 h 533771"/>
                  <a:gd name="connsiteX632" fmla="*/ 256217 w 401077"/>
                  <a:gd name="connsiteY632" fmla="*/ 66303 h 533771"/>
                  <a:gd name="connsiteX633" fmla="*/ 253837 w 401077"/>
                  <a:gd name="connsiteY633" fmla="*/ 66038 h 533771"/>
                  <a:gd name="connsiteX634" fmla="*/ 252338 w 401077"/>
                  <a:gd name="connsiteY634" fmla="*/ 66038 h 533771"/>
                  <a:gd name="connsiteX635" fmla="*/ 250927 w 401077"/>
                  <a:gd name="connsiteY635" fmla="*/ 65774 h 533771"/>
                  <a:gd name="connsiteX636" fmla="*/ 250045 w 401077"/>
                  <a:gd name="connsiteY636" fmla="*/ 66038 h 533771"/>
                  <a:gd name="connsiteX637" fmla="*/ 249164 w 401077"/>
                  <a:gd name="connsiteY637" fmla="*/ 65774 h 533771"/>
                  <a:gd name="connsiteX638" fmla="*/ 248282 w 401077"/>
                  <a:gd name="connsiteY638" fmla="*/ 65774 h 533771"/>
                  <a:gd name="connsiteX639" fmla="*/ 247136 w 401077"/>
                  <a:gd name="connsiteY639" fmla="*/ 65509 h 533771"/>
                  <a:gd name="connsiteX640" fmla="*/ 247136 w 401077"/>
                  <a:gd name="connsiteY640" fmla="*/ 65245 h 533771"/>
                  <a:gd name="connsiteX641" fmla="*/ 245373 w 401077"/>
                  <a:gd name="connsiteY641" fmla="*/ 64627 h 533771"/>
                  <a:gd name="connsiteX642" fmla="*/ 242728 w 401077"/>
                  <a:gd name="connsiteY642" fmla="*/ 65245 h 533771"/>
                  <a:gd name="connsiteX643" fmla="*/ 241317 w 401077"/>
                  <a:gd name="connsiteY643" fmla="*/ 66126 h 533771"/>
                  <a:gd name="connsiteX644" fmla="*/ 239818 w 401077"/>
                  <a:gd name="connsiteY644" fmla="*/ 67890 h 533771"/>
                  <a:gd name="connsiteX645" fmla="*/ 238937 w 401077"/>
                  <a:gd name="connsiteY645" fmla="*/ 69653 h 533771"/>
                  <a:gd name="connsiteX646" fmla="*/ 238055 w 401077"/>
                  <a:gd name="connsiteY646" fmla="*/ 71416 h 533771"/>
                  <a:gd name="connsiteX647" fmla="*/ 237790 w 401077"/>
                  <a:gd name="connsiteY647" fmla="*/ 72034 h 533771"/>
                  <a:gd name="connsiteX648" fmla="*/ 237790 w 401077"/>
                  <a:gd name="connsiteY648" fmla="*/ 72298 h 533771"/>
                  <a:gd name="connsiteX649" fmla="*/ 237173 w 401077"/>
                  <a:gd name="connsiteY649" fmla="*/ 74061 h 533771"/>
                  <a:gd name="connsiteX650" fmla="*/ 236908 w 401077"/>
                  <a:gd name="connsiteY650" fmla="*/ 76706 h 533771"/>
                  <a:gd name="connsiteX651" fmla="*/ 237173 w 401077"/>
                  <a:gd name="connsiteY651" fmla="*/ 81379 h 533771"/>
                  <a:gd name="connsiteX652" fmla="*/ 237790 w 401077"/>
                  <a:gd name="connsiteY652" fmla="*/ 82878 h 533771"/>
                  <a:gd name="connsiteX653" fmla="*/ 238937 w 401077"/>
                  <a:gd name="connsiteY653" fmla="*/ 84024 h 533771"/>
                  <a:gd name="connsiteX654" fmla="*/ 239553 w 401077"/>
                  <a:gd name="connsiteY654" fmla="*/ 85171 h 533771"/>
                  <a:gd name="connsiteX655" fmla="*/ 240082 w 401077"/>
                  <a:gd name="connsiteY655" fmla="*/ 86052 h 533771"/>
                  <a:gd name="connsiteX656" fmla="*/ 240700 w 401077"/>
                  <a:gd name="connsiteY656" fmla="*/ 87199 h 533771"/>
                  <a:gd name="connsiteX657" fmla="*/ 240964 w 401077"/>
                  <a:gd name="connsiteY657" fmla="*/ 88345 h 533771"/>
                  <a:gd name="connsiteX658" fmla="*/ 240964 w 401077"/>
                  <a:gd name="connsiteY658" fmla="*/ 89491 h 533771"/>
                  <a:gd name="connsiteX659" fmla="*/ 241582 w 401077"/>
                  <a:gd name="connsiteY659" fmla="*/ 90637 h 533771"/>
                  <a:gd name="connsiteX660" fmla="*/ 240700 w 401077"/>
                  <a:gd name="connsiteY660" fmla="*/ 90020 h 533771"/>
                  <a:gd name="connsiteX661" fmla="*/ 238672 w 401077"/>
                  <a:gd name="connsiteY661" fmla="*/ 88874 h 533771"/>
                  <a:gd name="connsiteX662" fmla="*/ 237261 w 401077"/>
                  <a:gd name="connsiteY662" fmla="*/ 87992 h 533771"/>
                  <a:gd name="connsiteX663" fmla="*/ 234352 w 401077"/>
                  <a:gd name="connsiteY663" fmla="*/ 86846 h 533771"/>
                  <a:gd name="connsiteX664" fmla="*/ 232853 w 401077"/>
                  <a:gd name="connsiteY664" fmla="*/ 85964 h 533771"/>
                  <a:gd name="connsiteX665" fmla="*/ 231971 w 401077"/>
                  <a:gd name="connsiteY665" fmla="*/ 85964 h 533771"/>
                  <a:gd name="connsiteX666" fmla="*/ 231354 w 401077"/>
                  <a:gd name="connsiteY666" fmla="*/ 86493 h 533771"/>
                  <a:gd name="connsiteX667" fmla="*/ 228974 w 401077"/>
                  <a:gd name="connsiteY667" fmla="*/ 85612 h 533771"/>
                  <a:gd name="connsiteX668" fmla="*/ 227474 w 401077"/>
                  <a:gd name="connsiteY668" fmla="*/ 85612 h 533771"/>
                  <a:gd name="connsiteX669" fmla="*/ 226857 w 401077"/>
                  <a:gd name="connsiteY669" fmla="*/ 84465 h 533771"/>
                  <a:gd name="connsiteX670" fmla="*/ 224565 w 401077"/>
                  <a:gd name="connsiteY670" fmla="*/ 83319 h 533771"/>
                  <a:gd name="connsiteX671" fmla="*/ 222802 w 401077"/>
                  <a:gd name="connsiteY671" fmla="*/ 82702 h 533771"/>
                  <a:gd name="connsiteX672" fmla="*/ 222537 w 401077"/>
                  <a:gd name="connsiteY672" fmla="*/ 81820 h 533771"/>
                  <a:gd name="connsiteX673" fmla="*/ 219010 w 401077"/>
                  <a:gd name="connsiteY673" fmla="*/ 81820 h 533771"/>
                  <a:gd name="connsiteX674" fmla="*/ 217599 w 401077"/>
                  <a:gd name="connsiteY674" fmla="*/ 80410 h 533771"/>
                  <a:gd name="connsiteX675" fmla="*/ 215572 w 401077"/>
                  <a:gd name="connsiteY675" fmla="*/ 80410 h 533771"/>
                  <a:gd name="connsiteX676" fmla="*/ 213279 w 401077"/>
                  <a:gd name="connsiteY676" fmla="*/ 80939 h 533771"/>
                  <a:gd name="connsiteX677" fmla="*/ 210370 w 401077"/>
                  <a:gd name="connsiteY677" fmla="*/ 79175 h 533771"/>
                  <a:gd name="connsiteX678" fmla="*/ 210105 w 401077"/>
                  <a:gd name="connsiteY678" fmla="*/ 78029 h 533771"/>
                  <a:gd name="connsiteX679" fmla="*/ 207813 w 401077"/>
                  <a:gd name="connsiteY679" fmla="*/ 76883 h 533771"/>
                  <a:gd name="connsiteX680" fmla="*/ 205785 w 401077"/>
                  <a:gd name="connsiteY680" fmla="*/ 75737 h 533771"/>
                  <a:gd name="connsiteX681" fmla="*/ 204903 w 401077"/>
                  <a:gd name="connsiteY681" fmla="*/ 75472 h 533771"/>
                  <a:gd name="connsiteX682" fmla="*/ 204903 w 401077"/>
                  <a:gd name="connsiteY682" fmla="*/ 75208 h 533771"/>
                  <a:gd name="connsiteX683" fmla="*/ 204286 w 401077"/>
                  <a:gd name="connsiteY683" fmla="*/ 75208 h 533771"/>
                  <a:gd name="connsiteX684" fmla="*/ 203140 w 401077"/>
                  <a:gd name="connsiteY684" fmla="*/ 74591 h 533771"/>
                  <a:gd name="connsiteX685" fmla="*/ 201112 w 401077"/>
                  <a:gd name="connsiteY685" fmla="*/ 73973 h 533771"/>
                  <a:gd name="connsiteX686" fmla="*/ 198731 w 401077"/>
                  <a:gd name="connsiteY686" fmla="*/ 73709 h 533771"/>
                  <a:gd name="connsiteX687" fmla="*/ 197586 w 401077"/>
                  <a:gd name="connsiteY687" fmla="*/ 73444 h 533771"/>
                  <a:gd name="connsiteX688" fmla="*/ 197586 w 401077"/>
                  <a:gd name="connsiteY688" fmla="*/ 73709 h 533771"/>
                  <a:gd name="connsiteX689" fmla="*/ 195822 w 401077"/>
                  <a:gd name="connsiteY689" fmla="*/ 74326 h 533771"/>
                  <a:gd name="connsiteX690" fmla="*/ 194059 w 401077"/>
                  <a:gd name="connsiteY690" fmla="*/ 75208 h 533771"/>
                  <a:gd name="connsiteX691" fmla="*/ 193441 w 401077"/>
                  <a:gd name="connsiteY691" fmla="*/ 75737 h 533771"/>
                  <a:gd name="connsiteX692" fmla="*/ 193441 w 401077"/>
                  <a:gd name="connsiteY692" fmla="*/ 76001 h 533771"/>
                  <a:gd name="connsiteX693" fmla="*/ 192912 w 401077"/>
                  <a:gd name="connsiteY693" fmla="*/ 76883 h 533771"/>
                  <a:gd name="connsiteX694" fmla="*/ 192031 w 401077"/>
                  <a:gd name="connsiteY694" fmla="*/ 78029 h 533771"/>
                  <a:gd name="connsiteX695" fmla="*/ 191149 w 401077"/>
                  <a:gd name="connsiteY695" fmla="*/ 78294 h 533771"/>
                  <a:gd name="connsiteX696" fmla="*/ 190620 w 401077"/>
                  <a:gd name="connsiteY696" fmla="*/ 80057 h 533771"/>
                  <a:gd name="connsiteX697" fmla="*/ 190620 w 401077"/>
                  <a:gd name="connsiteY697" fmla="*/ 80321 h 533771"/>
                  <a:gd name="connsiteX698" fmla="*/ 190620 w 401077"/>
                  <a:gd name="connsiteY698" fmla="*/ 80586 h 533771"/>
                  <a:gd name="connsiteX699" fmla="*/ 190620 w 401077"/>
                  <a:gd name="connsiteY699" fmla="*/ 81468 h 533771"/>
                  <a:gd name="connsiteX700" fmla="*/ 189739 w 401077"/>
                  <a:gd name="connsiteY700" fmla="*/ 81468 h 533771"/>
                  <a:gd name="connsiteX701" fmla="*/ 189474 w 401077"/>
                  <a:gd name="connsiteY701" fmla="*/ 81203 h 533771"/>
                  <a:gd name="connsiteX702" fmla="*/ 188328 w 401077"/>
                  <a:gd name="connsiteY702" fmla="*/ 80586 h 533771"/>
                  <a:gd name="connsiteX703" fmla="*/ 188857 w 401077"/>
                  <a:gd name="connsiteY703" fmla="*/ 80586 h 533771"/>
                  <a:gd name="connsiteX704" fmla="*/ 189474 w 401077"/>
                  <a:gd name="connsiteY704" fmla="*/ 80850 h 533771"/>
                  <a:gd name="connsiteX705" fmla="*/ 189739 w 401077"/>
                  <a:gd name="connsiteY705" fmla="*/ 80321 h 533771"/>
                  <a:gd name="connsiteX706" fmla="*/ 188857 w 401077"/>
                  <a:gd name="connsiteY706" fmla="*/ 80321 h 533771"/>
                  <a:gd name="connsiteX707" fmla="*/ 188328 w 401077"/>
                  <a:gd name="connsiteY707" fmla="*/ 80057 h 533771"/>
                  <a:gd name="connsiteX708" fmla="*/ 187181 w 401077"/>
                  <a:gd name="connsiteY708" fmla="*/ 79792 h 533771"/>
                  <a:gd name="connsiteX709" fmla="*/ 186300 w 401077"/>
                  <a:gd name="connsiteY709" fmla="*/ 78646 h 533771"/>
                  <a:gd name="connsiteX710" fmla="*/ 184889 w 401077"/>
                  <a:gd name="connsiteY710" fmla="*/ 77500 h 533771"/>
                  <a:gd name="connsiteX711" fmla="*/ 184360 w 401077"/>
                  <a:gd name="connsiteY711" fmla="*/ 77500 h 533771"/>
                  <a:gd name="connsiteX712" fmla="*/ 183743 w 401077"/>
                  <a:gd name="connsiteY712" fmla="*/ 77235 h 533771"/>
                  <a:gd name="connsiteX713" fmla="*/ 182861 w 401077"/>
                  <a:gd name="connsiteY713" fmla="*/ 76971 h 533771"/>
                  <a:gd name="connsiteX714" fmla="*/ 182597 w 401077"/>
                  <a:gd name="connsiteY714" fmla="*/ 76354 h 533771"/>
                  <a:gd name="connsiteX715" fmla="*/ 182068 w 401077"/>
                  <a:gd name="connsiteY715" fmla="*/ 76089 h 533771"/>
                  <a:gd name="connsiteX716" fmla="*/ 180657 w 401077"/>
                  <a:gd name="connsiteY716" fmla="*/ 75208 h 533771"/>
                  <a:gd name="connsiteX717" fmla="*/ 180304 w 401077"/>
                  <a:gd name="connsiteY717" fmla="*/ 74943 h 533771"/>
                  <a:gd name="connsiteX718" fmla="*/ 179158 w 401077"/>
                  <a:gd name="connsiteY718" fmla="*/ 74943 h 533771"/>
                  <a:gd name="connsiteX719" fmla="*/ 178277 w 401077"/>
                  <a:gd name="connsiteY719" fmla="*/ 75208 h 533771"/>
                  <a:gd name="connsiteX720" fmla="*/ 178012 w 401077"/>
                  <a:gd name="connsiteY720" fmla="*/ 75208 h 533771"/>
                  <a:gd name="connsiteX721" fmla="*/ 176513 w 401077"/>
                  <a:gd name="connsiteY721" fmla="*/ 74591 h 533771"/>
                  <a:gd name="connsiteX722" fmla="*/ 175631 w 401077"/>
                  <a:gd name="connsiteY722" fmla="*/ 74855 h 533771"/>
                  <a:gd name="connsiteX723" fmla="*/ 175015 w 401077"/>
                  <a:gd name="connsiteY723" fmla="*/ 75120 h 533771"/>
                  <a:gd name="connsiteX724" fmla="*/ 175015 w 401077"/>
                  <a:gd name="connsiteY724" fmla="*/ 79175 h 533771"/>
                  <a:gd name="connsiteX725" fmla="*/ 176160 w 401077"/>
                  <a:gd name="connsiteY725" fmla="*/ 82085 h 533771"/>
                  <a:gd name="connsiteX726" fmla="*/ 177571 w 401077"/>
                  <a:gd name="connsiteY726" fmla="*/ 82966 h 533771"/>
                  <a:gd name="connsiteX727" fmla="*/ 178982 w 401077"/>
                  <a:gd name="connsiteY727" fmla="*/ 83584 h 533771"/>
                  <a:gd name="connsiteX728" fmla="*/ 180481 w 401077"/>
                  <a:gd name="connsiteY728" fmla="*/ 84113 h 533771"/>
                  <a:gd name="connsiteX729" fmla="*/ 181010 w 401077"/>
                  <a:gd name="connsiteY729" fmla="*/ 84377 h 533771"/>
                  <a:gd name="connsiteX730" fmla="*/ 182509 w 401077"/>
                  <a:gd name="connsiteY730" fmla="*/ 84994 h 533771"/>
                  <a:gd name="connsiteX731" fmla="*/ 183390 w 401077"/>
                  <a:gd name="connsiteY731" fmla="*/ 85612 h 533771"/>
                  <a:gd name="connsiteX732" fmla="*/ 185154 w 401077"/>
                  <a:gd name="connsiteY732" fmla="*/ 86229 h 533771"/>
                  <a:gd name="connsiteX733" fmla="*/ 186036 w 401077"/>
                  <a:gd name="connsiteY733" fmla="*/ 85612 h 533771"/>
                  <a:gd name="connsiteX734" fmla="*/ 186917 w 401077"/>
                  <a:gd name="connsiteY734" fmla="*/ 85612 h 533771"/>
                  <a:gd name="connsiteX735" fmla="*/ 188416 w 401077"/>
                  <a:gd name="connsiteY735" fmla="*/ 85876 h 533771"/>
                  <a:gd name="connsiteX736" fmla="*/ 189562 w 401077"/>
                  <a:gd name="connsiteY736" fmla="*/ 86758 h 533771"/>
                  <a:gd name="connsiteX737" fmla="*/ 190179 w 401077"/>
                  <a:gd name="connsiteY737" fmla="*/ 87375 h 533771"/>
                  <a:gd name="connsiteX738" fmla="*/ 191325 w 401077"/>
                  <a:gd name="connsiteY738" fmla="*/ 88257 h 533771"/>
                  <a:gd name="connsiteX739" fmla="*/ 192472 w 401077"/>
                  <a:gd name="connsiteY739" fmla="*/ 88521 h 533771"/>
                  <a:gd name="connsiteX740" fmla="*/ 193882 w 401077"/>
                  <a:gd name="connsiteY740" fmla="*/ 89667 h 533771"/>
                  <a:gd name="connsiteX741" fmla="*/ 195028 w 401077"/>
                  <a:gd name="connsiteY741" fmla="*/ 90284 h 533771"/>
                  <a:gd name="connsiteX742" fmla="*/ 195646 w 401077"/>
                  <a:gd name="connsiteY742" fmla="*/ 90813 h 533771"/>
                  <a:gd name="connsiteX743" fmla="*/ 197409 w 401077"/>
                  <a:gd name="connsiteY743" fmla="*/ 91431 h 533771"/>
                  <a:gd name="connsiteX744" fmla="*/ 198291 w 401077"/>
                  <a:gd name="connsiteY744" fmla="*/ 91431 h 533771"/>
                  <a:gd name="connsiteX745" fmla="*/ 198644 w 401077"/>
                  <a:gd name="connsiteY745" fmla="*/ 91431 h 533771"/>
                  <a:gd name="connsiteX746" fmla="*/ 200054 w 401077"/>
                  <a:gd name="connsiteY746" fmla="*/ 92312 h 533771"/>
                  <a:gd name="connsiteX747" fmla="*/ 200671 w 401077"/>
                  <a:gd name="connsiteY747" fmla="*/ 92577 h 533771"/>
                  <a:gd name="connsiteX748" fmla="*/ 201818 w 401077"/>
                  <a:gd name="connsiteY748" fmla="*/ 93194 h 533771"/>
                  <a:gd name="connsiteX749" fmla="*/ 201818 w 401077"/>
                  <a:gd name="connsiteY749" fmla="*/ 94076 h 533771"/>
                  <a:gd name="connsiteX750" fmla="*/ 201200 w 401077"/>
                  <a:gd name="connsiteY750" fmla="*/ 94076 h 533771"/>
                  <a:gd name="connsiteX751" fmla="*/ 200054 w 401077"/>
                  <a:gd name="connsiteY751" fmla="*/ 94957 h 533771"/>
                  <a:gd name="connsiteX752" fmla="*/ 199790 w 401077"/>
                  <a:gd name="connsiteY752" fmla="*/ 94428 h 533771"/>
                  <a:gd name="connsiteX753" fmla="*/ 198291 w 401077"/>
                  <a:gd name="connsiteY753" fmla="*/ 94693 h 533771"/>
                  <a:gd name="connsiteX754" fmla="*/ 196880 w 401077"/>
                  <a:gd name="connsiteY754" fmla="*/ 95310 h 533771"/>
                  <a:gd name="connsiteX755" fmla="*/ 196615 w 401077"/>
                  <a:gd name="connsiteY755" fmla="*/ 95839 h 533771"/>
                  <a:gd name="connsiteX756" fmla="*/ 194588 w 401077"/>
                  <a:gd name="connsiteY756" fmla="*/ 94957 h 533771"/>
                  <a:gd name="connsiteX757" fmla="*/ 191943 w 401077"/>
                  <a:gd name="connsiteY757" fmla="*/ 94957 h 533771"/>
                  <a:gd name="connsiteX758" fmla="*/ 190179 w 401077"/>
                  <a:gd name="connsiteY758" fmla="*/ 95574 h 533771"/>
                  <a:gd name="connsiteX759" fmla="*/ 189033 w 401077"/>
                  <a:gd name="connsiteY759" fmla="*/ 96721 h 533771"/>
                  <a:gd name="connsiteX760" fmla="*/ 189914 w 401077"/>
                  <a:gd name="connsiteY760" fmla="*/ 96985 h 533771"/>
                  <a:gd name="connsiteX761" fmla="*/ 190532 w 401077"/>
                  <a:gd name="connsiteY761" fmla="*/ 99013 h 533771"/>
                  <a:gd name="connsiteX762" fmla="*/ 191061 w 401077"/>
                  <a:gd name="connsiteY762" fmla="*/ 100159 h 533771"/>
                  <a:gd name="connsiteX763" fmla="*/ 189914 w 401077"/>
                  <a:gd name="connsiteY763" fmla="*/ 100424 h 533771"/>
                  <a:gd name="connsiteX764" fmla="*/ 189386 w 401077"/>
                  <a:gd name="connsiteY764" fmla="*/ 100688 h 533771"/>
                  <a:gd name="connsiteX765" fmla="*/ 188504 w 401077"/>
                  <a:gd name="connsiteY765" fmla="*/ 101570 h 533771"/>
                  <a:gd name="connsiteX766" fmla="*/ 188504 w 401077"/>
                  <a:gd name="connsiteY766" fmla="*/ 102716 h 533771"/>
                  <a:gd name="connsiteX767" fmla="*/ 188504 w 401077"/>
                  <a:gd name="connsiteY767" fmla="*/ 103333 h 533771"/>
                  <a:gd name="connsiteX768" fmla="*/ 187005 w 401077"/>
                  <a:gd name="connsiteY768" fmla="*/ 102716 h 533771"/>
                  <a:gd name="connsiteX769" fmla="*/ 186123 w 401077"/>
                  <a:gd name="connsiteY769" fmla="*/ 102716 h 533771"/>
                  <a:gd name="connsiteX770" fmla="*/ 185594 w 401077"/>
                  <a:gd name="connsiteY770" fmla="*/ 102716 h 533771"/>
                  <a:gd name="connsiteX771" fmla="*/ 183831 w 401077"/>
                  <a:gd name="connsiteY771" fmla="*/ 101835 h 533771"/>
                  <a:gd name="connsiteX772" fmla="*/ 181803 w 401077"/>
                  <a:gd name="connsiteY772" fmla="*/ 100688 h 533771"/>
                  <a:gd name="connsiteX773" fmla="*/ 180657 w 401077"/>
                  <a:gd name="connsiteY773" fmla="*/ 98043 h 533771"/>
                  <a:gd name="connsiteX774" fmla="*/ 180304 w 401077"/>
                  <a:gd name="connsiteY774" fmla="*/ 97162 h 533771"/>
                  <a:gd name="connsiteX775" fmla="*/ 180040 w 401077"/>
                  <a:gd name="connsiteY775" fmla="*/ 96015 h 533771"/>
                  <a:gd name="connsiteX776" fmla="*/ 180040 w 401077"/>
                  <a:gd name="connsiteY776" fmla="*/ 95398 h 533771"/>
                  <a:gd name="connsiteX777" fmla="*/ 180040 w 401077"/>
                  <a:gd name="connsiteY777" fmla="*/ 94252 h 533771"/>
                  <a:gd name="connsiteX778" fmla="*/ 179423 w 401077"/>
                  <a:gd name="connsiteY778" fmla="*/ 93370 h 533771"/>
                  <a:gd name="connsiteX779" fmla="*/ 180304 w 401077"/>
                  <a:gd name="connsiteY779" fmla="*/ 93370 h 533771"/>
                  <a:gd name="connsiteX780" fmla="*/ 180040 w 401077"/>
                  <a:gd name="connsiteY780" fmla="*/ 92224 h 533771"/>
                  <a:gd name="connsiteX781" fmla="*/ 179687 w 401077"/>
                  <a:gd name="connsiteY781" fmla="*/ 91695 h 533771"/>
                  <a:gd name="connsiteX782" fmla="*/ 179070 w 401077"/>
                  <a:gd name="connsiteY782" fmla="*/ 90813 h 533771"/>
                  <a:gd name="connsiteX783" fmla="*/ 177660 w 401077"/>
                  <a:gd name="connsiteY783" fmla="*/ 89050 h 533771"/>
                  <a:gd name="connsiteX784" fmla="*/ 176777 w 401077"/>
                  <a:gd name="connsiteY784" fmla="*/ 88433 h 533771"/>
                  <a:gd name="connsiteX785" fmla="*/ 175896 w 401077"/>
                  <a:gd name="connsiteY785" fmla="*/ 87551 h 533771"/>
                  <a:gd name="connsiteX786" fmla="*/ 173515 w 401077"/>
                  <a:gd name="connsiteY786" fmla="*/ 86052 h 533771"/>
                  <a:gd name="connsiteX787" fmla="*/ 172634 w 401077"/>
                  <a:gd name="connsiteY787" fmla="*/ 85788 h 533771"/>
                  <a:gd name="connsiteX788" fmla="*/ 171135 w 401077"/>
                  <a:gd name="connsiteY788" fmla="*/ 85523 h 533771"/>
                  <a:gd name="connsiteX789" fmla="*/ 169724 w 401077"/>
                  <a:gd name="connsiteY789" fmla="*/ 84377 h 533771"/>
                  <a:gd name="connsiteX790" fmla="*/ 168843 w 401077"/>
                  <a:gd name="connsiteY790" fmla="*/ 83495 h 533771"/>
                  <a:gd name="connsiteX791" fmla="*/ 168225 w 401077"/>
                  <a:gd name="connsiteY791" fmla="*/ 83495 h 533771"/>
                  <a:gd name="connsiteX792" fmla="*/ 166198 w 401077"/>
                  <a:gd name="connsiteY792" fmla="*/ 82349 h 533771"/>
                  <a:gd name="connsiteX793" fmla="*/ 165580 w 401077"/>
                  <a:gd name="connsiteY793" fmla="*/ 81468 h 533771"/>
                  <a:gd name="connsiteX794" fmla="*/ 164963 w 401077"/>
                  <a:gd name="connsiteY794" fmla="*/ 80850 h 533771"/>
                  <a:gd name="connsiteX795" fmla="*/ 165227 w 401077"/>
                  <a:gd name="connsiteY795" fmla="*/ 79969 h 533771"/>
                  <a:gd name="connsiteX796" fmla="*/ 165227 w 401077"/>
                  <a:gd name="connsiteY796" fmla="*/ 79440 h 533771"/>
                  <a:gd name="connsiteX797" fmla="*/ 164698 w 401077"/>
                  <a:gd name="connsiteY797" fmla="*/ 77676 h 533771"/>
                  <a:gd name="connsiteX798" fmla="*/ 163817 w 401077"/>
                  <a:gd name="connsiteY798" fmla="*/ 76795 h 533771"/>
                  <a:gd name="connsiteX799" fmla="*/ 162935 w 401077"/>
                  <a:gd name="connsiteY799" fmla="*/ 75648 h 533771"/>
                  <a:gd name="connsiteX800" fmla="*/ 162318 w 401077"/>
                  <a:gd name="connsiteY800" fmla="*/ 74767 h 533771"/>
                  <a:gd name="connsiteX801" fmla="*/ 161701 w 401077"/>
                  <a:gd name="connsiteY801" fmla="*/ 73885 h 533771"/>
                  <a:gd name="connsiteX802" fmla="*/ 161701 w 401077"/>
                  <a:gd name="connsiteY802" fmla="*/ 73003 h 533771"/>
                  <a:gd name="connsiteX803" fmla="*/ 161701 w 401077"/>
                  <a:gd name="connsiteY803" fmla="*/ 72739 h 533771"/>
                  <a:gd name="connsiteX804" fmla="*/ 162318 w 401077"/>
                  <a:gd name="connsiteY804" fmla="*/ 72474 h 533771"/>
                  <a:gd name="connsiteX805" fmla="*/ 163200 w 401077"/>
                  <a:gd name="connsiteY805" fmla="*/ 72210 h 533771"/>
                  <a:gd name="connsiteX806" fmla="*/ 164081 w 401077"/>
                  <a:gd name="connsiteY806" fmla="*/ 72210 h 533771"/>
                  <a:gd name="connsiteX807" fmla="*/ 164963 w 401077"/>
                  <a:gd name="connsiteY807" fmla="*/ 71945 h 533771"/>
                  <a:gd name="connsiteX808" fmla="*/ 164963 w 401077"/>
                  <a:gd name="connsiteY808" fmla="*/ 71064 h 533771"/>
                  <a:gd name="connsiteX809" fmla="*/ 165580 w 401077"/>
                  <a:gd name="connsiteY809" fmla="*/ 71064 h 533771"/>
                  <a:gd name="connsiteX810" fmla="*/ 165845 w 401077"/>
                  <a:gd name="connsiteY810" fmla="*/ 70447 h 533771"/>
                  <a:gd name="connsiteX811" fmla="*/ 165580 w 401077"/>
                  <a:gd name="connsiteY811" fmla="*/ 68948 h 533771"/>
                  <a:gd name="connsiteX812" fmla="*/ 166727 w 401077"/>
                  <a:gd name="connsiteY812" fmla="*/ 69565 h 533771"/>
                  <a:gd name="connsiteX813" fmla="*/ 167872 w 401077"/>
                  <a:gd name="connsiteY813" fmla="*/ 70447 h 533771"/>
                  <a:gd name="connsiteX814" fmla="*/ 168490 w 401077"/>
                  <a:gd name="connsiteY814" fmla="*/ 70182 h 533771"/>
                  <a:gd name="connsiteX815" fmla="*/ 167872 w 401077"/>
                  <a:gd name="connsiteY815" fmla="*/ 68683 h 533771"/>
                  <a:gd name="connsiteX816" fmla="*/ 168137 w 401077"/>
                  <a:gd name="connsiteY816" fmla="*/ 67802 h 533771"/>
                  <a:gd name="connsiteX817" fmla="*/ 168137 w 401077"/>
                  <a:gd name="connsiteY817" fmla="*/ 66655 h 533771"/>
                  <a:gd name="connsiteX818" fmla="*/ 168137 w 401077"/>
                  <a:gd name="connsiteY818" fmla="*/ 66038 h 533771"/>
                  <a:gd name="connsiteX819" fmla="*/ 169019 w 401077"/>
                  <a:gd name="connsiteY819" fmla="*/ 65421 h 533771"/>
                  <a:gd name="connsiteX820" fmla="*/ 169636 w 401077"/>
                  <a:gd name="connsiteY820" fmla="*/ 64804 h 533771"/>
                  <a:gd name="connsiteX821" fmla="*/ 169019 w 401077"/>
                  <a:gd name="connsiteY821" fmla="*/ 63922 h 533771"/>
                  <a:gd name="connsiteX822" fmla="*/ 167872 w 401077"/>
                  <a:gd name="connsiteY822" fmla="*/ 63305 h 533771"/>
                  <a:gd name="connsiteX823" fmla="*/ 166727 w 401077"/>
                  <a:gd name="connsiteY823" fmla="*/ 62159 h 533771"/>
                  <a:gd name="connsiteX824" fmla="*/ 165316 w 401077"/>
                  <a:gd name="connsiteY824" fmla="*/ 61277 h 533771"/>
                  <a:gd name="connsiteX825" fmla="*/ 163288 w 401077"/>
                  <a:gd name="connsiteY825" fmla="*/ 60395 h 533771"/>
                  <a:gd name="connsiteX826" fmla="*/ 161789 w 401077"/>
                  <a:gd name="connsiteY826" fmla="*/ 58896 h 533771"/>
                  <a:gd name="connsiteX827" fmla="*/ 161525 w 401077"/>
                  <a:gd name="connsiteY827" fmla="*/ 58279 h 533771"/>
                  <a:gd name="connsiteX828" fmla="*/ 161260 w 401077"/>
                  <a:gd name="connsiteY828" fmla="*/ 57662 h 533771"/>
                  <a:gd name="connsiteX829" fmla="*/ 161260 w 401077"/>
                  <a:gd name="connsiteY829" fmla="*/ 56780 h 533771"/>
                  <a:gd name="connsiteX830" fmla="*/ 160643 w 401077"/>
                  <a:gd name="connsiteY830" fmla="*/ 56516 h 533771"/>
                  <a:gd name="connsiteX831" fmla="*/ 161789 w 401077"/>
                  <a:gd name="connsiteY831" fmla="*/ 56516 h 533771"/>
                  <a:gd name="connsiteX832" fmla="*/ 162406 w 401077"/>
                  <a:gd name="connsiteY832" fmla="*/ 56516 h 533771"/>
                  <a:gd name="connsiteX833" fmla="*/ 162406 w 401077"/>
                  <a:gd name="connsiteY833" fmla="*/ 55634 h 533771"/>
                  <a:gd name="connsiteX834" fmla="*/ 162671 w 401077"/>
                  <a:gd name="connsiteY834" fmla="*/ 55370 h 533771"/>
                  <a:gd name="connsiteX835" fmla="*/ 163552 w 401077"/>
                  <a:gd name="connsiteY835" fmla="*/ 55987 h 533771"/>
                  <a:gd name="connsiteX836" fmla="*/ 164169 w 401077"/>
                  <a:gd name="connsiteY836" fmla="*/ 56251 h 533771"/>
                  <a:gd name="connsiteX837" fmla="*/ 165051 w 401077"/>
                  <a:gd name="connsiteY837" fmla="*/ 56516 h 533771"/>
                  <a:gd name="connsiteX838" fmla="*/ 166198 w 401077"/>
                  <a:gd name="connsiteY838" fmla="*/ 57133 h 533771"/>
                  <a:gd name="connsiteX839" fmla="*/ 166462 w 401077"/>
                  <a:gd name="connsiteY839" fmla="*/ 57398 h 533771"/>
                  <a:gd name="connsiteX840" fmla="*/ 167079 w 401077"/>
                  <a:gd name="connsiteY840" fmla="*/ 57662 h 533771"/>
                  <a:gd name="connsiteX841" fmla="*/ 167608 w 401077"/>
                  <a:gd name="connsiteY841" fmla="*/ 57927 h 533771"/>
                  <a:gd name="connsiteX842" fmla="*/ 169107 w 401077"/>
                  <a:gd name="connsiteY842" fmla="*/ 58544 h 533771"/>
                  <a:gd name="connsiteX843" fmla="*/ 169724 w 401077"/>
                  <a:gd name="connsiteY843" fmla="*/ 58544 h 533771"/>
                  <a:gd name="connsiteX844" fmla="*/ 170606 w 401077"/>
                  <a:gd name="connsiteY844" fmla="*/ 58808 h 533771"/>
                  <a:gd name="connsiteX845" fmla="*/ 171488 w 401077"/>
                  <a:gd name="connsiteY845" fmla="*/ 59426 h 533771"/>
                  <a:gd name="connsiteX846" fmla="*/ 172369 w 401077"/>
                  <a:gd name="connsiteY846" fmla="*/ 59690 h 533771"/>
                  <a:gd name="connsiteX847" fmla="*/ 173251 w 401077"/>
                  <a:gd name="connsiteY847" fmla="*/ 59690 h 533771"/>
                  <a:gd name="connsiteX848" fmla="*/ 172986 w 401077"/>
                  <a:gd name="connsiteY848" fmla="*/ 59426 h 533771"/>
                  <a:gd name="connsiteX849" fmla="*/ 173251 w 401077"/>
                  <a:gd name="connsiteY849" fmla="*/ 59426 h 533771"/>
                  <a:gd name="connsiteX850" fmla="*/ 174133 w 401077"/>
                  <a:gd name="connsiteY850" fmla="*/ 59161 h 533771"/>
                  <a:gd name="connsiteX851" fmla="*/ 174750 w 401077"/>
                  <a:gd name="connsiteY851" fmla="*/ 59161 h 533771"/>
                  <a:gd name="connsiteX852" fmla="*/ 175631 w 401077"/>
                  <a:gd name="connsiteY852" fmla="*/ 58896 h 533771"/>
                  <a:gd name="connsiteX853" fmla="*/ 176513 w 401077"/>
                  <a:gd name="connsiteY853" fmla="*/ 59161 h 533771"/>
                  <a:gd name="connsiteX854" fmla="*/ 176249 w 401077"/>
                  <a:gd name="connsiteY854" fmla="*/ 59426 h 533771"/>
                  <a:gd name="connsiteX855" fmla="*/ 177131 w 401077"/>
                  <a:gd name="connsiteY855" fmla="*/ 59955 h 533771"/>
                  <a:gd name="connsiteX856" fmla="*/ 178893 w 401077"/>
                  <a:gd name="connsiteY856" fmla="*/ 60219 h 533771"/>
                  <a:gd name="connsiteX857" fmla="*/ 180393 w 401077"/>
                  <a:gd name="connsiteY857" fmla="*/ 60836 h 533771"/>
                  <a:gd name="connsiteX858" fmla="*/ 181274 w 401077"/>
                  <a:gd name="connsiteY858" fmla="*/ 60572 h 533771"/>
                  <a:gd name="connsiteX859" fmla="*/ 182420 w 401077"/>
                  <a:gd name="connsiteY859" fmla="*/ 59073 h 533771"/>
                  <a:gd name="connsiteX860" fmla="*/ 182949 w 401077"/>
                  <a:gd name="connsiteY860" fmla="*/ 57574 h 533771"/>
                  <a:gd name="connsiteX861" fmla="*/ 182949 w 401077"/>
                  <a:gd name="connsiteY861" fmla="*/ 56428 h 533771"/>
                  <a:gd name="connsiteX862" fmla="*/ 182420 w 401077"/>
                  <a:gd name="connsiteY862" fmla="*/ 55811 h 533771"/>
                  <a:gd name="connsiteX863" fmla="*/ 181451 w 401077"/>
                  <a:gd name="connsiteY863" fmla="*/ 54488 h 533771"/>
                  <a:gd name="connsiteX864" fmla="*/ 170077 w 401077"/>
                  <a:gd name="connsiteY864" fmla="*/ 98837 h 533771"/>
                  <a:gd name="connsiteX865" fmla="*/ 169812 w 401077"/>
                  <a:gd name="connsiteY865" fmla="*/ 98572 h 533771"/>
                  <a:gd name="connsiteX866" fmla="*/ 169548 w 401077"/>
                  <a:gd name="connsiteY866" fmla="*/ 97955 h 533771"/>
                  <a:gd name="connsiteX867" fmla="*/ 170694 w 401077"/>
                  <a:gd name="connsiteY867" fmla="*/ 98572 h 533771"/>
                  <a:gd name="connsiteX868" fmla="*/ 170077 w 401077"/>
                  <a:gd name="connsiteY868" fmla="*/ 98837 h 533771"/>
                  <a:gd name="connsiteX869" fmla="*/ 181451 w 401077"/>
                  <a:gd name="connsiteY869" fmla="*/ 102363 h 533771"/>
                  <a:gd name="connsiteX870" fmla="*/ 181186 w 401077"/>
                  <a:gd name="connsiteY870" fmla="*/ 102363 h 533771"/>
                  <a:gd name="connsiteX871" fmla="*/ 181451 w 401077"/>
                  <a:gd name="connsiteY871" fmla="*/ 102363 h 533771"/>
                  <a:gd name="connsiteX872" fmla="*/ 170694 w 401077"/>
                  <a:gd name="connsiteY872" fmla="*/ 110475 h 533771"/>
                  <a:gd name="connsiteX873" fmla="*/ 170430 w 401077"/>
                  <a:gd name="connsiteY873" fmla="*/ 110475 h 533771"/>
                  <a:gd name="connsiteX874" fmla="*/ 170694 w 401077"/>
                  <a:gd name="connsiteY874" fmla="*/ 110475 h 533771"/>
                  <a:gd name="connsiteX875" fmla="*/ 207372 w 401077"/>
                  <a:gd name="connsiteY875" fmla="*/ 156323 h 533771"/>
                  <a:gd name="connsiteX876" fmla="*/ 207372 w 401077"/>
                  <a:gd name="connsiteY876" fmla="*/ 156058 h 533771"/>
                  <a:gd name="connsiteX877" fmla="*/ 207372 w 401077"/>
                  <a:gd name="connsiteY877" fmla="*/ 155794 h 533771"/>
                  <a:gd name="connsiteX878" fmla="*/ 207636 w 401077"/>
                  <a:gd name="connsiteY878" fmla="*/ 156058 h 533771"/>
                  <a:gd name="connsiteX879" fmla="*/ 207372 w 401077"/>
                  <a:gd name="connsiteY879" fmla="*/ 156323 h 533771"/>
                  <a:gd name="connsiteX880" fmla="*/ 254983 w 401077"/>
                  <a:gd name="connsiteY880" fmla="*/ 165051 h 533771"/>
                  <a:gd name="connsiteX881" fmla="*/ 254366 w 401077"/>
                  <a:gd name="connsiteY881" fmla="*/ 164787 h 533771"/>
                  <a:gd name="connsiteX882" fmla="*/ 253749 w 401077"/>
                  <a:gd name="connsiteY882" fmla="*/ 164169 h 533771"/>
                  <a:gd name="connsiteX883" fmla="*/ 254013 w 401077"/>
                  <a:gd name="connsiteY883" fmla="*/ 163905 h 533771"/>
                  <a:gd name="connsiteX884" fmla="*/ 254630 w 401077"/>
                  <a:gd name="connsiteY884" fmla="*/ 164169 h 533771"/>
                  <a:gd name="connsiteX885" fmla="*/ 254983 w 401077"/>
                  <a:gd name="connsiteY885" fmla="*/ 165051 h 533771"/>
                  <a:gd name="connsiteX886" fmla="*/ 211163 w 401077"/>
                  <a:gd name="connsiteY886" fmla="*/ 174926 h 533771"/>
                  <a:gd name="connsiteX887" fmla="*/ 210899 w 401077"/>
                  <a:gd name="connsiteY887" fmla="*/ 174662 h 533771"/>
                  <a:gd name="connsiteX888" fmla="*/ 210899 w 401077"/>
                  <a:gd name="connsiteY888" fmla="*/ 174397 h 533771"/>
                  <a:gd name="connsiteX889" fmla="*/ 210899 w 401077"/>
                  <a:gd name="connsiteY889" fmla="*/ 173780 h 533771"/>
                  <a:gd name="connsiteX890" fmla="*/ 211163 w 401077"/>
                  <a:gd name="connsiteY890" fmla="*/ 174044 h 533771"/>
                  <a:gd name="connsiteX891" fmla="*/ 211163 w 401077"/>
                  <a:gd name="connsiteY891" fmla="*/ 174926 h 533771"/>
                  <a:gd name="connsiteX892" fmla="*/ 258157 w 401077"/>
                  <a:gd name="connsiteY892" fmla="*/ 174926 h 533771"/>
                  <a:gd name="connsiteX893" fmla="*/ 257804 w 401077"/>
                  <a:gd name="connsiteY893" fmla="*/ 174309 h 533771"/>
                  <a:gd name="connsiteX894" fmla="*/ 258157 w 401077"/>
                  <a:gd name="connsiteY894" fmla="*/ 174573 h 533771"/>
                  <a:gd name="connsiteX895" fmla="*/ 258422 w 401077"/>
                  <a:gd name="connsiteY895" fmla="*/ 174838 h 533771"/>
                  <a:gd name="connsiteX896" fmla="*/ 258157 w 401077"/>
                  <a:gd name="connsiteY896" fmla="*/ 174838 h 533771"/>
                  <a:gd name="connsiteX897" fmla="*/ 251721 w 401077"/>
                  <a:gd name="connsiteY897" fmla="*/ 177571 h 533771"/>
                  <a:gd name="connsiteX898" fmla="*/ 251456 w 401077"/>
                  <a:gd name="connsiteY898" fmla="*/ 177571 h 533771"/>
                  <a:gd name="connsiteX899" fmla="*/ 251456 w 401077"/>
                  <a:gd name="connsiteY899" fmla="*/ 177307 h 533771"/>
                  <a:gd name="connsiteX900" fmla="*/ 251721 w 401077"/>
                  <a:gd name="connsiteY900" fmla="*/ 177571 h 533771"/>
                  <a:gd name="connsiteX901" fmla="*/ 251192 w 401077"/>
                  <a:gd name="connsiteY901" fmla="*/ 177571 h 533771"/>
                  <a:gd name="connsiteX902" fmla="*/ 251192 w 401077"/>
                  <a:gd name="connsiteY902" fmla="*/ 177571 h 533771"/>
                  <a:gd name="connsiteX903" fmla="*/ 251456 w 401077"/>
                  <a:gd name="connsiteY903" fmla="*/ 177307 h 533771"/>
                  <a:gd name="connsiteX904" fmla="*/ 251192 w 401077"/>
                  <a:gd name="connsiteY904" fmla="*/ 177571 h 533771"/>
                  <a:gd name="connsiteX905" fmla="*/ 252955 w 401077"/>
                  <a:gd name="connsiteY905" fmla="*/ 177836 h 533771"/>
                  <a:gd name="connsiteX906" fmla="*/ 252338 w 401077"/>
                  <a:gd name="connsiteY906" fmla="*/ 177836 h 533771"/>
                  <a:gd name="connsiteX907" fmla="*/ 252074 w 401077"/>
                  <a:gd name="connsiteY907" fmla="*/ 177571 h 533771"/>
                  <a:gd name="connsiteX908" fmla="*/ 252074 w 401077"/>
                  <a:gd name="connsiteY908" fmla="*/ 177836 h 533771"/>
                  <a:gd name="connsiteX909" fmla="*/ 251721 w 401077"/>
                  <a:gd name="connsiteY909" fmla="*/ 177571 h 533771"/>
                  <a:gd name="connsiteX910" fmla="*/ 252074 w 401077"/>
                  <a:gd name="connsiteY910" fmla="*/ 177307 h 533771"/>
                  <a:gd name="connsiteX911" fmla="*/ 251721 w 401077"/>
                  <a:gd name="connsiteY911" fmla="*/ 177042 h 533771"/>
                  <a:gd name="connsiteX912" fmla="*/ 252074 w 401077"/>
                  <a:gd name="connsiteY912" fmla="*/ 177042 h 533771"/>
                  <a:gd name="connsiteX913" fmla="*/ 252955 w 401077"/>
                  <a:gd name="connsiteY913" fmla="*/ 177836 h 533771"/>
                  <a:gd name="connsiteX914" fmla="*/ 261684 w 401077"/>
                  <a:gd name="connsiteY914" fmla="*/ 179070 h 533771"/>
                  <a:gd name="connsiteX915" fmla="*/ 261155 w 401077"/>
                  <a:gd name="connsiteY915" fmla="*/ 178805 h 533771"/>
                  <a:gd name="connsiteX916" fmla="*/ 260890 w 401077"/>
                  <a:gd name="connsiteY916" fmla="*/ 178188 h 533771"/>
                  <a:gd name="connsiteX917" fmla="*/ 261419 w 401077"/>
                  <a:gd name="connsiteY917" fmla="*/ 178188 h 533771"/>
                  <a:gd name="connsiteX918" fmla="*/ 262037 w 401077"/>
                  <a:gd name="connsiteY918" fmla="*/ 179070 h 533771"/>
                  <a:gd name="connsiteX919" fmla="*/ 261684 w 401077"/>
                  <a:gd name="connsiteY919" fmla="*/ 179070 h 533771"/>
                  <a:gd name="connsiteX920" fmla="*/ 258510 w 401077"/>
                  <a:gd name="connsiteY920" fmla="*/ 178717 h 533771"/>
                  <a:gd name="connsiteX921" fmla="*/ 257893 w 401077"/>
                  <a:gd name="connsiteY921" fmla="*/ 178100 h 533771"/>
                  <a:gd name="connsiteX922" fmla="*/ 258245 w 401077"/>
                  <a:gd name="connsiteY922" fmla="*/ 178365 h 533771"/>
                  <a:gd name="connsiteX923" fmla="*/ 258510 w 401077"/>
                  <a:gd name="connsiteY923" fmla="*/ 178717 h 533771"/>
                  <a:gd name="connsiteX924" fmla="*/ 260537 w 401077"/>
                  <a:gd name="connsiteY924" fmla="*/ 179599 h 533771"/>
                  <a:gd name="connsiteX925" fmla="*/ 259920 w 401077"/>
                  <a:gd name="connsiteY925" fmla="*/ 179599 h 533771"/>
                  <a:gd name="connsiteX926" fmla="*/ 259304 w 401077"/>
                  <a:gd name="connsiteY926" fmla="*/ 178982 h 533771"/>
                  <a:gd name="connsiteX927" fmla="*/ 259304 w 401077"/>
                  <a:gd name="connsiteY927" fmla="*/ 178717 h 533771"/>
                  <a:gd name="connsiteX928" fmla="*/ 260185 w 401077"/>
                  <a:gd name="connsiteY928" fmla="*/ 179334 h 533771"/>
                  <a:gd name="connsiteX929" fmla="*/ 260537 w 401077"/>
                  <a:gd name="connsiteY929" fmla="*/ 179599 h 533771"/>
                  <a:gd name="connsiteX930" fmla="*/ 199525 w 401077"/>
                  <a:gd name="connsiteY930" fmla="*/ 190708 h 533771"/>
                  <a:gd name="connsiteX931" fmla="*/ 198379 w 401077"/>
                  <a:gd name="connsiteY931" fmla="*/ 190444 h 533771"/>
                  <a:gd name="connsiteX932" fmla="*/ 198379 w 401077"/>
                  <a:gd name="connsiteY932" fmla="*/ 189827 h 533771"/>
                  <a:gd name="connsiteX933" fmla="*/ 198996 w 401077"/>
                  <a:gd name="connsiteY933" fmla="*/ 189827 h 533771"/>
                  <a:gd name="connsiteX934" fmla="*/ 199261 w 401077"/>
                  <a:gd name="connsiteY934" fmla="*/ 189209 h 533771"/>
                  <a:gd name="connsiteX935" fmla="*/ 198996 w 401077"/>
                  <a:gd name="connsiteY935" fmla="*/ 188592 h 533771"/>
                  <a:gd name="connsiteX936" fmla="*/ 198644 w 401077"/>
                  <a:gd name="connsiteY936" fmla="*/ 187710 h 533771"/>
                  <a:gd name="connsiteX937" fmla="*/ 199261 w 401077"/>
                  <a:gd name="connsiteY937" fmla="*/ 186564 h 533771"/>
                  <a:gd name="connsiteX938" fmla="*/ 198379 w 401077"/>
                  <a:gd name="connsiteY938" fmla="*/ 185947 h 533771"/>
                  <a:gd name="connsiteX939" fmla="*/ 197497 w 401077"/>
                  <a:gd name="connsiteY939" fmla="*/ 185683 h 533771"/>
                  <a:gd name="connsiteX940" fmla="*/ 196968 w 401077"/>
                  <a:gd name="connsiteY940" fmla="*/ 186564 h 533771"/>
                  <a:gd name="connsiteX941" fmla="*/ 196704 w 401077"/>
                  <a:gd name="connsiteY941" fmla="*/ 185947 h 533771"/>
                  <a:gd name="connsiteX942" fmla="*/ 196086 w 401077"/>
                  <a:gd name="connsiteY942" fmla="*/ 185065 h 533771"/>
                  <a:gd name="connsiteX943" fmla="*/ 195822 w 401077"/>
                  <a:gd name="connsiteY943" fmla="*/ 183919 h 533771"/>
                  <a:gd name="connsiteX944" fmla="*/ 195822 w 401077"/>
                  <a:gd name="connsiteY944" fmla="*/ 183302 h 533771"/>
                  <a:gd name="connsiteX945" fmla="*/ 195822 w 401077"/>
                  <a:gd name="connsiteY945" fmla="*/ 183038 h 533771"/>
                  <a:gd name="connsiteX946" fmla="*/ 195822 w 401077"/>
                  <a:gd name="connsiteY946" fmla="*/ 182156 h 533771"/>
                  <a:gd name="connsiteX947" fmla="*/ 195822 w 401077"/>
                  <a:gd name="connsiteY947" fmla="*/ 181274 h 533771"/>
                  <a:gd name="connsiteX948" fmla="*/ 196439 w 401077"/>
                  <a:gd name="connsiteY948" fmla="*/ 180393 h 533771"/>
                  <a:gd name="connsiteX949" fmla="*/ 196792 w 401077"/>
                  <a:gd name="connsiteY949" fmla="*/ 179775 h 533771"/>
                  <a:gd name="connsiteX950" fmla="*/ 197057 w 401077"/>
                  <a:gd name="connsiteY950" fmla="*/ 179511 h 533771"/>
                  <a:gd name="connsiteX951" fmla="*/ 197057 w 401077"/>
                  <a:gd name="connsiteY951" fmla="*/ 178629 h 533771"/>
                  <a:gd name="connsiteX952" fmla="*/ 197321 w 401077"/>
                  <a:gd name="connsiteY952" fmla="*/ 178012 h 533771"/>
                  <a:gd name="connsiteX953" fmla="*/ 197321 w 401077"/>
                  <a:gd name="connsiteY953" fmla="*/ 177747 h 533771"/>
                  <a:gd name="connsiteX954" fmla="*/ 198202 w 401077"/>
                  <a:gd name="connsiteY954" fmla="*/ 177747 h 533771"/>
                  <a:gd name="connsiteX955" fmla="*/ 198467 w 401077"/>
                  <a:gd name="connsiteY955" fmla="*/ 178365 h 533771"/>
                  <a:gd name="connsiteX956" fmla="*/ 199349 w 401077"/>
                  <a:gd name="connsiteY956" fmla="*/ 180657 h 533771"/>
                  <a:gd name="connsiteX957" fmla="*/ 199349 w 401077"/>
                  <a:gd name="connsiteY957" fmla="*/ 181803 h 533771"/>
                  <a:gd name="connsiteX958" fmla="*/ 199349 w 401077"/>
                  <a:gd name="connsiteY958" fmla="*/ 182685 h 533771"/>
                  <a:gd name="connsiteX959" fmla="*/ 199613 w 401077"/>
                  <a:gd name="connsiteY959" fmla="*/ 183567 h 533771"/>
                  <a:gd name="connsiteX960" fmla="*/ 199613 w 401077"/>
                  <a:gd name="connsiteY960" fmla="*/ 184184 h 533771"/>
                  <a:gd name="connsiteX961" fmla="*/ 199878 w 401077"/>
                  <a:gd name="connsiteY961" fmla="*/ 184448 h 533771"/>
                  <a:gd name="connsiteX962" fmla="*/ 200142 w 401077"/>
                  <a:gd name="connsiteY962" fmla="*/ 184448 h 533771"/>
                  <a:gd name="connsiteX963" fmla="*/ 199878 w 401077"/>
                  <a:gd name="connsiteY963" fmla="*/ 183831 h 533771"/>
                  <a:gd name="connsiteX964" fmla="*/ 200495 w 401077"/>
                  <a:gd name="connsiteY964" fmla="*/ 184096 h 533771"/>
                  <a:gd name="connsiteX965" fmla="*/ 201377 w 401077"/>
                  <a:gd name="connsiteY965" fmla="*/ 183831 h 533771"/>
                  <a:gd name="connsiteX966" fmla="*/ 201729 w 401077"/>
                  <a:gd name="connsiteY966" fmla="*/ 183567 h 533771"/>
                  <a:gd name="connsiteX967" fmla="*/ 202347 w 401077"/>
                  <a:gd name="connsiteY967" fmla="*/ 183567 h 533771"/>
                  <a:gd name="connsiteX968" fmla="*/ 202611 w 401077"/>
                  <a:gd name="connsiteY968" fmla="*/ 183831 h 533771"/>
                  <a:gd name="connsiteX969" fmla="*/ 202876 w 401077"/>
                  <a:gd name="connsiteY969" fmla="*/ 186212 h 533771"/>
                  <a:gd name="connsiteX970" fmla="*/ 203140 w 401077"/>
                  <a:gd name="connsiteY970" fmla="*/ 187622 h 533771"/>
                  <a:gd name="connsiteX971" fmla="*/ 202523 w 401077"/>
                  <a:gd name="connsiteY971" fmla="*/ 188504 h 533771"/>
                  <a:gd name="connsiteX972" fmla="*/ 201906 w 401077"/>
                  <a:gd name="connsiteY972" fmla="*/ 189121 h 533771"/>
                  <a:gd name="connsiteX973" fmla="*/ 201289 w 401077"/>
                  <a:gd name="connsiteY973" fmla="*/ 190003 h 533771"/>
                  <a:gd name="connsiteX974" fmla="*/ 200760 w 401077"/>
                  <a:gd name="connsiteY974" fmla="*/ 190267 h 533771"/>
                  <a:gd name="connsiteX975" fmla="*/ 200142 w 401077"/>
                  <a:gd name="connsiteY975" fmla="*/ 190267 h 533771"/>
                  <a:gd name="connsiteX976" fmla="*/ 199878 w 401077"/>
                  <a:gd name="connsiteY976" fmla="*/ 190532 h 533771"/>
                  <a:gd name="connsiteX977" fmla="*/ 199525 w 401077"/>
                  <a:gd name="connsiteY977" fmla="*/ 190532 h 533771"/>
                  <a:gd name="connsiteX978" fmla="*/ 171576 w 401077"/>
                  <a:gd name="connsiteY978" fmla="*/ 189562 h 533771"/>
                  <a:gd name="connsiteX979" fmla="*/ 171311 w 401077"/>
                  <a:gd name="connsiteY979" fmla="*/ 189827 h 533771"/>
                  <a:gd name="connsiteX980" fmla="*/ 171311 w 401077"/>
                  <a:gd name="connsiteY980" fmla="*/ 189562 h 533771"/>
                  <a:gd name="connsiteX981" fmla="*/ 171576 w 401077"/>
                  <a:gd name="connsiteY981" fmla="*/ 189562 h 533771"/>
                  <a:gd name="connsiteX982" fmla="*/ 51667 w 401077"/>
                  <a:gd name="connsiteY982" fmla="*/ 196263 h 533771"/>
                  <a:gd name="connsiteX983" fmla="*/ 51402 w 401077"/>
                  <a:gd name="connsiteY983" fmla="*/ 195998 h 533771"/>
                  <a:gd name="connsiteX984" fmla="*/ 50785 w 401077"/>
                  <a:gd name="connsiteY984" fmla="*/ 195998 h 533771"/>
                  <a:gd name="connsiteX985" fmla="*/ 50168 w 401077"/>
                  <a:gd name="connsiteY985" fmla="*/ 195734 h 533771"/>
                  <a:gd name="connsiteX986" fmla="*/ 49639 w 401077"/>
                  <a:gd name="connsiteY986" fmla="*/ 195117 h 533771"/>
                  <a:gd name="connsiteX987" fmla="*/ 49022 w 401077"/>
                  <a:gd name="connsiteY987" fmla="*/ 194588 h 533771"/>
                  <a:gd name="connsiteX988" fmla="*/ 49639 w 401077"/>
                  <a:gd name="connsiteY988" fmla="*/ 194588 h 533771"/>
                  <a:gd name="connsiteX989" fmla="*/ 49904 w 401077"/>
                  <a:gd name="connsiteY989" fmla="*/ 194323 h 533771"/>
                  <a:gd name="connsiteX990" fmla="*/ 50785 w 401077"/>
                  <a:gd name="connsiteY990" fmla="*/ 194059 h 533771"/>
                  <a:gd name="connsiteX991" fmla="*/ 51402 w 401077"/>
                  <a:gd name="connsiteY991" fmla="*/ 194059 h 533771"/>
                  <a:gd name="connsiteX992" fmla="*/ 51402 w 401077"/>
                  <a:gd name="connsiteY992" fmla="*/ 194323 h 533771"/>
                  <a:gd name="connsiteX993" fmla="*/ 52284 w 401077"/>
                  <a:gd name="connsiteY993" fmla="*/ 195469 h 533771"/>
                  <a:gd name="connsiteX994" fmla="*/ 52284 w 401077"/>
                  <a:gd name="connsiteY994" fmla="*/ 195734 h 533771"/>
                  <a:gd name="connsiteX995" fmla="*/ 51667 w 401077"/>
                  <a:gd name="connsiteY995" fmla="*/ 196263 h 533771"/>
                  <a:gd name="connsiteX996" fmla="*/ 181715 w 401077"/>
                  <a:gd name="connsiteY996" fmla="*/ 208518 h 533771"/>
                  <a:gd name="connsiteX997" fmla="*/ 180833 w 401077"/>
                  <a:gd name="connsiteY997" fmla="*/ 207989 h 533771"/>
                  <a:gd name="connsiteX998" fmla="*/ 180216 w 401077"/>
                  <a:gd name="connsiteY998" fmla="*/ 207725 h 533771"/>
                  <a:gd name="connsiteX999" fmla="*/ 179864 w 401077"/>
                  <a:gd name="connsiteY999" fmla="*/ 207108 h 533771"/>
                  <a:gd name="connsiteX1000" fmla="*/ 180481 w 401077"/>
                  <a:gd name="connsiteY1000" fmla="*/ 207725 h 533771"/>
                  <a:gd name="connsiteX1001" fmla="*/ 181098 w 401077"/>
                  <a:gd name="connsiteY1001" fmla="*/ 207460 h 533771"/>
                  <a:gd name="connsiteX1002" fmla="*/ 181098 w 401077"/>
                  <a:gd name="connsiteY1002" fmla="*/ 207196 h 533771"/>
                  <a:gd name="connsiteX1003" fmla="*/ 181715 w 401077"/>
                  <a:gd name="connsiteY1003" fmla="*/ 207196 h 533771"/>
                  <a:gd name="connsiteX1004" fmla="*/ 182332 w 401077"/>
                  <a:gd name="connsiteY1004" fmla="*/ 207460 h 533771"/>
                  <a:gd name="connsiteX1005" fmla="*/ 182597 w 401077"/>
                  <a:gd name="connsiteY1005" fmla="*/ 207196 h 533771"/>
                  <a:gd name="connsiteX1006" fmla="*/ 182597 w 401077"/>
                  <a:gd name="connsiteY1006" fmla="*/ 206931 h 533771"/>
                  <a:gd name="connsiteX1007" fmla="*/ 183214 w 401077"/>
                  <a:gd name="connsiteY1007" fmla="*/ 207548 h 533771"/>
                  <a:gd name="connsiteX1008" fmla="*/ 183478 w 401077"/>
                  <a:gd name="connsiteY1008" fmla="*/ 208166 h 533771"/>
                  <a:gd name="connsiteX1009" fmla="*/ 182861 w 401077"/>
                  <a:gd name="connsiteY1009" fmla="*/ 208430 h 533771"/>
                  <a:gd name="connsiteX1010" fmla="*/ 182332 w 401077"/>
                  <a:gd name="connsiteY1010" fmla="*/ 208166 h 533771"/>
                  <a:gd name="connsiteX1011" fmla="*/ 181715 w 401077"/>
                  <a:gd name="connsiteY1011" fmla="*/ 208430 h 533771"/>
                  <a:gd name="connsiteX1012" fmla="*/ 181715 w 401077"/>
                  <a:gd name="connsiteY1012" fmla="*/ 208518 h 533771"/>
                  <a:gd name="connsiteX1013" fmla="*/ 117000 w 401077"/>
                  <a:gd name="connsiteY1013" fmla="*/ 230384 h 533771"/>
                  <a:gd name="connsiteX1014" fmla="*/ 116382 w 401077"/>
                  <a:gd name="connsiteY1014" fmla="*/ 230120 h 533771"/>
                  <a:gd name="connsiteX1015" fmla="*/ 116118 w 401077"/>
                  <a:gd name="connsiteY1015" fmla="*/ 229855 h 533771"/>
                  <a:gd name="connsiteX1016" fmla="*/ 116118 w 401077"/>
                  <a:gd name="connsiteY1016" fmla="*/ 229590 h 533771"/>
                  <a:gd name="connsiteX1017" fmla="*/ 115236 w 401077"/>
                  <a:gd name="connsiteY1017" fmla="*/ 229326 h 533771"/>
                  <a:gd name="connsiteX1018" fmla="*/ 114707 w 401077"/>
                  <a:gd name="connsiteY1018" fmla="*/ 229326 h 533771"/>
                  <a:gd name="connsiteX1019" fmla="*/ 114707 w 401077"/>
                  <a:gd name="connsiteY1019" fmla="*/ 228709 h 533771"/>
                  <a:gd name="connsiteX1020" fmla="*/ 114090 w 401077"/>
                  <a:gd name="connsiteY1020" fmla="*/ 228180 h 533771"/>
                  <a:gd name="connsiteX1021" fmla="*/ 114090 w 401077"/>
                  <a:gd name="connsiteY1021" fmla="*/ 227915 h 533771"/>
                  <a:gd name="connsiteX1022" fmla="*/ 113826 w 401077"/>
                  <a:gd name="connsiteY1022" fmla="*/ 227298 h 533771"/>
                  <a:gd name="connsiteX1023" fmla="*/ 114442 w 401077"/>
                  <a:gd name="connsiteY1023" fmla="*/ 227298 h 533771"/>
                  <a:gd name="connsiteX1024" fmla="*/ 114178 w 401077"/>
                  <a:gd name="connsiteY1024" fmla="*/ 227034 h 533771"/>
                  <a:gd name="connsiteX1025" fmla="*/ 114442 w 401077"/>
                  <a:gd name="connsiteY1025" fmla="*/ 226769 h 533771"/>
                  <a:gd name="connsiteX1026" fmla="*/ 114795 w 401077"/>
                  <a:gd name="connsiteY1026" fmla="*/ 226152 h 533771"/>
                  <a:gd name="connsiteX1027" fmla="*/ 115324 w 401077"/>
                  <a:gd name="connsiteY1027" fmla="*/ 226152 h 533771"/>
                  <a:gd name="connsiteX1028" fmla="*/ 115324 w 401077"/>
                  <a:gd name="connsiteY1028" fmla="*/ 225887 h 533771"/>
                  <a:gd name="connsiteX1029" fmla="*/ 115942 w 401077"/>
                  <a:gd name="connsiteY1029" fmla="*/ 226505 h 533771"/>
                  <a:gd name="connsiteX1030" fmla="*/ 116294 w 401077"/>
                  <a:gd name="connsiteY1030" fmla="*/ 226505 h 533771"/>
                  <a:gd name="connsiteX1031" fmla="*/ 116559 w 401077"/>
                  <a:gd name="connsiteY1031" fmla="*/ 226505 h 533771"/>
                  <a:gd name="connsiteX1032" fmla="*/ 117176 w 401077"/>
                  <a:gd name="connsiteY1032" fmla="*/ 226769 h 533771"/>
                  <a:gd name="connsiteX1033" fmla="*/ 117793 w 401077"/>
                  <a:gd name="connsiteY1033" fmla="*/ 227034 h 533771"/>
                  <a:gd name="connsiteX1034" fmla="*/ 117793 w 401077"/>
                  <a:gd name="connsiteY1034" fmla="*/ 227298 h 533771"/>
                  <a:gd name="connsiteX1035" fmla="*/ 118322 w 401077"/>
                  <a:gd name="connsiteY1035" fmla="*/ 227915 h 533771"/>
                  <a:gd name="connsiteX1036" fmla="*/ 118322 w 401077"/>
                  <a:gd name="connsiteY1036" fmla="*/ 228180 h 533771"/>
                  <a:gd name="connsiteX1037" fmla="*/ 118939 w 401077"/>
                  <a:gd name="connsiteY1037" fmla="*/ 229061 h 533771"/>
                  <a:gd name="connsiteX1038" fmla="*/ 118675 w 401077"/>
                  <a:gd name="connsiteY1038" fmla="*/ 229679 h 533771"/>
                  <a:gd name="connsiteX1039" fmla="*/ 118675 w 401077"/>
                  <a:gd name="connsiteY1039" fmla="*/ 229414 h 533771"/>
                  <a:gd name="connsiteX1040" fmla="*/ 118322 w 401077"/>
                  <a:gd name="connsiteY1040" fmla="*/ 229150 h 533771"/>
                  <a:gd name="connsiteX1041" fmla="*/ 118322 w 401077"/>
                  <a:gd name="connsiteY1041" fmla="*/ 229414 h 533771"/>
                  <a:gd name="connsiteX1042" fmla="*/ 117793 w 401077"/>
                  <a:gd name="connsiteY1042" fmla="*/ 229679 h 533771"/>
                  <a:gd name="connsiteX1043" fmla="*/ 118322 w 401077"/>
                  <a:gd name="connsiteY1043" fmla="*/ 229679 h 533771"/>
                  <a:gd name="connsiteX1044" fmla="*/ 118675 w 401077"/>
                  <a:gd name="connsiteY1044" fmla="*/ 230296 h 533771"/>
                  <a:gd name="connsiteX1045" fmla="*/ 118058 w 401077"/>
                  <a:gd name="connsiteY1045" fmla="*/ 230296 h 533771"/>
                  <a:gd name="connsiteX1046" fmla="*/ 117793 w 401077"/>
                  <a:gd name="connsiteY1046" fmla="*/ 230296 h 533771"/>
                  <a:gd name="connsiteX1047" fmla="*/ 117176 w 401077"/>
                  <a:gd name="connsiteY1047" fmla="*/ 230031 h 533771"/>
                  <a:gd name="connsiteX1048" fmla="*/ 117176 w 401077"/>
                  <a:gd name="connsiteY1048" fmla="*/ 230296 h 533771"/>
                  <a:gd name="connsiteX1049" fmla="*/ 117176 w 401077"/>
                  <a:gd name="connsiteY1049" fmla="*/ 230384 h 533771"/>
                  <a:gd name="connsiteX1050" fmla="*/ 112591 w 401077"/>
                  <a:gd name="connsiteY1050" fmla="*/ 234704 h 533771"/>
                  <a:gd name="connsiteX1051" fmla="*/ 111709 w 401077"/>
                  <a:gd name="connsiteY1051" fmla="*/ 234440 h 533771"/>
                  <a:gd name="connsiteX1052" fmla="*/ 111180 w 401077"/>
                  <a:gd name="connsiteY1052" fmla="*/ 234175 h 533771"/>
                  <a:gd name="connsiteX1053" fmla="*/ 111180 w 401077"/>
                  <a:gd name="connsiteY1053" fmla="*/ 233911 h 533771"/>
                  <a:gd name="connsiteX1054" fmla="*/ 111180 w 401077"/>
                  <a:gd name="connsiteY1054" fmla="*/ 233558 h 533771"/>
                  <a:gd name="connsiteX1055" fmla="*/ 111709 w 401077"/>
                  <a:gd name="connsiteY1055" fmla="*/ 232941 h 533771"/>
                  <a:gd name="connsiteX1056" fmla="*/ 112062 w 401077"/>
                  <a:gd name="connsiteY1056" fmla="*/ 232941 h 533771"/>
                  <a:gd name="connsiteX1057" fmla="*/ 112062 w 401077"/>
                  <a:gd name="connsiteY1057" fmla="*/ 232412 h 533771"/>
                  <a:gd name="connsiteX1058" fmla="*/ 112679 w 401077"/>
                  <a:gd name="connsiteY1058" fmla="*/ 232676 h 533771"/>
                  <a:gd name="connsiteX1059" fmla="*/ 112944 w 401077"/>
                  <a:gd name="connsiteY1059" fmla="*/ 232412 h 533771"/>
                  <a:gd name="connsiteX1060" fmla="*/ 113561 w 401077"/>
                  <a:gd name="connsiteY1060" fmla="*/ 232412 h 533771"/>
                  <a:gd name="connsiteX1061" fmla="*/ 113561 w 401077"/>
                  <a:gd name="connsiteY1061" fmla="*/ 232941 h 533771"/>
                  <a:gd name="connsiteX1062" fmla="*/ 112944 w 401077"/>
                  <a:gd name="connsiteY1062" fmla="*/ 233205 h 533771"/>
                  <a:gd name="connsiteX1063" fmla="*/ 112944 w 401077"/>
                  <a:gd name="connsiteY1063" fmla="*/ 233470 h 533771"/>
                  <a:gd name="connsiteX1064" fmla="*/ 113208 w 401077"/>
                  <a:gd name="connsiteY1064" fmla="*/ 234087 h 533771"/>
                  <a:gd name="connsiteX1065" fmla="*/ 113208 w 401077"/>
                  <a:gd name="connsiteY1065" fmla="*/ 234352 h 533771"/>
                  <a:gd name="connsiteX1066" fmla="*/ 112591 w 401077"/>
                  <a:gd name="connsiteY1066" fmla="*/ 234087 h 533771"/>
                  <a:gd name="connsiteX1067" fmla="*/ 112326 w 401077"/>
                  <a:gd name="connsiteY1067" fmla="*/ 233470 h 533771"/>
                  <a:gd name="connsiteX1068" fmla="*/ 112062 w 401077"/>
                  <a:gd name="connsiteY1068" fmla="*/ 233470 h 533771"/>
                  <a:gd name="connsiteX1069" fmla="*/ 111709 w 401077"/>
                  <a:gd name="connsiteY1069" fmla="*/ 233470 h 533771"/>
                  <a:gd name="connsiteX1070" fmla="*/ 112062 w 401077"/>
                  <a:gd name="connsiteY1070" fmla="*/ 234087 h 533771"/>
                  <a:gd name="connsiteX1071" fmla="*/ 112591 w 401077"/>
                  <a:gd name="connsiteY1071" fmla="*/ 234704 h 533771"/>
                  <a:gd name="connsiteX1072" fmla="*/ 114971 w 401077"/>
                  <a:gd name="connsiteY1072" fmla="*/ 232941 h 533771"/>
                  <a:gd name="connsiteX1073" fmla="*/ 114355 w 401077"/>
                  <a:gd name="connsiteY1073" fmla="*/ 232412 h 533771"/>
                  <a:gd name="connsiteX1074" fmla="*/ 114355 w 401077"/>
                  <a:gd name="connsiteY1074" fmla="*/ 232147 h 533771"/>
                  <a:gd name="connsiteX1075" fmla="*/ 114090 w 401077"/>
                  <a:gd name="connsiteY1075" fmla="*/ 231883 h 533771"/>
                  <a:gd name="connsiteX1076" fmla="*/ 113826 w 401077"/>
                  <a:gd name="connsiteY1076" fmla="*/ 231266 h 533771"/>
                  <a:gd name="connsiteX1077" fmla="*/ 114442 w 401077"/>
                  <a:gd name="connsiteY1077" fmla="*/ 231530 h 533771"/>
                  <a:gd name="connsiteX1078" fmla="*/ 114178 w 401077"/>
                  <a:gd name="connsiteY1078" fmla="*/ 231266 h 533771"/>
                  <a:gd name="connsiteX1079" fmla="*/ 114795 w 401077"/>
                  <a:gd name="connsiteY1079" fmla="*/ 231001 h 533771"/>
                  <a:gd name="connsiteX1080" fmla="*/ 115324 w 401077"/>
                  <a:gd name="connsiteY1080" fmla="*/ 231530 h 533771"/>
                  <a:gd name="connsiteX1081" fmla="*/ 115324 w 401077"/>
                  <a:gd name="connsiteY1081" fmla="*/ 231795 h 533771"/>
                  <a:gd name="connsiteX1082" fmla="*/ 115942 w 401077"/>
                  <a:gd name="connsiteY1082" fmla="*/ 232059 h 533771"/>
                  <a:gd name="connsiteX1083" fmla="*/ 115677 w 401077"/>
                  <a:gd name="connsiteY1083" fmla="*/ 232059 h 533771"/>
                  <a:gd name="connsiteX1084" fmla="*/ 115324 w 401077"/>
                  <a:gd name="connsiteY1084" fmla="*/ 232324 h 533771"/>
                  <a:gd name="connsiteX1085" fmla="*/ 115060 w 401077"/>
                  <a:gd name="connsiteY1085" fmla="*/ 232324 h 533771"/>
                  <a:gd name="connsiteX1086" fmla="*/ 115060 w 401077"/>
                  <a:gd name="connsiteY1086" fmla="*/ 232676 h 533771"/>
                  <a:gd name="connsiteX1087" fmla="*/ 115060 w 401077"/>
                  <a:gd name="connsiteY1087" fmla="*/ 232941 h 533771"/>
                  <a:gd name="connsiteX1088" fmla="*/ 114355 w 401077"/>
                  <a:gd name="connsiteY1088" fmla="*/ 235939 h 533771"/>
                  <a:gd name="connsiteX1089" fmla="*/ 114090 w 401077"/>
                  <a:gd name="connsiteY1089" fmla="*/ 235939 h 533771"/>
                  <a:gd name="connsiteX1090" fmla="*/ 113826 w 401077"/>
                  <a:gd name="connsiteY1090" fmla="*/ 235939 h 533771"/>
                  <a:gd name="connsiteX1091" fmla="*/ 113561 w 401077"/>
                  <a:gd name="connsiteY1091" fmla="*/ 235939 h 533771"/>
                  <a:gd name="connsiteX1092" fmla="*/ 112944 w 401077"/>
                  <a:gd name="connsiteY1092" fmla="*/ 235321 h 533771"/>
                  <a:gd name="connsiteX1093" fmla="*/ 114442 w 401077"/>
                  <a:gd name="connsiteY1093" fmla="*/ 235586 h 533771"/>
                  <a:gd name="connsiteX1094" fmla="*/ 114442 w 401077"/>
                  <a:gd name="connsiteY1094" fmla="*/ 235939 h 533771"/>
                  <a:gd name="connsiteX1095" fmla="*/ 167432 w 401077"/>
                  <a:gd name="connsiteY1095" fmla="*/ 243786 h 533771"/>
                  <a:gd name="connsiteX1096" fmla="*/ 167079 w 401077"/>
                  <a:gd name="connsiteY1096" fmla="*/ 244050 h 533771"/>
                  <a:gd name="connsiteX1097" fmla="*/ 167079 w 401077"/>
                  <a:gd name="connsiteY1097" fmla="*/ 243786 h 533771"/>
                  <a:gd name="connsiteX1098" fmla="*/ 167432 w 401077"/>
                  <a:gd name="connsiteY1098" fmla="*/ 243786 h 533771"/>
                  <a:gd name="connsiteX1099" fmla="*/ 259920 w 401077"/>
                  <a:gd name="connsiteY1099" fmla="*/ 245196 h 533771"/>
                  <a:gd name="connsiteX1100" fmla="*/ 259920 w 401077"/>
                  <a:gd name="connsiteY1100" fmla="*/ 245196 h 533771"/>
                  <a:gd name="connsiteX1101" fmla="*/ 259656 w 401077"/>
                  <a:gd name="connsiteY1101" fmla="*/ 245196 h 533771"/>
                  <a:gd name="connsiteX1102" fmla="*/ 259920 w 401077"/>
                  <a:gd name="connsiteY1102" fmla="*/ 245196 h 533771"/>
                  <a:gd name="connsiteX1103" fmla="*/ 259304 w 401077"/>
                  <a:gd name="connsiteY1103" fmla="*/ 245813 h 533771"/>
                  <a:gd name="connsiteX1104" fmla="*/ 259304 w 401077"/>
                  <a:gd name="connsiteY1104" fmla="*/ 245813 h 533771"/>
                  <a:gd name="connsiteX1105" fmla="*/ 259568 w 401077"/>
                  <a:gd name="connsiteY1105" fmla="*/ 245813 h 533771"/>
                  <a:gd name="connsiteX1106" fmla="*/ 259304 w 401077"/>
                  <a:gd name="connsiteY1106" fmla="*/ 245813 h 533771"/>
                  <a:gd name="connsiteX1107" fmla="*/ 259920 w 401077"/>
                  <a:gd name="connsiteY1107" fmla="*/ 246078 h 533771"/>
                  <a:gd name="connsiteX1108" fmla="*/ 259656 w 401077"/>
                  <a:gd name="connsiteY1108" fmla="*/ 245813 h 533771"/>
                  <a:gd name="connsiteX1109" fmla="*/ 259920 w 401077"/>
                  <a:gd name="connsiteY1109" fmla="*/ 245813 h 533771"/>
                  <a:gd name="connsiteX1110" fmla="*/ 259920 w 401077"/>
                  <a:gd name="connsiteY1110" fmla="*/ 246078 h 533771"/>
                  <a:gd name="connsiteX1111" fmla="*/ 266092 w 401077"/>
                  <a:gd name="connsiteY1111" fmla="*/ 246431 h 533771"/>
                  <a:gd name="connsiteX1112" fmla="*/ 265475 w 401077"/>
                  <a:gd name="connsiteY1112" fmla="*/ 246431 h 533771"/>
                  <a:gd name="connsiteX1113" fmla="*/ 266092 w 401077"/>
                  <a:gd name="connsiteY1113" fmla="*/ 246431 h 533771"/>
                  <a:gd name="connsiteX1114" fmla="*/ 259920 w 401077"/>
                  <a:gd name="connsiteY1114" fmla="*/ 247577 h 533771"/>
                  <a:gd name="connsiteX1115" fmla="*/ 259304 w 401077"/>
                  <a:gd name="connsiteY1115" fmla="*/ 246960 h 533771"/>
                  <a:gd name="connsiteX1116" fmla="*/ 259304 w 401077"/>
                  <a:gd name="connsiteY1116" fmla="*/ 246695 h 533771"/>
                  <a:gd name="connsiteX1117" fmla="*/ 259920 w 401077"/>
                  <a:gd name="connsiteY1117" fmla="*/ 247312 h 533771"/>
                  <a:gd name="connsiteX1118" fmla="*/ 259920 w 401077"/>
                  <a:gd name="connsiteY1118" fmla="*/ 247577 h 533771"/>
                  <a:gd name="connsiteX1119" fmla="*/ 259656 w 401077"/>
                  <a:gd name="connsiteY1119" fmla="*/ 248194 h 533771"/>
                  <a:gd name="connsiteX1120" fmla="*/ 259391 w 401077"/>
                  <a:gd name="connsiteY1120" fmla="*/ 247929 h 533771"/>
                  <a:gd name="connsiteX1121" fmla="*/ 259656 w 401077"/>
                  <a:gd name="connsiteY1121" fmla="*/ 248194 h 533771"/>
                  <a:gd name="connsiteX1122" fmla="*/ 259304 w 401077"/>
                  <a:gd name="connsiteY1122" fmla="*/ 248194 h 533771"/>
                  <a:gd name="connsiteX1123" fmla="*/ 259304 w 401077"/>
                  <a:gd name="connsiteY1123" fmla="*/ 248458 h 533771"/>
                  <a:gd name="connsiteX1124" fmla="*/ 259304 w 401077"/>
                  <a:gd name="connsiteY1124" fmla="*/ 248194 h 533771"/>
                  <a:gd name="connsiteX1125" fmla="*/ 259656 w 401077"/>
                  <a:gd name="connsiteY1125" fmla="*/ 248723 h 533771"/>
                  <a:gd name="connsiteX1126" fmla="*/ 259391 w 401077"/>
                  <a:gd name="connsiteY1126" fmla="*/ 248458 h 533771"/>
                  <a:gd name="connsiteX1127" fmla="*/ 260008 w 401077"/>
                  <a:gd name="connsiteY1127" fmla="*/ 248194 h 533771"/>
                  <a:gd name="connsiteX1128" fmla="*/ 260008 w 401077"/>
                  <a:gd name="connsiteY1128" fmla="*/ 248458 h 533771"/>
                  <a:gd name="connsiteX1129" fmla="*/ 259656 w 401077"/>
                  <a:gd name="connsiteY1129" fmla="*/ 248723 h 533771"/>
                  <a:gd name="connsiteX1130" fmla="*/ 259039 w 401077"/>
                  <a:gd name="connsiteY1130" fmla="*/ 248458 h 533771"/>
                  <a:gd name="connsiteX1131" fmla="*/ 259039 w 401077"/>
                  <a:gd name="connsiteY1131" fmla="*/ 248458 h 533771"/>
                  <a:gd name="connsiteX1132" fmla="*/ 259039 w 401077"/>
                  <a:gd name="connsiteY1132" fmla="*/ 248194 h 533771"/>
                  <a:gd name="connsiteX1133" fmla="*/ 259039 w 401077"/>
                  <a:gd name="connsiteY1133" fmla="*/ 248458 h 533771"/>
                  <a:gd name="connsiteX1134" fmla="*/ 259304 w 401077"/>
                  <a:gd name="connsiteY1134" fmla="*/ 249076 h 533771"/>
                  <a:gd name="connsiteX1135" fmla="*/ 258686 w 401077"/>
                  <a:gd name="connsiteY1135" fmla="*/ 249076 h 533771"/>
                  <a:gd name="connsiteX1136" fmla="*/ 258950 w 401077"/>
                  <a:gd name="connsiteY1136" fmla="*/ 248811 h 533771"/>
                  <a:gd name="connsiteX1137" fmla="*/ 259215 w 401077"/>
                  <a:gd name="connsiteY1137" fmla="*/ 248811 h 533771"/>
                  <a:gd name="connsiteX1138" fmla="*/ 259215 w 401077"/>
                  <a:gd name="connsiteY1138" fmla="*/ 249076 h 533771"/>
                  <a:gd name="connsiteX1139" fmla="*/ 258775 w 401077"/>
                  <a:gd name="connsiteY1139" fmla="*/ 249340 h 533771"/>
                  <a:gd name="connsiteX1140" fmla="*/ 258510 w 401077"/>
                  <a:gd name="connsiteY1140" fmla="*/ 249340 h 533771"/>
                  <a:gd name="connsiteX1141" fmla="*/ 258775 w 401077"/>
                  <a:gd name="connsiteY1141" fmla="*/ 249076 h 533771"/>
                  <a:gd name="connsiteX1142" fmla="*/ 258775 w 401077"/>
                  <a:gd name="connsiteY1142" fmla="*/ 249340 h 533771"/>
                  <a:gd name="connsiteX1143" fmla="*/ 204815 w 401077"/>
                  <a:gd name="connsiteY1143" fmla="*/ 259832 h 533771"/>
                  <a:gd name="connsiteX1144" fmla="*/ 204551 w 401077"/>
                  <a:gd name="connsiteY1144" fmla="*/ 259832 h 533771"/>
                  <a:gd name="connsiteX1145" fmla="*/ 204198 w 401077"/>
                  <a:gd name="connsiteY1145" fmla="*/ 259479 h 533771"/>
                  <a:gd name="connsiteX1146" fmla="*/ 204815 w 401077"/>
                  <a:gd name="connsiteY1146" fmla="*/ 259832 h 533771"/>
                  <a:gd name="connsiteX1147" fmla="*/ 204198 w 401077"/>
                  <a:gd name="connsiteY1147" fmla="*/ 260097 h 533771"/>
                  <a:gd name="connsiteX1148" fmla="*/ 203934 w 401077"/>
                  <a:gd name="connsiteY1148" fmla="*/ 259479 h 533771"/>
                  <a:gd name="connsiteX1149" fmla="*/ 204551 w 401077"/>
                  <a:gd name="connsiteY1149" fmla="*/ 260097 h 533771"/>
                  <a:gd name="connsiteX1150" fmla="*/ 204198 w 401077"/>
                  <a:gd name="connsiteY1150" fmla="*/ 260097 h 533771"/>
                  <a:gd name="connsiteX1151" fmla="*/ 253220 w 401077"/>
                  <a:gd name="connsiteY1151" fmla="*/ 260097 h 533771"/>
                  <a:gd name="connsiteX1152" fmla="*/ 252955 w 401077"/>
                  <a:gd name="connsiteY1152" fmla="*/ 259832 h 533771"/>
                  <a:gd name="connsiteX1153" fmla="*/ 253220 w 401077"/>
                  <a:gd name="connsiteY1153" fmla="*/ 259832 h 533771"/>
                  <a:gd name="connsiteX1154" fmla="*/ 253220 w 401077"/>
                  <a:gd name="connsiteY1154" fmla="*/ 260097 h 533771"/>
                  <a:gd name="connsiteX1155" fmla="*/ 102452 w 401077"/>
                  <a:gd name="connsiteY1155" fmla="*/ 265122 h 533771"/>
                  <a:gd name="connsiteX1156" fmla="*/ 102187 w 401077"/>
                  <a:gd name="connsiteY1156" fmla="*/ 265122 h 533771"/>
                  <a:gd name="connsiteX1157" fmla="*/ 102452 w 401077"/>
                  <a:gd name="connsiteY1157" fmla="*/ 265122 h 533771"/>
                  <a:gd name="connsiteX1158" fmla="*/ 88962 w 401077"/>
                  <a:gd name="connsiteY1158" fmla="*/ 265651 h 533771"/>
                  <a:gd name="connsiteX1159" fmla="*/ 88609 w 401077"/>
                  <a:gd name="connsiteY1159" fmla="*/ 265387 h 533771"/>
                  <a:gd name="connsiteX1160" fmla="*/ 87992 w 401077"/>
                  <a:gd name="connsiteY1160" fmla="*/ 264770 h 533771"/>
                  <a:gd name="connsiteX1161" fmla="*/ 88609 w 401077"/>
                  <a:gd name="connsiteY1161" fmla="*/ 264770 h 533771"/>
                  <a:gd name="connsiteX1162" fmla="*/ 88962 w 401077"/>
                  <a:gd name="connsiteY1162" fmla="*/ 265034 h 533771"/>
                  <a:gd name="connsiteX1163" fmla="*/ 89226 w 401077"/>
                  <a:gd name="connsiteY1163" fmla="*/ 265299 h 533771"/>
                  <a:gd name="connsiteX1164" fmla="*/ 88962 w 401077"/>
                  <a:gd name="connsiteY1164" fmla="*/ 265651 h 533771"/>
                  <a:gd name="connsiteX1165" fmla="*/ 176249 w 401077"/>
                  <a:gd name="connsiteY1165" fmla="*/ 268296 h 533771"/>
                  <a:gd name="connsiteX1166" fmla="*/ 175896 w 401077"/>
                  <a:gd name="connsiteY1166" fmla="*/ 268296 h 533771"/>
                  <a:gd name="connsiteX1167" fmla="*/ 176249 w 401077"/>
                  <a:gd name="connsiteY1167" fmla="*/ 268296 h 533771"/>
                  <a:gd name="connsiteX1168" fmla="*/ 154647 w 401077"/>
                  <a:gd name="connsiteY1168" fmla="*/ 268296 h 533771"/>
                  <a:gd name="connsiteX1169" fmla="*/ 154030 w 401077"/>
                  <a:gd name="connsiteY1169" fmla="*/ 268296 h 533771"/>
                  <a:gd name="connsiteX1170" fmla="*/ 154295 w 401077"/>
                  <a:gd name="connsiteY1170" fmla="*/ 268296 h 533771"/>
                  <a:gd name="connsiteX1171" fmla="*/ 154647 w 401077"/>
                  <a:gd name="connsiteY1171" fmla="*/ 268296 h 533771"/>
                  <a:gd name="connsiteX1172" fmla="*/ 155177 w 401077"/>
                  <a:gd name="connsiteY1172" fmla="*/ 268561 h 533771"/>
                  <a:gd name="connsiteX1173" fmla="*/ 154912 w 401077"/>
                  <a:gd name="connsiteY1173" fmla="*/ 268296 h 533771"/>
                  <a:gd name="connsiteX1174" fmla="*/ 154647 w 401077"/>
                  <a:gd name="connsiteY1174" fmla="*/ 268032 h 533771"/>
                  <a:gd name="connsiteX1175" fmla="*/ 154912 w 401077"/>
                  <a:gd name="connsiteY1175" fmla="*/ 267767 h 533771"/>
                  <a:gd name="connsiteX1176" fmla="*/ 155529 w 401077"/>
                  <a:gd name="connsiteY1176" fmla="*/ 268032 h 533771"/>
                  <a:gd name="connsiteX1177" fmla="*/ 156058 w 401077"/>
                  <a:gd name="connsiteY1177" fmla="*/ 268296 h 533771"/>
                  <a:gd name="connsiteX1178" fmla="*/ 155793 w 401077"/>
                  <a:gd name="connsiteY1178" fmla="*/ 268296 h 533771"/>
                  <a:gd name="connsiteX1179" fmla="*/ 155529 w 401077"/>
                  <a:gd name="connsiteY1179" fmla="*/ 268296 h 533771"/>
                  <a:gd name="connsiteX1180" fmla="*/ 155177 w 401077"/>
                  <a:gd name="connsiteY1180" fmla="*/ 268296 h 533771"/>
                  <a:gd name="connsiteX1181" fmla="*/ 154912 w 401077"/>
                  <a:gd name="connsiteY1181" fmla="*/ 268561 h 533771"/>
                  <a:gd name="connsiteX1182" fmla="*/ 155177 w 401077"/>
                  <a:gd name="connsiteY1182" fmla="*/ 268561 h 533771"/>
                  <a:gd name="connsiteX1183" fmla="*/ 166903 w 401077"/>
                  <a:gd name="connsiteY1183" fmla="*/ 268561 h 533771"/>
                  <a:gd name="connsiteX1184" fmla="*/ 166638 w 401077"/>
                  <a:gd name="connsiteY1184" fmla="*/ 268296 h 533771"/>
                  <a:gd name="connsiteX1185" fmla="*/ 166903 w 401077"/>
                  <a:gd name="connsiteY1185" fmla="*/ 268296 h 533771"/>
                  <a:gd name="connsiteX1186" fmla="*/ 166903 w 401077"/>
                  <a:gd name="connsiteY1186" fmla="*/ 268561 h 533771"/>
                  <a:gd name="connsiteX1187" fmla="*/ 154647 w 401077"/>
                  <a:gd name="connsiteY1187" fmla="*/ 268825 h 533771"/>
                  <a:gd name="connsiteX1188" fmla="*/ 154383 w 401077"/>
                  <a:gd name="connsiteY1188" fmla="*/ 268208 h 533771"/>
                  <a:gd name="connsiteX1189" fmla="*/ 154647 w 401077"/>
                  <a:gd name="connsiteY1189" fmla="*/ 268473 h 533771"/>
                  <a:gd name="connsiteX1190" fmla="*/ 154647 w 401077"/>
                  <a:gd name="connsiteY1190" fmla="*/ 268825 h 533771"/>
                  <a:gd name="connsiteX1191" fmla="*/ 167432 w 401077"/>
                  <a:gd name="connsiteY1191" fmla="*/ 268561 h 533771"/>
                  <a:gd name="connsiteX1192" fmla="*/ 167079 w 401077"/>
                  <a:gd name="connsiteY1192" fmla="*/ 268825 h 533771"/>
                  <a:gd name="connsiteX1193" fmla="*/ 167079 w 401077"/>
                  <a:gd name="connsiteY1193" fmla="*/ 268561 h 533771"/>
                  <a:gd name="connsiteX1194" fmla="*/ 167432 w 401077"/>
                  <a:gd name="connsiteY1194" fmla="*/ 268561 h 533771"/>
                  <a:gd name="connsiteX1195" fmla="*/ 155529 w 401077"/>
                  <a:gd name="connsiteY1195" fmla="*/ 268825 h 533771"/>
                  <a:gd name="connsiteX1196" fmla="*/ 155177 w 401077"/>
                  <a:gd name="connsiteY1196" fmla="*/ 268825 h 533771"/>
                  <a:gd name="connsiteX1197" fmla="*/ 155529 w 401077"/>
                  <a:gd name="connsiteY1197" fmla="*/ 268825 h 533771"/>
                  <a:gd name="connsiteX1198" fmla="*/ 263095 w 401077"/>
                  <a:gd name="connsiteY1198" fmla="*/ 268825 h 533771"/>
                  <a:gd name="connsiteX1199" fmla="*/ 262213 w 401077"/>
                  <a:gd name="connsiteY1199" fmla="*/ 268825 h 533771"/>
                  <a:gd name="connsiteX1200" fmla="*/ 261066 w 401077"/>
                  <a:gd name="connsiteY1200" fmla="*/ 268561 h 533771"/>
                  <a:gd name="connsiteX1201" fmla="*/ 260449 w 401077"/>
                  <a:gd name="connsiteY1201" fmla="*/ 267679 h 533771"/>
                  <a:gd name="connsiteX1202" fmla="*/ 260097 w 401077"/>
                  <a:gd name="connsiteY1202" fmla="*/ 267062 h 533771"/>
                  <a:gd name="connsiteX1203" fmla="*/ 259832 w 401077"/>
                  <a:gd name="connsiteY1203" fmla="*/ 265916 h 533771"/>
                  <a:gd name="connsiteX1204" fmla="*/ 260449 w 401077"/>
                  <a:gd name="connsiteY1204" fmla="*/ 266180 h 533771"/>
                  <a:gd name="connsiteX1205" fmla="*/ 261331 w 401077"/>
                  <a:gd name="connsiteY1205" fmla="*/ 266180 h 533771"/>
                  <a:gd name="connsiteX1206" fmla="*/ 262213 w 401077"/>
                  <a:gd name="connsiteY1206" fmla="*/ 267326 h 533771"/>
                  <a:gd name="connsiteX1207" fmla="*/ 262830 w 401077"/>
                  <a:gd name="connsiteY1207" fmla="*/ 268208 h 533771"/>
                  <a:gd name="connsiteX1208" fmla="*/ 263095 w 401077"/>
                  <a:gd name="connsiteY1208" fmla="*/ 268825 h 533771"/>
                  <a:gd name="connsiteX1209" fmla="*/ 154295 w 401077"/>
                  <a:gd name="connsiteY1209" fmla="*/ 269178 h 533771"/>
                  <a:gd name="connsiteX1210" fmla="*/ 154030 w 401077"/>
                  <a:gd name="connsiteY1210" fmla="*/ 269178 h 533771"/>
                  <a:gd name="connsiteX1211" fmla="*/ 154647 w 401077"/>
                  <a:gd name="connsiteY1211" fmla="*/ 268914 h 533771"/>
                  <a:gd name="connsiteX1212" fmla="*/ 154912 w 401077"/>
                  <a:gd name="connsiteY1212" fmla="*/ 268914 h 533771"/>
                  <a:gd name="connsiteX1213" fmla="*/ 154647 w 401077"/>
                  <a:gd name="connsiteY1213" fmla="*/ 269178 h 533771"/>
                  <a:gd name="connsiteX1214" fmla="*/ 154295 w 401077"/>
                  <a:gd name="connsiteY1214" fmla="*/ 269178 h 533771"/>
                  <a:gd name="connsiteX1215" fmla="*/ 160731 w 401077"/>
                  <a:gd name="connsiteY1215" fmla="*/ 269443 h 533771"/>
                  <a:gd name="connsiteX1216" fmla="*/ 159849 w 401077"/>
                  <a:gd name="connsiteY1216" fmla="*/ 269178 h 533771"/>
                  <a:gd name="connsiteX1217" fmla="*/ 160202 w 401077"/>
                  <a:gd name="connsiteY1217" fmla="*/ 269178 h 533771"/>
                  <a:gd name="connsiteX1218" fmla="*/ 160731 w 401077"/>
                  <a:gd name="connsiteY1218" fmla="*/ 269443 h 533771"/>
                  <a:gd name="connsiteX1219" fmla="*/ 174750 w 401077"/>
                  <a:gd name="connsiteY1219" fmla="*/ 269443 h 533771"/>
                  <a:gd name="connsiteX1220" fmla="*/ 174485 w 401077"/>
                  <a:gd name="connsiteY1220" fmla="*/ 269178 h 533771"/>
                  <a:gd name="connsiteX1221" fmla="*/ 174750 w 401077"/>
                  <a:gd name="connsiteY1221" fmla="*/ 268914 h 533771"/>
                  <a:gd name="connsiteX1222" fmla="*/ 174750 w 401077"/>
                  <a:gd name="connsiteY1222" fmla="*/ 269178 h 533771"/>
                  <a:gd name="connsiteX1223" fmla="*/ 175015 w 401077"/>
                  <a:gd name="connsiteY1223" fmla="*/ 269178 h 533771"/>
                  <a:gd name="connsiteX1224" fmla="*/ 174750 w 401077"/>
                  <a:gd name="connsiteY1224" fmla="*/ 269443 h 533771"/>
                  <a:gd name="connsiteX1225" fmla="*/ 159585 w 401077"/>
                  <a:gd name="connsiteY1225" fmla="*/ 269707 h 533771"/>
                  <a:gd name="connsiteX1226" fmla="*/ 159320 w 401077"/>
                  <a:gd name="connsiteY1226" fmla="*/ 269443 h 533771"/>
                  <a:gd name="connsiteX1227" fmla="*/ 159585 w 401077"/>
                  <a:gd name="connsiteY1227" fmla="*/ 269443 h 533771"/>
                  <a:gd name="connsiteX1228" fmla="*/ 160202 w 401077"/>
                  <a:gd name="connsiteY1228" fmla="*/ 270060 h 533771"/>
                  <a:gd name="connsiteX1229" fmla="*/ 159849 w 401077"/>
                  <a:gd name="connsiteY1229" fmla="*/ 270060 h 533771"/>
                  <a:gd name="connsiteX1230" fmla="*/ 159585 w 401077"/>
                  <a:gd name="connsiteY1230" fmla="*/ 269707 h 533771"/>
                  <a:gd name="connsiteX1231" fmla="*/ 161613 w 401077"/>
                  <a:gd name="connsiteY1231" fmla="*/ 269707 h 533771"/>
                  <a:gd name="connsiteX1232" fmla="*/ 160996 w 401077"/>
                  <a:gd name="connsiteY1232" fmla="*/ 269090 h 533771"/>
                  <a:gd name="connsiteX1233" fmla="*/ 161613 w 401077"/>
                  <a:gd name="connsiteY1233" fmla="*/ 269090 h 533771"/>
                  <a:gd name="connsiteX1234" fmla="*/ 161613 w 401077"/>
                  <a:gd name="connsiteY1234" fmla="*/ 269707 h 533771"/>
                  <a:gd name="connsiteX1235" fmla="*/ 160467 w 401077"/>
                  <a:gd name="connsiteY1235" fmla="*/ 270060 h 533771"/>
                  <a:gd name="connsiteX1236" fmla="*/ 160202 w 401077"/>
                  <a:gd name="connsiteY1236" fmla="*/ 269795 h 533771"/>
                  <a:gd name="connsiteX1237" fmla="*/ 160202 w 401077"/>
                  <a:gd name="connsiteY1237" fmla="*/ 269531 h 533771"/>
                  <a:gd name="connsiteX1238" fmla="*/ 160467 w 401077"/>
                  <a:gd name="connsiteY1238" fmla="*/ 270060 h 533771"/>
                  <a:gd name="connsiteX1239" fmla="*/ 179687 w 401077"/>
                  <a:gd name="connsiteY1239" fmla="*/ 270324 h 533771"/>
                  <a:gd name="connsiteX1240" fmla="*/ 179423 w 401077"/>
                  <a:gd name="connsiteY1240" fmla="*/ 270060 h 533771"/>
                  <a:gd name="connsiteX1241" fmla="*/ 179423 w 401077"/>
                  <a:gd name="connsiteY1241" fmla="*/ 269795 h 533771"/>
                  <a:gd name="connsiteX1242" fmla="*/ 179687 w 401077"/>
                  <a:gd name="connsiteY1242" fmla="*/ 270060 h 533771"/>
                  <a:gd name="connsiteX1243" fmla="*/ 179687 w 401077"/>
                  <a:gd name="connsiteY1243" fmla="*/ 270324 h 533771"/>
                  <a:gd name="connsiteX1244" fmla="*/ 153766 w 401077"/>
                  <a:gd name="connsiteY1244" fmla="*/ 270941 h 533771"/>
                  <a:gd name="connsiteX1245" fmla="*/ 153766 w 401077"/>
                  <a:gd name="connsiteY1245" fmla="*/ 270677 h 533771"/>
                  <a:gd name="connsiteX1246" fmla="*/ 154030 w 401077"/>
                  <a:gd name="connsiteY1246" fmla="*/ 270677 h 533771"/>
                  <a:gd name="connsiteX1247" fmla="*/ 153766 w 401077"/>
                  <a:gd name="connsiteY1247" fmla="*/ 270941 h 533771"/>
                  <a:gd name="connsiteX1248" fmla="*/ 213279 w 401077"/>
                  <a:gd name="connsiteY1248" fmla="*/ 272352 h 533771"/>
                  <a:gd name="connsiteX1249" fmla="*/ 213015 w 401077"/>
                  <a:gd name="connsiteY1249" fmla="*/ 272352 h 533771"/>
                  <a:gd name="connsiteX1250" fmla="*/ 213015 w 401077"/>
                  <a:gd name="connsiteY1250" fmla="*/ 272088 h 533771"/>
                  <a:gd name="connsiteX1251" fmla="*/ 213279 w 401077"/>
                  <a:gd name="connsiteY1251" fmla="*/ 272352 h 533771"/>
                  <a:gd name="connsiteX1252" fmla="*/ 180569 w 401077"/>
                  <a:gd name="connsiteY1252" fmla="*/ 272969 h 533771"/>
                  <a:gd name="connsiteX1253" fmla="*/ 180304 w 401077"/>
                  <a:gd name="connsiteY1253" fmla="*/ 272705 h 533771"/>
                  <a:gd name="connsiteX1254" fmla="*/ 179952 w 401077"/>
                  <a:gd name="connsiteY1254" fmla="*/ 272440 h 533771"/>
                  <a:gd name="connsiteX1255" fmla="*/ 180569 w 401077"/>
                  <a:gd name="connsiteY1255" fmla="*/ 272440 h 533771"/>
                  <a:gd name="connsiteX1256" fmla="*/ 180569 w 401077"/>
                  <a:gd name="connsiteY1256" fmla="*/ 272176 h 533771"/>
                  <a:gd name="connsiteX1257" fmla="*/ 180569 w 401077"/>
                  <a:gd name="connsiteY1257" fmla="*/ 272793 h 533771"/>
                  <a:gd name="connsiteX1258" fmla="*/ 180569 w 401077"/>
                  <a:gd name="connsiteY1258" fmla="*/ 272969 h 533771"/>
                  <a:gd name="connsiteX1259" fmla="*/ 210899 w 401077"/>
                  <a:gd name="connsiteY1259" fmla="*/ 273234 h 533771"/>
                  <a:gd name="connsiteX1260" fmla="*/ 210634 w 401077"/>
                  <a:gd name="connsiteY1260" fmla="*/ 273234 h 533771"/>
                  <a:gd name="connsiteX1261" fmla="*/ 210899 w 401077"/>
                  <a:gd name="connsiteY1261" fmla="*/ 272617 h 533771"/>
                  <a:gd name="connsiteX1262" fmla="*/ 211163 w 401077"/>
                  <a:gd name="connsiteY1262" fmla="*/ 272617 h 533771"/>
                  <a:gd name="connsiteX1263" fmla="*/ 211428 w 401077"/>
                  <a:gd name="connsiteY1263" fmla="*/ 272617 h 533771"/>
                  <a:gd name="connsiteX1264" fmla="*/ 211692 w 401077"/>
                  <a:gd name="connsiteY1264" fmla="*/ 272881 h 533771"/>
                  <a:gd name="connsiteX1265" fmla="*/ 211428 w 401077"/>
                  <a:gd name="connsiteY1265" fmla="*/ 272881 h 533771"/>
                  <a:gd name="connsiteX1266" fmla="*/ 211163 w 401077"/>
                  <a:gd name="connsiteY1266" fmla="*/ 273146 h 533771"/>
                  <a:gd name="connsiteX1267" fmla="*/ 210899 w 401077"/>
                  <a:gd name="connsiteY1267" fmla="*/ 273146 h 533771"/>
                  <a:gd name="connsiteX1268" fmla="*/ 261684 w 401077"/>
                  <a:gd name="connsiteY1268" fmla="*/ 272969 h 533771"/>
                  <a:gd name="connsiteX1269" fmla="*/ 261331 w 401077"/>
                  <a:gd name="connsiteY1269" fmla="*/ 273234 h 533771"/>
                  <a:gd name="connsiteX1270" fmla="*/ 261684 w 401077"/>
                  <a:gd name="connsiteY1270" fmla="*/ 272617 h 533771"/>
                  <a:gd name="connsiteX1271" fmla="*/ 261684 w 401077"/>
                  <a:gd name="connsiteY1271" fmla="*/ 272969 h 533771"/>
                  <a:gd name="connsiteX1272" fmla="*/ 96633 w 401077"/>
                  <a:gd name="connsiteY1272" fmla="*/ 273234 h 533771"/>
                  <a:gd name="connsiteX1273" fmla="*/ 96368 w 401077"/>
                  <a:gd name="connsiteY1273" fmla="*/ 273234 h 533771"/>
                  <a:gd name="connsiteX1274" fmla="*/ 96368 w 401077"/>
                  <a:gd name="connsiteY1274" fmla="*/ 272969 h 533771"/>
                  <a:gd name="connsiteX1275" fmla="*/ 96633 w 401077"/>
                  <a:gd name="connsiteY1275" fmla="*/ 273234 h 533771"/>
                  <a:gd name="connsiteX1276" fmla="*/ 94252 w 401077"/>
                  <a:gd name="connsiteY1276" fmla="*/ 273498 h 533771"/>
                  <a:gd name="connsiteX1277" fmla="*/ 94252 w 401077"/>
                  <a:gd name="connsiteY1277" fmla="*/ 272881 h 533771"/>
                  <a:gd name="connsiteX1278" fmla="*/ 94517 w 401077"/>
                  <a:gd name="connsiteY1278" fmla="*/ 273498 h 533771"/>
                  <a:gd name="connsiteX1279" fmla="*/ 94252 w 401077"/>
                  <a:gd name="connsiteY1279" fmla="*/ 273498 h 533771"/>
                  <a:gd name="connsiteX1280" fmla="*/ 97426 w 401077"/>
                  <a:gd name="connsiteY1280" fmla="*/ 273851 h 533771"/>
                  <a:gd name="connsiteX1281" fmla="*/ 96897 w 401077"/>
                  <a:gd name="connsiteY1281" fmla="*/ 273851 h 533771"/>
                  <a:gd name="connsiteX1282" fmla="*/ 97162 w 401077"/>
                  <a:gd name="connsiteY1282" fmla="*/ 273234 h 533771"/>
                  <a:gd name="connsiteX1283" fmla="*/ 97426 w 401077"/>
                  <a:gd name="connsiteY1283" fmla="*/ 273851 h 533771"/>
                  <a:gd name="connsiteX1284" fmla="*/ 150856 w 401077"/>
                  <a:gd name="connsiteY1284" fmla="*/ 273498 h 533771"/>
                  <a:gd name="connsiteX1285" fmla="*/ 150592 w 401077"/>
                  <a:gd name="connsiteY1285" fmla="*/ 273498 h 533771"/>
                  <a:gd name="connsiteX1286" fmla="*/ 150592 w 401077"/>
                  <a:gd name="connsiteY1286" fmla="*/ 273234 h 533771"/>
                  <a:gd name="connsiteX1287" fmla="*/ 150856 w 401077"/>
                  <a:gd name="connsiteY1287" fmla="*/ 273498 h 533771"/>
                  <a:gd name="connsiteX1288" fmla="*/ 152002 w 401077"/>
                  <a:gd name="connsiteY1288" fmla="*/ 274115 h 533771"/>
                  <a:gd name="connsiteX1289" fmla="*/ 151738 w 401077"/>
                  <a:gd name="connsiteY1289" fmla="*/ 273851 h 533771"/>
                  <a:gd name="connsiteX1290" fmla="*/ 152002 w 401077"/>
                  <a:gd name="connsiteY1290" fmla="*/ 274115 h 533771"/>
                  <a:gd name="connsiteX1291" fmla="*/ 211781 w 401077"/>
                  <a:gd name="connsiteY1291" fmla="*/ 274115 h 533771"/>
                  <a:gd name="connsiteX1292" fmla="*/ 211516 w 401077"/>
                  <a:gd name="connsiteY1292" fmla="*/ 273851 h 533771"/>
                  <a:gd name="connsiteX1293" fmla="*/ 212133 w 401077"/>
                  <a:gd name="connsiteY1293" fmla="*/ 273234 h 533771"/>
                  <a:gd name="connsiteX1294" fmla="*/ 212133 w 401077"/>
                  <a:gd name="connsiteY1294" fmla="*/ 273851 h 533771"/>
                  <a:gd name="connsiteX1295" fmla="*/ 211781 w 401077"/>
                  <a:gd name="connsiteY1295" fmla="*/ 274115 h 533771"/>
                  <a:gd name="connsiteX1296" fmla="*/ 141158 w 401077"/>
                  <a:gd name="connsiteY1296" fmla="*/ 274115 h 533771"/>
                  <a:gd name="connsiteX1297" fmla="*/ 140893 w 401077"/>
                  <a:gd name="connsiteY1297" fmla="*/ 274115 h 533771"/>
                  <a:gd name="connsiteX1298" fmla="*/ 141158 w 401077"/>
                  <a:gd name="connsiteY1298" fmla="*/ 274115 h 533771"/>
                  <a:gd name="connsiteX1299" fmla="*/ 262566 w 401077"/>
                  <a:gd name="connsiteY1299" fmla="*/ 274380 h 533771"/>
                  <a:gd name="connsiteX1300" fmla="*/ 262301 w 401077"/>
                  <a:gd name="connsiteY1300" fmla="*/ 274380 h 533771"/>
                  <a:gd name="connsiteX1301" fmla="*/ 262301 w 401077"/>
                  <a:gd name="connsiteY1301" fmla="*/ 274115 h 533771"/>
                  <a:gd name="connsiteX1302" fmla="*/ 262566 w 401077"/>
                  <a:gd name="connsiteY1302" fmla="*/ 274380 h 533771"/>
                  <a:gd name="connsiteX1303" fmla="*/ 141158 w 401077"/>
                  <a:gd name="connsiteY1303" fmla="*/ 274997 h 533771"/>
                  <a:gd name="connsiteX1304" fmla="*/ 140893 w 401077"/>
                  <a:gd name="connsiteY1304" fmla="*/ 274733 h 533771"/>
                  <a:gd name="connsiteX1305" fmla="*/ 141158 w 401077"/>
                  <a:gd name="connsiteY1305" fmla="*/ 274468 h 533771"/>
                  <a:gd name="connsiteX1306" fmla="*/ 141775 w 401077"/>
                  <a:gd name="connsiteY1306" fmla="*/ 274468 h 533771"/>
                  <a:gd name="connsiteX1307" fmla="*/ 141510 w 401077"/>
                  <a:gd name="connsiteY1307" fmla="*/ 274733 h 533771"/>
                  <a:gd name="connsiteX1308" fmla="*/ 141158 w 401077"/>
                  <a:gd name="connsiteY1308" fmla="*/ 274997 h 533771"/>
                  <a:gd name="connsiteX1309" fmla="*/ 151738 w 401077"/>
                  <a:gd name="connsiteY1309" fmla="*/ 274380 h 533771"/>
                  <a:gd name="connsiteX1310" fmla="*/ 151738 w 401077"/>
                  <a:gd name="connsiteY1310" fmla="*/ 274380 h 533771"/>
                  <a:gd name="connsiteX1311" fmla="*/ 151738 w 401077"/>
                  <a:gd name="connsiteY1311" fmla="*/ 274115 h 533771"/>
                  <a:gd name="connsiteX1312" fmla="*/ 151738 w 401077"/>
                  <a:gd name="connsiteY1312" fmla="*/ 274380 h 533771"/>
                  <a:gd name="connsiteX1313" fmla="*/ 151738 w 401077"/>
                  <a:gd name="connsiteY1313" fmla="*/ 274997 h 533771"/>
                  <a:gd name="connsiteX1314" fmla="*/ 151121 w 401077"/>
                  <a:gd name="connsiteY1314" fmla="*/ 274733 h 533771"/>
                  <a:gd name="connsiteX1315" fmla="*/ 150856 w 401077"/>
                  <a:gd name="connsiteY1315" fmla="*/ 274115 h 533771"/>
                  <a:gd name="connsiteX1316" fmla="*/ 151121 w 401077"/>
                  <a:gd name="connsiteY1316" fmla="*/ 274115 h 533771"/>
                  <a:gd name="connsiteX1317" fmla="*/ 151738 w 401077"/>
                  <a:gd name="connsiteY1317" fmla="*/ 274733 h 533771"/>
                  <a:gd name="connsiteX1318" fmla="*/ 152002 w 401077"/>
                  <a:gd name="connsiteY1318" fmla="*/ 274733 h 533771"/>
                  <a:gd name="connsiteX1319" fmla="*/ 151738 w 401077"/>
                  <a:gd name="connsiteY1319" fmla="*/ 274997 h 533771"/>
                  <a:gd name="connsiteX1320" fmla="*/ 141775 w 401077"/>
                  <a:gd name="connsiteY1320" fmla="*/ 275614 h 533771"/>
                  <a:gd name="connsiteX1321" fmla="*/ 141775 w 401077"/>
                  <a:gd name="connsiteY1321" fmla="*/ 275350 h 533771"/>
                  <a:gd name="connsiteX1322" fmla="*/ 141775 w 401077"/>
                  <a:gd name="connsiteY1322" fmla="*/ 275614 h 533771"/>
                  <a:gd name="connsiteX1323" fmla="*/ 263447 w 401077"/>
                  <a:gd name="connsiteY1323" fmla="*/ 277642 h 533771"/>
                  <a:gd name="connsiteX1324" fmla="*/ 262566 w 401077"/>
                  <a:gd name="connsiteY1324" fmla="*/ 277113 h 533771"/>
                  <a:gd name="connsiteX1325" fmla="*/ 262566 w 401077"/>
                  <a:gd name="connsiteY1325" fmla="*/ 275967 h 533771"/>
                  <a:gd name="connsiteX1326" fmla="*/ 262566 w 401077"/>
                  <a:gd name="connsiteY1326" fmla="*/ 275350 h 533771"/>
                  <a:gd name="connsiteX1327" fmla="*/ 262830 w 401077"/>
                  <a:gd name="connsiteY1327" fmla="*/ 275614 h 533771"/>
                  <a:gd name="connsiteX1328" fmla="*/ 263095 w 401077"/>
                  <a:gd name="connsiteY1328" fmla="*/ 276496 h 533771"/>
                  <a:gd name="connsiteX1329" fmla="*/ 263447 w 401077"/>
                  <a:gd name="connsiteY1329" fmla="*/ 277642 h 533771"/>
                  <a:gd name="connsiteX1330" fmla="*/ 147330 w 401077"/>
                  <a:gd name="connsiteY1330" fmla="*/ 275614 h 533771"/>
                  <a:gd name="connsiteX1331" fmla="*/ 147330 w 401077"/>
                  <a:gd name="connsiteY1331" fmla="*/ 275614 h 533771"/>
                  <a:gd name="connsiteX1332" fmla="*/ 147330 w 401077"/>
                  <a:gd name="connsiteY1332" fmla="*/ 275350 h 533771"/>
                  <a:gd name="connsiteX1333" fmla="*/ 147330 w 401077"/>
                  <a:gd name="connsiteY1333" fmla="*/ 275614 h 533771"/>
                  <a:gd name="connsiteX1334" fmla="*/ 148211 w 401077"/>
                  <a:gd name="connsiteY1334" fmla="*/ 275614 h 533771"/>
                  <a:gd name="connsiteX1335" fmla="*/ 147947 w 401077"/>
                  <a:gd name="connsiteY1335" fmla="*/ 275614 h 533771"/>
                  <a:gd name="connsiteX1336" fmla="*/ 147947 w 401077"/>
                  <a:gd name="connsiteY1336" fmla="*/ 275350 h 533771"/>
                  <a:gd name="connsiteX1337" fmla="*/ 148211 w 401077"/>
                  <a:gd name="connsiteY1337" fmla="*/ 275614 h 533771"/>
                  <a:gd name="connsiteX1338" fmla="*/ 95133 w 401077"/>
                  <a:gd name="connsiteY1338" fmla="*/ 275879 h 533771"/>
                  <a:gd name="connsiteX1339" fmla="*/ 95133 w 401077"/>
                  <a:gd name="connsiteY1339" fmla="*/ 275879 h 533771"/>
                  <a:gd name="connsiteX1340" fmla="*/ 95133 w 401077"/>
                  <a:gd name="connsiteY1340" fmla="*/ 275614 h 533771"/>
                  <a:gd name="connsiteX1341" fmla="*/ 95133 w 401077"/>
                  <a:gd name="connsiteY1341" fmla="*/ 275879 h 533771"/>
                  <a:gd name="connsiteX1342" fmla="*/ 142392 w 401077"/>
                  <a:gd name="connsiteY1342" fmla="*/ 276143 h 533771"/>
                  <a:gd name="connsiteX1343" fmla="*/ 142127 w 401077"/>
                  <a:gd name="connsiteY1343" fmla="*/ 275879 h 533771"/>
                  <a:gd name="connsiteX1344" fmla="*/ 142127 w 401077"/>
                  <a:gd name="connsiteY1344" fmla="*/ 275614 h 533771"/>
                  <a:gd name="connsiteX1345" fmla="*/ 142392 w 401077"/>
                  <a:gd name="connsiteY1345" fmla="*/ 276143 h 533771"/>
                  <a:gd name="connsiteX1346" fmla="*/ 146712 w 401077"/>
                  <a:gd name="connsiteY1346" fmla="*/ 277290 h 533771"/>
                  <a:gd name="connsiteX1347" fmla="*/ 146095 w 401077"/>
                  <a:gd name="connsiteY1347" fmla="*/ 277025 h 533771"/>
                  <a:gd name="connsiteX1348" fmla="*/ 146095 w 401077"/>
                  <a:gd name="connsiteY1348" fmla="*/ 276761 h 533771"/>
                  <a:gd name="connsiteX1349" fmla="*/ 146360 w 401077"/>
                  <a:gd name="connsiteY1349" fmla="*/ 276496 h 533771"/>
                  <a:gd name="connsiteX1350" fmla="*/ 146624 w 401077"/>
                  <a:gd name="connsiteY1350" fmla="*/ 276496 h 533771"/>
                  <a:gd name="connsiteX1351" fmla="*/ 146624 w 401077"/>
                  <a:gd name="connsiteY1351" fmla="*/ 277113 h 533771"/>
                  <a:gd name="connsiteX1352" fmla="*/ 146624 w 401077"/>
                  <a:gd name="connsiteY1352" fmla="*/ 277290 h 533771"/>
                  <a:gd name="connsiteX1353" fmla="*/ 145566 w 401077"/>
                  <a:gd name="connsiteY1353" fmla="*/ 276143 h 533771"/>
                  <a:gd name="connsiteX1354" fmla="*/ 144949 w 401077"/>
                  <a:gd name="connsiteY1354" fmla="*/ 275879 h 533771"/>
                  <a:gd name="connsiteX1355" fmla="*/ 145301 w 401077"/>
                  <a:gd name="connsiteY1355" fmla="*/ 275879 h 533771"/>
                  <a:gd name="connsiteX1356" fmla="*/ 145566 w 401077"/>
                  <a:gd name="connsiteY1356" fmla="*/ 276143 h 533771"/>
                  <a:gd name="connsiteX1357" fmla="*/ 147947 w 401077"/>
                  <a:gd name="connsiteY1357" fmla="*/ 276761 h 533771"/>
                  <a:gd name="connsiteX1358" fmla="*/ 147682 w 401077"/>
                  <a:gd name="connsiteY1358" fmla="*/ 276496 h 533771"/>
                  <a:gd name="connsiteX1359" fmla="*/ 147330 w 401077"/>
                  <a:gd name="connsiteY1359" fmla="*/ 276232 h 533771"/>
                  <a:gd name="connsiteX1360" fmla="*/ 147947 w 401077"/>
                  <a:gd name="connsiteY1360" fmla="*/ 276232 h 533771"/>
                  <a:gd name="connsiteX1361" fmla="*/ 148211 w 401077"/>
                  <a:gd name="connsiteY1361" fmla="*/ 276496 h 533771"/>
                  <a:gd name="connsiteX1362" fmla="*/ 147947 w 401077"/>
                  <a:gd name="connsiteY1362" fmla="*/ 276761 h 533771"/>
                  <a:gd name="connsiteX1363" fmla="*/ 148828 w 401077"/>
                  <a:gd name="connsiteY1363" fmla="*/ 276496 h 533771"/>
                  <a:gd name="connsiteX1364" fmla="*/ 148828 w 401077"/>
                  <a:gd name="connsiteY1364" fmla="*/ 276496 h 533771"/>
                  <a:gd name="connsiteX1365" fmla="*/ 148828 w 401077"/>
                  <a:gd name="connsiteY1365" fmla="*/ 276232 h 533771"/>
                  <a:gd name="connsiteX1366" fmla="*/ 148828 w 401077"/>
                  <a:gd name="connsiteY1366" fmla="*/ 276496 h 533771"/>
                  <a:gd name="connsiteX1367" fmla="*/ 145301 w 401077"/>
                  <a:gd name="connsiteY1367" fmla="*/ 276761 h 533771"/>
                  <a:gd name="connsiteX1368" fmla="*/ 145301 w 401077"/>
                  <a:gd name="connsiteY1368" fmla="*/ 276761 h 533771"/>
                  <a:gd name="connsiteX1369" fmla="*/ 145301 w 401077"/>
                  <a:gd name="connsiteY1369" fmla="*/ 276496 h 533771"/>
                  <a:gd name="connsiteX1370" fmla="*/ 145301 w 401077"/>
                  <a:gd name="connsiteY1370" fmla="*/ 276761 h 533771"/>
                  <a:gd name="connsiteX1371" fmla="*/ 144156 w 401077"/>
                  <a:gd name="connsiteY1371" fmla="*/ 276761 h 533771"/>
                  <a:gd name="connsiteX1372" fmla="*/ 144156 w 401077"/>
                  <a:gd name="connsiteY1372" fmla="*/ 276761 h 533771"/>
                  <a:gd name="connsiteX1373" fmla="*/ 143891 w 401077"/>
                  <a:gd name="connsiteY1373" fmla="*/ 276496 h 533771"/>
                  <a:gd name="connsiteX1374" fmla="*/ 144156 w 401077"/>
                  <a:gd name="connsiteY1374" fmla="*/ 276761 h 533771"/>
                  <a:gd name="connsiteX1375" fmla="*/ 137719 w 401077"/>
                  <a:gd name="connsiteY1375" fmla="*/ 276761 h 533771"/>
                  <a:gd name="connsiteX1376" fmla="*/ 137102 w 401077"/>
                  <a:gd name="connsiteY1376" fmla="*/ 276761 h 533771"/>
                  <a:gd name="connsiteX1377" fmla="*/ 137102 w 401077"/>
                  <a:gd name="connsiteY1377" fmla="*/ 276496 h 533771"/>
                  <a:gd name="connsiteX1378" fmla="*/ 137719 w 401077"/>
                  <a:gd name="connsiteY1378" fmla="*/ 276761 h 533771"/>
                  <a:gd name="connsiteX1379" fmla="*/ 135339 w 401077"/>
                  <a:gd name="connsiteY1379" fmla="*/ 276496 h 533771"/>
                  <a:gd name="connsiteX1380" fmla="*/ 135074 w 401077"/>
                  <a:gd name="connsiteY1380" fmla="*/ 276761 h 533771"/>
                  <a:gd name="connsiteX1381" fmla="*/ 135074 w 401077"/>
                  <a:gd name="connsiteY1381" fmla="*/ 276496 h 533771"/>
                  <a:gd name="connsiteX1382" fmla="*/ 135339 w 401077"/>
                  <a:gd name="connsiteY1382" fmla="*/ 276496 h 533771"/>
                  <a:gd name="connsiteX1383" fmla="*/ 143274 w 401077"/>
                  <a:gd name="connsiteY1383" fmla="*/ 276761 h 533771"/>
                  <a:gd name="connsiteX1384" fmla="*/ 143009 w 401077"/>
                  <a:gd name="connsiteY1384" fmla="*/ 276761 h 533771"/>
                  <a:gd name="connsiteX1385" fmla="*/ 142745 w 401077"/>
                  <a:gd name="connsiteY1385" fmla="*/ 276143 h 533771"/>
                  <a:gd name="connsiteX1386" fmla="*/ 143009 w 401077"/>
                  <a:gd name="connsiteY1386" fmla="*/ 275879 h 533771"/>
                  <a:gd name="connsiteX1387" fmla="*/ 143274 w 401077"/>
                  <a:gd name="connsiteY1387" fmla="*/ 276143 h 533771"/>
                  <a:gd name="connsiteX1388" fmla="*/ 143274 w 401077"/>
                  <a:gd name="connsiteY1388" fmla="*/ 276761 h 533771"/>
                  <a:gd name="connsiteX1389" fmla="*/ 87199 w 401077"/>
                  <a:gd name="connsiteY1389" fmla="*/ 277642 h 533771"/>
                  <a:gd name="connsiteX1390" fmla="*/ 86581 w 401077"/>
                  <a:gd name="connsiteY1390" fmla="*/ 277378 h 533771"/>
                  <a:gd name="connsiteX1391" fmla="*/ 87199 w 401077"/>
                  <a:gd name="connsiteY1391" fmla="*/ 277113 h 533771"/>
                  <a:gd name="connsiteX1392" fmla="*/ 87551 w 401077"/>
                  <a:gd name="connsiteY1392" fmla="*/ 277113 h 533771"/>
                  <a:gd name="connsiteX1393" fmla="*/ 87551 w 401077"/>
                  <a:gd name="connsiteY1393" fmla="*/ 277378 h 533771"/>
                  <a:gd name="connsiteX1394" fmla="*/ 87199 w 401077"/>
                  <a:gd name="connsiteY1394" fmla="*/ 277642 h 533771"/>
                  <a:gd name="connsiteX1395" fmla="*/ 138601 w 401077"/>
                  <a:gd name="connsiteY1395" fmla="*/ 277642 h 533771"/>
                  <a:gd name="connsiteX1396" fmla="*/ 137984 w 401077"/>
                  <a:gd name="connsiteY1396" fmla="*/ 277113 h 533771"/>
                  <a:gd name="connsiteX1397" fmla="*/ 138248 w 401077"/>
                  <a:gd name="connsiteY1397" fmla="*/ 276849 h 533771"/>
                  <a:gd name="connsiteX1398" fmla="*/ 138513 w 401077"/>
                  <a:gd name="connsiteY1398" fmla="*/ 277113 h 533771"/>
                  <a:gd name="connsiteX1399" fmla="*/ 139130 w 401077"/>
                  <a:gd name="connsiteY1399" fmla="*/ 277113 h 533771"/>
                  <a:gd name="connsiteX1400" fmla="*/ 138601 w 401077"/>
                  <a:gd name="connsiteY1400" fmla="*/ 277642 h 533771"/>
                  <a:gd name="connsiteX1401" fmla="*/ 134809 w 401077"/>
                  <a:gd name="connsiteY1401" fmla="*/ 277025 h 533771"/>
                  <a:gd name="connsiteX1402" fmla="*/ 134809 w 401077"/>
                  <a:gd name="connsiteY1402" fmla="*/ 277025 h 533771"/>
                  <a:gd name="connsiteX1403" fmla="*/ 134809 w 401077"/>
                  <a:gd name="connsiteY1403" fmla="*/ 276761 h 533771"/>
                  <a:gd name="connsiteX1404" fmla="*/ 134809 w 401077"/>
                  <a:gd name="connsiteY1404" fmla="*/ 277025 h 533771"/>
                  <a:gd name="connsiteX1405" fmla="*/ 148476 w 401077"/>
                  <a:gd name="connsiteY1405" fmla="*/ 277025 h 533771"/>
                  <a:gd name="connsiteX1406" fmla="*/ 148211 w 401077"/>
                  <a:gd name="connsiteY1406" fmla="*/ 277025 h 533771"/>
                  <a:gd name="connsiteX1407" fmla="*/ 148476 w 401077"/>
                  <a:gd name="connsiteY1407" fmla="*/ 277025 h 533771"/>
                  <a:gd name="connsiteX1408" fmla="*/ 144156 w 401077"/>
                  <a:gd name="connsiteY1408" fmla="*/ 277290 h 533771"/>
                  <a:gd name="connsiteX1409" fmla="*/ 143891 w 401077"/>
                  <a:gd name="connsiteY1409" fmla="*/ 277025 h 533771"/>
                  <a:gd name="connsiteX1410" fmla="*/ 144508 w 401077"/>
                  <a:gd name="connsiteY1410" fmla="*/ 277025 h 533771"/>
                  <a:gd name="connsiteX1411" fmla="*/ 144156 w 401077"/>
                  <a:gd name="connsiteY1411" fmla="*/ 277290 h 533771"/>
                  <a:gd name="connsiteX1412" fmla="*/ 136220 w 401077"/>
                  <a:gd name="connsiteY1412" fmla="*/ 277025 h 533771"/>
                  <a:gd name="connsiteX1413" fmla="*/ 135603 w 401077"/>
                  <a:gd name="connsiteY1413" fmla="*/ 277025 h 533771"/>
                  <a:gd name="connsiteX1414" fmla="*/ 135339 w 401077"/>
                  <a:gd name="connsiteY1414" fmla="*/ 276761 h 533771"/>
                  <a:gd name="connsiteX1415" fmla="*/ 135074 w 401077"/>
                  <a:gd name="connsiteY1415" fmla="*/ 276496 h 533771"/>
                  <a:gd name="connsiteX1416" fmla="*/ 135691 w 401077"/>
                  <a:gd name="connsiteY1416" fmla="*/ 275879 h 533771"/>
                  <a:gd name="connsiteX1417" fmla="*/ 136573 w 401077"/>
                  <a:gd name="connsiteY1417" fmla="*/ 276143 h 533771"/>
                  <a:gd name="connsiteX1418" fmla="*/ 136573 w 401077"/>
                  <a:gd name="connsiteY1418" fmla="*/ 276408 h 533771"/>
                  <a:gd name="connsiteX1419" fmla="*/ 136220 w 401077"/>
                  <a:gd name="connsiteY1419" fmla="*/ 277025 h 533771"/>
                  <a:gd name="connsiteX1420" fmla="*/ 134809 w 401077"/>
                  <a:gd name="connsiteY1420" fmla="*/ 278171 h 533771"/>
                  <a:gd name="connsiteX1421" fmla="*/ 134193 w 401077"/>
                  <a:gd name="connsiteY1421" fmla="*/ 277554 h 533771"/>
                  <a:gd name="connsiteX1422" fmla="*/ 134193 w 401077"/>
                  <a:gd name="connsiteY1422" fmla="*/ 277025 h 533771"/>
                  <a:gd name="connsiteX1423" fmla="*/ 134809 w 401077"/>
                  <a:gd name="connsiteY1423" fmla="*/ 277554 h 533771"/>
                  <a:gd name="connsiteX1424" fmla="*/ 134809 w 401077"/>
                  <a:gd name="connsiteY1424" fmla="*/ 278171 h 533771"/>
                  <a:gd name="connsiteX1425" fmla="*/ 137984 w 401077"/>
                  <a:gd name="connsiteY1425" fmla="*/ 277642 h 533771"/>
                  <a:gd name="connsiteX1426" fmla="*/ 137719 w 401077"/>
                  <a:gd name="connsiteY1426" fmla="*/ 277642 h 533771"/>
                  <a:gd name="connsiteX1427" fmla="*/ 137984 w 401077"/>
                  <a:gd name="connsiteY1427" fmla="*/ 277378 h 533771"/>
                  <a:gd name="connsiteX1428" fmla="*/ 137984 w 401077"/>
                  <a:gd name="connsiteY1428" fmla="*/ 277642 h 533771"/>
                  <a:gd name="connsiteX1429" fmla="*/ 145301 w 401077"/>
                  <a:gd name="connsiteY1429" fmla="*/ 277907 h 533771"/>
                  <a:gd name="connsiteX1430" fmla="*/ 145301 w 401077"/>
                  <a:gd name="connsiteY1430" fmla="*/ 277642 h 533771"/>
                  <a:gd name="connsiteX1431" fmla="*/ 144949 w 401077"/>
                  <a:gd name="connsiteY1431" fmla="*/ 277378 h 533771"/>
                  <a:gd name="connsiteX1432" fmla="*/ 145301 w 401077"/>
                  <a:gd name="connsiteY1432" fmla="*/ 277907 h 533771"/>
                  <a:gd name="connsiteX1433" fmla="*/ 141510 w 401077"/>
                  <a:gd name="connsiteY1433" fmla="*/ 277642 h 533771"/>
                  <a:gd name="connsiteX1434" fmla="*/ 141246 w 401077"/>
                  <a:gd name="connsiteY1434" fmla="*/ 277642 h 533771"/>
                  <a:gd name="connsiteX1435" fmla="*/ 141510 w 401077"/>
                  <a:gd name="connsiteY1435" fmla="*/ 277378 h 533771"/>
                  <a:gd name="connsiteX1436" fmla="*/ 141510 w 401077"/>
                  <a:gd name="connsiteY1436" fmla="*/ 277642 h 533771"/>
                  <a:gd name="connsiteX1437" fmla="*/ 142921 w 401077"/>
                  <a:gd name="connsiteY1437" fmla="*/ 277642 h 533771"/>
                  <a:gd name="connsiteX1438" fmla="*/ 142656 w 401077"/>
                  <a:gd name="connsiteY1438" fmla="*/ 277642 h 533771"/>
                  <a:gd name="connsiteX1439" fmla="*/ 142656 w 401077"/>
                  <a:gd name="connsiteY1439" fmla="*/ 277378 h 533771"/>
                  <a:gd name="connsiteX1440" fmla="*/ 142921 w 401077"/>
                  <a:gd name="connsiteY1440" fmla="*/ 277642 h 533771"/>
                  <a:gd name="connsiteX1441" fmla="*/ 121320 w 401077"/>
                  <a:gd name="connsiteY1441" fmla="*/ 277907 h 533771"/>
                  <a:gd name="connsiteX1442" fmla="*/ 121055 w 401077"/>
                  <a:gd name="connsiteY1442" fmla="*/ 277290 h 533771"/>
                  <a:gd name="connsiteX1443" fmla="*/ 121320 w 401077"/>
                  <a:gd name="connsiteY1443" fmla="*/ 277554 h 533771"/>
                  <a:gd name="connsiteX1444" fmla="*/ 121320 w 401077"/>
                  <a:gd name="connsiteY1444" fmla="*/ 277907 h 533771"/>
                  <a:gd name="connsiteX1445" fmla="*/ 137102 w 401077"/>
                  <a:gd name="connsiteY1445" fmla="*/ 279406 h 533771"/>
                  <a:gd name="connsiteX1446" fmla="*/ 136220 w 401077"/>
                  <a:gd name="connsiteY1446" fmla="*/ 278788 h 533771"/>
                  <a:gd name="connsiteX1447" fmla="*/ 135074 w 401077"/>
                  <a:gd name="connsiteY1447" fmla="*/ 277907 h 533771"/>
                  <a:gd name="connsiteX1448" fmla="*/ 134809 w 401077"/>
                  <a:gd name="connsiteY1448" fmla="*/ 277290 h 533771"/>
                  <a:gd name="connsiteX1449" fmla="*/ 135074 w 401077"/>
                  <a:gd name="connsiteY1449" fmla="*/ 277025 h 533771"/>
                  <a:gd name="connsiteX1450" fmla="*/ 135339 w 401077"/>
                  <a:gd name="connsiteY1450" fmla="*/ 277025 h 533771"/>
                  <a:gd name="connsiteX1451" fmla="*/ 135603 w 401077"/>
                  <a:gd name="connsiteY1451" fmla="*/ 277290 h 533771"/>
                  <a:gd name="connsiteX1452" fmla="*/ 136220 w 401077"/>
                  <a:gd name="connsiteY1452" fmla="*/ 277907 h 533771"/>
                  <a:gd name="connsiteX1453" fmla="*/ 136838 w 401077"/>
                  <a:gd name="connsiteY1453" fmla="*/ 278171 h 533771"/>
                  <a:gd name="connsiteX1454" fmla="*/ 136573 w 401077"/>
                  <a:gd name="connsiteY1454" fmla="*/ 278436 h 533771"/>
                  <a:gd name="connsiteX1455" fmla="*/ 136838 w 401077"/>
                  <a:gd name="connsiteY1455" fmla="*/ 279053 h 533771"/>
                  <a:gd name="connsiteX1456" fmla="*/ 137102 w 401077"/>
                  <a:gd name="connsiteY1456" fmla="*/ 279406 h 533771"/>
                  <a:gd name="connsiteX1457" fmla="*/ 146712 w 401077"/>
                  <a:gd name="connsiteY1457" fmla="*/ 278171 h 533771"/>
                  <a:gd name="connsiteX1458" fmla="*/ 146448 w 401077"/>
                  <a:gd name="connsiteY1458" fmla="*/ 278436 h 533771"/>
                  <a:gd name="connsiteX1459" fmla="*/ 146712 w 401077"/>
                  <a:gd name="connsiteY1459" fmla="*/ 278171 h 533771"/>
                  <a:gd name="connsiteX1460" fmla="*/ 131547 w 401077"/>
                  <a:gd name="connsiteY1460" fmla="*/ 278524 h 533771"/>
                  <a:gd name="connsiteX1461" fmla="*/ 131018 w 401077"/>
                  <a:gd name="connsiteY1461" fmla="*/ 277907 h 533771"/>
                  <a:gd name="connsiteX1462" fmla="*/ 131283 w 401077"/>
                  <a:gd name="connsiteY1462" fmla="*/ 277907 h 533771"/>
                  <a:gd name="connsiteX1463" fmla="*/ 131547 w 401077"/>
                  <a:gd name="connsiteY1463" fmla="*/ 278524 h 533771"/>
                  <a:gd name="connsiteX1464" fmla="*/ 262566 w 401077"/>
                  <a:gd name="connsiteY1464" fmla="*/ 278171 h 533771"/>
                  <a:gd name="connsiteX1465" fmla="*/ 262301 w 401077"/>
                  <a:gd name="connsiteY1465" fmla="*/ 278171 h 533771"/>
                  <a:gd name="connsiteX1466" fmla="*/ 262301 w 401077"/>
                  <a:gd name="connsiteY1466" fmla="*/ 277554 h 533771"/>
                  <a:gd name="connsiteX1467" fmla="*/ 262918 w 401077"/>
                  <a:gd name="connsiteY1467" fmla="*/ 277819 h 533771"/>
                  <a:gd name="connsiteX1468" fmla="*/ 262566 w 401077"/>
                  <a:gd name="connsiteY1468" fmla="*/ 278171 h 533771"/>
                  <a:gd name="connsiteX1469" fmla="*/ 135074 w 401077"/>
                  <a:gd name="connsiteY1469" fmla="*/ 279670 h 533771"/>
                  <a:gd name="connsiteX1470" fmla="*/ 134457 w 401077"/>
                  <a:gd name="connsiteY1470" fmla="*/ 279406 h 533771"/>
                  <a:gd name="connsiteX1471" fmla="*/ 134104 w 401077"/>
                  <a:gd name="connsiteY1471" fmla="*/ 278524 h 533771"/>
                  <a:gd name="connsiteX1472" fmla="*/ 133487 w 401077"/>
                  <a:gd name="connsiteY1472" fmla="*/ 277907 h 533771"/>
                  <a:gd name="connsiteX1473" fmla="*/ 134104 w 401077"/>
                  <a:gd name="connsiteY1473" fmla="*/ 278171 h 533771"/>
                  <a:gd name="connsiteX1474" fmla="*/ 134722 w 401077"/>
                  <a:gd name="connsiteY1474" fmla="*/ 278171 h 533771"/>
                  <a:gd name="connsiteX1475" fmla="*/ 135603 w 401077"/>
                  <a:gd name="connsiteY1475" fmla="*/ 278436 h 533771"/>
                  <a:gd name="connsiteX1476" fmla="*/ 135603 w 401077"/>
                  <a:gd name="connsiteY1476" fmla="*/ 279053 h 533771"/>
                  <a:gd name="connsiteX1477" fmla="*/ 135074 w 401077"/>
                  <a:gd name="connsiteY1477" fmla="*/ 279670 h 533771"/>
                  <a:gd name="connsiteX1478" fmla="*/ 132429 w 401077"/>
                  <a:gd name="connsiteY1478" fmla="*/ 278524 h 533771"/>
                  <a:gd name="connsiteX1479" fmla="*/ 132429 w 401077"/>
                  <a:gd name="connsiteY1479" fmla="*/ 278524 h 533771"/>
                  <a:gd name="connsiteX1480" fmla="*/ 132164 w 401077"/>
                  <a:gd name="connsiteY1480" fmla="*/ 278259 h 533771"/>
                  <a:gd name="connsiteX1481" fmla="*/ 132429 w 401077"/>
                  <a:gd name="connsiteY1481" fmla="*/ 278524 h 533771"/>
                  <a:gd name="connsiteX1482" fmla="*/ 118146 w 401077"/>
                  <a:gd name="connsiteY1482" fmla="*/ 280287 h 533771"/>
                  <a:gd name="connsiteX1483" fmla="*/ 117617 w 401077"/>
                  <a:gd name="connsiteY1483" fmla="*/ 279670 h 533771"/>
                  <a:gd name="connsiteX1484" fmla="*/ 117881 w 401077"/>
                  <a:gd name="connsiteY1484" fmla="*/ 279053 h 533771"/>
                  <a:gd name="connsiteX1485" fmla="*/ 118498 w 401077"/>
                  <a:gd name="connsiteY1485" fmla="*/ 278436 h 533771"/>
                  <a:gd name="connsiteX1486" fmla="*/ 118763 w 401077"/>
                  <a:gd name="connsiteY1486" fmla="*/ 278436 h 533771"/>
                  <a:gd name="connsiteX1487" fmla="*/ 119027 w 401077"/>
                  <a:gd name="connsiteY1487" fmla="*/ 279053 h 533771"/>
                  <a:gd name="connsiteX1488" fmla="*/ 118410 w 401077"/>
                  <a:gd name="connsiteY1488" fmla="*/ 279935 h 533771"/>
                  <a:gd name="connsiteX1489" fmla="*/ 118146 w 401077"/>
                  <a:gd name="connsiteY1489" fmla="*/ 280287 h 533771"/>
                  <a:gd name="connsiteX1490" fmla="*/ 143803 w 401077"/>
                  <a:gd name="connsiteY1490" fmla="*/ 278524 h 533771"/>
                  <a:gd name="connsiteX1491" fmla="*/ 143538 w 401077"/>
                  <a:gd name="connsiteY1491" fmla="*/ 278524 h 533771"/>
                  <a:gd name="connsiteX1492" fmla="*/ 143803 w 401077"/>
                  <a:gd name="connsiteY1492" fmla="*/ 278259 h 533771"/>
                  <a:gd name="connsiteX1493" fmla="*/ 143803 w 401077"/>
                  <a:gd name="connsiteY1493" fmla="*/ 278524 h 533771"/>
                  <a:gd name="connsiteX1494" fmla="*/ 120791 w 401077"/>
                  <a:gd name="connsiteY1494" fmla="*/ 278524 h 533771"/>
                  <a:gd name="connsiteX1495" fmla="*/ 120526 w 401077"/>
                  <a:gd name="connsiteY1495" fmla="*/ 278524 h 533771"/>
                  <a:gd name="connsiteX1496" fmla="*/ 120526 w 401077"/>
                  <a:gd name="connsiteY1496" fmla="*/ 278259 h 533771"/>
                  <a:gd name="connsiteX1497" fmla="*/ 120791 w 401077"/>
                  <a:gd name="connsiteY1497" fmla="*/ 278259 h 533771"/>
                  <a:gd name="connsiteX1498" fmla="*/ 120791 w 401077"/>
                  <a:gd name="connsiteY1498" fmla="*/ 278524 h 533771"/>
                  <a:gd name="connsiteX1499" fmla="*/ 175631 w 401077"/>
                  <a:gd name="connsiteY1499" fmla="*/ 278788 h 533771"/>
                  <a:gd name="connsiteX1500" fmla="*/ 175367 w 401077"/>
                  <a:gd name="connsiteY1500" fmla="*/ 278788 h 533771"/>
                  <a:gd name="connsiteX1501" fmla="*/ 175631 w 401077"/>
                  <a:gd name="connsiteY1501" fmla="*/ 278524 h 533771"/>
                  <a:gd name="connsiteX1502" fmla="*/ 175631 w 401077"/>
                  <a:gd name="connsiteY1502" fmla="*/ 278788 h 533771"/>
                  <a:gd name="connsiteX1503" fmla="*/ 173604 w 401077"/>
                  <a:gd name="connsiteY1503" fmla="*/ 278788 h 533771"/>
                  <a:gd name="connsiteX1504" fmla="*/ 173604 w 401077"/>
                  <a:gd name="connsiteY1504" fmla="*/ 279053 h 533771"/>
                  <a:gd name="connsiteX1505" fmla="*/ 173604 w 401077"/>
                  <a:gd name="connsiteY1505" fmla="*/ 278788 h 533771"/>
                  <a:gd name="connsiteX1506" fmla="*/ 131283 w 401077"/>
                  <a:gd name="connsiteY1506" fmla="*/ 279053 h 533771"/>
                  <a:gd name="connsiteX1507" fmla="*/ 130666 w 401077"/>
                  <a:gd name="connsiteY1507" fmla="*/ 278788 h 533771"/>
                  <a:gd name="connsiteX1508" fmla="*/ 131018 w 401077"/>
                  <a:gd name="connsiteY1508" fmla="*/ 278788 h 533771"/>
                  <a:gd name="connsiteX1509" fmla="*/ 131283 w 401077"/>
                  <a:gd name="connsiteY1509" fmla="*/ 279053 h 533771"/>
                  <a:gd name="connsiteX1510" fmla="*/ 175015 w 401077"/>
                  <a:gd name="connsiteY1510" fmla="*/ 279053 h 533771"/>
                  <a:gd name="connsiteX1511" fmla="*/ 174750 w 401077"/>
                  <a:gd name="connsiteY1511" fmla="*/ 279053 h 533771"/>
                  <a:gd name="connsiteX1512" fmla="*/ 175015 w 401077"/>
                  <a:gd name="connsiteY1512" fmla="*/ 278788 h 533771"/>
                  <a:gd name="connsiteX1513" fmla="*/ 175015 w 401077"/>
                  <a:gd name="connsiteY1513" fmla="*/ 279053 h 533771"/>
                  <a:gd name="connsiteX1514" fmla="*/ 137719 w 401077"/>
                  <a:gd name="connsiteY1514" fmla="*/ 279935 h 533771"/>
                  <a:gd name="connsiteX1515" fmla="*/ 137366 w 401077"/>
                  <a:gd name="connsiteY1515" fmla="*/ 279935 h 533771"/>
                  <a:gd name="connsiteX1516" fmla="*/ 137102 w 401077"/>
                  <a:gd name="connsiteY1516" fmla="*/ 279053 h 533771"/>
                  <a:gd name="connsiteX1517" fmla="*/ 137366 w 401077"/>
                  <a:gd name="connsiteY1517" fmla="*/ 278788 h 533771"/>
                  <a:gd name="connsiteX1518" fmla="*/ 137719 w 401077"/>
                  <a:gd name="connsiteY1518" fmla="*/ 279406 h 533771"/>
                  <a:gd name="connsiteX1519" fmla="*/ 137366 w 401077"/>
                  <a:gd name="connsiteY1519" fmla="*/ 279670 h 533771"/>
                  <a:gd name="connsiteX1520" fmla="*/ 137719 w 401077"/>
                  <a:gd name="connsiteY1520" fmla="*/ 279935 h 533771"/>
                  <a:gd name="connsiteX1521" fmla="*/ 130401 w 401077"/>
                  <a:gd name="connsiteY1521" fmla="*/ 279053 h 533771"/>
                  <a:gd name="connsiteX1522" fmla="*/ 130401 w 401077"/>
                  <a:gd name="connsiteY1522" fmla="*/ 279317 h 533771"/>
                  <a:gd name="connsiteX1523" fmla="*/ 130401 w 401077"/>
                  <a:gd name="connsiteY1523" fmla="*/ 278700 h 533771"/>
                  <a:gd name="connsiteX1524" fmla="*/ 130401 w 401077"/>
                  <a:gd name="connsiteY1524" fmla="*/ 279053 h 533771"/>
                  <a:gd name="connsiteX1525" fmla="*/ 136838 w 401077"/>
                  <a:gd name="connsiteY1525" fmla="*/ 279670 h 533771"/>
                  <a:gd name="connsiteX1526" fmla="*/ 136573 w 401077"/>
                  <a:gd name="connsiteY1526" fmla="*/ 279406 h 533771"/>
                  <a:gd name="connsiteX1527" fmla="*/ 136309 w 401077"/>
                  <a:gd name="connsiteY1527" fmla="*/ 279141 h 533771"/>
                  <a:gd name="connsiteX1528" fmla="*/ 136926 w 401077"/>
                  <a:gd name="connsiteY1528" fmla="*/ 279406 h 533771"/>
                  <a:gd name="connsiteX1529" fmla="*/ 136926 w 401077"/>
                  <a:gd name="connsiteY1529" fmla="*/ 279670 h 533771"/>
                  <a:gd name="connsiteX1530" fmla="*/ 128990 w 401077"/>
                  <a:gd name="connsiteY1530" fmla="*/ 279406 h 533771"/>
                  <a:gd name="connsiteX1531" fmla="*/ 128726 w 401077"/>
                  <a:gd name="connsiteY1531" fmla="*/ 279406 h 533771"/>
                  <a:gd name="connsiteX1532" fmla="*/ 128990 w 401077"/>
                  <a:gd name="connsiteY1532" fmla="*/ 279141 h 533771"/>
                  <a:gd name="connsiteX1533" fmla="*/ 128990 w 401077"/>
                  <a:gd name="connsiteY1533" fmla="*/ 279406 h 533771"/>
                  <a:gd name="connsiteX1534" fmla="*/ 119909 w 401077"/>
                  <a:gd name="connsiteY1534" fmla="*/ 279406 h 533771"/>
                  <a:gd name="connsiteX1535" fmla="*/ 119645 w 401077"/>
                  <a:gd name="connsiteY1535" fmla="*/ 279141 h 533771"/>
                  <a:gd name="connsiteX1536" fmla="*/ 119909 w 401077"/>
                  <a:gd name="connsiteY1536" fmla="*/ 279141 h 533771"/>
                  <a:gd name="connsiteX1537" fmla="*/ 119909 w 401077"/>
                  <a:gd name="connsiteY1537" fmla="*/ 279406 h 533771"/>
                  <a:gd name="connsiteX1538" fmla="*/ 136220 w 401077"/>
                  <a:gd name="connsiteY1538" fmla="*/ 279935 h 533771"/>
                  <a:gd name="connsiteX1539" fmla="*/ 135603 w 401077"/>
                  <a:gd name="connsiteY1539" fmla="*/ 279317 h 533771"/>
                  <a:gd name="connsiteX1540" fmla="*/ 136484 w 401077"/>
                  <a:gd name="connsiteY1540" fmla="*/ 279582 h 533771"/>
                  <a:gd name="connsiteX1541" fmla="*/ 136220 w 401077"/>
                  <a:gd name="connsiteY1541" fmla="*/ 279935 h 533771"/>
                  <a:gd name="connsiteX1542" fmla="*/ 130401 w 401077"/>
                  <a:gd name="connsiteY1542" fmla="*/ 279670 h 533771"/>
                  <a:gd name="connsiteX1543" fmla="*/ 130137 w 401077"/>
                  <a:gd name="connsiteY1543" fmla="*/ 279406 h 533771"/>
                  <a:gd name="connsiteX1544" fmla="*/ 130401 w 401077"/>
                  <a:gd name="connsiteY1544" fmla="*/ 279406 h 533771"/>
                  <a:gd name="connsiteX1545" fmla="*/ 130401 w 401077"/>
                  <a:gd name="connsiteY1545" fmla="*/ 279670 h 533771"/>
                  <a:gd name="connsiteX1546" fmla="*/ 170430 w 401077"/>
                  <a:gd name="connsiteY1546" fmla="*/ 281433 h 533771"/>
                  <a:gd name="connsiteX1547" fmla="*/ 170077 w 401077"/>
                  <a:gd name="connsiteY1547" fmla="*/ 281169 h 533771"/>
                  <a:gd name="connsiteX1548" fmla="*/ 169195 w 401077"/>
                  <a:gd name="connsiteY1548" fmla="*/ 280640 h 533771"/>
                  <a:gd name="connsiteX1549" fmla="*/ 168931 w 401077"/>
                  <a:gd name="connsiteY1549" fmla="*/ 280375 h 533771"/>
                  <a:gd name="connsiteX1550" fmla="*/ 169195 w 401077"/>
                  <a:gd name="connsiteY1550" fmla="*/ 280111 h 533771"/>
                  <a:gd name="connsiteX1551" fmla="*/ 168931 w 401077"/>
                  <a:gd name="connsiteY1551" fmla="*/ 280111 h 533771"/>
                  <a:gd name="connsiteX1552" fmla="*/ 168578 w 401077"/>
                  <a:gd name="connsiteY1552" fmla="*/ 280111 h 533771"/>
                  <a:gd name="connsiteX1553" fmla="*/ 168314 w 401077"/>
                  <a:gd name="connsiteY1553" fmla="*/ 280111 h 533771"/>
                  <a:gd name="connsiteX1554" fmla="*/ 167961 w 401077"/>
                  <a:gd name="connsiteY1554" fmla="*/ 279847 h 533771"/>
                  <a:gd name="connsiteX1555" fmla="*/ 167696 w 401077"/>
                  <a:gd name="connsiteY1555" fmla="*/ 279582 h 533771"/>
                  <a:gd name="connsiteX1556" fmla="*/ 167432 w 401077"/>
                  <a:gd name="connsiteY1556" fmla="*/ 278700 h 533771"/>
                  <a:gd name="connsiteX1557" fmla="*/ 167696 w 401077"/>
                  <a:gd name="connsiteY1557" fmla="*/ 278083 h 533771"/>
                  <a:gd name="connsiteX1558" fmla="*/ 168314 w 401077"/>
                  <a:gd name="connsiteY1558" fmla="*/ 277819 h 533771"/>
                  <a:gd name="connsiteX1559" fmla="*/ 168314 w 401077"/>
                  <a:gd name="connsiteY1559" fmla="*/ 276408 h 533771"/>
                  <a:gd name="connsiteX1560" fmla="*/ 168314 w 401077"/>
                  <a:gd name="connsiteY1560" fmla="*/ 274909 h 533771"/>
                  <a:gd name="connsiteX1561" fmla="*/ 168578 w 401077"/>
                  <a:gd name="connsiteY1561" fmla="*/ 274644 h 533771"/>
                  <a:gd name="connsiteX1562" fmla="*/ 169195 w 401077"/>
                  <a:gd name="connsiteY1562" fmla="*/ 273498 h 533771"/>
                  <a:gd name="connsiteX1563" fmla="*/ 169460 w 401077"/>
                  <a:gd name="connsiteY1563" fmla="*/ 272881 h 533771"/>
                  <a:gd name="connsiteX1564" fmla="*/ 170077 w 401077"/>
                  <a:gd name="connsiteY1564" fmla="*/ 272617 h 533771"/>
                  <a:gd name="connsiteX1565" fmla="*/ 170694 w 401077"/>
                  <a:gd name="connsiteY1565" fmla="*/ 271118 h 533771"/>
                  <a:gd name="connsiteX1566" fmla="*/ 171311 w 401077"/>
                  <a:gd name="connsiteY1566" fmla="*/ 271118 h 533771"/>
                  <a:gd name="connsiteX1567" fmla="*/ 171840 w 401077"/>
                  <a:gd name="connsiteY1567" fmla="*/ 272000 h 533771"/>
                  <a:gd name="connsiteX1568" fmla="*/ 171576 w 401077"/>
                  <a:gd name="connsiteY1568" fmla="*/ 272617 h 533771"/>
                  <a:gd name="connsiteX1569" fmla="*/ 171840 w 401077"/>
                  <a:gd name="connsiteY1569" fmla="*/ 273763 h 533771"/>
                  <a:gd name="connsiteX1570" fmla="*/ 171311 w 401077"/>
                  <a:gd name="connsiteY1570" fmla="*/ 274644 h 533771"/>
                  <a:gd name="connsiteX1571" fmla="*/ 171047 w 401077"/>
                  <a:gd name="connsiteY1571" fmla="*/ 275791 h 533771"/>
                  <a:gd name="connsiteX1572" fmla="*/ 171664 w 401077"/>
                  <a:gd name="connsiteY1572" fmla="*/ 277290 h 533771"/>
                  <a:gd name="connsiteX1573" fmla="*/ 172281 w 401077"/>
                  <a:gd name="connsiteY1573" fmla="*/ 277819 h 533771"/>
                  <a:gd name="connsiteX1574" fmla="*/ 172898 w 401077"/>
                  <a:gd name="connsiteY1574" fmla="*/ 278436 h 533771"/>
                  <a:gd name="connsiteX1575" fmla="*/ 173427 w 401077"/>
                  <a:gd name="connsiteY1575" fmla="*/ 279053 h 533771"/>
                  <a:gd name="connsiteX1576" fmla="*/ 174044 w 401077"/>
                  <a:gd name="connsiteY1576" fmla="*/ 279317 h 533771"/>
                  <a:gd name="connsiteX1577" fmla="*/ 173692 w 401077"/>
                  <a:gd name="connsiteY1577" fmla="*/ 279935 h 533771"/>
                  <a:gd name="connsiteX1578" fmla="*/ 172281 w 401077"/>
                  <a:gd name="connsiteY1578" fmla="*/ 280552 h 533771"/>
                  <a:gd name="connsiteX1579" fmla="*/ 171399 w 401077"/>
                  <a:gd name="connsiteY1579" fmla="*/ 281433 h 533771"/>
                  <a:gd name="connsiteX1580" fmla="*/ 170430 w 401077"/>
                  <a:gd name="connsiteY1580" fmla="*/ 281433 h 533771"/>
                  <a:gd name="connsiteX1581" fmla="*/ 137366 w 401077"/>
                  <a:gd name="connsiteY1581" fmla="*/ 280287 h 533771"/>
                  <a:gd name="connsiteX1582" fmla="*/ 137102 w 401077"/>
                  <a:gd name="connsiteY1582" fmla="*/ 280287 h 533771"/>
                  <a:gd name="connsiteX1583" fmla="*/ 137102 w 401077"/>
                  <a:gd name="connsiteY1583" fmla="*/ 279670 h 533771"/>
                  <a:gd name="connsiteX1584" fmla="*/ 137366 w 401077"/>
                  <a:gd name="connsiteY1584" fmla="*/ 280287 h 533771"/>
                  <a:gd name="connsiteX1585" fmla="*/ 262566 w 401077"/>
                  <a:gd name="connsiteY1585" fmla="*/ 281433 h 533771"/>
                  <a:gd name="connsiteX1586" fmla="*/ 261948 w 401077"/>
                  <a:gd name="connsiteY1586" fmla="*/ 281433 h 533771"/>
                  <a:gd name="connsiteX1587" fmla="*/ 261948 w 401077"/>
                  <a:gd name="connsiteY1587" fmla="*/ 280816 h 533771"/>
                  <a:gd name="connsiteX1588" fmla="*/ 261948 w 401077"/>
                  <a:gd name="connsiteY1588" fmla="*/ 280287 h 533771"/>
                  <a:gd name="connsiteX1589" fmla="*/ 262830 w 401077"/>
                  <a:gd name="connsiteY1589" fmla="*/ 280552 h 533771"/>
                  <a:gd name="connsiteX1590" fmla="*/ 262830 w 401077"/>
                  <a:gd name="connsiteY1590" fmla="*/ 280816 h 533771"/>
                  <a:gd name="connsiteX1591" fmla="*/ 262566 w 401077"/>
                  <a:gd name="connsiteY1591" fmla="*/ 281081 h 533771"/>
                  <a:gd name="connsiteX1592" fmla="*/ 262566 w 401077"/>
                  <a:gd name="connsiteY1592" fmla="*/ 281433 h 533771"/>
                  <a:gd name="connsiteX1593" fmla="*/ 136573 w 401077"/>
                  <a:gd name="connsiteY1593" fmla="*/ 280287 h 533771"/>
                  <a:gd name="connsiteX1594" fmla="*/ 136573 w 401077"/>
                  <a:gd name="connsiteY1594" fmla="*/ 280287 h 533771"/>
                  <a:gd name="connsiteX1595" fmla="*/ 136838 w 401077"/>
                  <a:gd name="connsiteY1595" fmla="*/ 280287 h 533771"/>
                  <a:gd name="connsiteX1596" fmla="*/ 136573 w 401077"/>
                  <a:gd name="connsiteY1596" fmla="*/ 280287 h 533771"/>
                  <a:gd name="connsiteX1597" fmla="*/ 138865 w 401077"/>
                  <a:gd name="connsiteY1597" fmla="*/ 280287 h 533771"/>
                  <a:gd name="connsiteX1598" fmla="*/ 138601 w 401077"/>
                  <a:gd name="connsiteY1598" fmla="*/ 280552 h 533771"/>
                  <a:gd name="connsiteX1599" fmla="*/ 138865 w 401077"/>
                  <a:gd name="connsiteY1599" fmla="*/ 280287 h 533771"/>
                  <a:gd name="connsiteX1600" fmla="*/ 136838 w 401077"/>
                  <a:gd name="connsiteY1600" fmla="*/ 280816 h 533771"/>
                  <a:gd name="connsiteX1601" fmla="*/ 136573 w 401077"/>
                  <a:gd name="connsiteY1601" fmla="*/ 280552 h 533771"/>
                  <a:gd name="connsiteX1602" fmla="*/ 136838 w 401077"/>
                  <a:gd name="connsiteY1602" fmla="*/ 280552 h 533771"/>
                  <a:gd name="connsiteX1603" fmla="*/ 136838 w 401077"/>
                  <a:gd name="connsiteY1603" fmla="*/ 280816 h 533771"/>
                  <a:gd name="connsiteX1604" fmla="*/ 139482 w 401077"/>
                  <a:gd name="connsiteY1604" fmla="*/ 280816 h 533771"/>
                  <a:gd name="connsiteX1605" fmla="*/ 139482 w 401077"/>
                  <a:gd name="connsiteY1605" fmla="*/ 280816 h 533771"/>
                  <a:gd name="connsiteX1606" fmla="*/ 139130 w 401077"/>
                  <a:gd name="connsiteY1606" fmla="*/ 280816 h 533771"/>
                  <a:gd name="connsiteX1607" fmla="*/ 139482 w 401077"/>
                  <a:gd name="connsiteY1607" fmla="*/ 280816 h 533771"/>
                  <a:gd name="connsiteX1608" fmla="*/ 131283 w 401077"/>
                  <a:gd name="connsiteY1608" fmla="*/ 280816 h 533771"/>
                  <a:gd name="connsiteX1609" fmla="*/ 130401 w 401077"/>
                  <a:gd name="connsiteY1609" fmla="*/ 280816 h 533771"/>
                  <a:gd name="connsiteX1610" fmla="*/ 129784 w 401077"/>
                  <a:gd name="connsiteY1610" fmla="*/ 280287 h 533771"/>
                  <a:gd name="connsiteX1611" fmla="*/ 130048 w 401077"/>
                  <a:gd name="connsiteY1611" fmla="*/ 280287 h 533771"/>
                  <a:gd name="connsiteX1612" fmla="*/ 130313 w 401077"/>
                  <a:gd name="connsiteY1612" fmla="*/ 280023 h 533771"/>
                  <a:gd name="connsiteX1613" fmla="*/ 130666 w 401077"/>
                  <a:gd name="connsiteY1613" fmla="*/ 280023 h 533771"/>
                  <a:gd name="connsiteX1614" fmla="*/ 131018 w 401077"/>
                  <a:gd name="connsiteY1614" fmla="*/ 279758 h 533771"/>
                  <a:gd name="connsiteX1615" fmla="*/ 131018 w 401077"/>
                  <a:gd name="connsiteY1615" fmla="*/ 279494 h 533771"/>
                  <a:gd name="connsiteX1616" fmla="*/ 131283 w 401077"/>
                  <a:gd name="connsiteY1616" fmla="*/ 279229 h 533771"/>
                  <a:gd name="connsiteX1617" fmla="*/ 131547 w 401077"/>
                  <a:gd name="connsiteY1617" fmla="*/ 280111 h 533771"/>
                  <a:gd name="connsiteX1618" fmla="*/ 131812 w 401077"/>
                  <a:gd name="connsiteY1618" fmla="*/ 280993 h 533771"/>
                  <a:gd name="connsiteX1619" fmla="*/ 131283 w 401077"/>
                  <a:gd name="connsiteY1619" fmla="*/ 280993 h 533771"/>
                  <a:gd name="connsiteX1620" fmla="*/ 136220 w 401077"/>
                  <a:gd name="connsiteY1620" fmla="*/ 281081 h 533771"/>
                  <a:gd name="connsiteX1621" fmla="*/ 135603 w 401077"/>
                  <a:gd name="connsiteY1621" fmla="*/ 281081 h 533771"/>
                  <a:gd name="connsiteX1622" fmla="*/ 134986 w 401077"/>
                  <a:gd name="connsiteY1622" fmla="*/ 280816 h 533771"/>
                  <a:gd name="connsiteX1623" fmla="*/ 134722 w 401077"/>
                  <a:gd name="connsiteY1623" fmla="*/ 280816 h 533771"/>
                  <a:gd name="connsiteX1624" fmla="*/ 134722 w 401077"/>
                  <a:gd name="connsiteY1624" fmla="*/ 280287 h 533771"/>
                  <a:gd name="connsiteX1625" fmla="*/ 134986 w 401077"/>
                  <a:gd name="connsiteY1625" fmla="*/ 280287 h 533771"/>
                  <a:gd name="connsiteX1626" fmla="*/ 135251 w 401077"/>
                  <a:gd name="connsiteY1626" fmla="*/ 280023 h 533771"/>
                  <a:gd name="connsiteX1627" fmla="*/ 135868 w 401077"/>
                  <a:gd name="connsiteY1627" fmla="*/ 280640 h 533771"/>
                  <a:gd name="connsiteX1628" fmla="*/ 136484 w 401077"/>
                  <a:gd name="connsiteY1628" fmla="*/ 280904 h 533771"/>
                  <a:gd name="connsiteX1629" fmla="*/ 136220 w 401077"/>
                  <a:gd name="connsiteY1629" fmla="*/ 281081 h 533771"/>
                  <a:gd name="connsiteX1630" fmla="*/ 132429 w 401077"/>
                  <a:gd name="connsiteY1630" fmla="*/ 281433 h 533771"/>
                  <a:gd name="connsiteX1631" fmla="*/ 132164 w 401077"/>
                  <a:gd name="connsiteY1631" fmla="*/ 281169 h 533771"/>
                  <a:gd name="connsiteX1632" fmla="*/ 132429 w 401077"/>
                  <a:gd name="connsiteY1632" fmla="*/ 281433 h 533771"/>
                  <a:gd name="connsiteX1633" fmla="*/ 139747 w 401077"/>
                  <a:gd name="connsiteY1633" fmla="*/ 281433 h 533771"/>
                  <a:gd name="connsiteX1634" fmla="*/ 139482 w 401077"/>
                  <a:gd name="connsiteY1634" fmla="*/ 281698 h 533771"/>
                  <a:gd name="connsiteX1635" fmla="*/ 139482 w 401077"/>
                  <a:gd name="connsiteY1635" fmla="*/ 281081 h 533771"/>
                  <a:gd name="connsiteX1636" fmla="*/ 139747 w 401077"/>
                  <a:gd name="connsiteY1636" fmla="*/ 281433 h 533771"/>
                  <a:gd name="connsiteX1637" fmla="*/ 130137 w 401077"/>
                  <a:gd name="connsiteY1637" fmla="*/ 281433 h 533771"/>
                  <a:gd name="connsiteX1638" fmla="*/ 129872 w 401077"/>
                  <a:gd name="connsiteY1638" fmla="*/ 281169 h 533771"/>
                  <a:gd name="connsiteX1639" fmla="*/ 130137 w 401077"/>
                  <a:gd name="connsiteY1639" fmla="*/ 281433 h 533771"/>
                  <a:gd name="connsiteX1640" fmla="*/ 119292 w 401077"/>
                  <a:gd name="connsiteY1640" fmla="*/ 281433 h 533771"/>
                  <a:gd name="connsiteX1641" fmla="*/ 119027 w 401077"/>
                  <a:gd name="connsiteY1641" fmla="*/ 281433 h 533771"/>
                  <a:gd name="connsiteX1642" fmla="*/ 119292 w 401077"/>
                  <a:gd name="connsiteY1642" fmla="*/ 281169 h 533771"/>
                  <a:gd name="connsiteX1643" fmla="*/ 119292 w 401077"/>
                  <a:gd name="connsiteY1643" fmla="*/ 281433 h 533771"/>
                  <a:gd name="connsiteX1644" fmla="*/ 131900 w 401077"/>
                  <a:gd name="connsiteY1644" fmla="*/ 281433 h 533771"/>
                  <a:gd name="connsiteX1645" fmla="*/ 131635 w 401077"/>
                  <a:gd name="connsiteY1645" fmla="*/ 281433 h 533771"/>
                  <a:gd name="connsiteX1646" fmla="*/ 131900 w 401077"/>
                  <a:gd name="connsiteY1646" fmla="*/ 281169 h 533771"/>
                  <a:gd name="connsiteX1647" fmla="*/ 131900 w 401077"/>
                  <a:gd name="connsiteY1647" fmla="*/ 281433 h 533771"/>
                  <a:gd name="connsiteX1648" fmla="*/ 131547 w 401077"/>
                  <a:gd name="connsiteY1648" fmla="*/ 281433 h 533771"/>
                  <a:gd name="connsiteX1649" fmla="*/ 131018 w 401077"/>
                  <a:gd name="connsiteY1649" fmla="*/ 281169 h 533771"/>
                  <a:gd name="connsiteX1650" fmla="*/ 131547 w 401077"/>
                  <a:gd name="connsiteY1650" fmla="*/ 281433 h 533771"/>
                  <a:gd name="connsiteX1651" fmla="*/ 133575 w 401077"/>
                  <a:gd name="connsiteY1651" fmla="*/ 281081 h 533771"/>
                  <a:gd name="connsiteX1652" fmla="*/ 132693 w 401077"/>
                  <a:gd name="connsiteY1652" fmla="*/ 281081 h 533771"/>
                  <a:gd name="connsiteX1653" fmla="*/ 132429 w 401077"/>
                  <a:gd name="connsiteY1653" fmla="*/ 280816 h 533771"/>
                  <a:gd name="connsiteX1654" fmla="*/ 132429 w 401077"/>
                  <a:gd name="connsiteY1654" fmla="*/ 280552 h 533771"/>
                  <a:gd name="connsiteX1655" fmla="*/ 133046 w 401077"/>
                  <a:gd name="connsiteY1655" fmla="*/ 280552 h 533771"/>
                  <a:gd name="connsiteX1656" fmla="*/ 133046 w 401077"/>
                  <a:gd name="connsiteY1656" fmla="*/ 279935 h 533771"/>
                  <a:gd name="connsiteX1657" fmla="*/ 132429 w 401077"/>
                  <a:gd name="connsiteY1657" fmla="*/ 279670 h 533771"/>
                  <a:gd name="connsiteX1658" fmla="*/ 132429 w 401077"/>
                  <a:gd name="connsiteY1658" fmla="*/ 279406 h 533771"/>
                  <a:gd name="connsiteX1659" fmla="*/ 132429 w 401077"/>
                  <a:gd name="connsiteY1659" fmla="*/ 278788 h 533771"/>
                  <a:gd name="connsiteX1660" fmla="*/ 132693 w 401077"/>
                  <a:gd name="connsiteY1660" fmla="*/ 278788 h 533771"/>
                  <a:gd name="connsiteX1661" fmla="*/ 133311 w 401077"/>
                  <a:gd name="connsiteY1661" fmla="*/ 278788 h 533771"/>
                  <a:gd name="connsiteX1662" fmla="*/ 134193 w 401077"/>
                  <a:gd name="connsiteY1662" fmla="*/ 279670 h 533771"/>
                  <a:gd name="connsiteX1663" fmla="*/ 134545 w 401077"/>
                  <a:gd name="connsiteY1663" fmla="*/ 279935 h 533771"/>
                  <a:gd name="connsiteX1664" fmla="*/ 134809 w 401077"/>
                  <a:gd name="connsiteY1664" fmla="*/ 280552 h 533771"/>
                  <a:gd name="connsiteX1665" fmla="*/ 133928 w 401077"/>
                  <a:gd name="connsiteY1665" fmla="*/ 280816 h 533771"/>
                  <a:gd name="connsiteX1666" fmla="*/ 133575 w 401077"/>
                  <a:gd name="connsiteY1666" fmla="*/ 281081 h 533771"/>
                  <a:gd name="connsiteX1667" fmla="*/ 122818 w 401077"/>
                  <a:gd name="connsiteY1667" fmla="*/ 282580 h 533771"/>
                  <a:gd name="connsiteX1668" fmla="*/ 122554 w 401077"/>
                  <a:gd name="connsiteY1668" fmla="*/ 282580 h 533771"/>
                  <a:gd name="connsiteX1669" fmla="*/ 122554 w 401077"/>
                  <a:gd name="connsiteY1669" fmla="*/ 281962 h 533771"/>
                  <a:gd name="connsiteX1670" fmla="*/ 122554 w 401077"/>
                  <a:gd name="connsiteY1670" fmla="*/ 281698 h 533771"/>
                  <a:gd name="connsiteX1671" fmla="*/ 122290 w 401077"/>
                  <a:gd name="connsiteY1671" fmla="*/ 281433 h 533771"/>
                  <a:gd name="connsiteX1672" fmla="*/ 122025 w 401077"/>
                  <a:gd name="connsiteY1672" fmla="*/ 281698 h 533771"/>
                  <a:gd name="connsiteX1673" fmla="*/ 121143 w 401077"/>
                  <a:gd name="connsiteY1673" fmla="*/ 280816 h 533771"/>
                  <a:gd name="connsiteX1674" fmla="*/ 120526 w 401077"/>
                  <a:gd name="connsiteY1674" fmla="*/ 280552 h 533771"/>
                  <a:gd name="connsiteX1675" fmla="*/ 119909 w 401077"/>
                  <a:gd name="connsiteY1675" fmla="*/ 279670 h 533771"/>
                  <a:gd name="connsiteX1676" fmla="*/ 120526 w 401077"/>
                  <a:gd name="connsiteY1676" fmla="*/ 279670 h 533771"/>
                  <a:gd name="connsiteX1677" fmla="*/ 121408 w 401077"/>
                  <a:gd name="connsiteY1677" fmla="*/ 279935 h 533771"/>
                  <a:gd name="connsiteX1678" fmla="*/ 122025 w 401077"/>
                  <a:gd name="connsiteY1678" fmla="*/ 280199 h 533771"/>
                  <a:gd name="connsiteX1679" fmla="*/ 122643 w 401077"/>
                  <a:gd name="connsiteY1679" fmla="*/ 280199 h 533771"/>
                  <a:gd name="connsiteX1680" fmla="*/ 121761 w 401077"/>
                  <a:gd name="connsiteY1680" fmla="*/ 279582 h 533771"/>
                  <a:gd name="connsiteX1681" fmla="*/ 121761 w 401077"/>
                  <a:gd name="connsiteY1681" fmla="*/ 279847 h 533771"/>
                  <a:gd name="connsiteX1682" fmla="*/ 121496 w 401077"/>
                  <a:gd name="connsiteY1682" fmla="*/ 279229 h 533771"/>
                  <a:gd name="connsiteX1683" fmla="*/ 120967 w 401077"/>
                  <a:gd name="connsiteY1683" fmla="*/ 278612 h 533771"/>
                  <a:gd name="connsiteX1684" fmla="*/ 121849 w 401077"/>
                  <a:gd name="connsiteY1684" fmla="*/ 278612 h 533771"/>
                  <a:gd name="connsiteX1685" fmla="*/ 122201 w 401077"/>
                  <a:gd name="connsiteY1685" fmla="*/ 278877 h 533771"/>
                  <a:gd name="connsiteX1686" fmla="*/ 122818 w 401077"/>
                  <a:gd name="connsiteY1686" fmla="*/ 279758 h 533771"/>
                  <a:gd name="connsiteX1687" fmla="*/ 123083 w 401077"/>
                  <a:gd name="connsiteY1687" fmla="*/ 280904 h 533771"/>
                  <a:gd name="connsiteX1688" fmla="*/ 123083 w 401077"/>
                  <a:gd name="connsiteY1688" fmla="*/ 281522 h 533771"/>
                  <a:gd name="connsiteX1689" fmla="*/ 123965 w 401077"/>
                  <a:gd name="connsiteY1689" fmla="*/ 282403 h 533771"/>
                  <a:gd name="connsiteX1690" fmla="*/ 123700 w 401077"/>
                  <a:gd name="connsiteY1690" fmla="*/ 282403 h 533771"/>
                  <a:gd name="connsiteX1691" fmla="*/ 122818 w 401077"/>
                  <a:gd name="connsiteY1691" fmla="*/ 282403 h 533771"/>
                  <a:gd name="connsiteX1692" fmla="*/ 129519 w 401077"/>
                  <a:gd name="connsiteY1692" fmla="*/ 281962 h 533771"/>
                  <a:gd name="connsiteX1693" fmla="*/ 129255 w 401077"/>
                  <a:gd name="connsiteY1693" fmla="*/ 281698 h 533771"/>
                  <a:gd name="connsiteX1694" fmla="*/ 129519 w 401077"/>
                  <a:gd name="connsiteY1694" fmla="*/ 281433 h 533771"/>
                  <a:gd name="connsiteX1695" fmla="*/ 129519 w 401077"/>
                  <a:gd name="connsiteY1695" fmla="*/ 281962 h 533771"/>
                  <a:gd name="connsiteX1696" fmla="*/ 140893 w 401077"/>
                  <a:gd name="connsiteY1696" fmla="*/ 281698 h 533771"/>
                  <a:gd name="connsiteX1697" fmla="*/ 140276 w 401077"/>
                  <a:gd name="connsiteY1697" fmla="*/ 281433 h 533771"/>
                  <a:gd name="connsiteX1698" fmla="*/ 140893 w 401077"/>
                  <a:gd name="connsiteY1698" fmla="*/ 281698 h 533771"/>
                  <a:gd name="connsiteX1699" fmla="*/ 172457 w 401077"/>
                  <a:gd name="connsiteY1699" fmla="*/ 282315 h 533771"/>
                  <a:gd name="connsiteX1700" fmla="*/ 172193 w 401077"/>
                  <a:gd name="connsiteY1700" fmla="*/ 282051 h 533771"/>
                  <a:gd name="connsiteX1701" fmla="*/ 172193 w 401077"/>
                  <a:gd name="connsiteY1701" fmla="*/ 281786 h 533771"/>
                  <a:gd name="connsiteX1702" fmla="*/ 172457 w 401077"/>
                  <a:gd name="connsiteY1702" fmla="*/ 282315 h 533771"/>
                  <a:gd name="connsiteX1703" fmla="*/ 127227 w 401077"/>
                  <a:gd name="connsiteY1703" fmla="*/ 281698 h 533771"/>
                  <a:gd name="connsiteX1704" fmla="*/ 126963 w 401077"/>
                  <a:gd name="connsiteY1704" fmla="*/ 281698 h 533771"/>
                  <a:gd name="connsiteX1705" fmla="*/ 126698 w 401077"/>
                  <a:gd name="connsiteY1705" fmla="*/ 281433 h 533771"/>
                  <a:gd name="connsiteX1706" fmla="*/ 126963 w 401077"/>
                  <a:gd name="connsiteY1706" fmla="*/ 281169 h 533771"/>
                  <a:gd name="connsiteX1707" fmla="*/ 127227 w 401077"/>
                  <a:gd name="connsiteY1707" fmla="*/ 281698 h 533771"/>
                  <a:gd name="connsiteX1708" fmla="*/ 203581 w 401077"/>
                  <a:gd name="connsiteY1708" fmla="*/ 281962 h 533771"/>
                  <a:gd name="connsiteX1709" fmla="*/ 203581 w 401077"/>
                  <a:gd name="connsiteY1709" fmla="*/ 281698 h 533771"/>
                  <a:gd name="connsiteX1710" fmla="*/ 203581 w 401077"/>
                  <a:gd name="connsiteY1710" fmla="*/ 281962 h 533771"/>
                  <a:gd name="connsiteX1711" fmla="*/ 128638 w 401077"/>
                  <a:gd name="connsiteY1711" fmla="*/ 281962 h 533771"/>
                  <a:gd name="connsiteX1712" fmla="*/ 128373 w 401077"/>
                  <a:gd name="connsiteY1712" fmla="*/ 281698 h 533771"/>
                  <a:gd name="connsiteX1713" fmla="*/ 127756 w 401077"/>
                  <a:gd name="connsiteY1713" fmla="*/ 281698 h 533771"/>
                  <a:gd name="connsiteX1714" fmla="*/ 127227 w 401077"/>
                  <a:gd name="connsiteY1714" fmla="*/ 281433 h 533771"/>
                  <a:gd name="connsiteX1715" fmla="*/ 127756 w 401077"/>
                  <a:gd name="connsiteY1715" fmla="*/ 281169 h 533771"/>
                  <a:gd name="connsiteX1716" fmla="*/ 128021 w 401077"/>
                  <a:gd name="connsiteY1716" fmla="*/ 281169 h 533771"/>
                  <a:gd name="connsiteX1717" fmla="*/ 128638 w 401077"/>
                  <a:gd name="connsiteY1717" fmla="*/ 281169 h 533771"/>
                  <a:gd name="connsiteX1718" fmla="*/ 128902 w 401077"/>
                  <a:gd name="connsiteY1718" fmla="*/ 281433 h 533771"/>
                  <a:gd name="connsiteX1719" fmla="*/ 128902 w 401077"/>
                  <a:gd name="connsiteY1719" fmla="*/ 282051 h 533771"/>
                  <a:gd name="connsiteX1720" fmla="*/ 128638 w 401077"/>
                  <a:gd name="connsiteY1720" fmla="*/ 282051 h 533771"/>
                  <a:gd name="connsiteX1721" fmla="*/ 121937 w 401077"/>
                  <a:gd name="connsiteY1721" fmla="*/ 282315 h 533771"/>
                  <a:gd name="connsiteX1722" fmla="*/ 121320 w 401077"/>
                  <a:gd name="connsiteY1722" fmla="*/ 282315 h 533771"/>
                  <a:gd name="connsiteX1723" fmla="*/ 121320 w 401077"/>
                  <a:gd name="connsiteY1723" fmla="*/ 281698 h 533771"/>
                  <a:gd name="connsiteX1724" fmla="*/ 121937 w 401077"/>
                  <a:gd name="connsiteY1724" fmla="*/ 282315 h 533771"/>
                  <a:gd name="connsiteX1725" fmla="*/ 125463 w 401077"/>
                  <a:gd name="connsiteY1725" fmla="*/ 282315 h 533771"/>
                  <a:gd name="connsiteX1726" fmla="*/ 125111 w 401077"/>
                  <a:gd name="connsiteY1726" fmla="*/ 282051 h 533771"/>
                  <a:gd name="connsiteX1727" fmla="*/ 125463 w 401077"/>
                  <a:gd name="connsiteY1727" fmla="*/ 282315 h 533771"/>
                  <a:gd name="connsiteX1728" fmla="*/ 122554 w 401077"/>
                  <a:gd name="connsiteY1728" fmla="*/ 282315 h 533771"/>
                  <a:gd name="connsiteX1729" fmla="*/ 122290 w 401077"/>
                  <a:gd name="connsiteY1729" fmla="*/ 282580 h 533771"/>
                  <a:gd name="connsiteX1730" fmla="*/ 122554 w 401077"/>
                  <a:gd name="connsiteY1730" fmla="*/ 282315 h 533771"/>
                  <a:gd name="connsiteX1731" fmla="*/ 129519 w 401077"/>
                  <a:gd name="connsiteY1731" fmla="*/ 282315 h 533771"/>
                  <a:gd name="connsiteX1732" fmla="*/ 129255 w 401077"/>
                  <a:gd name="connsiteY1732" fmla="*/ 282315 h 533771"/>
                  <a:gd name="connsiteX1733" fmla="*/ 129519 w 401077"/>
                  <a:gd name="connsiteY1733" fmla="*/ 282315 h 533771"/>
                  <a:gd name="connsiteX1734" fmla="*/ 134457 w 401077"/>
                  <a:gd name="connsiteY1734" fmla="*/ 282580 h 533771"/>
                  <a:gd name="connsiteX1735" fmla="*/ 133840 w 401077"/>
                  <a:gd name="connsiteY1735" fmla="*/ 282315 h 533771"/>
                  <a:gd name="connsiteX1736" fmla="*/ 134457 w 401077"/>
                  <a:gd name="connsiteY1736" fmla="*/ 282315 h 533771"/>
                  <a:gd name="connsiteX1737" fmla="*/ 134457 w 401077"/>
                  <a:gd name="connsiteY1737" fmla="*/ 282580 h 533771"/>
                  <a:gd name="connsiteX1738" fmla="*/ 130666 w 401077"/>
                  <a:gd name="connsiteY1738" fmla="*/ 282315 h 533771"/>
                  <a:gd name="connsiteX1739" fmla="*/ 130048 w 401077"/>
                  <a:gd name="connsiteY1739" fmla="*/ 282315 h 533771"/>
                  <a:gd name="connsiteX1740" fmla="*/ 129784 w 401077"/>
                  <a:gd name="connsiteY1740" fmla="*/ 281698 h 533771"/>
                  <a:gd name="connsiteX1741" fmla="*/ 130401 w 401077"/>
                  <a:gd name="connsiteY1741" fmla="*/ 281433 h 533771"/>
                  <a:gd name="connsiteX1742" fmla="*/ 130666 w 401077"/>
                  <a:gd name="connsiteY1742" fmla="*/ 281433 h 533771"/>
                  <a:gd name="connsiteX1743" fmla="*/ 131283 w 401077"/>
                  <a:gd name="connsiteY1743" fmla="*/ 281698 h 533771"/>
                  <a:gd name="connsiteX1744" fmla="*/ 130666 w 401077"/>
                  <a:gd name="connsiteY1744" fmla="*/ 282315 h 533771"/>
                  <a:gd name="connsiteX1745" fmla="*/ 138601 w 401077"/>
                  <a:gd name="connsiteY1745" fmla="*/ 283109 h 533771"/>
                  <a:gd name="connsiteX1746" fmla="*/ 138601 w 401077"/>
                  <a:gd name="connsiteY1746" fmla="*/ 283109 h 533771"/>
                  <a:gd name="connsiteX1747" fmla="*/ 138336 w 401077"/>
                  <a:gd name="connsiteY1747" fmla="*/ 283109 h 533771"/>
                  <a:gd name="connsiteX1748" fmla="*/ 138601 w 401077"/>
                  <a:gd name="connsiteY1748" fmla="*/ 283109 h 533771"/>
                  <a:gd name="connsiteX1749" fmla="*/ 130401 w 401077"/>
                  <a:gd name="connsiteY1749" fmla="*/ 283109 h 533771"/>
                  <a:gd name="connsiteX1750" fmla="*/ 130137 w 401077"/>
                  <a:gd name="connsiteY1750" fmla="*/ 283109 h 533771"/>
                  <a:gd name="connsiteX1751" fmla="*/ 130401 w 401077"/>
                  <a:gd name="connsiteY1751" fmla="*/ 283109 h 533771"/>
                  <a:gd name="connsiteX1752" fmla="*/ 135339 w 401077"/>
                  <a:gd name="connsiteY1752" fmla="*/ 283461 h 533771"/>
                  <a:gd name="connsiteX1753" fmla="*/ 135074 w 401077"/>
                  <a:gd name="connsiteY1753" fmla="*/ 283461 h 533771"/>
                  <a:gd name="connsiteX1754" fmla="*/ 135074 w 401077"/>
                  <a:gd name="connsiteY1754" fmla="*/ 283197 h 533771"/>
                  <a:gd name="connsiteX1755" fmla="*/ 134809 w 401077"/>
                  <a:gd name="connsiteY1755" fmla="*/ 282932 h 533771"/>
                  <a:gd name="connsiteX1756" fmla="*/ 135074 w 401077"/>
                  <a:gd name="connsiteY1756" fmla="*/ 282315 h 533771"/>
                  <a:gd name="connsiteX1757" fmla="*/ 134809 w 401077"/>
                  <a:gd name="connsiteY1757" fmla="*/ 281698 h 533771"/>
                  <a:gd name="connsiteX1758" fmla="*/ 134545 w 401077"/>
                  <a:gd name="connsiteY1758" fmla="*/ 281433 h 533771"/>
                  <a:gd name="connsiteX1759" fmla="*/ 134545 w 401077"/>
                  <a:gd name="connsiteY1759" fmla="*/ 281169 h 533771"/>
                  <a:gd name="connsiteX1760" fmla="*/ 135691 w 401077"/>
                  <a:gd name="connsiteY1760" fmla="*/ 282051 h 533771"/>
                  <a:gd name="connsiteX1761" fmla="*/ 136309 w 401077"/>
                  <a:gd name="connsiteY1761" fmla="*/ 281786 h 533771"/>
                  <a:gd name="connsiteX1762" fmla="*/ 136044 w 401077"/>
                  <a:gd name="connsiteY1762" fmla="*/ 282403 h 533771"/>
                  <a:gd name="connsiteX1763" fmla="*/ 135780 w 401077"/>
                  <a:gd name="connsiteY1763" fmla="*/ 283285 h 533771"/>
                  <a:gd name="connsiteX1764" fmla="*/ 135339 w 401077"/>
                  <a:gd name="connsiteY1764" fmla="*/ 283461 h 533771"/>
                  <a:gd name="connsiteX1765" fmla="*/ 88697 w 401077"/>
                  <a:gd name="connsiteY1765" fmla="*/ 283726 h 533771"/>
                  <a:gd name="connsiteX1766" fmla="*/ 88433 w 401077"/>
                  <a:gd name="connsiteY1766" fmla="*/ 283726 h 533771"/>
                  <a:gd name="connsiteX1767" fmla="*/ 88168 w 401077"/>
                  <a:gd name="connsiteY1767" fmla="*/ 283461 h 533771"/>
                  <a:gd name="connsiteX1768" fmla="*/ 88433 w 401077"/>
                  <a:gd name="connsiteY1768" fmla="*/ 283461 h 533771"/>
                  <a:gd name="connsiteX1769" fmla="*/ 88697 w 401077"/>
                  <a:gd name="connsiteY1769" fmla="*/ 283726 h 533771"/>
                  <a:gd name="connsiteX1770" fmla="*/ 125463 w 401077"/>
                  <a:gd name="connsiteY1770" fmla="*/ 284608 h 533771"/>
                  <a:gd name="connsiteX1771" fmla="*/ 125463 w 401077"/>
                  <a:gd name="connsiteY1771" fmla="*/ 284872 h 533771"/>
                  <a:gd name="connsiteX1772" fmla="*/ 125463 w 401077"/>
                  <a:gd name="connsiteY1772" fmla="*/ 284343 h 533771"/>
                  <a:gd name="connsiteX1773" fmla="*/ 125463 w 401077"/>
                  <a:gd name="connsiteY1773" fmla="*/ 284608 h 533771"/>
                  <a:gd name="connsiteX1774" fmla="*/ 125728 w 401077"/>
                  <a:gd name="connsiteY1774" fmla="*/ 284343 h 533771"/>
                  <a:gd name="connsiteX1775" fmla="*/ 125463 w 401077"/>
                  <a:gd name="connsiteY1775" fmla="*/ 284343 h 533771"/>
                  <a:gd name="connsiteX1776" fmla="*/ 125463 w 401077"/>
                  <a:gd name="connsiteY1776" fmla="*/ 283726 h 533771"/>
                  <a:gd name="connsiteX1777" fmla="*/ 124847 w 401077"/>
                  <a:gd name="connsiteY1777" fmla="*/ 283461 h 533771"/>
                  <a:gd name="connsiteX1778" fmla="*/ 124229 w 401077"/>
                  <a:gd name="connsiteY1778" fmla="*/ 283461 h 533771"/>
                  <a:gd name="connsiteX1779" fmla="*/ 123965 w 401077"/>
                  <a:gd name="connsiteY1779" fmla="*/ 284079 h 533771"/>
                  <a:gd name="connsiteX1780" fmla="*/ 123700 w 401077"/>
                  <a:gd name="connsiteY1780" fmla="*/ 284079 h 533771"/>
                  <a:gd name="connsiteX1781" fmla="*/ 123436 w 401077"/>
                  <a:gd name="connsiteY1781" fmla="*/ 283726 h 533771"/>
                  <a:gd name="connsiteX1782" fmla="*/ 123436 w 401077"/>
                  <a:gd name="connsiteY1782" fmla="*/ 283109 h 533771"/>
                  <a:gd name="connsiteX1783" fmla="*/ 123700 w 401077"/>
                  <a:gd name="connsiteY1783" fmla="*/ 282844 h 533771"/>
                  <a:gd name="connsiteX1784" fmla="*/ 123965 w 401077"/>
                  <a:gd name="connsiteY1784" fmla="*/ 282844 h 533771"/>
                  <a:gd name="connsiteX1785" fmla="*/ 123347 w 401077"/>
                  <a:gd name="connsiteY1785" fmla="*/ 281962 h 533771"/>
                  <a:gd name="connsiteX1786" fmla="*/ 123612 w 401077"/>
                  <a:gd name="connsiteY1786" fmla="*/ 281345 h 533771"/>
                  <a:gd name="connsiteX1787" fmla="*/ 124141 w 401077"/>
                  <a:gd name="connsiteY1787" fmla="*/ 281345 h 533771"/>
                  <a:gd name="connsiteX1788" fmla="*/ 124758 w 401077"/>
                  <a:gd name="connsiteY1788" fmla="*/ 281610 h 533771"/>
                  <a:gd name="connsiteX1789" fmla="*/ 124494 w 401077"/>
                  <a:gd name="connsiteY1789" fmla="*/ 281874 h 533771"/>
                  <a:gd name="connsiteX1790" fmla="*/ 124229 w 401077"/>
                  <a:gd name="connsiteY1790" fmla="*/ 282139 h 533771"/>
                  <a:gd name="connsiteX1791" fmla="*/ 124847 w 401077"/>
                  <a:gd name="connsiteY1791" fmla="*/ 282403 h 533771"/>
                  <a:gd name="connsiteX1792" fmla="*/ 124847 w 401077"/>
                  <a:gd name="connsiteY1792" fmla="*/ 282139 h 533771"/>
                  <a:gd name="connsiteX1793" fmla="*/ 124847 w 401077"/>
                  <a:gd name="connsiteY1793" fmla="*/ 283021 h 533771"/>
                  <a:gd name="connsiteX1794" fmla="*/ 125111 w 401077"/>
                  <a:gd name="connsiteY1794" fmla="*/ 283021 h 533771"/>
                  <a:gd name="connsiteX1795" fmla="*/ 125728 w 401077"/>
                  <a:gd name="connsiteY1795" fmla="*/ 282756 h 533771"/>
                  <a:gd name="connsiteX1796" fmla="*/ 126081 w 401077"/>
                  <a:gd name="connsiteY1796" fmla="*/ 283021 h 533771"/>
                  <a:gd name="connsiteX1797" fmla="*/ 125728 w 401077"/>
                  <a:gd name="connsiteY1797" fmla="*/ 283021 h 533771"/>
                  <a:gd name="connsiteX1798" fmla="*/ 125728 w 401077"/>
                  <a:gd name="connsiteY1798" fmla="*/ 283902 h 533771"/>
                  <a:gd name="connsiteX1799" fmla="*/ 125728 w 401077"/>
                  <a:gd name="connsiteY1799" fmla="*/ 284343 h 533771"/>
                  <a:gd name="connsiteX1800" fmla="*/ 272176 w 401077"/>
                  <a:gd name="connsiteY1800" fmla="*/ 283109 h 533771"/>
                  <a:gd name="connsiteX1801" fmla="*/ 272176 w 401077"/>
                  <a:gd name="connsiteY1801" fmla="*/ 283109 h 533771"/>
                  <a:gd name="connsiteX1802" fmla="*/ 271030 w 401077"/>
                  <a:gd name="connsiteY1802" fmla="*/ 283109 h 533771"/>
                  <a:gd name="connsiteX1803" fmla="*/ 270765 w 401077"/>
                  <a:gd name="connsiteY1803" fmla="*/ 281698 h 533771"/>
                  <a:gd name="connsiteX1804" fmla="*/ 271647 w 401077"/>
                  <a:gd name="connsiteY1804" fmla="*/ 281433 h 533771"/>
                  <a:gd name="connsiteX1805" fmla="*/ 272529 w 401077"/>
                  <a:gd name="connsiteY1805" fmla="*/ 282051 h 533771"/>
                  <a:gd name="connsiteX1806" fmla="*/ 272176 w 401077"/>
                  <a:gd name="connsiteY1806" fmla="*/ 283109 h 533771"/>
                  <a:gd name="connsiteX1807" fmla="*/ 109417 w 401077"/>
                  <a:gd name="connsiteY1807" fmla="*/ 285489 h 533771"/>
                  <a:gd name="connsiteX1808" fmla="*/ 108888 w 401077"/>
                  <a:gd name="connsiteY1808" fmla="*/ 285225 h 533771"/>
                  <a:gd name="connsiteX1809" fmla="*/ 109417 w 401077"/>
                  <a:gd name="connsiteY1809" fmla="*/ 284960 h 533771"/>
                  <a:gd name="connsiteX1810" fmla="*/ 109770 w 401077"/>
                  <a:gd name="connsiteY1810" fmla="*/ 285225 h 533771"/>
                  <a:gd name="connsiteX1811" fmla="*/ 109417 w 401077"/>
                  <a:gd name="connsiteY1811" fmla="*/ 285489 h 533771"/>
                  <a:gd name="connsiteX1812" fmla="*/ 124847 w 401077"/>
                  <a:gd name="connsiteY1812" fmla="*/ 285225 h 533771"/>
                  <a:gd name="connsiteX1813" fmla="*/ 124582 w 401077"/>
                  <a:gd name="connsiteY1813" fmla="*/ 285225 h 533771"/>
                  <a:gd name="connsiteX1814" fmla="*/ 124847 w 401077"/>
                  <a:gd name="connsiteY1814" fmla="*/ 285225 h 533771"/>
                  <a:gd name="connsiteX1815" fmla="*/ 122818 w 401077"/>
                  <a:gd name="connsiteY1815" fmla="*/ 285225 h 533771"/>
                  <a:gd name="connsiteX1816" fmla="*/ 122554 w 401077"/>
                  <a:gd name="connsiteY1816" fmla="*/ 285225 h 533771"/>
                  <a:gd name="connsiteX1817" fmla="*/ 122818 w 401077"/>
                  <a:gd name="connsiteY1817" fmla="*/ 285225 h 533771"/>
                  <a:gd name="connsiteX1818" fmla="*/ 109417 w 401077"/>
                  <a:gd name="connsiteY1818" fmla="*/ 286635 h 533771"/>
                  <a:gd name="connsiteX1819" fmla="*/ 108888 w 401077"/>
                  <a:gd name="connsiteY1819" fmla="*/ 286371 h 533771"/>
                  <a:gd name="connsiteX1820" fmla="*/ 108624 w 401077"/>
                  <a:gd name="connsiteY1820" fmla="*/ 285489 h 533771"/>
                  <a:gd name="connsiteX1821" fmla="*/ 108888 w 401077"/>
                  <a:gd name="connsiteY1821" fmla="*/ 286106 h 533771"/>
                  <a:gd name="connsiteX1822" fmla="*/ 109417 w 401077"/>
                  <a:gd name="connsiteY1822" fmla="*/ 286635 h 533771"/>
                  <a:gd name="connsiteX1823" fmla="*/ 123700 w 401077"/>
                  <a:gd name="connsiteY1823" fmla="*/ 285754 h 533771"/>
                  <a:gd name="connsiteX1824" fmla="*/ 123083 w 401077"/>
                  <a:gd name="connsiteY1824" fmla="*/ 285754 h 533771"/>
                  <a:gd name="connsiteX1825" fmla="*/ 123700 w 401077"/>
                  <a:gd name="connsiteY1825" fmla="*/ 285754 h 533771"/>
                  <a:gd name="connsiteX1826" fmla="*/ 120791 w 401077"/>
                  <a:gd name="connsiteY1826" fmla="*/ 286106 h 533771"/>
                  <a:gd name="connsiteX1827" fmla="*/ 120526 w 401077"/>
                  <a:gd name="connsiteY1827" fmla="*/ 286371 h 533771"/>
                  <a:gd name="connsiteX1828" fmla="*/ 120526 w 401077"/>
                  <a:gd name="connsiteY1828" fmla="*/ 285754 h 533771"/>
                  <a:gd name="connsiteX1829" fmla="*/ 120791 w 401077"/>
                  <a:gd name="connsiteY1829" fmla="*/ 286106 h 533771"/>
                  <a:gd name="connsiteX1830" fmla="*/ 90108 w 401077"/>
                  <a:gd name="connsiteY1830" fmla="*/ 286106 h 533771"/>
                  <a:gd name="connsiteX1831" fmla="*/ 90108 w 401077"/>
                  <a:gd name="connsiteY1831" fmla="*/ 286371 h 533771"/>
                  <a:gd name="connsiteX1832" fmla="*/ 90108 w 401077"/>
                  <a:gd name="connsiteY1832" fmla="*/ 286106 h 533771"/>
                  <a:gd name="connsiteX1833" fmla="*/ 180040 w 401077"/>
                  <a:gd name="connsiteY1833" fmla="*/ 286106 h 533771"/>
                  <a:gd name="connsiteX1834" fmla="*/ 180040 w 401077"/>
                  <a:gd name="connsiteY1834" fmla="*/ 286106 h 533771"/>
                  <a:gd name="connsiteX1835" fmla="*/ 179775 w 401077"/>
                  <a:gd name="connsiteY1835" fmla="*/ 286106 h 533771"/>
                  <a:gd name="connsiteX1836" fmla="*/ 180040 w 401077"/>
                  <a:gd name="connsiteY1836" fmla="*/ 286106 h 533771"/>
                  <a:gd name="connsiteX1837" fmla="*/ 121937 w 401077"/>
                  <a:gd name="connsiteY1837" fmla="*/ 286371 h 533771"/>
                  <a:gd name="connsiteX1838" fmla="*/ 121937 w 401077"/>
                  <a:gd name="connsiteY1838" fmla="*/ 286106 h 533771"/>
                  <a:gd name="connsiteX1839" fmla="*/ 121937 w 401077"/>
                  <a:gd name="connsiteY1839" fmla="*/ 286371 h 533771"/>
                  <a:gd name="connsiteX1840" fmla="*/ 126874 w 401077"/>
                  <a:gd name="connsiteY1840" fmla="*/ 286988 h 533771"/>
                  <a:gd name="connsiteX1841" fmla="*/ 126610 w 401077"/>
                  <a:gd name="connsiteY1841" fmla="*/ 286724 h 533771"/>
                  <a:gd name="connsiteX1842" fmla="*/ 126610 w 401077"/>
                  <a:gd name="connsiteY1842" fmla="*/ 286459 h 533771"/>
                  <a:gd name="connsiteX1843" fmla="*/ 126874 w 401077"/>
                  <a:gd name="connsiteY1843" fmla="*/ 286459 h 533771"/>
                  <a:gd name="connsiteX1844" fmla="*/ 126874 w 401077"/>
                  <a:gd name="connsiteY1844" fmla="*/ 286988 h 533771"/>
                  <a:gd name="connsiteX1845" fmla="*/ 125728 w 401077"/>
                  <a:gd name="connsiteY1845" fmla="*/ 286988 h 533771"/>
                  <a:gd name="connsiteX1846" fmla="*/ 125728 w 401077"/>
                  <a:gd name="connsiteY1846" fmla="*/ 286988 h 533771"/>
                  <a:gd name="connsiteX1847" fmla="*/ 125728 w 401077"/>
                  <a:gd name="connsiteY1847" fmla="*/ 286371 h 533771"/>
                  <a:gd name="connsiteX1848" fmla="*/ 126081 w 401077"/>
                  <a:gd name="connsiteY1848" fmla="*/ 286635 h 533771"/>
                  <a:gd name="connsiteX1849" fmla="*/ 125728 w 401077"/>
                  <a:gd name="connsiteY1849" fmla="*/ 286988 h 533771"/>
                  <a:gd name="connsiteX1850" fmla="*/ 112326 w 401077"/>
                  <a:gd name="connsiteY1850" fmla="*/ 287870 h 533771"/>
                  <a:gd name="connsiteX1851" fmla="*/ 111445 w 401077"/>
                  <a:gd name="connsiteY1851" fmla="*/ 287605 h 533771"/>
                  <a:gd name="connsiteX1852" fmla="*/ 111709 w 401077"/>
                  <a:gd name="connsiteY1852" fmla="*/ 287341 h 533771"/>
                  <a:gd name="connsiteX1853" fmla="*/ 112062 w 401077"/>
                  <a:gd name="connsiteY1853" fmla="*/ 287341 h 533771"/>
                  <a:gd name="connsiteX1854" fmla="*/ 112326 w 401077"/>
                  <a:gd name="connsiteY1854" fmla="*/ 287341 h 533771"/>
                  <a:gd name="connsiteX1855" fmla="*/ 112062 w 401077"/>
                  <a:gd name="connsiteY1855" fmla="*/ 287076 h 533771"/>
                  <a:gd name="connsiteX1856" fmla="*/ 112062 w 401077"/>
                  <a:gd name="connsiteY1856" fmla="*/ 286812 h 533771"/>
                  <a:gd name="connsiteX1857" fmla="*/ 112326 w 401077"/>
                  <a:gd name="connsiteY1857" fmla="*/ 286812 h 533771"/>
                  <a:gd name="connsiteX1858" fmla="*/ 112591 w 401077"/>
                  <a:gd name="connsiteY1858" fmla="*/ 287076 h 533771"/>
                  <a:gd name="connsiteX1859" fmla="*/ 112591 w 401077"/>
                  <a:gd name="connsiteY1859" fmla="*/ 287341 h 533771"/>
                  <a:gd name="connsiteX1860" fmla="*/ 112591 w 401077"/>
                  <a:gd name="connsiteY1860" fmla="*/ 287605 h 533771"/>
                  <a:gd name="connsiteX1861" fmla="*/ 112326 w 401077"/>
                  <a:gd name="connsiteY1861" fmla="*/ 287870 h 533771"/>
                  <a:gd name="connsiteX1862" fmla="*/ 122818 w 401077"/>
                  <a:gd name="connsiteY1862" fmla="*/ 286988 h 533771"/>
                  <a:gd name="connsiteX1863" fmla="*/ 122818 w 401077"/>
                  <a:gd name="connsiteY1863" fmla="*/ 286988 h 533771"/>
                  <a:gd name="connsiteX1864" fmla="*/ 122554 w 401077"/>
                  <a:gd name="connsiteY1864" fmla="*/ 286988 h 533771"/>
                  <a:gd name="connsiteX1865" fmla="*/ 122818 w 401077"/>
                  <a:gd name="connsiteY1865" fmla="*/ 286988 h 533771"/>
                  <a:gd name="connsiteX1866" fmla="*/ 91342 w 401077"/>
                  <a:gd name="connsiteY1866" fmla="*/ 286988 h 533771"/>
                  <a:gd name="connsiteX1867" fmla="*/ 91342 w 401077"/>
                  <a:gd name="connsiteY1867" fmla="*/ 287253 h 533771"/>
                  <a:gd name="connsiteX1868" fmla="*/ 91078 w 401077"/>
                  <a:gd name="connsiteY1868" fmla="*/ 286988 h 533771"/>
                  <a:gd name="connsiteX1869" fmla="*/ 91342 w 401077"/>
                  <a:gd name="connsiteY1869" fmla="*/ 286988 h 533771"/>
                  <a:gd name="connsiteX1870" fmla="*/ 125463 w 401077"/>
                  <a:gd name="connsiteY1870" fmla="*/ 287253 h 533771"/>
                  <a:gd name="connsiteX1871" fmla="*/ 125111 w 401077"/>
                  <a:gd name="connsiteY1871" fmla="*/ 287253 h 533771"/>
                  <a:gd name="connsiteX1872" fmla="*/ 125463 w 401077"/>
                  <a:gd name="connsiteY1872" fmla="*/ 286988 h 533771"/>
                  <a:gd name="connsiteX1873" fmla="*/ 125463 w 401077"/>
                  <a:gd name="connsiteY1873" fmla="*/ 287253 h 533771"/>
                  <a:gd name="connsiteX1874" fmla="*/ 123172 w 401077"/>
                  <a:gd name="connsiteY1874" fmla="*/ 287517 h 533771"/>
                  <a:gd name="connsiteX1875" fmla="*/ 122554 w 401077"/>
                  <a:gd name="connsiteY1875" fmla="*/ 287517 h 533771"/>
                  <a:gd name="connsiteX1876" fmla="*/ 122818 w 401077"/>
                  <a:gd name="connsiteY1876" fmla="*/ 287253 h 533771"/>
                  <a:gd name="connsiteX1877" fmla="*/ 123172 w 401077"/>
                  <a:gd name="connsiteY1877" fmla="*/ 287517 h 533771"/>
                  <a:gd name="connsiteX1878" fmla="*/ 109417 w 401077"/>
                  <a:gd name="connsiteY1878" fmla="*/ 287870 h 533771"/>
                  <a:gd name="connsiteX1879" fmla="*/ 109152 w 401077"/>
                  <a:gd name="connsiteY1879" fmla="*/ 287870 h 533771"/>
                  <a:gd name="connsiteX1880" fmla="*/ 109417 w 401077"/>
                  <a:gd name="connsiteY1880" fmla="*/ 287870 h 533771"/>
                  <a:gd name="connsiteX1881" fmla="*/ 127227 w 401077"/>
                  <a:gd name="connsiteY1881" fmla="*/ 287870 h 533771"/>
                  <a:gd name="connsiteX1882" fmla="*/ 126610 w 401077"/>
                  <a:gd name="connsiteY1882" fmla="*/ 287870 h 533771"/>
                  <a:gd name="connsiteX1883" fmla="*/ 127227 w 401077"/>
                  <a:gd name="connsiteY1883" fmla="*/ 287870 h 533771"/>
                  <a:gd name="connsiteX1884" fmla="*/ 125728 w 401077"/>
                  <a:gd name="connsiteY1884" fmla="*/ 288134 h 533771"/>
                  <a:gd name="connsiteX1885" fmla="*/ 125463 w 401077"/>
                  <a:gd name="connsiteY1885" fmla="*/ 288134 h 533771"/>
                  <a:gd name="connsiteX1886" fmla="*/ 125728 w 401077"/>
                  <a:gd name="connsiteY1886" fmla="*/ 288134 h 533771"/>
                  <a:gd name="connsiteX1887" fmla="*/ 117264 w 401077"/>
                  <a:gd name="connsiteY1887" fmla="*/ 289016 h 533771"/>
                  <a:gd name="connsiteX1888" fmla="*/ 117264 w 401077"/>
                  <a:gd name="connsiteY1888" fmla="*/ 289016 h 533771"/>
                  <a:gd name="connsiteX1889" fmla="*/ 117264 w 401077"/>
                  <a:gd name="connsiteY1889" fmla="*/ 288751 h 533771"/>
                  <a:gd name="connsiteX1890" fmla="*/ 117264 w 401077"/>
                  <a:gd name="connsiteY1890" fmla="*/ 289016 h 533771"/>
                  <a:gd name="connsiteX1891" fmla="*/ 117881 w 401077"/>
                  <a:gd name="connsiteY1891" fmla="*/ 289280 h 533771"/>
                  <a:gd name="connsiteX1892" fmla="*/ 117617 w 401077"/>
                  <a:gd name="connsiteY1892" fmla="*/ 289280 h 533771"/>
                  <a:gd name="connsiteX1893" fmla="*/ 117881 w 401077"/>
                  <a:gd name="connsiteY1893" fmla="*/ 289280 h 533771"/>
                  <a:gd name="connsiteX1894" fmla="*/ 123436 w 401077"/>
                  <a:gd name="connsiteY1894" fmla="*/ 289545 h 533771"/>
                  <a:gd name="connsiteX1895" fmla="*/ 123172 w 401077"/>
                  <a:gd name="connsiteY1895" fmla="*/ 289280 h 533771"/>
                  <a:gd name="connsiteX1896" fmla="*/ 122818 w 401077"/>
                  <a:gd name="connsiteY1896" fmla="*/ 289016 h 533771"/>
                  <a:gd name="connsiteX1897" fmla="*/ 122554 w 401077"/>
                  <a:gd name="connsiteY1897" fmla="*/ 288751 h 533771"/>
                  <a:gd name="connsiteX1898" fmla="*/ 122290 w 401077"/>
                  <a:gd name="connsiteY1898" fmla="*/ 288751 h 533771"/>
                  <a:gd name="connsiteX1899" fmla="*/ 122025 w 401077"/>
                  <a:gd name="connsiteY1899" fmla="*/ 288751 h 533771"/>
                  <a:gd name="connsiteX1900" fmla="*/ 122025 w 401077"/>
                  <a:gd name="connsiteY1900" fmla="*/ 289016 h 533771"/>
                  <a:gd name="connsiteX1901" fmla="*/ 122025 w 401077"/>
                  <a:gd name="connsiteY1901" fmla="*/ 289280 h 533771"/>
                  <a:gd name="connsiteX1902" fmla="*/ 121408 w 401077"/>
                  <a:gd name="connsiteY1902" fmla="*/ 289280 h 533771"/>
                  <a:gd name="connsiteX1903" fmla="*/ 121143 w 401077"/>
                  <a:gd name="connsiteY1903" fmla="*/ 289280 h 533771"/>
                  <a:gd name="connsiteX1904" fmla="*/ 120791 w 401077"/>
                  <a:gd name="connsiteY1904" fmla="*/ 289545 h 533771"/>
                  <a:gd name="connsiteX1905" fmla="*/ 120526 w 401077"/>
                  <a:gd name="connsiteY1905" fmla="*/ 288928 h 533771"/>
                  <a:gd name="connsiteX1906" fmla="*/ 119909 w 401077"/>
                  <a:gd name="connsiteY1906" fmla="*/ 288663 h 533771"/>
                  <a:gd name="connsiteX1907" fmla="*/ 119645 w 401077"/>
                  <a:gd name="connsiteY1907" fmla="*/ 288046 h 533771"/>
                  <a:gd name="connsiteX1908" fmla="*/ 119645 w 401077"/>
                  <a:gd name="connsiteY1908" fmla="*/ 287782 h 533771"/>
                  <a:gd name="connsiteX1909" fmla="*/ 119380 w 401077"/>
                  <a:gd name="connsiteY1909" fmla="*/ 287164 h 533771"/>
                  <a:gd name="connsiteX1910" fmla="*/ 119997 w 401077"/>
                  <a:gd name="connsiteY1910" fmla="*/ 287164 h 533771"/>
                  <a:gd name="connsiteX1911" fmla="*/ 120614 w 401077"/>
                  <a:gd name="connsiteY1911" fmla="*/ 286900 h 533771"/>
                  <a:gd name="connsiteX1912" fmla="*/ 121496 w 401077"/>
                  <a:gd name="connsiteY1912" fmla="*/ 287164 h 533771"/>
                  <a:gd name="connsiteX1913" fmla="*/ 121761 w 401077"/>
                  <a:gd name="connsiteY1913" fmla="*/ 287782 h 533771"/>
                  <a:gd name="connsiteX1914" fmla="*/ 122643 w 401077"/>
                  <a:gd name="connsiteY1914" fmla="*/ 288046 h 533771"/>
                  <a:gd name="connsiteX1915" fmla="*/ 122643 w 401077"/>
                  <a:gd name="connsiteY1915" fmla="*/ 288311 h 533771"/>
                  <a:gd name="connsiteX1916" fmla="*/ 123259 w 401077"/>
                  <a:gd name="connsiteY1916" fmla="*/ 288311 h 533771"/>
                  <a:gd name="connsiteX1917" fmla="*/ 123259 w 401077"/>
                  <a:gd name="connsiteY1917" fmla="*/ 288046 h 533771"/>
                  <a:gd name="connsiteX1918" fmla="*/ 123876 w 401077"/>
                  <a:gd name="connsiteY1918" fmla="*/ 288046 h 533771"/>
                  <a:gd name="connsiteX1919" fmla="*/ 124141 w 401077"/>
                  <a:gd name="connsiteY1919" fmla="*/ 287782 h 533771"/>
                  <a:gd name="connsiteX1920" fmla="*/ 124405 w 401077"/>
                  <a:gd name="connsiteY1920" fmla="*/ 287164 h 533771"/>
                  <a:gd name="connsiteX1921" fmla="*/ 124670 w 401077"/>
                  <a:gd name="connsiteY1921" fmla="*/ 287164 h 533771"/>
                  <a:gd name="connsiteX1922" fmla="*/ 124934 w 401077"/>
                  <a:gd name="connsiteY1922" fmla="*/ 287429 h 533771"/>
                  <a:gd name="connsiteX1923" fmla="*/ 125552 w 401077"/>
                  <a:gd name="connsiteY1923" fmla="*/ 287429 h 533771"/>
                  <a:gd name="connsiteX1924" fmla="*/ 125199 w 401077"/>
                  <a:gd name="connsiteY1924" fmla="*/ 287429 h 533771"/>
                  <a:gd name="connsiteX1925" fmla="*/ 124934 w 401077"/>
                  <a:gd name="connsiteY1925" fmla="*/ 287693 h 533771"/>
                  <a:gd name="connsiteX1926" fmla="*/ 124670 w 401077"/>
                  <a:gd name="connsiteY1926" fmla="*/ 287958 h 533771"/>
                  <a:gd name="connsiteX1927" fmla="*/ 124405 w 401077"/>
                  <a:gd name="connsiteY1927" fmla="*/ 287958 h 533771"/>
                  <a:gd name="connsiteX1928" fmla="*/ 124141 w 401077"/>
                  <a:gd name="connsiteY1928" fmla="*/ 288222 h 533771"/>
                  <a:gd name="connsiteX1929" fmla="*/ 123876 w 401077"/>
                  <a:gd name="connsiteY1929" fmla="*/ 288487 h 533771"/>
                  <a:gd name="connsiteX1930" fmla="*/ 124141 w 401077"/>
                  <a:gd name="connsiteY1930" fmla="*/ 289104 h 533771"/>
                  <a:gd name="connsiteX1931" fmla="*/ 124141 w 401077"/>
                  <a:gd name="connsiteY1931" fmla="*/ 289369 h 533771"/>
                  <a:gd name="connsiteX1932" fmla="*/ 123876 w 401077"/>
                  <a:gd name="connsiteY1932" fmla="*/ 289369 h 533771"/>
                  <a:gd name="connsiteX1933" fmla="*/ 123436 w 401077"/>
                  <a:gd name="connsiteY1933" fmla="*/ 289369 h 533771"/>
                  <a:gd name="connsiteX1934" fmla="*/ 117000 w 401077"/>
                  <a:gd name="connsiteY1934" fmla="*/ 289898 h 533771"/>
                  <a:gd name="connsiteX1935" fmla="*/ 116382 w 401077"/>
                  <a:gd name="connsiteY1935" fmla="*/ 289633 h 533771"/>
                  <a:gd name="connsiteX1936" fmla="*/ 116735 w 401077"/>
                  <a:gd name="connsiteY1936" fmla="*/ 289633 h 533771"/>
                  <a:gd name="connsiteX1937" fmla="*/ 117000 w 401077"/>
                  <a:gd name="connsiteY1937" fmla="*/ 289898 h 533771"/>
                  <a:gd name="connsiteX1938" fmla="*/ 276232 w 401077"/>
                  <a:gd name="connsiteY1938" fmla="*/ 289280 h 533771"/>
                  <a:gd name="connsiteX1939" fmla="*/ 275614 w 401077"/>
                  <a:gd name="connsiteY1939" fmla="*/ 289545 h 533771"/>
                  <a:gd name="connsiteX1940" fmla="*/ 274997 w 401077"/>
                  <a:gd name="connsiteY1940" fmla="*/ 288663 h 533771"/>
                  <a:gd name="connsiteX1941" fmla="*/ 276143 w 401077"/>
                  <a:gd name="connsiteY1941" fmla="*/ 288928 h 533771"/>
                  <a:gd name="connsiteX1942" fmla="*/ 276143 w 401077"/>
                  <a:gd name="connsiteY1942" fmla="*/ 289280 h 533771"/>
                  <a:gd name="connsiteX1943" fmla="*/ 127756 w 401077"/>
                  <a:gd name="connsiteY1943" fmla="*/ 289898 h 533771"/>
                  <a:gd name="connsiteX1944" fmla="*/ 127492 w 401077"/>
                  <a:gd name="connsiteY1944" fmla="*/ 289898 h 533771"/>
                  <a:gd name="connsiteX1945" fmla="*/ 127492 w 401077"/>
                  <a:gd name="connsiteY1945" fmla="*/ 289633 h 533771"/>
                  <a:gd name="connsiteX1946" fmla="*/ 127756 w 401077"/>
                  <a:gd name="connsiteY1946" fmla="*/ 289898 h 533771"/>
                  <a:gd name="connsiteX1947" fmla="*/ 122290 w 401077"/>
                  <a:gd name="connsiteY1947" fmla="*/ 291044 h 533771"/>
                  <a:gd name="connsiteX1948" fmla="*/ 122290 w 401077"/>
                  <a:gd name="connsiteY1948" fmla="*/ 290779 h 533771"/>
                  <a:gd name="connsiteX1949" fmla="*/ 122290 w 401077"/>
                  <a:gd name="connsiteY1949" fmla="*/ 291044 h 533771"/>
                  <a:gd name="connsiteX1950" fmla="*/ 125463 w 401077"/>
                  <a:gd name="connsiteY1950" fmla="*/ 290779 h 533771"/>
                  <a:gd name="connsiteX1951" fmla="*/ 125463 w 401077"/>
                  <a:gd name="connsiteY1951" fmla="*/ 291044 h 533771"/>
                  <a:gd name="connsiteX1952" fmla="*/ 125111 w 401077"/>
                  <a:gd name="connsiteY1952" fmla="*/ 290779 h 533771"/>
                  <a:gd name="connsiteX1953" fmla="*/ 125463 w 401077"/>
                  <a:gd name="connsiteY1953" fmla="*/ 290779 h 533771"/>
                  <a:gd name="connsiteX1954" fmla="*/ 116735 w 401077"/>
                  <a:gd name="connsiteY1954" fmla="*/ 291926 h 533771"/>
                  <a:gd name="connsiteX1955" fmla="*/ 116118 w 401077"/>
                  <a:gd name="connsiteY1955" fmla="*/ 291661 h 533771"/>
                  <a:gd name="connsiteX1956" fmla="*/ 116382 w 401077"/>
                  <a:gd name="connsiteY1956" fmla="*/ 291044 h 533771"/>
                  <a:gd name="connsiteX1957" fmla="*/ 116735 w 401077"/>
                  <a:gd name="connsiteY1957" fmla="*/ 291926 h 533771"/>
                  <a:gd name="connsiteX1958" fmla="*/ 118410 w 401077"/>
                  <a:gd name="connsiteY1958" fmla="*/ 291308 h 533771"/>
                  <a:gd name="connsiteX1959" fmla="*/ 117793 w 401077"/>
                  <a:gd name="connsiteY1959" fmla="*/ 291573 h 533771"/>
                  <a:gd name="connsiteX1960" fmla="*/ 117793 w 401077"/>
                  <a:gd name="connsiteY1960" fmla="*/ 291308 h 533771"/>
                  <a:gd name="connsiteX1961" fmla="*/ 118058 w 401077"/>
                  <a:gd name="connsiteY1961" fmla="*/ 291044 h 533771"/>
                  <a:gd name="connsiteX1962" fmla="*/ 118058 w 401077"/>
                  <a:gd name="connsiteY1962" fmla="*/ 290515 h 533771"/>
                  <a:gd name="connsiteX1963" fmla="*/ 118410 w 401077"/>
                  <a:gd name="connsiteY1963" fmla="*/ 290250 h 533771"/>
                  <a:gd name="connsiteX1964" fmla="*/ 118058 w 401077"/>
                  <a:gd name="connsiteY1964" fmla="*/ 289986 h 533771"/>
                  <a:gd name="connsiteX1965" fmla="*/ 118410 w 401077"/>
                  <a:gd name="connsiteY1965" fmla="*/ 289986 h 533771"/>
                  <a:gd name="connsiteX1966" fmla="*/ 119292 w 401077"/>
                  <a:gd name="connsiteY1966" fmla="*/ 290603 h 533771"/>
                  <a:gd name="connsiteX1967" fmla="*/ 118675 w 401077"/>
                  <a:gd name="connsiteY1967" fmla="*/ 290603 h 533771"/>
                  <a:gd name="connsiteX1968" fmla="*/ 118675 w 401077"/>
                  <a:gd name="connsiteY1968" fmla="*/ 290868 h 533771"/>
                  <a:gd name="connsiteX1969" fmla="*/ 118410 w 401077"/>
                  <a:gd name="connsiteY1969" fmla="*/ 291132 h 533771"/>
                  <a:gd name="connsiteX1970" fmla="*/ 118410 w 401077"/>
                  <a:gd name="connsiteY1970" fmla="*/ 291308 h 533771"/>
                  <a:gd name="connsiteX1971" fmla="*/ 123172 w 401077"/>
                  <a:gd name="connsiteY1971" fmla="*/ 291926 h 533771"/>
                  <a:gd name="connsiteX1972" fmla="*/ 122290 w 401077"/>
                  <a:gd name="connsiteY1972" fmla="*/ 291661 h 533771"/>
                  <a:gd name="connsiteX1973" fmla="*/ 121408 w 401077"/>
                  <a:gd name="connsiteY1973" fmla="*/ 291044 h 533771"/>
                  <a:gd name="connsiteX1974" fmla="*/ 120879 w 401077"/>
                  <a:gd name="connsiteY1974" fmla="*/ 291308 h 533771"/>
                  <a:gd name="connsiteX1975" fmla="*/ 120879 w 401077"/>
                  <a:gd name="connsiteY1975" fmla="*/ 290779 h 533771"/>
                  <a:gd name="connsiteX1976" fmla="*/ 121408 w 401077"/>
                  <a:gd name="connsiteY1976" fmla="*/ 290779 h 533771"/>
                  <a:gd name="connsiteX1977" fmla="*/ 121672 w 401077"/>
                  <a:gd name="connsiteY1977" fmla="*/ 290779 h 533771"/>
                  <a:gd name="connsiteX1978" fmla="*/ 122290 w 401077"/>
                  <a:gd name="connsiteY1978" fmla="*/ 291308 h 533771"/>
                  <a:gd name="connsiteX1979" fmla="*/ 123172 w 401077"/>
                  <a:gd name="connsiteY1979" fmla="*/ 291573 h 533771"/>
                  <a:gd name="connsiteX1980" fmla="*/ 123172 w 401077"/>
                  <a:gd name="connsiteY1980" fmla="*/ 291926 h 533771"/>
                  <a:gd name="connsiteX1981" fmla="*/ 121055 w 401077"/>
                  <a:gd name="connsiteY1981" fmla="*/ 293072 h 533771"/>
                  <a:gd name="connsiteX1982" fmla="*/ 120703 w 401077"/>
                  <a:gd name="connsiteY1982" fmla="*/ 293072 h 533771"/>
                  <a:gd name="connsiteX1983" fmla="*/ 120703 w 401077"/>
                  <a:gd name="connsiteY1983" fmla="*/ 292543 h 533771"/>
                  <a:gd name="connsiteX1984" fmla="*/ 120703 w 401077"/>
                  <a:gd name="connsiteY1984" fmla="*/ 292278 h 533771"/>
                  <a:gd name="connsiteX1985" fmla="*/ 120703 w 401077"/>
                  <a:gd name="connsiteY1985" fmla="*/ 292807 h 533771"/>
                  <a:gd name="connsiteX1986" fmla="*/ 121055 w 401077"/>
                  <a:gd name="connsiteY1986" fmla="*/ 293072 h 533771"/>
                  <a:gd name="connsiteX1987" fmla="*/ 200142 w 401077"/>
                  <a:gd name="connsiteY1987" fmla="*/ 300390 h 533771"/>
                  <a:gd name="connsiteX1988" fmla="*/ 198996 w 401077"/>
                  <a:gd name="connsiteY1988" fmla="*/ 299508 h 533771"/>
                  <a:gd name="connsiteX1989" fmla="*/ 195734 w 401077"/>
                  <a:gd name="connsiteY1989" fmla="*/ 298891 h 533771"/>
                  <a:gd name="connsiteX1990" fmla="*/ 193441 w 401077"/>
                  <a:gd name="connsiteY1990" fmla="*/ 298009 h 533771"/>
                  <a:gd name="connsiteX1991" fmla="*/ 191149 w 401077"/>
                  <a:gd name="connsiteY1991" fmla="*/ 296863 h 533771"/>
                  <a:gd name="connsiteX1992" fmla="*/ 189650 w 401077"/>
                  <a:gd name="connsiteY1992" fmla="*/ 295100 h 533771"/>
                  <a:gd name="connsiteX1993" fmla="*/ 189033 w 401077"/>
                  <a:gd name="connsiteY1993" fmla="*/ 293953 h 533771"/>
                  <a:gd name="connsiteX1994" fmla="*/ 188152 w 401077"/>
                  <a:gd name="connsiteY1994" fmla="*/ 293072 h 533771"/>
                  <a:gd name="connsiteX1995" fmla="*/ 185242 w 401077"/>
                  <a:gd name="connsiteY1995" fmla="*/ 291573 h 533771"/>
                  <a:gd name="connsiteX1996" fmla="*/ 182597 w 401077"/>
                  <a:gd name="connsiteY1996" fmla="*/ 289545 h 533771"/>
                  <a:gd name="connsiteX1997" fmla="*/ 180304 w 401077"/>
                  <a:gd name="connsiteY1997" fmla="*/ 288399 h 533771"/>
                  <a:gd name="connsiteX1998" fmla="*/ 180569 w 401077"/>
                  <a:gd name="connsiteY1998" fmla="*/ 287253 h 533771"/>
                  <a:gd name="connsiteX1999" fmla="*/ 179687 w 401077"/>
                  <a:gd name="connsiteY1999" fmla="*/ 286635 h 533771"/>
                  <a:gd name="connsiteX2000" fmla="*/ 180833 w 401077"/>
                  <a:gd name="connsiteY2000" fmla="*/ 286106 h 533771"/>
                  <a:gd name="connsiteX2001" fmla="*/ 180481 w 401077"/>
                  <a:gd name="connsiteY2001" fmla="*/ 285225 h 533771"/>
                  <a:gd name="connsiteX2002" fmla="*/ 178982 w 401077"/>
                  <a:gd name="connsiteY2002" fmla="*/ 284343 h 533771"/>
                  <a:gd name="connsiteX2003" fmla="*/ 179599 w 401077"/>
                  <a:gd name="connsiteY2003" fmla="*/ 282844 h 533771"/>
                  <a:gd name="connsiteX2004" fmla="*/ 179335 w 401077"/>
                  <a:gd name="connsiteY2004" fmla="*/ 281345 h 533771"/>
                  <a:gd name="connsiteX2005" fmla="*/ 177306 w 401077"/>
                  <a:gd name="connsiteY2005" fmla="*/ 280199 h 533771"/>
                  <a:gd name="connsiteX2006" fmla="*/ 176689 w 401077"/>
                  <a:gd name="connsiteY2006" fmla="*/ 278171 h 533771"/>
                  <a:gd name="connsiteX2007" fmla="*/ 179335 w 401077"/>
                  <a:gd name="connsiteY2007" fmla="*/ 276408 h 533771"/>
                  <a:gd name="connsiteX2008" fmla="*/ 180216 w 401077"/>
                  <a:gd name="connsiteY2008" fmla="*/ 274909 h 533771"/>
                  <a:gd name="connsiteX2009" fmla="*/ 180216 w 401077"/>
                  <a:gd name="connsiteY2009" fmla="*/ 273763 h 533771"/>
                  <a:gd name="connsiteX2010" fmla="*/ 180833 w 401077"/>
                  <a:gd name="connsiteY2010" fmla="*/ 272881 h 533771"/>
                  <a:gd name="connsiteX2011" fmla="*/ 179952 w 401077"/>
                  <a:gd name="connsiteY2011" fmla="*/ 271735 h 533771"/>
                  <a:gd name="connsiteX2012" fmla="*/ 180569 w 401077"/>
                  <a:gd name="connsiteY2012" fmla="*/ 271470 h 533771"/>
                  <a:gd name="connsiteX2013" fmla="*/ 179952 w 401077"/>
                  <a:gd name="connsiteY2013" fmla="*/ 270941 h 533771"/>
                  <a:gd name="connsiteX2014" fmla="*/ 180569 w 401077"/>
                  <a:gd name="connsiteY2014" fmla="*/ 270677 h 533771"/>
                  <a:gd name="connsiteX2015" fmla="*/ 180304 w 401077"/>
                  <a:gd name="connsiteY2015" fmla="*/ 270412 h 533771"/>
                  <a:gd name="connsiteX2016" fmla="*/ 179423 w 401077"/>
                  <a:gd name="connsiteY2016" fmla="*/ 270148 h 533771"/>
                  <a:gd name="connsiteX2017" fmla="*/ 179158 w 401077"/>
                  <a:gd name="connsiteY2017" fmla="*/ 269531 h 533771"/>
                  <a:gd name="connsiteX2018" fmla="*/ 178893 w 401077"/>
                  <a:gd name="connsiteY2018" fmla="*/ 268914 h 533771"/>
                  <a:gd name="connsiteX2019" fmla="*/ 177748 w 401077"/>
                  <a:gd name="connsiteY2019" fmla="*/ 268649 h 533771"/>
                  <a:gd name="connsiteX2020" fmla="*/ 176602 w 401077"/>
                  <a:gd name="connsiteY2020" fmla="*/ 268385 h 533771"/>
                  <a:gd name="connsiteX2021" fmla="*/ 174838 w 401077"/>
                  <a:gd name="connsiteY2021" fmla="*/ 268649 h 533771"/>
                  <a:gd name="connsiteX2022" fmla="*/ 173956 w 401077"/>
                  <a:gd name="connsiteY2022" fmla="*/ 269266 h 533771"/>
                  <a:gd name="connsiteX2023" fmla="*/ 173075 w 401077"/>
                  <a:gd name="connsiteY2023" fmla="*/ 270148 h 533771"/>
                  <a:gd name="connsiteX2024" fmla="*/ 168666 w 401077"/>
                  <a:gd name="connsiteY2024" fmla="*/ 269531 h 533771"/>
                  <a:gd name="connsiteX2025" fmla="*/ 164610 w 401077"/>
                  <a:gd name="connsiteY2025" fmla="*/ 267503 h 533771"/>
                  <a:gd name="connsiteX2026" fmla="*/ 161348 w 401077"/>
                  <a:gd name="connsiteY2026" fmla="*/ 266974 h 533771"/>
                  <a:gd name="connsiteX2027" fmla="*/ 154647 w 401077"/>
                  <a:gd name="connsiteY2027" fmla="*/ 267238 h 533771"/>
                  <a:gd name="connsiteX2028" fmla="*/ 147065 w 401077"/>
                  <a:gd name="connsiteY2028" fmla="*/ 271030 h 533771"/>
                  <a:gd name="connsiteX2029" fmla="*/ 141863 w 401077"/>
                  <a:gd name="connsiteY2029" fmla="*/ 272793 h 533771"/>
                  <a:gd name="connsiteX2030" fmla="*/ 134545 w 401077"/>
                  <a:gd name="connsiteY2030" fmla="*/ 273675 h 533771"/>
                  <a:gd name="connsiteX2031" fmla="*/ 129255 w 401077"/>
                  <a:gd name="connsiteY2031" fmla="*/ 276584 h 533771"/>
                  <a:gd name="connsiteX2032" fmla="*/ 117000 w 401077"/>
                  <a:gd name="connsiteY2032" fmla="*/ 277466 h 533771"/>
                  <a:gd name="connsiteX2033" fmla="*/ 114355 w 401077"/>
                  <a:gd name="connsiteY2033" fmla="*/ 282756 h 533771"/>
                  <a:gd name="connsiteX2034" fmla="*/ 105009 w 401077"/>
                  <a:gd name="connsiteY2034" fmla="*/ 284519 h 533771"/>
                  <a:gd name="connsiteX2035" fmla="*/ 96897 w 401077"/>
                  <a:gd name="connsiteY2035" fmla="*/ 286812 h 533771"/>
                  <a:gd name="connsiteX2036" fmla="*/ 94252 w 401077"/>
                  <a:gd name="connsiteY2036" fmla="*/ 286283 h 533771"/>
                  <a:gd name="connsiteX2037" fmla="*/ 89932 w 401077"/>
                  <a:gd name="connsiteY2037" fmla="*/ 280728 h 533771"/>
                  <a:gd name="connsiteX2038" fmla="*/ 96368 w 401077"/>
                  <a:gd name="connsiteY2038" fmla="*/ 278436 h 533771"/>
                  <a:gd name="connsiteX2039" fmla="*/ 97867 w 401077"/>
                  <a:gd name="connsiteY2039" fmla="*/ 268473 h 533771"/>
                  <a:gd name="connsiteX2040" fmla="*/ 105450 w 401077"/>
                  <a:gd name="connsiteY2040" fmla="*/ 259744 h 533771"/>
                  <a:gd name="connsiteX2041" fmla="*/ 113561 w 401077"/>
                  <a:gd name="connsiteY2041" fmla="*/ 250398 h 533771"/>
                  <a:gd name="connsiteX2042" fmla="*/ 116206 w 401077"/>
                  <a:gd name="connsiteY2042" fmla="*/ 248635 h 533771"/>
                  <a:gd name="connsiteX2043" fmla="*/ 122907 w 401077"/>
                  <a:gd name="connsiteY2043" fmla="*/ 247136 h 533771"/>
                  <a:gd name="connsiteX2044" fmla="*/ 123524 w 401077"/>
                  <a:gd name="connsiteY2044" fmla="*/ 247400 h 533771"/>
                  <a:gd name="connsiteX2045" fmla="*/ 127932 w 401077"/>
                  <a:gd name="connsiteY2045" fmla="*/ 250046 h 533771"/>
                  <a:gd name="connsiteX2046" fmla="*/ 130842 w 401077"/>
                  <a:gd name="connsiteY2046" fmla="*/ 248018 h 533771"/>
                  <a:gd name="connsiteX2047" fmla="*/ 136926 w 401077"/>
                  <a:gd name="connsiteY2047" fmla="*/ 248547 h 533771"/>
                  <a:gd name="connsiteX2048" fmla="*/ 139835 w 401077"/>
                  <a:gd name="connsiteY2048" fmla="*/ 248018 h 533771"/>
                  <a:gd name="connsiteX2049" fmla="*/ 145125 w 401077"/>
                  <a:gd name="connsiteY2049" fmla="*/ 246871 h 533771"/>
                  <a:gd name="connsiteX2050" fmla="*/ 146624 w 401077"/>
                  <a:gd name="connsiteY2050" fmla="*/ 245990 h 533771"/>
                  <a:gd name="connsiteX2051" fmla="*/ 148388 w 401077"/>
                  <a:gd name="connsiteY2051" fmla="*/ 245108 h 533771"/>
                  <a:gd name="connsiteX2052" fmla="*/ 150151 w 401077"/>
                  <a:gd name="connsiteY2052" fmla="*/ 244844 h 533771"/>
                  <a:gd name="connsiteX2053" fmla="*/ 151914 w 401077"/>
                  <a:gd name="connsiteY2053" fmla="*/ 244844 h 533771"/>
                  <a:gd name="connsiteX2054" fmla="*/ 152796 w 401077"/>
                  <a:gd name="connsiteY2054" fmla="*/ 244844 h 533771"/>
                  <a:gd name="connsiteX2055" fmla="*/ 153942 w 401077"/>
                  <a:gd name="connsiteY2055" fmla="*/ 244844 h 533771"/>
                  <a:gd name="connsiteX2056" fmla="*/ 155970 w 401077"/>
                  <a:gd name="connsiteY2056" fmla="*/ 245108 h 533771"/>
                  <a:gd name="connsiteX2057" fmla="*/ 157733 w 401077"/>
                  <a:gd name="connsiteY2057" fmla="*/ 245108 h 533771"/>
                  <a:gd name="connsiteX2058" fmla="*/ 159232 w 401077"/>
                  <a:gd name="connsiteY2058" fmla="*/ 243962 h 533771"/>
                  <a:gd name="connsiteX2059" fmla="*/ 160114 w 401077"/>
                  <a:gd name="connsiteY2059" fmla="*/ 242463 h 533771"/>
                  <a:gd name="connsiteX2060" fmla="*/ 162142 w 401077"/>
                  <a:gd name="connsiteY2060" fmla="*/ 242199 h 533771"/>
                  <a:gd name="connsiteX2061" fmla="*/ 164523 w 401077"/>
                  <a:gd name="connsiteY2061" fmla="*/ 243609 h 533771"/>
                  <a:gd name="connsiteX2062" fmla="*/ 164523 w 401077"/>
                  <a:gd name="connsiteY2062" fmla="*/ 244491 h 533771"/>
                  <a:gd name="connsiteX2063" fmla="*/ 164787 w 401077"/>
                  <a:gd name="connsiteY2063" fmla="*/ 247665 h 533771"/>
                  <a:gd name="connsiteX2064" fmla="*/ 165404 w 401077"/>
                  <a:gd name="connsiteY2064" fmla="*/ 246783 h 533771"/>
                  <a:gd name="connsiteX2065" fmla="*/ 166285 w 401077"/>
                  <a:gd name="connsiteY2065" fmla="*/ 247929 h 533771"/>
                  <a:gd name="connsiteX2066" fmla="*/ 167696 w 401077"/>
                  <a:gd name="connsiteY2066" fmla="*/ 248458 h 533771"/>
                  <a:gd name="connsiteX2067" fmla="*/ 168225 w 401077"/>
                  <a:gd name="connsiteY2067" fmla="*/ 249076 h 533771"/>
                  <a:gd name="connsiteX2068" fmla="*/ 169107 w 401077"/>
                  <a:gd name="connsiteY2068" fmla="*/ 248811 h 533771"/>
                  <a:gd name="connsiteX2069" fmla="*/ 167343 w 401077"/>
                  <a:gd name="connsiteY2069" fmla="*/ 247665 h 533771"/>
                  <a:gd name="connsiteX2070" fmla="*/ 168843 w 401077"/>
                  <a:gd name="connsiteY2070" fmla="*/ 246783 h 533771"/>
                  <a:gd name="connsiteX2071" fmla="*/ 169460 w 401077"/>
                  <a:gd name="connsiteY2071" fmla="*/ 247048 h 533771"/>
                  <a:gd name="connsiteX2072" fmla="*/ 170606 w 401077"/>
                  <a:gd name="connsiteY2072" fmla="*/ 247929 h 533771"/>
                  <a:gd name="connsiteX2073" fmla="*/ 171135 w 401077"/>
                  <a:gd name="connsiteY2073" fmla="*/ 247665 h 533771"/>
                  <a:gd name="connsiteX2074" fmla="*/ 172898 w 401077"/>
                  <a:gd name="connsiteY2074" fmla="*/ 248811 h 533771"/>
                  <a:gd name="connsiteX2075" fmla="*/ 174309 w 401077"/>
                  <a:gd name="connsiteY2075" fmla="*/ 247929 h 533771"/>
                  <a:gd name="connsiteX2076" fmla="*/ 173427 w 401077"/>
                  <a:gd name="connsiteY2076" fmla="*/ 248811 h 533771"/>
                  <a:gd name="connsiteX2077" fmla="*/ 175455 w 401077"/>
                  <a:gd name="connsiteY2077" fmla="*/ 248811 h 533771"/>
                  <a:gd name="connsiteX2078" fmla="*/ 176073 w 401077"/>
                  <a:gd name="connsiteY2078" fmla="*/ 247929 h 533771"/>
                  <a:gd name="connsiteX2079" fmla="*/ 174662 w 401077"/>
                  <a:gd name="connsiteY2079" fmla="*/ 247312 h 533771"/>
                  <a:gd name="connsiteX2080" fmla="*/ 176073 w 401077"/>
                  <a:gd name="connsiteY2080" fmla="*/ 247312 h 533771"/>
                  <a:gd name="connsiteX2081" fmla="*/ 177219 w 401077"/>
                  <a:gd name="connsiteY2081" fmla="*/ 247312 h 533771"/>
                  <a:gd name="connsiteX2082" fmla="*/ 177483 w 401077"/>
                  <a:gd name="connsiteY2082" fmla="*/ 246695 h 533771"/>
                  <a:gd name="connsiteX2083" fmla="*/ 176602 w 401077"/>
                  <a:gd name="connsiteY2083" fmla="*/ 245813 h 533771"/>
                  <a:gd name="connsiteX2084" fmla="*/ 176602 w 401077"/>
                  <a:gd name="connsiteY2084" fmla="*/ 245196 h 533771"/>
                  <a:gd name="connsiteX2085" fmla="*/ 178364 w 401077"/>
                  <a:gd name="connsiteY2085" fmla="*/ 245461 h 533771"/>
                  <a:gd name="connsiteX2086" fmla="*/ 178982 w 401077"/>
                  <a:gd name="connsiteY2086" fmla="*/ 244579 h 533771"/>
                  <a:gd name="connsiteX2087" fmla="*/ 178364 w 401077"/>
                  <a:gd name="connsiteY2087" fmla="*/ 243433 h 533771"/>
                  <a:gd name="connsiteX2088" fmla="*/ 179511 w 401077"/>
                  <a:gd name="connsiteY2088" fmla="*/ 242551 h 533771"/>
                  <a:gd name="connsiteX2089" fmla="*/ 180128 w 401077"/>
                  <a:gd name="connsiteY2089" fmla="*/ 243697 h 533771"/>
                  <a:gd name="connsiteX2090" fmla="*/ 181010 w 401077"/>
                  <a:gd name="connsiteY2090" fmla="*/ 243697 h 533771"/>
                  <a:gd name="connsiteX2091" fmla="*/ 178982 w 401077"/>
                  <a:gd name="connsiteY2091" fmla="*/ 240171 h 533771"/>
                  <a:gd name="connsiteX2092" fmla="*/ 175191 w 401077"/>
                  <a:gd name="connsiteY2092" fmla="*/ 235850 h 533771"/>
                  <a:gd name="connsiteX2093" fmla="*/ 175455 w 401077"/>
                  <a:gd name="connsiteY2093" fmla="*/ 232676 h 533771"/>
                  <a:gd name="connsiteX2094" fmla="*/ 175720 w 401077"/>
                  <a:gd name="connsiteY2094" fmla="*/ 229767 h 533771"/>
                  <a:gd name="connsiteX2095" fmla="*/ 177748 w 401077"/>
                  <a:gd name="connsiteY2095" fmla="*/ 227386 h 533771"/>
                  <a:gd name="connsiteX2096" fmla="*/ 179775 w 401077"/>
                  <a:gd name="connsiteY2096" fmla="*/ 223595 h 533771"/>
                  <a:gd name="connsiteX2097" fmla="*/ 180657 w 401077"/>
                  <a:gd name="connsiteY2097" fmla="*/ 220685 h 533771"/>
                  <a:gd name="connsiteX2098" fmla="*/ 181010 w 401077"/>
                  <a:gd name="connsiteY2098" fmla="*/ 215131 h 533771"/>
                  <a:gd name="connsiteX2099" fmla="*/ 179246 w 401077"/>
                  <a:gd name="connsiteY2099" fmla="*/ 211340 h 533771"/>
                  <a:gd name="connsiteX2100" fmla="*/ 177219 w 401077"/>
                  <a:gd name="connsiteY2100" fmla="*/ 209047 h 533771"/>
                  <a:gd name="connsiteX2101" fmla="*/ 175191 w 401077"/>
                  <a:gd name="connsiteY2101" fmla="*/ 207019 h 533771"/>
                  <a:gd name="connsiteX2102" fmla="*/ 174926 w 401077"/>
                  <a:gd name="connsiteY2102" fmla="*/ 204991 h 533771"/>
                  <a:gd name="connsiteX2103" fmla="*/ 174309 w 401077"/>
                  <a:gd name="connsiteY2103" fmla="*/ 202346 h 533771"/>
                  <a:gd name="connsiteX2104" fmla="*/ 175191 w 401077"/>
                  <a:gd name="connsiteY2104" fmla="*/ 201465 h 533771"/>
                  <a:gd name="connsiteX2105" fmla="*/ 178100 w 401077"/>
                  <a:gd name="connsiteY2105" fmla="*/ 200848 h 533771"/>
                  <a:gd name="connsiteX2106" fmla="*/ 180128 w 401077"/>
                  <a:gd name="connsiteY2106" fmla="*/ 198820 h 533771"/>
                  <a:gd name="connsiteX2107" fmla="*/ 183655 w 401077"/>
                  <a:gd name="connsiteY2107" fmla="*/ 197938 h 533771"/>
                  <a:gd name="connsiteX2108" fmla="*/ 185683 w 401077"/>
                  <a:gd name="connsiteY2108" fmla="*/ 199701 h 533771"/>
                  <a:gd name="connsiteX2109" fmla="*/ 184536 w 401077"/>
                  <a:gd name="connsiteY2109" fmla="*/ 201729 h 533771"/>
                  <a:gd name="connsiteX2110" fmla="*/ 185154 w 401077"/>
                  <a:gd name="connsiteY2110" fmla="*/ 203493 h 533771"/>
                  <a:gd name="connsiteX2111" fmla="*/ 182861 w 401077"/>
                  <a:gd name="connsiteY2111" fmla="*/ 203757 h 533771"/>
                  <a:gd name="connsiteX2112" fmla="*/ 182244 w 401077"/>
                  <a:gd name="connsiteY2112" fmla="*/ 206402 h 533771"/>
                  <a:gd name="connsiteX2113" fmla="*/ 180216 w 401077"/>
                  <a:gd name="connsiteY2113" fmla="*/ 205520 h 533771"/>
                  <a:gd name="connsiteX2114" fmla="*/ 179599 w 401077"/>
                  <a:gd name="connsiteY2114" fmla="*/ 205520 h 533771"/>
                  <a:gd name="connsiteX2115" fmla="*/ 179599 w 401077"/>
                  <a:gd name="connsiteY2115" fmla="*/ 206667 h 533771"/>
                  <a:gd name="connsiteX2116" fmla="*/ 179864 w 401077"/>
                  <a:gd name="connsiteY2116" fmla="*/ 208430 h 533771"/>
                  <a:gd name="connsiteX2117" fmla="*/ 181627 w 401077"/>
                  <a:gd name="connsiteY2117" fmla="*/ 208695 h 533771"/>
                  <a:gd name="connsiteX2118" fmla="*/ 183390 w 401077"/>
                  <a:gd name="connsiteY2118" fmla="*/ 209312 h 533771"/>
                  <a:gd name="connsiteX2119" fmla="*/ 184536 w 401077"/>
                  <a:gd name="connsiteY2119" fmla="*/ 210193 h 533771"/>
                  <a:gd name="connsiteX2120" fmla="*/ 185683 w 401077"/>
                  <a:gd name="connsiteY2120" fmla="*/ 213103 h 533771"/>
                  <a:gd name="connsiteX2121" fmla="*/ 188328 w 401077"/>
                  <a:gd name="connsiteY2121" fmla="*/ 216277 h 533771"/>
                  <a:gd name="connsiteX2122" fmla="*/ 191766 w 401077"/>
                  <a:gd name="connsiteY2122" fmla="*/ 217159 h 533771"/>
                  <a:gd name="connsiteX2123" fmla="*/ 193794 w 401077"/>
                  <a:gd name="connsiteY2123" fmla="*/ 216542 h 533771"/>
                  <a:gd name="connsiteX2124" fmla="*/ 193794 w 401077"/>
                  <a:gd name="connsiteY2124" fmla="*/ 213015 h 533771"/>
                  <a:gd name="connsiteX2125" fmla="*/ 194411 w 401077"/>
                  <a:gd name="connsiteY2125" fmla="*/ 212398 h 533771"/>
                  <a:gd name="connsiteX2126" fmla="*/ 200231 w 401077"/>
                  <a:gd name="connsiteY2126" fmla="*/ 210370 h 533771"/>
                  <a:gd name="connsiteX2127" fmla="*/ 203140 w 401077"/>
                  <a:gd name="connsiteY2127" fmla="*/ 208077 h 533771"/>
                  <a:gd name="connsiteX2128" fmla="*/ 205785 w 401077"/>
                  <a:gd name="connsiteY2128" fmla="*/ 206931 h 533771"/>
                  <a:gd name="connsiteX2129" fmla="*/ 209841 w 401077"/>
                  <a:gd name="connsiteY2129" fmla="*/ 202523 h 533771"/>
                  <a:gd name="connsiteX2130" fmla="*/ 211604 w 401077"/>
                  <a:gd name="connsiteY2130" fmla="*/ 198467 h 533771"/>
                  <a:gd name="connsiteX2131" fmla="*/ 211869 w 401077"/>
                  <a:gd name="connsiteY2131" fmla="*/ 193265 h 533771"/>
                  <a:gd name="connsiteX2132" fmla="*/ 214249 w 401077"/>
                  <a:gd name="connsiteY2132" fmla="*/ 187446 h 533771"/>
                  <a:gd name="connsiteX2133" fmla="*/ 216895 w 401077"/>
                  <a:gd name="connsiteY2133" fmla="*/ 186300 h 533771"/>
                  <a:gd name="connsiteX2134" fmla="*/ 218657 w 401077"/>
                  <a:gd name="connsiteY2134" fmla="*/ 182509 h 533771"/>
                  <a:gd name="connsiteX2135" fmla="*/ 217776 w 401077"/>
                  <a:gd name="connsiteY2135" fmla="*/ 178717 h 533771"/>
                  <a:gd name="connsiteX2136" fmla="*/ 216630 w 401077"/>
                  <a:gd name="connsiteY2136" fmla="*/ 175808 h 533771"/>
                  <a:gd name="connsiteX2137" fmla="*/ 216277 w 401077"/>
                  <a:gd name="connsiteY2137" fmla="*/ 173515 h 533771"/>
                  <a:gd name="connsiteX2138" fmla="*/ 216277 w 401077"/>
                  <a:gd name="connsiteY2138" fmla="*/ 170606 h 533771"/>
                  <a:gd name="connsiteX2139" fmla="*/ 216895 w 401077"/>
                  <a:gd name="connsiteY2139" fmla="*/ 168225 h 533771"/>
                  <a:gd name="connsiteX2140" fmla="*/ 217159 w 401077"/>
                  <a:gd name="connsiteY2140" fmla="*/ 163288 h 533771"/>
                  <a:gd name="connsiteX2141" fmla="*/ 215748 w 401077"/>
                  <a:gd name="connsiteY2141" fmla="*/ 159232 h 533771"/>
                  <a:gd name="connsiteX2142" fmla="*/ 214866 w 401077"/>
                  <a:gd name="connsiteY2142" fmla="*/ 156323 h 533771"/>
                  <a:gd name="connsiteX2143" fmla="*/ 214602 w 401077"/>
                  <a:gd name="connsiteY2143" fmla="*/ 151914 h 533771"/>
                  <a:gd name="connsiteX2144" fmla="*/ 210194 w 401077"/>
                  <a:gd name="connsiteY2144" fmla="*/ 142304 h 533771"/>
                  <a:gd name="connsiteX2145" fmla="*/ 204903 w 401077"/>
                  <a:gd name="connsiteY2145" fmla="*/ 138777 h 533771"/>
                  <a:gd name="connsiteX2146" fmla="*/ 203757 w 401077"/>
                  <a:gd name="connsiteY2146" fmla="*/ 139659 h 533771"/>
                  <a:gd name="connsiteX2147" fmla="*/ 200583 w 401077"/>
                  <a:gd name="connsiteY2147" fmla="*/ 137895 h 533771"/>
                  <a:gd name="connsiteX2148" fmla="*/ 199437 w 401077"/>
                  <a:gd name="connsiteY2148" fmla="*/ 136132 h 533771"/>
                  <a:gd name="connsiteX2149" fmla="*/ 202964 w 401077"/>
                  <a:gd name="connsiteY2149" fmla="*/ 136749 h 533771"/>
                  <a:gd name="connsiteX2150" fmla="*/ 200936 w 401077"/>
                  <a:gd name="connsiteY2150" fmla="*/ 127403 h 533771"/>
                  <a:gd name="connsiteX2151" fmla="*/ 198026 w 401077"/>
                  <a:gd name="connsiteY2151" fmla="*/ 125023 h 533771"/>
                  <a:gd name="connsiteX2152" fmla="*/ 195117 w 401077"/>
                  <a:gd name="connsiteY2152" fmla="*/ 121496 h 533771"/>
                  <a:gd name="connsiteX2153" fmla="*/ 194235 w 401077"/>
                  <a:gd name="connsiteY2153" fmla="*/ 119997 h 533771"/>
                  <a:gd name="connsiteX2154" fmla="*/ 195117 w 401077"/>
                  <a:gd name="connsiteY2154" fmla="*/ 117088 h 533771"/>
                  <a:gd name="connsiteX2155" fmla="*/ 198644 w 401077"/>
                  <a:gd name="connsiteY2155" fmla="*/ 116470 h 533771"/>
                  <a:gd name="connsiteX2156" fmla="*/ 195998 w 401077"/>
                  <a:gd name="connsiteY2156" fmla="*/ 108888 h 533771"/>
                  <a:gd name="connsiteX2157" fmla="*/ 195117 w 401077"/>
                  <a:gd name="connsiteY2157" fmla="*/ 107742 h 533771"/>
                  <a:gd name="connsiteX2158" fmla="*/ 194499 w 401077"/>
                  <a:gd name="connsiteY2158" fmla="*/ 105097 h 533771"/>
                  <a:gd name="connsiteX2159" fmla="*/ 198291 w 401077"/>
                  <a:gd name="connsiteY2159" fmla="*/ 106243 h 533771"/>
                  <a:gd name="connsiteX2160" fmla="*/ 201465 w 401077"/>
                  <a:gd name="connsiteY2160" fmla="*/ 107125 h 533771"/>
                  <a:gd name="connsiteX2161" fmla="*/ 204374 w 401077"/>
                  <a:gd name="connsiteY2161" fmla="*/ 112415 h 533771"/>
                  <a:gd name="connsiteX2162" fmla="*/ 209047 w 401077"/>
                  <a:gd name="connsiteY2162" fmla="*/ 115324 h 533771"/>
                  <a:gd name="connsiteX2163" fmla="*/ 209665 w 401077"/>
                  <a:gd name="connsiteY2163" fmla="*/ 113296 h 533771"/>
                  <a:gd name="connsiteX2164" fmla="*/ 208783 w 401077"/>
                  <a:gd name="connsiteY2164" fmla="*/ 111533 h 533771"/>
                  <a:gd name="connsiteX2165" fmla="*/ 210811 w 401077"/>
                  <a:gd name="connsiteY2165" fmla="*/ 111797 h 533771"/>
                  <a:gd name="connsiteX2166" fmla="*/ 215748 w 401077"/>
                  <a:gd name="connsiteY2166" fmla="*/ 114443 h 533771"/>
                  <a:gd name="connsiteX2167" fmla="*/ 214602 w 401077"/>
                  <a:gd name="connsiteY2167" fmla="*/ 108006 h 533771"/>
                  <a:gd name="connsiteX2168" fmla="*/ 210194 w 401077"/>
                  <a:gd name="connsiteY2168" fmla="*/ 104215 h 533771"/>
                  <a:gd name="connsiteX2169" fmla="*/ 209929 w 401077"/>
                  <a:gd name="connsiteY2169" fmla="*/ 106243 h 533771"/>
                  <a:gd name="connsiteX2170" fmla="*/ 206667 w 401077"/>
                  <a:gd name="connsiteY2170" fmla="*/ 107125 h 533771"/>
                  <a:gd name="connsiteX2171" fmla="*/ 204022 w 401077"/>
                  <a:gd name="connsiteY2171" fmla="*/ 107389 h 533771"/>
                  <a:gd name="connsiteX2172" fmla="*/ 202523 w 401077"/>
                  <a:gd name="connsiteY2172" fmla="*/ 103598 h 533771"/>
                  <a:gd name="connsiteX2173" fmla="*/ 201641 w 401077"/>
                  <a:gd name="connsiteY2173" fmla="*/ 100424 h 533771"/>
                  <a:gd name="connsiteX2174" fmla="*/ 201024 w 401077"/>
                  <a:gd name="connsiteY2174" fmla="*/ 97514 h 533771"/>
                  <a:gd name="connsiteX2175" fmla="*/ 205432 w 401077"/>
                  <a:gd name="connsiteY2175" fmla="*/ 99278 h 533771"/>
                  <a:gd name="connsiteX2176" fmla="*/ 211516 w 401077"/>
                  <a:gd name="connsiteY2176" fmla="*/ 102452 h 533771"/>
                  <a:gd name="connsiteX2177" fmla="*/ 214426 w 401077"/>
                  <a:gd name="connsiteY2177" fmla="*/ 101306 h 533771"/>
                  <a:gd name="connsiteX2178" fmla="*/ 215836 w 401077"/>
                  <a:gd name="connsiteY2178" fmla="*/ 105714 h 533771"/>
                  <a:gd name="connsiteX2179" fmla="*/ 219628 w 401077"/>
                  <a:gd name="connsiteY2179" fmla="*/ 112415 h 533771"/>
                  <a:gd name="connsiteX2180" fmla="*/ 226328 w 401077"/>
                  <a:gd name="connsiteY2180" fmla="*/ 121143 h 533771"/>
                  <a:gd name="connsiteX2181" fmla="*/ 231001 w 401077"/>
                  <a:gd name="connsiteY2181" fmla="*/ 123436 h 533771"/>
                  <a:gd name="connsiteX2182" fmla="*/ 234175 w 401077"/>
                  <a:gd name="connsiteY2182" fmla="*/ 125816 h 533771"/>
                  <a:gd name="connsiteX2183" fmla="*/ 238231 w 401077"/>
                  <a:gd name="connsiteY2183" fmla="*/ 129343 h 533771"/>
                  <a:gd name="connsiteX2184" fmla="*/ 240524 w 401077"/>
                  <a:gd name="connsiteY2184" fmla="*/ 131988 h 533771"/>
                  <a:gd name="connsiteX2185" fmla="*/ 241405 w 401077"/>
                  <a:gd name="connsiteY2185" fmla="*/ 133751 h 533771"/>
                  <a:gd name="connsiteX2186" fmla="*/ 246960 w 401077"/>
                  <a:gd name="connsiteY2186" fmla="*/ 136661 h 533771"/>
                  <a:gd name="connsiteX2187" fmla="*/ 248370 w 401077"/>
                  <a:gd name="connsiteY2187" fmla="*/ 140717 h 533771"/>
                  <a:gd name="connsiteX2188" fmla="*/ 249516 w 401077"/>
                  <a:gd name="connsiteY2188" fmla="*/ 142745 h 533771"/>
                  <a:gd name="connsiteX2189" fmla="*/ 250663 w 401077"/>
                  <a:gd name="connsiteY2189" fmla="*/ 145125 h 533771"/>
                  <a:gd name="connsiteX2190" fmla="*/ 251809 w 401077"/>
                  <a:gd name="connsiteY2190" fmla="*/ 145125 h 533771"/>
                  <a:gd name="connsiteX2191" fmla="*/ 253308 w 401077"/>
                  <a:gd name="connsiteY2191" fmla="*/ 146889 h 533771"/>
                  <a:gd name="connsiteX2192" fmla="*/ 253308 w 401077"/>
                  <a:gd name="connsiteY2192" fmla="*/ 147770 h 533771"/>
                  <a:gd name="connsiteX2193" fmla="*/ 253925 w 401077"/>
                  <a:gd name="connsiteY2193" fmla="*/ 152179 h 533771"/>
                  <a:gd name="connsiteX2194" fmla="*/ 254542 w 401077"/>
                  <a:gd name="connsiteY2194" fmla="*/ 152443 h 533771"/>
                  <a:gd name="connsiteX2195" fmla="*/ 254278 w 401077"/>
                  <a:gd name="connsiteY2195" fmla="*/ 153325 h 533771"/>
                  <a:gd name="connsiteX2196" fmla="*/ 254895 w 401077"/>
                  <a:gd name="connsiteY2196" fmla="*/ 154207 h 533771"/>
                  <a:gd name="connsiteX2197" fmla="*/ 256041 w 401077"/>
                  <a:gd name="connsiteY2197" fmla="*/ 156851 h 533771"/>
                  <a:gd name="connsiteX2198" fmla="*/ 255424 w 401077"/>
                  <a:gd name="connsiteY2198" fmla="*/ 158879 h 533771"/>
                  <a:gd name="connsiteX2199" fmla="*/ 256041 w 401077"/>
                  <a:gd name="connsiteY2199" fmla="*/ 160290 h 533771"/>
                  <a:gd name="connsiteX2200" fmla="*/ 252867 w 401077"/>
                  <a:gd name="connsiteY2200" fmla="*/ 164698 h 533771"/>
                  <a:gd name="connsiteX2201" fmla="*/ 255512 w 401077"/>
                  <a:gd name="connsiteY2201" fmla="*/ 168225 h 533771"/>
                  <a:gd name="connsiteX2202" fmla="*/ 254630 w 401077"/>
                  <a:gd name="connsiteY2202" fmla="*/ 169107 h 533771"/>
                  <a:gd name="connsiteX2203" fmla="*/ 253484 w 401077"/>
                  <a:gd name="connsiteY2203" fmla="*/ 169372 h 533771"/>
                  <a:gd name="connsiteX2204" fmla="*/ 255512 w 401077"/>
                  <a:gd name="connsiteY2204" fmla="*/ 170253 h 533771"/>
                  <a:gd name="connsiteX2205" fmla="*/ 255512 w 401077"/>
                  <a:gd name="connsiteY2205" fmla="*/ 172016 h 533771"/>
                  <a:gd name="connsiteX2206" fmla="*/ 257275 w 401077"/>
                  <a:gd name="connsiteY2206" fmla="*/ 172898 h 533771"/>
                  <a:gd name="connsiteX2207" fmla="*/ 257011 w 401077"/>
                  <a:gd name="connsiteY2207" fmla="*/ 173515 h 533771"/>
                  <a:gd name="connsiteX2208" fmla="*/ 257893 w 401077"/>
                  <a:gd name="connsiteY2208" fmla="*/ 175014 h 533771"/>
                  <a:gd name="connsiteX2209" fmla="*/ 257628 w 401077"/>
                  <a:gd name="connsiteY2209" fmla="*/ 175631 h 533771"/>
                  <a:gd name="connsiteX2210" fmla="*/ 258775 w 401077"/>
                  <a:gd name="connsiteY2210" fmla="*/ 176249 h 533771"/>
                  <a:gd name="connsiteX2211" fmla="*/ 258510 w 401077"/>
                  <a:gd name="connsiteY2211" fmla="*/ 176866 h 533771"/>
                  <a:gd name="connsiteX2212" fmla="*/ 260273 w 401077"/>
                  <a:gd name="connsiteY2212" fmla="*/ 178629 h 533771"/>
                  <a:gd name="connsiteX2213" fmla="*/ 259127 w 401077"/>
                  <a:gd name="connsiteY2213" fmla="*/ 178629 h 533771"/>
                  <a:gd name="connsiteX2214" fmla="*/ 257981 w 401077"/>
                  <a:gd name="connsiteY2214" fmla="*/ 177483 h 533771"/>
                  <a:gd name="connsiteX2215" fmla="*/ 257716 w 401077"/>
                  <a:gd name="connsiteY2215" fmla="*/ 176866 h 533771"/>
                  <a:gd name="connsiteX2216" fmla="*/ 257099 w 401077"/>
                  <a:gd name="connsiteY2216" fmla="*/ 176249 h 533771"/>
                  <a:gd name="connsiteX2217" fmla="*/ 255600 w 401077"/>
                  <a:gd name="connsiteY2217" fmla="*/ 175984 h 533771"/>
                  <a:gd name="connsiteX2218" fmla="*/ 251809 w 401077"/>
                  <a:gd name="connsiteY2218" fmla="*/ 177130 h 533771"/>
                  <a:gd name="connsiteX2219" fmla="*/ 250663 w 401077"/>
                  <a:gd name="connsiteY2219" fmla="*/ 176866 h 533771"/>
                  <a:gd name="connsiteX2220" fmla="*/ 249781 w 401077"/>
                  <a:gd name="connsiteY2220" fmla="*/ 177747 h 533771"/>
                  <a:gd name="connsiteX2221" fmla="*/ 250398 w 401077"/>
                  <a:gd name="connsiteY2221" fmla="*/ 178365 h 533771"/>
                  <a:gd name="connsiteX2222" fmla="*/ 251016 w 401077"/>
                  <a:gd name="connsiteY2222" fmla="*/ 178365 h 533771"/>
                  <a:gd name="connsiteX2223" fmla="*/ 250398 w 401077"/>
                  <a:gd name="connsiteY2223" fmla="*/ 179511 h 533771"/>
                  <a:gd name="connsiteX2224" fmla="*/ 250398 w 401077"/>
                  <a:gd name="connsiteY2224" fmla="*/ 181539 h 533771"/>
                  <a:gd name="connsiteX2225" fmla="*/ 250751 w 401077"/>
                  <a:gd name="connsiteY2225" fmla="*/ 182685 h 533771"/>
                  <a:gd name="connsiteX2226" fmla="*/ 251632 w 401077"/>
                  <a:gd name="connsiteY2226" fmla="*/ 185859 h 533771"/>
                  <a:gd name="connsiteX2227" fmla="*/ 254278 w 401077"/>
                  <a:gd name="connsiteY2227" fmla="*/ 189386 h 533771"/>
                  <a:gd name="connsiteX2228" fmla="*/ 255777 w 401077"/>
                  <a:gd name="connsiteY2228" fmla="*/ 190884 h 533771"/>
                  <a:gd name="connsiteX2229" fmla="*/ 258950 w 401077"/>
                  <a:gd name="connsiteY2229" fmla="*/ 195293 h 533771"/>
                  <a:gd name="connsiteX2230" fmla="*/ 263006 w 401077"/>
                  <a:gd name="connsiteY2230" fmla="*/ 202611 h 533771"/>
                  <a:gd name="connsiteX2231" fmla="*/ 265299 w 401077"/>
                  <a:gd name="connsiteY2231" fmla="*/ 208695 h 533771"/>
                  <a:gd name="connsiteX2232" fmla="*/ 266180 w 401077"/>
                  <a:gd name="connsiteY2232" fmla="*/ 212486 h 533771"/>
                  <a:gd name="connsiteX2233" fmla="*/ 264682 w 401077"/>
                  <a:gd name="connsiteY2233" fmla="*/ 213367 h 533771"/>
                  <a:gd name="connsiteX2234" fmla="*/ 264682 w 401077"/>
                  <a:gd name="connsiteY2234" fmla="*/ 215395 h 533771"/>
                  <a:gd name="connsiteX2235" fmla="*/ 265211 w 401077"/>
                  <a:gd name="connsiteY2235" fmla="*/ 219451 h 533771"/>
                  <a:gd name="connsiteX2236" fmla="*/ 265475 w 401077"/>
                  <a:gd name="connsiteY2236" fmla="*/ 223860 h 533771"/>
                  <a:gd name="connsiteX2237" fmla="*/ 266621 w 401077"/>
                  <a:gd name="connsiteY2237" fmla="*/ 227915 h 533771"/>
                  <a:gd name="connsiteX2238" fmla="*/ 270412 w 401077"/>
                  <a:gd name="connsiteY2238" fmla="*/ 234352 h 533771"/>
                  <a:gd name="connsiteX2239" fmla="*/ 273939 w 401077"/>
                  <a:gd name="connsiteY2239" fmla="*/ 238407 h 533771"/>
                  <a:gd name="connsiteX2240" fmla="*/ 274204 w 401077"/>
                  <a:gd name="connsiteY2240" fmla="*/ 238407 h 533771"/>
                  <a:gd name="connsiteX2241" fmla="*/ 280287 w 401077"/>
                  <a:gd name="connsiteY2241" fmla="*/ 243345 h 533771"/>
                  <a:gd name="connsiteX2242" fmla="*/ 276496 w 401077"/>
                  <a:gd name="connsiteY2242" fmla="*/ 243962 h 533771"/>
                  <a:gd name="connsiteX2243" fmla="*/ 273851 w 401077"/>
                  <a:gd name="connsiteY2243" fmla="*/ 251280 h 533771"/>
                  <a:gd name="connsiteX2244" fmla="*/ 276143 w 401077"/>
                  <a:gd name="connsiteY2244" fmla="*/ 255071 h 533771"/>
                  <a:gd name="connsiteX2245" fmla="*/ 275262 w 401077"/>
                  <a:gd name="connsiteY2245" fmla="*/ 257716 h 533771"/>
                  <a:gd name="connsiteX2246" fmla="*/ 274380 w 401077"/>
                  <a:gd name="connsiteY2246" fmla="*/ 258598 h 533771"/>
                  <a:gd name="connsiteX2247" fmla="*/ 271735 w 401077"/>
                  <a:gd name="connsiteY2247" fmla="*/ 258598 h 533771"/>
                  <a:gd name="connsiteX2248" fmla="*/ 270236 w 401077"/>
                  <a:gd name="connsiteY2248" fmla="*/ 260978 h 533771"/>
                  <a:gd name="connsiteX2249" fmla="*/ 268473 w 401077"/>
                  <a:gd name="connsiteY2249" fmla="*/ 263888 h 533771"/>
                  <a:gd name="connsiteX2250" fmla="*/ 267327 w 401077"/>
                  <a:gd name="connsiteY2250" fmla="*/ 261860 h 533771"/>
                  <a:gd name="connsiteX2251" fmla="*/ 266445 w 401077"/>
                  <a:gd name="connsiteY2251" fmla="*/ 260714 h 533771"/>
                  <a:gd name="connsiteX2252" fmla="*/ 265563 w 401077"/>
                  <a:gd name="connsiteY2252" fmla="*/ 258333 h 533771"/>
                  <a:gd name="connsiteX2253" fmla="*/ 265299 w 401077"/>
                  <a:gd name="connsiteY2253" fmla="*/ 256041 h 533771"/>
                  <a:gd name="connsiteX2254" fmla="*/ 263006 w 401077"/>
                  <a:gd name="connsiteY2254" fmla="*/ 253396 h 533771"/>
                  <a:gd name="connsiteX2255" fmla="*/ 264153 w 401077"/>
                  <a:gd name="connsiteY2255" fmla="*/ 251985 h 533771"/>
                  <a:gd name="connsiteX2256" fmla="*/ 264417 w 401077"/>
                  <a:gd name="connsiteY2256" fmla="*/ 250222 h 533771"/>
                  <a:gd name="connsiteX2257" fmla="*/ 264946 w 401077"/>
                  <a:gd name="connsiteY2257" fmla="*/ 249869 h 533771"/>
                  <a:gd name="connsiteX2258" fmla="*/ 265211 w 401077"/>
                  <a:gd name="connsiteY2258" fmla="*/ 248723 h 533771"/>
                  <a:gd name="connsiteX2259" fmla="*/ 266092 w 401077"/>
                  <a:gd name="connsiteY2259" fmla="*/ 248194 h 533771"/>
                  <a:gd name="connsiteX2260" fmla="*/ 265828 w 401077"/>
                  <a:gd name="connsiteY2260" fmla="*/ 246431 h 533771"/>
                  <a:gd name="connsiteX2261" fmla="*/ 262566 w 401077"/>
                  <a:gd name="connsiteY2261" fmla="*/ 244932 h 533771"/>
                  <a:gd name="connsiteX2262" fmla="*/ 261419 w 401077"/>
                  <a:gd name="connsiteY2262" fmla="*/ 244315 h 533771"/>
                  <a:gd name="connsiteX2263" fmla="*/ 261419 w 401077"/>
                  <a:gd name="connsiteY2263" fmla="*/ 245461 h 533771"/>
                  <a:gd name="connsiteX2264" fmla="*/ 260273 w 401077"/>
                  <a:gd name="connsiteY2264" fmla="*/ 244844 h 533771"/>
                  <a:gd name="connsiteX2265" fmla="*/ 259127 w 401077"/>
                  <a:gd name="connsiteY2265" fmla="*/ 244844 h 533771"/>
                  <a:gd name="connsiteX2266" fmla="*/ 258862 w 401077"/>
                  <a:gd name="connsiteY2266" fmla="*/ 245461 h 533771"/>
                  <a:gd name="connsiteX2267" fmla="*/ 258333 w 401077"/>
                  <a:gd name="connsiteY2267" fmla="*/ 245461 h 533771"/>
                  <a:gd name="connsiteX2268" fmla="*/ 257716 w 401077"/>
                  <a:gd name="connsiteY2268" fmla="*/ 244844 h 533771"/>
                  <a:gd name="connsiteX2269" fmla="*/ 258333 w 401077"/>
                  <a:gd name="connsiteY2269" fmla="*/ 246342 h 533771"/>
                  <a:gd name="connsiteX2270" fmla="*/ 260097 w 401077"/>
                  <a:gd name="connsiteY2270" fmla="*/ 248370 h 533771"/>
                  <a:gd name="connsiteX2271" fmla="*/ 258686 w 401077"/>
                  <a:gd name="connsiteY2271" fmla="*/ 248635 h 533771"/>
                  <a:gd name="connsiteX2272" fmla="*/ 257804 w 401077"/>
                  <a:gd name="connsiteY2272" fmla="*/ 249781 h 533771"/>
                  <a:gd name="connsiteX2273" fmla="*/ 258686 w 401077"/>
                  <a:gd name="connsiteY2273" fmla="*/ 250398 h 533771"/>
                  <a:gd name="connsiteX2274" fmla="*/ 258157 w 401077"/>
                  <a:gd name="connsiteY2274" fmla="*/ 251015 h 533771"/>
                  <a:gd name="connsiteX2275" fmla="*/ 258686 w 401077"/>
                  <a:gd name="connsiteY2275" fmla="*/ 251897 h 533771"/>
                  <a:gd name="connsiteX2276" fmla="*/ 259304 w 401077"/>
                  <a:gd name="connsiteY2276" fmla="*/ 253043 h 533771"/>
                  <a:gd name="connsiteX2277" fmla="*/ 260185 w 401077"/>
                  <a:gd name="connsiteY2277" fmla="*/ 254189 h 533771"/>
                  <a:gd name="connsiteX2278" fmla="*/ 262566 w 401077"/>
                  <a:gd name="connsiteY2278" fmla="*/ 255071 h 533771"/>
                  <a:gd name="connsiteX2279" fmla="*/ 261331 w 401077"/>
                  <a:gd name="connsiteY2279" fmla="*/ 256570 h 533771"/>
                  <a:gd name="connsiteX2280" fmla="*/ 261684 w 401077"/>
                  <a:gd name="connsiteY2280" fmla="*/ 258069 h 533771"/>
                  <a:gd name="connsiteX2281" fmla="*/ 261155 w 401077"/>
                  <a:gd name="connsiteY2281" fmla="*/ 257540 h 533771"/>
                  <a:gd name="connsiteX2282" fmla="*/ 260537 w 401077"/>
                  <a:gd name="connsiteY2282" fmla="*/ 256658 h 533771"/>
                  <a:gd name="connsiteX2283" fmla="*/ 259039 w 401077"/>
                  <a:gd name="connsiteY2283" fmla="*/ 255159 h 533771"/>
                  <a:gd name="connsiteX2284" fmla="*/ 254630 w 401077"/>
                  <a:gd name="connsiteY2284" fmla="*/ 253660 h 533771"/>
                  <a:gd name="connsiteX2285" fmla="*/ 250574 w 401077"/>
                  <a:gd name="connsiteY2285" fmla="*/ 256835 h 533771"/>
                  <a:gd name="connsiteX2286" fmla="*/ 250574 w 401077"/>
                  <a:gd name="connsiteY2286" fmla="*/ 258598 h 533771"/>
                  <a:gd name="connsiteX2287" fmla="*/ 251456 w 401077"/>
                  <a:gd name="connsiteY2287" fmla="*/ 260097 h 533771"/>
                  <a:gd name="connsiteX2288" fmla="*/ 253484 w 401077"/>
                  <a:gd name="connsiteY2288" fmla="*/ 262389 h 533771"/>
                  <a:gd name="connsiteX2289" fmla="*/ 253749 w 401077"/>
                  <a:gd name="connsiteY2289" fmla="*/ 265828 h 533771"/>
                  <a:gd name="connsiteX2290" fmla="*/ 253132 w 401077"/>
                  <a:gd name="connsiteY2290" fmla="*/ 268473 h 533771"/>
                  <a:gd name="connsiteX2291" fmla="*/ 252867 w 401077"/>
                  <a:gd name="connsiteY2291" fmla="*/ 269619 h 533771"/>
                  <a:gd name="connsiteX2292" fmla="*/ 251721 w 401077"/>
                  <a:gd name="connsiteY2292" fmla="*/ 270765 h 533771"/>
                  <a:gd name="connsiteX2293" fmla="*/ 249340 w 401077"/>
                  <a:gd name="connsiteY2293" fmla="*/ 270148 h 533771"/>
                  <a:gd name="connsiteX2294" fmla="*/ 247929 w 401077"/>
                  <a:gd name="connsiteY2294" fmla="*/ 267856 h 533771"/>
                  <a:gd name="connsiteX2295" fmla="*/ 246783 w 401077"/>
                  <a:gd name="connsiteY2295" fmla="*/ 265828 h 533771"/>
                  <a:gd name="connsiteX2296" fmla="*/ 246519 w 401077"/>
                  <a:gd name="connsiteY2296" fmla="*/ 263535 h 533771"/>
                  <a:gd name="connsiteX2297" fmla="*/ 245020 w 401077"/>
                  <a:gd name="connsiteY2297" fmla="*/ 260626 h 533771"/>
                  <a:gd name="connsiteX2298" fmla="*/ 247400 w 401077"/>
                  <a:gd name="connsiteY2298" fmla="*/ 260890 h 533771"/>
                  <a:gd name="connsiteX2299" fmla="*/ 245902 w 401077"/>
                  <a:gd name="connsiteY2299" fmla="*/ 259391 h 533771"/>
                  <a:gd name="connsiteX2300" fmla="*/ 240347 w 401077"/>
                  <a:gd name="connsiteY2300" fmla="*/ 258510 h 533771"/>
                  <a:gd name="connsiteX2301" fmla="*/ 239466 w 401077"/>
                  <a:gd name="connsiteY2301" fmla="*/ 261419 h 533771"/>
                  <a:gd name="connsiteX2302" fmla="*/ 240082 w 401077"/>
                  <a:gd name="connsiteY2302" fmla="*/ 261155 h 533771"/>
                  <a:gd name="connsiteX2303" fmla="*/ 237702 w 401077"/>
                  <a:gd name="connsiteY2303" fmla="*/ 264064 h 533771"/>
                  <a:gd name="connsiteX2304" fmla="*/ 236820 w 401077"/>
                  <a:gd name="connsiteY2304" fmla="*/ 268473 h 533771"/>
                  <a:gd name="connsiteX2305" fmla="*/ 237966 w 401077"/>
                  <a:gd name="connsiteY2305" fmla="*/ 271382 h 533771"/>
                  <a:gd name="connsiteX2306" fmla="*/ 230649 w 401077"/>
                  <a:gd name="connsiteY2306" fmla="*/ 269619 h 533771"/>
                  <a:gd name="connsiteX2307" fmla="*/ 229238 w 401077"/>
                  <a:gd name="connsiteY2307" fmla="*/ 270236 h 533771"/>
                  <a:gd name="connsiteX2308" fmla="*/ 227474 w 401077"/>
                  <a:gd name="connsiteY2308" fmla="*/ 269619 h 533771"/>
                  <a:gd name="connsiteX2309" fmla="*/ 224300 w 401077"/>
                  <a:gd name="connsiteY2309" fmla="*/ 269354 h 533771"/>
                  <a:gd name="connsiteX2310" fmla="*/ 216453 w 401077"/>
                  <a:gd name="connsiteY2310" fmla="*/ 271382 h 533771"/>
                  <a:gd name="connsiteX2311" fmla="*/ 214073 w 401077"/>
                  <a:gd name="connsiteY2311" fmla="*/ 269883 h 533771"/>
                  <a:gd name="connsiteX2312" fmla="*/ 214955 w 401077"/>
                  <a:gd name="connsiteY2312" fmla="*/ 270148 h 533771"/>
                  <a:gd name="connsiteX2313" fmla="*/ 217335 w 401077"/>
                  <a:gd name="connsiteY2313" fmla="*/ 268649 h 533771"/>
                  <a:gd name="connsiteX2314" fmla="*/ 218217 w 401077"/>
                  <a:gd name="connsiteY2314" fmla="*/ 269266 h 533771"/>
                  <a:gd name="connsiteX2315" fmla="*/ 217599 w 401077"/>
                  <a:gd name="connsiteY2315" fmla="*/ 267238 h 533771"/>
                  <a:gd name="connsiteX2316" fmla="*/ 216982 w 401077"/>
                  <a:gd name="connsiteY2316" fmla="*/ 266357 h 533771"/>
                  <a:gd name="connsiteX2317" fmla="*/ 214955 w 401077"/>
                  <a:gd name="connsiteY2317" fmla="*/ 265740 h 533771"/>
                  <a:gd name="connsiteX2318" fmla="*/ 214073 w 401077"/>
                  <a:gd name="connsiteY2318" fmla="*/ 266886 h 533771"/>
                  <a:gd name="connsiteX2319" fmla="*/ 212310 w 401077"/>
                  <a:gd name="connsiteY2319" fmla="*/ 266886 h 533771"/>
                  <a:gd name="connsiteX2320" fmla="*/ 209929 w 401077"/>
                  <a:gd name="connsiteY2320" fmla="*/ 265387 h 533771"/>
                  <a:gd name="connsiteX2321" fmla="*/ 208518 w 401077"/>
                  <a:gd name="connsiteY2321" fmla="*/ 263359 h 533771"/>
                  <a:gd name="connsiteX2322" fmla="*/ 208783 w 401077"/>
                  <a:gd name="connsiteY2322" fmla="*/ 266004 h 533771"/>
                  <a:gd name="connsiteX2323" fmla="*/ 210811 w 401077"/>
                  <a:gd name="connsiteY2323" fmla="*/ 268914 h 533771"/>
                  <a:gd name="connsiteX2324" fmla="*/ 207901 w 401077"/>
                  <a:gd name="connsiteY2324" fmla="*/ 267415 h 533771"/>
                  <a:gd name="connsiteX2325" fmla="*/ 204991 w 401077"/>
                  <a:gd name="connsiteY2325" fmla="*/ 261860 h 533771"/>
                  <a:gd name="connsiteX2326" fmla="*/ 204991 w 401077"/>
                  <a:gd name="connsiteY2326" fmla="*/ 259832 h 533771"/>
                  <a:gd name="connsiteX2327" fmla="*/ 204727 w 401077"/>
                  <a:gd name="connsiteY2327" fmla="*/ 258686 h 533771"/>
                  <a:gd name="connsiteX2328" fmla="*/ 203845 w 401077"/>
                  <a:gd name="connsiteY2328" fmla="*/ 259303 h 533771"/>
                  <a:gd name="connsiteX2329" fmla="*/ 203228 w 401077"/>
                  <a:gd name="connsiteY2329" fmla="*/ 260449 h 533771"/>
                  <a:gd name="connsiteX2330" fmla="*/ 202082 w 401077"/>
                  <a:gd name="connsiteY2330" fmla="*/ 260449 h 533771"/>
                  <a:gd name="connsiteX2331" fmla="*/ 201818 w 401077"/>
                  <a:gd name="connsiteY2331" fmla="*/ 260714 h 533771"/>
                  <a:gd name="connsiteX2332" fmla="*/ 200671 w 401077"/>
                  <a:gd name="connsiteY2332" fmla="*/ 261596 h 533771"/>
                  <a:gd name="connsiteX2333" fmla="*/ 201553 w 401077"/>
                  <a:gd name="connsiteY2333" fmla="*/ 262477 h 533771"/>
                  <a:gd name="connsiteX2334" fmla="*/ 201200 w 401077"/>
                  <a:gd name="connsiteY2334" fmla="*/ 266886 h 533771"/>
                  <a:gd name="connsiteX2335" fmla="*/ 202699 w 401077"/>
                  <a:gd name="connsiteY2335" fmla="*/ 269531 h 533771"/>
                  <a:gd name="connsiteX2336" fmla="*/ 203581 w 401077"/>
                  <a:gd name="connsiteY2336" fmla="*/ 271030 h 533771"/>
                  <a:gd name="connsiteX2337" fmla="*/ 207107 w 401077"/>
                  <a:gd name="connsiteY2337" fmla="*/ 272529 h 533771"/>
                  <a:gd name="connsiteX2338" fmla="*/ 207989 w 401077"/>
                  <a:gd name="connsiteY2338" fmla="*/ 273057 h 533771"/>
                  <a:gd name="connsiteX2339" fmla="*/ 208607 w 401077"/>
                  <a:gd name="connsiteY2339" fmla="*/ 273675 h 533771"/>
                  <a:gd name="connsiteX2340" fmla="*/ 210370 w 401077"/>
                  <a:gd name="connsiteY2340" fmla="*/ 274292 h 533771"/>
                  <a:gd name="connsiteX2341" fmla="*/ 211252 w 401077"/>
                  <a:gd name="connsiteY2341" fmla="*/ 274292 h 533771"/>
                  <a:gd name="connsiteX2342" fmla="*/ 211869 w 401077"/>
                  <a:gd name="connsiteY2342" fmla="*/ 274909 h 533771"/>
                  <a:gd name="connsiteX2343" fmla="*/ 213015 w 401077"/>
                  <a:gd name="connsiteY2343" fmla="*/ 275174 h 533771"/>
                  <a:gd name="connsiteX2344" fmla="*/ 213279 w 401077"/>
                  <a:gd name="connsiteY2344" fmla="*/ 276672 h 533771"/>
                  <a:gd name="connsiteX2345" fmla="*/ 211781 w 401077"/>
                  <a:gd name="connsiteY2345" fmla="*/ 277290 h 533771"/>
                  <a:gd name="connsiteX2346" fmla="*/ 212927 w 401077"/>
                  <a:gd name="connsiteY2346" fmla="*/ 277819 h 533771"/>
                  <a:gd name="connsiteX2347" fmla="*/ 213808 w 401077"/>
                  <a:gd name="connsiteY2347" fmla="*/ 278436 h 533771"/>
                  <a:gd name="connsiteX2348" fmla="*/ 213808 w 401077"/>
                  <a:gd name="connsiteY2348" fmla="*/ 279847 h 533771"/>
                  <a:gd name="connsiteX2349" fmla="*/ 211516 w 401077"/>
                  <a:gd name="connsiteY2349" fmla="*/ 279582 h 533771"/>
                  <a:gd name="connsiteX2350" fmla="*/ 213544 w 401077"/>
                  <a:gd name="connsiteY2350" fmla="*/ 279582 h 533771"/>
                  <a:gd name="connsiteX2351" fmla="*/ 213279 w 401077"/>
                  <a:gd name="connsiteY2351" fmla="*/ 279317 h 533771"/>
                  <a:gd name="connsiteX2352" fmla="*/ 213015 w 401077"/>
                  <a:gd name="connsiteY2352" fmla="*/ 279053 h 533771"/>
                  <a:gd name="connsiteX2353" fmla="*/ 211869 w 401077"/>
                  <a:gd name="connsiteY2353" fmla="*/ 278436 h 533771"/>
                  <a:gd name="connsiteX2354" fmla="*/ 211604 w 401077"/>
                  <a:gd name="connsiteY2354" fmla="*/ 278700 h 533771"/>
                  <a:gd name="connsiteX2355" fmla="*/ 210458 w 401077"/>
                  <a:gd name="connsiteY2355" fmla="*/ 278965 h 533771"/>
                  <a:gd name="connsiteX2356" fmla="*/ 209841 w 401077"/>
                  <a:gd name="connsiteY2356" fmla="*/ 278348 h 533771"/>
                  <a:gd name="connsiteX2357" fmla="*/ 209312 w 401077"/>
                  <a:gd name="connsiteY2357" fmla="*/ 278083 h 533771"/>
                  <a:gd name="connsiteX2358" fmla="*/ 209312 w 401077"/>
                  <a:gd name="connsiteY2358" fmla="*/ 278348 h 533771"/>
                  <a:gd name="connsiteX2359" fmla="*/ 209576 w 401077"/>
                  <a:gd name="connsiteY2359" fmla="*/ 278612 h 533771"/>
                  <a:gd name="connsiteX2360" fmla="*/ 208078 w 401077"/>
                  <a:gd name="connsiteY2360" fmla="*/ 279758 h 533771"/>
                  <a:gd name="connsiteX2361" fmla="*/ 207460 w 401077"/>
                  <a:gd name="connsiteY2361" fmla="*/ 279758 h 533771"/>
                  <a:gd name="connsiteX2362" fmla="*/ 206578 w 401077"/>
                  <a:gd name="connsiteY2362" fmla="*/ 279494 h 533771"/>
                  <a:gd name="connsiteX2363" fmla="*/ 206931 w 401077"/>
                  <a:gd name="connsiteY2363" fmla="*/ 280640 h 533771"/>
                  <a:gd name="connsiteX2364" fmla="*/ 206049 w 401077"/>
                  <a:gd name="connsiteY2364" fmla="*/ 280904 h 533771"/>
                  <a:gd name="connsiteX2365" fmla="*/ 204286 w 401077"/>
                  <a:gd name="connsiteY2365" fmla="*/ 281522 h 533771"/>
                  <a:gd name="connsiteX2366" fmla="*/ 203669 w 401077"/>
                  <a:gd name="connsiteY2366" fmla="*/ 281522 h 533771"/>
                  <a:gd name="connsiteX2367" fmla="*/ 203405 w 401077"/>
                  <a:gd name="connsiteY2367" fmla="*/ 283285 h 533771"/>
                  <a:gd name="connsiteX2368" fmla="*/ 204022 w 401077"/>
                  <a:gd name="connsiteY2368" fmla="*/ 284167 h 533771"/>
                  <a:gd name="connsiteX2369" fmla="*/ 203140 w 401077"/>
                  <a:gd name="connsiteY2369" fmla="*/ 283285 h 533771"/>
                  <a:gd name="connsiteX2370" fmla="*/ 202523 w 401077"/>
                  <a:gd name="connsiteY2370" fmla="*/ 284784 h 533771"/>
                  <a:gd name="connsiteX2371" fmla="*/ 204286 w 401077"/>
                  <a:gd name="connsiteY2371" fmla="*/ 286283 h 533771"/>
                  <a:gd name="connsiteX2372" fmla="*/ 204286 w 401077"/>
                  <a:gd name="connsiteY2372" fmla="*/ 286812 h 533771"/>
                  <a:gd name="connsiteX2373" fmla="*/ 202258 w 401077"/>
                  <a:gd name="connsiteY2373" fmla="*/ 287076 h 533771"/>
                  <a:gd name="connsiteX2374" fmla="*/ 204022 w 401077"/>
                  <a:gd name="connsiteY2374" fmla="*/ 287076 h 533771"/>
                  <a:gd name="connsiteX2375" fmla="*/ 204022 w 401077"/>
                  <a:gd name="connsiteY2375" fmla="*/ 288222 h 533771"/>
                  <a:gd name="connsiteX2376" fmla="*/ 202876 w 401077"/>
                  <a:gd name="connsiteY2376" fmla="*/ 288840 h 533771"/>
                  <a:gd name="connsiteX2377" fmla="*/ 201994 w 401077"/>
                  <a:gd name="connsiteY2377" fmla="*/ 293248 h 533771"/>
                  <a:gd name="connsiteX2378" fmla="*/ 202258 w 401077"/>
                  <a:gd name="connsiteY2378" fmla="*/ 295276 h 533771"/>
                  <a:gd name="connsiteX2379" fmla="*/ 201641 w 401077"/>
                  <a:gd name="connsiteY2379" fmla="*/ 296422 h 533771"/>
                  <a:gd name="connsiteX2380" fmla="*/ 202523 w 401077"/>
                  <a:gd name="connsiteY2380" fmla="*/ 297039 h 533771"/>
                  <a:gd name="connsiteX2381" fmla="*/ 201641 w 401077"/>
                  <a:gd name="connsiteY2381" fmla="*/ 297921 h 533771"/>
                  <a:gd name="connsiteX2382" fmla="*/ 200142 w 401077"/>
                  <a:gd name="connsiteY2382" fmla="*/ 299420 h 533771"/>
                  <a:gd name="connsiteX2383" fmla="*/ 200142 w 401077"/>
                  <a:gd name="connsiteY2383" fmla="*/ 300390 h 533771"/>
                  <a:gd name="connsiteX2384" fmla="*/ 201289 w 401077"/>
                  <a:gd name="connsiteY2384" fmla="*/ 299773 h 533771"/>
                  <a:gd name="connsiteX2385" fmla="*/ 201024 w 401077"/>
                  <a:gd name="connsiteY2385" fmla="*/ 299773 h 533771"/>
                  <a:gd name="connsiteX2386" fmla="*/ 200407 w 401077"/>
                  <a:gd name="connsiteY2386" fmla="*/ 299508 h 533771"/>
                  <a:gd name="connsiteX2387" fmla="*/ 200407 w 401077"/>
                  <a:gd name="connsiteY2387" fmla="*/ 299244 h 533771"/>
                  <a:gd name="connsiteX2388" fmla="*/ 201289 w 401077"/>
                  <a:gd name="connsiteY2388" fmla="*/ 299244 h 533771"/>
                  <a:gd name="connsiteX2389" fmla="*/ 201641 w 401077"/>
                  <a:gd name="connsiteY2389" fmla="*/ 299508 h 533771"/>
                  <a:gd name="connsiteX2390" fmla="*/ 201289 w 401077"/>
                  <a:gd name="connsiteY2390" fmla="*/ 299773 h 533771"/>
                  <a:gd name="connsiteX2391" fmla="*/ 291132 w 401077"/>
                  <a:gd name="connsiteY2391" fmla="*/ 307355 h 533771"/>
                  <a:gd name="connsiteX2392" fmla="*/ 290250 w 401077"/>
                  <a:gd name="connsiteY2392" fmla="*/ 307090 h 533771"/>
                  <a:gd name="connsiteX2393" fmla="*/ 289369 w 401077"/>
                  <a:gd name="connsiteY2393" fmla="*/ 306209 h 533771"/>
                  <a:gd name="connsiteX2394" fmla="*/ 288487 w 401077"/>
                  <a:gd name="connsiteY2394" fmla="*/ 305592 h 533771"/>
                  <a:gd name="connsiteX2395" fmla="*/ 288222 w 401077"/>
                  <a:gd name="connsiteY2395" fmla="*/ 304710 h 533771"/>
                  <a:gd name="connsiteX2396" fmla="*/ 289369 w 401077"/>
                  <a:gd name="connsiteY2396" fmla="*/ 304974 h 533771"/>
                  <a:gd name="connsiteX2397" fmla="*/ 290250 w 401077"/>
                  <a:gd name="connsiteY2397" fmla="*/ 305592 h 533771"/>
                  <a:gd name="connsiteX2398" fmla="*/ 291132 w 401077"/>
                  <a:gd name="connsiteY2398" fmla="*/ 306209 h 533771"/>
                  <a:gd name="connsiteX2399" fmla="*/ 291132 w 401077"/>
                  <a:gd name="connsiteY2399" fmla="*/ 306826 h 533771"/>
                  <a:gd name="connsiteX2400" fmla="*/ 291132 w 401077"/>
                  <a:gd name="connsiteY2400" fmla="*/ 307355 h 533771"/>
                  <a:gd name="connsiteX2401" fmla="*/ 286459 w 401077"/>
                  <a:gd name="connsiteY2401" fmla="*/ 308237 h 533771"/>
                  <a:gd name="connsiteX2402" fmla="*/ 285842 w 401077"/>
                  <a:gd name="connsiteY2402" fmla="*/ 307972 h 533771"/>
                  <a:gd name="connsiteX2403" fmla="*/ 286459 w 401077"/>
                  <a:gd name="connsiteY2403" fmla="*/ 308237 h 533771"/>
                  <a:gd name="connsiteX2404" fmla="*/ 294923 w 401077"/>
                  <a:gd name="connsiteY2404" fmla="*/ 325165 h 533771"/>
                  <a:gd name="connsiteX2405" fmla="*/ 294306 w 401077"/>
                  <a:gd name="connsiteY2405" fmla="*/ 324548 h 533771"/>
                  <a:gd name="connsiteX2406" fmla="*/ 295188 w 401077"/>
                  <a:gd name="connsiteY2406" fmla="*/ 324812 h 533771"/>
                  <a:gd name="connsiteX2407" fmla="*/ 294923 w 401077"/>
                  <a:gd name="connsiteY2407" fmla="*/ 325165 h 533771"/>
                  <a:gd name="connsiteX2408" fmla="*/ 326664 w 401077"/>
                  <a:gd name="connsiteY2408" fmla="*/ 374451 h 533771"/>
                  <a:gd name="connsiteX2409" fmla="*/ 326135 w 401077"/>
                  <a:gd name="connsiteY2409" fmla="*/ 374451 h 533771"/>
                  <a:gd name="connsiteX2410" fmla="*/ 326400 w 401077"/>
                  <a:gd name="connsiteY2410" fmla="*/ 374098 h 533771"/>
                  <a:gd name="connsiteX2411" fmla="*/ 326664 w 401077"/>
                  <a:gd name="connsiteY2411" fmla="*/ 374451 h 533771"/>
                  <a:gd name="connsiteX2412" fmla="*/ 390322 w 401077"/>
                  <a:gd name="connsiteY2412" fmla="*/ 444721 h 533771"/>
                  <a:gd name="connsiteX2413" fmla="*/ 390322 w 401077"/>
                  <a:gd name="connsiteY2413" fmla="*/ 444721 h 533771"/>
                  <a:gd name="connsiteX2414" fmla="*/ 390057 w 401077"/>
                  <a:gd name="connsiteY2414" fmla="*/ 444721 h 533771"/>
                  <a:gd name="connsiteX2415" fmla="*/ 390057 w 401077"/>
                  <a:gd name="connsiteY2415" fmla="*/ 444369 h 533771"/>
                  <a:gd name="connsiteX2416" fmla="*/ 390322 w 401077"/>
                  <a:gd name="connsiteY2416" fmla="*/ 444369 h 533771"/>
                  <a:gd name="connsiteX2417" fmla="*/ 390322 w 401077"/>
                  <a:gd name="connsiteY2417" fmla="*/ 444721 h 533771"/>
                  <a:gd name="connsiteX2418" fmla="*/ 391732 w 401077"/>
                  <a:gd name="connsiteY2418" fmla="*/ 446220 h 533771"/>
                  <a:gd name="connsiteX2419" fmla="*/ 391468 w 401077"/>
                  <a:gd name="connsiteY2419" fmla="*/ 445956 h 533771"/>
                  <a:gd name="connsiteX2420" fmla="*/ 391468 w 401077"/>
                  <a:gd name="connsiteY2420" fmla="*/ 445691 h 533771"/>
                  <a:gd name="connsiteX2421" fmla="*/ 391732 w 401077"/>
                  <a:gd name="connsiteY2421" fmla="*/ 445956 h 533771"/>
                  <a:gd name="connsiteX2422" fmla="*/ 391732 w 401077"/>
                  <a:gd name="connsiteY2422" fmla="*/ 446220 h 533771"/>
                  <a:gd name="connsiteX2423" fmla="*/ 393231 w 401077"/>
                  <a:gd name="connsiteY2423" fmla="*/ 449394 h 533771"/>
                  <a:gd name="connsiteX2424" fmla="*/ 392967 w 401077"/>
                  <a:gd name="connsiteY2424" fmla="*/ 449130 h 533771"/>
                  <a:gd name="connsiteX2425" fmla="*/ 393231 w 401077"/>
                  <a:gd name="connsiteY2425" fmla="*/ 449130 h 533771"/>
                  <a:gd name="connsiteX2426" fmla="*/ 393231 w 401077"/>
                  <a:gd name="connsiteY2426" fmla="*/ 449394 h 533771"/>
                  <a:gd name="connsiteX2427" fmla="*/ 395523 w 401077"/>
                  <a:gd name="connsiteY2427" fmla="*/ 457858 h 533771"/>
                  <a:gd name="connsiteX2428" fmla="*/ 395259 w 401077"/>
                  <a:gd name="connsiteY2428" fmla="*/ 457858 h 533771"/>
                  <a:gd name="connsiteX2429" fmla="*/ 395259 w 401077"/>
                  <a:gd name="connsiteY2429" fmla="*/ 457594 h 533771"/>
                  <a:gd name="connsiteX2430" fmla="*/ 395259 w 401077"/>
                  <a:gd name="connsiteY2430" fmla="*/ 456977 h 533771"/>
                  <a:gd name="connsiteX2431" fmla="*/ 395523 w 401077"/>
                  <a:gd name="connsiteY2431" fmla="*/ 457241 h 533771"/>
                  <a:gd name="connsiteX2432" fmla="*/ 395523 w 401077"/>
                  <a:gd name="connsiteY2432" fmla="*/ 457506 h 533771"/>
                  <a:gd name="connsiteX2433" fmla="*/ 395523 w 401077"/>
                  <a:gd name="connsiteY2433" fmla="*/ 457858 h 533771"/>
                  <a:gd name="connsiteX2434" fmla="*/ 396405 w 401077"/>
                  <a:gd name="connsiteY2434" fmla="*/ 459005 h 533771"/>
                  <a:gd name="connsiteX2435" fmla="*/ 396140 w 401077"/>
                  <a:gd name="connsiteY2435" fmla="*/ 458740 h 533771"/>
                  <a:gd name="connsiteX2436" fmla="*/ 395876 w 401077"/>
                  <a:gd name="connsiteY2436" fmla="*/ 458740 h 533771"/>
                  <a:gd name="connsiteX2437" fmla="*/ 395611 w 401077"/>
                  <a:gd name="connsiteY2437" fmla="*/ 458123 h 533771"/>
                  <a:gd name="connsiteX2438" fmla="*/ 395876 w 401077"/>
                  <a:gd name="connsiteY2438" fmla="*/ 458123 h 533771"/>
                  <a:gd name="connsiteX2439" fmla="*/ 396140 w 401077"/>
                  <a:gd name="connsiteY2439" fmla="*/ 458387 h 533771"/>
                  <a:gd name="connsiteX2440" fmla="*/ 396405 w 401077"/>
                  <a:gd name="connsiteY2440" fmla="*/ 458652 h 533771"/>
                  <a:gd name="connsiteX2441" fmla="*/ 396758 w 401077"/>
                  <a:gd name="connsiteY2441" fmla="*/ 458916 h 533771"/>
                  <a:gd name="connsiteX2442" fmla="*/ 396405 w 401077"/>
                  <a:gd name="connsiteY2442" fmla="*/ 458916 h 533771"/>
                  <a:gd name="connsiteX2443" fmla="*/ 396140 w 401077"/>
                  <a:gd name="connsiteY2443" fmla="*/ 460768 h 533771"/>
                  <a:gd name="connsiteX2444" fmla="*/ 396140 w 401077"/>
                  <a:gd name="connsiteY2444" fmla="*/ 460415 h 533771"/>
                  <a:gd name="connsiteX2445" fmla="*/ 396140 w 401077"/>
                  <a:gd name="connsiteY2445" fmla="*/ 460768 h 533771"/>
                  <a:gd name="connsiteX2446" fmla="*/ 397287 w 401077"/>
                  <a:gd name="connsiteY2446" fmla="*/ 460768 h 533771"/>
                  <a:gd name="connsiteX2447" fmla="*/ 397022 w 401077"/>
                  <a:gd name="connsiteY2447" fmla="*/ 460415 h 533771"/>
                  <a:gd name="connsiteX2448" fmla="*/ 396758 w 401077"/>
                  <a:gd name="connsiteY2448" fmla="*/ 460415 h 533771"/>
                  <a:gd name="connsiteX2449" fmla="*/ 396405 w 401077"/>
                  <a:gd name="connsiteY2449" fmla="*/ 460415 h 533771"/>
                  <a:gd name="connsiteX2450" fmla="*/ 396140 w 401077"/>
                  <a:gd name="connsiteY2450" fmla="*/ 460151 h 533771"/>
                  <a:gd name="connsiteX2451" fmla="*/ 396140 w 401077"/>
                  <a:gd name="connsiteY2451" fmla="*/ 459886 h 533771"/>
                  <a:gd name="connsiteX2452" fmla="*/ 396405 w 401077"/>
                  <a:gd name="connsiteY2452" fmla="*/ 459622 h 533771"/>
                  <a:gd name="connsiteX2453" fmla="*/ 396140 w 401077"/>
                  <a:gd name="connsiteY2453" fmla="*/ 459357 h 533771"/>
                  <a:gd name="connsiteX2454" fmla="*/ 395876 w 401077"/>
                  <a:gd name="connsiteY2454" fmla="*/ 459093 h 533771"/>
                  <a:gd name="connsiteX2455" fmla="*/ 396758 w 401077"/>
                  <a:gd name="connsiteY2455" fmla="*/ 459357 h 533771"/>
                  <a:gd name="connsiteX2456" fmla="*/ 396758 w 401077"/>
                  <a:gd name="connsiteY2456" fmla="*/ 459622 h 533771"/>
                  <a:gd name="connsiteX2457" fmla="*/ 397022 w 401077"/>
                  <a:gd name="connsiteY2457" fmla="*/ 459886 h 533771"/>
                  <a:gd name="connsiteX2458" fmla="*/ 397287 w 401077"/>
                  <a:gd name="connsiteY2458" fmla="*/ 460151 h 533771"/>
                  <a:gd name="connsiteX2459" fmla="*/ 397022 w 401077"/>
                  <a:gd name="connsiteY2459" fmla="*/ 460151 h 533771"/>
                  <a:gd name="connsiteX2460" fmla="*/ 397287 w 401077"/>
                  <a:gd name="connsiteY2460" fmla="*/ 460768 h 533771"/>
                  <a:gd name="connsiteX2461" fmla="*/ 399667 w 401077"/>
                  <a:gd name="connsiteY2461" fmla="*/ 471613 h 533771"/>
                  <a:gd name="connsiteX2462" fmla="*/ 399314 w 401077"/>
                  <a:gd name="connsiteY2462" fmla="*/ 471348 h 533771"/>
                  <a:gd name="connsiteX2463" fmla="*/ 399050 w 401077"/>
                  <a:gd name="connsiteY2463" fmla="*/ 470731 h 533771"/>
                  <a:gd name="connsiteX2464" fmla="*/ 398698 w 401077"/>
                  <a:gd name="connsiteY2464" fmla="*/ 470466 h 533771"/>
                  <a:gd name="connsiteX2465" fmla="*/ 398433 w 401077"/>
                  <a:gd name="connsiteY2465" fmla="*/ 470202 h 533771"/>
                  <a:gd name="connsiteX2466" fmla="*/ 398169 w 401077"/>
                  <a:gd name="connsiteY2466" fmla="*/ 469938 h 533771"/>
                  <a:gd name="connsiteX2467" fmla="*/ 397551 w 401077"/>
                  <a:gd name="connsiteY2467" fmla="*/ 469056 h 533771"/>
                  <a:gd name="connsiteX2468" fmla="*/ 398169 w 401077"/>
                  <a:gd name="connsiteY2468" fmla="*/ 469320 h 533771"/>
                  <a:gd name="connsiteX2469" fmla="*/ 398169 w 401077"/>
                  <a:gd name="connsiteY2469" fmla="*/ 469056 h 533771"/>
                  <a:gd name="connsiteX2470" fmla="*/ 398433 w 401077"/>
                  <a:gd name="connsiteY2470" fmla="*/ 469320 h 533771"/>
                  <a:gd name="connsiteX2471" fmla="*/ 398433 w 401077"/>
                  <a:gd name="connsiteY2471" fmla="*/ 469585 h 533771"/>
                  <a:gd name="connsiteX2472" fmla="*/ 398698 w 401077"/>
                  <a:gd name="connsiteY2472" fmla="*/ 469585 h 533771"/>
                  <a:gd name="connsiteX2473" fmla="*/ 399050 w 401077"/>
                  <a:gd name="connsiteY2473" fmla="*/ 470466 h 533771"/>
                  <a:gd name="connsiteX2474" fmla="*/ 399314 w 401077"/>
                  <a:gd name="connsiteY2474" fmla="*/ 470202 h 533771"/>
                  <a:gd name="connsiteX2475" fmla="*/ 399314 w 401077"/>
                  <a:gd name="connsiteY2475" fmla="*/ 470466 h 533771"/>
                  <a:gd name="connsiteX2476" fmla="*/ 399314 w 401077"/>
                  <a:gd name="connsiteY2476" fmla="*/ 471084 h 533771"/>
                  <a:gd name="connsiteX2477" fmla="*/ 399667 w 401077"/>
                  <a:gd name="connsiteY2477" fmla="*/ 471613 h 533771"/>
                  <a:gd name="connsiteX2478" fmla="*/ 398698 w 401077"/>
                  <a:gd name="connsiteY2478" fmla="*/ 471613 h 533771"/>
                  <a:gd name="connsiteX2479" fmla="*/ 398698 w 401077"/>
                  <a:gd name="connsiteY2479" fmla="*/ 471877 h 533771"/>
                  <a:gd name="connsiteX2480" fmla="*/ 398433 w 401077"/>
                  <a:gd name="connsiteY2480" fmla="*/ 471260 h 533771"/>
                  <a:gd name="connsiteX2481" fmla="*/ 398698 w 401077"/>
                  <a:gd name="connsiteY2481" fmla="*/ 471613 h 533771"/>
                  <a:gd name="connsiteX2482" fmla="*/ 399314 w 401077"/>
                  <a:gd name="connsiteY2482" fmla="*/ 472142 h 533771"/>
                  <a:gd name="connsiteX2483" fmla="*/ 399050 w 401077"/>
                  <a:gd name="connsiteY2483" fmla="*/ 472142 h 533771"/>
                  <a:gd name="connsiteX2484" fmla="*/ 399314 w 401077"/>
                  <a:gd name="connsiteY2484" fmla="*/ 472142 h 533771"/>
                  <a:gd name="connsiteX2485" fmla="*/ 401078 w 401077"/>
                  <a:gd name="connsiteY2485" fmla="*/ 472406 h 533771"/>
                  <a:gd name="connsiteX2486" fmla="*/ 400814 w 401077"/>
                  <a:gd name="connsiteY2486" fmla="*/ 472406 h 533771"/>
                  <a:gd name="connsiteX2487" fmla="*/ 401078 w 401077"/>
                  <a:gd name="connsiteY2487" fmla="*/ 472406 h 533771"/>
                  <a:gd name="connsiteX2488" fmla="*/ 399667 w 401077"/>
                  <a:gd name="connsiteY2488" fmla="*/ 473023 h 533771"/>
                  <a:gd name="connsiteX2489" fmla="*/ 399314 w 401077"/>
                  <a:gd name="connsiteY2489" fmla="*/ 473023 h 533771"/>
                  <a:gd name="connsiteX2490" fmla="*/ 399667 w 401077"/>
                  <a:gd name="connsiteY2490" fmla="*/ 472759 h 533771"/>
                  <a:gd name="connsiteX2491" fmla="*/ 399667 w 401077"/>
                  <a:gd name="connsiteY2491" fmla="*/ 473023 h 533771"/>
                  <a:gd name="connsiteX2492" fmla="*/ 400814 w 401077"/>
                  <a:gd name="connsiteY2492" fmla="*/ 472759 h 533771"/>
                  <a:gd name="connsiteX2493" fmla="*/ 400549 w 401077"/>
                  <a:gd name="connsiteY2493" fmla="*/ 472759 h 533771"/>
                  <a:gd name="connsiteX2494" fmla="*/ 400814 w 401077"/>
                  <a:gd name="connsiteY2494" fmla="*/ 472759 h 533771"/>
                  <a:gd name="connsiteX2495" fmla="*/ 389440 w 401077"/>
                  <a:gd name="connsiteY2495" fmla="*/ 501061 h 533771"/>
                  <a:gd name="connsiteX2496" fmla="*/ 389175 w 401077"/>
                  <a:gd name="connsiteY2496" fmla="*/ 501061 h 533771"/>
                  <a:gd name="connsiteX2497" fmla="*/ 389175 w 401077"/>
                  <a:gd name="connsiteY2497" fmla="*/ 500444 h 533771"/>
                  <a:gd name="connsiteX2498" fmla="*/ 389440 w 401077"/>
                  <a:gd name="connsiteY2498" fmla="*/ 501061 h 533771"/>
                  <a:gd name="connsiteX2499" fmla="*/ 394113 w 401077"/>
                  <a:gd name="connsiteY2499" fmla="*/ 517989 h 533771"/>
                  <a:gd name="connsiteX2500" fmla="*/ 393760 w 401077"/>
                  <a:gd name="connsiteY2500" fmla="*/ 517725 h 533771"/>
                  <a:gd name="connsiteX2501" fmla="*/ 394113 w 401077"/>
                  <a:gd name="connsiteY2501" fmla="*/ 517196 h 533771"/>
                  <a:gd name="connsiteX2502" fmla="*/ 394377 w 401077"/>
                  <a:gd name="connsiteY2502" fmla="*/ 516579 h 533771"/>
                  <a:gd name="connsiteX2503" fmla="*/ 394730 w 401077"/>
                  <a:gd name="connsiteY2503" fmla="*/ 516579 h 533771"/>
                  <a:gd name="connsiteX2504" fmla="*/ 394994 w 401077"/>
                  <a:gd name="connsiteY2504" fmla="*/ 517196 h 533771"/>
                  <a:gd name="connsiteX2505" fmla="*/ 394994 w 401077"/>
                  <a:gd name="connsiteY2505" fmla="*/ 517460 h 533771"/>
                  <a:gd name="connsiteX2506" fmla="*/ 394377 w 401077"/>
                  <a:gd name="connsiteY2506" fmla="*/ 517725 h 533771"/>
                  <a:gd name="connsiteX2507" fmla="*/ 394113 w 401077"/>
                  <a:gd name="connsiteY2507" fmla="*/ 517989 h 533771"/>
                  <a:gd name="connsiteX2508" fmla="*/ 401078 w 401077"/>
                  <a:gd name="connsiteY2508" fmla="*/ 531038 h 533771"/>
                  <a:gd name="connsiteX2509" fmla="*/ 400549 w 401077"/>
                  <a:gd name="connsiteY2509" fmla="*/ 530774 h 533771"/>
                  <a:gd name="connsiteX2510" fmla="*/ 400814 w 401077"/>
                  <a:gd name="connsiteY2510" fmla="*/ 530509 h 533771"/>
                  <a:gd name="connsiteX2511" fmla="*/ 401078 w 401077"/>
                  <a:gd name="connsiteY2511" fmla="*/ 531038 h 533771"/>
                  <a:gd name="connsiteX2512" fmla="*/ 154912 w 401077"/>
                  <a:gd name="connsiteY2512" fmla="*/ 274380 h 533771"/>
                  <a:gd name="connsiteX2513" fmla="*/ 154647 w 401077"/>
                  <a:gd name="connsiteY2513" fmla="*/ 274115 h 533771"/>
                  <a:gd name="connsiteX2514" fmla="*/ 155177 w 401077"/>
                  <a:gd name="connsiteY2514" fmla="*/ 274115 h 533771"/>
                  <a:gd name="connsiteX2515" fmla="*/ 155177 w 401077"/>
                  <a:gd name="connsiteY2515" fmla="*/ 274380 h 533771"/>
                  <a:gd name="connsiteX2516" fmla="*/ 154912 w 401077"/>
                  <a:gd name="connsiteY2516" fmla="*/ 274380 h 533771"/>
                  <a:gd name="connsiteX2517" fmla="*/ 154295 w 401077"/>
                  <a:gd name="connsiteY2517" fmla="*/ 274115 h 533771"/>
                  <a:gd name="connsiteX2518" fmla="*/ 154030 w 401077"/>
                  <a:gd name="connsiteY2518" fmla="*/ 274115 h 533771"/>
                  <a:gd name="connsiteX2519" fmla="*/ 153766 w 401077"/>
                  <a:gd name="connsiteY2519" fmla="*/ 274115 h 533771"/>
                  <a:gd name="connsiteX2520" fmla="*/ 154295 w 401077"/>
                  <a:gd name="connsiteY2520" fmla="*/ 274115 h 533771"/>
                  <a:gd name="connsiteX2521" fmla="*/ 153501 w 401077"/>
                  <a:gd name="connsiteY2521" fmla="*/ 274380 h 533771"/>
                  <a:gd name="connsiteX2522" fmla="*/ 152884 w 401077"/>
                  <a:gd name="connsiteY2522" fmla="*/ 274115 h 533771"/>
                  <a:gd name="connsiteX2523" fmla="*/ 152267 w 401077"/>
                  <a:gd name="connsiteY2523" fmla="*/ 274115 h 533771"/>
                  <a:gd name="connsiteX2524" fmla="*/ 152619 w 401077"/>
                  <a:gd name="connsiteY2524" fmla="*/ 273851 h 533771"/>
                  <a:gd name="connsiteX2525" fmla="*/ 152884 w 401077"/>
                  <a:gd name="connsiteY2525" fmla="*/ 273586 h 533771"/>
                  <a:gd name="connsiteX2526" fmla="*/ 153237 w 401077"/>
                  <a:gd name="connsiteY2526" fmla="*/ 273851 h 533771"/>
                  <a:gd name="connsiteX2527" fmla="*/ 153766 w 401077"/>
                  <a:gd name="connsiteY2527" fmla="*/ 274115 h 533771"/>
                  <a:gd name="connsiteX2528" fmla="*/ 153501 w 401077"/>
                  <a:gd name="connsiteY2528" fmla="*/ 274380 h 533771"/>
                  <a:gd name="connsiteX2529" fmla="*/ 157293 w 401077"/>
                  <a:gd name="connsiteY2529" fmla="*/ 275614 h 533771"/>
                  <a:gd name="connsiteX2530" fmla="*/ 157028 w 401077"/>
                  <a:gd name="connsiteY2530" fmla="*/ 275350 h 533771"/>
                  <a:gd name="connsiteX2531" fmla="*/ 157028 w 401077"/>
                  <a:gd name="connsiteY2531" fmla="*/ 275085 h 533771"/>
                  <a:gd name="connsiteX2532" fmla="*/ 156764 w 401077"/>
                  <a:gd name="connsiteY2532" fmla="*/ 274821 h 533771"/>
                  <a:gd name="connsiteX2533" fmla="*/ 156499 w 401077"/>
                  <a:gd name="connsiteY2533" fmla="*/ 274204 h 533771"/>
                  <a:gd name="connsiteX2534" fmla="*/ 156235 w 401077"/>
                  <a:gd name="connsiteY2534" fmla="*/ 274204 h 533771"/>
                  <a:gd name="connsiteX2535" fmla="*/ 155706 w 401077"/>
                  <a:gd name="connsiteY2535" fmla="*/ 273939 h 533771"/>
                  <a:gd name="connsiteX2536" fmla="*/ 154824 w 401077"/>
                  <a:gd name="connsiteY2536" fmla="*/ 273675 h 533771"/>
                  <a:gd name="connsiteX2537" fmla="*/ 154559 w 401077"/>
                  <a:gd name="connsiteY2537" fmla="*/ 273057 h 533771"/>
                  <a:gd name="connsiteX2538" fmla="*/ 155177 w 401077"/>
                  <a:gd name="connsiteY2538" fmla="*/ 273057 h 533771"/>
                  <a:gd name="connsiteX2539" fmla="*/ 155793 w 401077"/>
                  <a:gd name="connsiteY2539" fmla="*/ 273057 h 533771"/>
                  <a:gd name="connsiteX2540" fmla="*/ 156322 w 401077"/>
                  <a:gd name="connsiteY2540" fmla="*/ 272793 h 533771"/>
                  <a:gd name="connsiteX2541" fmla="*/ 156940 w 401077"/>
                  <a:gd name="connsiteY2541" fmla="*/ 272529 h 533771"/>
                  <a:gd name="connsiteX2542" fmla="*/ 157557 w 401077"/>
                  <a:gd name="connsiteY2542" fmla="*/ 271911 h 533771"/>
                  <a:gd name="connsiteX2543" fmla="*/ 158086 w 401077"/>
                  <a:gd name="connsiteY2543" fmla="*/ 272264 h 533771"/>
                  <a:gd name="connsiteX2544" fmla="*/ 158351 w 401077"/>
                  <a:gd name="connsiteY2544" fmla="*/ 272264 h 533771"/>
                  <a:gd name="connsiteX2545" fmla="*/ 158351 w 401077"/>
                  <a:gd name="connsiteY2545" fmla="*/ 272529 h 533771"/>
                  <a:gd name="connsiteX2546" fmla="*/ 158703 w 401077"/>
                  <a:gd name="connsiteY2546" fmla="*/ 273057 h 533771"/>
                  <a:gd name="connsiteX2547" fmla="*/ 158968 w 401077"/>
                  <a:gd name="connsiteY2547" fmla="*/ 273675 h 533771"/>
                  <a:gd name="connsiteX2548" fmla="*/ 158968 w 401077"/>
                  <a:gd name="connsiteY2548" fmla="*/ 273939 h 533771"/>
                  <a:gd name="connsiteX2549" fmla="*/ 159232 w 401077"/>
                  <a:gd name="connsiteY2549" fmla="*/ 274556 h 533771"/>
                  <a:gd name="connsiteX2550" fmla="*/ 159232 w 401077"/>
                  <a:gd name="connsiteY2550" fmla="*/ 275174 h 533771"/>
                  <a:gd name="connsiteX2551" fmla="*/ 158968 w 401077"/>
                  <a:gd name="connsiteY2551" fmla="*/ 275174 h 533771"/>
                  <a:gd name="connsiteX2552" fmla="*/ 158351 w 401077"/>
                  <a:gd name="connsiteY2552" fmla="*/ 274909 h 533771"/>
                  <a:gd name="connsiteX2553" fmla="*/ 158351 w 401077"/>
                  <a:gd name="connsiteY2553" fmla="*/ 275174 h 533771"/>
                  <a:gd name="connsiteX2554" fmla="*/ 158086 w 401077"/>
                  <a:gd name="connsiteY2554" fmla="*/ 275174 h 533771"/>
                  <a:gd name="connsiteX2555" fmla="*/ 157822 w 401077"/>
                  <a:gd name="connsiteY2555" fmla="*/ 274909 h 533771"/>
                  <a:gd name="connsiteX2556" fmla="*/ 158086 w 401077"/>
                  <a:gd name="connsiteY2556" fmla="*/ 274644 h 533771"/>
                  <a:gd name="connsiteX2557" fmla="*/ 158351 w 401077"/>
                  <a:gd name="connsiteY2557" fmla="*/ 274644 h 533771"/>
                  <a:gd name="connsiteX2558" fmla="*/ 158086 w 401077"/>
                  <a:gd name="connsiteY2558" fmla="*/ 274380 h 533771"/>
                  <a:gd name="connsiteX2559" fmla="*/ 157557 w 401077"/>
                  <a:gd name="connsiteY2559" fmla="*/ 274644 h 533771"/>
                  <a:gd name="connsiteX2560" fmla="*/ 157557 w 401077"/>
                  <a:gd name="connsiteY2560" fmla="*/ 275262 h 533771"/>
                  <a:gd name="connsiteX2561" fmla="*/ 157557 w 401077"/>
                  <a:gd name="connsiteY2561" fmla="*/ 275614 h 533771"/>
                  <a:gd name="connsiteX2562" fmla="*/ 153501 w 401077"/>
                  <a:gd name="connsiteY2562" fmla="*/ 275614 h 533771"/>
                  <a:gd name="connsiteX2563" fmla="*/ 153501 w 401077"/>
                  <a:gd name="connsiteY2563" fmla="*/ 275614 h 533771"/>
                  <a:gd name="connsiteX2564" fmla="*/ 153501 w 401077"/>
                  <a:gd name="connsiteY2564" fmla="*/ 275350 h 533771"/>
                  <a:gd name="connsiteX2565" fmla="*/ 153501 w 401077"/>
                  <a:gd name="connsiteY2565" fmla="*/ 275614 h 533771"/>
                  <a:gd name="connsiteX2566" fmla="*/ 154647 w 401077"/>
                  <a:gd name="connsiteY2566" fmla="*/ 275879 h 533771"/>
                  <a:gd name="connsiteX2567" fmla="*/ 154383 w 401077"/>
                  <a:gd name="connsiteY2567" fmla="*/ 275879 h 533771"/>
                  <a:gd name="connsiteX2568" fmla="*/ 154647 w 401077"/>
                  <a:gd name="connsiteY2568" fmla="*/ 275879 h 533771"/>
                  <a:gd name="connsiteX2569" fmla="*/ 153501 w 401077"/>
                  <a:gd name="connsiteY2569" fmla="*/ 276496 h 533771"/>
                  <a:gd name="connsiteX2570" fmla="*/ 153501 w 401077"/>
                  <a:gd name="connsiteY2570" fmla="*/ 276232 h 533771"/>
                  <a:gd name="connsiteX2571" fmla="*/ 153501 w 401077"/>
                  <a:gd name="connsiteY2571" fmla="*/ 276496 h 533771"/>
                  <a:gd name="connsiteX2572" fmla="*/ 146183 w 401077"/>
                  <a:gd name="connsiteY2572" fmla="*/ 279670 h 533771"/>
                  <a:gd name="connsiteX2573" fmla="*/ 145919 w 401077"/>
                  <a:gd name="connsiteY2573" fmla="*/ 279053 h 533771"/>
                  <a:gd name="connsiteX2574" fmla="*/ 145919 w 401077"/>
                  <a:gd name="connsiteY2574" fmla="*/ 278788 h 533771"/>
                  <a:gd name="connsiteX2575" fmla="*/ 146183 w 401077"/>
                  <a:gd name="connsiteY2575" fmla="*/ 279406 h 533771"/>
                  <a:gd name="connsiteX2576" fmla="*/ 146448 w 401077"/>
                  <a:gd name="connsiteY2576" fmla="*/ 279141 h 533771"/>
                  <a:gd name="connsiteX2577" fmla="*/ 146183 w 401077"/>
                  <a:gd name="connsiteY2577" fmla="*/ 279406 h 533771"/>
                  <a:gd name="connsiteX2578" fmla="*/ 146183 w 401077"/>
                  <a:gd name="connsiteY2578" fmla="*/ 279670 h 533771"/>
                  <a:gd name="connsiteX2579" fmla="*/ 147330 w 401077"/>
                  <a:gd name="connsiteY2579" fmla="*/ 279406 h 533771"/>
                  <a:gd name="connsiteX2580" fmla="*/ 147065 w 401077"/>
                  <a:gd name="connsiteY2580" fmla="*/ 279406 h 533771"/>
                  <a:gd name="connsiteX2581" fmla="*/ 147330 w 401077"/>
                  <a:gd name="connsiteY2581" fmla="*/ 279406 h 533771"/>
                  <a:gd name="connsiteX2582" fmla="*/ 167785 w 401077"/>
                  <a:gd name="connsiteY2582" fmla="*/ 281433 h 533771"/>
                  <a:gd name="connsiteX2583" fmla="*/ 167167 w 401077"/>
                  <a:gd name="connsiteY2583" fmla="*/ 281169 h 533771"/>
                  <a:gd name="connsiteX2584" fmla="*/ 167167 w 401077"/>
                  <a:gd name="connsiteY2584" fmla="*/ 280904 h 533771"/>
                  <a:gd name="connsiteX2585" fmla="*/ 167520 w 401077"/>
                  <a:gd name="connsiteY2585" fmla="*/ 280640 h 533771"/>
                  <a:gd name="connsiteX2586" fmla="*/ 167167 w 401077"/>
                  <a:gd name="connsiteY2586" fmla="*/ 280375 h 533771"/>
                  <a:gd name="connsiteX2587" fmla="*/ 167785 w 401077"/>
                  <a:gd name="connsiteY2587" fmla="*/ 280904 h 533771"/>
                  <a:gd name="connsiteX2588" fmla="*/ 167785 w 401077"/>
                  <a:gd name="connsiteY2588" fmla="*/ 281433 h 533771"/>
                  <a:gd name="connsiteX2589" fmla="*/ 145830 w 401077"/>
                  <a:gd name="connsiteY2589" fmla="*/ 283109 h 533771"/>
                  <a:gd name="connsiteX2590" fmla="*/ 145566 w 401077"/>
                  <a:gd name="connsiteY2590" fmla="*/ 282844 h 533771"/>
                  <a:gd name="connsiteX2591" fmla="*/ 145830 w 401077"/>
                  <a:gd name="connsiteY2591" fmla="*/ 282844 h 533771"/>
                  <a:gd name="connsiteX2592" fmla="*/ 145830 w 401077"/>
                  <a:gd name="connsiteY2592" fmla="*/ 283109 h 533771"/>
                  <a:gd name="connsiteX2593" fmla="*/ 128373 w 401077"/>
                  <a:gd name="connsiteY2593" fmla="*/ 287517 h 533771"/>
                  <a:gd name="connsiteX2594" fmla="*/ 127492 w 401077"/>
                  <a:gd name="connsiteY2594" fmla="*/ 286900 h 533771"/>
                  <a:gd name="connsiteX2595" fmla="*/ 127756 w 401077"/>
                  <a:gd name="connsiteY2595" fmla="*/ 286283 h 533771"/>
                  <a:gd name="connsiteX2596" fmla="*/ 128021 w 401077"/>
                  <a:gd name="connsiteY2596" fmla="*/ 286283 h 533771"/>
                  <a:gd name="connsiteX2597" fmla="*/ 128285 w 401077"/>
                  <a:gd name="connsiteY2597" fmla="*/ 285666 h 533771"/>
                  <a:gd name="connsiteX2598" fmla="*/ 128285 w 401077"/>
                  <a:gd name="connsiteY2598" fmla="*/ 286018 h 533771"/>
                  <a:gd name="connsiteX2599" fmla="*/ 128550 w 401077"/>
                  <a:gd name="connsiteY2599" fmla="*/ 286547 h 533771"/>
                  <a:gd name="connsiteX2600" fmla="*/ 128814 w 401077"/>
                  <a:gd name="connsiteY2600" fmla="*/ 287164 h 533771"/>
                  <a:gd name="connsiteX2601" fmla="*/ 128197 w 401077"/>
                  <a:gd name="connsiteY2601" fmla="*/ 287164 h 533771"/>
                  <a:gd name="connsiteX2602" fmla="*/ 128197 w 401077"/>
                  <a:gd name="connsiteY2602" fmla="*/ 287517 h 533771"/>
                  <a:gd name="connsiteX2603" fmla="*/ 143538 w 401077"/>
                  <a:gd name="connsiteY2603" fmla="*/ 286371 h 533771"/>
                  <a:gd name="connsiteX2604" fmla="*/ 143274 w 401077"/>
                  <a:gd name="connsiteY2604" fmla="*/ 286371 h 533771"/>
                  <a:gd name="connsiteX2605" fmla="*/ 143538 w 401077"/>
                  <a:gd name="connsiteY2605" fmla="*/ 286106 h 533771"/>
                  <a:gd name="connsiteX2606" fmla="*/ 143538 w 401077"/>
                  <a:gd name="connsiteY2606" fmla="*/ 286371 h 533771"/>
                  <a:gd name="connsiteX2607" fmla="*/ 130137 w 401077"/>
                  <a:gd name="connsiteY2607" fmla="*/ 286988 h 533771"/>
                  <a:gd name="connsiteX2608" fmla="*/ 129608 w 401077"/>
                  <a:gd name="connsiteY2608" fmla="*/ 286988 h 533771"/>
                  <a:gd name="connsiteX2609" fmla="*/ 129872 w 401077"/>
                  <a:gd name="connsiteY2609" fmla="*/ 286724 h 533771"/>
                  <a:gd name="connsiteX2610" fmla="*/ 130137 w 401077"/>
                  <a:gd name="connsiteY2610" fmla="*/ 286988 h 533771"/>
                  <a:gd name="connsiteX2611" fmla="*/ 129519 w 401077"/>
                  <a:gd name="connsiteY2611" fmla="*/ 287253 h 533771"/>
                  <a:gd name="connsiteX2612" fmla="*/ 128902 w 401077"/>
                  <a:gd name="connsiteY2612" fmla="*/ 287253 h 533771"/>
                  <a:gd name="connsiteX2613" fmla="*/ 129167 w 401077"/>
                  <a:gd name="connsiteY2613" fmla="*/ 286988 h 533771"/>
                  <a:gd name="connsiteX2614" fmla="*/ 129519 w 401077"/>
                  <a:gd name="connsiteY2614" fmla="*/ 287253 h 533771"/>
                  <a:gd name="connsiteX2615" fmla="*/ 172105 w 401077"/>
                  <a:gd name="connsiteY2615" fmla="*/ 287870 h 533771"/>
                  <a:gd name="connsiteX2616" fmla="*/ 171840 w 401077"/>
                  <a:gd name="connsiteY2616" fmla="*/ 287870 h 533771"/>
                  <a:gd name="connsiteX2617" fmla="*/ 172105 w 401077"/>
                  <a:gd name="connsiteY2617" fmla="*/ 287605 h 533771"/>
                  <a:gd name="connsiteX2618" fmla="*/ 172105 w 401077"/>
                  <a:gd name="connsiteY2618" fmla="*/ 287870 h 533771"/>
                  <a:gd name="connsiteX2619" fmla="*/ 175367 w 401077"/>
                  <a:gd name="connsiteY2619" fmla="*/ 288663 h 533771"/>
                  <a:gd name="connsiteX2620" fmla="*/ 174750 w 401077"/>
                  <a:gd name="connsiteY2620" fmla="*/ 288663 h 533771"/>
                  <a:gd name="connsiteX2621" fmla="*/ 175015 w 401077"/>
                  <a:gd name="connsiteY2621" fmla="*/ 288399 h 533771"/>
                  <a:gd name="connsiteX2622" fmla="*/ 175367 w 401077"/>
                  <a:gd name="connsiteY2622" fmla="*/ 288663 h 533771"/>
                  <a:gd name="connsiteX2623" fmla="*/ 130401 w 401077"/>
                  <a:gd name="connsiteY2623" fmla="*/ 289280 h 533771"/>
                  <a:gd name="connsiteX2624" fmla="*/ 130137 w 401077"/>
                  <a:gd name="connsiteY2624" fmla="*/ 289280 h 533771"/>
                  <a:gd name="connsiteX2625" fmla="*/ 129872 w 401077"/>
                  <a:gd name="connsiteY2625" fmla="*/ 288663 h 533771"/>
                  <a:gd name="connsiteX2626" fmla="*/ 130137 w 401077"/>
                  <a:gd name="connsiteY2626" fmla="*/ 288046 h 533771"/>
                  <a:gd name="connsiteX2627" fmla="*/ 130401 w 401077"/>
                  <a:gd name="connsiteY2627" fmla="*/ 287782 h 533771"/>
                  <a:gd name="connsiteX2628" fmla="*/ 130401 w 401077"/>
                  <a:gd name="connsiteY2628" fmla="*/ 288311 h 533771"/>
                  <a:gd name="connsiteX2629" fmla="*/ 130401 w 401077"/>
                  <a:gd name="connsiteY2629" fmla="*/ 288575 h 533771"/>
                  <a:gd name="connsiteX2630" fmla="*/ 130666 w 401077"/>
                  <a:gd name="connsiteY2630" fmla="*/ 289192 h 533771"/>
                  <a:gd name="connsiteX2631" fmla="*/ 130401 w 401077"/>
                  <a:gd name="connsiteY2631" fmla="*/ 289192 h 533771"/>
                  <a:gd name="connsiteX2632" fmla="*/ 174750 w 401077"/>
                  <a:gd name="connsiteY2632" fmla="*/ 288663 h 533771"/>
                  <a:gd name="connsiteX2633" fmla="*/ 174485 w 401077"/>
                  <a:gd name="connsiteY2633" fmla="*/ 288663 h 533771"/>
                  <a:gd name="connsiteX2634" fmla="*/ 174750 w 401077"/>
                  <a:gd name="connsiteY2634" fmla="*/ 288663 h 533771"/>
                  <a:gd name="connsiteX2635" fmla="*/ 172105 w 401077"/>
                  <a:gd name="connsiteY2635" fmla="*/ 289545 h 533771"/>
                  <a:gd name="connsiteX2636" fmla="*/ 172105 w 401077"/>
                  <a:gd name="connsiteY2636" fmla="*/ 289545 h 533771"/>
                  <a:gd name="connsiteX2637" fmla="*/ 172369 w 401077"/>
                  <a:gd name="connsiteY2637" fmla="*/ 289545 h 533771"/>
                  <a:gd name="connsiteX2638" fmla="*/ 172105 w 401077"/>
                  <a:gd name="connsiteY2638" fmla="*/ 289545 h 533771"/>
                  <a:gd name="connsiteX2639" fmla="*/ 175367 w 401077"/>
                  <a:gd name="connsiteY2639" fmla="*/ 289898 h 533771"/>
                  <a:gd name="connsiteX2640" fmla="*/ 175367 w 401077"/>
                  <a:gd name="connsiteY2640" fmla="*/ 289633 h 533771"/>
                  <a:gd name="connsiteX2641" fmla="*/ 175367 w 401077"/>
                  <a:gd name="connsiteY2641" fmla="*/ 289898 h 533771"/>
                  <a:gd name="connsiteX2642" fmla="*/ 128109 w 401077"/>
                  <a:gd name="connsiteY2642" fmla="*/ 292807 h 533771"/>
                  <a:gd name="connsiteX2643" fmla="*/ 127844 w 401077"/>
                  <a:gd name="connsiteY2643" fmla="*/ 292807 h 533771"/>
                  <a:gd name="connsiteX2644" fmla="*/ 128109 w 401077"/>
                  <a:gd name="connsiteY2644" fmla="*/ 292543 h 533771"/>
                  <a:gd name="connsiteX2645" fmla="*/ 128109 w 401077"/>
                  <a:gd name="connsiteY2645" fmla="*/ 292807 h 533771"/>
                  <a:gd name="connsiteX2646" fmla="*/ 171576 w 401077"/>
                  <a:gd name="connsiteY2646" fmla="*/ 295100 h 533771"/>
                  <a:gd name="connsiteX2647" fmla="*/ 170959 w 401077"/>
                  <a:gd name="connsiteY2647" fmla="*/ 295100 h 533771"/>
                  <a:gd name="connsiteX2648" fmla="*/ 171223 w 401077"/>
                  <a:gd name="connsiteY2648" fmla="*/ 295100 h 533771"/>
                  <a:gd name="connsiteX2649" fmla="*/ 171576 w 401077"/>
                  <a:gd name="connsiteY2649" fmla="*/ 295100 h 533771"/>
                  <a:gd name="connsiteX2650" fmla="*/ 134193 w 401077"/>
                  <a:gd name="connsiteY2650" fmla="*/ 305592 h 533771"/>
                  <a:gd name="connsiteX2651" fmla="*/ 133928 w 401077"/>
                  <a:gd name="connsiteY2651" fmla="*/ 305327 h 533771"/>
                  <a:gd name="connsiteX2652" fmla="*/ 134545 w 401077"/>
                  <a:gd name="connsiteY2652" fmla="*/ 305592 h 533771"/>
                  <a:gd name="connsiteX2653" fmla="*/ 134193 w 401077"/>
                  <a:gd name="connsiteY2653" fmla="*/ 305592 h 533771"/>
                  <a:gd name="connsiteX2654" fmla="*/ 131283 w 401077"/>
                  <a:gd name="connsiteY2654" fmla="*/ 306473 h 533771"/>
                  <a:gd name="connsiteX2655" fmla="*/ 131018 w 401077"/>
                  <a:gd name="connsiteY2655" fmla="*/ 306209 h 533771"/>
                  <a:gd name="connsiteX2656" fmla="*/ 130666 w 401077"/>
                  <a:gd name="connsiteY2656" fmla="*/ 305856 h 533771"/>
                  <a:gd name="connsiteX2657" fmla="*/ 131283 w 401077"/>
                  <a:gd name="connsiteY2657" fmla="*/ 305856 h 533771"/>
                  <a:gd name="connsiteX2658" fmla="*/ 131547 w 401077"/>
                  <a:gd name="connsiteY2658" fmla="*/ 305856 h 533771"/>
                  <a:gd name="connsiteX2659" fmla="*/ 131283 w 401077"/>
                  <a:gd name="connsiteY2659" fmla="*/ 306473 h 533771"/>
                  <a:gd name="connsiteX2660" fmla="*/ 133575 w 401077"/>
                  <a:gd name="connsiteY2660" fmla="*/ 305592 h 533771"/>
                  <a:gd name="connsiteX2661" fmla="*/ 133575 w 401077"/>
                  <a:gd name="connsiteY2661" fmla="*/ 305856 h 533771"/>
                  <a:gd name="connsiteX2662" fmla="*/ 133311 w 401077"/>
                  <a:gd name="connsiteY2662" fmla="*/ 305592 h 533771"/>
                  <a:gd name="connsiteX2663" fmla="*/ 133575 w 401077"/>
                  <a:gd name="connsiteY2663" fmla="*/ 305592 h 533771"/>
                  <a:gd name="connsiteX2664" fmla="*/ 130666 w 401077"/>
                  <a:gd name="connsiteY2664" fmla="*/ 307619 h 533771"/>
                  <a:gd name="connsiteX2665" fmla="*/ 130048 w 401077"/>
                  <a:gd name="connsiteY2665" fmla="*/ 307355 h 533771"/>
                  <a:gd name="connsiteX2666" fmla="*/ 129167 w 401077"/>
                  <a:gd name="connsiteY2666" fmla="*/ 306738 h 533771"/>
                  <a:gd name="connsiteX2667" fmla="*/ 129431 w 401077"/>
                  <a:gd name="connsiteY2667" fmla="*/ 306738 h 533771"/>
                  <a:gd name="connsiteX2668" fmla="*/ 129696 w 401077"/>
                  <a:gd name="connsiteY2668" fmla="*/ 306738 h 533771"/>
                  <a:gd name="connsiteX2669" fmla="*/ 129960 w 401077"/>
                  <a:gd name="connsiteY2669" fmla="*/ 307002 h 533771"/>
                  <a:gd name="connsiteX2670" fmla="*/ 130577 w 401077"/>
                  <a:gd name="connsiteY2670" fmla="*/ 307267 h 533771"/>
                  <a:gd name="connsiteX2671" fmla="*/ 130577 w 401077"/>
                  <a:gd name="connsiteY2671" fmla="*/ 307619 h 533771"/>
                  <a:gd name="connsiteX2672" fmla="*/ 133311 w 401077"/>
                  <a:gd name="connsiteY2672" fmla="*/ 308501 h 533771"/>
                  <a:gd name="connsiteX2673" fmla="*/ 133046 w 401077"/>
                  <a:gd name="connsiteY2673" fmla="*/ 308501 h 533771"/>
                  <a:gd name="connsiteX2674" fmla="*/ 133311 w 401077"/>
                  <a:gd name="connsiteY2674" fmla="*/ 308501 h 533771"/>
                  <a:gd name="connsiteX2675" fmla="*/ 131547 w 401077"/>
                  <a:gd name="connsiteY2675" fmla="*/ 308501 h 533771"/>
                  <a:gd name="connsiteX2676" fmla="*/ 131283 w 401077"/>
                  <a:gd name="connsiteY2676" fmla="*/ 308501 h 533771"/>
                  <a:gd name="connsiteX2677" fmla="*/ 131547 w 401077"/>
                  <a:gd name="connsiteY2677" fmla="*/ 308501 h 533771"/>
                  <a:gd name="connsiteX2678" fmla="*/ 135955 w 401077"/>
                  <a:gd name="connsiteY2678" fmla="*/ 312645 h 533771"/>
                  <a:gd name="connsiteX2679" fmla="*/ 135339 w 401077"/>
                  <a:gd name="connsiteY2679" fmla="*/ 312910 h 533771"/>
                  <a:gd name="connsiteX2680" fmla="*/ 135955 w 401077"/>
                  <a:gd name="connsiteY2680" fmla="*/ 312645 h 533771"/>
                  <a:gd name="connsiteX2681" fmla="*/ 137984 w 401077"/>
                  <a:gd name="connsiteY2681" fmla="*/ 316436 h 533771"/>
                  <a:gd name="connsiteX2682" fmla="*/ 137719 w 401077"/>
                  <a:gd name="connsiteY2682" fmla="*/ 316172 h 533771"/>
                  <a:gd name="connsiteX2683" fmla="*/ 137984 w 401077"/>
                  <a:gd name="connsiteY2683" fmla="*/ 316172 h 533771"/>
                  <a:gd name="connsiteX2684" fmla="*/ 137984 w 401077"/>
                  <a:gd name="connsiteY2684" fmla="*/ 316436 h 533771"/>
                  <a:gd name="connsiteX2685" fmla="*/ 141158 w 401077"/>
                  <a:gd name="connsiteY2685" fmla="*/ 316965 h 533771"/>
                  <a:gd name="connsiteX2686" fmla="*/ 140893 w 401077"/>
                  <a:gd name="connsiteY2686" fmla="*/ 316965 h 533771"/>
                  <a:gd name="connsiteX2687" fmla="*/ 141158 w 401077"/>
                  <a:gd name="connsiteY2687" fmla="*/ 316965 h 533771"/>
                  <a:gd name="connsiteX2688" fmla="*/ 140364 w 401077"/>
                  <a:gd name="connsiteY2688" fmla="*/ 318729 h 533771"/>
                  <a:gd name="connsiteX2689" fmla="*/ 140100 w 401077"/>
                  <a:gd name="connsiteY2689" fmla="*/ 318376 h 533771"/>
                  <a:gd name="connsiteX2690" fmla="*/ 139835 w 401077"/>
                  <a:gd name="connsiteY2690" fmla="*/ 317759 h 533771"/>
                  <a:gd name="connsiteX2691" fmla="*/ 139571 w 401077"/>
                  <a:gd name="connsiteY2691" fmla="*/ 317494 h 533771"/>
                  <a:gd name="connsiteX2692" fmla="*/ 139835 w 401077"/>
                  <a:gd name="connsiteY2692" fmla="*/ 317494 h 533771"/>
                  <a:gd name="connsiteX2693" fmla="*/ 140452 w 401077"/>
                  <a:gd name="connsiteY2693" fmla="*/ 317759 h 533771"/>
                  <a:gd name="connsiteX2694" fmla="*/ 140717 w 401077"/>
                  <a:gd name="connsiteY2694" fmla="*/ 318376 h 533771"/>
                  <a:gd name="connsiteX2695" fmla="*/ 140364 w 401077"/>
                  <a:gd name="connsiteY2695" fmla="*/ 318729 h 533771"/>
                  <a:gd name="connsiteX2696" fmla="*/ 149710 w 401077"/>
                  <a:gd name="connsiteY2696" fmla="*/ 318112 h 533771"/>
                  <a:gd name="connsiteX2697" fmla="*/ 148211 w 401077"/>
                  <a:gd name="connsiteY2697" fmla="*/ 317230 h 533771"/>
                  <a:gd name="connsiteX2698" fmla="*/ 147947 w 401077"/>
                  <a:gd name="connsiteY2698" fmla="*/ 316613 h 533771"/>
                  <a:gd name="connsiteX2699" fmla="*/ 146448 w 401077"/>
                  <a:gd name="connsiteY2699" fmla="*/ 317230 h 533771"/>
                  <a:gd name="connsiteX2700" fmla="*/ 145301 w 401077"/>
                  <a:gd name="connsiteY2700" fmla="*/ 317230 h 533771"/>
                  <a:gd name="connsiteX2701" fmla="*/ 143274 w 401077"/>
                  <a:gd name="connsiteY2701" fmla="*/ 316613 h 533771"/>
                  <a:gd name="connsiteX2702" fmla="*/ 141863 w 401077"/>
                  <a:gd name="connsiteY2702" fmla="*/ 316613 h 533771"/>
                  <a:gd name="connsiteX2703" fmla="*/ 140981 w 401077"/>
                  <a:gd name="connsiteY2703" fmla="*/ 316348 h 533771"/>
                  <a:gd name="connsiteX2704" fmla="*/ 141246 w 401077"/>
                  <a:gd name="connsiteY2704" fmla="*/ 315466 h 533771"/>
                  <a:gd name="connsiteX2705" fmla="*/ 141510 w 401077"/>
                  <a:gd name="connsiteY2705" fmla="*/ 314320 h 533771"/>
                  <a:gd name="connsiteX2706" fmla="*/ 141775 w 401077"/>
                  <a:gd name="connsiteY2706" fmla="*/ 314056 h 533771"/>
                  <a:gd name="connsiteX2707" fmla="*/ 141158 w 401077"/>
                  <a:gd name="connsiteY2707" fmla="*/ 313439 h 533771"/>
                  <a:gd name="connsiteX2708" fmla="*/ 139130 w 401077"/>
                  <a:gd name="connsiteY2708" fmla="*/ 313439 h 533771"/>
                  <a:gd name="connsiteX2709" fmla="*/ 137719 w 401077"/>
                  <a:gd name="connsiteY2709" fmla="*/ 312557 h 533771"/>
                  <a:gd name="connsiteX2710" fmla="*/ 137366 w 401077"/>
                  <a:gd name="connsiteY2710" fmla="*/ 312821 h 533771"/>
                  <a:gd name="connsiteX2711" fmla="*/ 136484 w 401077"/>
                  <a:gd name="connsiteY2711" fmla="*/ 313703 h 533771"/>
                  <a:gd name="connsiteX2712" fmla="*/ 136484 w 401077"/>
                  <a:gd name="connsiteY2712" fmla="*/ 312557 h 533771"/>
                  <a:gd name="connsiteX2713" fmla="*/ 136220 w 401077"/>
                  <a:gd name="connsiteY2713" fmla="*/ 311675 h 533771"/>
                  <a:gd name="connsiteX2714" fmla="*/ 137719 w 401077"/>
                  <a:gd name="connsiteY2714" fmla="*/ 312292 h 533771"/>
                  <a:gd name="connsiteX2715" fmla="*/ 135691 w 401077"/>
                  <a:gd name="connsiteY2715" fmla="*/ 311146 h 533771"/>
                  <a:gd name="connsiteX2716" fmla="*/ 134809 w 401077"/>
                  <a:gd name="connsiteY2716" fmla="*/ 310265 h 533771"/>
                  <a:gd name="connsiteX2717" fmla="*/ 133664 w 401077"/>
                  <a:gd name="connsiteY2717" fmla="*/ 310882 h 533771"/>
                  <a:gd name="connsiteX2718" fmla="*/ 133399 w 401077"/>
                  <a:gd name="connsiteY2718" fmla="*/ 309383 h 533771"/>
                  <a:gd name="connsiteX2719" fmla="*/ 135162 w 401077"/>
                  <a:gd name="connsiteY2719" fmla="*/ 309647 h 533771"/>
                  <a:gd name="connsiteX2720" fmla="*/ 134545 w 401077"/>
                  <a:gd name="connsiteY2720" fmla="*/ 308766 h 533771"/>
                  <a:gd name="connsiteX2721" fmla="*/ 134809 w 401077"/>
                  <a:gd name="connsiteY2721" fmla="*/ 307884 h 533771"/>
                  <a:gd name="connsiteX2722" fmla="*/ 132782 w 401077"/>
                  <a:gd name="connsiteY2722" fmla="*/ 307267 h 533771"/>
                  <a:gd name="connsiteX2723" fmla="*/ 133135 w 401077"/>
                  <a:gd name="connsiteY2723" fmla="*/ 306650 h 533771"/>
                  <a:gd name="connsiteX2724" fmla="*/ 132253 w 401077"/>
                  <a:gd name="connsiteY2724" fmla="*/ 306650 h 533771"/>
                  <a:gd name="connsiteX2725" fmla="*/ 133135 w 401077"/>
                  <a:gd name="connsiteY2725" fmla="*/ 306033 h 533771"/>
                  <a:gd name="connsiteX2726" fmla="*/ 134280 w 401077"/>
                  <a:gd name="connsiteY2726" fmla="*/ 306914 h 533771"/>
                  <a:gd name="connsiteX2727" fmla="*/ 134016 w 401077"/>
                  <a:gd name="connsiteY2727" fmla="*/ 306033 h 533771"/>
                  <a:gd name="connsiteX2728" fmla="*/ 134898 w 401077"/>
                  <a:gd name="connsiteY2728" fmla="*/ 305415 h 533771"/>
                  <a:gd name="connsiteX2729" fmla="*/ 133751 w 401077"/>
                  <a:gd name="connsiteY2729" fmla="*/ 304534 h 533771"/>
                  <a:gd name="connsiteX2730" fmla="*/ 132870 w 401077"/>
                  <a:gd name="connsiteY2730" fmla="*/ 303916 h 533771"/>
                  <a:gd name="connsiteX2731" fmla="*/ 132605 w 401077"/>
                  <a:gd name="connsiteY2731" fmla="*/ 303035 h 533771"/>
                  <a:gd name="connsiteX2732" fmla="*/ 130666 w 401077"/>
                  <a:gd name="connsiteY2732" fmla="*/ 303035 h 533771"/>
                  <a:gd name="connsiteX2733" fmla="*/ 130666 w 401077"/>
                  <a:gd name="connsiteY2733" fmla="*/ 301889 h 533771"/>
                  <a:gd name="connsiteX2734" fmla="*/ 129519 w 401077"/>
                  <a:gd name="connsiteY2734" fmla="*/ 301007 h 533771"/>
                  <a:gd name="connsiteX2735" fmla="*/ 129255 w 401077"/>
                  <a:gd name="connsiteY2735" fmla="*/ 299861 h 533771"/>
                  <a:gd name="connsiteX2736" fmla="*/ 128990 w 401077"/>
                  <a:gd name="connsiteY2736" fmla="*/ 299244 h 533771"/>
                  <a:gd name="connsiteX2737" fmla="*/ 128109 w 401077"/>
                  <a:gd name="connsiteY2737" fmla="*/ 298979 h 533771"/>
                  <a:gd name="connsiteX2738" fmla="*/ 126963 w 401077"/>
                  <a:gd name="connsiteY2738" fmla="*/ 299861 h 533771"/>
                  <a:gd name="connsiteX2739" fmla="*/ 124934 w 401077"/>
                  <a:gd name="connsiteY2739" fmla="*/ 301624 h 533771"/>
                  <a:gd name="connsiteX2740" fmla="*/ 124053 w 401077"/>
                  <a:gd name="connsiteY2740" fmla="*/ 301359 h 533771"/>
                  <a:gd name="connsiteX2741" fmla="*/ 122643 w 401077"/>
                  <a:gd name="connsiteY2741" fmla="*/ 302506 h 533771"/>
                  <a:gd name="connsiteX2742" fmla="*/ 124405 w 401077"/>
                  <a:gd name="connsiteY2742" fmla="*/ 300478 h 533771"/>
                  <a:gd name="connsiteX2743" fmla="*/ 124670 w 401077"/>
                  <a:gd name="connsiteY2743" fmla="*/ 300213 h 533771"/>
                  <a:gd name="connsiteX2744" fmla="*/ 125552 w 401077"/>
                  <a:gd name="connsiteY2744" fmla="*/ 299332 h 533771"/>
                  <a:gd name="connsiteX2745" fmla="*/ 126434 w 401077"/>
                  <a:gd name="connsiteY2745" fmla="*/ 299067 h 533771"/>
                  <a:gd name="connsiteX2746" fmla="*/ 127932 w 401077"/>
                  <a:gd name="connsiteY2746" fmla="*/ 297921 h 533771"/>
                  <a:gd name="connsiteX2747" fmla="*/ 129079 w 401077"/>
                  <a:gd name="connsiteY2747" fmla="*/ 296158 h 533771"/>
                  <a:gd name="connsiteX2748" fmla="*/ 131988 w 401077"/>
                  <a:gd name="connsiteY2748" fmla="*/ 293512 h 533771"/>
                  <a:gd name="connsiteX2749" fmla="*/ 131371 w 401077"/>
                  <a:gd name="connsiteY2749" fmla="*/ 289192 h 533771"/>
                  <a:gd name="connsiteX2750" fmla="*/ 131106 w 401077"/>
                  <a:gd name="connsiteY2750" fmla="*/ 286018 h 533771"/>
                  <a:gd name="connsiteX2751" fmla="*/ 133135 w 401077"/>
                  <a:gd name="connsiteY2751" fmla="*/ 284255 h 533771"/>
                  <a:gd name="connsiteX2752" fmla="*/ 132517 w 401077"/>
                  <a:gd name="connsiteY2752" fmla="*/ 283109 h 533771"/>
                  <a:gd name="connsiteX2753" fmla="*/ 134280 w 401077"/>
                  <a:gd name="connsiteY2753" fmla="*/ 283109 h 533771"/>
                  <a:gd name="connsiteX2754" fmla="*/ 138072 w 401077"/>
                  <a:gd name="connsiteY2754" fmla="*/ 287164 h 533771"/>
                  <a:gd name="connsiteX2755" fmla="*/ 139571 w 401077"/>
                  <a:gd name="connsiteY2755" fmla="*/ 288046 h 533771"/>
                  <a:gd name="connsiteX2756" fmla="*/ 141598 w 401077"/>
                  <a:gd name="connsiteY2756" fmla="*/ 287429 h 533771"/>
                  <a:gd name="connsiteX2757" fmla="*/ 143362 w 401077"/>
                  <a:gd name="connsiteY2757" fmla="*/ 286547 h 533771"/>
                  <a:gd name="connsiteX2758" fmla="*/ 146007 w 401077"/>
                  <a:gd name="connsiteY2758" fmla="*/ 286547 h 533771"/>
                  <a:gd name="connsiteX2759" fmla="*/ 148652 w 401077"/>
                  <a:gd name="connsiteY2759" fmla="*/ 284519 h 533771"/>
                  <a:gd name="connsiteX2760" fmla="*/ 147506 w 401077"/>
                  <a:gd name="connsiteY2760" fmla="*/ 281257 h 533771"/>
                  <a:gd name="connsiteX2761" fmla="*/ 145214 w 401077"/>
                  <a:gd name="connsiteY2761" fmla="*/ 279494 h 533771"/>
                  <a:gd name="connsiteX2762" fmla="*/ 147241 w 401077"/>
                  <a:gd name="connsiteY2762" fmla="*/ 279758 h 533771"/>
                  <a:gd name="connsiteX2763" fmla="*/ 149005 w 401077"/>
                  <a:gd name="connsiteY2763" fmla="*/ 278612 h 533771"/>
                  <a:gd name="connsiteX2764" fmla="*/ 149886 w 401077"/>
                  <a:gd name="connsiteY2764" fmla="*/ 276849 h 533771"/>
                  <a:gd name="connsiteX2765" fmla="*/ 150503 w 401077"/>
                  <a:gd name="connsiteY2765" fmla="*/ 277730 h 533771"/>
                  <a:gd name="connsiteX2766" fmla="*/ 151650 w 401077"/>
                  <a:gd name="connsiteY2766" fmla="*/ 276584 h 533771"/>
                  <a:gd name="connsiteX2767" fmla="*/ 154295 w 401077"/>
                  <a:gd name="connsiteY2767" fmla="*/ 277113 h 533771"/>
                  <a:gd name="connsiteX2768" fmla="*/ 155441 w 401077"/>
                  <a:gd name="connsiteY2768" fmla="*/ 276849 h 533771"/>
                  <a:gd name="connsiteX2769" fmla="*/ 156322 w 401077"/>
                  <a:gd name="connsiteY2769" fmla="*/ 276584 h 533771"/>
                  <a:gd name="connsiteX2770" fmla="*/ 157469 w 401077"/>
                  <a:gd name="connsiteY2770" fmla="*/ 277113 h 533771"/>
                  <a:gd name="connsiteX2771" fmla="*/ 158880 w 401077"/>
                  <a:gd name="connsiteY2771" fmla="*/ 277730 h 533771"/>
                  <a:gd name="connsiteX2772" fmla="*/ 161172 w 401077"/>
                  <a:gd name="connsiteY2772" fmla="*/ 279494 h 533771"/>
                  <a:gd name="connsiteX2773" fmla="*/ 163200 w 401077"/>
                  <a:gd name="connsiteY2773" fmla="*/ 280111 h 533771"/>
                  <a:gd name="connsiteX2774" fmla="*/ 166727 w 401077"/>
                  <a:gd name="connsiteY2774" fmla="*/ 280375 h 533771"/>
                  <a:gd name="connsiteX2775" fmla="*/ 167256 w 401077"/>
                  <a:gd name="connsiteY2775" fmla="*/ 280375 h 533771"/>
                  <a:gd name="connsiteX2776" fmla="*/ 168137 w 401077"/>
                  <a:gd name="connsiteY2776" fmla="*/ 282139 h 533771"/>
                  <a:gd name="connsiteX2777" fmla="*/ 168137 w 401077"/>
                  <a:gd name="connsiteY2777" fmla="*/ 283902 h 533771"/>
                  <a:gd name="connsiteX2778" fmla="*/ 168754 w 401077"/>
                  <a:gd name="connsiteY2778" fmla="*/ 284784 h 533771"/>
                  <a:gd name="connsiteX2779" fmla="*/ 169901 w 401077"/>
                  <a:gd name="connsiteY2779" fmla="*/ 285930 h 533771"/>
                  <a:gd name="connsiteX2780" fmla="*/ 171928 w 401077"/>
                  <a:gd name="connsiteY2780" fmla="*/ 287341 h 533771"/>
                  <a:gd name="connsiteX2781" fmla="*/ 171664 w 401077"/>
                  <a:gd name="connsiteY2781" fmla="*/ 289104 h 533771"/>
                  <a:gd name="connsiteX2782" fmla="*/ 172810 w 401077"/>
                  <a:gd name="connsiteY2782" fmla="*/ 289633 h 533771"/>
                  <a:gd name="connsiteX2783" fmla="*/ 173956 w 401077"/>
                  <a:gd name="connsiteY2783" fmla="*/ 289898 h 533771"/>
                  <a:gd name="connsiteX2784" fmla="*/ 172193 w 401077"/>
                  <a:gd name="connsiteY2784" fmla="*/ 291308 h 533771"/>
                  <a:gd name="connsiteX2785" fmla="*/ 171576 w 401077"/>
                  <a:gd name="connsiteY2785" fmla="*/ 292455 h 533771"/>
                  <a:gd name="connsiteX2786" fmla="*/ 169812 w 401077"/>
                  <a:gd name="connsiteY2786" fmla="*/ 294218 h 533771"/>
                  <a:gd name="connsiteX2787" fmla="*/ 168666 w 401077"/>
                  <a:gd name="connsiteY2787" fmla="*/ 295364 h 533771"/>
                  <a:gd name="connsiteX2788" fmla="*/ 168402 w 401077"/>
                  <a:gd name="connsiteY2788" fmla="*/ 296246 h 533771"/>
                  <a:gd name="connsiteX2789" fmla="*/ 168402 w 401077"/>
                  <a:gd name="connsiteY2789" fmla="*/ 297656 h 533771"/>
                  <a:gd name="connsiteX2790" fmla="*/ 168666 w 401077"/>
                  <a:gd name="connsiteY2790" fmla="*/ 304093 h 533771"/>
                  <a:gd name="connsiteX2791" fmla="*/ 165756 w 401077"/>
                  <a:gd name="connsiteY2791" fmla="*/ 302329 h 533771"/>
                  <a:gd name="connsiteX2792" fmla="*/ 162583 w 401077"/>
                  <a:gd name="connsiteY2792" fmla="*/ 300037 h 533771"/>
                  <a:gd name="connsiteX2793" fmla="*/ 158791 w 401077"/>
                  <a:gd name="connsiteY2793" fmla="*/ 298009 h 533771"/>
                  <a:gd name="connsiteX2794" fmla="*/ 153589 w 401077"/>
                  <a:gd name="connsiteY2794" fmla="*/ 298009 h 533771"/>
                  <a:gd name="connsiteX2795" fmla="*/ 152090 w 401077"/>
                  <a:gd name="connsiteY2795" fmla="*/ 299508 h 533771"/>
                  <a:gd name="connsiteX2796" fmla="*/ 150327 w 401077"/>
                  <a:gd name="connsiteY2796" fmla="*/ 299773 h 533771"/>
                  <a:gd name="connsiteX2797" fmla="*/ 149975 w 401077"/>
                  <a:gd name="connsiteY2797" fmla="*/ 300654 h 533771"/>
                  <a:gd name="connsiteX2798" fmla="*/ 151121 w 401077"/>
                  <a:gd name="connsiteY2798" fmla="*/ 300037 h 533771"/>
                  <a:gd name="connsiteX2799" fmla="*/ 151121 w 401077"/>
                  <a:gd name="connsiteY2799" fmla="*/ 300654 h 533771"/>
                  <a:gd name="connsiteX2800" fmla="*/ 150592 w 401077"/>
                  <a:gd name="connsiteY2800" fmla="*/ 300919 h 533771"/>
                  <a:gd name="connsiteX2801" fmla="*/ 149710 w 401077"/>
                  <a:gd name="connsiteY2801" fmla="*/ 301800 h 533771"/>
                  <a:gd name="connsiteX2802" fmla="*/ 148828 w 401077"/>
                  <a:gd name="connsiteY2802" fmla="*/ 300919 h 533771"/>
                  <a:gd name="connsiteX2803" fmla="*/ 148564 w 401077"/>
                  <a:gd name="connsiteY2803" fmla="*/ 302682 h 533771"/>
                  <a:gd name="connsiteX2804" fmla="*/ 148828 w 401077"/>
                  <a:gd name="connsiteY2804" fmla="*/ 303564 h 533771"/>
                  <a:gd name="connsiteX2805" fmla="*/ 149710 w 401077"/>
                  <a:gd name="connsiteY2805" fmla="*/ 305327 h 533771"/>
                  <a:gd name="connsiteX2806" fmla="*/ 149710 w 401077"/>
                  <a:gd name="connsiteY2806" fmla="*/ 307355 h 533771"/>
                  <a:gd name="connsiteX2807" fmla="*/ 148211 w 401077"/>
                  <a:gd name="connsiteY2807" fmla="*/ 308766 h 533771"/>
                  <a:gd name="connsiteX2808" fmla="*/ 146801 w 401077"/>
                  <a:gd name="connsiteY2808" fmla="*/ 310265 h 533771"/>
                  <a:gd name="connsiteX2809" fmla="*/ 146801 w 401077"/>
                  <a:gd name="connsiteY2809" fmla="*/ 312028 h 533771"/>
                  <a:gd name="connsiteX2810" fmla="*/ 147947 w 401077"/>
                  <a:gd name="connsiteY2810" fmla="*/ 314320 h 533771"/>
                  <a:gd name="connsiteX2811" fmla="*/ 147947 w 401077"/>
                  <a:gd name="connsiteY2811" fmla="*/ 315819 h 533771"/>
                  <a:gd name="connsiteX2812" fmla="*/ 149710 w 401077"/>
                  <a:gd name="connsiteY2812" fmla="*/ 318112 h 533771"/>
                  <a:gd name="connsiteX2813" fmla="*/ 56957 w 401077"/>
                  <a:gd name="connsiteY2813" fmla="*/ 277642 h 533771"/>
                  <a:gd name="connsiteX2814" fmla="*/ 56604 w 401077"/>
                  <a:gd name="connsiteY2814" fmla="*/ 277378 h 533771"/>
                  <a:gd name="connsiteX2815" fmla="*/ 56957 w 401077"/>
                  <a:gd name="connsiteY2815" fmla="*/ 277642 h 533771"/>
                  <a:gd name="connsiteX2816" fmla="*/ 57221 w 401077"/>
                  <a:gd name="connsiteY2816" fmla="*/ 278171 h 533771"/>
                  <a:gd name="connsiteX2817" fmla="*/ 56957 w 401077"/>
                  <a:gd name="connsiteY2817" fmla="*/ 277907 h 533771"/>
                  <a:gd name="connsiteX2818" fmla="*/ 57221 w 401077"/>
                  <a:gd name="connsiteY2818" fmla="*/ 278171 h 533771"/>
                  <a:gd name="connsiteX2819" fmla="*/ 54841 w 401077"/>
                  <a:gd name="connsiteY2819" fmla="*/ 274733 h 533771"/>
                  <a:gd name="connsiteX2820" fmla="*/ 54488 w 401077"/>
                  <a:gd name="connsiteY2820" fmla="*/ 274733 h 533771"/>
                  <a:gd name="connsiteX2821" fmla="*/ 54224 w 401077"/>
                  <a:gd name="connsiteY2821" fmla="*/ 274733 h 533771"/>
                  <a:gd name="connsiteX2822" fmla="*/ 53959 w 401077"/>
                  <a:gd name="connsiteY2822" fmla="*/ 274733 h 533771"/>
                  <a:gd name="connsiteX2823" fmla="*/ 53695 w 401077"/>
                  <a:gd name="connsiteY2823" fmla="*/ 274468 h 533771"/>
                  <a:gd name="connsiteX2824" fmla="*/ 53078 w 401077"/>
                  <a:gd name="connsiteY2824" fmla="*/ 274468 h 533771"/>
                  <a:gd name="connsiteX2825" fmla="*/ 53695 w 401077"/>
                  <a:gd name="connsiteY2825" fmla="*/ 274468 h 533771"/>
                  <a:gd name="connsiteX2826" fmla="*/ 53959 w 401077"/>
                  <a:gd name="connsiteY2826" fmla="*/ 274733 h 533771"/>
                  <a:gd name="connsiteX2827" fmla="*/ 54576 w 401077"/>
                  <a:gd name="connsiteY2827" fmla="*/ 274468 h 533771"/>
                  <a:gd name="connsiteX2828" fmla="*/ 54312 w 401077"/>
                  <a:gd name="connsiteY2828" fmla="*/ 274204 h 533771"/>
                  <a:gd name="connsiteX2829" fmla="*/ 54047 w 401077"/>
                  <a:gd name="connsiteY2829" fmla="*/ 273939 h 533771"/>
                  <a:gd name="connsiteX2830" fmla="*/ 54047 w 401077"/>
                  <a:gd name="connsiteY2830" fmla="*/ 273675 h 533771"/>
                  <a:gd name="connsiteX2831" fmla="*/ 54047 w 401077"/>
                  <a:gd name="connsiteY2831" fmla="*/ 273410 h 533771"/>
                  <a:gd name="connsiteX2832" fmla="*/ 53783 w 401077"/>
                  <a:gd name="connsiteY2832" fmla="*/ 273410 h 533771"/>
                  <a:gd name="connsiteX2833" fmla="*/ 53518 w 401077"/>
                  <a:gd name="connsiteY2833" fmla="*/ 273410 h 533771"/>
                  <a:gd name="connsiteX2834" fmla="*/ 53518 w 401077"/>
                  <a:gd name="connsiteY2834" fmla="*/ 274027 h 533771"/>
                  <a:gd name="connsiteX2835" fmla="*/ 53518 w 401077"/>
                  <a:gd name="connsiteY2835" fmla="*/ 274292 h 533771"/>
                  <a:gd name="connsiteX2836" fmla="*/ 53254 w 401077"/>
                  <a:gd name="connsiteY2836" fmla="*/ 273675 h 533771"/>
                  <a:gd name="connsiteX2837" fmla="*/ 52989 w 401077"/>
                  <a:gd name="connsiteY2837" fmla="*/ 273410 h 533771"/>
                  <a:gd name="connsiteX2838" fmla="*/ 53254 w 401077"/>
                  <a:gd name="connsiteY2838" fmla="*/ 273146 h 533771"/>
                  <a:gd name="connsiteX2839" fmla="*/ 52637 w 401077"/>
                  <a:gd name="connsiteY2839" fmla="*/ 273146 h 533771"/>
                  <a:gd name="connsiteX2840" fmla="*/ 52637 w 401077"/>
                  <a:gd name="connsiteY2840" fmla="*/ 273763 h 533771"/>
                  <a:gd name="connsiteX2841" fmla="*/ 52901 w 401077"/>
                  <a:gd name="connsiteY2841" fmla="*/ 274027 h 533771"/>
                  <a:gd name="connsiteX2842" fmla="*/ 53166 w 401077"/>
                  <a:gd name="connsiteY2842" fmla="*/ 274027 h 533771"/>
                  <a:gd name="connsiteX2843" fmla="*/ 52901 w 401077"/>
                  <a:gd name="connsiteY2843" fmla="*/ 274027 h 533771"/>
                  <a:gd name="connsiteX2844" fmla="*/ 52020 w 401077"/>
                  <a:gd name="connsiteY2844" fmla="*/ 274027 h 533771"/>
                  <a:gd name="connsiteX2845" fmla="*/ 51755 w 401077"/>
                  <a:gd name="connsiteY2845" fmla="*/ 273763 h 533771"/>
                  <a:gd name="connsiteX2846" fmla="*/ 52020 w 401077"/>
                  <a:gd name="connsiteY2846" fmla="*/ 273763 h 533771"/>
                  <a:gd name="connsiteX2847" fmla="*/ 52020 w 401077"/>
                  <a:gd name="connsiteY2847" fmla="*/ 273498 h 533771"/>
                  <a:gd name="connsiteX2848" fmla="*/ 52284 w 401077"/>
                  <a:gd name="connsiteY2848" fmla="*/ 273498 h 533771"/>
                  <a:gd name="connsiteX2849" fmla="*/ 52020 w 401077"/>
                  <a:gd name="connsiteY2849" fmla="*/ 273234 h 533771"/>
                  <a:gd name="connsiteX2850" fmla="*/ 51755 w 401077"/>
                  <a:gd name="connsiteY2850" fmla="*/ 272352 h 533771"/>
                  <a:gd name="connsiteX2851" fmla="*/ 51755 w 401077"/>
                  <a:gd name="connsiteY2851" fmla="*/ 271735 h 533771"/>
                  <a:gd name="connsiteX2852" fmla="*/ 52020 w 401077"/>
                  <a:gd name="connsiteY2852" fmla="*/ 271735 h 533771"/>
                  <a:gd name="connsiteX2853" fmla="*/ 52020 w 401077"/>
                  <a:gd name="connsiteY2853" fmla="*/ 271206 h 533771"/>
                  <a:gd name="connsiteX2854" fmla="*/ 51755 w 401077"/>
                  <a:gd name="connsiteY2854" fmla="*/ 271470 h 533771"/>
                  <a:gd name="connsiteX2855" fmla="*/ 51491 w 401077"/>
                  <a:gd name="connsiteY2855" fmla="*/ 269972 h 533771"/>
                  <a:gd name="connsiteX2856" fmla="*/ 51755 w 401077"/>
                  <a:gd name="connsiteY2856" fmla="*/ 269354 h 533771"/>
                  <a:gd name="connsiteX2857" fmla="*/ 52020 w 401077"/>
                  <a:gd name="connsiteY2857" fmla="*/ 269354 h 533771"/>
                  <a:gd name="connsiteX2858" fmla="*/ 51491 w 401077"/>
                  <a:gd name="connsiteY2858" fmla="*/ 269090 h 533771"/>
                  <a:gd name="connsiteX2859" fmla="*/ 51226 w 401077"/>
                  <a:gd name="connsiteY2859" fmla="*/ 268825 h 533771"/>
                  <a:gd name="connsiteX2860" fmla="*/ 50873 w 401077"/>
                  <a:gd name="connsiteY2860" fmla="*/ 268825 h 533771"/>
                  <a:gd name="connsiteX2861" fmla="*/ 50609 w 401077"/>
                  <a:gd name="connsiteY2861" fmla="*/ 268296 h 533771"/>
                  <a:gd name="connsiteX2862" fmla="*/ 50609 w 401077"/>
                  <a:gd name="connsiteY2862" fmla="*/ 267150 h 533771"/>
                  <a:gd name="connsiteX2863" fmla="*/ 50609 w 401077"/>
                  <a:gd name="connsiteY2863" fmla="*/ 266533 h 533771"/>
                  <a:gd name="connsiteX2864" fmla="*/ 51491 w 401077"/>
                  <a:gd name="connsiteY2864" fmla="*/ 266797 h 533771"/>
                  <a:gd name="connsiteX2865" fmla="*/ 52020 w 401077"/>
                  <a:gd name="connsiteY2865" fmla="*/ 266797 h 533771"/>
                  <a:gd name="connsiteX2866" fmla="*/ 51755 w 401077"/>
                  <a:gd name="connsiteY2866" fmla="*/ 266533 h 533771"/>
                  <a:gd name="connsiteX2867" fmla="*/ 52020 w 401077"/>
                  <a:gd name="connsiteY2867" fmla="*/ 265651 h 533771"/>
                  <a:gd name="connsiteX2868" fmla="*/ 52020 w 401077"/>
                  <a:gd name="connsiteY2868" fmla="*/ 265387 h 533771"/>
                  <a:gd name="connsiteX2869" fmla="*/ 52284 w 401077"/>
                  <a:gd name="connsiteY2869" fmla="*/ 265387 h 533771"/>
                  <a:gd name="connsiteX2870" fmla="*/ 52549 w 401077"/>
                  <a:gd name="connsiteY2870" fmla="*/ 265387 h 533771"/>
                  <a:gd name="connsiteX2871" fmla="*/ 52813 w 401077"/>
                  <a:gd name="connsiteY2871" fmla="*/ 265387 h 533771"/>
                  <a:gd name="connsiteX2872" fmla="*/ 53078 w 401077"/>
                  <a:gd name="connsiteY2872" fmla="*/ 265387 h 533771"/>
                  <a:gd name="connsiteX2873" fmla="*/ 53342 w 401077"/>
                  <a:gd name="connsiteY2873" fmla="*/ 265916 h 533771"/>
                  <a:gd name="connsiteX2874" fmla="*/ 53607 w 401077"/>
                  <a:gd name="connsiteY2874" fmla="*/ 265916 h 533771"/>
                  <a:gd name="connsiteX2875" fmla="*/ 53607 w 401077"/>
                  <a:gd name="connsiteY2875" fmla="*/ 266180 h 533771"/>
                  <a:gd name="connsiteX2876" fmla="*/ 53342 w 401077"/>
                  <a:gd name="connsiteY2876" fmla="*/ 266445 h 533771"/>
                  <a:gd name="connsiteX2877" fmla="*/ 53607 w 401077"/>
                  <a:gd name="connsiteY2877" fmla="*/ 266445 h 533771"/>
                  <a:gd name="connsiteX2878" fmla="*/ 53607 w 401077"/>
                  <a:gd name="connsiteY2878" fmla="*/ 267062 h 533771"/>
                  <a:gd name="connsiteX2879" fmla="*/ 53607 w 401077"/>
                  <a:gd name="connsiteY2879" fmla="*/ 267326 h 533771"/>
                  <a:gd name="connsiteX2880" fmla="*/ 53342 w 401077"/>
                  <a:gd name="connsiteY2880" fmla="*/ 267326 h 533771"/>
                  <a:gd name="connsiteX2881" fmla="*/ 53078 w 401077"/>
                  <a:gd name="connsiteY2881" fmla="*/ 267326 h 533771"/>
                  <a:gd name="connsiteX2882" fmla="*/ 53342 w 401077"/>
                  <a:gd name="connsiteY2882" fmla="*/ 267326 h 533771"/>
                  <a:gd name="connsiteX2883" fmla="*/ 53607 w 401077"/>
                  <a:gd name="connsiteY2883" fmla="*/ 267591 h 533771"/>
                  <a:gd name="connsiteX2884" fmla="*/ 53871 w 401077"/>
                  <a:gd name="connsiteY2884" fmla="*/ 267856 h 533771"/>
                  <a:gd name="connsiteX2885" fmla="*/ 54136 w 401077"/>
                  <a:gd name="connsiteY2885" fmla="*/ 268120 h 533771"/>
                  <a:gd name="connsiteX2886" fmla="*/ 54400 w 401077"/>
                  <a:gd name="connsiteY2886" fmla="*/ 268649 h 533771"/>
                  <a:gd name="connsiteX2887" fmla="*/ 54400 w 401077"/>
                  <a:gd name="connsiteY2887" fmla="*/ 268914 h 533771"/>
                  <a:gd name="connsiteX2888" fmla="*/ 54136 w 401077"/>
                  <a:gd name="connsiteY2888" fmla="*/ 269178 h 533771"/>
                  <a:gd name="connsiteX2889" fmla="*/ 54136 w 401077"/>
                  <a:gd name="connsiteY2889" fmla="*/ 269795 h 533771"/>
                  <a:gd name="connsiteX2890" fmla="*/ 53871 w 401077"/>
                  <a:gd name="connsiteY2890" fmla="*/ 270412 h 533771"/>
                  <a:gd name="connsiteX2891" fmla="*/ 53607 w 401077"/>
                  <a:gd name="connsiteY2891" fmla="*/ 271030 h 533771"/>
                  <a:gd name="connsiteX2892" fmla="*/ 53342 w 401077"/>
                  <a:gd name="connsiteY2892" fmla="*/ 271294 h 533771"/>
                  <a:gd name="connsiteX2893" fmla="*/ 53871 w 401077"/>
                  <a:gd name="connsiteY2893" fmla="*/ 271911 h 533771"/>
                  <a:gd name="connsiteX2894" fmla="*/ 53607 w 401077"/>
                  <a:gd name="connsiteY2894" fmla="*/ 272264 h 533771"/>
                  <a:gd name="connsiteX2895" fmla="*/ 53871 w 401077"/>
                  <a:gd name="connsiteY2895" fmla="*/ 271911 h 533771"/>
                  <a:gd name="connsiteX2896" fmla="*/ 53871 w 401077"/>
                  <a:gd name="connsiteY2896" fmla="*/ 272529 h 533771"/>
                  <a:gd name="connsiteX2897" fmla="*/ 53871 w 401077"/>
                  <a:gd name="connsiteY2897" fmla="*/ 272793 h 533771"/>
                  <a:gd name="connsiteX2898" fmla="*/ 54136 w 401077"/>
                  <a:gd name="connsiteY2898" fmla="*/ 272793 h 533771"/>
                  <a:gd name="connsiteX2899" fmla="*/ 54136 w 401077"/>
                  <a:gd name="connsiteY2899" fmla="*/ 272529 h 533771"/>
                  <a:gd name="connsiteX2900" fmla="*/ 54400 w 401077"/>
                  <a:gd name="connsiteY2900" fmla="*/ 272793 h 533771"/>
                  <a:gd name="connsiteX2901" fmla="*/ 54136 w 401077"/>
                  <a:gd name="connsiteY2901" fmla="*/ 273057 h 533771"/>
                  <a:gd name="connsiteX2902" fmla="*/ 54400 w 401077"/>
                  <a:gd name="connsiteY2902" fmla="*/ 273322 h 533771"/>
                  <a:gd name="connsiteX2903" fmla="*/ 54753 w 401077"/>
                  <a:gd name="connsiteY2903" fmla="*/ 273586 h 533771"/>
                  <a:gd name="connsiteX2904" fmla="*/ 54400 w 401077"/>
                  <a:gd name="connsiteY2904" fmla="*/ 273851 h 533771"/>
                  <a:gd name="connsiteX2905" fmla="*/ 55017 w 401077"/>
                  <a:gd name="connsiteY2905" fmla="*/ 274115 h 533771"/>
                  <a:gd name="connsiteX2906" fmla="*/ 54753 w 401077"/>
                  <a:gd name="connsiteY2906" fmla="*/ 274115 h 533771"/>
                  <a:gd name="connsiteX2907" fmla="*/ 55017 w 401077"/>
                  <a:gd name="connsiteY2907" fmla="*/ 274380 h 533771"/>
                  <a:gd name="connsiteX2908" fmla="*/ 54841 w 401077"/>
                  <a:gd name="connsiteY2908" fmla="*/ 274733 h 533771"/>
                  <a:gd name="connsiteX2909" fmla="*/ 56604 w 401077"/>
                  <a:gd name="connsiteY2909" fmla="*/ 279053 h 533771"/>
                  <a:gd name="connsiteX2910" fmla="*/ 56340 w 401077"/>
                  <a:gd name="connsiteY2910" fmla="*/ 278788 h 533771"/>
                  <a:gd name="connsiteX2911" fmla="*/ 56957 w 401077"/>
                  <a:gd name="connsiteY2911" fmla="*/ 278788 h 533771"/>
                  <a:gd name="connsiteX2912" fmla="*/ 56957 w 401077"/>
                  <a:gd name="connsiteY2912" fmla="*/ 278524 h 533771"/>
                  <a:gd name="connsiteX2913" fmla="*/ 56957 w 401077"/>
                  <a:gd name="connsiteY2913" fmla="*/ 278788 h 533771"/>
                  <a:gd name="connsiteX2914" fmla="*/ 56604 w 401077"/>
                  <a:gd name="connsiteY2914" fmla="*/ 279053 h 533771"/>
                  <a:gd name="connsiteX2915" fmla="*/ 54576 w 401077"/>
                  <a:gd name="connsiteY2915" fmla="*/ 283461 h 533771"/>
                  <a:gd name="connsiteX2916" fmla="*/ 54312 w 401077"/>
                  <a:gd name="connsiteY2916" fmla="*/ 283461 h 533771"/>
                  <a:gd name="connsiteX2917" fmla="*/ 54047 w 401077"/>
                  <a:gd name="connsiteY2917" fmla="*/ 282844 h 533771"/>
                  <a:gd name="connsiteX2918" fmla="*/ 53518 w 401077"/>
                  <a:gd name="connsiteY2918" fmla="*/ 282844 h 533771"/>
                  <a:gd name="connsiteX2919" fmla="*/ 53254 w 401077"/>
                  <a:gd name="connsiteY2919" fmla="*/ 282580 h 533771"/>
                  <a:gd name="connsiteX2920" fmla="*/ 52989 w 401077"/>
                  <a:gd name="connsiteY2920" fmla="*/ 281433 h 533771"/>
                  <a:gd name="connsiteX2921" fmla="*/ 52372 w 401077"/>
                  <a:gd name="connsiteY2921" fmla="*/ 280287 h 533771"/>
                  <a:gd name="connsiteX2922" fmla="*/ 52372 w 401077"/>
                  <a:gd name="connsiteY2922" fmla="*/ 279670 h 533771"/>
                  <a:gd name="connsiteX2923" fmla="*/ 52372 w 401077"/>
                  <a:gd name="connsiteY2923" fmla="*/ 278788 h 533771"/>
                  <a:gd name="connsiteX2924" fmla="*/ 51755 w 401077"/>
                  <a:gd name="connsiteY2924" fmla="*/ 277907 h 533771"/>
                  <a:gd name="connsiteX2925" fmla="*/ 52020 w 401077"/>
                  <a:gd name="connsiteY2925" fmla="*/ 277290 h 533771"/>
                  <a:gd name="connsiteX2926" fmla="*/ 52284 w 401077"/>
                  <a:gd name="connsiteY2926" fmla="*/ 277907 h 533771"/>
                  <a:gd name="connsiteX2927" fmla="*/ 52549 w 401077"/>
                  <a:gd name="connsiteY2927" fmla="*/ 278171 h 533771"/>
                  <a:gd name="connsiteX2928" fmla="*/ 52813 w 401077"/>
                  <a:gd name="connsiteY2928" fmla="*/ 277907 h 533771"/>
                  <a:gd name="connsiteX2929" fmla="*/ 53078 w 401077"/>
                  <a:gd name="connsiteY2929" fmla="*/ 277907 h 533771"/>
                  <a:gd name="connsiteX2930" fmla="*/ 53342 w 401077"/>
                  <a:gd name="connsiteY2930" fmla="*/ 277907 h 533771"/>
                  <a:gd name="connsiteX2931" fmla="*/ 53607 w 401077"/>
                  <a:gd name="connsiteY2931" fmla="*/ 278524 h 533771"/>
                  <a:gd name="connsiteX2932" fmla="*/ 53607 w 401077"/>
                  <a:gd name="connsiteY2932" fmla="*/ 278259 h 533771"/>
                  <a:gd name="connsiteX2933" fmla="*/ 53342 w 401077"/>
                  <a:gd name="connsiteY2933" fmla="*/ 277995 h 533771"/>
                  <a:gd name="connsiteX2934" fmla="*/ 53078 w 401077"/>
                  <a:gd name="connsiteY2934" fmla="*/ 277730 h 533771"/>
                  <a:gd name="connsiteX2935" fmla="*/ 53342 w 401077"/>
                  <a:gd name="connsiteY2935" fmla="*/ 277730 h 533771"/>
                  <a:gd name="connsiteX2936" fmla="*/ 53607 w 401077"/>
                  <a:gd name="connsiteY2936" fmla="*/ 277730 h 533771"/>
                  <a:gd name="connsiteX2937" fmla="*/ 53871 w 401077"/>
                  <a:gd name="connsiteY2937" fmla="*/ 277995 h 533771"/>
                  <a:gd name="connsiteX2938" fmla="*/ 53871 w 401077"/>
                  <a:gd name="connsiteY2938" fmla="*/ 278259 h 533771"/>
                  <a:gd name="connsiteX2939" fmla="*/ 54136 w 401077"/>
                  <a:gd name="connsiteY2939" fmla="*/ 278524 h 533771"/>
                  <a:gd name="connsiteX2940" fmla="*/ 54136 w 401077"/>
                  <a:gd name="connsiteY2940" fmla="*/ 278259 h 533771"/>
                  <a:gd name="connsiteX2941" fmla="*/ 54753 w 401077"/>
                  <a:gd name="connsiteY2941" fmla="*/ 278259 h 533771"/>
                  <a:gd name="connsiteX2942" fmla="*/ 55017 w 401077"/>
                  <a:gd name="connsiteY2942" fmla="*/ 278877 h 533771"/>
                  <a:gd name="connsiteX2943" fmla="*/ 54753 w 401077"/>
                  <a:gd name="connsiteY2943" fmla="*/ 279141 h 533771"/>
                  <a:gd name="connsiteX2944" fmla="*/ 55017 w 401077"/>
                  <a:gd name="connsiteY2944" fmla="*/ 279758 h 533771"/>
                  <a:gd name="connsiteX2945" fmla="*/ 55017 w 401077"/>
                  <a:gd name="connsiteY2945" fmla="*/ 280375 h 533771"/>
                  <a:gd name="connsiteX2946" fmla="*/ 54753 w 401077"/>
                  <a:gd name="connsiteY2946" fmla="*/ 280111 h 533771"/>
                  <a:gd name="connsiteX2947" fmla="*/ 55017 w 401077"/>
                  <a:gd name="connsiteY2947" fmla="*/ 280993 h 533771"/>
                  <a:gd name="connsiteX2948" fmla="*/ 55017 w 401077"/>
                  <a:gd name="connsiteY2948" fmla="*/ 281257 h 533771"/>
                  <a:gd name="connsiteX2949" fmla="*/ 55370 w 401077"/>
                  <a:gd name="connsiteY2949" fmla="*/ 281874 h 533771"/>
                  <a:gd name="connsiteX2950" fmla="*/ 55017 w 401077"/>
                  <a:gd name="connsiteY2950" fmla="*/ 281874 h 533771"/>
                  <a:gd name="connsiteX2951" fmla="*/ 55370 w 401077"/>
                  <a:gd name="connsiteY2951" fmla="*/ 282491 h 533771"/>
                  <a:gd name="connsiteX2952" fmla="*/ 54753 w 401077"/>
                  <a:gd name="connsiteY2952" fmla="*/ 282756 h 533771"/>
                  <a:gd name="connsiteX2953" fmla="*/ 55017 w 401077"/>
                  <a:gd name="connsiteY2953" fmla="*/ 283021 h 533771"/>
                  <a:gd name="connsiteX2954" fmla="*/ 54753 w 401077"/>
                  <a:gd name="connsiteY2954" fmla="*/ 283285 h 533771"/>
                  <a:gd name="connsiteX2955" fmla="*/ 54576 w 401077"/>
                  <a:gd name="connsiteY2955" fmla="*/ 283461 h 533771"/>
                  <a:gd name="connsiteX2956" fmla="*/ 83143 w 401077"/>
                  <a:gd name="connsiteY2956" fmla="*/ 288663 h 533771"/>
                  <a:gd name="connsiteX2957" fmla="*/ 82525 w 401077"/>
                  <a:gd name="connsiteY2957" fmla="*/ 288399 h 533771"/>
                  <a:gd name="connsiteX2958" fmla="*/ 83143 w 401077"/>
                  <a:gd name="connsiteY2958" fmla="*/ 288399 h 533771"/>
                  <a:gd name="connsiteX2959" fmla="*/ 83143 w 401077"/>
                  <a:gd name="connsiteY2959" fmla="*/ 288663 h 533771"/>
                  <a:gd name="connsiteX2960" fmla="*/ 84906 w 401077"/>
                  <a:gd name="connsiteY2960" fmla="*/ 288663 h 533771"/>
                  <a:gd name="connsiteX2961" fmla="*/ 84377 w 401077"/>
                  <a:gd name="connsiteY2961" fmla="*/ 288399 h 533771"/>
                  <a:gd name="connsiteX2962" fmla="*/ 84642 w 401077"/>
                  <a:gd name="connsiteY2962" fmla="*/ 288663 h 533771"/>
                  <a:gd name="connsiteX2963" fmla="*/ 84906 w 401077"/>
                  <a:gd name="connsiteY2963" fmla="*/ 288663 h 533771"/>
                  <a:gd name="connsiteX2964" fmla="*/ 75296 w 401077"/>
                  <a:gd name="connsiteY2964" fmla="*/ 289545 h 533771"/>
                  <a:gd name="connsiteX2965" fmla="*/ 75296 w 401077"/>
                  <a:gd name="connsiteY2965" fmla="*/ 289545 h 533771"/>
                  <a:gd name="connsiteX2966" fmla="*/ 75296 w 401077"/>
                  <a:gd name="connsiteY2966" fmla="*/ 289280 h 533771"/>
                  <a:gd name="connsiteX2967" fmla="*/ 75296 w 401077"/>
                  <a:gd name="connsiteY2967" fmla="*/ 289545 h 533771"/>
                  <a:gd name="connsiteX2968" fmla="*/ 83143 w 401077"/>
                  <a:gd name="connsiteY2968" fmla="*/ 292190 h 533771"/>
                  <a:gd name="connsiteX2969" fmla="*/ 83143 w 401077"/>
                  <a:gd name="connsiteY2969" fmla="*/ 292190 h 533771"/>
                  <a:gd name="connsiteX2970" fmla="*/ 83407 w 401077"/>
                  <a:gd name="connsiteY2970" fmla="*/ 292190 h 533771"/>
                  <a:gd name="connsiteX2971" fmla="*/ 83143 w 401077"/>
                  <a:gd name="connsiteY2971" fmla="*/ 292190 h 533771"/>
                  <a:gd name="connsiteX2972" fmla="*/ 68330 w 401077"/>
                  <a:gd name="connsiteY2972" fmla="*/ 292807 h 533771"/>
                  <a:gd name="connsiteX2973" fmla="*/ 68066 w 401077"/>
                  <a:gd name="connsiteY2973" fmla="*/ 292807 h 533771"/>
                  <a:gd name="connsiteX2974" fmla="*/ 68330 w 401077"/>
                  <a:gd name="connsiteY2974" fmla="*/ 292807 h 533771"/>
                  <a:gd name="connsiteX2975" fmla="*/ 68330 w 401077"/>
                  <a:gd name="connsiteY2975" fmla="*/ 293072 h 533771"/>
                  <a:gd name="connsiteX2976" fmla="*/ 68330 w 401077"/>
                  <a:gd name="connsiteY2976" fmla="*/ 293072 h 533771"/>
                  <a:gd name="connsiteX2977" fmla="*/ 68330 w 401077"/>
                  <a:gd name="connsiteY2977" fmla="*/ 292807 h 533771"/>
                  <a:gd name="connsiteX2978" fmla="*/ 68330 w 401077"/>
                  <a:gd name="connsiteY2978" fmla="*/ 293072 h 533771"/>
                  <a:gd name="connsiteX2979" fmla="*/ 111180 w 401077"/>
                  <a:gd name="connsiteY2979" fmla="*/ 293072 h 533771"/>
                  <a:gd name="connsiteX2980" fmla="*/ 110299 w 401077"/>
                  <a:gd name="connsiteY2980" fmla="*/ 293336 h 533771"/>
                  <a:gd name="connsiteX2981" fmla="*/ 110299 w 401077"/>
                  <a:gd name="connsiteY2981" fmla="*/ 292719 h 533771"/>
                  <a:gd name="connsiteX2982" fmla="*/ 110916 w 401077"/>
                  <a:gd name="connsiteY2982" fmla="*/ 292719 h 533771"/>
                  <a:gd name="connsiteX2983" fmla="*/ 111533 w 401077"/>
                  <a:gd name="connsiteY2983" fmla="*/ 292719 h 533771"/>
                  <a:gd name="connsiteX2984" fmla="*/ 111180 w 401077"/>
                  <a:gd name="connsiteY2984" fmla="*/ 293072 h 533771"/>
                  <a:gd name="connsiteX2985" fmla="*/ 70270 w 401077"/>
                  <a:gd name="connsiteY2985" fmla="*/ 293336 h 533771"/>
                  <a:gd name="connsiteX2986" fmla="*/ 69741 w 401077"/>
                  <a:gd name="connsiteY2986" fmla="*/ 293336 h 533771"/>
                  <a:gd name="connsiteX2987" fmla="*/ 69477 w 401077"/>
                  <a:gd name="connsiteY2987" fmla="*/ 293072 h 533771"/>
                  <a:gd name="connsiteX2988" fmla="*/ 69213 w 401077"/>
                  <a:gd name="connsiteY2988" fmla="*/ 292807 h 533771"/>
                  <a:gd name="connsiteX2989" fmla="*/ 68595 w 401077"/>
                  <a:gd name="connsiteY2989" fmla="*/ 292543 h 533771"/>
                  <a:gd name="connsiteX2990" fmla="*/ 68595 w 401077"/>
                  <a:gd name="connsiteY2990" fmla="*/ 292807 h 533771"/>
                  <a:gd name="connsiteX2991" fmla="*/ 68330 w 401077"/>
                  <a:gd name="connsiteY2991" fmla="*/ 292278 h 533771"/>
                  <a:gd name="connsiteX2992" fmla="*/ 68066 w 401077"/>
                  <a:gd name="connsiteY2992" fmla="*/ 292014 h 533771"/>
                  <a:gd name="connsiteX2993" fmla="*/ 68595 w 401077"/>
                  <a:gd name="connsiteY2993" fmla="*/ 292014 h 533771"/>
                  <a:gd name="connsiteX2994" fmla="*/ 68859 w 401077"/>
                  <a:gd name="connsiteY2994" fmla="*/ 292278 h 533771"/>
                  <a:gd name="connsiteX2995" fmla="*/ 67978 w 401077"/>
                  <a:gd name="connsiteY2995" fmla="*/ 291661 h 533771"/>
                  <a:gd name="connsiteX2996" fmla="*/ 67978 w 401077"/>
                  <a:gd name="connsiteY2996" fmla="*/ 291397 h 533771"/>
                  <a:gd name="connsiteX2997" fmla="*/ 67713 w 401077"/>
                  <a:gd name="connsiteY2997" fmla="*/ 291132 h 533771"/>
                  <a:gd name="connsiteX2998" fmla="*/ 68330 w 401077"/>
                  <a:gd name="connsiteY2998" fmla="*/ 291397 h 533771"/>
                  <a:gd name="connsiteX2999" fmla="*/ 68595 w 401077"/>
                  <a:gd name="connsiteY2999" fmla="*/ 291132 h 533771"/>
                  <a:gd name="connsiteX3000" fmla="*/ 68066 w 401077"/>
                  <a:gd name="connsiteY3000" fmla="*/ 290250 h 533771"/>
                  <a:gd name="connsiteX3001" fmla="*/ 68066 w 401077"/>
                  <a:gd name="connsiteY3001" fmla="*/ 289986 h 533771"/>
                  <a:gd name="connsiteX3002" fmla="*/ 68330 w 401077"/>
                  <a:gd name="connsiteY3002" fmla="*/ 289721 h 533771"/>
                  <a:gd name="connsiteX3003" fmla="*/ 68595 w 401077"/>
                  <a:gd name="connsiteY3003" fmla="*/ 289986 h 533771"/>
                  <a:gd name="connsiteX3004" fmla="*/ 69741 w 401077"/>
                  <a:gd name="connsiteY3004" fmla="*/ 290250 h 533771"/>
                  <a:gd name="connsiteX3005" fmla="*/ 70006 w 401077"/>
                  <a:gd name="connsiteY3005" fmla="*/ 290515 h 533771"/>
                  <a:gd name="connsiteX3006" fmla="*/ 69741 w 401077"/>
                  <a:gd name="connsiteY3006" fmla="*/ 291044 h 533771"/>
                  <a:gd name="connsiteX3007" fmla="*/ 70887 w 401077"/>
                  <a:gd name="connsiteY3007" fmla="*/ 291661 h 533771"/>
                  <a:gd name="connsiteX3008" fmla="*/ 70270 w 401077"/>
                  <a:gd name="connsiteY3008" fmla="*/ 291926 h 533771"/>
                  <a:gd name="connsiteX3009" fmla="*/ 70887 w 401077"/>
                  <a:gd name="connsiteY3009" fmla="*/ 291926 h 533771"/>
                  <a:gd name="connsiteX3010" fmla="*/ 71152 w 401077"/>
                  <a:gd name="connsiteY3010" fmla="*/ 292190 h 533771"/>
                  <a:gd name="connsiteX3011" fmla="*/ 71152 w 401077"/>
                  <a:gd name="connsiteY3011" fmla="*/ 292719 h 533771"/>
                  <a:gd name="connsiteX3012" fmla="*/ 70270 w 401077"/>
                  <a:gd name="connsiteY3012" fmla="*/ 292719 h 533771"/>
                  <a:gd name="connsiteX3013" fmla="*/ 70270 w 401077"/>
                  <a:gd name="connsiteY3013" fmla="*/ 293336 h 533771"/>
                  <a:gd name="connsiteX3014" fmla="*/ 81379 w 401077"/>
                  <a:gd name="connsiteY3014" fmla="*/ 293953 h 533771"/>
                  <a:gd name="connsiteX3015" fmla="*/ 81115 w 401077"/>
                  <a:gd name="connsiteY3015" fmla="*/ 293953 h 533771"/>
                  <a:gd name="connsiteX3016" fmla="*/ 81379 w 401077"/>
                  <a:gd name="connsiteY3016" fmla="*/ 293953 h 533771"/>
                  <a:gd name="connsiteX3017" fmla="*/ 83143 w 401077"/>
                  <a:gd name="connsiteY3017" fmla="*/ 294835 h 533771"/>
                  <a:gd name="connsiteX3018" fmla="*/ 82525 w 401077"/>
                  <a:gd name="connsiteY3018" fmla="*/ 294218 h 533771"/>
                  <a:gd name="connsiteX3019" fmla="*/ 82525 w 401077"/>
                  <a:gd name="connsiteY3019" fmla="*/ 293953 h 533771"/>
                  <a:gd name="connsiteX3020" fmla="*/ 83143 w 401077"/>
                  <a:gd name="connsiteY3020" fmla="*/ 294571 h 533771"/>
                  <a:gd name="connsiteX3021" fmla="*/ 83143 w 401077"/>
                  <a:gd name="connsiteY3021" fmla="*/ 294835 h 533771"/>
                  <a:gd name="connsiteX3022" fmla="*/ 83760 w 401077"/>
                  <a:gd name="connsiteY3022" fmla="*/ 295717 h 533771"/>
                  <a:gd name="connsiteX3023" fmla="*/ 83496 w 401077"/>
                  <a:gd name="connsiteY3023" fmla="*/ 295452 h 533771"/>
                  <a:gd name="connsiteX3024" fmla="*/ 83760 w 401077"/>
                  <a:gd name="connsiteY3024" fmla="*/ 295717 h 533771"/>
                  <a:gd name="connsiteX3025" fmla="*/ 74414 w 401077"/>
                  <a:gd name="connsiteY3025" fmla="*/ 296598 h 533771"/>
                  <a:gd name="connsiteX3026" fmla="*/ 74150 w 401077"/>
                  <a:gd name="connsiteY3026" fmla="*/ 296334 h 533771"/>
                  <a:gd name="connsiteX3027" fmla="*/ 74414 w 401077"/>
                  <a:gd name="connsiteY3027" fmla="*/ 296334 h 533771"/>
                  <a:gd name="connsiteX3028" fmla="*/ 74414 w 401077"/>
                  <a:gd name="connsiteY3028" fmla="*/ 296598 h 533771"/>
                  <a:gd name="connsiteX3029" fmla="*/ 75296 w 401077"/>
                  <a:gd name="connsiteY3029" fmla="*/ 296246 h 533771"/>
                  <a:gd name="connsiteX3030" fmla="*/ 75031 w 401077"/>
                  <a:gd name="connsiteY3030" fmla="*/ 296246 h 533771"/>
                  <a:gd name="connsiteX3031" fmla="*/ 75296 w 401077"/>
                  <a:gd name="connsiteY3031" fmla="*/ 295981 h 533771"/>
                  <a:gd name="connsiteX3032" fmla="*/ 75296 w 401077"/>
                  <a:gd name="connsiteY3032" fmla="*/ 296246 h 533771"/>
                  <a:gd name="connsiteX3033" fmla="*/ 72651 w 401077"/>
                  <a:gd name="connsiteY3033" fmla="*/ 296863 h 533771"/>
                  <a:gd name="connsiteX3034" fmla="*/ 72033 w 401077"/>
                  <a:gd name="connsiteY3034" fmla="*/ 296863 h 533771"/>
                  <a:gd name="connsiteX3035" fmla="*/ 72298 w 401077"/>
                  <a:gd name="connsiteY3035" fmla="*/ 296598 h 533771"/>
                  <a:gd name="connsiteX3036" fmla="*/ 72651 w 401077"/>
                  <a:gd name="connsiteY3036" fmla="*/ 296863 h 533771"/>
                  <a:gd name="connsiteX3037" fmla="*/ 78823 w 401077"/>
                  <a:gd name="connsiteY3037" fmla="*/ 296863 h 533771"/>
                  <a:gd name="connsiteX3038" fmla="*/ 78558 w 401077"/>
                  <a:gd name="connsiteY3038" fmla="*/ 296863 h 533771"/>
                  <a:gd name="connsiteX3039" fmla="*/ 78823 w 401077"/>
                  <a:gd name="connsiteY3039" fmla="*/ 296863 h 533771"/>
                  <a:gd name="connsiteX3040" fmla="*/ 75296 w 401077"/>
                  <a:gd name="connsiteY3040" fmla="*/ 297480 h 533771"/>
                  <a:gd name="connsiteX3041" fmla="*/ 75296 w 401077"/>
                  <a:gd name="connsiteY3041" fmla="*/ 297480 h 533771"/>
                  <a:gd name="connsiteX3042" fmla="*/ 75296 w 401077"/>
                  <a:gd name="connsiteY3042" fmla="*/ 297216 h 533771"/>
                  <a:gd name="connsiteX3043" fmla="*/ 75296 w 401077"/>
                  <a:gd name="connsiteY3043" fmla="*/ 297480 h 533771"/>
                  <a:gd name="connsiteX3044" fmla="*/ 77588 w 401077"/>
                  <a:gd name="connsiteY3044" fmla="*/ 297745 h 533771"/>
                  <a:gd name="connsiteX3045" fmla="*/ 77324 w 401077"/>
                  <a:gd name="connsiteY3045" fmla="*/ 298009 h 533771"/>
                  <a:gd name="connsiteX3046" fmla="*/ 77324 w 401077"/>
                  <a:gd name="connsiteY3046" fmla="*/ 297745 h 533771"/>
                  <a:gd name="connsiteX3047" fmla="*/ 77588 w 401077"/>
                  <a:gd name="connsiteY3047" fmla="*/ 297745 h 533771"/>
                  <a:gd name="connsiteX3048" fmla="*/ 69124 w 401077"/>
                  <a:gd name="connsiteY3048" fmla="*/ 299155 h 533771"/>
                  <a:gd name="connsiteX3049" fmla="*/ 68242 w 401077"/>
                  <a:gd name="connsiteY3049" fmla="*/ 299155 h 533771"/>
                  <a:gd name="connsiteX3050" fmla="*/ 67978 w 401077"/>
                  <a:gd name="connsiteY3050" fmla="*/ 299420 h 533771"/>
                  <a:gd name="connsiteX3051" fmla="*/ 68242 w 401077"/>
                  <a:gd name="connsiteY3051" fmla="*/ 298803 h 533771"/>
                  <a:gd name="connsiteX3052" fmla="*/ 68771 w 401077"/>
                  <a:gd name="connsiteY3052" fmla="*/ 298185 h 533771"/>
                  <a:gd name="connsiteX3053" fmla="*/ 69124 w 401077"/>
                  <a:gd name="connsiteY3053" fmla="*/ 298803 h 533771"/>
                  <a:gd name="connsiteX3054" fmla="*/ 69124 w 401077"/>
                  <a:gd name="connsiteY3054" fmla="*/ 298538 h 533771"/>
                  <a:gd name="connsiteX3055" fmla="*/ 69741 w 401077"/>
                  <a:gd name="connsiteY3055" fmla="*/ 299155 h 533771"/>
                  <a:gd name="connsiteX3056" fmla="*/ 69124 w 401077"/>
                  <a:gd name="connsiteY3056" fmla="*/ 299155 h 533771"/>
                  <a:gd name="connsiteX3057" fmla="*/ 73797 w 401077"/>
                  <a:gd name="connsiteY3057" fmla="*/ 300919 h 533771"/>
                  <a:gd name="connsiteX3058" fmla="*/ 73268 w 401077"/>
                  <a:gd name="connsiteY3058" fmla="*/ 300654 h 533771"/>
                  <a:gd name="connsiteX3059" fmla="*/ 73533 w 401077"/>
                  <a:gd name="connsiteY3059" fmla="*/ 300037 h 533771"/>
                  <a:gd name="connsiteX3060" fmla="*/ 73533 w 401077"/>
                  <a:gd name="connsiteY3060" fmla="*/ 299420 h 533771"/>
                  <a:gd name="connsiteX3061" fmla="*/ 73797 w 401077"/>
                  <a:gd name="connsiteY3061" fmla="*/ 299420 h 533771"/>
                  <a:gd name="connsiteX3062" fmla="*/ 74414 w 401077"/>
                  <a:gd name="connsiteY3062" fmla="*/ 300301 h 533771"/>
                  <a:gd name="connsiteX3063" fmla="*/ 74150 w 401077"/>
                  <a:gd name="connsiteY3063" fmla="*/ 300301 h 533771"/>
                  <a:gd name="connsiteX3064" fmla="*/ 74150 w 401077"/>
                  <a:gd name="connsiteY3064" fmla="*/ 300566 h 533771"/>
                  <a:gd name="connsiteX3065" fmla="*/ 73797 w 401077"/>
                  <a:gd name="connsiteY3065" fmla="*/ 300566 h 533771"/>
                  <a:gd name="connsiteX3066" fmla="*/ 73797 w 401077"/>
                  <a:gd name="connsiteY3066" fmla="*/ 300919 h 533771"/>
                  <a:gd name="connsiteX3067" fmla="*/ 73268 w 401077"/>
                  <a:gd name="connsiteY3067" fmla="*/ 299773 h 533771"/>
                  <a:gd name="connsiteX3068" fmla="*/ 72915 w 401077"/>
                  <a:gd name="connsiteY3068" fmla="*/ 299773 h 533771"/>
                  <a:gd name="connsiteX3069" fmla="*/ 73268 w 401077"/>
                  <a:gd name="connsiteY3069" fmla="*/ 299773 h 533771"/>
                  <a:gd name="connsiteX3070" fmla="*/ 68859 w 401077"/>
                  <a:gd name="connsiteY3070" fmla="*/ 300390 h 533771"/>
                  <a:gd name="connsiteX3071" fmla="*/ 68595 w 401077"/>
                  <a:gd name="connsiteY3071" fmla="*/ 300390 h 533771"/>
                  <a:gd name="connsiteX3072" fmla="*/ 68859 w 401077"/>
                  <a:gd name="connsiteY3072" fmla="*/ 299773 h 533771"/>
                  <a:gd name="connsiteX3073" fmla="*/ 69213 w 401077"/>
                  <a:gd name="connsiteY3073" fmla="*/ 300037 h 533771"/>
                  <a:gd name="connsiteX3074" fmla="*/ 68859 w 401077"/>
                  <a:gd name="connsiteY3074" fmla="*/ 300390 h 533771"/>
                  <a:gd name="connsiteX3075" fmla="*/ 67978 w 401077"/>
                  <a:gd name="connsiteY3075" fmla="*/ 302418 h 533771"/>
                  <a:gd name="connsiteX3076" fmla="*/ 67096 w 401077"/>
                  <a:gd name="connsiteY3076" fmla="*/ 302153 h 533771"/>
                  <a:gd name="connsiteX3077" fmla="*/ 67096 w 401077"/>
                  <a:gd name="connsiteY3077" fmla="*/ 301271 h 533771"/>
                  <a:gd name="connsiteX3078" fmla="*/ 67096 w 401077"/>
                  <a:gd name="connsiteY3078" fmla="*/ 300125 h 533771"/>
                  <a:gd name="connsiteX3079" fmla="*/ 67096 w 401077"/>
                  <a:gd name="connsiteY3079" fmla="*/ 300742 h 533771"/>
                  <a:gd name="connsiteX3080" fmla="*/ 67625 w 401077"/>
                  <a:gd name="connsiteY3080" fmla="*/ 301271 h 533771"/>
                  <a:gd name="connsiteX3081" fmla="*/ 67978 w 401077"/>
                  <a:gd name="connsiteY3081" fmla="*/ 302418 h 533771"/>
                  <a:gd name="connsiteX3082" fmla="*/ 121672 w 401077"/>
                  <a:gd name="connsiteY3082" fmla="*/ 304445 h 533771"/>
                  <a:gd name="connsiteX3083" fmla="*/ 121408 w 401077"/>
                  <a:gd name="connsiteY3083" fmla="*/ 304181 h 533771"/>
                  <a:gd name="connsiteX3084" fmla="*/ 122025 w 401077"/>
                  <a:gd name="connsiteY3084" fmla="*/ 304445 h 533771"/>
                  <a:gd name="connsiteX3085" fmla="*/ 121672 w 401077"/>
                  <a:gd name="connsiteY3085" fmla="*/ 304445 h 533771"/>
                  <a:gd name="connsiteX3086" fmla="*/ 62423 w 401077"/>
                  <a:gd name="connsiteY3086" fmla="*/ 305063 h 533771"/>
                  <a:gd name="connsiteX3087" fmla="*/ 61277 w 401077"/>
                  <a:gd name="connsiteY3087" fmla="*/ 304445 h 533771"/>
                  <a:gd name="connsiteX3088" fmla="*/ 63041 w 401077"/>
                  <a:gd name="connsiteY3088" fmla="*/ 304445 h 533771"/>
                  <a:gd name="connsiteX3089" fmla="*/ 62423 w 401077"/>
                  <a:gd name="connsiteY3089" fmla="*/ 305063 h 533771"/>
                  <a:gd name="connsiteX3090" fmla="*/ 61541 w 401077"/>
                  <a:gd name="connsiteY3090" fmla="*/ 305063 h 533771"/>
                  <a:gd name="connsiteX3091" fmla="*/ 61277 w 401077"/>
                  <a:gd name="connsiteY3091" fmla="*/ 305063 h 533771"/>
                  <a:gd name="connsiteX3092" fmla="*/ 61541 w 401077"/>
                  <a:gd name="connsiteY3092" fmla="*/ 305063 h 533771"/>
                  <a:gd name="connsiteX3093" fmla="*/ 68859 w 401077"/>
                  <a:gd name="connsiteY3093" fmla="*/ 306826 h 533771"/>
                  <a:gd name="connsiteX3094" fmla="*/ 67713 w 401077"/>
                  <a:gd name="connsiteY3094" fmla="*/ 306826 h 533771"/>
                  <a:gd name="connsiteX3095" fmla="*/ 67713 w 401077"/>
                  <a:gd name="connsiteY3095" fmla="*/ 306209 h 533771"/>
                  <a:gd name="connsiteX3096" fmla="*/ 67978 w 401077"/>
                  <a:gd name="connsiteY3096" fmla="*/ 306209 h 533771"/>
                  <a:gd name="connsiteX3097" fmla="*/ 68507 w 401077"/>
                  <a:gd name="connsiteY3097" fmla="*/ 306473 h 533771"/>
                  <a:gd name="connsiteX3098" fmla="*/ 68771 w 401077"/>
                  <a:gd name="connsiteY3098" fmla="*/ 306473 h 533771"/>
                  <a:gd name="connsiteX3099" fmla="*/ 68507 w 401077"/>
                  <a:gd name="connsiteY3099" fmla="*/ 306209 h 533771"/>
                  <a:gd name="connsiteX3100" fmla="*/ 68242 w 401077"/>
                  <a:gd name="connsiteY3100" fmla="*/ 305327 h 533771"/>
                  <a:gd name="connsiteX3101" fmla="*/ 68771 w 401077"/>
                  <a:gd name="connsiteY3101" fmla="*/ 305327 h 533771"/>
                  <a:gd name="connsiteX3102" fmla="*/ 68771 w 401077"/>
                  <a:gd name="connsiteY3102" fmla="*/ 305063 h 533771"/>
                  <a:gd name="connsiteX3103" fmla="*/ 68507 w 401077"/>
                  <a:gd name="connsiteY3103" fmla="*/ 304798 h 533771"/>
                  <a:gd name="connsiteX3104" fmla="*/ 68242 w 401077"/>
                  <a:gd name="connsiteY3104" fmla="*/ 304181 h 533771"/>
                  <a:gd name="connsiteX3105" fmla="*/ 68242 w 401077"/>
                  <a:gd name="connsiteY3105" fmla="*/ 303916 h 533771"/>
                  <a:gd name="connsiteX3106" fmla="*/ 68771 w 401077"/>
                  <a:gd name="connsiteY3106" fmla="*/ 303916 h 533771"/>
                  <a:gd name="connsiteX3107" fmla="*/ 68242 w 401077"/>
                  <a:gd name="connsiteY3107" fmla="*/ 303299 h 533771"/>
                  <a:gd name="connsiteX3108" fmla="*/ 68242 w 401077"/>
                  <a:gd name="connsiteY3108" fmla="*/ 302682 h 533771"/>
                  <a:gd name="connsiteX3109" fmla="*/ 68242 w 401077"/>
                  <a:gd name="connsiteY3109" fmla="*/ 302418 h 533771"/>
                  <a:gd name="connsiteX3110" fmla="*/ 68771 w 401077"/>
                  <a:gd name="connsiteY3110" fmla="*/ 302153 h 533771"/>
                  <a:gd name="connsiteX3111" fmla="*/ 69388 w 401077"/>
                  <a:gd name="connsiteY3111" fmla="*/ 302153 h 533771"/>
                  <a:gd name="connsiteX3112" fmla="*/ 69388 w 401077"/>
                  <a:gd name="connsiteY3112" fmla="*/ 301889 h 533771"/>
                  <a:gd name="connsiteX3113" fmla="*/ 69653 w 401077"/>
                  <a:gd name="connsiteY3113" fmla="*/ 302506 h 533771"/>
                  <a:gd name="connsiteX3114" fmla="*/ 69917 w 401077"/>
                  <a:gd name="connsiteY3114" fmla="*/ 302241 h 533771"/>
                  <a:gd name="connsiteX3115" fmla="*/ 69653 w 401077"/>
                  <a:gd name="connsiteY3115" fmla="*/ 301977 h 533771"/>
                  <a:gd name="connsiteX3116" fmla="*/ 69917 w 401077"/>
                  <a:gd name="connsiteY3116" fmla="*/ 301977 h 533771"/>
                  <a:gd name="connsiteX3117" fmla="*/ 69388 w 401077"/>
                  <a:gd name="connsiteY3117" fmla="*/ 301712 h 533771"/>
                  <a:gd name="connsiteX3118" fmla="*/ 69388 w 401077"/>
                  <a:gd name="connsiteY3118" fmla="*/ 301448 h 533771"/>
                  <a:gd name="connsiteX3119" fmla="*/ 69388 w 401077"/>
                  <a:gd name="connsiteY3119" fmla="*/ 301183 h 533771"/>
                  <a:gd name="connsiteX3120" fmla="*/ 69917 w 401077"/>
                  <a:gd name="connsiteY3120" fmla="*/ 301183 h 533771"/>
                  <a:gd name="connsiteX3121" fmla="*/ 70182 w 401077"/>
                  <a:gd name="connsiteY3121" fmla="*/ 301712 h 533771"/>
                  <a:gd name="connsiteX3122" fmla="*/ 70799 w 401077"/>
                  <a:gd name="connsiteY3122" fmla="*/ 302594 h 533771"/>
                  <a:gd name="connsiteX3123" fmla="*/ 70182 w 401077"/>
                  <a:gd name="connsiteY3123" fmla="*/ 302594 h 533771"/>
                  <a:gd name="connsiteX3124" fmla="*/ 70446 w 401077"/>
                  <a:gd name="connsiteY3124" fmla="*/ 303211 h 533771"/>
                  <a:gd name="connsiteX3125" fmla="*/ 69829 w 401077"/>
                  <a:gd name="connsiteY3125" fmla="*/ 303211 h 533771"/>
                  <a:gd name="connsiteX3126" fmla="*/ 70094 w 401077"/>
                  <a:gd name="connsiteY3126" fmla="*/ 303476 h 533771"/>
                  <a:gd name="connsiteX3127" fmla="*/ 70094 w 401077"/>
                  <a:gd name="connsiteY3127" fmla="*/ 303740 h 533771"/>
                  <a:gd name="connsiteX3128" fmla="*/ 70094 w 401077"/>
                  <a:gd name="connsiteY3128" fmla="*/ 304357 h 533771"/>
                  <a:gd name="connsiteX3129" fmla="*/ 69565 w 401077"/>
                  <a:gd name="connsiteY3129" fmla="*/ 304357 h 533771"/>
                  <a:gd name="connsiteX3130" fmla="*/ 70094 w 401077"/>
                  <a:gd name="connsiteY3130" fmla="*/ 304622 h 533771"/>
                  <a:gd name="connsiteX3131" fmla="*/ 70094 w 401077"/>
                  <a:gd name="connsiteY3131" fmla="*/ 305503 h 533771"/>
                  <a:gd name="connsiteX3132" fmla="*/ 69565 w 401077"/>
                  <a:gd name="connsiteY3132" fmla="*/ 306033 h 533771"/>
                  <a:gd name="connsiteX3133" fmla="*/ 69300 w 401077"/>
                  <a:gd name="connsiteY3133" fmla="*/ 306914 h 533771"/>
                  <a:gd name="connsiteX3134" fmla="*/ 68859 w 401077"/>
                  <a:gd name="connsiteY3134" fmla="*/ 306914 h 533771"/>
                  <a:gd name="connsiteX3135" fmla="*/ 61894 w 401077"/>
                  <a:gd name="connsiteY3135" fmla="*/ 305592 h 533771"/>
                  <a:gd name="connsiteX3136" fmla="*/ 61277 w 401077"/>
                  <a:gd name="connsiteY3136" fmla="*/ 305592 h 533771"/>
                  <a:gd name="connsiteX3137" fmla="*/ 61894 w 401077"/>
                  <a:gd name="connsiteY3137" fmla="*/ 305592 h 533771"/>
                  <a:gd name="connsiteX3138" fmla="*/ 63570 w 401077"/>
                  <a:gd name="connsiteY3138" fmla="*/ 307090 h 533771"/>
                  <a:gd name="connsiteX3139" fmla="*/ 63041 w 401077"/>
                  <a:gd name="connsiteY3139" fmla="*/ 305944 h 533771"/>
                  <a:gd name="connsiteX3140" fmla="*/ 63570 w 401077"/>
                  <a:gd name="connsiteY3140" fmla="*/ 307090 h 533771"/>
                  <a:gd name="connsiteX3141" fmla="*/ 61012 w 401077"/>
                  <a:gd name="connsiteY3141" fmla="*/ 306209 h 533771"/>
                  <a:gd name="connsiteX3142" fmla="*/ 60748 w 401077"/>
                  <a:gd name="connsiteY3142" fmla="*/ 306209 h 533771"/>
                  <a:gd name="connsiteX3143" fmla="*/ 60748 w 401077"/>
                  <a:gd name="connsiteY3143" fmla="*/ 305944 h 533771"/>
                  <a:gd name="connsiteX3144" fmla="*/ 61012 w 401077"/>
                  <a:gd name="connsiteY3144" fmla="*/ 306209 h 533771"/>
                  <a:gd name="connsiteX3145" fmla="*/ 61894 w 401077"/>
                  <a:gd name="connsiteY3145" fmla="*/ 306473 h 533771"/>
                  <a:gd name="connsiteX3146" fmla="*/ 62247 w 401077"/>
                  <a:gd name="connsiteY3146" fmla="*/ 305856 h 533771"/>
                  <a:gd name="connsiteX3147" fmla="*/ 61894 w 401077"/>
                  <a:gd name="connsiteY3147" fmla="*/ 306473 h 533771"/>
                  <a:gd name="connsiteX3148" fmla="*/ 73268 w 401077"/>
                  <a:gd name="connsiteY3148" fmla="*/ 307090 h 533771"/>
                  <a:gd name="connsiteX3149" fmla="*/ 72915 w 401077"/>
                  <a:gd name="connsiteY3149" fmla="*/ 306826 h 533771"/>
                  <a:gd name="connsiteX3150" fmla="*/ 72915 w 401077"/>
                  <a:gd name="connsiteY3150" fmla="*/ 306562 h 533771"/>
                  <a:gd name="connsiteX3151" fmla="*/ 73268 w 401077"/>
                  <a:gd name="connsiteY3151" fmla="*/ 306826 h 533771"/>
                  <a:gd name="connsiteX3152" fmla="*/ 73268 w 401077"/>
                  <a:gd name="connsiteY3152" fmla="*/ 307090 h 533771"/>
                  <a:gd name="connsiteX3153" fmla="*/ 60131 w 401077"/>
                  <a:gd name="connsiteY3153" fmla="*/ 306473 h 533771"/>
                  <a:gd name="connsiteX3154" fmla="*/ 60131 w 401077"/>
                  <a:gd name="connsiteY3154" fmla="*/ 306473 h 533771"/>
                  <a:gd name="connsiteX3155" fmla="*/ 60396 w 401077"/>
                  <a:gd name="connsiteY3155" fmla="*/ 306473 h 533771"/>
                  <a:gd name="connsiteX3156" fmla="*/ 60131 w 401077"/>
                  <a:gd name="connsiteY3156" fmla="*/ 306473 h 533771"/>
                  <a:gd name="connsiteX3157" fmla="*/ 61277 w 401077"/>
                  <a:gd name="connsiteY3157" fmla="*/ 307090 h 533771"/>
                  <a:gd name="connsiteX3158" fmla="*/ 61012 w 401077"/>
                  <a:gd name="connsiteY3158" fmla="*/ 307090 h 533771"/>
                  <a:gd name="connsiteX3159" fmla="*/ 61277 w 401077"/>
                  <a:gd name="connsiteY3159" fmla="*/ 307090 h 533771"/>
                  <a:gd name="connsiteX3160" fmla="*/ 123700 w 401077"/>
                  <a:gd name="connsiteY3160" fmla="*/ 307090 h 533771"/>
                  <a:gd name="connsiteX3161" fmla="*/ 123436 w 401077"/>
                  <a:gd name="connsiteY3161" fmla="*/ 307090 h 533771"/>
                  <a:gd name="connsiteX3162" fmla="*/ 123700 w 401077"/>
                  <a:gd name="connsiteY3162" fmla="*/ 307090 h 533771"/>
                  <a:gd name="connsiteX3163" fmla="*/ 72386 w 401077"/>
                  <a:gd name="connsiteY3163" fmla="*/ 307972 h 533771"/>
                  <a:gd name="connsiteX3164" fmla="*/ 71769 w 401077"/>
                  <a:gd name="connsiteY3164" fmla="*/ 307619 h 533771"/>
                  <a:gd name="connsiteX3165" fmla="*/ 72033 w 401077"/>
                  <a:gd name="connsiteY3165" fmla="*/ 307619 h 533771"/>
                  <a:gd name="connsiteX3166" fmla="*/ 72651 w 401077"/>
                  <a:gd name="connsiteY3166" fmla="*/ 307619 h 533771"/>
                  <a:gd name="connsiteX3167" fmla="*/ 72386 w 401077"/>
                  <a:gd name="connsiteY3167" fmla="*/ 307972 h 533771"/>
                  <a:gd name="connsiteX3168" fmla="*/ 124847 w 401077"/>
                  <a:gd name="connsiteY3168" fmla="*/ 308854 h 533771"/>
                  <a:gd name="connsiteX3169" fmla="*/ 124582 w 401077"/>
                  <a:gd name="connsiteY3169" fmla="*/ 308854 h 533771"/>
                  <a:gd name="connsiteX3170" fmla="*/ 124582 w 401077"/>
                  <a:gd name="connsiteY3170" fmla="*/ 308589 h 533771"/>
                  <a:gd name="connsiteX3171" fmla="*/ 124847 w 401077"/>
                  <a:gd name="connsiteY3171" fmla="*/ 308854 h 533771"/>
                  <a:gd name="connsiteX3172" fmla="*/ 74414 w 401077"/>
                  <a:gd name="connsiteY3172" fmla="*/ 311146 h 533771"/>
                  <a:gd name="connsiteX3173" fmla="*/ 74150 w 401077"/>
                  <a:gd name="connsiteY3173" fmla="*/ 311146 h 533771"/>
                  <a:gd name="connsiteX3174" fmla="*/ 74150 w 401077"/>
                  <a:gd name="connsiteY3174" fmla="*/ 310529 h 533771"/>
                  <a:gd name="connsiteX3175" fmla="*/ 74414 w 401077"/>
                  <a:gd name="connsiteY3175" fmla="*/ 310265 h 533771"/>
                  <a:gd name="connsiteX3176" fmla="*/ 74414 w 401077"/>
                  <a:gd name="connsiteY3176" fmla="*/ 309647 h 533771"/>
                  <a:gd name="connsiteX3177" fmla="*/ 75031 w 401077"/>
                  <a:gd name="connsiteY3177" fmla="*/ 309647 h 533771"/>
                  <a:gd name="connsiteX3178" fmla="*/ 75296 w 401077"/>
                  <a:gd name="connsiteY3178" fmla="*/ 309912 h 533771"/>
                  <a:gd name="connsiteX3179" fmla="*/ 75031 w 401077"/>
                  <a:gd name="connsiteY3179" fmla="*/ 310529 h 533771"/>
                  <a:gd name="connsiteX3180" fmla="*/ 74679 w 401077"/>
                  <a:gd name="connsiteY3180" fmla="*/ 310529 h 533771"/>
                  <a:gd name="connsiteX3181" fmla="*/ 74414 w 401077"/>
                  <a:gd name="connsiteY3181" fmla="*/ 311146 h 533771"/>
                  <a:gd name="connsiteX3182" fmla="*/ 75560 w 401077"/>
                  <a:gd name="connsiteY3182" fmla="*/ 310617 h 533771"/>
                  <a:gd name="connsiteX3183" fmla="*/ 75296 w 401077"/>
                  <a:gd name="connsiteY3183" fmla="*/ 310617 h 533771"/>
                  <a:gd name="connsiteX3184" fmla="*/ 75296 w 401077"/>
                  <a:gd name="connsiteY3184" fmla="*/ 310353 h 533771"/>
                  <a:gd name="connsiteX3185" fmla="*/ 75560 w 401077"/>
                  <a:gd name="connsiteY3185" fmla="*/ 310617 h 533771"/>
                  <a:gd name="connsiteX3186" fmla="*/ 69741 w 401077"/>
                  <a:gd name="connsiteY3186" fmla="*/ 311411 h 533771"/>
                  <a:gd name="connsiteX3187" fmla="*/ 69741 w 401077"/>
                  <a:gd name="connsiteY3187" fmla="*/ 310529 h 533771"/>
                  <a:gd name="connsiteX3188" fmla="*/ 70006 w 401077"/>
                  <a:gd name="connsiteY3188" fmla="*/ 311146 h 533771"/>
                  <a:gd name="connsiteX3189" fmla="*/ 69741 w 401077"/>
                  <a:gd name="connsiteY3189" fmla="*/ 311411 h 533771"/>
                  <a:gd name="connsiteX3190" fmla="*/ 66567 w 401077"/>
                  <a:gd name="connsiteY3190" fmla="*/ 311146 h 533771"/>
                  <a:gd name="connsiteX3191" fmla="*/ 66303 w 401077"/>
                  <a:gd name="connsiteY3191" fmla="*/ 311146 h 533771"/>
                  <a:gd name="connsiteX3192" fmla="*/ 66567 w 401077"/>
                  <a:gd name="connsiteY3192" fmla="*/ 310882 h 533771"/>
                  <a:gd name="connsiteX3193" fmla="*/ 66567 w 401077"/>
                  <a:gd name="connsiteY3193" fmla="*/ 311146 h 533771"/>
                  <a:gd name="connsiteX3194" fmla="*/ 62776 w 401077"/>
                  <a:gd name="connsiteY3194" fmla="*/ 311146 h 533771"/>
                  <a:gd name="connsiteX3195" fmla="*/ 62776 w 401077"/>
                  <a:gd name="connsiteY3195" fmla="*/ 310882 h 533771"/>
                  <a:gd name="connsiteX3196" fmla="*/ 63129 w 401077"/>
                  <a:gd name="connsiteY3196" fmla="*/ 310882 h 533771"/>
                  <a:gd name="connsiteX3197" fmla="*/ 62776 w 401077"/>
                  <a:gd name="connsiteY3197" fmla="*/ 311146 h 533771"/>
                  <a:gd name="connsiteX3198" fmla="*/ 67713 w 401077"/>
                  <a:gd name="connsiteY3198" fmla="*/ 311411 h 533771"/>
                  <a:gd name="connsiteX3199" fmla="*/ 67184 w 401077"/>
                  <a:gd name="connsiteY3199" fmla="*/ 311146 h 533771"/>
                  <a:gd name="connsiteX3200" fmla="*/ 67713 w 401077"/>
                  <a:gd name="connsiteY3200" fmla="*/ 310882 h 533771"/>
                  <a:gd name="connsiteX3201" fmla="*/ 67713 w 401077"/>
                  <a:gd name="connsiteY3201" fmla="*/ 311411 h 533771"/>
                  <a:gd name="connsiteX3202" fmla="*/ 124318 w 401077"/>
                  <a:gd name="connsiteY3202" fmla="*/ 311763 h 533771"/>
                  <a:gd name="connsiteX3203" fmla="*/ 124053 w 401077"/>
                  <a:gd name="connsiteY3203" fmla="*/ 311499 h 533771"/>
                  <a:gd name="connsiteX3204" fmla="*/ 124053 w 401077"/>
                  <a:gd name="connsiteY3204" fmla="*/ 311234 h 533771"/>
                  <a:gd name="connsiteX3205" fmla="*/ 124053 w 401077"/>
                  <a:gd name="connsiteY3205" fmla="*/ 310970 h 533771"/>
                  <a:gd name="connsiteX3206" fmla="*/ 124318 w 401077"/>
                  <a:gd name="connsiteY3206" fmla="*/ 311234 h 533771"/>
                  <a:gd name="connsiteX3207" fmla="*/ 124318 w 401077"/>
                  <a:gd name="connsiteY3207" fmla="*/ 311499 h 533771"/>
                  <a:gd name="connsiteX3208" fmla="*/ 124318 w 401077"/>
                  <a:gd name="connsiteY3208" fmla="*/ 311763 h 533771"/>
                  <a:gd name="connsiteX3209" fmla="*/ 127756 w 401077"/>
                  <a:gd name="connsiteY3209" fmla="*/ 312292 h 533771"/>
                  <a:gd name="connsiteX3210" fmla="*/ 127492 w 401077"/>
                  <a:gd name="connsiteY3210" fmla="*/ 312292 h 533771"/>
                  <a:gd name="connsiteX3211" fmla="*/ 127492 w 401077"/>
                  <a:gd name="connsiteY3211" fmla="*/ 312028 h 533771"/>
                  <a:gd name="connsiteX3212" fmla="*/ 127756 w 401077"/>
                  <a:gd name="connsiteY3212" fmla="*/ 312028 h 533771"/>
                  <a:gd name="connsiteX3213" fmla="*/ 127756 w 401077"/>
                  <a:gd name="connsiteY3213" fmla="*/ 312292 h 533771"/>
                  <a:gd name="connsiteX3214" fmla="*/ 62776 w 401077"/>
                  <a:gd name="connsiteY3214" fmla="*/ 312645 h 533771"/>
                  <a:gd name="connsiteX3215" fmla="*/ 62512 w 401077"/>
                  <a:gd name="connsiteY3215" fmla="*/ 312645 h 533771"/>
                  <a:gd name="connsiteX3216" fmla="*/ 62776 w 401077"/>
                  <a:gd name="connsiteY3216" fmla="*/ 312381 h 533771"/>
                  <a:gd name="connsiteX3217" fmla="*/ 62776 w 401077"/>
                  <a:gd name="connsiteY3217" fmla="*/ 312645 h 533771"/>
                  <a:gd name="connsiteX3218" fmla="*/ 76178 w 401077"/>
                  <a:gd name="connsiteY3218" fmla="*/ 313527 h 533771"/>
                  <a:gd name="connsiteX3219" fmla="*/ 75560 w 401077"/>
                  <a:gd name="connsiteY3219" fmla="*/ 312910 h 533771"/>
                  <a:gd name="connsiteX3220" fmla="*/ 75560 w 401077"/>
                  <a:gd name="connsiteY3220" fmla="*/ 312645 h 533771"/>
                  <a:gd name="connsiteX3221" fmla="*/ 75825 w 401077"/>
                  <a:gd name="connsiteY3221" fmla="*/ 312910 h 533771"/>
                  <a:gd name="connsiteX3222" fmla="*/ 76442 w 401077"/>
                  <a:gd name="connsiteY3222" fmla="*/ 313174 h 533771"/>
                  <a:gd name="connsiteX3223" fmla="*/ 76178 w 401077"/>
                  <a:gd name="connsiteY3223" fmla="*/ 313527 h 533771"/>
                  <a:gd name="connsiteX3224" fmla="*/ 62423 w 401077"/>
                  <a:gd name="connsiteY3224" fmla="*/ 313527 h 533771"/>
                  <a:gd name="connsiteX3225" fmla="*/ 62423 w 401077"/>
                  <a:gd name="connsiteY3225" fmla="*/ 313262 h 533771"/>
                  <a:gd name="connsiteX3226" fmla="*/ 62423 w 401077"/>
                  <a:gd name="connsiteY3226" fmla="*/ 312998 h 533771"/>
                  <a:gd name="connsiteX3227" fmla="*/ 62423 w 401077"/>
                  <a:gd name="connsiteY3227" fmla="*/ 313527 h 533771"/>
                  <a:gd name="connsiteX3228" fmla="*/ 76795 w 401077"/>
                  <a:gd name="connsiteY3228" fmla="*/ 313174 h 533771"/>
                  <a:gd name="connsiteX3229" fmla="*/ 76442 w 401077"/>
                  <a:gd name="connsiteY3229" fmla="*/ 313174 h 533771"/>
                  <a:gd name="connsiteX3230" fmla="*/ 76795 w 401077"/>
                  <a:gd name="connsiteY3230" fmla="*/ 312910 h 533771"/>
                  <a:gd name="connsiteX3231" fmla="*/ 76795 w 401077"/>
                  <a:gd name="connsiteY3231" fmla="*/ 313174 h 533771"/>
                  <a:gd name="connsiteX3232" fmla="*/ 62423 w 401077"/>
                  <a:gd name="connsiteY3232" fmla="*/ 313527 h 533771"/>
                  <a:gd name="connsiteX3233" fmla="*/ 62159 w 401077"/>
                  <a:gd name="connsiteY3233" fmla="*/ 313527 h 533771"/>
                  <a:gd name="connsiteX3234" fmla="*/ 62159 w 401077"/>
                  <a:gd name="connsiteY3234" fmla="*/ 313262 h 533771"/>
                  <a:gd name="connsiteX3235" fmla="*/ 62423 w 401077"/>
                  <a:gd name="connsiteY3235" fmla="*/ 313527 h 533771"/>
                  <a:gd name="connsiteX3236" fmla="*/ 76442 w 401077"/>
                  <a:gd name="connsiteY3236" fmla="*/ 314408 h 533771"/>
                  <a:gd name="connsiteX3237" fmla="*/ 76178 w 401077"/>
                  <a:gd name="connsiteY3237" fmla="*/ 314408 h 533771"/>
                  <a:gd name="connsiteX3238" fmla="*/ 76442 w 401077"/>
                  <a:gd name="connsiteY3238" fmla="*/ 314144 h 533771"/>
                  <a:gd name="connsiteX3239" fmla="*/ 76442 w 401077"/>
                  <a:gd name="connsiteY3239" fmla="*/ 314408 h 533771"/>
                  <a:gd name="connsiteX3240" fmla="*/ 65686 w 401077"/>
                  <a:gd name="connsiteY3240" fmla="*/ 315555 h 533771"/>
                  <a:gd name="connsiteX3241" fmla="*/ 64804 w 401077"/>
                  <a:gd name="connsiteY3241" fmla="*/ 314408 h 533771"/>
                  <a:gd name="connsiteX3242" fmla="*/ 64804 w 401077"/>
                  <a:gd name="connsiteY3242" fmla="*/ 313527 h 533771"/>
                  <a:gd name="connsiteX3243" fmla="*/ 63393 w 401077"/>
                  <a:gd name="connsiteY3243" fmla="*/ 312910 h 533771"/>
                  <a:gd name="connsiteX3244" fmla="*/ 63129 w 401077"/>
                  <a:gd name="connsiteY3244" fmla="*/ 312028 h 533771"/>
                  <a:gd name="connsiteX3245" fmla="*/ 63658 w 401077"/>
                  <a:gd name="connsiteY3245" fmla="*/ 311411 h 533771"/>
                  <a:gd name="connsiteX3246" fmla="*/ 63658 w 401077"/>
                  <a:gd name="connsiteY3246" fmla="*/ 309912 h 533771"/>
                  <a:gd name="connsiteX3247" fmla="*/ 63129 w 401077"/>
                  <a:gd name="connsiteY3247" fmla="*/ 307267 h 533771"/>
                  <a:gd name="connsiteX3248" fmla="*/ 64275 w 401077"/>
                  <a:gd name="connsiteY3248" fmla="*/ 309559 h 533771"/>
                  <a:gd name="connsiteX3249" fmla="*/ 65157 w 401077"/>
                  <a:gd name="connsiteY3249" fmla="*/ 311323 h 533771"/>
                  <a:gd name="connsiteX3250" fmla="*/ 66655 w 401077"/>
                  <a:gd name="connsiteY3250" fmla="*/ 311940 h 533771"/>
                  <a:gd name="connsiteX3251" fmla="*/ 65509 w 401077"/>
                  <a:gd name="connsiteY3251" fmla="*/ 312557 h 533771"/>
                  <a:gd name="connsiteX3252" fmla="*/ 65509 w 401077"/>
                  <a:gd name="connsiteY3252" fmla="*/ 314056 h 533771"/>
                  <a:gd name="connsiteX3253" fmla="*/ 65686 w 401077"/>
                  <a:gd name="connsiteY3253" fmla="*/ 315555 h 533771"/>
                  <a:gd name="connsiteX3254" fmla="*/ 64451 w 401077"/>
                  <a:gd name="connsiteY3254" fmla="*/ 314937 h 533771"/>
                  <a:gd name="connsiteX3255" fmla="*/ 63305 w 401077"/>
                  <a:gd name="connsiteY3255" fmla="*/ 314673 h 533771"/>
                  <a:gd name="connsiteX3256" fmla="*/ 63305 w 401077"/>
                  <a:gd name="connsiteY3256" fmla="*/ 314056 h 533771"/>
                  <a:gd name="connsiteX3257" fmla="*/ 63041 w 401077"/>
                  <a:gd name="connsiteY3257" fmla="*/ 313439 h 533771"/>
                  <a:gd name="connsiteX3258" fmla="*/ 64187 w 401077"/>
                  <a:gd name="connsiteY3258" fmla="*/ 313703 h 533771"/>
                  <a:gd name="connsiteX3259" fmla="*/ 64451 w 401077"/>
                  <a:gd name="connsiteY3259" fmla="*/ 314937 h 533771"/>
                  <a:gd name="connsiteX3260" fmla="*/ 63305 w 401077"/>
                  <a:gd name="connsiteY3260" fmla="*/ 316084 h 533771"/>
                  <a:gd name="connsiteX3261" fmla="*/ 62159 w 401077"/>
                  <a:gd name="connsiteY3261" fmla="*/ 315202 h 533771"/>
                  <a:gd name="connsiteX3262" fmla="*/ 61277 w 401077"/>
                  <a:gd name="connsiteY3262" fmla="*/ 314320 h 533771"/>
                  <a:gd name="connsiteX3263" fmla="*/ 62159 w 401077"/>
                  <a:gd name="connsiteY3263" fmla="*/ 314585 h 533771"/>
                  <a:gd name="connsiteX3264" fmla="*/ 63305 w 401077"/>
                  <a:gd name="connsiteY3264" fmla="*/ 315466 h 533771"/>
                  <a:gd name="connsiteX3265" fmla="*/ 63305 w 401077"/>
                  <a:gd name="connsiteY3265" fmla="*/ 316084 h 533771"/>
                  <a:gd name="connsiteX3266" fmla="*/ 62423 w 401077"/>
                  <a:gd name="connsiteY3266" fmla="*/ 316701 h 533771"/>
                  <a:gd name="connsiteX3267" fmla="*/ 60660 w 401077"/>
                  <a:gd name="connsiteY3267" fmla="*/ 315555 h 533771"/>
                  <a:gd name="connsiteX3268" fmla="*/ 61806 w 401077"/>
                  <a:gd name="connsiteY3268" fmla="*/ 316172 h 533771"/>
                  <a:gd name="connsiteX3269" fmla="*/ 62159 w 401077"/>
                  <a:gd name="connsiteY3269" fmla="*/ 315555 h 533771"/>
                  <a:gd name="connsiteX3270" fmla="*/ 62423 w 401077"/>
                  <a:gd name="connsiteY3270" fmla="*/ 316701 h 533771"/>
                  <a:gd name="connsiteX3271" fmla="*/ 126345 w 401077"/>
                  <a:gd name="connsiteY3271" fmla="*/ 316965 h 533771"/>
                  <a:gd name="connsiteX3272" fmla="*/ 126081 w 401077"/>
                  <a:gd name="connsiteY3272" fmla="*/ 316965 h 533771"/>
                  <a:gd name="connsiteX3273" fmla="*/ 126345 w 401077"/>
                  <a:gd name="connsiteY3273" fmla="*/ 316965 h 533771"/>
                  <a:gd name="connsiteX3274" fmla="*/ 64187 w 401077"/>
                  <a:gd name="connsiteY3274" fmla="*/ 317318 h 533771"/>
                  <a:gd name="connsiteX3275" fmla="*/ 63834 w 401077"/>
                  <a:gd name="connsiteY3275" fmla="*/ 317318 h 533771"/>
                  <a:gd name="connsiteX3276" fmla="*/ 64187 w 401077"/>
                  <a:gd name="connsiteY3276" fmla="*/ 317318 h 533771"/>
                  <a:gd name="connsiteX3277" fmla="*/ 85788 w 401077"/>
                  <a:gd name="connsiteY3277" fmla="*/ 317583 h 533771"/>
                  <a:gd name="connsiteX3278" fmla="*/ 85259 w 401077"/>
                  <a:gd name="connsiteY3278" fmla="*/ 317318 h 533771"/>
                  <a:gd name="connsiteX3279" fmla="*/ 85788 w 401077"/>
                  <a:gd name="connsiteY3279" fmla="*/ 317583 h 533771"/>
                  <a:gd name="connsiteX3280" fmla="*/ 64804 w 401077"/>
                  <a:gd name="connsiteY3280" fmla="*/ 317583 h 533771"/>
                  <a:gd name="connsiteX3281" fmla="*/ 64451 w 401077"/>
                  <a:gd name="connsiteY3281" fmla="*/ 317318 h 533771"/>
                  <a:gd name="connsiteX3282" fmla="*/ 64804 w 401077"/>
                  <a:gd name="connsiteY3282" fmla="*/ 317583 h 533771"/>
                  <a:gd name="connsiteX3283" fmla="*/ 56957 w 401077"/>
                  <a:gd name="connsiteY3283" fmla="*/ 318464 h 533771"/>
                  <a:gd name="connsiteX3284" fmla="*/ 56604 w 401077"/>
                  <a:gd name="connsiteY3284" fmla="*/ 318464 h 533771"/>
                  <a:gd name="connsiteX3285" fmla="*/ 56957 w 401077"/>
                  <a:gd name="connsiteY3285" fmla="*/ 318464 h 533771"/>
                  <a:gd name="connsiteX3286" fmla="*/ 127227 w 401077"/>
                  <a:gd name="connsiteY3286" fmla="*/ 318464 h 533771"/>
                  <a:gd name="connsiteX3287" fmla="*/ 126963 w 401077"/>
                  <a:gd name="connsiteY3287" fmla="*/ 318464 h 533771"/>
                  <a:gd name="connsiteX3288" fmla="*/ 126963 w 401077"/>
                  <a:gd name="connsiteY3288" fmla="*/ 318200 h 533771"/>
                  <a:gd name="connsiteX3289" fmla="*/ 127227 w 401077"/>
                  <a:gd name="connsiteY3289" fmla="*/ 318464 h 533771"/>
                  <a:gd name="connsiteX3290" fmla="*/ 81996 w 401077"/>
                  <a:gd name="connsiteY3290" fmla="*/ 318993 h 533771"/>
                  <a:gd name="connsiteX3291" fmla="*/ 81996 w 401077"/>
                  <a:gd name="connsiteY3291" fmla="*/ 318993 h 533771"/>
                  <a:gd name="connsiteX3292" fmla="*/ 81379 w 401077"/>
                  <a:gd name="connsiteY3292" fmla="*/ 318376 h 533771"/>
                  <a:gd name="connsiteX3293" fmla="*/ 81996 w 401077"/>
                  <a:gd name="connsiteY3293" fmla="*/ 318993 h 533771"/>
                  <a:gd name="connsiteX3294" fmla="*/ 63305 w 401077"/>
                  <a:gd name="connsiteY3294" fmla="*/ 318993 h 533771"/>
                  <a:gd name="connsiteX3295" fmla="*/ 63041 w 401077"/>
                  <a:gd name="connsiteY3295" fmla="*/ 318729 h 533771"/>
                  <a:gd name="connsiteX3296" fmla="*/ 63305 w 401077"/>
                  <a:gd name="connsiteY3296" fmla="*/ 318729 h 533771"/>
                  <a:gd name="connsiteX3297" fmla="*/ 63305 w 401077"/>
                  <a:gd name="connsiteY3297" fmla="*/ 318993 h 533771"/>
                  <a:gd name="connsiteX3298" fmla="*/ 82525 w 401077"/>
                  <a:gd name="connsiteY3298" fmla="*/ 319346 h 533771"/>
                  <a:gd name="connsiteX3299" fmla="*/ 82261 w 401077"/>
                  <a:gd name="connsiteY3299" fmla="*/ 319081 h 533771"/>
                  <a:gd name="connsiteX3300" fmla="*/ 82525 w 401077"/>
                  <a:gd name="connsiteY3300" fmla="*/ 319081 h 533771"/>
                  <a:gd name="connsiteX3301" fmla="*/ 82878 w 401077"/>
                  <a:gd name="connsiteY3301" fmla="*/ 318817 h 533771"/>
                  <a:gd name="connsiteX3302" fmla="*/ 82878 w 401077"/>
                  <a:gd name="connsiteY3302" fmla="*/ 319081 h 533771"/>
                  <a:gd name="connsiteX3303" fmla="*/ 82525 w 401077"/>
                  <a:gd name="connsiteY3303" fmla="*/ 319346 h 533771"/>
                  <a:gd name="connsiteX3304" fmla="*/ 58103 w 401077"/>
                  <a:gd name="connsiteY3304" fmla="*/ 320227 h 533771"/>
                  <a:gd name="connsiteX3305" fmla="*/ 57838 w 401077"/>
                  <a:gd name="connsiteY3305" fmla="*/ 319875 h 533771"/>
                  <a:gd name="connsiteX3306" fmla="*/ 58103 w 401077"/>
                  <a:gd name="connsiteY3306" fmla="*/ 319875 h 533771"/>
                  <a:gd name="connsiteX3307" fmla="*/ 58103 w 401077"/>
                  <a:gd name="connsiteY3307" fmla="*/ 320227 h 533771"/>
                  <a:gd name="connsiteX3308" fmla="*/ 125463 w 401077"/>
                  <a:gd name="connsiteY3308" fmla="*/ 319875 h 533771"/>
                  <a:gd name="connsiteX3309" fmla="*/ 124847 w 401077"/>
                  <a:gd name="connsiteY3309" fmla="*/ 319610 h 533771"/>
                  <a:gd name="connsiteX3310" fmla="*/ 125463 w 401077"/>
                  <a:gd name="connsiteY3310" fmla="*/ 319610 h 533771"/>
                  <a:gd name="connsiteX3311" fmla="*/ 125463 w 401077"/>
                  <a:gd name="connsiteY3311" fmla="*/ 319875 h 533771"/>
                  <a:gd name="connsiteX3312" fmla="*/ 81996 w 401077"/>
                  <a:gd name="connsiteY3312" fmla="*/ 319875 h 533771"/>
                  <a:gd name="connsiteX3313" fmla="*/ 81644 w 401077"/>
                  <a:gd name="connsiteY3313" fmla="*/ 319875 h 533771"/>
                  <a:gd name="connsiteX3314" fmla="*/ 81996 w 401077"/>
                  <a:gd name="connsiteY3314" fmla="*/ 319875 h 533771"/>
                  <a:gd name="connsiteX3315" fmla="*/ 123436 w 401077"/>
                  <a:gd name="connsiteY3315" fmla="*/ 321109 h 533771"/>
                  <a:gd name="connsiteX3316" fmla="*/ 123436 w 401077"/>
                  <a:gd name="connsiteY3316" fmla="*/ 321374 h 533771"/>
                  <a:gd name="connsiteX3317" fmla="*/ 123436 w 401077"/>
                  <a:gd name="connsiteY3317" fmla="*/ 320845 h 533771"/>
                  <a:gd name="connsiteX3318" fmla="*/ 123436 w 401077"/>
                  <a:gd name="connsiteY3318" fmla="*/ 321109 h 533771"/>
                  <a:gd name="connsiteX3319" fmla="*/ 61894 w 401077"/>
                  <a:gd name="connsiteY3319" fmla="*/ 321903 h 533771"/>
                  <a:gd name="connsiteX3320" fmla="*/ 58985 w 401077"/>
                  <a:gd name="connsiteY3320" fmla="*/ 321286 h 533771"/>
                  <a:gd name="connsiteX3321" fmla="*/ 58985 w 401077"/>
                  <a:gd name="connsiteY3321" fmla="*/ 321021 h 533771"/>
                  <a:gd name="connsiteX3322" fmla="*/ 58367 w 401077"/>
                  <a:gd name="connsiteY3322" fmla="*/ 319875 h 533771"/>
                  <a:gd name="connsiteX3323" fmla="*/ 58632 w 401077"/>
                  <a:gd name="connsiteY3323" fmla="*/ 319610 h 533771"/>
                  <a:gd name="connsiteX3324" fmla="*/ 57221 w 401077"/>
                  <a:gd name="connsiteY3324" fmla="*/ 317230 h 533771"/>
                  <a:gd name="connsiteX3325" fmla="*/ 58985 w 401077"/>
                  <a:gd name="connsiteY3325" fmla="*/ 317847 h 533771"/>
                  <a:gd name="connsiteX3326" fmla="*/ 59602 w 401077"/>
                  <a:gd name="connsiteY3326" fmla="*/ 317230 h 533771"/>
                  <a:gd name="connsiteX3327" fmla="*/ 60483 w 401077"/>
                  <a:gd name="connsiteY3327" fmla="*/ 317230 h 533771"/>
                  <a:gd name="connsiteX3328" fmla="*/ 60219 w 401077"/>
                  <a:gd name="connsiteY3328" fmla="*/ 316348 h 533771"/>
                  <a:gd name="connsiteX3329" fmla="*/ 61983 w 401077"/>
                  <a:gd name="connsiteY3329" fmla="*/ 317759 h 533771"/>
                  <a:gd name="connsiteX3330" fmla="*/ 63481 w 401077"/>
                  <a:gd name="connsiteY3330" fmla="*/ 320139 h 533771"/>
                  <a:gd name="connsiteX3331" fmla="*/ 61454 w 401077"/>
                  <a:gd name="connsiteY3331" fmla="*/ 320139 h 533771"/>
                  <a:gd name="connsiteX3332" fmla="*/ 61894 w 401077"/>
                  <a:gd name="connsiteY3332" fmla="*/ 321903 h 533771"/>
                  <a:gd name="connsiteX3333" fmla="*/ 63041 w 401077"/>
                  <a:gd name="connsiteY3333" fmla="*/ 321374 h 533771"/>
                  <a:gd name="connsiteX3334" fmla="*/ 63041 w 401077"/>
                  <a:gd name="connsiteY3334" fmla="*/ 321374 h 533771"/>
                  <a:gd name="connsiteX3335" fmla="*/ 63041 w 401077"/>
                  <a:gd name="connsiteY3335" fmla="*/ 321109 h 533771"/>
                  <a:gd name="connsiteX3336" fmla="*/ 63041 w 401077"/>
                  <a:gd name="connsiteY3336" fmla="*/ 321374 h 533771"/>
                  <a:gd name="connsiteX3337" fmla="*/ 98308 w 401077"/>
                  <a:gd name="connsiteY3337" fmla="*/ 321903 h 533771"/>
                  <a:gd name="connsiteX3338" fmla="*/ 98043 w 401077"/>
                  <a:gd name="connsiteY3338" fmla="*/ 321638 h 533771"/>
                  <a:gd name="connsiteX3339" fmla="*/ 97426 w 401077"/>
                  <a:gd name="connsiteY3339" fmla="*/ 321374 h 533771"/>
                  <a:gd name="connsiteX3340" fmla="*/ 98043 w 401077"/>
                  <a:gd name="connsiteY3340" fmla="*/ 321109 h 533771"/>
                  <a:gd name="connsiteX3341" fmla="*/ 98308 w 401077"/>
                  <a:gd name="connsiteY3341" fmla="*/ 321374 h 533771"/>
                  <a:gd name="connsiteX3342" fmla="*/ 98308 w 401077"/>
                  <a:gd name="connsiteY3342" fmla="*/ 321903 h 533771"/>
                  <a:gd name="connsiteX3343" fmla="*/ 98043 w 401077"/>
                  <a:gd name="connsiteY3343" fmla="*/ 322520 h 533771"/>
                  <a:gd name="connsiteX3344" fmla="*/ 97779 w 401077"/>
                  <a:gd name="connsiteY3344" fmla="*/ 322255 h 533771"/>
                  <a:gd name="connsiteX3345" fmla="*/ 97426 w 401077"/>
                  <a:gd name="connsiteY3345" fmla="*/ 321638 h 533771"/>
                  <a:gd name="connsiteX3346" fmla="*/ 98043 w 401077"/>
                  <a:gd name="connsiteY3346" fmla="*/ 321903 h 533771"/>
                  <a:gd name="connsiteX3347" fmla="*/ 98043 w 401077"/>
                  <a:gd name="connsiteY3347" fmla="*/ 322520 h 533771"/>
                  <a:gd name="connsiteX3348" fmla="*/ 97162 w 401077"/>
                  <a:gd name="connsiteY3348" fmla="*/ 322520 h 533771"/>
                  <a:gd name="connsiteX3349" fmla="*/ 96633 w 401077"/>
                  <a:gd name="connsiteY3349" fmla="*/ 322520 h 533771"/>
                  <a:gd name="connsiteX3350" fmla="*/ 96633 w 401077"/>
                  <a:gd name="connsiteY3350" fmla="*/ 321903 h 533771"/>
                  <a:gd name="connsiteX3351" fmla="*/ 96015 w 401077"/>
                  <a:gd name="connsiteY3351" fmla="*/ 321638 h 533771"/>
                  <a:gd name="connsiteX3352" fmla="*/ 96280 w 401077"/>
                  <a:gd name="connsiteY3352" fmla="*/ 321021 h 533771"/>
                  <a:gd name="connsiteX3353" fmla="*/ 96280 w 401077"/>
                  <a:gd name="connsiteY3353" fmla="*/ 320757 h 533771"/>
                  <a:gd name="connsiteX3354" fmla="*/ 96544 w 401077"/>
                  <a:gd name="connsiteY3354" fmla="*/ 320757 h 533771"/>
                  <a:gd name="connsiteX3355" fmla="*/ 96809 w 401077"/>
                  <a:gd name="connsiteY3355" fmla="*/ 321021 h 533771"/>
                  <a:gd name="connsiteX3356" fmla="*/ 97073 w 401077"/>
                  <a:gd name="connsiteY3356" fmla="*/ 321286 h 533771"/>
                  <a:gd name="connsiteX3357" fmla="*/ 97073 w 401077"/>
                  <a:gd name="connsiteY3357" fmla="*/ 321903 h 533771"/>
                  <a:gd name="connsiteX3358" fmla="*/ 97338 w 401077"/>
                  <a:gd name="connsiteY3358" fmla="*/ 322255 h 533771"/>
                  <a:gd name="connsiteX3359" fmla="*/ 97338 w 401077"/>
                  <a:gd name="connsiteY3359" fmla="*/ 322520 h 533771"/>
                  <a:gd name="connsiteX3360" fmla="*/ 97162 w 401077"/>
                  <a:gd name="connsiteY3360" fmla="*/ 322520 h 533771"/>
                  <a:gd name="connsiteX3361" fmla="*/ 64804 w 401077"/>
                  <a:gd name="connsiteY3361" fmla="*/ 322255 h 533771"/>
                  <a:gd name="connsiteX3362" fmla="*/ 64451 w 401077"/>
                  <a:gd name="connsiteY3362" fmla="*/ 322255 h 533771"/>
                  <a:gd name="connsiteX3363" fmla="*/ 64804 w 401077"/>
                  <a:gd name="connsiteY3363" fmla="*/ 322255 h 533771"/>
                  <a:gd name="connsiteX3364" fmla="*/ 83407 w 401077"/>
                  <a:gd name="connsiteY3364" fmla="*/ 322520 h 533771"/>
                  <a:gd name="connsiteX3365" fmla="*/ 83143 w 401077"/>
                  <a:gd name="connsiteY3365" fmla="*/ 322255 h 533771"/>
                  <a:gd name="connsiteX3366" fmla="*/ 83760 w 401077"/>
                  <a:gd name="connsiteY3366" fmla="*/ 322520 h 533771"/>
                  <a:gd name="connsiteX3367" fmla="*/ 83407 w 401077"/>
                  <a:gd name="connsiteY3367" fmla="*/ 322520 h 533771"/>
                  <a:gd name="connsiteX3368" fmla="*/ 90461 w 401077"/>
                  <a:gd name="connsiteY3368" fmla="*/ 322520 h 533771"/>
                  <a:gd name="connsiteX3369" fmla="*/ 90108 w 401077"/>
                  <a:gd name="connsiteY3369" fmla="*/ 322520 h 533771"/>
                  <a:gd name="connsiteX3370" fmla="*/ 90461 w 401077"/>
                  <a:gd name="connsiteY3370" fmla="*/ 322520 h 533771"/>
                  <a:gd name="connsiteX3371" fmla="*/ 96897 w 401077"/>
                  <a:gd name="connsiteY3371" fmla="*/ 322873 h 533771"/>
                  <a:gd name="connsiteX3372" fmla="*/ 96633 w 401077"/>
                  <a:gd name="connsiteY3372" fmla="*/ 322608 h 533771"/>
                  <a:gd name="connsiteX3373" fmla="*/ 97162 w 401077"/>
                  <a:gd name="connsiteY3373" fmla="*/ 322873 h 533771"/>
                  <a:gd name="connsiteX3374" fmla="*/ 96897 w 401077"/>
                  <a:gd name="connsiteY3374" fmla="*/ 322873 h 533771"/>
                  <a:gd name="connsiteX3375" fmla="*/ 99189 w 401077"/>
                  <a:gd name="connsiteY3375" fmla="*/ 324283 h 533771"/>
                  <a:gd name="connsiteX3376" fmla="*/ 99189 w 401077"/>
                  <a:gd name="connsiteY3376" fmla="*/ 324019 h 533771"/>
                  <a:gd name="connsiteX3377" fmla="*/ 99189 w 401077"/>
                  <a:gd name="connsiteY3377" fmla="*/ 324283 h 533771"/>
                  <a:gd name="connsiteX3378" fmla="*/ 97426 w 401077"/>
                  <a:gd name="connsiteY3378" fmla="*/ 326928 h 533771"/>
                  <a:gd name="connsiteX3379" fmla="*/ 96897 w 401077"/>
                  <a:gd name="connsiteY3379" fmla="*/ 326311 h 533771"/>
                  <a:gd name="connsiteX3380" fmla="*/ 96897 w 401077"/>
                  <a:gd name="connsiteY3380" fmla="*/ 326047 h 533771"/>
                  <a:gd name="connsiteX3381" fmla="*/ 96633 w 401077"/>
                  <a:gd name="connsiteY3381" fmla="*/ 325782 h 533771"/>
                  <a:gd name="connsiteX3382" fmla="*/ 96633 w 401077"/>
                  <a:gd name="connsiteY3382" fmla="*/ 326399 h 533771"/>
                  <a:gd name="connsiteX3383" fmla="*/ 95751 w 401077"/>
                  <a:gd name="connsiteY3383" fmla="*/ 326399 h 533771"/>
                  <a:gd name="connsiteX3384" fmla="*/ 95133 w 401077"/>
                  <a:gd name="connsiteY3384" fmla="*/ 326135 h 533771"/>
                  <a:gd name="connsiteX3385" fmla="*/ 95133 w 401077"/>
                  <a:gd name="connsiteY3385" fmla="*/ 326752 h 533771"/>
                  <a:gd name="connsiteX3386" fmla="*/ 94869 w 401077"/>
                  <a:gd name="connsiteY3386" fmla="*/ 326488 h 533771"/>
                  <a:gd name="connsiteX3387" fmla="*/ 94517 w 401077"/>
                  <a:gd name="connsiteY3387" fmla="*/ 326223 h 533771"/>
                  <a:gd name="connsiteX3388" fmla="*/ 94252 w 401077"/>
                  <a:gd name="connsiteY3388" fmla="*/ 326223 h 533771"/>
                  <a:gd name="connsiteX3389" fmla="*/ 93723 w 401077"/>
                  <a:gd name="connsiteY3389" fmla="*/ 325606 h 533771"/>
                  <a:gd name="connsiteX3390" fmla="*/ 93723 w 401077"/>
                  <a:gd name="connsiteY3390" fmla="*/ 324989 h 533771"/>
                  <a:gd name="connsiteX3391" fmla="*/ 94869 w 401077"/>
                  <a:gd name="connsiteY3391" fmla="*/ 324107 h 533771"/>
                  <a:gd name="connsiteX3392" fmla="*/ 94869 w 401077"/>
                  <a:gd name="connsiteY3392" fmla="*/ 323842 h 533771"/>
                  <a:gd name="connsiteX3393" fmla="*/ 95487 w 401077"/>
                  <a:gd name="connsiteY3393" fmla="*/ 323225 h 533771"/>
                  <a:gd name="connsiteX3394" fmla="*/ 95751 w 401077"/>
                  <a:gd name="connsiteY3394" fmla="*/ 323225 h 533771"/>
                  <a:gd name="connsiteX3395" fmla="*/ 96368 w 401077"/>
                  <a:gd name="connsiteY3395" fmla="*/ 323490 h 533771"/>
                  <a:gd name="connsiteX3396" fmla="*/ 96368 w 401077"/>
                  <a:gd name="connsiteY3396" fmla="*/ 323225 h 533771"/>
                  <a:gd name="connsiteX3397" fmla="*/ 96633 w 401077"/>
                  <a:gd name="connsiteY3397" fmla="*/ 323490 h 533771"/>
                  <a:gd name="connsiteX3398" fmla="*/ 96897 w 401077"/>
                  <a:gd name="connsiteY3398" fmla="*/ 323754 h 533771"/>
                  <a:gd name="connsiteX3399" fmla="*/ 97426 w 401077"/>
                  <a:gd name="connsiteY3399" fmla="*/ 323490 h 533771"/>
                  <a:gd name="connsiteX3400" fmla="*/ 97426 w 401077"/>
                  <a:gd name="connsiteY3400" fmla="*/ 323225 h 533771"/>
                  <a:gd name="connsiteX3401" fmla="*/ 98043 w 401077"/>
                  <a:gd name="connsiteY3401" fmla="*/ 323225 h 533771"/>
                  <a:gd name="connsiteX3402" fmla="*/ 98043 w 401077"/>
                  <a:gd name="connsiteY3402" fmla="*/ 323842 h 533771"/>
                  <a:gd name="connsiteX3403" fmla="*/ 98043 w 401077"/>
                  <a:gd name="connsiteY3403" fmla="*/ 324724 h 533771"/>
                  <a:gd name="connsiteX3404" fmla="*/ 97779 w 401077"/>
                  <a:gd name="connsiteY3404" fmla="*/ 325606 h 533771"/>
                  <a:gd name="connsiteX3405" fmla="*/ 98043 w 401077"/>
                  <a:gd name="connsiteY3405" fmla="*/ 325870 h 533771"/>
                  <a:gd name="connsiteX3406" fmla="*/ 98043 w 401077"/>
                  <a:gd name="connsiteY3406" fmla="*/ 326135 h 533771"/>
                  <a:gd name="connsiteX3407" fmla="*/ 98308 w 401077"/>
                  <a:gd name="connsiteY3407" fmla="*/ 326752 h 533771"/>
                  <a:gd name="connsiteX3408" fmla="*/ 97691 w 401077"/>
                  <a:gd name="connsiteY3408" fmla="*/ 326488 h 533771"/>
                  <a:gd name="connsiteX3409" fmla="*/ 97338 w 401077"/>
                  <a:gd name="connsiteY3409" fmla="*/ 326752 h 533771"/>
                  <a:gd name="connsiteX3410" fmla="*/ 97338 w 401077"/>
                  <a:gd name="connsiteY3410" fmla="*/ 326928 h 533771"/>
                  <a:gd name="connsiteX3411" fmla="*/ 98925 w 401077"/>
                  <a:gd name="connsiteY3411" fmla="*/ 326928 h 533771"/>
                  <a:gd name="connsiteX3412" fmla="*/ 98572 w 401077"/>
                  <a:gd name="connsiteY3412" fmla="*/ 326928 h 533771"/>
                  <a:gd name="connsiteX3413" fmla="*/ 98308 w 401077"/>
                  <a:gd name="connsiteY3413" fmla="*/ 326311 h 533771"/>
                  <a:gd name="connsiteX3414" fmla="*/ 98572 w 401077"/>
                  <a:gd name="connsiteY3414" fmla="*/ 326576 h 533771"/>
                  <a:gd name="connsiteX3415" fmla="*/ 98925 w 401077"/>
                  <a:gd name="connsiteY3415" fmla="*/ 326928 h 533771"/>
                  <a:gd name="connsiteX3416" fmla="*/ 94869 w 401077"/>
                  <a:gd name="connsiteY3416" fmla="*/ 326928 h 533771"/>
                  <a:gd name="connsiteX3417" fmla="*/ 94869 w 401077"/>
                  <a:gd name="connsiteY3417" fmla="*/ 327193 h 533771"/>
                  <a:gd name="connsiteX3418" fmla="*/ 94517 w 401077"/>
                  <a:gd name="connsiteY3418" fmla="*/ 326928 h 533771"/>
                  <a:gd name="connsiteX3419" fmla="*/ 94869 w 401077"/>
                  <a:gd name="connsiteY3419" fmla="*/ 326928 h 533771"/>
                  <a:gd name="connsiteX3420" fmla="*/ 97426 w 401077"/>
                  <a:gd name="connsiteY3420" fmla="*/ 327193 h 533771"/>
                  <a:gd name="connsiteX3421" fmla="*/ 97162 w 401077"/>
                  <a:gd name="connsiteY3421" fmla="*/ 327193 h 533771"/>
                  <a:gd name="connsiteX3422" fmla="*/ 97426 w 401077"/>
                  <a:gd name="connsiteY3422" fmla="*/ 327193 h 533771"/>
                  <a:gd name="connsiteX3423" fmla="*/ 96897 w 401077"/>
                  <a:gd name="connsiteY3423" fmla="*/ 327810 h 533771"/>
                  <a:gd name="connsiteX3424" fmla="*/ 96633 w 401077"/>
                  <a:gd name="connsiteY3424" fmla="*/ 327810 h 533771"/>
                  <a:gd name="connsiteX3425" fmla="*/ 96633 w 401077"/>
                  <a:gd name="connsiteY3425" fmla="*/ 327545 h 533771"/>
                  <a:gd name="connsiteX3426" fmla="*/ 96368 w 401077"/>
                  <a:gd name="connsiteY3426" fmla="*/ 327281 h 533771"/>
                  <a:gd name="connsiteX3427" fmla="*/ 96633 w 401077"/>
                  <a:gd name="connsiteY3427" fmla="*/ 327281 h 533771"/>
                  <a:gd name="connsiteX3428" fmla="*/ 97162 w 401077"/>
                  <a:gd name="connsiteY3428" fmla="*/ 327545 h 533771"/>
                  <a:gd name="connsiteX3429" fmla="*/ 96897 w 401077"/>
                  <a:gd name="connsiteY3429" fmla="*/ 327810 h 533771"/>
                  <a:gd name="connsiteX3430" fmla="*/ 97162 w 401077"/>
                  <a:gd name="connsiteY3430" fmla="*/ 328692 h 533771"/>
                  <a:gd name="connsiteX3431" fmla="*/ 97162 w 401077"/>
                  <a:gd name="connsiteY3431" fmla="*/ 328692 h 533771"/>
                  <a:gd name="connsiteX3432" fmla="*/ 97426 w 401077"/>
                  <a:gd name="connsiteY3432" fmla="*/ 328075 h 533771"/>
                  <a:gd name="connsiteX3433" fmla="*/ 97162 w 401077"/>
                  <a:gd name="connsiteY3433" fmla="*/ 327810 h 533771"/>
                  <a:gd name="connsiteX3434" fmla="*/ 98043 w 401077"/>
                  <a:gd name="connsiteY3434" fmla="*/ 327545 h 533771"/>
                  <a:gd name="connsiteX3435" fmla="*/ 97779 w 401077"/>
                  <a:gd name="connsiteY3435" fmla="*/ 328427 h 533771"/>
                  <a:gd name="connsiteX3436" fmla="*/ 97162 w 401077"/>
                  <a:gd name="connsiteY3436" fmla="*/ 328692 h 533771"/>
                  <a:gd name="connsiteX3437" fmla="*/ 96897 w 401077"/>
                  <a:gd name="connsiteY3437" fmla="*/ 328075 h 533771"/>
                  <a:gd name="connsiteX3438" fmla="*/ 96633 w 401077"/>
                  <a:gd name="connsiteY3438" fmla="*/ 328075 h 533771"/>
                  <a:gd name="connsiteX3439" fmla="*/ 96897 w 401077"/>
                  <a:gd name="connsiteY3439" fmla="*/ 328075 h 533771"/>
                  <a:gd name="connsiteX3440" fmla="*/ 95663 w 401077"/>
                  <a:gd name="connsiteY3440" fmla="*/ 329838 h 533771"/>
                  <a:gd name="connsiteX3441" fmla="*/ 95398 w 401077"/>
                  <a:gd name="connsiteY3441" fmla="*/ 328956 h 533771"/>
                  <a:gd name="connsiteX3442" fmla="*/ 95663 w 401077"/>
                  <a:gd name="connsiteY3442" fmla="*/ 328956 h 533771"/>
                  <a:gd name="connsiteX3443" fmla="*/ 95927 w 401077"/>
                  <a:gd name="connsiteY3443" fmla="*/ 328692 h 533771"/>
                  <a:gd name="connsiteX3444" fmla="*/ 96192 w 401077"/>
                  <a:gd name="connsiteY3444" fmla="*/ 328956 h 533771"/>
                  <a:gd name="connsiteX3445" fmla="*/ 95927 w 401077"/>
                  <a:gd name="connsiteY3445" fmla="*/ 329573 h 533771"/>
                  <a:gd name="connsiteX3446" fmla="*/ 95927 w 401077"/>
                  <a:gd name="connsiteY3446" fmla="*/ 329838 h 533771"/>
                  <a:gd name="connsiteX3447" fmla="*/ 95663 w 401077"/>
                  <a:gd name="connsiteY3447" fmla="*/ 329838 h 533771"/>
                  <a:gd name="connsiteX3448" fmla="*/ 93988 w 401077"/>
                  <a:gd name="connsiteY3448" fmla="*/ 329485 h 533771"/>
                  <a:gd name="connsiteX3449" fmla="*/ 93723 w 401077"/>
                  <a:gd name="connsiteY3449" fmla="*/ 329485 h 533771"/>
                  <a:gd name="connsiteX3450" fmla="*/ 93988 w 401077"/>
                  <a:gd name="connsiteY3450" fmla="*/ 329485 h 533771"/>
                  <a:gd name="connsiteX3451" fmla="*/ 94869 w 401077"/>
                  <a:gd name="connsiteY3451" fmla="*/ 330455 h 533771"/>
                  <a:gd name="connsiteX3452" fmla="*/ 94517 w 401077"/>
                  <a:gd name="connsiteY3452" fmla="*/ 330191 h 533771"/>
                  <a:gd name="connsiteX3453" fmla="*/ 94517 w 401077"/>
                  <a:gd name="connsiteY3453" fmla="*/ 329838 h 533771"/>
                  <a:gd name="connsiteX3454" fmla="*/ 94869 w 401077"/>
                  <a:gd name="connsiteY3454" fmla="*/ 329573 h 533771"/>
                  <a:gd name="connsiteX3455" fmla="*/ 94869 w 401077"/>
                  <a:gd name="connsiteY3455" fmla="*/ 330455 h 533771"/>
                  <a:gd name="connsiteX3456" fmla="*/ 96015 w 401077"/>
                  <a:gd name="connsiteY3456" fmla="*/ 330984 h 533771"/>
                  <a:gd name="connsiteX3457" fmla="*/ 95751 w 401077"/>
                  <a:gd name="connsiteY3457" fmla="*/ 330984 h 533771"/>
                  <a:gd name="connsiteX3458" fmla="*/ 95487 w 401077"/>
                  <a:gd name="connsiteY3458" fmla="*/ 330455 h 533771"/>
                  <a:gd name="connsiteX3459" fmla="*/ 95751 w 401077"/>
                  <a:gd name="connsiteY3459" fmla="*/ 330720 h 533771"/>
                  <a:gd name="connsiteX3460" fmla="*/ 96015 w 401077"/>
                  <a:gd name="connsiteY3460" fmla="*/ 330984 h 533771"/>
                  <a:gd name="connsiteX3461" fmla="*/ 91871 w 401077"/>
                  <a:gd name="connsiteY3461" fmla="*/ 331249 h 533771"/>
                  <a:gd name="connsiteX3462" fmla="*/ 91607 w 401077"/>
                  <a:gd name="connsiteY3462" fmla="*/ 331513 h 533771"/>
                  <a:gd name="connsiteX3463" fmla="*/ 91342 w 401077"/>
                  <a:gd name="connsiteY3463" fmla="*/ 330896 h 533771"/>
                  <a:gd name="connsiteX3464" fmla="*/ 91607 w 401077"/>
                  <a:gd name="connsiteY3464" fmla="*/ 330896 h 533771"/>
                  <a:gd name="connsiteX3465" fmla="*/ 91342 w 401077"/>
                  <a:gd name="connsiteY3465" fmla="*/ 330367 h 533771"/>
                  <a:gd name="connsiteX3466" fmla="*/ 91078 w 401077"/>
                  <a:gd name="connsiteY3466" fmla="*/ 330367 h 533771"/>
                  <a:gd name="connsiteX3467" fmla="*/ 91078 w 401077"/>
                  <a:gd name="connsiteY3467" fmla="*/ 330102 h 533771"/>
                  <a:gd name="connsiteX3468" fmla="*/ 90813 w 401077"/>
                  <a:gd name="connsiteY3468" fmla="*/ 330102 h 533771"/>
                  <a:gd name="connsiteX3469" fmla="*/ 90549 w 401077"/>
                  <a:gd name="connsiteY3469" fmla="*/ 330102 h 533771"/>
                  <a:gd name="connsiteX3470" fmla="*/ 90813 w 401077"/>
                  <a:gd name="connsiteY3470" fmla="*/ 329221 h 533771"/>
                  <a:gd name="connsiteX3471" fmla="*/ 90813 w 401077"/>
                  <a:gd name="connsiteY3471" fmla="*/ 328956 h 533771"/>
                  <a:gd name="connsiteX3472" fmla="*/ 91695 w 401077"/>
                  <a:gd name="connsiteY3472" fmla="*/ 329221 h 533771"/>
                  <a:gd name="connsiteX3473" fmla="*/ 91431 w 401077"/>
                  <a:gd name="connsiteY3473" fmla="*/ 328956 h 533771"/>
                  <a:gd name="connsiteX3474" fmla="*/ 91695 w 401077"/>
                  <a:gd name="connsiteY3474" fmla="*/ 328692 h 533771"/>
                  <a:gd name="connsiteX3475" fmla="*/ 91960 w 401077"/>
                  <a:gd name="connsiteY3475" fmla="*/ 329221 h 533771"/>
                  <a:gd name="connsiteX3476" fmla="*/ 92224 w 401077"/>
                  <a:gd name="connsiteY3476" fmla="*/ 329221 h 533771"/>
                  <a:gd name="connsiteX3477" fmla="*/ 91960 w 401077"/>
                  <a:gd name="connsiteY3477" fmla="*/ 328692 h 533771"/>
                  <a:gd name="connsiteX3478" fmla="*/ 91342 w 401077"/>
                  <a:gd name="connsiteY3478" fmla="*/ 328692 h 533771"/>
                  <a:gd name="connsiteX3479" fmla="*/ 90461 w 401077"/>
                  <a:gd name="connsiteY3479" fmla="*/ 328692 h 533771"/>
                  <a:gd name="connsiteX3480" fmla="*/ 90461 w 401077"/>
                  <a:gd name="connsiteY3480" fmla="*/ 328427 h 533771"/>
                  <a:gd name="connsiteX3481" fmla="*/ 90108 w 401077"/>
                  <a:gd name="connsiteY3481" fmla="*/ 328427 h 533771"/>
                  <a:gd name="connsiteX3482" fmla="*/ 89491 w 401077"/>
                  <a:gd name="connsiteY3482" fmla="*/ 327545 h 533771"/>
                  <a:gd name="connsiteX3483" fmla="*/ 89226 w 401077"/>
                  <a:gd name="connsiteY3483" fmla="*/ 326928 h 533771"/>
                  <a:gd name="connsiteX3484" fmla="*/ 89491 w 401077"/>
                  <a:gd name="connsiteY3484" fmla="*/ 326664 h 533771"/>
                  <a:gd name="connsiteX3485" fmla="*/ 89226 w 401077"/>
                  <a:gd name="connsiteY3485" fmla="*/ 325782 h 533771"/>
                  <a:gd name="connsiteX3486" fmla="*/ 89491 w 401077"/>
                  <a:gd name="connsiteY3486" fmla="*/ 324636 h 533771"/>
                  <a:gd name="connsiteX3487" fmla="*/ 89226 w 401077"/>
                  <a:gd name="connsiteY3487" fmla="*/ 323754 h 533771"/>
                  <a:gd name="connsiteX3488" fmla="*/ 88345 w 401077"/>
                  <a:gd name="connsiteY3488" fmla="*/ 323137 h 533771"/>
                  <a:gd name="connsiteX3489" fmla="*/ 88962 w 401077"/>
                  <a:gd name="connsiteY3489" fmla="*/ 322873 h 533771"/>
                  <a:gd name="connsiteX3490" fmla="*/ 88962 w 401077"/>
                  <a:gd name="connsiteY3490" fmla="*/ 323137 h 533771"/>
                  <a:gd name="connsiteX3491" fmla="*/ 89491 w 401077"/>
                  <a:gd name="connsiteY3491" fmla="*/ 323402 h 533771"/>
                  <a:gd name="connsiteX3492" fmla="*/ 90108 w 401077"/>
                  <a:gd name="connsiteY3492" fmla="*/ 322784 h 533771"/>
                  <a:gd name="connsiteX3493" fmla="*/ 90725 w 401077"/>
                  <a:gd name="connsiteY3493" fmla="*/ 322520 h 533771"/>
                  <a:gd name="connsiteX3494" fmla="*/ 91871 w 401077"/>
                  <a:gd name="connsiteY3494" fmla="*/ 322520 h 533771"/>
                  <a:gd name="connsiteX3495" fmla="*/ 92489 w 401077"/>
                  <a:gd name="connsiteY3495" fmla="*/ 323137 h 533771"/>
                  <a:gd name="connsiteX3496" fmla="*/ 92489 w 401077"/>
                  <a:gd name="connsiteY3496" fmla="*/ 323402 h 533771"/>
                  <a:gd name="connsiteX3497" fmla="*/ 92753 w 401077"/>
                  <a:gd name="connsiteY3497" fmla="*/ 324019 h 533771"/>
                  <a:gd name="connsiteX3498" fmla="*/ 93018 w 401077"/>
                  <a:gd name="connsiteY3498" fmla="*/ 324636 h 533771"/>
                  <a:gd name="connsiteX3499" fmla="*/ 93635 w 401077"/>
                  <a:gd name="connsiteY3499" fmla="*/ 325518 h 533771"/>
                  <a:gd name="connsiteX3500" fmla="*/ 93635 w 401077"/>
                  <a:gd name="connsiteY3500" fmla="*/ 325782 h 533771"/>
                  <a:gd name="connsiteX3501" fmla="*/ 93635 w 401077"/>
                  <a:gd name="connsiteY3501" fmla="*/ 326047 h 533771"/>
                  <a:gd name="connsiteX3502" fmla="*/ 93900 w 401077"/>
                  <a:gd name="connsiteY3502" fmla="*/ 326664 h 533771"/>
                  <a:gd name="connsiteX3503" fmla="*/ 94164 w 401077"/>
                  <a:gd name="connsiteY3503" fmla="*/ 326399 h 533771"/>
                  <a:gd name="connsiteX3504" fmla="*/ 94429 w 401077"/>
                  <a:gd name="connsiteY3504" fmla="*/ 326664 h 533771"/>
                  <a:gd name="connsiteX3505" fmla="*/ 94429 w 401077"/>
                  <a:gd name="connsiteY3505" fmla="*/ 326928 h 533771"/>
                  <a:gd name="connsiteX3506" fmla="*/ 94429 w 401077"/>
                  <a:gd name="connsiteY3506" fmla="*/ 327545 h 533771"/>
                  <a:gd name="connsiteX3507" fmla="*/ 94429 w 401077"/>
                  <a:gd name="connsiteY3507" fmla="*/ 328163 h 533771"/>
                  <a:gd name="connsiteX3508" fmla="*/ 93900 w 401077"/>
                  <a:gd name="connsiteY3508" fmla="*/ 328427 h 533771"/>
                  <a:gd name="connsiteX3509" fmla="*/ 93635 w 401077"/>
                  <a:gd name="connsiteY3509" fmla="*/ 328163 h 533771"/>
                  <a:gd name="connsiteX3510" fmla="*/ 93635 w 401077"/>
                  <a:gd name="connsiteY3510" fmla="*/ 328427 h 533771"/>
                  <a:gd name="connsiteX3511" fmla="*/ 93371 w 401077"/>
                  <a:gd name="connsiteY3511" fmla="*/ 328692 h 533771"/>
                  <a:gd name="connsiteX3512" fmla="*/ 93988 w 401077"/>
                  <a:gd name="connsiteY3512" fmla="*/ 328692 h 533771"/>
                  <a:gd name="connsiteX3513" fmla="*/ 93988 w 401077"/>
                  <a:gd name="connsiteY3513" fmla="*/ 329221 h 533771"/>
                  <a:gd name="connsiteX3514" fmla="*/ 93371 w 401077"/>
                  <a:gd name="connsiteY3514" fmla="*/ 329838 h 533771"/>
                  <a:gd name="connsiteX3515" fmla="*/ 93106 w 401077"/>
                  <a:gd name="connsiteY3515" fmla="*/ 330191 h 533771"/>
                  <a:gd name="connsiteX3516" fmla="*/ 93371 w 401077"/>
                  <a:gd name="connsiteY3516" fmla="*/ 330455 h 533771"/>
                  <a:gd name="connsiteX3517" fmla="*/ 93106 w 401077"/>
                  <a:gd name="connsiteY3517" fmla="*/ 330720 h 533771"/>
                  <a:gd name="connsiteX3518" fmla="*/ 92842 w 401077"/>
                  <a:gd name="connsiteY3518" fmla="*/ 330455 h 533771"/>
                  <a:gd name="connsiteX3519" fmla="*/ 93106 w 401077"/>
                  <a:gd name="connsiteY3519" fmla="*/ 330720 h 533771"/>
                  <a:gd name="connsiteX3520" fmla="*/ 92489 w 401077"/>
                  <a:gd name="connsiteY3520" fmla="*/ 331249 h 533771"/>
                  <a:gd name="connsiteX3521" fmla="*/ 92136 w 401077"/>
                  <a:gd name="connsiteY3521" fmla="*/ 330984 h 533771"/>
                  <a:gd name="connsiteX3522" fmla="*/ 92136 w 401077"/>
                  <a:gd name="connsiteY3522" fmla="*/ 331601 h 533771"/>
                  <a:gd name="connsiteX3523" fmla="*/ 91871 w 401077"/>
                  <a:gd name="connsiteY3523" fmla="*/ 331249 h 533771"/>
                  <a:gd name="connsiteX3524" fmla="*/ 92489 w 401077"/>
                  <a:gd name="connsiteY3524" fmla="*/ 331866 h 533771"/>
                  <a:gd name="connsiteX3525" fmla="*/ 92136 w 401077"/>
                  <a:gd name="connsiteY3525" fmla="*/ 331866 h 533771"/>
                  <a:gd name="connsiteX3526" fmla="*/ 92753 w 401077"/>
                  <a:gd name="connsiteY3526" fmla="*/ 331866 h 533771"/>
                  <a:gd name="connsiteX3527" fmla="*/ 92753 w 401077"/>
                  <a:gd name="connsiteY3527" fmla="*/ 332130 h 533771"/>
                  <a:gd name="connsiteX3528" fmla="*/ 92489 w 401077"/>
                  <a:gd name="connsiteY3528" fmla="*/ 331866 h 533771"/>
                  <a:gd name="connsiteX3529" fmla="*/ 91078 w 401077"/>
                  <a:gd name="connsiteY3529" fmla="*/ 331866 h 533771"/>
                  <a:gd name="connsiteX3530" fmla="*/ 91078 w 401077"/>
                  <a:gd name="connsiteY3530" fmla="*/ 331866 h 533771"/>
                  <a:gd name="connsiteX3531" fmla="*/ 91078 w 401077"/>
                  <a:gd name="connsiteY3531" fmla="*/ 331601 h 533771"/>
                  <a:gd name="connsiteX3532" fmla="*/ 91078 w 401077"/>
                  <a:gd name="connsiteY3532" fmla="*/ 331866 h 533771"/>
                  <a:gd name="connsiteX3533" fmla="*/ 96280 w 401077"/>
                  <a:gd name="connsiteY3533" fmla="*/ 333894 h 533771"/>
                  <a:gd name="connsiteX3534" fmla="*/ 95663 w 401077"/>
                  <a:gd name="connsiteY3534" fmla="*/ 333894 h 533771"/>
                  <a:gd name="connsiteX3535" fmla="*/ 95046 w 401077"/>
                  <a:gd name="connsiteY3535" fmla="*/ 333365 h 533771"/>
                  <a:gd name="connsiteX3536" fmla="*/ 94429 w 401077"/>
                  <a:gd name="connsiteY3536" fmla="*/ 332483 h 533771"/>
                  <a:gd name="connsiteX3537" fmla="*/ 93547 w 401077"/>
                  <a:gd name="connsiteY3537" fmla="*/ 331601 h 533771"/>
                  <a:gd name="connsiteX3538" fmla="*/ 93811 w 401077"/>
                  <a:gd name="connsiteY3538" fmla="*/ 331337 h 533771"/>
                  <a:gd name="connsiteX3539" fmla="*/ 93547 w 401077"/>
                  <a:gd name="connsiteY3539" fmla="*/ 331072 h 533771"/>
                  <a:gd name="connsiteX3540" fmla="*/ 94429 w 401077"/>
                  <a:gd name="connsiteY3540" fmla="*/ 331337 h 533771"/>
                  <a:gd name="connsiteX3541" fmla="*/ 94429 w 401077"/>
                  <a:gd name="connsiteY3541" fmla="*/ 331072 h 533771"/>
                  <a:gd name="connsiteX3542" fmla="*/ 94781 w 401077"/>
                  <a:gd name="connsiteY3542" fmla="*/ 331072 h 533771"/>
                  <a:gd name="connsiteX3543" fmla="*/ 95046 w 401077"/>
                  <a:gd name="connsiteY3543" fmla="*/ 330543 h 533771"/>
                  <a:gd name="connsiteX3544" fmla="*/ 95310 w 401077"/>
                  <a:gd name="connsiteY3544" fmla="*/ 331425 h 533771"/>
                  <a:gd name="connsiteX3545" fmla="*/ 95575 w 401077"/>
                  <a:gd name="connsiteY3545" fmla="*/ 332042 h 533771"/>
                  <a:gd name="connsiteX3546" fmla="*/ 96192 w 401077"/>
                  <a:gd name="connsiteY3546" fmla="*/ 332307 h 533771"/>
                  <a:gd name="connsiteX3547" fmla="*/ 96192 w 401077"/>
                  <a:gd name="connsiteY3547" fmla="*/ 332571 h 533771"/>
                  <a:gd name="connsiteX3548" fmla="*/ 95927 w 401077"/>
                  <a:gd name="connsiteY3548" fmla="*/ 333188 h 533771"/>
                  <a:gd name="connsiteX3549" fmla="*/ 96280 w 401077"/>
                  <a:gd name="connsiteY3549" fmla="*/ 333894 h 533771"/>
                  <a:gd name="connsiteX3550" fmla="*/ 59249 w 401077"/>
                  <a:gd name="connsiteY3550" fmla="*/ 335392 h 533771"/>
                  <a:gd name="connsiteX3551" fmla="*/ 58985 w 401077"/>
                  <a:gd name="connsiteY3551" fmla="*/ 335392 h 533771"/>
                  <a:gd name="connsiteX3552" fmla="*/ 59249 w 401077"/>
                  <a:gd name="connsiteY3552" fmla="*/ 335392 h 533771"/>
                  <a:gd name="connsiteX3553" fmla="*/ 58632 w 401077"/>
                  <a:gd name="connsiteY3553" fmla="*/ 336539 h 533771"/>
                  <a:gd name="connsiteX3554" fmla="*/ 58632 w 401077"/>
                  <a:gd name="connsiteY3554" fmla="*/ 336274 h 533771"/>
                  <a:gd name="connsiteX3555" fmla="*/ 58632 w 401077"/>
                  <a:gd name="connsiteY3555" fmla="*/ 336539 h 533771"/>
                  <a:gd name="connsiteX3556" fmla="*/ 92842 w 401077"/>
                  <a:gd name="connsiteY3556" fmla="*/ 341476 h 533771"/>
                  <a:gd name="connsiteX3557" fmla="*/ 92577 w 401077"/>
                  <a:gd name="connsiteY3557" fmla="*/ 340859 h 533771"/>
                  <a:gd name="connsiteX3558" fmla="*/ 92224 w 401077"/>
                  <a:gd name="connsiteY3558" fmla="*/ 340595 h 533771"/>
                  <a:gd name="connsiteX3559" fmla="*/ 91960 w 401077"/>
                  <a:gd name="connsiteY3559" fmla="*/ 340595 h 533771"/>
                  <a:gd name="connsiteX3560" fmla="*/ 91695 w 401077"/>
                  <a:gd name="connsiteY3560" fmla="*/ 339977 h 533771"/>
                  <a:gd name="connsiteX3561" fmla="*/ 91960 w 401077"/>
                  <a:gd name="connsiteY3561" fmla="*/ 339977 h 533771"/>
                  <a:gd name="connsiteX3562" fmla="*/ 91342 w 401077"/>
                  <a:gd name="connsiteY3562" fmla="*/ 339713 h 533771"/>
                  <a:gd name="connsiteX3563" fmla="*/ 91607 w 401077"/>
                  <a:gd name="connsiteY3563" fmla="*/ 340595 h 533771"/>
                  <a:gd name="connsiteX3564" fmla="*/ 90990 w 401077"/>
                  <a:gd name="connsiteY3564" fmla="*/ 340330 h 533771"/>
                  <a:gd name="connsiteX3565" fmla="*/ 90990 w 401077"/>
                  <a:gd name="connsiteY3565" fmla="*/ 339448 h 533771"/>
                  <a:gd name="connsiteX3566" fmla="*/ 91871 w 401077"/>
                  <a:gd name="connsiteY3566" fmla="*/ 339448 h 533771"/>
                  <a:gd name="connsiteX3567" fmla="*/ 92753 w 401077"/>
                  <a:gd name="connsiteY3567" fmla="*/ 340065 h 533771"/>
                  <a:gd name="connsiteX3568" fmla="*/ 93018 w 401077"/>
                  <a:gd name="connsiteY3568" fmla="*/ 340065 h 533771"/>
                  <a:gd name="connsiteX3569" fmla="*/ 92753 w 401077"/>
                  <a:gd name="connsiteY3569" fmla="*/ 339801 h 533771"/>
                  <a:gd name="connsiteX3570" fmla="*/ 93282 w 401077"/>
                  <a:gd name="connsiteY3570" fmla="*/ 339801 h 533771"/>
                  <a:gd name="connsiteX3571" fmla="*/ 93282 w 401077"/>
                  <a:gd name="connsiteY3571" fmla="*/ 340065 h 533771"/>
                  <a:gd name="connsiteX3572" fmla="*/ 93282 w 401077"/>
                  <a:gd name="connsiteY3572" fmla="*/ 340330 h 533771"/>
                  <a:gd name="connsiteX3573" fmla="*/ 93547 w 401077"/>
                  <a:gd name="connsiteY3573" fmla="*/ 340947 h 533771"/>
                  <a:gd name="connsiteX3574" fmla="*/ 93282 w 401077"/>
                  <a:gd name="connsiteY3574" fmla="*/ 340947 h 533771"/>
                  <a:gd name="connsiteX3575" fmla="*/ 92842 w 401077"/>
                  <a:gd name="connsiteY3575" fmla="*/ 341476 h 533771"/>
                  <a:gd name="connsiteX3576" fmla="*/ 92224 w 401077"/>
                  <a:gd name="connsiteY3576" fmla="*/ 341741 h 533771"/>
                  <a:gd name="connsiteX3577" fmla="*/ 91695 w 401077"/>
                  <a:gd name="connsiteY3577" fmla="*/ 341476 h 533771"/>
                  <a:gd name="connsiteX3578" fmla="*/ 91695 w 401077"/>
                  <a:gd name="connsiteY3578" fmla="*/ 340859 h 533771"/>
                  <a:gd name="connsiteX3579" fmla="*/ 91960 w 401077"/>
                  <a:gd name="connsiteY3579" fmla="*/ 340859 h 533771"/>
                  <a:gd name="connsiteX3580" fmla="*/ 91960 w 401077"/>
                  <a:gd name="connsiteY3580" fmla="*/ 341476 h 533771"/>
                  <a:gd name="connsiteX3581" fmla="*/ 92224 w 401077"/>
                  <a:gd name="connsiteY3581" fmla="*/ 341741 h 533771"/>
                  <a:gd name="connsiteX3582" fmla="*/ 91078 w 401077"/>
                  <a:gd name="connsiteY3582" fmla="*/ 345885 h 533771"/>
                  <a:gd name="connsiteX3583" fmla="*/ 90813 w 401077"/>
                  <a:gd name="connsiteY3583" fmla="*/ 345620 h 533771"/>
                  <a:gd name="connsiteX3584" fmla="*/ 90549 w 401077"/>
                  <a:gd name="connsiteY3584" fmla="*/ 345885 h 533771"/>
                  <a:gd name="connsiteX3585" fmla="*/ 90196 w 401077"/>
                  <a:gd name="connsiteY3585" fmla="*/ 345620 h 533771"/>
                  <a:gd name="connsiteX3586" fmla="*/ 89579 w 401077"/>
                  <a:gd name="connsiteY3586" fmla="*/ 345091 h 533771"/>
                  <a:gd name="connsiteX3587" fmla="*/ 89844 w 401077"/>
                  <a:gd name="connsiteY3587" fmla="*/ 345091 h 533771"/>
                  <a:gd name="connsiteX3588" fmla="*/ 89844 w 401077"/>
                  <a:gd name="connsiteY3588" fmla="*/ 344209 h 533771"/>
                  <a:gd name="connsiteX3589" fmla="*/ 89844 w 401077"/>
                  <a:gd name="connsiteY3589" fmla="*/ 343945 h 533771"/>
                  <a:gd name="connsiteX3590" fmla="*/ 89844 w 401077"/>
                  <a:gd name="connsiteY3590" fmla="*/ 343680 h 533771"/>
                  <a:gd name="connsiteX3591" fmla="*/ 90725 w 401077"/>
                  <a:gd name="connsiteY3591" fmla="*/ 343063 h 533771"/>
                  <a:gd name="connsiteX3592" fmla="*/ 90990 w 401077"/>
                  <a:gd name="connsiteY3592" fmla="*/ 343063 h 533771"/>
                  <a:gd name="connsiteX3593" fmla="*/ 90990 w 401077"/>
                  <a:gd name="connsiteY3593" fmla="*/ 342446 h 533771"/>
                  <a:gd name="connsiteX3594" fmla="*/ 90990 w 401077"/>
                  <a:gd name="connsiteY3594" fmla="*/ 341829 h 533771"/>
                  <a:gd name="connsiteX3595" fmla="*/ 91255 w 401077"/>
                  <a:gd name="connsiteY3595" fmla="*/ 342446 h 533771"/>
                  <a:gd name="connsiteX3596" fmla="*/ 91255 w 401077"/>
                  <a:gd name="connsiteY3596" fmla="*/ 343592 h 533771"/>
                  <a:gd name="connsiteX3597" fmla="*/ 90990 w 401077"/>
                  <a:gd name="connsiteY3597" fmla="*/ 343592 h 533771"/>
                  <a:gd name="connsiteX3598" fmla="*/ 90990 w 401077"/>
                  <a:gd name="connsiteY3598" fmla="*/ 344209 h 533771"/>
                  <a:gd name="connsiteX3599" fmla="*/ 90990 w 401077"/>
                  <a:gd name="connsiteY3599" fmla="*/ 344738 h 533771"/>
                  <a:gd name="connsiteX3600" fmla="*/ 90990 w 401077"/>
                  <a:gd name="connsiteY3600" fmla="*/ 345356 h 533771"/>
                  <a:gd name="connsiteX3601" fmla="*/ 90990 w 401077"/>
                  <a:gd name="connsiteY3601" fmla="*/ 345885 h 533771"/>
                  <a:gd name="connsiteX3602" fmla="*/ 103245 w 401077"/>
                  <a:gd name="connsiteY3602" fmla="*/ 352585 h 533771"/>
                  <a:gd name="connsiteX3603" fmla="*/ 102981 w 401077"/>
                  <a:gd name="connsiteY3603" fmla="*/ 352585 h 533771"/>
                  <a:gd name="connsiteX3604" fmla="*/ 102981 w 401077"/>
                  <a:gd name="connsiteY3604" fmla="*/ 352321 h 533771"/>
                  <a:gd name="connsiteX3605" fmla="*/ 103245 w 401077"/>
                  <a:gd name="connsiteY3605" fmla="*/ 352585 h 533771"/>
                  <a:gd name="connsiteX3606" fmla="*/ 115236 w 401077"/>
                  <a:gd name="connsiteY3606" fmla="*/ 354878 h 533771"/>
                  <a:gd name="connsiteX3607" fmla="*/ 114971 w 401077"/>
                  <a:gd name="connsiteY3607" fmla="*/ 354878 h 533771"/>
                  <a:gd name="connsiteX3608" fmla="*/ 115236 w 401077"/>
                  <a:gd name="connsiteY3608" fmla="*/ 354613 h 533771"/>
                  <a:gd name="connsiteX3609" fmla="*/ 115236 w 401077"/>
                  <a:gd name="connsiteY3609" fmla="*/ 354878 h 533771"/>
                  <a:gd name="connsiteX3610" fmla="*/ 90461 w 401077"/>
                  <a:gd name="connsiteY3610" fmla="*/ 355759 h 533771"/>
                  <a:gd name="connsiteX3611" fmla="*/ 90108 w 401077"/>
                  <a:gd name="connsiteY3611" fmla="*/ 355759 h 533771"/>
                  <a:gd name="connsiteX3612" fmla="*/ 90461 w 401077"/>
                  <a:gd name="connsiteY3612" fmla="*/ 355759 h 533771"/>
                  <a:gd name="connsiteX3613" fmla="*/ 90108 w 401077"/>
                  <a:gd name="connsiteY3613" fmla="*/ 356377 h 533771"/>
                  <a:gd name="connsiteX3614" fmla="*/ 89844 w 401077"/>
                  <a:gd name="connsiteY3614" fmla="*/ 356112 h 533771"/>
                  <a:gd name="connsiteX3615" fmla="*/ 89844 w 401077"/>
                  <a:gd name="connsiteY3615" fmla="*/ 355848 h 533771"/>
                  <a:gd name="connsiteX3616" fmla="*/ 90108 w 401077"/>
                  <a:gd name="connsiteY3616" fmla="*/ 356377 h 533771"/>
                  <a:gd name="connsiteX3617" fmla="*/ 117000 w 401077"/>
                  <a:gd name="connsiteY3617" fmla="*/ 361578 h 533771"/>
                  <a:gd name="connsiteX3618" fmla="*/ 116382 w 401077"/>
                  <a:gd name="connsiteY3618" fmla="*/ 359286 h 533771"/>
                  <a:gd name="connsiteX3619" fmla="*/ 117264 w 401077"/>
                  <a:gd name="connsiteY3619" fmla="*/ 356112 h 533771"/>
                  <a:gd name="connsiteX3620" fmla="*/ 115236 w 401077"/>
                  <a:gd name="connsiteY3620" fmla="*/ 351175 h 533771"/>
                  <a:gd name="connsiteX3621" fmla="*/ 112326 w 401077"/>
                  <a:gd name="connsiteY3621" fmla="*/ 348001 h 533771"/>
                  <a:gd name="connsiteX3622" fmla="*/ 109946 w 401077"/>
                  <a:gd name="connsiteY3622" fmla="*/ 346502 h 533771"/>
                  <a:gd name="connsiteX3623" fmla="*/ 111974 w 401077"/>
                  <a:gd name="connsiteY3623" fmla="*/ 346237 h 533771"/>
                  <a:gd name="connsiteX3624" fmla="*/ 114002 w 401077"/>
                  <a:gd name="connsiteY3624" fmla="*/ 347119 h 533771"/>
                  <a:gd name="connsiteX3625" fmla="*/ 112855 w 401077"/>
                  <a:gd name="connsiteY3625" fmla="*/ 343945 h 533771"/>
                  <a:gd name="connsiteX3626" fmla="*/ 109946 w 401077"/>
                  <a:gd name="connsiteY3626" fmla="*/ 343328 h 533771"/>
                  <a:gd name="connsiteX3627" fmla="*/ 109329 w 401077"/>
                  <a:gd name="connsiteY3627" fmla="*/ 346237 h 533771"/>
                  <a:gd name="connsiteX3628" fmla="*/ 110210 w 401077"/>
                  <a:gd name="connsiteY3628" fmla="*/ 350910 h 533771"/>
                  <a:gd name="connsiteX3629" fmla="*/ 111974 w 401077"/>
                  <a:gd name="connsiteY3629" fmla="*/ 353555 h 533771"/>
                  <a:gd name="connsiteX3630" fmla="*/ 114619 w 401077"/>
                  <a:gd name="connsiteY3630" fmla="*/ 355936 h 533771"/>
                  <a:gd name="connsiteX3631" fmla="*/ 113737 w 401077"/>
                  <a:gd name="connsiteY3631" fmla="*/ 357435 h 533771"/>
                  <a:gd name="connsiteX3632" fmla="*/ 111974 w 401077"/>
                  <a:gd name="connsiteY3632" fmla="*/ 356553 h 533771"/>
                  <a:gd name="connsiteX3633" fmla="*/ 107830 w 401077"/>
                  <a:gd name="connsiteY3633" fmla="*/ 355407 h 533771"/>
                  <a:gd name="connsiteX3634" fmla="*/ 105273 w 401077"/>
                  <a:gd name="connsiteY3634" fmla="*/ 355407 h 533771"/>
                  <a:gd name="connsiteX3635" fmla="*/ 104392 w 401077"/>
                  <a:gd name="connsiteY3635" fmla="*/ 354260 h 533771"/>
                  <a:gd name="connsiteX3636" fmla="*/ 103510 w 401077"/>
                  <a:gd name="connsiteY3636" fmla="*/ 353379 h 533771"/>
                  <a:gd name="connsiteX3637" fmla="*/ 102011 w 401077"/>
                  <a:gd name="connsiteY3637" fmla="*/ 351616 h 533771"/>
                  <a:gd name="connsiteX3638" fmla="*/ 102011 w 401077"/>
                  <a:gd name="connsiteY3638" fmla="*/ 350734 h 533771"/>
                  <a:gd name="connsiteX3639" fmla="*/ 103157 w 401077"/>
                  <a:gd name="connsiteY3639" fmla="*/ 351616 h 533771"/>
                  <a:gd name="connsiteX3640" fmla="*/ 104656 w 401077"/>
                  <a:gd name="connsiteY3640" fmla="*/ 350469 h 533771"/>
                  <a:gd name="connsiteX3641" fmla="*/ 102892 w 401077"/>
                  <a:gd name="connsiteY3641" fmla="*/ 345179 h 533771"/>
                  <a:gd name="connsiteX3642" fmla="*/ 99718 w 401077"/>
                  <a:gd name="connsiteY3642" fmla="*/ 342534 h 533771"/>
                  <a:gd name="connsiteX3643" fmla="*/ 99718 w 401077"/>
                  <a:gd name="connsiteY3643" fmla="*/ 340771 h 533771"/>
                  <a:gd name="connsiteX3644" fmla="*/ 97955 w 401077"/>
                  <a:gd name="connsiteY3644" fmla="*/ 337244 h 533771"/>
                  <a:gd name="connsiteX3645" fmla="*/ 97073 w 401077"/>
                  <a:gd name="connsiteY3645" fmla="*/ 336098 h 533771"/>
                  <a:gd name="connsiteX3646" fmla="*/ 96192 w 401077"/>
                  <a:gd name="connsiteY3646" fmla="*/ 333806 h 533771"/>
                  <a:gd name="connsiteX3647" fmla="*/ 98220 w 401077"/>
                  <a:gd name="connsiteY3647" fmla="*/ 334070 h 533771"/>
                  <a:gd name="connsiteX3648" fmla="*/ 99366 w 401077"/>
                  <a:gd name="connsiteY3648" fmla="*/ 332307 h 533771"/>
                  <a:gd name="connsiteX3649" fmla="*/ 99366 w 401077"/>
                  <a:gd name="connsiteY3649" fmla="*/ 331160 h 533771"/>
                  <a:gd name="connsiteX3650" fmla="*/ 99895 w 401077"/>
                  <a:gd name="connsiteY3650" fmla="*/ 329662 h 533771"/>
                  <a:gd name="connsiteX3651" fmla="*/ 100512 w 401077"/>
                  <a:gd name="connsiteY3651" fmla="*/ 329397 h 533771"/>
                  <a:gd name="connsiteX3652" fmla="*/ 100247 w 401077"/>
                  <a:gd name="connsiteY3652" fmla="*/ 327986 h 533771"/>
                  <a:gd name="connsiteX3653" fmla="*/ 100865 w 401077"/>
                  <a:gd name="connsiteY3653" fmla="*/ 325959 h 533771"/>
                  <a:gd name="connsiteX3654" fmla="*/ 100600 w 401077"/>
                  <a:gd name="connsiteY3654" fmla="*/ 323931 h 533771"/>
                  <a:gd name="connsiteX3655" fmla="*/ 99983 w 401077"/>
                  <a:gd name="connsiteY3655" fmla="*/ 322520 h 533771"/>
                  <a:gd name="connsiteX3656" fmla="*/ 100336 w 401077"/>
                  <a:gd name="connsiteY3656" fmla="*/ 321638 h 533771"/>
                  <a:gd name="connsiteX3657" fmla="*/ 100600 w 401077"/>
                  <a:gd name="connsiteY3657" fmla="*/ 320757 h 533771"/>
                  <a:gd name="connsiteX3658" fmla="*/ 97955 w 401077"/>
                  <a:gd name="connsiteY3658" fmla="*/ 321374 h 533771"/>
                  <a:gd name="connsiteX3659" fmla="*/ 97955 w 401077"/>
                  <a:gd name="connsiteY3659" fmla="*/ 319875 h 533771"/>
                  <a:gd name="connsiteX3660" fmla="*/ 99101 w 401077"/>
                  <a:gd name="connsiteY3660" fmla="*/ 318376 h 533771"/>
                  <a:gd name="connsiteX3661" fmla="*/ 98220 w 401077"/>
                  <a:gd name="connsiteY3661" fmla="*/ 316613 h 533771"/>
                  <a:gd name="connsiteX3662" fmla="*/ 95927 w 401077"/>
                  <a:gd name="connsiteY3662" fmla="*/ 314849 h 533771"/>
                  <a:gd name="connsiteX3663" fmla="*/ 93282 w 401077"/>
                  <a:gd name="connsiteY3663" fmla="*/ 313086 h 533771"/>
                  <a:gd name="connsiteX3664" fmla="*/ 91784 w 401077"/>
                  <a:gd name="connsiteY3664" fmla="*/ 311058 h 533771"/>
                  <a:gd name="connsiteX3665" fmla="*/ 91166 w 401077"/>
                  <a:gd name="connsiteY3665" fmla="*/ 308766 h 533771"/>
                  <a:gd name="connsiteX3666" fmla="*/ 89138 w 401077"/>
                  <a:gd name="connsiteY3666" fmla="*/ 307884 h 533771"/>
                  <a:gd name="connsiteX3667" fmla="*/ 87728 w 401077"/>
                  <a:gd name="connsiteY3667" fmla="*/ 307267 h 533771"/>
                  <a:gd name="connsiteX3668" fmla="*/ 85700 w 401077"/>
                  <a:gd name="connsiteY3668" fmla="*/ 306650 h 533771"/>
                  <a:gd name="connsiteX3669" fmla="*/ 84818 w 401077"/>
                  <a:gd name="connsiteY3669" fmla="*/ 308148 h 533771"/>
                  <a:gd name="connsiteX3670" fmla="*/ 87110 w 401077"/>
                  <a:gd name="connsiteY3670" fmla="*/ 311058 h 533771"/>
                  <a:gd name="connsiteX3671" fmla="*/ 88257 w 401077"/>
                  <a:gd name="connsiteY3671" fmla="*/ 312469 h 533771"/>
                  <a:gd name="connsiteX3672" fmla="*/ 87992 w 401077"/>
                  <a:gd name="connsiteY3672" fmla="*/ 313615 h 533771"/>
                  <a:gd name="connsiteX3673" fmla="*/ 86581 w 401077"/>
                  <a:gd name="connsiteY3673" fmla="*/ 315114 h 533771"/>
                  <a:gd name="connsiteX3674" fmla="*/ 88609 w 401077"/>
                  <a:gd name="connsiteY3674" fmla="*/ 315378 h 533771"/>
                  <a:gd name="connsiteX3675" fmla="*/ 91519 w 401077"/>
                  <a:gd name="connsiteY3675" fmla="*/ 314761 h 533771"/>
                  <a:gd name="connsiteX3676" fmla="*/ 93811 w 401077"/>
                  <a:gd name="connsiteY3676" fmla="*/ 318817 h 533771"/>
                  <a:gd name="connsiteX3677" fmla="*/ 92400 w 401077"/>
                  <a:gd name="connsiteY3677" fmla="*/ 320845 h 533771"/>
                  <a:gd name="connsiteX3678" fmla="*/ 90902 w 401077"/>
                  <a:gd name="connsiteY3678" fmla="*/ 321374 h 533771"/>
                  <a:gd name="connsiteX3679" fmla="*/ 90284 w 401077"/>
                  <a:gd name="connsiteY3679" fmla="*/ 318464 h 533771"/>
                  <a:gd name="connsiteX3680" fmla="*/ 88874 w 401077"/>
                  <a:gd name="connsiteY3680" fmla="*/ 316436 h 533771"/>
                  <a:gd name="connsiteX3681" fmla="*/ 85964 w 401077"/>
                  <a:gd name="connsiteY3681" fmla="*/ 317318 h 533771"/>
                  <a:gd name="connsiteX3682" fmla="*/ 84818 w 401077"/>
                  <a:gd name="connsiteY3682" fmla="*/ 318200 h 533771"/>
                  <a:gd name="connsiteX3683" fmla="*/ 84554 w 401077"/>
                  <a:gd name="connsiteY3683" fmla="*/ 319963 h 533771"/>
                  <a:gd name="connsiteX3684" fmla="*/ 83143 w 401077"/>
                  <a:gd name="connsiteY3684" fmla="*/ 321991 h 533771"/>
                  <a:gd name="connsiteX3685" fmla="*/ 82525 w 401077"/>
                  <a:gd name="connsiteY3685" fmla="*/ 321374 h 533771"/>
                  <a:gd name="connsiteX3686" fmla="*/ 83143 w 401077"/>
                  <a:gd name="connsiteY3686" fmla="*/ 318729 h 533771"/>
                  <a:gd name="connsiteX3687" fmla="*/ 83143 w 401077"/>
                  <a:gd name="connsiteY3687" fmla="*/ 318112 h 533771"/>
                  <a:gd name="connsiteX3688" fmla="*/ 81996 w 401077"/>
                  <a:gd name="connsiteY3688" fmla="*/ 317230 h 533771"/>
                  <a:gd name="connsiteX3689" fmla="*/ 80498 w 401077"/>
                  <a:gd name="connsiteY3689" fmla="*/ 315466 h 533771"/>
                  <a:gd name="connsiteX3690" fmla="*/ 78470 w 401077"/>
                  <a:gd name="connsiteY3690" fmla="*/ 314937 h 533771"/>
                  <a:gd name="connsiteX3691" fmla="*/ 76089 w 401077"/>
                  <a:gd name="connsiteY3691" fmla="*/ 312292 h 533771"/>
                  <a:gd name="connsiteX3692" fmla="*/ 75825 w 401077"/>
                  <a:gd name="connsiteY3692" fmla="*/ 310000 h 533771"/>
                  <a:gd name="connsiteX3693" fmla="*/ 75560 w 401077"/>
                  <a:gd name="connsiteY3693" fmla="*/ 308854 h 533771"/>
                  <a:gd name="connsiteX3694" fmla="*/ 77324 w 401077"/>
                  <a:gd name="connsiteY3694" fmla="*/ 310000 h 533771"/>
                  <a:gd name="connsiteX3695" fmla="*/ 77941 w 401077"/>
                  <a:gd name="connsiteY3695" fmla="*/ 311146 h 533771"/>
                  <a:gd name="connsiteX3696" fmla="*/ 78558 w 401077"/>
                  <a:gd name="connsiteY3696" fmla="*/ 310882 h 533771"/>
                  <a:gd name="connsiteX3697" fmla="*/ 80057 w 401077"/>
                  <a:gd name="connsiteY3697" fmla="*/ 312292 h 533771"/>
                  <a:gd name="connsiteX3698" fmla="*/ 80057 w 401077"/>
                  <a:gd name="connsiteY3698" fmla="*/ 312910 h 533771"/>
                  <a:gd name="connsiteX3699" fmla="*/ 80321 w 401077"/>
                  <a:gd name="connsiteY3699" fmla="*/ 313527 h 533771"/>
                  <a:gd name="connsiteX3700" fmla="*/ 80939 w 401077"/>
                  <a:gd name="connsiteY3700" fmla="*/ 314673 h 533771"/>
                  <a:gd name="connsiteX3701" fmla="*/ 82350 w 401077"/>
                  <a:gd name="connsiteY3701" fmla="*/ 314673 h 533771"/>
                  <a:gd name="connsiteX3702" fmla="*/ 83848 w 401077"/>
                  <a:gd name="connsiteY3702" fmla="*/ 314673 h 533771"/>
                  <a:gd name="connsiteX3703" fmla="*/ 84730 w 401077"/>
                  <a:gd name="connsiteY3703" fmla="*/ 314673 h 533771"/>
                  <a:gd name="connsiteX3704" fmla="*/ 83583 w 401077"/>
                  <a:gd name="connsiteY3704" fmla="*/ 313791 h 533771"/>
                  <a:gd name="connsiteX3705" fmla="*/ 80674 w 401077"/>
                  <a:gd name="connsiteY3705" fmla="*/ 310000 h 533771"/>
                  <a:gd name="connsiteX3706" fmla="*/ 79263 w 401077"/>
                  <a:gd name="connsiteY3706" fmla="*/ 309736 h 533771"/>
                  <a:gd name="connsiteX3707" fmla="*/ 78382 w 401077"/>
                  <a:gd name="connsiteY3707" fmla="*/ 309118 h 533771"/>
                  <a:gd name="connsiteX3708" fmla="*/ 78382 w 401077"/>
                  <a:gd name="connsiteY3708" fmla="*/ 310000 h 533771"/>
                  <a:gd name="connsiteX3709" fmla="*/ 77236 w 401077"/>
                  <a:gd name="connsiteY3709" fmla="*/ 308501 h 533771"/>
                  <a:gd name="connsiteX3710" fmla="*/ 77236 w 401077"/>
                  <a:gd name="connsiteY3710" fmla="*/ 307884 h 533771"/>
                  <a:gd name="connsiteX3711" fmla="*/ 76618 w 401077"/>
                  <a:gd name="connsiteY3711" fmla="*/ 308148 h 533771"/>
                  <a:gd name="connsiteX3712" fmla="*/ 75737 w 401077"/>
                  <a:gd name="connsiteY3712" fmla="*/ 307267 h 533771"/>
                  <a:gd name="connsiteX3713" fmla="*/ 75737 w 401077"/>
                  <a:gd name="connsiteY3713" fmla="*/ 308766 h 533771"/>
                  <a:gd name="connsiteX3714" fmla="*/ 75472 w 401077"/>
                  <a:gd name="connsiteY3714" fmla="*/ 307619 h 533771"/>
                  <a:gd name="connsiteX3715" fmla="*/ 74326 w 401077"/>
                  <a:gd name="connsiteY3715" fmla="*/ 306473 h 533771"/>
                  <a:gd name="connsiteX3716" fmla="*/ 73709 w 401077"/>
                  <a:gd name="connsiteY3716" fmla="*/ 306209 h 533771"/>
                  <a:gd name="connsiteX3717" fmla="*/ 72210 w 401077"/>
                  <a:gd name="connsiteY3717" fmla="*/ 305944 h 533771"/>
                  <a:gd name="connsiteX3718" fmla="*/ 71946 w 401077"/>
                  <a:gd name="connsiteY3718" fmla="*/ 305063 h 533771"/>
                  <a:gd name="connsiteX3719" fmla="*/ 71946 w 401077"/>
                  <a:gd name="connsiteY3719" fmla="*/ 303299 h 533771"/>
                  <a:gd name="connsiteX3720" fmla="*/ 71064 w 401077"/>
                  <a:gd name="connsiteY3720" fmla="*/ 301800 h 533771"/>
                  <a:gd name="connsiteX3721" fmla="*/ 72210 w 401077"/>
                  <a:gd name="connsiteY3721" fmla="*/ 302065 h 533771"/>
                  <a:gd name="connsiteX3722" fmla="*/ 73091 w 401077"/>
                  <a:gd name="connsiteY3722" fmla="*/ 301800 h 533771"/>
                  <a:gd name="connsiteX3723" fmla="*/ 74855 w 401077"/>
                  <a:gd name="connsiteY3723" fmla="*/ 302065 h 533771"/>
                  <a:gd name="connsiteX3724" fmla="*/ 76354 w 401077"/>
                  <a:gd name="connsiteY3724" fmla="*/ 303211 h 533771"/>
                  <a:gd name="connsiteX3725" fmla="*/ 76971 w 401077"/>
                  <a:gd name="connsiteY3725" fmla="*/ 303211 h 533771"/>
                  <a:gd name="connsiteX3726" fmla="*/ 76089 w 401077"/>
                  <a:gd name="connsiteY3726" fmla="*/ 302065 h 533771"/>
                  <a:gd name="connsiteX3727" fmla="*/ 76089 w 401077"/>
                  <a:gd name="connsiteY3727" fmla="*/ 300919 h 533771"/>
                  <a:gd name="connsiteX3728" fmla="*/ 76354 w 401077"/>
                  <a:gd name="connsiteY3728" fmla="*/ 300919 h 533771"/>
                  <a:gd name="connsiteX3729" fmla="*/ 74855 w 401077"/>
                  <a:gd name="connsiteY3729" fmla="*/ 299773 h 533771"/>
                  <a:gd name="connsiteX3730" fmla="*/ 75472 w 401077"/>
                  <a:gd name="connsiteY3730" fmla="*/ 299508 h 533771"/>
                  <a:gd name="connsiteX3731" fmla="*/ 75472 w 401077"/>
                  <a:gd name="connsiteY3731" fmla="*/ 299244 h 533771"/>
                  <a:gd name="connsiteX3732" fmla="*/ 74855 w 401077"/>
                  <a:gd name="connsiteY3732" fmla="*/ 298097 h 533771"/>
                  <a:gd name="connsiteX3733" fmla="*/ 76001 w 401077"/>
                  <a:gd name="connsiteY3733" fmla="*/ 298097 h 533771"/>
                  <a:gd name="connsiteX3734" fmla="*/ 76618 w 401077"/>
                  <a:gd name="connsiteY3734" fmla="*/ 297480 h 533771"/>
                  <a:gd name="connsiteX3735" fmla="*/ 77765 w 401077"/>
                  <a:gd name="connsiteY3735" fmla="*/ 299508 h 533771"/>
                  <a:gd name="connsiteX3736" fmla="*/ 78911 w 401077"/>
                  <a:gd name="connsiteY3736" fmla="*/ 300125 h 533771"/>
                  <a:gd name="connsiteX3737" fmla="*/ 80321 w 401077"/>
                  <a:gd name="connsiteY3737" fmla="*/ 298626 h 533771"/>
                  <a:gd name="connsiteX3738" fmla="*/ 81203 w 401077"/>
                  <a:gd name="connsiteY3738" fmla="*/ 297127 h 533771"/>
                  <a:gd name="connsiteX3739" fmla="*/ 80057 w 401077"/>
                  <a:gd name="connsiteY3739" fmla="*/ 296863 h 533771"/>
                  <a:gd name="connsiteX3740" fmla="*/ 80674 w 401077"/>
                  <a:gd name="connsiteY3740" fmla="*/ 295981 h 533771"/>
                  <a:gd name="connsiteX3741" fmla="*/ 81556 w 401077"/>
                  <a:gd name="connsiteY3741" fmla="*/ 294482 h 533771"/>
                  <a:gd name="connsiteX3742" fmla="*/ 83054 w 401077"/>
                  <a:gd name="connsiteY3742" fmla="*/ 296246 h 533771"/>
                  <a:gd name="connsiteX3743" fmla="*/ 85347 w 401077"/>
                  <a:gd name="connsiteY3743" fmla="*/ 296246 h 533771"/>
                  <a:gd name="connsiteX3744" fmla="*/ 85612 w 401077"/>
                  <a:gd name="connsiteY3744" fmla="*/ 294747 h 533771"/>
                  <a:gd name="connsiteX3745" fmla="*/ 84465 w 401077"/>
                  <a:gd name="connsiteY3745" fmla="*/ 294482 h 533771"/>
                  <a:gd name="connsiteX3746" fmla="*/ 84730 w 401077"/>
                  <a:gd name="connsiteY3746" fmla="*/ 294218 h 533771"/>
                  <a:gd name="connsiteX3747" fmla="*/ 84994 w 401077"/>
                  <a:gd name="connsiteY3747" fmla="*/ 291573 h 533771"/>
                  <a:gd name="connsiteX3748" fmla="*/ 84994 w 401077"/>
                  <a:gd name="connsiteY3748" fmla="*/ 289809 h 533771"/>
                  <a:gd name="connsiteX3749" fmla="*/ 87022 w 401077"/>
                  <a:gd name="connsiteY3749" fmla="*/ 289280 h 533771"/>
                  <a:gd name="connsiteX3750" fmla="*/ 88786 w 401077"/>
                  <a:gd name="connsiteY3750" fmla="*/ 287517 h 533771"/>
                  <a:gd name="connsiteX3751" fmla="*/ 90549 w 401077"/>
                  <a:gd name="connsiteY3751" fmla="*/ 287253 h 533771"/>
                  <a:gd name="connsiteX3752" fmla="*/ 91431 w 401077"/>
                  <a:gd name="connsiteY3752" fmla="*/ 288751 h 533771"/>
                  <a:gd name="connsiteX3753" fmla="*/ 92313 w 401077"/>
                  <a:gd name="connsiteY3753" fmla="*/ 288751 h 533771"/>
                  <a:gd name="connsiteX3754" fmla="*/ 93811 w 401077"/>
                  <a:gd name="connsiteY3754" fmla="*/ 287253 h 533771"/>
                  <a:gd name="connsiteX3755" fmla="*/ 94958 w 401077"/>
                  <a:gd name="connsiteY3755" fmla="*/ 287870 h 533771"/>
                  <a:gd name="connsiteX3756" fmla="*/ 95222 w 401077"/>
                  <a:gd name="connsiteY3756" fmla="*/ 289633 h 533771"/>
                  <a:gd name="connsiteX3757" fmla="*/ 96368 w 401077"/>
                  <a:gd name="connsiteY3757" fmla="*/ 290779 h 533771"/>
                  <a:gd name="connsiteX3758" fmla="*/ 98131 w 401077"/>
                  <a:gd name="connsiteY3758" fmla="*/ 293689 h 533771"/>
                  <a:gd name="connsiteX3759" fmla="*/ 100512 w 401077"/>
                  <a:gd name="connsiteY3759" fmla="*/ 295717 h 533771"/>
                  <a:gd name="connsiteX3760" fmla="*/ 102805 w 401077"/>
                  <a:gd name="connsiteY3760" fmla="*/ 296069 h 533771"/>
                  <a:gd name="connsiteX3761" fmla="*/ 105714 w 401077"/>
                  <a:gd name="connsiteY3761" fmla="*/ 296598 h 533771"/>
                  <a:gd name="connsiteX3762" fmla="*/ 107477 w 401077"/>
                  <a:gd name="connsiteY3762" fmla="*/ 297216 h 533771"/>
                  <a:gd name="connsiteX3763" fmla="*/ 107742 w 401077"/>
                  <a:gd name="connsiteY3763" fmla="*/ 295717 h 533771"/>
                  <a:gd name="connsiteX3764" fmla="*/ 108359 w 401077"/>
                  <a:gd name="connsiteY3764" fmla="*/ 294835 h 533771"/>
                  <a:gd name="connsiteX3765" fmla="*/ 108976 w 401077"/>
                  <a:gd name="connsiteY3765" fmla="*/ 294218 h 533771"/>
                  <a:gd name="connsiteX3766" fmla="*/ 110387 w 401077"/>
                  <a:gd name="connsiteY3766" fmla="*/ 294218 h 533771"/>
                  <a:gd name="connsiteX3767" fmla="*/ 111886 w 401077"/>
                  <a:gd name="connsiteY3767" fmla="*/ 294835 h 533771"/>
                  <a:gd name="connsiteX3768" fmla="*/ 114531 w 401077"/>
                  <a:gd name="connsiteY3768" fmla="*/ 297216 h 533771"/>
                  <a:gd name="connsiteX3769" fmla="*/ 114531 w 401077"/>
                  <a:gd name="connsiteY3769" fmla="*/ 301007 h 533771"/>
                  <a:gd name="connsiteX3770" fmla="*/ 114266 w 401077"/>
                  <a:gd name="connsiteY3770" fmla="*/ 301536 h 533771"/>
                  <a:gd name="connsiteX3771" fmla="*/ 113384 w 401077"/>
                  <a:gd name="connsiteY3771" fmla="*/ 302418 h 533771"/>
                  <a:gd name="connsiteX3772" fmla="*/ 111621 w 401077"/>
                  <a:gd name="connsiteY3772" fmla="*/ 302418 h 533771"/>
                  <a:gd name="connsiteX3773" fmla="*/ 114795 w 401077"/>
                  <a:gd name="connsiteY3773" fmla="*/ 305063 h 533771"/>
                  <a:gd name="connsiteX3774" fmla="*/ 116294 w 401077"/>
                  <a:gd name="connsiteY3774" fmla="*/ 304445 h 533771"/>
                  <a:gd name="connsiteX3775" fmla="*/ 118587 w 401077"/>
                  <a:gd name="connsiteY3775" fmla="*/ 305063 h 533771"/>
                  <a:gd name="connsiteX3776" fmla="*/ 120614 w 401077"/>
                  <a:gd name="connsiteY3776" fmla="*/ 304445 h 533771"/>
                  <a:gd name="connsiteX3777" fmla="*/ 120879 w 401077"/>
                  <a:gd name="connsiteY3777" fmla="*/ 306473 h 533771"/>
                  <a:gd name="connsiteX3778" fmla="*/ 120262 w 401077"/>
                  <a:gd name="connsiteY3778" fmla="*/ 308237 h 533771"/>
                  <a:gd name="connsiteX3779" fmla="*/ 122025 w 401077"/>
                  <a:gd name="connsiteY3779" fmla="*/ 308237 h 533771"/>
                  <a:gd name="connsiteX3780" fmla="*/ 122025 w 401077"/>
                  <a:gd name="connsiteY3780" fmla="*/ 308501 h 533771"/>
                  <a:gd name="connsiteX3781" fmla="*/ 125816 w 401077"/>
                  <a:gd name="connsiteY3781" fmla="*/ 313174 h 533771"/>
                  <a:gd name="connsiteX3782" fmla="*/ 121761 w 401077"/>
                  <a:gd name="connsiteY3782" fmla="*/ 322520 h 533771"/>
                  <a:gd name="connsiteX3783" fmla="*/ 124934 w 401077"/>
                  <a:gd name="connsiteY3783" fmla="*/ 333894 h 533771"/>
                  <a:gd name="connsiteX3784" fmla="*/ 125816 w 401077"/>
                  <a:gd name="connsiteY3784" fmla="*/ 340595 h 533771"/>
                  <a:gd name="connsiteX3785" fmla="*/ 127580 w 401077"/>
                  <a:gd name="connsiteY3785" fmla="*/ 351086 h 533771"/>
                  <a:gd name="connsiteX3786" fmla="*/ 125552 w 401077"/>
                  <a:gd name="connsiteY3786" fmla="*/ 351704 h 533771"/>
                  <a:gd name="connsiteX3787" fmla="*/ 124405 w 401077"/>
                  <a:gd name="connsiteY3787" fmla="*/ 350293 h 533771"/>
                  <a:gd name="connsiteX3788" fmla="*/ 122378 w 401077"/>
                  <a:gd name="connsiteY3788" fmla="*/ 349676 h 533771"/>
                  <a:gd name="connsiteX3789" fmla="*/ 121761 w 401077"/>
                  <a:gd name="connsiteY3789" fmla="*/ 352585 h 533771"/>
                  <a:gd name="connsiteX3790" fmla="*/ 123524 w 401077"/>
                  <a:gd name="connsiteY3790" fmla="*/ 354613 h 533771"/>
                  <a:gd name="connsiteX3791" fmla="*/ 123259 w 401077"/>
                  <a:gd name="connsiteY3791" fmla="*/ 355759 h 533771"/>
                  <a:gd name="connsiteX3792" fmla="*/ 122114 w 401077"/>
                  <a:gd name="connsiteY3792" fmla="*/ 358052 h 533771"/>
                  <a:gd name="connsiteX3793" fmla="*/ 118587 w 401077"/>
                  <a:gd name="connsiteY3793" fmla="*/ 359815 h 533771"/>
                  <a:gd name="connsiteX3794" fmla="*/ 117440 w 401077"/>
                  <a:gd name="connsiteY3794" fmla="*/ 360697 h 533771"/>
                  <a:gd name="connsiteX3795" fmla="*/ 117000 w 401077"/>
                  <a:gd name="connsiteY3795" fmla="*/ 361578 h 533771"/>
                  <a:gd name="connsiteX3796" fmla="*/ 102981 w 401077"/>
                  <a:gd name="connsiteY3796" fmla="*/ 365987 h 533771"/>
                  <a:gd name="connsiteX3797" fmla="*/ 102363 w 401077"/>
                  <a:gd name="connsiteY3797" fmla="*/ 365370 h 533771"/>
                  <a:gd name="connsiteX3798" fmla="*/ 103510 w 401077"/>
                  <a:gd name="connsiteY3798" fmla="*/ 365634 h 533771"/>
                  <a:gd name="connsiteX3799" fmla="*/ 102981 w 401077"/>
                  <a:gd name="connsiteY3799" fmla="*/ 365987 h 533771"/>
                  <a:gd name="connsiteX3800" fmla="*/ 127756 w 401077"/>
                  <a:gd name="connsiteY3800" fmla="*/ 375862 h 533771"/>
                  <a:gd name="connsiteX3801" fmla="*/ 126610 w 401077"/>
                  <a:gd name="connsiteY3801" fmla="*/ 372335 h 533771"/>
                  <a:gd name="connsiteX3802" fmla="*/ 126081 w 401077"/>
                  <a:gd name="connsiteY3802" fmla="*/ 366781 h 533771"/>
                  <a:gd name="connsiteX3803" fmla="*/ 126610 w 401077"/>
                  <a:gd name="connsiteY3803" fmla="*/ 363871 h 533771"/>
                  <a:gd name="connsiteX3804" fmla="*/ 128109 w 401077"/>
                  <a:gd name="connsiteY3804" fmla="*/ 368279 h 533771"/>
                  <a:gd name="connsiteX3805" fmla="*/ 128109 w 401077"/>
                  <a:gd name="connsiteY3805" fmla="*/ 372688 h 533771"/>
                  <a:gd name="connsiteX3806" fmla="*/ 128990 w 401077"/>
                  <a:gd name="connsiteY3806" fmla="*/ 375068 h 533771"/>
                  <a:gd name="connsiteX3807" fmla="*/ 127756 w 401077"/>
                  <a:gd name="connsiteY3807" fmla="*/ 375862 h 533771"/>
                  <a:gd name="connsiteX3808" fmla="*/ 114090 w 401077"/>
                  <a:gd name="connsiteY3808" fmla="*/ 366251 h 533771"/>
                  <a:gd name="connsiteX3809" fmla="*/ 113208 w 401077"/>
                  <a:gd name="connsiteY3809" fmla="*/ 366251 h 533771"/>
                  <a:gd name="connsiteX3810" fmla="*/ 114090 w 401077"/>
                  <a:gd name="connsiteY3810" fmla="*/ 366251 h 533771"/>
                  <a:gd name="connsiteX3811" fmla="*/ 111180 w 401077"/>
                  <a:gd name="connsiteY3811" fmla="*/ 367133 h 533771"/>
                  <a:gd name="connsiteX3812" fmla="*/ 110563 w 401077"/>
                  <a:gd name="connsiteY3812" fmla="*/ 366516 h 533771"/>
                  <a:gd name="connsiteX3813" fmla="*/ 111180 w 401077"/>
                  <a:gd name="connsiteY3813" fmla="*/ 367133 h 533771"/>
                  <a:gd name="connsiteX3814" fmla="*/ 123436 w 401077"/>
                  <a:gd name="connsiteY3814" fmla="*/ 368367 h 533771"/>
                  <a:gd name="connsiteX3815" fmla="*/ 123172 w 401077"/>
                  <a:gd name="connsiteY3815" fmla="*/ 368367 h 533771"/>
                  <a:gd name="connsiteX3816" fmla="*/ 123788 w 401077"/>
                  <a:gd name="connsiteY3816" fmla="*/ 368367 h 533771"/>
                  <a:gd name="connsiteX3817" fmla="*/ 123436 w 401077"/>
                  <a:gd name="connsiteY3817" fmla="*/ 368367 h 533771"/>
                  <a:gd name="connsiteX3818" fmla="*/ 112944 w 401077"/>
                  <a:gd name="connsiteY3818" fmla="*/ 375862 h 533771"/>
                  <a:gd name="connsiteX3819" fmla="*/ 110651 w 401077"/>
                  <a:gd name="connsiteY3819" fmla="*/ 374451 h 533771"/>
                  <a:gd name="connsiteX3820" fmla="*/ 112679 w 401077"/>
                  <a:gd name="connsiteY3820" fmla="*/ 374716 h 533771"/>
                  <a:gd name="connsiteX3821" fmla="*/ 112944 w 401077"/>
                  <a:gd name="connsiteY3821" fmla="*/ 375862 h 533771"/>
                  <a:gd name="connsiteX3822" fmla="*/ 119645 w 401077"/>
                  <a:gd name="connsiteY3822" fmla="*/ 378242 h 533771"/>
                  <a:gd name="connsiteX3823" fmla="*/ 115853 w 401077"/>
                  <a:gd name="connsiteY3823" fmla="*/ 376214 h 533771"/>
                  <a:gd name="connsiteX3824" fmla="*/ 115853 w 401077"/>
                  <a:gd name="connsiteY3824" fmla="*/ 373305 h 533771"/>
                  <a:gd name="connsiteX3825" fmla="*/ 117881 w 401077"/>
                  <a:gd name="connsiteY3825" fmla="*/ 373040 h 533771"/>
                  <a:gd name="connsiteX3826" fmla="*/ 121143 w 401077"/>
                  <a:gd name="connsiteY3826" fmla="*/ 376567 h 533771"/>
                  <a:gd name="connsiteX3827" fmla="*/ 119645 w 401077"/>
                  <a:gd name="connsiteY3827" fmla="*/ 378242 h 533771"/>
                  <a:gd name="connsiteX3828" fmla="*/ 111180 w 401077"/>
                  <a:gd name="connsiteY3828" fmla="*/ 387588 h 533771"/>
                  <a:gd name="connsiteX3829" fmla="*/ 109946 w 401077"/>
                  <a:gd name="connsiteY3829" fmla="*/ 386971 h 533771"/>
                  <a:gd name="connsiteX3830" fmla="*/ 110563 w 401077"/>
                  <a:gd name="connsiteY3830" fmla="*/ 386971 h 533771"/>
                  <a:gd name="connsiteX3831" fmla="*/ 111180 w 401077"/>
                  <a:gd name="connsiteY3831" fmla="*/ 387588 h 533771"/>
                  <a:gd name="connsiteX3832" fmla="*/ 103245 w 401077"/>
                  <a:gd name="connsiteY3832" fmla="*/ 388999 h 533771"/>
                  <a:gd name="connsiteX3833" fmla="*/ 102981 w 401077"/>
                  <a:gd name="connsiteY3833" fmla="*/ 389263 h 533771"/>
                  <a:gd name="connsiteX3834" fmla="*/ 103245 w 401077"/>
                  <a:gd name="connsiteY3834" fmla="*/ 388999 h 533771"/>
                  <a:gd name="connsiteX3835" fmla="*/ 111445 w 401077"/>
                  <a:gd name="connsiteY3835" fmla="*/ 391115 h 533771"/>
                  <a:gd name="connsiteX3836" fmla="*/ 109417 w 401077"/>
                  <a:gd name="connsiteY3836" fmla="*/ 389969 h 533771"/>
                  <a:gd name="connsiteX3837" fmla="*/ 110563 w 401077"/>
                  <a:gd name="connsiteY3837" fmla="*/ 389704 h 533771"/>
                  <a:gd name="connsiteX3838" fmla="*/ 111445 w 401077"/>
                  <a:gd name="connsiteY3838" fmla="*/ 391115 h 533771"/>
                  <a:gd name="connsiteX3839" fmla="*/ 109152 w 401077"/>
                  <a:gd name="connsiteY3839" fmla="*/ 396581 h 533771"/>
                  <a:gd name="connsiteX3840" fmla="*/ 108271 w 401077"/>
                  <a:gd name="connsiteY3840" fmla="*/ 395700 h 533771"/>
                  <a:gd name="connsiteX3841" fmla="*/ 108888 w 401077"/>
                  <a:gd name="connsiteY3841" fmla="*/ 394818 h 533771"/>
                  <a:gd name="connsiteX3842" fmla="*/ 109152 w 401077"/>
                  <a:gd name="connsiteY3842" fmla="*/ 396581 h 533771"/>
                  <a:gd name="connsiteX3843" fmla="*/ 108271 w 401077"/>
                  <a:gd name="connsiteY3843" fmla="*/ 400725 h 533771"/>
                  <a:gd name="connsiteX3844" fmla="*/ 107918 w 401077"/>
                  <a:gd name="connsiteY3844" fmla="*/ 400725 h 533771"/>
                  <a:gd name="connsiteX3845" fmla="*/ 108535 w 401077"/>
                  <a:gd name="connsiteY3845" fmla="*/ 400725 h 533771"/>
                  <a:gd name="connsiteX3846" fmla="*/ 108271 w 401077"/>
                  <a:gd name="connsiteY3846" fmla="*/ 400725 h 533771"/>
                  <a:gd name="connsiteX3847" fmla="*/ 104127 w 401077"/>
                  <a:gd name="connsiteY3847" fmla="*/ 405927 h 533771"/>
                  <a:gd name="connsiteX3848" fmla="*/ 103863 w 401077"/>
                  <a:gd name="connsiteY3848" fmla="*/ 405927 h 533771"/>
                  <a:gd name="connsiteX3849" fmla="*/ 104127 w 401077"/>
                  <a:gd name="connsiteY3849" fmla="*/ 405927 h 533771"/>
                  <a:gd name="connsiteX3850" fmla="*/ 102716 w 401077"/>
                  <a:gd name="connsiteY3850" fmla="*/ 408308 h 533771"/>
                  <a:gd name="connsiteX3851" fmla="*/ 102452 w 401077"/>
                  <a:gd name="connsiteY3851" fmla="*/ 408308 h 533771"/>
                  <a:gd name="connsiteX3852" fmla="*/ 102452 w 401077"/>
                  <a:gd name="connsiteY3852" fmla="*/ 408043 h 533771"/>
                  <a:gd name="connsiteX3853" fmla="*/ 102716 w 401077"/>
                  <a:gd name="connsiteY3853" fmla="*/ 408308 h 533771"/>
                  <a:gd name="connsiteX3854" fmla="*/ 100336 w 401077"/>
                  <a:gd name="connsiteY3854" fmla="*/ 415890 h 533771"/>
                  <a:gd name="connsiteX3855" fmla="*/ 99983 w 401077"/>
                  <a:gd name="connsiteY3855" fmla="*/ 415890 h 533771"/>
                  <a:gd name="connsiteX3856" fmla="*/ 100336 w 401077"/>
                  <a:gd name="connsiteY3856" fmla="*/ 415626 h 533771"/>
                  <a:gd name="connsiteX3857" fmla="*/ 100336 w 401077"/>
                  <a:gd name="connsiteY3857" fmla="*/ 415890 h 533771"/>
                  <a:gd name="connsiteX3858" fmla="*/ 100688 w 401077"/>
                  <a:gd name="connsiteY3858" fmla="*/ 416772 h 533771"/>
                  <a:gd name="connsiteX3859" fmla="*/ 100424 w 401077"/>
                  <a:gd name="connsiteY3859" fmla="*/ 416772 h 533771"/>
                  <a:gd name="connsiteX3860" fmla="*/ 100688 w 401077"/>
                  <a:gd name="connsiteY3860" fmla="*/ 416507 h 533771"/>
                  <a:gd name="connsiteX3861" fmla="*/ 100688 w 401077"/>
                  <a:gd name="connsiteY3861" fmla="*/ 416772 h 533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</a:cxnLst>
                <a:rect l="l" t="t" r="r" b="b"/>
                <a:pathLst>
                  <a:path w="401077" h="533771">
                    <a:moveTo>
                      <a:pt x="20455" y="533683"/>
                    </a:moveTo>
                    <a:lnTo>
                      <a:pt x="19574" y="533419"/>
                    </a:lnTo>
                    <a:lnTo>
                      <a:pt x="20455" y="533154"/>
                    </a:lnTo>
                    <a:lnTo>
                      <a:pt x="20720" y="533771"/>
                    </a:lnTo>
                    <a:lnTo>
                      <a:pt x="20455" y="533771"/>
                    </a:lnTo>
                    <a:close/>
                    <a:moveTo>
                      <a:pt x="22836" y="531655"/>
                    </a:moveTo>
                    <a:lnTo>
                      <a:pt x="22483" y="531655"/>
                    </a:lnTo>
                    <a:lnTo>
                      <a:pt x="22836" y="531655"/>
                    </a:lnTo>
                    <a:close/>
                    <a:moveTo>
                      <a:pt x="22836" y="531391"/>
                    </a:moveTo>
                    <a:lnTo>
                      <a:pt x="22836" y="531126"/>
                    </a:lnTo>
                    <a:lnTo>
                      <a:pt x="23100" y="531126"/>
                    </a:lnTo>
                    <a:lnTo>
                      <a:pt x="22836" y="531391"/>
                    </a:lnTo>
                    <a:close/>
                    <a:moveTo>
                      <a:pt x="24511" y="531391"/>
                    </a:moveTo>
                    <a:lnTo>
                      <a:pt x="24246" y="531391"/>
                    </a:lnTo>
                    <a:lnTo>
                      <a:pt x="24864" y="531126"/>
                    </a:lnTo>
                    <a:lnTo>
                      <a:pt x="24511" y="531391"/>
                    </a:lnTo>
                    <a:close/>
                    <a:moveTo>
                      <a:pt x="25393" y="529363"/>
                    </a:moveTo>
                    <a:lnTo>
                      <a:pt x="25393" y="529098"/>
                    </a:lnTo>
                    <a:lnTo>
                      <a:pt x="25393" y="529363"/>
                    </a:lnTo>
                    <a:close/>
                    <a:moveTo>
                      <a:pt x="23365" y="528746"/>
                    </a:moveTo>
                    <a:lnTo>
                      <a:pt x="22748" y="528129"/>
                    </a:lnTo>
                    <a:lnTo>
                      <a:pt x="23629" y="528746"/>
                    </a:lnTo>
                    <a:lnTo>
                      <a:pt x="23365" y="528746"/>
                    </a:lnTo>
                    <a:close/>
                    <a:moveTo>
                      <a:pt x="17810" y="528481"/>
                    </a:moveTo>
                    <a:lnTo>
                      <a:pt x="17545" y="527864"/>
                    </a:lnTo>
                    <a:lnTo>
                      <a:pt x="17810" y="528129"/>
                    </a:lnTo>
                    <a:lnTo>
                      <a:pt x="17810" y="528481"/>
                    </a:lnTo>
                    <a:close/>
                    <a:moveTo>
                      <a:pt x="17281" y="527864"/>
                    </a:moveTo>
                    <a:lnTo>
                      <a:pt x="17281" y="527600"/>
                    </a:lnTo>
                    <a:lnTo>
                      <a:pt x="17545" y="527600"/>
                    </a:lnTo>
                    <a:lnTo>
                      <a:pt x="17281" y="527864"/>
                    </a:lnTo>
                    <a:close/>
                    <a:moveTo>
                      <a:pt x="20984" y="528481"/>
                    </a:moveTo>
                    <a:lnTo>
                      <a:pt x="16928" y="527864"/>
                    </a:lnTo>
                    <a:lnTo>
                      <a:pt x="17193" y="526718"/>
                    </a:lnTo>
                    <a:lnTo>
                      <a:pt x="18339" y="526982"/>
                    </a:lnTo>
                    <a:lnTo>
                      <a:pt x="18074" y="525836"/>
                    </a:lnTo>
                    <a:lnTo>
                      <a:pt x="18074" y="524690"/>
                    </a:lnTo>
                    <a:lnTo>
                      <a:pt x="18339" y="524073"/>
                    </a:lnTo>
                    <a:lnTo>
                      <a:pt x="19838" y="524690"/>
                    </a:lnTo>
                    <a:lnTo>
                      <a:pt x="21601" y="525572"/>
                    </a:lnTo>
                    <a:lnTo>
                      <a:pt x="21601" y="527952"/>
                    </a:lnTo>
                    <a:lnTo>
                      <a:pt x="20984" y="528481"/>
                    </a:lnTo>
                    <a:close/>
                    <a:moveTo>
                      <a:pt x="882" y="523808"/>
                    </a:moveTo>
                    <a:lnTo>
                      <a:pt x="617" y="524426"/>
                    </a:lnTo>
                    <a:lnTo>
                      <a:pt x="0" y="523808"/>
                    </a:lnTo>
                    <a:lnTo>
                      <a:pt x="0" y="523191"/>
                    </a:lnTo>
                    <a:lnTo>
                      <a:pt x="882" y="522839"/>
                    </a:lnTo>
                    <a:lnTo>
                      <a:pt x="1499" y="522839"/>
                    </a:lnTo>
                    <a:lnTo>
                      <a:pt x="2116" y="523191"/>
                    </a:lnTo>
                    <a:lnTo>
                      <a:pt x="2998" y="524602"/>
                    </a:lnTo>
                    <a:lnTo>
                      <a:pt x="1852" y="523720"/>
                    </a:lnTo>
                    <a:lnTo>
                      <a:pt x="882" y="523720"/>
                    </a:lnTo>
                    <a:close/>
                    <a:moveTo>
                      <a:pt x="18956" y="525219"/>
                    </a:moveTo>
                    <a:lnTo>
                      <a:pt x="18692" y="524866"/>
                    </a:lnTo>
                    <a:lnTo>
                      <a:pt x="18956" y="525219"/>
                    </a:lnTo>
                    <a:close/>
                    <a:moveTo>
                      <a:pt x="177660" y="525219"/>
                    </a:moveTo>
                    <a:lnTo>
                      <a:pt x="177660" y="524866"/>
                    </a:lnTo>
                    <a:lnTo>
                      <a:pt x="177924" y="525219"/>
                    </a:lnTo>
                    <a:lnTo>
                      <a:pt x="177660" y="525219"/>
                    </a:lnTo>
                    <a:close/>
                    <a:moveTo>
                      <a:pt x="27420" y="526365"/>
                    </a:moveTo>
                    <a:lnTo>
                      <a:pt x="25657" y="524073"/>
                    </a:lnTo>
                    <a:lnTo>
                      <a:pt x="25393" y="523808"/>
                    </a:lnTo>
                    <a:lnTo>
                      <a:pt x="26010" y="523544"/>
                    </a:lnTo>
                    <a:lnTo>
                      <a:pt x="24511" y="521516"/>
                    </a:lnTo>
                    <a:lnTo>
                      <a:pt x="26539" y="521251"/>
                    </a:lnTo>
                    <a:lnTo>
                      <a:pt x="26274" y="520105"/>
                    </a:lnTo>
                    <a:lnTo>
                      <a:pt x="28919" y="519488"/>
                    </a:lnTo>
                    <a:lnTo>
                      <a:pt x="29801" y="522398"/>
                    </a:lnTo>
                    <a:lnTo>
                      <a:pt x="28302" y="523279"/>
                    </a:lnTo>
                    <a:lnTo>
                      <a:pt x="27773" y="523897"/>
                    </a:lnTo>
                    <a:lnTo>
                      <a:pt x="27773" y="525924"/>
                    </a:lnTo>
                    <a:lnTo>
                      <a:pt x="27420" y="526365"/>
                    </a:lnTo>
                    <a:close/>
                    <a:moveTo>
                      <a:pt x="37119" y="518783"/>
                    </a:moveTo>
                    <a:lnTo>
                      <a:pt x="36766" y="517901"/>
                    </a:lnTo>
                    <a:lnTo>
                      <a:pt x="37119" y="518783"/>
                    </a:lnTo>
                    <a:close/>
                    <a:moveTo>
                      <a:pt x="48140" y="518783"/>
                    </a:moveTo>
                    <a:lnTo>
                      <a:pt x="48140" y="518783"/>
                    </a:lnTo>
                    <a:lnTo>
                      <a:pt x="48404" y="518783"/>
                    </a:lnTo>
                    <a:lnTo>
                      <a:pt x="48140" y="518783"/>
                    </a:lnTo>
                    <a:close/>
                    <a:moveTo>
                      <a:pt x="36502" y="516226"/>
                    </a:moveTo>
                    <a:lnTo>
                      <a:pt x="35885" y="515961"/>
                    </a:lnTo>
                    <a:lnTo>
                      <a:pt x="36502" y="516226"/>
                    </a:lnTo>
                    <a:close/>
                    <a:moveTo>
                      <a:pt x="46112" y="516755"/>
                    </a:moveTo>
                    <a:lnTo>
                      <a:pt x="45848" y="516490"/>
                    </a:lnTo>
                    <a:lnTo>
                      <a:pt x="45848" y="516226"/>
                    </a:lnTo>
                    <a:lnTo>
                      <a:pt x="46112" y="516755"/>
                    </a:lnTo>
                    <a:close/>
                    <a:moveTo>
                      <a:pt x="46994" y="514727"/>
                    </a:moveTo>
                    <a:lnTo>
                      <a:pt x="46377" y="514463"/>
                    </a:lnTo>
                    <a:lnTo>
                      <a:pt x="47258" y="514463"/>
                    </a:lnTo>
                    <a:lnTo>
                      <a:pt x="46994" y="514727"/>
                    </a:lnTo>
                    <a:close/>
                    <a:moveTo>
                      <a:pt x="49639" y="516755"/>
                    </a:moveTo>
                    <a:lnTo>
                      <a:pt x="48757" y="515873"/>
                    </a:lnTo>
                    <a:lnTo>
                      <a:pt x="47611" y="512082"/>
                    </a:lnTo>
                    <a:lnTo>
                      <a:pt x="49375" y="514110"/>
                    </a:lnTo>
                    <a:lnTo>
                      <a:pt x="52901" y="516490"/>
                    </a:lnTo>
                    <a:lnTo>
                      <a:pt x="49639" y="516755"/>
                    </a:lnTo>
                    <a:close/>
                    <a:moveTo>
                      <a:pt x="47258" y="513845"/>
                    </a:moveTo>
                    <a:lnTo>
                      <a:pt x="46994" y="513581"/>
                    </a:lnTo>
                    <a:lnTo>
                      <a:pt x="47258" y="513845"/>
                    </a:lnTo>
                    <a:close/>
                    <a:moveTo>
                      <a:pt x="4673" y="492597"/>
                    </a:moveTo>
                    <a:lnTo>
                      <a:pt x="4673" y="492332"/>
                    </a:lnTo>
                    <a:lnTo>
                      <a:pt x="5290" y="492597"/>
                    </a:lnTo>
                    <a:lnTo>
                      <a:pt x="4673" y="492597"/>
                    </a:lnTo>
                    <a:close/>
                    <a:moveTo>
                      <a:pt x="170430" y="491362"/>
                    </a:moveTo>
                    <a:lnTo>
                      <a:pt x="169812" y="489864"/>
                    </a:lnTo>
                    <a:lnTo>
                      <a:pt x="170959" y="491010"/>
                    </a:lnTo>
                    <a:lnTo>
                      <a:pt x="170430" y="491362"/>
                    </a:lnTo>
                    <a:close/>
                    <a:moveTo>
                      <a:pt x="26539" y="489335"/>
                    </a:moveTo>
                    <a:lnTo>
                      <a:pt x="26274" y="489335"/>
                    </a:lnTo>
                    <a:lnTo>
                      <a:pt x="26539" y="489335"/>
                    </a:lnTo>
                    <a:close/>
                    <a:moveTo>
                      <a:pt x="7318" y="488806"/>
                    </a:moveTo>
                    <a:lnTo>
                      <a:pt x="7053" y="488541"/>
                    </a:lnTo>
                    <a:lnTo>
                      <a:pt x="7318" y="488541"/>
                    </a:lnTo>
                    <a:lnTo>
                      <a:pt x="7318" y="488806"/>
                    </a:lnTo>
                    <a:close/>
                    <a:moveTo>
                      <a:pt x="170959" y="488453"/>
                    </a:moveTo>
                    <a:lnTo>
                      <a:pt x="170959" y="487836"/>
                    </a:lnTo>
                    <a:lnTo>
                      <a:pt x="171576" y="488453"/>
                    </a:lnTo>
                    <a:lnTo>
                      <a:pt x="170959" y="488453"/>
                    </a:lnTo>
                    <a:close/>
                    <a:moveTo>
                      <a:pt x="96280" y="482986"/>
                    </a:moveTo>
                    <a:lnTo>
                      <a:pt x="96015" y="482634"/>
                    </a:lnTo>
                    <a:lnTo>
                      <a:pt x="96633" y="482634"/>
                    </a:lnTo>
                    <a:lnTo>
                      <a:pt x="96280" y="482986"/>
                    </a:lnTo>
                    <a:close/>
                    <a:moveTo>
                      <a:pt x="82261" y="482634"/>
                    </a:moveTo>
                    <a:lnTo>
                      <a:pt x="81996" y="482634"/>
                    </a:lnTo>
                    <a:lnTo>
                      <a:pt x="82261" y="482369"/>
                    </a:lnTo>
                    <a:lnTo>
                      <a:pt x="82261" y="482634"/>
                    </a:lnTo>
                    <a:close/>
                    <a:moveTo>
                      <a:pt x="83143" y="482369"/>
                    </a:moveTo>
                    <a:lnTo>
                      <a:pt x="83143" y="482105"/>
                    </a:lnTo>
                    <a:lnTo>
                      <a:pt x="83143" y="482369"/>
                    </a:lnTo>
                    <a:close/>
                    <a:moveTo>
                      <a:pt x="82878" y="482105"/>
                    </a:moveTo>
                    <a:lnTo>
                      <a:pt x="82878" y="482105"/>
                    </a:lnTo>
                    <a:lnTo>
                      <a:pt x="83143" y="482105"/>
                    </a:lnTo>
                    <a:lnTo>
                      <a:pt x="82878" y="482105"/>
                    </a:lnTo>
                    <a:close/>
                    <a:moveTo>
                      <a:pt x="83407" y="481752"/>
                    </a:moveTo>
                    <a:lnTo>
                      <a:pt x="83407" y="481488"/>
                    </a:lnTo>
                    <a:lnTo>
                      <a:pt x="83672" y="481752"/>
                    </a:lnTo>
                    <a:lnTo>
                      <a:pt x="83407" y="481752"/>
                    </a:lnTo>
                    <a:close/>
                    <a:moveTo>
                      <a:pt x="86317" y="481752"/>
                    </a:moveTo>
                    <a:lnTo>
                      <a:pt x="86052" y="481752"/>
                    </a:lnTo>
                    <a:lnTo>
                      <a:pt x="86317" y="481752"/>
                    </a:lnTo>
                    <a:close/>
                    <a:moveTo>
                      <a:pt x="84642" y="482986"/>
                    </a:moveTo>
                    <a:lnTo>
                      <a:pt x="84377" y="482105"/>
                    </a:lnTo>
                    <a:lnTo>
                      <a:pt x="84906" y="482722"/>
                    </a:lnTo>
                    <a:lnTo>
                      <a:pt x="84642" y="482986"/>
                    </a:lnTo>
                    <a:close/>
                    <a:moveTo>
                      <a:pt x="83143" y="481223"/>
                    </a:moveTo>
                    <a:lnTo>
                      <a:pt x="82525" y="480959"/>
                    </a:lnTo>
                    <a:lnTo>
                      <a:pt x="83407" y="480959"/>
                    </a:lnTo>
                    <a:lnTo>
                      <a:pt x="83143" y="481223"/>
                    </a:lnTo>
                    <a:close/>
                    <a:moveTo>
                      <a:pt x="96633" y="480606"/>
                    </a:moveTo>
                    <a:lnTo>
                      <a:pt x="96633" y="480606"/>
                    </a:lnTo>
                    <a:lnTo>
                      <a:pt x="96897" y="480606"/>
                    </a:lnTo>
                    <a:lnTo>
                      <a:pt x="96633" y="480606"/>
                    </a:lnTo>
                    <a:close/>
                    <a:moveTo>
                      <a:pt x="96633" y="478842"/>
                    </a:moveTo>
                    <a:lnTo>
                      <a:pt x="96633" y="478842"/>
                    </a:lnTo>
                    <a:lnTo>
                      <a:pt x="96897" y="478842"/>
                    </a:lnTo>
                    <a:lnTo>
                      <a:pt x="96633" y="478842"/>
                    </a:lnTo>
                    <a:close/>
                    <a:moveTo>
                      <a:pt x="72651" y="478313"/>
                    </a:moveTo>
                    <a:lnTo>
                      <a:pt x="72651" y="478313"/>
                    </a:lnTo>
                    <a:lnTo>
                      <a:pt x="72915" y="478313"/>
                    </a:lnTo>
                    <a:lnTo>
                      <a:pt x="72651" y="478313"/>
                    </a:lnTo>
                    <a:close/>
                    <a:moveTo>
                      <a:pt x="79087" y="477961"/>
                    </a:moveTo>
                    <a:lnTo>
                      <a:pt x="78823" y="477432"/>
                    </a:lnTo>
                    <a:lnTo>
                      <a:pt x="79087" y="477961"/>
                    </a:lnTo>
                    <a:close/>
                    <a:moveTo>
                      <a:pt x="96633" y="478313"/>
                    </a:moveTo>
                    <a:lnTo>
                      <a:pt x="96368" y="478049"/>
                    </a:lnTo>
                    <a:lnTo>
                      <a:pt x="96633" y="478049"/>
                    </a:lnTo>
                    <a:lnTo>
                      <a:pt x="96633" y="478313"/>
                    </a:lnTo>
                    <a:close/>
                    <a:moveTo>
                      <a:pt x="72033" y="479460"/>
                    </a:moveTo>
                    <a:lnTo>
                      <a:pt x="69388" y="477432"/>
                    </a:lnTo>
                    <a:lnTo>
                      <a:pt x="72033" y="477961"/>
                    </a:lnTo>
                    <a:lnTo>
                      <a:pt x="72033" y="479460"/>
                    </a:lnTo>
                    <a:close/>
                    <a:moveTo>
                      <a:pt x="96897" y="477079"/>
                    </a:moveTo>
                    <a:lnTo>
                      <a:pt x="96897" y="476815"/>
                    </a:lnTo>
                    <a:lnTo>
                      <a:pt x="96897" y="477079"/>
                    </a:lnTo>
                    <a:close/>
                    <a:moveTo>
                      <a:pt x="79087" y="472406"/>
                    </a:moveTo>
                    <a:lnTo>
                      <a:pt x="78823" y="472142"/>
                    </a:lnTo>
                    <a:lnTo>
                      <a:pt x="79440" y="472142"/>
                    </a:lnTo>
                    <a:lnTo>
                      <a:pt x="79087" y="472406"/>
                    </a:lnTo>
                    <a:close/>
                    <a:moveTo>
                      <a:pt x="91342" y="470731"/>
                    </a:moveTo>
                    <a:lnTo>
                      <a:pt x="91078" y="470466"/>
                    </a:lnTo>
                    <a:lnTo>
                      <a:pt x="91342" y="470731"/>
                    </a:lnTo>
                    <a:close/>
                    <a:moveTo>
                      <a:pt x="92489" y="470995"/>
                    </a:moveTo>
                    <a:lnTo>
                      <a:pt x="92136" y="470731"/>
                    </a:lnTo>
                    <a:lnTo>
                      <a:pt x="92489" y="470731"/>
                    </a:lnTo>
                    <a:lnTo>
                      <a:pt x="92489" y="470995"/>
                    </a:lnTo>
                    <a:close/>
                    <a:moveTo>
                      <a:pt x="95663" y="470378"/>
                    </a:moveTo>
                    <a:lnTo>
                      <a:pt x="95046" y="470114"/>
                    </a:lnTo>
                    <a:lnTo>
                      <a:pt x="95663" y="470378"/>
                    </a:lnTo>
                    <a:close/>
                    <a:moveTo>
                      <a:pt x="95398" y="469232"/>
                    </a:moveTo>
                    <a:lnTo>
                      <a:pt x="95133" y="469232"/>
                    </a:lnTo>
                    <a:lnTo>
                      <a:pt x="95398" y="469232"/>
                    </a:lnTo>
                    <a:close/>
                    <a:moveTo>
                      <a:pt x="91078" y="469232"/>
                    </a:moveTo>
                    <a:lnTo>
                      <a:pt x="89315" y="468615"/>
                    </a:lnTo>
                    <a:lnTo>
                      <a:pt x="90461" y="468350"/>
                    </a:lnTo>
                    <a:lnTo>
                      <a:pt x="91078" y="469232"/>
                    </a:lnTo>
                    <a:close/>
                    <a:moveTo>
                      <a:pt x="92224" y="485014"/>
                    </a:moveTo>
                    <a:lnTo>
                      <a:pt x="90461" y="481840"/>
                    </a:lnTo>
                    <a:lnTo>
                      <a:pt x="91078" y="481576"/>
                    </a:lnTo>
                    <a:lnTo>
                      <a:pt x="92577" y="479548"/>
                    </a:lnTo>
                    <a:lnTo>
                      <a:pt x="90813" y="475757"/>
                    </a:lnTo>
                    <a:lnTo>
                      <a:pt x="92842" y="474875"/>
                    </a:lnTo>
                    <a:lnTo>
                      <a:pt x="93723" y="474346"/>
                    </a:lnTo>
                    <a:lnTo>
                      <a:pt x="95222" y="473200"/>
                    </a:lnTo>
                    <a:lnTo>
                      <a:pt x="92929" y="470819"/>
                    </a:lnTo>
                    <a:lnTo>
                      <a:pt x="94076" y="469409"/>
                    </a:lnTo>
                    <a:lnTo>
                      <a:pt x="94958" y="470555"/>
                    </a:lnTo>
                    <a:lnTo>
                      <a:pt x="97250" y="470290"/>
                    </a:lnTo>
                    <a:lnTo>
                      <a:pt x="97867" y="468262"/>
                    </a:lnTo>
                    <a:lnTo>
                      <a:pt x="99366" y="465088"/>
                    </a:lnTo>
                    <a:lnTo>
                      <a:pt x="101129" y="467116"/>
                    </a:lnTo>
                    <a:lnTo>
                      <a:pt x="101129" y="470026"/>
                    </a:lnTo>
                    <a:lnTo>
                      <a:pt x="98484" y="472053"/>
                    </a:lnTo>
                    <a:lnTo>
                      <a:pt x="97867" y="473552"/>
                    </a:lnTo>
                    <a:lnTo>
                      <a:pt x="96368" y="474434"/>
                    </a:lnTo>
                    <a:lnTo>
                      <a:pt x="95751" y="475845"/>
                    </a:lnTo>
                    <a:lnTo>
                      <a:pt x="93459" y="476726"/>
                    </a:lnTo>
                    <a:lnTo>
                      <a:pt x="96104" y="479371"/>
                    </a:lnTo>
                    <a:lnTo>
                      <a:pt x="94076" y="479371"/>
                    </a:lnTo>
                    <a:lnTo>
                      <a:pt x="93194" y="481664"/>
                    </a:lnTo>
                    <a:lnTo>
                      <a:pt x="94605" y="482546"/>
                    </a:lnTo>
                    <a:lnTo>
                      <a:pt x="93194" y="484926"/>
                    </a:lnTo>
                    <a:lnTo>
                      <a:pt x="92224" y="485014"/>
                    </a:lnTo>
                    <a:close/>
                    <a:moveTo>
                      <a:pt x="92224" y="463942"/>
                    </a:moveTo>
                    <a:lnTo>
                      <a:pt x="91695" y="462796"/>
                    </a:lnTo>
                    <a:lnTo>
                      <a:pt x="92224" y="463677"/>
                    </a:lnTo>
                    <a:lnTo>
                      <a:pt x="92224" y="463942"/>
                    </a:lnTo>
                    <a:close/>
                    <a:moveTo>
                      <a:pt x="91871" y="462267"/>
                    </a:moveTo>
                    <a:lnTo>
                      <a:pt x="91607" y="462267"/>
                    </a:lnTo>
                    <a:lnTo>
                      <a:pt x="91871" y="462267"/>
                    </a:lnTo>
                    <a:close/>
                    <a:moveTo>
                      <a:pt x="91078" y="461914"/>
                    </a:moveTo>
                    <a:lnTo>
                      <a:pt x="91078" y="461914"/>
                    </a:lnTo>
                    <a:lnTo>
                      <a:pt x="91078" y="461650"/>
                    </a:lnTo>
                    <a:lnTo>
                      <a:pt x="91078" y="461914"/>
                    </a:lnTo>
                    <a:close/>
                    <a:moveTo>
                      <a:pt x="102099" y="461121"/>
                    </a:moveTo>
                    <a:lnTo>
                      <a:pt x="100953" y="460503"/>
                    </a:lnTo>
                    <a:lnTo>
                      <a:pt x="102099" y="460503"/>
                    </a:lnTo>
                    <a:lnTo>
                      <a:pt x="102099" y="461121"/>
                    </a:lnTo>
                    <a:close/>
                    <a:moveTo>
                      <a:pt x="91342" y="461914"/>
                    </a:moveTo>
                    <a:lnTo>
                      <a:pt x="91960" y="459622"/>
                    </a:lnTo>
                    <a:lnTo>
                      <a:pt x="91342" y="461650"/>
                    </a:lnTo>
                    <a:lnTo>
                      <a:pt x="91342" y="461914"/>
                    </a:lnTo>
                    <a:close/>
                    <a:moveTo>
                      <a:pt x="102716" y="453450"/>
                    </a:moveTo>
                    <a:lnTo>
                      <a:pt x="102981" y="451687"/>
                    </a:lnTo>
                    <a:lnTo>
                      <a:pt x="102981" y="453450"/>
                    </a:lnTo>
                    <a:lnTo>
                      <a:pt x="102716" y="453450"/>
                    </a:lnTo>
                    <a:close/>
                    <a:moveTo>
                      <a:pt x="91342" y="440048"/>
                    </a:moveTo>
                    <a:lnTo>
                      <a:pt x="91078" y="439519"/>
                    </a:lnTo>
                    <a:lnTo>
                      <a:pt x="91695" y="440048"/>
                    </a:lnTo>
                    <a:lnTo>
                      <a:pt x="91342" y="440048"/>
                    </a:lnTo>
                    <a:close/>
                    <a:moveTo>
                      <a:pt x="107918" y="445338"/>
                    </a:moveTo>
                    <a:lnTo>
                      <a:pt x="106155" y="442429"/>
                    </a:lnTo>
                    <a:lnTo>
                      <a:pt x="105538" y="439255"/>
                    </a:lnTo>
                    <a:lnTo>
                      <a:pt x="107301" y="441018"/>
                    </a:lnTo>
                    <a:lnTo>
                      <a:pt x="109064" y="444457"/>
                    </a:lnTo>
                    <a:lnTo>
                      <a:pt x="107918" y="445338"/>
                    </a:lnTo>
                    <a:close/>
                    <a:moveTo>
                      <a:pt x="112326" y="436257"/>
                    </a:moveTo>
                    <a:lnTo>
                      <a:pt x="111180" y="435993"/>
                    </a:lnTo>
                    <a:lnTo>
                      <a:pt x="112326" y="435993"/>
                    </a:lnTo>
                    <a:lnTo>
                      <a:pt x="112326" y="436257"/>
                    </a:lnTo>
                    <a:close/>
                    <a:moveTo>
                      <a:pt x="109681" y="436257"/>
                    </a:moveTo>
                    <a:lnTo>
                      <a:pt x="109329" y="435376"/>
                    </a:lnTo>
                    <a:lnTo>
                      <a:pt x="109946" y="435111"/>
                    </a:lnTo>
                    <a:lnTo>
                      <a:pt x="109681" y="436257"/>
                    </a:lnTo>
                    <a:close/>
                    <a:moveTo>
                      <a:pt x="109681" y="433965"/>
                    </a:moveTo>
                    <a:lnTo>
                      <a:pt x="109329" y="433700"/>
                    </a:lnTo>
                    <a:lnTo>
                      <a:pt x="109681" y="433965"/>
                    </a:lnTo>
                    <a:close/>
                    <a:moveTo>
                      <a:pt x="109152" y="433700"/>
                    </a:moveTo>
                    <a:lnTo>
                      <a:pt x="108888" y="433436"/>
                    </a:lnTo>
                    <a:lnTo>
                      <a:pt x="109152" y="433436"/>
                    </a:lnTo>
                    <a:lnTo>
                      <a:pt x="109152" y="433700"/>
                    </a:lnTo>
                    <a:close/>
                    <a:moveTo>
                      <a:pt x="113208" y="435111"/>
                    </a:moveTo>
                    <a:lnTo>
                      <a:pt x="112326" y="434846"/>
                    </a:lnTo>
                    <a:lnTo>
                      <a:pt x="110828" y="434846"/>
                    </a:lnTo>
                    <a:lnTo>
                      <a:pt x="109946" y="433083"/>
                    </a:lnTo>
                    <a:lnTo>
                      <a:pt x="110210" y="431937"/>
                    </a:lnTo>
                    <a:lnTo>
                      <a:pt x="110210" y="432819"/>
                    </a:lnTo>
                    <a:lnTo>
                      <a:pt x="111092" y="432554"/>
                    </a:lnTo>
                    <a:lnTo>
                      <a:pt x="111092" y="433436"/>
                    </a:lnTo>
                    <a:lnTo>
                      <a:pt x="111974" y="433700"/>
                    </a:lnTo>
                    <a:lnTo>
                      <a:pt x="113384" y="433965"/>
                    </a:lnTo>
                    <a:lnTo>
                      <a:pt x="113208" y="435111"/>
                    </a:lnTo>
                    <a:close/>
                    <a:moveTo>
                      <a:pt x="109152" y="429556"/>
                    </a:moveTo>
                    <a:lnTo>
                      <a:pt x="108535" y="429556"/>
                    </a:lnTo>
                    <a:lnTo>
                      <a:pt x="109152" y="429556"/>
                    </a:lnTo>
                    <a:close/>
                    <a:moveTo>
                      <a:pt x="125111" y="429821"/>
                    </a:moveTo>
                    <a:lnTo>
                      <a:pt x="125111" y="427529"/>
                    </a:lnTo>
                    <a:lnTo>
                      <a:pt x="125463" y="429556"/>
                    </a:lnTo>
                    <a:lnTo>
                      <a:pt x="125111" y="429821"/>
                    </a:lnTo>
                    <a:close/>
                    <a:moveTo>
                      <a:pt x="113737" y="433965"/>
                    </a:moveTo>
                    <a:lnTo>
                      <a:pt x="111974" y="432819"/>
                    </a:lnTo>
                    <a:lnTo>
                      <a:pt x="111357" y="431937"/>
                    </a:lnTo>
                    <a:lnTo>
                      <a:pt x="111092" y="431055"/>
                    </a:lnTo>
                    <a:lnTo>
                      <a:pt x="110475" y="431320"/>
                    </a:lnTo>
                    <a:lnTo>
                      <a:pt x="108447" y="430703"/>
                    </a:lnTo>
                    <a:lnTo>
                      <a:pt x="108712" y="430085"/>
                    </a:lnTo>
                    <a:lnTo>
                      <a:pt x="110122" y="430350"/>
                    </a:lnTo>
                    <a:lnTo>
                      <a:pt x="110387" y="429468"/>
                    </a:lnTo>
                    <a:lnTo>
                      <a:pt x="108888" y="429204"/>
                    </a:lnTo>
                    <a:lnTo>
                      <a:pt x="110651" y="427705"/>
                    </a:lnTo>
                    <a:lnTo>
                      <a:pt x="112415" y="427440"/>
                    </a:lnTo>
                    <a:lnTo>
                      <a:pt x="113297" y="426559"/>
                    </a:lnTo>
                    <a:lnTo>
                      <a:pt x="114178" y="426823"/>
                    </a:lnTo>
                    <a:lnTo>
                      <a:pt x="114795" y="425060"/>
                    </a:lnTo>
                    <a:lnTo>
                      <a:pt x="115942" y="425677"/>
                    </a:lnTo>
                    <a:lnTo>
                      <a:pt x="117088" y="425941"/>
                    </a:lnTo>
                    <a:lnTo>
                      <a:pt x="117352" y="424795"/>
                    </a:lnTo>
                    <a:lnTo>
                      <a:pt x="117352" y="423914"/>
                    </a:lnTo>
                    <a:lnTo>
                      <a:pt x="117352" y="426559"/>
                    </a:lnTo>
                    <a:lnTo>
                      <a:pt x="114090" y="429204"/>
                    </a:lnTo>
                    <a:lnTo>
                      <a:pt x="113208" y="430350"/>
                    </a:lnTo>
                    <a:lnTo>
                      <a:pt x="114090" y="431496"/>
                    </a:lnTo>
                    <a:lnTo>
                      <a:pt x="112944" y="432378"/>
                    </a:lnTo>
                    <a:lnTo>
                      <a:pt x="113561" y="433524"/>
                    </a:lnTo>
                    <a:lnTo>
                      <a:pt x="113561" y="433965"/>
                    </a:lnTo>
                    <a:close/>
                    <a:moveTo>
                      <a:pt x="163640" y="85082"/>
                    </a:moveTo>
                    <a:lnTo>
                      <a:pt x="162494" y="84201"/>
                    </a:lnTo>
                    <a:lnTo>
                      <a:pt x="161613" y="82702"/>
                    </a:lnTo>
                    <a:lnTo>
                      <a:pt x="160996" y="82085"/>
                    </a:lnTo>
                    <a:lnTo>
                      <a:pt x="160731" y="80939"/>
                    </a:lnTo>
                    <a:lnTo>
                      <a:pt x="161348" y="80939"/>
                    </a:lnTo>
                    <a:lnTo>
                      <a:pt x="162230" y="80321"/>
                    </a:lnTo>
                    <a:lnTo>
                      <a:pt x="162847" y="80057"/>
                    </a:lnTo>
                    <a:lnTo>
                      <a:pt x="163112" y="80939"/>
                    </a:lnTo>
                    <a:lnTo>
                      <a:pt x="163112" y="81820"/>
                    </a:lnTo>
                    <a:lnTo>
                      <a:pt x="163729" y="82702"/>
                    </a:lnTo>
                    <a:lnTo>
                      <a:pt x="163994" y="84465"/>
                    </a:lnTo>
                    <a:lnTo>
                      <a:pt x="163640" y="85082"/>
                    </a:lnTo>
                    <a:close/>
                    <a:moveTo>
                      <a:pt x="258157" y="62688"/>
                    </a:moveTo>
                    <a:lnTo>
                      <a:pt x="258157" y="62423"/>
                    </a:lnTo>
                    <a:lnTo>
                      <a:pt x="258422" y="62688"/>
                    </a:lnTo>
                    <a:lnTo>
                      <a:pt x="258157" y="62688"/>
                    </a:lnTo>
                    <a:close/>
                    <a:moveTo>
                      <a:pt x="261684" y="60307"/>
                    </a:moveTo>
                    <a:lnTo>
                      <a:pt x="261155" y="60043"/>
                    </a:lnTo>
                    <a:lnTo>
                      <a:pt x="261684" y="60307"/>
                    </a:lnTo>
                    <a:close/>
                    <a:moveTo>
                      <a:pt x="268649" y="56516"/>
                    </a:moveTo>
                    <a:lnTo>
                      <a:pt x="268385" y="56251"/>
                    </a:lnTo>
                    <a:lnTo>
                      <a:pt x="268914" y="56251"/>
                    </a:lnTo>
                    <a:lnTo>
                      <a:pt x="268649" y="56516"/>
                    </a:lnTo>
                    <a:close/>
                    <a:moveTo>
                      <a:pt x="268649" y="55987"/>
                    </a:moveTo>
                    <a:lnTo>
                      <a:pt x="268385" y="55722"/>
                    </a:lnTo>
                    <a:lnTo>
                      <a:pt x="268649" y="55987"/>
                    </a:lnTo>
                    <a:close/>
                    <a:moveTo>
                      <a:pt x="264858" y="54753"/>
                    </a:moveTo>
                    <a:lnTo>
                      <a:pt x="263712" y="54400"/>
                    </a:lnTo>
                    <a:lnTo>
                      <a:pt x="263095" y="54135"/>
                    </a:lnTo>
                    <a:lnTo>
                      <a:pt x="264505" y="54400"/>
                    </a:lnTo>
                    <a:lnTo>
                      <a:pt x="264505" y="54753"/>
                    </a:lnTo>
                    <a:lnTo>
                      <a:pt x="264858" y="54753"/>
                    </a:lnTo>
                    <a:close/>
                    <a:moveTo>
                      <a:pt x="255248" y="47523"/>
                    </a:moveTo>
                    <a:lnTo>
                      <a:pt x="254983" y="47258"/>
                    </a:lnTo>
                    <a:lnTo>
                      <a:pt x="255512" y="47258"/>
                    </a:lnTo>
                    <a:lnTo>
                      <a:pt x="255248" y="47523"/>
                    </a:lnTo>
                    <a:close/>
                    <a:moveTo>
                      <a:pt x="162494" y="26451"/>
                    </a:moveTo>
                    <a:lnTo>
                      <a:pt x="162494" y="25922"/>
                    </a:lnTo>
                    <a:lnTo>
                      <a:pt x="162759" y="26186"/>
                    </a:lnTo>
                    <a:lnTo>
                      <a:pt x="162494" y="26451"/>
                    </a:lnTo>
                    <a:close/>
                    <a:moveTo>
                      <a:pt x="164523" y="26186"/>
                    </a:moveTo>
                    <a:lnTo>
                      <a:pt x="163640" y="25922"/>
                    </a:lnTo>
                    <a:lnTo>
                      <a:pt x="164523" y="25922"/>
                    </a:lnTo>
                    <a:lnTo>
                      <a:pt x="164523" y="26186"/>
                    </a:lnTo>
                    <a:close/>
                    <a:moveTo>
                      <a:pt x="149357" y="9610"/>
                    </a:moveTo>
                    <a:lnTo>
                      <a:pt x="148211" y="8993"/>
                    </a:lnTo>
                    <a:lnTo>
                      <a:pt x="147065" y="8111"/>
                    </a:lnTo>
                    <a:lnTo>
                      <a:pt x="146183" y="7494"/>
                    </a:lnTo>
                    <a:lnTo>
                      <a:pt x="145919" y="7230"/>
                    </a:lnTo>
                    <a:lnTo>
                      <a:pt x="145654" y="6613"/>
                    </a:lnTo>
                    <a:lnTo>
                      <a:pt x="145654" y="5995"/>
                    </a:lnTo>
                    <a:lnTo>
                      <a:pt x="145919" y="5731"/>
                    </a:lnTo>
                    <a:lnTo>
                      <a:pt x="146183" y="5466"/>
                    </a:lnTo>
                    <a:lnTo>
                      <a:pt x="147065" y="6084"/>
                    </a:lnTo>
                    <a:lnTo>
                      <a:pt x="147947" y="6084"/>
                    </a:lnTo>
                    <a:lnTo>
                      <a:pt x="149093" y="6701"/>
                    </a:lnTo>
                    <a:lnTo>
                      <a:pt x="150592" y="8376"/>
                    </a:lnTo>
                    <a:lnTo>
                      <a:pt x="150327" y="8729"/>
                    </a:lnTo>
                    <a:lnTo>
                      <a:pt x="149975" y="9346"/>
                    </a:lnTo>
                    <a:lnTo>
                      <a:pt x="149357" y="9610"/>
                    </a:lnTo>
                    <a:close/>
                    <a:moveTo>
                      <a:pt x="142656" y="5202"/>
                    </a:moveTo>
                    <a:lnTo>
                      <a:pt x="142127" y="4937"/>
                    </a:lnTo>
                    <a:lnTo>
                      <a:pt x="141863" y="4320"/>
                    </a:lnTo>
                    <a:lnTo>
                      <a:pt x="140717" y="3174"/>
                    </a:lnTo>
                    <a:lnTo>
                      <a:pt x="139571" y="2028"/>
                    </a:lnTo>
                    <a:lnTo>
                      <a:pt x="139218" y="1763"/>
                    </a:lnTo>
                    <a:lnTo>
                      <a:pt x="138953" y="1499"/>
                    </a:lnTo>
                    <a:lnTo>
                      <a:pt x="138336" y="882"/>
                    </a:lnTo>
                    <a:lnTo>
                      <a:pt x="138072" y="617"/>
                    </a:lnTo>
                    <a:lnTo>
                      <a:pt x="139218" y="1146"/>
                    </a:lnTo>
                    <a:lnTo>
                      <a:pt x="139747" y="1146"/>
                    </a:lnTo>
                    <a:lnTo>
                      <a:pt x="139482" y="617"/>
                    </a:lnTo>
                    <a:lnTo>
                      <a:pt x="140629" y="1763"/>
                    </a:lnTo>
                    <a:lnTo>
                      <a:pt x="142127" y="3791"/>
                    </a:lnTo>
                    <a:lnTo>
                      <a:pt x="142656" y="5202"/>
                    </a:lnTo>
                    <a:close/>
                    <a:moveTo>
                      <a:pt x="137719" y="264"/>
                    </a:moveTo>
                    <a:lnTo>
                      <a:pt x="137366" y="0"/>
                    </a:lnTo>
                    <a:lnTo>
                      <a:pt x="137984" y="0"/>
                    </a:lnTo>
                    <a:lnTo>
                      <a:pt x="137719" y="264"/>
                    </a:lnTo>
                    <a:close/>
                    <a:moveTo>
                      <a:pt x="181451" y="54488"/>
                    </a:moveTo>
                    <a:lnTo>
                      <a:pt x="179070" y="52725"/>
                    </a:lnTo>
                    <a:lnTo>
                      <a:pt x="178541" y="52108"/>
                    </a:lnTo>
                    <a:lnTo>
                      <a:pt x="177924" y="51579"/>
                    </a:lnTo>
                    <a:lnTo>
                      <a:pt x="176777" y="49551"/>
                    </a:lnTo>
                    <a:lnTo>
                      <a:pt x="175367" y="48052"/>
                    </a:lnTo>
                    <a:lnTo>
                      <a:pt x="174485" y="46288"/>
                    </a:lnTo>
                    <a:lnTo>
                      <a:pt x="175367" y="44525"/>
                    </a:lnTo>
                    <a:lnTo>
                      <a:pt x="176513" y="43908"/>
                    </a:lnTo>
                    <a:lnTo>
                      <a:pt x="176249" y="40998"/>
                    </a:lnTo>
                    <a:lnTo>
                      <a:pt x="173604" y="40381"/>
                    </a:lnTo>
                    <a:lnTo>
                      <a:pt x="172457" y="39235"/>
                    </a:lnTo>
                    <a:lnTo>
                      <a:pt x="171840" y="37207"/>
                    </a:lnTo>
                    <a:lnTo>
                      <a:pt x="168931" y="35444"/>
                    </a:lnTo>
                    <a:lnTo>
                      <a:pt x="169195" y="31917"/>
                    </a:lnTo>
                    <a:lnTo>
                      <a:pt x="166021" y="29272"/>
                    </a:lnTo>
                    <a:lnTo>
                      <a:pt x="165756" y="25481"/>
                    </a:lnTo>
                    <a:lnTo>
                      <a:pt x="163729" y="23717"/>
                    </a:lnTo>
                    <a:lnTo>
                      <a:pt x="163464" y="21425"/>
                    </a:lnTo>
                    <a:lnTo>
                      <a:pt x="161084" y="19662"/>
                    </a:lnTo>
                    <a:lnTo>
                      <a:pt x="159320" y="17016"/>
                    </a:lnTo>
                    <a:lnTo>
                      <a:pt x="157293" y="15253"/>
                    </a:lnTo>
                    <a:lnTo>
                      <a:pt x="157557" y="14371"/>
                    </a:lnTo>
                    <a:lnTo>
                      <a:pt x="154030" y="13754"/>
                    </a:lnTo>
                    <a:lnTo>
                      <a:pt x="152619" y="12873"/>
                    </a:lnTo>
                    <a:lnTo>
                      <a:pt x="147682" y="13137"/>
                    </a:lnTo>
                    <a:lnTo>
                      <a:pt x="146183" y="12608"/>
                    </a:lnTo>
                    <a:lnTo>
                      <a:pt x="149710" y="12344"/>
                    </a:lnTo>
                    <a:lnTo>
                      <a:pt x="152002" y="10845"/>
                    </a:lnTo>
                    <a:lnTo>
                      <a:pt x="152884" y="9699"/>
                    </a:lnTo>
                    <a:lnTo>
                      <a:pt x="152619" y="7671"/>
                    </a:lnTo>
                    <a:lnTo>
                      <a:pt x="151738" y="6525"/>
                    </a:lnTo>
                    <a:lnTo>
                      <a:pt x="151738" y="5643"/>
                    </a:lnTo>
                    <a:lnTo>
                      <a:pt x="152619" y="6260"/>
                    </a:lnTo>
                    <a:lnTo>
                      <a:pt x="153766" y="6877"/>
                    </a:lnTo>
                    <a:lnTo>
                      <a:pt x="154030" y="6613"/>
                    </a:lnTo>
                    <a:lnTo>
                      <a:pt x="155177" y="6613"/>
                    </a:lnTo>
                    <a:lnTo>
                      <a:pt x="155529" y="5114"/>
                    </a:lnTo>
                    <a:lnTo>
                      <a:pt x="155177" y="3968"/>
                    </a:lnTo>
                    <a:lnTo>
                      <a:pt x="156322" y="3968"/>
                    </a:lnTo>
                    <a:lnTo>
                      <a:pt x="157822" y="5114"/>
                    </a:lnTo>
                    <a:lnTo>
                      <a:pt x="159320" y="5995"/>
                    </a:lnTo>
                    <a:lnTo>
                      <a:pt x="160202" y="6877"/>
                    </a:lnTo>
                    <a:lnTo>
                      <a:pt x="162847" y="7759"/>
                    </a:lnTo>
                    <a:lnTo>
                      <a:pt x="166374" y="10139"/>
                    </a:lnTo>
                    <a:lnTo>
                      <a:pt x="169019" y="11638"/>
                    </a:lnTo>
                    <a:lnTo>
                      <a:pt x="172193" y="13666"/>
                    </a:lnTo>
                    <a:lnTo>
                      <a:pt x="174838" y="14812"/>
                    </a:lnTo>
                    <a:lnTo>
                      <a:pt x="175102" y="15077"/>
                    </a:lnTo>
                    <a:lnTo>
                      <a:pt x="175631" y="15341"/>
                    </a:lnTo>
                    <a:lnTo>
                      <a:pt x="176777" y="16223"/>
                    </a:lnTo>
                    <a:lnTo>
                      <a:pt x="177660" y="17105"/>
                    </a:lnTo>
                    <a:lnTo>
                      <a:pt x="178806" y="17634"/>
                    </a:lnTo>
                    <a:lnTo>
                      <a:pt x="179070" y="18163"/>
                    </a:lnTo>
                    <a:lnTo>
                      <a:pt x="181098" y="19309"/>
                    </a:lnTo>
                    <a:lnTo>
                      <a:pt x="182597" y="20455"/>
                    </a:lnTo>
                    <a:lnTo>
                      <a:pt x="183743" y="20984"/>
                    </a:lnTo>
                    <a:lnTo>
                      <a:pt x="186388" y="22747"/>
                    </a:lnTo>
                    <a:lnTo>
                      <a:pt x="188152" y="23629"/>
                    </a:lnTo>
                    <a:lnTo>
                      <a:pt x="189914" y="24511"/>
                    </a:lnTo>
                    <a:lnTo>
                      <a:pt x="191061" y="25128"/>
                    </a:lnTo>
                    <a:lnTo>
                      <a:pt x="191590" y="25745"/>
                    </a:lnTo>
                    <a:lnTo>
                      <a:pt x="192472" y="26010"/>
                    </a:lnTo>
                    <a:lnTo>
                      <a:pt x="194764" y="27508"/>
                    </a:lnTo>
                    <a:lnTo>
                      <a:pt x="195293" y="27508"/>
                    </a:lnTo>
                    <a:lnTo>
                      <a:pt x="195910" y="28037"/>
                    </a:lnTo>
                    <a:lnTo>
                      <a:pt x="199966" y="29801"/>
                    </a:lnTo>
                    <a:lnTo>
                      <a:pt x="202258" y="30683"/>
                    </a:lnTo>
                    <a:lnTo>
                      <a:pt x="204286" y="31829"/>
                    </a:lnTo>
                    <a:lnTo>
                      <a:pt x="205168" y="32446"/>
                    </a:lnTo>
                    <a:lnTo>
                      <a:pt x="209223" y="34209"/>
                    </a:lnTo>
                    <a:lnTo>
                      <a:pt x="210105" y="34209"/>
                    </a:lnTo>
                    <a:lnTo>
                      <a:pt x="212486" y="35091"/>
                    </a:lnTo>
                    <a:lnTo>
                      <a:pt x="213985" y="39764"/>
                    </a:lnTo>
                    <a:lnTo>
                      <a:pt x="216365" y="35973"/>
                    </a:lnTo>
                    <a:lnTo>
                      <a:pt x="220157" y="40028"/>
                    </a:lnTo>
                    <a:lnTo>
                      <a:pt x="222184" y="37119"/>
                    </a:lnTo>
                    <a:lnTo>
                      <a:pt x="225094" y="37648"/>
                    </a:lnTo>
                    <a:lnTo>
                      <a:pt x="225976" y="37383"/>
                    </a:lnTo>
                    <a:lnTo>
                      <a:pt x="226857" y="38530"/>
                    </a:lnTo>
                    <a:lnTo>
                      <a:pt x="227474" y="39059"/>
                    </a:lnTo>
                    <a:lnTo>
                      <a:pt x="228092" y="39323"/>
                    </a:lnTo>
                    <a:lnTo>
                      <a:pt x="229238" y="40205"/>
                    </a:lnTo>
                    <a:lnTo>
                      <a:pt x="230384" y="43732"/>
                    </a:lnTo>
                    <a:lnTo>
                      <a:pt x="234175" y="41704"/>
                    </a:lnTo>
                    <a:lnTo>
                      <a:pt x="234440" y="45230"/>
                    </a:lnTo>
                    <a:lnTo>
                      <a:pt x="237966" y="42056"/>
                    </a:lnTo>
                    <a:lnTo>
                      <a:pt x="239995" y="41792"/>
                    </a:lnTo>
                    <a:lnTo>
                      <a:pt x="240524" y="41527"/>
                    </a:lnTo>
                    <a:lnTo>
                      <a:pt x="240876" y="40646"/>
                    </a:lnTo>
                    <a:lnTo>
                      <a:pt x="241141" y="39499"/>
                    </a:lnTo>
                    <a:lnTo>
                      <a:pt x="241141" y="39235"/>
                    </a:lnTo>
                    <a:lnTo>
                      <a:pt x="241405" y="38970"/>
                    </a:lnTo>
                    <a:lnTo>
                      <a:pt x="241405" y="38706"/>
                    </a:lnTo>
                    <a:lnTo>
                      <a:pt x="241670" y="38441"/>
                    </a:lnTo>
                    <a:lnTo>
                      <a:pt x="241670" y="37824"/>
                    </a:lnTo>
                    <a:lnTo>
                      <a:pt x="242287" y="37560"/>
                    </a:lnTo>
                    <a:lnTo>
                      <a:pt x="242640" y="37031"/>
                    </a:lnTo>
                    <a:lnTo>
                      <a:pt x="243169" y="36149"/>
                    </a:lnTo>
                    <a:lnTo>
                      <a:pt x="243521" y="35532"/>
                    </a:lnTo>
                    <a:lnTo>
                      <a:pt x="243521" y="34033"/>
                    </a:lnTo>
                    <a:lnTo>
                      <a:pt x="243786" y="33151"/>
                    </a:lnTo>
                    <a:lnTo>
                      <a:pt x="243786" y="32887"/>
                    </a:lnTo>
                    <a:lnTo>
                      <a:pt x="243786" y="32005"/>
                    </a:lnTo>
                    <a:lnTo>
                      <a:pt x="244403" y="32622"/>
                    </a:lnTo>
                    <a:lnTo>
                      <a:pt x="244667" y="32887"/>
                    </a:lnTo>
                    <a:lnTo>
                      <a:pt x="245284" y="33504"/>
                    </a:lnTo>
                    <a:lnTo>
                      <a:pt x="246166" y="34386"/>
                    </a:lnTo>
                    <a:lnTo>
                      <a:pt x="246431" y="35532"/>
                    </a:lnTo>
                    <a:lnTo>
                      <a:pt x="246431" y="36149"/>
                    </a:lnTo>
                    <a:lnTo>
                      <a:pt x="246431" y="36766"/>
                    </a:lnTo>
                    <a:lnTo>
                      <a:pt x="246431" y="38177"/>
                    </a:lnTo>
                    <a:lnTo>
                      <a:pt x="247048" y="39323"/>
                    </a:lnTo>
                    <a:lnTo>
                      <a:pt x="246695" y="40205"/>
                    </a:lnTo>
                    <a:lnTo>
                      <a:pt x="246695" y="41086"/>
                    </a:lnTo>
                    <a:lnTo>
                      <a:pt x="246695" y="41615"/>
                    </a:lnTo>
                    <a:lnTo>
                      <a:pt x="247048" y="43114"/>
                    </a:lnTo>
                    <a:lnTo>
                      <a:pt x="247577" y="43732"/>
                    </a:lnTo>
                    <a:lnTo>
                      <a:pt x="247929" y="45230"/>
                    </a:lnTo>
                    <a:lnTo>
                      <a:pt x="248194" y="45848"/>
                    </a:lnTo>
                    <a:lnTo>
                      <a:pt x="250222" y="47611"/>
                    </a:lnTo>
                    <a:lnTo>
                      <a:pt x="251985" y="49022"/>
                    </a:lnTo>
                    <a:lnTo>
                      <a:pt x="254895" y="49639"/>
                    </a:lnTo>
                    <a:lnTo>
                      <a:pt x="257187" y="50520"/>
                    </a:lnTo>
                    <a:lnTo>
                      <a:pt x="257804" y="51138"/>
                    </a:lnTo>
                    <a:lnTo>
                      <a:pt x="256923" y="51402"/>
                    </a:lnTo>
                    <a:lnTo>
                      <a:pt x="256658" y="51138"/>
                    </a:lnTo>
                    <a:lnTo>
                      <a:pt x="256923" y="51138"/>
                    </a:lnTo>
                    <a:lnTo>
                      <a:pt x="257187" y="51138"/>
                    </a:lnTo>
                    <a:lnTo>
                      <a:pt x="257452" y="50873"/>
                    </a:lnTo>
                    <a:lnTo>
                      <a:pt x="256835" y="50873"/>
                    </a:lnTo>
                    <a:lnTo>
                      <a:pt x="256570" y="50873"/>
                    </a:lnTo>
                    <a:lnTo>
                      <a:pt x="256835" y="50609"/>
                    </a:lnTo>
                    <a:lnTo>
                      <a:pt x="255953" y="50344"/>
                    </a:lnTo>
                    <a:lnTo>
                      <a:pt x="255688" y="50344"/>
                    </a:lnTo>
                    <a:lnTo>
                      <a:pt x="255688" y="50609"/>
                    </a:lnTo>
                    <a:lnTo>
                      <a:pt x="255071" y="49991"/>
                    </a:lnTo>
                    <a:lnTo>
                      <a:pt x="253572" y="49727"/>
                    </a:lnTo>
                    <a:lnTo>
                      <a:pt x="253572" y="49991"/>
                    </a:lnTo>
                    <a:lnTo>
                      <a:pt x="254454" y="50609"/>
                    </a:lnTo>
                    <a:lnTo>
                      <a:pt x="254983" y="51226"/>
                    </a:lnTo>
                    <a:lnTo>
                      <a:pt x="256482" y="52637"/>
                    </a:lnTo>
                    <a:lnTo>
                      <a:pt x="258775" y="55017"/>
                    </a:lnTo>
                    <a:lnTo>
                      <a:pt x="262566" y="57309"/>
                    </a:lnTo>
                    <a:lnTo>
                      <a:pt x="262566" y="57574"/>
                    </a:lnTo>
                    <a:lnTo>
                      <a:pt x="261684" y="57309"/>
                    </a:lnTo>
                    <a:lnTo>
                      <a:pt x="261066" y="57045"/>
                    </a:lnTo>
                    <a:lnTo>
                      <a:pt x="259920" y="56428"/>
                    </a:lnTo>
                    <a:lnTo>
                      <a:pt x="258775" y="56163"/>
                    </a:lnTo>
                    <a:lnTo>
                      <a:pt x="259391" y="56780"/>
                    </a:lnTo>
                    <a:lnTo>
                      <a:pt x="258775" y="56780"/>
                    </a:lnTo>
                    <a:lnTo>
                      <a:pt x="259656" y="57045"/>
                    </a:lnTo>
                    <a:lnTo>
                      <a:pt x="260802" y="57045"/>
                    </a:lnTo>
                    <a:lnTo>
                      <a:pt x="261066" y="57309"/>
                    </a:lnTo>
                    <a:lnTo>
                      <a:pt x="261066" y="57574"/>
                    </a:lnTo>
                    <a:lnTo>
                      <a:pt x="261066" y="57838"/>
                    </a:lnTo>
                    <a:lnTo>
                      <a:pt x="261684" y="58103"/>
                    </a:lnTo>
                    <a:lnTo>
                      <a:pt x="261948" y="57838"/>
                    </a:lnTo>
                    <a:lnTo>
                      <a:pt x="263095" y="58456"/>
                    </a:lnTo>
                    <a:lnTo>
                      <a:pt x="264505" y="58456"/>
                    </a:lnTo>
                    <a:lnTo>
                      <a:pt x="265122" y="58191"/>
                    </a:lnTo>
                    <a:lnTo>
                      <a:pt x="266269" y="59073"/>
                    </a:lnTo>
                    <a:lnTo>
                      <a:pt x="266269" y="59337"/>
                    </a:lnTo>
                    <a:lnTo>
                      <a:pt x="266533" y="58720"/>
                    </a:lnTo>
                    <a:lnTo>
                      <a:pt x="265299" y="58103"/>
                    </a:lnTo>
                    <a:lnTo>
                      <a:pt x="265299" y="57486"/>
                    </a:lnTo>
                    <a:lnTo>
                      <a:pt x="265299" y="57221"/>
                    </a:lnTo>
                    <a:lnTo>
                      <a:pt x="265299" y="56957"/>
                    </a:lnTo>
                    <a:lnTo>
                      <a:pt x="265916" y="56692"/>
                    </a:lnTo>
                    <a:lnTo>
                      <a:pt x="265916" y="56075"/>
                    </a:lnTo>
                    <a:lnTo>
                      <a:pt x="266180" y="55811"/>
                    </a:lnTo>
                    <a:lnTo>
                      <a:pt x="266798" y="55282"/>
                    </a:lnTo>
                    <a:lnTo>
                      <a:pt x="267944" y="55282"/>
                    </a:lnTo>
                    <a:lnTo>
                      <a:pt x="268208" y="55282"/>
                    </a:lnTo>
                    <a:lnTo>
                      <a:pt x="268473" y="55282"/>
                    </a:lnTo>
                    <a:lnTo>
                      <a:pt x="269090" y="55282"/>
                    </a:lnTo>
                    <a:lnTo>
                      <a:pt x="269707" y="55546"/>
                    </a:lnTo>
                    <a:lnTo>
                      <a:pt x="269972" y="55811"/>
                    </a:lnTo>
                    <a:lnTo>
                      <a:pt x="269707" y="56428"/>
                    </a:lnTo>
                    <a:lnTo>
                      <a:pt x="269090" y="56692"/>
                    </a:lnTo>
                    <a:lnTo>
                      <a:pt x="268825" y="56692"/>
                    </a:lnTo>
                    <a:lnTo>
                      <a:pt x="268473" y="56957"/>
                    </a:lnTo>
                    <a:lnTo>
                      <a:pt x="268208" y="57221"/>
                    </a:lnTo>
                    <a:lnTo>
                      <a:pt x="267062" y="57221"/>
                    </a:lnTo>
                    <a:lnTo>
                      <a:pt x="267062" y="57838"/>
                    </a:lnTo>
                    <a:lnTo>
                      <a:pt x="266533" y="57838"/>
                    </a:lnTo>
                    <a:lnTo>
                      <a:pt x="266533" y="58103"/>
                    </a:lnTo>
                    <a:lnTo>
                      <a:pt x="267062" y="58985"/>
                    </a:lnTo>
                    <a:lnTo>
                      <a:pt x="267415" y="59602"/>
                    </a:lnTo>
                    <a:lnTo>
                      <a:pt x="267062" y="59866"/>
                    </a:lnTo>
                    <a:lnTo>
                      <a:pt x="267415" y="60131"/>
                    </a:lnTo>
                    <a:lnTo>
                      <a:pt x="267062" y="60131"/>
                    </a:lnTo>
                    <a:lnTo>
                      <a:pt x="267415" y="60395"/>
                    </a:lnTo>
                    <a:lnTo>
                      <a:pt x="267062" y="60660"/>
                    </a:lnTo>
                    <a:lnTo>
                      <a:pt x="266798" y="60395"/>
                    </a:lnTo>
                    <a:lnTo>
                      <a:pt x="264153" y="60131"/>
                    </a:lnTo>
                    <a:lnTo>
                      <a:pt x="263535" y="60395"/>
                    </a:lnTo>
                    <a:lnTo>
                      <a:pt x="262653" y="60395"/>
                    </a:lnTo>
                    <a:lnTo>
                      <a:pt x="261508" y="61277"/>
                    </a:lnTo>
                    <a:lnTo>
                      <a:pt x="260890" y="61013"/>
                    </a:lnTo>
                    <a:lnTo>
                      <a:pt x="260008" y="61630"/>
                    </a:lnTo>
                    <a:lnTo>
                      <a:pt x="260008" y="62159"/>
                    </a:lnTo>
                    <a:lnTo>
                      <a:pt x="260890" y="62776"/>
                    </a:lnTo>
                    <a:lnTo>
                      <a:pt x="261772" y="62776"/>
                    </a:lnTo>
                    <a:lnTo>
                      <a:pt x="261772" y="63040"/>
                    </a:lnTo>
                    <a:lnTo>
                      <a:pt x="261155" y="63040"/>
                    </a:lnTo>
                    <a:lnTo>
                      <a:pt x="260626" y="62776"/>
                    </a:lnTo>
                    <a:lnTo>
                      <a:pt x="260626" y="63393"/>
                    </a:lnTo>
                    <a:lnTo>
                      <a:pt x="260361" y="63658"/>
                    </a:lnTo>
                    <a:lnTo>
                      <a:pt x="259744" y="63922"/>
                    </a:lnTo>
                    <a:lnTo>
                      <a:pt x="259127" y="63658"/>
                    </a:lnTo>
                    <a:lnTo>
                      <a:pt x="258862" y="63393"/>
                    </a:lnTo>
                    <a:lnTo>
                      <a:pt x="258862" y="63658"/>
                    </a:lnTo>
                    <a:lnTo>
                      <a:pt x="259127" y="63922"/>
                    </a:lnTo>
                    <a:lnTo>
                      <a:pt x="259391" y="63922"/>
                    </a:lnTo>
                    <a:lnTo>
                      <a:pt x="260008" y="64539"/>
                    </a:lnTo>
                    <a:lnTo>
                      <a:pt x="260008" y="64804"/>
                    </a:lnTo>
                    <a:lnTo>
                      <a:pt x="259391" y="65068"/>
                    </a:lnTo>
                    <a:lnTo>
                      <a:pt x="258775" y="65068"/>
                    </a:lnTo>
                    <a:lnTo>
                      <a:pt x="258157" y="65068"/>
                    </a:lnTo>
                    <a:lnTo>
                      <a:pt x="257628" y="64804"/>
                    </a:lnTo>
                    <a:lnTo>
                      <a:pt x="256746" y="64539"/>
                    </a:lnTo>
                    <a:lnTo>
                      <a:pt x="256482" y="64275"/>
                    </a:lnTo>
                    <a:lnTo>
                      <a:pt x="255865" y="64010"/>
                    </a:lnTo>
                    <a:lnTo>
                      <a:pt x="256129" y="63746"/>
                    </a:lnTo>
                    <a:lnTo>
                      <a:pt x="257628" y="64363"/>
                    </a:lnTo>
                    <a:lnTo>
                      <a:pt x="257893" y="64363"/>
                    </a:lnTo>
                    <a:lnTo>
                      <a:pt x="257893" y="63746"/>
                    </a:lnTo>
                    <a:lnTo>
                      <a:pt x="257628" y="63746"/>
                    </a:lnTo>
                    <a:lnTo>
                      <a:pt x="256746" y="63129"/>
                    </a:lnTo>
                    <a:lnTo>
                      <a:pt x="255600" y="62864"/>
                    </a:lnTo>
                    <a:lnTo>
                      <a:pt x="255336" y="62600"/>
                    </a:lnTo>
                    <a:lnTo>
                      <a:pt x="255600" y="63217"/>
                    </a:lnTo>
                    <a:lnTo>
                      <a:pt x="256217" y="63481"/>
                    </a:lnTo>
                    <a:lnTo>
                      <a:pt x="254719" y="63481"/>
                    </a:lnTo>
                    <a:lnTo>
                      <a:pt x="254454" y="63746"/>
                    </a:lnTo>
                    <a:lnTo>
                      <a:pt x="254454" y="65156"/>
                    </a:lnTo>
                    <a:lnTo>
                      <a:pt x="255600" y="65774"/>
                    </a:lnTo>
                    <a:lnTo>
                      <a:pt x="256217" y="66303"/>
                    </a:lnTo>
                    <a:lnTo>
                      <a:pt x="253837" y="66038"/>
                    </a:lnTo>
                    <a:lnTo>
                      <a:pt x="252338" y="66038"/>
                    </a:lnTo>
                    <a:lnTo>
                      <a:pt x="250927" y="65774"/>
                    </a:lnTo>
                    <a:lnTo>
                      <a:pt x="250045" y="66038"/>
                    </a:lnTo>
                    <a:lnTo>
                      <a:pt x="249164" y="65774"/>
                    </a:lnTo>
                    <a:lnTo>
                      <a:pt x="248282" y="65774"/>
                    </a:lnTo>
                    <a:lnTo>
                      <a:pt x="247136" y="65509"/>
                    </a:lnTo>
                    <a:lnTo>
                      <a:pt x="247136" y="65245"/>
                    </a:lnTo>
                    <a:lnTo>
                      <a:pt x="245373" y="64627"/>
                    </a:lnTo>
                    <a:lnTo>
                      <a:pt x="242728" y="65245"/>
                    </a:lnTo>
                    <a:lnTo>
                      <a:pt x="241317" y="66126"/>
                    </a:lnTo>
                    <a:lnTo>
                      <a:pt x="239818" y="67890"/>
                    </a:lnTo>
                    <a:lnTo>
                      <a:pt x="238937" y="69653"/>
                    </a:lnTo>
                    <a:lnTo>
                      <a:pt x="238055" y="71416"/>
                    </a:lnTo>
                    <a:lnTo>
                      <a:pt x="237790" y="72034"/>
                    </a:lnTo>
                    <a:lnTo>
                      <a:pt x="237790" y="72298"/>
                    </a:lnTo>
                    <a:lnTo>
                      <a:pt x="237173" y="74061"/>
                    </a:lnTo>
                    <a:lnTo>
                      <a:pt x="236908" y="76706"/>
                    </a:lnTo>
                    <a:lnTo>
                      <a:pt x="237173" y="81379"/>
                    </a:lnTo>
                    <a:lnTo>
                      <a:pt x="237790" y="82878"/>
                    </a:lnTo>
                    <a:lnTo>
                      <a:pt x="238937" y="84024"/>
                    </a:lnTo>
                    <a:lnTo>
                      <a:pt x="239553" y="85171"/>
                    </a:lnTo>
                    <a:lnTo>
                      <a:pt x="240082" y="86052"/>
                    </a:lnTo>
                    <a:lnTo>
                      <a:pt x="240700" y="87199"/>
                    </a:lnTo>
                    <a:lnTo>
                      <a:pt x="240964" y="88345"/>
                    </a:lnTo>
                    <a:lnTo>
                      <a:pt x="240964" y="89491"/>
                    </a:lnTo>
                    <a:lnTo>
                      <a:pt x="241582" y="90637"/>
                    </a:lnTo>
                    <a:lnTo>
                      <a:pt x="240700" y="90020"/>
                    </a:lnTo>
                    <a:lnTo>
                      <a:pt x="238672" y="88874"/>
                    </a:lnTo>
                    <a:lnTo>
                      <a:pt x="237261" y="87992"/>
                    </a:lnTo>
                    <a:lnTo>
                      <a:pt x="234352" y="86846"/>
                    </a:lnTo>
                    <a:lnTo>
                      <a:pt x="232853" y="85964"/>
                    </a:lnTo>
                    <a:lnTo>
                      <a:pt x="231971" y="85964"/>
                    </a:lnTo>
                    <a:lnTo>
                      <a:pt x="231354" y="86493"/>
                    </a:lnTo>
                    <a:lnTo>
                      <a:pt x="228974" y="85612"/>
                    </a:lnTo>
                    <a:lnTo>
                      <a:pt x="227474" y="85612"/>
                    </a:lnTo>
                    <a:lnTo>
                      <a:pt x="226857" y="84465"/>
                    </a:lnTo>
                    <a:lnTo>
                      <a:pt x="224565" y="83319"/>
                    </a:lnTo>
                    <a:lnTo>
                      <a:pt x="222802" y="82702"/>
                    </a:lnTo>
                    <a:lnTo>
                      <a:pt x="222537" y="81820"/>
                    </a:lnTo>
                    <a:lnTo>
                      <a:pt x="219010" y="81820"/>
                    </a:lnTo>
                    <a:lnTo>
                      <a:pt x="217599" y="80410"/>
                    </a:lnTo>
                    <a:lnTo>
                      <a:pt x="215572" y="80410"/>
                    </a:lnTo>
                    <a:lnTo>
                      <a:pt x="213279" y="80939"/>
                    </a:lnTo>
                    <a:lnTo>
                      <a:pt x="210370" y="79175"/>
                    </a:lnTo>
                    <a:lnTo>
                      <a:pt x="210105" y="78029"/>
                    </a:lnTo>
                    <a:lnTo>
                      <a:pt x="207813" y="76883"/>
                    </a:lnTo>
                    <a:lnTo>
                      <a:pt x="205785" y="75737"/>
                    </a:lnTo>
                    <a:lnTo>
                      <a:pt x="204903" y="75472"/>
                    </a:lnTo>
                    <a:lnTo>
                      <a:pt x="204903" y="75208"/>
                    </a:lnTo>
                    <a:lnTo>
                      <a:pt x="204286" y="75208"/>
                    </a:lnTo>
                    <a:lnTo>
                      <a:pt x="203140" y="74591"/>
                    </a:lnTo>
                    <a:lnTo>
                      <a:pt x="201112" y="73973"/>
                    </a:lnTo>
                    <a:lnTo>
                      <a:pt x="198731" y="73709"/>
                    </a:lnTo>
                    <a:lnTo>
                      <a:pt x="197586" y="73444"/>
                    </a:lnTo>
                    <a:lnTo>
                      <a:pt x="197586" y="73709"/>
                    </a:lnTo>
                    <a:lnTo>
                      <a:pt x="195822" y="74326"/>
                    </a:lnTo>
                    <a:lnTo>
                      <a:pt x="194059" y="75208"/>
                    </a:lnTo>
                    <a:lnTo>
                      <a:pt x="193441" y="75737"/>
                    </a:lnTo>
                    <a:lnTo>
                      <a:pt x="193441" y="76001"/>
                    </a:lnTo>
                    <a:lnTo>
                      <a:pt x="192912" y="76883"/>
                    </a:lnTo>
                    <a:lnTo>
                      <a:pt x="192031" y="78029"/>
                    </a:lnTo>
                    <a:lnTo>
                      <a:pt x="191149" y="78294"/>
                    </a:lnTo>
                    <a:lnTo>
                      <a:pt x="190620" y="80057"/>
                    </a:lnTo>
                    <a:lnTo>
                      <a:pt x="190620" y="80321"/>
                    </a:lnTo>
                    <a:lnTo>
                      <a:pt x="190620" y="80586"/>
                    </a:lnTo>
                    <a:lnTo>
                      <a:pt x="190620" y="81468"/>
                    </a:lnTo>
                    <a:lnTo>
                      <a:pt x="189739" y="81468"/>
                    </a:lnTo>
                    <a:lnTo>
                      <a:pt x="189474" y="81203"/>
                    </a:lnTo>
                    <a:lnTo>
                      <a:pt x="188328" y="80586"/>
                    </a:lnTo>
                    <a:lnTo>
                      <a:pt x="188857" y="80586"/>
                    </a:lnTo>
                    <a:lnTo>
                      <a:pt x="189474" y="80850"/>
                    </a:lnTo>
                    <a:lnTo>
                      <a:pt x="189739" y="80321"/>
                    </a:lnTo>
                    <a:lnTo>
                      <a:pt x="188857" y="80321"/>
                    </a:lnTo>
                    <a:lnTo>
                      <a:pt x="188328" y="80057"/>
                    </a:lnTo>
                    <a:lnTo>
                      <a:pt x="187181" y="79792"/>
                    </a:lnTo>
                    <a:lnTo>
                      <a:pt x="186300" y="78646"/>
                    </a:lnTo>
                    <a:lnTo>
                      <a:pt x="184889" y="77500"/>
                    </a:lnTo>
                    <a:lnTo>
                      <a:pt x="184360" y="77500"/>
                    </a:lnTo>
                    <a:lnTo>
                      <a:pt x="183743" y="77235"/>
                    </a:lnTo>
                    <a:lnTo>
                      <a:pt x="182861" y="76971"/>
                    </a:lnTo>
                    <a:lnTo>
                      <a:pt x="182597" y="76354"/>
                    </a:lnTo>
                    <a:lnTo>
                      <a:pt x="182068" y="76089"/>
                    </a:lnTo>
                    <a:lnTo>
                      <a:pt x="180657" y="75208"/>
                    </a:lnTo>
                    <a:lnTo>
                      <a:pt x="180304" y="74943"/>
                    </a:lnTo>
                    <a:lnTo>
                      <a:pt x="179158" y="74943"/>
                    </a:lnTo>
                    <a:lnTo>
                      <a:pt x="178277" y="75208"/>
                    </a:lnTo>
                    <a:lnTo>
                      <a:pt x="178012" y="75208"/>
                    </a:lnTo>
                    <a:lnTo>
                      <a:pt x="176513" y="74591"/>
                    </a:lnTo>
                    <a:lnTo>
                      <a:pt x="175631" y="74855"/>
                    </a:lnTo>
                    <a:lnTo>
                      <a:pt x="175015" y="75120"/>
                    </a:lnTo>
                    <a:lnTo>
                      <a:pt x="175015" y="79175"/>
                    </a:lnTo>
                    <a:lnTo>
                      <a:pt x="176160" y="82085"/>
                    </a:lnTo>
                    <a:lnTo>
                      <a:pt x="177571" y="82966"/>
                    </a:lnTo>
                    <a:lnTo>
                      <a:pt x="178982" y="83584"/>
                    </a:lnTo>
                    <a:lnTo>
                      <a:pt x="180481" y="84113"/>
                    </a:lnTo>
                    <a:lnTo>
                      <a:pt x="181010" y="84377"/>
                    </a:lnTo>
                    <a:lnTo>
                      <a:pt x="182509" y="84994"/>
                    </a:lnTo>
                    <a:lnTo>
                      <a:pt x="183390" y="85612"/>
                    </a:lnTo>
                    <a:lnTo>
                      <a:pt x="185154" y="86229"/>
                    </a:lnTo>
                    <a:lnTo>
                      <a:pt x="186036" y="85612"/>
                    </a:lnTo>
                    <a:lnTo>
                      <a:pt x="186917" y="85612"/>
                    </a:lnTo>
                    <a:lnTo>
                      <a:pt x="188416" y="85876"/>
                    </a:lnTo>
                    <a:lnTo>
                      <a:pt x="189562" y="86758"/>
                    </a:lnTo>
                    <a:lnTo>
                      <a:pt x="190179" y="87375"/>
                    </a:lnTo>
                    <a:lnTo>
                      <a:pt x="191325" y="88257"/>
                    </a:lnTo>
                    <a:lnTo>
                      <a:pt x="192472" y="88521"/>
                    </a:lnTo>
                    <a:lnTo>
                      <a:pt x="193882" y="89667"/>
                    </a:lnTo>
                    <a:lnTo>
                      <a:pt x="195028" y="90284"/>
                    </a:lnTo>
                    <a:lnTo>
                      <a:pt x="195646" y="90813"/>
                    </a:lnTo>
                    <a:lnTo>
                      <a:pt x="197409" y="91431"/>
                    </a:lnTo>
                    <a:lnTo>
                      <a:pt x="198291" y="91431"/>
                    </a:lnTo>
                    <a:lnTo>
                      <a:pt x="198644" y="91431"/>
                    </a:lnTo>
                    <a:lnTo>
                      <a:pt x="200054" y="92312"/>
                    </a:lnTo>
                    <a:lnTo>
                      <a:pt x="200671" y="92577"/>
                    </a:lnTo>
                    <a:lnTo>
                      <a:pt x="201818" y="93194"/>
                    </a:lnTo>
                    <a:lnTo>
                      <a:pt x="201818" y="94076"/>
                    </a:lnTo>
                    <a:lnTo>
                      <a:pt x="201200" y="94076"/>
                    </a:lnTo>
                    <a:lnTo>
                      <a:pt x="200054" y="94957"/>
                    </a:lnTo>
                    <a:lnTo>
                      <a:pt x="199790" y="94428"/>
                    </a:lnTo>
                    <a:lnTo>
                      <a:pt x="198291" y="94693"/>
                    </a:lnTo>
                    <a:lnTo>
                      <a:pt x="196880" y="95310"/>
                    </a:lnTo>
                    <a:lnTo>
                      <a:pt x="196615" y="95839"/>
                    </a:lnTo>
                    <a:lnTo>
                      <a:pt x="194588" y="94957"/>
                    </a:lnTo>
                    <a:lnTo>
                      <a:pt x="191943" y="94957"/>
                    </a:lnTo>
                    <a:lnTo>
                      <a:pt x="190179" y="95574"/>
                    </a:lnTo>
                    <a:lnTo>
                      <a:pt x="189033" y="96721"/>
                    </a:lnTo>
                    <a:lnTo>
                      <a:pt x="189914" y="96985"/>
                    </a:lnTo>
                    <a:lnTo>
                      <a:pt x="190532" y="99013"/>
                    </a:lnTo>
                    <a:lnTo>
                      <a:pt x="191061" y="100159"/>
                    </a:lnTo>
                    <a:lnTo>
                      <a:pt x="189914" y="100424"/>
                    </a:lnTo>
                    <a:lnTo>
                      <a:pt x="189386" y="100688"/>
                    </a:lnTo>
                    <a:lnTo>
                      <a:pt x="188504" y="101570"/>
                    </a:lnTo>
                    <a:lnTo>
                      <a:pt x="188504" y="102716"/>
                    </a:lnTo>
                    <a:lnTo>
                      <a:pt x="188504" y="103333"/>
                    </a:lnTo>
                    <a:lnTo>
                      <a:pt x="187005" y="102716"/>
                    </a:lnTo>
                    <a:lnTo>
                      <a:pt x="186123" y="102716"/>
                    </a:lnTo>
                    <a:lnTo>
                      <a:pt x="185594" y="102716"/>
                    </a:lnTo>
                    <a:lnTo>
                      <a:pt x="183831" y="101835"/>
                    </a:lnTo>
                    <a:lnTo>
                      <a:pt x="181803" y="100688"/>
                    </a:lnTo>
                    <a:lnTo>
                      <a:pt x="180657" y="98043"/>
                    </a:lnTo>
                    <a:lnTo>
                      <a:pt x="180304" y="97162"/>
                    </a:lnTo>
                    <a:lnTo>
                      <a:pt x="180040" y="96015"/>
                    </a:lnTo>
                    <a:lnTo>
                      <a:pt x="180040" y="95398"/>
                    </a:lnTo>
                    <a:lnTo>
                      <a:pt x="180040" y="94252"/>
                    </a:lnTo>
                    <a:lnTo>
                      <a:pt x="179423" y="93370"/>
                    </a:lnTo>
                    <a:lnTo>
                      <a:pt x="180304" y="93370"/>
                    </a:lnTo>
                    <a:lnTo>
                      <a:pt x="180040" y="92224"/>
                    </a:lnTo>
                    <a:lnTo>
                      <a:pt x="179687" y="91695"/>
                    </a:lnTo>
                    <a:lnTo>
                      <a:pt x="179070" y="90813"/>
                    </a:lnTo>
                    <a:lnTo>
                      <a:pt x="177660" y="89050"/>
                    </a:lnTo>
                    <a:lnTo>
                      <a:pt x="176777" y="88433"/>
                    </a:lnTo>
                    <a:lnTo>
                      <a:pt x="175896" y="87551"/>
                    </a:lnTo>
                    <a:lnTo>
                      <a:pt x="173515" y="86052"/>
                    </a:lnTo>
                    <a:lnTo>
                      <a:pt x="172634" y="85788"/>
                    </a:lnTo>
                    <a:lnTo>
                      <a:pt x="171135" y="85523"/>
                    </a:lnTo>
                    <a:lnTo>
                      <a:pt x="169724" y="84377"/>
                    </a:lnTo>
                    <a:lnTo>
                      <a:pt x="168843" y="83495"/>
                    </a:lnTo>
                    <a:lnTo>
                      <a:pt x="168225" y="83495"/>
                    </a:lnTo>
                    <a:lnTo>
                      <a:pt x="166198" y="82349"/>
                    </a:lnTo>
                    <a:lnTo>
                      <a:pt x="165580" y="81468"/>
                    </a:lnTo>
                    <a:lnTo>
                      <a:pt x="164963" y="80850"/>
                    </a:lnTo>
                    <a:lnTo>
                      <a:pt x="165227" y="79969"/>
                    </a:lnTo>
                    <a:lnTo>
                      <a:pt x="165227" y="79440"/>
                    </a:lnTo>
                    <a:lnTo>
                      <a:pt x="164698" y="77676"/>
                    </a:lnTo>
                    <a:lnTo>
                      <a:pt x="163817" y="76795"/>
                    </a:lnTo>
                    <a:lnTo>
                      <a:pt x="162935" y="75648"/>
                    </a:lnTo>
                    <a:lnTo>
                      <a:pt x="162318" y="74767"/>
                    </a:lnTo>
                    <a:lnTo>
                      <a:pt x="161701" y="73885"/>
                    </a:lnTo>
                    <a:lnTo>
                      <a:pt x="161701" y="73003"/>
                    </a:lnTo>
                    <a:lnTo>
                      <a:pt x="161701" y="72739"/>
                    </a:lnTo>
                    <a:lnTo>
                      <a:pt x="162318" y="72474"/>
                    </a:lnTo>
                    <a:lnTo>
                      <a:pt x="163200" y="72210"/>
                    </a:lnTo>
                    <a:lnTo>
                      <a:pt x="164081" y="72210"/>
                    </a:lnTo>
                    <a:lnTo>
                      <a:pt x="164963" y="71945"/>
                    </a:lnTo>
                    <a:lnTo>
                      <a:pt x="164963" y="71064"/>
                    </a:lnTo>
                    <a:lnTo>
                      <a:pt x="165580" y="71064"/>
                    </a:lnTo>
                    <a:lnTo>
                      <a:pt x="165845" y="70447"/>
                    </a:lnTo>
                    <a:lnTo>
                      <a:pt x="165580" y="68948"/>
                    </a:lnTo>
                    <a:lnTo>
                      <a:pt x="166727" y="69565"/>
                    </a:lnTo>
                    <a:lnTo>
                      <a:pt x="167872" y="70447"/>
                    </a:lnTo>
                    <a:lnTo>
                      <a:pt x="168490" y="70182"/>
                    </a:lnTo>
                    <a:lnTo>
                      <a:pt x="167872" y="68683"/>
                    </a:lnTo>
                    <a:lnTo>
                      <a:pt x="168137" y="67802"/>
                    </a:lnTo>
                    <a:lnTo>
                      <a:pt x="168137" y="66655"/>
                    </a:lnTo>
                    <a:lnTo>
                      <a:pt x="168137" y="66038"/>
                    </a:lnTo>
                    <a:lnTo>
                      <a:pt x="169019" y="65421"/>
                    </a:lnTo>
                    <a:lnTo>
                      <a:pt x="169636" y="64804"/>
                    </a:lnTo>
                    <a:lnTo>
                      <a:pt x="169019" y="63922"/>
                    </a:lnTo>
                    <a:lnTo>
                      <a:pt x="167872" y="63305"/>
                    </a:lnTo>
                    <a:lnTo>
                      <a:pt x="166727" y="62159"/>
                    </a:lnTo>
                    <a:lnTo>
                      <a:pt x="165316" y="61277"/>
                    </a:lnTo>
                    <a:lnTo>
                      <a:pt x="163288" y="60395"/>
                    </a:lnTo>
                    <a:lnTo>
                      <a:pt x="161789" y="58896"/>
                    </a:lnTo>
                    <a:lnTo>
                      <a:pt x="161525" y="58279"/>
                    </a:lnTo>
                    <a:lnTo>
                      <a:pt x="161260" y="57662"/>
                    </a:lnTo>
                    <a:lnTo>
                      <a:pt x="161260" y="56780"/>
                    </a:lnTo>
                    <a:lnTo>
                      <a:pt x="160643" y="56516"/>
                    </a:lnTo>
                    <a:lnTo>
                      <a:pt x="161789" y="56516"/>
                    </a:lnTo>
                    <a:lnTo>
                      <a:pt x="162406" y="56516"/>
                    </a:lnTo>
                    <a:lnTo>
                      <a:pt x="162406" y="55634"/>
                    </a:lnTo>
                    <a:lnTo>
                      <a:pt x="162671" y="55370"/>
                    </a:lnTo>
                    <a:lnTo>
                      <a:pt x="163552" y="55987"/>
                    </a:lnTo>
                    <a:lnTo>
                      <a:pt x="164169" y="56251"/>
                    </a:lnTo>
                    <a:lnTo>
                      <a:pt x="165051" y="56516"/>
                    </a:lnTo>
                    <a:lnTo>
                      <a:pt x="166198" y="57133"/>
                    </a:lnTo>
                    <a:lnTo>
                      <a:pt x="166462" y="57398"/>
                    </a:lnTo>
                    <a:lnTo>
                      <a:pt x="167079" y="57662"/>
                    </a:lnTo>
                    <a:lnTo>
                      <a:pt x="167608" y="57927"/>
                    </a:lnTo>
                    <a:lnTo>
                      <a:pt x="169107" y="58544"/>
                    </a:lnTo>
                    <a:lnTo>
                      <a:pt x="169724" y="58544"/>
                    </a:lnTo>
                    <a:lnTo>
                      <a:pt x="170606" y="58808"/>
                    </a:lnTo>
                    <a:lnTo>
                      <a:pt x="171488" y="59426"/>
                    </a:lnTo>
                    <a:lnTo>
                      <a:pt x="172369" y="59690"/>
                    </a:lnTo>
                    <a:lnTo>
                      <a:pt x="173251" y="59690"/>
                    </a:lnTo>
                    <a:lnTo>
                      <a:pt x="172986" y="59426"/>
                    </a:lnTo>
                    <a:lnTo>
                      <a:pt x="173251" y="59426"/>
                    </a:lnTo>
                    <a:lnTo>
                      <a:pt x="174133" y="59161"/>
                    </a:lnTo>
                    <a:lnTo>
                      <a:pt x="174750" y="59161"/>
                    </a:lnTo>
                    <a:lnTo>
                      <a:pt x="175631" y="58896"/>
                    </a:lnTo>
                    <a:lnTo>
                      <a:pt x="176513" y="59161"/>
                    </a:lnTo>
                    <a:lnTo>
                      <a:pt x="176249" y="59426"/>
                    </a:lnTo>
                    <a:lnTo>
                      <a:pt x="177131" y="59955"/>
                    </a:lnTo>
                    <a:lnTo>
                      <a:pt x="178893" y="60219"/>
                    </a:lnTo>
                    <a:lnTo>
                      <a:pt x="180393" y="60836"/>
                    </a:lnTo>
                    <a:lnTo>
                      <a:pt x="181274" y="60572"/>
                    </a:lnTo>
                    <a:lnTo>
                      <a:pt x="182420" y="59073"/>
                    </a:lnTo>
                    <a:lnTo>
                      <a:pt x="182949" y="57574"/>
                    </a:lnTo>
                    <a:lnTo>
                      <a:pt x="182949" y="56428"/>
                    </a:lnTo>
                    <a:lnTo>
                      <a:pt x="182420" y="55811"/>
                    </a:lnTo>
                    <a:lnTo>
                      <a:pt x="181451" y="54488"/>
                    </a:lnTo>
                    <a:close/>
                    <a:moveTo>
                      <a:pt x="170077" y="98837"/>
                    </a:moveTo>
                    <a:lnTo>
                      <a:pt x="169812" y="98572"/>
                    </a:lnTo>
                    <a:lnTo>
                      <a:pt x="169548" y="97955"/>
                    </a:lnTo>
                    <a:lnTo>
                      <a:pt x="170694" y="98572"/>
                    </a:lnTo>
                    <a:lnTo>
                      <a:pt x="170077" y="98837"/>
                    </a:lnTo>
                    <a:close/>
                    <a:moveTo>
                      <a:pt x="181451" y="102363"/>
                    </a:moveTo>
                    <a:lnTo>
                      <a:pt x="181186" y="102363"/>
                    </a:lnTo>
                    <a:lnTo>
                      <a:pt x="181451" y="102363"/>
                    </a:lnTo>
                    <a:close/>
                    <a:moveTo>
                      <a:pt x="170694" y="110475"/>
                    </a:moveTo>
                    <a:lnTo>
                      <a:pt x="170430" y="110475"/>
                    </a:lnTo>
                    <a:lnTo>
                      <a:pt x="170694" y="110475"/>
                    </a:lnTo>
                    <a:close/>
                    <a:moveTo>
                      <a:pt x="207372" y="156323"/>
                    </a:moveTo>
                    <a:lnTo>
                      <a:pt x="207372" y="156058"/>
                    </a:lnTo>
                    <a:lnTo>
                      <a:pt x="207372" y="155794"/>
                    </a:lnTo>
                    <a:lnTo>
                      <a:pt x="207636" y="156058"/>
                    </a:lnTo>
                    <a:lnTo>
                      <a:pt x="207372" y="156323"/>
                    </a:lnTo>
                    <a:close/>
                    <a:moveTo>
                      <a:pt x="254983" y="165051"/>
                    </a:moveTo>
                    <a:lnTo>
                      <a:pt x="254366" y="164787"/>
                    </a:lnTo>
                    <a:lnTo>
                      <a:pt x="253749" y="164169"/>
                    </a:lnTo>
                    <a:lnTo>
                      <a:pt x="254013" y="163905"/>
                    </a:lnTo>
                    <a:lnTo>
                      <a:pt x="254630" y="164169"/>
                    </a:lnTo>
                    <a:lnTo>
                      <a:pt x="254983" y="165051"/>
                    </a:lnTo>
                    <a:close/>
                    <a:moveTo>
                      <a:pt x="211163" y="174926"/>
                    </a:moveTo>
                    <a:lnTo>
                      <a:pt x="210899" y="174662"/>
                    </a:lnTo>
                    <a:lnTo>
                      <a:pt x="210899" y="174397"/>
                    </a:lnTo>
                    <a:lnTo>
                      <a:pt x="210899" y="173780"/>
                    </a:lnTo>
                    <a:lnTo>
                      <a:pt x="211163" y="174044"/>
                    </a:lnTo>
                    <a:lnTo>
                      <a:pt x="211163" y="174926"/>
                    </a:lnTo>
                    <a:close/>
                    <a:moveTo>
                      <a:pt x="258157" y="174926"/>
                    </a:moveTo>
                    <a:lnTo>
                      <a:pt x="257804" y="174309"/>
                    </a:lnTo>
                    <a:lnTo>
                      <a:pt x="258157" y="174573"/>
                    </a:lnTo>
                    <a:lnTo>
                      <a:pt x="258422" y="174838"/>
                    </a:lnTo>
                    <a:lnTo>
                      <a:pt x="258157" y="174838"/>
                    </a:lnTo>
                    <a:close/>
                    <a:moveTo>
                      <a:pt x="251721" y="177571"/>
                    </a:moveTo>
                    <a:lnTo>
                      <a:pt x="251456" y="177571"/>
                    </a:lnTo>
                    <a:lnTo>
                      <a:pt x="251456" y="177307"/>
                    </a:lnTo>
                    <a:lnTo>
                      <a:pt x="251721" y="177571"/>
                    </a:lnTo>
                    <a:close/>
                    <a:moveTo>
                      <a:pt x="251192" y="177571"/>
                    </a:moveTo>
                    <a:lnTo>
                      <a:pt x="251192" y="177571"/>
                    </a:lnTo>
                    <a:lnTo>
                      <a:pt x="251456" y="177307"/>
                    </a:lnTo>
                    <a:lnTo>
                      <a:pt x="251192" y="177571"/>
                    </a:lnTo>
                    <a:close/>
                    <a:moveTo>
                      <a:pt x="252955" y="177836"/>
                    </a:moveTo>
                    <a:lnTo>
                      <a:pt x="252338" y="177836"/>
                    </a:lnTo>
                    <a:lnTo>
                      <a:pt x="252074" y="177571"/>
                    </a:lnTo>
                    <a:lnTo>
                      <a:pt x="252074" y="177836"/>
                    </a:lnTo>
                    <a:lnTo>
                      <a:pt x="251721" y="177571"/>
                    </a:lnTo>
                    <a:lnTo>
                      <a:pt x="252074" y="177307"/>
                    </a:lnTo>
                    <a:lnTo>
                      <a:pt x="251721" y="177042"/>
                    </a:lnTo>
                    <a:lnTo>
                      <a:pt x="252074" y="177042"/>
                    </a:lnTo>
                    <a:lnTo>
                      <a:pt x="252955" y="177836"/>
                    </a:lnTo>
                    <a:close/>
                    <a:moveTo>
                      <a:pt x="261684" y="179070"/>
                    </a:moveTo>
                    <a:lnTo>
                      <a:pt x="261155" y="178805"/>
                    </a:lnTo>
                    <a:lnTo>
                      <a:pt x="260890" y="178188"/>
                    </a:lnTo>
                    <a:lnTo>
                      <a:pt x="261419" y="178188"/>
                    </a:lnTo>
                    <a:lnTo>
                      <a:pt x="262037" y="179070"/>
                    </a:lnTo>
                    <a:lnTo>
                      <a:pt x="261684" y="179070"/>
                    </a:lnTo>
                    <a:close/>
                    <a:moveTo>
                      <a:pt x="258510" y="178717"/>
                    </a:moveTo>
                    <a:lnTo>
                      <a:pt x="257893" y="178100"/>
                    </a:lnTo>
                    <a:lnTo>
                      <a:pt x="258245" y="178365"/>
                    </a:lnTo>
                    <a:lnTo>
                      <a:pt x="258510" y="178717"/>
                    </a:lnTo>
                    <a:close/>
                    <a:moveTo>
                      <a:pt x="260537" y="179599"/>
                    </a:moveTo>
                    <a:lnTo>
                      <a:pt x="259920" y="179599"/>
                    </a:lnTo>
                    <a:lnTo>
                      <a:pt x="259304" y="178982"/>
                    </a:lnTo>
                    <a:lnTo>
                      <a:pt x="259304" y="178717"/>
                    </a:lnTo>
                    <a:lnTo>
                      <a:pt x="260185" y="179334"/>
                    </a:lnTo>
                    <a:lnTo>
                      <a:pt x="260537" y="179599"/>
                    </a:lnTo>
                    <a:close/>
                    <a:moveTo>
                      <a:pt x="199525" y="190708"/>
                    </a:moveTo>
                    <a:lnTo>
                      <a:pt x="198379" y="190444"/>
                    </a:lnTo>
                    <a:lnTo>
                      <a:pt x="198379" y="189827"/>
                    </a:lnTo>
                    <a:lnTo>
                      <a:pt x="198996" y="189827"/>
                    </a:lnTo>
                    <a:lnTo>
                      <a:pt x="199261" y="189209"/>
                    </a:lnTo>
                    <a:lnTo>
                      <a:pt x="198996" y="188592"/>
                    </a:lnTo>
                    <a:lnTo>
                      <a:pt x="198644" y="187710"/>
                    </a:lnTo>
                    <a:lnTo>
                      <a:pt x="199261" y="186564"/>
                    </a:lnTo>
                    <a:lnTo>
                      <a:pt x="198379" y="185947"/>
                    </a:lnTo>
                    <a:lnTo>
                      <a:pt x="197497" y="185683"/>
                    </a:lnTo>
                    <a:lnTo>
                      <a:pt x="196968" y="186564"/>
                    </a:lnTo>
                    <a:lnTo>
                      <a:pt x="196704" y="185947"/>
                    </a:lnTo>
                    <a:lnTo>
                      <a:pt x="196086" y="185065"/>
                    </a:lnTo>
                    <a:lnTo>
                      <a:pt x="195822" y="183919"/>
                    </a:lnTo>
                    <a:lnTo>
                      <a:pt x="195822" y="183302"/>
                    </a:lnTo>
                    <a:lnTo>
                      <a:pt x="195822" y="183038"/>
                    </a:lnTo>
                    <a:lnTo>
                      <a:pt x="195822" y="182156"/>
                    </a:lnTo>
                    <a:lnTo>
                      <a:pt x="195822" y="181274"/>
                    </a:lnTo>
                    <a:lnTo>
                      <a:pt x="196439" y="180393"/>
                    </a:lnTo>
                    <a:lnTo>
                      <a:pt x="196792" y="179775"/>
                    </a:lnTo>
                    <a:lnTo>
                      <a:pt x="197057" y="179511"/>
                    </a:lnTo>
                    <a:lnTo>
                      <a:pt x="197057" y="178629"/>
                    </a:lnTo>
                    <a:lnTo>
                      <a:pt x="197321" y="178012"/>
                    </a:lnTo>
                    <a:lnTo>
                      <a:pt x="197321" y="177747"/>
                    </a:lnTo>
                    <a:lnTo>
                      <a:pt x="198202" y="177747"/>
                    </a:lnTo>
                    <a:lnTo>
                      <a:pt x="198467" y="178365"/>
                    </a:lnTo>
                    <a:lnTo>
                      <a:pt x="199349" y="180657"/>
                    </a:lnTo>
                    <a:lnTo>
                      <a:pt x="199349" y="181803"/>
                    </a:lnTo>
                    <a:lnTo>
                      <a:pt x="199349" y="182685"/>
                    </a:lnTo>
                    <a:lnTo>
                      <a:pt x="199613" y="183567"/>
                    </a:lnTo>
                    <a:lnTo>
                      <a:pt x="199613" y="184184"/>
                    </a:lnTo>
                    <a:lnTo>
                      <a:pt x="199878" y="184448"/>
                    </a:lnTo>
                    <a:lnTo>
                      <a:pt x="200142" y="184448"/>
                    </a:lnTo>
                    <a:lnTo>
                      <a:pt x="199878" y="183831"/>
                    </a:lnTo>
                    <a:lnTo>
                      <a:pt x="200495" y="184096"/>
                    </a:lnTo>
                    <a:lnTo>
                      <a:pt x="201377" y="183831"/>
                    </a:lnTo>
                    <a:lnTo>
                      <a:pt x="201729" y="183567"/>
                    </a:lnTo>
                    <a:lnTo>
                      <a:pt x="202347" y="183567"/>
                    </a:lnTo>
                    <a:lnTo>
                      <a:pt x="202611" y="183831"/>
                    </a:lnTo>
                    <a:lnTo>
                      <a:pt x="202876" y="186212"/>
                    </a:lnTo>
                    <a:lnTo>
                      <a:pt x="203140" y="187622"/>
                    </a:lnTo>
                    <a:lnTo>
                      <a:pt x="202523" y="188504"/>
                    </a:lnTo>
                    <a:lnTo>
                      <a:pt x="201906" y="189121"/>
                    </a:lnTo>
                    <a:lnTo>
                      <a:pt x="201289" y="190003"/>
                    </a:lnTo>
                    <a:lnTo>
                      <a:pt x="200760" y="190267"/>
                    </a:lnTo>
                    <a:lnTo>
                      <a:pt x="200142" y="190267"/>
                    </a:lnTo>
                    <a:lnTo>
                      <a:pt x="199878" y="190532"/>
                    </a:lnTo>
                    <a:lnTo>
                      <a:pt x="199525" y="190532"/>
                    </a:lnTo>
                    <a:close/>
                    <a:moveTo>
                      <a:pt x="171576" y="189562"/>
                    </a:moveTo>
                    <a:lnTo>
                      <a:pt x="171311" y="189827"/>
                    </a:lnTo>
                    <a:lnTo>
                      <a:pt x="171311" y="189562"/>
                    </a:lnTo>
                    <a:lnTo>
                      <a:pt x="171576" y="189562"/>
                    </a:lnTo>
                    <a:close/>
                    <a:moveTo>
                      <a:pt x="51667" y="196263"/>
                    </a:moveTo>
                    <a:lnTo>
                      <a:pt x="51402" y="195998"/>
                    </a:lnTo>
                    <a:lnTo>
                      <a:pt x="50785" y="195998"/>
                    </a:lnTo>
                    <a:lnTo>
                      <a:pt x="50168" y="195734"/>
                    </a:lnTo>
                    <a:lnTo>
                      <a:pt x="49639" y="195117"/>
                    </a:lnTo>
                    <a:lnTo>
                      <a:pt x="49022" y="194588"/>
                    </a:lnTo>
                    <a:lnTo>
                      <a:pt x="49639" y="194588"/>
                    </a:lnTo>
                    <a:lnTo>
                      <a:pt x="49904" y="194323"/>
                    </a:lnTo>
                    <a:lnTo>
                      <a:pt x="50785" y="194059"/>
                    </a:lnTo>
                    <a:lnTo>
                      <a:pt x="51402" y="194059"/>
                    </a:lnTo>
                    <a:lnTo>
                      <a:pt x="51402" y="194323"/>
                    </a:lnTo>
                    <a:lnTo>
                      <a:pt x="52284" y="195469"/>
                    </a:lnTo>
                    <a:lnTo>
                      <a:pt x="52284" y="195734"/>
                    </a:lnTo>
                    <a:lnTo>
                      <a:pt x="51667" y="196263"/>
                    </a:lnTo>
                    <a:close/>
                    <a:moveTo>
                      <a:pt x="181715" y="208518"/>
                    </a:moveTo>
                    <a:lnTo>
                      <a:pt x="180833" y="207989"/>
                    </a:lnTo>
                    <a:lnTo>
                      <a:pt x="180216" y="207725"/>
                    </a:lnTo>
                    <a:lnTo>
                      <a:pt x="179864" y="207108"/>
                    </a:lnTo>
                    <a:lnTo>
                      <a:pt x="180481" y="207725"/>
                    </a:lnTo>
                    <a:lnTo>
                      <a:pt x="181098" y="207460"/>
                    </a:lnTo>
                    <a:lnTo>
                      <a:pt x="181098" y="207196"/>
                    </a:lnTo>
                    <a:lnTo>
                      <a:pt x="181715" y="207196"/>
                    </a:lnTo>
                    <a:lnTo>
                      <a:pt x="182332" y="207460"/>
                    </a:lnTo>
                    <a:lnTo>
                      <a:pt x="182597" y="207196"/>
                    </a:lnTo>
                    <a:lnTo>
                      <a:pt x="182597" y="206931"/>
                    </a:lnTo>
                    <a:lnTo>
                      <a:pt x="183214" y="207548"/>
                    </a:lnTo>
                    <a:lnTo>
                      <a:pt x="183478" y="208166"/>
                    </a:lnTo>
                    <a:lnTo>
                      <a:pt x="182861" y="208430"/>
                    </a:lnTo>
                    <a:lnTo>
                      <a:pt x="182332" y="208166"/>
                    </a:lnTo>
                    <a:lnTo>
                      <a:pt x="181715" y="208430"/>
                    </a:lnTo>
                    <a:lnTo>
                      <a:pt x="181715" y="208518"/>
                    </a:lnTo>
                    <a:close/>
                    <a:moveTo>
                      <a:pt x="117000" y="230384"/>
                    </a:moveTo>
                    <a:lnTo>
                      <a:pt x="116382" y="230120"/>
                    </a:lnTo>
                    <a:lnTo>
                      <a:pt x="116118" y="229855"/>
                    </a:lnTo>
                    <a:lnTo>
                      <a:pt x="116118" y="229590"/>
                    </a:lnTo>
                    <a:lnTo>
                      <a:pt x="115236" y="229326"/>
                    </a:lnTo>
                    <a:lnTo>
                      <a:pt x="114707" y="229326"/>
                    </a:lnTo>
                    <a:lnTo>
                      <a:pt x="114707" y="228709"/>
                    </a:lnTo>
                    <a:lnTo>
                      <a:pt x="114090" y="228180"/>
                    </a:lnTo>
                    <a:lnTo>
                      <a:pt x="114090" y="227915"/>
                    </a:lnTo>
                    <a:lnTo>
                      <a:pt x="113826" y="227298"/>
                    </a:lnTo>
                    <a:lnTo>
                      <a:pt x="114442" y="227298"/>
                    </a:lnTo>
                    <a:lnTo>
                      <a:pt x="114178" y="227034"/>
                    </a:lnTo>
                    <a:lnTo>
                      <a:pt x="114442" y="226769"/>
                    </a:lnTo>
                    <a:lnTo>
                      <a:pt x="114795" y="226152"/>
                    </a:lnTo>
                    <a:lnTo>
                      <a:pt x="115324" y="226152"/>
                    </a:lnTo>
                    <a:lnTo>
                      <a:pt x="115324" y="225887"/>
                    </a:lnTo>
                    <a:lnTo>
                      <a:pt x="115942" y="226505"/>
                    </a:lnTo>
                    <a:lnTo>
                      <a:pt x="116294" y="226505"/>
                    </a:lnTo>
                    <a:lnTo>
                      <a:pt x="116559" y="226505"/>
                    </a:lnTo>
                    <a:lnTo>
                      <a:pt x="117176" y="226769"/>
                    </a:lnTo>
                    <a:lnTo>
                      <a:pt x="117793" y="227034"/>
                    </a:lnTo>
                    <a:lnTo>
                      <a:pt x="117793" y="227298"/>
                    </a:lnTo>
                    <a:lnTo>
                      <a:pt x="118322" y="227915"/>
                    </a:lnTo>
                    <a:lnTo>
                      <a:pt x="118322" y="228180"/>
                    </a:lnTo>
                    <a:lnTo>
                      <a:pt x="118939" y="229061"/>
                    </a:lnTo>
                    <a:lnTo>
                      <a:pt x="118675" y="229679"/>
                    </a:lnTo>
                    <a:lnTo>
                      <a:pt x="118675" y="229414"/>
                    </a:lnTo>
                    <a:lnTo>
                      <a:pt x="118322" y="229150"/>
                    </a:lnTo>
                    <a:lnTo>
                      <a:pt x="118322" y="229414"/>
                    </a:lnTo>
                    <a:lnTo>
                      <a:pt x="117793" y="229679"/>
                    </a:lnTo>
                    <a:lnTo>
                      <a:pt x="118322" y="229679"/>
                    </a:lnTo>
                    <a:lnTo>
                      <a:pt x="118675" y="230296"/>
                    </a:lnTo>
                    <a:lnTo>
                      <a:pt x="118058" y="230296"/>
                    </a:lnTo>
                    <a:lnTo>
                      <a:pt x="117793" y="230296"/>
                    </a:lnTo>
                    <a:lnTo>
                      <a:pt x="117176" y="230031"/>
                    </a:lnTo>
                    <a:lnTo>
                      <a:pt x="117176" y="230296"/>
                    </a:lnTo>
                    <a:lnTo>
                      <a:pt x="117176" y="230384"/>
                    </a:lnTo>
                    <a:close/>
                    <a:moveTo>
                      <a:pt x="112591" y="234704"/>
                    </a:moveTo>
                    <a:lnTo>
                      <a:pt x="111709" y="234440"/>
                    </a:lnTo>
                    <a:lnTo>
                      <a:pt x="111180" y="234175"/>
                    </a:lnTo>
                    <a:lnTo>
                      <a:pt x="111180" y="233911"/>
                    </a:lnTo>
                    <a:lnTo>
                      <a:pt x="111180" y="233558"/>
                    </a:lnTo>
                    <a:lnTo>
                      <a:pt x="111709" y="232941"/>
                    </a:lnTo>
                    <a:lnTo>
                      <a:pt x="112062" y="232941"/>
                    </a:lnTo>
                    <a:lnTo>
                      <a:pt x="112062" y="232412"/>
                    </a:lnTo>
                    <a:lnTo>
                      <a:pt x="112679" y="232676"/>
                    </a:lnTo>
                    <a:lnTo>
                      <a:pt x="112944" y="232412"/>
                    </a:lnTo>
                    <a:lnTo>
                      <a:pt x="113561" y="232412"/>
                    </a:lnTo>
                    <a:lnTo>
                      <a:pt x="113561" y="232941"/>
                    </a:lnTo>
                    <a:lnTo>
                      <a:pt x="112944" y="233205"/>
                    </a:lnTo>
                    <a:lnTo>
                      <a:pt x="112944" y="233470"/>
                    </a:lnTo>
                    <a:lnTo>
                      <a:pt x="113208" y="234087"/>
                    </a:lnTo>
                    <a:lnTo>
                      <a:pt x="113208" y="234352"/>
                    </a:lnTo>
                    <a:lnTo>
                      <a:pt x="112591" y="234087"/>
                    </a:lnTo>
                    <a:lnTo>
                      <a:pt x="112326" y="233470"/>
                    </a:lnTo>
                    <a:lnTo>
                      <a:pt x="112062" y="233470"/>
                    </a:lnTo>
                    <a:lnTo>
                      <a:pt x="111709" y="233470"/>
                    </a:lnTo>
                    <a:lnTo>
                      <a:pt x="112062" y="234087"/>
                    </a:lnTo>
                    <a:lnTo>
                      <a:pt x="112591" y="234704"/>
                    </a:lnTo>
                    <a:close/>
                    <a:moveTo>
                      <a:pt x="114971" y="232941"/>
                    </a:moveTo>
                    <a:lnTo>
                      <a:pt x="114355" y="232412"/>
                    </a:lnTo>
                    <a:lnTo>
                      <a:pt x="114355" y="232147"/>
                    </a:lnTo>
                    <a:lnTo>
                      <a:pt x="114090" y="231883"/>
                    </a:lnTo>
                    <a:lnTo>
                      <a:pt x="113826" y="231266"/>
                    </a:lnTo>
                    <a:lnTo>
                      <a:pt x="114442" y="231530"/>
                    </a:lnTo>
                    <a:lnTo>
                      <a:pt x="114178" y="231266"/>
                    </a:lnTo>
                    <a:lnTo>
                      <a:pt x="114795" y="231001"/>
                    </a:lnTo>
                    <a:lnTo>
                      <a:pt x="115324" y="231530"/>
                    </a:lnTo>
                    <a:lnTo>
                      <a:pt x="115324" y="231795"/>
                    </a:lnTo>
                    <a:lnTo>
                      <a:pt x="115942" y="232059"/>
                    </a:lnTo>
                    <a:lnTo>
                      <a:pt x="115677" y="232059"/>
                    </a:lnTo>
                    <a:lnTo>
                      <a:pt x="115324" y="232324"/>
                    </a:lnTo>
                    <a:lnTo>
                      <a:pt x="115060" y="232324"/>
                    </a:lnTo>
                    <a:lnTo>
                      <a:pt x="115060" y="232676"/>
                    </a:lnTo>
                    <a:lnTo>
                      <a:pt x="115060" y="232941"/>
                    </a:lnTo>
                    <a:close/>
                    <a:moveTo>
                      <a:pt x="114355" y="235939"/>
                    </a:moveTo>
                    <a:lnTo>
                      <a:pt x="114090" y="235939"/>
                    </a:lnTo>
                    <a:lnTo>
                      <a:pt x="113826" y="235939"/>
                    </a:lnTo>
                    <a:lnTo>
                      <a:pt x="113561" y="235939"/>
                    </a:lnTo>
                    <a:lnTo>
                      <a:pt x="112944" y="235321"/>
                    </a:lnTo>
                    <a:lnTo>
                      <a:pt x="114442" y="235586"/>
                    </a:lnTo>
                    <a:lnTo>
                      <a:pt x="114442" y="235939"/>
                    </a:lnTo>
                    <a:close/>
                    <a:moveTo>
                      <a:pt x="167432" y="243786"/>
                    </a:moveTo>
                    <a:lnTo>
                      <a:pt x="167079" y="244050"/>
                    </a:lnTo>
                    <a:lnTo>
                      <a:pt x="167079" y="243786"/>
                    </a:lnTo>
                    <a:lnTo>
                      <a:pt x="167432" y="243786"/>
                    </a:lnTo>
                    <a:close/>
                    <a:moveTo>
                      <a:pt x="259920" y="245196"/>
                    </a:moveTo>
                    <a:lnTo>
                      <a:pt x="259920" y="245196"/>
                    </a:lnTo>
                    <a:lnTo>
                      <a:pt x="259656" y="245196"/>
                    </a:lnTo>
                    <a:lnTo>
                      <a:pt x="259920" y="245196"/>
                    </a:lnTo>
                    <a:close/>
                    <a:moveTo>
                      <a:pt x="259304" y="245813"/>
                    </a:moveTo>
                    <a:lnTo>
                      <a:pt x="259304" y="245813"/>
                    </a:lnTo>
                    <a:lnTo>
                      <a:pt x="259568" y="245813"/>
                    </a:lnTo>
                    <a:lnTo>
                      <a:pt x="259304" y="245813"/>
                    </a:lnTo>
                    <a:close/>
                    <a:moveTo>
                      <a:pt x="259920" y="246078"/>
                    </a:moveTo>
                    <a:lnTo>
                      <a:pt x="259656" y="245813"/>
                    </a:lnTo>
                    <a:lnTo>
                      <a:pt x="259920" y="245813"/>
                    </a:lnTo>
                    <a:lnTo>
                      <a:pt x="259920" y="246078"/>
                    </a:lnTo>
                    <a:close/>
                    <a:moveTo>
                      <a:pt x="266092" y="246431"/>
                    </a:moveTo>
                    <a:lnTo>
                      <a:pt x="265475" y="246431"/>
                    </a:lnTo>
                    <a:lnTo>
                      <a:pt x="266092" y="246431"/>
                    </a:lnTo>
                    <a:close/>
                    <a:moveTo>
                      <a:pt x="259920" y="247577"/>
                    </a:moveTo>
                    <a:lnTo>
                      <a:pt x="259304" y="246960"/>
                    </a:lnTo>
                    <a:lnTo>
                      <a:pt x="259304" y="246695"/>
                    </a:lnTo>
                    <a:lnTo>
                      <a:pt x="259920" y="247312"/>
                    </a:lnTo>
                    <a:lnTo>
                      <a:pt x="259920" y="247577"/>
                    </a:lnTo>
                    <a:close/>
                    <a:moveTo>
                      <a:pt x="259656" y="248194"/>
                    </a:moveTo>
                    <a:lnTo>
                      <a:pt x="259391" y="247929"/>
                    </a:lnTo>
                    <a:lnTo>
                      <a:pt x="259656" y="248194"/>
                    </a:lnTo>
                    <a:close/>
                    <a:moveTo>
                      <a:pt x="259304" y="248194"/>
                    </a:moveTo>
                    <a:lnTo>
                      <a:pt x="259304" y="248458"/>
                    </a:lnTo>
                    <a:lnTo>
                      <a:pt x="259304" y="248194"/>
                    </a:lnTo>
                    <a:close/>
                    <a:moveTo>
                      <a:pt x="259656" y="248723"/>
                    </a:moveTo>
                    <a:lnTo>
                      <a:pt x="259391" y="248458"/>
                    </a:lnTo>
                    <a:lnTo>
                      <a:pt x="260008" y="248194"/>
                    </a:lnTo>
                    <a:lnTo>
                      <a:pt x="260008" y="248458"/>
                    </a:lnTo>
                    <a:lnTo>
                      <a:pt x="259656" y="248723"/>
                    </a:lnTo>
                    <a:close/>
                    <a:moveTo>
                      <a:pt x="259039" y="248458"/>
                    </a:moveTo>
                    <a:lnTo>
                      <a:pt x="259039" y="248458"/>
                    </a:lnTo>
                    <a:lnTo>
                      <a:pt x="259039" y="248194"/>
                    </a:lnTo>
                    <a:lnTo>
                      <a:pt x="259039" y="248458"/>
                    </a:lnTo>
                    <a:close/>
                    <a:moveTo>
                      <a:pt x="259304" y="249076"/>
                    </a:moveTo>
                    <a:lnTo>
                      <a:pt x="258686" y="249076"/>
                    </a:lnTo>
                    <a:lnTo>
                      <a:pt x="258950" y="248811"/>
                    </a:lnTo>
                    <a:lnTo>
                      <a:pt x="259215" y="248811"/>
                    </a:lnTo>
                    <a:lnTo>
                      <a:pt x="259215" y="249076"/>
                    </a:lnTo>
                    <a:close/>
                    <a:moveTo>
                      <a:pt x="258775" y="249340"/>
                    </a:moveTo>
                    <a:lnTo>
                      <a:pt x="258510" y="249340"/>
                    </a:lnTo>
                    <a:lnTo>
                      <a:pt x="258775" y="249076"/>
                    </a:lnTo>
                    <a:lnTo>
                      <a:pt x="258775" y="249340"/>
                    </a:lnTo>
                    <a:close/>
                    <a:moveTo>
                      <a:pt x="204815" y="259832"/>
                    </a:moveTo>
                    <a:lnTo>
                      <a:pt x="204551" y="259832"/>
                    </a:lnTo>
                    <a:lnTo>
                      <a:pt x="204198" y="259479"/>
                    </a:lnTo>
                    <a:lnTo>
                      <a:pt x="204815" y="259832"/>
                    </a:lnTo>
                    <a:close/>
                    <a:moveTo>
                      <a:pt x="204198" y="260097"/>
                    </a:moveTo>
                    <a:lnTo>
                      <a:pt x="203934" y="259479"/>
                    </a:lnTo>
                    <a:lnTo>
                      <a:pt x="204551" y="260097"/>
                    </a:lnTo>
                    <a:lnTo>
                      <a:pt x="204198" y="260097"/>
                    </a:lnTo>
                    <a:close/>
                    <a:moveTo>
                      <a:pt x="253220" y="260097"/>
                    </a:moveTo>
                    <a:lnTo>
                      <a:pt x="252955" y="259832"/>
                    </a:lnTo>
                    <a:lnTo>
                      <a:pt x="253220" y="259832"/>
                    </a:lnTo>
                    <a:lnTo>
                      <a:pt x="253220" y="260097"/>
                    </a:lnTo>
                    <a:close/>
                    <a:moveTo>
                      <a:pt x="102452" y="265122"/>
                    </a:moveTo>
                    <a:lnTo>
                      <a:pt x="102187" y="265122"/>
                    </a:lnTo>
                    <a:lnTo>
                      <a:pt x="102452" y="265122"/>
                    </a:lnTo>
                    <a:close/>
                    <a:moveTo>
                      <a:pt x="88962" y="265651"/>
                    </a:moveTo>
                    <a:lnTo>
                      <a:pt x="88609" y="265387"/>
                    </a:lnTo>
                    <a:lnTo>
                      <a:pt x="87992" y="264770"/>
                    </a:lnTo>
                    <a:lnTo>
                      <a:pt x="88609" y="264770"/>
                    </a:lnTo>
                    <a:lnTo>
                      <a:pt x="88962" y="265034"/>
                    </a:lnTo>
                    <a:lnTo>
                      <a:pt x="89226" y="265299"/>
                    </a:lnTo>
                    <a:lnTo>
                      <a:pt x="88962" y="265651"/>
                    </a:lnTo>
                    <a:close/>
                    <a:moveTo>
                      <a:pt x="176249" y="268296"/>
                    </a:moveTo>
                    <a:lnTo>
                      <a:pt x="175896" y="268296"/>
                    </a:lnTo>
                    <a:lnTo>
                      <a:pt x="176249" y="268296"/>
                    </a:lnTo>
                    <a:close/>
                    <a:moveTo>
                      <a:pt x="154647" y="268296"/>
                    </a:moveTo>
                    <a:lnTo>
                      <a:pt x="154030" y="268296"/>
                    </a:lnTo>
                    <a:lnTo>
                      <a:pt x="154295" y="268296"/>
                    </a:lnTo>
                    <a:lnTo>
                      <a:pt x="154647" y="268296"/>
                    </a:lnTo>
                    <a:close/>
                    <a:moveTo>
                      <a:pt x="155177" y="268561"/>
                    </a:moveTo>
                    <a:lnTo>
                      <a:pt x="154912" y="268296"/>
                    </a:lnTo>
                    <a:lnTo>
                      <a:pt x="154647" y="268032"/>
                    </a:lnTo>
                    <a:lnTo>
                      <a:pt x="154912" y="267767"/>
                    </a:lnTo>
                    <a:lnTo>
                      <a:pt x="155529" y="268032"/>
                    </a:lnTo>
                    <a:lnTo>
                      <a:pt x="156058" y="268296"/>
                    </a:lnTo>
                    <a:lnTo>
                      <a:pt x="155793" y="268296"/>
                    </a:lnTo>
                    <a:lnTo>
                      <a:pt x="155529" y="268296"/>
                    </a:lnTo>
                    <a:lnTo>
                      <a:pt x="155177" y="268296"/>
                    </a:lnTo>
                    <a:lnTo>
                      <a:pt x="154912" y="268561"/>
                    </a:lnTo>
                    <a:lnTo>
                      <a:pt x="155177" y="268561"/>
                    </a:lnTo>
                    <a:close/>
                    <a:moveTo>
                      <a:pt x="166903" y="268561"/>
                    </a:moveTo>
                    <a:lnTo>
                      <a:pt x="166638" y="268296"/>
                    </a:lnTo>
                    <a:lnTo>
                      <a:pt x="166903" y="268296"/>
                    </a:lnTo>
                    <a:lnTo>
                      <a:pt x="166903" y="268561"/>
                    </a:lnTo>
                    <a:close/>
                    <a:moveTo>
                      <a:pt x="154647" y="268825"/>
                    </a:moveTo>
                    <a:lnTo>
                      <a:pt x="154383" y="268208"/>
                    </a:lnTo>
                    <a:lnTo>
                      <a:pt x="154647" y="268473"/>
                    </a:lnTo>
                    <a:lnTo>
                      <a:pt x="154647" y="268825"/>
                    </a:lnTo>
                    <a:close/>
                    <a:moveTo>
                      <a:pt x="167432" y="268561"/>
                    </a:moveTo>
                    <a:lnTo>
                      <a:pt x="167079" y="268825"/>
                    </a:lnTo>
                    <a:lnTo>
                      <a:pt x="167079" y="268561"/>
                    </a:lnTo>
                    <a:lnTo>
                      <a:pt x="167432" y="268561"/>
                    </a:lnTo>
                    <a:close/>
                    <a:moveTo>
                      <a:pt x="155529" y="268825"/>
                    </a:moveTo>
                    <a:lnTo>
                      <a:pt x="155177" y="268825"/>
                    </a:lnTo>
                    <a:lnTo>
                      <a:pt x="155529" y="268825"/>
                    </a:lnTo>
                    <a:close/>
                    <a:moveTo>
                      <a:pt x="263095" y="268825"/>
                    </a:moveTo>
                    <a:lnTo>
                      <a:pt x="262213" y="268825"/>
                    </a:lnTo>
                    <a:lnTo>
                      <a:pt x="261066" y="268561"/>
                    </a:lnTo>
                    <a:lnTo>
                      <a:pt x="260449" y="267679"/>
                    </a:lnTo>
                    <a:lnTo>
                      <a:pt x="260097" y="267062"/>
                    </a:lnTo>
                    <a:lnTo>
                      <a:pt x="259832" y="265916"/>
                    </a:lnTo>
                    <a:lnTo>
                      <a:pt x="260449" y="266180"/>
                    </a:lnTo>
                    <a:lnTo>
                      <a:pt x="261331" y="266180"/>
                    </a:lnTo>
                    <a:lnTo>
                      <a:pt x="262213" y="267326"/>
                    </a:lnTo>
                    <a:lnTo>
                      <a:pt x="262830" y="268208"/>
                    </a:lnTo>
                    <a:lnTo>
                      <a:pt x="263095" y="268825"/>
                    </a:lnTo>
                    <a:close/>
                    <a:moveTo>
                      <a:pt x="154295" y="269178"/>
                    </a:moveTo>
                    <a:lnTo>
                      <a:pt x="154030" y="269178"/>
                    </a:lnTo>
                    <a:lnTo>
                      <a:pt x="154647" y="268914"/>
                    </a:lnTo>
                    <a:lnTo>
                      <a:pt x="154912" y="268914"/>
                    </a:lnTo>
                    <a:lnTo>
                      <a:pt x="154647" y="269178"/>
                    </a:lnTo>
                    <a:lnTo>
                      <a:pt x="154295" y="269178"/>
                    </a:lnTo>
                    <a:close/>
                    <a:moveTo>
                      <a:pt x="160731" y="269443"/>
                    </a:moveTo>
                    <a:lnTo>
                      <a:pt x="159849" y="269178"/>
                    </a:lnTo>
                    <a:lnTo>
                      <a:pt x="160202" y="269178"/>
                    </a:lnTo>
                    <a:lnTo>
                      <a:pt x="160731" y="269443"/>
                    </a:lnTo>
                    <a:close/>
                    <a:moveTo>
                      <a:pt x="174750" y="269443"/>
                    </a:moveTo>
                    <a:lnTo>
                      <a:pt x="174485" y="269178"/>
                    </a:lnTo>
                    <a:lnTo>
                      <a:pt x="174750" y="268914"/>
                    </a:lnTo>
                    <a:lnTo>
                      <a:pt x="174750" y="269178"/>
                    </a:lnTo>
                    <a:lnTo>
                      <a:pt x="175015" y="269178"/>
                    </a:lnTo>
                    <a:lnTo>
                      <a:pt x="174750" y="269443"/>
                    </a:lnTo>
                    <a:close/>
                    <a:moveTo>
                      <a:pt x="159585" y="269707"/>
                    </a:moveTo>
                    <a:lnTo>
                      <a:pt x="159320" y="269443"/>
                    </a:lnTo>
                    <a:lnTo>
                      <a:pt x="159585" y="269443"/>
                    </a:lnTo>
                    <a:lnTo>
                      <a:pt x="160202" y="270060"/>
                    </a:lnTo>
                    <a:lnTo>
                      <a:pt x="159849" y="270060"/>
                    </a:lnTo>
                    <a:lnTo>
                      <a:pt x="159585" y="269707"/>
                    </a:lnTo>
                    <a:close/>
                    <a:moveTo>
                      <a:pt x="161613" y="269707"/>
                    </a:moveTo>
                    <a:lnTo>
                      <a:pt x="160996" y="269090"/>
                    </a:lnTo>
                    <a:lnTo>
                      <a:pt x="161613" y="269090"/>
                    </a:lnTo>
                    <a:lnTo>
                      <a:pt x="161613" y="269707"/>
                    </a:lnTo>
                    <a:close/>
                    <a:moveTo>
                      <a:pt x="160467" y="270060"/>
                    </a:moveTo>
                    <a:lnTo>
                      <a:pt x="160202" y="269795"/>
                    </a:lnTo>
                    <a:lnTo>
                      <a:pt x="160202" y="269531"/>
                    </a:lnTo>
                    <a:lnTo>
                      <a:pt x="160467" y="270060"/>
                    </a:lnTo>
                    <a:close/>
                    <a:moveTo>
                      <a:pt x="179687" y="270324"/>
                    </a:moveTo>
                    <a:lnTo>
                      <a:pt x="179423" y="270060"/>
                    </a:lnTo>
                    <a:lnTo>
                      <a:pt x="179423" y="269795"/>
                    </a:lnTo>
                    <a:lnTo>
                      <a:pt x="179687" y="270060"/>
                    </a:lnTo>
                    <a:lnTo>
                      <a:pt x="179687" y="270324"/>
                    </a:lnTo>
                    <a:close/>
                    <a:moveTo>
                      <a:pt x="153766" y="270941"/>
                    </a:moveTo>
                    <a:lnTo>
                      <a:pt x="153766" y="270677"/>
                    </a:lnTo>
                    <a:lnTo>
                      <a:pt x="154030" y="270677"/>
                    </a:lnTo>
                    <a:lnTo>
                      <a:pt x="153766" y="270941"/>
                    </a:lnTo>
                    <a:close/>
                    <a:moveTo>
                      <a:pt x="213279" y="272352"/>
                    </a:moveTo>
                    <a:lnTo>
                      <a:pt x="213015" y="272352"/>
                    </a:lnTo>
                    <a:lnTo>
                      <a:pt x="213015" y="272088"/>
                    </a:lnTo>
                    <a:lnTo>
                      <a:pt x="213279" y="272352"/>
                    </a:lnTo>
                    <a:close/>
                    <a:moveTo>
                      <a:pt x="180569" y="272969"/>
                    </a:moveTo>
                    <a:lnTo>
                      <a:pt x="180304" y="272705"/>
                    </a:lnTo>
                    <a:lnTo>
                      <a:pt x="179952" y="272440"/>
                    </a:lnTo>
                    <a:lnTo>
                      <a:pt x="180569" y="272440"/>
                    </a:lnTo>
                    <a:lnTo>
                      <a:pt x="180569" y="272176"/>
                    </a:lnTo>
                    <a:lnTo>
                      <a:pt x="180569" y="272793"/>
                    </a:lnTo>
                    <a:lnTo>
                      <a:pt x="180569" y="272969"/>
                    </a:lnTo>
                    <a:close/>
                    <a:moveTo>
                      <a:pt x="210899" y="273234"/>
                    </a:moveTo>
                    <a:lnTo>
                      <a:pt x="210634" y="273234"/>
                    </a:lnTo>
                    <a:lnTo>
                      <a:pt x="210899" y="272617"/>
                    </a:lnTo>
                    <a:lnTo>
                      <a:pt x="211163" y="272617"/>
                    </a:lnTo>
                    <a:lnTo>
                      <a:pt x="211428" y="272617"/>
                    </a:lnTo>
                    <a:lnTo>
                      <a:pt x="211692" y="272881"/>
                    </a:lnTo>
                    <a:lnTo>
                      <a:pt x="211428" y="272881"/>
                    </a:lnTo>
                    <a:lnTo>
                      <a:pt x="211163" y="273146"/>
                    </a:lnTo>
                    <a:lnTo>
                      <a:pt x="210899" y="273146"/>
                    </a:lnTo>
                    <a:close/>
                    <a:moveTo>
                      <a:pt x="261684" y="272969"/>
                    </a:moveTo>
                    <a:lnTo>
                      <a:pt x="261331" y="273234"/>
                    </a:lnTo>
                    <a:lnTo>
                      <a:pt x="261684" y="272617"/>
                    </a:lnTo>
                    <a:lnTo>
                      <a:pt x="261684" y="272969"/>
                    </a:lnTo>
                    <a:close/>
                    <a:moveTo>
                      <a:pt x="96633" y="273234"/>
                    </a:moveTo>
                    <a:lnTo>
                      <a:pt x="96368" y="273234"/>
                    </a:lnTo>
                    <a:lnTo>
                      <a:pt x="96368" y="272969"/>
                    </a:lnTo>
                    <a:lnTo>
                      <a:pt x="96633" y="273234"/>
                    </a:lnTo>
                    <a:close/>
                    <a:moveTo>
                      <a:pt x="94252" y="273498"/>
                    </a:moveTo>
                    <a:lnTo>
                      <a:pt x="94252" y="272881"/>
                    </a:lnTo>
                    <a:lnTo>
                      <a:pt x="94517" y="273498"/>
                    </a:lnTo>
                    <a:lnTo>
                      <a:pt x="94252" y="273498"/>
                    </a:lnTo>
                    <a:close/>
                    <a:moveTo>
                      <a:pt x="97426" y="273851"/>
                    </a:moveTo>
                    <a:lnTo>
                      <a:pt x="96897" y="273851"/>
                    </a:lnTo>
                    <a:lnTo>
                      <a:pt x="97162" y="273234"/>
                    </a:lnTo>
                    <a:lnTo>
                      <a:pt x="97426" y="273851"/>
                    </a:lnTo>
                    <a:close/>
                    <a:moveTo>
                      <a:pt x="150856" y="273498"/>
                    </a:moveTo>
                    <a:lnTo>
                      <a:pt x="150592" y="273498"/>
                    </a:lnTo>
                    <a:lnTo>
                      <a:pt x="150592" y="273234"/>
                    </a:lnTo>
                    <a:lnTo>
                      <a:pt x="150856" y="273498"/>
                    </a:lnTo>
                    <a:close/>
                    <a:moveTo>
                      <a:pt x="152002" y="274115"/>
                    </a:moveTo>
                    <a:lnTo>
                      <a:pt x="151738" y="273851"/>
                    </a:lnTo>
                    <a:lnTo>
                      <a:pt x="152002" y="274115"/>
                    </a:lnTo>
                    <a:close/>
                    <a:moveTo>
                      <a:pt x="211781" y="274115"/>
                    </a:moveTo>
                    <a:lnTo>
                      <a:pt x="211516" y="273851"/>
                    </a:lnTo>
                    <a:lnTo>
                      <a:pt x="212133" y="273234"/>
                    </a:lnTo>
                    <a:lnTo>
                      <a:pt x="212133" y="273851"/>
                    </a:lnTo>
                    <a:lnTo>
                      <a:pt x="211781" y="274115"/>
                    </a:lnTo>
                    <a:close/>
                    <a:moveTo>
                      <a:pt x="141158" y="274115"/>
                    </a:moveTo>
                    <a:lnTo>
                      <a:pt x="140893" y="274115"/>
                    </a:lnTo>
                    <a:lnTo>
                      <a:pt x="141158" y="274115"/>
                    </a:lnTo>
                    <a:close/>
                    <a:moveTo>
                      <a:pt x="262566" y="274380"/>
                    </a:moveTo>
                    <a:lnTo>
                      <a:pt x="262301" y="274380"/>
                    </a:lnTo>
                    <a:lnTo>
                      <a:pt x="262301" y="274115"/>
                    </a:lnTo>
                    <a:lnTo>
                      <a:pt x="262566" y="274380"/>
                    </a:lnTo>
                    <a:close/>
                    <a:moveTo>
                      <a:pt x="141158" y="274997"/>
                    </a:moveTo>
                    <a:lnTo>
                      <a:pt x="140893" y="274733"/>
                    </a:lnTo>
                    <a:lnTo>
                      <a:pt x="141158" y="274468"/>
                    </a:lnTo>
                    <a:lnTo>
                      <a:pt x="141775" y="274468"/>
                    </a:lnTo>
                    <a:lnTo>
                      <a:pt x="141510" y="274733"/>
                    </a:lnTo>
                    <a:lnTo>
                      <a:pt x="141158" y="274997"/>
                    </a:lnTo>
                    <a:close/>
                    <a:moveTo>
                      <a:pt x="151738" y="274380"/>
                    </a:moveTo>
                    <a:lnTo>
                      <a:pt x="151738" y="274380"/>
                    </a:lnTo>
                    <a:lnTo>
                      <a:pt x="151738" y="274115"/>
                    </a:lnTo>
                    <a:lnTo>
                      <a:pt x="151738" y="274380"/>
                    </a:lnTo>
                    <a:close/>
                    <a:moveTo>
                      <a:pt x="151738" y="274997"/>
                    </a:moveTo>
                    <a:lnTo>
                      <a:pt x="151121" y="274733"/>
                    </a:lnTo>
                    <a:lnTo>
                      <a:pt x="150856" y="274115"/>
                    </a:lnTo>
                    <a:lnTo>
                      <a:pt x="151121" y="274115"/>
                    </a:lnTo>
                    <a:lnTo>
                      <a:pt x="151738" y="274733"/>
                    </a:lnTo>
                    <a:lnTo>
                      <a:pt x="152002" y="274733"/>
                    </a:lnTo>
                    <a:lnTo>
                      <a:pt x="151738" y="274997"/>
                    </a:lnTo>
                    <a:close/>
                    <a:moveTo>
                      <a:pt x="141775" y="275614"/>
                    </a:moveTo>
                    <a:lnTo>
                      <a:pt x="141775" y="275350"/>
                    </a:lnTo>
                    <a:lnTo>
                      <a:pt x="141775" y="275614"/>
                    </a:lnTo>
                    <a:close/>
                    <a:moveTo>
                      <a:pt x="263447" y="277642"/>
                    </a:moveTo>
                    <a:lnTo>
                      <a:pt x="262566" y="277113"/>
                    </a:lnTo>
                    <a:lnTo>
                      <a:pt x="262566" y="275967"/>
                    </a:lnTo>
                    <a:lnTo>
                      <a:pt x="262566" y="275350"/>
                    </a:lnTo>
                    <a:lnTo>
                      <a:pt x="262830" y="275614"/>
                    </a:lnTo>
                    <a:lnTo>
                      <a:pt x="263095" y="276496"/>
                    </a:lnTo>
                    <a:lnTo>
                      <a:pt x="263447" y="277642"/>
                    </a:lnTo>
                    <a:close/>
                    <a:moveTo>
                      <a:pt x="147330" y="275614"/>
                    </a:moveTo>
                    <a:lnTo>
                      <a:pt x="147330" y="275614"/>
                    </a:lnTo>
                    <a:lnTo>
                      <a:pt x="147330" y="275350"/>
                    </a:lnTo>
                    <a:lnTo>
                      <a:pt x="147330" y="275614"/>
                    </a:lnTo>
                    <a:close/>
                    <a:moveTo>
                      <a:pt x="148211" y="275614"/>
                    </a:moveTo>
                    <a:lnTo>
                      <a:pt x="147947" y="275614"/>
                    </a:lnTo>
                    <a:lnTo>
                      <a:pt x="147947" y="275350"/>
                    </a:lnTo>
                    <a:lnTo>
                      <a:pt x="148211" y="275614"/>
                    </a:lnTo>
                    <a:close/>
                    <a:moveTo>
                      <a:pt x="95133" y="275879"/>
                    </a:moveTo>
                    <a:lnTo>
                      <a:pt x="95133" y="275879"/>
                    </a:lnTo>
                    <a:lnTo>
                      <a:pt x="95133" y="275614"/>
                    </a:lnTo>
                    <a:lnTo>
                      <a:pt x="95133" y="275879"/>
                    </a:lnTo>
                    <a:close/>
                    <a:moveTo>
                      <a:pt x="142392" y="276143"/>
                    </a:moveTo>
                    <a:lnTo>
                      <a:pt x="142127" y="275879"/>
                    </a:lnTo>
                    <a:lnTo>
                      <a:pt x="142127" y="275614"/>
                    </a:lnTo>
                    <a:lnTo>
                      <a:pt x="142392" y="276143"/>
                    </a:lnTo>
                    <a:close/>
                    <a:moveTo>
                      <a:pt x="146712" y="277290"/>
                    </a:moveTo>
                    <a:lnTo>
                      <a:pt x="146095" y="277025"/>
                    </a:lnTo>
                    <a:lnTo>
                      <a:pt x="146095" y="276761"/>
                    </a:lnTo>
                    <a:lnTo>
                      <a:pt x="146360" y="276496"/>
                    </a:lnTo>
                    <a:lnTo>
                      <a:pt x="146624" y="276496"/>
                    </a:lnTo>
                    <a:lnTo>
                      <a:pt x="146624" y="277113"/>
                    </a:lnTo>
                    <a:lnTo>
                      <a:pt x="146624" y="277290"/>
                    </a:lnTo>
                    <a:close/>
                    <a:moveTo>
                      <a:pt x="145566" y="276143"/>
                    </a:moveTo>
                    <a:lnTo>
                      <a:pt x="144949" y="275879"/>
                    </a:lnTo>
                    <a:lnTo>
                      <a:pt x="145301" y="275879"/>
                    </a:lnTo>
                    <a:lnTo>
                      <a:pt x="145566" y="276143"/>
                    </a:lnTo>
                    <a:close/>
                    <a:moveTo>
                      <a:pt x="147947" y="276761"/>
                    </a:moveTo>
                    <a:lnTo>
                      <a:pt x="147682" y="276496"/>
                    </a:lnTo>
                    <a:lnTo>
                      <a:pt x="147330" y="276232"/>
                    </a:lnTo>
                    <a:lnTo>
                      <a:pt x="147947" y="276232"/>
                    </a:lnTo>
                    <a:lnTo>
                      <a:pt x="148211" y="276496"/>
                    </a:lnTo>
                    <a:lnTo>
                      <a:pt x="147947" y="276761"/>
                    </a:lnTo>
                    <a:close/>
                    <a:moveTo>
                      <a:pt x="148828" y="276496"/>
                    </a:moveTo>
                    <a:lnTo>
                      <a:pt x="148828" y="276496"/>
                    </a:lnTo>
                    <a:lnTo>
                      <a:pt x="148828" y="276232"/>
                    </a:lnTo>
                    <a:lnTo>
                      <a:pt x="148828" y="276496"/>
                    </a:lnTo>
                    <a:close/>
                    <a:moveTo>
                      <a:pt x="145301" y="276761"/>
                    </a:moveTo>
                    <a:lnTo>
                      <a:pt x="145301" y="276761"/>
                    </a:lnTo>
                    <a:lnTo>
                      <a:pt x="145301" y="276496"/>
                    </a:lnTo>
                    <a:lnTo>
                      <a:pt x="145301" y="276761"/>
                    </a:lnTo>
                    <a:close/>
                    <a:moveTo>
                      <a:pt x="144156" y="276761"/>
                    </a:moveTo>
                    <a:lnTo>
                      <a:pt x="144156" y="276761"/>
                    </a:lnTo>
                    <a:lnTo>
                      <a:pt x="143891" y="276496"/>
                    </a:lnTo>
                    <a:lnTo>
                      <a:pt x="144156" y="276761"/>
                    </a:lnTo>
                    <a:close/>
                    <a:moveTo>
                      <a:pt x="137719" y="276761"/>
                    </a:moveTo>
                    <a:lnTo>
                      <a:pt x="137102" y="276761"/>
                    </a:lnTo>
                    <a:lnTo>
                      <a:pt x="137102" y="276496"/>
                    </a:lnTo>
                    <a:lnTo>
                      <a:pt x="137719" y="276761"/>
                    </a:lnTo>
                    <a:close/>
                    <a:moveTo>
                      <a:pt x="135339" y="276496"/>
                    </a:moveTo>
                    <a:lnTo>
                      <a:pt x="135074" y="276761"/>
                    </a:lnTo>
                    <a:lnTo>
                      <a:pt x="135074" y="276496"/>
                    </a:lnTo>
                    <a:lnTo>
                      <a:pt x="135339" y="276496"/>
                    </a:lnTo>
                    <a:close/>
                    <a:moveTo>
                      <a:pt x="143274" y="276761"/>
                    </a:moveTo>
                    <a:lnTo>
                      <a:pt x="143009" y="276761"/>
                    </a:lnTo>
                    <a:lnTo>
                      <a:pt x="142745" y="276143"/>
                    </a:lnTo>
                    <a:lnTo>
                      <a:pt x="143009" y="275879"/>
                    </a:lnTo>
                    <a:lnTo>
                      <a:pt x="143274" y="276143"/>
                    </a:lnTo>
                    <a:lnTo>
                      <a:pt x="143274" y="276761"/>
                    </a:lnTo>
                    <a:close/>
                    <a:moveTo>
                      <a:pt x="87199" y="277642"/>
                    </a:moveTo>
                    <a:lnTo>
                      <a:pt x="86581" y="277378"/>
                    </a:lnTo>
                    <a:lnTo>
                      <a:pt x="87199" y="277113"/>
                    </a:lnTo>
                    <a:lnTo>
                      <a:pt x="87551" y="277113"/>
                    </a:lnTo>
                    <a:lnTo>
                      <a:pt x="87551" y="277378"/>
                    </a:lnTo>
                    <a:lnTo>
                      <a:pt x="87199" y="277642"/>
                    </a:lnTo>
                    <a:close/>
                    <a:moveTo>
                      <a:pt x="138601" y="277642"/>
                    </a:moveTo>
                    <a:lnTo>
                      <a:pt x="137984" y="277113"/>
                    </a:lnTo>
                    <a:lnTo>
                      <a:pt x="138248" y="276849"/>
                    </a:lnTo>
                    <a:lnTo>
                      <a:pt x="138513" y="277113"/>
                    </a:lnTo>
                    <a:lnTo>
                      <a:pt x="139130" y="277113"/>
                    </a:lnTo>
                    <a:lnTo>
                      <a:pt x="138601" y="277642"/>
                    </a:lnTo>
                    <a:close/>
                    <a:moveTo>
                      <a:pt x="134809" y="277025"/>
                    </a:moveTo>
                    <a:lnTo>
                      <a:pt x="134809" y="277025"/>
                    </a:lnTo>
                    <a:lnTo>
                      <a:pt x="134809" y="276761"/>
                    </a:lnTo>
                    <a:lnTo>
                      <a:pt x="134809" y="277025"/>
                    </a:lnTo>
                    <a:close/>
                    <a:moveTo>
                      <a:pt x="148476" y="277025"/>
                    </a:moveTo>
                    <a:lnTo>
                      <a:pt x="148211" y="277025"/>
                    </a:lnTo>
                    <a:lnTo>
                      <a:pt x="148476" y="277025"/>
                    </a:lnTo>
                    <a:close/>
                    <a:moveTo>
                      <a:pt x="144156" y="277290"/>
                    </a:moveTo>
                    <a:lnTo>
                      <a:pt x="143891" y="277025"/>
                    </a:lnTo>
                    <a:lnTo>
                      <a:pt x="144508" y="277025"/>
                    </a:lnTo>
                    <a:lnTo>
                      <a:pt x="144156" y="277290"/>
                    </a:lnTo>
                    <a:close/>
                    <a:moveTo>
                      <a:pt x="136220" y="277025"/>
                    </a:moveTo>
                    <a:lnTo>
                      <a:pt x="135603" y="277025"/>
                    </a:lnTo>
                    <a:lnTo>
                      <a:pt x="135339" y="276761"/>
                    </a:lnTo>
                    <a:lnTo>
                      <a:pt x="135074" y="276496"/>
                    </a:lnTo>
                    <a:lnTo>
                      <a:pt x="135691" y="275879"/>
                    </a:lnTo>
                    <a:lnTo>
                      <a:pt x="136573" y="276143"/>
                    </a:lnTo>
                    <a:lnTo>
                      <a:pt x="136573" y="276408"/>
                    </a:lnTo>
                    <a:lnTo>
                      <a:pt x="136220" y="277025"/>
                    </a:lnTo>
                    <a:close/>
                    <a:moveTo>
                      <a:pt x="134809" y="278171"/>
                    </a:moveTo>
                    <a:lnTo>
                      <a:pt x="134193" y="277554"/>
                    </a:lnTo>
                    <a:lnTo>
                      <a:pt x="134193" y="277025"/>
                    </a:lnTo>
                    <a:lnTo>
                      <a:pt x="134809" y="277554"/>
                    </a:lnTo>
                    <a:lnTo>
                      <a:pt x="134809" y="278171"/>
                    </a:lnTo>
                    <a:close/>
                    <a:moveTo>
                      <a:pt x="137984" y="277642"/>
                    </a:moveTo>
                    <a:lnTo>
                      <a:pt x="137719" y="277642"/>
                    </a:lnTo>
                    <a:lnTo>
                      <a:pt x="137984" y="277378"/>
                    </a:lnTo>
                    <a:lnTo>
                      <a:pt x="137984" y="277642"/>
                    </a:lnTo>
                    <a:close/>
                    <a:moveTo>
                      <a:pt x="145301" y="277907"/>
                    </a:moveTo>
                    <a:lnTo>
                      <a:pt x="145301" y="277642"/>
                    </a:lnTo>
                    <a:lnTo>
                      <a:pt x="144949" y="277378"/>
                    </a:lnTo>
                    <a:lnTo>
                      <a:pt x="145301" y="277907"/>
                    </a:lnTo>
                    <a:close/>
                    <a:moveTo>
                      <a:pt x="141510" y="277642"/>
                    </a:moveTo>
                    <a:lnTo>
                      <a:pt x="141246" y="277642"/>
                    </a:lnTo>
                    <a:lnTo>
                      <a:pt x="141510" y="277378"/>
                    </a:lnTo>
                    <a:lnTo>
                      <a:pt x="141510" y="277642"/>
                    </a:lnTo>
                    <a:close/>
                    <a:moveTo>
                      <a:pt x="142921" y="277642"/>
                    </a:moveTo>
                    <a:lnTo>
                      <a:pt x="142656" y="277642"/>
                    </a:lnTo>
                    <a:lnTo>
                      <a:pt x="142656" y="277378"/>
                    </a:lnTo>
                    <a:lnTo>
                      <a:pt x="142921" y="277642"/>
                    </a:lnTo>
                    <a:close/>
                    <a:moveTo>
                      <a:pt x="121320" y="277907"/>
                    </a:moveTo>
                    <a:lnTo>
                      <a:pt x="121055" y="277290"/>
                    </a:lnTo>
                    <a:lnTo>
                      <a:pt x="121320" y="277554"/>
                    </a:lnTo>
                    <a:lnTo>
                      <a:pt x="121320" y="277907"/>
                    </a:lnTo>
                    <a:close/>
                    <a:moveTo>
                      <a:pt x="137102" y="279406"/>
                    </a:moveTo>
                    <a:lnTo>
                      <a:pt x="136220" y="278788"/>
                    </a:lnTo>
                    <a:lnTo>
                      <a:pt x="135074" y="277907"/>
                    </a:lnTo>
                    <a:lnTo>
                      <a:pt x="134809" y="277290"/>
                    </a:lnTo>
                    <a:lnTo>
                      <a:pt x="135074" y="277025"/>
                    </a:lnTo>
                    <a:lnTo>
                      <a:pt x="135339" y="277025"/>
                    </a:lnTo>
                    <a:lnTo>
                      <a:pt x="135603" y="277290"/>
                    </a:lnTo>
                    <a:lnTo>
                      <a:pt x="136220" y="277907"/>
                    </a:lnTo>
                    <a:lnTo>
                      <a:pt x="136838" y="278171"/>
                    </a:lnTo>
                    <a:lnTo>
                      <a:pt x="136573" y="278436"/>
                    </a:lnTo>
                    <a:lnTo>
                      <a:pt x="136838" y="279053"/>
                    </a:lnTo>
                    <a:lnTo>
                      <a:pt x="137102" y="279406"/>
                    </a:lnTo>
                    <a:close/>
                    <a:moveTo>
                      <a:pt x="146712" y="278171"/>
                    </a:moveTo>
                    <a:lnTo>
                      <a:pt x="146448" y="278436"/>
                    </a:lnTo>
                    <a:lnTo>
                      <a:pt x="146712" y="278171"/>
                    </a:lnTo>
                    <a:close/>
                    <a:moveTo>
                      <a:pt x="131547" y="278524"/>
                    </a:moveTo>
                    <a:lnTo>
                      <a:pt x="131018" y="277907"/>
                    </a:lnTo>
                    <a:lnTo>
                      <a:pt x="131283" y="277907"/>
                    </a:lnTo>
                    <a:lnTo>
                      <a:pt x="131547" y="278524"/>
                    </a:lnTo>
                    <a:close/>
                    <a:moveTo>
                      <a:pt x="262566" y="278171"/>
                    </a:moveTo>
                    <a:lnTo>
                      <a:pt x="262301" y="278171"/>
                    </a:lnTo>
                    <a:lnTo>
                      <a:pt x="262301" y="277554"/>
                    </a:lnTo>
                    <a:lnTo>
                      <a:pt x="262918" y="277819"/>
                    </a:lnTo>
                    <a:lnTo>
                      <a:pt x="262566" y="278171"/>
                    </a:lnTo>
                    <a:close/>
                    <a:moveTo>
                      <a:pt x="135074" y="279670"/>
                    </a:moveTo>
                    <a:lnTo>
                      <a:pt x="134457" y="279406"/>
                    </a:lnTo>
                    <a:lnTo>
                      <a:pt x="134104" y="278524"/>
                    </a:lnTo>
                    <a:lnTo>
                      <a:pt x="133487" y="277907"/>
                    </a:lnTo>
                    <a:lnTo>
                      <a:pt x="134104" y="278171"/>
                    </a:lnTo>
                    <a:lnTo>
                      <a:pt x="134722" y="278171"/>
                    </a:lnTo>
                    <a:lnTo>
                      <a:pt x="135603" y="278436"/>
                    </a:lnTo>
                    <a:lnTo>
                      <a:pt x="135603" y="279053"/>
                    </a:lnTo>
                    <a:lnTo>
                      <a:pt x="135074" y="279670"/>
                    </a:lnTo>
                    <a:close/>
                    <a:moveTo>
                      <a:pt x="132429" y="278524"/>
                    </a:moveTo>
                    <a:lnTo>
                      <a:pt x="132429" y="278524"/>
                    </a:lnTo>
                    <a:lnTo>
                      <a:pt x="132164" y="278259"/>
                    </a:lnTo>
                    <a:lnTo>
                      <a:pt x="132429" y="278524"/>
                    </a:lnTo>
                    <a:close/>
                    <a:moveTo>
                      <a:pt x="118146" y="280287"/>
                    </a:moveTo>
                    <a:lnTo>
                      <a:pt x="117617" y="279670"/>
                    </a:lnTo>
                    <a:lnTo>
                      <a:pt x="117881" y="279053"/>
                    </a:lnTo>
                    <a:lnTo>
                      <a:pt x="118498" y="278436"/>
                    </a:lnTo>
                    <a:lnTo>
                      <a:pt x="118763" y="278436"/>
                    </a:lnTo>
                    <a:lnTo>
                      <a:pt x="119027" y="279053"/>
                    </a:lnTo>
                    <a:lnTo>
                      <a:pt x="118410" y="279935"/>
                    </a:lnTo>
                    <a:lnTo>
                      <a:pt x="118146" y="280287"/>
                    </a:lnTo>
                    <a:close/>
                    <a:moveTo>
                      <a:pt x="143803" y="278524"/>
                    </a:moveTo>
                    <a:lnTo>
                      <a:pt x="143538" y="278524"/>
                    </a:lnTo>
                    <a:lnTo>
                      <a:pt x="143803" y="278259"/>
                    </a:lnTo>
                    <a:lnTo>
                      <a:pt x="143803" y="278524"/>
                    </a:lnTo>
                    <a:close/>
                    <a:moveTo>
                      <a:pt x="120791" y="278524"/>
                    </a:moveTo>
                    <a:lnTo>
                      <a:pt x="120526" y="278524"/>
                    </a:lnTo>
                    <a:lnTo>
                      <a:pt x="120526" y="278259"/>
                    </a:lnTo>
                    <a:lnTo>
                      <a:pt x="120791" y="278259"/>
                    </a:lnTo>
                    <a:lnTo>
                      <a:pt x="120791" y="278524"/>
                    </a:lnTo>
                    <a:close/>
                    <a:moveTo>
                      <a:pt x="175631" y="278788"/>
                    </a:moveTo>
                    <a:lnTo>
                      <a:pt x="175367" y="278788"/>
                    </a:lnTo>
                    <a:lnTo>
                      <a:pt x="175631" y="278524"/>
                    </a:lnTo>
                    <a:lnTo>
                      <a:pt x="175631" y="278788"/>
                    </a:lnTo>
                    <a:close/>
                    <a:moveTo>
                      <a:pt x="173604" y="278788"/>
                    </a:moveTo>
                    <a:lnTo>
                      <a:pt x="173604" y="279053"/>
                    </a:lnTo>
                    <a:lnTo>
                      <a:pt x="173604" y="278788"/>
                    </a:lnTo>
                    <a:close/>
                    <a:moveTo>
                      <a:pt x="131283" y="279053"/>
                    </a:moveTo>
                    <a:lnTo>
                      <a:pt x="130666" y="278788"/>
                    </a:lnTo>
                    <a:lnTo>
                      <a:pt x="131018" y="278788"/>
                    </a:lnTo>
                    <a:lnTo>
                      <a:pt x="131283" y="279053"/>
                    </a:lnTo>
                    <a:close/>
                    <a:moveTo>
                      <a:pt x="175015" y="279053"/>
                    </a:moveTo>
                    <a:lnTo>
                      <a:pt x="174750" y="279053"/>
                    </a:lnTo>
                    <a:lnTo>
                      <a:pt x="175015" y="278788"/>
                    </a:lnTo>
                    <a:lnTo>
                      <a:pt x="175015" y="279053"/>
                    </a:lnTo>
                    <a:close/>
                    <a:moveTo>
                      <a:pt x="137719" y="279935"/>
                    </a:moveTo>
                    <a:lnTo>
                      <a:pt x="137366" y="279935"/>
                    </a:lnTo>
                    <a:lnTo>
                      <a:pt x="137102" y="279053"/>
                    </a:lnTo>
                    <a:lnTo>
                      <a:pt x="137366" y="278788"/>
                    </a:lnTo>
                    <a:lnTo>
                      <a:pt x="137719" y="279406"/>
                    </a:lnTo>
                    <a:lnTo>
                      <a:pt x="137366" y="279670"/>
                    </a:lnTo>
                    <a:lnTo>
                      <a:pt x="137719" y="279935"/>
                    </a:lnTo>
                    <a:close/>
                    <a:moveTo>
                      <a:pt x="130401" y="279053"/>
                    </a:moveTo>
                    <a:lnTo>
                      <a:pt x="130401" y="279317"/>
                    </a:lnTo>
                    <a:lnTo>
                      <a:pt x="130401" y="278700"/>
                    </a:lnTo>
                    <a:lnTo>
                      <a:pt x="130401" y="279053"/>
                    </a:lnTo>
                    <a:close/>
                    <a:moveTo>
                      <a:pt x="136838" y="279670"/>
                    </a:moveTo>
                    <a:lnTo>
                      <a:pt x="136573" y="279406"/>
                    </a:lnTo>
                    <a:lnTo>
                      <a:pt x="136309" y="279141"/>
                    </a:lnTo>
                    <a:lnTo>
                      <a:pt x="136926" y="279406"/>
                    </a:lnTo>
                    <a:lnTo>
                      <a:pt x="136926" y="279670"/>
                    </a:lnTo>
                    <a:close/>
                    <a:moveTo>
                      <a:pt x="128990" y="279406"/>
                    </a:moveTo>
                    <a:lnTo>
                      <a:pt x="128726" y="279406"/>
                    </a:lnTo>
                    <a:lnTo>
                      <a:pt x="128990" y="279141"/>
                    </a:lnTo>
                    <a:lnTo>
                      <a:pt x="128990" y="279406"/>
                    </a:lnTo>
                    <a:close/>
                    <a:moveTo>
                      <a:pt x="119909" y="279406"/>
                    </a:moveTo>
                    <a:lnTo>
                      <a:pt x="119645" y="279141"/>
                    </a:lnTo>
                    <a:lnTo>
                      <a:pt x="119909" y="279141"/>
                    </a:lnTo>
                    <a:lnTo>
                      <a:pt x="119909" y="279406"/>
                    </a:lnTo>
                    <a:close/>
                    <a:moveTo>
                      <a:pt x="136220" y="279935"/>
                    </a:moveTo>
                    <a:lnTo>
                      <a:pt x="135603" y="279317"/>
                    </a:lnTo>
                    <a:lnTo>
                      <a:pt x="136484" y="279582"/>
                    </a:lnTo>
                    <a:lnTo>
                      <a:pt x="136220" y="279935"/>
                    </a:lnTo>
                    <a:close/>
                    <a:moveTo>
                      <a:pt x="130401" y="279670"/>
                    </a:moveTo>
                    <a:lnTo>
                      <a:pt x="130137" y="279406"/>
                    </a:lnTo>
                    <a:lnTo>
                      <a:pt x="130401" y="279406"/>
                    </a:lnTo>
                    <a:lnTo>
                      <a:pt x="130401" y="279670"/>
                    </a:lnTo>
                    <a:close/>
                    <a:moveTo>
                      <a:pt x="170430" y="281433"/>
                    </a:moveTo>
                    <a:lnTo>
                      <a:pt x="170077" y="281169"/>
                    </a:lnTo>
                    <a:lnTo>
                      <a:pt x="169195" y="280640"/>
                    </a:lnTo>
                    <a:lnTo>
                      <a:pt x="168931" y="280375"/>
                    </a:lnTo>
                    <a:lnTo>
                      <a:pt x="169195" y="280111"/>
                    </a:lnTo>
                    <a:lnTo>
                      <a:pt x="168931" y="280111"/>
                    </a:lnTo>
                    <a:lnTo>
                      <a:pt x="168578" y="280111"/>
                    </a:lnTo>
                    <a:lnTo>
                      <a:pt x="168314" y="280111"/>
                    </a:lnTo>
                    <a:lnTo>
                      <a:pt x="167961" y="279847"/>
                    </a:lnTo>
                    <a:lnTo>
                      <a:pt x="167696" y="279582"/>
                    </a:lnTo>
                    <a:lnTo>
                      <a:pt x="167432" y="278700"/>
                    </a:lnTo>
                    <a:lnTo>
                      <a:pt x="167696" y="278083"/>
                    </a:lnTo>
                    <a:lnTo>
                      <a:pt x="168314" y="277819"/>
                    </a:lnTo>
                    <a:lnTo>
                      <a:pt x="168314" y="276408"/>
                    </a:lnTo>
                    <a:lnTo>
                      <a:pt x="168314" y="274909"/>
                    </a:lnTo>
                    <a:lnTo>
                      <a:pt x="168578" y="274644"/>
                    </a:lnTo>
                    <a:lnTo>
                      <a:pt x="169195" y="273498"/>
                    </a:lnTo>
                    <a:lnTo>
                      <a:pt x="169460" y="272881"/>
                    </a:lnTo>
                    <a:lnTo>
                      <a:pt x="170077" y="272617"/>
                    </a:lnTo>
                    <a:lnTo>
                      <a:pt x="170694" y="271118"/>
                    </a:lnTo>
                    <a:lnTo>
                      <a:pt x="171311" y="271118"/>
                    </a:lnTo>
                    <a:lnTo>
                      <a:pt x="171840" y="272000"/>
                    </a:lnTo>
                    <a:lnTo>
                      <a:pt x="171576" y="272617"/>
                    </a:lnTo>
                    <a:lnTo>
                      <a:pt x="171840" y="273763"/>
                    </a:lnTo>
                    <a:lnTo>
                      <a:pt x="171311" y="274644"/>
                    </a:lnTo>
                    <a:lnTo>
                      <a:pt x="171047" y="275791"/>
                    </a:lnTo>
                    <a:lnTo>
                      <a:pt x="171664" y="277290"/>
                    </a:lnTo>
                    <a:lnTo>
                      <a:pt x="172281" y="277819"/>
                    </a:lnTo>
                    <a:lnTo>
                      <a:pt x="172898" y="278436"/>
                    </a:lnTo>
                    <a:lnTo>
                      <a:pt x="173427" y="279053"/>
                    </a:lnTo>
                    <a:lnTo>
                      <a:pt x="174044" y="279317"/>
                    </a:lnTo>
                    <a:lnTo>
                      <a:pt x="173692" y="279935"/>
                    </a:lnTo>
                    <a:lnTo>
                      <a:pt x="172281" y="280552"/>
                    </a:lnTo>
                    <a:lnTo>
                      <a:pt x="171399" y="281433"/>
                    </a:lnTo>
                    <a:lnTo>
                      <a:pt x="170430" y="281433"/>
                    </a:lnTo>
                    <a:close/>
                    <a:moveTo>
                      <a:pt x="137366" y="280287"/>
                    </a:moveTo>
                    <a:lnTo>
                      <a:pt x="137102" y="280287"/>
                    </a:lnTo>
                    <a:lnTo>
                      <a:pt x="137102" y="279670"/>
                    </a:lnTo>
                    <a:lnTo>
                      <a:pt x="137366" y="280287"/>
                    </a:lnTo>
                    <a:close/>
                    <a:moveTo>
                      <a:pt x="262566" y="281433"/>
                    </a:moveTo>
                    <a:lnTo>
                      <a:pt x="261948" y="281433"/>
                    </a:lnTo>
                    <a:lnTo>
                      <a:pt x="261948" y="280816"/>
                    </a:lnTo>
                    <a:lnTo>
                      <a:pt x="261948" y="280287"/>
                    </a:lnTo>
                    <a:lnTo>
                      <a:pt x="262830" y="280552"/>
                    </a:lnTo>
                    <a:lnTo>
                      <a:pt x="262830" y="280816"/>
                    </a:lnTo>
                    <a:lnTo>
                      <a:pt x="262566" y="281081"/>
                    </a:lnTo>
                    <a:lnTo>
                      <a:pt x="262566" y="281433"/>
                    </a:lnTo>
                    <a:close/>
                    <a:moveTo>
                      <a:pt x="136573" y="280287"/>
                    </a:moveTo>
                    <a:lnTo>
                      <a:pt x="136573" y="280287"/>
                    </a:lnTo>
                    <a:lnTo>
                      <a:pt x="136838" y="280287"/>
                    </a:lnTo>
                    <a:lnTo>
                      <a:pt x="136573" y="280287"/>
                    </a:lnTo>
                    <a:close/>
                    <a:moveTo>
                      <a:pt x="138865" y="280287"/>
                    </a:moveTo>
                    <a:lnTo>
                      <a:pt x="138601" y="280552"/>
                    </a:lnTo>
                    <a:lnTo>
                      <a:pt x="138865" y="280287"/>
                    </a:lnTo>
                    <a:close/>
                    <a:moveTo>
                      <a:pt x="136838" y="280816"/>
                    </a:moveTo>
                    <a:lnTo>
                      <a:pt x="136573" y="280552"/>
                    </a:lnTo>
                    <a:lnTo>
                      <a:pt x="136838" y="280552"/>
                    </a:lnTo>
                    <a:lnTo>
                      <a:pt x="136838" y="280816"/>
                    </a:lnTo>
                    <a:close/>
                    <a:moveTo>
                      <a:pt x="139482" y="280816"/>
                    </a:moveTo>
                    <a:lnTo>
                      <a:pt x="139482" y="280816"/>
                    </a:lnTo>
                    <a:lnTo>
                      <a:pt x="139130" y="280816"/>
                    </a:lnTo>
                    <a:lnTo>
                      <a:pt x="139482" y="280816"/>
                    </a:lnTo>
                    <a:close/>
                    <a:moveTo>
                      <a:pt x="131283" y="280816"/>
                    </a:moveTo>
                    <a:lnTo>
                      <a:pt x="130401" y="280816"/>
                    </a:lnTo>
                    <a:lnTo>
                      <a:pt x="129784" y="280287"/>
                    </a:lnTo>
                    <a:lnTo>
                      <a:pt x="130048" y="280287"/>
                    </a:lnTo>
                    <a:lnTo>
                      <a:pt x="130313" y="280023"/>
                    </a:lnTo>
                    <a:lnTo>
                      <a:pt x="130666" y="280023"/>
                    </a:lnTo>
                    <a:lnTo>
                      <a:pt x="131018" y="279758"/>
                    </a:lnTo>
                    <a:lnTo>
                      <a:pt x="131018" y="279494"/>
                    </a:lnTo>
                    <a:lnTo>
                      <a:pt x="131283" y="279229"/>
                    </a:lnTo>
                    <a:lnTo>
                      <a:pt x="131547" y="280111"/>
                    </a:lnTo>
                    <a:lnTo>
                      <a:pt x="131812" y="280993"/>
                    </a:lnTo>
                    <a:lnTo>
                      <a:pt x="131283" y="280993"/>
                    </a:lnTo>
                    <a:close/>
                    <a:moveTo>
                      <a:pt x="136220" y="281081"/>
                    </a:moveTo>
                    <a:lnTo>
                      <a:pt x="135603" y="281081"/>
                    </a:lnTo>
                    <a:lnTo>
                      <a:pt x="134986" y="280816"/>
                    </a:lnTo>
                    <a:lnTo>
                      <a:pt x="134722" y="280816"/>
                    </a:lnTo>
                    <a:lnTo>
                      <a:pt x="134722" y="280287"/>
                    </a:lnTo>
                    <a:lnTo>
                      <a:pt x="134986" y="280287"/>
                    </a:lnTo>
                    <a:lnTo>
                      <a:pt x="135251" y="280023"/>
                    </a:lnTo>
                    <a:lnTo>
                      <a:pt x="135868" y="280640"/>
                    </a:lnTo>
                    <a:lnTo>
                      <a:pt x="136484" y="280904"/>
                    </a:lnTo>
                    <a:lnTo>
                      <a:pt x="136220" y="281081"/>
                    </a:lnTo>
                    <a:close/>
                    <a:moveTo>
                      <a:pt x="132429" y="281433"/>
                    </a:moveTo>
                    <a:lnTo>
                      <a:pt x="132164" y="281169"/>
                    </a:lnTo>
                    <a:lnTo>
                      <a:pt x="132429" y="281433"/>
                    </a:lnTo>
                    <a:close/>
                    <a:moveTo>
                      <a:pt x="139747" y="281433"/>
                    </a:moveTo>
                    <a:lnTo>
                      <a:pt x="139482" y="281698"/>
                    </a:lnTo>
                    <a:lnTo>
                      <a:pt x="139482" y="281081"/>
                    </a:lnTo>
                    <a:lnTo>
                      <a:pt x="139747" y="281433"/>
                    </a:lnTo>
                    <a:close/>
                    <a:moveTo>
                      <a:pt x="130137" y="281433"/>
                    </a:moveTo>
                    <a:lnTo>
                      <a:pt x="129872" y="281169"/>
                    </a:lnTo>
                    <a:lnTo>
                      <a:pt x="130137" y="281433"/>
                    </a:lnTo>
                    <a:close/>
                    <a:moveTo>
                      <a:pt x="119292" y="281433"/>
                    </a:moveTo>
                    <a:lnTo>
                      <a:pt x="119027" y="281433"/>
                    </a:lnTo>
                    <a:lnTo>
                      <a:pt x="119292" y="281169"/>
                    </a:lnTo>
                    <a:lnTo>
                      <a:pt x="119292" y="281433"/>
                    </a:lnTo>
                    <a:close/>
                    <a:moveTo>
                      <a:pt x="131900" y="281433"/>
                    </a:moveTo>
                    <a:lnTo>
                      <a:pt x="131635" y="281433"/>
                    </a:lnTo>
                    <a:lnTo>
                      <a:pt x="131900" y="281169"/>
                    </a:lnTo>
                    <a:lnTo>
                      <a:pt x="131900" y="281433"/>
                    </a:lnTo>
                    <a:close/>
                    <a:moveTo>
                      <a:pt x="131547" y="281433"/>
                    </a:moveTo>
                    <a:lnTo>
                      <a:pt x="131018" y="281169"/>
                    </a:lnTo>
                    <a:lnTo>
                      <a:pt x="131547" y="281433"/>
                    </a:lnTo>
                    <a:close/>
                    <a:moveTo>
                      <a:pt x="133575" y="281081"/>
                    </a:moveTo>
                    <a:lnTo>
                      <a:pt x="132693" y="281081"/>
                    </a:lnTo>
                    <a:lnTo>
                      <a:pt x="132429" y="280816"/>
                    </a:lnTo>
                    <a:lnTo>
                      <a:pt x="132429" y="280552"/>
                    </a:lnTo>
                    <a:lnTo>
                      <a:pt x="133046" y="280552"/>
                    </a:lnTo>
                    <a:lnTo>
                      <a:pt x="133046" y="279935"/>
                    </a:lnTo>
                    <a:lnTo>
                      <a:pt x="132429" y="279670"/>
                    </a:lnTo>
                    <a:lnTo>
                      <a:pt x="132429" y="279406"/>
                    </a:lnTo>
                    <a:lnTo>
                      <a:pt x="132429" y="278788"/>
                    </a:lnTo>
                    <a:lnTo>
                      <a:pt x="132693" y="278788"/>
                    </a:lnTo>
                    <a:lnTo>
                      <a:pt x="133311" y="278788"/>
                    </a:lnTo>
                    <a:lnTo>
                      <a:pt x="134193" y="279670"/>
                    </a:lnTo>
                    <a:lnTo>
                      <a:pt x="134545" y="279935"/>
                    </a:lnTo>
                    <a:lnTo>
                      <a:pt x="134809" y="280552"/>
                    </a:lnTo>
                    <a:lnTo>
                      <a:pt x="133928" y="280816"/>
                    </a:lnTo>
                    <a:lnTo>
                      <a:pt x="133575" y="281081"/>
                    </a:lnTo>
                    <a:close/>
                    <a:moveTo>
                      <a:pt x="122818" y="282580"/>
                    </a:moveTo>
                    <a:lnTo>
                      <a:pt x="122554" y="282580"/>
                    </a:lnTo>
                    <a:lnTo>
                      <a:pt x="122554" y="281962"/>
                    </a:lnTo>
                    <a:lnTo>
                      <a:pt x="122554" y="281698"/>
                    </a:lnTo>
                    <a:lnTo>
                      <a:pt x="122290" y="281433"/>
                    </a:lnTo>
                    <a:lnTo>
                      <a:pt x="122025" y="281698"/>
                    </a:lnTo>
                    <a:lnTo>
                      <a:pt x="121143" y="280816"/>
                    </a:lnTo>
                    <a:lnTo>
                      <a:pt x="120526" y="280552"/>
                    </a:lnTo>
                    <a:lnTo>
                      <a:pt x="119909" y="279670"/>
                    </a:lnTo>
                    <a:lnTo>
                      <a:pt x="120526" y="279670"/>
                    </a:lnTo>
                    <a:lnTo>
                      <a:pt x="121408" y="279935"/>
                    </a:lnTo>
                    <a:lnTo>
                      <a:pt x="122025" y="280199"/>
                    </a:lnTo>
                    <a:lnTo>
                      <a:pt x="122643" y="280199"/>
                    </a:lnTo>
                    <a:lnTo>
                      <a:pt x="121761" y="279582"/>
                    </a:lnTo>
                    <a:lnTo>
                      <a:pt x="121761" y="279847"/>
                    </a:lnTo>
                    <a:lnTo>
                      <a:pt x="121496" y="279229"/>
                    </a:lnTo>
                    <a:lnTo>
                      <a:pt x="120967" y="278612"/>
                    </a:lnTo>
                    <a:lnTo>
                      <a:pt x="121849" y="278612"/>
                    </a:lnTo>
                    <a:lnTo>
                      <a:pt x="122201" y="278877"/>
                    </a:lnTo>
                    <a:lnTo>
                      <a:pt x="122818" y="279758"/>
                    </a:lnTo>
                    <a:lnTo>
                      <a:pt x="123083" y="280904"/>
                    </a:lnTo>
                    <a:lnTo>
                      <a:pt x="123083" y="281522"/>
                    </a:lnTo>
                    <a:lnTo>
                      <a:pt x="123965" y="282403"/>
                    </a:lnTo>
                    <a:lnTo>
                      <a:pt x="123700" y="282403"/>
                    </a:lnTo>
                    <a:lnTo>
                      <a:pt x="122818" y="282403"/>
                    </a:lnTo>
                    <a:close/>
                    <a:moveTo>
                      <a:pt x="129519" y="281962"/>
                    </a:moveTo>
                    <a:lnTo>
                      <a:pt x="129255" y="281698"/>
                    </a:lnTo>
                    <a:lnTo>
                      <a:pt x="129519" y="281433"/>
                    </a:lnTo>
                    <a:lnTo>
                      <a:pt x="129519" y="281962"/>
                    </a:lnTo>
                    <a:close/>
                    <a:moveTo>
                      <a:pt x="140893" y="281698"/>
                    </a:moveTo>
                    <a:lnTo>
                      <a:pt x="140276" y="281433"/>
                    </a:lnTo>
                    <a:lnTo>
                      <a:pt x="140893" y="281698"/>
                    </a:lnTo>
                    <a:close/>
                    <a:moveTo>
                      <a:pt x="172457" y="282315"/>
                    </a:moveTo>
                    <a:lnTo>
                      <a:pt x="172193" y="282051"/>
                    </a:lnTo>
                    <a:lnTo>
                      <a:pt x="172193" y="281786"/>
                    </a:lnTo>
                    <a:lnTo>
                      <a:pt x="172457" y="282315"/>
                    </a:lnTo>
                    <a:close/>
                    <a:moveTo>
                      <a:pt x="127227" y="281698"/>
                    </a:moveTo>
                    <a:lnTo>
                      <a:pt x="126963" y="281698"/>
                    </a:lnTo>
                    <a:lnTo>
                      <a:pt x="126698" y="281433"/>
                    </a:lnTo>
                    <a:lnTo>
                      <a:pt x="126963" y="281169"/>
                    </a:lnTo>
                    <a:lnTo>
                      <a:pt x="127227" y="281698"/>
                    </a:lnTo>
                    <a:close/>
                    <a:moveTo>
                      <a:pt x="203581" y="281962"/>
                    </a:moveTo>
                    <a:lnTo>
                      <a:pt x="203581" y="281698"/>
                    </a:lnTo>
                    <a:lnTo>
                      <a:pt x="203581" y="281962"/>
                    </a:lnTo>
                    <a:close/>
                    <a:moveTo>
                      <a:pt x="128638" y="281962"/>
                    </a:moveTo>
                    <a:lnTo>
                      <a:pt x="128373" y="281698"/>
                    </a:lnTo>
                    <a:lnTo>
                      <a:pt x="127756" y="281698"/>
                    </a:lnTo>
                    <a:lnTo>
                      <a:pt x="127227" y="281433"/>
                    </a:lnTo>
                    <a:lnTo>
                      <a:pt x="127756" y="281169"/>
                    </a:lnTo>
                    <a:lnTo>
                      <a:pt x="128021" y="281169"/>
                    </a:lnTo>
                    <a:lnTo>
                      <a:pt x="128638" y="281169"/>
                    </a:lnTo>
                    <a:lnTo>
                      <a:pt x="128902" y="281433"/>
                    </a:lnTo>
                    <a:lnTo>
                      <a:pt x="128902" y="282051"/>
                    </a:lnTo>
                    <a:lnTo>
                      <a:pt x="128638" y="282051"/>
                    </a:lnTo>
                    <a:close/>
                    <a:moveTo>
                      <a:pt x="121937" y="282315"/>
                    </a:moveTo>
                    <a:lnTo>
                      <a:pt x="121320" y="282315"/>
                    </a:lnTo>
                    <a:lnTo>
                      <a:pt x="121320" y="281698"/>
                    </a:lnTo>
                    <a:lnTo>
                      <a:pt x="121937" y="282315"/>
                    </a:lnTo>
                    <a:close/>
                    <a:moveTo>
                      <a:pt x="125463" y="282315"/>
                    </a:moveTo>
                    <a:lnTo>
                      <a:pt x="125111" y="282051"/>
                    </a:lnTo>
                    <a:lnTo>
                      <a:pt x="125463" y="282315"/>
                    </a:lnTo>
                    <a:close/>
                    <a:moveTo>
                      <a:pt x="122554" y="282315"/>
                    </a:moveTo>
                    <a:lnTo>
                      <a:pt x="122290" y="282580"/>
                    </a:lnTo>
                    <a:lnTo>
                      <a:pt x="122554" y="282315"/>
                    </a:lnTo>
                    <a:close/>
                    <a:moveTo>
                      <a:pt x="129519" y="282315"/>
                    </a:moveTo>
                    <a:lnTo>
                      <a:pt x="129255" y="282315"/>
                    </a:lnTo>
                    <a:lnTo>
                      <a:pt x="129519" y="282315"/>
                    </a:lnTo>
                    <a:close/>
                    <a:moveTo>
                      <a:pt x="134457" y="282580"/>
                    </a:moveTo>
                    <a:lnTo>
                      <a:pt x="133840" y="282315"/>
                    </a:lnTo>
                    <a:lnTo>
                      <a:pt x="134457" y="282315"/>
                    </a:lnTo>
                    <a:lnTo>
                      <a:pt x="134457" y="282580"/>
                    </a:lnTo>
                    <a:close/>
                    <a:moveTo>
                      <a:pt x="130666" y="282315"/>
                    </a:moveTo>
                    <a:lnTo>
                      <a:pt x="130048" y="282315"/>
                    </a:lnTo>
                    <a:lnTo>
                      <a:pt x="129784" y="281698"/>
                    </a:lnTo>
                    <a:lnTo>
                      <a:pt x="130401" y="281433"/>
                    </a:lnTo>
                    <a:lnTo>
                      <a:pt x="130666" y="281433"/>
                    </a:lnTo>
                    <a:lnTo>
                      <a:pt x="131283" y="281698"/>
                    </a:lnTo>
                    <a:lnTo>
                      <a:pt x="130666" y="282315"/>
                    </a:lnTo>
                    <a:close/>
                    <a:moveTo>
                      <a:pt x="138601" y="283109"/>
                    </a:moveTo>
                    <a:lnTo>
                      <a:pt x="138601" y="283109"/>
                    </a:lnTo>
                    <a:lnTo>
                      <a:pt x="138336" y="283109"/>
                    </a:lnTo>
                    <a:lnTo>
                      <a:pt x="138601" y="283109"/>
                    </a:lnTo>
                    <a:close/>
                    <a:moveTo>
                      <a:pt x="130401" y="283109"/>
                    </a:moveTo>
                    <a:lnTo>
                      <a:pt x="130137" y="283109"/>
                    </a:lnTo>
                    <a:lnTo>
                      <a:pt x="130401" y="283109"/>
                    </a:lnTo>
                    <a:close/>
                    <a:moveTo>
                      <a:pt x="135339" y="283461"/>
                    </a:moveTo>
                    <a:lnTo>
                      <a:pt x="135074" y="283461"/>
                    </a:lnTo>
                    <a:lnTo>
                      <a:pt x="135074" y="283197"/>
                    </a:lnTo>
                    <a:lnTo>
                      <a:pt x="134809" y="282932"/>
                    </a:lnTo>
                    <a:lnTo>
                      <a:pt x="135074" y="282315"/>
                    </a:lnTo>
                    <a:lnTo>
                      <a:pt x="134809" y="281698"/>
                    </a:lnTo>
                    <a:lnTo>
                      <a:pt x="134545" y="281433"/>
                    </a:lnTo>
                    <a:lnTo>
                      <a:pt x="134545" y="281169"/>
                    </a:lnTo>
                    <a:lnTo>
                      <a:pt x="135691" y="282051"/>
                    </a:lnTo>
                    <a:lnTo>
                      <a:pt x="136309" y="281786"/>
                    </a:lnTo>
                    <a:lnTo>
                      <a:pt x="136044" y="282403"/>
                    </a:lnTo>
                    <a:lnTo>
                      <a:pt x="135780" y="283285"/>
                    </a:lnTo>
                    <a:lnTo>
                      <a:pt x="135339" y="283461"/>
                    </a:lnTo>
                    <a:close/>
                    <a:moveTo>
                      <a:pt x="88697" y="283726"/>
                    </a:moveTo>
                    <a:lnTo>
                      <a:pt x="88433" y="283726"/>
                    </a:lnTo>
                    <a:lnTo>
                      <a:pt x="88168" y="283461"/>
                    </a:lnTo>
                    <a:lnTo>
                      <a:pt x="88433" y="283461"/>
                    </a:lnTo>
                    <a:lnTo>
                      <a:pt x="88697" y="283726"/>
                    </a:lnTo>
                    <a:close/>
                    <a:moveTo>
                      <a:pt x="125463" y="284608"/>
                    </a:moveTo>
                    <a:lnTo>
                      <a:pt x="125463" y="284872"/>
                    </a:lnTo>
                    <a:lnTo>
                      <a:pt x="125463" y="284343"/>
                    </a:lnTo>
                    <a:lnTo>
                      <a:pt x="125463" y="284608"/>
                    </a:lnTo>
                    <a:close/>
                    <a:moveTo>
                      <a:pt x="125728" y="284343"/>
                    </a:moveTo>
                    <a:lnTo>
                      <a:pt x="125463" y="284343"/>
                    </a:lnTo>
                    <a:lnTo>
                      <a:pt x="125463" y="283726"/>
                    </a:lnTo>
                    <a:lnTo>
                      <a:pt x="124847" y="283461"/>
                    </a:lnTo>
                    <a:lnTo>
                      <a:pt x="124229" y="283461"/>
                    </a:lnTo>
                    <a:lnTo>
                      <a:pt x="123965" y="284079"/>
                    </a:lnTo>
                    <a:lnTo>
                      <a:pt x="123700" y="284079"/>
                    </a:lnTo>
                    <a:lnTo>
                      <a:pt x="123436" y="283726"/>
                    </a:lnTo>
                    <a:lnTo>
                      <a:pt x="123436" y="283109"/>
                    </a:lnTo>
                    <a:lnTo>
                      <a:pt x="123700" y="282844"/>
                    </a:lnTo>
                    <a:lnTo>
                      <a:pt x="123965" y="282844"/>
                    </a:lnTo>
                    <a:lnTo>
                      <a:pt x="123347" y="281962"/>
                    </a:lnTo>
                    <a:lnTo>
                      <a:pt x="123612" y="281345"/>
                    </a:lnTo>
                    <a:lnTo>
                      <a:pt x="124141" y="281345"/>
                    </a:lnTo>
                    <a:lnTo>
                      <a:pt x="124758" y="281610"/>
                    </a:lnTo>
                    <a:lnTo>
                      <a:pt x="124494" y="281874"/>
                    </a:lnTo>
                    <a:lnTo>
                      <a:pt x="124229" y="282139"/>
                    </a:lnTo>
                    <a:lnTo>
                      <a:pt x="124847" y="282403"/>
                    </a:lnTo>
                    <a:lnTo>
                      <a:pt x="124847" y="282139"/>
                    </a:lnTo>
                    <a:lnTo>
                      <a:pt x="124847" y="283021"/>
                    </a:lnTo>
                    <a:lnTo>
                      <a:pt x="125111" y="283021"/>
                    </a:lnTo>
                    <a:lnTo>
                      <a:pt x="125728" y="282756"/>
                    </a:lnTo>
                    <a:lnTo>
                      <a:pt x="126081" y="283021"/>
                    </a:lnTo>
                    <a:lnTo>
                      <a:pt x="125728" y="283021"/>
                    </a:lnTo>
                    <a:lnTo>
                      <a:pt x="125728" y="283902"/>
                    </a:lnTo>
                    <a:lnTo>
                      <a:pt x="125728" y="284343"/>
                    </a:lnTo>
                    <a:close/>
                    <a:moveTo>
                      <a:pt x="272176" y="283109"/>
                    </a:moveTo>
                    <a:lnTo>
                      <a:pt x="272176" y="283109"/>
                    </a:lnTo>
                    <a:lnTo>
                      <a:pt x="271030" y="283109"/>
                    </a:lnTo>
                    <a:lnTo>
                      <a:pt x="270765" y="281698"/>
                    </a:lnTo>
                    <a:lnTo>
                      <a:pt x="271647" y="281433"/>
                    </a:lnTo>
                    <a:lnTo>
                      <a:pt x="272529" y="282051"/>
                    </a:lnTo>
                    <a:lnTo>
                      <a:pt x="272176" y="283109"/>
                    </a:lnTo>
                    <a:close/>
                    <a:moveTo>
                      <a:pt x="109417" y="285489"/>
                    </a:moveTo>
                    <a:lnTo>
                      <a:pt x="108888" y="285225"/>
                    </a:lnTo>
                    <a:lnTo>
                      <a:pt x="109417" y="284960"/>
                    </a:lnTo>
                    <a:lnTo>
                      <a:pt x="109770" y="285225"/>
                    </a:lnTo>
                    <a:lnTo>
                      <a:pt x="109417" y="285489"/>
                    </a:lnTo>
                    <a:close/>
                    <a:moveTo>
                      <a:pt x="124847" y="285225"/>
                    </a:moveTo>
                    <a:lnTo>
                      <a:pt x="124582" y="285225"/>
                    </a:lnTo>
                    <a:lnTo>
                      <a:pt x="124847" y="285225"/>
                    </a:lnTo>
                    <a:close/>
                    <a:moveTo>
                      <a:pt x="122818" y="285225"/>
                    </a:moveTo>
                    <a:lnTo>
                      <a:pt x="122554" y="285225"/>
                    </a:lnTo>
                    <a:lnTo>
                      <a:pt x="122818" y="285225"/>
                    </a:lnTo>
                    <a:close/>
                    <a:moveTo>
                      <a:pt x="109417" y="286635"/>
                    </a:moveTo>
                    <a:lnTo>
                      <a:pt x="108888" y="286371"/>
                    </a:lnTo>
                    <a:lnTo>
                      <a:pt x="108624" y="285489"/>
                    </a:lnTo>
                    <a:lnTo>
                      <a:pt x="108888" y="286106"/>
                    </a:lnTo>
                    <a:lnTo>
                      <a:pt x="109417" y="286635"/>
                    </a:lnTo>
                    <a:close/>
                    <a:moveTo>
                      <a:pt x="123700" y="285754"/>
                    </a:moveTo>
                    <a:lnTo>
                      <a:pt x="123083" y="285754"/>
                    </a:lnTo>
                    <a:lnTo>
                      <a:pt x="123700" y="285754"/>
                    </a:lnTo>
                    <a:close/>
                    <a:moveTo>
                      <a:pt x="120791" y="286106"/>
                    </a:moveTo>
                    <a:lnTo>
                      <a:pt x="120526" y="286371"/>
                    </a:lnTo>
                    <a:lnTo>
                      <a:pt x="120526" y="285754"/>
                    </a:lnTo>
                    <a:lnTo>
                      <a:pt x="120791" y="286106"/>
                    </a:lnTo>
                    <a:close/>
                    <a:moveTo>
                      <a:pt x="90108" y="286106"/>
                    </a:moveTo>
                    <a:lnTo>
                      <a:pt x="90108" y="286371"/>
                    </a:lnTo>
                    <a:lnTo>
                      <a:pt x="90108" y="286106"/>
                    </a:lnTo>
                    <a:close/>
                    <a:moveTo>
                      <a:pt x="180040" y="286106"/>
                    </a:moveTo>
                    <a:lnTo>
                      <a:pt x="180040" y="286106"/>
                    </a:lnTo>
                    <a:lnTo>
                      <a:pt x="179775" y="286106"/>
                    </a:lnTo>
                    <a:lnTo>
                      <a:pt x="180040" y="286106"/>
                    </a:lnTo>
                    <a:close/>
                    <a:moveTo>
                      <a:pt x="121937" y="286371"/>
                    </a:moveTo>
                    <a:lnTo>
                      <a:pt x="121937" y="286106"/>
                    </a:lnTo>
                    <a:lnTo>
                      <a:pt x="121937" y="286371"/>
                    </a:lnTo>
                    <a:close/>
                    <a:moveTo>
                      <a:pt x="126874" y="286988"/>
                    </a:moveTo>
                    <a:lnTo>
                      <a:pt x="126610" y="286724"/>
                    </a:lnTo>
                    <a:lnTo>
                      <a:pt x="126610" y="286459"/>
                    </a:lnTo>
                    <a:lnTo>
                      <a:pt x="126874" y="286459"/>
                    </a:lnTo>
                    <a:lnTo>
                      <a:pt x="126874" y="286988"/>
                    </a:lnTo>
                    <a:close/>
                    <a:moveTo>
                      <a:pt x="125728" y="286988"/>
                    </a:moveTo>
                    <a:lnTo>
                      <a:pt x="125728" y="286988"/>
                    </a:lnTo>
                    <a:lnTo>
                      <a:pt x="125728" y="286371"/>
                    </a:lnTo>
                    <a:lnTo>
                      <a:pt x="126081" y="286635"/>
                    </a:lnTo>
                    <a:lnTo>
                      <a:pt x="125728" y="286988"/>
                    </a:lnTo>
                    <a:close/>
                    <a:moveTo>
                      <a:pt x="112326" y="287870"/>
                    </a:moveTo>
                    <a:lnTo>
                      <a:pt x="111445" y="287605"/>
                    </a:lnTo>
                    <a:lnTo>
                      <a:pt x="111709" y="287341"/>
                    </a:lnTo>
                    <a:lnTo>
                      <a:pt x="112062" y="287341"/>
                    </a:lnTo>
                    <a:lnTo>
                      <a:pt x="112326" y="287341"/>
                    </a:lnTo>
                    <a:lnTo>
                      <a:pt x="112062" y="287076"/>
                    </a:lnTo>
                    <a:lnTo>
                      <a:pt x="112062" y="286812"/>
                    </a:lnTo>
                    <a:lnTo>
                      <a:pt x="112326" y="286812"/>
                    </a:lnTo>
                    <a:lnTo>
                      <a:pt x="112591" y="287076"/>
                    </a:lnTo>
                    <a:lnTo>
                      <a:pt x="112591" y="287341"/>
                    </a:lnTo>
                    <a:lnTo>
                      <a:pt x="112591" y="287605"/>
                    </a:lnTo>
                    <a:lnTo>
                      <a:pt x="112326" y="287870"/>
                    </a:lnTo>
                    <a:close/>
                    <a:moveTo>
                      <a:pt x="122818" y="286988"/>
                    </a:moveTo>
                    <a:lnTo>
                      <a:pt x="122818" y="286988"/>
                    </a:lnTo>
                    <a:lnTo>
                      <a:pt x="122554" y="286988"/>
                    </a:lnTo>
                    <a:lnTo>
                      <a:pt x="122818" y="286988"/>
                    </a:lnTo>
                    <a:close/>
                    <a:moveTo>
                      <a:pt x="91342" y="286988"/>
                    </a:moveTo>
                    <a:lnTo>
                      <a:pt x="91342" y="287253"/>
                    </a:lnTo>
                    <a:lnTo>
                      <a:pt x="91078" y="286988"/>
                    </a:lnTo>
                    <a:lnTo>
                      <a:pt x="91342" y="286988"/>
                    </a:lnTo>
                    <a:close/>
                    <a:moveTo>
                      <a:pt x="125463" y="287253"/>
                    </a:moveTo>
                    <a:lnTo>
                      <a:pt x="125111" y="287253"/>
                    </a:lnTo>
                    <a:lnTo>
                      <a:pt x="125463" y="286988"/>
                    </a:lnTo>
                    <a:lnTo>
                      <a:pt x="125463" y="287253"/>
                    </a:lnTo>
                    <a:close/>
                    <a:moveTo>
                      <a:pt x="123172" y="287517"/>
                    </a:moveTo>
                    <a:lnTo>
                      <a:pt x="122554" y="287517"/>
                    </a:lnTo>
                    <a:lnTo>
                      <a:pt x="122818" y="287253"/>
                    </a:lnTo>
                    <a:lnTo>
                      <a:pt x="123172" y="287517"/>
                    </a:lnTo>
                    <a:close/>
                    <a:moveTo>
                      <a:pt x="109417" y="287870"/>
                    </a:moveTo>
                    <a:lnTo>
                      <a:pt x="109152" y="287870"/>
                    </a:lnTo>
                    <a:lnTo>
                      <a:pt x="109417" y="287870"/>
                    </a:lnTo>
                    <a:close/>
                    <a:moveTo>
                      <a:pt x="127227" y="287870"/>
                    </a:moveTo>
                    <a:lnTo>
                      <a:pt x="126610" y="287870"/>
                    </a:lnTo>
                    <a:lnTo>
                      <a:pt x="127227" y="287870"/>
                    </a:lnTo>
                    <a:close/>
                    <a:moveTo>
                      <a:pt x="125728" y="288134"/>
                    </a:moveTo>
                    <a:lnTo>
                      <a:pt x="125463" y="288134"/>
                    </a:lnTo>
                    <a:lnTo>
                      <a:pt x="125728" y="288134"/>
                    </a:lnTo>
                    <a:close/>
                    <a:moveTo>
                      <a:pt x="117264" y="289016"/>
                    </a:moveTo>
                    <a:lnTo>
                      <a:pt x="117264" y="289016"/>
                    </a:lnTo>
                    <a:lnTo>
                      <a:pt x="117264" y="288751"/>
                    </a:lnTo>
                    <a:lnTo>
                      <a:pt x="117264" y="289016"/>
                    </a:lnTo>
                    <a:close/>
                    <a:moveTo>
                      <a:pt x="117881" y="289280"/>
                    </a:moveTo>
                    <a:lnTo>
                      <a:pt x="117617" y="289280"/>
                    </a:lnTo>
                    <a:lnTo>
                      <a:pt x="117881" y="289280"/>
                    </a:lnTo>
                    <a:close/>
                    <a:moveTo>
                      <a:pt x="123436" y="289545"/>
                    </a:moveTo>
                    <a:lnTo>
                      <a:pt x="123172" y="289280"/>
                    </a:lnTo>
                    <a:lnTo>
                      <a:pt x="122818" y="289016"/>
                    </a:lnTo>
                    <a:lnTo>
                      <a:pt x="122554" y="288751"/>
                    </a:lnTo>
                    <a:lnTo>
                      <a:pt x="122290" y="288751"/>
                    </a:lnTo>
                    <a:lnTo>
                      <a:pt x="122025" y="288751"/>
                    </a:lnTo>
                    <a:lnTo>
                      <a:pt x="122025" y="289016"/>
                    </a:lnTo>
                    <a:lnTo>
                      <a:pt x="122025" y="289280"/>
                    </a:lnTo>
                    <a:lnTo>
                      <a:pt x="121408" y="289280"/>
                    </a:lnTo>
                    <a:lnTo>
                      <a:pt x="121143" y="289280"/>
                    </a:lnTo>
                    <a:lnTo>
                      <a:pt x="120791" y="289545"/>
                    </a:lnTo>
                    <a:lnTo>
                      <a:pt x="120526" y="288928"/>
                    </a:lnTo>
                    <a:lnTo>
                      <a:pt x="119909" y="288663"/>
                    </a:lnTo>
                    <a:lnTo>
                      <a:pt x="119645" y="288046"/>
                    </a:lnTo>
                    <a:lnTo>
                      <a:pt x="119645" y="287782"/>
                    </a:lnTo>
                    <a:lnTo>
                      <a:pt x="119380" y="287164"/>
                    </a:lnTo>
                    <a:lnTo>
                      <a:pt x="119997" y="287164"/>
                    </a:lnTo>
                    <a:lnTo>
                      <a:pt x="120614" y="286900"/>
                    </a:lnTo>
                    <a:lnTo>
                      <a:pt x="121496" y="287164"/>
                    </a:lnTo>
                    <a:lnTo>
                      <a:pt x="121761" y="287782"/>
                    </a:lnTo>
                    <a:lnTo>
                      <a:pt x="122643" y="288046"/>
                    </a:lnTo>
                    <a:lnTo>
                      <a:pt x="122643" y="288311"/>
                    </a:lnTo>
                    <a:lnTo>
                      <a:pt x="123259" y="288311"/>
                    </a:lnTo>
                    <a:lnTo>
                      <a:pt x="123259" y="288046"/>
                    </a:lnTo>
                    <a:lnTo>
                      <a:pt x="123876" y="288046"/>
                    </a:lnTo>
                    <a:lnTo>
                      <a:pt x="124141" y="287782"/>
                    </a:lnTo>
                    <a:lnTo>
                      <a:pt x="124405" y="287164"/>
                    </a:lnTo>
                    <a:lnTo>
                      <a:pt x="124670" y="287164"/>
                    </a:lnTo>
                    <a:lnTo>
                      <a:pt x="124934" y="287429"/>
                    </a:lnTo>
                    <a:lnTo>
                      <a:pt x="125552" y="287429"/>
                    </a:lnTo>
                    <a:lnTo>
                      <a:pt x="125199" y="287429"/>
                    </a:lnTo>
                    <a:lnTo>
                      <a:pt x="124934" y="287693"/>
                    </a:lnTo>
                    <a:lnTo>
                      <a:pt x="124670" y="287958"/>
                    </a:lnTo>
                    <a:lnTo>
                      <a:pt x="124405" y="287958"/>
                    </a:lnTo>
                    <a:lnTo>
                      <a:pt x="124141" y="288222"/>
                    </a:lnTo>
                    <a:lnTo>
                      <a:pt x="123876" y="288487"/>
                    </a:lnTo>
                    <a:lnTo>
                      <a:pt x="124141" y="289104"/>
                    </a:lnTo>
                    <a:lnTo>
                      <a:pt x="124141" y="289369"/>
                    </a:lnTo>
                    <a:lnTo>
                      <a:pt x="123876" y="289369"/>
                    </a:lnTo>
                    <a:lnTo>
                      <a:pt x="123436" y="289369"/>
                    </a:lnTo>
                    <a:close/>
                    <a:moveTo>
                      <a:pt x="117000" y="289898"/>
                    </a:moveTo>
                    <a:lnTo>
                      <a:pt x="116382" y="289633"/>
                    </a:lnTo>
                    <a:lnTo>
                      <a:pt x="116735" y="289633"/>
                    </a:lnTo>
                    <a:lnTo>
                      <a:pt x="117000" y="289898"/>
                    </a:lnTo>
                    <a:close/>
                    <a:moveTo>
                      <a:pt x="276232" y="289280"/>
                    </a:moveTo>
                    <a:lnTo>
                      <a:pt x="275614" y="289545"/>
                    </a:lnTo>
                    <a:lnTo>
                      <a:pt x="274997" y="288663"/>
                    </a:lnTo>
                    <a:lnTo>
                      <a:pt x="276143" y="288928"/>
                    </a:lnTo>
                    <a:lnTo>
                      <a:pt x="276143" y="289280"/>
                    </a:lnTo>
                    <a:close/>
                    <a:moveTo>
                      <a:pt x="127756" y="289898"/>
                    </a:moveTo>
                    <a:lnTo>
                      <a:pt x="127492" y="289898"/>
                    </a:lnTo>
                    <a:lnTo>
                      <a:pt x="127492" y="289633"/>
                    </a:lnTo>
                    <a:lnTo>
                      <a:pt x="127756" y="289898"/>
                    </a:lnTo>
                    <a:close/>
                    <a:moveTo>
                      <a:pt x="122290" y="291044"/>
                    </a:moveTo>
                    <a:lnTo>
                      <a:pt x="122290" y="290779"/>
                    </a:lnTo>
                    <a:lnTo>
                      <a:pt x="122290" y="291044"/>
                    </a:lnTo>
                    <a:close/>
                    <a:moveTo>
                      <a:pt x="125463" y="290779"/>
                    </a:moveTo>
                    <a:lnTo>
                      <a:pt x="125463" y="291044"/>
                    </a:lnTo>
                    <a:lnTo>
                      <a:pt x="125111" y="290779"/>
                    </a:lnTo>
                    <a:lnTo>
                      <a:pt x="125463" y="290779"/>
                    </a:lnTo>
                    <a:close/>
                    <a:moveTo>
                      <a:pt x="116735" y="291926"/>
                    </a:moveTo>
                    <a:lnTo>
                      <a:pt x="116118" y="291661"/>
                    </a:lnTo>
                    <a:lnTo>
                      <a:pt x="116382" y="291044"/>
                    </a:lnTo>
                    <a:lnTo>
                      <a:pt x="116735" y="291926"/>
                    </a:lnTo>
                    <a:close/>
                    <a:moveTo>
                      <a:pt x="118410" y="291308"/>
                    </a:moveTo>
                    <a:lnTo>
                      <a:pt x="117793" y="291573"/>
                    </a:lnTo>
                    <a:lnTo>
                      <a:pt x="117793" y="291308"/>
                    </a:lnTo>
                    <a:lnTo>
                      <a:pt x="118058" y="291044"/>
                    </a:lnTo>
                    <a:lnTo>
                      <a:pt x="118058" y="290515"/>
                    </a:lnTo>
                    <a:lnTo>
                      <a:pt x="118410" y="290250"/>
                    </a:lnTo>
                    <a:lnTo>
                      <a:pt x="118058" y="289986"/>
                    </a:lnTo>
                    <a:lnTo>
                      <a:pt x="118410" y="289986"/>
                    </a:lnTo>
                    <a:lnTo>
                      <a:pt x="119292" y="290603"/>
                    </a:lnTo>
                    <a:lnTo>
                      <a:pt x="118675" y="290603"/>
                    </a:lnTo>
                    <a:lnTo>
                      <a:pt x="118675" y="290868"/>
                    </a:lnTo>
                    <a:lnTo>
                      <a:pt x="118410" y="291132"/>
                    </a:lnTo>
                    <a:lnTo>
                      <a:pt x="118410" y="291308"/>
                    </a:lnTo>
                    <a:close/>
                    <a:moveTo>
                      <a:pt x="123172" y="291926"/>
                    </a:moveTo>
                    <a:lnTo>
                      <a:pt x="122290" y="291661"/>
                    </a:lnTo>
                    <a:lnTo>
                      <a:pt x="121408" y="291044"/>
                    </a:lnTo>
                    <a:lnTo>
                      <a:pt x="120879" y="291308"/>
                    </a:lnTo>
                    <a:lnTo>
                      <a:pt x="120879" y="290779"/>
                    </a:lnTo>
                    <a:lnTo>
                      <a:pt x="121408" y="290779"/>
                    </a:lnTo>
                    <a:lnTo>
                      <a:pt x="121672" y="290779"/>
                    </a:lnTo>
                    <a:lnTo>
                      <a:pt x="122290" y="291308"/>
                    </a:lnTo>
                    <a:lnTo>
                      <a:pt x="123172" y="291573"/>
                    </a:lnTo>
                    <a:lnTo>
                      <a:pt x="123172" y="291926"/>
                    </a:lnTo>
                    <a:close/>
                    <a:moveTo>
                      <a:pt x="121055" y="293072"/>
                    </a:moveTo>
                    <a:lnTo>
                      <a:pt x="120703" y="293072"/>
                    </a:lnTo>
                    <a:lnTo>
                      <a:pt x="120703" y="292543"/>
                    </a:lnTo>
                    <a:lnTo>
                      <a:pt x="120703" y="292278"/>
                    </a:lnTo>
                    <a:lnTo>
                      <a:pt x="120703" y="292807"/>
                    </a:lnTo>
                    <a:lnTo>
                      <a:pt x="121055" y="293072"/>
                    </a:lnTo>
                    <a:close/>
                    <a:moveTo>
                      <a:pt x="200142" y="300390"/>
                    </a:moveTo>
                    <a:lnTo>
                      <a:pt x="198996" y="299508"/>
                    </a:lnTo>
                    <a:lnTo>
                      <a:pt x="195734" y="298891"/>
                    </a:lnTo>
                    <a:lnTo>
                      <a:pt x="193441" y="298009"/>
                    </a:lnTo>
                    <a:lnTo>
                      <a:pt x="191149" y="296863"/>
                    </a:lnTo>
                    <a:lnTo>
                      <a:pt x="189650" y="295100"/>
                    </a:lnTo>
                    <a:lnTo>
                      <a:pt x="189033" y="293953"/>
                    </a:lnTo>
                    <a:lnTo>
                      <a:pt x="188152" y="293072"/>
                    </a:lnTo>
                    <a:lnTo>
                      <a:pt x="185242" y="291573"/>
                    </a:lnTo>
                    <a:lnTo>
                      <a:pt x="182597" y="289545"/>
                    </a:lnTo>
                    <a:lnTo>
                      <a:pt x="180304" y="288399"/>
                    </a:lnTo>
                    <a:lnTo>
                      <a:pt x="180569" y="287253"/>
                    </a:lnTo>
                    <a:lnTo>
                      <a:pt x="179687" y="286635"/>
                    </a:lnTo>
                    <a:lnTo>
                      <a:pt x="180833" y="286106"/>
                    </a:lnTo>
                    <a:lnTo>
                      <a:pt x="180481" y="285225"/>
                    </a:lnTo>
                    <a:lnTo>
                      <a:pt x="178982" y="284343"/>
                    </a:lnTo>
                    <a:lnTo>
                      <a:pt x="179599" y="282844"/>
                    </a:lnTo>
                    <a:lnTo>
                      <a:pt x="179335" y="281345"/>
                    </a:lnTo>
                    <a:lnTo>
                      <a:pt x="177306" y="280199"/>
                    </a:lnTo>
                    <a:lnTo>
                      <a:pt x="176689" y="278171"/>
                    </a:lnTo>
                    <a:lnTo>
                      <a:pt x="179335" y="276408"/>
                    </a:lnTo>
                    <a:lnTo>
                      <a:pt x="180216" y="274909"/>
                    </a:lnTo>
                    <a:lnTo>
                      <a:pt x="180216" y="273763"/>
                    </a:lnTo>
                    <a:lnTo>
                      <a:pt x="180833" y="272881"/>
                    </a:lnTo>
                    <a:lnTo>
                      <a:pt x="179952" y="271735"/>
                    </a:lnTo>
                    <a:lnTo>
                      <a:pt x="180569" y="271470"/>
                    </a:lnTo>
                    <a:lnTo>
                      <a:pt x="179952" y="270941"/>
                    </a:lnTo>
                    <a:lnTo>
                      <a:pt x="180569" y="270677"/>
                    </a:lnTo>
                    <a:lnTo>
                      <a:pt x="180304" y="270412"/>
                    </a:lnTo>
                    <a:lnTo>
                      <a:pt x="179423" y="270148"/>
                    </a:lnTo>
                    <a:lnTo>
                      <a:pt x="179158" y="269531"/>
                    </a:lnTo>
                    <a:lnTo>
                      <a:pt x="178893" y="268914"/>
                    </a:lnTo>
                    <a:lnTo>
                      <a:pt x="177748" y="268649"/>
                    </a:lnTo>
                    <a:lnTo>
                      <a:pt x="176602" y="268385"/>
                    </a:lnTo>
                    <a:lnTo>
                      <a:pt x="174838" y="268649"/>
                    </a:lnTo>
                    <a:lnTo>
                      <a:pt x="173956" y="269266"/>
                    </a:lnTo>
                    <a:lnTo>
                      <a:pt x="173075" y="270148"/>
                    </a:lnTo>
                    <a:lnTo>
                      <a:pt x="168666" y="269531"/>
                    </a:lnTo>
                    <a:lnTo>
                      <a:pt x="164610" y="267503"/>
                    </a:lnTo>
                    <a:lnTo>
                      <a:pt x="161348" y="266974"/>
                    </a:lnTo>
                    <a:lnTo>
                      <a:pt x="154647" y="267238"/>
                    </a:lnTo>
                    <a:lnTo>
                      <a:pt x="147065" y="271030"/>
                    </a:lnTo>
                    <a:lnTo>
                      <a:pt x="141863" y="272793"/>
                    </a:lnTo>
                    <a:lnTo>
                      <a:pt x="134545" y="273675"/>
                    </a:lnTo>
                    <a:lnTo>
                      <a:pt x="129255" y="276584"/>
                    </a:lnTo>
                    <a:lnTo>
                      <a:pt x="117000" y="277466"/>
                    </a:lnTo>
                    <a:lnTo>
                      <a:pt x="114355" y="282756"/>
                    </a:lnTo>
                    <a:lnTo>
                      <a:pt x="105009" y="284519"/>
                    </a:lnTo>
                    <a:lnTo>
                      <a:pt x="96897" y="286812"/>
                    </a:lnTo>
                    <a:lnTo>
                      <a:pt x="94252" y="286283"/>
                    </a:lnTo>
                    <a:lnTo>
                      <a:pt x="89932" y="280728"/>
                    </a:lnTo>
                    <a:lnTo>
                      <a:pt x="96368" y="278436"/>
                    </a:lnTo>
                    <a:lnTo>
                      <a:pt x="97867" y="268473"/>
                    </a:lnTo>
                    <a:lnTo>
                      <a:pt x="105450" y="259744"/>
                    </a:lnTo>
                    <a:lnTo>
                      <a:pt x="113561" y="250398"/>
                    </a:lnTo>
                    <a:lnTo>
                      <a:pt x="116206" y="248635"/>
                    </a:lnTo>
                    <a:lnTo>
                      <a:pt x="122907" y="247136"/>
                    </a:lnTo>
                    <a:lnTo>
                      <a:pt x="123524" y="247400"/>
                    </a:lnTo>
                    <a:lnTo>
                      <a:pt x="127932" y="250046"/>
                    </a:lnTo>
                    <a:lnTo>
                      <a:pt x="130842" y="248018"/>
                    </a:lnTo>
                    <a:lnTo>
                      <a:pt x="136926" y="248547"/>
                    </a:lnTo>
                    <a:lnTo>
                      <a:pt x="139835" y="248018"/>
                    </a:lnTo>
                    <a:lnTo>
                      <a:pt x="145125" y="246871"/>
                    </a:lnTo>
                    <a:lnTo>
                      <a:pt x="146624" y="245990"/>
                    </a:lnTo>
                    <a:lnTo>
                      <a:pt x="148388" y="245108"/>
                    </a:lnTo>
                    <a:lnTo>
                      <a:pt x="150151" y="244844"/>
                    </a:lnTo>
                    <a:lnTo>
                      <a:pt x="151914" y="244844"/>
                    </a:lnTo>
                    <a:lnTo>
                      <a:pt x="152796" y="244844"/>
                    </a:lnTo>
                    <a:lnTo>
                      <a:pt x="153942" y="244844"/>
                    </a:lnTo>
                    <a:lnTo>
                      <a:pt x="155970" y="245108"/>
                    </a:lnTo>
                    <a:lnTo>
                      <a:pt x="157733" y="245108"/>
                    </a:lnTo>
                    <a:lnTo>
                      <a:pt x="159232" y="243962"/>
                    </a:lnTo>
                    <a:lnTo>
                      <a:pt x="160114" y="242463"/>
                    </a:lnTo>
                    <a:lnTo>
                      <a:pt x="162142" y="242199"/>
                    </a:lnTo>
                    <a:lnTo>
                      <a:pt x="164523" y="243609"/>
                    </a:lnTo>
                    <a:lnTo>
                      <a:pt x="164523" y="244491"/>
                    </a:lnTo>
                    <a:lnTo>
                      <a:pt x="164787" y="247665"/>
                    </a:lnTo>
                    <a:lnTo>
                      <a:pt x="165404" y="246783"/>
                    </a:lnTo>
                    <a:lnTo>
                      <a:pt x="166285" y="247929"/>
                    </a:lnTo>
                    <a:lnTo>
                      <a:pt x="167696" y="248458"/>
                    </a:lnTo>
                    <a:lnTo>
                      <a:pt x="168225" y="249076"/>
                    </a:lnTo>
                    <a:lnTo>
                      <a:pt x="169107" y="248811"/>
                    </a:lnTo>
                    <a:lnTo>
                      <a:pt x="167343" y="247665"/>
                    </a:lnTo>
                    <a:lnTo>
                      <a:pt x="168843" y="246783"/>
                    </a:lnTo>
                    <a:lnTo>
                      <a:pt x="169460" y="247048"/>
                    </a:lnTo>
                    <a:lnTo>
                      <a:pt x="170606" y="247929"/>
                    </a:lnTo>
                    <a:lnTo>
                      <a:pt x="171135" y="247665"/>
                    </a:lnTo>
                    <a:lnTo>
                      <a:pt x="172898" y="248811"/>
                    </a:lnTo>
                    <a:lnTo>
                      <a:pt x="174309" y="247929"/>
                    </a:lnTo>
                    <a:lnTo>
                      <a:pt x="173427" y="248811"/>
                    </a:lnTo>
                    <a:lnTo>
                      <a:pt x="175455" y="248811"/>
                    </a:lnTo>
                    <a:lnTo>
                      <a:pt x="176073" y="247929"/>
                    </a:lnTo>
                    <a:lnTo>
                      <a:pt x="174662" y="247312"/>
                    </a:lnTo>
                    <a:lnTo>
                      <a:pt x="176073" y="247312"/>
                    </a:lnTo>
                    <a:lnTo>
                      <a:pt x="177219" y="247312"/>
                    </a:lnTo>
                    <a:lnTo>
                      <a:pt x="177483" y="246695"/>
                    </a:lnTo>
                    <a:lnTo>
                      <a:pt x="176602" y="245813"/>
                    </a:lnTo>
                    <a:lnTo>
                      <a:pt x="176602" y="245196"/>
                    </a:lnTo>
                    <a:lnTo>
                      <a:pt x="178364" y="245461"/>
                    </a:lnTo>
                    <a:lnTo>
                      <a:pt x="178982" y="244579"/>
                    </a:lnTo>
                    <a:lnTo>
                      <a:pt x="178364" y="243433"/>
                    </a:lnTo>
                    <a:lnTo>
                      <a:pt x="179511" y="242551"/>
                    </a:lnTo>
                    <a:lnTo>
                      <a:pt x="180128" y="243697"/>
                    </a:lnTo>
                    <a:lnTo>
                      <a:pt x="181010" y="243697"/>
                    </a:lnTo>
                    <a:lnTo>
                      <a:pt x="178982" y="240171"/>
                    </a:lnTo>
                    <a:lnTo>
                      <a:pt x="175191" y="235850"/>
                    </a:lnTo>
                    <a:lnTo>
                      <a:pt x="175455" y="232676"/>
                    </a:lnTo>
                    <a:lnTo>
                      <a:pt x="175720" y="229767"/>
                    </a:lnTo>
                    <a:lnTo>
                      <a:pt x="177748" y="227386"/>
                    </a:lnTo>
                    <a:lnTo>
                      <a:pt x="179775" y="223595"/>
                    </a:lnTo>
                    <a:lnTo>
                      <a:pt x="180657" y="220685"/>
                    </a:lnTo>
                    <a:lnTo>
                      <a:pt x="181010" y="215131"/>
                    </a:lnTo>
                    <a:lnTo>
                      <a:pt x="179246" y="211340"/>
                    </a:lnTo>
                    <a:lnTo>
                      <a:pt x="177219" y="209047"/>
                    </a:lnTo>
                    <a:lnTo>
                      <a:pt x="175191" y="207019"/>
                    </a:lnTo>
                    <a:lnTo>
                      <a:pt x="174926" y="204991"/>
                    </a:lnTo>
                    <a:lnTo>
                      <a:pt x="174309" y="202346"/>
                    </a:lnTo>
                    <a:lnTo>
                      <a:pt x="175191" y="201465"/>
                    </a:lnTo>
                    <a:lnTo>
                      <a:pt x="178100" y="200848"/>
                    </a:lnTo>
                    <a:lnTo>
                      <a:pt x="180128" y="198820"/>
                    </a:lnTo>
                    <a:lnTo>
                      <a:pt x="183655" y="197938"/>
                    </a:lnTo>
                    <a:lnTo>
                      <a:pt x="185683" y="199701"/>
                    </a:lnTo>
                    <a:lnTo>
                      <a:pt x="184536" y="201729"/>
                    </a:lnTo>
                    <a:lnTo>
                      <a:pt x="185154" y="203493"/>
                    </a:lnTo>
                    <a:lnTo>
                      <a:pt x="182861" y="203757"/>
                    </a:lnTo>
                    <a:lnTo>
                      <a:pt x="182244" y="206402"/>
                    </a:lnTo>
                    <a:lnTo>
                      <a:pt x="180216" y="205520"/>
                    </a:lnTo>
                    <a:lnTo>
                      <a:pt x="179599" y="205520"/>
                    </a:lnTo>
                    <a:lnTo>
                      <a:pt x="179599" y="206667"/>
                    </a:lnTo>
                    <a:lnTo>
                      <a:pt x="179864" y="208430"/>
                    </a:lnTo>
                    <a:lnTo>
                      <a:pt x="181627" y="208695"/>
                    </a:lnTo>
                    <a:lnTo>
                      <a:pt x="183390" y="209312"/>
                    </a:lnTo>
                    <a:lnTo>
                      <a:pt x="184536" y="210193"/>
                    </a:lnTo>
                    <a:lnTo>
                      <a:pt x="185683" y="213103"/>
                    </a:lnTo>
                    <a:lnTo>
                      <a:pt x="188328" y="216277"/>
                    </a:lnTo>
                    <a:lnTo>
                      <a:pt x="191766" y="217159"/>
                    </a:lnTo>
                    <a:lnTo>
                      <a:pt x="193794" y="216542"/>
                    </a:lnTo>
                    <a:lnTo>
                      <a:pt x="193794" y="213015"/>
                    </a:lnTo>
                    <a:lnTo>
                      <a:pt x="194411" y="212398"/>
                    </a:lnTo>
                    <a:lnTo>
                      <a:pt x="200231" y="210370"/>
                    </a:lnTo>
                    <a:lnTo>
                      <a:pt x="203140" y="208077"/>
                    </a:lnTo>
                    <a:lnTo>
                      <a:pt x="205785" y="206931"/>
                    </a:lnTo>
                    <a:lnTo>
                      <a:pt x="209841" y="202523"/>
                    </a:lnTo>
                    <a:lnTo>
                      <a:pt x="211604" y="198467"/>
                    </a:lnTo>
                    <a:lnTo>
                      <a:pt x="211869" y="193265"/>
                    </a:lnTo>
                    <a:lnTo>
                      <a:pt x="214249" y="187446"/>
                    </a:lnTo>
                    <a:lnTo>
                      <a:pt x="216895" y="186300"/>
                    </a:lnTo>
                    <a:lnTo>
                      <a:pt x="218657" y="182509"/>
                    </a:lnTo>
                    <a:lnTo>
                      <a:pt x="217776" y="178717"/>
                    </a:lnTo>
                    <a:lnTo>
                      <a:pt x="216630" y="175808"/>
                    </a:lnTo>
                    <a:lnTo>
                      <a:pt x="216277" y="173515"/>
                    </a:lnTo>
                    <a:lnTo>
                      <a:pt x="216277" y="170606"/>
                    </a:lnTo>
                    <a:lnTo>
                      <a:pt x="216895" y="168225"/>
                    </a:lnTo>
                    <a:lnTo>
                      <a:pt x="217159" y="163288"/>
                    </a:lnTo>
                    <a:lnTo>
                      <a:pt x="215748" y="159232"/>
                    </a:lnTo>
                    <a:lnTo>
                      <a:pt x="214866" y="156323"/>
                    </a:lnTo>
                    <a:lnTo>
                      <a:pt x="214602" y="151914"/>
                    </a:lnTo>
                    <a:lnTo>
                      <a:pt x="210194" y="142304"/>
                    </a:lnTo>
                    <a:lnTo>
                      <a:pt x="204903" y="138777"/>
                    </a:lnTo>
                    <a:lnTo>
                      <a:pt x="203757" y="139659"/>
                    </a:lnTo>
                    <a:lnTo>
                      <a:pt x="200583" y="137895"/>
                    </a:lnTo>
                    <a:lnTo>
                      <a:pt x="199437" y="136132"/>
                    </a:lnTo>
                    <a:lnTo>
                      <a:pt x="202964" y="136749"/>
                    </a:lnTo>
                    <a:lnTo>
                      <a:pt x="200936" y="127403"/>
                    </a:lnTo>
                    <a:lnTo>
                      <a:pt x="198026" y="125023"/>
                    </a:lnTo>
                    <a:lnTo>
                      <a:pt x="195117" y="121496"/>
                    </a:lnTo>
                    <a:lnTo>
                      <a:pt x="194235" y="119997"/>
                    </a:lnTo>
                    <a:lnTo>
                      <a:pt x="195117" y="117088"/>
                    </a:lnTo>
                    <a:lnTo>
                      <a:pt x="198644" y="116470"/>
                    </a:lnTo>
                    <a:lnTo>
                      <a:pt x="195998" y="108888"/>
                    </a:lnTo>
                    <a:lnTo>
                      <a:pt x="195117" y="107742"/>
                    </a:lnTo>
                    <a:lnTo>
                      <a:pt x="194499" y="105097"/>
                    </a:lnTo>
                    <a:lnTo>
                      <a:pt x="198291" y="106243"/>
                    </a:lnTo>
                    <a:lnTo>
                      <a:pt x="201465" y="107125"/>
                    </a:lnTo>
                    <a:lnTo>
                      <a:pt x="204374" y="112415"/>
                    </a:lnTo>
                    <a:lnTo>
                      <a:pt x="209047" y="115324"/>
                    </a:lnTo>
                    <a:lnTo>
                      <a:pt x="209665" y="113296"/>
                    </a:lnTo>
                    <a:lnTo>
                      <a:pt x="208783" y="111533"/>
                    </a:lnTo>
                    <a:lnTo>
                      <a:pt x="210811" y="111797"/>
                    </a:lnTo>
                    <a:lnTo>
                      <a:pt x="215748" y="114443"/>
                    </a:lnTo>
                    <a:lnTo>
                      <a:pt x="214602" y="108006"/>
                    </a:lnTo>
                    <a:lnTo>
                      <a:pt x="210194" y="104215"/>
                    </a:lnTo>
                    <a:lnTo>
                      <a:pt x="209929" y="106243"/>
                    </a:lnTo>
                    <a:lnTo>
                      <a:pt x="206667" y="107125"/>
                    </a:lnTo>
                    <a:lnTo>
                      <a:pt x="204022" y="107389"/>
                    </a:lnTo>
                    <a:lnTo>
                      <a:pt x="202523" y="103598"/>
                    </a:lnTo>
                    <a:lnTo>
                      <a:pt x="201641" y="100424"/>
                    </a:lnTo>
                    <a:lnTo>
                      <a:pt x="201024" y="97514"/>
                    </a:lnTo>
                    <a:lnTo>
                      <a:pt x="205432" y="99278"/>
                    </a:lnTo>
                    <a:lnTo>
                      <a:pt x="211516" y="102452"/>
                    </a:lnTo>
                    <a:lnTo>
                      <a:pt x="214426" y="101306"/>
                    </a:lnTo>
                    <a:lnTo>
                      <a:pt x="215836" y="105714"/>
                    </a:lnTo>
                    <a:lnTo>
                      <a:pt x="219628" y="112415"/>
                    </a:lnTo>
                    <a:lnTo>
                      <a:pt x="226328" y="121143"/>
                    </a:lnTo>
                    <a:lnTo>
                      <a:pt x="231001" y="123436"/>
                    </a:lnTo>
                    <a:lnTo>
                      <a:pt x="234175" y="125816"/>
                    </a:lnTo>
                    <a:lnTo>
                      <a:pt x="238231" y="129343"/>
                    </a:lnTo>
                    <a:lnTo>
                      <a:pt x="240524" y="131988"/>
                    </a:lnTo>
                    <a:lnTo>
                      <a:pt x="241405" y="133751"/>
                    </a:lnTo>
                    <a:lnTo>
                      <a:pt x="246960" y="136661"/>
                    </a:lnTo>
                    <a:lnTo>
                      <a:pt x="248370" y="140717"/>
                    </a:lnTo>
                    <a:lnTo>
                      <a:pt x="249516" y="142745"/>
                    </a:lnTo>
                    <a:lnTo>
                      <a:pt x="250663" y="145125"/>
                    </a:lnTo>
                    <a:lnTo>
                      <a:pt x="251809" y="145125"/>
                    </a:lnTo>
                    <a:lnTo>
                      <a:pt x="253308" y="146889"/>
                    </a:lnTo>
                    <a:lnTo>
                      <a:pt x="253308" y="147770"/>
                    </a:lnTo>
                    <a:lnTo>
                      <a:pt x="253925" y="152179"/>
                    </a:lnTo>
                    <a:lnTo>
                      <a:pt x="254542" y="152443"/>
                    </a:lnTo>
                    <a:lnTo>
                      <a:pt x="254278" y="153325"/>
                    </a:lnTo>
                    <a:lnTo>
                      <a:pt x="254895" y="154207"/>
                    </a:lnTo>
                    <a:lnTo>
                      <a:pt x="256041" y="156851"/>
                    </a:lnTo>
                    <a:lnTo>
                      <a:pt x="255424" y="158879"/>
                    </a:lnTo>
                    <a:lnTo>
                      <a:pt x="256041" y="160290"/>
                    </a:lnTo>
                    <a:lnTo>
                      <a:pt x="252867" y="164698"/>
                    </a:lnTo>
                    <a:lnTo>
                      <a:pt x="255512" y="168225"/>
                    </a:lnTo>
                    <a:lnTo>
                      <a:pt x="254630" y="169107"/>
                    </a:lnTo>
                    <a:lnTo>
                      <a:pt x="253484" y="169372"/>
                    </a:lnTo>
                    <a:lnTo>
                      <a:pt x="255512" y="170253"/>
                    </a:lnTo>
                    <a:lnTo>
                      <a:pt x="255512" y="172016"/>
                    </a:lnTo>
                    <a:lnTo>
                      <a:pt x="257275" y="172898"/>
                    </a:lnTo>
                    <a:lnTo>
                      <a:pt x="257011" y="173515"/>
                    </a:lnTo>
                    <a:lnTo>
                      <a:pt x="257893" y="175014"/>
                    </a:lnTo>
                    <a:lnTo>
                      <a:pt x="257628" y="175631"/>
                    </a:lnTo>
                    <a:lnTo>
                      <a:pt x="258775" y="176249"/>
                    </a:lnTo>
                    <a:lnTo>
                      <a:pt x="258510" y="176866"/>
                    </a:lnTo>
                    <a:lnTo>
                      <a:pt x="260273" y="178629"/>
                    </a:lnTo>
                    <a:lnTo>
                      <a:pt x="259127" y="178629"/>
                    </a:lnTo>
                    <a:lnTo>
                      <a:pt x="257981" y="177483"/>
                    </a:lnTo>
                    <a:lnTo>
                      <a:pt x="257716" y="176866"/>
                    </a:lnTo>
                    <a:lnTo>
                      <a:pt x="257099" y="176249"/>
                    </a:lnTo>
                    <a:lnTo>
                      <a:pt x="255600" y="175984"/>
                    </a:lnTo>
                    <a:lnTo>
                      <a:pt x="251809" y="177130"/>
                    </a:lnTo>
                    <a:lnTo>
                      <a:pt x="250663" y="176866"/>
                    </a:lnTo>
                    <a:lnTo>
                      <a:pt x="249781" y="177747"/>
                    </a:lnTo>
                    <a:lnTo>
                      <a:pt x="250398" y="178365"/>
                    </a:lnTo>
                    <a:lnTo>
                      <a:pt x="251016" y="178365"/>
                    </a:lnTo>
                    <a:lnTo>
                      <a:pt x="250398" y="179511"/>
                    </a:lnTo>
                    <a:lnTo>
                      <a:pt x="250398" y="181539"/>
                    </a:lnTo>
                    <a:lnTo>
                      <a:pt x="250751" y="182685"/>
                    </a:lnTo>
                    <a:lnTo>
                      <a:pt x="251632" y="185859"/>
                    </a:lnTo>
                    <a:lnTo>
                      <a:pt x="254278" y="189386"/>
                    </a:lnTo>
                    <a:lnTo>
                      <a:pt x="255777" y="190884"/>
                    </a:lnTo>
                    <a:lnTo>
                      <a:pt x="258950" y="195293"/>
                    </a:lnTo>
                    <a:lnTo>
                      <a:pt x="263006" y="202611"/>
                    </a:lnTo>
                    <a:lnTo>
                      <a:pt x="265299" y="208695"/>
                    </a:lnTo>
                    <a:lnTo>
                      <a:pt x="266180" y="212486"/>
                    </a:lnTo>
                    <a:lnTo>
                      <a:pt x="264682" y="213367"/>
                    </a:lnTo>
                    <a:lnTo>
                      <a:pt x="264682" y="215395"/>
                    </a:lnTo>
                    <a:lnTo>
                      <a:pt x="265211" y="219451"/>
                    </a:lnTo>
                    <a:lnTo>
                      <a:pt x="265475" y="223860"/>
                    </a:lnTo>
                    <a:lnTo>
                      <a:pt x="266621" y="227915"/>
                    </a:lnTo>
                    <a:lnTo>
                      <a:pt x="270412" y="234352"/>
                    </a:lnTo>
                    <a:lnTo>
                      <a:pt x="273939" y="238407"/>
                    </a:lnTo>
                    <a:lnTo>
                      <a:pt x="274204" y="238407"/>
                    </a:lnTo>
                    <a:lnTo>
                      <a:pt x="280287" y="243345"/>
                    </a:lnTo>
                    <a:lnTo>
                      <a:pt x="276496" y="243962"/>
                    </a:lnTo>
                    <a:lnTo>
                      <a:pt x="273851" y="251280"/>
                    </a:lnTo>
                    <a:lnTo>
                      <a:pt x="276143" y="255071"/>
                    </a:lnTo>
                    <a:lnTo>
                      <a:pt x="275262" y="257716"/>
                    </a:lnTo>
                    <a:lnTo>
                      <a:pt x="274380" y="258598"/>
                    </a:lnTo>
                    <a:lnTo>
                      <a:pt x="271735" y="258598"/>
                    </a:lnTo>
                    <a:lnTo>
                      <a:pt x="270236" y="260978"/>
                    </a:lnTo>
                    <a:lnTo>
                      <a:pt x="268473" y="263888"/>
                    </a:lnTo>
                    <a:lnTo>
                      <a:pt x="267327" y="261860"/>
                    </a:lnTo>
                    <a:lnTo>
                      <a:pt x="266445" y="260714"/>
                    </a:lnTo>
                    <a:lnTo>
                      <a:pt x="265563" y="258333"/>
                    </a:lnTo>
                    <a:lnTo>
                      <a:pt x="265299" y="256041"/>
                    </a:lnTo>
                    <a:lnTo>
                      <a:pt x="263006" y="253396"/>
                    </a:lnTo>
                    <a:lnTo>
                      <a:pt x="264153" y="251985"/>
                    </a:lnTo>
                    <a:lnTo>
                      <a:pt x="264417" y="250222"/>
                    </a:lnTo>
                    <a:lnTo>
                      <a:pt x="264946" y="249869"/>
                    </a:lnTo>
                    <a:lnTo>
                      <a:pt x="265211" y="248723"/>
                    </a:lnTo>
                    <a:lnTo>
                      <a:pt x="266092" y="248194"/>
                    </a:lnTo>
                    <a:lnTo>
                      <a:pt x="265828" y="246431"/>
                    </a:lnTo>
                    <a:lnTo>
                      <a:pt x="262566" y="244932"/>
                    </a:lnTo>
                    <a:lnTo>
                      <a:pt x="261419" y="244315"/>
                    </a:lnTo>
                    <a:lnTo>
                      <a:pt x="261419" y="245461"/>
                    </a:lnTo>
                    <a:lnTo>
                      <a:pt x="260273" y="244844"/>
                    </a:lnTo>
                    <a:lnTo>
                      <a:pt x="259127" y="244844"/>
                    </a:lnTo>
                    <a:lnTo>
                      <a:pt x="258862" y="245461"/>
                    </a:lnTo>
                    <a:lnTo>
                      <a:pt x="258333" y="245461"/>
                    </a:lnTo>
                    <a:lnTo>
                      <a:pt x="257716" y="244844"/>
                    </a:lnTo>
                    <a:lnTo>
                      <a:pt x="258333" y="246342"/>
                    </a:lnTo>
                    <a:lnTo>
                      <a:pt x="260097" y="248370"/>
                    </a:lnTo>
                    <a:lnTo>
                      <a:pt x="258686" y="248635"/>
                    </a:lnTo>
                    <a:lnTo>
                      <a:pt x="257804" y="249781"/>
                    </a:lnTo>
                    <a:lnTo>
                      <a:pt x="258686" y="250398"/>
                    </a:lnTo>
                    <a:lnTo>
                      <a:pt x="258157" y="251015"/>
                    </a:lnTo>
                    <a:lnTo>
                      <a:pt x="258686" y="251897"/>
                    </a:lnTo>
                    <a:lnTo>
                      <a:pt x="259304" y="253043"/>
                    </a:lnTo>
                    <a:lnTo>
                      <a:pt x="260185" y="254189"/>
                    </a:lnTo>
                    <a:lnTo>
                      <a:pt x="262566" y="255071"/>
                    </a:lnTo>
                    <a:lnTo>
                      <a:pt x="261331" y="256570"/>
                    </a:lnTo>
                    <a:lnTo>
                      <a:pt x="261684" y="258069"/>
                    </a:lnTo>
                    <a:lnTo>
                      <a:pt x="261155" y="257540"/>
                    </a:lnTo>
                    <a:lnTo>
                      <a:pt x="260537" y="256658"/>
                    </a:lnTo>
                    <a:lnTo>
                      <a:pt x="259039" y="255159"/>
                    </a:lnTo>
                    <a:lnTo>
                      <a:pt x="254630" y="253660"/>
                    </a:lnTo>
                    <a:lnTo>
                      <a:pt x="250574" y="256835"/>
                    </a:lnTo>
                    <a:lnTo>
                      <a:pt x="250574" y="258598"/>
                    </a:lnTo>
                    <a:lnTo>
                      <a:pt x="251456" y="260097"/>
                    </a:lnTo>
                    <a:lnTo>
                      <a:pt x="253484" y="262389"/>
                    </a:lnTo>
                    <a:lnTo>
                      <a:pt x="253749" y="265828"/>
                    </a:lnTo>
                    <a:lnTo>
                      <a:pt x="253132" y="268473"/>
                    </a:lnTo>
                    <a:lnTo>
                      <a:pt x="252867" y="269619"/>
                    </a:lnTo>
                    <a:lnTo>
                      <a:pt x="251721" y="270765"/>
                    </a:lnTo>
                    <a:lnTo>
                      <a:pt x="249340" y="270148"/>
                    </a:lnTo>
                    <a:lnTo>
                      <a:pt x="247929" y="267856"/>
                    </a:lnTo>
                    <a:lnTo>
                      <a:pt x="246783" y="265828"/>
                    </a:lnTo>
                    <a:lnTo>
                      <a:pt x="246519" y="263535"/>
                    </a:lnTo>
                    <a:lnTo>
                      <a:pt x="245020" y="260626"/>
                    </a:lnTo>
                    <a:lnTo>
                      <a:pt x="247400" y="260890"/>
                    </a:lnTo>
                    <a:lnTo>
                      <a:pt x="245902" y="259391"/>
                    </a:lnTo>
                    <a:lnTo>
                      <a:pt x="240347" y="258510"/>
                    </a:lnTo>
                    <a:lnTo>
                      <a:pt x="239466" y="261419"/>
                    </a:lnTo>
                    <a:lnTo>
                      <a:pt x="240082" y="261155"/>
                    </a:lnTo>
                    <a:lnTo>
                      <a:pt x="237702" y="264064"/>
                    </a:lnTo>
                    <a:lnTo>
                      <a:pt x="236820" y="268473"/>
                    </a:lnTo>
                    <a:lnTo>
                      <a:pt x="237966" y="271382"/>
                    </a:lnTo>
                    <a:lnTo>
                      <a:pt x="230649" y="269619"/>
                    </a:lnTo>
                    <a:lnTo>
                      <a:pt x="229238" y="270236"/>
                    </a:lnTo>
                    <a:lnTo>
                      <a:pt x="227474" y="269619"/>
                    </a:lnTo>
                    <a:lnTo>
                      <a:pt x="224300" y="269354"/>
                    </a:lnTo>
                    <a:lnTo>
                      <a:pt x="216453" y="271382"/>
                    </a:lnTo>
                    <a:lnTo>
                      <a:pt x="214073" y="269883"/>
                    </a:lnTo>
                    <a:lnTo>
                      <a:pt x="214955" y="270148"/>
                    </a:lnTo>
                    <a:lnTo>
                      <a:pt x="217335" y="268649"/>
                    </a:lnTo>
                    <a:lnTo>
                      <a:pt x="218217" y="269266"/>
                    </a:lnTo>
                    <a:lnTo>
                      <a:pt x="217599" y="267238"/>
                    </a:lnTo>
                    <a:lnTo>
                      <a:pt x="216982" y="266357"/>
                    </a:lnTo>
                    <a:lnTo>
                      <a:pt x="214955" y="265740"/>
                    </a:lnTo>
                    <a:lnTo>
                      <a:pt x="214073" y="266886"/>
                    </a:lnTo>
                    <a:lnTo>
                      <a:pt x="212310" y="266886"/>
                    </a:lnTo>
                    <a:lnTo>
                      <a:pt x="209929" y="265387"/>
                    </a:lnTo>
                    <a:lnTo>
                      <a:pt x="208518" y="263359"/>
                    </a:lnTo>
                    <a:lnTo>
                      <a:pt x="208783" y="266004"/>
                    </a:lnTo>
                    <a:lnTo>
                      <a:pt x="210811" y="268914"/>
                    </a:lnTo>
                    <a:lnTo>
                      <a:pt x="207901" y="267415"/>
                    </a:lnTo>
                    <a:lnTo>
                      <a:pt x="204991" y="261860"/>
                    </a:lnTo>
                    <a:lnTo>
                      <a:pt x="204991" y="259832"/>
                    </a:lnTo>
                    <a:lnTo>
                      <a:pt x="204727" y="258686"/>
                    </a:lnTo>
                    <a:lnTo>
                      <a:pt x="203845" y="259303"/>
                    </a:lnTo>
                    <a:lnTo>
                      <a:pt x="203228" y="260449"/>
                    </a:lnTo>
                    <a:lnTo>
                      <a:pt x="202082" y="260449"/>
                    </a:lnTo>
                    <a:lnTo>
                      <a:pt x="201818" y="260714"/>
                    </a:lnTo>
                    <a:lnTo>
                      <a:pt x="200671" y="261596"/>
                    </a:lnTo>
                    <a:lnTo>
                      <a:pt x="201553" y="262477"/>
                    </a:lnTo>
                    <a:lnTo>
                      <a:pt x="201200" y="266886"/>
                    </a:lnTo>
                    <a:lnTo>
                      <a:pt x="202699" y="269531"/>
                    </a:lnTo>
                    <a:lnTo>
                      <a:pt x="203581" y="271030"/>
                    </a:lnTo>
                    <a:lnTo>
                      <a:pt x="207107" y="272529"/>
                    </a:lnTo>
                    <a:lnTo>
                      <a:pt x="207989" y="273057"/>
                    </a:lnTo>
                    <a:lnTo>
                      <a:pt x="208607" y="273675"/>
                    </a:lnTo>
                    <a:lnTo>
                      <a:pt x="210370" y="274292"/>
                    </a:lnTo>
                    <a:lnTo>
                      <a:pt x="211252" y="274292"/>
                    </a:lnTo>
                    <a:lnTo>
                      <a:pt x="211869" y="274909"/>
                    </a:lnTo>
                    <a:lnTo>
                      <a:pt x="213015" y="275174"/>
                    </a:lnTo>
                    <a:lnTo>
                      <a:pt x="213279" y="276672"/>
                    </a:lnTo>
                    <a:lnTo>
                      <a:pt x="211781" y="277290"/>
                    </a:lnTo>
                    <a:lnTo>
                      <a:pt x="212927" y="277819"/>
                    </a:lnTo>
                    <a:lnTo>
                      <a:pt x="213808" y="278436"/>
                    </a:lnTo>
                    <a:lnTo>
                      <a:pt x="213808" y="279847"/>
                    </a:lnTo>
                    <a:lnTo>
                      <a:pt x="211516" y="279582"/>
                    </a:lnTo>
                    <a:lnTo>
                      <a:pt x="213544" y="279582"/>
                    </a:lnTo>
                    <a:lnTo>
                      <a:pt x="213279" y="279317"/>
                    </a:lnTo>
                    <a:lnTo>
                      <a:pt x="213015" y="279053"/>
                    </a:lnTo>
                    <a:lnTo>
                      <a:pt x="211869" y="278436"/>
                    </a:lnTo>
                    <a:lnTo>
                      <a:pt x="211604" y="278700"/>
                    </a:lnTo>
                    <a:lnTo>
                      <a:pt x="210458" y="278965"/>
                    </a:lnTo>
                    <a:lnTo>
                      <a:pt x="209841" y="278348"/>
                    </a:lnTo>
                    <a:lnTo>
                      <a:pt x="209312" y="278083"/>
                    </a:lnTo>
                    <a:lnTo>
                      <a:pt x="209312" y="278348"/>
                    </a:lnTo>
                    <a:lnTo>
                      <a:pt x="209576" y="278612"/>
                    </a:lnTo>
                    <a:lnTo>
                      <a:pt x="208078" y="279758"/>
                    </a:lnTo>
                    <a:lnTo>
                      <a:pt x="207460" y="279758"/>
                    </a:lnTo>
                    <a:lnTo>
                      <a:pt x="206578" y="279494"/>
                    </a:lnTo>
                    <a:lnTo>
                      <a:pt x="206931" y="280640"/>
                    </a:lnTo>
                    <a:lnTo>
                      <a:pt x="206049" y="280904"/>
                    </a:lnTo>
                    <a:lnTo>
                      <a:pt x="204286" y="281522"/>
                    </a:lnTo>
                    <a:lnTo>
                      <a:pt x="203669" y="281522"/>
                    </a:lnTo>
                    <a:lnTo>
                      <a:pt x="203405" y="283285"/>
                    </a:lnTo>
                    <a:lnTo>
                      <a:pt x="204022" y="284167"/>
                    </a:lnTo>
                    <a:lnTo>
                      <a:pt x="203140" y="283285"/>
                    </a:lnTo>
                    <a:lnTo>
                      <a:pt x="202523" y="284784"/>
                    </a:lnTo>
                    <a:lnTo>
                      <a:pt x="204286" y="286283"/>
                    </a:lnTo>
                    <a:lnTo>
                      <a:pt x="204286" y="286812"/>
                    </a:lnTo>
                    <a:lnTo>
                      <a:pt x="202258" y="287076"/>
                    </a:lnTo>
                    <a:lnTo>
                      <a:pt x="204022" y="287076"/>
                    </a:lnTo>
                    <a:lnTo>
                      <a:pt x="204022" y="288222"/>
                    </a:lnTo>
                    <a:lnTo>
                      <a:pt x="202876" y="288840"/>
                    </a:lnTo>
                    <a:lnTo>
                      <a:pt x="201994" y="293248"/>
                    </a:lnTo>
                    <a:lnTo>
                      <a:pt x="202258" y="295276"/>
                    </a:lnTo>
                    <a:lnTo>
                      <a:pt x="201641" y="296422"/>
                    </a:lnTo>
                    <a:lnTo>
                      <a:pt x="202523" y="297039"/>
                    </a:lnTo>
                    <a:lnTo>
                      <a:pt x="201641" y="297921"/>
                    </a:lnTo>
                    <a:lnTo>
                      <a:pt x="200142" y="299420"/>
                    </a:lnTo>
                    <a:lnTo>
                      <a:pt x="200142" y="300390"/>
                    </a:lnTo>
                    <a:close/>
                    <a:moveTo>
                      <a:pt x="201289" y="299773"/>
                    </a:moveTo>
                    <a:lnTo>
                      <a:pt x="201024" y="299773"/>
                    </a:lnTo>
                    <a:lnTo>
                      <a:pt x="200407" y="299508"/>
                    </a:lnTo>
                    <a:lnTo>
                      <a:pt x="200407" y="299244"/>
                    </a:lnTo>
                    <a:lnTo>
                      <a:pt x="201289" y="299244"/>
                    </a:lnTo>
                    <a:lnTo>
                      <a:pt x="201641" y="299508"/>
                    </a:lnTo>
                    <a:lnTo>
                      <a:pt x="201289" y="299773"/>
                    </a:lnTo>
                    <a:close/>
                    <a:moveTo>
                      <a:pt x="291132" y="307355"/>
                    </a:moveTo>
                    <a:lnTo>
                      <a:pt x="290250" y="307090"/>
                    </a:lnTo>
                    <a:lnTo>
                      <a:pt x="289369" y="306209"/>
                    </a:lnTo>
                    <a:lnTo>
                      <a:pt x="288487" y="305592"/>
                    </a:lnTo>
                    <a:lnTo>
                      <a:pt x="288222" y="304710"/>
                    </a:lnTo>
                    <a:lnTo>
                      <a:pt x="289369" y="304974"/>
                    </a:lnTo>
                    <a:lnTo>
                      <a:pt x="290250" y="305592"/>
                    </a:lnTo>
                    <a:lnTo>
                      <a:pt x="291132" y="306209"/>
                    </a:lnTo>
                    <a:lnTo>
                      <a:pt x="291132" y="306826"/>
                    </a:lnTo>
                    <a:lnTo>
                      <a:pt x="291132" y="307355"/>
                    </a:lnTo>
                    <a:close/>
                    <a:moveTo>
                      <a:pt x="286459" y="308237"/>
                    </a:moveTo>
                    <a:lnTo>
                      <a:pt x="285842" y="307972"/>
                    </a:lnTo>
                    <a:lnTo>
                      <a:pt x="286459" y="308237"/>
                    </a:lnTo>
                    <a:close/>
                    <a:moveTo>
                      <a:pt x="294923" y="325165"/>
                    </a:moveTo>
                    <a:lnTo>
                      <a:pt x="294306" y="324548"/>
                    </a:lnTo>
                    <a:lnTo>
                      <a:pt x="295188" y="324812"/>
                    </a:lnTo>
                    <a:lnTo>
                      <a:pt x="294923" y="325165"/>
                    </a:lnTo>
                    <a:close/>
                    <a:moveTo>
                      <a:pt x="326664" y="374451"/>
                    </a:moveTo>
                    <a:lnTo>
                      <a:pt x="326135" y="374451"/>
                    </a:lnTo>
                    <a:lnTo>
                      <a:pt x="326400" y="374098"/>
                    </a:lnTo>
                    <a:lnTo>
                      <a:pt x="326664" y="374451"/>
                    </a:lnTo>
                    <a:close/>
                    <a:moveTo>
                      <a:pt x="390322" y="444721"/>
                    </a:moveTo>
                    <a:lnTo>
                      <a:pt x="390322" y="444721"/>
                    </a:lnTo>
                    <a:lnTo>
                      <a:pt x="390057" y="444721"/>
                    </a:lnTo>
                    <a:lnTo>
                      <a:pt x="390057" y="444369"/>
                    </a:lnTo>
                    <a:lnTo>
                      <a:pt x="390322" y="444369"/>
                    </a:lnTo>
                    <a:lnTo>
                      <a:pt x="390322" y="444721"/>
                    </a:lnTo>
                    <a:close/>
                    <a:moveTo>
                      <a:pt x="391732" y="446220"/>
                    </a:moveTo>
                    <a:lnTo>
                      <a:pt x="391468" y="445956"/>
                    </a:lnTo>
                    <a:lnTo>
                      <a:pt x="391468" y="445691"/>
                    </a:lnTo>
                    <a:lnTo>
                      <a:pt x="391732" y="445956"/>
                    </a:lnTo>
                    <a:lnTo>
                      <a:pt x="391732" y="446220"/>
                    </a:lnTo>
                    <a:close/>
                    <a:moveTo>
                      <a:pt x="393231" y="449394"/>
                    </a:moveTo>
                    <a:lnTo>
                      <a:pt x="392967" y="449130"/>
                    </a:lnTo>
                    <a:lnTo>
                      <a:pt x="393231" y="449130"/>
                    </a:lnTo>
                    <a:lnTo>
                      <a:pt x="393231" y="449394"/>
                    </a:lnTo>
                    <a:close/>
                    <a:moveTo>
                      <a:pt x="395523" y="457858"/>
                    </a:moveTo>
                    <a:lnTo>
                      <a:pt x="395259" y="457858"/>
                    </a:lnTo>
                    <a:lnTo>
                      <a:pt x="395259" y="457594"/>
                    </a:lnTo>
                    <a:lnTo>
                      <a:pt x="395259" y="456977"/>
                    </a:lnTo>
                    <a:lnTo>
                      <a:pt x="395523" y="457241"/>
                    </a:lnTo>
                    <a:lnTo>
                      <a:pt x="395523" y="457506"/>
                    </a:lnTo>
                    <a:lnTo>
                      <a:pt x="395523" y="457858"/>
                    </a:lnTo>
                    <a:close/>
                    <a:moveTo>
                      <a:pt x="396405" y="459005"/>
                    </a:moveTo>
                    <a:lnTo>
                      <a:pt x="396140" y="458740"/>
                    </a:lnTo>
                    <a:lnTo>
                      <a:pt x="395876" y="458740"/>
                    </a:lnTo>
                    <a:lnTo>
                      <a:pt x="395611" y="458123"/>
                    </a:lnTo>
                    <a:lnTo>
                      <a:pt x="395876" y="458123"/>
                    </a:lnTo>
                    <a:lnTo>
                      <a:pt x="396140" y="458387"/>
                    </a:lnTo>
                    <a:lnTo>
                      <a:pt x="396405" y="458652"/>
                    </a:lnTo>
                    <a:lnTo>
                      <a:pt x="396758" y="458916"/>
                    </a:lnTo>
                    <a:lnTo>
                      <a:pt x="396405" y="458916"/>
                    </a:lnTo>
                    <a:close/>
                    <a:moveTo>
                      <a:pt x="396140" y="460768"/>
                    </a:moveTo>
                    <a:lnTo>
                      <a:pt x="396140" y="460415"/>
                    </a:lnTo>
                    <a:lnTo>
                      <a:pt x="396140" y="460768"/>
                    </a:lnTo>
                    <a:close/>
                    <a:moveTo>
                      <a:pt x="397287" y="460768"/>
                    </a:moveTo>
                    <a:lnTo>
                      <a:pt x="397022" y="460415"/>
                    </a:lnTo>
                    <a:lnTo>
                      <a:pt x="396758" y="460415"/>
                    </a:lnTo>
                    <a:lnTo>
                      <a:pt x="396405" y="460415"/>
                    </a:lnTo>
                    <a:lnTo>
                      <a:pt x="396140" y="460151"/>
                    </a:lnTo>
                    <a:lnTo>
                      <a:pt x="396140" y="459886"/>
                    </a:lnTo>
                    <a:lnTo>
                      <a:pt x="396405" y="459622"/>
                    </a:lnTo>
                    <a:lnTo>
                      <a:pt x="396140" y="459357"/>
                    </a:lnTo>
                    <a:lnTo>
                      <a:pt x="395876" y="459093"/>
                    </a:lnTo>
                    <a:lnTo>
                      <a:pt x="396758" y="459357"/>
                    </a:lnTo>
                    <a:lnTo>
                      <a:pt x="396758" y="459622"/>
                    </a:lnTo>
                    <a:lnTo>
                      <a:pt x="397022" y="459886"/>
                    </a:lnTo>
                    <a:lnTo>
                      <a:pt x="397287" y="460151"/>
                    </a:lnTo>
                    <a:lnTo>
                      <a:pt x="397022" y="460151"/>
                    </a:lnTo>
                    <a:lnTo>
                      <a:pt x="397287" y="460768"/>
                    </a:lnTo>
                    <a:close/>
                    <a:moveTo>
                      <a:pt x="399667" y="471613"/>
                    </a:moveTo>
                    <a:lnTo>
                      <a:pt x="399314" y="471348"/>
                    </a:lnTo>
                    <a:lnTo>
                      <a:pt x="399050" y="470731"/>
                    </a:lnTo>
                    <a:lnTo>
                      <a:pt x="398698" y="470466"/>
                    </a:lnTo>
                    <a:lnTo>
                      <a:pt x="398433" y="470202"/>
                    </a:lnTo>
                    <a:lnTo>
                      <a:pt x="398169" y="469938"/>
                    </a:lnTo>
                    <a:lnTo>
                      <a:pt x="397551" y="469056"/>
                    </a:lnTo>
                    <a:lnTo>
                      <a:pt x="398169" y="469320"/>
                    </a:lnTo>
                    <a:lnTo>
                      <a:pt x="398169" y="469056"/>
                    </a:lnTo>
                    <a:lnTo>
                      <a:pt x="398433" y="469320"/>
                    </a:lnTo>
                    <a:lnTo>
                      <a:pt x="398433" y="469585"/>
                    </a:lnTo>
                    <a:lnTo>
                      <a:pt x="398698" y="469585"/>
                    </a:lnTo>
                    <a:lnTo>
                      <a:pt x="399050" y="470466"/>
                    </a:lnTo>
                    <a:lnTo>
                      <a:pt x="399314" y="470202"/>
                    </a:lnTo>
                    <a:lnTo>
                      <a:pt x="399314" y="470466"/>
                    </a:lnTo>
                    <a:lnTo>
                      <a:pt x="399314" y="471084"/>
                    </a:lnTo>
                    <a:lnTo>
                      <a:pt x="399667" y="471613"/>
                    </a:lnTo>
                    <a:close/>
                    <a:moveTo>
                      <a:pt x="398698" y="471613"/>
                    </a:moveTo>
                    <a:lnTo>
                      <a:pt x="398698" y="471877"/>
                    </a:lnTo>
                    <a:lnTo>
                      <a:pt x="398433" y="471260"/>
                    </a:lnTo>
                    <a:lnTo>
                      <a:pt x="398698" y="471613"/>
                    </a:lnTo>
                    <a:close/>
                    <a:moveTo>
                      <a:pt x="399314" y="472142"/>
                    </a:moveTo>
                    <a:lnTo>
                      <a:pt x="399050" y="472142"/>
                    </a:lnTo>
                    <a:lnTo>
                      <a:pt x="399314" y="472142"/>
                    </a:lnTo>
                    <a:close/>
                    <a:moveTo>
                      <a:pt x="401078" y="472406"/>
                    </a:moveTo>
                    <a:lnTo>
                      <a:pt x="400814" y="472406"/>
                    </a:lnTo>
                    <a:lnTo>
                      <a:pt x="401078" y="472406"/>
                    </a:lnTo>
                    <a:close/>
                    <a:moveTo>
                      <a:pt x="399667" y="473023"/>
                    </a:moveTo>
                    <a:lnTo>
                      <a:pt x="399314" y="473023"/>
                    </a:lnTo>
                    <a:lnTo>
                      <a:pt x="399667" y="472759"/>
                    </a:lnTo>
                    <a:lnTo>
                      <a:pt x="399667" y="473023"/>
                    </a:lnTo>
                    <a:close/>
                    <a:moveTo>
                      <a:pt x="400814" y="472759"/>
                    </a:moveTo>
                    <a:lnTo>
                      <a:pt x="400549" y="472759"/>
                    </a:lnTo>
                    <a:lnTo>
                      <a:pt x="400814" y="472759"/>
                    </a:lnTo>
                    <a:close/>
                    <a:moveTo>
                      <a:pt x="389440" y="501061"/>
                    </a:moveTo>
                    <a:lnTo>
                      <a:pt x="389175" y="501061"/>
                    </a:lnTo>
                    <a:lnTo>
                      <a:pt x="389175" y="500444"/>
                    </a:lnTo>
                    <a:lnTo>
                      <a:pt x="389440" y="501061"/>
                    </a:lnTo>
                    <a:close/>
                    <a:moveTo>
                      <a:pt x="394113" y="517989"/>
                    </a:moveTo>
                    <a:lnTo>
                      <a:pt x="393760" y="517725"/>
                    </a:lnTo>
                    <a:lnTo>
                      <a:pt x="394113" y="517196"/>
                    </a:lnTo>
                    <a:lnTo>
                      <a:pt x="394377" y="516579"/>
                    </a:lnTo>
                    <a:lnTo>
                      <a:pt x="394730" y="516579"/>
                    </a:lnTo>
                    <a:lnTo>
                      <a:pt x="394994" y="517196"/>
                    </a:lnTo>
                    <a:lnTo>
                      <a:pt x="394994" y="517460"/>
                    </a:lnTo>
                    <a:lnTo>
                      <a:pt x="394377" y="517725"/>
                    </a:lnTo>
                    <a:lnTo>
                      <a:pt x="394113" y="517989"/>
                    </a:lnTo>
                    <a:close/>
                    <a:moveTo>
                      <a:pt x="401078" y="531038"/>
                    </a:moveTo>
                    <a:lnTo>
                      <a:pt x="400549" y="530774"/>
                    </a:lnTo>
                    <a:lnTo>
                      <a:pt x="400814" y="530509"/>
                    </a:lnTo>
                    <a:lnTo>
                      <a:pt x="401078" y="531038"/>
                    </a:lnTo>
                    <a:close/>
                    <a:moveTo>
                      <a:pt x="154912" y="274380"/>
                    </a:moveTo>
                    <a:lnTo>
                      <a:pt x="154647" y="274115"/>
                    </a:lnTo>
                    <a:lnTo>
                      <a:pt x="155177" y="274115"/>
                    </a:lnTo>
                    <a:lnTo>
                      <a:pt x="155177" y="274380"/>
                    </a:lnTo>
                    <a:lnTo>
                      <a:pt x="154912" y="274380"/>
                    </a:lnTo>
                    <a:close/>
                    <a:moveTo>
                      <a:pt x="154295" y="274115"/>
                    </a:moveTo>
                    <a:lnTo>
                      <a:pt x="154030" y="274115"/>
                    </a:lnTo>
                    <a:lnTo>
                      <a:pt x="153766" y="274115"/>
                    </a:lnTo>
                    <a:lnTo>
                      <a:pt x="154295" y="274115"/>
                    </a:lnTo>
                    <a:close/>
                    <a:moveTo>
                      <a:pt x="153501" y="274380"/>
                    </a:moveTo>
                    <a:lnTo>
                      <a:pt x="152884" y="274115"/>
                    </a:lnTo>
                    <a:lnTo>
                      <a:pt x="152267" y="274115"/>
                    </a:lnTo>
                    <a:lnTo>
                      <a:pt x="152619" y="273851"/>
                    </a:lnTo>
                    <a:lnTo>
                      <a:pt x="152884" y="273586"/>
                    </a:lnTo>
                    <a:lnTo>
                      <a:pt x="153237" y="273851"/>
                    </a:lnTo>
                    <a:lnTo>
                      <a:pt x="153766" y="274115"/>
                    </a:lnTo>
                    <a:lnTo>
                      <a:pt x="153501" y="274380"/>
                    </a:lnTo>
                    <a:close/>
                    <a:moveTo>
                      <a:pt x="157293" y="275614"/>
                    </a:moveTo>
                    <a:lnTo>
                      <a:pt x="157028" y="275350"/>
                    </a:lnTo>
                    <a:lnTo>
                      <a:pt x="157028" y="275085"/>
                    </a:lnTo>
                    <a:lnTo>
                      <a:pt x="156764" y="274821"/>
                    </a:lnTo>
                    <a:lnTo>
                      <a:pt x="156499" y="274204"/>
                    </a:lnTo>
                    <a:lnTo>
                      <a:pt x="156235" y="274204"/>
                    </a:lnTo>
                    <a:lnTo>
                      <a:pt x="155706" y="273939"/>
                    </a:lnTo>
                    <a:lnTo>
                      <a:pt x="154824" y="273675"/>
                    </a:lnTo>
                    <a:lnTo>
                      <a:pt x="154559" y="273057"/>
                    </a:lnTo>
                    <a:lnTo>
                      <a:pt x="155177" y="273057"/>
                    </a:lnTo>
                    <a:lnTo>
                      <a:pt x="155793" y="273057"/>
                    </a:lnTo>
                    <a:lnTo>
                      <a:pt x="156322" y="272793"/>
                    </a:lnTo>
                    <a:lnTo>
                      <a:pt x="156940" y="272529"/>
                    </a:lnTo>
                    <a:lnTo>
                      <a:pt x="157557" y="271911"/>
                    </a:lnTo>
                    <a:lnTo>
                      <a:pt x="158086" y="272264"/>
                    </a:lnTo>
                    <a:lnTo>
                      <a:pt x="158351" y="272264"/>
                    </a:lnTo>
                    <a:lnTo>
                      <a:pt x="158351" y="272529"/>
                    </a:lnTo>
                    <a:lnTo>
                      <a:pt x="158703" y="273057"/>
                    </a:lnTo>
                    <a:lnTo>
                      <a:pt x="158968" y="273675"/>
                    </a:lnTo>
                    <a:lnTo>
                      <a:pt x="158968" y="273939"/>
                    </a:lnTo>
                    <a:lnTo>
                      <a:pt x="159232" y="274556"/>
                    </a:lnTo>
                    <a:lnTo>
                      <a:pt x="159232" y="275174"/>
                    </a:lnTo>
                    <a:lnTo>
                      <a:pt x="158968" y="275174"/>
                    </a:lnTo>
                    <a:lnTo>
                      <a:pt x="158351" y="274909"/>
                    </a:lnTo>
                    <a:lnTo>
                      <a:pt x="158351" y="275174"/>
                    </a:lnTo>
                    <a:lnTo>
                      <a:pt x="158086" y="275174"/>
                    </a:lnTo>
                    <a:lnTo>
                      <a:pt x="157822" y="274909"/>
                    </a:lnTo>
                    <a:lnTo>
                      <a:pt x="158086" y="274644"/>
                    </a:lnTo>
                    <a:lnTo>
                      <a:pt x="158351" y="274644"/>
                    </a:lnTo>
                    <a:lnTo>
                      <a:pt x="158086" y="274380"/>
                    </a:lnTo>
                    <a:lnTo>
                      <a:pt x="157557" y="274644"/>
                    </a:lnTo>
                    <a:lnTo>
                      <a:pt x="157557" y="275262"/>
                    </a:lnTo>
                    <a:lnTo>
                      <a:pt x="157557" y="275614"/>
                    </a:lnTo>
                    <a:close/>
                    <a:moveTo>
                      <a:pt x="153501" y="275614"/>
                    </a:moveTo>
                    <a:lnTo>
                      <a:pt x="153501" y="275614"/>
                    </a:lnTo>
                    <a:lnTo>
                      <a:pt x="153501" y="275350"/>
                    </a:lnTo>
                    <a:lnTo>
                      <a:pt x="153501" y="275614"/>
                    </a:lnTo>
                    <a:close/>
                    <a:moveTo>
                      <a:pt x="154647" y="275879"/>
                    </a:moveTo>
                    <a:lnTo>
                      <a:pt x="154383" y="275879"/>
                    </a:lnTo>
                    <a:lnTo>
                      <a:pt x="154647" y="275879"/>
                    </a:lnTo>
                    <a:close/>
                    <a:moveTo>
                      <a:pt x="153501" y="276496"/>
                    </a:moveTo>
                    <a:lnTo>
                      <a:pt x="153501" y="276232"/>
                    </a:lnTo>
                    <a:lnTo>
                      <a:pt x="153501" y="276496"/>
                    </a:lnTo>
                    <a:close/>
                    <a:moveTo>
                      <a:pt x="146183" y="279670"/>
                    </a:moveTo>
                    <a:lnTo>
                      <a:pt x="145919" y="279053"/>
                    </a:lnTo>
                    <a:lnTo>
                      <a:pt x="145919" y="278788"/>
                    </a:lnTo>
                    <a:lnTo>
                      <a:pt x="146183" y="279406"/>
                    </a:lnTo>
                    <a:lnTo>
                      <a:pt x="146448" y="279141"/>
                    </a:lnTo>
                    <a:lnTo>
                      <a:pt x="146183" y="279406"/>
                    </a:lnTo>
                    <a:lnTo>
                      <a:pt x="146183" y="279670"/>
                    </a:lnTo>
                    <a:close/>
                    <a:moveTo>
                      <a:pt x="147330" y="279406"/>
                    </a:moveTo>
                    <a:lnTo>
                      <a:pt x="147065" y="279406"/>
                    </a:lnTo>
                    <a:lnTo>
                      <a:pt x="147330" y="279406"/>
                    </a:lnTo>
                    <a:close/>
                    <a:moveTo>
                      <a:pt x="167785" y="281433"/>
                    </a:moveTo>
                    <a:lnTo>
                      <a:pt x="167167" y="281169"/>
                    </a:lnTo>
                    <a:lnTo>
                      <a:pt x="167167" y="280904"/>
                    </a:lnTo>
                    <a:lnTo>
                      <a:pt x="167520" y="280640"/>
                    </a:lnTo>
                    <a:lnTo>
                      <a:pt x="167167" y="280375"/>
                    </a:lnTo>
                    <a:lnTo>
                      <a:pt x="167785" y="280904"/>
                    </a:lnTo>
                    <a:lnTo>
                      <a:pt x="167785" y="281433"/>
                    </a:lnTo>
                    <a:close/>
                    <a:moveTo>
                      <a:pt x="145830" y="283109"/>
                    </a:moveTo>
                    <a:lnTo>
                      <a:pt x="145566" y="282844"/>
                    </a:lnTo>
                    <a:lnTo>
                      <a:pt x="145830" y="282844"/>
                    </a:lnTo>
                    <a:lnTo>
                      <a:pt x="145830" y="283109"/>
                    </a:lnTo>
                    <a:close/>
                    <a:moveTo>
                      <a:pt x="128373" y="287517"/>
                    </a:moveTo>
                    <a:lnTo>
                      <a:pt x="127492" y="286900"/>
                    </a:lnTo>
                    <a:lnTo>
                      <a:pt x="127756" y="286283"/>
                    </a:lnTo>
                    <a:lnTo>
                      <a:pt x="128021" y="286283"/>
                    </a:lnTo>
                    <a:lnTo>
                      <a:pt x="128285" y="285666"/>
                    </a:lnTo>
                    <a:lnTo>
                      <a:pt x="128285" y="286018"/>
                    </a:lnTo>
                    <a:lnTo>
                      <a:pt x="128550" y="286547"/>
                    </a:lnTo>
                    <a:lnTo>
                      <a:pt x="128814" y="287164"/>
                    </a:lnTo>
                    <a:lnTo>
                      <a:pt x="128197" y="287164"/>
                    </a:lnTo>
                    <a:lnTo>
                      <a:pt x="128197" y="287517"/>
                    </a:lnTo>
                    <a:close/>
                    <a:moveTo>
                      <a:pt x="143538" y="286371"/>
                    </a:moveTo>
                    <a:lnTo>
                      <a:pt x="143274" y="286371"/>
                    </a:lnTo>
                    <a:lnTo>
                      <a:pt x="143538" y="286106"/>
                    </a:lnTo>
                    <a:lnTo>
                      <a:pt x="143538" y="286371"/>
                    </a:lnTo>
                    <a:close/>
                    <a:moveTo>
                      <a:pt x="130137" y="286988"/>
                    </a:moveTo>
                    <a:lnTo>
                      <a:pt x="129608" y="286988"/>
                    </a:lnTo>
                    <a:lnTo>
                      <a:pt x="129872" y="286724"/>
                    </a:lnTo>
                    <a:lnTo>
                      <a:pt x="130137" y="286988"/>
                    </a:lnTo>
                    <a:close/>
                    <a:moveTo>
                      <a:pt x="129519" y="287253"/>
                    </a:moveTo>
                    <a:lnTo>
                      <a:pt x="128902" y="287253"/>
                    </a:lnTo>
                    <a:lnTo>
                      <a:pt x="129167" y="286988"/>
                    </a:lnTo>
                    <a:lnTo>
                      <a:pt x="129519" y="287253"/>
                    </a:lnTo>
                    <a:close/>
                    <a:moveTo>
                      <a:pt x="172105" y="287870"/>
                    </a:moveTo>
                    <a:lnTo>
                      <a:pt x="171840" y="287870"/>
                    </a:lnTo>
                    <a:lnTo>
                      <a:pt x="172105" y="287605"/>
                    </a:lnTo>
                    <a:lnTo>
                      <a:pt x="172105" y="287870"/>
                    </a:lnTo>
                    <a:close/>
                    <a:moveTo>
                      <a:pt x="175367" y="288663"/>
                    </a:moveTo>
                    <a:lnTo>
                      <a:pt x="174750" y="288663"/>
                    </a:lnTo>
                    <a:lnTo>
                      <a:pt x="175015" y="288399"/>
                    </a:lnTo>
                    <a:lnTo>
                      <a:pt x="175367" y="288663"/>
                    </a:lnTo>
                    <a:close/>
                    <a:moveTo>
                      <a:pt x="130401" y="289280"/>
                    </a:moveTo>
                    <a:lnTo>
                      <a:pt x="130137" y="289280"/>
                    </a:lnTo>
                    <a:lnTo>
                      <a:pt x="129872" y="288663"/>
                    </a:lnTo>
                    <a:lnTo>
                      <a:pt x="130137" y="288046"/>
                    </a:lnTo>
                    <a:lnTo>
                      <a:pt x="130401" y="287782"/>
                    </a:lnTo>
                    <a:lnTo>
                      <a:pt x="130401" y="288311"/>
                    </a:lnTo>
                    <a:lnTo>
                      <a:pt x="130401" y="288575"/>
                    </a:lnTo>
                    <a:lnTo>
                      <a:pt x="130666" y="289192"/>
                    </a:lnTo>
                    <a:lnTo>
                      <a:pt x="130401" y="289192"/>
                    </a:lnTo>
                    <a:close/>
                    <a:moveTo>
                      <a:pt x="174750" y="288663"/>
                    </a:moveTo>
                    <a:lnTo>
                      <a:pt x="174485" y="288663"/>
                    </a:lnTo>
                    <a:lnTo>
                      <a:pt x="174750" y="288663"/>
                    </a:lnTo>
                    <a:close/>
                    <a:moveTo>
                      <a:pt x="172105" y="289545"/>
                    </a:moveTo>
                    <a:lnTo>
                      <a:pt x="172105" y="289545"/>
                    </a:lnTo>
                    <a:lnTo>
                      <a:pt x="172369" y="289545"/>
                    </a:lnTo>
                    <a:lnTo>
                      <a:pt x="172105" y="289545"/>
                    </a:lnTo>
                    <a:close/>
                    <a:moveTo>
                      <a:pt x="175367" y="289898"/>
                    </a:moveTo>
                    <a:lnTo>
                      <a:pt x="175367" y="289633"/>
                    </a:lnTo>
                    <a:lnTo>
                      <a:pt x="175367" y="289898"/>
                    </a:lnTo>
                    <a:close/>
                    <a:moveTo>
                      <a:pt x="128109" y="292807"/>
                    </a:moveTo>
                    <a:lnTo>
                      <a:pt x="127844" y="292807"/>
                    </a:lnTo>
                    <a:lnTo>
                      <a:pt x="128109" y="292543"/>
                    </a:lnTo>
                    <a:lnTo>
                      <a:pt x="128109" y="292807"/>
                    </a:lnTo>
                    <a:close/>
                    <a:moveTo>
                      <a:pt x="171576" y="295100"/>
                    </a:moveTo>
                    <a:lnTo>
                      <a:pt x="170959" y="295100"/>
                    </a:lnTo>
                    <a:lnTo>
                      <a:pt x="171223" y="295100"/>
                    </a:lnTo>
                    <a:lnTo>
                      <a:pt x="171576" y="295100"/>
                    </a:lnTo>
                    <a:close/>
                    <a:moveTo>
                      <a:pt x="134193" y="305592"/>
                    </a:moveTo>
                    <a:lnTo>
                      <a:pt x="133928" y="305327"/>
                    </a:lnTo>
                    <a:lnTo>
                      <a:pt x="134545" y="305592"/>
                    </a:lnTo>
                    <a:lnTo>
                      <a:pt x="134193" y="305592"/>
                    </a:lnTo>
                    <a:close/>
                    <a:moveTo>
                      <a:pt x="131283" y="306473"/>
                    </a:moveTo>
                    <a:lnTo>
                      <a:pt x="131018" y="306209"/>
                    </a:lnTo>
                    <a:lnTo>
                      <a:pt x="130666" y="305856"/>
                    </a:lnTo>
                    <a:lnTo>
                      <a:pt x="131283" y="305856"/>
                    </a:lnTo>
                    <a:lnTo>
                      <a:pt x="131547" y="305856"/>
                    </a:lnTo>
                    <a:lnTo>
                      <a:pt x="131283" y="306473"/>
                    </a:lnTo>
                    <a:close/>
                    <a:moveTo>
                      <a:pt x="133575" y="305592"/>
                    </a:moveTo>
                    <a:lnTo>
                      <a:pt x="133575" y="305856"/>
                    </a:lnTo>
                    <a:lnTo>
                      <a:pt x="133311" y="305592"/>
                    </a:lnTo>
                    <a:lnTo>
                      <a:pt x="133575" y="305592"/>
                    </a:lnTo>
                    <a:close/>
                    <a:moveTo>
                      <a:pt x="130666" y="307619"/>
                    </a:moveTo>
                    <a:lnTo>
                      <a:pt x="130048" y="307355"/>
                    </a:lnTo>
                    <a:lnTo>
                      <a:pt x="129167" y="306738"/>
                    </a:lnTo>
                    <a:lnTo>
                      <a:pt x="129431" y="306738"/>
                    </a:lnTo>
                    <a:lnTo>
                      <a:pt x="129696" y="306738"/>
                    </a:lnTo>
                    <a:lnTo>
                      <a:pt x="129960" y="307002"/>
                    </a:lnTo>
                    <a:lnTo>
                      <a:pt x="130577" y="307267"/>
                    </a:lnTo>
                    <a:lnTo>
                      <a:pt x="130577" y="307619"/>
                    </a:lnTo>
                    <a:close/>
                    <a:moveTo>
                      <a:pt x="133311" y="308501"/>
                    </a:moveTo>
                    <a:lnTo>
                      <a:pt x="133046" y="308501"/>
                    </a:lnTo>
                    <a:lnTo>
                      <a:pt x="133311" y="308501"/>
                    </a:lnTo>
                    <a:close/>
                    <a:moveTo>
                      <a:pt x="131547" y="308501"/>
                    </a:moveTo>
                    <a:lnTo>
                      <a:pt x="131283" y="308501"/>
                    </a:lnTo>
                    <a:lnTo>
                      <a:pt x="131547" y="308501"/>
                    </a:lnTo>
                    <a:close/>
                    <a:moveTo>
                      <a:pt x="135955" y="312645"/>
                    </a:moveTo>
                    <a:lnTo>
                      <a:pt x="135339" y="312910"/>
                    </a:lnTo>
                    <a:lnTo>
                      <a:pt x="135955" y="312645"/>
                    </a:lnTo>
                    <a:close/>
                    <a:moveTo>
                      <a:pt x="137984" y="316436"/>
                    </a:moveTo>
                    <a:lnTo>
                      <a:pt x="137719" y="316172"/>
                    </a:lnTo>
                    <a:lnTo>
                      <a:pt x="137984" y="316172"/>
                    </a:lnTo>
                    <a:lnTo>
                      <a:pt x="137984" y="316436"/>
                    </a:lnTo>
                    <a:close/>
                    <a:moveTo>
                      <a:pt x="141158" y="316965"/>
                    </a:moveTo>
                    <a:lnTo>
                      <a:pt x="140893" y="316965"/>
                    </a:lnTo>
                    <a:lnTo>
                      <a:pt x="141158" y="316965"/>
                    </a:lnTo>
                    <a:close/>
                    <a:moveTo>
                      <a:pt x="140364" y="318729"/>
                    </a:moveTo>
                    <a:lnTo>
                      <a:pt x="140100" y="318376"/>
                    </a:lnTo>
                    <a:lnTo>
                      <a:pt x="139835" y="317759"/>
                    </a:lnTo>
                    <a:lnTo>
                      <a:pt x="139571" y="317494"/>
                    </a:lnTo>
                    <a:lnTo>
                      <a:pt x="139835" y="317494"/>
                    </a:lnTo>
                    <a:lnTo>
                      <a:pt x="140452" y="317759"/>
                    </a:lnTo>
                    <a:lnTo>
                      <a:pt x="140717" y="318376"/>
                    </a:lnTo>
                    <a:lnTo>
                      <a:pt x="140364" y="318729"/>
                    </a:lnTo>
                    <a:close/>
                    <a:moveTo>
                      <a:pt x="149710" y="318112"/>
                    </a:moveTo>
                    <a:lnTo>
                      <a:pt x="148211" y="317230"/>
                    </a:lnTo>
                    <a:lnTo>
                      <a:pt x="147947" y="316613"/>
                    </a:lnTo>
                    <a:lnTo>
                      <a:pt x="146448" y="317230"/>
                    </a:lnTo>
                    <a:lnTo>
                      <a:pt x="145301" y="317230"/>
                    </a:lnTo>
                    <a:lnTo>
                      <a:pt x="143274" y="316613"/>
                    </a:lnTo>
                    <a:lnTo>
                      <a:pt x="141863" y="316613"/>
                    </a:lnTo>
                    <a:lnTo>
                      <a:pt x="140981" y="316348"/>
                    </a:lnTo>
                    <a:lnTo>
                      <a:pt x="141246" y="315466"/>
                    </a:lnTo>
                    <a:lnTo>
                      <a:pt x="141510" y="314320"/>
                    </a:lnTo>
                    <a:lnTo>
                      <a:pt x="141775" y="314056"/>
                    </a:lnTo>
                    <a:lnTo>
                      <a:pt x="141158" y="313439"/>
                    </a:lnTo>
                    <a:lnTo>
                      <a:pt x="139130" y="313439"/>
                    </a:lnTo>
                    <a:lnTo>
                      <a:pt x="137719" y="312557"/>
                    </a:lnTo>
                    <a:lnTo>
                      <a:pt x="137366" y="312821"/>
                    </a:lnTo>
                    <a:lnTo>
                      <a:pt x="136484" y="313703"/>
                    </a:lnTo>
                    <a:lnTo>
                      <a:pt x="136484" y="312557"/>
                    </a:lnTo>
                    <a:lnTo>
                      <a:pt x="136220" y="311675"/>
                    </a:lnTo>
                    <a:lnTo>
                      <a:pt x="137719" y="312292"/>
                    </a:lnTo>
                    <a:lnTo>
                      <a:pt x="135691" y="311146"/>
                    </a:lnTo>
                    <a:lnTo>
                      <a:pt x="134809" y="310265"/>
                    </a:lnTo>
                    <a:lnTo>
                      <a:pt x="133664" y="310882"/>
                    </a:lnTo>
                    <a:lnTo>
                      <a:pt x="133399" y="309383"/>
                    </a:lnTo>
                    <a:lnTo>
                      <a:pt x="135162" y="309647"/>
                    </a:lnTo>
                    <a:lnTo>
                      <a:pt x="134545" y="308766"/>
                    </a:lnTo>
                    <a:lnTo>
                      <a:pt x="134809" y="307884"/>
                    </a:lnTo>
                    <a:lnTo>
                      <a:pt x="132782" y="307267"/>
                    </a:lnTo>
                    <a:lnTo>
                      <a:pt x="133135" y="306650"/>
                    </a:lnTo>
                    <a:lnTo>
                      <a:pt x="132253" y="306650"/>
                    </a:lnTo>
                    <a:lnTo>
                      <a:pt x="133135" y="306033"/>
                    </a:lnTo>
                    <a:lnTo>
                      <a:pt x="134280" y="306914"/>
                    </a:lnTo>
                    <a:lnTo>
                      <a:pt x="134016" y="306033"/>
                    </a:lnTo>
                    <a:lnTo>
                      <a:pt x="134898" y="305415"/>
                    </a:lnTo>
                    <a:lnTo>
                      <a:pt x="133751" y="304534"/>
                    </a:lnTo>
                    <a:lnTo>
                      <a:pt x="132870" y="303916"/>
                    </a:lnTo>
                    <a:lnTo>
                      <a:pt x="132605" y="303035"/>
                    </a:lnTo>
                    <a:lnTo>
                      <a:pt x="130666" y="303035"/>
                    </a:lnTo>
                    <a:lnTo>
                      <a:pt x="130666" y="301889"/>
                    </a:lnTo>
                    <a:lnTo>
                      <a:pt x="129519" y="301007"/>
                    </a:lnTo>
                    <a:lnTo>
                      <a:pt x="129255" y="299861"/>
                    </a:lnTo>
                    <a:lnTo>
                      <a:pt x="128990" y="299244"/>
                    </a:lnTo>
                    <a:lnTo>
                      <a:pt x="128109" y="298979"/>
                    </a:lnTo>
                    <a:lnTo>
                      <a:pt x="126963" y="299861"/>
                    </a:lnTo>
                    <a:lnTo>
                      <a:pt x="124934" y="301624"/>
                    </a:lnTo>
                    <a:lnTo>
                      <a:pt x="124053" y="301359"/>
                    </a:lnTo>
                    <a:lnTo>
                      <a:pt x="122643" y="302506"/>
                    </a:lnTo>
                    <a:lnTo>
                      <a:pt x="124405" y="300478"/>
                    </a:lnTo>
                    <a:lnTo>
                      <a:pt x="124670" y="300213"/>
                    </a:lnTo>
                    <a:lnTo>
                      <a:pt x="125552" y="299332"/>
                    </a:lnTo>
                    <a:lnTo>
                      <a:pt x="126434" y="299067"/>
                    </a:lnTo>
                    <a:lnTo>
                      <a:pt x="127932" y="297921"/>
                    </a:lnTo>
                    <a:lnTo>
                      <a:pt x="129079" y="296158"/>
                    </a:lnTo>
                    <a:lnTo>
                      <a:pt x="131988" y="293512"/>
                    </a:lnTo>
                    <a:lnTo>
                      <a:pt x="131371" y="289192"/>
                    </a:lnTo>
                    <a:lnTo>
                      <a:pt x="131106" y="286018"/>
                    </a:lnTo>
                    <a:lnTo>
                      <a:pt x="133135" y="284255"/>
                    </a:lnTo>
                    <a:lnTo>
                      <a:pt x="132517" y="283109"/>
                    </a:lnTo>
                    <a:lnTo>
                      <a:pt x="134280" y="283109"/>
                    </a:lnTo>
                    <a:lnTo>
                      <a:pt x="138072" y="287164"/>
                    </a:lnTo>
                    <a:lnTo>
                      <a:pt x="139571" y="288046"/>
                    </a:lnTo>
                    <a:lnTo>
                      <a:pt x="141598" y="287429"/>
                    </a:lnTo>
                    <a:lnTo>
                      <a:pt x="143362" y="286547"/>
                    </a:lnTo>
                    <a:lnTo>
                      <a:pt x="146007" y="286547"/>
                    </a:lnTo>
                    <a:lnTo>
                      <a:pt x="148652" y="284519"/>
                    </a:lnTo>
                    <a:lnTo>
                      <a:pt x="147506" y="281257"/>
                    </a:lnTo>
                    <a:lnTo>
                      <a:pt x="145214" y="279494"/>
                    </a:lnTo>
                    <a:lnTo>
                      <a:pt x="147241" y="279758"/>
                    </a:lnTo>
                    <a:lnTo>
                      <a:pt x="149005" y="278612"/>
                    </a:lnTo>
                    <a:lnTo>
                      <a:pt x="149886" y="276849"/>
                    </a:lnTo>
                    <a:lnTo>
                      <a:pt x="150503" y="277730"/>
                    </a:lnTo>
                    <a:lnTo>
                      <a:pt x="151650" y="276584"/>
                    </a:lnTo>
                    <a:lnTo>
                      <a:pt x="154295" y="277113"/>
                    </a:lnTo>
                    <a:lnTo>
                      <a:pt x="155441" y="276849"/>
                    </a:lnTo>
                    <a:lnTo>
                      <a:pt x="156322" y="276584"/>
                    </a:lnTo>
                    <a:lnTo>
                      <a:pt x="157469" y="277113"/>
                    </a:lnTo>
                    <a:lnTo>
                      <a:pt x="158880" y="277730"/>
                    </a:lnTo>
                    <a:lnTo>
                      <a:pt x="161172" y="279494"/>
                    </a:lnTo>
                    <a:lnTo>
                      <a:pt x="163200" y="280111"/>
                    </a:lnTo>
                    <a:lnTo>
                      <a:pt x="166727" y="280375"/>
                    </a:lnTo>
                    <a:lnTo>
                      <a:pt x="167256" y="280375"/>
                    </a:lnTo>
                    <a:lnTo>
                      <a:pt x="168137" y="282139"/>
                    </a:lnTo>
                    <a:lnTo>
                      <a:pt x="168137" y="283902"/>
                    </a:lnTo>
                    <a:lnTo>
                      <a:pt x="168754" y="284784"/>
                    </a:lnTo>
                    <a:lnTo>
                      <a:pt x="169901" y="285930"/>
                    </a:lnTo>
                    <a:lnTo>
                      <a:pt x="171928" y="287341"/>
                    </a:lnTo>
                    <a:lnTo>
                      <a:pt x="171664" y="289104"/>
                    </a:lnTo>
                    <a:lnTo>
                      <a:pt x="172810" y="289633"/>
                    </a:lnTo>
                    <a:lnTo>
                      <a:pt x="173956" y="289898"/>
                    </a:lnTo>
                    <a:lnTo>
                      <a:pt x="172193" y="291308"/>
                    </a:lnTo>
                    <a:lnTo>
                      <a:pt x="171576" y="292455"/>
                    </a:lnTo>
                    <a:lnTo>
                      <a:pt x="169812" y="294218"/>
                    </a:lnTo>
                    <a:lnTo>
                      <a:pt x="168666" y="295364"/>
                    </a:lnTo>
                    <a:lnTo>
                      <a:pt x="168402" y="296246"/>
                    </a:lnTo>
                    <a:lnTo>
                      <a:pt x="168402" y="297656"/>
                    </a:lnTo>
                    <a:lnTo>
                      <a:pt x="168666" y="304093"/>
                    </a:lnTo>
                    <a:lnTo>
                      <a:pt x="165756" y="302329"/>
                    </a:lnTo>
                    <a:lnTo>
                      <a:pt x="162583" y="300037"/>
                    </a:lnTo>
                    <a:lnTo>
                      <a:pt x="158791" y="298009"/>
                    </a:lnTo>
                    <a:lnTo>
                      <a:pt x="153589" y="298009"/>
                    </a:lnTo>
                    <a:lnTo>
                      <a:pt x="152090" y="299508"/>
                    </a:lnTo>
                    <a:lnTo>
                      <a:pt x="150327" y="299773"/>
                    </a:lnTo>
                    <a:lnTo>
                      <a:pt x="149975" y="300654"/>
                    </a:lnTo>
                    <a:lnTo>
                      <a:pt x="151121" y="300037"/>
                    </a:lnTo>
                    <a:lnTo>
                      <a:pt x="151121" y="300654"/>
                    </a:lnTo>
                    <a:lnTo>
                      <a:pt x="150592" y="300919"/>
                    </a:lnTo>
                    <a:lnTo>
                      <a:pt x="149710" y="301800"/>
                    </a:lnTo>
                    <a:lnTo>
                      <a:pt x="148828" y="300919"/>
                    </a:lnTo>
                    <a:lnTo>
                      <a:pt x="148564" y="302682"/>
                    </a:lnTo>
                    <a:lnTo>
                      <a:pt x="148828" y="303564"/>
                    </a:lnTo>
                    <a:lnTo>
                      <a:pt x="149710" y="305327"/>
                    </a:lnTo>
                    <a:lnTo>
                      <a:pt x="149710" y="307355"/>
                    </a:lnTo>
                    <a:lnTo>
                      <a:pt x="148211" y="308766"/>
                    </a:lnTo>
                    <a:lnTo>
                      <a:pt x="146801" y="310265"/>
                    </a:lnTo>
                    <a:lnTo>
                      <a:pt x="146801" y="312028"/>
                    </a:lnTo>
                    <a:lnTo>
                      <a:pt x="147947" y="314320"/>
                    </a:lnTo>
                    <a:lnTo>
                      <a:pt x="147947" y="315819"/>
                    </a:lnTo>
                    <a:lnTo>
                      <a:pt x="149710" y="318112"/>
                    </a:lnTo>
                    <a:close/>
                    <a:moveTo>
                      <a:pt x="56957" y="277642"/>
                    </a:moveTo>
                    <a:lnTo>
                      <a:pt x="56604" y="277378"/>
                    </a:lnTo>
                    <a:lnTo>
                      <a:pt x="56957" y="277642"/>
                    </a:lnTo>
                    <a:close/>
                    <a:moveTo>
                      <a:pt x="57221" y="278171"/>
                    </a:moveTo>
                    <a:lnTo>
                      <a:pt x="56957" y="277907"/>
                    </a:lnTo>
                    <a:lnTo>
                      <a:pt x="57221" y="278171"/>
                    </a:lnTo>
                    <a:close/>
                    <a:moveTo>
                      <a:pt x="54841" y="274733"/>
                    </a:moveTo>
                    <a:lnTo>
                      <a:pt x="54488" y="274733"/>
                    </a:lnTo>
                    <a:lnTo>
                      <a:pt x="54224" y="274733"/>
                    </a:lnTo>
                    <a:lnTo>
                      <a:pt x="53959" y="274733"/>
                    </a:lnTo>
                    <a:lnTo>
                      <a:pt x="53695" y="274468"/>
                    </a:lnTo>
                    <a:lnTo>
                      <a:pt x="53078" y="274468"/>
                    </a:lnTo>
                    <a:lnTo>
                      <a:pt x="53695" y="274468"/>
                    </a:lnTo>
                    <a:lnTo>
                      <a:pt x="53959" y="274733"/>
                    </a:lnTo>
                    <a:lnTo>
                      <a:pt x="54576" y="274468"/>
                    </a:lnTo>
                    <a:lnTo>
                      <a:pt x="54312" y="274204"/>
                    </a:lnTo>
                    <a:lnTo>
                      <a:pt x="54047" y="273939"/>
                    </a:lnTo>
                    <a:lnTo>
                      <a:pt x="54047" y="273675"/>
                    </a:lnTo>
                    <a:lnTo>
                      <a:pt x="54047" y="273410"/>
                    </a:lnTo>
                    <a:lnTo>
                      <a:pt x="53783" y="273410"/>
                    </a:lnTo>
                    <a:lnTo>
                      <a:pt x="53518" y="273410"/>
                    </a:lnTo>
                    <a:lnTo>
                      <a:pt x="53518" y="274027"/>
                    </a:lnTo>
                    <a:lnTo>
                      <a:pt x="53518" y="274292"/>
                    </a:lnTo>
                    <a:lnTo>
                      <a:pt x="53254" y="273675"/>
                    </a:lnTo>
                    <a:lnTo>
                      <a:pt x="52989" y="273410"/>
                    </a:lnTo>
                    <a:lnTo>
                      <a:pt x="53254" y="273146"/>
                    </a:lnTo>
                    <a:lnTo>
                      <a:pt x="52637" y="273146"/>
                    </a:lnTo>
                    <a:lnTo>
                      <a:pt x="52637" y="273763"/>
                    </a:lnTo>
                    <a:lnTo>
                      <a:pt x="52901" y="274027"/>
                    </a:lnTo>
                    <a:lnTo>
                      <a:pt x="53166" y="274027"/>
                    </a:lnTo>
                    <a:lnTo>
                      <a:pt x="52901" y="274027"/>
                    </a:lnTo>
                    <a:lnTo>
                      <a:pt x="52020" y="274027"/>
                    </a:lnTo>
                    <a:lnTo>
                      <a:pt x="51755" y="273763"/>
                    </a:lnTo>
                    <a:lnTo>
                      <a:pt x="52020" y="273763"/>
                    </a:lnTo>
                    <a:lnTo>
                      <a:pt x="52020" y="273498"/>
                    </a:lnTo>
                    <a:lnTo>
                      <a:pt x="52284" y="273498"/>
                    </a:lnTo>
                    <a:lnTo>
                      <a:pt x="52020" y="273234"/>
                    </a:lnTo>
                    <a:lnTo>
                      <a:pt x="51755" y="272352"/>
                    </a:lnTo>
                    <a:lnTo>
                      <a:pt x="51755" y="271735"/>
                    </a:lnTo>
                    <a:lnTo>
                      <a:pt x="52020" y="271735"/>
                    </a:lnTo>
                    <a:lnTo>
                      <a:pt x="52020" y="271206"/>
                    </a:lnTo>
                    <a:lnTo>
                      <a:pt x="51755" y="271470"/>
                    </a:lnTo>
                    <a:lnTo>
                      <a:pt x="51491" y="269972"/>
                    </a:lnTo>
                    <a:lnTo>
                      <a:pt x="51755" y="269354"/>
                    </a:lnTo>
                    <a:lnTo>
                      <a:pt x="52020" y="269354"/>
                    </a:lnTo>
                    <a:lnTo>
                      <a:pt x="51491" y="269090"/>
                    </a:lnTo>
                    <a:lnTo>
                      <a:pt x="51226" y="268825"/>
                    </a:lnTo>
                    <a:lnTo>
                      <a:pt x="50873" y="268825"/>
                    </a:lnTo>
                    <a:lnTo>
                      <a:pt x="50609" y="268296"/>
                    </a:lnTo>
                    <a:lnTo>
                      <a:pt x="50609" y="267150"/>
                    </a:lnTo>
                    <a:lnTo>
                      <a:pt x="50609" y="266533"/>
                    </a:lnTo>
                    <a:lnTo>
                      <a:pt x="51491" y="266797"/>
                    </a:lnTo>
                    <a:lnTo>
                      <a:pt x="52020" y="266797"/>
                    </a:lnTo>
                    <a:lnTo>
                      <a:pt x="51755" y="266533"/>
                    </a:lnTo>
                    <a:lnTo>
                      <a:pt x="52020" y="265651"/>
                    </a:lnTo>
                    <a:lnTo>
                      <a:pt x="52020" y="265387"/>
                    </a:lnTo>
                    <a:lnTo>
                      <a:pt x="52284" y="265387"/>
                    </a:lnTo>
                    <a:lnTo>
                      <a:pt x="52549" y="265387"/>
                    </a:lnTo>
                    <a:lnTo>
                      <a:pt x="52813" y="265387"/>
                    </a:lnTo>
                    <a:lnTo>
                      <a:pt x="53078" y="265387"/>
                    </a:lnTo>
                    <a:lnTo>
                      <a:pt x="53342" y="265916"/>
                    </a:lnTo>
                    <a:lnTo>
                      <a:pt x="53607" y="265916"/>
                    </a:lnTo>
                    <a:lnTo>
                      <a:pt x="53607" y="266180"/>
                    </a:lnTo>
                    <a:lnTo>
                      <a:pt x="53342" y="266445"/>
                    </a:lnTo>
                    <a:lnTo>
                      <a:pt x="53607" y="266445"/>
                    </a:lnTo>
                    <a:lnTo>
                      <a:pt x="53607" y="267062"/>
                    </a:lnTo>
                    <a:lnTo>
                      <a:pt x="53607" y="267326"/>
                    </a:lnTo>
                    <a:lnTo>
                      <a:pt x="53342" y="267326"/>
                    </a:lnTo>
                    <a:lnTo>
                      <a:pt x="53078" y="267326"/>
                    </a:lnTo>
                    <a:lnTo>
                      <a:pt x="53342" y="267326"/>
                    </a:lnTo>
                    <a:lnTo>
                      <a:pt x="53607" y="267591"/>
                    </a:lnTo>
                    <a:lnTo>
                      <a:pt x="53871" y="267856"/>
                    </a:lnTo>
                    <a:lnTo>
                      <a:pt x="54136" y="268120"/>
                    </a:lnTo>
                    <a:lnTo>
                      <a:pt x="54400" y="268649"/>
                    </a:lnTo>
                    <a:lnTo>
                      <a:pt x="54400" y="268914"/>
                    </a:lnTo>
                    <a:lnTo>
                      <a:pt x="54136" y="269178"/>
                    </a:lnTo>
                    <a:lnTo>
                      <a:pt x="54136" y="269795"/>
                    </a:lnTo>
                    <a:lnTo>
                      <a:pt x="53871" y="270412"/>
                    </a:lnTo>
                    <a:lnTo>
                      <a:pt x="53607" y="271030"/>
                    </a:lnTo>
                    <a:lnTo>
                      <a:pt x="53342" y="271294"/>
                    </a:lnTo>
                    <a:lnTo>
                      <a:pt x="53871" y="271911"/>
                    </a:lnTo>
                    <a:lnTo>
                      <a:pt x="53607" y="272264"/>
                    </a:lnTo>
                    <a:lnTo>
                      <a:pt x="53871" y="271911"/>
                    </a:lnTo>
                    <a:lnTo>
                      <a:pt x="53871" y="272529"/>
                    </a:lnTo>
                    <a:lnTo>
                      <a:pt x="53871" y="272793"/>
                    </a:lnTo>
                    <a:lnTo>
                      <a:pt x="54136" y="272793"/>
                    </a:lnTo>
                    <a:lnTo>
                      <a:pt x="54136" y="272529"/>
                    </a:lnTo>
                    <a:lnTo>
                      <a:pt x="54400" y="272793"/>
                    </a:lnTo>
                    <a:lnTo>
                      <a:pt x="54136" y="273057"/>
                    </a:lnTo>
                    <a:lnTo>
                      <a:pt x="54400" y="273322"/>
                    </a:lnTo>
                    <a:lnTo>
                      <a:pt x="54753" y="273586"/>
                    </a:lnTo>
                    <a:lnTo>
                      <a:pt x="54400" y="273851"/>
                    </a:lnTo>
                    <a:lnTo>
                      <a:pt x="55017" y="274115"/>
                    </a:lnTo>
                    <a:lnTo>
                      <a:pt x="54753" y="274115"/>
                    </a:lnTo>
                    <a:lnTo>
                      <a:pt x="55017" y="274380"/>
                    </a:lnTo>
                    <a:lnTo>
                      <a:pt x="54841" y="274733"/>
                    </a:lnTo>
                    <a:close/>
                    <a:moveTo>
                      <a:pt x="56604" y="279053"/>
                    </a:moveTo>
                    <a:lnTo>
                      <a:pt x="56340" y="278788"/>
                    </a:lnTo>
                    <a:lnTo>
                      <a:pt x="56957" y="278788"/>
                    </a:lnTo>
                    <a:lnTo>
                      <a:pt x="56957" y="278524"/>
                    </a:lnTo>
                    <a:lnTo>
                      <a:pt x="56957" y="278788"/>
                    </a:lnTo>
                    <a:lnTo>
                      <a:pt x="56604" y="279053"/>
                    </a:lnTo>
                    <a:close/>
                    <a:moveTo>
                      <a:pt x="54576" y="283461"/>
                    </a:moveTo>
                    <a:lnTo>
                      <a:pt x="54312" y="283461"/>
                    </a:lnTo>
                    <a:lnTo>
                      <a:pt x="54047" y="282844"/>
                    </a:lnTo>
                    <a:lnTo>
                      <a:pt x="53518" y="282844"/>
                    </a:lnTo>
                    <a:lnTo>
                      <a:pt x="53254" y="282580"/>
                    </a:lnTo>
                    <a:lnTo>
                      <a:pt x="52989" y="281433"/>
                    </a:lnTo>
                    <a:lnTo>
                      <a:pt x="52372" y="280287"/>
                    </a:lnTo>
                    <a:lnTo>
                      <a:pt x="52372" y="279670"/>
                    </a:lnTo>
                    <a:lnTo>
                      <a:pt x="52372" y="278788"/>
                    </a:lnTo>
                    <a:lnTo>
                      <a:pt x="51755" y="277907"/>
                    </a:lnTo>
                    <a:lnTo>
                      <a:pt x="52020" y="277290"/>
                    </a:lnTo>
                    <a:lnTo>
                      <a:pt x="52284" y="277907"/>
                    </a:lnTo>
                    <a:lnTo>
                      <a:pt x="52549" y="278171"/>
                    </a:lnTo>
                    <a:lnTo>
                      <a:pt x="52813" y="277907"/>
                    </a:lnTo>
                    <a:lnTo>
                      <a:pt x="53078" y="277907"/>
                    </a:lnTo>
                    <a:lnTo>
                      <a:pt x="53342" y="277907"/>
                    </a:lnTo>
                    <a:lnTo>
                      <a:pt x="53607" y="278524"/>
                    </a:lnTo>
                    <a:lnTo>
                      <a:pt x="53607" y="278259"/>
                    </a:lnTo>
                    <a:lnTo>
                      <a:pt x="53342" y="277995"/>
                    </a:lnTo>
                    <a:lnTo>
                      <a:pt x="53078" y="277730"/>
                    </a:lnTo>
                    <a:lnTo>
                      <a:pt x="53342" y="277730"/>
                    </a:lnTo>
                    <a:lnTo>
                      <a:pt x="53607" y="277730"/>
                    </a:lnTo>
                    <a:lnTo>
                      <a:pt x="53871" y="277995"/>
                    </a:lnTo>
                    <a:lnTo>
                      <a:pt x="53871" y="278259"/>
                    </a:lnTo>
                    <a:lnTo>
                      <a:pt x="54136" y="278524"/>
                    </a:lnTo>
                    <a:lnTo>
                      <a:pt x="54136" y="278259"/>
                    </a:lnTo>
                    <a:lnTo>
                      <a:pt x="54753" y="278259"/>
                    </a:lnTo>
                    <a:lnTo>
                      <a:pt x="55017" y="278877"/>
                    </a:lnTo>
                    <a:lnTo>
                      <a:pt x="54753" y="279141"/>
                    </a:lnTo>
                    <a:lnTo>
                      <a:pt x="55017" y="279758"/>
                    </a:lnTo>
                    <a:lnTo>
                      <a:pt x="55017" y="280375"/>
                    </a:lnTo>
                    <a:lnTo>
                      <a:pt x="54753" y="280111"/>
                    </a:lnTo>
                    <a:lnTo>
                      <a:pt x="55017" y="280993"/>
                    </a:lnTo>
                    <a:lnTo>
                      <a:pt x="55017" y="281257"/>
                    </a:lnTo>
                    <a:lnTo>
                      <a:pt x="55370" y="281874"/>
                    </a:lnTo>
                    <a:lnTo>
                      <a:pt x="55017" y="281874"/>
                    </a:lnTo>
                    <a:lnTo>
                      <a:pt x="55370" y="282491"/>
                    </a:lnTo>
                    <a:lnTo>
                      <a:pt x="54753" y="282756"/>
                    </a:lnTo>
                    <a:lnTo>
                      <a:pt x="55017" y="283021"/>
                    </a:lnTo>
                    <a:lnTo>
                      <a:pt x="54753" y="283285"/>
                    </a:lnTo>
                    <a:lnTo>
                      <a:pt x="54576" y="283461"/>
                    </a:lnTo>
                    <a:close/>
                    <a:moveTo>
                      <a:pt x="83143" y="288663"/>
                    </a:moveTo>
                    <a:lnTo>
                      <a:pt x="82525" y="288399"/>
                    </a:lnTo>
                    <a:lnTo>
                      <a:pt x="83143" y="288399"/>
                    </a:lnTo>
                    <a:lnTo>
                      <a:pt x="83143" y="288663"/>
                    </a:lnTo>
                    <a:close/>
                    <a:moveTo>
                      <a:pt x="84906" y="288663"/>
                    </a:moveTo>
                    <a:lnTo>
                      <a:pt x="84377" y="288399"/>
                    </a:lnTo>
                    <a:lnTo>
                      <a:pt x="84642" y="288663"/>
                    </a:lnTo>
                    <a:lnTo>
                      <a:pt x="84906" y="288663"/>
                    </a:lnTo>
                    <a:close/>
                    <a:moveTo>
                      <a:pt x="75296" y="289545"/>
                    </a:moveTo>
                    <a:lnTo>
                      <a:pt x="75296" y="289545"/>
                    </a:lnTo>
                    <a:lnTo>
                      <a:pt x="75296" y="289280"/>
                    </a:lnTo>
                    <a:lnTo>
                      <a:pt x="75296" y="289545"/>
                    </a:lnTo>
                    <a:close/>
                    <a:moveTo>
                      <a:pt x="83143" y="292190"/>
                    </a:moveTo>
                    <a:lnTo>
                      <a:pt x="83143" y="292190"/>
                    </a:lnTo>
                    <a:lnTo>
                      <a:pt x="83407" y="292190"/>
                    </a:lnTo>
                    <a:lnTo>
                      <a:pt x="83143" y="292190"/>
                    </a:lnTo>
                    <a:close/>
                    <a:moveTo>
                      <a:pt x="68330" y="292807"/>
                    </a:moveTo>
                    <a:lnTo>
                      <a:pt x="68066" y="292807"/>
                    </a:lnTo>
                    <a:lnTo>
                      <a:pt x="68330" y="292807"/>
                    </a:lnTo>
                    <a:close/>
                    <a:moveTo>
                      <a:pt x="68330" y="293072"/>
                    </a:moveTo>
                    <a:lnTo>
                      <a:pt x="68330" y="293072"/>
                    </a:lnTo>
                    <a:lnTo>
                      <a:pt x="68330" y="292807"/>
                    </a:lnTo>
                    <a:lnTo>
                      <a:pt x="68330" y="293072"/>
                    </a:lnTo>
                    <a:close/>
                    <a:moveTo>
                      <a:pt x="111180" y="293072"/>
                    </a:moveTo>
                    <a:lnTo>
                      <a:pt x="110299" y="293336"/>
                    </a:lnTo>
                    <a:lnTo>
                      <a:pt x="110299" y="292719"/>
                    </a:lnTo>
                    <a:lnTo>
                      <a:pt x="110916" y="292719"/>
                    </a:lnTo>
                    <a:lnTo>
                      <a:pt x="111533" y="292719"/>
                    </a:lnTo>
                    <a:lnTo>
                      <a:pt x="111180" y="293072"/>
                    </a:lnTo>
                    <a:close/>
                    <a:moveTo>
                      <a:pt x="70270" y="293336"/>
                    </a:moveTo>
                    <a:lnTo>
                      <a:pt x="69741" y="293336"/>
                    </a:lnTo>
                    <a:lnTo>
                      <a:pt x="69477" y="293072"/>
                    </a:lnTo>
                    <a:lnTo>
                      <a:pt x="69213" y="292807"/>
                    </a:lnTo>
                    <a:lnTo>
                      <a:pt x="68595" y="292543"/>
                    </a:lnTo>
                    <a:lnTo>
                      <a:pt x="68595" y="292807"/>
                    </a:lnTo>
                    <a:lnTo>
                      <a:pt x="68330" y="292278"/>
                    </a:lnTo>
                    <a:lnTo>
                      <a:pt x="68066" y="292014"/>
                    </a:lnTo>
                    <a:lnTo>
                      <a:pt x="68595" y="292014"/>
                    </a:lnTo>
                    <a:lnTo>
                      <a:pt x="68859" y="292278"/>
                    </a:lnTo>
                    <a:lnTo>
                      <a:pt x="67978" y="291661"/>
                    </a:lnTo>
                    <a:lnTo>
                      <a:pt x="67978" y="291397"/>
                    </a:lnTo>
                    <a:lnTo>
                      <a:pt x="67713" y="291132"/>
                    </a:lnTo>
                    <a:lnTo>
                      <a:pt x="68330" y="291397"/>
                    </a:lnTo>
                    <a:lnTo>
                      <a:pt x="68595" y="291132"/>
                    </a:lnTo>
                    <a:lnTo>
                      <a:pt x="68066" y="290250"/>
                    </a:lnTo>
                    <a:lnTo>
                      <a:pt x="68066" y="289986"/>
                    </a:lnTo>
                    <a:lnTo>
                      <a:pt x="68330" y="289721"/>
                    </a:lnTo>
                    <a:lnTo>
                      <a:pt x="68595" y="289986"/>
                    </a:lnTo>
                    <a:lnTo>
                      <a:pt x="69741" y="290250"/>
                    </a:lnTo>
                    <a:lnTo>
                      <a:pt x="70006" y="290515"/>
                    </a:lnTo>
                    <a:lnTo>
                      <a:pt x="69741" y="291044"/>
                    </a:lnTo>
                    <a:lnTo>
                      <a:pt x="70887" y="291661"/>
                    </a:lnTo>
                    <a:lnTo>
                      <a:pt x="70270" y="291926"/>
                    </a:lnTo>
                    <a:lnTo>
                      <a:pt x="70887" y="291926"/>
                    </a:lnTo>
                    <a:lnTo>
                      <a:pt x="71152" y="292190"/>
                    </a:lnTo>
                    <a:lnTo>
                      <a:pt x="71152" y="292719"/>
                    </a:lnTo>
                    <a:lnTo>
                      <a:pt x="70270" y="292719"/>
                    </a:lnTo>
                    <a:lnTo>
                      <a:pt x="70270" y="293336"/>
                    </a:lnTo>
                    <a:close/>
                    <a:moveTo>
                      <a:pt x="81379" y="293953"/>
                    </a:moveTo>
                    <a:lnTo>
                      <a:pt x="81115" y="293953"/>
                    </a:lnTo>
                    <a:lnTo>
                      <a:pt x="81379" y="293953"/>
                    </a:lnTo>
                    <a:close/>
                    <a:moveTo>
                      <a:pt x="83143" y="294835"/>
                    </a:moveTo>
                    <a:lnTo>
                      <a:pt x="82525" y="294218"/>
                    </a:lnTo>
                    <a:lnTo>
                      <a:pt x="82525" y="293953"/>
                    </a:lnTo>
                    <a:lnTo>
                      <a:pt x="83143" y="294571"/>
                    </a:lnTo>
                    <a:lnTo>
                      <a:pt x="83143" y="294835"/>
                    </a:lnTo>
                    <a:close/>
                    <a:moveTo>
                      <a:pt x="83760" y="295717"/>
                    </a:moveTo>
                    <a:lnTo>
                      <a:pt x="83496" y="295452"/>
                    </a:lnTo>
                    <a:lnTo>
                      <a:pt x="83760" y="295717"/>
                    </a:lnTo>
                    <a:close/>
                    <a:moveTo>
                      <a:pt x="74414" y="296598"/>
                    </a:moveTo>
                    <a:lnTo>
                      <a:pt x="74150" y="296334"/>
                    </a:lnTo>
                    <a:lnTo>
                      <a:pt x="74414" y="296334"/>
                    </a:lnTo>
                    <a:lnTo>
                      <a:pt x="74414" y="296598"/>
                    </a:lnTo>
                    <a:close/>
                    <a:moveTo>
                      <a:pt x="75296" y="296246"/>
                    </a:moveTo>
                    <a:lnTo>
                      <a:pt x="75031" y="296246"/>
                    </a:lnTo>
                    <a:lnTo>
                      <a:pt x="75296" y="295981"/>
                    </a:lnTo>
                    <a:lnTo>
                      <a:pt x="75296" y="296246"/>
                    </a:lnTo>
                    <a:close/>
                    <a:moveTo>
                      <a:pt x="72651" y="296863"/>
                    </a:moveTo>
                    <a:lnTo>
                      <a:pt x="72033" y="296863"/>
                    </a:lnTo>
                    <a:lnTo>
                      <a:pt x="72298" y="296598"/>
                    </a:lnTo>
                    <a:lnTo>
                      <a:pt x="72651" y="296863"/>
                    </a:lnTo>
                    <a:close/>
                    <a:moveTo>
                      <a:pt x="78823" y="296863"/>
                    </a:moveTo>
                    <a:lnTo>
                      <a:pt x="78558" y="296863"/>
                    </a:lnTo>
                    <a:lnTo>
                      <a:pt x="78823" y="296863"/>
                    </a:lnTo>
                    <a:close/>
                    <a:moveTo>
                      <a:pt x="75296" y="297480"/>
                    </a:moveTo>
                    <a:lnTo>
                      <a:pt x="75296" y="297480"/>
                    </a:lnTo>
                    <a:lnTo>
                      <a:pt x="75296" y="297216"/>
                    </a:lnTo>
                    <a:lnTo>
                      <a:pt x="75296" y="297480"/>
                    </a:lnTo>
                    <a:close/>
                    <a:moveTo>
                      <a:pt x="77588" y="297745"/>
                    </a:moveTo>
                    <a:lnTo>
                      <a:pt x="77324" y="298009"/>
                    </a:lnTo>
                    <a:lnTo>
                      <a:pt x="77324" y="297745"/>
                    </a:lnTo>
                    <a:lnTo>
                      <a:pt x="77588" y="297745"/>
                    </a:lnTo>
                    <a:close/>
                    <a:moveTo>
                      <a:pt x="69124" y="299155"/>
                    </a:moveTo>
                    <a:lnTo>
                      <a:pt x="68242" y="299155"/>
                    </a:lnTo>
                    <a:lnTo>
                      <a:pt x="67978" y="299420"/>
                    </a:lnTo>
                    <a:lnTo>
                      <a:pt x="68242" y="298803"/>
                    </a:lnTo>
                    <a:lnTo>
                      <a:pt x="68771" y="298185"/>
                    </a:lnTo>
                    <a:lnTo>
                      <a:pt x="69124" y="298803"/>
                    </a:lnTo>
                    <a:lnTo>
                      <a:pt x="69124" y="298538"/>
                    </a:lnTo>
                    <a:lnTo>
                      <a:pt x="69741" y="299155"/>
                    </a:lnTo>
                    <a:lnTo>
                      <a:pt x="69124" y="299155"/>
                    </a:lnTo>
                    <a:close/>
                    <a:moveTo>
                      <a:pt x="73797" y="300919"/>
                    </a:moveTo>
                    <a:lnTo>
                      <a:pt x="73268" y="300654"/>
                    </a:lnTo>
                    <a:lnTo>
                      <a:pt x="73533" y="300037"/>
                    </a:lnTo>
                    <a:lnTo>
                      <a:pt x="73533" y="299420"/>
                    </a:lnTo>
                    <a:lnTo>
                      <a:pt x="73797" y="299420"/>
                    </a:lnTo>
                    <a:lnTo>
                      <a:pt x="74414" y="300301"/>
                    </a:lnTo>
                    <a:lnTo>
                      <a:pt x="74150" y="300301"/>
                    </a:lnTo>
                    <a:lnTo>
                      <a:pt x="74150" y="300566"/>
                    </a:lnTo>
                    <a:lnTo>
                      <a:pt x="73797" y="300566"/>
                    </a:lnTo>
                    <a:lnTo>
                      <a:pt x="73797" y="300919"/>
                    </a:lnTo>
                    <a:close/>
                    <a:moveTo>
                      <a:pt x="73268" y="299773"/>
                    </a:moveTo>
                    <a:lnTo>
                      <a:pt x="72915" y="299773"/>
                    </a:lnTo>
                    <a:lnTo>
                      <a:pt x="73268" y="299773"/>
                    </a:lnTo>
                    <a:close/>
                    <a:moveTo>
                      <a:pt x="68859" y="300390"/>
                    </a:moveTo>
                    <a:lnTo>
                      <a:pt x="68595" y="300390"/>
                    </a:lnTo>
                    <a:lnTo>
                      <a:pt x="68859" y="299773"/>
                    </a:lnTo>
                    <a:lnTo>
                      <a:pt x="69213" y="300037"/>
                    </a:lnTo>
                    <a:lnTo>
                      <a:pt x="68859" y="300390"/>
                    </a:lnTo>
                    <a:close/>
                    <a:moveTo>
                      <a:pt x="67978" y="302418"/>
                    </a:moveTo>
                    <a:lnTo>
                      <a:pt x="67096" y="302153"/>
                    </a:lnTo>
                    <a:lnTo>
                      <a:pt x="67096" y="301271"/>
                    </a:lnTo>
                    <a:lnTo>
                      <a:pt x="67096" y="300125"/>
                    </a:lnTo>
                    <a:lnTo>
                      <a:pt x="67096" y="300742"/>
                    </a:lnTo>
                    <a:lnTo>
                      <a:pt x="67625" y="301271"/>
                    </a:lnTo>
                    <a:lnTo>
                      <a:pt x="67978" y="302418"/>
                    </a:lnTo>
                    <a:close/>
                    <a:moveTo>
                      <a:pt x="121672" y="304445"/>
                    </a:moveTo>
                    <a:lnTo>
                      <a:pt x="121408" y="304181"/>
                    </a:lnTo>
                    <a:lnTo>
                      <a:pt x="122025" y="304445"/>
                    </a:lnTo>
                    <a:lnTo>
                      <a:pt x="121672" y="304445"/>
                    </a:lnTo>
                    <a:close/>
                    <a:moveTo>
                      <a:pt x="62423" y="305063"/>
                    </a:moveTo>
                    <a:lnTo>
                      <a:pt x="61277" y="304445"/>
                    </a:lnTo>
                    <a:lnTo>
                      <a:pt x="63041" y="304445"/>
                    </a:lnTo>
                    <a:lnTo>
                      <a:pt x="62423" y="305063"/>
                    </a:lnTo>
                    <a:close/>
                    <a:moveTo>
                      <a:pt x="61541" y="305063"/>
                    </a:moveTo>
                    <a:lnTo>
                      <a:pt x="61277" y="305063"/>
                    </a:lnTo>
                    <a:lnTo>
                      <a:pt x="61541" y="305063"/>
                    </a:lnTo>
                    <a:close/>
                    <a:moveTo>
                      <a:pt x="68859" y="306826"/>
                    </a:moveTo>
                    <a:lnTo>
                      <a:pt x="67713" y="306826"/>
                    </a:lnTo>
                    <a:lnTo>
                      <a:pt x="67713" y="306209"/>
                    </a:lnTo>
                    <a:lnTo>
                      <a:pt x="67978" y="306209"/>
                    </a:lnTo>
                    <a:lnTo>
                      <a:pt x="68507" y="306473"/>
                    </a:lnTo>
                    <a:lnTo>
                      <a:pt x="68771" y="306473"/>
                    </a:lnTo>
                    <a:lnTo>
                      <a:pt x="68507" y="306209"/>
                    </a:lnTo>
                    <a:lnTo>
                      <a:pt x="68242" y="305327"/>
                    </a:lnTo>
                    <a:lnTo>
                      <a:pt x="68771" y="305327"/>
                    </a:lnTo>
                    <a:lnTo>
                      <a:pt x="68771" y="305063"/>
                    </a:lnTo>
                    <a:lnTo>
                      <a:pt x="68507" y="304798"/>
                    </a:lnTo>
                    <a:lnTo>
                      <a:pt x="68242" y="304181"/>
                    </a:lnTo>
                    <a:lnTo>
                      <a:pt x="68242" y="303916"/>
                    </a:lnTo>
                    <a:lnTo>
                      <a:pt x="68771" y="303916"/>
                    </a:lnTo>
                    <a:lnTo>
                      <a:pt x="68242" y="303299"/>
                    </a:lnTo>
                    <a:lnTo>
                      <a:pt x="68242" y="302682"/>
                    </a:lnTo>
                    <a:lnTo>
                      <a:pt x="68242" y="302418"/>
                    </a:lnTo>
                    <a:lnTo>
                      <a:pt x="68771" y="302153"/>
                    </a:lnTo>
                    <a:lnTo>
                      <a:pt x="69388" y="302153"/>
                    </a:lnTo>
                    <a:lnTo>
                      <a:pt x="69388" y="301889"/>
                    </a:lnTo>
                    <a:lnTo>
                      <a:pt x="69653" y="302506"/>
                    </a:lnTo>
                    <a:lnTo>
                      <a:pt x="69917" y="302241"/>
                    </a:lnTo>
                    <a:lnTo>
                      <a:pt x="69653" y="301977"/>
                    </a:lnTo>
                    <a:lnTo>
                      <a:pt x="69917" y="301977"/>
                    </a:lnTo>
                    <a:lnTo>
                      <a:pt x="69388" y="301712"/>
                    </a:lnTo>
                    <a:lnTo>
                      <a:pt x="69388" y="301448"/>
                    </a:lnTo>
                    <a:lnTo>
                      <a:pt x="69388" y="301183"/>
                    </a:lnTo>
                    <a:lnTo>
                      <a:pt x="69917" y="301183"/>
                    </a:lnTo>
                    <a:lnTo>
                      <a:pt x="70182" y="301712"/>
                    </a:lnTo>
                    <a:lnTo>
                      <a:pt x="70799" y="302594"/>
                    </a:lnTo>
                    <a:lnTo>
                      <a:pt x="70182" y="302594"/>
                    </a:lnTo>
                    <a:lnTo>
                      <a:pt x="70446" y="303211"/>
                    </a:lnTo>
                    <a:lnTo>
                      <a:pt x="69829" y="303211"/>
                    </a:lnTo>
                    <a:lnTo>
                      <a:pt x="70094" y="303476"/>
                    </a:lnTo>
                    <a:lnTo>
                      <a:pt x="70094" y="303740"/>
                    </a:lnTo>
                    <a:lnTo>
                      <a:pt x="70094" y="304357"/>
                    </a:lnTo>
                    <a:lnTo>
                      <a:pt x="69565" y="304357"/>
                    </a:lnTo>
                    <a:lnTo>
                      <a:pt x="70094" y="304622"/>
                    </a:lnTo>
                    <a:lnTo>
                      <a:pt x="70094" y="305503"/>
                    </a:lnTo>
                    <a:lnTo>
                      <a:pt x="69565" y="306033"/>
                    </a:lnTo>
                    <a:lnTo>
                      <a:pt x="69300" y="306914"/>
                    </a:lnTo>
                    <a:lnTo>
                      <a:pt x="68859" y="306914"/>
                    </a:lnTo>
                    <a:close/>
                    <a:moveTo>
                      <a:pt x="61894" y="305592"/>
                    </a:moveTo>
                    <a:lnTo>
                      <a:pt x="61277" y="305592"/>
                    </a:lnTo>
                    <a:lnTo>
                      <a:pt x="61894" y="305592"/>
                    </a:lnTo>
                    <a:close/>
                    <a:moveTo>
                      <a:pt x="63570" y="307090"/>
                    </a:moveTo>
                    <a:lnTo>
                      <a:pt x="63041" y="305944"/>
                    </a:lnTo>
                    <a:lnTo>
                      <a:pt x="63570" y="307090"/>
                    </a:lnTo>
                    <a:close/>
                    <a:moveTo>
                      <a:pt x="61012" y="306209"/>
                    </a:moveTo>
                    <a:lnTo>
                      <a:pt x="60748" y="306209"/>
                    </a:lnTo>
                    <a:lnTo>
                      <a:pt x="60748" y="305944"/>
                    </a:lnTo>
                    <a:lnTo>
                      <a:pt x="61012" y="306209"/>
                    </a:lnTo>
                    <a:close/>
                    <a:moveTo>
                      <a:pt x="61894" y="306473"/>
                    </a:moveTo>
                    <a:lnTo>
                      <a:pt x="62247" y="305856"/>
                    </a:lnTo>
                    <a:lnTo>
                      <a:pt x="61894" y="306473"/>
                    </a:lnTo>
                    <a:close/>
                    <a:moveTo>
                      <a:pt x="73268" y="307090"/>
                    </a:moveTo>
                    <a:lnTo>
                      <a:pt x="72915" y="306826"/>
                    </a:lnTo>
                    <a:lnTo>
                      <a:pt x="72915" y="306562"/>
                    </a:lnTo>
                    <a:lnTo>
                      <a:pt x="73268" y="306826"/>
                    </a:lnTo>
                    <a:lnTo>
                      <a:pt x="73268" y="307090"/>
                    </a:lnTo>
                    <a:close/>
                    <a:moveTo>
                      <a:pt x="60131" y="306473"/>
                    </a:moveTo>
                    <a:lnTo>
                      <a:pt x="60131" y="306473"/>
                    </a:lnTo>
                    <a:lnTo>
                      <a:pt x="60396" y="306473"/>
                    </a:lnTo>
                    <a:lnTo>
                      <a:pt x="60131" y="306473"/>
                    </a:lnTo>
                    <a:close/>
                    <a:moveTo>
                      <a:pt x="61277" y="307090"/>
                    </a:moveTo>
                    <a:lnTo>
                      <a:pt x="61012" y="307090"/>
                    </a:lnTo>
                    <a:lnTo>
                      <a:pt x="61277" y="307090"/>
                    </a:lnTo>
                    <a:close/>
                    <a:moveTo>
                      <a:pt x="123700" y="307090"/>
                    </a:moveTo>
                    <a:lnTo>
                      <a:pt x="123436" y="307090"/>
                    </a:lnTo>
                    <a:lnTo>
                      <a:pt x="123700" y="307090"/>
                    </a:lnTo>
                    <a:close/>
                    <a:moveTo>
                      <a:pt x="72386" y="307972"/>
                    </a:moveTo>
                    <a:lnTo>
                      <a:pt x="71769" y="307619"/>
                    </a:lnTo>
                    <a:lnTo>
                      <a:pt x="72033" y="307619"/>
                    </a:lnTo>
                    <a:lnTo>
                      <a:pt x="72651" y="307619"/>
                    </a:lnTo>
                    <a:lnTo>
                      <a:pt x="72386" y="307972"/>
                    </a:lnTo>
                    <a:close/>
                    <a:moveTo>
                      <a:pt x="124847" y="308854"/>
                    </a:moveTo>
                    <a:lnTo>
                      <a:pt x="124582" y="308854"/>
                    </a:lnTo>
                    <a:lnTo>
                      <a:pt x="124582" y="308589"/>
                    </a:lnTo>
                    <a:lnTo>
                      <a:pt x="124847" y="308854"/>
                    </a:lnTo>
                    <a:close/>
                    <a:moveTo>
                      <a:pt x="74414" y="311146"/>
                    </a:moveTo>
                    <a:lnTo>
                      <a:pt x="74150" y="311146"/>
                    </a:lnTo>
                    <a:lnTo>
                      <a:pt x="74150" y="310529"/>
                    </a:lnTo>
                    <a:lnTo>
                      <a:pt x="74414" y="310265"/>
                    </a:lnTo>
                    <a:lnTo>
                      <a:pt x="74414" y="309647"/>
                    </a:lnTo>
                    <a:lnTo>
                      <a:pt x="75031" y="309647"/>
                    </a:lnTo>
                    <a:lnTo>
                      <a:pt x="75296" y="309912"/>
                    </a:lnTo>
                    <a:lnTo>
                      <a:pt x="75031" y="310529"/>
                    </a:lnTo>
                    <a:lnTo>
                      <a:pt x="74679" y="310529"/>
                    </a:lnTo>
                    <a:lnTo>
                      <a:pt x="74414" y="311146"/>
                    </a:lnTo>
                    <a:close/>
                    <a:moveTo>
                      <a:pt x="75560" y="310617"/>
                    </a:moveTo>
                    <a:lnTo>
                      <a:pt x="75296" y="310617"/>
                    </a:lnTo>
                    <a:lnTo>
                      <a:pt x="75296" y="310353"/>
                    </a:lnTo>
                    <a:lnTo>
                      <a:pt x="75560" y="310617"/>
                    </a:lnTo>
                    <a:close/>
                    <a:moveTo>
                      <a:pt x="69741" y="311411"/>
                    </a:moveTo>
                    <a:lnTo>
                      <a:pt x="69741" y="310529"/>
                    </a:lnTo>
                    <a:lnTo>
                      <a:pt x="70006" y="311146"/>
                    </a:lnTo>
                    <a:lnTo>
                      <a:pt x="69741" y="311411"/>
                    </a:lnTo>
                    <a:close/>
                    <a:moveTo>
                      <a:pt x="66567" y="311146"/>
                    </a:moveTo>
                    <a:lnTo>
                      <a:pt x="66303" y="311146"/>
                    </a:lnTo>
                    <a:lnTo>
                      <a:pt x="66567" y="310882"/>
                    </a:lnTo>
                    <a:lnTo>
                      <a:pt x="66567" y="311146"/>
                    </a:lnTo>
                    <a:close/>
                    <a:moveTo>
                      <a:pt x="62776" y="311146"/>
                    </a:moveTo>
                    <a:lnTo>
                      <a:pt x="62776" y="310882"/>
                    </a:lnTo>
                    <a:lnTo>
                      <a:pt x="63129" y="310882"/>
                    </a:lnTo>
                    <a:lnTo>
                      <a:pt x="62776" y="311146"/>
                    </a:lnTo>
                    <a:close/>
                    <a:moveTo>
                      <a:pt x="67713" y="311411"/>
                    </a:moveTo>
                    <a:lnTo>
                      <a:pt x="67184" y="311146"/>
                    </a:lnTo>
                    <a:lnTo>
                      <a:pt x="67713" y="310882"/>
                    </a:lnTo>
                    <a:lnTo>
                      <a:pt x="67713" y="311411"/>
                    </a:lnTo>
                    <a:close/>
                    <a:moveTo>
                      <a:pt x="124318" y="311763"/>
                    </a:moveTo>
                    <a:lnTo>
                      <a:pt x="124053" y="311499"/>
                    </a:lnTo>
                    <a:lnTo>
                      <a:pt x="124053" y="311234"/>
                    </a:lnTo>
                    <a:lnTo>
                      <a:pt x="124053" y="310970"/>
                    </a:lnTo>
                    <a:lnTo>
                      <a:pt x="124318" y="311234"/>
                    </a:lnTo>
                    <a:lnTo>
                      <a:pt x="124318" y="311499"/>
                    </a:lnTo>
                    <a:lnTo>
                      <a:pt x="124318" y="311763"/>
                    </a:lnTo>
                    <a:close/>
                    <a:moveTo>
                      <a:pt x="127756" y="312292"/>
                    </a:moveTo>
                    <a:lnTo>
                      <a:pt x="127492" y="312292"/>
                    </a:lnTo>
                    <a:lnTo>
                      <a:pt x="127492" y="312028"/>
                    </a:lnTo>
                    <a:lnTo>
                      <a:pt x="127756" y="312028"/>
                    </a:lnTo>
                    <a:lnTo>
                      <a:pt x="127756" y="312292"/>
                    </a:lnTo>
                    <a:close/>
                    <a:moveTo>
                      <a:pt x="62776" y="312645"/>
                    </a:moveTo>
                    <a:lnTo>
                      <a:pt x="62512" y="312645"/>
                    </a:lnTo>
                    <a:lnTo>
                      <a:pt x="62776" y="312381"/>
                    </a:lnTo>
                    <a:lnTo>
                      <a:pt x="62776" y="312645"/>
                    </a:lnTo>
                    <a:close/>
                    <a:moveTo>
                      <a:pt x="76178" y="313527"/>
                    </a:moveTo>
                    <a:lnTo>
                      <a:pt x="75560" y="312910"/>
                    </a:lnTo>
                    <a:lnTo>
                      <a:pt x="75560" y="312645"/>
                    </a:lnTo>
                    <a:lnTo>
                      <a:pt x="75825" y="312910"/>
                    </a:lnTo>
                    <a:lnTo>
                      <a:pt x="76442" y="313174"/>
                    </a:lnTo>
                    <a:lnTo>
                      <a:pt x="76178" y="313527"/>
                    </a:lnTo>
                    <a:close/>
                    <a:moveTo>
                      <a:pt x="62423" y="313527"/>
                    </a:moveTo>
                    <a:lnTo>
                      <a:pt x="62423" y="313262"/>
                    </a:lnTo>
                    <a:lnTo>
                      <a:pt x="62423" y="312998"/>
                    </a:lnTo>
                    <a:lnTo>
                      <a:pt x="62423" y="313527"/>
                    </a:lnTo>
                    <a:close/>
                    <a:moveTo>
                      <a:pt x="76795" y="313174"/>
                    </a:moveTo>
                    <a:lnTo>
                      <a:pt x="76442" y="313174"/>
                    </a:lnTo>
                    <a:lnTo>
                      <a:pt x="76795" y="312910"/>
                    </a:lnTo>
                    <a:lnTo>
                      <a:pt x="76795" y="313174"/>
                    </a:lnTo>
                    <a:close/>
                    <a:moveTo>
                      <a:pt x="62423" y="313527"/>
                    </a:moveTo>
                    <a:lnTo>
                      <a:pt x="62159" y="313527"/>
                    </a:lnTo>
                    <a:lnTo>
                      <a:pt x="62159" y="313262"/>
                    </a:lnTo>
                    <a:lnTo>
                      <a:pt x="62423" y="313527"/>
                    </a:lnTo>
                    <a:close/>
                    <a:moveTo>
                      <a:pt x="76442" y="314408"/>
                    </a:moveTo>
                    <a:lnTo>
                      <a:pt x="76178" y="314408"/>
                    </a:lnTo>
                    <a:lnTo>
                      <a:pt x="76442" y="314144"/>
                    </a:lnTo>
                    <a:lnTo>
                      <a:pt x="76442" y="314408"/>
                    </a:lnTo>
                    <a:close/>
                    <a:moveTo>
                      <a:pt x="65686" y="315555"/>
                    </a:moveTo>
                    <a:lnTo>
                      <a:pt x="64804" y="314408"/>
                    </a:lnTo>
                    <a:lnTo>
                      <a:pt x="64804" y="313527"/>
                    </a:lnTo>
                    <a:lnTo>
                      <a:pt x="63393" y="312910"/>
                    </a:lnTo>
                    <a:lnTo>
                      <a:pt x="63129" y="312028"/>
                    </a:lnTo>
                    <a:lnTo>
                      <a:pt x="63658" y="311411"/>
                    </a:lnTo>
                    <a:lnTo>
                      <a:pt x="63658" y="309912"/>
                    </a:lnTo>
                    <a:lnTo>
                      <a:pt x="63129" y="307267"/>
                    </a:lnTo>
                    <a:lnTo>
                      <a:pt x="64275" y="309559"/>
                    </a:lnTo>
                    <a:lnTo>
                      <a:pt x="65157" y="311323"/>
                    </a:lnTo>
                    <a:lnTo>
                      <a:pt x="66655" y="311940"/>
                    </a:lnTo>
                    <a:lnTo>
                      <a:pt x="65509" y="312557"/>
                    </a:lnTo>
                    <a:lnTo>
                      <a:pt x="65509" y="314056"/>
                    </a:lnTo>
                    <a:lnTo>
                      <a:pt x="65686" y="315555"/>
                    </a:lnTo>
                    <a:close/>
                    <a:moveTo>
                      <a:pt x="64451" y="314937"/>
                    </a:moveTo>
                    <a:lnTo>
                      <a:pt x="63305" y="314673"/>
                    </a:lnTo>
                    <a:lnTo>
                      <a:pt x="63305" y="314056"/>
                    </a:lnTo>
                    <a:lnTo>
                      <a:pt x="63041" y="313439"/>
                    </a:lnTo>
                    <a:lnTo>
                      <a:pt x="64187" y="313703"/>
                    </a:lnTo>
                    <a:lnTo>
                      <a:pt x="64451" y="314937"/>
                    </a:lnTo>
                    <a:close/>
                    <a:moveTo>
                      <a:pt x="63305" y="316084"/>
                    </a:moveTo>
                    <a:lnTo>
                      <a:pt x="62159" y="315202"/>
                    </a:lnTo>
                    <a:lnTo>
                      <a:pt x="61277" y="314320"/>
                    </a:lnTo>
                    <a:lnTo>
                      <a:pt x="62159" y="314585"/>
                    </a:lnTo>
                    <a:lnTo>
                      <a:pt x="63305" y="315466"/>
                    </a:lnTo>
                    <a:lnTo>
                      <a:pt x="63305" y="316084"/>
                    </a:lnTo>
                    <a:close/>
                    <a:moveTo>
                      <a:pt x="62423" y="316701"/>
                    </a:moveTo>
                    <a:lnTo>
                      <a:pt x="60660" y="315555"/>
                    </a:lnTo>
                    <a:lnTo>
                      <a:pt x="61806" y="316172"/>
                    </a:lnTo>
                    <a:lnTo>
                      <a:pt x="62159" y="315555"/>
                    </a:lnTo>
                    <a:lnTo>
                      <a:pt x="62423" y="316701"/>
                    </a:lnTo>
                    <a:close/>
                    <a:moveTo>
                      <a:pt x="126345" y="316965"/>
                    </a:moveTo>
                    <a:lnTo>
                      <a:pt x="126081" y="316965"/>
                    </a:lnTo>
                    <a:lnTo>
                      <a:pt x="126345" y="316965"/>
                    </a:lnTo>
                    <a:close/>
                    <a:moveTo>
                      <a:pt x="64187" y="317318"/>
                    </a:moveTo>
                    <a:lnTo>
                      <a:pt x="63834" y="317318"/>
                    </a:lnTo>
                    <a:lnTo>
                      <a:pt x="64187" y="317318"/>
                    </a:lnTo>
                    <a:close/>
                    <a:moveTo>
                      <a:pt x="85788" y="317583"/>
                    </a:moveTo>
                    <a:lnTo>
                      <a:pt x="85259" y="317318"/>
                    </a:lnTo>
                    <a:lnTo>
                      <a:pt x="85788" y="317583"/>
                    </a:lnTo>
                    <a:close/>
                    <a:moveTo>
                      <a:pt x="64804" y="317583"/>
                    </a:moveTo>
                    <a:lnTo>
                      <a:pt x="64451" y="317318"/>
                    </a:lnTo>
                    <a:lnTo>
                      <a:pt x="64804" y="317583"/>
                    </a:lnTo>
                    <a:close/>
                    <a:moveTo>
                      <a:pt x="56957" y="318464"/>
                    </a:moveTo>
                    <a:lnTo>
                      <a:pt x="56604" y="318464"/>
                    </a:lnTo>
                    <a:lnTo>
                      <a:pt x="56957" y="318464"/>
                    </a:lnTo>
                    <a:close/>
                    <a:moveTo>
                      <a:pt x="127227" y="318464"/>
                    </a:moveTo>
                    <a:lnTo>
                      <a:pt x="126963" y="318464"/>
                    </a:lnTo>
                    <a:lnTo>
                      <a:pt x="126963" y="318200"/>
                    </a:lnTo>
                    <a:lnTo>
                      <a:pt x="127227" y="318464"/>
                    </a:lnTo>
                    <a:close/>
                    <a:moveTo>
                      <a:pt x="81996" y="318993"/>
                    </a:moveTo>
                    <a:lnTo>
                      <a:pt x="81996" y="318993"/>
                    </a:lnTo>
                    <a:lnTo>
                      <a:pt x="81379" y="318376"/>
                    </a:lnTo>
                    <a:lnTo>
                      <a:pt x="81996" y="318993"/>
                    </a:lnTo>
                    <a:close/>
                    <a:moveTo>
                      <a:pt x="63305" y="318993"/>
                    </a:moveTo>
                    <a:lnTo>
                      <a:pt x="63041" y="318729"/>
                    </a:lnTo>
                    <a:lnTo>
                      <a:pt x="63305" y="318729"/>
                    </a:lnTo>
                    <a:lnTo>
                      <a:pt x="63305" y="318993"/>
                    </a:lnTo>
                    <a:close/>
                    <a:moveTo>
                      <a:pt x="82525" y="319346"/>
                    </a:moveTo>
                    <a:lnTo>
                      <a:pt x="82261" y="319081"/>
                    </a:lnTo>
                    <a:lnTo>
                      <a:pt x="82525" y="319081"/>
                    </a:lnTo>
                    <a:lnTo>
                      <a:pt x="82878" y="318817"/>
                    </a:lnTo>
                    <a:lnTo>
                      <a:pt x="82878" y="319081"/>
                    </a:lnTo>
                    <a:lnTo>
                      <a:pt x="82525" y="319346"/>
                    </a:lnTo>
                    <a:close/>
                    <a:moveTo>
                      <a:pt x="58103" y="320227"/>
                    </a:moveTo>
                    <a:lnTo>
                      <a:pt x="57838" y="319875"/>
                    </a:lnTo>
                    <a:lnTo>
                      <a:pt x="58103" y="319875"/>
                    </a:lnTo>
                    <a:lnTo>
                      <a:pt x="58103" y="320227"/>
                    </a:lnTo>
                    <a:close/>
                    <a:moveTo>
                      <a:pt x="125463" y="319875"/>
                    </a:moveTo>
                    <a:lnTo>
                      <a:pt x="124847" y="319610"/>
                    </a:lnTo>
                    <a:lnTo>
                      <a:pt x="125463" y="319610"/>
                    </a:lnTo>
                    <a:lnTo>
                      <a:pt x="125463" y="319875"/>
                    </a:lnTo>
                    <a:close/>
                    <a:moveTo>
                      <a:pt x="81996" y="319875"/>
                    </a:moveTo>
                    <a:lnTo>
                      <a:pt x="81644" y="319875"/>
                    </a:lnTo>
                    <a:lnTo>
                      <a:pt x="81996" y="319875"/>
                    </a:lnTo>
                    <a:close/>
                    <a:moveTo>
                      <a:pt x="123436" y="321109"/>
                    </a:moveTo>
                    <a:lnTo>
                      <a:pt x="123436" y="321374"/>
                    </a:lnTo>
                    <a:lnTo>
                      <a:pt x="123436" y="320845"/>
                    </a:lnTo>
                    <a:lnTo>
                      <a:pt x="123436" y="321109"/>
                    </a:lnTo>
                    <a:close/>
                    <a:moveTo>
                      <a:pt x="61894" y="321903"/>
                    </a:moveTo>
                    <a:lnTo>
                      <a:pt x="58985" y="321286"/>
                    </a:lnTo>
                    <a:lnTo>
                      <a:pt x="58985" y="321021"/>
                    </a:lnTo>
                    <a:lnTo>
                      <a:pt x="58367" y="319875"/>
                    </a:lnTo>
                    <a:lnTo>
                      <a:pt x="58632" y="319610"/>
                    </a:lnTo>
                    <a:lnTo>
                      <a:pt x="57221" y="317230"/>
                    </a:lnTo>
                    <a:lnTo>
                      <a:pt x="58985" y="317847"/>
                    </a:lnTo>
                    <a:lnTo>
                      <a:pt x="59602" y="317230"/>
                    </a:lnTo>
                    <a:lnTo>
                      <a:pt x="60483" y="317230"/>
                    </a:lnTo>
                    <a:lnTo>
                      <a:pt x="60219" y="316348"/>
                    </a:lnTo>
                    <a:lnTo>
                      <a:pt x="61983" y="317759"/>
                    </a:lnTo>
                    <a:lnTo>
                      <a:pt x="63481" y="320139"/>
                    </a:lnTo>
                    <a:lnTo>
                      <a:pt x="61454" y="320139"/>
                    </a:lnTo>
                    <a:lnTo>
                      <a:pt x="61894" y="321903"/>
                    </a:lnTo>
                    <a:close/>
                    <a:moveTo>
                      <a:pt x="63041" y="321374"/>
                    </a:moveTo>
                    <a:lnTo>
                      <a:pt x="63041" y="321374"/>
                    </a:lnTo>
                    <a:lnTo>
                      <a:pt x="63041" y="321109"/>
                    </a:lnTo>
                    <a:lnTo>
                      <a:pt x="63041" y="321374"/>
                    </a:lnTo>
                    <a:close/>
                    <a:moveTo>
                      <a:pt x="98308" y="321903"/>
                    </a:moveTo>
                    <a:lnTo>
                      <a:pt x="98043" y="321638"/>
                    </a:lnTo>
                    <a:lnTo>
                      <a:pt x="97426" y="321374"/>
                    </a:lnTo>
                    <a:lnTo>
                      <a:pt x="98043" y="321109"/>
                    </a:lnTo>
                    <a:lnTo>
                      <a:pt x="98308" y="321374"/>
                    </a:lnTo>
                    <a:lnTo>
                      <a:pt x="98308" y="321903"/>
                    </a:lnTo>
                    <a:close/>
                    <a:moveTo>
                      <a:pt x="98043" y="322520"/>
                    </a:moveTo>
                    <a:lnTo>
                      <a:pt x="97779" y="322255"/>
                    </a:lnTo>
                    <a:lnTo>
                      <a:pt x="97426" y="321638"/>
                    </a:lnTo>
                    <a:lnTo>
                      <a:pt x="98043" y="321903"/>
                    </a:lnTo>
                    <a:lnTo>
                      <a:pt x="98043" y="322520"/>
                    </a:lnTo>
                    <a:close/>
                    <a:moveTo>
                      <a:pt x="97162" y="322520"/>
                    </a:moveTo>
                    <a:lnTo>
                      <a:pt x="96633" y="322520"/>
                    </a:lnTo>
                    <a:lnTo>
                      <a:pt x="96633" y="321903"/>
                    </a:lnTo>
                    <a:lnTo>
                      <a:pt x="96015" y="321638"/>
                    </a:lnTo>
                    <a:lnTo>
                      <a:pt x="96280" y="321021"/>
                    </a:lnTo>
                    <a:lnTo>
                      <a:pt x="96280" y="320757"/>
                    </a:lnTo>
                    <a:lnTo>
                      <a:pt x="96544" y="320757"/>
                    </a:lnTo>
                    <a:lnTo>
                      <a:pt x="96809" y="321021"/>
                    </a:lnTo>
                    <a:lnTo>
                      <a:pt x="97073" y="321286"/>
                    </a:lnTo>
                    <a:lnTo>
                      <a:pt x="97073" y="321903"/>
                    </a:lnTo>
                    <a:lnTo>
                      <a:pt x="97338" y="322255"/>
                    </a:lnTo>
                    <a:lnTo>
                      <a:pt x="97338" y="322520"/>
                    </a:lnTo>
                    <a:lnTo>
                      <a:pt x="97162" y="322520"/>
                    </a:lnTo>
                    <a:close/>
                    <a:moveTo>
                      <a:pt x="64804" y="322255"/>
                    </a:moveTo>
                    <a:lnTo>
                      <a:pt x="64451" y="322255"/>
                    </a:lnTo>
                    <a:lnTo>
                      <a:pt x="64804" y="322255"/>
                    </a:lnTo>
                    <a:close/>
                    <a:moveTo>
                      <a:pt x="83407" y="322520"/>
                    </a:moveTo>
                    <a:lnTo>
                      <a:pt x="83143" y="322255"/>
                    </a:lnTo>
                    <a:lnTo>
                      <a:pt x="83760" y="322520"/>
                    </a:lnTo>
                    <a:lnTo>
                      <a:pt x="83407" y="322520"/>
                    </a:lnTo>
                    <a:close/>
                    <a:moveTo>
                      <a:pt x="90461" y="322520"/>
                    </a:moveTo>
                    <a:lnTo>
                      <a:pt x="90108" y="322520"/>
                    </a:lnTo>
                    <a:lnTo>
                      <a:pt x="90461" y="322520"/>
                    </a:lnTo>
                    <a:close/>
                    <a:moveTo>
                      <a:pt x="96897" y="322873"/>
                    </a:moveTo>
                    <a:lnTo>
                      <a:pt x="96633" y="322608"/>
                    </a:lnTo>
                    <a:lnTo>
                      <a:pt x="97162" y="322873"/>
                    </a:lnTo>
                    <a:lnTo>
                      <a:pt x="96897" y="322873"/>
                    </a:lnTo>
                    <a:close/>
                    <a:moveTo>
                      <a:pt x="99189" y="324283"/>
                    </a:moveTo>
                    <a:lnTo>
                      <a:pt x="99189" y="324019"/>
                    </a:lnTo>
                    <a:lnTo>
                      <a:pt x="99189" y="324283"/>
                    </a:lnTo>
                    <a:close/>
                    <a:moveTo>
                      <a:pt x="97426" y="326928"/>
                    </a:moveTo>
                    <a:lnTo>
                      <a:pt x="96897" y="326311"/>
                    </a:lnTo>
                    <a:lnTo>
                      <a:pt x="96897" y="326047"/>
                    </a:lnTo>
                    <a:lnTo>
                      <a:pt x="96633" y="325782"/>
                    </a:lnTo>
                    <a:lnTo>
                      <a:pt x="96633" y="326399"/>
                    </a:lnTo>
                    <a:lnTo>
                      <a:pt x="95751" y="326399"/>
                    </a:lnTo>
                    <a:lnTo>
                      <a:pt x="95133" y="326135"/>
                    </a:lnTo>
                    <a:lnTo>
                      <a:pt x="95133" y="326752"/>
                    </a:lnTo>
                    <a:lnTo>
                      <a:pt x="94869" y="326488"/>
                    </a:lnTo>
                    <a:lnTo>
                      <a:pt x="94517" y="326223"/>
                    </a:lnTo>
                    <a:lnTo>
                      <a:pt x="94252" y="326223"/>
                    </a:lnTo>
                    <a:lnTo>
                      <a:pt x="93723" y="325606"/>
                    </a:lnTo>
                    <a:lnTo>
                      <a:pt x="93723" y="324989"/>
                    </a:lnTo>
                    <a:lnTo>
                      <a:pt x="94869" y="324107"/>
                    </a:lnTo>
                    <a:lnTo>
                      <a:pt x="94869" y="323842"/>
                    </a:lnTo>
                    <a:lnTo>
                      <a:pt x="95487" y="323225"/>
                    </a:lnTo>
                    <a:lnTo>
                      <a:pt x="95751" y="323225"/>
                    </a:lnTo>
                    <a:lnTo>
                      <a:pt x="96368" y="323490"/>
                    </a:lnTo>
                    <a:lnTo>
                      <a:pt x="96368" y="323225"/>
                    </a:lnTo>
                    <a:lnTo>
                      <a:pt x="96633" y="323490"/>
                    </a:lnTo>
                    <a:lnTo>
                      <a:pt x="96897" y="323754"/>
                    </a:lnTo>
                    <a:lnTo>
                      <a:pt x="97426" y="323490"/>
                    </a:lnTo>
                    <a:lnTo>
                      <a:pt x="97426" y="323225"/>
                    </a:lnTo>
                    <a:lnTo>
                      <a:pt x="98043" y="323225"/>
                    </a:lnTo>
                    <a:lnTo>
                      <a:pt x="98043" y="323842"/>
                    </a:lnTo>
                    <a:lnTo>
                      <a:pt x="98043" y="324724"/>
                    </a:lnTo>
                    <a:lnTo>
                      <a:pt x="97779" y="325606"/>
                    </a:lnTo>
                    <a:lnTo>
                      <a:pt x="98043" y="325870"/>
                    </a:lnTo>
                    <a:lnTo>
                      <a:pt x="98043" y="326135"/>
                    </a:lnTo>
                    <a:lnTo>
                      <a:pt x="98308" y="326752"/>
                    </a:lnTo>
                    <a:lnTo>
                      <a:pt x="97691" y="326488"/>
                    </a:lnTo>
                    <a:lnTo>
                      <a:pt x="97338" y="326752"/>
                    </a:lnTo>
                    <a:lnTo>
                      <a:pt x="97338" y="326928"/>
                    </a:lnTo>
                    <a:close/>
                    <a:moveTo>
                      <a:pt x="98925" y="326928"/>
                    </a:moveTo>
                    <a:lnTo>
                      <a:pt x="98572" y="326928"/>
                    </a:lnTo>
                    <a:lnTo>
                      <a:pt x="98308" y="326311"/>
                    </a:lnTo>
                    <a:lnTo>
                      <a:pt x="98572" y="326576"/>
                    </a:lnTo>
                    <a:lnTo>
                      <a:pt x="98925" y="326928"/>
                    </a:lnTo>
                    <a:close/>
                    <a:moveTo>
                      <a:pt x="94869" y="326928"/>
                    </a:moveTo>
                    <a:lnTo>
                      <a:pt x="94869" y="327193"/>
                    </a:lnTo>
                    <a:lnTo>
                      <a:pt x="94517" y="326928"/>
                    </a:lnTo>
                    <a:lnTo>
                      <a:pt x="94869" y="326928"/>
                    </a:lnTo>
                    <a:close/>
                    <a:moveTo>
                      <a:pt x="97426" y="327193"/>
                    </a:moveTo>
                    <a:lnTo>
                      <a:pt x="97162" y="327193"/>
                    </a:lnTo>
                    <a:lnTo>
                      <a:pt x="97426" y="327193"/>
                    </a:lnTo>
                    <a:close/>
                    <a:moveTo>
                      <a:pt x="96897" y="327810"/>
                    </a:moveTo>
                    <a:lnTo>
                      <a:pt x="96633" y="327810"/>
                    </a:lnTo>
                    <a:lnTo>
                      <a:pt x="96633" y="327545"/>
                    </a:lnTo>
                    <a:lnTo>
                      <a:pt x="96368" y="327281"/>
                    </a:lnTo>
                    <a:lnTo>
                      <a:pt x="96633" y="327281"/>
                    </a:lnTo>
                    <a:lnTo>
                      <a:pt x="97162" y="327545"/>
                    </a:lnTo>
                    <a:lnTo>
                      <a:pt x="96897" y="327810"/>
                    </a:lnTo>
                    <a:close/>
                    <a:moveTo>
                      <a:pt x="97162" y="328692"/>
                    </a:moveTo>
                    <a:lnTo>
                      <a:pt x="97162" y="328692"/>
                    </a:lnTo>
                    <a:lnTo>
                      <a:pt x="97426" y="328075"/>
                    </a:lnTo>
                    <a:lnTo>
                      <a:pt x="97162" y="327810"/>
                    </a:lnTo>
                    <a:lnTo>
                      <a:pt x="98043" y="327545"/>
                    </a:lnTo>
                    <a:lnTo>
                      <a:pt x="97779" y="328427"/>
                    </a:lnTo>
                    <a:lnTo>
                      <a:pt x="97162" y="328692"/>
                    </a:lnTo>
                    <a:close/>
                    <a:moveTo>
                      <a:pt x="96897" y="328075"/>
                    </a:moveTo>
                    <a:lnTo>
                      <a:pt x="96633" y="328075"/>
                    </a:lnTo>
                    <a:lnTo>
                      <a:pt x="96897" y="328075"/>
                    </a:lnTo>
                    <a:close/>
                    <a:moveTo>
                      <a:pt x="95663" y="329838"/>
                    </a:moveTo>
                    <a:lnTo>
                      <a:pt x="95398" y="328956"/>
                    </a:lnTo>
                    <a:lnTo>
                      <a:pt x="95663" y="328956"/>
                    </a:lnTo>
                    <a:lnTo>
                      <a:pt x="95927" y="328692"/>
                    </a:lnTo>
                    <a:lnTo>
                      <a:pt x="96192" y="328956"/>
                    </a:lnTo>
                    <a:lnTo>
                      <a:pt x="95927" y="329573"/>
                    </a:lnTo>
                    <a:lnTo>
                      <a:pt x="95927" y="329838"/>
                    </a:lnTo>
                    <a:lnTo>
                      <a:pt x="95663" y="329838"/>
                    </a:lnTo>
                    <a:close/>
                    <a:moveTo>
                      <a:pt x="93988" y="329485"/>
                    </a:moveTo>
                    <a:lnTo>
                      <a:pt x="93723" y="329485"/>
                    </a:lnTo>
                    <a:lnTo>
                      <a:pt x="93988" y="329485"/>
                    </a:lnTo>
                    <a:close/>
                    <a:moveTo>
                      <a:pt x="94869" y="330455"/>
                    </a:moveTo>
                    <a:lnTo>
                      <a:pt x="94517" y="330191"/>
                    </a:lnTo>
                    <a:lnTo>
                      <a:pt x="94517" y="329838"/>
                    </a:lnTo>
                    <a:lnTo>
                      <a:pt x="94869" y="329573"/>
                    </a:lnTo>
                    <a:lnTo>
                      <a:pt x="94869" y="330455"/>
                    </a:lnTo>
                    <a:close/>
                    <a:moveTo>
                      <a:pt x="96015" y="330984"/>
                    </a:moveTo>
                    <a:lnTo>
                      <a:pt x="95751" y="330984"/>
                    </a:lnTo>
                    <a:lnTo>
                      <a:pt x="95487" y="330455"/>
                    </a:lnTo>
                    <a:lnTo>
                      <a:pt x="95751" y="330720"/>
                    </a:lnTo>
                    <a:lnTo>
                      <a:pt x="96015" y="330984"/>
                    </a:lnTo>
                    <a:close/>
                    <a:moveTo>
                      <a:pt x="91871" y="331249"/>
                    </a:moveTo>
                    <a:lnTo>
                      <a:pt x="91607" y="331513"/>
                    </a:lnTo>
                    <a:lnTo>
                      <a:pt x="91342" y="330896"/>
                    </a:lnTo>
                    <a:lnTo>
                      <a:pt x="91607" y="330896"/>
                    </a:lnTo>
                    <a:lnTo>
                      <a:pt x="91342" y="330367"/>
                    </a:lnTo>
                    <a:lnTo>
                      <a:pt x="91078" y="330367"/>
                    </a:lnTo>
                    <a:lnTo>
                      <a:pt x="91078" y="330102"/>
                    </a:lnTo>
                    <a:lnTo>
                      <a:pt x="90813" y="330102"/>
                    </a:lnTo>
                    <a:lnTo>
                      <a:pt x="90549" y="330102"/>
                    </a:lnTo>
                    <a:lnTo>
                      <a:pt x="90813" y="329221"/>
                    </a:lnTo>
                    <a:lnTo>
                      <a:pt x="90813" y="328956"/>
                    </a:lnTo>
                    <a:lnTo>
                      <a:pt x="91695" y="329221"/>
                    </a:lnTo>
                    <a:lnTo>
                      <a:pt x="91431" y="328956"/>
                    </a:lnTo>
                    <a:lnTo>
                      <a:pt x="91695" y="328692"/>
                    </a:lnTo>
                    <a:lnTo>
                      <a:pt x="91960" y="329221"/>
                    </a:lnTo>
                    <a:lnTo>
                      <a:pt x="92224" y="329221"/>
                    </a:lnTo>
                    <a:lnTo>
                      <a:pt x="91960" y="328692"/>
                    </a:lnTo>
                    <a:lnTo>
                      <a:pt x="91342" y="328692"/>
                    </a:lnTo>
                    <a:lnTo>
                      <a:pt x="90461" y="328692"/>
                    </a:lnTo>
                    <a:lnTo>
                      <a:pt x="90461" y="328427"/>
                    </a:lnTo>
                    <a:lnTo>
                      <a:pt x="90108" y="328427"/>
                    </a:lnTo>
                    <a:lnTo>
                      <a:pt x="89491" y="327545"/>
                    </a:lnTo>
                    <a:lnTo>
                      <a:pt x="89226" y="326928"/>
                    </a:lnTo>
                    <a:lnTo>
                      <a:pt x="89491" y="326664"/>
                    </a:lnTo>
                    <a:lnTo>
                      <a:pt x="89226" y="325782"/>
                    </a:lnTo>
                    <a:lnTo>
                      <a:pt x="89491" y="324636"/>
                    </a:lnTo>
                    <a:lnTo>
                      <a:pt x="89226" y="323754"/>
                    </a:lnTo>
                    <a:lnTo>
                      <a:pt x="88345" y="323137"/>
                    </a:lnTo>
                    <a:lnTo>
                      <a:pt x="88962" y="322873"/>
                    </a:lnTo>
                    <a:lnTo>
                      <a:pt x="88962" y="323137"/>
                    </a:lnTo>
                    <a:lnTo>
                      <a:pt x="89491" y="323402"/>
                    </a:lnTo>
                    <a:lnTo>
                      <a:pt x="90108" y="322784"/>
                    </a:lnTo>
                    <a:lnTo>
                      <a:pt x="90725" y="322520"/>
                    </a:lnTo>
                    <a:lnTo>
                      <a:pt x="91871" y="322520"/>
                    </a:lnTo>
                    <a:lnTo>
                      <a:pt x="92489" y="323137"/>
                    </a:lnTo>
                    <a:lnTo>
                      <a:pt x="92489" y="323402"/>
                    </a:lnTo>
                    <a:lnTo>
                      <a:pt x="92753" y="324019"/>
                    </a:lnTo>
                    <a:lnTo>
                      <a:pt x="93018" y="324636"/>
                    </a:lnTo>
                    <a:lnTo>
                      <a:pt x="93635" y="325518"/>
                    </a:lnTo>
                    <a:lnTo>
                      <a:pt x="93635" y="325782"/>
                    </a:lnTo>
                    <a:lnTo>
                      <a:pt x="93635" y="326047"/>
                    </a:lnTo>
                    <a:lnTo>
                      <a:pt x="93900" y="326664"/>
                    </a:lnTo>
                    <a:lnTo>
                      <a:pt x="94164" y="326399"/>
                    </a:lnTo>
                    <a:lnTo>
                      <a:pt x="94429" y="326664"/>
                    </a:lnTo>
                    <a:lnTo>
                      <a:pt x="94429" y="326928"/>
                    </a:lnTo>
                    <a:lnTo>
                      <a:pt x="94429" y="327545"/>
                    </a:lnTo>
                    <a:lnTo>
                      <a:pt x="94429" y="328163"/>
                    </a:lnTo>
                    <a:lnTo>
                      <a:pt x="93900" y="328427"/>
                    </a:lnTo>
                    <a:lnTo>
                      <a:pt x="93635" y="328163"/>
                    </a:lnTo>
                    <a:lnTo>
                      <a:pt x="93635" y="328427"/>
                    </a:lnTo>
                    <a:lnTo>
                      <a:pt x="93371" y="328692"/>
                    </a:lnTo>
                    <a:lnTo>
                      <a:pt x="93988" y="328692"/>
                    </a:lnTo>
                    <a:lnTo>
                      <a:pt x="93988" y="329221"/>
                    </a:lnTo>
                    <a:lnTo>
                      <a:pt x="93371" y="329838"/>
                    </a:lnTo>
                    <a:lnTo>
                      <a:pt x="93106" y="330191"/>
                    </a:lnTo>
                    <a:lnTo>
                      <a:pt x="93371" y="330455"/>
                    </a:lnTo>
                    <a:lnTo>
                      <a:pt x="93106" y="330720"/>
                    </a:lnTo>
                    <a:lnTo>
                      <a:pt x="92842" y="330455"/>
                    </a:lnTo>
                    <a:lnTo>
                      <a:pt x="93106" y="330720"/>
                    </a:lnTo>
                    <a:lnTo>
                      <a:pt x="92489" y="331249"/>
                    </a:lnTo>
                    <a:lnTo>
                      <a:pt x="92136" y="330984"/>
                    </a:lnTo>
                    <a:lnTo>
                      <a:pt x="92136" y="331601"/>
                    </a:lnTo>
                    <a:lnTo>
                      <a:pt x="91871" y="331249"/>
                    </a:lnTo>
                    <a:close/>
                    <a:moveTo>
                      <a:pt x="92489" y="331866"/>
                    </a:moveTo>
                    <a:lnTo>
                      <a:pt x="92136" y="331866"/>
                    </a:lnTo>
                    <a:lnTo>
                      <a:pt x="92753" y="331866"/>
                    </a:lnTo>
                    <a:lnTo>
                      <a:pt x="92753" y="332130"/>
                    </a:lnTo>
                    <a:lnTo>
                      <a:pt x="92489" y="331866"/>
                    </a:lnTo>
                    <a:close/>
                    <a:moveTo>
                      <a:pt x="91078" y="331866"/>
                    </a:moveTo>
                    <a:lnTo>
                      <a:pt x="91078" y="331866"/>
                    </a:lnTo>
                    <a:lnTo>
                      <a:pt x="91078" y="331601"/>
                    </a:lnTo>
                    <a:lnTo>
                      <a:pt x="91078" y="331866"/>
                    </a:lnTo>
                    <a:close/>
                    <a:moveTo>
                      <a:pt x="96280" y="333894"/>
                    </a:moveTo>
                    <a:lnTo>
                      <a:pt x="95663" y="333894"/>
                    </a:lnTo>
                    <a:lnTo>
                      <a:pt x="95046" y="333365"/>
                    </a:lnTo>
                    <a:lnTo>
                      <a:pt x="94429" y="332483"/>
                    </a:lnTo>
                    <a:lnTo>
                      <a:pt x="93547" y="331601"/>
                    </a:lnTo>
                    <a:lnTo>
                      <a:pt x="93811" y="331337"/>
                    </a:lnTo>
                    <a:lnTo>
                      <a:pt x="93547" y="331072"/>
                    </a:lnTo>
                    <a:lnTo>
                      <a:pt x="94429" y="331337"/>
                    </a:lnTo>
                    <a:lnTo>
                      <a:pt x="94429" y="331072"/>
                    </a:lnTo>
                    <a:lnTo>
                      <a:pt x="94781" y="331072"/>
                    </a:lnTo>
                    <a:lnTo>
                      <a:pt x="95046" y="330543"/>
                    </a:lnTo>
                    <a:lnTo>
                      <a:pt x="95310" y="331425"/>
                    </a:lnTo>
                    <a:lnTo>
                      <a:pt x="95575" y="332042"/>
                    </a:lnTo>
                    <a:lnTo>
                      <a:pt x="96192" y="332307"/>
                    </a:lnTo>
                    <a:lnTo>
                      <a:pt x="96192" y="332571"/>
                    </a:lnTo>
                    <a:lnTo>
                      <a:pt x="95927" y="333188"/>
                    </a:lnTo>
                    <a:lnTo>
                      <a:pt x="96280" y="333894"/>
                    </a:lnTo>
                    <a:close/>
                    <a:moveTo>
                      <a:pt x="59249" y="335392"/>
                    </a:moveTo>
                    <a:lnTo>
                      <a:pt x="58985" y="335392"/>
                    </a:lnTo>
                    <a:lnTo>
                      <a:pt x="59249" y="335392"/>
                    </a:lnTo>
                    <a:close/>
                    <a:moveTo>
                      <a:pt x="58632" y="336539"/>
                    </a:moveTo>
                    <a:lnTo>
                      <a:pt x="58632" y="336274"/>
                    </a:lnTo>
                    <a:lnTo>
                      <a:pt x="58632" y="336539"/>
                    </a:lnTo>
                    <a:close/>
                    <a:moveTo>
                      <a:pt x="92842" y="341476"/>
                    </a:moveTo>
                    <a:lnTo>
                      <a:pt x="92577" y="340859"/>
                    </a:lnTo>
                    <a:lnTo>
                      <a:pt x="92224" y="340595"/>
                    </a:lnTo>
                    <a:lnTo>
                      <a:pt x="91960" y="340595"/>
                    </a:lnTo>
                    <a:lnTo>
                      <a:pt x="91695" y="339977"/>
                    </a:lnTo>
                    <a:lnTo>
                      <a:pt x="91960" y="339977"/>
                    </a:lnTo>
                    <a:lnTo>
                      <a:pt x="91342" y="339713"/>
                    </a:lnTo>
                    <a:lnTo>
                      <a:pt x="91607" y="340595"/>
                    </a:lnTo>
                    <a:lnTo>
                      <a:pt x="90990" y="340330"/>
                    </a:lnTo>
                    <a:lnTo>
                      <a:pt x="90990" y="339448"/>
                    </a:lnTo>
                    <a:lnTo>
                      <a:pt x="91871" y="339448"/>
                    </a:lnTo>
                    <a:lnTo>
                      <a:pt x="92753" y="340065"/>
                    </a:lnTo>
                    <a:lnTo>
                      <a:pt x="93018" y="340065"/>
                    </a:lnTo>
                    <a:lnTo>
                      <a:pt x="92753" y="339801"/>
                    </a:lnTo>
                    <a:lnTo>
                      <a:pt x="93282" y="339801"/>
                    </a:lnTo>
                    <a:lnTo>
                      <a:pt x="93282" y="340065"/>
                    </a:lnTo>
                    <a:lnTo>
                      <a:pt x="93282" y="340330"/>
                    </a:lnTo>
                    <a:lnTo>
                      <a:pt x="93547" y="340947"/>
                    </a:lnTo>
                    <a:lnTo>
                      <a:pt x="93282" y="340947"/>
                    </a:lnTo>
                    <a:lnTo>
                      <a:pt x="92842" y="341476"/>
                    </a:lnTo>
                    <a:close/>
                    <a:moveTo>
                      <a:pt x="92224" y="341741"/>
                    </a:moveTo>
                    <a:lnTo>
                      <a:pt x="91695" y="341476"/>
                    </a:lnTo>
                    <a:lnTo>
                      <a:pt x="91695" y="340859"/>
                    </a:lnTo>
                    <a:lnTo>
                      <a:pt x="91960" y="340859"/>
                    </a:lnTo>
                    <a:lnTo>
                      <a:pt x="91960" y="341476"/>
                    </a:lnTo>
                    <a:lnTo>
                      <a:pt x="92224" y="341741"/>
                    </a:lnTo>
                    <a:close/>
                    <a:moveTo>
                      <a:pt x="91078" y="345885"/>
                    </a:moveTo>
                    <a:lnTo>
                      <a:pt x="90813" y="345620"/>
                    </a:lnTo>
                    <a:lnTo>
                      <a:pt x="90549" y="345885"/>
                    </a:lnTo>
                    <a:lnTo>
                      <a:pt x="90196" y="345620"/>
                    </a:lnTo>
                    <a:lnTo>
                      <a:pt x="89579" y="345091"/>
                    </a:lnTo>
                    <a:lnTo>
                      <a:pt x="89844" y="345091"/>
                    </a:lnTo>
                    <a:lnTo>
                      <a:pt x="89844" y="344209"/>
                    </a:lnTo>
                    <a:lnTo>
                      <a:pt x="89844" y="343945"/>
                    </a:lnTo>
                    <a:lnTo>
                      <a:pt x="89844" y="343680"/>
                    </a:lnTo>
                    <a:lnTo>
                      <a:pt x="90725" y="343063"/>
                    </a:lnTo>
                    <a:lnTo>
                      <a:pt x="90990" y="343063"/>
                    </a:lnTo>
                    <a:lnTo>
                      <a:pt x="90990" y="342446"/>
                    </a:lnTo>
                    <a:lnTo>
                      <a:pt x="90990" y="341829"/>
                    </a:lnTo>
                    <a:lnTo>
                      <a:pt x="91255" y="342446"/>
                    </a:lnTo>
                    <a:lnTo>
                      <a:pt x="91255" y="343592"/>
                    </a:lnTo>
                    <a:lnTo>
                      <a:pt x="90990" y="343592"/>
                    </a:lnTo>
                    <a:lnTo>
                      <a:pt x="90990" y="344209"/>
                    </a:lnTo>
                    <a:lnTo>
                      <a:pt x="90990" y="344738"/>
                    </a:lnTo>
                    <a:lnTo>
                      <a:pt x="90990" y="345356"/>
                    </a:lnTo>
                    <a:lnTo>
                      <a:pt x="90990" y="345885"/>
                    </a:lnTo>
                    <a:close/>
                    <a:moveTo>
                      <a:pt x="103245" y="352585"/>
                    </a:moveTo>
                    <a:lnTo>
                      <a:pt x="102981" y="352585"/>
                    </a:lnTo>
                    <a:lnTo>
                      <a:pt x="102981" y="352321"/>
                    </a:lnTo>
                    <a:lnTo>
                      <a:pt x="103245" y="352585"/>
                    </a:lnTo>
                    <a:close/>
                    <a:moveTo>
                      <a:pt x="115236" y="354878"/>
                    </a:moveTo>
                    <a:lnTo>
                      <a:pt x="114971" y="354878"/>
                    </a:lnTo>
                    <a:lnTo>
                      <a:pt x="115236" y="354613"/>
                    </a:lnTo>
                    <a:lnTo>
                      <a:pt x="115236" y="354878"/>
                    </a:lnTo>
                    <a:close/>
                    <a:moveTo>
                      <a:pt x="90461" y="355759"/>
                    </a:moveTo>
                    <a:lnTo>
                      <a:pt x="90108" y="355759"/>
                    </a:lnTo>
                    <a:lnTo>
                      <a:pt x="90461" y="355759"/>
                    </a:lnTo>
                    <a:close/>
                    <a:moveTo>
                      <a:pt x="90108" y="356377"/>
                    </a:moveTo>
                    <a:lnTo>
                      <a:pt x="89844" y="356112"/>
                    </a:lnTo>
                    <a:lnTo>
                      <a:pt x="89844" y="355848"/>
                    </a:lnTo>
                    <a:lnTo>
                      <a:pt x="90108" y="356377"/>
                    </a:lnTo>
                    <a:close/>
                    <a:moveTo>
                      <a:pt x="117000" y="361578"/>
                    </a:moveTo>
                    <a:lnTo>
                      <a:pt x="116382" y="359286"/>
                    </a:lnTo>
                    <a:lnTo>
                      <a:pt x="117264" y="356112"/>
                    </a:lnTo>
                    <a:lnTo>
                      <a:pt x="115236" y="351175"/>
                    </a:lnTo>
                    <a:lnTo>
                      <a:pt x="112326" y="348001"/>
                    </a:lnTo>
                    <a:lnTo>
                      <a:pt x="109946" y="346502"/>
                    </a:lnTo>
                    <a:lnTo>
                      <a:pt x="111974" y="346237"/>
                    </a:lnTo>
                    <a:lnTo>
                      <a:pt x="114002" y="347119"/>
                    </a:lnTo>
                    <a:lnTo>
                      <a:pt x="112855" y="343945"/>
                    </a:lnTo>
                    <a:lnTo>
                      <a:pt x="109946" y="343328"/>
                    </a:lnTo>
                    <a:lnTo>
                      <a:pt x="109329" y="346237"/>
                    </a:lnTo>
                    <a:lnTo>
                      <a:pt x="110210" y="350910"/>
                    </a:lnTo>
                    <a:lnTo>
                      <a:pt x="111974" y="353555"/>
                    </a:lnTo>
                    <a:lnTo>
                      <a:pt x="114619" y="355936"/>
                    </a:lnTo>
                    <a:lnTo>
                      <a:pt x="113737" y="357435"/>
                    </a:lnTo>
                    <a:lnTo>
                      <a:pt x="111974" y="356553"/>
                    </a:lnTo>
                    <a:lnTo>
                      <a:pt x="107830" y="355407"/>
                    </a:lnTo>
                    <a:lnTo>
                      <a:pt x="105273" y="355407"/>
                    </a:lnTo>
                    <a:lnTo>
                      <a:pt x="104392" y="354260"/>
                    </a:lnTo>
                    <a:lnTo>
                      <a:pt x="103510" y="353379"/>
                    </a:lnTo>
                    <a:lnTo>
                      <a:pt x="102011" y="351616"/>
                    </a:lnTo>
                    <a:lnTo>
                      <a:pt x="102011" y="350734"/>
                    </a:lnTo>
                    <a:lnTo>
                      <a:pt x="103157" y="351616"/>
                    </a:lnTo>
                    <a:lnTo>
                      <a:pt x="104656" y="350469"/>
                    </a:lnTo>
                    <a:lnTo>
                      <a:pt x="102892" y="345179"/>
                    </a:lnTo>
                    <a:lnTo>
                      <a:pt x="99718" y="342534"/>
                    </a:lnTo>
                    <a:lnTo>
                      <a:pt x="99718" y="340771"/>
                    </a:lnTo>
                    <a:lnTo>
                      <a:pt x="97955" y="337244"/>
                    </a:lnTo>
                    <a:lnTo>
                      <a:pt x="97073" y="336098"/>
                    </a:lnTo>
                    <a:lnTo>
                      <a:pt x="96192" y="333806"/>
                    </a:lnTo>
                    <a:lnTo>
                      <a:pt x="98220" y="334070"/>
                    </a:lnTo>
                    <a:lnTo>
                      <a:pt x="99366" y="332307"/>
                    </a:lnTo>
                    <a:lnTo>
                      <a:pt x="99366" y="331160"/>
                    </a:lnTo>
                    <a:lnTo>
                      <a:pt x="99895" y="329662"/>
                    </a:lnTo>
                    <a:lnTo>
                      <a:pt x="100512" y="329397"/>
                    </a:lnTo>
                    <a:lnTo>
                      <a:pt x="100247" y="327986"/>
                    </a:lnTo>
                    <a:lnTo>
                      <a:pt x="100865" y="325959"/>
                    </a:lnTo>
                    <a:lnTo>
                      <a:pt x="100600" y="323931"/>
                    </a:lnTo>
                    <a:lnTo>
                      <a:pt x="99983" y="322520"/>
                    </a:lnTo>
                    <a:lnTo>
                      <a:pt x="100336" y="321638"/>
                    </a:lnTo>
                    <a:lnTo>
                      <a:pt x="100600" y="320757"/>
                    </a:lnTo>
                    <a:lnTo>
                      <a:pt x="97955" y="321374"/>
                    </a:lnTo>
                    <a:lnTo>
                      <a:pt x="97955" y="319875"/>
                    </a:lnTo>
                    <a:lnTo>
                      <a:pt x="99101" y="318376"/>
                    </a:lnTo>
                    <a:lnTo>
                      <a:pt x="98220" y="316613"/>
                    </a:lnTo>
                    <a:lnTo>
                      <a:pt x="95927" y="314849"/>
                    </a:lnTo>
                    <a:lnTo>
                      <a:pt x="93282" y="313086"/>
                    </a:lnTo>
                    <a:lnTo>
                      <a:pt x="91784" y="311058"/>
                    </a:lnTo>
                    <a:lnTo>
                      <a:pt x="91166" y="308766"/>
                    </a:lnTo>
                    <a:lnTo>
                      <a:pt x="89138" y="307884"/>
                    </a:lnTo>
                    <a:lnTo>
                      <a:pt x="87728" y="307267"/>
                    </a:lnTo>
                    <a:lnTo>
                      <a:pt x="85700" y="306650"/>
                    </a:lnTo>
                    <a:lnTo>
                      <a:pt x="84818" y="308148"/>
                    </a:lnTo>
                    <a:lnTo>
                      <a:pt x="87110" y="311058"/>
                    </a:lnTo>
                    <a:lnTo>
                      <a:pt x="88257" y="312469"/>
                    </a:lnTo>
                    <a:lnTo>
                      <a:pt x="87992" y="313615"/>
                    </a:lnTo>
                    <a:lnTo>
                      <a:pt x="86581" y="315114"/>
                    </a:lnTo>
                    <a:lnTo>
                      <a:pt x="88609" y="315378"/>
                    </a:lnTo>
                    <a:lnTo>
                      <a:pt x="91519" y="314761"/>
                    </a:lnTo>
                    <a:lnTo>
                      <a:pt x="93811" y="318817"/>
                    </a:lnTo>
                    <a:lnTo>
                      <a:pt x="92400" y="320845"/>
                    </a:lnTo>
                    <a:lnTo>
                      <a:pt x="90902" y="321374"/>
                    </a:lnTo>
                    <a:lnTo>
                      <a:pt x="90284" y="318464"/>
                    </a:lnTo>
                    <a:lnTo>
                      <a:pt x="88874" y="316436"/>
                    </a:lnTo>
                    <a:lnTo>
                      <a:pt x="85964" y="317318"/>
                    </a:lnTo>
                    <a:lnTo>
                      <a:pt x="84818" y="318200"/>
                    </a:lnTo>
                    <a:lnTo>
                      <a:pt x="84554" y="319963"/>
                    </a:lnTo>
                    <a:lnTo>
                      <a:pt x="83143" y="321991"/>
                    </a:lnTo>
                    <a:lnTo>
                      <a:pt x="82525" y="321374"/>
                    </a:lnTo>
                    <a:lnTo>
                      <a:pt x="83143" y="318729"/>
                    </a:lnTo>
                    <a:lnTo>
                      <a:pt x="83143" y="318112"/>
                    </a:lnTo>
                    <a:lnTo>
                      <a:pt x="81996" y="317230"/>
                    </a:lnTo>
                    <a:lnTo>
                      <a:pt x="80498" y="315466"/>
                    </a:lnTo>
                    <a:lnTo>
                      <a:pt x="78470" y="314937"/>
                    </a:lnTo>
                    <a:lnTo>
                      <a:pt x="76089" y="312292"/>
                    </a:lnTo>
                    <a:lnTo>
                      <a:pt x="75825" y="310000"/>
                    </a:lnTo>
                    <a:lnTo>
                      <a:pt x="75560" y="308854"/>
                    </a:lnTo>
                    <a:lnTo>
                      <a:pt x="77324" y="310000"/>
                    </a:lnTo>
                    <a:lnTo>
                      <a:pt x="77941" y="311146"/>
                    </a:lnTo>
                    <a:lnTo>
                      <a:pt x="78558" y="310882"/>
                    </a:lnTo>
                    <a:lnTo>
                      <a:pt x="80057" y="312292"/>
                    </a:lnTo>
                    <a:lnTo>
                      <a:pt x="80057" y="312910"/>
                    </a:lnTo>
                    <a:lnTo>
                      <a:pt x="80321" y="313527"/>
                    </a:lnTo>
                    <a:lnTo>
                      <a:pt x="80939" y="314673"/>
                    </a:lnTo>
                    <a:lnTo>
                      <a:pt x="82350" y="314673"/>
                    </a:lnTo>
                    <a:lnTo>
                      <a:pt x="83848" y="314673"/>
                    </a:lnTo>
                    <a:lnTo>
                      <a:pt x="84730" y="314673"/>
                    </a:lnTo>
                    <a:lnTo>
                      <a:pt x="83583" y="313791"/>
                    </a:lnTo>
                    <a:lnTo>
                      <a:pt x="80674" y="310000"/>
                    </a:lnTo>
                    <a:lnTo>
                      <a:pt x="79263" y="309736"/>
                    </a:lnTo>
                    <a:lnTo>
                      <a:pt x="78382" y="309118"/>
                    </a:lnTo>
                    <a:lnTo>
                      <a:pt x="78382" y="310000"/>
                    </a:lnTo>
                    <a:lnTo>
                      <a:pt x="77236" y="308501"/>
                    </a:lnTo>
                    <a:lnTo>
                      <a:pt x="77236" y="307884"/>
                    </a:lnTo>
                    <a:lnTo>
                      <a:pt x="76618" y="308148"/>
                    </a:lnTo>
                    <a:lnTo>
                      <a:pt x="75737" y="307267"/>
                    </a:lnTo>
                    <a:lnTo>
                      <a:pt x="75737" y="308766"/>
                    </a:lnTo>
                    <a:lnTo>
                      <a:pt x="75472" y="307619"/>
                    </a:lnTo>
                    <a:lnTo>
                      <a:pt x="74326" y="306473"/>
                    </a:lnTo>
                    <a:lnTo>
                      <a:pt x="73709" y="306209"/>
                    </a:lnTo>
                    <a:lnTo>
                      <a:pt x="72210" y="305944"/>
                    </a:lnTo>
                    <a:lnTo>
                      <a:pt x="71946" y="305063"/>
                    </a:lnTo>
                    <a:lnTo>
                      <a:pt x="71946" y="303299"/>
                    </a:lnTo>
                    <a:lnTo>
                      <a:pt x="71064" y="301800"/>
                    </a:lnTo>
                    <a:lnTo>
                      <a:pt x="72210" y="302065"/>
                    </a:lnTo>
                    <a:lnTo>
                      <a:pt x="73091" y="301800"/>
                    </a:lnTo>
                    <a:lnTo>
                      <a:pt x="74855" y="302065"/>
                    </a:lnTo>
                    <a:lnTo>
                      <a:pt x="76354" y="303211"/>
                    </a:lnTo>
                    <a:lnTo>
                      <a:pt x="76971" y="303211"/>
                    </a:lnTo>
                    <a:lnTo>
                      <a:pt x="76089" y="302065"/>
                    </a:lnTo>
                    <a:lnTo>
                      <a:pt x="76089" y="300919"/>
                    </a:lnTo>
                    <a:lnTo>
                      <a:pt x="76354" y="300919"/>
                    </a:lnTo>
                    <a:lnTo>
                      <a:pt x="74855" y="299773"/>
                    </a:lnTo>
                    <a:lnTo>
                      <a:pt x="75472" y="299508"/>
                    </a:lnTo>
                    <a:lnTo>
                      <a:pt x="75472" y="299244"/>
                    </a:lnTo>
                    <a:lnTo>
                      <a:pt x="74855" y="298097"/>
                    </a:lnTo>
                    <a:lnTo>
                      <a:pt x="76001" y="298097"/>
                    </a:lnTo>
                    <a:lnTo>
                      <a:pt x="76618" y="297480"/>
                    </a:lnTo>
                    <a:lnTo>
                      <a:pt x="77765" y="299508"/>
                    </a:lnTo>
                    <a:lnTo>
                      <a:pt x="78911" y="300125"/>
                    </a:lnTo>
                    <a:lnTo>
                      <a:pt x="80321" y="298626"/>
                    </a:lnTo>
                    <a:lnTo>
                      <a:pt x="81203" y="297127"/>
                    </a:lnTo>
                    <a:lnTo>
                      <a:pt x="80057" y="296863"/>
                    </a:lnTo>
                    <a:lnTo>
                      <a:pt x="80674" y="295981"/>
                    </a:lnTo>
                    <a:lnTo>
                      <a:pt x="81556" y="294482"/>
                    </a:lnTo>
                    <a:lnTo>
                      <a:pt x="83054" y="296246"/>
                    </a:lnTo>
                    <a:lnTo>
                      <a:pt x="85347" y="296246"/>
                    </a:lnTo>
                    <a:lnTo>
                      <a:pt x="85612" y="294747"/>
                    </a:lnTo>
                    <a:lnTo>
                      <a:pt x="84465" y="294482"/>
                    </a:lnTo>
                    <a:lnTo>
                      <a:pt x="84730" y="294218"/>
                    </a:lnTo>
                    <a:lnTo>
                      <a:pt x="84994" y="291573"/>
                    </a:lnTo>
                    <a:lnTo>
                      <a:pt x="84994" y="289809"/>
                    </a:lnTo>
                    <a:lnTo>
                      <a:pt x="87022" y="289280"/>
                    </a:lnTo>
                    <a:lnTo>
                      <a:pt x="88786" y="287517"/>
                    </a:lnTo>
                    <a:lnTo>
                      <a:pt x="90549" y="287253"/>
                    </a:lnTo>
                    <a:lnTo>
                      <a:pt x="91431" y="288751"/>
                    </a:lnTo>
                    <a:lnTo>
                      <a:pt x="92313" y="288751"/>
                    </a:lnTo>
                    <a:lnTo>
                      <a:pt x="93811" y="287253"/>
                    </a:lnTo>
                    <a:lnTo>
                      <a:pt x="94958" y="287870"/>
                    </a:lnTo>
                    <a:lnTo>
                      <a:pt x="95222" y="289633"/>
                    </a:lnTo>
                    <a:lnTo>
                      <a:pt x="96368" y="290779"/>
                    </a:lnTo>
                    <a:lnTo>
                      <a:pt x="98131" y="293689"/>
                    </a:lnTo>
                    <a:lnTo>
                      <a:pt x="100512" y="295717"/>
                    </a:lnTo>
                    <a:lnTo>
                      <a:pt x="102805" y="296069"/>
                    </a:lnTo>
                    <a:lnTo>
                      <a:pt x="105714" y="296598"/>
                    </a:lnTo>
                    <a:lnTo>
                      <a:pt x="107477" y="297216"/>
                    </a:lnTo>
                    <a:lnTo>
                      <a:pt x="107742" y="295717"/>
                    </a:lnTo>
                    <a:lnTo>
                      <a:pt x="108359" y="294835"/>
                    </a:lnTo>
                    <a:lnTo>
                      <a:pt x="108976" y="294218"/>
                    </a:lnTo>
                    <a:lnTo>
                      <a:pt x="110387" y="294218"/>
                    </a:lnTo>
                    <a:lnTo>
                      <a:pt x="111886" y="294835"/>
                    </a:lnTo>
                    <a:lnTo>
                      <a:pt x="114531" y="297216"/>
                    </a:lnTo>
                    <a:lnTo>
                      <a:pt x="114531" y="301007"/>
                    </a:lnTo>
                    <a:lnTo>
                      <a:pt x="114266" y="301536"/>
                    </a:lnTo>
                    <a:lnTo>
                      <a:pt x="113384" y="302418"/>
                    </a:lnTo>
                    <a:lnTo>
                      <a:pt x="111621" y="302418"/>
                    </a:lnTo>
                    <a:lnTo>
                      <a:pt x="114795" y="305063"/>
                    </a:lnTo>
                    <a:lnTo>
                      <a:pt x="116294" y="304445"/>
                    </a:lnTo>
                    <a:lnTo>
                      <a:pt x="118587" y="305063"/>
                    </a:lnTo>
                    <a:lnTo>
                      <a:pt x="120614" y="304445"/>
                    </a:lnTo>
                    <a:lnTo>
                      <a:pt x="120879" y="306473"/>
                    </a:lnTo>
                    <a:lnTo>
                      <a:pt x="120262" y="308237"/>
                    </a:lnTo>
                    <a:lnTo>
                      <a:pt x="122025" y="308237"/>
                    </a:lnTo>
                    <a:lnTo>
                      <a:pt x="122025" y="308501"/>
                    </a:lnTo>
                    <a:lnTo>
                      <a:pt x="125816" y="313174"/>
                    </a:lnTo>
                    <a:lnTo>
                      <a:pt x="121761" y="322520"/>
                    </a:lnTo>
                    <a:lnTo>
                      <a:pt x="124934" y="333894"/>
                    </a:lnTo>
                    <a:lnTo>
                      <a:pt x="125816" y="340595"/>
                    </a:lnTo>
                    <a:lnTo>
                      <a:pt x="127580" y="351086"/>
                    </a:lnTo>
                    <a:lnTo>
                      <a:pt x="125552" y="351704"/>
                    </a:lnTo>
                    <a:lnTo>
                      <a:pt x="124405" y="350293"/>
                    </a:lnTo>
                    <a:lnTo>
                      <a:pt x="122378" y="349676"/>
                    </a:lnTo>
                    <a:lnTo>
                      <a:pt x="121761" y="352585"/>
                    </a:lnTo>
                    <a:lnTo>
                      <a:pt x="123524" y="354613"/>
                    </a:lnTo>
                    <a:lnTo>
                      <a:pt x="123259" y="355759"/>
                    </a:lnTo>
                    <a:lnTo>
                      <a:pt x="122114" y="358052"/>
                    </a:lnTo>
                    <a:lnTo>
                      <a:pt x="118587" y="359815"/>
                    </a:lnTo>
                    <a:lnTo>
                      <a:pt x="117440" y="360697"/>
                    </a:lnTo>
                    <a:lnTo>
                      <a:pt x="117000" y="361578"/>
                    </a:lnTo>
                    <a:close/>
                    <a:moveTo>
                      <a:pt x="102981" y="365987"/>
                    </a:moveTo>
                    <a:lnTo>
                      <a:pt x="102363" y="365370"/>
                    </a:lnTo>
                    <a:lnTo>
                      <a:pt x="103510" y="365634"/>
                    </a:lnTo>
                    <a:lnTo>
                      <a:pt x="102981" y="365987"/>
                    </a:lnTo>
                    <a:close/>
                    <a:moveTo>
                      <a:pt x="127756" y="375862"/>
                    </a:moveTo>
                    <a:lnTo>
                      <a:pt x="126610" y="372335"/>
                    </a:lnTo>
                    <a:lnTo>
                      <a:pt x="126081" y="366781"/>
                    </a:lnTo>
                    <a:lnTo>
                      <a:pt x="126610" y="363871"/>
                    </a:lnTo>
                    <a:lnTo>
                      <a:pt x="128109" y="368279"/>
                    </a:lnTo>
                    <a:lnTo>
                      <a:pt x="128109" y="372688"/>
                    </a:lnTo>
                    <a:lnTo>
                      <a:pt x="128990" y="375068"/>
                    </a:lnTo>
                    <a:lnTo>
                      <a:pt x="127756" y="375862"/>
                    </a:lnTo>
                    <a:close/>
                    <a:moveTo>
                      <a:pt x="114090" y="366251"/>
                    </a:moveTo>
                    <a:lnTo>
                      <a:pt x="113208" y="366251"/>
                    </a:lnTo>
                    <a:lnTo>
                      <a:pt x="114090" y="366251"/>
                    </a:lnTo>
                    <a:close/>
                    <a:moveTo>
                      <a:pt x="111180" y="367133"/>
                    </a:moveTo>
                    <a:lnTo>
                      <a:pt x="110563" y="366516"/>
                    </a:lnTo>
                    <a:lnTo>
                      <a:pt x="111180" y="367133"/>
                    </a:lnTo>
                    <a:close/>
                    <a:moveTo>
                      <a:pt x="123436" y="368367"/>
                    </a:moveTo>
                    <a:lnTo>
                      <a:pt x="123172" y="368367"/>
                    </a:lnTo>
                    <a:lnTo>
                      <a:pt x="123788" y="368367"/>
                    </a:lnTo>
                    <a:lnTo>
                      <a:pt x="123436" y="368367"/>
                    </a:lnTo>
                    <a:close/>
                    <a:moveTo>
                      <a:pt x="112944" y="375862"/>
                    </a:moveTo>
                    <a:lnTo>
                      <a:pt x="110651" y="374451"/>
                    </a:lnTo>
                    <a:lnTo>
                      <a:pt x="112679" y="374716"/>
                    </a:lnTo>
                    <a:lnTo>
                      <a:pt x="112944" y="375862"/>
                    </a:lnTo>
                    <a:close/>
                    <a:moveTo>
                      <a:pt x="119645" y="378242"/>
                    </a:moveTo>
                    <a:lnTo>
                      <a:pt x="115853" y="376214"/>
                    </a:lnTo>
                    <a:lnTo>
                      <a:pt x="115853" y="373305"/>
                    </a:lnTo>
                    <a:lnTo>
                      <a:pt x="117881" y="373040"/>
                    </a:lnTo>
                    <a:lnTo>
                      <a:pt x="121143" y="376567"/>
                    </a:lnTo>
                    <a:lnTo>
                      <a:pt x="119645" y="378242"/>
                    </a:lnTo>
                    <a:close/>
                    <a:moveTo>
                      <a:pt x="111180" y="387588"/>
                    </a:moveTo>
                    <a:lnTo>
                      <a:pt x="109946" y="386971"/>
                    </a:lnTo>
                    <a:lnTo>
                      <a:pt x="110563" y="386971"/>
                    </a:lnTo>
                    <a:lnTo>
                      <a:pt x="111180" y="387588"/>
                    </a:lnTo>
                    <a:close/>
                    <a:moveTo>
                      <a:pt x="103245" y="388999"/>
                    </a:moveTo>
                    <a:lnTo>
                      <a:pt x="102981" y="389263"/>
                    </a:lnTo>
                    <a:lnTo>
                      <a:pt x="103245" y="388999"/>
                    </a:lnTo>
                    <a:close/>
                    <a:moveTo>
                      <a:pt x="111445" y="391115"/>
                    </a:moveTo>
                    <a:lnTo>
                      <a:pt x="109417" y="389969"/>
                    </a:lnTo>
                    <a:lnTo>
                      <a:pt x="110563" y="389704"/>
                    </a:lnTo>
                    <a:lnTo>
                      <a:pt x="111445" y="391115"/>
                    </a:lnTo>
                    <a:close/>
                    <a:moveTo>
                      <a:pt x="109152" y="396581"/>
                    </a:moveTo>
                    <a:lnTo>
                      <a:pt x="108271" y="395700"/>
                    </a:lnTo>
                    <a:lnTo>
                      <a:pt x="108888" y="394818"/>
                    </a:lnTo>
                    <a:lnTo>
                      <a:pt x="109152" y="396581"/>
                    </a:lnTo>
                    <a:close/>
                    <a:moveTo>
                      <a:pt x="108271" y="400725"/>
                    </a:moveTo>
                    <a:lnTo>
                      <a:pt x="107918" y="400725"/>
                    </a:lnTo>
                    <a:lnTo>
                      <a:pt x="108535" y="400725"/>
                    </a:lnTo>
                    <a:lnTo>
                      <a:pt x="108271" y="400725"/>
                    </a:lnTo>
                    <a:close/>
                    <a:moveTo>
                      <a:pt x="104127" y="405927"/>
                    </a:moveTo>
                    <a:lnTo>
                      <a:pt x="103863" y="405927"/>
                    </a:lnTo>
                    <a:lnTo>
                      <a:pt x="104127" y="405927"/>
                    </a:lnTo>
                    <a:close/>
                    <a:moveTo>
                      <a:pt x="102716" y="408308"/>
                    </a:moveTo>
                    <a:lnTo>
                      <a:pt x="102452" y="408308"/>
                    </a:lnTo>
                    <a:lnTo>
                      <a:pt x="102452" y="408043"/>
                    </a:lnTo>
                    <a:lnTo>
                      <a:pt x="102716" y="408308"/>
                    </a:lnTo>
                    <a:close/>
                    <a:moveTo>
                      <a:pt x="100336" y="415890"/>
                    </a:moveTo>
                    <a:lnTo>
                      <a:pt x="99983" y="415890"/>
                    </a:lnTo>
                    <a:lnTo>
                      <a:pt x="100336" y="415626"/>
                    </a:lnTo>
                    <a:lnTo>
                      <a:pt x="100336" y="415890"/>
                    </a:lnTo>
                    <a:close/>
                    <a:moveTo>
                      <a:pt x="100688" y="416772"/>
                    </a:moveTo>
                    <a:lnTo>
                      <a:pt x="100424" y="416772"/>
                    </a:lnTo>
                    <a:lnTo>
                      <a:pt x="100688" y="416507"/>
                    </a:lnTo>
                    <a:lnTo>
                      <a:pt x="100688" y="4167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1" name="Freihandform: Form 1960">
                <a:extLst>
                  <a:ext uri="{FF2B5EF4-FFF2-40B4-BE49-F238E27FC236}">
                    <a16:creationId xmlns:a16="http://schemas.microsoft.com/office/drawing/2014/main" id="{640434A3-0AC4-B110-3E57-B42CE21A948A}"/>
                  </a:ext>
                </a:extLst>
              </p:cNvPr>
              <p:cNvSpPr/>
              <p:nvPr/>
            </p:nvSpPr>
            <p:spPr>
              <a:xfrm>
                <a:off x="5567204" y="2823812"/>
                <a:ext cx="1122648" cy="873131"/>
              </a:xfrm>
              <a:custGeom>
                <a:avLst/>
                <a:gdLst>
                  <a:gd name="connsiteX0" fmla="*/ 42145 w 1122648"/>
                  <a:gd name="connsiteY0" fmla="*/ 398697 h 873131"/>
                  <a:gd name="connsiteX1" fmla="*/ 47435 w 1122648"/>
                  <a:gd name="connsiteY1" fmla="*/ 402753 h 873131"/>
                  <a:gd name="connsiteX2" fmla="*/ 52989 w 1122648"/>
                  <a:gd name="connsiteY2" fmla="*/ 406809 h 873131"/>
                  <a:gd name="connsiteX3" fmla="*/ 53871 w 1122648"/>
                  <a:gd name="connsiteY3" fmla="*/ 409718 h 873131"/>
                  <a:gd name="connsiteX4" fmla="*/ 57398 w 1122648"/>
                  <a:gd name="connsiteY4" fmla="*/ 409101 h 873131"/>
                  <a:gd name="connsiteX5" fmla="*/ 62071 w 1122648"/>
                  <a:gd name="connsiteY5" fmla="*/ 409983 h 873131"/>
                  <a:gd name="connsiteX6" fmla="*/ 64451 w 1122648"/>
                  <a:gd name="connsiteY6" fmla="*/ 411746 h 873131"/>
                  <a:gd name="connsiteX7" fmla="*/ 65068 w 1122648"/>
                  <a:gd name="connsiteY7" fmla="*/ 414039 h 873131"/>
                  <a:gd name="connsiteX8" fmla="*/ 67096 w 1122648"/>
                  <a:gd name="connsiteY8" fmla="*/ 415538 h 873131"/>
                  <a:gd name="connsiteX9" fmla="*/ 70623 w 1122648"/>
                  <a:gd name="connsiteY9" fmla="*/ 422856 h 873131"/>
                  <a:gd name="connsiteX10" fmla="*/ 69124 w 1122648"/>
                  <a:gd name="connsiteY10" fmla="*/ 425501 h 873131"/>
                  <a:gd name="connsiteX11" fmla="*/ 76089 w 1122648"/>
                  <a:gd name="connsiteY11" fmla="*/ 432819 h 873131"/>
                  <a:gd name="connsiteX12" fmla="*/ 78117 w 1122648"/>
                  <a:gd name="connsiteY12" fmla="*/ 432819 h 873131"/>
                  <a:gd name="connsiteX13" fmla="*/ 80145 w 1122648"/>
                  <a:gd name="connsiteY13" fmla="*/ 431672 h 873131"/>
                  <a:gd name="connsiteX14" fmla="*/ 81292 w 1122648"/>
                  <a:gd name="connsiteY14" fmla="*/ 429909 h 873131"/>
                  <a:gd name="connsiteX15" fmla="*/ 85964 w 1122648"/>
                  <a:gd name="connsiteY15" fmla="*/ 435464 h 873131"/>
                  <a:gd name="connsiteX16" fmla="*/ 89138 w 1122648"/>
                  <a:gd name="connsiteY16" fmla="*/ 435728 h 873131"/>
                  <a:gd name="connsiteX17" fmla="*/ 90020 w 1122648"/>
                  <a:gd name="connsiteY17" fmla="*/ 438638 h 873131"/>
                  <a:gd name="connsiteX18" fmla="*/ 92665 w 1122648"/>
                  <a:gd name="connsiteY18" fmla="*/ 439255 h 873131"/>
                  <a:gd name="connsiteX19" fmla="*/ 95927 w 1122648"/>
                  <a:gd name="connsiteY19" fmla="*/ 439255 h 873131"/>
                  <a:gd name="connsiteX20" fmla="*/ 102363 w 1122648"/>
                  <a:gd name="connsiteY20" fmla="*/ 440754 h 873131"/>
                  <a:gd name="connsiteX21" fmla="*/ 104656 w 1122648"/>
                  <a:gd name="connsiteY21" fmla="*/ 441900 h 873131"/>
                  <a:gd name="connsiteX22" fmla="*/ 105538 w 1122648"/>
                  <a:gd name="connsiteY22" fmla="*/ 441283 h 873131"/>
                  <a:gd name="connsiteX23" fmla="*/ 112855 w 1122648"/>
                  <a:gd name="connsiteY23" fmla="*/ 441283 h 873131"/>
                  <a:gd name="connsiteX24" fmla="*/ 115148 w 1122648"/>
                  <a:gd name="connsiteY24" fmla="*/ 441900 h 873131"/>
                  <a:gd name="connsiteX25" fmla="*/ 115765 w 1122648"/>
                  <a:gd name="connsiteY25" fmla="*/ 441283 h 873131"/>
                  <a:gd name="connsiteX26" fmla="*/ 115501 w 1122648"/>
                  <a:gd name="connsiteY26" fmla="*/ 440137 h 873131"/>
                  <a:gd name="connsiteX27" fmla="*/ 116382 w 1122648"/>
                  <a:gd name="connsiteY27" fmla="*/ 439255 h 873131"/>
                  <a:gd name="connsiteX28" fmla="*/ 118410 w 1122648"/>
                  <a:gd name="connsiteY28" fmla="*/ 440137 h 873131"/>
                  <a:gd name="connsiteX29" fmla="*/ 120438 w 1122648"/>
                  <a:gd name="connsiteY29" fmla="*/ 437227 h 873131"/>
                  <a:gd name="connsiteX30" fmla="*/ 121320 w 1122648"/>
                  <a:gd name="connsiteY30" fmla="*/ 436345 h 873131"/>
                  <a:gd name="connsiteX31" fmla="*/ 122818 w 1122648"/>
                  <a:gd name="connsiteY31" fmla="*/ 435728 h 873131"/>
                  <a:gd name="connsiteX32" fmla="*/ 123965 w 1122648"/>
                  <a:gd name="connsiteY32" fmla="*/ 434582 h 873131"/>
                  <a:gd name="connsiteX33" fmla="*/ 125376 w 1122648"/>
                  <a:gd name="connsiteY33" fmla="*/ 434582 h 873131"/>
                  <a:gd name="connsiteX34" fmla="*/ 129167 w 1122648"/>
                  <a:gd name="connsiteY34" fmla="*/ 430173 h 873131"/>
                  <a:gd name="connsiteX35" fmla="*/ 141158 w 1122648"/>
                  <a:gd name="connsiteY35" fmla="*/ 429292 h 873131"/>
                  <a:gd name="connsiteX36" fmla="*/ 141422 w 1122648"/>
                  <a:gd name="connsiteY36" fmla="*/ 430703 h 873131"/>
                  <a:gd name="connsiteX37" fmla="*/ 148123 w 1122648"/>
                  <a:gd name="connsiteY37" fmla="*/ 433348 h 873131"/>
                  <a:gd name="connsiteX38" fmla="*/ 148652 w 1122648"/>
                  <a:gd name="connsiteY38" fmla="*/ 435376 h 873131"/>
                  <a:gd name="connsiteX39" fmla="*/ 149269 w 1122648"/>
                  <a:gd name="connsiteY39" fmla="*/ 437403 h 873131"/>
                  <a:gd name="connsiteX40" fmla="*/ 152443 w 1122648"/>
                  <a:gd name="connsiteY40" fmla="*/ 437403 h 873131"/>
                  <a:gd name="connsiteX41" fmla="*/ 152708 w 1122648"/>
                  <a:gd name="connsiteY41" fmla="*/ 439167 h 873131"/>
                  <a:gd name="connsiteX42" fmla="*/ 156235 w 1122648"/>
                  <a:gd name="connsiteY42" fmla="*/ 438902 h 873131"/>
                  <a:gd name="connsiteX43" fmla="*/ 157998 w 1122648"/>
                  <a:gd name="connsiteY43" fmla="*/ 444721 h 873131"/>
                  <a:gd name="connsiteX44" fmla="*/ 158880 w 1122648"/>
                  <a:gd name="connsiteY44" fmla="*/ 442958 h 873131"/>
                  <a:gd name="connsiteX45" fmla="*/ 160907 w 1122648"/>
                  <a:gd name="connsiteY45" fmla="*/ 439167 h 873131"/>
                  <a:gd name="connsiteX46" fmla="*/ 166462 w 1122648"/>
                  <a:gd name="connsiteY46" fmla="*/ 440666 h 873131"/>
                  <a:gd name="connsiteX47" fmla="*/ 165316 w 1122648"/>
                  <a:gd name="connsiteY47" fmla="*/ 456095 h 873131"/>
                  <a:gd name="connsiteX48" fmla="*/ 165580 w 1122648"/>
                  <a:gd name="connsiteY48" fmla="*/ 457241 h 873131"/>
                  <a:gd name="connsiteX49" fmla="*/ 164963 w 1122648"/>
                  <a:gd name="connsiteY49" fmla="*/ 459886 h 873131"/>
                  <a:gd name="connsiteX50" fmla="*/ 164963 w 1122648"/>
                  <a:gd name="connsiteY50" fmla="*/ 461650 h 873131"/>
                  <a:gd name="connsiteX51" fmla="*/ 160907 w 1122648"/>
                  <a:gd name="connsiteY51" fmla="*/ 461650 h 873131"/>
                  <a:gd name="connsiteX52" fmla="*/ 161525 w 1122648"/>
                  <a:gd name="connsiteY52" fmla="*/ 463942 h 873131"/>
                  <a:gd name="connsiteX53" fmla="*/ 157998 w 1122648"/>
                  <a:gd name="connsiteY53" fmla="*/ 466323 h 873131"/>
                  <a:gd name="connsiteX54" fmla="*/ 162054 w 1122648"/>
                  <a:gd name="connsiteY54" fmla="*/ 467204 h 873131"/>
                  <a:gd name="connsiteX55" fmla="*/ 160290 w 1122648"/>
                  <a:gd name="connsiteY55" fmla="*/ 468350 h 873131"/>
                  <a:gd name="connsiteX56" fmla="*/ 153589 w 1122648"/>
                  <a:gd name="connsiteY56" fmla="*/ 468350 h 873131"/>
                  <a:gd name="connsiteX57" fmla="*/ 157998 w 1122648"/>
                  <a:gd name="connsiteY57" fmla="*/ 473288 h 873131"/>
                  <a:gd name="connsiteX58" fmla="*/ 156235 w 1122648"/>
                  <a:gd name="connsiteY58" fmla="*/ 473288 h 873131"/>
                  <a:gd name="connsiteX59" fmla="*/ 156852 w 1122648"/>
                  <a:gd name="connsiteY59" fmla="*/ 477079 h 873131"/>
                  <a:gd name="connsiteX60" fmla="*/ 154824 w 1122648"/>
                  <a:gd name="connsiteY60" fmla="*/ 478225 h 873131"/>
                  <a:gd name="connsiteX61" fmla="*/ 150151 w 1122648"/>
                  <a:gd name="connsiteY61" fmla="*/ 477608 h 873131"/>
                  <a:gd name="connsiteX62" fmla="*/ 148123 w 1122648"/>
                  <a:gd name="connsiteY62" fmla="*/ 478754 h 873131"/>
                  <a:gd name="connsiteX63" fmla="*/ 146624 w 1122648"/>
                  <a:gd name="connsiteY63" fmla="*/ 478137 h 873131"/>
                  <a:gd name="connsiteX64" fmla="*/ 145125 w 1122648"/>
                  <a:gd name="connsiteY64" fmla="*/ 479283 h 873131"/>
                  <a:gd name="connsiteX65" fmla="*/ 150680 w 1122648"/>
                  <a:gd name="connsiteY65" fmla="*/ 488012 h 873131"/>
                  <a:gd name="connsiteX66" fmla="*/ 147418 w 1122648"/>
                  <a:gd name="connsiteY66" fmla="*/ 488012 h 873131"/>
                  <a:gd name="connsiteX67" fmla="*/ 148917 w 1122648"/>
                  <a:gd name="connsiteY67" fmla="*/ 492685 h 873131"/>
                  <a:gd name="connsiteX68" fmla="*/ 152972 w 1122648"/>
                  <a:gd name="connsiteY68" fmla="*/ 497975 h 873131"/>
                  <a:gd name="connsiteX69" fmla="*/ 154735 w 1122648"/>
                  <a:gd name="connsiteY69" fmla="*/ 497975 h 873131"/>
                  <a:gd name="connsiteX70" fmla="*/ 157116 w 1122648"/>
                  <a:gd name="connsiteY70" fmla="*/ 498592 h 873131"/>
                  <a:gd name="connsiteX71" fmla="*/ 159409 w 1122648"/>
                  <a:gd name="connsiteY71" fmla="*/ 499209 h 873131"/>
                  <a:gd name="connsiteX72" fmla="*/ 160555 w 1122648"/>
                  <a:gd name="connsiteY72" fmla="*/ 503882 h 873131"/>
                  <a:gd name="connsiteX73" fmla="*/ 164875 w 1122648"/>
                  <a:gd name="connsiteY73" fmla="*/ 508291 h 873131"/>
                  <a:gd name="connsiteX74" fmla="*/ 165227 w 1122648"/>
                  <a:gd name="connsiteY74" fmla="*/ 509437 h 873131"/>
                  <a:gd name="connsiteX75" fmla="*/ 165492 w 1122648"/>
                  <a:gd name="connsiteY75" fmla="*/ 511200 h 873131"/>
                  <a:gd name="connsiteX76" fmla="*/ 162847 w 1122648"/>
                  <a:gd name="connsiteY76" fmla="*/ 514463 h 873131"/>
                  <a:gd name="connsiteX77" fmla="*/ 163376 w 1122648"/>
                  <a:gd name="connsiteY77" fmla="*/ 516490 h 873131"/>
                  <a:gd name="connsiteX78" fmla="*/ 160467 w 1122648"/>
                  <a:gd name="connsiteY78" fmla="*/ 516490 h 873131"/>
                  <a:gd name="connsiteX79" fmla="*/ 156940 w 1122648"/>
                  <a:gd name="connsiteY79" fmla="*/ 519400 h 873131"/>
                  <a:gd name="connsiteX80" fmla="*/ 151650 w 1122648"/>
                  <a:gd name="connsiteY80" fmla="*/ 517108 h 873131"/>
                  <a:gd name="connsiteX81" fmla="*/ 150503 w 1122648"/>
                  <a:gd name="connsiteY81" fmla="*/ 512699 h 873131"/>
                  <a:gd name="connsiteX82" fmla="*/ 145831 w 1122648"/>
                  <a:gd name="connsiteY82" fmla="*/ 512964 h 873131"/>
                  <a:gd name="connsiteX83" fmla="*/ 143185 w 1122648"/>
                  <a:gd name="connsiteY83" fmla="*/ 512964 h 873131"/>
                  <a:gd name="connsiteX84" fmla="*/ 144685 w 1122648"/>
                  <a:gd name="connsiteY84" fmla="*/ 519664 h 873131"/>
                  <a:gd name="connsiteX85" fmla="*/ 145566 w 1122648"/>
                  <a:gd name="connsiteY85" fmla="*/ 522574 h 873131"/>
                  <a:gd name="connsiteX86" fmla="*/ 154030 w 1122648"/>
                  <a:gd name="connsiteY86" fmla="*/ 528746 h 873131"/>
                  <a:gd name="connsiteX87" fmla="*/ 154383 w 1122648"/>
                  <a:gd name="connsiteY87" fmla="*/ 534829 h 873131"/>
                  <a:gd name="connsiteX88" fmla="*/ 156146 w 1122648"/>
                  <a:gd name="connsiteY88" fmla="*/ 535447 h 873131"/>
                  <a:gd name="connsiteX89" fmla="*/ 158174 w 1122648"/>
                  <a:gd name="connsiteY89" fmla="*/ 538092 h 873131"/>
                  <a:gd name="connsiteX90" fmla="*/ 156146 w 1122648"/>
                  <a:gd name="connsiteY90" fmla="*/ 540737 h 873131"/>
                  <a:gd name="connsiteX91" fmla="*/ 157293 w 1122648"/>
                  <a:gd name="connsiteY91" fmla="*/ 542236 h 873131"/>
                  <a:gd name="connsiteX92" fmla="*/ 158439 w 1122648"/>
                  <a:gd name="connsiteY92" fmla="*/ 545762 h 873131"/>
                  <a:gd name="connsiteX93" fmla="*/ 163112 w 1122648"/>
                  <a:gd name="connsiteY93" fmla="*/ 545498 h 873131"/>
                  <a:gd name="connsiteX94" fmla="*/ 163640 w 1122648"/>
                  <a:gd name="connsiteY94" fmla="*/ 542324 h 873131"/>
                  <a:gd name="connsiteX95" fmla="*/ 165669 w 1122648"/>
                  <a:gd name="connsiteY95" fmla="*/ 544352 h 873131"/>
                  <a:gd name="connsiteX96" fmla="*/ 167432 w 1122648"/>
                  <a:gd name="connsiteY96" fmla="*/ 546379 h 873131"/>
                  <a:gd name="connsiteX97" fmla="*/ 168931 w 1122648"/>
                  <a:gd name="connsiteY97" fmla="*/ 548407 h 873131"/>
                  <a:gd name="connsiteX98" fmla="*/ 170077 w 1122648"/>
                  <a:gd name="connsiteY98" fmla="*/ 549554 h 873131"/>
                  <a:gd name="connsiteX99" fmla="*/ 172369 w 1122648"/>
                  <a:gd name="connsiteY99" fmla="*/ 551846 h 873131"/>
                  <a:gd name="connsiteX100" fmla="*/ 175279 w 1122648"/>
                  <a:gd name="connsiteY100" fmla="*/ 553874 h 873131"/>
                  <a:gd name="connsiteX101" fmla="*/ 178541 w 1122648"/>
                  <a:gd name="connsiteY101" fmla="*/ 553874 h 873131"/>
                  <a:gd name="connsiteX102" fmla="*/ 180569 w 1122648"/>
                  <a:gd name="connsiteY102" fmla="*/ 553874 h 873131"/>
                  <a:gd name="connsiteX103" fmla="*/ 183831 w 1122648"/>
                  <a:gd name="connsiteY103" fmla="*/ 553874 h 873131"/>
                  <a:gd name="connsiteX104" fmla="*/ 185242 w 1122648"/>
                  <a:gd name="connsiteY104" fmla="*/ 555637 h 873131"/>
                  <a:gd name="connsiteX105" fmla="*/ 185859 w 1122648"/>
                  <a:gd name="connsiteY105" fmla="*/ 555637 h 873131"/>
                  <a:gd name="connsiteX106" fmla="*/ 187623 w 1122648"/>
                  <a:gd name="connsiteY106" fmla="*/ 557665 h 873131"/>
                  <a:gd name="connsiteX107" fmla="*/ 190797 w 1122648"/>
                  <a:gd name="connsiteY107" fmla="*/ 558282 h 873131"/>
                  <a:gd name="connsiteX108" fmla="*/ 192560 w 1122648"/>
                  <a:gd name="connsiteY108" fmla="*/ 561192 h 873131"/>
                  <a:gd name="connsiteX109" fmla="*/ 191414 w 1122648"/>
                  <a:gd name="connsiteY109" fmla="*/ 561192 h 873131"/>
                  <a:gd name="connsiteX110" fmla="*/ 192912 w 1122648"/>
                  <a:gd name="connsiteY110" fmla="*/ 563220 h 873131"/>
                  <a:gd name="connsiteX111" fmla="*/ 192295 w 1122648"/>
                  <a:gd name="connsiteY111" fmla="*/ 564719 h 873131"/>
                  <a:gd name="connsiteX112" fmla="*/ 201289 w 1122648"/>
                  <a:gd name="connsiteY112" fmla="*/ 567011 h 873131"/>
                  <a:gd name="connsiteX113" fmla="*/ 205432 w 1122648"/>
                  <a:gd name="connsiteY113" fmla="*/ 568157 h 873131"/>
                  <a:gd name="connsiteX114" fmla="*/ 212133 w 1122648"/>
                  <a:gd name="connsiteY114" fmla="*/ 572213 h 873131"/>
                  <a:gd name="connsiteX115" fmla="*/ 213897 w 1122648"/>
                  <a:gd name="connsiteY115" fmla="*/ 570449 h 873131"/>
                  <a:gd name="connsiteX116" fmla="*/ 214778 w 1122648"/>
                  <a:gd name="connsiteY116" fmla="*/ 571067 h 873131"/>
                  <a:gd name="connsiteX117" fmla="*/ 215395 w 1122648"/>
                  <a:gd name="connsiteY117" fmla="*/ 569568 h 873131"/>
                  <a:gd name="connsiteX118" fmla="*/ 214514 w 1122648"/>
                  <a:gd name="connsiteY118" fmla="*/ 568422 h 873131"/>
                  <a:gd name="connsiteX119" fmla="*/ 215395 w 1122648"/>
                  <a:gd name="connsiteY119" fmla="*/ 567275 h 873131"/>
                  <a:gd name="connsiteX120" fmla="*/ 216277 w 1122648"/>
                  <a:gd name="connsiteY120" fmla="*/ 568422 h 873131"/>
                  <a:gd name="connsiteX121" fmla="*/ 218305 w 1122648"/>
                  <a:gd name="connsiteY121" fmla="*/ 567540 h 873131"/>
                  <a:gd name="connsiteX122" fmla="*/ 220333 w 1122648"/>
                  <a:gd name="connsiteY122" fmla="*/ 572477 h 873131"/>
                  <a:gd name="connsiteX123" fmla="*/ 222978 w 1122648"/>
                  <a:gd name="connsiteY123" fmla="*/ 572742 h 873131"/>
                  <a:gd name="connsiteX124" fmla="*/ 224741 w 1122648"/>
                  <a:gd name="connsiteY124" fmla="*/ 570978 h 873131"/>
                  <a:gd name="connsiteX125" fmla="*/ 224477 w 1122648"/>
                  <a:gd name="connsiteY125" fmla="*/ 569480 h 873131"/>
                  <a:gd name="connsiteX126" fmla="*/ 225976 w 1122648"/>
                  <a:gd name="connsiteY126" fmla="*/ 569215 h 873131"/>
                  <a:gd name="connsiteX127" fmla="*/ 226858 w 1122648"/>
                  <a:gd name="connsiteY127" fmla="*/ 565424 h 873131"/>
                  <a:gd name="connsiteX128" fmla="*/ 227474 w 1122648"/>
                  <a:gd name="connsiteY128" fmla="*/ 562779 h 873131"/>
                  <a:gd name="connsiteX129" fmla="*/ 230384 w 1122648"/>
                  <a:gd name="connsiteY129" fmla="*/ 564278 h 873131"/>
                  <a:gd name="connsiteX130" fmla="*/ 232147 w 1122648"/>
                  <a:gd name="connsiteY130" fmla="*/ 561633 h 873131"/>
                  <a:gd name="connsiteX131" fmla="*/ 243521 w 1122648"/>
                  <a:gd name="connsiteY131" fmla="*/ 564013 h 873131"/>
                  <a:gd name="connsiteX132" fmla="*/ 245020 w 1122648"/>
                  <a:gd name="connsiteY132" fmla="*/ 570978 h 873131"/>
                  <a:gd name="connsiteX133" fmla="*/ 254101 w 1122648"/>
                  <a:gd name="connsiteY133" fmla="*/ 574770 h 873131"/>
                  <a:gd name="connsiteX134" fmla="*/ 261066 w 1122648"/>
                  <a:gd name="connsiteY134" fmla="*/ 582088 h 873131"/>
                  <a:gd name="connsiteX135" fmla="*/ 264064 w 1122648"/>
                  <a:gd name="connsiteY135" fmla="*/ 582088 h 873131"/>
                  <a:gd name="connsiteX136" fmla="*/ 266092 w 1122648"/>
                  <a:gd name="connsiteY136" fmla="*/ 584468 h 873131"/>
                  <a:gd name="connsiteX137" fmla="*/ 267856 w 1122648"/>
                  <a:gd name="connsiteY137" fmla="*/ 582969 h 873131"/>
                  <a:gd name="connsiteX138" fmla="*/ 270148 w 1122648"/>
                  <a:gd name="connsiteY138" fmla="*/ 584468 h 873131"/>
                  <a:gd name="connsiteX139" fmla="*/ 270765 w 1122648"/>
                  <a:gd name="connsiteY139" fmla="*/ 587378 h 873131"/>
                  <a:gd name="connsiteX140" fmla="*/ 272264 w 1122648"/>
                  <a:gd name="connsiteY140" fmla="*/ 586761 h 873131"/>
                  <a:gd name="connsiteX141" fmla="*/ 278083 w 1122648"/>
                  <a:gd name="connsiteY141" fmla="*/ 595842 h 873131"/>
                  <a:gd name="connsiteX142" fmla="*/ 279846 w 1122648"/>
                  <a:gd name="connsiteY142" fmla="*/ 595842 h 873131"/>
                  <a:gd name="connsiteX143" fmla="*/ 280728 w 1122648"/>
                  <a:gd name="connsiteY143" fmla="*/ 594079 h 873131"/>
                  <a:gd name="connsiteX144" fmla="*/ 288046 w 1122648"/>
                  <a:gd name="connsiteY144" fmla="*/ 592580 h 873131"/>
                  <a:gd name="connsiteX145" fmla="*/ 291573 w 1122648"/>
                  <a:gd name="connsiteY145" fmla="*/ 594343 h 873131"/>
                  <a:gd name="connsiteX146" fmla="*/ 292102 w 1122648"/>
                  <a:gd name="connsiteY146" fmla="*/ 598399 h 873131"/>
                  <a:gd name="connsiteX147" fmla="*/ 293248 w 1122648"/>
                  <a:gd name="connsiteY147" fmla="*/ 599016 h 873131"/>
                  <a:gd name="connsiteX148" fmla="*/ 292631 w 1122648"/>
                  <a:gd name="connsiteY148" fmla="*/ 602190 h 873131"/>
                  <a:gd name="connsiteX149" fmla="*/ 306385 w 1122648"/>
                  <a:gd name="connsiteY149" fmla="*/ 612418 h 873131"/>
                  <a:gd name="connsiteX150" fmla="*/ 309030 w 1122648"/>
                  <a:gd name="connsiteY150" fmla="*/ 612682 h 873131"/>
                  <a:gd name="connsiteX151" fmla="*/ 311940 w 1122648"/>
                  <a:gd name="connsiteY151" fmla="*/ 610037 h 873131"/>
                  <a:gd name="connsiteX152" fmla="*/ 314849 w 1122648"/>
                  <a:gd name="connsiteY152" fmla="*/ 610919 h 873131"/>
                  <a:gd name="connsiteX153" fmla="*/ 314849 w 1122648"/>
                  <a:gd name="connsiteY153" fmla="*/ 612947 h 873131"/>
                  <a:gd name="connsiteX154" fmla="*/ 312822 w 1122648"/>
                  <a:gd name="connsiteY154" fmla="*/ 615239 h 873131"/>
                  <a:gd name="connsiteX155" fmla="*/ 312822 w 1122648"/>
                  <a:gd name="connsiteY155" fmla="*/ 618766 h 873131"/>
                  <a:gd name="connsiteX156" fmla="*/ 316877 w 1122648"/>
                  <a:gd name="connsiteY156" fmla="*/ 619912 h 873131"/>
                  <a:gd name="connsiteX157" fmla="*/ 322961 w 1122648"/>
                  <a:gd name="connsiteY157" fmla="*/ 619295 h 873131"/>
                  <a:gd name="connsiteX158" fmla="*/ 324724 w 1122648"/>
                  <a:gd name="connsiteY158" fmla="*/ 620441 h 873131"/>
                  <a:gd name="connsiteX159" fmla="*/ 326752 w 1122648"/>
                  <a:gd name="connsiteY159" fmla="*/ 618149 h 873131"/>
                  <a:gd name="connsiteX160" fmla="*/ 328515 w 1122648"/>
                  <a:gd name="connsiteY160" fmla="*/ 621587 h 873131"/>
                  <a:gd name="connsiteX161" fmla="*/ 331778 w 1122648"/>
                  <a:gd name="connsiteY161" fmla="*/ 624497 h 873131"/>
                  <a:gd name="connsiteX162" fmla="*/ 331778 w 1122648"/>
                  <a:gd name="connsiteY162" fmla="*/ 626260 h 873131"/>
                  <a:gd name="connsiteX163" fmla="*/ 333189 w 1122648"/>
                  <a:gd name="connsiteY163" fmla="*/ 627406 h 873131"/>
                  <a:gd name="connsiteX164" fmla="*/ 333189 w 1122648"/>
                  <a:gd name="connsiteY164" fmla="*/ 629434 h 873131"/>
                  <a:gd name="connsiteX165" fmla="*/ 334070 w 1122648"/>
                  <a:gd name="connsiteY165" fmla="*/ 630316 h 873131"/>
                  <a:gd name="connsiteX166" fmla="*/ 335216 w 1122648"/>
                  <a:gd name="connsiteY166" fmla="*/ 629699 h 873131"/>
                  <a:gd name="connsiteX167" fmla="*/ 336715 w 1122648"/>
                  <a:gd name="connsiteY167" fmla="*/ 629081 h 873131"/>
                  <a:gd name="connsiteX168" fmla="*/ 335834 w 1122648"/>
                  <a:gd name="connsiteY168" fmla="*/ 625026 h 873131"/>
                  <a:gd name="connsiteX169" fmla="*/ 337861 w 1122648"/>
                  <a:gd name="connsiteY169" fmla="*/ 622733 h 873131"/>
                  <a:gd name="connsiteX170" fmla="*/ 338743 w 1122648"/>
                  <a:gd name="connsiteY170" fmla="*/ 623879 h 873131"/>
                  <a:gd name="connsiteX171" fmla="*/ 338743 w 1122648"/>
                  <a:gd name="connsiteY171" fmla="*/ 626789 h 873131"/>
                  <a:gd name="connsiteX172" fmla="*/ 344033 w 1122648"/>
                  <a:gd name="connsiteY172" fmla="*/ 629699 h 873131"/>
                  <a:gd name="connsiteX173" fmla="*/ 346061 w 1122648"/>
                  <a:gd name="connsiteY173" fmla="*/ 628288 h 873131"/>
                  <a:gd name="connsiteX174" fmla="*/ 346943 w 1122648"/>
                  <a:gd name="connsiteY174" fmla="*/ 624232 h 873131"/>
                  <a:gd name="connsiteX175" fmla="*/ 350117 w 1122648"/>
                  <a:gd name="connsiteY175" fmla="*/ 624232 h 873131"/>
                  <a:gd name="connsiteX176" fmla="*/ 351263 w 1122648"/>
                  <a:gd name="connsiteY176" fmla="*/ 625114 h 873131"/>
                  <a:gd name="connsiteX177" fmla="*/ 351527 w 1122648"/>
                  <a:gd name="connsiteY177" fmla="*/ 626613 h 873131"/>
                  <a:gd name="connsiteX178" fmla="*/ 354172 w 1122648"/>
                  <a:gd name="connsiteY178" fmla="*/ 626877 h 873131"/>
                  <a:gd name="connsiteX179" fmla="*/ 355318 w 1122648"/>
                  <a:gd name="connsiteY179" fmla="*/ 628641 h 873131"/>
                  <a:gd name="connsiteX180" fmla="*/ 357699 w 1122648"/>
                  <a:gd name="connsiteY180" fmla="*/ 628023 h 873131"/>
                  <a:gd name="connsiteX181" fmla="*/ 361226 w 1122648"/>
                  <a:gd name="connsiteY181" fmla="*/ 632079 h 873131"/>
                  <a:gd name="connsiteX182" fmla="*/ 366164 w 1122648"/>
                  <a:gd name="connsiteY182" fmla="*/ 630933 h 873131"/>
                  <a:gd name="connsiteX183" fmla="*/ 366164 w 1122648"/>
                  <a:gd name="connsiteY183" fmla="*/ 632432 h 873131"/>
                  <a:gd name="connsiteX184" fmla="*/ 369690 w 1122648"/>
                  <a:gd name="connsiteY184" fmla="*/ 631286 h 873131"/>
                  <a:gd name="connsiteX185" fmla="*/ 373746 w 1122648"/>
                  <a:gd name="connsiteY185" fmla="*/ 632432 h 873131"/>
                  <a:gd name="connsiteX186" fmla="*/ 375509 w 1122648"/>
                  <a:gd name="connsiteY186" fmla="*/ 631550 h 873131"/>
                  <a:gd name="connsiteX187" fmla="*/ 376656 w 1122648"/>
                  <a:gd name="connsiteY187" fmla="*/ 629522 h 873131"/>
                  <a:gd name="connsiteX188" fmla="*/ 384238 w 1122648"/>
                  <a:gd name="connsiteY188" fmla="*/ 630668 h 873131"/>
                  <a:gd name="connsiteX189" fmla="*/ 384502 w 1122648"/>
                  <a:gd name="connsiteY189" fmla="*/ 631815 h 873131"/>
                  <a:gd name="connsiteX190" fmla="*/ 387148 w 1122648"/>
                  <a:gd name="connsiteY190" fmla="*/ 630668 h 873131"/>
                  <a:gd name="connsiteX191" fmla="*/ 391203 w 1122648"/>
                  <a:gd name="connsiteY191" fmla="*/ 630404 h 873131"/>
                  <a:gd name="connsiteX192" fmla="*/ 392349 w 1122648"/>
                  <a:gd name="connsiteY192" fmla="*/ 631815 h 873131"/>
                  <a:gd name="connsiteX193" fmla="*/ 394113 w 1122648"/>
                  <a:gd name="connsiteY193" fmla="*/ 634989 h 873131"/>
                  <a:gd name="connsiteX194" fmla="*/ 394730 w 1122648"/>
                  <a:gd name="connsiteY194" fmla="*/ 639926 h 873131"/>
                  <a:gd name="connsiteX195" fmla="*/ 397904 w 1122648"/>
                  <a:gd name="connsiteY195" fmla="*/ 637546 h 873131"/>
                  <a:gd name="connsiteX196" fmla="*/ 399932 w 1122648"/>
                  <a:gd name="connsiteY196" fmla="*/ 631991 h 873131"/>
                  <a:gd name="connsiteX197" fmla="*/ 402841 w 1122648"/>
                  <a:gd name="connsiteY197" fmla="*/ 630228 h 873131"/>
                  <a:gd name="connsiteX198" fmla="*/ 407779 w 1122648"/>
                  <a:gd name="connsiteY198" fmla="*/ 623527 h 873131"/>
                  <a:gd name="connsiteX199" fmla="*/ 416860 w 1122648"/>
                  <a:gd name="connsiteY199" fmla="*/ 619118 h 873131"/>
                  <a:gd name="connsiteX200" fmla="*/ 424707 w 1122648"/>
                  <a:gd name="connsiteY200" fmla="*/ 620617 h 873131"/>
                  <a:gd name="connsiteX201" fmla="*/ 425589 w 1122648"/>
                  <a:gd name="connsiteY201" fmla="*/ 621234 h 873131"/>
                  <a:gd name="connsiteX202" fmla="*/ 425324 w 1122648"/>
                  <a:gd name="connsiteY202" fmla="*/ 625026 h 873131"/>
                  <a:gd name="connsiteX203" fmla="*/ 436433 w 1122648"/>
                  <a:gd name="connsiteY203" fmla="*/ 625907 h 873131"/>
                  <a:gd name="connsiteX204" fmla="*/ 439343 w 1122648"/>
                  <a:gd name="connsiteY204" fmla="*/ 627671 h 873131"/>
                  <a:gd name="connsiteX205" fmla="*/ 441107 w 1122648"/>
                  <a:gd name="connsiteY205" fmla="*/ 627935 h 873131"/>
                  <a:gd name="connsiteX206" fmla="*/ 445779 w 1122648"/>
                  <a:gd name="connsiteY206" fmla="*/ 624761 h 873131"/>
                  <a:gd name="connsiteX207" fmla="*/ 446397 w 1122648"/>
                  <a:gd name="connsiteY207" fmla="*/ 625907 h 873131"/>
                  <a:gd name="connsiteX208" fmla="*/ 452216 w 1122648"/>
                  <a:gd name="connsiteY208" fmla="*/ 628817 h 873131"/>
                  <a:gd name="connsiteX209" fmla="*/ 464471 w 1122648"/>
                  <a:gd name="connsiteY209" fmla="*/ 627671 h 873131"/>
                  <a:gd name="connsiteX210" fmla="*/ 473200 w 1122648"/>
                  <a:gd name="connsiteY210" fmla="*/ 618060 h 873131"/>
                  <a:gd name="connsiteX211" fmla="*/ 479371 w 1122648"/>
                  <a:gd name="connsiteY211" fmla="*/ 611624 h 873131"/>
                  <a:gd name="connsiteX212" fmla="*/ 489863 w 1122648"/>
                  <a:gd name="connsiteY212" fmla="*/ 608979 h 873131"/>
                  <a:gd name="connsiteX213" fmla="*/ 493390 w 1122648"/>
                  <a:gd name="connsiteY213" fmla="*/ 607480 h 873131"/>
                  <a:gd name="connsiteX214" fmla="*/ 495418 w 1122648"/>
                  <a:gd name="connsiteY214" fmla="*/ 605717 h 873131"/>
                  <a:gd name="connsiteX215" fmla="*/ 495154 w 1122648"/>
                  <a:gd name="connsiteY215" fmla="*/ 603953 h 873131"/>
                  <a:gd name="connsiteX216" fmla="*/ 496917 w 1122648"/>
                  <a:gd name="connsiteY216" fmla="*/ 600691 h 873131"/>
                  <a:gd name="connsiteX217" fmla="*/ 499298 w 1122648"/>
                  <a:gd name="connsiteY217" fmla="*/ 598663 h 873131"/>
                  <a:gd name="connsiteX218" fmla="*/ 499827 w 1122648"/>
                  <a:gd name="connsiteY218" fmla="*/ 597782 h 873131"/>
                  <a:gd name="connsiteX219" fmla="*/ 503618 w 1122648"/>
                  <a:gd name="connsiteY219" fmla="*/ 596018 h 873131"/>
                  <a:gd name="connsiteX220" fmla="*/ 505381 w 1122648"/>
                  <a:gd name="connsiteY220" fmla="*/ 593373 h 873131"/>
                  <a:gd name="connsiteX221" fmla="*/ 508908 w 1122648"/>
                  <a:gd name="connsiteY221" fmla="*/ 596018 h 873131"/>
                  <a:gd name="connsiteX222" fmla="*/ 509790 w 1122648"/>
                  <a:gd name="connsiteY222" fmla="*/ 597429 h 873131"/>
                  <a:gd name="connsiteX223" fmla="*/ 514198 w 1122648"/>
                  <a:gd name="connsiteY223" fmla="*/ 598928 h 873131"/>
                  <a:gd name="connsiteX224" fmla="*/ 518606 w 1122648"/>
                  <a:gd name="connsiteY224" fmla="*/ 600691 h 873131"/>
                  <a:gd name="connsiteX225" fmla="*/ 523015 w 1122648"/>
                  <a:gd name="connsiteY225" fmla="*/ 601837 h 873131"/>
                  <a:gd name="connsiteX226" fmla="*/ 525925 w 1122648"/>
                  <a:gd name="connsiteY226" fmla="*/ 598928 h 873131"/>
                  <a:gd name="connsiteX227" fmla="*/ 525307 w 1122648"/>
                  <a:gd name="connsiteY227" fmla="*/ 596283 h 873131"/>
                  <a:gd name="connsiteX228" fmla="*/ 529099 w 1122648"/>
                  <a:gd name="connsiteY228" fmla="*/ 595401 h 873131"/>
                  <a:gd name="connsiteX229" fmla="*/ 532890 w 1122648"/>
                  <a:gd name="connsiteY229" fmla="*/ 592756 h 873131"/>
                  <a:gd name="connsiteX230" fmla="*/ 534653 w 1122648"/>
                  <a:gd name="connsiteY230" fmla="*/ 590728 h 873131"/>
                  <a:gd name="connsiteX231" fmla="*/ 535535 w 1122648"/>
                  <a:gd name="connsiteY231" fmla="*/ 593373 h 873131"/>
                  <a:gd name="connsiteX232" fmla="*/ 538180 w 1122648"/>
                  <a:gd name="connsiteY232" fmla="*/ 596900 h 873131"/>
                  <a:gd name="connsiteX233" fmla="*/ 541971 w 1122648"/>
                  <a:gd name="connsiteY233" fmla="*/ 595401 h 873131"/>
                  <a:gd name="connsiteX234" fmla="*/ 542236 w 1122648"/>
                  <a:gd name="connsiteY234" fmla="*/ 596283 h 873131"/>
                  <a:gd name="connsiteX235" fmla="*/ 543118 w 1122648"/>
                  <a:gd name="connsiteY235" fmla="*/ 598575 h 873131"/>
                  <a:gd name="connsiteX236" fmla="*/ 539855 w 1122648"/>
                  <a:gd name="connsiteY236" fmla="*/ 599192 h 873131"/>
                  <a:gd name="connsiteX237" fmla="*/ 538709 w 1122648"/>
                  <a:gd name="connsiteY237" fmla="*/ 601837 h 873131"/>
                  <a:gd name="connsiteX238" fmla="*/ 541354 w 1122648"/>
                  <a:gd name="connsiteY238" fmla="*/ 605364 h 873131"/>
                  <a:gd name="connsiteX239" fmla="*/ 542765 w 1122648"/>
                  <a:gd name="connsiteY239" fmla="*/ 603336 h 873131"/>
                  <a:gd name="connsiteX240" fmla="*/ 544176 w 1122648"/>
                  <a:gd name="connsiteY240" fmla="*/ 601837 h 873131"/>
                  <a:gd name="connsiteX241" fmla="*/ 546820 w 1122648"/>
                  <a:gd name="connsiteY241" fmla="*/ 600691 h 873131"/>
                  <a:gd name="connsiteX242" fmla="*/ 545409 w 1122648"/>
                  <a:gd name="connsiteY242" fmla="*/ 603336 h 873131"/>
                  <a:gd name="connsiteX243" fmla="*/ 551229 w 1122648"/>
                  <a:gd name="connsiteY243" fmla="*/ 607745 h 873131"/>
                  <a:gd name="connsiteX244" fmla="*/ 547438 w 1122648"/>
                  <a:gd name="connsiteY244" fmla="*/ 611536 h 873131"/>
                  <a:gd name="connsiteX245" fmla="*/ 545938 w 1122648"/>
                  <a:gd name="connsiteY245" fmla="*/ 612682 h 873131"/>
                  <a:gd name="connsiteX246" fmla="*/ 546203 w 1122648"/>
                  <a:gd name="connsiteY246" fmla="*/ 613299 h 873131"/>
                  <a:gd name="connsiteX247" fmla="*/ 546203 w 1122648"/>
                  <a:gd name="connsiteY247" fmla="*/ 613917 h 873131"/>
                  <a:gd name="connsiteX248" fmla="*/ 543823 w 1122648"/>
                  <a:gd name="connsiteY248" fmla="*/ 616209 h 873131"/>
                  <a:gd name="connsiteX249" fmla="*/ 547349 w 1122648"/>
                  <a:gd name="connsiteY249" fmla="*/ 618237 h 873131"/>
                  <a:gd name="connsiteX250" fmla="*/ 547614 w 1122648"/>
                  <a:gd name="connsiteY250" fmla="*/ 619118 h 873131"/>
                  <a:gd name="connsiteX251" fmla="*/ 548496 w 1122648"/>
                  <a:gd name="connsiteY251" fmla="*/ 616209 h 873131"/>
                  <a:gd name="connsiteX252" fmla="*/ 553168 w 1122648"/>
                  <a:gd name="connsiteY252" fmla="*/ 615592 h 873131"/>
                  <a:gd name="connsiteX253" fmla="*/ 555197 w 1122648"/>
                  <a:gd name="connsiteY253" fmla="*/ 616209 h 873131"/>
                  <a:gd name="connsiteX254" fmla="*/ 556960 w 1122648"/>
                  <a:gd name="connsiteY254" fmla="*/ 618854 h 873131"/>
                  <a:gd name="connsiteX255" fmla="*/ 558988 w 1122648"/>
                  <a:gd name="connsiteY255" fmla="*/ 618854 h 873131"/>
                  <a:gd name="connsiteX256" fmla="*/ 559869 w 1122648"/>
                  <a:gd name="connsiteY256" fmla="*/ 619118 h 873131"/>
                  <a:gd name="connsiteX257" fmla="*/ 563131 w 1122648"/>
                  <a:gd name="connsiteY257" fmla="*/ 619736 h 873131"/>
                  <a:gd name="connsiteX258" fmla="*/ 564895 w 1122648"/>
                  <a:gd name="connsiteY258" fmla="*/ 619118 h 873131"/>
                  <a:gd name="connsiteX259" fmla="*/ 567805 w 1122648"/>
                  <a:gd name="connsiteY259" fmla="*/ 620000 h 873131"/>
                  <a:gd name="connsiteX260" fmla="*/ 569832 w 1122648"/>
                  <a:gd name="connsiteY260" fmla="*/ 621411 h 873131"/>
                  <a:gd name="connsiteX261" fmla="*/ 570979 w 1122648"/>
                  <a:gd name="connsiteY261" fmla="*/ 620000 h 873131"/>
                  <a:gd name="connsiteX262" fmla="*/ 570714 w 1122648"/>
                  <a:gd name="connsiteY262" fmla="*/ 618237 h 873131"/>
                  <a:gd name="connsiteX263" fmla="*/ 572125 w 1122648"/>
                  <a:gd name="connsiteY263" fmla="*/ 618501 h 873131"/>
                  <a:gd name="connsiteX264" fmla="*/ 571243 w 1122648"/>
                  <a:gd name="connsiteY264" fmla="*/ 614710 h 873131"/>
                  <a:gd name="connsiteX265" fmla="*/ 571860 w 1122648"/>
                  <a:gd name="connsiteY265" fmla="*/ 613828 h 873131"/>
                  <a:gd name="connsiteX266" fmla="*/ 572477 w 1122648"/>
                  <a:gd name="connsiteY266" fmla="*/ 614093 h 873131"/>
                  <a:gd name="connsiteX267" fmla="*/ 573888 w 1122648"/>
                  <a:gd name="connsiteY267" fmla="*/ 615503 h 873131"/>
                  <a:gd name="connsiteX268" fmla="*/ 574241 w 1122648"/>
                  <a:gd name="connsiteY268" fmla="*/ 614357 h 873131"/>
                  <a:gd name="connsiteX269" fmla="*/ 576886 w 1122648"/>
                  <a:gd name="connsiteY269" fmla="*/ 615239 h 873131"/>
                  <a:gd name="connsiteX270" fmla="*/ 577150 w 1122648"/>
                  <a:gd name="connsiteY270" fmla="*/ 616738 h 873131"/>
                  <a:gd name="connsiteX271" fmla="*/ 577415 w 1122648"/>
                  <a:gd name="connsiteY271" fmla="*/ 619912 h 873131"/>
                  <a:gd name="connsiteX272" fmla="*/ 580060 w 1122648"/>
                  <a:gd name="connsiteY272" fmla="*/ 618766 h 873131"/>
                  <a:gd name="connsiteX273" fmla="*/ 583587 w 1122648"/>
                  <a:gd name="connsiteY273" fmla="*/ 619912 h 873131"/>
                  <a:gd name="connsiteX274" fmla="*/ 585085 w 1122648"/>
                  <a:gd name="connsiteY274" fmla="*/ 621675 h 873131"/>
                  <a:gd name="connsiteX275" fmla="*/ 586231 w 1122648"/>
                  <a:gd name="connsiteY275" fmla="*/ 623086 h 873131"/>
                  <a:gd name="connsiteX276" fmla="*/ 587378 w 1122648"/>
                  <a:gd name="connsiteY276" fmla="*/ 624232 h 873131"/>
                  <a:gd name="connsiteX277" fmla="*/ 588524 w 1122648"/>
                  <a:gd name="connsiteY277" fmla="*/ 625643 h 873131"/>
                  <a:gd name="connsiteX278" fmla="*/ 589406 w 1122648"/>
                  <a:gd name="connsiteY278" fmla="*/ 628288 h 873131"/>
                  <a:gd name="connsiteX279" fmla="*/ 588524 w 1122648"/>
                  <a:gd name="connsiteY279" fmla="*/ 629787 h 873131"/>
                  <a:gd name="connsiteX280" fmla="*/ 586760 w 1122648"/>
                  <a:gd name="connsiteY280" fmla="*/ 630316 h 873131"/>
                  <a:gd name="connsiteX281" fmla="*/ 590816 w 1122648"/>
                  <a:gd name="connsiteY281" fmla="*/ 634107 h 873131"/>
                  <a:gd name="connsiteX282" fmla="*/ 594608 w 1122648"/>
                  <a:gd name="connsiteY282" fmla="*/ 640808 h 873131"/>
                  <a:gd name="connsiteX283" fmla="*/ 596371 w 1122648"/>
                  <a:gd name="connsiteY283" fmla="*/ 637898 h 873131"/>
                  <a:gd name="connsiteX284" fmla="*/ 603336 w 1122648"/>
                  <a:gd name="connsiteY284" fmla="*/ 640808 h 873131"/>
                  <a:gd name="connsiteX285" fmla="*/ 604482 w 1122648"/>
                  <a:gd name="connsiteY285" fmla="*/ 646980 h 873131"/>
                  <a:gd name="connsiteX286" fmla="*/ 606863 w 1122648"/>
                  <a:gd name="connsiteY286" fmla="*/ 646980 h 873131"/>
                  <a:gd name="connsiteX287" fmla="*/ 605364 w 1122648"/>
                  <a:gd name="connsiteY287" fmla="*/ 652534 h 873131"/>
                  <a:gd name="connsiteX288" fmla="*/ 607745 w 1122648"/>
                  <a:gd name="connsiteY288" fmla="*/ 654298 h 873131"/>
                  <a:gd name="connsiteX289" fmla="*/ 607745 w 1122648"/>
                  <a:gd name="connsiteY289" fmla="*/ 656590 h 873131"/>
                  <a:gd name="connsiteX290" fmla="*/ 610919 w 1122648"/>
                  <a:gd name="connsiteY290" fmla="*/ 659764 h 873131"/>
                  <a:gd name="connsiteX291" fmla="*/ 609773 w 1122648"/>
                  <a:gd name="connsiteY291" fmla="*/ 662674 h 873131"/>
                  <a:gd name="connsiteX292" fmla="*/ 611801 w 1122648"/>
                  <a:gd name="connsiteY292" fmla="*/ 664701 h 873131"/>
                  <a:gd name="connsiteX293" fmla="*/ 610037 w 1122648"/>
                  <a:gd name="connsiteY293" fmla="*/ 664701 h 873131"/>
                  <a:gd name="connsiteX294" fmla="*/ 611536 w 1122648"/>
                  <a:gd name="connsiteY294" fmla="*/ 669374 h 873131"/>
                  <a:gd name="connsiteX295" fmla="*/ 610654 w 1122648"/>
                  <a:gd name="connsiteY295" fmla="*/ 672548 h 873131"/>
                  <a:gd name="connsiteX296" fmla="*/ 611536 w 1122648"/>
                  <a:gd name="connsiteY296" fmla="*/ 676957 h 873131"/>
                  <a:gd name="connsiteX297" fmla="*/ 608627 w 1122648"/>
                  <a:gd name="connsiteY297" fmla="*/ 676075 h 873131"/>
                  <a:gd name="connsiteX298" fmla="*/ 610390 w 1122648"/>
                  <a:gd name="connsiteY298" fmla="*/ 678368 h 873131"/>
                  <a:gd name="connsiteX299" fmla="*/ 612418 w 1122648"/>
                  <a:gd name="connsiteY299" fmla="*/ 680395 h 873131"/>
                  <a:gd name="connsiteX300" fmla="*/ 613564 w 1122648"/>
                  <a:gd name="connsiteY300" fmla="*/ 683040 h 873131"/>
                  <a:gd name="connsiteX301" fmla="*/ 611272 w 1122648"/>
                  <a:gd name="connsiteY301" fmla="*/ 683922 h 873131"/>
                  <a:gd name="connsiteX302" fmla="*/ 607216 w 1122648"/>
                  <a:gd name="connsiteY302" fmla="*/ 683922 h 873131"/>
                  <a:gd name="connsiteX303" fmla="*/ 607833 w 1122648"/>
                  <a:gd name="connsiteY303" fmla="*/ 685333 h 873131"/>
                  <a:gd name="connsiteX304" fmla="*/ 606687 w 1122648"/>
                  <a:gd name="connsiteY304" fmla="*/ 688242 h 873131"/>
                  <a:gd name="connsiteX305" fmla="*/ 605188 w 1122648"/>
                  <a:gd name="connsiteY305" fmla="*/ 688860 h 873131"/>
                  <a:gd name="connsiteX306" fmla="*/ 600779 w 1122648"/>
                  <a:gd name="connsiteY306" fmla="*/ 686832 h 873131"/>
                  <a:gd name="connsiteX307" fmla="*/ 601397 w 1122648"/>
                  <a:gd name="connsiteY307" fmla="*/ 691240 h 873131"/>
                  <a:gd name="connsiteX308" fmla="*/ 600250 w 1122648"/>
                  <a:gd name="connsiteY308" fmla="*/ 694502 h 873131"/>
                  <a:gd name="connsiteX309" fmla="*/ 597606 w 1122648"/>
                  <a:gd name="connsiteY309" fmla="*/ 696530 h 873131"/>
                  <a:gd name="connsiteX310" fmla="*/ 595577 w 1122648"/>
                  <a:gd name="connsiteY310" fmla="*/ 695913 h 873131"/>
                  <a:gd name="connsiteX311" fmla="*/ 596106 w 1122648"/>
                  <a:gd name="connsiteY311" fmla="*/ 703760 h 873131"/>
                  <a:gd name="connsiteX312" fmla="*/ 597253 w 1122648"/>
                  <a:gd name="connsiteY312" fmla="*/ 706141 h 873131"/>
                  <a:gd name="connsiteX313" fmla="*/ 594079 w 1122648"/>
                  <a:gd name="connsiteY313" fmla="*/ 706758 h 873131"/>
                  <a:gd name="connsiteX314" fmla="*/ 592580 w 1122648"/>
                  <a:gd name="connsiteY314" fmla="*/ 708257 h 873131"/>
                  <a:gd name="connsiteX315" fmla="*/ 594079 w 1122648"/>
                  <a:gd name="connsiteY315" fmla="*/ 716456 h 873131"/>
                  <a:gd name="connsiteX316" fmla="*/ 596106 w 1122648"/>
                  <a:gd name="connsiteY316" fmla="*/ 716456 h 873131"/>
                  <a:gd name="connsiteX317" fmla="*/ 597870 w 1122648"/>
                  <a:gd name="connsiteY317" fmla="*/ 718220 h 873131"/>
                  <a:gd name="connsiteX318" fmla="*/ 599016 w 1122648"/>
                  <a:gd name="connsiteY318" fmla="*/ 725802 h 873131"/>
                  <a:gd name="connsiteX319" fmla="*/ 595842 w 1122648"/>
                  <a:gd name="connsiteY319" fmla="*/ 728976 h 873131"/>
                  <a:gd name="connsiteX320" fmla="*/ 597606 w 1122648"/>
                  <a:gd name="connsiteY320" fmla="*/ 729593 h 873131"/>
                  <a:gd name="connsiteX321" fmla="*/ 598752 w 1122648"/>
                  <a:gd name="connsiteY321" fmla="*/ 731004 h 873131"/>
                  <a:gd name="connsiteX322" fmla="*/ 601926 w 1122648"/>
                  <a:gd name="connsiteY322" fmla="*/ 728712 h 873131"/>
                  <a:gd name="connsiteX323" fmla="*/ 602807 w 1122648"/>
                  <a:gd name="connsiteY323" fmla="*/ 727830 h 873131"/>
                  <a:gd name="connsiteX324" fmla="*/ 605100 w 1122648"/>
                  <a:gd name="connsiteY324" fmla="*/ 726331 h 873131"/>
                  <a:gd name="connsiteX325" fmla="*/ 607127 w 1122648"/>
                  <a:gd name="connsiteY325" fmla="*/ 725185 h 873131"/>
                  <a:gd name="connsiteX326" fmla="*/ 610390 w 1122648"/>
                  <a:gd name="connsiteY326" fmla="*/ 724920 h 873131"/>
                  <a:gd name="connsiteX327" fmla="*/ 615063 w 1122648"/>
                  <a:gd name="connsiteY327" fmla="*/ 725185 h 873131"/>
                  <a:gd name="connsiteX328" fmla="*/ 617972 w 1122648"/>
                  <a:gd name="connsiteY328" fmla="*/ 726067 h 873131"/>
                  <a:gd name="connsiteX329" fmla="*/ 620617 w 1122648"/>
                  <a:gd name="connsiteY329" fmla="*/ 725185 h 873131"/>
                  <a:gd name="connsiteX330" fmla="*/ 623527 w 1122648"/>
                  <a:gd name="connsiteY330" fmla="*/ 723686 h 873131"/>
                  <a:gd name="connsiteX331" fmla="*/ 625026 w 1122648"/>
                  <a:gd name="connsiteY331" fmla="*/ 724832 h 873131"/>
                  <a:gd name="connsiteX332" fmla="*/ 621235 w 1122648"/>
                  <a:gd name="connsiteY332" fmla="*/ 726596 h 873131"/>
                  <a:gd name="connsiteX333" fmla="*/ 619736 w 1122648"/>
                  <a:gd name="connsiteY333" fmla="*/ 728006 h 873131"/>
                  <a:gd name="connsiteX334" fmla="*/ 623262 w 1122648"/>
                  <a:gd name="connsiteY334" fmla="*/ 732062 h 873131"/>
                  <a:gd name="connsiteX335" fmla="*/ 623262 w 1122648"/>
                  <a:gd name="connsiteY335" fmla="*/ 734972 h 873131"/>
                  <a:gd name="connsiteX336" fmla="*/ 623880 w 1122648"/>
                  <a:gd name="connsiteY336" fmla="*/ 738146 h 873131"/>
                  <a:gd name="connsiteX337" fmla="*/ 624497 w 1122648"/>
                  <a:gd name="connsiteY337" fmla="*/ 741320 h 873131"/>
                  <a:gd name="connsiteX338" fmla="*/ 626524 w 1122648"/>
                  <a:gd name="connsiteY338" fmla="*/ 741320 h 873131"/>
                  <a:gd name="connsiteX339" fmla="*/ 627935 w 1122648"/>
                  <a:gd name="connsiteY339" fmla="*/ 745111 h 873131"/>
                  <a:gd name="connsiteX340" fmla="*/ 627671 w 1122648"/>
                  <a:gd name="connsiteY340" fmla="*/ 749167 h 873131"/>
                  <a:gd name="connsiteX341" fmla="*/ 632079 w 1122648"/>
                  <a:gd name="connsiteY341" fmla="*/ 749167 h 873131"/>
                  <a:gd name="connsiteX342" fmla="*/ 633225 w 1122648"/>
                  <a:gd name="connsiteY342" fmla="*/ 751812 h 873131"/>
                  <a:gd name="connsiteX343" fmla="*/ 636752 w 1122648"/>
                  <a:gd name="connsiteY343" fmla="*/ 752076 h 873131"/>
                  <a:gd name="connsiteX344" fmla="*/ 636488 w 1122648"/>
                  <a:gd name="connsiteY344" fmla="*/ 750313 h 873131"/>
                  <a:gd name="connsiteX345" fmla="*/ 642042 w 1122648"/>
                  <a:gd name="connsiteY345" fmla="*/ 750930 h 873131"/>
                  <a:gd name="connsiteX346" fmla="*/ 642659 w 1122648"/>
                  <a:gd name="connsiteY346" fmla="*/ 752693 h 873131"/>
                  <a:gd name="connsiteX347" fmla="*/ 643541 w 1122648"/>
                  <a:gd name="connsiteY347" fmla="*/ 754721 h 873131"/>
                  <a:gd name="connsiteX348" fmla="*/ 639486 w 1122648"/>
                  <a:gd name="connsiteY348" fmla="*/ 753840 h 873131"/>
                  <a:gd name="connsiteX349" fmla="*/ 639486 w 1122648"/>
                  <a:gd name="connsiteY349" fmla="*/ 756749 h 873131"/>
                  <a:gd name="connsiteX350" fmla="*/ 640103 w 1122648"/>
                  <a:gd name="connsiteY350" fmla="*/ 766624 h 873131"/>
                  <a:gd name="connsiteX351" fmla="*/ 638957 w 1122648"/>
                  <a:gd name="connsiteY351" fmla="*/ 768123 h 873131"/>
                  <a:gd name="connsiteX352" fmla="*/ 640455 w 1122648"/>
                  <a:gd name="connsiteY352" fmla="*/ 770768 h 873131"/>
                  <a:gd name="connsiteX353" fmla="*/ 639838 w 1122648"/>
                  <a:gd name="connsiteY353" fmla="*/ 772267 h 873131"/>
                  <a:gd name="connsiteX354" fmla="*/ 636047 w 1122648"/>
                  <a:gd name="connsiteY354" fmla="*/ 773149 h 873131"/>
                  <a:gd name="connsiteX355" fmla="*/ 645128 w 1122648"/>
                  <a:gd name="connsiteY355" fmla="*/ 774912 h 873131"/>
                  <a:gd name="connsiteX356" fmla="*/ 646627 w 1122648"/>
                  <a:gd name="connsiteY356" fmla="*/ 774030 h 873131"/>
                  <a:gd name="connsiteX357" fmla="*/ 648038 w 1122648"/>
                  <a:gd name="connsiteY357" fmla="*/ 775176 h 873131"/>
                  <a:gd name="connsiteX358" fmla="*/ 651300 w 1122648"/>
                  <a:gd name="connsiteY358" fmla="*/ 775176 h 873131"/>
                  <a:gd name="connsiteX359" fmla="*/ 651565 w 1122648"/>
                  <a:gd name="connsiteY359" fmla="*/ 776587 h 873131"/>
                  <a:gd name="connsiteX360" fmla="*/ 653328 w 1122648"/>
                  <a:gd name="connsiteY360" fmla="*/ 776587 h 873131"/>
                  <a:gd name="connsiteX361" fmla="*/ 653063 w 1122648"/>
                  <a:gd name="connsiteY361" fmla="*/ 775176 h 873131"/>
                  <a:gd name="connsiteX362" fmla="*/ 654562 w 1122648"/>
                  <a:gd name="connsiteY362" fmla="*/ 776587 h 873131"/>
                  <a:gd name="connsiteX363" fmla="*/ 657207 w 1122648"/>
                  <a:gd name="connsiteY363" fmla="*/ 775970 h 873131"/>
                  <a:gd name="connsiteX364" fmla="*/ 655179 w 1122648"/>
                  <a:gd name="connsiteY364" fmla="*/ 782054 h 873131"/>
                  <a:gd name="connsiteX365" fmla="*/ 658970 w 1122648"/>
                  <a:gd name="connsiteY365" fmla="*/ 786109 h 873131"/>
                  <a:gd name="connsiteX366" fmla="*/ 660734 w 1122648"/>
                  <a:gd name="connsiteY366" fmla="*/ 786991 h 873131"/>
                  <a:gd name="connsiteX367" fmla="*/ 658970 w 1122648"/>
                  <a:gd name="connsiteY367" fmla="*/ 787255 h 873131"/>
                  <a:gd name="connsiteX368" fmla="*/ 659323 w 1122648"/>
                  <a:gd name="connsiteY368" fmla="*/ 790165 h 873131"/>
                  <a:gd name="connsiteX369" fmla="*/ 661087 w 1122648"/>
                  <a:gd name="connsiteY369" fmla="*/ 790165 h 873131"/>
                  <a:gd name="connsiteX370" fmla="*/ 661351 w 1122648"/>
                  <a:gd name="connsiteY370" fmla="*/ 791928 h 873131"/>
                  <a:gd name="connsiteX371" fmla="*/ 663379 w 1122648"/>
                  <a:gd name="connsiteY371" fmla="*/ 791399 h 873131"/>
                  <a:gd name="connsiteX372" fmla="*/ 665671 w 1122648"/>
                  <a:gd name="connsiteY372" fmla="*/ 788754 h 873131"/>
                  <a:gd name="connsiteX373" fmla="*/ 666818 w 1122648"/>
                  <a:gd name="connsiteY373" fmla="*/ 788490 h 873131"/>
                  <a:gd name="connsiteX374" fmla="*/ 669727 w 1122648"/>
                  <a:gd name="connsiteY374" fmla="*/ 790253 h 873131"/>
                  <a:gd name="connsiteX375" fmla="*/ 671226 w 1122648"/>
                  <a:gd name="connsiteY375" fmla="*/ 791752 h 873131"/>
                  <a:gd name="connsiteX376" fmla="*/ 672989 w 1122648"/>
                  <a:gd name="connsiteY376" fmla="*/ 790870 h 873131"/>
                  <a:gd name="connsiteX377" fmla="*/ 673871 w 1122648"/>
                  <a:gd name="connsiteY377" fmla="*/ 789460 h 873131"/>
                  <a:gd name="connsiteX378" fmla="*/ 676163 w 1122648"/>
                  <a:gd name="connsiteY378" fmla="*/ 785933 h 873131"/>
                  <a:gd name="connsiteX379" fmla="*/ 681718 w 1122648"/>
                  <a:gd name="connsiteY379" fmla="*/ 783288 h 873131"/>
                  <a:gd name="connsiteX380" fmla="*/ 683481 w 1122648"/>
                  <a:gd name="connsiteY380" fmla="*/ 787696 h 873131"/>
                  <a:gd name="connsiteX381" fmla="*/ 687008 w 1122648"/>
                  <a:gd name="connsiteY381" fmla="*/ 797571 h 873131"/>
                  <a:gd name="connsiteX382" fmla="*/ 692827 w 1122648"/>
                  <a:gd name="connsiteY382" fmla="*/ 796161 h 873131"/>
                  <a:gd name="connsiteX383" fmla="*/ 698117 w 1122648"/>
                  <a:gd name="connsiteY383" fmla="*/ 797571 h 873131"/>
                  <a:gd name="connsiteX384" fmla="*/ 696354 w 1122648"/>
                  <a:gd name="connsiteY384" fmla="*/ 787079 h 873131"/>
                  <a:gd name="connsiteX385" fmla="*/ 689036 w 1122648"/>
                  <a:gd name="connsiteY385" fmla="*/ 771650 h 873131"/>
                  <a:gd name="connsiteX386" fmla="*/ 690535 w 1122648"/>
                  <a:gd name="connsiteY386" fmla="*/ 770503 h 873131"/>
                  <a:gd name="connsiteX387" fmla="*/ 691681 w 1122648"/>
                  <a:gd name="connsiteY387" fmla="*/ 764949 h 873131"/>
                  <a:gd name="connsiteX388" fmla="*/ 694943 w 1122648"/>
                  <a:gd name="connsiteY388" fmla="*/ 767858 h 873131"/>
                  <a:gd name="connsiteX389" fmla="*/ 697853 w 1122648"/>
                  <a:gd name="connsiteY389" fmla="*/ 766095 h 873131"/>
                  <a:gd name="connsiteX390" fmla="*/ 701908 w 1122648"/>
                  <a:gd name="connsiteY390" fmla="*/ 766712 h 873131"/>
                  <a:gd name="connsiteX391" fmla="*/ 704289 w 1122648"/>
                  <a:gd name="connsiteY391" fmla="*/ 762039 h 873131"/>
                  <a:gd name="connsiteX392" fmla="*/ 706582 w 1122648"/>
                  <a:gd name="connsiteY392" fmla="*/ 759130 h 873131"/>
                  <a:gd name="connsiteX393" fmla="*/ 707728 w 1122648"/>
                  <a:gd name="connsiteY393" fmla="*/ 759747 h 873131"/>
                  <a:gd name="connsiteX394" fmla="*/ 710373 w 1122648"/>
                  <a:gd name="connsiteY394" fmla="*/ 759747 h 873131"/>
                  <a:gd name="connsiteX395" fmla="*/ 712665 w 1122648"/>
                  <a:gd name="connsiteY395" fmla="*/ 763538 h 873131"/>
                  <a:gd name="connsiteX396" fmla="*/ 714429 w 1122648"/>
                  <a:gd name="connsiteY396" fmla="*/ 763538 h 873131"/>
                  <a:gd name="connsiteX397" fmla="*/ 716721 w 1122648"/>
                  <a:gd name="connsiteY397" fmla="*/ 764684 h 873131"/>
                  <a:gd name="connsiteX398" fmla="*/ 721130 w 1122648"/>
                  <a:gd name="connsiteY398" fmla="*/ 769093 h 873131"/>
                  <a:gd name="connsiteX399" fmla="*/ 721130 w 1122648"/>
                  <a:gd name="connsiteY399" fmla="*/ 763538 h 873131"/>
                  <a:gd name="connsiteX400" fmla="*/ 722275 w 1122648"/>
                  <a:gd name="connsiteY400" fmla="*/ 761246 h 873131"/>
                  <a:gd name="connsiteX401" fmla="*/ 724039 w 1122648"/>
                  <a:gd name="connsiteY401" fmla="*/ 760629 h 873131"/>
                  <a:gd name="connsiteX402" fmla="*/ 725185 w 1122648"/>
                  <a:gd name="connsiteY402" fmla="*/ 758865 h 873131"/>
                  <a:gd name="connsiteX403" fmla="*/ 730122 w 1122648"/>
                  <a:gd name="connsiteY403" fmla="*/ 764684 h 873131"/>
                  <a:gd name="connsiteX404" fmla="*/ 731886 w 1122648"/>
                  <a:gd name="connsiteY404" fmla="*/ 758865 h 873131"/>
                  <a:gd name="connsiteX405" fmla="*/ 738587 w 1122648"/>
                  <a:gd name="connsiteY405" fmla="*/ 764949 h 873131"/>
                  <a:gd name="connsiteX406" fmla="*/ 738587 w 1122648"/>
                  <a:gd name="connsiteY406" fmla="*/ 758865 h 873131"/>
                  <a:gd name="connsiteX407" fmla="*/ 742643 w 1122648"/>
                  <a:gd name="connsiteY407" fmla="*/ 758248 h 873131"/>
                  <a:gd name="connsiteX408" fmla="*/ 746169 w 1122648"/>
                  <a:gd name="connsiteY408" fmla="*/ 760893 h 873131"/>
                  <a:gd name="connsiteX409" fmla="*/ 749696 w 1122648"/>
                  <a:gd name="connsiteY409" fmla="*/ 758865 h 873131"/>
                  <a:gd name="connsiteX410" fmla="*/ 750313 w 1122648"/>
                  <a:gd name="connsiteY410" fmla="*/ 755956 h 873131"/>
                  <a:gd name="connsiteX411" fmla="*/ 754104 w 1122648"/>
                  <a:gd name="connsiteY411" fmla="*/ 756837 h 873131"/>
                  <a:gd name="connsiteX412" fmla="*/ 756749 w 1122648"/>
                  <a:gd name="connsiteY412" fmla="*/ 753928 h 873131"/>
                  <a:gd name="connsiteX413" fmla="*/ 755603 w 1122648"/>
                  <a:gd name="connsiteY413" fmla="*/ 750401 h 873131"/>
                  <a:gd name="connsiteX414" fmla="*/ 757631 w 1122648"/>
                  <a:gd name="connsiteY414" fmla="*/ 750401 h 873131"/>
                  <a:gd name="connsiteX415" fmla="*/ 757896 w 1122648"/>
                  <a:gd name="connsiteY415" fmla="*/ 748109 h 873131"/>
                  <a:gd name="connsiteX416" fmla="*/ 763450 w 1122648"/>
                  <a:gd name="connsiteY416" fmla="*/ 746963 h 873131"/>
                  <a:gd name="connsiteX417" fmla="*/ 765214 w 1122648"/>
                  <a:gd name="connsiteY417" fmla="*/ 743436 h 873131"/>
                  <a:gd name="connsiteX418" fmla="*/ 769886 w 1122648"/>
                  <a:gd name="connsiteY418" fmla="*/ 747844 h 873131"/>
                  <a:gd name="connsiteX419" fmla="*/ 771297 w 1122648"/>
                  <a:gd name="connsiteY419" fmla="*/ 751018 h 873131"/>
                  <a:gd name="connsiteX420" fmla="*/ 778615 w 1122648"/>
                  <a:gd name="connsiteY420" fmla="*/ 755074 h 873131"/>
                  <a:gd name="connsiteX421" fmla="*/ 783023 w 1122648"/>
                  <a:gd name="connsiteY421" fmla="*/ 752429 h 873131"/>
                  <a:gd name="connsiteX422" fmla="*/ 787697 w 1122648"/>
                  <a:gd name="connsiteY422" fmla="*/ 755074 h 873131"/>
                  <a:gd name="connsiteX423" fmla="*/ 788578 w 1122648"/>
                  <a:gd name="connsiteY423" fmla="*/ 756837 h 873131"/>
                  <a:gd name="connsiteX424" fmla="*/ 792986 w 1122648"/>
                  <a:gd name="connsiteY424" fmla="*/ 753311 h 873131"/>
                  <a:gd name="connsiteX425" fmla="*/ 798806 w 1122648"/>
                  <a:gd name="connsiteY425" fmla="*/ 757984 h 873131"/>
                  <a:gd name="connsiteX426" fmla="*/ 798189 w 1122648"/>
                  <a:gd name="connsiteY426" fmla="*/ 763274 h 873131"/>
                  <a:gd name="connsiteX427" fmla="*/ 793868 w 1122648"/>
                  <a:gd name="connsiteY427" fmla="*/ 763274 h 873131"/>
                  <a:gd name="connsiteX428" fmla="*/ 795896 w 1122648"/>
                  <a:gd name="connsiteY428" fmla="*/ 767682 h 873131"/>
                  <a:gd name="connsiteX429" fmla="*/ 799687 w 1122648"/>
                  <a:gd name="connsiteY429" fmla="*/ 771738 h 873131"/>
                  <a:gd name="connsiteX430" fmla="*/ 800040 w 1122648"/>
                  <a:gd name="connsiteY430" fmla="*/ 777910 h 873131"/>
                  <a:gd name="connsiteX431" fmla="*/ 802332 w 1122648"/>
                  <a:gd name="connsiteY431" fmla="*/ 776764 h 873131"/>
                  <a:gd name="connsiteX432" fmla="*/ 807887 w 1122648"/>
                  <a:gd name="connsiteY432" fmla="*/ 779673 h 873131"/>
                  <a:gd name="connsiteX433" fmla="*/ 807887 w 1122648"/>
                  <a:gd name="connsiteY433" fmla="*/ 782318 h 873131"/>
                  <a:gd name="connsiteX434" fmla="*/ 810532 w 1122648"/>
                  <a:gd name="connsiteY434" fmla="*/ 783729 h 873131"/>
                  <a:gd name="connsiteX435" fmla="*/ 813442 w 1122648"/>
                  <a:gd name="connsiteY435" fmla="*/ 785228 h 873131"/>
                  <a:gd name="connsiteX436" fmla="*/ 815822 w 1122648"/>
                  <a:gd name="connsiteY436" fmla="*/ 783729 h 873131"/>
                  <a:gd name="connsiteX437" fmla="*/ 816704 w 1122648"/>
                  <a:gd name="connsiteY437" fmla="*/ 787785 h 873131"/>
                  <a:gd name="connsiteX438" fmla="*/ 824903 w 1122648"/>
                  <a:gd name="connsiteY438" fmla="*/ 786021 h 873131"/>
                  <a:gd name="connsiteX439" fmla="*/ 828077 w 1122648"/>
                  <a:gd name="connsiteY439" fmla="*/ 787520 h 873131"/>
                  <a:gd name="connsiteX440" fmla="*/ 829841 w 1122648"/>
                  <a:gd name="connsiteY440" fmla="*/ 788931 h 873131"/>
                  <a:gd name="connsiteX441" fmla="*/ 830458 w 1122648"/>
                  <a:gd name="connsiteY441" fmla="*/ 786903 h 873131"/>
                  <a:gd name="connsiteX442" fmla="*/ 832750 w 1122648"/>
                  <a:gd name="connsiteY442" fmla="*/ 786286 h 873131"/>
                  <a:gd name="connsiteX443" fmla="*/ 834514 w 1122648"/>
                  <a:gd name="connsiteY443" fmla="*/ 787167 h 873131"/>
                  <a:gd name="connsiteX444" fmla="*/ 835131 w 1122648"/>
                  <a:gd name="connsiteY444" fmla="*/ 790341 h 873131"/>
                  <a:gd name="connsiteX445" fmla="*/ 836013 w 1122648"/>
                  <a:gd name="connsiteY445" fmla="*/ 789724 h 873131"/>
                  <a:gd name="connsiteX446" fmla="*/ 836894 w 1122648"/>
                  <a:gd name="connsiteY446" fmla="*/ 788843 h 873131"/>
                  <a:gd name="connsiteX447" fmla="*/ 837247 w 1122648"/>
                  <a:gd name="connsiteY447" fmla="*/ 784434 h 873131"/>
                  <a:gd name="connsiteX448" fmla="*/ 839540 w 1122648"/>
                  <a:gd name="connsiteY448" fmla="*/ 785933 h 873131"/>
                  <a:gd name="connsiteX449" fmla="*/ 840157 w 1122648"/>
                  <a:gd name="connsiteY449" fmla="*/ 788843 h 873131"/>
                  <a:gd name="connsiteX450" fmla="*/ 841303 w 1122648"/>
                  <a:gd name="connsiteY450" fmla="*/ 786815 h 873131"/>
                  <a:gd name="connsiteX451" fmla="*/ 838393 w 1122648"/>
                  <a:gd name="connsiteY451" fmla="*/ 781260 h 873131"/>
                  <a:gd name="connsiteX452" fmla="*/ 839540 w 1122648"/>
                  <a:gd name="connsiteY452" fmla="*/ 779232 h 873131"/>
                  <a:gd name="connsiteX453" fmla="*/ 842449 w 1122648"/>
                  <a:gd name="connsiteY453" fmla="*/ 778968 h 873131"/>
                  <a:gd name="connsiteX454" fmla="*/ 843066 w 1122648"/>
                  <a:gd name="connsiteY454" fmla="*/ 781348 h 873131"/>
                  <a:gd name="connsiteX455" fmla="*/ 844212 w 1122648"/>
                  <a:gd name="connsiteY455" fmla="*/ 782230 h 873131"/>
                  <a:gd name="connsiteX456" fmla="*/ 843331 w 1122648"/>
                  <a:gd name="connsiteY456" fmla="*/ 783993 h 873131"/>
                  <a:gd name="connsiteX457" fmla="*/ 845358 w 1122648"/>
                  <a:gd name="connsiteY457" fmla="*/ 783993 h 873131"/>
                  <a:gd name="connsiteX458" fmla="*/ 845976 w 1122648"/>
                  <a:gd name="connsiteY458" fmla="*/ 787785 h 873131"/>
                  <a:gd name="connsiteX459" fmla="*/ 847386 w 1122648"/>
                  <a:gd name="connsiteY459" fmla="*/ 786286 h 873131"/>
                  <a:gd name="connsiteX460" fmla="*/ 846505 w 1122648"/>
                  <a:gd name="connsiteY460" fmla="*/ 784522 h 873131"/>
                  <a:gd name="connsiteX461" fmla="*/ 846769 w 1122648"/>
                  <a:gd name="connsiteY461" fmla="*/ 782759 h 873131"/>
                  <a:gd name="connsiteX462" fmla="*/ 845887 w 1122648"/>
                  <a:gd name="connsiteY462" fmla="*/ 781613 h 873131"/>
                  <a:gd name="connsiteX463" fmla="*/ 847915 w 1122648"/>
                  <a:gd name="connsiteY463" fmla="*/ 781613 h 873131"/>
                  <a:gd name="connsiteX464" fmla="*/ 850208 w 1122648"/>
                  <a:gd name="connsiteY464" fmla="*/ 783023 h 873131"/>
                  <a:gd name="connsiteX465" fmla="*/ 851619 w 1122648"/>
                  <a:gd name="connsiteY465" fmla="*/ 786815 h 873131"/>
                  <a:gd name="connsiteX466" fmla="*/ 855145 w 1122648"/>
                  <a:gd name="connsiteY466" fmla="*/ 787696 h 873131"/>
                  <a:gd name="connsiteX467" fmla="*/ 852236 w 1122648"/>
                  <a:gd name="connsiteY467" fmla="*/ 789107 h 873131"/>
                  <a:gd name="connsiteX468" fmla="*/ 853117 w 1122648"/>
                  <a:gd name="connsiteY468" fmla="*/ 792017 h 873131"/>
                  <a:gd name="connsiteX469" fmla="*/ 856027 w 1122648"/>
                  <a:gd name="connsiteY469" fmla="*/ 792281 h 873131"/>
                  <a:gd name="connsiteX470" fmla="*/ 857526 w 1122648"/>
                  <a:gd name="connsiteY470" fmla="*/ 790253 h 873131"/>
                  <a:gd name="connsiteX471" fmla="*/ 857791 w 1122648"/>
                  <a:gd name="connsiteY471" fmla="*/ 792017 h 873131"/>
                  <a:gd name="connsiteX472" fmla="*/ 863609 w 1122648"/>
                  <a:gd name="connsiteY472" fmla="*/ 790253 h 873131"/>
                  <a:gd name="connsiteX473" fmla="*/ 862992 w 1122648"/>
                  <a:gd name="connsiteY473" fmla="*/ 787961 h 873131"/>
                  <a:gd name="connsiteX474" fmla="*/ 861582 w 1122648"/>
                  <a:gd name="connsiteY474" fmla="*/ 787079 h 873131"/>
                  <a:gd name="connsiteX475" fmla="*/ 862463 w 1122648"/>
                  <a:gd name="connsiteY475" fmla="*/ 783905 h 873131"/>
                  <a:gd name="connsiteX476" fmla="*/ 865108 w 1122648"/>
                  <a:gd name="connsiteY476" fmla="*/ 785933 h 873131"/>
                  <a:gd name="connsiteX477" fmla="*/ 865373 w 1122648"/>
                  <a:gd name="connsiteY477" fmla="*/ 787696 h 873131"/>
                  <a:gd name="connsiteX478" fmla="*/ 866607 w 1122648"/>
                  <a:gd name="connsiteY478" fmla="*/ 790341 h 873131"/>
                  <a:gd name="connsiteX479" fmla="*/ 868635 w 1122648"/>
                  <a:gd name="connsiteY479" fmla="*/ 790606 h 873131"/>
                  <a:gd name="connsiteX480" fmla="*/ 868106 w 1122648"/>
                  <a:gd name="connsiteY480" fmla="*/ 787696 h 873131"/>
                  <a:gd name="connsiteX481" fmla="*/ 869870 w 1122648"/>
                  <a:gd name="connsiteY481" fmla="*/ 790606 h 873131"/>
                  <a:gd name="connsiteX482" fmla="*/ 872426 w 1122648"/>
                  <a:gd name="connsiteY482" fmla="*/ 790870 h 873131"/>
                  <a:gd name="connsiteX483" fmla="*/ 874190 w 1122648"/>
                  <a:gd name="connsiteY483" fmla="*/ 793251 h 873131"/>
                  <a:gd name="connsiteX484" fmla="*/ 870134 w 1122648"/>
                  <a:gd name="connsiteY484" fmla="*/ 794133 h 873131"/>
                  <a:gd name="connsiteX485" fmla="*/ 869870 w 1122648"/>
                  <a:gd name="connsiteY485" fmla="*/ 797924 h 873131"/>
                  <a:gd name="connsiteX486" fmla="*/ 868106 w 1122648"/>
                  <a:gd name="connsiteY486" fmla="*/ 798806 h 873131"/>
                  <a:gd name="connsiteX487" fmla="*/ 869605 w 1122648"/>
                  <a:gd name="connsiteY487" fmla="*/ 806124 h 873131"/>
                  <a:gd name="connsiteX488" fmla="*/ 873132 w 1122648"/>
                  <a:gd name="connsiteY488" fmla="*/ 809915 h 873131"/>
                  <a:gd name="connsiteX489" fmla="*/ 872250 w 1122648"/>
                  <a:gd name="connsiteY489" fmla="*/ 811678 h 873131"/>
                  <a:gd name="connsiteX490" fmla="*/ 879833 w 1122648"/>
                  <a:gd name="connsiteY490" fmla="*/ 816880 h 873131"/>
                  <a:gd name="connsiteX491" fmla="*/ 878686 w 1122648"/>
                  <a:gd name="connsiteY491" fmla="*/ 818643 h 873131"/>
                  <a:gd name="connsiteX492" fmla="*/ 876394 w 1122648"/>
                  <a:gd name="connsiteY492" fmla="*/ 817145 h 873131"/>
                  <a:gd name="connsiteX493" fmla="*/ 879039 w 1122648"/>
                  <a:gd name="connsiteY493" fmla="*/ 820671 h 873131"/>
                  <a:gd name="connsiteX494" fmla="*/ 885475 w 1122648"/>
                  <a:gd name="connsiteY494" fmla="*/ 820671 h 873131"/>
                  <a:gd name="connsiteX495" fmla="*/ 888385 w 1122648"/>
                  <a:gd name="connsiteY495" fmla="*/ 815469 h 873131"/>
                  <a:gd name="connsiteX496" fmla="*/ 885475 w 1122648"/>
                  <a:gd name="connsiteY496" fmla="*/ 811678 h 873131"/>
                  <a:gd name="connsiteX497" fmla="*/ 884594 w 1122648"/>
                  <a:gd name="connsiteY497" fmla="*/ 807005 h 873131"/>
                  <a:gd name="connsiteX498" fmla="*/ 879391 w 1122648"/>
                  <a:gd name="connsiteY498" fmla="*/ 806124 h 873131"/>
                  <a:gd name="connsiteX499" fmla="*/ 880538 w 1122648"/>
                  <a:gd name="connsiteY499" fmla="*/ 800569 h 873131"/>
                  <a:gd name="connsiteX500" fmla="*/ 884594 w 1122648"/>
                  <a:gd name="connsiteY500" fmla="*/ 797042 h 873131"/>
                  <a:gd name="connsiteX501" fmla="*/ 882301 w 1122648"/>
                  <a:gd name="connsiteY501" fmla="*/ 793868 h 873131"/>
                  <a:gd name="connsiteX502" fmla="*/ 883447 w 1122648"/>
                  <a:gd name="connsiteY502" fmla="*/ 794485 h 873131"/>
                  <a:gd name="connsiteX503" fmla="*/ 882037 w 1122648"/>
                  <a:gd name="connsiteY503" fmla="*/ 792193 h 873131"/>
                  <a:gd name="connsiteX504" fmla="*/ 885475 w 1122648"/>
                  <a:gd name="connsiteY504" fmla="*/ 793956 h 873131"/>
                  <a:gd name="connsiteX505" fmla="*/ 886092 w 1122648"/>
                  <a:gd name="connsiteY505" fmla="*/ 796601 h 873131"/>
                  <a:gd name="connsiteX506" fmla="*/ 888385 w 1122648"/>
                  <a:gd name="connsiteY506" fmla="*/ 796072 h 873131"/>
                  <a:gd name="connsiteX507" fmla="*/ 888385 w 1122648"/>
                  <a:gd name="connsiteY507" fmla="*/ 793427 h 873131"/>
                  <a:gd name="connsiteX508" fmla="*/ 889883 w 1122648"/>
                  <a:gd name="connsiteY508" fmla="*/ 792281 h 873131"/>
                  <a:gd name="connsiteX509" fmla="*/ 890148 w 1122648"/>
                  <a:gd name="connsiteY509" fmla="*/ 795191 h 873131"/>
                  <a:gd name="connsiteX510" fmla="*/ 891294 w 1122648"/>
                  <a:gd name="connsiteY510" fmla="*/ 792546 h 873131"/>
                  <a:gd name="connsiteX511" fmla="*/ 895350 w 1122648"/>
                  <a:gd name="connsiteY511" fmla="*/ 790782 h 873131"/>
                  <a:gd name="connsiteX512" fmla="*/ 896849 w 1122648"/>
                  <a:gd name="connsiteY512" fmla="*/ 791664 h 873131"/>
                  <a:gd name="connsiteX513" fmla="*/ 896232 w 1122648"/>
                  <a:gd name="connsiteY513" fmla="*/ 789019 h 873131"/>
                  <a:gd name="connsiteX514" fmla="*/ 897731 w 1122648"/>
                  <a:gd name="connsiteY514" fmla="*/ 790782 h 873131"/>
                  <a:gd name="connsiteX515" fmla="*/ 899494 w 1122648"/>
                  <a:gd name="connsiteY515" fmla="*/ 789019 h 873131"/>
                  <a:gd name="connsiteX516" fmla="*/ 901257 w 1122648"/>
                  <a:gd name="connsiteY516" fmla="*/ 789901 h 873131"/>
                  <a:gd name="connsiteX517" fmla="*/ 900993 w 1122648"/>
                  <a:gd name="connsiteY517" fmla="*/ 792193 h 873131"/>
                  <a:gd name="connsiteX518" fmla="*/ 903638 w 1122648"/>
                  <a:gd name="connsiteY518" fmla="*/ 790165 h 873131"/>
                  <a:gd name="connsiteX519" fmla="*/ 903373 w 1122648"/>
                  <a:gd name="connsiteY519" fmla="*/ 787873 h 873131"/>
                  <a:gd name="connsiteX520" fmla="*/ 904520 w 1122648"/>
                  <a:gd name="connsiteY520" fmla="*/ 788754 h 873131"/>
                  <a:gd name="connsiteX521" fmla="*/ 905666 w 1122648"/>
                  <a:gd name="connsiteY521" fmla="*/ 789636 h 873131"/>
                  <a:gd name="connsiteX522" fmla="*/ 908575 w 1122648"/>
                  <a:gd name="connsiteY522" fmla="*/ 787873 h 873131"/>
                  <a:gd name="connsiteX523" fmla="*/ 908840 w 1122648"/>
                  <a:gd name="connsiteY523" fmla="*/ 789636 h 873131"/>
                  <a:gd name="connsiteX524" fmla="*/ 910868 w 1122648"/>
                  <a:gd name="connsiteY524" fmla="*/ 788225 h 873131"/>
                  <a:gd name="connsiteX525" fmla="*/ 912631 w 1122648"/>
                  <a:gd name="connsiteY525" fmla="*/ 787344 h 873131"/>
                  <a:gd name="connsiteX526" fmla="*/ 909721 w 1122648"/>
                  <a:gd name="connsiteY526" fmla="*/ 785316 h 873131"/>
                  <a:gd name="connsiteX527" fmla="*/ 908840 w 1122648"/>
                  <a:gd name="connsiteY527" fmla="*/ 783552 h 873131"/>
                  <a:gd name="connsiteX528" fmla="*/ 909986 w 1122648"/>
                  <a:gd name="connsiteY528" fmla="*/ 782671 h 873131"/>
                  <a:gd name="connsiteX529" fmla="*/ 911750 w 1122648"/>
                  <a:gd name="connsiteY529" fmla="*/ 783552 h 873131"/>
                  <a:gd name="connsiteX530" fmla="*/ 912367 w 1122648"/>
                  <a:gd name="connsiteY530" fmla="*/ 786197 h 873131"/>
                  <a:gd name="connsiteX531" fmla="*/ 914394 w 1122648"/>
                  <a:gd name="connsiteY531" fmla="*/ 785051 h 873131"/>
                  <a:gd name="connsiteX532" fmla="*/ 915541 w 1122648"/>
                  <a:gd name="connsiteY532" fmla="*/ 783641 h 873131"/>
                  <a:gd name="connsiteX533" fmla="*/ 914394 w 1122648"/>
                  <a:gd name="connsiteY533" fmla="*/ 781613 h 873131"/>
                  <a:gd name="connsiteX534" fmla="*/ 913512 w 1122648"/>
                  <a:gd name="connsiteY534" fmla="*/ 779232 h 873131"/>
                  <a:gd name="connsiteX535" fmla="*/ 915805 w 1122648"/>
                  <a:gd name="connsiteY535" fmla="*/ 779497 h 873131"/>
                  <a:gd name="connsiteX536" fmla="*/ 916951 w 1122648"/>
                  <a:gd name="connsiteY536" fmla="*/ 781877 h 873131"/>
                  <a:gd name="connsiteX537" fmla="*/ 920125 w 1122648"/>
                  <a:gd name="connsiteY537" fmla="*/ 781877 h 873131"/>
                  <a:gd name="connsiteX538" fmla="*/ 920390 w 1122648"/>
                  <a:gd name="connsiteY538" fmla="*/ 784258 h 873131"/>
                  <a:gd name="connsiteX539" fmla="*/ 922682 w 1122648"/>
                  <a:gd name="connsiteY539" fmla="*/ 785404 h 873131"/>
                  <a:gd name="connsiteX540" fmla="*/ 922682 w 1122648"/>
                  <a:gd name="connsiteY540" fmla="*/ 783376 h 873131"/>
                  <a:gd name="connsiteX541" fmla="*/ 921536 w 1122648"/>
                  <a:gd name="connsiteY541" fmla="*/ 781348 h 873131"/>
                  <a:gd name="connsiteX542" fmla="*/ 921184 w 1122648"/>
                  <a:gd name="connsiteY542" fmla="*/ 777557 h 873131"/>
                  <a:gd name="connsiteX543" fmla="*/ 923211 w 1122648"/>
                  <a:gd name="connsiteY543" fmla="*/ 775529 h 873131"/>
                  <a:gd name="connsiteX544" fmla="*/ 922329 w 1122648"/>
                  <a:gd name="connsiteY544" fmla="*/ 778174 h 873131"/>
                  <a:gd name="connsiteX545" fmla="*/ 922947 w 1122648"/>
                  <a:gd name="connsiteY545" fmla="*/ 780202 h 873131"/>
                  <a:gd name="connsiteX546" fmla="*/ 924358 w 1122648"/>
                  <a:gd name="connsiteY546" fmla="*/ 781965 h 873131"/>
                  <a:gd name="connsiteX547" fmla="*/ 927267 w 1122648"/>
                  <a:gd name="connsiteY547" fmla="*/ 782230 h 873131"/>
                  <a:gd name="connsiteX548" fmla="*/ 928766 w 1122648"/>
                  <a:gd name="connsiteY548" fmla="*/ 781348 h 873131"/>
                  <a:gd name="connsiteX549" fmla="*/ 930265 w 1122648"/>
                  <a:gd name="connsiteY549" fmla="*/ 779849 h 873131"/>
                  <a:gd name="connsiteX550" fmla="*/ 931763 w 1122648"/>
                  <a:gd name="connsiteY550" fmla="*/ 778086 h 873131"/>
                  <a:gd name="connsiteX551" fmla="*/ 933527 w 1122648"/>
                  <a:gd name="connsiteY551" fmla="*/ 780996 h 873131"/>
                  <a:gd name="connsiteX552" fmla="*/ 934409 w 1122648"/>
                  <a:gd name="connsiteY552" fmla="*/ 780996 h 873131"/>
                  <a:gd name="connsiteX553" fmla="*/ 936172 w 1122648"/>
                  <a:gd name="connsiteY553" fmla="*/ 780731 h 873131"/>
                  <a:gd name="connsiteX554" fmla="*/ 936701 w 1122648"/>
                  <a:gd name="connsiteY554" fmla="*/ 780114 h 873131"/>
                  <a:gd name="connsiteX555" fmla="*/ 936437 w 1122648"/>
                  <a:gd name="connsiteY555" fmla="*/ 778086 h 873131"/>
                  <a:gd name="connsiteX556" fmla="*/ 936172 w 1122648"/>
                  <a:gd name="connsiteY556" fmla="*/ 775176 h 873131"/>
                  <a:gd name="connsiteX557" fmla="*/ 937318 w 1122648"/>
                  <a:gd name="connsiteY557" fmla="*/ 774295 h 873131"/>
                  <a:gd name="connsiteX558" fmla="*/ 939963 w 1122648"/>
                  <a:gd name="connsiteY558" fmla="*/ 774912 h 873131"/>
                  <a:gd name="connsiteX559" fmla="*/ 941462 w 1122648"/>
                  <a:gd name="connsiteY559" fmla="*/ 776940 h 873131"/>
                  <a:gd name="connsiteX560" fmla="*/ 942344 w 1122648"/>
                  <a:gd name="connsiteY560" fmla="*/ 776940 h 873131"/>
                  <a:gd name="connsiteX561" fmla="*/ 943842 w 1122648"/>
                  <a:gd name="connsiteY561" fmla="*/ 775794 h 873131"/>
                  <a:gd name="connsiteX562" fmla="*/ 943578 w 1122648"/>
                  <a:gd name="connsiteY562" fmla="*/ 773501 h 873131"/>
                  <a:gd name="connsiteX563" fmla="*/ 943842 w 1122648"/>
                  <a:gd name="connsiteY563" fmla="*/ 772002 h 873131"/>
                  <a:gd name="connsiteX564" fmla="*/ 944195 w 1122648"/>
                  <a:gd name="connsiteY564" fmla="*/ 773501 h 873131"/>
                  <a:gd name="connsiteX565" fmla="*/ 947105 w 1122648"/>
                  <a:gd name="connsiteY565" fmla="*/ 773501 h 873131"/>
                  <a:gd name="connsiteX566" fmla="*/ 947722 w 1122648"/>
                  <a:gd name="connsiteY566" fmla="*/ 770327 h 873131"/>
                  <a:gd name="connsiteX567" fmla="*/ 947105 w 1122648"/>
                  <a:gd name="connsiteY567" fmla="*/ 766536 h 873131"/>
                  <a:gd name="connsiteX568" fmla="*/ 945694 w 1122648"/>
                  <a:gd name="connsiteY568" fmla="*/ 764508 h 873131"/>
                  <a:gd name="connsiteX569" fmla="*/ 943049 w 1122648"/>
                  <a:gd name="connsiteY569" fmla="*/ 762480 h 873131"/>
                  <a:gd name="connsiteX570" fmla="*/ 941638 w 1122648"/>
                  <a:gd name="connsiteY570" fmla="*/ 759306 h 873131"/>
                  <a:gd name="connsiteX571" fmla="*/ 943049 w 1122648"/>
                  <a:gd name="connsiteY571" fmla="*/ 758424 h 873131"/>
                  <a:gd name="connsiteX572" fmla="*/ 940757 w 1122648"/>
                  <a:gd name="connsiteY572" fmla="*/ 755515 h 873131"/>
                  <a:gd name="connsiteX573" fmla="*/ 940139 w 1122648"/>
                  <a:gd name="connsiteY573" fmla="*/ 753752 h 873131"/>
                  <a:gd name="connsiteX574" fmla="*/ 942432 w 1122648"/>
                  <a:gd name="connsiteY574" fmla="*/ 754633 h 873131"/>
                  <a:gd name="connsiteX575" fmla="*/ 939787 w 1122648"/>
                  <a:gd name="connsiteY575" fmla="*/ 750842 h 873131"/>
                  <a:gd name="connsiteX576" fmla="*/ 943313 w 1122648"/>
                  <a:gd name="connsiteY576" fmla="*/ 751724 h 873131"/>
                  <a:gd name="connsiteX577" fmla="*/ 944460 w 1122648"/>
                  <a:gd name="connsiteY577" fmla="*/ 749960 h 873131"/>
                  <a:gd name="connsiteX578" fmla="*/ 946223 w 1122648"/>
                  <a:gd name="connsiteY578" fmla="*/ 750225 h 873131"/>
                  <a:gd name="connsiteX579" fmla="*/ 944724 w 1122648"/>
                  <a:gd name="connsiteY579" fmla="*/ 751635 h 873131"/>
                  <a:gd name="connsiteX580" fmla="*/ 945342 w 1122648"/>
                  <a:gd name="connsiteY580" fmla="*/ 754545 h 873131"/>
                  <a:gd name="connsiteX581" fmla="*/ 946488 w 1122648"/>
                  <a:gd name="connsiteY581" fmla="*/ 752517 h 873131"/>
                  <a:gd name="connsiteX582" fmla="*/ 946752 w 1122648"/>
                  <a:gd name="connsiteY582" fmla="*/ 754898 h 873131"/>
                  <a:gd name="connsiteX583" fmla="*/ 945606 w 1122648"/>
                  <a:gd name="connsiteY583" fmla="*/ 755515 h 873131"/>
                  <a:gd name="connsiteX584" fmla="*/ 947634 w 1122648"/>
                  <a:gd name="connsiteY584" fmla="*/ 759306 h 873131"/>
                  <a:gd name="connsiteX585" fmla="*/ 949397 w 1122648"/>
                  <a:gd name="connsiteY585" fmla="*/ 759306 h 873131"/>
                  <a:gd name="connsiteX586" fmla="*/ 950279 w 1122648"/>
                  <a:gd name="connsiteY586" fmla="*/ 761599 h 873131"/>
                  <a:gd name="connsiteX587" fmla="*/ 952659 w 1122648"/>
                  <a:gd name="connsiteY587" fmla="*/ 762216 h 873131"/>
                  <a:gd name="connsiteX588" fmla="*/ 954687 w 1122648"/>
                  <a:gd name="connsiteY588" fmla="*/ 766624 h 873131"/>
                  <a:gd name="connsiteX589" fmla="*/ 955305 w 1122648"/>
                  <a:gd name="connsiteY589" fmla="*/ 766360 h 873131"/>
                  <a:gd name="connsiteX590" fmla="*/ 955040 w 1122648"/>
                  <a:gd name="connsiteY590" fmla="*/ 765213 h 873131"/>
                  <a:gd name="connsiteX591" fmla="*/ 955305 w 1122648"/>
                  <a:gd name="connsiteY591" fmla="*/ 765213 h 873131"/>
                  <a:gd name="connsiteX592" fmla="*/ 956186 w 1122648"/>
                  <a:gd name="connsiteY592" fmla="*/ 765478 h 873131"/>
                  <a:gd name="connsiteX593" fmla="*/ 957685 w 1122648"/>
                  <a:gd name="connsiteY593" fmla="*/ 765478 h 873131"/>
                  <a:gd name="connsiteX594" fmla="*/ 959184 w 1122648"/>
                  <a:gd name="connsiteY594" fmla="*/ 765213 h 873131"/>
                  <a:gd name="connsiteX595" fmla="*/ 960330 w 1122648"/>
                  <a:gd name="connsiteY595" fmla="*/ 764332 h 873131"/>
                  <a:gd name="connsiteX596" fmla="*/ 960859 w 1122648"/>
                  <a:gd name="connsiteY596" fmla="*/ 764332 h 873131"/>
                  <a:gd name="connsiteX597" fmla="*/ 961476 w 1122648"/>
                  <a:gd name="connsiteY597" fmla="*/ 763714 h 873131"/>
                  <a:gd name="connsiteX598" fmla="*/ 964386 w 1122648"/>
                  <a:gd name="connsiteY598" fmla="*/ 763097 h 873131"/>
                  <a:gd name="connsiteX599" fmla="*/ 965268 w 1122648"/>
                  <a:gd name="connsiteY599" fmla="*/ 764244 h 873131"/>
                  <a:gd name="connsiteX600" fmla="*/ 966767 w 1122648"/>
                  <a:gd name="connsiteY600" fmla="*/ 764244 h 873131"/>
                  <a:gd name="connsiteX601" fmla="*/ 967648 w 1122648"/>
                  <a:gd name="connsiteY601" fmla="*/ 761070 h 873131"/>
                  <a:gd name="connsiteX602" fmla="*/ 965884 w 1122648"/>
                  <a:gd name="connsiteY602" fmla="*/ 759923 h 873131"/>
                  <a:gd name="connsiteX603" fmla="*/ 967031 w 1122648"/>
                  <a:gd name="connsiteY603" fmla="*/ 757278 h 873131"/>
                  <a:gd name="connsiteX604" fmla="*/ 970822 w 1122648"/>
                  <a:gd name="connsiteY604" fmla="*/ 757278 h 873131"/>
                  <a:gd name="connsiteX605" fmla="*/ 973467 w 1122648"/>
                  <a:gd name="connsiteY605" fmla="*/ 758160 h 873131"/>
                  <a:gd name="connsiteX606" fmla="*/ 971968 w 1122648"/>
                  <a:gd name="connsiteY606" fmla="*/ 763714 h 873131"/>
                  <a:gd name="connsiteX607" fmla="*/ 974349 w 1122648"/>
                  <a:gd name="connsiteY607" fmla="*/ 763097 h 873131"/>
                  <a:gd name="connsiteX608" fmla="*/ 975495 w 1122648"/>
                  <a:gd name="connsiteY608" fmla="*/ 761070 h 873131"/>
                  <a:gd name="connsiteX609" fmla="*/ 974349 w 1122648"/>
                  <a:gd name="connsiteY609" fmla="*/ 759306 h 873131"/>
                  <a:gd name="connsiteX610" fmla="*/ 975495 w 1122648"/>
                  <a:gd name="connsiteY610" fmla="*/ 759835 h 873131"/>
                  <a:gd name="connsiteX611" fmla="*/ 980785 w 1122648"/>
                  <a:gd name="connsiteY611" fmla="*/ 756661 h 873131"/>
                  <a:gd name="connsiteX612" fmla="*/ 981314 w 1122648"/>
                  <a:gd name="connsiteY612" fmla="*/ 758160 h 873131"/>
                  <a:gd name="connsiteX613" fmla="*/ 984224 w 1122648"/>
                  <a:gd name="connsiteY613" fmla="*/ 758160 h 873131"/>
                  <a:gd name="connsiteX614" fmla="*/ 983606 w 1122648"/>
                  <a:gd name="connsiteY614" fmla="*/ 759923 h 873131"/>
                  <a:gd name="connsiteX615" fmla="*/ 986164 w 1122648"/>
                  <a:gd name="connsiteY615" fmla="*/ 761687 h 873131"/>
                  <a:gd name="connsiteX616" fmla="*/ 987927 w 1122648"/>
                  <a:gd name="connsiteY616" fmla="*/ 761070 h 873131"/>
                  <a:gd name="connsiteX617" fmla="*/ 988809 w 1122648"/>
                  <a:gd name="connsiteY617" fmla="*/ 756396 h 873131"/>
                  <a:gd name="connsiteX618" fmla="*/ 985899 w 1122648"/>
                  <a:gd name="connsiteY618" fmla="*/ 756661 h 873131"/>
                  <a:gd name="connsiteX619" fmla="*/ 985635 w 1122648"/>
                  <a:gd name="connsiteY619" fmla="*/ 754369 h 873131"/>
                  <a:gd name="connsiteX620" fmla="*/ 987045 w 1122648"/>
                  <a:gd name="connsiteY620" fmla="*/ 755868 h 873131"/>
                  <a:gd name="connsiteX621" fmla="*/ 991983 w 1122648"/>
                  <a:gd name="connsiteY621" fmla="*/ 754369 h 873131"/>
                  <a:gd name="connsiteX622" fmla="*/ 990484 w 1122648"/>
                  <a:gd name="connsiteY622" fmla="*/ 755515 h 873131"/>
                  <a:gd name="connsiteX623" fmla="*/ 992247 w 1122648"/>
                  <a:gd name="connsiteY623" fmla="*/ 759306 h 873131"/>
                  <a:gd name="connsiteX624" fmla="*/ 994275 w 1122648"/>
                  <a:gd name="connsiteY624" fmla="*/ 759306 h 873131"/>
                  <a:gd name="connsiteX625" fmla="*/ 997185 w 1122648"/>
                  <a:gd name="connsiteY625" fmla="*/ 759042 h 873131"/>
                  <a:gd name="connsiteX626" fmla="*/ 998683 w 1122648"/>
                  <a:gd name="connsiteY626" fmla="*/ 756661 h 873131"/>
                  <a:gd name="connsiteX627" fmla="*/ 997185 w 1122648"/>
                  <a:gd name="connsiteY627" fmla="*/ 754369 h 873131"/>
                  <a:gd name="connsiteX628" fmla="*/ 1000711 w 1122648"/>
                  <a:gd name="connsiteY628" fmla="*/ 756661 h 873131"/>
                  <a:gd name="connsiteX629" fmla="*/ 1002739 w 1122648"/>
                  <a:gd name="connsiteY629" fmla="*/ 754369 h 873131"/>
                  <a:gd name="connsiteX630" fmla="*/ 1000976 w 1122648"/>
                  <a:gd name="connsiteY630" fmla="*/ 752870 h 873131"/>
                  <a:gd name="connsiteX631" fmla="*/ 1003885 w 1122648"/>
                  <a:gd name="connsiteY631" fmla="*/ 753134 h 873131"/>
                  <a:gd name="connsiteX632" fmla="*/ 1007412 w 1122648"/>
                  <a:gd name="connsiteY632" fmla="*/ 754281 h 873131"/>
                  <a:gd name="connsiteX633" fmla="*/ 1009175 w 1122648"/>
                  <a:gd name="connsiteY633" fmla="*/ 753752 h 873131"/>
                  <a:gd name="connsiteX634" fmla="*/ 1008822 w 1122648"/>
                  <a:gd name="connsiteY634" fmla="*/ 751988 h 873131"/>
                  <a:gd name="connsiteX635" fmla="*/ 1007941 w 1122648"/>
                  <a:gd name="connsiteY635" fmla="*/ 748197 h 873131"/>
                  <a:gd name="connsiteX636" fmla="*/ 1006178 w 1122648"/>
                  <a:gd name="connsiteY636" fmla="*/ 747315 h 873131"/>
                  <a:gd name="connsiteX637" fmla="*/ 1007677 w 1122648"/>
                  <a:gd name="connsiteY637" fmla="*/ 747051 h 873131"/>
                  <a:gd name="connsiteX638" fmla="*/ 1009440 w 1122648"/>
                  <a:gd name="connsiteY638" fmla="*/ 747315 h 873131"/>
                  <a:gd name="connsiteX639" fmla="*/ 1009704 w 1122648"/>
                  <a:gd name="connsiteY639" fmla="*/ 746434 h 873131"/>
                  <a:gd name="connsiteX640" fmla="*/ 1009704 w 1122648"/>
                  <a:gd name="connsiteY640" fmla="*/ 744406 h 873131"/>
                  <a:gd name="connsiteX641" fmla="*/ 1007941 w 1122648"/>
                  <a:gd name="connsiteY641" fmla="*/ 744141 h 873131"/>
                  <a:gd name="connsiteX642" fmla="*/ 1006442 w 1122648"/>
                  <a:gd name="connsiteY642" fmla="*/ 744406 h 873131"/>
                  <a:gd name="connsiteX643" fmla="*/ 1004944 w 1122648"/>
                  <a:gd name="connsiteY643" fmla="*/ 742642 h 873131"/>
                  <a:gd name="connsiteX644" fmla="*/ 1006089 w 1122648"/>
                  <a:gd name="connsiteY644" fmla="*/ 741143 h 873131"/>
                  <a:gd name="connsiteX645" fmla="*/ 1006971 w 1122648"/>
                  <a:gd name="connsiteY645" fmla="*/ 740526 h 873131"/>
                  <a:gd name="connsiteX646" fmla="*/ 1008735 w 1122648"/>
                  <a:gd name="connsiteY646" fmla="*/ 740791 h 873131"/>
                  <a:gd name="connsiteX647" fmla="*/ 1010762 w 1122648"/>
                  <a:gd name="connsiteY647" fmla="*/ 742819 h 873131"/>
                  <a:gd name="connsiteX648" fmla="*/ 1012526 w 1122648"/>
                  <a:gd name="connsiteY648" fmla="*/ 741408 h 873131"/>
                  <a:gd name="connsiteX649" fmla="*/ 1011644 w 1122648"/>
                  <a:gd name="connsiteY649" fmla="*/ 739645 h 873131"/>
                  <a:gd name="connsiteX650" fmla="*/ 1013672 w 1122648"/>
                  <a:gd name="connsiteY650" fmla="*/ 735589 h 873131"/>
                  <a:gd name="connsiteX651" fmla="*/ 1014818 w 1122648"/>
                  <a:gd name="connsiteY651" fmla="*/ 734972 h 873131"/>
                  <a:gd name="connsiteX652" fmla="*/ 1016846 w 1122648"/>
                  <a:gd name="connsiteY652" fmla="*/ 736999 h 873131"/>
                  <a:gd name="connsiteX653" fmla="*/ 1017463 w 1122648"/>
                  <a:gd name="connsiteY653" fmla="*/ 738763 h 873131"/>
                  <a:gd name="connsiteX654" fmla="*/ 1018610 w 1122648"/>
                  <a:gd name="connsiteY654" fmla="*/ 738234 h 873131"/>
                  <a:gd name="connsiteX655" fmla="*/ 1019227 w 1122648"/>
                  <a:gd name="connsiteY655" fmla="*/ 736206 h 873131"/>
                  <a:gd name="connsiteX656" fmla="*/ 1020637 w 1122648"/>
                  <a:gd name="connsiteY656" fmla="*/ 735060 h 873131"/>
                  <a:gd name="connsiteX657" fmla="*/ 1019491 w 1122648"/>
                  <a:gd name="connsiteY657" fmla="*/ 733296 h 873131"/>
                  <a:gd name="connsiteX658" fmla="*/ 1022401 w 1122648"/>
                  <a:gd name="connsiteY658" fmla="*/ 733914 h 873131"/>
                  <a:gd name="connsiteX659" fmla="*/ 1022136 w 1122648"/>
                  <a:gd name="connsiteY659" fmla="*/ 731533 h 873131"/>
                  <a:gd name="connsiteX660" fmla="*/ 1025310 w 1122648"/>
                  <a:gd name="connsiteY660" fmla="*/ 731798 h 873131"/>
                  <a:gd name="connsiteX661" fmla="*/ 1025046 w 1122648"/>
                  <a:gd name="connsiteY661" fmla="*/ 730916 h 873131"/>
                  <a:gd name="connsiteX662" fmla="*/ 1026809 w 1122648"/>
                  <a:gd name="connsiteY662" fmla="*/ 731180 h 873131"/>
                  <a:gd name="connsiteX663" fmla="*/ 1027691 w 1122648"/>
                  <a:gd name="connsiteY663" fmla="*/ 731798 h 873131"/>
                  <a:gd name="connsiteX664" fmla="*/ 1028308 w 1122648"/>
                  <a:gd name="connsiteY664" fmla="*/ 730387 h 873131"/>
                  <a:gd name="connsiteX665" fmla="*/ 1027691 w 1122648"/>
                  <a:gd name="connsiteY665" fmla="*/ 728888 h 873131"/>
                  <a:gd name="connsiteX666" fmla="*/ 1027691 w 1122648"/>
                  <a:gd name="connsiteY666" fmla="*/ 727125 h 873131"/>
                  <a:gd name="connsiteX667" fmla="*/ 1030336 w 1122648"/>
                  <a:gd name="connsiteY667" fmla="*/ 728006 h 873131"/>
                  <a:gd name="connsiteX668" fmla="*/ 1031835 w 1122648"/>
                  <a:gd name="connsiteY668" fmla="*/ 726596 h 873131"/>
                  <a:gd name="connsiteX669" fmla="*/ 1032099 w 1122648"/>
                  <a:gd name="connsiteY669" fmla="*/ 723422 h 873131"/>
                  <a:gd name="connsiteX670" fmla="*/ 1033598 w 1122648"/>
                  <a:gd name="connsiteY670" fmla="*/ 724568 h 873131"/>
                  <a:gd name="connsiteX671" fmla="*/ 1035097 w 1122648"/>
                  <a:gd name="connsiteY671" fmla="*/ 722540 h 873131"/>
                  <a:gd name="connsiteX672" fmla="*/ 1032716 w 1122648"/>
                  <a:gd name="connsiteY672" fmla="*/ 718220 h 873131"/>
                  <a:gd name="connsiteX673" fmla="*/ 1030424 w 1122648"/>
                  <a:gd name="connsiteY673" fmla="*/ 717602 h 873131"/>
                  <a:gd name="connsiteX674" fmla="*/ 1032716 w 1122648"/>
                  <a:gd name="connsiteY674" fmla="*/ 717338 h 873131"/>
                  <a:gd name="connsiteX675" fmla="*/ 1032187 w 1122648"/>
                  <a:gd name="connsiteY675" fmla="*/ 714164 h 873131"/>
                  <a:gd name="connsiteX676" fmla="*/ 1033334 w 1122648"/>
                  <a:gd name="connsiteY676" fmla="*/ 713547 h 873131"/>
                  <a:gd name="connsiteX677" fmla="*/ 1034480 w 1122648"/>
                  <a:gd name="connsiteY677" fmla="*/ 711166 h 873131"/>
                  <a:gd name="connsiteX678" fmla="*/ 1036507 w 1122648"/>
                  <a:gd name="connsiteY678" fmla="*/ 714340 h 873131"/>
                  <a:gd name="connsiteX679" fmla="*/ 1040299 w 1122648"/>
                  <a:gd name="connsiteY679" fmla="*/ 712841 h 873131"/>
                  <a:gd name="connsiteX680" fmla="*/ 1040034 w 1122648"/>
                  <a:gd name="connsiteY680" fmla="*/ 710549 h 873131"/>
                  <a:gd name="connsiteX681" fmla="*/ 1043297 w 1122648"/>
                  <a:gd name="connsiteY681" fmla="*/ 713194 h 873131"/>
                  <a:gd name="connsiteX682" fmla="*/ 1044443 w 1122648"/>
                  <a:gd name="connsiteY682" fmla="*/ 711166 h 873131"/>
                  <a:gd name="connsiteX683" fmla="*/ 1046471 w 1122648"/>
                  <a:gd name="connsiteY683" fmla="*/ 710549 h 873131"/>
                  <a:gd name="connsiteX684" fmla="*/ 1048234 w 1122648"/>
                  <a:gd name="connsiteY684" fmla="*/ 708786 h 873131"/>
                  <a:gd name="connsiteX685" fmla="*/ 1043826 w 1122648"/>
                  <a:gd name="connsiteY685" fmla="*/ 708786 h 873131"/>
                  <a:gd name="connsiteX686" fmla="*/ 1043561 w 1122648"/>
                  <a:gd name="connsiteY686" fmla="*/ 706141 h 873131"/>
                  <a:gd name="connsiteX687" fmla="*/ 1044707 w 1122648"/>
                  <a:gd name="connsiteY687" fmla="*/ 707287 h 873131"/>
                  <a:gd name="connsiteX688" fmla="*/ 1045324 w 1122648"/>
                  <a:gd name="connsiteY688" fmla="*/ 706141 h 873131"/>
                  <a:gd name="connsiteX689" fmla="*/ 1046206 w 1122648"/>
                  <a:gd name="connsiteY689" fmla="*/ 707287 h 873131"/>
                  <a:gd name="connsiteX690" fmla="*/ 1049115 w 1122648"/>
                  <a:gd name="connsiteY690" fmla="*/ 707287 h 873131"/>
                  <a:gd name="connsiteX691" fmla="*/ 1050526 w 1122648"/>
                  <a:gd name="connsiteY691" fmla="*/ 706141 h 873131"/>
                  <a:gd name="connsiteX692" fmla="*/ 1049380 w 1122648"/>
                  <a:gd name="connsiteY692" fmla="*/ 705259 h 873131"/>
                  <a:gd name="connsiteX693" fmla="*/ 1050526 w 1122648"/>
                  <a:gd name="connsiteY693" fmla="*/ 705259 h 873131"/>
                  <a:gd name="connsiteX694" fmla="*/ 1051408 w 1122648"/>
                  <a:gd name="connsiteY694" fmla="*/ 701732 h 873131"/>
                  <a:gd name="connsiteX695" fmla="*/ 1049644 w 1122648"/>
                  <a:gd name="connsiteY695" fmla="*/ 701468 h 873131"/>
                  <a:gd name="connsiteX696" fmla="*/ 1048146 w 1122648"/>
                  <a:gd name="connsiteY696" fmla="*/ 700586 h 873131"/>
                  <a:gd name="connsiteX697" fmla="*/ 1049028 w 1122648"/>
                  <a:gd name="connsiteY697" fmla="*/ 699704 h 873131"/>
                  <a:gd name="connsiteX698" fmla="*/ 1047529 w 1122648"/>
                  <a:gd name="connsiteY698" fmla="*/ 697059 h 873131"/>
                  <a:gd name="connsiteX699" fmla="*/ 1049028 w 1122648"/>
                  <a:gd name="connsiteY699" fmla="*/ 697324 h 873131"/>
                  <a:gd name="connsiteX700" fmla="*/ 1050173 w 1122648"/>
                  <a:gd name="connsiteY700" fmla="*/ 699087 h 873131"/>
                  <a:gd name="connsiteX701" fmla="*/ 1050438 w 1122648"/>
                  <a:gd name="connsiteY701" fmla="*/ 698823 h 873131"/>
                  <a:gd name="connsiteX702" fmla="*/ 1052202 w 1122648"/>
                  <a:gd name="connsiteY702" fmla="*/ 699969 h 873131"/>
                  <a:gd name="connsiteX703" fmla="*/ 1051673 w 1122648"/>
                  <a:gd name="connsiteY703" fmla="*/ 697059 h 873131"/>
                  <a:gd name="connsiteX704" fmla="*/ 1054582 w 1122648"/>
                  <a:gd name="connsiteY704" fmla="*/ 698205 h 873131"/>
                  <a:gd name="connsiteX705" fmla="*/ 1056345 w 1122648"/>
                  <a:gd name="connsiteY705" fmla="*/ 697059 h 873131"/>
                  <a:gd name="connsiteX706" fmla="*/ 1054318 w 1122648"/>
                  <a:gd name="connsiteY706" fmla="*/ 695296 h 873131"/>
                  <a:gd name="connsiteX707" fmla="*/ 1053171 w 1122648"/>
                  <a:gd name="connsiteY707" fmla="*/ 697059 h 873131"/>
                  <a:gd name="connsiteX708" fmla="*/ 1053436 w 1122648"/>
                  <a:gd name="connsiteY708" fmla="*/ 694150 h 873131"/>
                  <a:gd name="connsiteX709" fmla="*/ 1052554 w 1122648"/>
                  <a:gd name="connsiteY709" fmla="*/ 693268 h 873131"/>
                  <a:gd name="connsiteX710" fmla="*/ 1052554 w 1122648"/>
                  <a:gd name="connsiteY710" fmla="*/ 688331 h 873131"/>
                  <a:gd name="connsiteX711" fmla="*/ 1054582 w 1122648"/>
                  <a:gd name="connsiteY711" fmla="*/ 688948 h 873131"/>
                  <a:gd name="connsiteX712" fmla="*/ 1054582 w 1122648"/>
                  <a:gd name="connsiteY712" fmla="*/ 690094 h 873131"/>
                  <a:gd name="connsiteX713" fmla="*/ 1058109 w 1122648"/>
                  <a:gd name="connsiteY713" fmla="*/ 691505 h 873131"/>
                  <a:gd name="connsiteX714" fmla="*/ 1058638 w 1122648"/>
                  <a:gd name="connsiteY714" fmla="*/ 693533 h 873131"/>
                  <a:gd name="connsiteX715" fmla="*/ 1060137 w 1122648"/>
                  <a:gd name="connsiteY715" fmla="*/ 691505 h 873131"/>
                  <a:gd name="connsiteX716" fmla="*/ 1061019 w 1122648"/>
                  <a:gd name="connsiteY716" fmla="*/ 694414 h 873131"/>
                  <a:gd name="connsiteX717" fmla="*/ 1062782 w 1122648"/>
                  <a:gd name="connsiteY717" fmla="*/ 694150 h 873131"/>
                  <a:gd name="connsiteX718" fmla="*/ 1063399 w 1122648"/>
                  <a:gd name="connsiteY718" fmla="*/ 693268 h 873131"/>
                  <a:gd name="connsiteX719" fmla="*/ 1063135 w 1122648"/>
                  <a:gd name="connsiteY719" fmla="*/ 690358 h 873131"/>
                  <a:gd name="connsiteX720" fmla="*/ 1061988 w 1122648"/>
                  <a:gd name="connsiteY720" fmla="*/ 687713 h 873131"/>
                  <a:gd name="connsiteX721" fmla="*/ 1060225 w 1122648"/>
                  <a:gd name="connsiteY721" fmla="*/ 686832 h 873131"/>
                  <a:gd name="connsiteX722" fmla="*/ 1056698 w 1122648"/>
                  <a:gd name="connsiteY722" fmla="*/ 685950 h 873131"/>
                  <a:gd name="connsiteX723" fmla="*/ 1058197 w 1122648"/>
                  <a:gd name="connsiteY723" fmla="*/ 683922 h 873131"/>
                  <a:gd name="connsiteX724" fmla="*/ 1057845 w 1122648"/>
                  <a:gd name="connsiteY724" fmla="*/ 681542 h 873131"/>
                  <a:gd name="connsiteX725" fmla="*/ 1058726 w 1122648"/>
                  <a:gd name="connsiteY725" fmla="*/ 681542 h 873131"/>
                  <a:gd name="connsiteX726" fmla="*/ 1060225 w 1122648"/>
                  <a:gd name="connsiteY726" fmla="*/ 677133 h 873131"/>
                  <a:gd name="connsiteX727" fmla="*/ 1056698 w 1122648"/>
                  <a:gd name="connsiteY727" fmla="*/ 676869 h 873131"/>
                  <a:gd name="connsiteX728" fmla="*/ 1054670 w 1122648"/>
                  <a:gd name="connsiteY728" fmla="*/ 680660 h 873131"/>
                  <a:gd name="connsiteX729" fmla="*/ 1052025 w 1122648"/>
                  <a:gd name="connsiteY729" fmla="*/ 679778 h 873131"/>
                  <a:gd name="connsiteX730" fmla="*/ 1052025 w 1122648"/>
                  <a:gd name="connsiteY730" fmla="*/ 677133 h 873131"/>
                  <a:gd name="connsiteX731" fmla="*/ 1054935 w 1122648"/>
                  <a:gd name="connsiteY731" fmla="*/ 678632 h 873131"/>
                  <a:gd name="connsiteX732" fmla="*/ 1056963 w 1122648"/>
                  <a:gd name="connsiteY732" fmla="*/ 671667 h 873131"/>
                  <a:gd name="connsiteX733" fmla="*/ 1059872 w 1122648"/>
                  <a:gd name="connsiteY733" fmla="*/ 671931 h 873131"/>
                  <a:gd name="connsiteX734" fmla="*/ 1061900 w 1122648"/>
                  <a:gd name="connsiteY734" fmla="*/ 671931 h 873131"/>
                  <a:gd name="connsiteX735" fmla="*/ 1062165 w 1122648"/>
                  <a:gd name="connsiteY735" fmla="*/ 669286 h 873131"/>
                  <a:gd name="connsiteX736" fmla="*/ 1061283 w 1122648"/>
                  <a:gd name="connsiteY736" fmla="*/ 668140 h 873131"/>
                  <a:gd name="connsiteX737" fmla="*/ 1058903 w 1122648"/>
                  <a:gd name="connsiteY737" fmla="*/ 667876 h 873131"/>
                  <a:gd name="connsiteX738" fmla="*/ 1058021 w 1122648"/>
                  <a:gd name="connsiteY738" fmla="*/ 669903 h 873131"/>
                  <a:gd name="connsiteX739" fmla="*/ 1055376 w 1122648"/>
                  <a:gd name="connsiteY739" fmla="*/ 668757 h 873131"/>
                  <a:gd name="connsiteX740" fmla="*/ 1055640 w 1122648"/>
                  <a:gd name="connsiteY740" fmla="*/ 666994 h 873131"/>
                  <a:gd name="connsiteX741" fmla="*/ 1055023 w 1122648"/>
                  <a:gd name="connsiteY741" fmla="*/ 665495 h 873131"/>
                  <a:gd name="connsiteX742" fmla="*/ 1055287 w 1122648"/>
                  <a:gd name="connsiteY742" fmla="*/ 666112 h 873131"/>
                  <a:gd name="connsiteX743" fmla="*/ 1057932 w 1122648"/>
                  <a:gd name="connsiteY743" fmla="*/ 666112 h 873131"/>
                  <a:gd name="connsiteX744" fmla="*/ 1056169 w 1122648"/>
                  <a:gd name="connsiteY744" fmla="*/ 663203 h 873131"/>
                  <a:gd name="connsiteX745" fmla="*/ 1053260 w 1122648"/>
                  <a:gd name="connsiteY745" fmla="*/ 662056 h 873131"/>
                  <a:gd name="connsiteX746" fmla="*/ 1051761 w 1122648"/>
                  <a:gd name="connsiteY746" fmla="*/ 658882 h 873131"/>
                  <a:gd name="connsiteX747" fmla="*/ 1053260 w 1122648"/>
                  <a:gd name="connsiteY747" fmla="*/ 658001 h 873131"/>
                  <a:gd name="connsiteX748" fmla="*/ 1054670 w 1122648"/>
                  <a:gd name="connsiteY748" fmla="*/ 659764 h 873131"/>
                  <a:gd name="connsiteX749" fmla="*/ 1054670 w 1122648"/>
                  <a:gd name="connsiteY749" fmla="*/ 657736 h 873131"/>
                  <a:gd name="connsiteX750" fmla="*/ 1056698 w 1122648"/>
                  <a:gd name="connsiteY750" fmla="*/ 660029 h 873131"/>
                  <a:gd name="connsiteX751" fmla="*/ 1057227 w 1122648"/>
                  <a:gd name="connsiteY751" fmla="*/ 657119 h 873131"/>
                  <a:gd name="connsiteX752" fmla="*/ 1057492 w 1122648"/>
                  <a:gd name="connsiteY752" fmla="*/ 660910 h 873131"/>
                  <a:gd name="connsiteX753" fmla="*/ 1058990 w 1122648"/>
                  <a:gd name="connsiteY753" fmla="*/ 661792 h 873131"/>
                  <a:gd name="connsiteX754" fmla="*/ 1059255 w 1122648"/>
                  <a:gd name="connsiteY754" fmla="*/ 658001 h 873131"/>
                  <a:gd name="connsiteX755" fmla="*/ 1060401 w 1122648"/>
                  <a:gd name="connsiteY755" fmla="*/ 660381 h 873131"/>
                  <a:gd name="connsiteX756" fmla="*/ 1060401 w 1122648"/>
                  <a:gd name="connsiteY756" fmla="*/ 662674 h 873131"/>
                  <a:gd name="connsiteX757" fmla="*/ 1061900 w 1122648"/>
                  <a:gd name="connsiteY757" fmla="*/ 663820 h 873131"/>
                  <a:gd name="connsiteX758" fmla="*/ 1063046 w 1122648"/>
                  <a:gd name="connsiteY758" fmla="*/ 663291 h 873131"/>
                  <a:gd name="connsiteX759" fmla="*/ 1063663 w 1122648"/>
                  <a:gd name="connsiteY759" fmla="*/ 661527 h 873131"/>
                  <a:gd name="connsiteX760" fmla="*/ 1063663 w 1122648"/>
                  <a:gd name="connsiteY760" fmla="*/ 657736 h 873131"/>
                  <a:gd name="connsiteX761" fmla="*/ 1060137 w 1122648"/>
                  <a:gd name="connsiteY761" fmla="*/ 655091 h 873131"/>
                  <a:gd name="connsiteX762" fmla="*/ 1064545 w 1122648"/>
                  <a:gd name="connsiteY762" fmla="*/ 654474 h 873131"/>
                  <a:gd name="connsiteX763" fmla="*/ 1063399 w 1122648"/>
                  <a:gd name="connsiteY763" fmla="*/ 653592 h 873131"/>
                  <a:gd name="connsiteX764" fmla="*/ 1064281 w 1122648"/>
                  <a:gd name="connsiteY764" fmla="*/ 653328 h 873131"/>
                  <a:gd name="connsiteX765" fmla="*/ 1064016 w 1122648"/>
                  <a:gd name="connsiteY765" fmla="*/ 651917 h 873131"/>
                  <a:gd name="connsiteX766" fmla="*/ 1065515 w 1122648"/>
                  <a:gd name="connsiteY766" fmla="*/ 651917 h 873131"/>
                  <a:gd name="connsiteX767" fmla="*/ 1065515 w 1122648"/>
                  <a:gd name="connsiteY767" fmla="*/ 650418 h 873131"/>
                  <a:gd name="connsiteX768" fmla="*/ 1067278 w 1122648"/>
                  <a:gd name="connsiteY768" fmla="*/ 649536 h 873131"/>
                  <a:gd name="connsiteX769" fmla="*/ 1065779 w 1122648"/>
                  <a:gd name="connsiteY769" fmla="*/ 647773 h 873131"/>
                  <a:gd name="connsiteX770" fmla="*/ 1064281 w 1122648"/>
                  <a:gd name="connsiteY770" fmla="*/ 646010 h 873131"/>
                  <a:gd name="connsiteX771" fmla="*/ 1066044 w 1122648"/>
                  <a:gd name="connsiteY771" fmla="*/ 646274 h 873131"/>
                  <a:gd name="connsiteX772" fmla="*/ 1066926 w 1122648"/>
                  <a:gd name="connsiteY772" fmla="*/ 648919 h 873131"/>
                  <a:gd name="connsiteX773" fmla="*/ 1069571 w 1122648"/>
                  <a:gd name="connsiteY773" fmla="*/ 648038 h 873131"/>
                  <a:gd name="connsiteX774" fmla="*/ 1068689 w 1122648"/>
                  <a:gd name="connsiteY774" fmla="*/ 645128 h 873131"/>
                  <a:gd name="connsiteX775" fmla="*/ 1071599 w 1122648"/>
                  <a:gd name="connsiteY775" fmla="*/ 643982 h 873131"/>
                  <a:gd name="connsiteX776" fmla="*/ 1070717 w 1122648"/>
                  <a:gd name="connsiteY776" fmla="*/ 641601 h 873131"/>
                  <a:gd name="connsiteX777" fmla="*/ 1068689 w 1122648"/>
                  <a:gd name="connsiteY777" fmla="*/ 641337 h 873131"/>
                  <a:gd name="connsiteX778" fmla="*/ 1068072 w 1122648"/>
                  <a:gd name="connsiteY778" fmla="*/ 638692 h 873131"/>
                  <a:gd name="connsiteX779" fmla="*/ 1069218 w 1122648"/>
                  <a:gd name="connsiteY779" fmla="*/ 637193 h 873131"/>
                  <a:gd name="connsiteX780" fmla="*/ 1070364 w 1122648"/>
                  <a:gd name="connsiteY780" fmla="*/ 635782 h 873131"/>
                  <a:gd name="connsiteX781" fmla="*/ 1071775 w 1122648"/>
                  <a:gd name="connsiteY781" fmla="*/ 634019 h 873131"/>
                  <a:gd name="connsiteX782" fmla="*/ 1070893 w 1122648"/>
                  <a:gd name="connsiteY782" fmla="*/ 631109 h 873131"/>
                  <a:gd name="connsiteX783" fmla="*/ 1070276 w 1122648"/>
                  <a:gd name="connsiteY783" fmla="*/ 629081 h 873131"/>
                  <a:gd name="connsiteX784" fmla="*/ 1067366 w 1122648"/>
                  <a:gd name="connsiteY784" fmla="*/ 629346 h 873131"/>
                  <a:gd name="connsiteX785" fmla="*/ 1064721 w 1122648"/>
                  <a:gd name="connsiteY785" fmla="*/ 628200 h 873131"/>
                  <a:gd name="connsiteX786" fmla="*/ 1064721 w 1122648"/>
                  <a:gd name="connsiteY786" fmla="*/ 626789 h 873131"/>
                  <a:gd name="connsiteX787" fmla="*/ 1065339 w 1122648"/>
                  <a:gd name="connsiteY787" fmla="*/ 627406 h 873131"/>
                  <a:gd name="connsiteX788" fmla="*/ 1067631 w 1122648"/>
                  <a:gd name="connsiteY788" fmla="*/ 626172 h 873131"/>
                  <a:gd name="connsiteX789" fmla="*/ 1071687 w 1122648"/>
                  <a:gd name="connsiteY789" fmla="*/ 625907 h 873131"/>
                  <a:gd name="connsiteX790" fmla="*/ 1070540 w 1122648"/>
                  <a:gd name="connsiteY790" fmla="*/ 625026 h 873131"/>
                  <a:gd name="connsiteX791" fmla="*/ 1073979 w 1122648"/>
                  <a:gd name="connsiteY791" fmla="*/ 622381 h 873131"/>
                  <a:gd name="connsiteX792" fmla="*/ 1072569 w 1122648"/>
                  <a:gd name="connsiteY792" fmla="*/ 621234 h 873131"/>
                  <a:gd name="connsiteX793" fmla="*/ 1073098 w 1122648"/>
                  <a:gd name="connsiteY793" fmla="*/ 619471 h 873131"/>
                  <a:gd name="connsiteX794" fmla="*/ 1076360 w 1122648"/>
                  <a:gd name="connsiteY794" fmla="*/ 619471 h 873131"/>
                  <a:gd name="connsiteX795" fmla="*/ 1078652 w 1122648"/>
                  <a:gd name="connsiteY795" fmla="*/ 623879 h 873131"/>
                  <a:gd name="connsiteX796" fmla="*/ 1079798 w 1122648"/>
                  <a:gd name="connsiteY796" fmla="*/ 625378 h 873131"/>
                  <a:gd name="connsiteX797" fmla="*/ 1081297 w 1122648"/>
                  <a:gd name="connsiteY797" fmla="*/ 623350 h 873131"/>
                  <a:gd name="connsiteX798" fmla="*/ 1080151 w 1122648"/>
                  <a:gd name="connsiteY798" fmla="*/ 620705 h 873131"/>
                  <a:gd name="connsiteX799" fmla="*/ 1083678 w 1122648"/>
                  <a:gd name="connsiteY799" fmla="*/ 621852 h 873131"/>
                  <a:gd name="connsiteX800" fmla="*/ 1085441 w 1122648"/>
                  <a:gd name="connsiteY800" fmla="*/ 620705 h 873131"/>
                  <a:gd name="connsiteX801" fmla="*/ 1085088 w 1122648"/>
                  <a:gd name="connsiteY801" fmla="*/ 618060 h 873131"/>
                  <a:gd name="connsiteX802" fmla="*/ 1081032 w 1122648"/>
                  <a:gd name="connsiteY802" fmla="*/ 616297 h 873131"/>
                  <a:gd name="connsiteX803" fmla="*/ 1081914 w 1122648"/>
                  <a:gd name="connsiteY803" fmla="*/ 616032 h 873131"/>
                  <a:gd name="connsiteX804" fmla="*/ 1079622 w 1122648"/>
                  <a:gd name="connsiteY804" fmla="*/ 611360 h 873131"/>
                  <a:gd name="connsiteX805" fmla="*/ 1073803 w 1122648"/>
                  <a:gd name="connsiteY805" fmla="*/ 611360 h 873131"/>
                  <a:gd name="connsiteX806" fmla="*/ 1071158 w 1122648"/>
                  <a:gd name="connsiteY806" fmla="*/ 609332 h 873131"/>
                  <a:gd name="connsiteX807" fmla="*/ 1070540 w 1122648"/>
                  <a:gd name="connsiteY807" fmla="*/ 607039 h 873131"/>
                  <a:gd name="connsiteX808" fmla="*/ 1072569 w 1122648"/>
                  <a:gd name="connsiteY808" fmla="*/ 605893 h 873131"/>
                  <a:gd name="connsiteX809" fmla="*/ 1075478 w 1122648"/>
                  <a:gd name="connsiteY809" fmla="*/ 610566 h 873131"/>
                  <a:gd name="connsiteX810" fmla="*/ 1082179 w 1122648"/>
                  <a:gd name="connsiteY810" fmla="*/ 610566 h 873131"/>
                  <a:gd name="connsiteX811" fmla="*/ 1081561 w 1122648"/>
                  <a:gd name="connsiteY811" fmla="*/ 608274 h 873131"/>
                  <a:gd name="connsiteX812" fmla="*/ 1080945 w 1122648"/>
                  <a:gd name="connsiteY812" fmla="*/ 606510 h 873131"/>
                  <a:gd name="connsiteX813" fmla="*/ 1080416 w 1122648"/>
                  <a:gd name="connsiteY813" fmla="*/ 605364 h 873131"/>
                  <a:gd name="connsiteX814" fmla="*/ 1081826 w 1122648"/>
                  <a:gd name="connsiteY814" fmla="*/ 605364 h 873131"/>
                  <a:gd name="connsiteX815" fmla="*/ 1079798 w 1122648"/>
                  <a:gd name="connsiteY815" fmla="*/ 602719 h 873131"/>
                  <a:gd name="connsiteX816" fmla="*/ 1078035 w 1122648"/>
                  <a:gd name="connsiteY816" fmla="*/ 603601 h 873131"/>
                  <a:gd name="connsiteX817" fmla="*/ 1079534 w 1122648"/>
                  <a:gd name="connsiteY817" fmla="*/ 601573 h 873131"/>
                  <a:gd name="connsiteX818" fmla="*/ 1075743 w 1122648"/>
                  <a:gd name="connsiteY818" fmla="*/ 601573 h 873131"/>
                  <a:gd name="connsiteX819" fmla="*/ 1074596 w 1122648"/>
                  <a:gd name="connsiteY819" fmla="*/ 601573 h 873131"/>
                  <a:gd name="connsiteX820" fmla="*/ 1073979 w 1122648"/>
                  <a:gd name="connsiteY820" fmla="*/ 598663 h 873131"/>
                  <a:gd name="connsiteX821" fmla="*/ 1076007 w 1122648"/>
                  <a:gd name="connsiteY821" fmla="*/ 596283 h 873131"/>
                  <a:gd name="connsiteX822" fmla="*/ 1076889 w 1122648"/>
                  <a:gd name="connsiteY822" fmla="*/ 597429 h 873131"/>
                  <a:gd name="connsiteX823" fmla="*/ 1079798 w 1122648"/>
                  <a:gd name="connsiteY823" fmla="*/ 597164 h 873131"/>
                  <a:gd name="connsiteX824" fmla="*/ 1081297 w 1122648"/>
                  <a:gd name="connsiteY824" fmla="*/ 598575 h 873131"/>
                  <a:gd name="connsiteX825" fmla="*/ 1082179 w 1122648"/>
                  <a:gd name="connsiteY825" fmla="*/ 597429 h 873131"/>
                  <a:gd name="connsiteX826" fmla="*/ 1083061 w 1122648"/>
                  <a:gd name="connsiteY826" fmla="*/ 599810 h 873131"/>
                  <a:gd name="connsiteX827" fmla="*/ 1085441 w 1122648"/>
                  <a:gd name="connsiteY827" fmla="*/ 599545 h 873131"/>
                  <a:gd name="connsiteX828" fmla="*/ 1086058 w 1122648"/>
                  <a:gd name="connsiteY828" fmla="*/ 597253 h 873131"/>
                  <a:gd name="connsiteX829" fmla="*/ 1084912 w 1122648"/>
                  <a:gd name="connsiteY829" fmla="*/ 594343 h 873131"/>
                  <a:gd name="connsiteX830" fmla="*/ 1082003 w 1122648"/>
                  <a:gd name="connsiteY830" fmla="*/ 593461 h 873131"/>
                  <a:gd name="connsiteX831" fmla="*/ 1082003 w 1122648"/>
                  <a:gd name="connsiteY831" fmla="*/ 590816 h 873131"/>
                  <a:gd name="connsiteX832" fmla="*/ 1080239 w 1122648"/>
                  <a:gd name="connsiteY832" fmla="*/ 588171 h 873131"/>
                  <a:gd name="connsiteX833" fmla="*/ 1080239 w 1122648"/>
                  <a:gd name="connsiteY833" fmla="*/ 589935 h 873131"/>
                  <a:gd name="connsiteX834" fmla="*/ 1079093 w 1122648"/>
                  <a:gd name="connsiteY834" fmla="*/ 590816 h 873131"/>
                  <a:gd name="connsiteX835" fmla="*/ 1077947 w 1122648"/>
                  <a:gd name="connsiteY835" fmla="*/ 589935 h 873131"/>
                  <a:gd name="connsiteX836" fmla="*/ 1074156 w 1122648"/>
                  <a:gd name="connsiteY836" fmla="*/ 593461 h 873131"/>
                  <a:gd name="connsiteX837" fmla="*/ 1072128 w 1122648"/>
                  <a:gd name="connsiteY837" fmla="*/ 592580 h 873131"/>
                  <a:gd name="connsiteX838" fmla="*/ 1071246 w 1122648"/>
                  <a:gd name="connsiteY838" fmla="*/ 590816 h 873131"/>
                  <a:gd name="connsiteX839" fmla="*/ 1075566 w 1122648"/>
                  <a:gd name="connsiteY839" fmla="*/ 590552 h 873131"/>
                  <a:gd name="connsiteX840" fmla="*/ 1077329 w 1122648"/>
                  <a:gd name="connsiteY840" fmla="*/ 588788 h 873131"/>
                  <a:gd name="connsiteX841" fmla="*/ 1079093 w 1122648"/>
                  <a:gd name="connsiteY841" fmla="*/ 584380 h 873131"/>
                  <a:gd name="connsiteX842" fmla="*/ 1080856 w 1122648"/>
                  <a:gd name="connsiteY842" fmla="*/ 584380 h 873131"/>
                  <a:gd name="connsiteX843" fmla="*/ 1083501 w 1122648"/>
                  <a:gd name="connsiteY843" fmla="*/ 584116 h 873131"/>
                  <a:gd name="connsiteX844" fmla="*/ 1084383 w 1122648"/>
                  <a:gd name="connsiteY844" fmla="*/ 581823 h 873131"/>
                  <a:gd name="connsiteX845" fmla="*/ 1083501 w 1122648"/>
                  <a:gd name="connsiteY845" fmla="*/ 579178 h 873131"/>
                  <a:gd name="connsiteX846" fmla="*/ 1081738 w 1122648"/>
                  <a:gd name="connsiteY846" fmla="*/ 578032 h 873131"/>
                  <a:gd name="connsiteX847" fmla="*/ 1084648 w 1122648"/>
                  <a:gd name="connsiteY847" fmla="*/ 575740 h 873131"/>
                  <a:gd name="connsiteX848" fmla="*/ 1081385 w 1122648"/>
                  <a:gd name="connsiteY848" fmla="*/ 572566 h 873131"/>
                  <a:gd name="connsiteX849" fmla="*/ 1080503 w 1122648"/>
                  <a:gd name="connsiteY849" fmla="*/ 569656 h 873131"/>
                  <a:gd name="connsiteX850" fmla="*/ 1077594 w 1122648"/>
                  <a:gd name="connsiteY850" fmla="*/ 568774 h 873131"/>
                  <a:gd name="connsiteX851" fmla="*/ 1077858 w 1122648"/>
                  <a:gd name="connsiteY851" fmla="*/ 570538 h 873131"/>
                  <a:gd name="connsiteX852" fmla="*/ 1078740 w 1122648"/>
                  <a:gd name="connsiteY852" fmla="*/ 572566 h 873131"/>
                  <a:gd name="connsiteX853" fmla="*/ 1077329 w 1122648"/>
                  <a:gd name="connsiteY853" fmla="*/ 577238 h 873131"/>
                  <a:gd name="connsiteX854" fmla="*/ 1073803 w 1122648"/>
                  <a:gd name="connsiteY854" fmla="*/ 579884 h 873131"/>
                  <a:gd name="connsiteX855" fmla="*/ 1064457 w 1122648"/>
                  <a:gd name="connsiteY855" fmla="*/ 570890 h 873131"/>
                  <a:gd name="connsiteX856" fmla="*/ 1061283 w 1122648"/>
                  <a:gd name="connsiteY856" fmla="*/ 571155 h 873131"/>
                  <a:gd name="connsiteX857" fmla="*/ 1053965 w 1122648"/>
                  <a:gd name="connsiteY857" fmla="*/ 575563 h 873131"/>
                  <a:gd name="connsiteX858" fmla="*/ 1050438 w 1122648"/>
                  <a:gd name="connsiteY858" fmla="*/ 574682 h 873131"/>
                  <a:gd name="connsiteX859" fmla="*/ 1051849 w 1122648"/>
                  <a:gd name="connsiteY859" fmla="*/ 576709 h 873131"/>
                  <a:gd name="connsiteX860" fmla="*/ 1048322 w 1122648"/>
                  <a:gd name="connsiteY860" fmla="*/ 574417 h 873131"/>
                  <a:gd name="connsiteX861" fmla="*/ 1046030 w 1122648"/>
                  <a:gd name="connsiteY861" fmla="*/ 570626 h 873131"/>
                  <a:gd name="connsiteX862" fmla="*/ 1042856 w 1122648"/>
                  <a:gd name="connsiteY862" fmla="*/ 575034 h 873131"/>
                  <a:gd name="connsiteX863" fmla="*/ 1039065 w 1122648"/>
                  <a:gd name="connsiteY863" fmla="*/ 573888 h 873131"/>
                  <a:gd name="connsiteX864" fmla="*/ 1039681 w 1122648"/>
                  <a:gd name="connsiteY864" fmla="*/ 570626 h 873131"/>
                  <a:gd name="connsiteX865" fmla="*/ 1041445 w 1122648"/>
                  <a:gd name="connsiteY865" fmla="*/ 568333 h 873131"/>
                  <a:gd name="connsiteX866" fmla="*/ 1044355 w 1122648"/>
                  <a:gd name="connsiteY866" fmla="*/ 568951 h 873131"/>
                  <a:gd name="connsiteX867" fmla="*/ 1047264 w 1122648"/>
                  <a:gd name="connsiteY867" fmla="*/ 570097 h 873131"/>
                  <a:gd name="connsiteX868" fmla="*/ 1050173 w 1122648"/>
                  <a:gd name="connsiteY868" fmla="*/ 569480 h 873131"/>
                  <a:gd name="connsiteX869" fmla="*/ 1051320 w 1122648"/>
                  <a:gd name="connsiteY869" fmla="*/ 570361 h 873131"/>
                  <a:gd name="connsiteX870" fmla="*/ 1053348 w 1122648"/>
                  <a:gd name="connsiteY870" fmla="*/ 569215 h 873131"/>
                  <a:gd name="connsiteX871" fmla="*/ 1052202 w 1122648"/>
                  <a:gd name="connsiteY871" fmla="*/ 566570 h 873131"/>
                  <a:gd name="connsiteX872" fmla="*/ 1053348 w 1122648"/>
                  <a:gd name="connsiteY872" fmla="*/ 565424 h 873131"/>
                  <a:gd name="connsiteX873" fmla="*/ 1057139 w 1122648"/>
                  <a:gd name="connsiteY873" fmla="*/ 564807 h 873131"/>
                  <a:gd name="connsiteX874" fmla="*/ 1060049 w 1122648"/>
                  <a:gd name="connsiteY874" fmla="*/ 561897 h 873131"/>
                  <a:gd name="connsiteX875" fmla="*/ 1062341 w 1122648"/>
                  <a:gd name="connsiteY875" fmla="*/ 558370 h 873131"/>
                  <a:gd name="connsiteX876" fmla="*/ 1068513 w 1122648"/>
                  <a:gd name="connsiteY876" fmla="*/ 558635 h 873131"/>
                  <a:gd name="connsiteX877" fmla="*/ 1070276 w 1122648"/>
                  <a:gd name="connsiteY877" fmla="*/ 558370 h 873131"/>
                  <a:gd name="connsiteX878" fmla="*/ 1070276 w 1122648"/>
                  <a:gd name="connsiteY878" fmla="*/ 555725 h 873131"/>
                  <a:gd name="connsiteX879" fmla="*/ 1066749 w 1122648"/>
                  <a:gd name="connsiteY879" fmla="*/ 553080 h 873131"/>
                  <a:gd name="connsiteX880" fmla="*/ 1061195 w 1122648"/>
                  <a:gd name="connsiteY880" fmla="*/ 546115 h 873131"/>
                  <a:gd name="connsiteX881" fmla="*/ 1048940 w 1122648"/>
                  <a:gd name="connsiteY881" fmla="*/ 539943 h 873131"/>
                  <a:gd name="connsiteX882" fmla="*/ 1045677 w 1122648"/>
                  <a:gd name="connsiteY882" fmla="*/ 535535 h 873131"/>
                  <a:gd name="connsiteX883" fmla="*/ 1036331 w 1122648"/>
                  <a:gd name="connsiteY883" fmla="*/ 533507 h 873131"/>
                  <a:gd name="connsiteX884" fmla="*/ 1037830 w 1122648"/>
                  <a:gd name="connsiteY884" fmla="*/ 532625 h 873131"/>
                  <a:gd name="connsiteX885" fmla="*/ 1034656 w 1122648"/>
                  <a:gd name="connsiteY885" fmla="*/ 528834 h 873131"/>
                  <a:gd name="connsiteX886" fmla="*/ 1030248 w 1122648"/>
                  <a:gd name="connsiteY886" fmla="*/ 528834 h 873131"/>
                  <a:gd name="connsiteX887" fmla="*/ 1025927 w 1122648"/>
                  <a:gd name="connsiteY887" fmla="*/ 530862 h 873131"/>
                  <a:gd name="connsiteX888" fmla="*/ 1019756 w 1122648"/>
                  <a:gd name="connsiteY888" fmla="*/ 531479 h 873131"/>
                  <a:gd name="connsiteX889" fmla="*/ 1017728 w 1122648"/>
                  <a:gd name="connsiteY889" fmla="*/ 529187 h 873131"/>
                  <a:gd name="connsiteX890" fmla="*/ 1014201 w 1122648"/>
                  <a:gd name="connsiteY890" fmla="*/ 523632 h 873131"/>
                  <a:gd name="connsiteX891" fmla="*/ 1011291 w 1122648"/>
                  <a:gd name="connsiteY891" fmla="*/ 524514 h 873131"/>
                  <a:gd name="connsiteX892" fmla="*/ 1008911 w 1122648"/>
                  <a:gd name="connsiteY892" fmla="*/ 521604 h 873131"/>
                  <a:gd name="connsiteX893" fmla="*/ 1009793 w 1122648"/>
                  <a:gd name="connsiteY893" fmla="*/ 520105 h 873131"/>
                  <a:gd name="connsiteX894" fmla="*/ 1011820 w 1122648"/>
                  <a:gd name="connsiteY894" fmla="*/ 520370 h 873131"/>
                  <a:gd name="connsiteX895" fmla="*/ 1012702 w 1122648"/>
                  <a:gd name="connsiteY895" fmla="*/ 518959 h 873131"/>
                  <a:gd name="connsiteX896" fmla="*/ 1014465 w 1122648"/>
                  <a:gd name="connsiteY896" fmla="*/ 519841 h 873131"/>
                  <a:gd name="connsiteX897" fmla="*/ 1015083 w 1122648"/>
                  <a:gd name="connsiteY897" fmla="*/ 521869 h 873131"/>
                  <a:gd name="connsiteX898" fmla="*/ 1021519 w 1122648"/>
                  <a:gd name="connsiteY898" fmla="*/ 529716 h 873131"/>
                  <a:gd name="connsiteX899" fmla="*/ 1025310 w 1122648"/>
                  <a:gd name="connsiteY899" fmla="*/ 529098 h 873131"/>
                  <a:gd name="connsiteX900" fmla="*/ 1027691 w 1122648"/>
                  <a:gd name="connsiteY900" fmla="*/ 529098 h 873131"/>
                  <a:gd name="connsiteX901" fmla="*/ 1029719 w 1122648"/>
                  <a:gd name="connsiteY901" fmla="*/ 527071 h 873131"/>
                  <a:gd name="connsiteX902" fmla="*/ 1032628 w 1122648"/>
                  <a:gd name="connsiteY902" fmla="*/ 527071 h 873131"/>
                  <a:gd name="connsiteX903" fmla="*/ 1042239 w 1122648"/>
                  <a:gd name="connsiteY903" fmla="*/ 532890 h 873131"/>
                  <a:gd name="connsiteX904" fmla="*/ 1047793 w 1122648"/>
                  <a:gd name="connsiteY904" fmla="*/ 532625 h 873131"/>
                  <a:gd name="connsiteX905" fmla="*/ 1059167 w 1122648"/>
                  <a:gd name="connsiteY905" fmla="*/ 536152 h 873131"/>
                  <a:gd name="connsiteX906" fmla="*/ 1061812 w 1122648"/>
                  <a:gd name="connsiteY906" fmla="*/ 536152 h 873131"/>
                  <a:gd name="connsiteX907" fmla="*/ 1063223 w 1122648"/>
                  <a:gd name="connsiteY907" fmla="*/ 535535 h 873131"/>
                  <a:gd name="connsiteX908" fmla="*/ 1063487 w 1122648"/>
                  <a:gd name="connsiteY908" fmla="*/ 532008 h 873131"/>
                  <a:gd name="connsiteX909" fmla="*/ 1061459 w 1122648"/>
                  <a:gd name="connsiteY909" fmla="*/ 529098 h 873131"/>
                  <a:gd name="connsiteX910" fmla="*/ 1056786 w 1122648"/>
                  <a:gd name="connsiteY910" fmla="*/ 528834 h 873131"/>
                  <a:gd name="connsiteX911" fmla="*/ 1048940 w 1122648"/>
                  <a:gd name="connsiteY911" fmla="*/ 525043 h 873131"/>
                  <a:gd name="connsiteX912" fmla="*/ 1046911 w 1122648"/>
                  <a:gd name="connsiteY912" fmla="*/ 520105 h 873131"/>
                  <a:gd name="connsiteX913" fmla="*/ 1042239 w 1122648"/>
                  <a:gd name="connsiteY913" fmla="*/ 519576 h 873131"/>
                  <a:gd name="connsiteX914" fmla="*/ 1037565 w 1122648"/>
                  <a:gd name="connsiteY914" fmla="*/ 516931 h 873131"/>
                  <a:gd name="connsiteX915" fmla="*/ 1032011 w 1122648"/>
                  <a:gd name="connsiteY915" fmla="*/ 513404 h 873131"/>
                  <a:gd name="connsiteX916" fmla="*/ 1029983 w 1122648"/>
                  <a:gd name="connsiteY916" fmla="*/ 503442 h 873131"/>
                  <a:gd name="connsiteX917" fmla="*/ 1028220 w 1122648"/>
                  <a:gd name="connsiteY917" fmla="*/ 503442 h 873131"/>
                  <a:gd name="connsiteX918" fmla="*/ 1024693 w 1122648"/>
                  <a:gd name="connsiteY918" fmla="*/ 497358 h 873131"/>
                  <a:gd name="connsiteX919" fmla="*/ 1019756 w 1122648"/>
                  <a:gd name="connsiteY919" fmla="*/ 495330 h 873131"/>
                  <a:gd name="connsiteX920" fmla="*/ 1020020 w 1122648"/>
                  <a:gd name="connsiteY920" fmla="*/ 490040 h 873131"/>
                  <a:gd name="connsiteX921" fmla="*/ 1015347 w 1122648"/>
                  <a:gd name="connsiteY921" fmla="*/ 488894 h 873131"/>
                  <a:gd name="connsiteX922" fmla="*/ 1009793 w 1122648"/>
                  <a:gd name="connsiteY922" fmla="*/ 480430 h 873131"/>
                  <a:gd name="connsiteX923" fmla="*/ 1007148 w 1122648"/>
                  <a:gd name="connsiteY923" fmla="*/ 473464 h 873131"/>
                  <a:gd name="connsiteX924" fmla="*/ 1002739 w 1122648"/>
                  <a:gd name="connsiteY924" fmla="*/ 470819 h 873131"/>
                  <a:gd name="connsiteX925" fmla="*/ 1001240 w 1122648"/>
                  <a:gd name="connsiteY925" fmla="*/ 467292 h 873131"/>
                  <a:gd name="connsiteX926" fmla="*/ 988985 w 1122648"/>
                  <a:gd name="connsiteY926" fmla="*/ 466146 h 873131"/>
                  <a:gd name="connsiteX927" fmla="*/ 986604 w 1122648"/>
                  <a:gd name="connsiteY927" fmla="*/ 461738 h 873131"/>
                  <a:gd name="connsiteX928" fmla="*/ 981402 w 1122648"/>
                  <a:gd name="connsiteY928" fmla="*/ 460592 h 873131"/>
                  <a:gd name="connsiteX929" fmla="*/ 977347 w 1122648"/>
                  <a:gd name="connsiteY929" fmla="*/ 460856 h 873131"/>
                  <a:gd name="connsiteX930" fmla="*/ 975054 w 1122648"/>
                  <a:gd name="connsiteY930" fmla="*/ 459710 h 873131"/>
                  <a:gd name="connsiteX931" fmla="*/ 973555 w 1122648"/>
                  <a:gd name="connsiteY931" fmla="*/ 456800 h 873131"/>
                  <a:gd name="connsiteX932" fmla="*/ 974437 w 1122648"/>
                  <a:gd name="connsiteY932" fmla="*/ 454508 h 873131"/>
                  <a:gd name="connsiteX933" fmla="*/ 973908 w 1122648"/>
                  <a:gd name="connsiteY933" fmla="*/ 451334 h 873131"/>
                  <a:gd name="connsiteX934" fmla="*/ 974790 w 1122648"/>
                  <a:gd name="connsiteY934" fmla="*/ 448689 h 873131"/>
                  <a:gd name="connsiteX935" fmla="*/ 973026 w 1122648"/>
                  <a:gd name="connsiteY935" fmla="*/ 446044 h 873131"/>
                  <a:gd name="connsiteX936" fmla="*/ 974790 w 1122648"/>
                  <a:gd name="connsiteY936" fmla="*/ 445162 h 873131"/>
                  <a:gd name="connsiteX937" fmla="*/ 975672 w 1122648"/>
                  <a:gd name="connsiteY937" fmla="*/ 446926 h 873131"/>
                  <a:gd name="connsiteX938" fmla="*/ 977964 w 1122648"/>
                  <a:gd name="connsiteY938" fmla="*/ 445779 h 873131"/>
                  <a:gd name="connsiteX939" fmla="*/ 978846 w 1122648"/>
                  <a:gd name="connsiteY939" fmla="*/ 444016 h 873131"/>
                  <a:gd name="connsiteX940" fmla="*/ 978228 w 1122648"/>
                  <a:gd name="connsiteY940" fmla="*/ 439960 h 873131"/>
                  <a:gd name="connsiteX941" fmla="*/ 979727 w 1122648"/>
                  <a:gd name="connsiteY941" fmla="*/ 438461 h 873131"/>
                  <a:gd name="connsiteX942" fmla="*/ 982372 w 1122648"/>
                  <a:gd name="connsiteY942" fmla="*/ 439079 h 873131"/>
                  <a:gd name="connsiteX943" fmla="*/ 981490 w 1122648"/>
                  <a:gd name="connsiteY943" fmla="*/ 436433 h 873131"/>
                  <a:gd name="connsiteX944" fmla="*/ 984135 w 1122648"/>
                  <a:gd name="connsiteY944" fmla="*/ 436433 h 873131"/>
                  <a:gd name="connsiteX945" fmla="*/ 984135 w 1122648"/>
                  <a:gd name="connsiteY945" fmla="*/ 432378 h 873131"/>
                  <a:gd name="connsiteX946" fmla="*/ 987662 w 1122648"/>
                  <a:gd name="connsiteY946" fmla="*/ 429733 h 873131"/>
                  <a:gd name="connsiteX947" fmla="*/ 984753 w 1122648"/>
                  <a:gd name="connsiteY947" fmla="*/ 429733 h 873131"/>
                  <a:gd name="connsiteX948" fmla="*/ 982460 w 1122648"/>
                  <a:gd name="connsiteY948" fmla="*/ 427969 h 873131"/>
                  <a:gd name="connsiteX949" fmla="*/ 979815 w 1122648"/>
                  <a:gd name="connsiteY949" fmla="*/ 426823 h 873131"/>
                  <a:gd name="connsiteX950" fmla="*/ 980697 w 1122648"/>
                  <a:gd name="connsiteY950" fmla="*/ 424178 h 873131"/>
                  <a:gd name="connsiteX951" fmla="*/ 981579 w 1122648"/>
                  <a:gd name="connsiteY951" fmla="*/ 423561 h 873131"/>
                  <a:gd name="connsiteX952" fmla="*/ 985635 w 1122648"/>
                  <a:gd name="connsiteY952" fmla="*/ 425060 h 873131"/>
                  <a:gd name="connsiteX953" fmla="*/ 984753 w 1122648"/>
                  <a:gd name="connsiteY953" fmla="*/ 422767 h 873131"/>
                  <a:gd name="connsiteX954" fmla="*/ 985370 w 1122648"/>
                  <a:gd name="connsiteY954" fmla="*/ 422150 h 873131"/>
                  <a:gd name="connsiteX955" fmla="*/ 985899 w 1122648"/>
                  <a:gd name="connsiteY955" fmla="*/ 422767 h 873131"/>
                  <a:gd name="connsiteX956" fmla="*/ 988544 w 1122648"/>
                  <a:gd name="connsiteY956" fmla="*/ 428587 h 873131"/>
                  <a:gd name="connsiteX957" fmla="*/ 990572 w 1122648"/>
                  <a:gd name="connsiteY957" fmla="*/ 428851 h 873131"/>
                  <a:gd name="connsiteX958" fmla="*/ 993217 w 1122648"/>
                  <a:gd name="connsiteY958" fmla="*/ 427617 h 873131"/>
                  <a:gd name="connsiteX959" fmla="*/ 994098 w 1122648"/>
                  <a:gd name="connsiteY959" fmla="*/ 426206 h 873131"/>
                  <a:gd name="connsiteX960" fmla="*/ 991454 w 1122648"/>
                  <a:gd name="connsiteY960" fmla="*/ 422679 h 873131"/>
                  <a:gd name="connsiteX961" fmla="*/ 990836 w 1122648"/>
                  <a:gd name="connsiteY961" fmla="*/ 419152 h 873131"/>
                  <a:gd name="connsiteX962" fmla="*/ 991983 w 1122648"/>
                  <a:gd name="connsiteY962" fmla="*/ 418006 h 873131"/>
                  <a:gd name="connsiteX963" fmla="*/ 993481 w 1122648"/>
                  <a:gd name="connsiteY963" fmla="*/ 418006 h 873131"/>
                  <a:gd name="connsiteX964" fmla="*/ 994627 w 1122648"/>
                  <a:gd name="connsiteY964" fmla="*/ 420651 h 873131"/>
                  <a:gd name="connsiteX965" fmla="*/ 994980 w 1122648"/>
                  <a:gd name="connsiteY965" fmla="*/ 420916 h 873131"/>
                  <a:gd name="connsiteX966" fmla="*/ 995509 w 1122648"/>
                  <a:gd name="connsiteY966" fmla="*/ 419417 h 873131"/>
                  <a:gd name="connsiteX967" fmla="*/ 995774 w 1122648"/>
                  <a:gd name="connsiteY967" fmla="*/ 419152 h 873131"/>
                  <a:gd name="connsiteX968" fmla="*/ 996391 w 1122648"/>
                  <a:gd name="connsiteY968" fmla="*/ 419770 h 873131"/>
                  <a:gd name="connsiteX969" fmla="*/ 996391 w 1122648"/>
                  <a:gd name="connsiteY969" fmla="*/ 418006 h 873131"/>
                  <a:gd name="connsiteX970" fmla="*/ 995509 w 1122648"/>
                  <a:gd name="connsiteY970" fmla="*/ 416243 h 873131"/>
                  <a:gd name="connsiteX971" fmla="*/ 991718 w 1122648"/>
                  <a:gd name="connsiteY971" fmla="*/ 414215 h 873131"/>
                  <a:gd name="connsiteX972" fmla="*/ 991101 w 1122648"/>
                  <a:gd name="connsiteY972" fmla="*/ 416243 h 873131"/>
                  <a:gd name="connsiteX973" fmla="*/ 990836 w 1122648"/>
                  <a:gd name="connsiteY973" fmla="*/ 415978 h 873131"/>
                  <a:gd name="connsiteX974" fmla="*/ 990484 w 1122648"/>
                  <a:gd name="connsiteY974" fmla="*/ 414215 h 873131"/>
                  <a:gd name="connsiteX975" fmla="*/ 990836 w 1122648"/>
                  <a:gd name="connsiteY975" fmla="*/ 412452 h 873131"/>
                  <a:gd name="connsiteX976" fmla="*/ 992864 w 1122648"/>
                  <a:gd name="connsiteY976" fmla="*/ 412716 h 873131"/>
                  <a:gd name="connsiteX977" fmla="*/ 994363 w 1122648"/>
                  <a:gd name="connsiteY977" fmla="*/ 412187 h 873131"/>
                  <a:gd name="connsiteX978" fmla="*/ 994980 w 1122648"/>
                  <a:gd name="connsiteY978" fmla="*/ 414480 h 873131"/>
                  <a:gd name="connsiteX979" fmla="*/ 996743 w 1122648"/>
                  <a:gd name="connsiteY979" fmla="*/ 415097 h 873131"/>
                  <a:gd name="connsiteX980" fmla="*/ 998507 w 1122648"/>
                  <a:gd name="connsiteY980" fmla="*/ 413598 h 873131"/>
                  <a:gd name="connsiteX981" fmla="*/ 1002915 w 1122648"/>
                  <a:gd name="connsiteY981" fmla="*/ 411835 h 873131"/>
                  <a:gd name="connsiteX982" fmla="*/ 1001152 w 1122648"/>
                  <a:gd name="connsiteY982" fmla="*/ 409807 h 873131"/>
                  <a:gd name="connsiteX983" fmla="*/ 1001417 w 1122648"/>
                  <a:gd name="connsiteY983" fmla="*/ 408043 h 873131"/>
                  <a:gd name="connsiteX984" fmla="*/ 1002915 w 1122648"/>
                  <a:gd name="connsiteY984" fmla="*/ 407426 h 873131"/>
                  <a:gd name="connsiteX985" fmla="*/ 1005296 w 1122648"/>
                  <a:gd name="connsiteY985" fmla="*/ 406015 h 873131"/>
                  <a:gd name="connsiteX986" fmla="*/ 1006442 w 1122648"/>
                  <a:gd name="connsiteY986" fmla="*/ 405751 h 873131"/>
                  <a:gd name="connsiteX987" fmla="*/ 1004944 w 1122648"/>
                  <a:gd name="connsiteY987" fmla="*/ 406897 h 873131"/>
                  <a:gd name="connsiteX988" fmla="*/ 1004062 w 1122648"/>
                  <a:gd name="connsiteY988" fmla="*/ 407514 h 873131"/>
                  <a:gd name="connsiteX989" fmla="*/ 1006089 w 1122648"/>
                  <a:gd name="connsiteY989" fmla="*/ 408131 h 873131"/>
                  <a:gd name="connsiteX990" fmla="*/ 1004062 w 1122648"/>
                  <a:gd name="connsiteY990" fmla="*/ 409895 h 873131"/>
                  <a:gd name="connsiteX991" fmla="*/ 1005208 w 1122648"/>
                  <a:gd name="connsiteY991" fmla="*/ 411041 h 873131"/>
                  <a:gd name="connsiteX992" fmla="*/ 1005737 w 1122648"/>
                  <a:gd name="connsiteY992" fmla="*/ 411923 h 873131"/>
                  <a:gd name="connsiteX993" fmla="*/ 1006618 w 1122648"/>
                  <a:gd name="connsiteY993" fmla="*/ 412187 h 873131"/>
                  <a:gd name="connsiteX994" fmla="*/ 1007235 w 1122648"/>
                  <a:gd name="connsiteY994" fmla="*/ 410688 h 873131"/>
                  <a:gd name="connsiteX995" fmla="*/ 1006618 w 1122648"/>
                  <a:gd name="connsiteY995" fmla="*/ 408925 h 873131"/>
                  <a:gd name="connsiteX996" fmla="*/ 1008999 w 1122648"/>
                  <a:gd name="connsiteY996" fmla="*/ 407162 h 873131"/>
                  <a:gd name="connsiteX997" fmla="*/ 1010145 w 1122648"/>
                  <a:gd name="connsiteY997" fmla="*/ 406897 h 873131"/>
                  <a:gd name="connsiteX998" fmla="*/ 1011027 w 1122648"/>
                  <a:gd name="connsiteY998" fmla="*/ 406280 h 873131"/>
                  <a:gd name="connsiteX999" fmla="*/ 1010145 w 1122648"/>
                  <a:gd name="connsiteY999" fmla="*/ 404517 h 873131"/>
                  <a:gd name="connsiteX1000" fmla="*/ 1008117 w 1122648"/>
                  <a:gd name="connsiteY1000" fmla="*/ 403899 h 873131"/>
                  <a:gd name="connsiteX1001" fmla="*/ 1008735 w 1122648"/>
                  <a:gd name="connsiteY1001" fmla="*/ 403282 h 873131"/>
                  <a:gd name="connsiteX1002" fmla="*/ 1010762 w 1122648"/>
                  <a:gd name="connsiteY1002" fmla="*/ 403547 h 873131"/>
                  <a:gd name="connsiteX1003" fmla="*/ 1012173 w 1122648"/>
                  <a:gd name="connsiteY1003" fmla="*/ 404428 h 873131"/>
                  <a:gd name="connsiteX1004" fmla="*/ 1013319 w 1122648"/>
                  <a:gd name="connsiteY1004" fmla="*/ 406809 h 873131"/>
                  <a:gd name="connsiteX1005" fmla="*/ 1013848 w 1122648"/>
                  <a:gd name="connsiteY1005" fmla="*/ 406544 h 873131"/>
                  <a:gd name="connsiteX1006" fmla="*/ 1015083 w 1122648"/>
                  <a:gd name="connsiteY1006" fmla="*/ 404517 h 873131"/>
                  <a:gd name="connsiteX1007" fmla="*/ 1015700 w 1122648"/>
                  <a:gd name="connsiteY1007" fmla="*/ 405134 h 873131"/>
                  <a:gd name="connsiteX1008" fmla="*/ 1017199 w 1122648"/>
                  <a:gd name="connsiteY1008" fmla="*/ 405134 h 873131"/>
                  <a:gd name="connsiteX1009" fmla="*/ 1017728 w 1122648"/>
                  <a:gd name="connsiteY1009" fmla="*/ 408043 h 873131"/>
                  <a:gd name="connsiteX1010" fmla="*/ 1019491 w 1122648"/>
                  <a:gd name="connsiteY1010" fmla="*/ 409454 h 873131"/>
                  <a:gd name="connsiteX1011" fmla="*/ 1020020 w 1122648"/>
                  <a:gd name="connsiteY1011" fmla="*/ 409454 h 873131"/>
                  <a:gd name="connsiteX1012" fmla="*/ 1020902 w 1122648"/>
                  <a:gd name="connsiteY1012" fmla="*/ 408308 h 873131"/>
                  <a:gd name="connsiteX1013" fmla="*/ 1022665 w 1122648"/>
                  <a:gd name="connsiteY1013" fmla="*/ 408043 h 873131"/>
                  <a:gd name="connsiteX1014" fmla="*/ 1020637 w 1122648"/>
                  <a:gd name="connsiteY1014" fmla="*/ 406280 h 873131"/>
                  <a:gd name="connsiteX1015" fmla="*/ 1021254 w 1122648"/>
                  <a:gd name="connsiteY1015" fmla="*/ 405663 h 873131"/>
                  <a:gd name="connsiteX1016" fmla="*/ 1023635 w 1122648"/>
                  <a:gd name="connsiteY1016" fmla="*/ 406280 h 873131"/>
                  <a:gd name="connsiteX1017" fmla="*/ 1023018 w 1122648"/>
                  <a:gd name="connsiteY1017" fmla="*/ 405134 h 873131"/>
                  <a:gd name="connsiteX1018" fmla="*/ 1022401 w 1122648"/>
                  <a:gd name="connsiteY1018" fmla="*/ 403988 h 873131"/>
                  <a:gd name="connsiteX1019" fmla="*/ 1020990 w 1122648"/>
                  <a:gd name="connsiteY1019" fmla="*/ 403988 h 873131"/>
                  <a:gd name="connsiteX1020" fmla="*/ 1020108 w 1122648"/>
                  <a:gd name="connsiteY1020" fmla="*/ 403723 h 873131"/>
                  <a:gd name="connsiteX1021" fmla="*/ 1019227 w 1122648"/>
                  <a:gd name="connsiteY1021" fmla="*/ 403458 h 873131"/>
                  <a:gd name="connsiteX1022" fmla="*/ 1019227 w 1122648"/>
                  <a:gd name="connsiteY1022" fmla="*/ 402048 h 873131"/>
                  <a:gd name="connsiteX1023" fmla="*/ 1020373 w 1122648"/>
                  <a:gd name="connsiteY1023" fmla="*/ 400549 h 873131"/>
                  <a:gd name="connsiteX1024" fmla="*/ 1022401 w 1122648"/>
                  <a:gd name="connsiteY1024" fmla="*/ 400020 h 873131"/>
                  <a:gd name="connsiteX1025" fmla="*/ 1021519 w 1122648"/>
                  <a:gd name="connsiteY1025" fmla="*/ 398521 h 873131"/>
                  <a:gd name="connsiteX1026" fmla="*/ 1019227 w 1122648"/>
                  <a:gd name="connsiteY1026" fmla="*/ 398521 h 873131"/>
                  <a:gd name="connsiteX1027" fmla="*/ 1021519 w 1122648"/>
                  <a:gd name="connsiteY1027" fmla="*/ 397022 h 873131"/>
                  <a:gd name="connsiteX1028" fmla="*/ 1020020 w 1122648"/>
                  <a:gd name="connsiteY1028" fmla="*/ 397639 h 873131"/>
                  <a:gd name="connsiteX1029" fmla="*/ 1019139 w 1122648"/>
                  <a:gd name="connsiteY1029" fmla="*/ 397022 h 873131"/>
                  <a:gd name="connsiteX1030" fmla="*/ 1020285 w 1122648"/>
                  <a:gd name="connsiteY1030" fmla="*/ 394113 h 873131"/>
                  <a:gd name="connsiteX1031" fmla="*/ 1020902 w 1122648"/>
                  <a:gd name="connsiteY1031" fmla="*/ 394113 h 873131"/>
                  <a:gd name="connsiteX1032" fmla="*/ 1020020 w 1122648"/>
                  <a:gd name="connsiteY1032" fmla="*/ 392614 h 873131"/>
                  <a:gd name="connsiteX1033" fmla="*/ 1018874 w 1122648"/>
                  <a:gd name="connsiteY1033" fmla="*/ 394113 h 873131"/>
                  <a:gd name="connsiteX1034" fmla="*/ 1017728 w 1122648"/>
                  <a:gd name="connsiteY1034" fmla="*/ 393496 h 873131"/>
                  <a:gd name="connsiteX1035" fmla="*/ 1017463 w 1122648"/>
                  <a:gd name="connsiteY1035" fmla="*/ 392349 h 873131"/>
                  <a:gd name="connsiteX1036" fmla="*/ 1016317 w 1122648"/>
                  <a:gd name="connsiteY1036" fmla="*/ 394113 h 873131"/>
                  <a:gd name="connsiteX1037" fmla="*/ 1013672 w 1122648"/>
                  <a:gd name="connsiteY1037" fmla="*/ 395259 h 873131"/>
                  <a:gd name="connsiteX1038" fmla="*/ 1010410 w 1122648"/>
                  <a:gd name="connsiteY1038" fmla="*/ 394113 h 873131"/>
                  <a:gd name="connsiteX1039" fmla="*/ 1011027 w 1122648"/>
                  <a:gd name="connsiteY1039" fmla="*/ 392349 h 873131"/>
                  <a:gd name="connsiteX1040" fmla="*/ 1009264 w 1122648"/>
                  <a:gd name="connsiteY1040" fmla="*/ 390321 h 873131"/>
                  <a:gd name="connsiteX1041" fmla="*/ 1008382 w 1122648"/>
                  <a:gd name="connsiteY1041" fmla="*/ 390586 h 873131"/>
                  <a:gd name="connsiteX1042" fmla="*/ 1004326 w 1122648"/>
                  <a:gd name="connsiteY1042" fmla="*/ 390850 h 873131"/>
                  <a:gd name="connsiteX1043" fmla="*/ 1002298 w 1122648"/>
                  <a:gd name="connsiteY1043" fmla="*/ 390586 h 873131"/>
                  <a:gd name="connsiteX1044" fmla="*/ 999389 w 1122648"/>
                  <a:gd name="connsiteY1044" fmla="*/ 389969 h 873131"/>
                  <a:gd name="connsiteX1045" fmla="*/ 995597 w 1122648"/>
                  <a:gd name="connsiteY1045" fmla="*/ 390586 h 873131"/>
                  <a:gd name="connsiteX1046" fmla="*/ 993305 w 1122648"/>
                  <a:gd name="connsiteY1046" fmla="*/ 386795 h 873131"/>
                  <a:gd name="connsiteX1047" fmla="*/ 993041 w 1122648"/>
                  <a:gd name="connsiteY1047" fmla="*/ 387059 h 873131"/>
                  <a:gd name="connsiteX1048" fmla="*/ 990660 w 1122648"/>
                  <a:gd name="connsiteY1048" fmla="*/ 388558 h 873131"/>
                  <a:gd name="connsiteX1049" fmla="*/ 987751 w 1122648"/>
                  <a:gd name="connsiteY1049" fmla="*/ 387412 h 873131"/>
                  <a:gd name="connsiteX1050" fmla="*/ 985987 w 1122648"/>
                  <a:gd name="connsiteY1050" fmla="*/ 384767 h 873131"/>
                  <a:gd name="connsiteX1051" fmla="*/ 980432 w 1122648"/>
                  <a:gd name="connsiteY1051" fmla="*/ 384150 h 873131"/>
                  <a:gd name="connsiteX1052" fmla="*/ 974614 w 1122648"/>
                  <a:gd name="connsiteY1052" fmla="*/ 382651 h 873131"/>
                  <a:gd name="connsiteX1053" fmla="*/ 969940 w 1122648"/>
                  <a:gd name="connsiteY1053" fmla="*/ 386178 h 873131"/>
                  <a:gd name="connsiteX1054" fmla="*/ 969059 w 1122648"/>
                  <a:gd name="connsiteY1054" fmla="*/ 387059 h 873131"/>
                  <a:gd name="connsiteX1055" fmla="*/ 967295 w 1122648"/>
                  <a:gd name="connsiteY1055" fmla="*/ 387324 h 873131"/>
                  <a:gd name="connsiteX1056" fmla="*/ 967913 w 1122648"/>
                  <a:gd name="connsiteY1056" fmla="*/ 387941 h 873131"/>
                  <a:gd name="connsiteX1057" fmla="*/ 969940 w 1122648"/>
                  <a:gd name="connsiteY1057" fmla="*/ 389087 h 873131"/>
                  <a:gd name="connsiteX1058" fmla="*/ 966767 w 1122648"/>
                  <a:gd name="connsiteY1058" fmla="*/ 393143 h 873131"/>
                  <a:gd name="connsiteX1059" fmla="*/ 966413 w 1122648"/>
                  <a:gd name="connsiteY1059" fmla="*/ 395788 h 873131"/>
                  <a:gd name="connsiteX1060" fmla="*/ 965884 w 1122648"/>
                  <a:gd name="connsiteY1060" fmla="*/ 395171 h 873131"/>
                  <a:gd name="connsiteX1061" fmla="*/ 964386 w 1122648"/>
                  <a:gd name="connsiteY1061" fmla="*/ 397463 h 873131"/>
                  <a:gd name="connsiteX1062" fmla="*/ 961741 w 1122648"/>
                  <a:gd name="connsiteY1062" fmla="*/ 397463 h 873131"/>
                  <a:gd name="connsiteX1063" fmla="*/ 960859 w 1122648"/>
                  <a:gd name="connsiteY1063" fmla="*/ 397199 h 873131"/>
                  <a:gd name="connsiteX1064" fmla="*/ 957950 w 1122648"/>
                  <a:gd name="connsiteY1064" fmla="*/ 396581 h 873131"/>
                  <a:gd name="connsiteX1065" fmla="*/ 956803 w 1122648"/>
                  <a:gd name="connsiteY1065" fmla="*/ 396317 h 873131"/>
                  <a:gd name="connsiteX1066" fmla="*/ 954158 w 1122648"/>
                  <a:gd name="connsiteY1066" fmla="*/ 397199 h 873131"/>
                  <a:gd name="connsiteX1067" fmla="*/ 953276 w 1122648"/>
                  <a:gd name="connsiteY1067" fmla="*/ 396581 h 873131"/>
                  <a:gd name="connsiteX1068" fmla="*/ 951866 w 1122648"/>
                  <a:gd name="connsiteY1068" fmla="*/ 395964 h 873131"/>
                  <a:gd name="connsiteX1069" fmla="*/ 950367 w 1122648"/>
                  <a:gd name="connsiteY1069" fmla="*/ 395347 h 873131"/>
                  <a:gd name="connsiteX1070" fmla="*/ 948075 w 1122648"/>
                  <a:gd name="connsiteY1070" fmla="*/ 393936 h 873131"/>
                  <a:gd name="connsiteX1071" fmla="*/ 946047 w 1122648"/>
                  <a:gd name="connsiteY1071" fmla="*/ 391291 h 873131"/>
                  <a:gd name="connsiteX1072" fmla="*/ 942255 w 1122648"/>
                  <a:gd name="connsiteY1072" fmla="*/ 388999 h 873131"/>
                  <a:gd name="connsiteX1073" fmla="*/ 944284 w 1122648"/>
                  <a:gd name="connsiteY1073" fmla="*/ 386618 h 873131"/>
                  <a:gd name="connsiteX1074" fmla="*/ 940228 w 1122648"/>
                  <a:gd name="connsiteY1074" fmla="*/ 381328 h 873131"/>
                  <a:gd name="connsiteX1075" fmla="*/ 933527 w 1122648"/>
                  <a:gd name="connsiteY1075" fmla="*/ 376126 h 873131"/>
                  <a:gd name="connsiteX1076" fmla="*/ 927091 w 1122648"/>
                  <a:gd name="connsiteY1076" fmla="*/ 374980 h 873131"/>
                  <a:gd name="connsiteX1077" fmla="*/ 927091 w 1122648"/>
                  <a:gd name="connsiteY1077" fmla="*/ 374716 h 873131"/>
                  <a:gd name="connsiteX1078" fmla="*/ 924181 w 1122648"/>
                  <a:gd name="connsiteY1078" fmla="*/ 373834 h 873131"/>
                  <a:gd name="connsiteX1079" fmla="*/ 918979 w 1122648"/>
                  <a:gd name="connsiteY1079" fmla="*/ 372952 h 873131"/>
                  <a:gd name="connsiteX1080" fmla="*/ 908223 w 1122648"/>
                  <a:gd name="connsiteY1080" fmla="*/ 370660 h 873131"/>
                  <a:gd name="connsiteX1081" fmla="*/ 901522 w 1122648"/>
                  <a:gd name="connsiteY1081" fmla="*/ 362813 h 873131"/>
                  <a:gd name="connsiteX1082" fmla="*/ 900375 w 1122648"/>
                  <a:gd name="connsiteY1082" fmla="*/ 358404 h 873131"/>
                  <a:gd name="connsiteX1083" fmla="*/ 903285 w 1122648"/>
                  <a:gd name="connsiteY1083" fmla="*/ 355230 h 873131"/>
                  <a:gd name="connsiteX1084" fmla="*/ 901786 w 1122648"/>
                  <a:gd name="connsiteY1084" fmla="*/ 352585 h 873131"/>
                  <a:gd name="connsiteX1085" fmla="*/ 899406 w 1122648"/>
                  <a:gd name="connsiteY1085" fmla="*/ 351704 h 873131"/>
                  <a:gd name="connsiteX1086" fmla="*/ 901433 w 1122648"/>
                  <a:gd name="connsiteY1086" fmla="*/ 349059 h 873131"/>
                  <a:gd name="connsiteX1087" fmla="*/ 904608 w 1122648"/>
                  <a:gd name="connsiteY1087" fmla="*/ 349059 h 873131"/>
                  <a:gd name="connsiteX1088" fmla="*/ 907517 w 1122648"/>
                  <a:gd name="connsiteY1088" fmla="*/ 352850 h 873131"/>
                  <a:gd name="connsiteX1089" fmla="*/ 913072 w 1122648"/>
                  <a:gd name="connsiteY1089" fmla="*/ 354349 h 873131"/>
                  <a:gd name="connsiteX1090" fmla="*/ 915717 w 1122648"/>
                  <a:gd name="connsiteY1090" fmla="*/ 353732 h 873131"/>
                  <a:gd name="connsiteX1091" fmla="*/ 917480 w 1122648"/>
                  <a:gd name="connsiteY1091" fmla="*/ 349940 h 873131"/>
                  <a:gd name="connsiteX1092" fmla="*/ 923035 w 1122648"/>
                  <a:gd name="connsiteY1092" fmla="*/ 349059 h 873131"/>
                  <a:gd name="connsiteX1093" fmla="*/ 924181 w 1122648"/>
                  <a:gd name="connsiteY1093" fmla="*/ 349940 h 873131"/>
                  <a:gd name="connsiteX1094" fmla="*/ 924181 w 1122648"/>
                  <a:gd name="connsiteY1094" fmla="*/ 351704 h 873131"/>
                  <a:gd name="connsiteX1095" fmla="*/ 927708 w 1122648"/>
                  <a:gd name="connsiteY1095" fmla="*/ 344386 h 873131"/>
                  <a:gd name="connsiteX1096" fmla="*/ 924798 w 1122648"/>
                  <a:gd name="connsiteY1096" fmla="*/ 341476 h 873131"/>
                  <a:gd name="connsiteX1097" fmla="*/ 925680 w 1122648"/>
                  <a:gd name="connsiteY1097" fmla="*/ 336803 h 873131"/>
                  <a:gd name="connsiteX1098" fmla="*/ 926826 w 1122648"/>
                  <a:gd name="connsiteY1098" fmla="*/ 333277 h 873131"/>
                  <a:gd name="connsiteX1099" fmla="*/ 931499 w 1122648"/>
                  <a:gd name="connsiteY1099" fmla="*/ 327722 h 873131"/>
                  <a:gd name="connsiteX1100" fmla="*/ 937318 w 1122648"/>
                  <a:gd name="connsiteY1100" fmla="*/ 328604 h 873131"/>
                  <a:gd name="connsiteX1101" fmla="*/ 942784 w 1122648"/>
                  <a:gd name="connsiteY1101" fmla="*/ 324548 h 873131"/>
                  <a:gd name="connsiteX1102" fmla="*/ 943137 w 1122648"/>
                  <a:gd name="connsiteY1102" fmla="*/ 318993 h 873131"/>
                  <a:gd name="connsiteX1103" fmla="*/ 943755 w 1122648"/>
                  <a:gd name="connsiteY1103" fmla="*/ 314320 h 873131"/>
                  <a:gd name="connsiteX1104" fmla="*/ 948427 w 1122648"/>
                  <a:gd name="connsiteY1104" fmla="*/ 312557 h 873131"/>
                  <a:gd name="connsiteX1105" fmla="*/ 946400 w 1122648"/>
                  <a:gd name="connsiteY1105" fmla="*/ 311940 h 873131"/>
                  <a:gd name="connsiteX1106" fmla="*/ 944900 w 1122648"/>
                  <a:gd name="connsiteY1106" fmla="*/ 309030 h 873131"/>
                  <a:gd name="connsiteX1107" fmla="*/ 947546 w 1122648"/>
                  <a:gd name="connsiteY1107" fmla="*/ 309295 h 873131"/>
                  <a:gd name="connsiteX1108" fmla="*/ 948163 w 1122648"/>
                  <a:gd name="connsiteY1108" fmla="*/ 306385 h 873131"/>
                  <a:gd name="connsiteX1109" fmla="*/ 961035 w 1122648"/>
                  <a:gd name="connsiteY1109" fmla="*/ 308148 h 873131"/>
                  <a:gd name="connsiteX1110" fmla="*/ 961300 w 1122648"/>
                  <a:gd name="connsiteY1110" fmla="*/ 305239 h 873131"/>
                  <a:gd name="connsiteX1111" fmla="*/ 962182 w 1122648"/>
                  <a:gd name="connsiteY1111" fmla="*/ 305239 h 873131"/>
                  <a:gd name="connsiteX1112" fmla="*/ 963680 w 1122648"/>
                  <a:gd name="connsiteY1112" fmla="*/ 309295 h 873131"/>
                  <a:gd name="connsiteX1113" fmla="*/ 967736 w 1122648"/>
                  <a:gd name="connsiteY1113" fmla="*/ 313086 h 873131"/>
                  <a:gd name="connsiteX1114" fmla="*/ 971527 w 1122648"/>
                  <a:gd name="connsiteY1114" fmla="*/ 313086 h 873131"/>
                  <a:gd name="connsiteX1115" fmla="*/ 972674 w 1122648"/>
                  <a:gd name="connsiteY1115" fmla="*/ 315466 h 873131"/>
                  <a:gd name="connsiteX1116" fmla="*/ 976465 w 1122648"/>
                  <a:gd name="connsiteY1116" fmla="*/ 317230 h 873131"/>
                  <a:gd name="connsiteX1117" fmla="*/ 978493 w 1122648"/>
                  <a:gd name="connsiteY1117" fmla="*/ 326223 h 873131"/>
                  <a:gd name="connsiteX1118" fmla="*/ 974701 w 1122648"/>
                  <a:gd name="connsiteY1118" fmla="*/ 325341 h 873131"/>
                  <a:gd name="connsiteX1119" fmla="*/ 973026 w 1122648"/>
                  <a:gd name="connsiteY1119" fmla="*/ 331425 h 873131"/>
                  <a:gd name="connsiteX1120" fmla="*/ 972145 w 1122648"/>
                  <a:gd name="connsiteY1120" fmla="*/ 334334 h 873131"/>
                  <a:gd name="connsiteX1121" fmla="*/ 968971 w 1122648"/>
                  <a:gd name="connsiteY1121" fmla="*/ 334334 h 873131"/>
                  <a:gd name="connsiteX1122" fmla="*/ 972497 w 1122648"/>
                  <a:gd name="connsiteY1122" fmla="*/ 339625 h 873131"/>
                  <a:gd name="connsiteX1123" fmla="*/ 968706 w 1122648"/>
                  <a:gd name="connsiteY1123" fmla="*/ 337332 h 873131"/>
                  <a:gd name="connsiteX1124" fmla="*/ 966942 w 1122648"/>
                  <a:gd name="connsiteY1124" fmla="*/ 339096 h 873131"/>
                  <a:gd name="connsiteX1125" fmla="*/ 966061 w 1122648"/>
                  <a:gd name="connsiteY1125" fmla="*/ 341741 h 873131"/>
                  <a:gd name="connsiteX1126" fmla="*/ 969588 w 1122648"/>
                  <a:gd name="connsiteY1126" fmla="*/ 345532 h 873131"/>
                  <a:gd name="connsiteX1127" fmla="*/ 973643 w 1122648"/>
                  <a:gd name="connsiteY1127" fmla="*/ 345796 h 873131"/>
                  <a:gd name="connsiteX1128" fmla="*/ 975407 w 1122648"/>
                  <a:gd name="connsiteY1128" fmla="*/ 345532 h 873131"/>
                  <a:gd name="connsiteX1129" fmla="*/ 978052 w 1122648"/>
                  <a:gd name="connsiteY1129" fmla="*/ 344650 h 873131"/>
                  <a:gd name="connsiteX1130" fmla="*/ 978317 w 1122648"/>
                  <a:gd name="connsiteY1130" fmla="*/ 345532 h 873131"/>
                  <a:gd name="connsiteX1131" fmla="*/ 977170 w 1122648"/>
                  <a:gd name="connsiteY1131" fmla="*/ 346678 h 873131"/>
                  <a:gd name="connsiteX1132" fmla="*/ 976906 w 1122648"/>
                  <a:gd name="connsiteY1132" fmla="*/ 348706 h 873131"/>
                  <a:gd name="connsiteX1133" fmla="*/ 980961 w 1122648"/>
                  <a:gd name="connsiteY1133" fmla="*/ 352762 h 873131"/>
                  <a:gd name="connsiteX1134" fmla="*/ 976906 w 1122648"/>
                  <a:gd name="connsiteY1134" fmla="*/ 353643 h 873131"/>
                  <a:gd name="connsiteX1135" fmla="*/ 973379 w 1122648"/>
                  <a:gd name="connsiteY1135" fmla="*/ 353643 h 873131"/>
                  <a:gd name="connsiteX1136" fmla="*/ 971616 w 1122648"/>
                  <a:gd name="connsiteY1136" fmla="*/ 357170 h 873131"/>
                  <a:gd name="connsiteX1137" fmla="*/ 972762 w 1122648"/>
                  <a:gd name="connsiteY1137" fmla="*/ 360344 h 873131"/>
                  <a:gd name="connsiteX1138" fmla="*/ 975672 w 1122648"/>
                  <a:gd name="connsiteY1138" fmla="*/ 361490 h 873131"/>
                  <a:gd name="connsiteX1139" fmla="*/ 975672 w 1122648"/>
                  <a:gd name="connsiteY1139" fmla="*/ 359463 h 873131"/>
                  <a:gd name="connsiteX1140" fmla="*/ 979727 w 1122648"/>
                  <a:gd name="connsiteY1140" fmla="*/ 361843 h 873131"/>
                  <a:gd name="connsiteX1141" fmla="*/ 981755 w 1122648"/>
                  <a:gd name="connsiteY1141" fmla="*/ 360697 h 873131"/>
                  <a:gd name="connsiteX1142" fmla="*/ 980873 w 1122648"/>
                  <a:gd name="connsiteY1142" fmla="*/ 358052 h 873131"/>
                  <a:gd name="connsiteX1143" fmla="*/ 980873 w 1122648"/>
                  <a:gd name="connsiteY1143" fmla="*/ 356553 h 873131"/>
                  <a:gd name="connsiteX1144" fmla="*/ 981755 w 1122648"/>
                  <a:gd name="connsiteY1144" fmla="*/ 354525 h 873131"/>
                  <a:gd name="connsiteX1145" fmla="*/ 983518 w 1122648"/>
                  <a:gd name="connsiteY1145" fmla="*/ 356553 h 873131"/>
                  <a:gd name="connsiteX1146" fmla="*/ 986957 w 1122648"/>
                  <a:gd name="connsiteY1146" fmla="*/ 356024 h 873131"/>
                  <a:gd name="connsiteX1147" fmla="*/ 985546 w 1122648"/>
                  <a:gd name="connsiteY1147" fmla="*/ 354261 h 873131"/>
                  <a:gd name="connsiteX1148" fmla="*/ 988720 w 1122648"/>
                  <a:gd name="connsiteY1148" fmla="*/ 353379 h 873131"/>
                  <a:gd name="connsiteX1149" fmla="*/ 989867 w 1122648"/>
                  <a:gd name="connsiteY1149" fmla="*/ 349588 h 873131"/>
                  <a:gd name="connsiteX1150" fmla="*/ 991013 w 1122648"/>
                  <a:gd name="connsiteY1150" fmla="*/ 349323 h 873131"/>
                  <a:gd name="connsiteX1151" fmla="*/ 991894 w 1122648"/>
                  <a:gd name="connsiteY1151" fmla="*/ 346678 h 873131"/>
                  <a:gd name="connsiteX1152" fmla="*/ 991630 w 1122648"/>
                  <a:gd name="connsiteY1152" fmla="*/ 344386 h 873131"/>
                  <a:gd name="connsiteX1153" fmla="*/ 992776 w 1122648"/>
                  <a:gd name="connsiteY1153" fmla="*/ 339448 h 873131"/>
                  <a:gd name="connsiteX1154" fmla="*/ 996303 w 1122648"/>
                  <a:gd name="connsiteY1154" fmla="*/ 338302 h 873131"/>
                  <a:gd name="connsiteX1155" fmla="*/ 1000359 w 1122648"/>
                  <a:gd name="connsiteY1155" fmla="*/ 338302 h 873131"/>
                  <a:gd name="connsiteX1156" fmla="*/ 1005913 w 1122648"/>
                  <a:gd name="connsiteY1156" fmla="*/ 337685 h 873131"/>
                  <a:gd name="connsiteX1157" fmla="*/ 1003004 w 1122648"/>
                  <a:gd name="connsiteY1157" fmla="*/ 334511 h 873131"/>
                  <a:gd name="connsiteX1158" fmla="*/ 1006178 w 1122648"/>
                  <a:gd name="connsiteY1158" fmla="*/ 333629 h 873131"/>
                  <a:gd name="connsiteX1159" fmla="*/ 1007677 w 1122648"/>
                  <a:gd name="connsiteY1159" fmla="*/ 334511 h 873131"/>
                  <a:gd name="connsiteX1160" fmla="*/ 1008822 w 1122648"/>
                  <a:gd name="connsiteY1160" fmla="*/ 336274 h 873131"/>
                  <a:gd name="connsiteX1161" fmla="*/ 1013231 w 1122648"/>
                  <a:gd name="connsiteY1161" fmla="*/ 336010 h 873131"/>
                  <a:gd name="connsiteX1162" fmla="*/ 1011468 w 1122648"/>
                  <a:gd name="connsiteY1162" fmla="*/ 333365 h 873131"/>
                  <a:gd name="connsiteX1163" fmla="*/ 1010939 w 1122648"/>
                  <a:gd name="connsiteY1163" fmla="*/ 331601 h 873131"/>
                  <a:gd name="connsiteX1164" fmla="*/ 1012967 w 1122648"/>
                  <a:gd name="connsiteY1164" fmla="*/ 331866 h 873131"/>
                  <a:gd name="connsiteX1165" fmla="*/ 1014113 w 1122648"/>
                  <a:gd name="connsiteY1165" fmla="*/ 334511 h 873131"/>
                  <a:gd name="connsiteX1166" fmla="*/ 1017639 w 1122648"/>
                  <a:gd name="connsiteY1166" fmla="*/ 336891 h 873131"/>
                  <a:gd name="connsiteX1167" fmla="*/ 1024605 w 1122648"/>
                  <a:gd name="connsiteY1167" fmla="*/ 334511 h 873131"/>
                  <a:gd name="connsiteX1168" fmla="*/ 1031041 w 1122648"/>
                  <a:gd name="connsiteY1168" fmla="*/ 319346 h 873131"/>
                  <a:gd name="connsiteX1169" fmla="*/ 1034215 w 1122648"/>
                  <a:gd name="connsiteY1169" fmla="*/ 319963 h 873131"/>
                  <a:gd name="connsiteX1170" fmla="*/ 1031923 w 1122648"/>
                  <a:gd name="connsiteY1170" fmla="*/ 317935 h 873131"/>
                  <a:gd name="connsiteX1171" fmla="*/ 1035978 w 1122648"/>
                  <a:gd name="connsiteY1171" fmla="*/ 315026 h 873131"/>
                  <a:gd name="connsiteX1172" fmla="*/ 1038359 w 1122648"/>
                  <a:gd name="connsiteY1172" fmla="*/ 315290 h 873131"/>
                  <a:gd name="connsiteX1173" fmla="*/ 1038976 w 1122648"/>
                  <a:gd name="connsiteY1173" fmla="*/ 310882 h 873131"/>
                  <a:gd name="connsiteX1174" fmla="*/ 1041621 w 1122648"/>
                  <a:gd name="connsiteY1174" fmla="*/ 310882 h 873131"/>
                  <a:gd name="connsiteX1175" fmla="*/ 1041621 w 1122648"/>
                  <a:gd name="connsiteY1175" fmla="*/ 308237 h 873131"/>
                  <a:gd name="connsiteX1176" fmla="*/ 1046294 w 1122648"/>
                  <a:gd name="connsiteY1176" fmla="*/ 307090 h 873131"/>
                  <a:gd name="connsiteX1177" fmla="*/ 1046294 w 1122648"/>
                  <a:gd name="connsiteY1177" fmla="*/ 302682 h 873131"/>
                  <a:gd name="connsiteX1178" fmla="*/ 1051232 w 1122648"/>
                  <a:gd name="connsiteY1178" fmla="*/ 296246 h 873131"/>
                  <a:gd name="connsiteX1179" fmla="*/ 1047705 w 1122648"/>
                  <a:gd name="connsiteY1179" fmla="*/ 288663 h 873131"/>
                  <a:gd name="connsiteX1180" fmla="*/ 1048322 w 1122648"/>
                  <a:gd name="connsiteY1180" fmla="*/ 286018 h 873131"/>
                  <a:gd name="connsiteX1181" fmla="*/ 1052113 w 1122648"/>
                  <a:gd name="connsiteY1181" fmla="*/ 285754 h 873131"/>
                  <a:gd name="connsiteX1182" fmla="*/ 1060930 w 1122648"/>
                  <a:gd name="connsiteY1182" fmla="*/ 290691 h 873131"/>
                  <a:gd name="connsiteX1183" fmla="*/ 1062694 w 1122648"/>
                  <a:gd name="connsiteY1183" fmla="*/ 293865 h 873131"/>
                  <a:gd name="connsiteX1184" fmla="*/ 1070276 w 1122648"/>
                  <a:gd name="connsiteY1184" fmla="*/ 294394 h 873131"/>
                  <a:gd name="connsiteX1185" fmla="*/ 1072569 w 1122648"/>
                  <a:gd name="connsiteY1185" fmla="*/ 296158 h 873131"/>
                  <a:gd name="connsiteX1186" fmla="*/ 1078123 w 1122648"/>
                  <a:gd name="connsiteY1186" fmla="*/ 294659 h 873131"/>
                  <a:gd name="connsiteX1187" fmla="*/ 1083678 w 1122648"/>
                  <a:gd name="connsiteY1187" fmla="*/ 296158 h 873131"/>
                  <a:gd name="connsiteX1188" fmla="*/ 1083413 w 1122648"/>
                  <a:gd name="connsiteY1188" fmla="*/ 289457 h 873131"/>
                  <a:gd name="connsiteX1189" fmla="*/ 1076448 w 1122648"/>
                  <a:gd name="connsiteY1189" fmla="*/ 285666 h 873131"/>
                  <a:gd name="connsiteX1190" fmla="*/ 1073803 w 1122648"/>
                  <a:gd name="connsiteY1190" fmla="*/ 280993 h 873131"/>
                  <a:gd name="connsiteX1191" fmla="*/ 1089849 w 1122648"/>
                  <a:gd name="connsiteY1191" fmla="*/ 280111 h 873131"/>
                  <a:gd name="connsiteX1192" fmla="*/ 1093376 w 1122648"/>
                  <a:gd name="connsiteY1192" fmla="*/ 276584 h 873131"/>
                  <a:gd name="connsiteX1193" fmla="*/ 1091877 w 1122648"/>
                  <a:gd name="connsiteY1193" fmla="*/ 273675 h 873131"/>
                  <a:gd name="connsiteX1194" fmla="*/ 1092142 w 1122648"/>
                  <a:gd name="connsiteY1194" fmla="*/ 269266 h 873131"/>
                  <a:gd name="connsiteX1195" fmla="*/ 1097432 w 1122648"/>
                  <a:gd name="connsiteY1195" fmla="*/ 272176 h 873131"/>
                  <a:gd name="connsiteX1196" fmla="*/ 1099195 w 1122648"/>
                  <a:gd name="connsiteY1196" fmla="*/ 270148 h 873131"/>
                  <a:gd name="connsiteX1197" fmla="*/ 1096021 w 1122648"/>
                  <a:gd name="connsiteY1197" fmla="*/ 263976 h 873131"/>
                  <a:gd name="connsiteX1198" fmla="*/ 1093729 w 1122648"/>
                  <a:gd name="connsiteY1198" fmla="*/ 261067 h 873131"/>
                  <a:gd name="connsiteX1199" fmla="*/ 1094875 w 1122648"/>
                  <a:gd name="connsiteY1199" fmla="*/ 258157 h 873131"/>
                  <a:gd name="connsiteX1200" fmla="*/ 1096286 w 1122648"/>
                  <a:gd name="connsiteY1200" fmla="*/ 256394 h 873131"/>
                  <a:gd name="connsiteX1201" fmla="*/ 1099812 w 1122648"/>
                  <a:gd name="connsiteY1201" fmla="*/ 258686 h 873131"/>
                  <a:gd name="connsiteX1202" fmla="*/ 1105984 w 1122648"/>
                  <a:gd name="connsiteY1202" fmla="*/ 261860 h 873131"/>
                  <a:gd name="connsiteX1203" fmla="*/ 1109775 w 1122648"/>
                  <a:gd name="connsiteY1203" fmla="*/ 247577 h 873131"/>
                  <a:gd name="connsiteX1204" fmla="*/ 1101664 w 1122648"/>
                  <a:gd name="connsiteY1204" fmla="*/ 226857 h 873131"/>
                  <a:gd name="connsiteX1205" fmla="*/ 1104574 w 1122648"/>
                  <a:gd name="connsiteY1205" fmla="*/ 214337 h 873131"/>
                  <a:gd name="connsiteX1206" fmla="*/ 1102810 w 1122648"/>
                  <a:gd name="connsiteY1206" fmla="*/ 202964 h 873131"/>
                  <a:gd name="connsiteX1207" fmla="*/ 1112773 w 1122648"/>
                  <a:gd name="connsiteY1207" fmla="*/ 198908 h 873131"/>
                  <a:gd name="connsiteX1208" fmla="*/ 1122648 w 1122648"/>
                  <a:gd name="connsiteY1208" fmla="*/ 197497 h 873131"/>
                  <a:gd name="connsiteX1209" fmla="*/ 1119474 w 1122648"/>
                  <a:gd name="connsiteY1209" fmla="*/ 187887 h 873131"/>
                  <a:gd name="connsiteX1210" fmla="*/ 1112420 w 1122648"/>
                  <a:gd name="connsiteY1210" fmla="*/ 179158 h 873131"/>
                  <a:gd name="connsiteX1211" fmla="*/ 1108982 w 1122648"/>
                  <a:gd name="connsiteY1211" fmla="*/ 166286 h 873131"/>
                  <a:gd name="connsiteX1212" fmla="*/ 1104045 w 1122648"/>
                  <a:gd name="connsiteY1212" fmla="*/ 155176 h 873131"/>
                  <a:gd name="connsiteX1213" fmla="*/ 1106690 w 1122648"/>
                  <a:gd name="connsiteY1213" fmla="*/ 140629 h 873131"/>
                  <a:gd name="connsiteX1214" fmla="*/ 1107042 w 1122648"/>
                  <a:gd name="connsiteY1214" fmla="*/ 125728 h 873131"/>
                  <a:gd name="connsiteX1215" fmla="*/ 1095404 w 1122648"/>
                  <a:gd name="connsiteY1215" fmla="*/ 128902 h 873131"/>
                  <a:gd name="connsiteX1216" fmla="*/ 1075831 w 1122648"/>
                  <a:gd name="connsiteY1216" fmla="*/ 135074 h 873131"/>
                  <a:gd name="connsiteX1217" fmla="*/ 1065339 w 1122648"/>
                  <a:gd name="connsiteY1217" fmla="*/ 142392 h 873131"/>
                  <a:gd name="connsiteX1218" fmla="*/ 1034391 w 1122648"/>
                  <a:gd name="connsiteY1218" fmla="*/ 132782 h 873131"/>
                  <a:gd name="connsiteX1219" fmla="*/ 1019227 w 1122648"/>
                  <a:gd name="connsiteY1219" fmla="*/ 116118 h 873131"/>
                  <a:gd name="connsiteX1220" fmla="*/ 994452 w 1122648"/>
                  <a:gd name="connsiteY1220" fmla="*/ 105626 h 873131"/>
                  <a:gd name="connsiteX1221" fmla="*/ 958831 w 1122648"/>
                  <a:gd name="connsiteY1221" fmla="*/ 99807 h 873131"/>
                  <a:gd name="connsiteX1222" fmla="*/ 934673 w 1122648"/>
                  <a:gd name="connsiteY1222" fmla="*/ 81997 h 873131"/>
                  <a:gd name="connsiteX1223" fmla="*/ 909016 w 1122648"/>
                  <a:gd name="connsiteY1223" fmla="*/ 59514 h 873131"/>
                  <a:gd name="connsiteX1224" fmla="*/ 892441 w 1122648"/>
                  <a:gd name="connsiteY1224" fmla="*/ 47258 h 873131"/>
                  <a:gd name="connsiteX1225" fmla="*/ 880185 w 1122648"/>
                  <a:gd name="connsiteY1225" fmla="*/ 35003 h 873131"/>
                  <a:gd name="connsiteX1226" fmla="*/ 844300 w 1122648"/>
                  <a:gd name="connsiteY1226" fmla="*/ 12873 h 873131"/>
                  <a:gd name="connsiteX1227" fmla="*/ 805771 w 1122648"/>
                  <a:gd name="connsiteY1227" fmla="*/ 8200 h 873131"/>
                  <a:gd name="connsiteX1228" fmla="*/ 769622 w 1122648"/>
                  <a:gd name="connsiteY1228" fmla="*/ 0 h 873131"/>
                  <a:gd name="connsiteX1229" fmla="*/ 755956 w 1122648"/>
                  <a:gd name="connsiteY1229" fmla="*/ 26803 h 873131"/>
                  <a:gd name="connsiteX1230" fmla="*/ 770592 w 1122648"/>
                  <a:gd name="connsiteY1230" fmla="*/ 33857 h 873131"/>
                  <a:gd name="connsiteX1231" fmla="*/ 770592 w 1122648"/>
                  <a:gd name="connsiteY1231" fmla="*/ 52548 h 873131"/>
                  <a:gd name="connsiteX1232" fmla="*/ 786903 w 1122648"/>
                  <a:gd name="connsiteY1232" fmla="*/ 67713 h 873131"/>
                  <a:gd name="connsiteX1233" fmla="*/ 764155 w 1122648"/>
                  <a:gd name="connsiteY1233" fmla="*/ 97162 h 873131"/>
                  <a:gd name="connsiteX1234" fmla="*/ 735589 w 1122648"/>
                  <a:gd name="connsiteY1234" fmla="*/ 90196 h 873131"/>
                  <a:gd name="connsiteX1235" fmla="*/ 735589 w 1122648"/>
                  <a:gd name="connsiteY1235" fmla="*/ 112062 h 873131"/>
                  <a:gd name="connsiteX1236" fmla="*/ 738763 w 1122648"/>
                  <a:gd name="connsiteY1236" fmla="*/ 113825 h 873131"/>
                  <a:gd name="connsiteX1237" fmla="*/ 737352 w 1122648"/>
                  <a:gd name="connsiteY1237" fmla="*/ 120879 h 873131"/>
                  <a:gd name="connsiteX1238" fmla="*/ 741143 w 1122648"/>
                  <a:gd name="connsiteY1238" fmla="*/ 127580 h 873131"/>
                  <a:gd name="connsiteX1239" fmla="*/ 734707 w 1122648"/>
                  <a:gd name="connsiteY1239" fmla="*/ 128197 h 873131"/>
                  <a:gd name="connsiteX1240" fmla="*/ 740526 w 1122648"/>
                  <a:gd name="connsiteY1240" fmla="*/ 136044 h 873131"/>
                  <a:gd name="connsiteX1241" fmla="*/ 752517 w 1122648"/>
                  <a:gd name="connsiteY1241" fmla="*/ 141598 h 873131"/>
                  <a:gd name="connsiteX1242" fmla="*/ 752517 w 1122648"/>
                  <a:gd name="connsiteY1242" fmla="*/ 138689 h 873131"/>
                  <a:gd name="connsiteX1243" fmla="*/ 755780 w 1122648"/>
                  <a:gd name="connsiteY1243" fmla="*/ 137543 h 873131"/>
                  <a:gd name="connsiteX1244" fmla="*/ 765390 w 1122648"/>
                  <a:gd name="connsiteY1244" fmla="*/ 136044 h 873131"/>
                  <a:gd name="connsiteX1245" fmla="*/ 780290 w 1122648"/>
                  <a:gd name="connsiteY1245" fmla="*/ 142127 h 873131"/>
                  <a:gd name="connsiteX1246" fmla="*/ 783200 w 1122648"/>
                  <a:gd name="connsiteY1246" fmla="*/ 132517 h 873131"/>
                  <a:gd name="connsiteX1247" fmla="*/ 784346 w 1122648"/>
                  <a:gd name="connsiteY1247" fmla="*/ 133928 h 873131"/>
                  <a:gd name="connsiteX1248" fmla="*/ 786727 w 1122648"/>
                  <a:gd name="connsiteY1248" fmla="*/ 133928 h 873131"/>
                  <a:gd name="connsiteX1249" fmla="*/ 793163 w 1122648"/>
                  <a:gd name="connsiteY1249" fmla="*/ 133928 h 873131"/>
                  <a:gd name="connsiteX1250" fmla="*/ 793780 w 1122648"/>
                  <a:gd name="connsiteY1250" fmla="*/ 133399 h 873131"/>
                  <a:gd name="connsiteX1251" fmla="*/ 795808 w 1122648"/>
                  <a:gd name="connsiteY1251" fmla="*/ 133928 h 873131"/>
                  <a:gd name="connsiteX1252" fmla="*/ 804272 w 1122648"/>
                  <a:gd name="connsiteY1252" fmla="*/ 137102 h 873131"/>
                  <a:gd name="connsiteX1253" fmla="*/ 811855 w 1122648"/>
                  <a:gd name="connsiteY1253" fmla="*/ 140629 h 873131"/>
                  <a:gd name="connsiteX1254" fmla="*/ 815646 w 1122648"/>
                  <a:gd name="connsiteY1254" fmla="*/ 144684 h 873131"/>
                  <a:gd name="connsiteX1255" fmla="*/ 820319 w 1122648"/>
                  <a:gd name="connsiteY1255" fmla="*/ 145566 h 873131"/>
                  <a:gd name="connsiteX1256" fmla="*/ 820936 w 1122648"/>
                  <a:gd name="connsiteY1256" fmla="*/ 146712 h 873131"/>
                  <a:gd name="connsiteX1257" fmla="*/ 826138 w 1122648"/>
                  <a:gd name="connsiteY1257" fmla="*/ 151121 h 873131"/>
                  <a:gd name="connsiteX1258" fmla="*/ 828166 w 1122648"/>
                  <a:gd name="connsiteY1258" fmla="*/ 151121 h 873131"/>
                  <a:gd name="connsiteX1259" fmla="*/ 834602 w 1122648"/>
                  <a:gd name="connsiteY1259" fmla="*/ 154647 h 873131"/>
                  <a:gd name="connsiteX1260" fmla="*/ 836101 w 1122648"/>
                  <a:gd name="connsiteY1260" fmla="*/ 157292 h 873131"/>
                  <a:gd name="connsiteX1261" fmla="*/ 839892 w 1122648"/>
                  <a:gd name="connsiteY1261" fmla="*/ 160819 h 873131"/>
                  <a:gd name="connsiteX1262" fmla="*/ 841391 w 1122648"/>
                  <a:gd name="connsiteY1262" fmla="*/ 163464 h 873131"/>
                  <a:gd name="connsiteX1263" fmla="*/ 842890 w 1122648"/>
                  <a:gd name="connsiteY1263" fmla="*/ 165492 h 873131"/>
                  <a:gd name="connsiteX1264" fmla="*/ 837953 w 1122648"/>
                  <a:gd name="connsiteY1264" fmla="*/ 166991 h 873131"/>
                  <a:gd name="connsiteX1265" fmla="*/ 833015 w 1122648"/>
                  <a:gd name="connsiteY1265" fmla="*/ 166991 h 873131"/>
                  <a:gd name="connsiteX1266" fmla="*/ 830723 w 1122648"/>
                  <a:gd name="connsiteY1266" fmla="*/ 165492 h 873131"/>
                  <a:gd name="connsiteX1267" fmla="*/ 822787 w 1122648"/>
                  <a:gd name="connsiteY1267" fmla="*/ 163464 h 873131"/>
                  <a:gd name="connsiteX1268" fmla="*/ 818996 w 1122648"/>
                  <a:gd name="connsiteY1268" fmla="*/ 164346 h 873131"/>
                  <a:gd name="connsiteX1269" fmla="*/ 814588 w 1122648"/>
                  <a:gd name="connsiteY1269" fmla="*/ 164346 h 873131"/>
                  <a:gd name="connsiteX1270" fmla="*/ 810797 w 1122648"/>
                  <a:gd name="connsiteY1270" fmla="*/ 163464 h 873131"/>
                  <a:gd name="connsiteX1271" fmla="*/ 809298 w 1122648"/>
                  <a:gd name="connsiteY1271" fmla="*/ 165228 h 873131"/>
                  <a:gd name="connsiteX1272" fmla="*/ 807799 w 1122648"/>
                  <a:gd name="connsiteY1272" fmla="*/ 165492 h 873131"/>
                  <a:gd name="connsiteX1273" fmla="*/ 806035 w 1122648"/>
                  <a:gd name="connsiteY1273" fmla="*/ 168137 h 873131"/>
                  <a:gd name="connsiteX1274" fmla="*/ 805154 w 1122648"/>
                  <a:gd name="connsiteY1274" fmla="*/ 169019 h 873131"/>
                  <a:gd name="connsiteX1275" fmla="*/ 801892 w 1122648"/>
                  <a:gd name="connsiteY1275" fmla="*/ 169636 h 873131"/>
                  <a:gd name="connsiteX1276" fmla="*/ 799864 w 1122648"/>
                  <a:gd name="connsiteY1276" fmla="*/ 166991 h 873131"/>
                  <a:gd name="connsiteX1277" fmla="*/ 796337 w 1122648"/>
                  <a:gd name="connsiteY1277" fmla="*/ 167873 h 873131"/>
                  <a:gd name="connsiteX1278" fmla="*/ 795720 w 1122648"/>
                  <a:gd name="connsiteY1278" fmla="*/ 169636 h 873131"/>
                  <a:gd name="connsiteX1279" fmla="*/ 793427 w 1122648"/>
                  <a:gd name="connsiteY1279" fmla="*/ 173427 h 873131"/>
                  <a:gd name="connsiteX1280" fmla="*/ 786991 w 1122648"/>
                  <a:gd name="connsiteY1280" fmla="*/ 172546 h 873131"/>
                  <a:gd name="connsiteX1281" fmla="*/ 787344 w 1122648"/>
                  <a:gd name="connsiteY1281" fmla="*/ 174926 h 873131"/>
                  <a:gd name="connsiteX1282" fmla="*/ 785052 w 1122648"/>
                  <a:gd name="connsiteY1282" fmla="*/ 176689 h 873131"/>
                  <a:gd name="connsiteX1283" fmla="*/ 783552 w 1122648"/>
                  <a:gd name="connsiteY1283" fmla="*/ 179599 h 873131"/>
                  <a:gd name="connsiteX1284" fmla="*/ 782671 w 1122648"/>
                  <a:gd name="connsiteY1284" fmla="*/ 182509 h 873131"/>
                  <a:gd name="connsiteX1285" fmla="*/ 782142 w 1122648"/>
                  <a:gd name="connsiteY1285" fmla="*/ 184272 h 873131"/>
                  <a:gd name="connsiteX1286" fmla="*/ 785316 w 1122648"/>
                  <a:gd name="connsiteY1286" fmla="*/ 186917 h 873131"/>
                  <a:gd name="connsiteX1287" fmla="*/ 784434 w 1122648"/>
                  <a:gd name="connsiteY1287" fmla="*/ 190708 h 873131"/>
                  <a:gd name="connsiteX1288" fmla="*/ 782142 w 1122648"/>
                  <a:gd name="connsiteY1288" fmla="*/ 190708 h 873131"/>
                  <a:gd name="connsiteX1289" fmla="*/ 780114 w 1122648"/>
                  <a:gd name="connsiteY1289" fmla="*/ 193353 h 873131"/>
                  <a:gd name="connsiteX1290" fmla="*/ 778703 w 1122648"/>
                  <a:gd name="connsiteY1290" fmla="*/ 195998 h 873131"/>
                  <a:gd name="connsiteX1291" fmla="*/ 769357 w 1122648"/>
                  <a:gd name="connsiteY1291" fmla="*/ 197497 h 873131"/>
                  <a:gd name="connsiteX1292" fmla="*/ 764685 w 1122648"/>
                  <a:gd name="connsiteY1292" fmla="*/ 197497 h 873131"/>
                  <a:gd name="connsiteX1293" fmla="*/ 760276 w 1122648"/>
                  <a:gd name="connsiteY1293" fmla="*/ 195998 h 873131"/>
                  <a:gd name="connsiteX1294" fmla="*/ 757631 w 1122648"/>
                  <a:gd name="connsiteY1294" fmla="*/ 197497 h 873131"/>
                  <a:gd name="connsiteX1295" fmla="*/ 757367 w 1122648"/>
                  <a:gd name="connsiteY1295" fmla="*/ 202435 h 873131"/>
                  <a:gd name="connsiteX1296" fmla="*/ 756220 w 1122648"/>
                  <a:gd name="connsiteY1296" fmla="*/ 205080 h 873131"/>
                  <a:gd name="connsiteX1297" fmla="*/ 753575 w 1122648"/>
                  <a:gd name="connsiteY1297" fmla="*/ 208606 h 873131"/>
                  <a:gd name="connsiteX1298" fmla="*/ 751018 w 1122648"/>
                  <a:gd name="connsiteY1298" fmla="*/ 208606 h 873131"/>
                  <a:gd name="connsiteX1299" fmla="*/ 749255 w 1122648"/>
                  <a:gd name="connsiteY1299" fmla="*/ 209224 h 873131"/>
                  <a:gd name="connsiteX1300" fmla="*/ 746963 w 1122648"/>
                  <a:gd name="connsiteY1300" fmla="*/ 212750 h 873131"/>
                  <a:gd name="connsiteX1301" fmla="*/ 743436 w 1122648"/>
                  <a:gd name="connsiteY1301" fmla="*/ 211604 h 873131"/>
                  <a:gd name="connsiteX1302" fmla="*/ 738763 w 1122648"/>
                  <a:gd name="connsiteY1302" fmla="*/ 211604 h 873131"/>
                  <a:gd name="connsiteX1303" fmla="*/ 735854 w 1122648"/>
                  <a:gd name="connsiteY1303" fmla="*/ 212133 h 873131"/>
                  <a:gd name="connsiteX1304" fmla="*/ 733561 w 1122648"/>
                  <a:gd name="connsiteY1304" fmla="*/ 212133 h 873131"/>
                  <a:gd name="connsiteX1305" fmla="*/ 731269 w 1122648"/>
                  <a:gd name="connsiteY1305" fmla="*/ 211252 h 873131"/>
                  <a:gd name="connsiteX1306" fmla="*/ 719630 w 1122648"/>
                  <a:gd name="connsiteY1306" fmla="*/ 204551 h 873131"/>
                  <a:gd name="connsiteX1307" fmla="*/ 710284 w 1122648"/>
                  <a:gd name="connsiteY1307" fmla="*/ 204551 h 873131"/>
                  <a:gd name="connsiteX1308" fmla="*/ 707904 w 1122648"/>
                  <a:gd name="connsiteY1308" fmla="*/ 206843 h 873131"/>
                  <a:gd name="connsiteX1309" fmla="*/ 705524 w 1122648"/>
                  <a:gd name="connsiteY1309" fmla="*/ 219098 h 873131"/>
                  <a:gd name="connsiteX1310" fmla="*/ 706670 w 1122648"/>
                  <a:gd name="connsiteY1310" fmla="*/ 221391 h 873131"/>
                  <a:gd name="connsiteX1311" fmla="*/ 724744 w 1122648"/>
                  <a:gd name="connsiteY1311" fmla="*/ 233646 h 873131"/>
                  <a:gd name="connsiteX1312" fmla="*/ 726772 w 1122648"/>
                  <a:gd name="connsiteY1312" fmla="*/ 236556 h 873131"/>
                  <a:gd name="connsiteX1313" fmla="*/ 714781 w 1122648"/>
                  <a:gd name="connsiteY1313" fmla="*/ 244755 h 873131"/>
                  <a:gd name="connsiteX1314" fmla="*/ 710108 w 1122648"/>
                  <a:gd name="connsiteY1314" fmla="*/ 256658 h 873131"/>
                  <a:gd name="connsiteX1315" fmla="*/ 709491 w 1122648"/>
                  <a:gd name="connsiteY1315" fmla="*/ 259832 h 873131"/>
                  <a:gd name="connsiteX1316" fmla="*/ 708609 w 1122648"/>
                  <a:gd name="connsiteY1316" fmla="*/ 261331 h 873131"/>
                  <a:gd name="connsiteX1317" fmla="*/ 705435 w 1122648"/>
                  <a:gd name="connsiteY1317" fmla="*/ 264505 h 873131"/>
                  <a:gd name="connsiteX1318" fmla="*/ 702261 w 1122648"/>
                  <a:gd name="connsiteY1318" fmla="*/ 264241 h 873131"/>
                  <a:gd name="connsiteX1319" fmla="*/ 697059 w 1122648"/>
                  <a:gd name="connsiteY1319" fmla="*/ 266886 h 873131"/>
                  <a:gd name="connsiteX1320" fmla="*/ 695032 w 1122648"/>
                  <a:gd name="connsiteY1320" fmla="*/ 268649 h 873131"/>
                  <a:gd name="connsiteX1321" fmla="*/ 695649 w 1122648"/>
                  <a:gd name="connsiteY1321" fmla="*/ 269531 h 873131"/>
                  <a:gd name="connsiteX1322" fmla="*/ 691329 w 1122648"/>
                  <a:gd name="connsiteY1322" fmla="*/ 269531 h 873131"/>
                  <a:gd name="connsiteX1323" fmla="*/ 684628 w 1122648"/>
                  <a:gd name="connsiteY1323" fmla="*/ 269531 h 873131"/>
                  <a:gd name="connsiteX1324" fmla="*/ 683129 w 1122648"/>
                  <a:gd name="connsiteY1324" fmla="*/ 270412 h 873131"/>
                  <a:gd name="connsiteX1325" fmla="*/ 676957 w 1122648"/>
                  <a:gd name="connsiteY1325" fmla="*/ 270148 h 873131"/>
                  <a:gd name="connsiteX1326" fmla="*/ 672284 w 1122648"/>
                  <a:gd name="connsiteY1326" fmla="*/ 270148 h 873131"/>
                  <a:gd name="connsiteX1327" fmla="*/ 670520 w 1122648"/>
                  <a:gd name="connsiteY1327" fmla="*/ 268649 h 873131"/>
                  <a:gd name="connsiteX1328" fmla="*/ 660028 w 1122648"/>
                  <a:gd name="connsiteY1328" fmla="*/ 269795 h 873131"/>
                  <a:gd name="connsiteX1329" fmla="*/ 655091 w 1122648"/>
                  <a:gd name="connsiteY1329" fmla="*/ 270412 h 873131"/>
                  <a:gd name="connsiteX1330" fmla="*/ 654827 w 1122648"/>
                  <a:gd name="connsiteY1330" fmla="*/ 269266 h 873131"/>
                  <a:gd name="connsiteX1331" fmla="*/ 651300 w 1122648"/>
                  <a:gd name="connsiteY1331" fmla="*/ 269795 h 873131"/>
                  <a:gd name="connsiteX1332" fmla="*/ 651653 w 1122648"/>
                  <a:gd name="connsiteY1332" fmla="*/ 271294 h 873131"/>
                  <a:gd name="connsiteX1333" fmla="*/ 643806 w 1122648"/>
                  <a:gd name="connsiteY1333" fmla="*/ 274204 h 873131"/>
                  <a:gd name="connsiteX1334" fmla="*/ 633578 w 1122648"/>
                  <a:gd name="connsiteY1334" fmla="*/ 278612 h 873131"/>
                  <a:gd name="connsiteX1335" fmla="*/ 628024 w 1122648"/>
                  <a:gd name="connsiteY1335" fmla="*/ 280375 h 873131"/>
                  <a:gd name="connsiteX1336" fmla="*/ 624232 w 1122648"/>
                  <a:gd name="connsiteY1336" fmla="*/ 282403 h 873131"/>
                  <a:gd name="connsiteX1337" fmla="*/ 618061 w 1122648"/>
                  <a:gd name="connsiteY1337" fmla="*/ 287693 h 873131"/>
                  <a:gd name="connsiteX1338" fmla="*/ 614005 w 1122648"/>
                  <a:gd name="connsiteY1338" fmla="*/ 292631 h 873131"/>
                  <a:gd name="connsiteX1339" fmla="*/ 605276 w 1122648"/>
                  <a:gd name="connsiteY1339" fmla="*/ 289457 h 873131"/>
                  <a:gd name="connsiteX1340" fmla="*/ 603513 w 1122648"/>
                  <a:gd name="connsiteY1340" fmla="*/ 284784 h 873131"/>
                  <a:gd name="connsiteX1341" fmla="*/ 594167 w 1122648"/>
                  <a:gd name="connsiteY1341" fmla="*/ 285930 h 873131"/>
                  <a:gd name="connsiteX1342" fmla="*/ 588877 w 1122648"/>
                  <a:gd name="connsiteY1342" fmla="*/ 285930 h 873131"/>
                  <a:gd name="connsiteX1343" fmla="*/ 577503 w 1122648"/>
                  <a:gd name="connsiteY1343" fmla="*/ 283021 h 873131"/>
                  <a:gd name="connsiteX1344" fmla="*/ 569568 w 1122648"/>
                  <a:gd name="connsiteY1344" fmla="*/ 279847 h 873131"/>
                  <a:gd name="connsiteX1345" fmla="*/ 559957 w 1122648"/>
                  <a:gd name="connsiteY1345" fmla="*/ 278700 h 873131"/>
                  <a:gd name="connsiteX1346" fmla="*/ 548319 w 1122648"/>
                  <a:gd name="connsiteY1346" fmla="*/ 276055 h 873131"/>
                  <a:gd name="connsiteX1347" fmla="*/ 540472 w 1122648"/>
                  <a:gd name="connsiteY1347" fmla="*/ 268737 h 873131"/>
                  <a:gd name="connsiteX1348" fmla="*/ 502825 w 1122648"/>
                  <a:gd name="connsiteY1348" fmla="*/ 264329 h 873131"/>
                  <a:gd name="connsiteX1349" fmla="*/ 490569 w 1122648"/>
                  <a:gd name="connsiteY1349" fmla="*/ 267591 h 873131"/>
                  <a:gd name="connsiteX1350" fmla="*/ 463413 w 1122648"/>
                  <a:gd name="connsiteY1350" fmla="*/ 265211 h 873131"/>
                  <a:gd name="connsiteX1351" fmla="*/ 452304 w 1122648"/>
                  <a:gd name="connsiteY1351" fmla="*/ 263712 h 873131"/>
                  <a:gd name="connsiteX1352" fmla="*/ 451422 w 1122648"/>
                  <a:gd name="connsiteY1352" fmla="*/ 265211 h 873131"/>
                  <a:gd name="connsiteX1353" fmla="*/ 447631 w 1122648"/>
                  <a:gd name="connsiteY1353" fmla="*/ 264593 h 873131"/>
                  <a:gd name="connsiteX1354" fmla="*/ 435111 w 1122648"/>
                  <a:gd name="connsiteY1354" fmla="*/ 264329 h 873131"/>
                  <a:gd name="connsiteX1355" fmla="*/ 433348 w 1122648"/>
                  <a:gd name="connsiteY1355" fmla="*/ 261419 h 873131"/>
                  <a:gd name="connsiteX1356" fmla="*/ 427793 w 1122648"/>
                  <a:gd name="connsiteY1356" fmla="*/ 259656 h 873131"/>
                  <a:gd name="connsiteX1357" fmla="*/ 416155 w 1122648"/>
                  <a:gd name="connsiteY1357" fmla="*/ 252338 h 873131"/>
                  <a:gd name="connsiteX1358" fmla="*/ 414127 w 1122648"/>
                  <a:gd name="connsiteY1358" fmla="*/ 248547 h 873131"/>
                  <a:gd name="connsiteX1359" fmla="*/ 398962 w 1122648"/>
                  <a:gd name="connsiteY1359" fmla="*/ 232500 h 873131"/>
                  <a:gd name="connsiteX1360" fmla="*/ 394554 w 1122648"/>
                  <a:gd name="connsiteY1360" fmla="*/ 231618 h 873131"/>
                  <a:gd name="connsiteX1361" fmla="*/ 392173 w 1122648"/>
                  <a:gd name="connsiteY1361" fmla="*/ 226945 h 873131"/>
                  <a:gd name="connsiteX1362" fmla="*/ 393319 w 1122648"/>
                  <a:gd name="connsiteY1362" fmla="*/ 225182 h 873131"/>
                  <a:gd name="connsiteX1363" fmla="*/ 385737 w 1122648"/>
                  <a:gd name="connsiteY1363" fmla="*/ 225182 h 873131"/>
                  <a:gd name="connsiteX1364" fmla="*/ 380535 w 1122648"/>
                  <a:gd name="connsiteY1364" fmla="*/ 223419 h 873131"/>
                  <a:gd name="connsiteX1365" fmla="*/ 379301 w 1122648"/>
                  <a:gd name="connsiteY1365" fmla="*/ 223419 h 873131"/>
                  <a:gd name="connsiteX1366" fmla="*/ 377273 w 1122648"/>
                  <a:gd name="connsiteY1366" fmla="*/ 223154 h 873131"/>
                  <a:gd name="connsiteX1367" fmla="*/ 374627 w 1122648"/>
                  <a:gd name="connsiteY1367" fmla="*/ 220245 h 873131"/>
                  <a:gd name="connsiteX1368" fmla="*/ 363519 w 1122648"/>
                  <a:gd name="connsiteY1368" fmla="*/ 214690 h 873131"/>
                  <a:gd name="connsiteX1369" fmla="*/ 358228 w 1122648"/>
                  <a:gd name="connsiteY1369" fmla="*/ 214690 h 873131"/>
                  <a:gd name="connsiteX1370" fmla="*/ 353556 w 1122648"/>
                  <a:gd name="connsiteY1370" fmla="*/ 210634 h 873131"/>
                  <a:gd name="connsiteX1371" fmla="*/ 349764 w 1122648"/>
                  <a:gd name="connsiteY1371" fmla="*/ 208606 h 873131"/>
                  <a:gd name="connsiteX1372" fmla="*/ 344210 w 1122648"/>
                  <a:gd name="connsiteY1372" fmla="*/ 206843 h 873131"/>
                  <a:gd name="connsiteX1373" fmla="*/ 342181 w 1122648"/>
                  <a:gd name="connsiteY1373" fmla="*/ 206843 h 873131"/>
                  <a:gd name="connsiteX1374" fmla="*/ 340418 w 1122648"/>
                  <a:gd name="connsiteY1374" fmla="*/ 206843 h 873131"/>
                  <a:gd name="connsiteX1375" fmla="*/ 309824 w 1122648"/>
                  <a:gd name="connsiteY1375" fmla="*/ 204551 h 873131"/>
                  <a:gd name="connsiteX1376" fmla="*/ 305504 w 1122648"/>
                  <a:gd name="connsiteY1376" fmla="*/ 204551 h 873131"/>
                  <a:gd name="connsiteX1377" fmla="*/ 297657 w 1122648"/>
                  <a:gd name="connsiteY1377" fmla="*/ 202170 h 873131"/>
                  <a:gd name="connsiteX1378" fmla="*/ 292367 w 1122648"/>
                  <a:gd name="connsiteY1378" fmla="*/ 202170 h 873131"/>
                  <a:gd name="connsiteX1379" fmla="*/ 288840 w 1122648"/>
                  <a:gd name="connsiteY1379" fmla="*/ 199525 h 873131"/>
                  <a:gd name="connsiteX1380" fmla="*/ 283902 w 1122648"/>
                  <a:gd name="connsiteY1380" fmla="*/ 192824 h 873131"/>
                  <a:gd name="connsiteX1381" fmla="*/ 286195 w 1122648"/>
                  <a:gd name="connsiteY1381" fmla="*/ 183478 h 873131"/>
                  <a:gd name="connsiteX1382" fmla="*/ 280640 w 1122648"/>
                  <a:gd name="connsiteY1382" fmla="*/ 175279 h 873131"/>
                  <a:gd name="connsiteX1383" fmla="*/ 280640 w 1122648"/>
                  <a:gd name="connsiteY1383" fmla="*/ 171223 h 873131"/>
                  <a:gd name="connsiteX1384" fmla="*/ 280023 w 1122648"/>
                  <a:gd name="connsiteY1384" fmla="*/ 167167 h 873131"/>
                  <a:gd name="connsiteX1385" fmla="*/ 279141 w 1122648"/>
                  <a:gd name="connsiteY1385" fmla="*/ 163993 h 873131"/>
                  <a:gd name="connsiteX1386" fmla="*/ 276849 w 1122648"/>
                  <a:gd name="connsiteY1386" fmla="*/ 162847 h 873131"/>
                  <a:gd name="connsiteX1387" fmla="*/ 263095 w 1122648"/>
                  <a:gd name="connsiteY1387" fmla="*/ 152972 h 873131"/>
                  <a:gd name="connsiteX1388" fmla="*/ 260450 w 1122648"/>
                  <a:gd name="connsiteY1388" fmla="*/ 147418 h 873131"/>
                  <a:gd name="connsiteX1389" fmla="*/ 259304 w 1122648"/>
                  <a:gd name="connsiteY1389" fmla="*/ 147418 h 873131"/>
                  <a:gd name="connsiteX1390" fmla="*/ 255777 w 1122648"/>
                  <a:gd name="connsiteY1390" fmla="*/ 143362 h 873131"/>
                  <a:gd name="connsiteX1391" fmla="*/ 247929 w 1122648"/>
                  <a:gd name="connsiteY1391" fmla="*/ 137807 h 873131"/>
                  <a:gd name="connsiteX1392" fmla="*/ 242111 w 1122648"/>
                  <a:gd name="connsiteY1392" fmla="*/ 138072 h 873131"/>
                  <a:gd name="connsiteX1393" fmla="*/ 237702 w 1122648"/>
                  <a:gd name="connsiteY1393" fmla="*/ 135691 h 873131"/>
                  <a:gd name="connsiteX1394" fmla="*/ 236556 w 1122648"/>
                  <a:gd name="connsiteY1394" fmla="*/ 133928 h 873131"/>
                  <a:gd name="connsiteX1395" fmla="*/ 232765 w 1122648"/>
                  <a:gd name="connsiteY1395" fmla="*/ 133311 h 873131"/>
                  <a:gd name="connsiteX1396" fmla="*/ 231001 w 1122648"/>
                  <a:gd name="connsiteY1396" fmla="*/ 133928 h 873131"/>
                  <a:gd name="connsiteX1397" fmla="*/ 231001 w 1122648"/>
                  <a:gd name="connsiteY1397" fmla="*/ 135074 h 873131"/>
                  <a:gd name="connsiteX1398" fmla="*/ 224918 w 1122648"/>
                  <a:gd name="connsiteY1398" fmla="*/ 136220 h 873131"/>
                  <a:gd name="connsiteX1399" fmla="*/ 220509 w 1122648"/>
                  <a:gd name="connsiteY1399" fmla="*/ 132164 h 873131"/>
                  <a:gd name="connsiteX1400" fmla="*/ 219628 w 1122648"/>
                  <a:gd name="connsiteY1400" fmla="*/ 130136 h 873131"/>
                  <a:gd name="connsiteX1401" fmla="*/ 214073 w 1122648"/>
                  <a:gd name="connsiteY1401" fmla="*/ 127492 h 873131"/>
                  <a:gd name="connsiteX1402" fmla="*/ 214955 w 1122648"/>
                  <a:gd name="connsiteY1402" fmla="*/ 126345 h 873131"/>
                  <a:gd name="connsiteX1403" fmla="*/ 211163 w 1122648"/>
                  <a:gd name="connsiteY1403" fmla="*/ 124317 h 873131"/>
                  <a:gd name="connsiteX1404" fmla="*/ 211163 w 1122648"/>
                  <a:gd name="connsiteY1404" fmla="*/ 125816 h 873131"/>
                  <a:gd name="connsiteX1405" fmla="*/ 208518 w 1122648"/>
                  <a:gd name="connsiteY1405" fmla="*/ 124317 h 873131"/>
                  <a:gd name="connsiteX1406" fmla="*/ 207372 w 1122648"/>
                  <a:gd name="connsiteY1406" fmla="*/ 122025 h 873131"/>
                  <a:gd name="connsiteX1407" fmla="*/ 204991 w 1122648"/>
                  <a:gd name="connsiteY1407" fmla="*/ 122907 h 873131"/>
                  <a:gd name="connsiteX1408" fmla="*/ 202699 w 1122648"/>
                  <a:gd name="connsiteY1408" fmla="*/ 121408 h 873131"/>
                  <a:gd name="connsiteX1409" fmla="*/ 200142 w 1122648"/>
                  <a:gd name="connsiteY1409" fmla="*/ 121408 h 873131"/>
                  <a:gd name="connsiteX1410" fmla="*/ 201289 w 1122648"/>
                  <a:gd name="connsiteY1410" fmla="*/ 117881 h 873131"/>
                  <a:gd name="connsiteX1411" fmla="*/ 197233 w 1122648"/>
                  <a:gd name="connsiteY1411" fmla="*/ 116118 h 873131"/>
                  <a:gd name="connsiteX1412" fmla="*/ 195469 w 1122648"/>
                  <a:gd name="connsiteY1412" fmla="*/ 115236 h 873131"/>
                  <a:gd name="connsiteX1413" fmla="*/ 188769 w 1122648"/>
                  <a:gd name="connsiteY1413" fmla="*/ 107036 h 873131"/>
                  <a:gd name="connsiteX1414" fmla="*/ 181451 w 1122648"/>
                  <a:gd name="connsiteY1414" fmla="*/ 106155 h 873131"/>
                  <a:gd name="connsiteX1415" fmla="*/ 171576 w 1122648"/>
                  <a:gd name="connsiteY1415" fmla="*/ 106155 h 873131"/>
                  <a:gd name="connsiteX1416" fmla="*/ 170694 w 1122648"/>
                  <a:gd name="connsiteY1416" fmla="*/ 110563 h 873131"/>
                  <a:gd name="connsiteX1417" fmla="*/ 174221 w 1122648"/>
                  <a:gd name="connsiteY1417" fmla="*/ 115765 h 873131"/>
                  <a:gd name="connsiteX1418" fmla="*/ 172722 w 1122648"/>
                  <a:gd name="connsiteY1418" fmla="*/ 121055 h 873131"/>
                  <a:gd name="connsiteX1419" fmla="*/ 167520 w 1122648"/>
                  <a:gd name="connsiteY1419" fmla="*/ 123083 h 873131"/>
                  <a:gd name="connsiteX1420" fmla="*/ 159056 w 1122648"/>
                  <a:gd name="connsiteY1420" fmla="*/ 123083 h 873131"/>
                  <a:gd name="connsiteX1421" fmla="*/ 159056 w 1122648"/>
                  <a:gd name="connsiteY1421" fmla="*/ 135339 h 873131"/>
                  <a:gd name="connsiteX1422" fmla="*/ 170165 w 1122648"/>
                  <a:gd name="connsiteY1422" fmla="*/ 154030 h 873131"/>
                  <a:gd name="connsiteX1423" fmla="*/ 168666 w 1122648"/>
                  <a:gd name="connsiteY1423" fmla="*/ 154030 h 873131"/>
                  <a:gd name="connsiteX1424" fmla="*/ 168402 w 1122648"/>
                  <a:gd name="connsiteY1424" fmla="*/ 156323 h 873131"/>
                  <a:gd name="connsiteX1425" fmla="*/ 162583 w 1122648"/>
                  <a:gd name="connsiteY1425" fmla="*/ 156587 h 873131"/>
                  <a:gd name="connsiteX1426" fmla="*/ 158174 w 1122648"/>
                  <a:gd name="connsiteY1426" fmla="*/ 160995 h 873131"/>
                  <a:gd name="connsiteX1427" fmla="*/ 154648 w 1122648"/>
                  <a:gd name="connsiteY1427" fmla="*/ 162142 h 873131"/>
                  <a:gd name="connsiteX1428" fmla="*/ 154912 w 1122648"/>
                  <a:gd name="connsiteY1428" fmla="*/ 159849 h 873131"/>
                  <a:gd name="connsiteX1429" fmla="*/ 151385 w 1122648"/>
                  <a:gd name="connsiteY1429" fmla="*/ 158086 h 873131"/>
                  <a:gd name="connsiteX1430" fmla="*/ 138248 w 1122648"/>
                  <a:gd name="connsiteY1430" fmla="*/ 158703 h 873131"/>
                  <a:gd name="connsiteX1431" fmla="*/ 118675 w 1122648"/>
                  <a:gd name="connsiteY1431" fmla="*/ 152884 h 873131"/>
                  <a:gd name="connsiteX1432" fmla="*/ 119821 w 1122648"/>
                  <a:gd name="connsiteY1432" fmla="*/ 158703 h 873131"/>
                  <a:gd name="connsiteX1433" fmla="*/ 121232 w 1122648"/>
                  <a:gd name="connsiteY1433" fmla="*/ 193441 h 873131"/>
                  <a:gd name="connsiteX1434" fmla="*/ 127932 w 1122648"/>
                  <a:gd name="connsiteY1434" fmla="*/ 196087 h 873131"/>
                  <a:gd name="connsiteX1435" fmla="*/ 129696 w 1122648"/>
                  <a:gd name="connsiteY1435" fmla="*/ 203934 h 873131"/>
                  <a:gd name="connsiteX1436" fmla="*/ 124141 w 1122648"/>
                  <a:gd name="connsiteY1436" fmla="*/ 201024 h 873131"/>
                  <a:gd name="connsiteX1437" fmla="*/ 117440 w 1122648"/>
                  <a:gd name="connsiteY1437" fmla="*/ 203052 h 873131"/>
                  <a:gd name="connsiteX1438" fmla="*/ 110475 w 1122648"/>
                  <a:gd name="connsiteY1438" fmla="*/ 198379 h 873131"/>
                  <a:gd name="connsiteX1439" fmla="*/ 99366 w 1122648"/>
                  <a:gd name="connsiteY1439" fmla="*/ 202787 h 873131"/>
                  <a:gd name="connsiteX1440" fmla="*/ 82173 w 1122648"/>
                  <a:gd name="connsiteY1440" fmla="*/ 205697 h 873131"/>
                  <a:gd name="connsiteX1441" fmla="*/ 78646 w 1122648"/>
                  <a:gd name="connsiteY1441" fmla="*/ 208606 h 873131"/>
                  <a:gd name="connsiteX1442" fmla="*/ 82702 w 1122648"/>
                  <a:gd name="connsiteY1442" fmla="*/ 211780 h 873131"/>
                  <a:gd name="connsiteX1443" fmla="*/ 87110 w 1122648"/>
                  <a:gd name="connsiteY1443" fmla="*/ 211252 h 873131"/>
                  <a:gd name="connsiteX1444" fmla="*/ 93811 w 1122648"/>
                  <a:gd name="connsiteY1444" fmla="*/ 214161 h 873131"/>
                  <a:gd name="connsiteX1445" fmla="*/ 92401 w 1122648"/>
                  <a:gd name="connsiteY1445" fmla="*/ 215924 h 873131"/>
                  <a:gd name="connsiteX1446" fmla="*/ 91784 w 1122648"/>
                  <a:gd name="connsiteY1446" fmla="*/ 220333 h 873131"/>
                  <a:gd name="connsiteX1447" fmla="*/ 96985 w 1122648"/>
                  <a:gd name="connsiteY1447" fmla="*/ 228180 h 873131"/>
                  <a:gd name="connsiteX1448" fmla="*/ 108976 w 1122648"/>
                  <a:gd name="connsiteY1448" fmla="*/ 244226 h 873131"/>
                  <a:gd name="connsiteX1449" fmla="*/ 109593 w 1122648"/>
                  <a:gd name="connsiteY1449" fmla="*/ 247753 h 873131"/>
                  <a:gd name="connsiteX1450" fmla="*/ 111357 w 1122648"/>
                  <a:gd name="connsiteY1450" fmla="*/ 248018 h 873131"/>
                  <a:gd name="connsiteX1451" fmla="*/ 113120 w 1122648"/>
                  <a:gd name="connsiteY1451" fmla="*/ 252426 h 873131"/>
                  <a:gd name="connsiteX1452" fmla="*/ 107566 w 1122648"/>
                  <a:gd name="connsiteY1452" fmla="*/ 255336 h 873131"/>
                  <a:gd name="connsiteX1453" fmla="*/ 111621 w 1122648"/>
                  <a:gd name="connsiteY1453" fmla="*/ 259127 h 873131"/>
                  <a:gd name="connsiteX1454" fmla="*/ 105802 w 1122648"/>
                  <a:gd name="connsiteY1454" fmla="*/ 260538 h 873131"/>
                  <a:gd name="connsiteX1455" fmla="*/ 105802 w 1122648"/>
                  <a:gd name="connsiteY1455" fmla="*/ 265828 h 873131"/>
                  <a:gd name="connsiteX1456" fmla="*/ 111621 w 1122648"/>
                  <a:gd name="connsiteY1456" fmla="*/ 278965 h 873131"/>
                  <a:gd name="connsiteX1457" fmla="*/ 105185 w 1122648"/>
                  <a:gd name="connsiteY1457" fmla="*/ 279847 h 873131"/>
                  <a:gd name="connsiteX1458" fmla="*/ 104656 w 1122648"/>
                  <a:gd name="connsiteY1458" fmla="*/ 283373 h 873131"/>
                  <a:gd name="connsiteX1459" fmla="*/ 83054 w 1122648"/>
                  <a:gd name="connsiteY1459" fmla="*/ 293865 h 873131"/>
                  <a:gd name="connsiteX1460" fmla="*/ 77500 w 1122648"/>
                  <a:gd name="connsiteY1460" fmla="*/ 304093 h 873131"/>
                  <a:gd name="connsiteX1461" fmla="*/ 52989 w 1122648"/>
                  <a:gd name="connsiteY1461" fmla="*/ 304974 h 873131"/>
                  <a:gd name="connsiteX1462" fmla="*/ 51491 w 1122648"/>
                  <a:gd name="connsiteY1462" fmla="*/ 315731 h 873131"/>
                  <a:gd name="connsiteX1463" fmla="*/ 48228 w 1122648"/>
                  <a:gd name="connsiteY1463" fmla="*/ 321286 h 873131"/>
                  <a:gd name="connsiteX1464" fmla="*/ 45319 w 1122648"/>
                  <a:gd name="connsiteY1464" fmla="*/ 319258 h 873131"/>
                  <a:gd name="connsiteX1465" fmla="*/ 40381 w 1122648"/>
                  <a:gd name="connsiteY1465" fmla="*/ 322784 h 873131"/>
                  <a:gd name="connsiteX1466" fmla="*/ 34209 w 1122648"/>
                  <a:gd name="connsiteY1466" fmla="*/ 322784 h 873131"/>
                  <a:gd name="connsiteX1467" fmla="*/ 29537 w 1122648"/>
                  <a:gd name="connsiteY1467" fmla="*/ 314056 h 873131"/>
                  <a:gd name="connsiteX1468" fmla="*/ 23982 w 1122648"/>
                  <a:gd name="connsiteY1468" fmla="*/ 319346 h 873131"/>
                  <a:gd name="connsiteX1469" fmla="*/ 17545 w 1122648"/>
                  <a:gd name="connsiteY1469" fmla="*/ 317583 h 873131"/>
                  <a:gd name="connsiteX1470" fmla="*/ 18692 w 1122648"/>
                  <a:gd name="connsiteY1470" fmla="*/ 321991 h 873131"/>
                  <a:gd name="connsiteX1471" fmla="*/ 15782 w 1122648"/>
                  <a:gd name="connsiteY1471" fmla="*/ 321374 h 873131"/>
                  <a:gd name="connsiteX1472" fmla="*/ 10845 w 1122648"/>
                  <a:gd name="connsiteY1472" fmla="*/ 326664 h 873131"/>
                  <a:gd name="connsiteX1473" fmla="*/ 2645 w 1122648"/>
                  <a:gd name="connsiteY1473" fmla="*/ 328692 h 873131"/>
                  <a:gd name="connsiteX1474" fmla="*/ 1763 w 1122648"/>
                  <a:gd name="connsiteY1474" fmla="*/ 334863 h 873131"/>
                  <a:gd name="connsiteX1475" fmla="*/ 4673 w 1122648"/>
                  <a:gd name="connsiteY1475" fmla="*/ 340418 h 873131"/>
                  <a:gd name="connsiteX1476" fmla="*/ 4408 w 1122648"/>
                  <a:gd name="connsiteY1476" fmla="*/ 343592 h 873131"/>
                  <a:gd name="connsiteX1477" fmla="*/ 0 w 1122648"/>
                  <a:gd name="connsiteY1477" fmla="*/ 343857 h 873131"/>
                  <a:gd name="connsiteX1478" fmla="*/ 1499 w 1122648"/>
                  <a:gd name="connsiteY1478" fmla="*/ 347383 h 873131"/>
                  <a:gd name="connsiteX1479" fmla="*/ 7935 w 1122648"/>
                  <a:gd name="connsiteY1479" fmla="*/ 355583 h 873131"/>
                  <a:gd name="connsiteX1480" fmla="*/ 5555 w 1122648"/>
                  <a:gd name="connsiteY1480" fmla="*/ 359110 h 873131"/>
                  <a:gd name="connsiteX1481" fmla="*/ 12520 w 1122648"/>
                  <a:gd name="connsiteY1481" fmla="*/ 366692 h 873131"/>
                  <a:gd name="connsiteX1482" fmla="*/ 15165 w 1122648"/>
                  <a:gd name="connsiteY1482" fmla="*/ 366428 h 873131"/>
                  <a:gd name="connsiteX1483" fmla="*/ 14812 w 1122648"/>
                  <a:gd name="connsiteY1483" fmla="*/ 363254 h 873131"/>
                  <a:gd name="connsiteX1484" fmla="*/ 20103 w 1122648"/>
                  <a:gd name="connsiteY1484" fmla="*/ 363254 h 873131"/>
                  <a:gd name="connsiteX1485" fmla="*/ 31476 w 1122648"/>
                  <a:gd name="connsiteY1485" fmla="*/ 368191 h 873131"/>
                  <a:gd name="connsiteX1486" fmla="*/ 33240 w 1122648"/>
                  <a:gd name="connsiteY1486" fmla="*/ 375509 h 873131"/>
                  <a:gd name="connsiteX1487" fmla="*/ 39323 w 1122648"/>
                  <a:gd name="connsiteY1487" fmla="*/ 385384 h 873131"/>
                  <a:gd name="connsiteX1488" fmla="*/ 39941 w 1122648"/>
                  <a:gd name="connsiteY1488" fmla="*/ 390057 h 873131"/>
                  <a:gd name="connsiteX1489" fmla="*/ 46377 w 1122648"/>
                  <a:gd name="connsiteY1489" fmla="*/ 394994 h 873131"/>
                  <a:gd name="connsiteX1490" fmla="*/ 42145 w 1122648"/>
                  <a:gd name="connsiteY1490" fmla="*/ 398697 h 873131"/>
                  <a:gd name="connsiteX1491" fmla="*/ 869076 w 1122648"/>
                  <a:gd name="connsiteY1491" fmla="*/ 827725 h 873131"/>
                  <a:gd name="connsiteX1492" fmla="*/ 870839 w 1122648"/>
                  <a:gd name="connsiteY1492" fmla="*/ 827725 h 873131"/>
                  <a:gd name="connsiteX1493" fmla="*/ 874101 w 1122648"/>
                  <a:gd name="connsiteY1493" fmla="*/ 827725 h 873131"/>
                  <a:gd name="connsiteX1494" fmla="*/ 875512 w 1122648"/>
                  <a:gd name="connsiteY1494" fmla="*/ 828871 h 873131"/>
                  <a:gd name="connsiteX1495" fmla="*/ 879304 w 1122648"/>
                  <a:gd name="connsiteY1495" fmla="*/ 827725 h 873131"/>
                  <a:gd name="connsiteX1496" fmla="*/ 879568 w 1122648"/>
                  <a:gd name="connsiteY1496" fmla="*/ 830017 h 873131"/>
                  <a:gd name="connsiteX1497" fmla="*/ 881596 w 1122648"/>
                  <a:gd name="connsiteY1497" fmla="*/ 825961 h 873131"/>
                  <a:gd name="connsiteX1498" fmla="*/ 886886 w 1122648"/>
                  <a:gd name="connsiteY1498" fmla="*/ 825961 h 873131"/>
                  <a:gd name="connsiteX1499" fmla="*/ 889178 w 1122648"/>
                  <a:gd name="connsiteY1499" fmla="*/ 829753 h 873131"/>
                  <a:gd name="connsiteX1500" fmla="*/ 888561 w 1122648"/>
                  <a:gd name="connsiteY1500" fmla="*/ 825080 h 873131"/>
                  <a:gd name="connsiteX1501" fmla="*/ 893499 w 1122648"/>
                  <a:gd name="connsiteY1501" fmla="*/ 829753 h 873131"/>
                  <a:gd name="connsiteX1502" fmla="*/ 891470 w 1122648"/>
                  <a:gd name="connsiteY1502" fmla="*/ 825080 h 873131"/>
                  <a:gd name="connsiteX1503" fmla="*/ 893763 w 1122648"/>
                  <a:gd name="connsiteY1503" fmla="*/ 824198 h 873131"/>
                  <a:gd name="connsiteX1504" fmla="*/ 896408 w 1122648"/>
                  <a:gd name="connsiteY1504" fmla="*/ 827725 h 873131"/>
                  <a:gd name="connsiteX1505" fmla="*/ 899935 w 1122648"/>
                  <a:gd name="connsiteY1505" fmla="*/ 827725 h 873131"/>
                  <a:gd name="connsiteX1506" fmla="*/ 903462 w 1122648"/>
                  <a:gd name="connsiteY1506" fmla="*/ 836189 h 873131"/>
                  <a:gd name="connsiteX1507" fmla="*/ 899406 w 1122648"/>
                  <a:gd name="connsiteY1507" fmla="*/ 838834 h 873131"/>
                  <a:gd name="connsiteX1508" fmla="*/ 897907 w 1122648"/>
                  <a:gd name="connsiteY1508" fmla="*/ 836189 h 873131"/>
                  <a:gd name="connsiteX1509" fmla="*/ 895615 w 1122648"/>
                  <a:gd name="connsiteY1509" fmla="*/ 848709 h 873131"/>
                  <a:gd name="connsiteX1510" fmla="*/ 893851 w 1122648"/>
                  <a:gd name="connsiteY1510" fmla="*/ 848092 h 873131"/>
                  <a:gd name="connsiteX1511" fmla="*/ 894997 w 1122648"/>
                  <a:gd name="connsiteY1511" fmla="*/ 849855 h 873131"/>
                  <a:gd name="connsiteX1512" fmla="*/ 895615 w 1122648"/>
                  <a:gd name="connsiteY1512" fmla="*/ 848973 h 873131"/>
                  <a:gd name="connsiteX1513" fmla="*/ 893851 w 1122648"/>
                  <a:gd name="connsiteY1513" fmla="*/ 856291 h 873131"/>
                  <a:gd name="connsiteX1514" fmla="*/ 894997 w 1122648"/>
                  <a:gd name="connsiteY1514" fmla="*/ 855410 h 873131"/>
                  <a:gd name="connsiteX1515" fmla="*/ 896496 w 1122648"/>
                  <a:gd name="connsiteY1515" fmla="*/ 858055 h 873131"/>
                  <a:gd name="connsiteX1516" fmla="*/ 894468 w 1122648"/>
                  <a:gd name="connsiteY1516" fmla="*/ 860435 h 873131"/>
                  <a:gd name="connsiteX1517" fmla="*/ 890677 w 1122648"/>
                  <a:gd name="connsiteY1517" fmla="*/ 860435 h 873131"/>
                  <a:gd name="connsiteX1518" fmla="*/ 887150 w 1122648"/>
                  <a:gd name="connsiteY1518" fmla="*/ 864491 h 873131"/>
                  <a:gd name="connsiteX1519" fmla="*/ 887767 w 1122648"/>
                  <a:gd name="connsiteY1519" fmla="*/ 868282 h 873131"/>
                  <a:gd name="connsiteX1520" fmla="*/ 886004 w 1122648"/>
                  <a:gd name="connsiteY1520" fmla="*/ 866783 h 873131"/>
                  <a:gd name="connsiteX1521" fmla="*/ 880802 w 1122648"/>
                  <a:gd name="connsiteY1521" fmla="*/ 867930 h 873131"/>
                  <a:gd name="connsiteX1522" fmla="*/ 879656 w 1122648"/>
                  <a:gd name="connsiteY1522" fmla="*/ 871721 h 873131"/>
                  <a:gd name="connsiteX1523" fmla="*/ 878510 w 1122648"/>
                  <a:gd name="connsiteY1523" fmla="*/ 873131 h 873131"/>
                  <a:gd name="connsiteX1524" fmla="*/ 876482 w 1122648"/>
                  <a:gd name="connsiteY1524" fmla="*/ 870839 h 873131"/>
                  <a:gd name="connsiteX1525" fmla="*/ 875600 w 1122648"/>
                  <a:gd name="connsiteY1525" fmla="*/ 873131 h 873131"/>
                  <a:gd name="connsiteX1526" fmla="*/ 874983 w 1122648"/>
                  <a:gd name="connsiteY1526" fmla="*/ 869957 h 873131"/>
                  <a:gd name="connsiteX1527" fmla="*/ 868547 w 1122648"/>
                  <a:gd name="connsiteY1527" fmla="*/ 869957 h 873131"/>
                  <a:gd name="connsiteX1528" fmla="*/ 866783 w 1122648"/>
                  <a:gd name="connsiteY1528" fmla="*/ 867665 h 873131"/>
                  <a:gd name="connsiteX1529" fmla="*/ 858936 w 1122648"/>
                  <a:gd name="connsiteY1529" fmla="*/ 866166 h 873131"/>
                  <a:gd name="connsiteX1530" fmla="*/ 858055 w 1122648"/>
                  <a:gd name="connsiteY1530" fmla="*/ 864403 h 873131"/>
                  <a:gd name="connsiteX1531" fmla="*/ 856909 w 1122648"/>
                  <a:gd name="connsiteY1531" fmla="*/ 858319 h 873131"/>
                  <a:gd name="connsiteX1532" fmla="*/ 854881 w 1122648"/>
                  <a:gd name="connsiteY1532" fmla="*/ 856291 h 873131"/>
                  <a:gd name="connsiteX1533" fmla="*/ 857526 w 1122648"/>
                  <a:gd name="connsiteY1533" fmla="*/ 853117 h 873131"/>
                  <a:gd name="connsiteX1534" fmla="*/ 854352 w 1122648"/>
                  <a:gd name="connsiteY1534" fmla="*/ 849943 h 873131"/>
                  <a:gd name="connsiteX1535" fmla="*/ 852853 w 1122648"/>
                  <a:gd name="connsiteY1535" fmla="*/ 844389 h 873131"/>
                  <a:gd name="connsiteX1536" fmla="*/ 856380 w 1122648"/>
                  <a:gd name="connsiteY1536" fmla="*/ 838834 h 873131"/>
                  <a:gd name="connsiteX1537" fmla="*/ 865990 w 1122648"/>
                  <a:gd name="connsiteY1537" fmla="*/ 834426 h 873131"/>
                  <a:gd name="connsiteX1538" fmla="*/ 865725 w 1122648"/>
                  <a:gd name="connsiteY1538" fmla="*/ 832662 h 873131"/>
                  <a:gd name="connsiteX1539" fmla="*/ 862816 w 1122648"/>
                  <a:gd name="connsiteY1539" fmla="*/ 834426 h 873131"/>
                  <a:gd name="connsiteX1540" fmla="*/ 865196 w 1122648"/>
                  <a:gd name="connsiteY1540" fmla="*/ 829753 h 873131"/>
                  <a:gd name="connsiteX1541" fmla="*/ 871632 w 1122648"/>
                  <a:gd name="connsiteY1541" fmla="*/ 830634 h 873131"/>
                  <a:gd name="connsiteX1542" fmla="*/ 869076 w 1122648"/>
                  <a:gd name="connsiteY1542" fmla="*/ 827725 h 873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</a:cxnLst>
                <a:rect l="l" t="t" r="r" b="b"/>
                <a:pathLst>
                  <a:path w="1122648" h="873131">
                    <a:moveTo>
                      <a:pt x="42145" y="398697"/>
                    </a:moveTo>
                    <a:lnTo>
                      <a:pt x="47435" y="402753"/>
                    </a:lnTo>
                    <a:lnTo>
                      <a:pt x="52989" y="406809"/>
                    </a:lnTo>
                    <a:lnTo>
                      <a:pt x="53871" y="409718"/>
                    </a:lnTo>
                    <a:lnTo>
                      <a:pt x="57398" y="409101"/>
                    </a:lnTo>
                    <a:lnTo>
                      <a:pt x="62071" y="409983"/>
                    </a:lnTo>
                    <a:lnTo>
                      <a:pt x="64451" y="411746"/>
                    </a:lnTo>
                    <a:lnTo>
                      <a:pt x="65068" y="414039"/>
                    </a:lnTo>
                    <a:lnTo>
                      <a:pt x="67096" y="415538"/>
                    </a:lnTo>
                    <a:lnTo>
                      <a:pt x="70623" y="422856"/>
                    </a:lnTo>
                    <a:lnTo>
                      <a:pt x="69124" y="425501"/>
                    </a:lnTo>
                    <a:lnTo>
                      <a:pt x="76089" y="432819"/>
                    </a:lnTo>
                    <a:lnTo>
                      <a:pt x="78117" y="432819"/>
                    </a:lnTo>
                    <a:lnTo>
                      <a:pt x="80145" y="431672"/>
                    </a:lnTo>
                    <a:lnTo>
                      <a:pt x="81292" y="429909"/>
                    </a:lnTo>
                    <a:lnTo>
                      <a:pt x="85964" y="435464"/>
                    </a:lnTo>
                    <a:lnTo>
                      <a:pt x="89138" y="435728"/>
                    </a:lnTo>
                    <a:lnTo>
                      <a:pt x="90020" y="438638"/>
                    </a:lnTo>
                    <a:lnTo>
                      <a:pt x="92665" y="439255"/>
                    </a:lnTo>
                    <a:lnTo>
                      <a:pt x="95927" y="439255"/>
                    </a:lnTo>
                    <a:lnTo>
                      <a:pt x="102363" y="440754"/>
                    </a:lnTo>
                    <a:lnTo>
                      <a:pt x="104656" y="441900"/>
                    </a:lnTo>
                    <a:lnTo>
                      <a:pt x="105538" y="441283"/>
                    </a:lnTo>
                    <a:lnTo>
                      <a:pt x="112855" y="441283"/>
                    </a:lnTo>
                    <a:lnTo>
                      <a:pt x="115148" y="441900"/>
                    </a:lnTo>
                    <a:lnTo>
                      <a:pt x="115765" y="441283"/>
                    </a:lnTo>
                    <a:lnTo>
                      <a:pt x="115501" y="440137"/>
                    </a:lnTo>
                    <a:lnTo>
                      <a:pt x="116382" y="439255"/>
                    </a:lnTo>
                    <a:lnTo>
                      <a:pt x="118410" y="440137"/>
                    </a:lnTo>
                    <a:lnTo>
                      <a:pt x="120438" y="437227"/>
                    </a:lnTo>
                    <a:lnTo>
                      <a:pt x="121320" y="436345"/>
                    </a:lnTo>
                    <a:lnTo>
                      <a:pt x="122818" y="435728"/>
                    </a:lnTo>
                    <a:lnTo>
                      <a:pt x="123965" y="434582"/>
                    </a:lnTo>
                    <a:lnTo>
                      <a:pt x="125376" y="434582"/>
                    </a:lnTo>
                    <a:lnTo>
                      <a:pt x="129167" y="430173"/>
                    </a:lnTo>
                    <a:lnTo>
                      <a:pt x="141158" y="429292"/>
                    </a:lnTo>
                    <a:lnTo>
                      <a:pt x="141422" y="430703"/>
                    </a:lnTo>
                    <a:lnTo>
                      <a:pt x="148123" y="433348"/>
                    </a:lnTo>
                    <a:lnTo>
                      <a:pt x="148652" y="435376"/>
                    </a:lnTo>
                    <a:lnTo>
                      <a:pt x="149269" y="437403"/>
                    </a:lnTo>
                    <a:lnTo>
                      <a:pt x="152443" y="437403"/>
                    </a:lnTo>
                    <a:lnTo>
                      <a:pt x="152708" y="439167"/>
                    </a:lnTo>
                    <a:lnTo>
                      <a:pt x="156235" y="438902"/>
                    </a:lnTo>
                    <a:lnTo>
                      <a:pt x="157998" y="444721"/>
                    </a:lnTo>
                    <a:lnTo>
                      <a:pt x="158880" y="442958"/>
                    </a:lnTo>
                    <a:lnTo>
                      <a:pt x="160907" y="439167"/>
                    </a:lnTo>
                    <a:lnTo>
                      <a:pt x="166462" y="440666"/>
                    </a:lnTo>
                    <a:lnTo>
                      <a:pt x="165316" y="456095"/>
                    </a:lnTo>
                    <a:lnTo>
                      <a:pt x="165580" y="457241"/>
                    </a:lnTo>
                    <a:lnTo>
                      <a:pt x="164963" y="459886"/>
                    </a:lnTo>
                    <a:lnTo>
                      <a:pt x="164963" y="461650"/>
                    </a:lnTo>
                    <a:lnTo>
                      <a:pt x="160907" y="461650"/>
                    </a:lnTo>
                    <a:lnTo>
                      <a:pt x="161525" y="463942"/>
                    </a:lnTo>
                    <a:lnTo>
                      <a:pt x="157998" y="466323"/>
                    </a:lnTo>
                    <a:lnTo>
                      <a:pt x="162054" y="467204"/>
                    </a:lnTo>
                    <a:lnTo>
                      <a:pt x="160290" y="468350"/>
                    </a:lnTo>
                    <a:lnTo>
                      <a:pt x="153589" y="468350"/>
                    </a:lnTo>
                    <a:lnTo>
                      <a:pt x="157998" y="473288"/>
                    </a:lnTo>
                    <a:lnTo>
                      <a:pt x="156235" y="473288"/>
                    </a:lnTo>
                    <a:lnTo>
                      <a:pt x="156852" y="477079"/>
                    </a:lnTo>
                    <a:lnTo>
                      <a:pt x="154824" y="478225"/>
                    </a:lnTo>
                    <a:lnTo>
                      <a:pt x="150151" y="477608"/>
                    </a:lnTo>
                    <a:lnTo>
                      <a:pt x="148123" y="478754"/>
                    </a:lnTo>
                    <a:lnTo>
                      <a:pt x="146624" y="478137"/>
                    </a:lnTo>
                    <a:lnTo>
                      <a:pt x="145125" y="479283"/>
                    </a:lnTo>
                    <a:lnTo>
                      <a:pt x="150680" y="488012"/>
                    </a:lnTo>
                    <a:lnTo>
                      <a:pt x="147418" y="488012"/>
                    </a:lnTo>
                    <a:lnTo>
                      <a:pt x="148917" y="492685"/>
                    </a:lnTo>
                    <a:lnTo>
                      <a:pt x="152972" y="497975"/>
                    </a:lnTo>
                    <a:lnTo>
                      <a:pt x="154735" y="497975"/>
                    </a:lnTo>
                    <a:lnTo>
                      <a:pt x="157116" y="498592"/>
                    </a:lnTo>
                    <a:lnTo>
                      <a:pt x="159409" y="499209"/>
                    </a:lnTo>
                    <a:lnTo>
                      <a:pt x="160555" y="503882"/>
                    </a:lnTo>
                    <a:lnTo>
                      <a:pt x="164875" y="508291"/>
                    </a:lnTo>
                    <a:lnTo>
                      <a:pt x="165227" y="509437"/>
                    </a:lnTo>
                    <a:lnTo>
                      <a:pt x="165492" y="511200"/>
                    </a:lnTo>
                    <a:lnTo>
                      <a:pt x="162847" y="514463"/>
                    </a:lnTo>
                    <a:lnTo>
                      <a:pt x="163376" y="516490"/>
                    </a:lnTo>
                    <a:lnTo>
                      <a:pt x="160467" y="516490"/>
                    </a:lnTo>
                    <a:lnTo>
                      <a:pt x="156940" y="519400"/>
                    </a:lnTo>
                    <a:lnTo>
                      <a:pt x="151650" y="517108"/>
                    </a:lnTo>
                    <a:lnTo>
                      <a:pt x="150503" y="512699"/>
                    </a:lnTo>
                    <a:lnTo>
                      <a:pt x="145831" y="512964"/>
                    </a:lnTo>
                    <a:lnTo>
                      <a:pt x="143185" y="512964"/>
                    </a:lnTo>
                    <a:lnTo>
                      <a:pt x="144685" y="519664"/>
                    </a:lnTo>
                    <a:lnTo>
                      <a:pt x="145566" y="522574"/>
                    </a:lnTo>
                    <a:lnTo>
                      <a:pt x="154030" y="528746"/>
                    </a:lnTo>
                    <a:lnTo>
                      <a:pt x="154383" y="534829"/>
                    </a:lnTo>
                    <a:lnTo>
                      <a:pt x="156146" y="535447"/>
                    </a:lnTo>
                    <a:lnTo>
                      <a:pt x="158174" y="538092"/>
                    </a:lnTo>
                    <a:lnTo>
                      <a:pt x="156146" y="540737"/>
                    </a:lnTo>
                    <a:lnTo>
                      <a:pt x="157293" y="542236"/>
                    </a:lnTo>
                    <a:lnTo>
                      <a:pt x="158439" y="545762"/>
                    </a:lnTo>
                    <a:lnTo>
                      <a:pt x="163112" y="545498"/>
                    </a:lnTo>
                    <a:lnTo>
                      <a:pt x="163640" y="542324"/>
                    </a:lnTo>
                    <a:lnTo>
                      <a:pt x="165669" y="544352"/>
                    </a:lnTo>
                    <a:lnTo>
                      <a:pt x="167432" y="546379"/>
                    </a:lnTo>
                    <a:lnTo>
                      <a:pt x="168931" y="548407"/>
                    </a:lnTo>
                    <a:lnTo>
                      <a:pt x="170077" y="549554"/>
                    </a:lnTo>
                    <a:lnTo>
                      <a:pt x="172369" y="551846"/>
                    </a:lnTo>
                    <a:lnTo>
                      <a:pt x="175279" y="553874"/>
                    </a:lnTo>
                    <a:lnTo>
                      <a:pt x="178541" y="553874"/>
                    </a:lnTo>
                    <a:lnTo>
                      <a:pt x="180569" y="553874"/>
                    </a:lnTo>
                    <a:lnTo>
                      <a:pt x="183831" y="553874"/>
                    </a:lnTo>
                    <a:lnTo>
                      <a:pt x="185242" y="555637"/>
                    </a:lnTo>
                    <a:lnTo>
                      <a:pt x="185859" y="555637"/>
                    </a:lnTo>
                    <a:lnTo>
                      <a:pt x="187623" y="557665"/>
                    </a:lnTo>
                    <a:lnTo>
                      <a:pt x="190797" y="558282"/>
                    </a:lnTo>
                    <a:lnTo>
                      <a:pt x="192560" y="561192"/>
                    </a:lnTo>
                    <a:lnTo>
                      <a:pt x="191414" y="561192"/>
                    </a:lnTo>
                    <a:lnTo>
                      <a:pt x="192912" y="563220"/>
                    </a:lnTo>
                    <a:lnTo>
                      <a:pt x="192295" y="564719"/>
                    </a:lnTo>
                    <a:lnTo>
                      <a:pt x="201289" y="567011"/>
                    </a:lnTo>
                    <a:lnTo>
                      <a:pt x="205432" y="568157"/>
                    </a:lnTo>
                    <a:lnTo>
                      <a:pt x="212133" y="572213"/>
                    </a:lnTo>
                    <a:lnTo>
                      <a:pt x="213897" y="570449"/>
                    </a:lnTo>
                    <a:lnTo>
                      <a:pt x="214778" y="571067"/>
                    </a:lnTo>
                    <a:lnTo>
                      <a:pt x="215395" y="569568"/>
                    </a:lnTo>
                    <a:lnTo>
                      <a:pt x="214514" y="568422"/>
                    </a:lnTo>
                    <a:lnTo>
                      <a:pt x="215395" y="567275"/>
                    </a:lnTo>
                    <a:lnTo>
                      <a:pt x="216277" y="568422"/>
                    </a:lnTo>
                    <a:lnTo>
                      <a:pt x="218305" y="567540"/>
                    </a:lnTo>
                    <a:lnTo>
                      <a:pt x="220333" y="572477"/>
                    </a:lnTo>
                    <a:lnTo>
                      <a:pt x="222978" y="572742"/>
                    </a:lnTo>
                    <a:lnTo>
                      <a:pt x="224741" y="570978"/>
                    </a:lnTo>
                    <a:lnTo>
                      <a:pt x="224477" y="569480"/>
                    </a:lnTo>
                    <a:lnTo>
                      <a:pt x="225976" y="569215"/>
                    </a:lnTo>
                    <a:lnTo>
                      <a:pt x="226858" y="565424"/>
                    </a:lnTo>
                    <a:lnTo>
                      <a:pt x="227474" y="562779"/>
                    </a:lnTo>
                    <a:lnTo>
                      <a:pt x="230384" y="564278"/>
                    </a:lnTo>
                    <a:lnTo>
                      <a:pt x="232147" y="561633"/>
                    </a:lnTo>
                    <a:lnTo>
                      <a:pt x="243521" y="564013"/>
                    </a:lnTo>
                    <a:lnTo>
                      <a:pt x="245020" y="570978"/>
                    </a:lnTo>
                    <a:lnTo>
                      <a:pt x="254101" y="574770"/>
                    </a:lnTo>
                    <a:lnTo>
                      <a:pt x="261066" y="582088"/>
                    </a:lnTo>
                    <a:lnTo>
                      <a:pt x="264064" y="582088"/>
                    </a:lnTo>
                    <a:lnTo>
                      <a:pt x="266092" y="584468"/>
                    </a:lnTo>
                    <a:lnTo>
                      <a:pt x="267856" y="582969"/>
                    </a:lnTo>
                    <a:lnTo>
                      <a:pt x="270148" y="584468"/>
                    </a:lnTo>
                    <a:lnTo>
                      <a:pt x="270765" y="587378"/>
                    </a:lnTo>
                    <a:lnTo>
                      <a:pt x="272264" y="586761"/>
                    </a:lnTo>
                    <a:lnTo>
                      <a:pt x="278083" y="595842"/>
                    </a:lnTo>
                    <a:lnTo>
                      <a:pt x="279846" y="595842"/>
                    </a:lnTo>
                    <a:lnTo>
                      <a:pt x="280728" y="594079"/>
                    </a:lnTo>
                    <a:lnTo>
                      <a:pt x="288046" y="592580"/>
                    </a:lnTo>
                    <a:lnTo>
                      <a:pt x="291573" y="594343"/>
                    </a:lnTo>
                    <a:lnTo>
                      <a:pt x="292102" y="598399"/>
                    </a:lnTo>
                    <a:lnTo>
                      <a:pt x="293248" y="599016"/>
                    </a:lnTo>
                    <a:lnTo>
                      <a:pt x="292631" y="602190"/>
                    </a:lnTo>
                    <a:lnTo>
                      <a:pt x="306385" y="612418"/>
                    </a:lnTo>
                    <a:lnTo>
                      <a:pt x="309030" y="612682"/>
                    </a:lnTo>
                    <a:lnTo>
                      <a:pt x="311940" y="610037"/>
                    </a:lnTo>
                    <a:lnTo>
                      <a:pt x="314849" y="610919"/>
                    </a:lnTo>
                    <a:lnTo>
                      <a:pt x="314849" y="612947"/>
                    </a:lnTo>
                    <a:lnTo>
                      <a:pt x="312822" y="615239"/>
                    </a:lnTo>
                    <a:lnTo>
                      <a:pt x="312822" y="618766"/>
                    </a:lnTo>
                    <a:lnTo>
                      <a:pt x="316877" y="619912"/>
                    </a:lnTo>
                    <a:lnTo>
                      <a:pt x="322961" y="619295"/>
                    </a:lnTo>
                    <a:lnTo>
                      <a:pt x="324724" y="620441"/>
                    </a:lnTo>
                    <a:lnTo>
                      <a:pt x="326752" y="618149"/>
                    </a:lnTo>
                    <a:lnTo>
                      <a:pt x="328515" y="621587"/>
                    </a:lnTo>
                    <a:lnTo>
                      <a:pt x="331778" y="624497"/>
                    </a:lnTo>
                    <a:lnTo>
                      <a:pt x="331778" y="626260"/>
                    </a:lnTo>
                    <a:lnTo>
                      <a:pt x="333189" y="627406"/>
                    </a:lnTo>
                    <a:lnTo>
                      <a:pt x="333189" y="629434"/>
                    </a:lnTo>
                    <a:lnTo>
                      <a:pt x="334070" y="630316"/>
                    </a:lnTo>
                    <a:lnTo>
                      <a:pt x="335216" y="629699"/>
                    </a:lnTo>
                    <a:lnTo>
                      <a:pt x="336715" y="629081"/>
                    </a:lnTo>
                    <a:lnTo>
                      <a:pt x="335834" y="625026"/>
                    </a:lnTo>
                    <a:lnTo>
                      <a:pt x="337861" y="622733"/>
                    </a:lnTo>
                    <a:lnTo>
                      <a:pt x="338743" y="623879"/>
                    </a:lnTo>
                    <a:lnTo>
                      <a:pt x="338743" y="626789"/>
                    </a:lnTo>
                    <a:lnTo>
                      <a:pt x="344033" y="629699"/>
                    </a:lnTo>
                    <a:lnTo>
                      <a:pt x="346061" y="628288"/>
                    </a:lnTo>
                    <a:lnTo>
                      <a:pt x="346943" y="624232"/>
                    </a:lnTo>
                    <a:lnTo>
                      <a:pt x="350117" y="624232"/>
                    </a:lnTo>
                    <a:lnTo>
                      <a:pt x="351263" y="625114"/>
                    </a:lnTo>
                    <a:lnTo>
                      <a:pt x="351527" y="626613"/>
                    </a:lnTo>
                    <a:lnTo>
                      <a:pt x="354172" y="626877"/>
                    </a:lnTo>
                    <a:lnTo>
                      <a:pt x="355318" y="628641"/>
                    </a:lnTo>
                    <a:lnTo>
                      <a:pt x="357699" y="628023"/>
                    </a:lnTo>
                    <a:lnTo>
                      <a:pt x="361226" y="632079"/>
                    </a:lnTo>
                    <a:lnTo>
                      <a:pt x="366164" y="630933"/>
                    </a:lnTo>
                    <a:lnTo>
                      <a:pt x="366164" y="632432"/>
                    </a:lnTo>
                    <a:lnTo>
                      <a:pt x="369690" y="631286"/>
                    </a:lnTo>
                    <a:lnTo>
                      <a:pt x="373746" y="632432"/>
                    </a:lnTo>
                    <a:lnTo>
                      <a:pt x="375509" y="631550"/>
                    </a:lnTo>
                    <a:lnTo>
                      <a:pt x="376656" y="629522"/>
                    </a:lnTo>
                    <a:lnTo>
                      <a:pt x="384238" y="630668"/>
                    </a:lnTo>
                    <a:lnTo>
                      <a:pt x="384502" y="631815"/>
                    </a:lnTo>
                    <a:lnTo>
                      <a:pt x="387148" y="630668"/>
                    </a:lnTo>
                    <a:lnTo>
                      <a:pt x="391203" y="630404"/>
                    </a:lnTo>
                    <a:lnTo>
                      <a:pt x="392349" y="631815"/>
                    </a:lnTo>
                    <a:lnTo>
                      <a:pt x="394113" y="634989"/>
                    </a:lnTo>
                    <a:lnTo>
                      <a:pt x="394730" y="639926"/>
                    </a:lnTo>
                    <a:lnTo>
                      <a:pt x="397904" y="637546"/>
                    </a:lnTo>
                    <a:lnTo>
                      <a:pt x="399932" y="631991"/>
                    </a:lnTo>
                    <a:lnTo>
                      <a:pt x="402841" y="630228"/>
                    </a:lnTo>
                    <a:lnTo>
                      <a:pt x="407779" y="623527"/>
                    </a:lnTo>
                    <a:lnTo>
                      <a:pt x="416860" y="619118"/>
                    </a:lnTo>
                    <a:lnTo>
                      <a:pt x="424707" y="620617"/>
                    </a:lnTo>
                    <a:lnTo>
                      <a:pt x="425589" y="621234"/>
                    </a:lnTo>
                    <a:lnTo>
                      <a:pt x="425324" y="625026"/>
                    </a:lnTo>
                    <a:lnTo>
                      <a:pt x="436433" y="625907"/>
                    </a:lnTo>
                    <a:lnTo>
                      <a:pt x="439343" y="627671"/>
                    </a:lnTo>
                    <a:lnTo>
                      <a:pt x="441107" y="627935"/>
                    </a:lnTo>
                    <a:lnTo>
                      <a:pt x="445779" y="624761"/>
                    </a:lnTo>
                    <a:lnTo>
                      <a:pt x="446397" y="625907"/>
                    </a:lnTo>
                    <a:lnTo>
                      <a:pt x="452216" y="628817"/>
                    </a:lnTo>
                    <a:lnTo>
                      <a:pt x="464471" y="627671"/>
                    </a:lnTo>
                    <a:lnTo>
                      <a:pt x="473200" y="618060"/>
                    </a:lnTo>
                    <a:lnTo>
                      <a:pt x="479371" y="611624"/>
                    </a:lnTo>
                    <a:lnTo>
                      <a:pt x="489863" y="608979"/>
                    </a:lnTo>
                    <a:lnTo>
                      <a:pt x="493390" y="607480"/>
                    </a:lnTo>
                    <a:lnTo>
                      <a:pt x="495418" y="605717"/>
                    </a:lnTo>
                    <a:lnTo>
                      <a:pt x="495154" y="603953"/>
                    </a:lnTo>
                    <a:lnTo>
                      <a:pt x="496917" y="600691"/>
                    </a:lnTo>
                    <a:lnTo>
                      <a:pt x="499298" y="598663"/>
                    </a:lnTo>
                    <a:lnTo>
                      <a:pt x="499827" y="597782"/>
                    </a:lnTo>
                    <a:lnTo>
                      <a:pt x="503618" y="596018"/>
                    </a:lnTo>
                    <a:lnTo>
                      <a:pt x="505381" y="593373"/>
                    </a:lnTo>
                    <a:lnTo>
                      <a:pt x="508908" y="596018"/>
                    </a:lnTo>
                    <a:lnTo>
                      <a:pt x="509790" y="597429"/>
                    </a:lnTo>
                    <a:lnTo>
                      <a:pt x="514198" y="598928"/>
                    </a:lnTo>
                    <a:lnTo>
                      <a:pt x="518606" y="600691"/>
                    </a:lnTo>
                    <a:lnTo>
                      <a:pt x="523015" y="601837"/>
                    </a:lnTo>
                    <a:lnTo>
                      <a:pt x="525925" y="598928"/>
                    </a:lnTo>
                    <a:lnTo>
                      <a:pt x="525307" y="596283"/>
                    </a:lnTo>
                    <a:lnTo>
                      <a:pt x="529099" y="595401"/>
                    </a:lnTo>
                    <a:lnTo>
                      <a:pt x="532890" y="592756"/>
                    </a:lnTo>
                    <a:lnTo>
                      <a:pt x="534653" y="590728"/>
                    </a:lnTo>
                    <a:lnTo>
                      <a:pt x="535535" y="593373"/>
                    </a:lnTo>
                    <a:lnTo>
                      <a:pt x="538180" y="596900"/>
                    </a:lnTo>
                    <a:lnTo>
                      <a:pt x="541971" y="595401"/>
                    </a:lnTo>
                    <a:lnTo>
                      <a:pt x="542236" y="596283"/>
                    </a:lnTo>
                    <a:lnTo>
                      <a:pt x="543118" y="598575"/>
                    </a:lnTo>
                    <a:lnTo>
                      <a:pt x="539855" y="599192"/>
                    </a:lnTo>
                    <a:lnTo>
                      <a:pt x="538709" y="601837"/>
                    </a:lnTo>
                    <a:lnTo>
                      <a:pt x="541354" y="605364"/>
                    </a:lnTo>
                    <a:lnTo>
                      <a:pt x="542765" y="603336"/>
                    </a:lnTo>
                    <a:lnTo>
                      <a:pt x="544176" y="601837"/>
                    </a:lnTo>
                    <a:lnTo>
                      <a:pt x="546820" y="600691"/>
                    </a:lnTo>
                    <a:lnTo>
                      <a:pt x="545409" y="603336"/>
                    </a:lnTo>
                    <a:lnTo>
                      <a:pt x="551229" y="607745"/>
                    </a:lnTo>
                    <a:lnTo>
                      <a:pt x="547438" y="611536"/>
                    </a:lnTo>
                    <a:lnTo>
                      <a:pt x="545938" y="612682"/>
                    </a:lnTo>
                    <a:lnTo>
                      <a:pt x="546203" y="613299"/>
                    </a:lnTo>
                    <a:lnTo>
                      <a:pt x="546203" y="613917"/>
                    </a:lnTo>
                    <a:lnTo>
                      <a:pt x="543823" y="616209"/>
                    </a:lnTo>
                    <a:lnTo>
                      <a:pt x="547349" y="618237"/>
                    </a:lnTo>
                    <a:lnTo>
                      <a:pt x="547614" y="619118"/>
                    </a:lnTo>
                    <a:lnTo>
                      <a:pt x="548496" y="616209"/>
                    </a:lnTo>
                    <a:lnTo>
                      <a:pt x="553168" y="615592"/>
                    </a:lnTo>
                    <a:lnTo>
                      <a:pt x="555197" y="616209"/>
                    </a:lnTo>
                    <a:lnTo>
                      <a:pt x="556960" y="618854"/>
                    </a:lnTo>
                    <a:lnTo>
                      <a:pt x="558988" y="618854"/>
                    </a:lnTo>
                    <a:lnTo>
                      <a:pt x="559869" y="619118"/>
                    </a:lnTo>
                    <a:lnTo>
                      <a:pt x="563131" y="619736"/>
                    </a:lnTo>
                    <a:lnTo>
                      <a:pt x="564895" y="619118"/>
                    </a:lnTo>
                    <a:lnTo>
                      <a:pt x="567805" y="620000"/>
                    </a:lnTo>
                    <a:lnTo>
                      <a:pt x="569832" y="621411"/>
                    </a:lnTo>
                    <a:lnTo>
                      <a:pt x="570979" y="620000"/>
                    </a:lnTo>
                    <a:lnTo>
                      <a:pt x="570714" y="618237"/>
                    </a:lnTo>
                    <a:lnTo>
                      <a:pt x="572125" y="618501"/>
                    </a:lnTo>
                    <a:lnTo>
                      <a:pt x="571243" y="614710"/>
                    </a:lnTo>
                    <a:lnTo>
                      <a:pt x="571860" y="613828"/>
                    </a:lnTo>
                    <a:lnTo>
                      <a:pt x="572477" y="614093"/>
                    </a:lnTo>
                    <a:lnTo>
                      <a:pt x="573888" y="615503"/>
                    </a:lnTo>
                    <a:lnTo>
                      <a:pt x="574241" y="614357"/>
                    </a:lnTo>
                    <a:lnTo>
                      <a:pt x="576886" y="615239"/>
                    </a:lnTo>
                    <a:lnTo>
                      <a:pt x="577150" y="616738"/>
                    </a:lnTo>
                    <a:lnTo>
                      <a:pt x="577415" y="619912"/>
                    </a:lnTo>
                    <a:lnTo>
                      <a:pt x="580060" y="618766"/>
                    </a:lnTo>
                    <a:lnTo>
                      <a:pt x="583587" y="619912"/>
                    </a:lnTo>
                    <a:lnTo>
                      <a:pt x="585085" y="621675"/>
                    </a:lnTo>
                    <a:lnTo>
                      <a:pt x="586231" y="623086"/>
                    </a:lnTo>
                    <a:lnTo>
                      <a:pt x="587378" y="624232"/>
                    </a:lnTo>
                    <a:lnTo>
                      <a:pt x="588524" y="625643"/>
                    </a:lnTo>
                    <a:lnTo>
                      <a:pt x="589406" y="628288"/>
                    </a:lnTo>
                    <a:lnTo>
                      <a:pt x="588524" y="629787"/>
                    </a:lnTo>
                    <a:lnTo>
                      <a:pt x="586760" y="630316"/>
                    </a:lnTo>
                    <a:lnTo>
                      <a:pt x="590816" y="634107"/>
                    </a:lnTo>
                    <a:lnTo>
                      <a:pt x="594608" y="640808"/>
                    </a:lnTo>
                    <a:lnTo>
                      <a:pt x="596371" y="637898"/>
                    </a:lnTo>
                    <a:lnTo>
                      <a:pt x="603336" y="640808"/>
                    </a:lnTo>
                    <a:lnTo>
                      <a:pt x="604482" y="646980"/>
                    </a:lnTo>
                    <a:lnTo>
                      <a:pt x="606863" y="646980"/>
                    </a:lnTo>
                    <a:lnTo>
                      <a:pt x="605364" y="652534"/>
                    </a:lnTo>
                    <a:lnTo>
                      <a:pt x="607745" y="654298"/>
                    </a:lnTo>
                    <a:lnTo>
                      <a:pt x="607745" y="656590"/>
                    </a:lnTo>
                    <a:lnTo>
                      <a:pt x="610919" y="659764"/>
                    </a:lnTo>
                    <a:lnTo>
                      <a:pt x="609773" y="662674"/>
                    </a:lnTo>
                    <a:lnTo>
                      <a:pt x="611801" y="664701"/>
                    </a:lnTo>
                    <a:lnTo>
                      <a:pt x="610037" y="664701"/>
                    </a:lnTo>
                    <a:lnTo>
                      <a:pt x="611536" y="669374"/>
                    </a:lnTo>
                    <a:lnTo>
                      <a:pt x="610654" y="672548"/>
                    </a:lnTo>
                    <a:lnTo>
                      <a:pt x="611536" y="676957"/>
                    </a:lnTo>
                    <a:lnTo>
                      <a:pt x="608627" y="676075"/>
                    </a:lnTo>
                    <a:lnTo>
                      <a:pt x="610390" y="678368"/>
                    </a:lnTo>
                    <a:lnTo>
                      <a:pt x="612418" y="680395"/>
                    </a:lnTo>
                    <a:lnTo>
                      <a:pt x="613564" y="683040"/>
                    </a:lnTo>
                    <a:lnTo>
                      <a:pt x="611272" y="683922"/>
                    </a:lnTo>
                    <a:lnTo>
                      <a:pt x="607216" y="683922"/>
                    </a:lnTo>
                    <a:lnTo>
                      <a:pt x="607833" y="685333"/>
                    </a:lnTo>
                    <a:lnTo>
                      <a:pt x="606687" y="688242"/>
                    </a:lnTo>
                    <a:lnTo>
                      <a:pt x="605188" y="688860"/>
                    </a:lnTo>
                    <a:lnTo>
                      <a:pt x="600779" y="686832"/>
                    </a:lnTo>
                    <a:lnTo>
                      <a:pt x="601397" y="691240"/>
                    </a:lnTo>
                    <a:lnTo>
                      <a:pt x="600250" y="694502"/>
                    </a:lnTo>
                    <a:lnTo>
                      <a:pt x="597606" y="696530"/>
                    </a:lnTo>
                    <a:lnTo>
                      <a:pt x="595577" y="695913"/>
                    </a:lnTo>
                    <a:lnTo>
                      <a:pt x="596106" y="703760"/>
                    </a:lnTo>
                    <a:lnTo>
                      <a:pt x="597253" y="706141"/>
                    </a:lnTo>
                    <a:lnTo>
                      <a:pt x="594079" y="706758"/>
                    </a:lnTo>
                    <a:lnTo>
                      <a:pt x="592580" y="708257"/>
                    </a:lnTo>
                    <a:lnTo>
                      <a:pt x="594079" y="716456"/>
                    </a:lnTo>
                    <a:lnTo>
                      <a:pt x="596106" y="716456"/>
                    </a:lnTo>
                    <a:lnTo>
                      <a:pt x="597870" y="718220"/>
                    </a:lnTo>
                    <a:lnTo>
                      <a:pt x="599016" y="725802"/>
                    </a:lnTo>
                    <a:lnTo>
                      <a:pt x="595842" y="728976"/>
                    </a:lnTo>
                    <a:lnTo>
                      <a:pt x="597606" y="729593"/>
                    </a:lnTo>
                    <a:lnTo>
                      <a:pt x="598752" y="731004"/>
                    </a:lnTo>
                    <a:lnTo>
                      <a:pt x="601926" y="728712"/>
                    </a:lnTo>
                    <a:lnTo>
                      <a:pt x="602807" y="727830"/>
                    </a:lnTo>
                    <a:lnTo>
                      <a:pt x="605100" y="726331"/>
                    </a:lnTo>
                    <a:lnTo>
                      <a:pt x="607127" y="725185"/>
                    </a:lnTo>
                    <a:lnTo>
                      <a:pt x="610390" y="724920"/>
                    </a:lnTo>
                    <a:lnTo>
                      <a:pt x="615063" y="725185"/>
                    </a:lnTo>
                    <a:lnTo>
                      <a:pt x="617972" y="726067"/>
                    </a:lnTo>
                    <a:lnTo>
                      <a:pt x="620617" y="725185"/>
                    </a:lnTo>
                    <a:lnTo>
                      <a:pt x="623527" y="723686"/>
                    </a:lnTo>
                    <a:lnTo>
                      <a:pt x="625026" y="724832"/>
                    </a:lnTo>
                    <a:lnTo>
                      <a:pt x="621235" y="726596"/>
                    </a:lnTo>
                    <a:lnTo>
                      <a:pt x="619736" y="728006"/>
                    </a:lnTo>
                    <a:lnTo>
                      <a:pt x="623262" y="732062"/>
                    </a:lnTo>
                    <a:lnTo>
                      <a:pt x="623262" y="734972"/>
                    </a:lnTo>
                    <a:lnTo>
                      <a:pt x="623880" y="738146"/>
                    </a:lnTo>
                    <a:lnTo>
                      <a:pt x="624497" y="741320"/>
                    </a:lnTo>
                    <a:lnTo>
                      <a:pt x="626524" y="741320"/>
                    </a:lnTo>
                    <a:lnTo>
                      <a:pt x="627935" y="745111"/>
                    </a:lnTo>
                    <a:lnTo>
                      <a:pt x="627671" y="749167"/>
                    </a:lnTo>
                    <a:lnTo>
                      <a:pt x="632079" y="749167"/>
                    </a:lnTo>
                    <a:lnTo>
                      <a:pt x="633225" y="751812"/>
                    </a:lnTo>
                    <a:lnTo>
                      <a:pt x="636752" y="752076"/>
                    </a:lnTo>
                    <a:lnTo>
                      <a:pt x="636488" y="750313"/>
                    </a:lnTo>
                    <a:lnTo>
                      <a:pt x="642042" y="750930"/>
                    </a:lnTo>
                    <a:lnTo>
                      <a:pt x="642659" y="752693"/>
                    </a:lnTo>
                    <a:lnTo>
                      <a:pt x="643541" y="754721"/>
                    </a:lnTo>
                    <a:lnTo>
                      <a:pt x="639486" y="753840"/>
                    </a:lnTo>
                    <a:lnTo>
                      <a:pt x="639486" y="756749"/>
                    </a:lnTo>
                    <a:lnTo>
                      <a:pt x="640103" y="766624"/>
                    </a:lnTo>
                    <a:lnTo>
                      <a:pt x="638957" y="768123"/>
                    </a:lnTo>
                    <a:lnTo>
                      <a:pt x="640455" y="770768"/>
                    </a:lnTo>
                    <a:lnTo>
                      <a:pt x="639838" y="772267"/>
                    </a:lnTo>
                    <a:lnTo>
                      <a:pt x="636047" y="773149"/>
                    </a:lnTo>
                    <a:lnTo>
                      <a:pt x="645128" y="774912"/>
                    </a:lnTo>
                    <a:lnTo>
                      <a:pt x="646627" y="774030"/>
                    </a:lnTo>
                    <a:lnTo>
                      <a:pt x="648038" y="775176"/>
                    </a:lnTo>
                    <a:lnTo>
                      <a:pt x="651300" y="775176"/>
                    </a:lnTo>
                    <a:lnTo>
                      <a:pt x="651565" y="776587"/>
                    </a:lnTo>
                    <a:lnTo>
                      <a:pt x="653328" y="776587"/>
                    </a:lnTo>
                    <a:lnTo>
                      <a:pt x="653063" y="775176"/>
                    </a:lnTo>
                    <a:lnTo>
                      <a:pt x="654562" y="776587"/>
                    </a:lnTo>
                    <a:lnTo>
                      <a:pt x="657207" y="775970"/>
                    </a:lnTo>
                    <a:lnTo>
                      <a:pt x="655179" y="782054"/>
                    </a:lnTo>
                    <a:lnTo>
                      <a:pt x="658970" y="786109"/>
                    </a:lnTo>
                    <a:lnTo>
                      <a:pt x="660734" y="786991"/>
                    </a:lnTo>
                    <a:lnTo>
                      <a:pt x="658970" y="787255"/>
                    </a:lnTo>
                    <a:lnTo>
                      <a:pt x="659323" y="790165"/>
                    </a:lnTo>
                    <a:lnTo>
                      <a:pt x="661087" y="790165"/>
                    </a:lnTo>
                    <a:lnTo>
                      <a:pt x="661351" y="791928"/>
                    </a:lnTo>
                    <a:lnTo>
                      <a:pt x="663379" y="791399"/>
                    </a:lnTo>
                    <a:lnTo>
                      <a:pt x="665671" y="788754"/>
                    </a:lnTo>
                    <a:lnTo>
                      <a:pt x="666818" y="788490"/>
                    </a:lnTo>
                    <a:lnTo>
                      <a:pt x="669727" y="790253"/>
                    </a:lnTo>
                    <a:lnTo>
                      <a:pt x="671226" y="791752"/>
                    </a:lnTo>
                    <a:lnTo>
                      <a:pt x="672989" y="790870"/>
                    </a:lnTo>
                    <a:lnTo>
                      <a:pt x="673871" y="789460"/>
                    </a:lnTo>
                    <a:lnTo>
                      <a:pt x="676163" y="785933"/>
                    </a:lnTo>
                    <a:lnTo>
                      <a:pt x="681718" y="783288"/>
                    </a:lnTo>
                    <a:lnTo>
                      <a:pt x="683481" y="787696"/>
                    </a:lnTo>
                    <a:lnTo>
                      <a:pt x="687008" y="797571"/>
                    </a:lnTo>
                    <a:lnTo>
                      <a:pt x="692827" y="796161"/>
                    </a:lnTo>
                    <a:lnTo>
                      <a:pt x="698117" y="797571"/>
                    </a:lnTo>
                    <a:lnTo>
                      <a:pt x="696354" y="787079"/>
                    </a:lnTo>
                    <a:lnTo>
                      <a:pt x="689036" y="771650"/>
                    </a:lnTo>
                    <a:lnTo>
                      <a:pt x="690535" y="770503"/>
                    </a:lnTo>
                    <a:lnTo>
                      <a:pt x="691681" y="764949"/>
                    </a:lnTo>
                    <a:lnTo>
                      <a:pt x="694943" y="767858"/>
                    </a:lnTo>
                    <a:lnTo>
                      <a:pt x="697853" y="766095"/>
                    </a:lnTo>
                    <a:lnTo>
                      <a:pt x="701908" y="766712"/>
                    </a:lnTo>
                    <a:lnTo>
                      <a:pt x="704289" y="762039"/>
                    </a:lnTo>
                    <a:lnTo>
                      <a:pt x="706582" y="759130"/>
                    </a:lnTo>
                    <a:lnTo>
                      <a:pt x="707728" y="759747"/>
                    </a:lnTo>
                    <a:lnTo>
                      <a:pt x="710373" y="759747"/>
                    </a:lnTo>
                    <a:lnTo>
                      <a:pt x="712665" y="763538"/>
                    </a:lnTo>
                    <a:lnTo>
                      <a:pt x="714429" y="763538"/>
                    </a:lnTo>
                    <a:lnTo>
                      <a:pt x="716721" y="764684"/>
                    </a:lnTo>
                    <a:lnTo>
                      <a:pt x="721130" y="769093"/>
                    </a:lnTo>
                    <a:lnTo>
                      <a:pt x="721130" y="763538"/>
                    </a:lnTo>
                    <a:lnTo>
                      <a:pt x="722275" y="761246"/>
                    </a:lnTo>
                    <a:lnTo>
                      <a:pt x="724039" y="760629"/>
                    </a:lnTo>
                    <a:lnTo>
                      <a:pt x="725185" y="758865"/>
                    </a:lnTo>
                    <a:lnTo>
                      <a:pt x="730122" y="764684"/>
                    </a:lnTo>
                    <a:lnTo>
                      <a:pt x="731886" y="758865"/>
                    </a:lnTo>
                    <a:lnTo>
                      <a:pt x="738587" y="764949"/>
                    </a:lnTo>
                    <a:lnTo>
                      <a:pt x="738587" y="758865"/>
                    </a:lnTo>
                    <a:lnTo>
                      <a:pt x="742643" y="758248"/>
                    </a:lnTo>
                    <a:lnTo>
                      <a:pt x="746169" y="760893"/>
                    </a:lnTo>
                    <a:lnTo>
                      <a:pt x="749696" y="758865"/>
                    </a:lnTo>
                    <a:lnTo>
                      <a:pt x="750313" y="755956"/>
                    </a:lnTo>
                    <a:lnTo>
                      <a:pt x="754104" y="756837"/>
                    </a:lnTo>
                    <a:lnTo>
                      <a:pt x="756749" y="753928"/>
                    </a:lnTo>
                    <a:lnTo>
                      <a:pt x="755603" y="750401"/>
                    </a:lnTo>
                    <a:lnTo>
                      <a:pt x="757631" y="750401"/>
                    </a:lnTo>
                    <a:lnTo>
                      <a:pt x="757896" y="748109"/>
                    </a:lnTo>
                    <a:lnTo>
                      <a:pt x="763450" y="746963"/>
                    </a:lnTo>
                    <a:lnTo>
                      <a:pt x="765214" y="743436"/>
                    </a:lnTo>
                    <a:lnTo>
                      <a:pt x="769886" y="747844"/>
                    </a:lnTo>
                    <a:lnTo>
                      <a:pt x="771297" y="751018"/>
                    </a:lnTo>
                    <a:lnTo>
                      <a:pt x="778615" y="755074"/>
                    </a:lnTo>
                    <a:lnTo>
                      <a:pt x="783023" y="752429"/>
                    </a:lnTo>
                    <a:lnTo>
                      <a:pt x="787697" y="755074"/>
                    </a:lnTo>
                    <a:lnTo>
                      <a:pt x="788578" y="756837"/>
                    </a:lnTo>
                    <a:lnTo>
                      <a:pt x="792986" y="753311"/>
                    </a:lnTo>
                    <a:lnTo>
                      <a:pt x="798806" y="757984"/>
                    </a:lnTo>
                    <a:lnTo>
                      <a:pt x="798189" y="763274"/>
                    </a:lnTo>
                    <a:lnTo>
                      <a:pt x="793868" y="763274"/>
                    </a:lnTo>
                    <a:lnTo>
                      <a:pt x="795896" y="767682"/>
                    </a:lnTo>
                    <a:lnTo>
                      <a:pt x="799687" y="771738"/>
                    </a:lnTo>
                    <a:lnTo>
                      <a:pt x="800040" y="777910"/>
                    </a:lnTo>
                    <a:lnTo>
                      <a:pt x="802332" y="776764"/>
                    </a:lnTo>
                    <a:lnTo>
                      <a:pt x="807887" y="779673"/>
                    </a:lnTo>
                    <a:lnTo>
                      <a:pt x="807887" y="782318"/>
                    </a:lnTo>
                    <a:lnTo>
                      <a:pt x="810532" y="783729"/>
                    </a:lnTo>
                    <a:lnTo>
                      <a:pt x="813442" y="785228"/>
                    </a:lnTo>
                    <a:lnTo>
                      <a:pt x="815822" y="783729"/>
                    </a:lnTo>
                    <a:lnTo>
                      <a:pt x="816704" y="787785"/>
                    </a:lnTo>
                    <a:lnTo>
                      <a:pt x="824903" y="786021"/>
                    </a:lnTo>
                    <a:lnTo>
                      <a:pt x="828077" y="787520"/>
                    </a:lnTo>
                    <a:lnTo>
                      <a:pt x="829841" y="788931"/>
                    </a:lnTo>
                    <a:lnTo>
                      <a:pt x="830458" y="786903"/>
                    </a:lnTo>
                    <a:lnTo>
                      <a:pt x="832750" y="786286"/>
                    </a:lnTo>
                    <a:lnTo>
                      <a:pt x="834514" y="787167"/>
                    </a:lnTo>
                    <a:lnTo>
                      <a:pt x="835131" y="790341"/>
                    </a:lnTo>
                    <a:lnTo>
                      <a:pt x="836013" y="789724"/>
                    </a:lnTo>
                    <a:lnTo>
                      <a:pt x="836894" y="788843"/>
                    </a:lnTo>
                    <a:lnTo>
                      <a:pt x="837247" y="784434"/>
                    </a:lnTo>
                    <a:lnTo>
                      <a:pt x="839540" y="785933"/>
                    </a:lnTo>
                    <a:lnTo>
                      <a:pt x="840157" y="788843"/>
                    </a:lnTo>
                    <a:lnTo>
                      <a:pt x="841303" y="786815"/>
                    </a:lnTo>
                    <a:lnTo>
                      <a:pt x="838393" y="781260"/>
                    </a:lnTo>
                    <a:lnTo>
                      <a:pt x="839540" y="779232"/>
                    </a:lnTo>
                    <a:lnTo>
                      <a:pt x="842449" y="778968"/>
                    </a:lnTo>
                    <a:lnTo>
                      <a:pt x="843066" y="781348"/>
                    </a:lnTo>
                    <a:lnTo>
                      <a:pt x="844212" y="782230"/>
                    </a:lnTo>
                    <a:lnTo>
                      <a:pt x="843331" y="783993"/>
                    </a:lnTo>
                    <a:lnTo>
                      <a:pt x="845358" y="783993"/>
                    </a:lnTo>
                    <a:lnTo>
                      <a:pt x="845976" y="787785"/>
                    </a:lnTo>
                    <a:lnTo>
                      <a:pt x="847386" y="786286"/>
                    </a:lnTo>
                    <a:lnTo>
                      <a:pt x="846505" y="784522"/>
                    </a:lnTo>
                    <a:lnTo>
                      <a:pt x="846769" y="782759"/>
                    </a:lnTo>
                    <a:lnTo>
                      <a:pt x="845887" y="781613"/>
                    </a:lnTo>
                    <a:lnTo>
                      <a:pt x="847915" y="781613"/>
                    </a:lnTo>
                    <a:lnTo>
                      <a:pt x="850208" y="783023"/>
                    </a:lnTo>
                    <a:lnTo>
                      <a:pt x="851619" y="786815"/>
                    </a:lnTo>
                    <a:lnTo>
                      <a:pt x="855145" y="787696"/>
                    </a:lnTo>
                    <a:lnTo>
                      <a:pt x="852236" y="789107"/>
                    </a:lnTo>
                    <a:lnTo>
                      <a:pt x="853117" y="792017"/>
                    </a:lnTo>
                    <a:lnTo>
                      <a:pt x="856027" y="792281"/>
                    </a:lnTo>
                    <a:lnTo>
                      <a:pt x="857526" y="790253"/>
                    </a:lnTo>
                    <a:lnTo>
                      <a:pt x="857791" y="792017"/>
                    </a:lnTo>
                    <a:lnTo>
                      <a:pt x="863609" y="790253"/>
                    </a:lnTo>
                    <a:lnTo>
                      <a:pt x="862992" y="787961"/>
                    </a:lnTo>
                    <a:lnTo>
                      <a:pt x="861582" y="787079"/>
                    </a:lnTo>
                    <a:lnTo>
                      <a:pt x="862463" y="783905"/>
                    </a:lnTo>
                    <a:lnTo>
                      <a:pt x="865108" y="785933"/>
                    </a:lnTo>
                    <a:lnTo>
                      <a:pt x="865373" y="787696"/>
                    </a:lnTo>
                    <a:lnTo>
                      <a:pt x="866607" y="790341"/>
                    </a:lnTo>
                    <a:lnTo>
                      <a:pt x="868635" y="790606"/>
                    </a:lnTo>
                    <a:lnTo>
                      <a:pt x="868106" y="787696"/>
                    </a:lnTo>
                    <a:lnTo>
                      <a:pt x="869870" y="790606"/>
                    </a:lnTo>
                    <a:lnTo>
                      <a:pt x="872426" y="790870"/>
                    </a:lnTo>
                    <a:lnTo>
                      <a:pt x="874190" y="793251"/>
                    </a:lnTo>
                    <a:lnTo>
                      <a:pt x="870134" y="794133"/>
                    </a:lnTo>
                    <a:lnTo>
                      <a:pt x="869870" y="797924"/>
                    </a:lnTo>
                    <a:lnTo>
                      <a:pt x="868106" y="798806"/>
                    </a:lnTo>
                    <a:lnTo>
                      <a:pt x="869605" y="806124"/>
                    </a:lnTo>
                    <a:lnTo>
                      <a:pt x="873132" y="809915"/>
                    </a:lnTo>
                    <a:lnTo>
                      <a:pt x="872250" y="811678"/>
                    </a:lnTo>
                    <a:lnTo>
                      <a:pt x="879833" y="816880"/>
                    </a:lnTo>
                    <a:lnTo>
                      <a:pt x="878686" y="818643"/>
                    </a:lnTo>
                    <a:lnTo>
                      <a:pt x="876394" y="817145"/>
                    </a:lnTo>
                    <a:lnTo>
                      <a:pt x="879039" y="820671"/>
                    </a:lnTo>
                    <a:lnTo>
                      <a:pt x="885475" y="820671"/>
                    </a:lnTo>
                    <a:lnTo>
                      <a:pt x="888385" y="815469"/>
                    </a:lnTo>
                    <a:lnTo>
                      <a:pt x="885475" y="811678"/>
                    </a:lnTo>
                    <a:lnTo>
                      <a:pt x="884594" y="807005"/>
                    </a:lnTo>
                    <a:lnTo>
                      <a:pt x="879391" y="806124"/>
                    </a:lnTo>
                    <a:lnTo>
                      <a:pt x="880538" y="800569"/>
                    </a:lnTo>
                    <a:lnTo>
                      <a:pt x="884594" y="797042"/>
                    </a:lnTo>
                    <a:lnTo>
                      <a:pt x="882301" y="793868"/>
                    </a:lnTo>
                    <a:lnTo>
                      <a:pt x="883447" y="794485"/>
                    </a:lnTo>
                    <a:lnTo>
                      <a:pt x="882037" y="792193"/>
                    </a:lnTo>
                    <a:lnTo>
                      <a:pt x="885475" y="793956"/>
                    </a:lnTo>
                    <a:lnTo>
                      <a:pt x="886092" y="796601"/>
                    </a:lnTo>
                    <a:lnTo>
                      <a:pt x="888385" y="796072"/>
                    </a:lnTo>
                    <a:lnTo>
                      <a:pt x="888385" y="793427"/>
                    </a:lnTo>
                    <a:lnTo>
                      <a:pt x="889883" y="792281"/>
                    </a:lnTo>
                    <a:lnTo>
                      <a:pt x="890148" y="795191"/>
                    </a:lnTo>
                    <a:lnTo>
                      <a:pt x="891294" y="792546"/>
                    </a:lnTo>
                    <a:lnTo>
                      <a:pt x="895350" y="790782"/>
                    </a:lnTo>
                    <a:lnTo>
                      <a:pt x="896849" y="791664"/>
                    </a:lnTo>
                    <a:lnTo>
                      <a:pt x="896232" y="789019"/>
                    </a:lnTo>
                    <a:lnTo>
                      <a:pt x="897731" y="790782"/>
                    </a:lnTo>
                    <a:lnTo>
                      <a:pt x="899494" y="789019"/>
                    </a:lnTo>
                    <a:lnTo>
                      <a:pt x="901257" y="789901"/>
                    </a:lnTo>
                    <a:lnTo>
                      <a:pt x="900993" y="792193"/>
                    </a:lnTo>
                    <a:lnTo>
                      <a:pt x="903638" y="790165"/>
                    </a:lnTo>
                    <a:lnTo>
                      <a:pt x="903373" y="787873"/>
                    </a:lnTo>
                    <a:lnTo>
                      <a:pt x="904520" y="788754"/>
                    </a:lnTo>
                    <a:lnTo>
                      <a:pt x="905666" y="789636"/>
                    </a:lnTo>
                    <a:lnTo>
                      <a:pt x="908575" y="787873"/>
                    </a:lnTo>
                    <a:lnTo>
                      <a:pt x="908840" y="789636"/>
                    </a:lnTo>
                    <a:lnTo>
                      <a:pt x="910868" y="788225"/>
                    </a:lnTo>
                    <a:lnTo>
                      <a:pt x="912631" y="787344"/>
                    </a:lnTo>
                    <a:lnTo>
                      <a:pt x="909721" y="785316"/>
                    </a:lnTo>
                    <a:lnTo>
                      <a:pt x="908840" y="783552"/>
                    </a:lnTo>
                    <a:lnTo>
                      <a:pt x="909986" y="782671"/>
                    </a:lnTo>
                    <a:lnTo>
                      <a:pt x="911750" y="783552"/>
                    </a:lnTo>
                    <a:lnTo>
                      <a:pt x="912367" y="786197"/>
                    </a:lnTo>
                    <a:lnTo>
                      <a:pt x="914394" y="785051"/>
                    </a:lnTo>
                    <a:lnTo>
                      <a:pt x="915541" y="783641"/>
                    </a:lnTo>
                    <a:lnTo>
                      <a:pt x="914394" y="781613"/>
                    </a:lnTo>
                    <a:lnTo>
                      <a:pt x="913512" y="779232"/>
                    </a:lnTo>
                    <a:lnTo>
                      <a:pt x="915805" y="779497"/>
                    </a:lnTo>
                    <a:lnTo>
                      <a:pt x="916951" y="781877"/>
                    </a:lnTo>
                    <a:lnTo>
                      <a:pt x="920125" y="781877"/>
                    </a:lnTo>
                    <a:lnTo>
                      <a:pt x="920390" y="784258"/>
                    </a:lnTo>
                    <a:lnTo>
                      <a:pt x="922682" y="785404"/>
                    </a:lnTo>
                    <a:lnTo>
                      <a:pt x="922682" y="783376"/>
                    </a:lnTo>
                    <a:lnTo>
                      <a:pt x="921536" y="781348"/>
                    </a:lnTo>
                    <a:lnTo>
                      <a:pt x="921184" y="777557"/>
                    </a:lnTo>
                    <a:lnTo>
                      <a:pt x="923211" y="775529"/>
                    </a:lnTo>
                    <a:lnTo>
                      <a:pt x="922329" y="778174"/>
                    </a:lnTo>
                    <a:lnTo>
                      <a:pt x="922947" y="780202"/>
                    </a:lnTo>
                    <a:lnTo>
                      <a:pt x="924358" y="781965"/>
                    </a:lnTo>
                    <a:lnTo>
                      <a:pt x="927267" y="782230"/>
                    </a:lnTo>
                    <a:lnTo>
                      <a:pt x="928766" y="781348"/>
                    </a:lnTo>
                    <a:lnTo>
                      <a:pt x="930265" y="779849"/>
                    </a:lnTo>
                    <a:lnTo>
                      <a:pt x="931763" y="778086"/>
                    </a:lnTo>
                    <a:lnTo>
                      <a:pt x="933527" y="780996"/>
                    </a:lnTo>
                    <a:lnTo>
                      <a:pt x="934409" y="780996"/>
                    </a:lnTo>
                    <a:lnTo>
                      <a:pt x="936172" y="780731"/>
                    </a:lnTo>
                    <a:lnTo>
                      <a:pt x="936701" y="780114"/>
                    </a:lnTo>
                    <a:lnTo>
                      <a:pt x="936437" y="778086"/>
                    </a:lnTo>
                    <a:lnTo>
                      <a:pt x="936172" y="775176"/>
                    </a:lnTo>
                    <a:lnTo>
                      <a:pt x="937318" y="774295"/>
                    </a:lnTo>
                    <a:lnTo>
                      <a:pt x="939963" y="774912"/>
                    </a:lnTo>
                    <a:lnTo>
                      <a:pt x="941462" y="776940"/>
                    </a:lnTo>
                    <a:lnTo>
                      <a:pt x="942344" y="776940"/>
                    </a:lnTo>
                    <a:lnTo>
                      <a:pt x="943842" y="775794"/>
                    </a:lnTo>
                    <a:lnTo>
                      <a:pt x="943578" y="773501"/>
                    </a:lnTo>
                    <a:lnTo>
                      <a:pt x="943842" y="772002"/>
                    </a:lnTo>
                    <a:lnTo>
                      <a:pt x="944195" y="773501"/>
                    </a:lnTo>
                    <a:lnTo>
                      <a:pt x="947105" y="773501"/>
                    </a:lnTo>
                    <a:lnTo>
                      <a:pt x="947722" y="770327"/>
                    </a:lnTo>
                    <a:lnTo>
                      <a:pt x="947105" y="766536"/>
                    </a:lnTo>
                    <a:lnTo>
                      <a:pt x="945694" y="764508"/>
                    </a:lnTo>
                    <a:lnTo>
                      <a:pt x="943049" y="762480"/>
                    </a:lnTo>
                    <a:lnTo>
                      <a:pt x="941638" y="759306"/>
                    </a:lnTo>
                    <a:lnTo>
                      <a:pt x="943049" y="758424"/>
                    </a:lnTo>
                    <a:lnTo>
                      <a:pt x="940757" y="755515"/>
                    </a:lnTo>
                    <a:lnTo>
                      <a:pt x="940139" y="753752"/>
                    </a:lnTo>
                    <a:lnTo>
                      <a:pt x="942432" y="754633"/>
                    </a:lnTo>
                    <a:lnTo>
                      <a:pt x="939787" y="750842"/>
                    </a:lnTo>
                    <a:lnTo>
                      <a:pt x="943313" y="751724"/>
                    </a:lnTo>
                    <a:lnTo>
                      <a:pt x="944460" y="749960"/>
                    </a:lnTo>
                    <a:lnTo>
                      <a:pt x="946223" y="750225"/>
                    </a:lnTo>
                    <a:lnTo>
                      <a:pt x="944724" y="751635"/>
                    </a:lnTo>
                    <a:lnTo>
                      <a:pt x="945342" y="754545"/>
                    </a:lnTo>
                    <a:lnTo>
                      <a:pt x="946488" y="752517"/>
                    </a:lnTo>
                    <a:lnTo>
                      <a:pt x="946752" y="754898"/>
                    </a:lnTo>
                    <a:lnTo>
                      <a:pt x="945606" y="755515"/>
                    </a:lnTo>
                    <a:lnTo>
                      <a:pt x="947634" y="759306"/>
                    </a:lnTo>
                    <a:lnTo>
                      <a:pt x="949397" y="759306"/>
                    </a:lnTo>
                    <a:lnTo>
                      <a:pt x="950279" y="761599"/>
                    </a:lnTo>
                    <a:lnTo>
                      <a:pt x="952659" y="762216"/>
                    </a:lnTo>
                    <a:lnTo>
                      <a:pt x="954687" y="766624"/>
                    </a:lnTo>
                    <a:lnTo>
                      <a:pt x="955305" y="766360"/>
                    </a:lnTo>
                    <a:lnTo>
                      <a:pt x="955040" y="765213"/>
                    </a:lnTo>
                    <a:lnTo>
                      <a:pt x="955305" y="765213"/>
                    </a:lnTo>
                    <a:lnTo>
                      <a:pt x="956186" y="765478"/>
                    </a:lnTo>
                    <a:lnTo>
                      <a:pt x="957685" y="765478"/>
                    </a:lnTo>
                    <a:lnTo>
                      <a:pt x="959184" y="765213"/>
                    </a:lnTo>
                    <a:lnTo>
                      <a:pt x="960330" y="764332"/>
                    </a:lnTo>
                    <a:lnTo>
                      <a:pt x="960859" y="764332"/>
                    </a:lnTo>
                    <a:lnTo>
                      <a:pt x="961476" y="763714"/>
                    </a:lnTo>
                    <a:lnTo>
                      <a:pt x="964386" y="763097"/>
                    </a:lnTo>
                    <a:lnTo>
                      <a:pt x="965268" y="764244"/>
                    </a:lnTo>
                    <a:lnTo>
                      <a:pt x="966767" y="764244"/>
                    </a:lnTo>
                    <a:lnTo>
                      <a:pt x="967648" y="761070"/>
                    </a:lnTo>
                    <a:lnTo>
                      <a:pt x="965884" y="759923"/>
                    </a:lnTo>
                    <a:lnTo>
                      <a:pt x="967031" y="757278"/>
                    </a:lnTo>
                    <a:lnTo>
                      <a:pt x="970822" y="757278"/>
                    </a:lnTo>
                    <a:lnTo>
                      <a:pt x="973467" y="758160"/>
                    </a:lnTo>
                    <a:lnTo>
                      <a:pt x="971968" y="763714"/>
                    </a:lnTo>
                    <a:lnTo>
                      <a:pt x="974349" y="763097"/>
                    </a:lnTo>
                    <a:lnTo>
                      <a:pt x="975495" y="761070"/>
                    </a:lnTo>
                    <a:lnTo>
                      <a:pt x="974349" y="759306"/>
                    </a:lnTo>
                    <a:lnTo>
                      <a:pt x="975495" y="759835"/>
                    </a:lnTo>
                    <a:lnTo>
                      <a:pt x="980785" y="756661"/>
                    </a:lnTo>
                    <a:lnTo>
                      <a:pt x="981314" y="758160"/>
                    </a:lnTo>
                    <a:lnTo>
                      <a:pt x="984224" y="758160"/>
                    </a:lnTo>
                    <a:lnTo>
                      <a:pt x="983606" y="759923"/>
                    </a:lnTo>
                    <a:lnTo>
                      <a:pt x="986164" y="761687"/>
                    </a:lnTo>
                    <a:lnTo>
                      <a:pt x="987927" y="761070"/>
                    </a:lnTo>
                    <a:lnTo>
                      <a:pt x="988809" y="756396"/>
                    </a:lnTo>
                    <a:lnTo>
                      <a:pt x="985899" y="756661"/>
                    </a:lnTo>
                    <a:lnTo>
                      <a:pt x="985635" y="754369"/>
                    </a:lnTo>
                    <a:lnTo>
                      <a:pt x="987045" y="755868"/>
                    </a:lnTo>
                    <a:lnTo>
                      <a:pt x="991983" y="754369"/>
                    </a:lnTo>
                    <a:lnTo>
                      <a:pt x="990484" y="755515"/>
                    </a:lnTo>
                    <a:lnTo>
                      <a:pt x="992247" y="759306"/>
                    </a:lnTo>
                    <a:lnTo>
                      <a:pt x="994275" y="759306"/>
                    </a:lnTo>
                    <a:lnTo>
                      <a:pt x="997185" y="759042"/>
                    </a:lnTo>
                    <a:lnTo>
                      <a:pt x="998683" y="756661"/>
                    </a:lnTo>
                    <a:lnTo>
                      <a:pt x="997185" y="754369"/>
                    </a:lnTo>
                    <a:lnTo>
                      <a:pt x="1000711" y="756661"/>
                    </a:lnTo>
                    <a:lnTo>
                      <a:pt x="1002739" y="754369"/>
                    </a:lnTo>
                    <a:lnTo>
                      <a:pt x="1000976" y="752870"/>
                    </a:lnTo>
                    <a:lnTo>
                      <a:pt x="1003885" y="753134"/>
                    </a:lnTo>
                    <a:lnTo>
                      <a:pt x="1007412" y="754281"/>
                    </a:lnTo>
                    <a:lnTo>
                      <a:pt x="1009175" y="753752"/>
                    </a:lnTo>
                    <a:lnTo>
                      <a:pt x="1008822" y="751988"/>
                    </a:lnTo>
                    <a:lnTo>
                      <a:pt x="1007941" y="748197"/>
                    </a:lnTo>
                    <a:lnTo>
                      <a:pt x="1006178" y="747315"/>
                    </a:lnTo>
                    <a:lnTo>
                      <a:pt x="1007677" y="747051"/>
                    </a:lnTo>
                    <a:lnTo>
                      <a:pt x="1009440" y="747315"/>
                    </a:lnTo>
                    <a:lnTo>
                      <a:pt x="1009704" y="746434"/>
                    </a:lnTo>
                    <a:lnTo>
                      <a:pt x="1009704" y="744406"/>
                    </a:lnTo>
                    <a:lnTo>
                      <a:pt x="1007941" y="744141"/>
                    </a:lnTo>
                    <a:lnTo>
                      <a:pt x="1006442" y="744406"/>
                    </a:lnTo>
                    <a:lnTo>
                      <a:pt x="1004944" y="742642"/>
                    </a:lnTo>
                    <a:lnTo>
                      <a:pt x="1006089" y="741143"/>
                    </a:lnTo>
                    <a:lnTo>
                      <a:pt x="1006971" y="740526"/>
                    </a:lnTo>
                    <a:lnTo>
                      <a:pt x="1008735" y="740791"/>
                    </a:lnTo>
                    <a:lnTo>
                      <a:pt x="1010762" y="742819"/>
                    </a:lnTo>
                    <a:lnTo>
                      <a:pt x="1012526" y="741408"/>
                    </a:lnTo>
                    <a:lnTo>
                      <a:pt x="1011644" y="739645"/>
                    </a:lnTo>
                    <a:lnTo>
                      <a:pt x="1013672" y="735589"/>
                    </a:lnTo>
                    <a:lnTo>
                      <a:pt x="1014818" y="734972"/>
                    </a:lnTo>
                    <a:lnTo>
                      <a:pt x="1016846" y="736999"/>
                    </a:lnTo>
                    <a:lnTo>
                      <a:pt x="1017463" y="738763"/>
                    </a:lnTo>
                    <a:lnTo>
                      <a:pt x="1018610" y="738234"/>
                    </a:lnTo>
                    <a:lnTo>
                      <a:pt x="1019227" y="736206"/>
                    </a:lnTo>
                    <a:lnTo>
                      <a:pt x="1020637" y="735060"/>
                    </a:lnTo>
                    <a:lnTo>
                      <a:pt x="1019491" y="733296"/>
                    </a:lnTo>
                    <a:lnTo>
                      <a:pt x="1022401" y="733914"/>
                    </a:lnTo>
                    <a:lnTo>
                      <a:pt x="1022136" y="731533"/>
                    </a:lnTo>
                    <a:lnTo>
                      <a:pt x="1025310" y="731798"/>
                    </a:lnTo>
                    <a:lnTo>
                      <a:pt x="1025046" y="730916"/>
                    </a:lnTo>
                    <a:lnTo>
                      <a:pt x="1026809" y="731180"/>
                    </a:lnTo>
                    <a:lnTo>
                      <a:pt x="1027691" y="731798"/>
                    </a:lnTo>
                    <a:lnTo>
                      <a:pt x="1028308" y="730387"/>
                    </a:lnTo>
                    <a:lnTo>
                      <a:pt x="1027691" y="728888"/>
                    </a:lnTo>
                    <a:lnTo>
                      <a:pt x="1027691" y="727125"/>
                    </a:lnTo>
                    <a:lnTo>
                      <a:pt x="1030336" y="728006"/>
                    </a:lnTo>
                    <a:lnTo>
                      <a:pt x="1031835" y="726596"/>
                    </a:lnTo>
                    <a:lnTo>
                      <a:pt x="1032099" y="723422"/>
                    </a:lnTo>
                    <a:lnTo>
                      <a:pt x="1033598" y="724568"/>
                    </a:lnTo>
                    <a:lnTo>
                      <a:pt x="1035097" y="722540"/>
                    </a:lnTo>
                    <a:lnTo>
                      <a:pt x="1032716" y="718220"/>
                    </a:lnTo>
                    <a:lnTo>
                      <a:pt x="1030424" y="717602"/>
                    </a:lnTo>
                    <a:lnTo>
                      <a:pt x="1032716" y="717338"/>
                    </a:lnTo>
                    <a:lnTo>
                      <a:pt x="1032187" y="714164"/>
                    </a:lnTo>
                    <a:lnTo>
                      <a:pt x="1033334" y="713547"/>
                    </a:lnTo>
                    <a:lnTo>
                      <a:pt x="1034480" y="711166"/>
                    </a:lnTo>
                    <a:lnTo>
                      <a:pt x="1036507" y="714340"/>
                    </a:lnTo>
                    <a:lnTo>
                      <a:pt x="1040299" y="712841"/>
                    </a:lnTo>
                    <a:lnTo>
                      <a:pt x="1040034" y="710549"/>
                    </a:lnTo>
                    <a:lnTo>
                      <a:pt x="1043297" y="713194"/>
                    </a:lnTo>
                    <a:lnTo>
                      <a:pt x="1044443" y="711166"/>
                    </a:lnTo>
                    <a:lnTo>
                      <a:pt x="1046471" y="710549"/>
                    </a:lnTo>
                    <a:lnTo>
                      <a:pt x="1048234" y="708786"/>
                    </a:lnTo>
                    <a:lnTo>
                      <a:pt x="1043826" y="708786"/>
                    </a:lnTo>
                    <a:lnTo>
                      <a:pt x="1043561" y="706141"/>
                    </a:lnTo>
                    <a:lnTo>
                      <a:pt x="1044707" y="707287"/>
                    </a:lnTo>
                    <a:lnTo>
                      <a:pt x="1045324" y="706141"/>
                    </a:lnTo>
                    <a:lnTo>
                      <a:pt x="1046206" y="707287"/>
                    </a:lnTo>
                    <a:lnTo>
                      <a:pt x="1049115" y="707287"/>
                    </a:lnTo>
                    <a:lnTo>
                      <a:pt x="1050526" y="706141"/>
                    </a:lnTo>
                    <a:lnTo>
                      <a:pt x="1049380" y="705259"/>
                    </a:lnTo>
                    <a:lnTo>
                      <a:pt x="1050526" y="705259"/>
                    </a:lnTo>
                    <a:lnTo>
                      <a:pt x="1051408" y="701732"/>
                    </a:lnTo>
                    <a:lnTo>
                      <a:pt x="1049644" y="701468"/>
                    </a:lnTo>
                    <a:lnTo>
                      <a:pt x="1048146" y="700586"/>
                    </a:lnTo>
                    <a:lnTo>
                      <a:pt x="1049028" y="699704"/>
                    </a:lnTo>
                    <a:lnTo>
                      <a:pt x="1047529" y="697059"/>
                    </a:lnTo>
                    <a:lnTo>
                      <a:pt x="1049028" y="697324"/>
                    </a:lnTo>
                    <a:lnTo>
                      <a:pt x="1050173" y="699087"/>
                    </a:lnTo>
                    <a:lnTo>
                      <a:pt x="1050438" y="698823"/>
                    </a:lnTo>
                    <a:lnTo>
                      <a:pt x="1052202" y="699969"/>
                    </a:lnTo>
                    <a:lnTo>
                      <a:pt x="1051673" y="697059"/>
                    </a:lnTo>
                    <a:lnTo>
                      <a:pt x="1054582" y="698205"/>
                    </a:lnTo>
                    <a:lnTo>
                      <a:pt x="1056345" y="697059"/>
                    </a:lnTo>
                    <a:lnTo>
                      <a:pt x="1054318" y="695296"/>
                    </a:lnTo>
                    <a:lnTo>
                      <a:pt x="1053171" y="697059"/>
                    </a:lnTo>
                    <a:lnTo>
                      <a:pt x="1053436" y="694150"/>
                    </a:lnTo>
                    <a:lnTo>
                      <a:pt x="1052554" y="693268"/>
                    </a:lnTo>
                    <a:lnTo>
                      <a:pt x="1052554" y="688331"/>
                    </a:lnTo>
                    <a:lnTo>
                      <a:pt x="1054582" y="688948"/>
                    </a:lnTo>
                    <a:lnTo>
                      <a:pt x="1054582" y="690094"/>
                    </a:lnTo>
                    <a:lnTo>
                      <a:pt x="1058109" y="691505"/>
                    </a:lnTo>
                    <a:lnTo>
                      <a:pt x="1058638" y="693533"/>
                    </a:lnTo>
                    <a:lnTo>
                      <a:pt x="1060137" y="691505"/>
                    </a:lnTo>
                    <a:lnTo>
                      <a:pt x="1061019" y="694414"/>
                    </a:lnTo>
                    <a:lnTo>
                      <a:pt x="1062782" y="694150"/>
                    </a:lnTo>
                    <a:lnTo>
                      <a:pt x="1063399" y="693268"/>
                    </a:lnTo>
                    <a:lnTo>
                      <a:pt x="1063135" y="690358"/>
                    </a:lnTo>
                    <a:lnTo>
                      <a:pt x="1061988" y="687713"/>
                    </a:lnTo>
                    <a:lnTo>
                      <a:pt x="1060225" y="686832"/>
                    </a:lnTo>
                    <a:lnTo>
                      <a:pt x="1056698" y="685950"/>
                    </a:lnTo>
                    <a:lnTo>
                      <a:pt x="1058197" y="683922"/>
                    </a:lnTo>
                    <a:lnTo>
                      <a:pt x="1057845" y="681542"/>
                    </a:lnTo>
                    <a:lnTo>
                      <a:pt x="1058726" y="681542"/>
                    </a:lnTo>
                    <a:lnTo>
                      <a:pt x="1060225" y="677133"/>
                    </a:lnTo>
                    <a:lnTo>
                      <a:pt x="1056698" y="676869"/>
                    </a:lnTo>
                    <a:lnTo>
                      <a:pt x="1054670" y="680660"/>
                    </a:lnTo>
                    <a:lnTo>
                      <a:pt x="1052025" y="679778"/>
                    </a:lnTo>
                    <a:lnTo>
                      <a:pt x="1052025" y="677133"/>
                    </a:lnTo>
                    <a:lnTo>
                      <a:pt x="1054935" y="678632"/>
                    </a:lnTo>
                    <a:lnTo>
                      <a:pt x="1056963" y="671667"/>
                    </a:lnTo>
                    <a:lnTo>
                      <a:pt x="1059872" y="671931"/>
                    </a:lnTo>
                    <a:lnTo>
                      <a:pt x="1061900" y="671931"/>
                    </a:lnTo>
                    <a:lnTo>
                      <a:pt x="1062165" y="669286"/>
                    </a:lnTo>
                    <a:lnTo>
                      <a:pt x="1061283" y="668140"/>
                    </a:lnTo>
                    <a:lnTo>
                      <a:pt x="1058903" y="667876"/>
                    </a:lnTo>
                    <a:lnTo>
                      <a:pt x="1058021" y="669903"/>
                    </a:lnTo>
                    <a:lnTo>
                      <a:pt x="1055376" y="668757"/>
                    </a:lnTo>
                    <a:lnTo>
                      <a:pt x="1055640" y="666994"/>
                    </a:lnTo>
                    <a:lnTo>
                      <a:pt x="1055023" y="665495"/>
                    </a:lnTo>
                    <a:lnTo>
                      <a:pt x="1055287" y="666112"/>
                    </a:lnTo>
                    <a:lnTo>
                      <a:pt x="1057932" y="666112"/>
                    </a:lnTo>
                    <a:lnTo>
                      <a:pt x="1056169" y="663203"/>
                    </a:lnTo>
                    <a:lnTo>
                      <a:pt x="1053260" y="662056"/>
                    </a:lnTo>
                    <a:lnTo>
                      <a:pt x="1051761" y="658882"/>
                    </a:lnTo>
                    <a:lnTo>
                      <a:pt x="1053260" y="658001"/>
                    </a:lnTo>
                    <a:lnTo>
                      <a:pt x="1054670" y="659764"/>
                    </a:lnTo>
                    <a:lnTo>
                      <a:pt x="1054670" y="657736"/>
                    </a:lnTo>
                    <a:lnTo>
                      <a:pt x="1056698" y="660029"/>
                    </a:lnTo>
                    <a:lnTo>
                      <a:pt x="1057227" y="657119"/>
                    </a:lnTo>
                    <a:lnTo>
                      <a:pt x="1057492" y="660910"/>
                    </a:lnTo>
                    <a:lnTo>
                      <a:pt x="1058990" y="661792"/>
                    </a:lnTo>
                    <a:lnTo>
                      <a:pt x="1059255" y="658001"/>
                    </a:lnTo>
                    <a:lnTo>
                      <a:pt x="1060401" y="660381"/>
                    </a:lnTo>
                    <a:lnTo>
                      <a:pt x="1060401" y="662674"/>
                    </a:lnTo>
                    <a:lnTo>
                      <a:pt x="1061900" y="663820"/>
                    </a:lnTo>
                    <a:lnTo>
                      <a:pt x="1063046" y="663291"/>
                    </a:lnTo>
                    <a:lnTo>
                      <a:pt x="1063663" y="661527"/>
                    </a:lnTo>
                    <a:lnTo>
                      <a:pt x="1063663" y="657736"/>
                    </a:lnTo>
                    <a:lnTo>
                      <a:pt x="1060137" y="655091"/>
                    </a:lnTo>
                    <a:lnTo>
                      <a:pt x="1064545" y="654474"/>
                    </a:lnTo>
                    <a:lnTo>
                      <a:pt x="1063399" y="653592"/>
                    </a:lnTo>
                    <a:lnTo>
                      <a:pt x="1064281" y="653328"/>
                    </a:lnTo>
                    <a:lnTo>
                      <a:pt x="1064016" y="651917"/>
                    </a:lnTo>
                    <a:lnTo>
                      <a:pt x="1065515" y="651917"/>
                    </a:lnTo>
                    <a:lnTo>
                      <a:pt x="1065515" y="650418"/>
                    </a:lnTo>
                    <a:lnTo>
                      <a:pt x="1067278" y="649536"/>
                    </a:lnTo>
                    <a:lnTo>
                      <a:pt x="1065779" y="647773"/>
                    </a:lnTo>
                    <a:lnTo>
                      <a:pt x="1064281" y="646010"/>
                    </a:lnTo>
                    <a:lnTo>
                      <a:pt x="1066044" y="646274"/>
                    </a:lnTo>
                    <a:lnTo>
                      <a:pt x="1066926" y="648919"/>
                    </a:lnTo>
                    <a:lnTo>
                      <a:pt x="1069571" y="648038"/>
                    </a:lnTo>
                    <a:lnTo>
                      <a:pt x="1068689" y="645128"/>
                    </a:lnTo>
                    <a:lnTo>
                      <a:pt x="1071599" y="643982"/>
                    </a:lnTo>
                    <a:lnTo>
                      <a:pt x="1070717" y="641601"/>
                    </a:lnTo>
                    <a:lnTo>
                      <a:pt x="1068689" y="641337"/>
                    </a:lnTo>
                    <a:lnTo>
                      <a:pt x="1068072" y="638692"/>
                    </a:lnTo>
                    <a:lnTo>
                      <a:pt x="1069218" y="637193"/>
                    </a:lnTo>
                    <a:lnTo>
                      <a:pt x="1070364" y="635782"/>
                    </a:lnTo>
                    <a:lnTo>
                      <a:pt x="1071775" y="634019"/>
                    </a:lnTo>
                    <a:lnTo>
                      <a:pt x="1070893" y="631109"/>
                    </a:lnTo>
                    <a:lnTo>
                      <a:pt x="1070276" y="629081"/>
                    </a:lnTo>
                    <a:lnTo>
                      <a:pt x="1067366" y="629346"/>
                    </a:lnTo>
                    <a:lnTo>
                      <a:pt x="1064721" y="628200"/>
                    </a:lnTo>
                    <a:lnTo>
                      <a:pt x="1064721" y="626789"/>
                    </a:lnTo>
                    <a:lnTo>
                      <a:pt x="1065339" y="627406"/>
                    </a:lnTo>
                    <a:lnTo>
                      <a:pt x="1067631" y="626172"/>
                    </a:lnTo>
                    <a:lnTo>
                      <a:pt x="1071687" y="625907"/>
                    </a:lnTo>
                    <a:lnTo>
                      <a:pt x="1070540" y="625026"/>
                    </a:lnTo>
                    <a:lnTo>
                      <a:pt x="1073979" y="622381"/>
                    </a:lnTo>
                    <a:lnTo>
                      <a:pt x="1072569" y="621234"/>
                    </a:lnTo>
                    <a:lnTo>
                      <a:pt x="1073098" y="619471"/>
                    </a:lnTo>
                    <a:lnTo>
                      <a:pt x="1076360" y="619471"/>
                    </a:lnTo>
                    <a:lnTo>
                      <a:pt x="1078652" y="623879"/>
                    </a:lnTo>
                    <a:lnTo>
                      <a:pt x="1079798" y="625378"/>
                    </a:lnTo>
                    <a:lnTo>
                      <a:pt x="1081297" y="623350"/>
                    </a:lnTo>
                    <a:lnTo>
                      <a:pt x="1080151" y="620705"/>
                    </a:lnTo>
                    <a:lnTo>
                      <a:pt x="1083678" y="621852"/>
                    </a:lnTo>
                    <a:lnTo>
                      <a:pt x="1085441" y="620705"/>
                    </a:lnTo>
                    <a:lnTo>
                      <a:pt x="1085088" y="618060"/>
                    </a:lnTo>
                    <a:lnTo>
                      <a:pt x="1081032" y="616297"/>
                    </a:lnTo>
                    <a:lnTo>
                      <a:pt x="1081914" y="616032"/>
                    </a:lnTo>
                    <a:lnTo>
                      <a:pt x="1079622" y="611360"/>
                    </a:lnTo>
                    <a:lnTo>
                      <a:pt x="1073803" y="611360"/>
                    </a:lnTo>
                    <a:lnTo>
                      <a:pt x="1071158" y="609332"/>
                    </a:lnTo>
                    <a:lnTo>
                      <a:pt x="1070540" y="607039"/>
                    </a:lnTo>
                    <a:lnTo>
                      <a:pt x="1072569" y="605893"/>
                    </a:lnTo>
                    <a:lnTo>
                      <a:pt x="1075478" y="610566"/>
                    </a:lnTo>
                    <a:lnTo>
                      <a:pt x="1082179" y="610566"/>
                    </a:lnTo>
                    <a:lnTo>
                      <a:pt x="1081561" y="608274"/>
                    </a:lnTo>
                    <a:lnTo>
                      <a:pt x="1080945" y="606510"/>
                    </a:lnTo>
                    <a:lnTo>
                      <a:pt x="1080416" y="605364"/>
                    </a:lnTo>
                    <a:lnTo>
                      <a:pt x="1081826" y="605364"/>
                    </a:lnTo>
                    <a:lnTo>
                      <a:pt x="1079798" y="602719"/>
                    </a:lnTo>
                    <a:lnTo>
                      <a:pt x="1078035" y="603601"/>
                    </a:lnTo>
                    <a:lnTo>
                      <a:pt x="1079534" y="601573"/>
                    </a:lnTo>
                    <a:lnTo>
                      <a:pt x="1075743" y="601573"/>
                    </a:lnTo>
                    <a:lnTo>
                      <a:pt x="1074596" y="601573"/>
                    </a:lnTo>
                    <a:lnTo>
                      <a:pt x="1073979" y="598663"/>
                    </a:lnTo>
                    <a:lnTo>
                      <a:pt x="1076007" y="596283"/>
                    </a:lnTo>
                    <a:lnTo>
                      <a:pt x="1076889" y="597429"/>
                    </a:lnTo>
                    <a:lnTo>
                      <a:pt x="1079798" y="597164"/>
                    </a:lnTo>
                    <a:lnTo>
                      <a:pt x="1081297" y="598575"/>
                    </a:lnTo>
                    <a:lnTo>
                      <a:pt x="1082179" y="597429"/>
                    </a:lnTo>
                    <a:lnTo>
                      <a:pt x="1083061" y="599810"/>
                    </a:lnTo>
                    <a:lnTo>
                      <a:pt x="1085441" y="599545"/>
                    </a:lnTo>
                    <a:lnTo>
                      <a:pt x="1086058" y="597253"/>
                    </a:lnTo>
                    <a:lnTo>
                      <a:pt x="1084912" y="594343"/>
                    </a:lnTo>
                    <a:lnTo>
                      <a:pt x="1082003" y="593461"/>
                    </a:lnTo>
                    <a:lnTo>
                      <a:pt x="1082003" y="590816"/>
                    </a:lnTo>
                    <a:lnTo>
                      <a:pt x="1080239" y="588171"/>
                    </a:lnTo>
                    <a:lnTo>
                      <a:pt x="1080239" y="589935"/>
                    </a:lnTo>
                    <a:lnTo>
                      <a:pt x="1079093" y="590816"/>
                    </a:lnTo>
                    <a:lnTo>
                      <a:pt x="1077947" y="589935"/>
                    </a:lnTo>
                    <a:lnTo>
                      <a:pt x="1074156" y="593461"/>
                    </a:lnTo>
                    <a:lnTo>
                      <a:pt x="1072128" y="592580"/>
                    </a:lnTo>
                    <a:lnTo>
                      <a:pt x="1071246" y="590816"/>
                    </a:lnTo>
                    <a:lnTo>
                      <a:pt x="1075566" y="590552"/>
                    </a:lnTo>
                    <a:lnTo>
                      <a:pt x="1077329" y="588788"/>
                    </a:lnTo>
                    <a:lnTo>
                      <a:pt x="1079093" y="584380"/>
                    </a:lnTo>
                    <a:lnTo>
                      <a:pt x="1080856" y="584380"/>
                    </a:lnTo>
                    <a:lnTo>
                      <a:pt x="1083501" y="584116"/>
                    </a:lnTo>
                    <a:lnTo>
                      <a:pt x="1084383" y="581823"/>
                    </a:lnTo>
                    <a:lnTo>
                      <a:pt x="1083501" y="579178"/>
                    </a:lnTo>
                    <a:lnTo>
                      <a:pt x="1081738" y="578032"/>
                    </a:lnTo>
                    <a:lnTo>
                      <a:pt x="1084648" y="575740"/>
                    </a:lnTo>
                    <a:lnTo>
                      <a:pt x="1081385" y="572566"/>
                    </a:lnTo>
                    <a:lnTo>
                      <a:pt x="1080503" y="569656"/>
                    </a:lnTo>
                    <a:lnTo>
                      <a:pt x="1077594" y="568774"/>
                    </a:lnTo>
                    <a:lnTo>
                      <a:pt x="1077858" y="570538"/>
                    </a:lnTo>
                    <a:lnTo>
                      <a:pt x="1078740" y="572566"/>
                    </a:lnTo>
                    <a:lnTo>
                      <a:pt x="1077329" y="577238"/>
                    </a:lnTo>
                    <a:lnTo>
                      <a:pt x="1073803" y="579884"/>
                    </a:lnTo>
                    <a:lnTo>
                      <a:pt x="1064457" y="570890"/>
                    </a:lnTo>
                    <a:lnTo>
                      <a:pt x="1061283" y="571155"/>
                    </a:lnTo>
                    <a:lnTo>
                      <a:pt x="1053965" y="575563"/>
                    </a:lnTo>
                    <a:lnTo>
                      <a:pt x="1050438" y="574682"/>
                    </a:lnTo>
                    <a:lnTo>
                      <a:pt x="1051849" y="576709"/>
                    </a:lnTo>
                    <a:lnTo>
                      <a:pt x="1048322" y="574417"/>
                    </a:lnTo>
                    <a:lnTo>
                      <a:pt x="1046030" y="570626"/>
                    </a:lnTo>
                    <a:lnTo>
                      <a:pt x="1042856" y="575034"/>
                    </a:lnTo>
                    <a:lnTo>
                      <a:pt x="1039065" y="573888"/>
                    </a:lnTo>
                    <a:lnTo>
                      <a:pt x="1039681" y="570626"/>
                    </a:lnTo>
                    <a:lnTo>
                      <a:pt x="1041445" y="568333"/>
                    </a:lnTo>
                    <a:lnTo>
                      <a:pt x="1044355" y="568951"/>
                    </a:lnTo>
                    <a:lnTo>
                      <a:pt x="1047264" y="570097"/>
                    </a:lnTo>
                    <a:lnTo>
                      <a:pt x="1050173" y="569480"/>
                    </a:lnTo>
                    <a:lnTo>
                      <a:pt x="1051320" y="570361"/>
                    </a:lnTo>
                    <a:lnTo>
                      <a:pt x="1053348" y="569215"/>
                    </a:lnTo>
                    <a:lnTo>
                      <a:pt x="1052202" y="566570"/>
                    </a:lnTo>
                    <a:lnTo>
                      <a:pt x="1053348" y="565424"/>
                    </a:lnTo>
                    <a:lnTo>
                      <a:pt x="1057139" y="564807"/>
                    </a:lnTo>
                    <a:lnTo>
                      <a:pt x="1060049" y="561897"/>
                    </a:lnTo>
                    <a:lnTo>
                      <a:pt x="1062341" y="558370"/>
                    </a:lnTo>
                    <a:lnTo>
                      <a:pt x="1068513" y="558635"/>
                    </a:lnTo>
                    <a:lnTo>
                      <a:pt x="1070276" y="558370"/>
                    </a:lnTo>
                    <a:lnTo>
                      <a:pt x="1070276" y="555725"/>
                    </a:lnTo>
                    <a:lnTo>
                      <a:pt x="1066749" y="553080"/>
                    </a:lnTo>
                    <a:lnTo>
                      <a:pt x="1061195" y="546115"/>
                    </a:lnTo>
                    <a:lnTo>
                      <a:pt x="1048940" y="539943"/>
                    </a:lnTo>
                    <a:lnTo>
                      <a:pt x="1045677" y="535535"/>
                    </a:lnTo>
                    <a:lnTo>
                      <a:pt x="1036331" y="533507"/>
                    </a:lnTo>
                    <a:lnTo>
                      <a:pt x="1037830" y="532625"/>
                    </a:lnTo>
                    <a:lnTo>
                      <a:pt x="1034656" y="528834"/>
                    </a:lnTo>
                    <a:lnTo>
                      <a:pt x="1030248" y="528834"/>
                    </a:lnTo>
                    <a:lnTo>
                      <a:pt x="1025927" y="530862"/>
                    </a:lnTo>
                    <a:lnTo>
                      <a:pt x="1019756" y="531479"/>
                    </a:lnTo>
                    <a:lnTo>
                      <a:pt x="1017728" y="529187"/>
                    </a:lnTo>
                    <a:lnTo>
                      <a:pt x="1014201" y="523632"/>
                    </a:lnTo>
                    <a:lnTo>
                      <a:pt x="1011291" y="524514"/>
                    </a:lnTo>
                    <a:lnTo>
                      <a:pt x="1008911" y="521604"/>
                    </a:lnTo>
                    <a:lnTo>
                      <a:pt x="1009793" y="520105"/>
                    </a:lnTo>
                    <a:lnTo>
                      <a:pt x="1011820" y="520370"/>
                    </a:lnTo>
                    <a:lnTo>
                      <a:pt x="1012702" y="518959"/>
                    </a:lnTo>
                    <a:lnTo>
                      <a:pt x="1014465" y="519841"/>
                    </a:lnTo>
                    <a:lnTo>
                      <a:pt x="1015083" y="521869"/>
                    </a:lnTo>
                    <a:lnTo>
                      <a:pt x="1021519" y="529716"/>
                    </a:lnTo>
                    <a:lnTo>
                      <a:pt x="1025310" y="529098"/>
                    </a:lnTo>
                    <a:lnTo>
                      <a:pt x="1027691" y="529098"/>
                    </a:lnTo>
                    <a:lnTo>
                      <a:pt x="1029719" y="527071"/>
                    </a:lnTo>
                    <a:lnTo>
                      <a:pt x="1032628" y="527071"/>
                    </a:lnTo>
                    <a:lnTo>
                      <a:pt x="1042239" y="532890"/>
                    </a:lnTo>
                    <a:lnTo>
                      <a:pt x="1047793" y="532625"/>
                    </a:lnTo>
                    <a:lnTo>
                      <a:pt x="1059167" y="536152"/>
                    </a:lnTo>
                    <a:lnTo>
                      <a:pt x="1061812" y="536152"/>
                    </a:lnTo>
                    <a:lnTo>
                      <a:pt x="1063223" y="535535"/>
                    </a:lnTo>
                    <a:lnTo>
                      <a:pt x="1063487" y="532008"/>
                    </a:lnTo>
                    <a:lnTo>
                      <a:pt x="1061459" y="529098"/>
                    </a:lnTo>
                    <a:lnTo>
                      <a:pt x="1056786" y="528834"/>
                    </a:lnTo>
                    <a:lnTo>
                      <a:pt x="1048940" y="525043"/>
                    </a:lnTo>
                    <a:lnTo>
                      <a:pt x="1046911" y="520105"/>
                    </a:lnTo>
                    <a:lnTo>
                      <a:pt x="1042239" y="519576"/>
                    </a:lnTo>
                    <a:lnTo>
                      <a:pt x="1037565" y="516931"/>
                    </a:lnTo>
                    <a:lnTo>
                      <a:pt x="1032011" y="513404"/>
                    </a:lnTo>
                    <a:lnTo>
                      <a:pt x="1029983" y="503442"/>
                    </a:lnTo>
                    <a:lnTo>
                      <a:pt x="1028220" y="503442"/>
                    </a:lnTo>
                    <a:lnTo>
                      <a:pt x="1024693" y="497358"/>
                    </a:lnTo>
                    <a:lnTo>
                      <a:pt x="1019756" y="495330"/>
                    </a:lnTo>
                    <a:lnTo>
                      <a:pt x="1020020" y="490040"/>
                    </a:lnTo>
                    <a:lnTo>
                      <a:pt x="1015347" y="488894"/>
                    </a:lnTo>
                    <a:lnTo>
                      <a:pt x="1009793" y="480430"/>
                    </a:lnTo>
                    <a:lnTo>
                      <a:pt x="1007148" y="473464"/>
                    </a:lnTo>
                    <a:lnTo>
                      <a:pt x="1002739" y="470819"/>
                    </a:lnTo>
                    <a:lnTo>
                      <a:pt x="1001240" y="467292"/>
                    </a:lnTo>
                    <a:lnTo>
                      <a:pt x="988985" y="466146"/>
                    </a:lnTo>
                    <a:lnTo>
                      <a:pt x="986604" y="461738"/>
                    </a:lnTo>
                    <a:lnTo>
                      <a:pt x="981402" y="460592"/>
                    </a:lnTo>
                    <a:lnTo>
                      <a:pt x="977347" y="460856"/>
                    </a:lnTo>
                    <a:lnTo>
                      <a:pt x="975054" y="459710"/>
                    </a:lnTo>
                    <a:lnTo>
                      <a:pt x="973555" y="456800"/>
                    </a:lnTo>
                    <a:lnTo>
                      <a:pt x="974437" y="454508"/>
                    </a:lnTo>
                    <a:lnTo>
                      <a:pt x="973908" y="451334"/>
                    </a:lnTo>
                    <a:lnTo>
                      <a:pt x="974790" y="448689"/>
                    </a:lnTo>
                    <a:lnTo>
                      <a:pt x="973026" y="446044"/>
                    </a:lnTo>
                    <a:lnTo>
                      <a:pt x="974790" y="445162"/>
                    </a:lnTo>
                    <a:lnTo>
                      <a:pt x="975672" y="446926"/>
                    </a:lnTo>
                    <a:lnTo>
                      <a:pt x="977964" y="445779"/>
                    </a:lnTo>
                    <a:lnTo>
                      <a:pt x="978846" y="444016"/>
                    </a:lnTo>
                    <a:lnTo>
                      <a:pt x="978228" y="439960"/>
                    </a:lnTo>
                    <a:lnTo>
                      <a:pt x="979727" y="438461"/>
                    </a:lnTo>
                    <a:lnTo>
                      <a:pt x="982372" y="439079"/>
                    </a:lnTo>
                    <a:lnTo>
                      <a:pt x="981490" y="436433"/>
                    </a:lnTo>
                    <a:lnTo>
                      <a:pt x="984135" y="436433"/>
                    </a:lnTo>
                    <a:lnTo>
                      <a:pt x="984135" y="432378"/>
                    </a:lnTo>
                    <a:lnTo>
                      <a:pt x="987662" y="429733"/>
                    </a:lnTo>
                    <a:lnTo>
                      <a:pt x="984753" y="429733"/>
                    </a:lnTo>
                    <a:lnTo>
                      <a:pt x="982460" y="427969"/>
                    </a:lnTo>
                    <a:lnTo>
                      <a:pt x="979815" y="426823"/>
                    </a:lnTo>
                    <a:lnTo>
                      <a:pt x="980697" y="424178"/>
                    </a:lnTo>
                    <a:lnTo>
                      <a:pt x="981579" y="423561"/>
                    </a:lnTo>
                    <a:lnTo>
                      <a:pt x="985635" y="425060"/>
                    </a:lnTo>
                    <a:lnTo>
                      <a:pt x="984753" y="422767"/>
                    </a:lnTo>
                    <a:lnTo>
                      <a:pt x="985370" y="422150"/>
                    </a:lnTo>
                    <a:lnTo>
                      <a:pt x="985899" y="422767"/>
                    </a:lnTo>
                    <a:lnTo>
                      <a:pt x="988544" y="428587"/>
                    </a:lnTo>
                    <a:lnTo>
                      <a:pt x="990572" y="428851"/>
                    </a:lnTo>
                    <a:lnTo>
                      <a:pt x="993217" y="427617"/>
                    </a:lnTo>
                    <a:lnTo>
                      <a:pt x="994098" y="426206"/>
                    </a:lnTo>
                    <a:lnTo>
                      <a:pt x="991454" y="422679"/>
                    </a:lnTo>
                    <a:lnTo>
                      <a:pt x="990836" y="419152"/>
                    </a:lnTo>
                    <a:lnTo>
                      <a:pt x="991983" y="418006"/>
                    </a:lnTo>
                    <a:lnTo>
                      <a:pt x="993481" y="418006"/>
                    </a:lnTo>
                    <a:lnTo>
                      <a:pt x="994627" y="420651"/>
                    </a:lnTo>
                    <a:lnTo>
                      <a:pt x="994980" y="420916"/>
                    </a:lnTo>
                    <a:lnTo>
                      <a:pt x="995509" y="419417"/>
                    </a:lnTo>
                    <a:lnTo>
                      <a:pt x="995774" y="419152"/>
                    </a:lnTo>
                    <a:lnTo>
                      <a:pt x="996391" y="419770"/>
                    </a:lnTo>
                    <a:lnTo>
                      <a:pt x="996391" y="418006"/>
                    </a:lnTo>
                    <a:lnTo>
                      <a:pt x="995509" y="416243"/>
                    </a:lnTo>
                    <a:lnTo>
                      <a:pt x="991718" y="414215"/>
                    </a:lnTo>
                    <a:lnTo>
                      <a:pt x="991101" y="416243"/>
                    </a:lnTo>
                    <a:lnTo>
                      <a:pt x="990836" y="415978"/>
                    </a:lnTo>
                    <a:lnTo>
                      <a:pt x="990484" y="414215"/>
                    </a:lnTo>
                    <a:lnTo>
                      <a:pt x="990836" y="412452"/>
                    </a:lnTo>
                    <a:lnTo>
                      <a:pt x="992864" y="412716"/>
                    </a:lnTo>
                    <a:lnTo>
                      <a:pt x="994363" y="412187"/>
                    </a:lnTo>
                    <a:lnTo>
                      <a:pt x="994980" y="414480"/>
                    </a:lnTo>
                    <a:lnTo>
                      <a:pt x="996743" y="415097"/>
                    </a:lnTo>
                    <a:lnTo>
                      <a:pt x="998507" y="413598"/>
                    </a:lnTo>
                    <a:lnTo>
                      <a:pt x="1002915" y="411835"/>
                    </a:lnTo>
                    <a:lnTo>
                      <a:pt x="1001152" y="409807"/>
                    </a:lnTo>
                    <a:lnTo>
                      <a:pt x="1001417" y="408043"/>
                    </a:lnTo>
                    <a:lnTo>
                      <a:pt x="1002915" y="407426"/>
                    </a:lnTo>
                    <a:lnTo>
                      <a:pt x="1005296" y="406015"/>
                    </a:lnTo>
                    <a:lnTo>
                      <a:pt x="1006442" y="405751"/>
                    </a:lnTo>
                    <a:lnTo>
                      <a:pt x="1004944" y="406897"/>
                    </a:lnTo>
                    <a:lnTo>
                      <a:pt x="1004062" y="407514"/>
                    </a:lnTo>
                    <a:lnTo>
                      <a:pt x="1006089" y="408131"/>
                    </a:lnTo>
                    <a:lnTo>
                      <a:pt x="1004062" y="409895"/>
                    </a:lnTo>
                    <a:lnTo>
                      <a:pt x="1005208" y="411041"/>
                    </a:lnTo>
                    <a:lnTo>
                      <a:pt x="1005737" y="411923"/>
                    </a:lnTo>
                    <a:lnTo>
                      <a:pt x="1006618" y="412187"/>
                    </a:lnTo>
                    <a:lnTo>
                      <a:pt x="1007235" y="410688"/>
                    </a:lnTo>
                    <a:lnTo>
                      <a:pt x="1006618" y="408925"/>
                    </a:lnTo>
                    <a:lnTo>
                      <a:pt x="1008999" y="407162"/>
                    </a:lnTo>
                    <a:lnTo>
                      <a:pt x="1010145" y="406897"/>
                    </a:lnTo>
                    <a:lnTo>
                      <a:pt x="1011027" y="406280"/>
                    </a:lnTo>
                    <a:lnTo>
                      <a:pt x="1010145" y="404517"/>
                    </a:lnTo>
                    <a:lnTo>
                      <a:pt x="1008117" y="403899"/>
                    </a:lnTo>
                    <a:lnTo>
                      <a:pt x="1008735" y="403282"/>
                    </a:lnTo>
                    <a:lnTo>
                      <a:pt x="1010762" y="403547"/>
                    </a:lnTo>
                    <a:lnTo>
                      <a:pt x="1012173" y="404428"/>
                    </a:lnTo>
                    <a:lnTo>
                      <a:pt x="1013319" y="406809"/>
                    </a:lnTo>
                    <a:lnTo>
                      <a:pt x="1013848" y="406544"/>
                    </a:lnTo>
                    <a:lnTo>
                      <a:pt x="1015083" y="404517"/>
                    </a:lnTo>
                    <a:lnTo>
                      <a:pt x="1015700" y="405134"/>
                    </a:lnTo>
                    <a:lnTo>
                      <a:pt x="1017199" y="405134"/>
                    </a:lnTo>
                    <a:lnTo>
                      <a:pt x="1017728" y="408043"/>
                    </a:lnTo>
                    <a:lnTo>
                      <a:pt x="1019491" y="409454"/>
                    </a:lnTo>
                    <a:lnTo>
                      <a:pt x="1020020" y="409454"/>
                    </a:lnTo>
                    <a:lnTo>
                      <a:pt x="1020902" y="408308"/>
                    </a:lnTo>
                    <a:lnTo>
                      <a:pt x="1022665" y="408043"/>
                    </a:lnTo>
                    <a:lnTo>
                      <a:pt x="1020637" y="406280"/>
                    </a:lnTo>
                    <a:lnTo>
                      <a:pt x="1021254" y="405663"/>
                    </a:lnTo>
                    <a:lnTo>
                      <a:pt x="1023635" y="406280"/>
                    </a:lnTo>
                    <a:lnTo>
                      <a:pt x="1023018" y="405134"/>
                    </a:lnTo>
                    <a:lnTo>
                      <a:pt x="1022401" y="403988"/>
                    </a:lnTo>
                    <a:lnTo>
                      <a:pt x="1020990" y="403988"/>
                    </a:lnTo>
                    <a:lnTo>
                      <a:pt x="1020108" y="403723"/>
                    </a:lnTo>
                    <a:lnTo>
                      <a:pt x="1019227" y="403458"/>
                    </a:lnTo>
                    <a:lnTo>
                      <a:pt x="1019227" y="402048"/>
                    </a:lnTo>
                    <a:lnTo>
                      <a:pt x="1020373" y="400549"/>
                    </a:lnTo>
                    <a:lnTo>
                      <a:pt x="1022401" y="400020"/>
                    </a:lnTo>
                    <a:lnTo>
                      <a:pt x="1021519" y="398521"/>
                    </a:lnTo>
                    <a:lnTo>
                      <a:pt x="1019227" y="398521"/>
                    </a:lnTo>
                    <a:lnTo>
                      <a:pt x="1021519" y="397022"/>
                    </a:lnTo>
                    <a:lnTo>
                      <a:pt x="1020020" y="397639"/>
                    </a:lnTo>
                    <a:lnTo>
                      <a:pt x="1019139" y="397022"/>
                    </a:lnTo>
                    <a:lnTo>
                      <a:pt x="1020285" y="394113"/>
                    </a:lnTo>
                    <a:lnTo>
                      <a:pt x="1020902" y="394113"/>
                    </a:lnTo>
                    <a:lnTo>
                      <a:pt x="1020020" y="392614"/>
                    </a:lnTo>
                    <a:lnTo>
                      <a:pt x="1018874" y="394113"/>
                    </a:lnTo>
                    <a:lnTo>
                      <a:pt x="1017728" y="393496"/>
                    </a:lnTo>
                    <a:lnTo>
                      <a:pt x="1017463" y="392349"/>
                    </a:lnTo>
                    <a:lnTo>
                      <a:pt x="1016317" y="394113"/>
                    </a:lnTo>
                    <a:lnTo>
                      <a:pt x="1013672" y="395259"/>
                    </a:lnTo>
                    <a:lnTo>
                      <a:pt x="1010410" y="394113"/>
                    </a:lnTo>
                    <a:lnTo>
                      <a:pt x="1011027" y="392349"/>
                    </a:lnTo>
                    <a:lnTo>
                      <a:pt x="1009264" y="390321"/>
                    </a:lnTo>
                    <a:lnTo>
                      <a:pt x="1008382" y="390586"/>
                    </a:lnTo>
                    <a:lnTo>
                      <a:pt x="1004326" y="390850"/>
                    </a:lnTo>
                    <a:lnTo>
                      <a:pt x="1002298" y="390586"/>
                    </a:lnTo>
                    <a:lnTo>
                      <a:pt x="999389" y="389969"/>
                    </a:lnTo>
                    <a:lnTo>
                      <a:pt x="995597" y="390586"/>
                    </a:lnTo>
                    <a:lnTo>
                      <a:pt x="993305" y="386795"/>
                    </a:lnTo>
                    <a:lnTo>
                      <a:pt x="993041" y="387059"/>
                    </a:lnTo>
                    <a:lnTo>
                      <a:pt x="990660" y="388558"/>
                    </a:lnTo>
                    <a:lnTo>
                      <a:pt x="987751" y="387412"/>
                    </a:lnTo>
                    <a:lnTo>
                      <a:pt x="985987" y="384767"/>
                    </a:lnTo>
                    <a:lnTo>
                      <a:pt x="980432" y="384150"/>
                    </a:lnTo>
                    <a:lnTo>
                      <a:pt x="974614" y="382651"/>
                    </a:lnTo>
                    <a:lnTo>
                      <a:pt x="969940" y="386178"/>
                    </a:lnTo>
                    <a:lnTo>
                      <a:pt x="969059" y="387059"/>
                    </a:lnTo>
                    <a:lnTo>
                      <a:pt x="967295" y="387324"/>
                    </a:lnTo>
                    <a:lnTo>
                      <a:pt x="967913" y="387941"/>
                    </a:lnTo>
                    <a:lnTo>
                      <a:pt x="969940" y="389087"/>
                    </a:lnTo>
                    <a:lnTo>
                      <a:pt x="966767" y="393143"/>
                    </a:lnTo>
                    <a:lnTo>
                      <a:pt x="966413" y="395788"/>
                    </a:lnTo>
                    <a:lnTo>
                      <a:pt x="965884" y="395171"/>
                    </a:lnTo>
                    <a:lnTo>
                      <a:pt x="964386" y="397463"/>
                    </a:lnTo>
                    <a:lnTo>
                      <a:pt x="961741" y="397463"/>
                    </a:lnTo>
                    <a:lnTo>
                      <a:pt x="960859" y="397199"/>
                    </a:lnTo>
                    <a:lnTo>
                      <a:pt x="957950" y="396581"/>
                    </a:lnTo>
                    <a:lnTo>
                      <a:pt x="956803" y="396317"/>
                    </a:lnTo>
                    <a:lnTo>
                      <a:pt x="954158" y="397199"/>
                    </a:lnTo>
                    <a:lnTo>
                      <a:pt x="953276" y="396581"/>
                    </a:lnTo>
                    <a:lnTo>
                      <a:pt x="951866" y="395964"/>
                    </a:lnTo>
                    <a:lnTo>
                      <a:pt x="950367" y="395347"/>
                    </a:lnTo>
                    <a:lnTo>
                      <a:pt x="948075" y="393936"/>
                    </a:lnTo>
                    <a:lnTo>
                      <a:pt x="946047" y="391291"/>
                    </a:lnTo>
                    <a:lnTo>
                      <a:pt x="942255" y="388999"/>
                    </a:lnTo>
                    <a:lnTo>
                      <a:pt x="944284" y="386618"/>
                    </a:lnTo>
                    <a:lnTo>
                      <a:pt x="940228" y="381328"/>
                    </a:lnTo>
                    <a:lnTo>
                      <a:pt x="933527" y="376126"/>
                    </a:lnTo>
                    <a:lnTo>
                      <a:pt x="927091" y="374980"/>
                    </a:lnTo>
                    <a:lnTo>
                      <a:pt x="927091" y="374716"/>
                    </a:lnTo>
                    <a:lnTo>
                      <a:pt x="924181" y="373834"/>
                    </a:lnTo>
                    <a:lnTo>
                      <a:pt x="918979" y="372952"/>
                    </a:lnTo>
                    <a:lnTo>
                      <a:pt x="908223" y="370660"/>
                    </a:lnTo>
                    <a:lnTo>
                      <a:pt x="901522" y="362813"/>
                    </a:lnTo>
                    <a:lnTo>
                      <a:pt x="900375" y="358404"/>
                    </a:lnTo>
                    <a:lnTo>
                      <a:pt x="903285" y="355230"/>
                    </a:lnTo>
                    <a:lnTo>
                      <a:pt x="901786" y="352585"/>
                    </a:lnTo>
                    <a:lnTo>
                      <a:pt x="899406" y="351704"/>
                    </a:lnTo>
                    <a:lnTo>
                      <a:pt x="901433" y="349059"/>
                    </a:lnTo>
                    <a:lnTo>
                      <a:pt x="904608" y="349059"/>
                    </a:lnTo>
                    <a:lnTo>
                      <a:pt x="907517" y="352850"/>
                    </a:lnTo>
                    <a:lnTo>
                      <a:pt x="913072" y="354349"/>
                    </a:lnTo>
                    <a:lnTo>
                      <a:pt x="915717" y="353732"/>
                    </a:lnTo>
                    <a:lnTo>
                      <a:pt x="917480" y="349940"/>
                    </a:lnTo>
                    <a:lnTo>
                      <a:pt x="923035" y="349059"/>
                    </a:lnTo>
                    <a:lnTo>
                      <a:pt x="924181" y="349940"/>
                    </a:lnTo>
                    <a:lnTo>
                      <a:pt x="924181" y="351704"/>
                    </a:lnTo>
                    <a:lnTo>
                      <a:pt x="927708" y="344386"/>
                    </a:lnTo>
                    <a:lnTo>
                      <a:pt x="924798" y="341476"/>
                    </a:lnTo>
                    <a:lnTo>
                      <a:pt x="925680" y="336803"/>
                    </a:lnTo>
                    <a:lnTo>
                      <a:pt x="926826" y="333277"/>
                    </a:lnTo>
                    <a:lnTo>
                      <a:pt x="931499" y="327722"/>
                    </a:lnTo>
                    <a:lnTo>
                      <a:pt x="937318" y="328604"/>
                    </a:lnTo>
                    <a:lnTo>
                      <a:pt x="942784" y="324548"/>
                    </a:lnTo>
                    <a:lnTo>
                      <a:pt x="943137" y="318993"/>
                    </a:lnTo>
                    <a:lnTo>
                      <a:pt x="943755" y="314320"/>
                    </a:lnTo>
                    <a:lnTo>
                      <a:pt x="948427" y="312557"/>
                    </a:lnTo>
                    <a:lnTo>
                      <a:pt x="946400" y="311940"/>
                    </a:lnTo>
                    <a:lnTo>
                      <a:pt x="944900" y="309030"/>
                    </a:lnTo>
                    <a:lnTo>
                      <a:pt x="947546" y="309295"/>
                    </a:lnTo>
                    <a:lnTo>
                      <a:pt x="948163" y="306385"/>
                    </a:lnTo>
                    <a:lnTo>
                      <a:pt x="961035" y="308148"/>
                    </a:lnTo>
                    <a:lnTo>
                      <a:pt x="961300" y="305239"/>
                    </a:lnTo>
                    <a:lnTo>
                      <a:pt x="962182" y="305239"/>
                    </a:lnTo>
                    <a:lnTo>
                      <a:pt x="963680" y="309295"/>
                    </a:lnTo>
                    <a:lnTo>
                      <a:pt x="967736" y="313086"/>
                    </a:lnTo>
                    <a:lnTo>
                      <a:pt x="971527" y="313086"/>
                    </a:lnTo>
                    <a:lnTo>
                      <a:pt x="972674" y="315466"/>
                    </a:lnTo>
                    <a:lnTo>
                      <a:pt x="976465" y="317230"/>
                    </a:lnTo>
                    <a:lnTo>
                      <a:pt x="978493" y="326223"/>
                    </a:lnTo>
                    <a:lnTo>
                      <a:pt x="974701" y="325341"/>
                    </a:lnTo>
                    <a:lnTo>
                      <a:pt x="973026" y="331425"/>
                    </a:lnTo>
                    <a:lnTo>
                      <a:pt x="972145" y="334334"/>
                    </a:lnTo>
                    <a:lnTo>
                      <a:pt x="968971" y="334334"/>
                    </a:lnTo>
                    <a:lnTo>
                      <a:pt x="972497" y="339625"/>
                    </a:lnTo>
                    <a:lnTo>
                      <a:pt x="968706" y="337332"/>
                    </a:lnTo>
                    <a:lnTo>
                      <a:pt x="966942" y="339096"/>
                    </a:lnTo>
                    <a:lnTo>
                      <a:pt x="966061" y="341741"/>
                    </a:lnTo>
                    <a:lnTo>
                      <a:pt x="969588" y="345532"/>
                    </a:lnTo>
                    <a:lnTo>
                      <a:pt x="973643" y="345796"/>
                    </a:lnTo>
                    <a:lnTo>
                      <a:pt x="975407" y="345532"/>
                    </a:lnTo>
                    <a:lnTo>
                      <a:pt x="978052" y="344650"/>
                    </a:lnTo>
                    <a:lnTo>
                      <a:pt x="978317" y="345532"/>
                    </a:lnTo>
                    <a:lnTo>
                      <a:pt x="977170" y="346678"/>
                    </a:lnTo>
                    <a:lnTo>
                      <a:pt x="976906" y="348706"/>
                    </a:lnTo>
                    <a:lnTo>
                      <a:pt x="980961" y="352762"/>
                    </a:lnTo>
                    <a:lnTo>
                      <a:pt x="976906" y="353643"/>
                    </a:lnTo>
                    <a:lnTo>
                      <a:pt x="973379" y="353643"/>
                    </a:lnTo>
                    <a:lnTo>
                      <a:pt x="971616" y="357170"/>
                    </a:lnTo>
                    <a:lnTo>
                      <a:pt x="972762" y="360344"/>
                    </a:lnTo>
                    <a:lnTo>
                      <a:pt x="975672" y="361490"/>
                    </a:lnTo>
                    <a:lnTo>
                      <a:pt x="975672" y="359463"/>
                    </a:lnTo>
                    <a:lnTo>
                      <a:pt x="979727" y="361843"/>
                    </a:lnTo>
                    <a:lnTo>
                      <a:pt x="981755" y="360697"/>
                    </a:lnTo>
                    <a:lnTo>
                      <a:pt x="980873" y="358052"/>
                    </a:lnTo>
                    <a:lnTo>
                      <a:pt x="980873" y="356553"/>
                    </a:lnTo>
                    <a:lnTo>
                      <a:pt x="981755" y="354525"/>
                    </a:lnTo>
                    <a:lnTo>
                      <a:pt x="983518" y="356553"/>
                    </a:lnTo>
                    <a:lnTo>
                      <a:pt x="986957" y="356024"/>
                    </a:lnTo>
                    <a:lnTo>
                      <a:pt x="985546" y="354261"/>
                    </a:lnTo>
                    <a:lnTo>
                      <a:pt x="988720" y="353379"/>
                    </a:lnTo>
                    <a:lnTo>
                      <a:pt x="989867" y="349588"/>
                    </a:lnTo>
                    <a:lnTo>
                      <a:pt x="991013" y="349323"/>
                    </a:lnTo>
                    <a:lnTo>
                      <a:pt x="991894" y="346678"/>
                    </a:lnTo>
                    <a:lnTo>
                      <a:pt x="991630" y="344386"/>
                    </a:lnTo>
                    <a:lnTo>
                      <a:pt x="992776" y="339448"/>
                    </a:lnTo>
                    <a:lnTo>
                      <a:pt x="996303" y="338302"/>
                    </a:lnTo>
                    <a:lnTo>
                      <a:pt x="1000359" y="338302"/>
                    </a:lnTo>
                    <a:lnTo>
                      <a:pt x="1005913" y="337685"/>
                    </a:lnTo>
                    <a:lnTo>
                      <a:pt x="1003004" y="334511"/>
                    </a:lnTo>
                    <a:lnTo>
                      <a:pt x="1006178" y="333629"/>
                    </a:lnTo>
                    <a:lnTo>
                      <a:pt x="1007677" y="334511"/>
                    </a:lnTo>
                    <a:lnTo>
                      <a:pt x="1008822" y="336274"/>
                    </a:lnTo>
                    <a:lnTo>
                      <a:pt x="1013231" y="336010"/>
                    </a:lnTo>
                    <a:lnTo>
                      <a:pt x="1011468" y="333365"/>
                    </a:lnTo>
                    <a:lnTo>
                      <a:pt x="1010939" y="331601"/>
                    </a:lnTo>
                    <a:lnTo>
                      <a:pt x="1012967" y="331866"/>
                    </a:lnTo>
                    <a:lnTo>
                      <a:pt x="1014113" y="334511"/>
                    </a:lnTo>
                    <a:lnTo>
                      <a:pt x="1017639" y="336891"/>
                    </a:lnTo>
                    <a:lnTo>
                      <a:pt x="1024605" y="334511"/>
                    </a:lnTo>
                    <a:lnTo>
                      <a:pt x="1031041" y="319346"/>
                    </a:lnTo>
                    <a:lnTo>
                      <a:pt x="1034215" y="319963"/>
                    </a:lnTo>
                    <a:lnTo>
                      <a:pt x="1031923" y="317935"/>
                    </a:lnTo>
                    <a:lnTo>
                      <a:pt x="1035978" y="315026"/>
                    </a:lnTo>
                    <a:lnTo>
                      <a:pt x="1038359" y="315290"/>
                    </a:lnTo>
                    <a:lnTo>
                      <a:pt x="1038976" y="310882"/>
                    </a:lnTo>
                    <a:lnTo>
                      <a:pt x="1041621" y="310882"/>
                    </a:lnTo>
                    <a:lnTo>
                      <a:pt x="1041621" y="308237"/>
                    </a:lnTo>
                    <a:lnTo>
                      <a:pt x="1046294" y="307090"/>
                    </a:lnTo>
                    <a:lnTo>
                      <a:pt x="1046294" y="302682"/>
                    </a:lnTo>
                    <a:lnTo>
                      <a:pt x="1051232" y="296246"/>
                    </a:lnTo>
                    <a:lnTo>
                      <a:pt x="1047705" y="288663"/>
                    </a:lnTo>
                    <a:lnTo>
                      <a:pt x="1048322" y="286018"/>
                    </a:lnTo>
                    <a:lnTo>
                      <a:pt x="1052113" y="285754"/>
                    </a:lnTo>
                    <a:lnTo>
                      <a:pt x="1060930" y="290691"/>
                    </a:lnTo>
                    <a:lnTo>
                      <a:pt x="1062694" y="293865"/>
                    </a:lnTo>
                    <a:lnTo>
                      <a:pt x="1070276" y="294394"/>
                    </a:lnTo>
                    <a:lnTo>
                      <a:pt x="1072569" y="296158"/>
                    </a:lnTo>
                    <a:lnTo>
                      <a:pt x="1078123" y="294659"/>
                    </a:lnTo>
                    <a:lnTo>
                      <a:pt x="1083678" y="296158"/>
                    </a:lnTo>
                    <a:lnTo>
                      <a:pt x="1083413" y="289457"/>
                    </a:lnTo>
                    <a:lnTo>
                      <a:pt x="1076448" y="285666"/>
                    </a:lnTo>
                    <a:lnTo>
                      <a:pt x="1073803" y="280993"/>
                    </a:lnTo>
                    <a:lnTo>
                      <a:pt x="1089849" y="280111"/>
                    </a:lnTo>
                    <a:lnTo>
                      <a:pt x="1093376" y="276584"/>
                    </a:lnTo>
                    <a:lnTo>
                      <a:pt x="1091877" y="273675"/>
                    </a:lnTo>
                    <a:lnTo>
                      <a:pt x="1092142" y="269266"/>
                    </a:lnTo>
                    <a:lnTo>
                      <a:pt x="1097432" y="272176"/>
                    </a:lnTo>
                    <a:lnTo>
                      <a:pt x="1099195" y="270148"/>
                    </a:lnTo>
                    <a:lnTo>
                      <a:pt x="1096021" y="263976"/>
                    </a:lnTo>
                    <a:lnTo>
                      <a:pt x="1093729" y="261067"/>
                    </a:lnTo>
                    <a:lnTo>
                      <a:pt x="1094875" y="258157"/>
                    </a:lnTo>
                    <a:lnTo>
                      <a:pt x="1096286" y="256394"/>
                    </a:lnTo>
                    <a:lnTo>
                      <a:pt x="1099812" y="258686"/>
                    </a:lnTo>
                    <a:lnTo>
                      <a:pt x="1105984" y="261860"/>
                    </a:lnTo>
                    <a:lnTo>
                      <a:pt x="1109775" y="247577"/>
                    </a:lnTo>
                    <a:lnTo>
                      <a:pt x="1101664" y="226857"/>
                    </a:lnTo>
                    <a:lnTo>
                      <a:pt x="1104574" y="214337"/>
                    </a:lnTo>
                    <a:lnTo>
                      <a:pt x="1102810" y="202964"/>
                    </a:lnTo>
                    <a:lnTo>
                      <a:pt x="1112773" y="198908"/>
                    </a:lnTo>
                    <a:lnTo>
                      <a:pt x="1122648" y="197497"/>
                    </a:lnTo>
                    <a:lnTo>
                      <a:pt x="1119474" y="187887"/>
                    </a:lnTo>
                    <a:lnTo>
                      <a:pt x="1112420" y="179158"/>
                    </a:lnTo>
                    <a:lnTo>
                      <a:pt x="1108982" y="166286"/>
                    </a:lnTo>
                    <a:lnTo>
                      <a:pt x="1104045" y="155176"/>
                    </a:lnTo>
                    <a:lnTo>
                      <a:pt x="1106690" y="140629"/>
                    </a:lnTo>
                    <a:lnTo>
                      <a:pt x="1107042" y="125728"/>
                    </a:lnTo>
                    <a:lnTo>
                      <a:pt x="1095404" y="128902"/>
                    </a:lnTo>
                    <a:lnTo>
                      <a:pt x="1075831" y="135074"/>
                    </a:lnTo>
                    <a:lnTo>
                      <a:pt x="1065339" y="142392"/>
                    </a:lnTo>
                    <a:lnTo>
                      <a:pt x="1034391" y="132782"/>
                    </a:lnTo>
                    <a:lnTo>
                      <a:pt x="1019227" y="116118"/>
                    </a:lnTo>
                    <a:lnTo>
                      <a:pt x="994452" y="105626"/>
                    </a:lnTo>
                    <a:lnTo>
                      <a:pt x="958831" y="99807"/>
                    </a:lnTo>
                    <a:lnTo>
                      <a:pt x="934673" y="81997"/>
                    </a:lnTo>
                    <a:lnTo>
                      <a:pt x="909016" y="59514"/>
                    </a:lnTo>
                    <a:lnTo>
                      <a:pt x="892441" y="47258"/>
                    </a:lnTo>
                    <a:lnTo>
                      <a:pt x="880185" y="35003"/>
                    </a:lnTo>
                    <a:lnTo>
                      <a:pt x="844300" y="12873"/>
                    </a:lnTo>
                    <a:lnTo>
                      <a:pt x="805771" y="8200"/>
                    </a:lnTo>
                    <a:lnTo>
                      <a:pt x="769622" y="0"/>
                    </a:lnTo>
                    <a:lnTo>
                      <a:pt x="755956" y="26803"/>
                    </a:lnTo>
                    <a:lnTo>
                      <a:pt x="770592" y="33857"/>
                    </a:lnTo>
                    <a:lnTo>
                      <a:pt x="770592" y="52548"/>
                    </a:lnTo>
                    <a:lnTo>
                      <a:pt x="786903" y="67713"/>
                    </a:lnTo>
                    <a:lnTo>
                      <a:pt x="764155" y="97162"/>
                    </a:lnTo>
                    <a:lnTo>
                      <a:pt x="735589" y="90196"/>
                    </a:lnTo>
                    <a:lnTo>
                      <a:pt x="735589" y="112062"/>
                    </a:lnTo>
                    <a:lnTo>
                      <a:pt x="738763" y="113825"/>
                    </a:lnTo>
                    <a:lnTo>
                      <a:pt x="737352" y="120879"/>
                    </a:lnTo>
                    <a:lnTo>
                      <a:pt x="741143" y="127580"/>
                    </a:lnTo>
                    <a:lnTo>
                      <a:pt x="734707" y="128197"/>
                    </a:lnTo>
                    <a:lnTo>
                      <a:pt x="740526" y="136044"/>
                    </a:lnTo>
                    <a:lnTo>
                      <a:pt x="752517" y="141598"/>
                    </a:lnTo>
                    <a:lnTo>
                      <a:pt x="752517" y="138689"/>
                    </a:lnTo>
                    <a:lnTo>
                      <a:pt x="755780" y="137543"/>
                    </a:lnTo>
                    <a:lnTo>
                      <a:pt x="765390" y="136044"/>
                    </a:lnTo>
                    <a:lnTo>
                      <a:pt x="780290" y="142127"/>
                    </a:lnTo>
                    <a:lnTo>
                      <a:pt x="783200" y="132517"/>
                    </a:lnTo>
                    <a:lnTo>
                      <a:pt x="784346" y="133928"/>
                    </a:lnTo>
                    <a:lnTo>
                      <a:pt x="786727" y="133928"/>
                    </a:lnTo>
                    <a:lnTo>
                      <a:pt x="793163" y="133928"/>
                    </a:lnTo>
                    <a:lnTo>
                      <a:pt x="793780" y="133399"/>
                    </a:lnTo>
                    <a:lnTo>
                      <a:pt x="795808" y="133928"/>
                    </a:lnTo>
                    <a:lnTo>
                      <a:pt x="804272" y="137102"/>
                    </a:lnTo>
                    <a:lnTo>
                      <a:pt x="811855" y="140629"/>
                    </a:lnTo>
                    <a:lnTo>
                      <a:pt x="815646" y="144684"/>
                    </a:lnTo>
                    <a:lnTo>
                      <a:pt x="820319" y="145566"/>
                    </a:lnTo>
                    <a:lnTo>
                      <a:pt x="820936" y="146712"/>
                    </a:lnTo>
                    <a:lnTo>
                      <a:pt x="826138" y="151121"/>
                    </a:lnTo>
                    <a:lnTo>
                      <a:pt x="828166" y="151121"/>
                    </a:lnTo>
                    <a:lnTo>
                      <a:pt x="834602" y="154647"/>
                    </a:lnTo>
                    <a:lnTo>
                      <a:pt x="836101" y="157292"/>
                    </a:lnTo>
                    <a:lnTo>
                      <a:pt x="839892" y="160819"/>
                    </a:lnTo>
                    <a:lnTo>
                      <a:pt x="841391" y="163464"/>
                    </a:lnTo>
                    <a:lnTo>
                      <a:pt x="842890" y="165492"/>
                    </a:lnTo>
                    <a:lnTo>
                      <a:pt x="837953" y="166991"/>
                    </a:lnTo>
                    <a:lnTo>
                      <a:pt x="833015" y="166991"/>
                    </a:lnTo>
                    <a:lnTo>
                      <a:pt x="830723" y="165492"/>
                    </a:lnTo>
                    <a:lnTo>
                      <a:pt x="822787" y="163464"/>
                    </a:lnTo>
                    <a:lnTo>
                      <a:pt x="818996" y="164346"/>
                    </a:lnTo>
                    <a:lnTo>
                      <a:pt x="814588" y="164346"/>
                    </a:lnTo>
                    <a:lnTo>
                      <a:pt x="810797" y="163464"/>
                    </a:lnTo>
                    <a:lnTo>
                      <a:pt x="809298" y="165228"/>
                    </a:lnTo>
                    <a:lnTo>
                      <a:pt x="807799" y="165492"/>
                    </a:lnTo>
                    <a:lnTo>
                      <a:pt x="806035" y="168137"/>
                    </a:lnTo>
                    <a:lnTo>
                      <a:pt x="805154" y="169019"/>
                    </a:lnTo>
                    <a:lnTo>
                      <a:pt x="801892" y="169636"/>
                    </a:lnTo>
                    <a:lnTo>
                      <a:pt x="799864" y="166991"/>
                    </a:lnTo>
                    <a:lnTo>
                      <a:pt x="796337" y="167873"/>
                    </a:lnTo>
                    <a:lnTo>
                      <a:pt x="795720" y="169636"/>
                    </a:lnTo>
                    <a:lnTo>
                      <a:pt x="793427" y="173427"/>
                    </a:lnTo>
                    <a:lnTo>
                      <a:pt x="786991" y="172546"/>
                    </a:lnTo>
                    <a:lnTo>
                      <a:pt x="787344" y="174926"/>
                    </a:lnTo>
                    <a:lnTo>
                      <a:pt x="785052" y="176689"/>
                    </a:lnTo>
                    <a:lnTo>
                      <a:pt x="783552" y="179599"/>
                    </a:lnTo>
                    <a:lnTo>
                      <a:pt x="782671" y="182509"/>
                    </a:lnTo>
                    <a:lnTo>
                      <a:pt x="782142" y="184272"/>
                    </a:lnTo>
                    <a:lnTo>
                      <a:pt x="785316" y="186917"/>
                    </a:lnTo>
                    <a:lnTo>
                      <a:pt x="784434" y="190708"/>
                    </a:lnTo>
                    <a:lnTo>
                      <a:pt x="782142" y="190708"/>
                    </a:lnTo>
                    <a:lnTo>
                      <a:pt x="780114" y="193353"/>
                    </a:lnTo>
                    <a:lnTo>
                      <a:pt x="778703" y="195998"/>
                    </a:lnTo>
                    <a:lnTo>
                      <a:pt x="769357" y="197497"/>
                    </a:lnTo>
                    <a:lnTo>
                      <a:pt x="764685" y="197497"/>
                    </a:lnTo>
                    <a:lnTo>
                      <a:pt x="760276" y="195998"/>
                    </a:lnTo>
                    <a:lnTo>
                      <a:pt x="757631" y="197497"/>
                    </a:lnTo>
                    <a:lnTo>
                      <a:pt x="757367" y="202435"/>
                    </a:lnTo>
                    <a:lnTo>
                      <a:pt x="756220" y="205080"/>
                    </a:lnTo>
                    <a:lnTo>
                      <a:pt x="753575" y="208606"/>
                    </a:lnTo>
                    <a:lnTo>
                      <a:pt x="751018" y="208606"/>
                    </a:lnTo>
                    <a:lnTo>
                      <a:pt x="749255" y="209224"/>
                    </a:lnTo>
                    <a:lnTo>
                      <a:pt x="746963" y="212750"/>
                    </a:lnTo>
                    <a:lnTo>
                      <a:pt x="743436" y="211604"/>
                    </a:lnTo>
                    <a:lnTo>
                      <a:pt x="738763" y="211604"/>
                    </a:lnTo>
                    <a:lnTo>
                      <a:pt x="735854" y="212133"/>
                    </a:lnTo>
                    <a:lnTo>
                      <a:pt x="733561" y="212133"/>
                    </a:lnTo>
                    <a:lnTo>
                      <a:pt x="731269" y="211252"/>
                    </a:lnTo>
                    <a:lnTo>
                      <a:pt x="719630" y="204551"/>
                    </a:lnTo>
                    <a:lnTo>
                      <a:pt x="710284" y="204551"/>
                    </a:lnTo>
                    <a:lnTo>
                      <a:pt x="707904" y="206843"/>
                    </a:lnTo>
                    <a:lnTo>
                      <a:pt x="705524" y="219098"/>
                    </a:lnTo>
                    <a:lnTo>
                      <a:pt x="706670" y="221391"/>
                    </a:lnTo>
                    <a:lnTo>
                      <a:pt x="724744" y="233646"/>
                    </a:lnTo>
                    <a:lnTo>
                      <a:pt x="726772" y="236556"/>
                    </a:lnTo>
                    <a:lnTo>
                      <a:pt x="714781" y="244755"/>
                    </a:lnTo>
                    <a:lnTo>
                      <a:pt x="710108" y="256658"/>
                    </a:lnTo>
                    <a:lnTo>
                      <a:pt x="709491" y="259832"/>
                    </a:lnTo>
                    <a:lnTo>
                      <a:pt x="708609" y="261331"/>
                    </a:lnTo>
                    <a:lnTo>
                      <a:pt x="705435" y="264505"/>
                    </a:lnTo>
                    <a:lnTo>
                      <a:pt x="702261" y="264241"/>
                    </a:lnTo>
                    <a:lnTo>
                      <a:pt x="697059" y="266886"/>
                    </a:lnTo>
                    <a:lnTo>
                      <a:pt x="695032" y="268649"/>
                    </a:lnTo>
                    <a:lnTo>
                      <a:pt x="695649" y="269531"/>
                    </a:lnTo>
                    <a:lnTo>
                      <a:pt x="691329" y="269531"/>
                    </a:lnTo>
                    <a:lnTo>
                      <a:pt x="684628" y="269531"/>
                    </a:lnTo>
                    <a:lnTo>
                      <a:pt x="683129" y="270412"/>
                    </a:lnTo>
                    <a:lnTo>
                      <a:pt x="676957" y="270148"/>
                    </a:lnTo>
                    <a:lnTo>
                      <a:pt x="672284" y="270148"/>
                    </a:lnTo>
                    <a:lnTo>
                      <a:pt x="670520" y="268649"/>
                    </a:lnTo>
                    <a:lnTo>
                      <a:pt x="660028" y="269795"/>
                    </a:lnTo>
                    <a:lnTo>
                      <a:pt x="655091" y="270412"/>
                    </a:lnTo>
                    <a:lnTo>
                      <a:pt x="654827" y="269266"/>
                    </a:lnTo>
                    <a:lnTo>
                      <a:pt x="651300" y="269795"/>
                    </a:lnTo>
                    <a:lnTo>
                      <a:pt x="651653" y="271294"/>
                    </a:lnTo>
                    <a:lnTo>
                      <a:pt x="643806" y="274204"/>
                    </a:lnTo>
                    <a:lnTo>
                      <a:pt x="633578" y="278612"/>
                    </a:lnTo>
                    <a:lnTo>
                      <a:pt x="628024" y="280375"/>
                    </a:lnTo>
                    <a:lnTo>
                      <a:pt x="624232" y="282403"/>
                    </a:lnTo>
                    <a:lnTo>
                      <a:pt x="618061" y="287693"/>
                    </a:lnTo>
                    <a:lnTo>
                      <a:pt x="614005" y="292631"/>
                    </a:lnTo>
                    <a:lnTo>
                      <a:pt x="605276" y="289457"/>
                    </a:lnTo>
                    <a:lnTo>
                      <a:pt x="603513" y="284784"/>
                    </a:lnTo>
                    <a:lnTo>
                      <a:pt x="594167" y="285930"/>
                    </a:lnTo>
                    <a:lnTo>
                      <a:pt x="588877" y="285930"/>
                    </a:lnTo>
                    <a:lnTo>
                      <a:pt x="577503" y="283021"/>
                    </a:lnTo>
                    <a:lnTo>
                      <a:pt x="569568" y="279847"/>
                    </a:lnTo>
                    <a:lnTo>
                      <a:pt x="559957" y="278700"/>
                    </a:lnTo>
                    <a:lnTo>
                      <a:pt x="548319" y="276055"/>
                    </a:lnTo>
                    <a:lnTo>
                      <a:pt x="540472" y="268737"/>
                    </a:lnTo>
                    <a:lnTo>
                      <a:pt x="502825" y="264329"/>
                    </a:lnTo>
                    <a:lnTo>
                      <a:pt x="490569" y="267591"/>
                    </a:lnTo>
                    <a:lnTo>
                      <a:pt x="463413" y="265211"/>
                    </a:lnTo>
                    <a:lnTo>
                      <a:pt x="452304" y="263712"/>
                    </a:lnTo>
                    <a:lnTo>
                      <a:pt x="451422" y="265211"/>
                    </a:lnTo>
                    <a:lnTo>
                      <a:pt x="447631" y="264593"/>
                    </a:lnTo>
                    <a:lnTo>
                      <a:pt x="435111" y="264329"/>
                    </a:lnTo>
                    <a:lnTo>
                      <a:pt x="433348" y="261419"/>
                    </a:lnTo>
                    <a:lnTo>
                      <a:pt x="427793" y="259656"/>
                    </a:lnTo>
                    <a:lnTo>
                      <a:pt x="416155" y="252338"/>
                    </a:lnTo>
                    <a:lnTo>
                      <a:pt x="414127" y="248547"/>
                    </a:lnTo>
                    <a:lnTo>
                      <a:pt x="398962" y="232500"/>
                    </a:lnTo>
                    <a:lnTo>
                      <a:pt x="394554" y="231618"/>
                    </a:lnTo>
                    <a:lnTo>
                      <a:pt x="392173" y="226945"/>
                    </a:lnTo>
                    <a:lnTo>
                      <a:pt x="393319" y="225182"/>
                    </a:lnTo>
                    <a:lnTo>
                      <a:pt x="385737" y="225182"/>
                    </a:lnTo>
                    <a:lnTo>
                      <a:pt x="380535" y="223419"/>
                    </a:lnTo>
                    <a:lnTo>
                      <a:pt x="379301" y="223419"/>
                    </a:lnTo>
                    <a:lnTo>
                      <a:pt x="377273" y="223154"/>
                    </a:lnTo>
                    <a:lnTo>
                      <a:pt x="374627" y="220245"/>
                    </a:lnTo>
                    <a:lnTo>
                      <a:pt x="363519" y="214690"/>
                    </a:lnTo>
                    <a:lnTo>
                      <a:pt x="358228" y="214690"/>
                    </a:lnTo>
                    <a:lnTo>
                      <a:pt x="353556" y="210634"/>
                    </a:lnTo>
                    <a:lnTo>
                      <a:pt x="349764" y="208606"/>
                    </a:lnTo>
                    <a:lnTo>
                      <a:pt x="344210" y="206843"/>
                    </a:lnTo>
                    <a:lnTo>
                      <a:pt x="342181" y="206843"/>
                    </a:lnTo>
                    <a:lnTo>
                      <a:pt x="340418" y="206843"/>
                    </a:lnTo>
                    <a:lnTo>
                      <a:pt x="309824" y="204551"/>
                    </a:lnTo>
                    <a:lnTo>
                      <a:pt x="305504" y="204551"/>
                    </a:lnTo>
                    <a:lnTo>
                      <a:pt x="297657" y="202170"/>
                    </a:lnTo>
                    <a:lnTo>
                      <a:pt x="292367" y="202170"/>
                    </a:lnTo>
                    <a:lnTo>
                      <a:pt x="288840" y="199525"/>
                    </a:lnTo>
                    <a:lnTo>
                      <a:pt x="283902" y="192824"/>
                    </a:lnTo>
                    <a:lnTo>
                      <a:pt x="286195" y="183478"/>
                    </a:lnTo>
                    <a:lnTo>
                      <a:pt x="280640" y="175279"/>
                    </a:lnTo>
                    <a:lnTo>
                      <a:pt x="280640" y="171223"/>
                    </a:lnTo>
                    <a:lnTo>
                      <a:pt x="280023" y="167167"/>
                    </a:lnTo>
                    <a:lnTo>
                      <a:pt x="279141" y="163993"/>
                    </a:lnTo>
                    <a:lnTo>
                      <a:pt x="276849" y="162847"/>
                    </a:lnTo>
                    <a:lnTo>
                      <a:pt x="263095" y="152972"/>
                    </a:lnTo>
                    <a:lnTo>
                      <a:pt x="260450" y="147418"/>
                    </a:lnTo>
                    <a:lnTo>
                      <a:pt x="259304" y="147418"/>
                    </a:lnTo>
                    <a:lnTo>
                      <a:pt x="255777" y="143362"/>
                    </a:lnTo>
                    <a:lnTo>
                      <a:pt x="247929" y="137807"/>
                    </a:lnTo>
                    <a:lnTo>
                      <a:pt x="242111" y="138072"/>
                    </a:lnTo>
                    <a:lnTo>
                      <a:pt x="237702" y="135691"/>
                    </a:lnTo>
                    <a:lnTo>
                      <a:pt x="236556" y="133928"/>
                    </a:lnTo>
                    <a:lnTo>
                      <a:pt x="232765" y="133311"/>
                    </a:lnTo>
                    <a:lnTo>
                      <a:pt x="231001" y="133928"/>
                    </a:lnTo>
                    <a:lnTo>
                      <a:pt x="231001" y="135074"/>
                    </a:lnTo>
                    <a:lnTo>
                      <a:pt x="224918" y="136220"/>
                    </a:lnTo>
                    <a:lnTo>
                      <a:pt x="220509" y="132164"/>
                    </a:lnTo>
                    <a:lnTo>
                      <a:pt x="219628" y="130136"/>
                    </a:lnTo>
                    <a:lnTo>
                      <a:pt x="214073" y="127492"/>
                    </a:lnTo>
                    <a:lnTo>
                      <a:pt x="214955" y="126345"/>
                    </a:lnTo>
                    <a:lnTo>
                      <a:pt x="211163" y="124317"/>
                    </a:lnTo>
                    <a:lnTo>
                      <a:pt x="211163" y="125816"/>
                    </a:lnTo>
                    <a:lnTo>
                      <a:pt x="208518" y="124317"/>
                    </a:lnTo>
                    <a:lnTo>
                      <a:pt x="207372" y="122025"/>
                    </a:lnTo>
                    <a:lnTo>
                      <a:pt x="204991" y="122907"/>
                    </a:lnTo>
                    <a:lnTo>
                      <a:pt x="202699" y="121408"/>
                    </a:lnTo>
                    <a:lnTo>
                      <a:pt x="200142" y="121408"/>
                    </a:lnTo>
                    <a:lnTo>
                      <a:pt x="201289" y="117881"/>
                    </a:lnTo>
                    <a:lnTo>
                      <a:pt x="197233" y="116118"/>
                    </a:lnTo>
                    <a:lnTo>
                      <a:pt x="195469" y="115236"/>
                    </a:lnTo>
                    <a:lnTo>
                      <a:pt x="188769" y="107036"/>
                    </a:lnTo>
                    <a:lnTo>
                      <a:pt x="181451" y="106155"/>
                    </a:lnTo>
                    <a:lnTo>
                      <a:pt x="171576" y="106155"/>
                    </a:lnTo>
                    <a:lnTo>
                      <a:pt x="170694" y="110563"/>
                    </a:lnTo>
                    <a:lnTo>
                      <a:pt x="174221" y="115765"/>
                    </a:lnTo>
                    <a:lnTo>
                      <a:pt x="172722" y="121055"/>
                    </a:lnTo>
                    <a:lnTo>
                      <a:pt x="167520" y="123083"/>
                    </a:lnTo>
                    <a:lnTo>
                      <a:pt x="159056" y="123083"/>
                    </a:lnTo>
                    <a:lnTo>
                      <a:pt x="159056" y="135339"/>
                    </a:lnTo>
                    <a:lnTo>
                      <a:pt x="170165" y="154030"/>
                    </a:lnTo>
                    <a:lnTo>
                      <a:pt x="168666" y="154030"/>
                    </a:lnTo>
                    <a:lnTo>
                      <a:pt x="168402" y="156323"/>
                    </a:lnTo>
                    <a:lnTo>
                      <a:pt x="162583" y="156587"/>
                    </a:lnTo>
                    <a:lnTo>
                      <a:pt x="158174" y="160995"/>
                    </a:lnTo>
                    <a:lnTo>
                      <a:pt x="154648" y="162142"/>
                    </a:lnTo>
                    <a:lnTo>
                      <a:pt x="154912" y="159849"/>
                    </a:lnTo>
                    <a:lnTo>
                      <a:pt x="151385" y="158086"/>
                    </a:lnTo>
                    <a:lnTo>
                      <a:pt x="138248" y="158703"/>
                    </a:lnTo>
                    <a:lnTo>
                      <a:pt x="118675" y="152884"/>
                    </a:lnTo>
                    <a:lnTo>
                      <a:pt x="119821" y="158703"/>
                    </a:lnTo>
                    <a:lnTo>
                      <a:pt x="121232" y="193441"/>
                    </a:lnTo>
                    <a:lnTo>
                      <a:pt x="127932" y="196087"/>
                    </a:lnTo>
                    <a:lnTo>
                      <a:pt x="129696" y="203934"/>
                    </a:lnTo>
                    <a:lnTo>
                      <a:pt x="124141" y="201024"/>
                    </a:lnTo>
                    <a:lnTo>
                      <a:pt x="117440" y="203052"/>
                    </a:lnTo>
                    <a:lnTo>
                      <a:pt x="110475" y="198379"/>
                    </a:lnTo>
                    <a:lnTo>
                      <a:pt x="99366" y="202787"/>
                    </a:lnTo>
                    <a:lnTo>
                      <a:pt x="82173" y="205697"/>
                    </a:lnTo>
                    <a:lnTo>
                      <a:pt x="78646" y="208606"/>
                    </a:lnTo>
                    <a:lnTo>
                      <a:pt x="82702" y="211780"/>
                    </a:lnTo>
                    <a:lnTo>
                      <a:pt x="87110" y="211252"/>
                    </a:lnTo>
                    <a:lnTo>
                      <a:pt x="93811" y="214161"/>
                    </a:lnTo>
                    <a:lnTo>
                      <a:pt x="92401" y="215924"/>
                    </a:lnTo>
                    <a:lnTo>
                      <a:pt x="91784" y="220333"/>
                    </a:lnTo>
                    <a:lnTo>
                      <a:pt x="96985" y="228180"/>
                    </a:lnTo>
                    <a:lnTo>
                      <a:pt x="108976" y="244226"/>
                    </a:lnTo>
                    <a:lnTo>
                      <a:pt x="109593" y="247753"/>
                    </a:lnTo>
                    <a:lnTo>
                      <a:pt x="111357" y="248018"/>
                    </a:lnTo>
                    <a:lnTo>
                      <a:pt x="113120" y="252426"/>
                    </a:lnTo>
                    <a:lnTo>
                      <a:pt x="107566" y="255336"/>
                    </a:lnTo>
                    <a:lnTo>
                      <a:pt x="111621" y="259127"/>
                    </a:lnTo>
                    <a:lnTo>
                      <a:pt x="105802" y="260538"/>
                    </a:lnTo>
                    <a:lnTo>
                      <a:pt x="105802" y="265828"/>
                    </a:lnTo>
                    <a:lnTo>
                      <a:pt x="111621" y="278965"/>
                    </a:lnTo>
                    <a:lnTo>
                      <a:pt x="105185" y="279847"/>
                    </a:lnTo>
                    <a:lnTo>
                      <a:pt x="104656" y="283373"/>
                    </a:lnTo>
                    <a:lnTo>
                      <a:pt x="83054" y="293865"/>
                    </a:lnTo>
                    <a:lnTo>
                      <a:pt x="77500" y="304093"/>
                    </a:lnTo>
                    <a:lnTo>
                      <a:pt x="52989" y="304974"/>
                    </a:lnTo>
                    <a:lnTo>
                      <a:pt x="51491" y="315731"/>
                    </a:lnTo>
                    <a:lnTo>
                      <a:pt x="48228" y="321286"/>
                    </a:lnTo>
                    <a:lnTo>
                      <a:pt x="45319" y="319258"/>
                    </a:lnTo>
                    <a:lnTo>
                      <a:pt x="40381" y="322784"/>
                    </a:lnTo>
                    <a:lnTo>
                      <a:pt x="34209" y="322784"/>
                    </a:lnTo>
                    <a:lnTo>
                      <a:pt x="29537" y="314056"/>
                    </a:lnTo>
                    <a:lnTo>
                      <a:pt x="23982" y="319346"/>
                    </a:lnTo>
                    <a:lnTo>
                      <a:pt x="17545" y="317583"/>
                    </a:lnTo>
                    <a:lnTo>
                      <a:pt x="18692" y="321991"/>
                    </a:lnTo>
                    <a:lnTo>
                      <a:pt x="15782" y="321374"/>
                    </a:lnTo>
                    <a:lnTo>
                      <a:pt x="10845" y="326664"/>
                    </a:lnTo>
                    <a:lnTo>
                      <a:pt x="2645" y="328692"/>
                    </a:lnTo>
                    <a:lnTo>
                      <a:pt x="1763" y="334863"/>
                    </a:lnTo>
                    <a:lnTo>
                      <a:pt x="4673" y="340418"/>
                    </a:lnTo>
                    <a:lnTo>
                      <a:pt x="4408" y="343592"/>
                    </a:lnTo>
                    <a:lnTo>
                      <a:pt x="0" y="343857"/>
                    </a:lnTo>
                    <a:lnTo>
                      <a:pt x="1499" y="347383"/>
                    </a:lnTo>
                    <a:lnTo>
                      <a:pt x="7935" y="355583"/>
                    </a:lnTo>
                    <a:lnTo>
                      <a:pt x="5555" y="359110"/>
                    </a:lnTo>
                    <a:lnTo>
                      <a:pt x="12520" y="366692"/>
                    </a:lnTo>
                    <a:lnTo>
                      <a:pt x="15165" y="366428"/>
                    </a:lnTo>
                    <a:lnTo>
                      <a:pt x="14812" y="363254"/>
                    </a:lnTo>
                    <a:lnTo>
                      <a:pt x="20103" y="363254"/>
                    </a:lnTo>
                    <a:lnTo>
                      <a:pt x="31476" y="368191"/>
                    </a:lnTo>
                    <a:lnTo>
                      <a:pt x="33240" y="375509"/>
                    </a:lnTo>
                    <a:lnTo>
                      <a:pt x="39323" y="385384"/>
                    </a:lnTo>
                    <a:lnTo>
                      <a:pt x="39941" y="390057"/>
                    </a:lnTo>
                    <a:lnTo>
                      <a:pt x="46377" y="394994"/>
                    </a:lnTo>
                    <a:lnTo>
                      <a:pt x="42145" y="398697"/>
                    </a:lnTo>
                    <a:close/>
                    <a:moveTo>
                      <a:pt x="869076" y="827725"/>
                    </a:moveTo>
                    <a:lnTo>
                      <a:pt x="870839" y="827725"/>
                    </a:lnTo>
                    <a:lnTo>
                      <a:pt x="874101" y="827725"/>
                    </a:lnTo>
                    <a:lnTo>
                      <a:pt x="875512" y="828871"/>
                    </a:lnTo>
                    <a:lnTo>
                      <a:pt x="879304" y="827725"/>
                    </a:lnTo>
                    <a:lnTo>
                      <a:pt x="879568" y="830017"/>
                    </a:lnTo>
                    <a:lnTo>
                      <a:pt x="881596" y="825961"/>
                    </a:lnTo>
                    <a:lnTo>
                      <a:pt x="886886" y="825961"/>
                    </a:lnTo>
                    <a:lnTo>
                      <a:pt x="889178" y="829753"/>
                    </a:lnTo>
                    <a:lnTo>
                      <a:pt x="888561" y="825080"/>
                    </a:lnTo>
                    <a:lnTo>
                      <a:pt x="893499" y="829753"/>
                    </a:lnTo>
                    <a:lnTo>
                      <a:pt x="891470" y="825080"/>
                    </a:lnTo>
                    <a:lnTo>
                      <a:pt x="893763" y="824198"/>
                    </a:lnTo>
                    <a:lnTo>
                      <a:pt x="896408" y="827725"/>
                    </a:lnTo>
                    <a:lnTo>
                      <a:pt x="899935" y="827725"/>
                    </a:lnTo>
                    <a:lnTo>
                      <a:pt x="903462" y="836189"/>
                    </a:lnTo>
                    <a:lnTo>
                      <a:pt x="899406" y="838834"/>
                    </a:lnTo>
                    <a:lnTo>
                      <a:pt x="897907" y="836189"/>
                    </a:lnTo>
                    <a:lnTo>
                      <a:pt x="895615" y="848709"/>
                    </a:lnTo>
                    <a:lnTo>
                      <a:pt x="893851" y="848092"/>
                    </a:lnTo>
                    <a:lnTo>
                      <a:pt x="894997" y="849855"/>
                    </a:lnTo>
                    <a:lnTo>
                      <a:pt x="895615" y="848973"/>
                    </a:lnTo>
                    <a:lnTo>
                      <a:pt x="893851" y="856291"/>
                    </a:lnTo>
                    <a:lnTo>
                      <a:pt x="894997" y="855410"/>
                    </a:lnTo>
                    <a:lnTo>
                      <a:pt x="896496" y="858055"/>
                    </a:lnTo>
                    <a:lnTo>
                      <a:pt x="894468" y="860435"/>
                    </a:lnTo>
                    <a:lnTo>
                      <a:pt x="890677" y="860435"/>
                    </a:lnTo>
                    <a:lnTo>
                      <a:pt x="887150" y="864491"/>
                    </a:lnTo>
                    <a:lnTo>
                      <a:pt x="887767" y="868282"/>
                    </a:lnTo>
                    <a:lnTo>
                      <a:pt x="886004" y="866783"/>
                    </a:lnTo>
                    <a:lnTo>
                      <a:pt x="880802" y="867930"/>
                    </a:lnTo>
                    <a:lnTo>
                      <a:pt x="879656" y="871721"/>
                    </a:lnTo>
                    <a:lnTo>
                      <a:pt x="878510" y="873131"/>
                    </a:lnTo>
                    <a:lnTo>
                      <a:pt x="876482" y="870839"/>
                    </a:lnTo>
                    <a:lnTo>
                      <a:pt x="875600" y="873131"/>
                    </a:lnTo>
                    <a:lnTo>
                      <a:pt x="874983" y="869957"/>
                    </a:lnTo>
                    <a:lnTo>
                      <a:pt x="868547" y="869957"/>
                    </a:lnTo>
                    <a:lnTo>
                      <a:pt x="866783" y="867665"/>
                    </a:lnTo>
                    <a:lnTo>
                      <a:pt x="858936" y="866166"/>
                    </a:lnTo>
                    <a:lnTo>
                      <a:pt x="858055" y="864403"/>
                    </a:lnTo>
                    <a:lnTo>
                      <a:pt x="856909" y="858319"/>
                    </a:lnTo>
                    <a:lnTo>
                      <a:pt x="854881" y="856291"/>
                    </a:lnTo>
                    <a:lnTo>
                      <a:pt x="857526" y="853117"/>
                    </a:lnTo>
                    <a:lnTo>
                      <a:pt x="854352" y="849943"/>
                    </a:lnTo>
                    <a:lnTo>
                      <a:pt x="852853" y="844389"/>
                    </a:lnTo>
                    <a:lnTo>
                      <a:pt x="856380" y="838834"/>
                    </a:lnTo>
                    <a:lnTo>
                      <a:pt x="865990" y="834426"/>
                    </a:lnTo>
                    <a:lnTo>
                      <a:pt x="865725" y="832662"/>
                    </a:lnTo>
                    <a:lnTo>
                      <a:pt x="862816" y="834426"/>
                    </a:lnTo>
                    <a:lnTo>
                      <a:pt x="865196" y="829753"/>
                    </a:lnTo>
                    <a:lnTo>
                      <a:pt x="871632" y="830634"/>
                    </a:lnTo>
                    <a:lnTo>
                      <a:pt x="869076" y="82772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2" name="Freihandform: Form 1961">
                <a:extLst>
                  <a:ext uri="{FF2B5EF4-FFF2-40B4-BE49-F238E27FC236}">
                    <a16:creationId xmlns:a16="http://schemas.microsoft.com/office/drawing/2014/main" id="{CDBC8394-312D-5C63-8642-288C785DDF7D}"/>
                  </a:ext>
                </a:extLst>
              </p:cNvPr>
              <p:cNvSpPr/>
              <p:nvPr/>
            </p:nvSpPr>
            <p:spPr>
              <a:xfrm>
                <a:off x="6678302" y="4107720"/>
                <a:ext cx="141774" cy="184007"/>
              </a:xfrm>
              <a:custGeom>
                <a:avLst/>
                <a:gdLst>
                  <a:gd name="connsiteX0" fmla="*/ 8552 w 141774"/>
                  <a:gd name="connsiteY0" fmla="*/ 102981 h 184007"/>
                  <a:gd name="connsiteX1" fmla="*/ 6436 w 141774"/>
                  <a:gd name="connsiteY1" fmla="*/ 104127 h 184007"/>
                  <a:gd name="connsiteX2" fmla="*/ 5555 w 141774"/>
                  <a:gd name="connsiteY2" fmla="*/ 106155 h 184007"/>
                  <a:gd name="connsiteX3" fmla="*/ 2645 w 141774"/>
                  <a:gd name="connsiteY3" fmla="*/ 107918 h 184007"/>
                  <a:gd name="connsiteX4" fmla="*/ 1499 w 141774"/>
                  <a:gd name="connsiteY4" fmla="*/ 107036 h 184007"/>
                  <a:gd name="connsiteX5" fmla="*/ 617 w 141774"/>
                  <a:gd name="connsiteY5" fmla="*/ 108447 h 184007"/>
                  <a:gd name="connsiteX6" fmla="*/ 264 w 141774"/>
                  <a:gd name="connsiteY6" fmla="*/ 112855 h 184007"/>
                  <a:gd name="connsiteX7" fmla="*/ 2645 w 141774"/>
                  <a:gd name="connsiteY7" fmla="*/ 112591 h 184007"/>
                  <a:gd name="connsiteX8" fmla="*/ 2910 w 141774"/>
                  <a:gd name="connsiteY8" fmla="*/ 113737 h 184007"/>
                  <a:gd name="connsiteX9" fmla="*/ 1763 w 141774"/>
                  <a:gd name="connsiteY9" fmla="*/ 118146 h 184007"/>
                  <a:gd name="connsiteX10" fmla="*/ 881 w 141774"/>
                  <a:gd name="connsiteY10" fmla="*/ 117793 h 184007"/>
                  <a:gd name="connsiteX11" fmla="*/ 0 w 141774"/>
                  <a:gd name="connsiteY11" fmla="*/ 118675 h 184007"/>
                  <a:gd name="connsiteX12" fmla="*/ 1763 w 141774"/>
                  <a:gd name="connsiteY12" fmla="*/ 121320 h 184007"/>
                  <a:gd name="connsiteX13" fmla="*/ 2116 w 141774"/>
                  <a:gd name="connsiteY13" fmla="*/ 125640 h 184007"/>
                  <a:gd name="connsiteX14" fmla="*/ 4056 w 141774"/>
                  <a:gd name="connsiteY14" fmla="*/ 130401 h 184007"/>
                  <a:gd name="connsiteX15" fmla="*/ 5555 w 141774"/>
                  <a:gd name="connsiteY15" fmla="*/ 128902 h 184007"/>
                  <a:gd name="connsiteX16" fmla="*/ 10227 w 141774"/>
                  <a:gd name="connsiteY16" fmla="*/ 128020 h 184007"/>
                  <a:gd name="connsiteX17" fmla="*/ 11991 w 141774"/>
                  <a:gd name="connsiteY17" fmla="*/ 126610 h 184007"/>
                  <a:gd name="connsiteX18" fmla="*/ 16047 w 141774"/>
                  <a:gd name="connsiteY18" fmla="*/ 128285 h 184007"/>
                  <a:gd name="connsiteX19" fmla="*/ 16664 w 141774"/>
                  <a:gd name="connsiteY19" fmla="*/ 130401 h 184007"/>
                  <a:gd name="connsiteX20" fmla="*/ 15165 w 141774"/>
                  <a:gd name="connsiteY20" fmla="*/ 133575 h 184007"/>
                  <a:gd name="connsiteX21" fmla="*/ 16928 w 141774"/>
                  <a:gd name="connsiteY21" fmla="*/ 137366 h 184007"/>
                  <a:gd name="connsiteX22" fmla="*/ 18427 w 141774"/>
                  <a:gd name="connsiteY22" fmla="*/ 140011 h 184007"/>
                  <a:gd name="connsiteX23" fmla="*/ 19573 w 141774"/>
                  <a:gd name="connsiteY23" fmla="*/ 140276 h 184007"/>
                  <a:gd name="connsiteX24" fmla="*/ 18692 w 141774"/>
                  <a:gd name="connsiteY24" fmla="*/ 142039 h 184007"/>
                  <a:gd name="connsiteX25" fmla="*/ 18427 w 141774"/>
                  <a:gd name="connsiteY25" fmla="*/ 154559 h 184007"/>
                  <a:gd name="connsiteX26" fmla="*/ 16047 w 141774"/>
                  <a:gd name="connsiteY26" fmla="*/ 158968 h 184007"/>
                  <a:gd name="connsiteX27" fmla="*/ 16928 w 141774"/>
                  <a:gd name="connsiteY27" fmla="*/ 162142 h 184007"/>
                  <a:gd name="connsiteX28" fmla="*/ 15782 w 141774"/>
                  <a:gd name="connsiteY28" fmla="*/ 165404 h 184007"/>
                  <a:gd name="connsiteX29" fmla="*/ 14283 w 141774"/>
                  <a:gd name="connsiteY29" fmla="*/ 168313 h 184007"/>
                  <a:gd name="connsiteX30" fmla="*/ 13489 w 141774"/>
                  <a:gd name="connsiteY30" fmla="*/ 171223 h 184007"/>
                  <a:gd name="connsiteX31" fmla="*/ 12256 w 141774"/>
                  <a:gd name="connsiteY31" fmla="*/ 175279 h 184007"/>
                  <a:gd name="connsiteX32" fmla="*/ 12256 w 141774"/>
                  <a:gd name="connsiteY32" fmla="*/ 177042 h 184007"/>
                  <a:gd name="connsiteX33" fmla="*/ 14812 w 141774"/>
                  <a:gd name="connsiteY33" fmla="*/ 179511 h 184007"/>
                  <a:gd name="connsiteX34" fmla="*/ 16664 w 141774"/>
                  <a:gd name="connsiteY34" fmla="*/ 178805 h 184007"/>
                  <a:gd name="connsiteX35" fmla="*/ 17810 w 141774"/>
                  <a:gd name="connsiteY35" fmla="*/ 181362 h 184007"/>
                  <a:gd name="connsiteX36" fmla="*/ 18427 w 141774"/>
                  <a:gd name="connsiteY36" fmla="*/ 180481 h 184007"/>
                  <a:gd name="connsiteX37" fmla="*/ 18956 w 141774"/>
                  <a:gd name="connsiteY37" fmla="*/ 180216 h 184007"/>
                  <a:gd name="connsiteX38" fmla="*/ 20190 w 141774"/>
                  <a:gd name="connsiteY38" fmla="*/ 182597 h 184007"/>
                  <a:gd name="connsiteX39" fmla="*/ 22483 w 141774"/>
                  <a:gd name="connsiteY39" fmla="*/ 182597 h 184007"/>
                  <a:gd name="connsiteX40" fmla="*/ 24246 w 141774"/>
                  <a:gd name="connsiteY40" fmla="*/ 184007 h 184007"/>
                  <a:gd name="connsiteX41" fmla="*/ 28302 w 141774"/>
                  <a:gd name="connsiteY41" fmla="*/ 181979 h 184007"/>
                  <a:gd name="connsiteX42" fmla="*/ 30065 w 141774"/>
                  <a:gd name="connsiteY42" fmla="*/ 181979 h 184007"/>
                  <a:gd name="connsiteX43" fmla="*/ 31829 w 141774"/>
                  <a:gd name="connsiteY43" fmla="*/ 181098 h 184007"/>
                  <a:gd name="connsiteX44" fmla="*/ 36237 w 141774"/>
                  <a:gd name="connsiteY44" fmla="*/ 180216 h 184007"/>
                  <a:gd name="connsiteX45" fmla="*/ 37383 w 141774"/>
                  <a:gd name="connsiteY45" fmla="*/ 180481 h 184007"/>
                  <a:gd name="connsiteX46" fmla="*/ 36502 w 141774"/>
                  <a:gd name="connsiteY46" fmla="*/ 177042 h 184007"/>
                  <a:gd name="connsiteX47" fmla="*/ 32975 w 141774"/>
                  <a:gd name="connsiteY47" fmla="*/ 173780 h 184007"/>
                  <a:gd name="connsiteX48" fmla="*/ 32975 w 141774"/>
                  <a:gd name="connsiteY48" fmla="*/ 168842 h 184007"/>
                  <a:gd name="connsiteX49" fmla="*/ 34474 w 141774"/>
                  <a:gd name="connsiteY49" fmla="*/ 165051 h 184007"/>
                  <a:gd name="connsiteX50" fmla="*/ 34121 w 141774"/>
                  <a:gd name="connsiteY50" fmla="*/ 161524 h 184007"/>
                  <a:gd name="connsiteX51" fmla="*/ 35885 w 141774"/>
                  <a:gd name="connsiteY51" fmla="*/ 160995 h 184007"/>
                  <a:gd name="connsiteX52" fmla="*/ 37031 w 141774"/>
                  <a:gd name="connsiteY52" fmla="*/ 156322 h 184007"/>
                  <a:gd name="connsiteX53" fmla="*/ 35091 w 141774"/>
                  <a:gd name="connsiteY53" fmla="*/ 150768 h 184007"/>
                  <a:gd name="connsiteX54" fmla="*/ 36237 w 141774"/>
                  <a:gd name="connsiteY54" fmla="*/ 146095 h 184007"/>
                  <a:gd name="connsiteX55" fmla="*/ 36502 w 141774"/>
                  <a:gd name="connsiteY55" fmla="*/ 143185 h 184007"/>
                  <a:gd name="connsiteX56" fmla="*/ 35091 w 141774"/>
                  <a:gd name="connsiteY56" fmla="*/ 138512 h 184007"/>
                  <a:gd name="connsiteX57" fmla="*/ 37031 w 141774"/>
                  <a:gd name="connsiteY57" fmla="*/ 133575 h 184007"/>
                  <a:gd name="connsiteX58" fmla="*/ 35885 w 141774"/>
                  <a:gd name="connsiteY58" fmla="*/ 128638 h 184007"/>
                  <a:gd name="connsiteX59" fmla="*/ 36502 w 141774"/>
                  <a:gd name="connsiteY59" fmla="*/ 122466 h 184007"/>
                  <a:gd name="connsiteX60" fmla="*/ 33327 w 141774"/>
                  <a:gd name="connsiteY60" fmla="*/ 120174 h 184007"/>
                  <a:gd name="connsiteX61" fmla="*/ 31829 w 141774"/>
                  <a:gd name="connsiteY61" fmla="*/ 115148 h 184007"/>
                  <a:gd name="connsiteX62" fmla="*/ 36237 w 141774"/>
                  <a:gd name="connsiteY62" fmla="*/ 115148 h 184007"/>
                  <a:gd name="connsiteX63" fmla="*/ 37383 w 141774"/>
                  <a:gd name="connsiteY63" fmla="*/ 111357 h 184007"/>
                  <a:gd name="connsiteX64" fmla="*/ 39940 w 141774"/>
                  <a:gd name="connsiteY64" fmla="*/ 108447 h 184007"/>
                  <a:gd name="connsiteX65" fmla="*/ 44084 w 141774"/>
                  <a:gd name="connsiteY65" fmla="*/ 106772 h 184007"/>
                  <a:gd name="connsiteX66" fmla="*/ 49639 w 141774"/>
                  <a:gd name="connsiteY66" fmla="*/ 108183 h 184007"/>
                  <a:gd name="connsiteX67" fmla="*/ 50785 w 141774"/>
                  <a:gd name="connsiteY67" fmla="*/ 110210 h 184007"/>
                  <a:gd name="connsiteX68" fmla="*/ 48757 w 141774"/>
                  <a:gd name="connsiteY68" fmla="*/ 111709 h 184007"/>
                  <a:gd name="connsiteX69" fmla="*/ 49374 w 141774"/>
                  <a:gd name="connsiteY69" fmla="*/ 112591 h 184007"/>
                  <a:gd name="connsiteX70" fmla="*/ 49903 w 141774"/>
                  <a:gd name="connsiteY70" fmla="*/ 111709 h 184007"/>
                  <a:gd name="connsiteX71" fmla="*/ 50785 w 141774"/>
                  <a:gd name="connsiteY71" fmla="*/ 113120 h 184007"/>
                  <a:gd name="connsiteX72" fmla="*/ 50520 w 141774"/>
                  <a:gd name="connsiteY72" fmla="*/ 121320 h 184007"/>
                  <a:gd name="connsiteX73" fmla="*/ 48404 w 141774"/>
                  <a:gd name="connsiteY73" fmla="*/ 122818 h 184007"/>
                  <a:gd name="connsiteX74" fmla="*/ 48404 w 141774"/>
                  <a:gd name="connsiteY74" fmla="*/ 125992 h 184007"/>
                  <a:gd name="connsiteX75" fmla="*/ 46112 w 141774"/>
                  <a:gd name="connsiteY75" fmla="*/ 127139 h 184007"/>
                  <a:gd name="connsiteX76" fmla="*/ 46729 w 141774"/>
                  <a:gd name="connsiteY76" fmla="*/ 129431 h 184007"/>
                  <a:gd name="connsiteX77" fmla="*/ 49639 w 141774"/>
                  <a:gd name="connsiteY77" fmla="*/ 132429 h 184007"/>
                  <a:gd name="connsiteX78" fmla="*/ 52284 w 141774"/>
                  <a:gd name="connsiteY78" fmla="*/ 133311 h 184007"/>
                  <a:gd name="connsiteX79" fmla="*/ 54840 w 141774"/>
                  <a:gd name="connsiteY79" fmla="*/ 136484 h 184007"/>
                  <a:gd name="connsiteX80" fmla="*/ 54576 w 141774"/>
                  <a:gd name="connsiteY80" fmla="*/ 137366 h 184007"/>
                  <a:gd name="connsiteX81" fmla="*/ 55722 w 141774"/>
                  <a:gd name="connsiteY81" fmla="*/ 137983 h 184007"/>
                  <a:gd name="connsiteX82" fmla="*/ 56869 w 141774"/>
                  <a:gd name="connsiteY82" fmla="*/ 140276 h 184007"/>
                  <a:gd name="connsiteX83" fmla="*/ 62159 w 141774"/>
                  <a:gd name="connsiteY83" fmla="*/ 141775 h 184007"/>
                  <a:gd name="connsiteX84" fmla="*/ 62776 w 141774"/>
                  <a:gd name="connsiteY84" fmla="*/ 144684 h 184007"/>
                  <a:gd name="connsiteX85" fmla="*/ 61894 w 141774"/>
                  <a:gd name="connsiteY85" fmla="*/ 146712 h 184007"/>
                  <a:gd name="connsiteX86" fmla="*/ 61277 w 141774"/>
                  <a:gd name="connsiteY86" fmla="*/ 146977 h 184007"/>
                  <a:gd name="connsiteX87" fmla="*/ 60748 w 141774"/>
                  <a:gd name="connsiteY87" fmla="*/ 150768 h 184007"/>
                  <a:gd name="connsiteX88" fmla="*/ 59866 w 141774"/>
                  <a:gd name="connsiteY88" fmla="*/ 152796 h 184007"/>
                  <a:gd name="connsiteX89" fmla="*/ 59514 w 141774"/>
                  <a:gd name="connsiteY89" fmla="*/ 156940 h 184007"/>
                  <a:gd name="connsiteX90" fmla="*/ 62159 w 141774"/>
                  <a:gd name="connsiteY90" fmla="*/ 160731 h 184007"/>
                  <a:gd name="connsiteX91" fmla="*/ 64539 w 141774"/>
                  <a:gd name="connsiteY91" fmla="*/ 161260 h 184007"/>
                  <a:gd name="connsiteX92" fmla="*/ 65686 w 141774"/>
                  <a:gd name="connsiteY92" fmla="*/ 160731 h 184007"/>
                  <a:gd name="connsiteX93" fmla="*/ 68330 w 141774"/>
                  <a:gd name="connsiteY93" fmla="*/ 161524 h 184007"/>
                  <a:gd name="connsiteX94" fmla="*/ 71769 w 141774"/>
                  <a:gd name="connsiteY94" fmla="*/ 161524 h 184007"/>
                  <a:gd name="connsiteX95" fmla="*/ 73797 w 141774"/>
                  <a:gd name="connsiteY95" fmla="*/ 160378 h 184007"/>
                  <a:gd name="connsiteX96" fmla="*/ 72033 w 141774"/>
                  <a:gd name="connsiteY96" fmla="*/ 158350 h 184007"/>
                  <a:gd name="connsiteX97" fmla="*/ 71769 w 141774"/>
                  <a:gd name="connsiteY97" fmla="*/ 156940 h 184007"/>
                  <a:gd name="connsiteX98" fmla="*/ 73268 w 141774"/>
                  <a:gd name="connsiteY98" fmla="*/ 153677 h 184007"/>
                  <a:gd name="connsiteX99" fmla="*/ 80233 w 141774"/>
                  <a:gd name="connsiteY99" fmla="*/ 151032 h 184007"/>
                  <a:gd name="connsiteX100" fmla="*/ 81996 w 141774"/>
                  <a:gd name="connsiteY100" fmla="*/ 151649 h 184007"/>
                  <a:gd name="connsiteX101" fmla="*/ 83760 w 141774"/>
                  <a:gd name="connsiteY101" fmla="*/ 150503 h 184007"/>
                  <a:gd name="connsiteX102" fmla="*/ 84906 w 141774"/>
                  <a:gd name="connsiteY102" fmla="*/ 150768 h 184007"/>
                  <a:gd name="connsiteX103" fmla="*/ 85788 w 141774"/>
                  <a:gd name="connsiteY103" fmla="*/ 152531 h 184007"/>
                  <a:gd name="connsiteX104" fmla="*/ 87551 w 141774"/>
                  <a:gd name="connsiteY104" fmla="*/ 152531 h 184007"/>
                  <a:gd name="connsiteX105" fmla="*/ 87816 w 141774"/>
                  <a:gd name="connsiteY105" fmla="*/ 151649 h 184007"/>
                  <a:gd name="connsiteX106" fmla="*/ 86405 w 141774"/>
                  <a:gd name="connsiteY106" fmla="*/ 149622 h 184007"/>
                  <a:gd name="connsiteX107" fmla="*/ 89315 w 141774"/>
                  <a:gd name="connsiteY107" fmla="*/ 151385 h 184007"/>
                  <a:gd name="connsiteX108" fmla="*/ 89579 w 141774"/>
                  <a:gd name="connsiteY108" fmla="*/ 151032 h 184007"/>
                  <a:gd name="connsiteX109" fmla="*/ 90725 w 141774"/>
                  <a:gd name="connsiteY109" fmla="*/ 146095 h 184007"/>
                  <a:gd name="connsiteX110" fmla="*/ 89315 w 141774"/>
                  <a:gd name="connsiteY110" fmla="*/ 142039 h 184007"/>
                  <a:gd name="connsiteX111" fmla="*/ 88433 w 141774"/>
                  <a:gd name="connsiteY111" fmla="*/ 141775 h 184007"/>
                  <a:gd name="connsiteX112" fmla="*/ 87816 w 141774"/>
                  <a:gd name="connsiteY112" fmla="*/ 142039 h 184007"/>
                  <a:gd name="connsiteX113" fmla="*/ 88697 w 141774"/>
                  <a:gd name="connsiteY113" fmla="*/ 142921 h 184007"/>
                  <a:gd name="connsiteX114" fmla="*/ 88962 w 141774"/>
                  <a:gd name="connsiteY114" fmla="*/ 144067 h 184007"/>
                  <a:gd name="connsiteX115" fmla="*/ 86405 w 141774"/>
                  <a:gd name="connsiteY115" fmla="*/ 143803 h 184007"/>
                  <a:gd name="connsiteX116" fmla="*/ 85788 w 141774"/>
                  <a:gd name="connsiteY116" fmla="*/ 143803 h 184007"/>
                  <a:gd name="connsiteX117" fmla="*/ 85170 w 141774"/>
                  <a:gd name="connsiteY117" fmla="*/ 140893 h 184007"/>
                  <a:gd name="connsiteX118" fmla="*/ 82878 w 141774"/>
                  <a:gd name="connsiteY118" fmla="*/ 140011 h 184007"/>
                  <a:gd name="connsiteX119" fmla="*/ 84641 w 141774"/>
                  <a:gd name="connsiteY119" fmla="*/ 139394 h 184007"/>
                  <a:gd name="connsiteX120" fmla="*/ 85523 w 141774"/>
                  <a:gd name="connsiteY120" fmla="*/ 137983 h 184007"/>
                  <a:gd name="connsiteX121" fmla="*/ 82614 w 141774"/>
                  <a:gd name="connsiteY121" fmla="*/ 137631 h 184007"/>
                  <a:gd name="connsiteX122" fmla="*/ 80498 w 141774"/>
                  <a:gd name="connsiteY122" fmla="*/ 134104 h 184007"/>
                  <a:gd name="connsiteX123" fmla="*/ 78558 w 141774"/>
                  <a:gd name="connsiteY123" fmla="*/ 134104 h 184007"/>
                  <a:gd name="connsiteX124" fmla="*/ 75913 w 141774"/>
                  <a:gd name="connsiteY124" fmla="*/ 131812 h 184007"/>
                  <a:gd name="connsiteX125" fmla="*/ 75296 w 141774"/>
                  <a:gd name="connsiteY125" fmla="*/ 129784 h 184007"/>
                  <a:gd name="connsiteX126" fmla="*/ 76707 w 141774"/>
                  <a:gd name="connsiteY126" fmla="*/ 129167 h 184007"/>
                  <a:gd name="connsiteX127" fmla="*/ 77324 w 141774"/>
                  <a:gd name="connsiteY127" fmla="*/ 127139 h 184007"/>
                  <a:gd name="connsiteX128" fmla="*/ 76442 w 141774"/>
                  <a:gd name="connsiteY128" fmla="*/ 125375 h 184007"/>
                  <a:gd name="connsiteX129" fmla="*/ 77059 w 141774"/>
                  <a:gd name="connsiteY129" fmla="*/ 125111 h 184007"/>
                  <a:gd name="connsiteX130" fmla="*/ 78205 w 141774"/>
                  <a:gd name="connsiteY130" fmla="*/ 125992 h 184007"/>
                  <a:gd name="connsiteX131" fmla="*/ 79352 w 141774"/>
                  <a:gd name="connsiteY131" fmla="*/ 126874 h 184007"/>
                  <a:gd name="connsiteX132" fmla="*/ 79087 w 141774"/>
                  <a:gd name="connsiteY132" fmla="*/ 125375 h 184007"/>
                  <a:gd name="connsiteX133" fmla="*/ 77588 w 141774"/>
                  <a:gd name="connsiteY133" fmla="*/ 124494 h 184007"/>
                  <a:gd name="connsiteX134" fmla="*/ 77588 w 141774"/>
                  <a:gd name="connsiteY134" fmla="*/ 123083 h 184007"/>
                  <a:gd name="connsiteX135" fmla="*/ 79087 w 141774"/>
                  <a:gd name="connsiteY135" fmla="*/ 121584 h 184007"/>
                  <a:gd name="connsiteX136" fmla="*/ 80233 w 141774"/>
                  <a:gd name="connsiteY136" fmla="*/ 122466 h 184007"/>
                  <a:gd name="connsiteX137" fmla="*/ 81115 w 141774"/>
                  <a:gd name="connsiteY137" fmla="*/ 119821 h 184007"/>
                  <a:gd name="connsiteX138" fmla="*/ 79352 w 141774"/>
                  <a:gd name="connsiteY138" fmla="*/ 119556 h 184007"/>
                  <a:gd name="connsiteX139" fmla="*/ 76707 w 141774"/>
                  <a:gd name="connsiteY139" fmla="*/ 116647 h 184007"/>
                  <a:gd name="connsiteX140" fmla="*/ 77941 w 141774"/>
                  <a:gd name="connsiteY140" fmla="*/ 114002 h 184007"/>
                  <a:gd name="connsiteX141" fmla="*/ 77324 w 141774"/>
                  <a:gd name="connsiteY141" fmla="*/ 113473 h 184007"/>
                  <a:gd name="connsiteX142" fmla="*/ 75560 w 141774"/>
                  <a:gd name="connsiteY142" fmla="*/ 113120 h 184007"/>
                  <a:gd name="connsiteX143" fmla="*/ 71240 w 141774"/>
                  <a:gd name="connsiteY143" fmla="*/ 108800 h 184007"/>
                  <a:gd name="connsiteX144" fmla="*/ 71240 w 141774"/>
                  <a:gd name="connsiteY144" fmla="*/ 106419 h 184007"/>
                  <a:gd name="connsiteX145" fmla="*/ 69124 w 141774"/>
                  <a:gd name="connsiteY145" fmla="*/ 102981 h 184007"/>
                  <a:gd name="connsiteX146" fmla="*/ 64539 w 141774"/>
                  <a:gd name="connsiteY146" fmla="*/ 95927 h 184007"/>
                  <a:gd name="connsiteX147" fmla="*/ 62159 w 141774"/>
                  <a:gd name="connsiteY147" fmla="*/ 95927 h 184007"/>
                  <a:gd name="connsiteX148" fmla="*/ 61012 w 141774"/>
                  <a:gd name="connsiteY148" fmla="*/ 95046 h 184007"/>
                  <a:gd name="connsiteX149" fmla="*/ 60748 w 141774"/>
                  <a:gd name="connsiteY149" fmla="*/ 92753 h 184007"/>
                  <a:gd name="connsiteX150" fmla="*/ 57750 w 141774"/>
                  <a:gd name="connsiteY150" fmla="*/ 89491 h 184007"/>
                  <a:gd name="connsiteX151" fmla="*/ 56604 w 141774"/>
                  <a:gd name="connsiteY151" fmla="*/ 91607 h 184007"/>
                  <a:gd name="connsiteX152" fmla="*/ 56604 w 141774"/>
                  <a:gd name="connsiteY152" fmla="*/ 87727 h 184007"/>
                  <a:gd name="connsiteX153" fmla="*/ 55458 w 141774"/>
                  <a:gd name="connsiteY153" fmla="*/ 87727 h 184007"/>
                  <a:gd name="connsiteX154" fmla="*/ 55722 w 141774"/>
                  <a:gd name="connsiteY154" fmla="*/ 86317 h 184007"/>
                  <a:gd name="connsiteX155" fmla="*/ 56604 w 141774"/>
                  <a:gd name="connsiteY155" fmla="*/ 86317 h 184007"/>
                  <a:gd name="connsiteX156" fmla="*/ 61012 w 141774"/>
                  <a:gd name="connsiteY156" fmla="*/ 90108 h 184007"/>
                  <a:gd name="connsiteX157" fmla="*/ 63657 w 141774"/>
                  <a:gd name="connsiteY157" fmla="*/ 89844 h 184007"/>
                  <a:gd name="connsiteX158" fmla="*/ 64539 w 141774"/>
                  <a:gd name="connsiteY158" fmla="*/ 89226 h 184007"/>
                  <a:gd name="connsiteX159" fmla="*/ 66832 w 141774"/>
                  <a:gd name="connsiteY159" fmla="*/ 84553 h 184007"/>
                  <a:gd name="connsiteX160" fmla="*/ 68859 w 141774"/>
                  <a:gd name="connsiteY160" fmla="*/ 83936 h 184007"/>
                  <a:gd name="connsiteX161" fmla="*/ 71504 w 141774"/>
                  <a:gd name="connsiteY161" fmla="*/ 82261 h 184007"/>
                  <a:gd name="connsiteX162" fmla="*/ 75031 w 141774"/>
                  <a:gd name="connsiteY162" fmla="*/ 82261 h 184007"/>
                  <a:gd name="connsiteX163" fmla="*/ 81379 w 141774"/>
                  <a:gd name="connsiteY163" fmla="*/ 76442 h 184007"/>
                  <a:gd name="connsiteX164" fmla="*/ 85170 w 141774"/>
                  <a:gd name="connsiteY164" fmla="*/ 70887 h 184007"/>
                  <a:gd name="connsiteX165" fmla="*/ 86670 w 141774"/>
                  <a:gd name="connsiteY165" fmla="*/ 70006 h 184007"/>
                  <a:gd name="connsiteX166" fmla="*/ 88433 w 141774"/>
                  <a:gd name="connsiteY166" fmla="*/ 65862 h 184007"/>
                  <a:gd name="connsiteX167" fmla="*/ 89315 w 141774"/>
                  <a:gd name="connsiteY167" fmla="*/ 64716 h 184007"/>
                  <a:gd name="connsiteX168" fmla="*/ 93370 w 141774"/>
                  <a:gd name="connsiteY168" fmla="*/ 64451 h 184007"/>
                  <a:gd name="connsiteX169" fmla="*/ 94252 w 141774"/>
                  <a:gd name="connsiteY169" fmla="*/ 63834 h 184007"/>
                  <a:gd name="connsiteX170" fmla="*/ 95751 w 141774"/>
                  <a:gd name="connsiteY170" fmla="*/ 63569 h 184007"/>
                  <a:gd name="connsiteX171" fmla="*/ 98307 w 141774"/>
                  <a:gd name="connsiteY171" fmla="*/ 67889 h 184007"/>
                  <a:gd name="connsiteX172" fmla="*/ 100071 w 141774"/>
                  <a:gd name="connsiteY172" fmla="*/ 68507 h 184007"/>
                  <a:gd name="connsiteX173" fmla="*/ 100688 w 141774"/>
                  <a:gd name="connsiteY173" fmla="*/ 67889 h 184007"/>
                  <a:gd name="connsiteX174" fmla="*/ 102716 w 141774"/>
                  <a:gd name="connsiteY174" fmla="*/ 62952 h 184007"/>
                  <a:gd name="connsiteX175" fmla="*/ 101834 w 141774"/>
                  <a:gd name="connsiteY175" fmla="*/ 58632 h 184007"/>
                  <a:gd name="connsiteX176" fmla="*/ 97691 w 141774"/>
                  <a:gd name="connsiteY176" fmla="*/ 56604 h 184007"/>
                  <a:gd name="connsiteX177" fmla="*/ 86934 w 141774"/>
                  <a:gd name="connsiteY177" fmla="*/ 58632 h 184007"/>
                  <a:gd name="connsiteX178" fmla="*/ 86934 w 141774"/>
                  <a:gd name="connsiteY178" fmla="*/ 59161 h 184007"/>
                  <a:gd name="connsiteX179" fmla="*/ 91342 w 141774"/>
                  <a:gd name="connsiteY179" fmla="*/ 60395 h 184007"/>
                  <a:gd name="connsiteX180" fmla="*/ 91607 w 141774"/>
                  <a:gd name="connsiteY180" fmla="*/ 60924 h 184007"/>
                  <a:gd name="connsiteX181" fmla="*/ 86670 w 141774"/>
                  <a:gd name="connsiteY181" fmla="*/ 62159 h 184007"/>
                  <a:gd name="connsiteX182" fmla="*/ 84641 w 141774"/>
                  <a:gd name="connsiteY182" fmla="*/ 60924 h 184007"/>
                  <a:gd name="connsiteX183" fmla="*/ 75560 w 141774"/>
                  <a:gd name="connsiteY183" fmla="*/ 61189 h 184007"/>
                  <a:gd name="connsiteX184" fmla="*/ 74414 w 141774"/>
                  <a:gd name="connsiteY184" fmla="*/ 62159 h 184007"/>
                  <a:gd name="connsiteX185" fmla="*/ 73268 w 141774"/>
                  <a:gd name="connsiteY185" fmla="*/ 65333 h 184007"/>
                  <a:gd name="connsiteX186" fmla="*/ 69124 w 141774"/>
                  <a:gd name="connsiteY186" fmla="*/ 66214 h 184007"/>
                  <a:gd name="connsiteX187" fmla="*/ 64539 w 141774"/>
                  <a:gd name="connsiteY187" fmla="*/ 65333 h 184007"/>
                  <a:gd name="connsiteX188" fmla="*/ 63305 w 141774"/>
                  <a:gd name="connsiteY188" fmla="*/ 62423 h 184007"/>
                  <a:gd name="connsiteX189" fmla="*/ 62423 w 141774"/>
                  <a:gd name="connsiteY189" fmla="*/ 62423 h 184007"/>
                  <a:gd name="connsiteX190" fmla="*/ 59249 w 141774"/>
                  <a:gd name="connsiteY190" fmla="*/ 64451 h 184007"/>
                  <a:gd name="connsiteX191" fmla="*/ 57486 w 141774"/>
                  <a:gd name="connsiteY191" fmla="*/ 67625 h 184007"/>
                  <a:gd name="connsiteX192" fmla="*/ 51402 w 141774"/>
                  <a:gd name="connsiteY192" fmla="*/ 77235 h 184007"/>
                  <a:gd name="connsiteX193" fmla="*/ 50256 w 141774"/>
                  <a:gd name="connsiteY193" fmla="*/ 77588 h 184007"/>
                  <a:gd name="connsiteX194" fmla="*/ 45230 w 141774"/>
                  <a:gd name="connsiteY194" fmla="*/ 76442 h 184007"/>
                  <a:gd name="connsiteX195" fmla="*/ 45230 w 141774"/>
                  <a:gd name="connsiteY195" fmla="*/ 75560 h 184007"/>
                  <a:gd name="connsiteX196" fmla="*/ 43467 w 141774"/>
                  <a:gd name="connsiteY196" fmla="*/ 76089 h 184007"/>
                  <a:gd name="connsiteX197" fmla="*/ 41792 w 141774"/>
                  <a:gd name="connsiteY197" fmla="*/ 76706 h 184007"/>
                  <a:gd name="connsiteX198" fmla="*/ 39411 w 141774"/>
                  <a:gd name="connsiteY198" fmla="*/ 72651 h 184007"/>
                  <a:gd name="connsiteX199" fmla="*/ 39940 w 141774"/>
                  <a:gd name="connsiteY199" fmla="*/ 70006 h 184007"/>
                  <a:gd name="connsiteX200" fmla="*/ 37912 w 141774"/>
                  <a:gd name="connsiteY200" fmla="*/ 66479 h 184007"/>
                  <a:gd name="connsiteX201" fmla="*/ 35620 w 141774"/>
                  <a:gd name="connsiteY201" fmla="*/ 64716 h 184007"/>
                  <a:gd name="connsiteX202" fmla="*/ 34121 w 141774"/>
                  <a:gd name="connsiteY202" fmla="*/ 65597 h 184007"/>
                  <a:gd name="connsiteX203" fmla="*/ 32975 w 141774"/>
                  <a:gd name="connsiteY203" fmla="*/ 64980 h 184007"/>
                  <a:gd name="connsiteX204" fmla="*/ 28919 w 141774"/>
                  <a:gd name="connsiteY204" fmla="*/ 58015 h 184007"/>
                  <a:gd name="connsiteX205" fmla="*/ 27773 w 141774"/>
                  <a:gd name="connsiteY205" fmla="*/ 51578 h 184007"/>
                  <a:gd name="connsiteX206" fmla="*/ 27156 w 141774"/>
                  <a:gd name="connsiteY206" fmla="*/ 46905 h 184007"/>
                  <a:gd name="connsiteX207" fmla="*/ 30330 w 141774"/>
                  <a:gd name="connsiteY207" fmla="*/ 37560 h 184007"/>
                  <a:gd name="connsiteX208" fmla="*/ 35356 w 141774"/>
                  <a:gd name="connsiteY208" fmla="*/ 30859 h 184007"/>
                  <a:gd name="connsiteX209" fmla="*/ 38530 w 141774"/>
                  <a:gd name="connsiteY209" fmla="*/ 29713 h 184007"/>
                  <a:gd name="connsiteX210" fmla="*/ 41439 w 141774"/>
                  <a:gd name="connsiteY210" fmla="*/ 29448 h 184007"/>
                  <a:gd name="connsiteX211" fmla="*/ 43467 w 141774"/>
                  <a:gd name="connsiteY211" fmla="*/ 30859 h 184007"/>
                  <a:gd name="connsiteX212" fmla="*/ 51667 w 141774"/>
                  <a:gd name="connsiteY212" fmla="*/ 32622 h 184007"/>
                  <a:gd name="connsiteX213" fmla="*/ 54840 w 141774"/>
                  <a:gd name="connsiteY213" fmla="*/ 30859 h 184007"/>
                  <a:gd name="connsiteX214" fmla="*/ 56340 w 141774"/>
                  <a:gd name="connsiteY214" fmla="*/ 31476 h 184007"/>
                  <a:gd name="connsiteX215" fmla="*/ 62423 w 141774"/>
                  <a:gd name="connsiteY215" fmla="*/ 29184 h 184007"/>
                  <a:gd name="connsiteX216" fmla="*/ 66567 w 141774"/>
                  <a:gd name="connsiteY216" fmla="*/ 32093 h 184007"/>
                  <a:gd name="connsiteX217" fmla="*/ 72033 w 141774"/>
                  <a:gd name="connsiteY217" fmla="*/ 30859 h 184007"/>
                  <a:gd name="connsiteX218" fmla="*/ 81996 w 141774"/>
                  <a:gd name="connsiteY218" fmla="*/ 30330 h 184007"/>
                  <a:gd name="connsiteX219" fmla="*/ 92224 w 141774"/>
                  <a:gd name="connsiteY219" fmla="*/ 30859 h 184007"/>
                  <a:gd name="connsiteX220" fmla="*/ 94252 w 141774"/>
                  <a:gd name="connsiteY220" fmla="*/ 30065 h 184007"/>
                  <a:gd name="connsiteX221" fmla="*/ 98307 w 141774"/>
                  <a:gd name="connsiteY221" fmla="*/ 34650 h 184007"/>
                  <a:gd name="connsiteX222" fmla="*/ 100071 w 141774"/>
                  <a:gd name="connsiteY222" fmla="*/ 35267 h 184007"/>
                  <a:gd name="connsiteX223" fmla="*/ 105361 w 141774"/>
                  <a:gd name="connsiteY223" fmla="*/ 35003 h 184007"/>
                  <a:gd name="connsiteX224" fmla="*/ 106508 w 141774"/>
                  <a:gd name="connsiteY224" fmla="*/ 36149 h 184007"/>
                  <a:gd name="connsiteX225" fmla="*/ 113473 w 141774"/>
                  <a:gd name="connsiteY225" fmla="*/ 34386 h 184007"/>
                  <a:gd name="connsiteX226" fmla="*/ 124582 w 141774"/>
                  <a:gd name="connsiteY226" fmla="*/ 31476 h 184007"/>
                  <a:gd name="connsiteX227" fmla="*/ 129255 w 141774"/>
                  <a:gd name="connsiteY227" fmla="*/ 22747 h 184007"/>
                  <a:gd name="connsiteX228" fmla="*/ 134457 w 141774"/>
                  <a:gd name="connsiteY228" fmla="*/ 18339 h 184007"/>
                  <a:gd name="connsiteX229" fmla="*/ 138865 w 141774"/>
                  <a:gd name="connsiteY229" fmla="*/ 8729 h 184007"/>
                  <a:gd name="connsiteX230" fmla="*/ 141158 w 141774"/>
                  <a:gd name="connsiteY230" fmla="*/ 6701 h 184007"/>
                  <a:gd name="connsiteX231" fmla="*/ 141775 w 141774"/>
                  <a:gd name="connsiteY231" fmla="*/ 5555 h 184007"/>
                  <a:gd name="connsiteX232" fmla="*/ 140011 w 141774"/>
                  <a:gd name="connsiteY232" fmla="*/ 3791 h 184007"/>
                  <a:gd name="connsiteX233" fmla="*/ 140011 w 141774"/>
                  <a:gd name="connsiteY233" fmla="*/ 1411 h 184007"/>
                  <a:gd name="connsiteX234" fmla="*/ 137366 w 141774"/>
                  <a:gd name="connsiteY234" fmla="*/ 1411 h 184007"/>
                  <a:gd name="connsiteX235" fmla="*/ 137102 w 141774"/>
                  <a:gd name="connsiteY235" fmla="*/ 529 h 184007"/>
                  <a:gd name="connsiteX236" fmla="*/ 136220 w 141774"/>
                  <a:gd name="connsiteY236" fmla="*/ 0 h 184007"/>
                  <a:gd name="connsiteX237" fmla="*/ 132429 w 141774"/>
                  <a:gd name="connsiteY237" fmla="*/ 4056 h 184007"/>
                  <a:gd name="connsiteX238" fmla="*/ 133046 w 141774"/>
                  <a:gd name="connsiteY238" fmla="*/ 6701 h 184007"/>
                  <a:gd name="connsiteX239" fmla="*/ 131018 w 141774"/>
                  <a:gd name="connsiteY239" fmla="*/ 7230 h 184007"/>
                  <a:gd name="connsiteX240" fmla="*/ 128108 w 141774"/>
                  <a:gd name="connsiteY240" fmla="*/ 7847 h 184007"/>
                  <a:gd name="connsiteX241" fmla="*/ 126345 w 141774"/>
                  <a:gd name="connsiteY241" fmla="*/ 10228 h 184007"/>
                  <a:gd name="connsiteX242" fmla="*/ 126610 w 141774"/>
                  <a:gd name="connsiteY242" fmla="*/ 11374 h 184007"/>
                  <a:gd name="connsiteX243" fmla="*/ 128108 w 141774"/>
                  <a:gd name="connsiteY243" fmla="*/ 11638 h 184007"/>
                  <a:gd name="connsiteX244" fmla="*/ 128108 w 141774"/>
                  <a:gd name="connsiteY244" fmla="*/ 12520 h 184007"/>
                  <a:gd name="connsiteX245" fmla="*/ 127227 w 141774"/>
                  <a:gd name="connsiteY245" fmla="*/ 13666 h 184007"/>
                  <a:gd name="connsiteX246" fmla="*/ 126345 w 141774"/>
                  <a:gd name="connsiteY246" fmla="*/ 12784 h 184007"/>
                  <a:gd name="connsiteX247" fmla="*/ 122554 w 141774"/>
                  <a:gd name="connsiteY247" fmla="*/ 14019 h 184007"/>
                  <a:gd name="connsiteX248" fmla="*/ 121055 w 141774"/>
                  <a:gd name="connsiteY248" fmla="*/ 17810 h 184007"/>
                  <a:gd name="connsiteX249" fmla="*/ 114707 w 141774"/>
                  <a:gd name="connsiteY249" fmla="*/ 20984 h 184007"/>
                  <a:gd name="connsiteX250" fmla="*/ 112062 w 141774"/>
                  <a:gd name="connsiteY250" fmla="*/ 22130 h 184007"/>
                  <a:gd name="connsiteX251" fmla="*/ 100688 w 141774"/>
                  <a:gd name="connsiteY251" fmla="*/ 19838 h 184007"/>
                  <a:gd name="connsiteX252" fmla="*/ 91871 w 141774"/>
                  <a:gd name="connsiteY252" fmla="*/ 19221 h 184007"/>
                  <a:gd name="connsiteX253" fmla="*/ 91871 w 141774"/>
                  <a:gd name="connsiteY253" fmla="*/ 19838 h 184007"/>
                  <a:gd name="connsiteX254" fmla="*/ 89579 w 141774"/>
                  <a:gd name="connsiteY254" fmla="*/ 22747 h 184007"/>
                  <a:gd name="connsiteX255" fmla="*/ 85170 w 141774"/>
                  <a:gd name="connsiteY255" fmla="*/ 19221 h 184007"/>
                  <a:gd name="connsiteX256" fmla="*/ 79704 w 141774"/>
                  <a:gd name="connsiteY256" fmla="*/ 17810 h 184007"/>
                  <a:gd name="connsiteX257" fmla="*/ 72386 w 141774"/>
                  <a:gd name="connsiteY257" fmla="*/ 16576 h 184007"/>
                  <a:gd name="connsiteX258" fmla="*/ 71240 w 141774"/>
                  <a:gd name="connsiteY258" fmla="*/ 17457 h 184007"/>
                  <a:gd name="connsiteX259" fmla="*/ 70358 w 141774"/>
                  <a:gd name="connsiteY259" fmla="*/ 17457 h 184007"/>
                  <a:gd name="connsiteX260" fmla="*/ 69477 w 141774"/>
                  <a:gd name="connsiteY260" fmla="*/ 15694 h 184007"/>
                  <a:gd name="connsiteX261" fmla="*/ 63040 w 141774"/>
                  <a:gd name="connsiteY261" fmla="*/ 16576 h 184007"/>
                  <a:gd name="connsiteX262" fmla="*/ 60395 w 141774"/>
                  <a:gd name="connsiteY262" fmla="*/ 16046 h 184007"/>
                  <a:gd name="connsiteX263" fmla="*/ 58632 w 141774"/>
                  <a:gd name="connsiteY263" fmla="*/ 13401 h 184007"/>
                  <a:gd name="connsiteX264" fmla="*/ 59249 w 141774"/>
                  <a:gd name="connsiteY264" fmla="*/ 11021 h 184007"/>
                  <a:gd name="connsiteX265" fmla="*/ 58985 w 141774"/>
                  <a:gd name="connsiteY265" fmla="*/ 10757 h 184007"/>
                  <a:gd name="connsiteX266" fmla="*/ 57486 w 141774"/>
                  <a:gd name="connsiteY266" fmla="*/ 11991 h 184007"/>
                  <a:gd name="connsiteX267" fmla="*/ 54223 w 141774"/>
                  <a:gd name="connsiteY267" fmla="*/ 12255 h 184007"/>
                  <a:gd name="connsiteX268" fmla="*/ 50785 w 141774"/>
                  <a:gd name="connsiteY268" fmla="*/ 10228 h 184007"/>
                  <a:gd name="connsiteX269" fmla="*/ 45230 w 141774"/>
                  <a:gd name="connsiteY269" fmla="*/ 10228 h 184007"/>
                  <a:gd name="connsiteX270" fmla="*/ 45230 w 141774"/>
                  <a:gd name="connsiteY270" fmla="*/ 11021 h 184007"/>
                  <a:gd name="connsiteX271" fmla="*/ 44701 w 141774"/>
                  <a:gd name="connsiteY271" fmla="*/ 14548 h 184007"/>
                  <a:gd name="connsiteX272" fmla="*/ 43202 w 141774"/>
                  <a:gd name="connsiteY272" fmla="*/ 18692 h 184007"/>
                  <a:gd name="connsiteX273" fmla="*/ 42056 w 141774"/>
                  <a:gd name="connsiteY273" fmla="*/ 18339 h 184007"/>
                  <a:gd name="connsiteX274" fmla="*/ 39676 w 141774"/>
                  <a:gd name="connsiteY274" fmla="*/ 23629 h 184007"/>
                  <a:gd name="connsiteX275" fmla="*/ 36502 w 141774"/>
                  <a:gd name="connsiteY275" fmla="*/ 22747 h 184007"/>
                  <a:gd name="connsiteX276" fmla="*/ 35356 w 141774"/>
                  <a:gd name="connsiteY276" fmla="*/ 21866 h 184007"/>
                  <a:gd name="connsiteX277" fmla="*/ 34474 w 141774"/>
                  <a:gd name="connsiteY277" fmla="*/ 18339 h 184007"/>
                  <a:gd name="connsiteX278" fmla="*/ 33592 w 141774"/>
                  <a:gd name="connsiteY278" fmla="*/ 18339 h 184007"/>
                  <a:gd name="connsiteX279" fmla="*/ 32711 w 141774"/>
                  <a:gd name="connsiteY279" fmla="*/ 18956 h 184007"/>
                  <a:gd name="connsiteX280" fmla="*/ 32446 w 141774"/>
                  <a:gd name="connsiteY280" fmla="*/ 22130 h 184007"/>
                  <a:gd name="connsiteX281" fmla="*/ 31829 w 141774"/>
                  <a:gd name="connsiteY281" fmla="*/ 23012 h 184007"/>
                  <a:gd name="connsiteX282" fmla="*/ 28566 w 141774"/>
                  <a:gd name="connsiteY282" fmla="*/ 24511 h 184007"/>
                  <a:gd name="connsiteX283" fmla="*/ 27773 w 141774"/>
                  <a:gd name="connsiteY283" fmla="*/ 25657 h 184007"/>
                  <a:gd name="connsiteX284" fmla="*/ 28037 w 141774"/>
                  <a:gd name="connsiteY284" fmla="*/ 29713 h 184007"/>
                  <a:gd name="connsiteX285" fmla="*/ 24864 w 141774"/>
                  <a:gd name="connsiteY285" fmla="*/ 31476 h 184007"/>
                  <a:gd name="connsiteX286" fmla="*/ 23894 w 141774"/>
                  <a:gd name="connsiteY286" fmla="*/ 36149 h 184007"/>
                  <a:gd name="connsiteX287" fmla="*/ 22748 w 141774"/>
                  <a:gd name="connsiteY287" fmla="*/ 36414 h 184007"/>
                  <a:gd name="connsiteX288" fmla="*/ 22483 w 141774"/>
                  <a:gd name="connsiteY288" fmla="*/ 37560 h 184007"/>
                  <a:gd name="connsiteX289" fmla="*/ 24511 w 141774"/>
                  <a:gd name="connsiteY289" fmla="*/ 40205 h 184007"/>
                  <a:gd name="connsiteX290" fmla="*/ 24511 w 141774"/>
                  <a:gd name="connsiteY290" fmla="*/ 41351 h 184007"/>
                  <a:gd name="connsiteX291" fmla="*/ 23894 w 141774"/>
                  <a:gd name="connsiteY291" fmla="*/ 44349 h 184007"/>
                  <a:gd name="connsiteX292" fmla="*/ 22483 w 141774"/>
                  <a:gd name="connsiteY292" fmla="*/ 44878 h 184007"/>
                  <a:gd name="connsiteX293" fmla="*/ 20190 w 141774"/>
                  <a:gd name="connsiteY293" fmla="*/ 41968 h 184007"/>
                  <a:gd name="connsiteX294" fmla="*/ 18956 w 141774"/>
                  <a:gd name="connsiteY294" fmla="*/ 42850 h 184007"/>
                  <a:gd name="connsiteX295" fmla="*/ 19838 w 141774"/>
                  <a:gd name="connsiteY295" fmla="*/ 44613 h 184007"/>
                  <a:gd name="connsiteX296" fmla="*/ 21072 w 141774"/>
                  <a:gd name="connsiteY296" fmla="*/ 45759 h 184007"/>
                  <a:gd name="connsiteX297" fmla="*/ 22483 w 141774"/>
                  <a:gd name="connsiteY297" fmla="*/ 45495 h 184007"/>
                  <a:gd name="connsiteX298" fmla="*/ 22748 w 141774"/>
                  <a:gd name="connsiteY298" fmla="*/ 45759 h 184007"/>
                  <a:gd name="connsiteX299" fmla="*/ 21954 w 141774"/>
                  <a:gd name="connsiteY299" fmla="*/ 51578 h 184007"/>
                  <a:gd name="connsiteX300" fmla="*/ 24246 w 141774"/>
                  <a:gd name="connsiteY300" fmla="*/ 62688 h 184007"/>
                  <a:gd name="connsiteX301" fmla="*/ 23894 w 141774"/>
                  <a:gd name="connsiteY301" fmla="*/ 64187 h 184007"/>
                  <a:gd name="connsiteX302" fmla="*/ 21337 w 141774"/>
                  <a:gd name="connsiteY302" fmla="*/ 58015 h 184007"/>
                  <a:gd name="connsiteX303" fmla="*/ 19573 w 141774"/>
                  <a:gd name="connsiteY303" fmla="*/ 59778 h 184007"/>
                  <a:gd name="connsiteX304" fmla="*/ 20190 w 141774"/>
                  <a:gd name="connsiteY304" fmla="*/ 60924 h 184007"/>
                  <a:gd name="connsiteX305" fmla="*/ 16928 w 141774"/>
                  <a:gd name="connsiteY305" fmla="*/ 63834 h 184007"/>
                  <a:gd name="connsiteX306" fmla="*/ 16047 w 141774"/>
                  <a:gd name="connsiteY306" fmla="*/ 65862 h 184007"/>
                  <a:gd name="connsiteX307" fmla="*/ 12256 w 141774"/>
                  <a:gd name="connsiteY307" fmla="*/ 73180 h 184007"/>
                  <a:gd name="connsiteX308" fmla="*/ 11991 w 141774"/>
                  <a:gd name="connsiteY308" fmla="*/ 77588 h 184007"/>
                  <a:gd name="connsiteX309" fmla="*/ 11991 w 141774"/>
                  <a:gd name="connsiteY309" fmla="*/ 84289 h 184007"/>
                  <a:gd name="connsiteX310" fmla="*/ 13489 w 141774"/>
                  <a:gd name="connsiteY310" fmla="*/ 87727 h 184007"/>
                  <a:gd name="connsiteX311" fmla="*/ 12608 w 141774"/>
                  <a:gd name="connsiteY311" fmla="*/ 90990 h 184007"/>
                  <a:gd name="connsiteX312" fmla="*/ 11727 w 141774"/>
                  <a:gd name="connsiteY312" fmla="*/ 90725 h 184007"/>
                  <a:gd name="connsiteX313" fmla="*/ 10227 w 141774"/>
                  <a:gd name="connsiteY313" fmla="*/ 91607 h 184007"/>
                  <a:gd name="connsiteX314" fmla="*/ 8200 w 141774"/>
                  <a:gd name="connsiteY314" fmla="*/ 96544 h 18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</a:cxnLst>
                <a:rect l="l" t="t" r="r" b="b"/>
                <a:pathLst>
                  <a:path w="141774" h="184007">
                    <a:moveTo>
                      <a:pt x="8552" y="102981"/>
                    </a:moveTo>
                    <a:lnTo>
                      <a:pt x="6436" y="104127"/>
                    </a:lnTo>
                    <a:lnTo>
                      <a:pt x="5555" y="106155"/>
                    </a:lnTo>
                    <a:lnTo>
                      <a:pt x="2645" y="107918"/>
                    </a:lnTo>
                    <a:lnTo>
                      <a:pt x="1499" y="107036"/>
                    </a:lnTo>
                    <a:lnTo>
                      <a:pt x="617" y="108447"/>
                    </a:lnTo>
                    <a:lnTo>
                      <a:pt x="264" y="112855"/>
                    </a:lnTo>
                    <a:lnTo>
                      <a:pt x="2645" y="112591"/>
                    </a:lnTo>
                    <a:lnTo>
                      <a:pt x="2910" y="113737"/>
                    </a:lnTo>
                    <a:lnTo>
                      <a:pt x="1763" y="118146"/>
                    </a:lnTo>
                    <a:lnTo>
                      <a:pt x="881" y="117793"/>
                    </a:lnTo>
                    <a:lnTo>
                      <a:pt x="0" y="118675"/>
                    </a:lnTo>
                    <a:lnTo>
                      <a:pt x="1763" y="121320"/>
                    </a:lnTo>
                    <a:lnTo>
                      <a:pt x="2116" y="125640"/>
                    </a:lnTo>
                    <a:lnTo>
                      <a:pt x="4056" y="130401"/>
                    </a:lnTo>
                    <a:lnTo>
                      <a:pt x="5555" y="128902"/>
                    </a:lnTo>
                    <a:lnTo>
                      <a:pt x="10227" y="128020"/>
                    </a:lnTo>
                    <a:lnTo>
                      <a:pt x="11991" y="126610"/>
                    </a:lnTo>
                    <a:lnTo>
                      <a:pt x="16047" y="128285"/>
                    </a:lnTo>
                    <a:lnTo>
                      <a:pt x="16664" y="130401"/>
                    </a:lnTo>
                    <a:lnTo>
                      <a:pt x="15165" y="133575"/>
                    </a:lnTo>
                    <a:lnTo>
                      <a:pt x="16928" y="137366"/>
                    </a:lnTo>
                    <a:lnTo>
                      <a:pt x="18427" y="140011"/>
                    </a:lnTo>
                    <a:lnTo>
                      <a:pt x="19573" y="140276"/>
                    </a:lnTo>
                    <a:lnTo>
                      <a:pt x="18692" y="142039"/>
                    </a:lnTo>
                    <a:lnTo>
                      <a:pt x="18427" y="154559"/>
                    </a:lnTo>
                    <a:lnTo>
                      <a:pt x="16047" y="158968"/>
                    </a:lnTo>
                    <a:lnTo>
                      <a:pt x="16928" y="162142"/>
                    </a:lnTo>
                    <a:lnTo>
                      <a:pt x="15782" y="165404"/>
                    </a:lnTo>
                    <a:lnTo>
                      <a:pt x="14283" y="168313"/>
                    </a:lnTo>
                    <a:lnTo>
                      <a:pt x="13489" y="171223"/>
                    </a:lnTo>
                    <a:lnTo>
                      <a:pt x="12256" y="175279"/>
                    </a:lnTo>
                    <a:lnTo>
                      <a:pt x="12256" y="177042"/>
                    </a:lnTo>
                    <a:lnTo>
                      <a:pt x="14812" y="179511"/>
                    </a:lnTo>
                    <a:lnTo>
                      <a:pt x="16664" y="178805"/>
                    </a:lnTo>
                    <a:lnTo>
                      <a:pt x="17810" y="181362"/>
                    </a:lnTo>
                    <a:lnTo>
                      <a:pt x="18427" y="180481"/>
                    </a:lnTo>
                    <a:lnTo>
                      <a:pt x="18956" y="180216"/>
                    </a:lnTo>
                    <a:lnTo>
                      <a:pt x="20190" y="182597"/>
                    </a:lnTo>
                    <a:lnTo>
                      <a:pt x="22483" y="182597"/>
                    </a:lnTo>
                    <a:lnTo>
                      <a:pt x="24246" y="184007"/>
                    </a:lnTo>
                    <a:lnTo>
                      <a:pt x="28302" y="181979"/>
                    </a:lnTo>
                    <a:lnTo>
                      <a:pt x="30065" y="181979"/>
                    </a:lnTo>
                    <a:lnTo>
                      <a:pt x="31829" y="181098"/>
                    </a:lnTo>
                    <a:lnTo>
                      <a:pt x="36237" y="180216"/>
                    </a:lnTo>
                    <a:lnTo>
                      <a:pt x="37383" y="180481"/>
                    </a:lnTo>
                    <a:lnTo>
                      <a:pt x="36502" y="177042"/>
                    </a:lnTo>
                    <a:lnTo>
                      <a:pt x="32975" y="173780"/>
                    </a:lnTo>
                    <a:lnTo>
                      <a:pt x="32975" y="168842"/>
                    </a:lnTo>
                    <a:lnTo>
                      <a:pt x="34474" y="165051"/>
                    </a:lnTo>
                    <a:lnTo>
                      <a:pt x="34121" y="161524"/>
                    </a:lnTo>
                    <a:lnTo>
                      <a:pt x="35885" y="160995"/>
                    </a:lnTo>
                    <a:lnTo>
                      <a:pt x="37031" y="156322"/>
                    </a:lnTo>
                    <a:lnTo>
                      <a:pt x="35091" y="150768"/>
                    </a:lnTo>
                    <a:lnTo>
                      <a:pt x="36237" y="146095"/>
                    </a:lnTo>
                    <a:lnTo>
                      <a:pt x="36502" y="143185"/>
                    </a:lnTo>
                    <a:lnTo>
                      <a:pt x="35091" y="138512"/>
                    </a:lnTo>
                    <a:lnTo>
                      <a:pt x="37031" y="133575"/>
                    </a:lnTo>
                    <a:lnTo>
                      <a:pt x="35885" y="128638"/>
                    </a:lnTo>
                    <a:lnTo>
                      <a:pt x="36502" y="122466"/>
                    </a:lnTo>
                    <a:lnTo>
                      <a:pt x="33327" y="120174"/>
                    </a:lnTo>
                    <a:lnTo>
                      <a:pt x="31829" y="115148"/>
                    </a:lnTo>
                    <a:lnTo>
                      <a:pt x="36237" y="115148"/>
                    </a:lnTo>
                    <a:lnTo>
                      <a:pt x="37383" y="111357"/>
                    </a:lnTo>
                    <a:lnTo>
                      <a:pt x="39940" y="108447"/>
                    </a:lnTo>
                    <a:lnTo>
                      <a:pt x="44084" y="106772"/>
                    </a:lnTo>
                    <a:lnTo>
                      <a:pt x="49639" y="108183"/>
                    </a:lnTo>
                    <a:lnTo>
                      <a:pt x="50785" y="110210"/>
                    </a:lnTo>
                    <a:lnTo>
                      <a:pt x="48757" y="111709"/>
                    </a:lnTo>
                    <a:lnTo>
                      <a:pt x="49374" y="112591"/>
                    </a:lnTo>
                    <a:lnTo>
                      <a:pt x="49903" y="111709"/>
                    </a:lnTo>
                    <a:lnTo>
                      <a:pt x="50785" y="113120"/>
                    </a:lnTo>
                    <a:lnTo>
                      <a:pt x="50520" y="121320"/>
                    </a:lnTo>
                    <a:lnTo>
                      <a:pt x="48404" y="122818"/>
                    </a:lnTo>
                    <a:lnTo>
                      <a:pt x="48404" y="125992"/>
                    </a:lnTo>
                    <a:lnTo>
                      <a:pt x="46112" y="127139"/>
                    </a:lnTo>
                    <a:lnTo>
                      <a:pt x="46729" y="129431"/>
                    </a:lnTo>
                    <a:lnTo>
                      <a:pt x="49639" y="132429"/>
                    </a:lnTo>
                    <a:lnTo>
                      <a:pt x="52284" y="133311"/>
                    </a:lnTo>
                    <a:lnTo>
                      <a:pt x="54840" y="136484"/>
                    </a:lnTo>
                    <a:lnTo>
                      <a:pt x="54576" y="137366"/>
                    </a:lnTo>
                    <a:lnTo>
                      <a:pt x="55722" y="137983"/>
                    </a:lnTo>
                    <a:lnTo>
                      <a:pt x="56869" y="140276"/>
                    </a:lnTo>
                    <a:lnTo>
                      <a:pt x="62159" y="141775"/>
                    </a:lnTo>
                    <a:lnTo>
                      <a:pt x="62776" y="144684"/>
                    </a:lnTo>
                    <a:lnTo>
                      <a:pt x="61894" y="146712"/>
                    </a:lnTo>
                    <a:lnTo>
                      <a:pt x="61277" y="146977"/>
                    </a:lnTo>
                    <a:lnTo>
                      <a:pt x="60748" y="150768"/>
                    </a:lnTo>
                    <a:lnTo>
                      <a:pt x="59866" y="152796"/>
                    </a:lnTo>
                    <a:lnTo>
                      <a:pt x="59514" y="156940"/>
                    </a:lnTo>
                    <a:lnTo>
                      <a:pt x="62159" y="160731"/>
                    </a:lnTo>
                    <a:lnTo>
                      <a:pt x="64539" y="161260"/>
                    </a:lnTo>
                    <a:lnTo>
                      <a:pt x="65686" y="160731"/>
                    </a:lnTo>
                    <a:lnTo>
                      <a:pt x="68330" y="161524"/>
                    </a:lnTo>
                    <a:lnTo>
                      <a:pt x="71769" y="161524"/>
                    </a:lnTo>
                    <a:lnTo>
                      <a:pt x="73797" y="160378"/>
                    </a:lnTo>
                    <a:lnTo>
                      <a:pt x="72033" y="158350"/>
                    </a:lnTo>
                    <a:lnTo>
                      <a:pt x="71769" y="156940"/>
                    </a:lnTo>
                    <a:lnTo>
                      <a:pt x="73268" y="153677"/>
                    </a:lnTo>
                    <a:lnTo>
                      <a:pt x="80233" y="151032"/>
                    </a:lnTo>
                    <a:lnTo>
                      <a:pt x="81996" y="151649"/>
                    </a:lnTo>
                    <a:lnTo>
                      <a:pt x="83760" y="150503"/>
                    </a:lnTo>
                    <a:lnTo>
                      <a:pt x="84906" y="150768"/>
                    </a:lnTo>
                    <a:lnTo>
                      <a:pt x="85788" y="152531"/>
                    </a:lnTo>
                    <a:lnTo>
                      <a:pt x="87551" y="152531"/>
                    </a:lnTo>
                    <a:lnTo>
                      <a:pt x="87816" y="151649"/>
                    </a:lnTo>
                    <a:lnTo>
                      <a:pt x="86405" y="149622"/>
                    </a:lnTo>
                    <a:lnTo>
                      <a:pt x="89315" y="151385"/>
                    </a:lnTo>
                    <a:lnTo>
                      <a:pt x="89579" y="151032"/>
                    </a:lnTo>
                    <a:lnTo>
                      <a:pt x="90725" y="146095"/>
                    </a:lnTo>
                    <a:lnTo>
                      <a:pt x="89315" y="142039"/>
                    </a:lnTo>
                    <a:lnTo>
                      <a:pt x="88433" y="141775"/>
                    </a:lnTo>
                    <a:lnTo>
                      <a:pt x="87816" y="142039"/>
                    </a:lnTo>
                    <a:lnTo>
                      <a:pt x="88697" y="142921"/>
                    </a:lnTo>
                    <a:lnTo>
                      <a:pt x="88962" y="144067"/>
                    </a:lnTo>
                    <a:lnTo>
                      <a:pt x="86405" y="143803"/>
                    </a:lnTo>
                    <a:lnTo>
                      <a:pt x="85788" y="143803"/>
                    </a:lnTo>
                    <a:lnTo>
                      <a:pt x="85170" y="140893"/>
                    </a:lnTo>
                    <a:lnTo>
                      <a:pt x="82878" y="140011"/>
                    </a:lnTo>
                    <a:lnTo>
                      <a:pt x="84641" y="139394"/>
                    </a:lnTo>
                    <a:lnTo>
                      <a:pt x="85523" y="137983"/>
                    </a:lnTo>
                    <a:lnTo>
                      <a:pt x="82614" y="137631"/>
                    </a:lnTo>
                    <a:lnTo>
                      <a:pt x="80498" y="134104"/>
                    </a:lnTo>
                    <a:lnTo>
                      <a:pt x="78558" y="134104"/>
                    </a:lnTo>
                    <a:lnTo>
                      <a:pt x="75913" y="131812"/>
                    </a:lnTo>
                    <a:lnTo>
                      <a:pt x="75296" y="129784"/>
                    </a:lnTo>
                    <a:lnTo>
                      <a:pt x="76707" y="129167"/>
                    </a:lnTo>
                    <a:lnTo>
                      <a:pt x="77324" y="127139"/>
                    </a:lnTo>
                    <a:lnTo>
                      <a:pt x="76442" y="125375"/>
                    </a:lnTo>
                    <a:lnTo>
                      <a:pt x="77059" y="125111"/>
                    </a:lnTo>
                    <a:lnTo>
                      <a:pt x="78205" y="125992"/>
                    </a:lnTo>
                    <a:lnTo>
                      <a:pt x="79352" y="126874"/>
                    </a:lnTo>
                    <a:lnTo>
                      <a:pt x="79087" y="125375"/>
                    </a:lnTo>
                    <a:lnTo>
                      <a:pt x="77588" y="124494"/>
                    </a:lnTo>
                    <a:lnTo>
                      <a:pt x="77588" y="123083"/>
                    </a:lnTo>
                    <a:lnTo>
                      <a:pt x="79087" y="121584"/>
                    </a:lnTo>
                    <a:lnTo>
                      <a:pt x="80233" y="122466"/>
                    </a:lnTo>
                    <a:lnTo>
                      <a:pt x="81115" y="119821"/>
                    </a:lnTo>
                    <a:lnTo>
                      <a:pt x="79352" y="119556"/>
                    </a:lnTo>
                    <a:lnTo>
                      <a:pt x="76707" y="116647"/>
                    </a:lnTo>
                    <a:lnTo>
                      <a:pt x="77941" y="114002"/>
                    </a:lnTo>
                    <a:lnTo>
                      <a:pt x="77324" y="113473"/>
                    </a:lnTo>
                    <a:lnTo>
                      <a:pt x="75560" y="113120"/>
                    </a:lnTo>
                    <a:lnTo>
                      <a:pt x="71240" y="108800"/>
                    </a:lnTo>
                    <a:lnTo>
                      <a:pt x="71240" y="106419"/>
                    </a:lnTo>
                    <a:lnTo>
                      <a:pt x="69124" y="102981"/>
                    </a:lnTo>
                    <a:lnTo>
                      <a:pt x="64539" y="95927"/>
                    </a:lnTo>
                    <a:lnTo>
                      <a:pt x="62159" y="95927"/>
                    </a:lnTo>
                    <a:lnTo>
                      <a:pt x="61012" y="95046"/>
                    </a:lnTo>
                    <a:lnTo>
                      <a:pt x="60748" y="92753"/>
                    </a:lnTo>
                    <a:lnTo>
                      <a:pt x="57750" y="89491"/>
                    </a:lnTo>
                    <a:lnTo>
                      <a:pt x="56604" y="91607"/>
                    </a:lnTo>
                    <a:lnTo>
                      <a:pt x="56604" y="87727"/>
                    </a:lnTo>
                    <a:lnTo>
                      <a:pt x="55458" y="87727"/>
                    </a:lnTo>
                    <a:lnTo>
                      <a:pt x="55722" y="86317"/>
                    </a:lnTo>
                    <a:lnTo>
                      <a:pt x="56604" y="86317"/>
                    </a:lnTo>
                    <a:lnTo>
                      <a:pt x="61012" y="90108"/>
                    </a:lnTo>
                    <a:lnTo>
                      <a:pt x="63657" y="89844"/>
                    </a:lnTo>
                    <a:lnTo>
                      <a:pt x="64539" y="89226"/>
                    </a:lnTo>
                    <a:lnTo>
                      <a:pt x="66832" y="84553"/>
                    </a:lnTo>
                    <a:lnTo>
                      <a:pt x="68859" y="83936"/>
                    </a:lnTo>
                    <a:lnTo>
                      <a:pt x="71504" y="82261"/>
                    </a:lnTo>
                    <a:lnTo>
                      <a:pt x="75031" y="82261"/>
                    </a:lnTo>
                    <a:lnTo>
                      <a:pt x="81379" y="76442"/>
                    </a:lnTo>
                    <a:lnTo>
                      <a:pt x="85170" y="70887"/>
                    </a:lnTo>
                    <a:lnTo>
                      <a:pt x="86670" y="70006"/>
                    </a:lnTo>
                    <a:lnTo>
                      <a:pt x="88433" y="65862"/>
                    </a:lnTo>
                    <a:lnTo>
                      <a:pt x="89315" y="64716"/>
                    </a:lnTo>
                    <a:lnTo>
                      <a:pt x="93370" y="64451"/>
                    </a:lnTo>
                    <a:lnTo>
                      <a:pt x="94252" y="63834"/>
                    </a:lnTo>
                    <a:lnTo>
                      <a:pt x="95751" y="63569"/>
                    </a:lnTo>
                    <a:lnTo>
                      <a:pt x="98307" y="67889"/>
                    </a:lnTo>
                    <a:lnTo>
                      <a:pt x="100071" y="68507"/>
                    </a:lnTo>
                    <a:lnTo>
                      <a:pt x="100688" y="67889"/>
                    </a:lnTo>
                    <a:lnTo>
                      <a:pt x="102716" y="62952"/>
                    </a:lnTo>
                    <a:lnTo>
                      <a:pt x="101834" y="58632"/>
                    </a:lnTo>
                    <a:lnTo>
                      <a:pt x="97691" y="56604"/>
                    </a:lnTo>
                    <a:lnTo>
                      <a:pt x="86934" y="58632"/>
                    </a:lnTo>
                    <a:lnTo>
                      <a:pt x="86934" y="59161"/>
                    </a:lnTo>
                    <a:lnTo>
                      <a:pt x="91342" y="60395"/>
                    </a:lnTo>
                    <a:lnTo>
                      <a:pt x="91607" y="60924"/>
                    </a:lnTo>
                    <a:lnTo>
                      <a:pt x="86670" y="62159"/>
                    </a:lnTo>
                    <a:lnTo>
                      <a:pt x="84641" y="60924"/>
                    </a:lnTo>
                    <a:lnTo>
                      <a:pt x="75560" y="61189"/>
                    </a:lnTo>
                    <a:lnTo>
                      <a:pt x="74414" y="62159"/>
                    </a:lnTo>
                    <a:lnTo>
                      <a:pt x="73268" y="65333"/>
                    </a:lnTo>
                    <a:lnTo>
                      <a:pt x="69124" y="66214"/>
                    </a:lnTo>
                    <a:lnTo>
                      <a:pt x="64539" y="65333"/>
                    </a:lnTo>
                    <a:lnTo>
                      <a:pt x="63305" y="62423"/>
                    </a:lnTo>
                    <a:lnTo>
                      <a:pt x="62423" y="62423"/>
                    </a:lnTo>
                    <a:lnTo>
                      <a:pt x="59249" y="64451"/>
                    </a:lnTo>
                    <a:lnTo>
                      <a:pt x="57486" y="67625"/>
                    </a:lnTo>
                    <a:lnTo>
                      <a:pt x="51402" y="77235"/>
                    </a:lnTo>
                    <a:lnTo>
                      <a:pt x="50256" y="77588"/>
                    </a:lnTo>
                    <a:lnTo>
                      <a:pt x="45230" y="76442"/>
                    </a:lnTo>
                    <a:lnTo>
                      <a:pt x="45230" y="75560"/>
                    </a:lnTo>
                    <a:lnTo>
                      <a:pt x="43467" y="76089"/>
                    </a:lnTo>
                    <a:lnTo>
                      <a:pt x="41792" y="76706"/>
                    </a:lnTo>
                    <a:lnTo>
                      <a:pt x="39411" y="72651"/>
                    </a:lnTo>
                    <a:lnTo>
                      <a:pt x="39940" y="70006"/>
                    </a:lnTo>
                    <a:lnTo>
                      <a:pt x="37912" y="66479"/>
                    </a:lnTo>
                    <a:lnTo>
                      <a:pt x="35620" y="64716"/>
                    </a:lnTo>
                    <a:lnTo>
                      <a:pt x="34121" y="65597"/>
                    </a:lnTo>
                    <a:lnTo>
                      <a:pt x="32975" y="64980"/>
                    </a:lnTo>
                    <a:lnTo>
                      <a:pt x="28919" y="58015"/>
                    </a:lnTo>
                    <a:lnTo>
                      <a:pt x="27773" y="51578"/>
                    </a:lnTo>
                    <a:lnTo>
                      <a:pt x="27156" y="46905"/>
                    </a:lnTo>
                    <a:lnTo>
                      <a:pt x="30330" y="37560"/>
                    </a:lnTo>
                    <a:lnTo>
                      <a:pt x="35356" y="30859"/>
                    </a:lnTo>
                    <a:lnTo>
                      <a:pt x="38530" y="29713"/>
                    </a:lnTo>
                    <a:lnTo>
                      <a:pt x="41439" y="29448"/>
                    </a:lnTo>
                    <a:lnTo>
                      <a:pt x="43467" y="30859"/>
                    </a:lnTo>
                    <a:lnTo>
                      <a:pt x="51667" y="32622"/>
                    </a:lnTo>
                    <a:lnTo>
                      <a:pt x="54840" y="30859"/>
                    </a:lnTo>
                    <a:lnTo>
                      <a:pt x="56340" y="31476"/>
                    </a:lnTo>
                    <a:lnTo>
                      <a:pt x="62423" y="29184"/>
                    </a:lnTo>
                    <a:lnTo>
                      <a:pt x="66567" y="32093"/>
                    </a:lnTo>
                    <a:lnTo>
                      <a:pt x="72033" y="30859"/>
                    </a:lnTo>
                    <a:lnTo>
                      <a:pt x="81996" y="30330"/>
                    </a:lnTo>
                    <a:lnTo>
                      <a:pt x="92224" y="30859"/>
                    </a:lnTo>
                    <a:lnTo>
                      <a:pt x="94252" y="30065"/>
                    </a:lnTo>
                    <a:lnTo>
                      <a:pt x="98307" y="34650"/>
                    </a:lnTo>
                    <a:lnTo>
                      <a:pt x="100071" y="35267"/>
                    </a:lnTo>
                    <a:lnTo>
                      <a:pt x="105361" y="35003"/>
                    </a:lnTo>
                    <a:lnTo>
                      <a:pt x="106508" y="36149"/>
                    </a:lnTo>
                    <a:lnTo>
                      <a:pt x="113473" y="34386"/>
                    </a:lnTo>
                    <a:lnTo>
                      <a:pt x="124582" y="31476"/>
                    </a:lnTo>
                    <a:lnTo>
                      <a:pt x="129255" y="22747"/>
                    </a:lnTo>
                    <a:lnTo>
                      <a:pt x="134457" y="18339"/>
                    </a:lnTo>
                    <a:lnTo>
                      <a:pt x="138865" y="8729"/>
                    </a:lnTo>
                    <a:lnTo>
                      <a:pt x="141158" y="6701"/>
                    </a:lnTo>
                    <a:lnTo>
                      <a:pt x="141775" y="5555"/>
                    </a:lnTo>
                    <a:lnTo>
                      <a:pt x="140011" y="3791"/>
                    </a:lnTo>
                    <a:lnTo>
                      <a:pt x="140011" y="1411"/>
                    </a:lnTo>
                    <a:lnTo>
                      <a:pt x="137366" y="1411"/>
                    </a:lnTo>
                    <a:lnTo>
                      <a:pt x="137102" y="529"/>
                    </a:lnTo>
                    <a:lnTo>
                      <a:pt x="136220" y="0"/>
                    </a:lnTo>
                    <a:lnTo>
                      <a:pt x="132429" y="4056"/>
                    </a:lnTo>
                    <a:lnTo>
                      <a:pt x="133046" y="6701"/>
                    </a:lnTo>
                    <a:lnTo>
                      <a:pt x="131018" y="7230"/>
                    </a:lnTo>
                    <a:lnTo>
                      <a:pt x="128108" y="7847"/>
                    </a:lnTo>
                    <a:lnTo>
                      <a:pt x="126345" y="10228"/>
                    </a:lnTo>
                    <a:lnTo>
                      <a:pt x="126610" y="11374"/>
                    </a:lnTo>
                    <a:lnTo>
                      <a:pt x="128108" y="11638"/>
                    </a:lnTo>
                    <a:lnTo>
                      <a:pt x="128108" y="12520"/>
                    </a:lnTo>
                    <a:lnTo>
                      <a:pt x="127227" y="13666"/>
                    </a:lnTo>
                    <a:lnTo>
                      <a:pt x="126345" y="12784"/>
                    </a:lnTo>
                    <a:lnTo>
                      <a:pt x="122554" y="14019"/>
                    </a:lnTo>
                    <a:lnTo>
                      <a:pt x="121055" y="17810"/>
                    </a:lnTo>
                    <a:lnTo>
                      <a:pt x="114707" y="20984"/>
                    </a:lnTo>
                    <a:lnTo>
                      <a:pt x="112062" y="22130"/>
                    </a:lnTo>
                    <a:lnTo>
                      <a:pt x="100688" y="19838"/>
                    </a:lnTo>
                    <a:lnTo>
                      <a:pt x="91871" y="19221"/>
                    </a:lnTo>
                    <a:lnTo>
                      <a:pt x="91871" y="19838"/>
                    </a:lnTo>
                    <a:lnTo>
                      <a:pt x="89579" y="22747"/>
                    </a:lnTo>
                    <a:lnTo>
                      <a:pt x="85170" y="19221"/>
                    </a:lnTo>
                    <a:lnTo>
                      <a:pt x="79704" y="17810"/>
                    </a:lnTo>
                    <a:lnTo>
                      <a:pt x="72386" y="16576"/>
                    </a:lnTo>
                    <a:lnTo>
                      <a:pt x="71240" y="17457"/>
                    </a:lnTo>
                    <a:lnTo>
                      <a:pt x="70358" y="17457"/>
                    </a:lnTo>
                    <a:lnTo>
                      <a:pt x="69477" y="15694"/>
                    </a:lnTo>
                    <a:lnTo>
                      <a:pt x="63040" y="16576"/>
                    </a:lnTo>
                    <a:lnTo>
                      <a:pt x="60395" y="16046"/>
                    </a:lnTo>
                    <a:lnTo>
                      <a:pt x="58632" y="13401"/>
                    </a:lnTo>
                    <a:lnTo>
                      <a:pt x="59249" y="11021"/>
                    </a:lnTo>
                    <a:lnTo>
                      <a:pt x="58985" y="10757"/>
                    </a:lnTo>
                    <a:lnTo>
                      <a:pt x="57486" y="11991"/>
                    </a:lnTo>
                    <a:lnTo>
                      <a:pt x="54223" y="12255"/>
                    </a:lnTo>
                    <a:lnTo>
                      <a:pt x="50785" y="10228"/>
                    </a:lnTo>
                    <a:lnTo>
                      <a:pt x="45230" y="10228"/>
                    </a:lnTo>
                    <a:lnTo>
                      <a:pt x="45230" y="11021"/>
                    </a:lnTo>
                    <a:lnTo>
                      <a:pt x="44701" y="14548"/>
                    </a:lnTo>
                    <a:lnTo>
                      <a:pt x="43202" y="18692"/>
                    </a:lnTo>
                    <a:lnTo>
                      <a:pt x="42056" y="18339"/>
                    </a:lnTo>
                    <a:lnTo>
                      <a:pt x="39676" y="23629"/>
                    </a:lnTo>
                    <a:lnTo>
                      <a:pt x="36502" y="22747"/>
                    </a:lnTo>
                    <a:lnTo>
                      <a:pt x="35356" y="21866"/>
                    </a:lnTo>
                    <a:lnTo>
                      <a:pt x="34474" y="18339"/>
                    </a:lnTo>
                    <a:lnTo>
                      <a:pt x="33592" y="18339"/>
                    </a:lnTo>
                    <a:lnTo>
                      <a:pt x="32711" y="18956"/>
                    </a:lnTo>
                    <a:lnTo>
                      <a:pt x="32446" y="22130"/>
                    </a:lnTo>
                    <a:lnTo>
                      <a:pt x="31829" y="23012"/>
                    </a:lnTo>
                    <a:lnTo>
                      <a:pt x="28566" y="24511"/>
                    </a:lnTo>
                    <a:lnTo>
                      <a:pt x="27773" y="25657"/>
                    </a:lnTo>
                    <a:lnTo>
                      <a:pt x="28037" y="29713"/>
                    </a:lnTo>
                    <a:lnTo>
                      <a:pt x="24864" y="31476"/>
                    </a:lnTo>
                    <a:lnTo>
                      <a:pt x="23894" y="36149"/>
                    </a:lnTo>
                    <a:lnTo>
                      <a:pt x="22748" y="36414"/>
                    </a:lnTo>
                    <a:lnTo>
                      <a:pt x="22483" y="37560"/>
                    </a:lnTo>
                    <a:lnTo>
                      <a:pt x="24511" y="40205"/>
                    </a:lnTo>
                    <a:lnTo>
                      <a:pt x="24511" y="41351"/>
                    </a:lnTo>
                    <a:lnTo>
                      <a:pt x="23894" y="44349"/>
                    </a:lnTo>
                    <a:lnTo>
                      <a:pt x="22483" y="44878"/>
                    </a:lnTo>
                    <a:lnTo>
                      <a:pt x="20190" y="41968"/>
                    </a:lnTo>
                    <a:lnTo>
                      <a:pt x="18956" y="42850"/>
                    </a:lnTo>
                    <a:lnTo>
                      <a:pt x="19838" y="44613"/>
                    </a:lnTo>
                    <a:lnTo>
                      <a:pt x="21072" y="45759"/>
                    </a:lnTo>
                    <a:lnTo>
                      <a:pt x="22483" y="45495"/>
                    </a:lnTo>
                    <a:lnTo>
                      <a:pt x="22748" y="45759"/>
                    </a:lnTo>
                    <a:lnTo>
                      <a:pt x="21954" y="51578"/>
                    </a:lnTo>
                    <a:lnTo>
                      <a:pt x="24246" y="62688"/>
                    </a:lnTo>
                    <a:lnTo>
                      <a:pt x="23894" y="64187"/>
                    </a:lnTo>
                    <a:lnTo>
                      <a:pt x="21337" y="58015"/>
                    </a:lnTo>
                    <a:lnTo>
                      <a:pt x="19573" y="59778"/>
                    </a:lnTo>
                    <a:lnTo>
                      <a:pt x="20190" y="60924"/>
                    </a:lnTo>
                    <a:lnTo>
                      <a:pt x="16928" y="63834"/>
                    </a:lnTo>
                    <a:lnTo>
                      <a:pt x="16047" y="65862"/>
                    </a:lnTo>
                    <a:lnTo>
                      <a:pt x="12256" y="73180"/>
                    </a:lnTo>
                    <a:lnTo>
                      <a:pt x="11991" y="77588"/>
                    </a:lnTo>
                    <a:lnTo>
                      <a:pt x="11991" y="84289"/>
                    </a:lnTo>
                    <a:lnTo>
                      <a:pt x="13489" y="87727"/>
                    </a:lnTo>
                    <a:lnTo>
                      <a:pt x="12608" y="90990"/>
                    </a:lnTo>
                    <a:lnTo>
                      <a:pt x="11727" y="90725"/>
                    </a:lnTo>
                    <a:lnTo>
                      <a:pt x="10227" y="91607"/>
                    </a:lnTo>
                    <a:lnTo>
                      <a:pt x="8200" y="9654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3" name="Freihandform: Form 1962">
                <a:extLst>
                  <a:ext uri="{FF2B5EF4-FFF2-40B4-BE49-F238E27FC236}">
                    <a16:creationId xmlns:a16="http://schemas.microsoft.com/office/drawing/2014/main" id="{5D8B8D99-51B6-35B5-E685-B4924D87F198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4" name="Freihandform: Form 1963">
                <a:extLst>
                  <a:ext uri="{FF2B5EF4-FFF2-40B4-BE49-F238E27FC236}">
                    <a16:creationId xmlns:a16="http://schemas.microsoft.com/office/drawing/2014/main" id="{056D37B3-FF7C-CFD8-E993-DA646F39BB67}"/>
                  </a:ext>
                </a:extLst>
              </p:cNvPr>
              <p:cNvSpPr/>
              <p:nvPr/>
            </p:nvSpPr>
            <p:spPr>
              <a:xfrm>
                <a:off x="6262765" y="3962418"/>
                <a:ext cx="430349" cy="164169"/>
              </a:xfrm>
              <a:custGeom>
                <a:avLst/>
                <a:gdLst>
                  <a:gd name="connsiteX0" fmla="*/ 4320 w 430349"/>
                  <a:gd name="connsiteY0" fmla="*/ 57221 h 164169"/>
                  <a:gd name="connsiteX1" fmla="*/ 3439 w 430349"/>
                  <a:gd name="connsiteY1" fmla="*/ 55458 h 164169"/>
                  <a:gd name="connsiteX2" fmla="*/ 2821 w 430349"/>
                  <a:gd name="connsiteY2" fmla="*/ 54312 h 164169"/>
                  <a:gd name="connsiteX3" fmla="*/ 2468 w 430349"/>
                  <a:gd name="connsiteY3" fmla="*/ 52813 h 164169"/>
                  <a:gd name="connsiteX4" fmla="*/ 4232 w 430349"/>
                  <a:gd name="connsiteY4" fmla="*/ 51667 h 164169"/>
                  <a:gd name="connsiteX5" fmla="*/ 6877 w 430349"/>
                  <a:gd name="connsiteY5" fmla="*/ 51667 h 164169"/>
                  <a:gd name="connsiteX6" fmla="*/ 9787 w 430349"/>
                  <a:gd name="connsiteY6" fmla="*/ 53430 h 164169"/>
                  <a:gd name="connsiteX7" fmla="*/ 11285 w 430349"/>
                  <a:gd name="connsiteY7" fmla="*/ 55193 h 164169"/>
                  <a:gd name="connsiteX8" fmla="*/ 10756 w 430349"/>
                  <a:gd name="connsiteY8" fmla="*/ 58103 h 164169"/>
                  <a:gd name="connsiteX9" fmla="*/ 11638 w 430349"/>
                  <a:gd name="connsiteY9" fmla="*/ 59249 h 164169"/>
                  <a:gd name="connsiteX10" fmla="*/ 10492 w 430349"/>
                  <a:gd name="connsiteY10" fmla="*/ 60395 h 164169"/>
                  <a:gd name="connsiteX11" fmla="*/ 8200 w 430349"/>
                  <a:gd name="connsiteY11" fmla="*/ 60131 h 164169"/>
                  <a:gd name="connsiteX12" fmla="*/ 4320 w 430349"/>
                  <a:gd name="connsiteY12" fmla="*/ 57221 h 164169"/>
                  <a:gd name="connsiteX13" fmla="*/ 387853 w 430349"/>
                  <a:gd name="connsiteY13" fmla="*/ 12256 h 164169"/>
                  <a:gd name="connsiteX14" fmla="*/ 386971 w 430349"/>
                  <a:gd name="connsiteY14" fmla="*/ 11109 h 164169"/>
                  <a:gd name="connsiteX15" fmla="*/ 387853 w 430349"/>
                  <a:gd name="connsiteY15" fmla="*/ 8200 h 164169"/>
                  <a:gd name="connsiteX16" fmla="*/ 390762 w 430349"/>
                  <a:gd name="connsiteY16" fmla="*/ 6701 h 164169"/>
                  <a:gd name="connsiteX17" fmla="*/ 392261 w 430349"/>
                  <a:gd name="connsiteY17" fmla="*/ 7230 h 164169"/>
                  <a:gd name="connsiteX18" fmla="*/ 391909 w 430349"/>
                  <a:gd name="connsiteY18" fmla="*/ 9610 h 164169"/>
                  <a:gd name="connsiteX19" fmla="*/ 390762 w 430349"/>
                  <a:gd name="connsiteY19" fmla="*/ 11109 h 164169"/>
                  <a:gd name="connsiteX20" fmla="*/ 387853 w 430349"/>
                  <a:gd name="connsiteY20" fmla="*/ 12256 h 164169"/>
                  <a:gd name="connsiteX21" fmla="*/ 529 w 430349"/>
                  <a:gd name="connsiteY21" fmla="*/ 30065 h 164169"/>
                  <a:gd name="connsiteX22" fmla="*/ 264 w 430349"/>
                  <a:gd name="connsiteY22" fmla="*/ 29536 h 164169"/>
                  <a:gd name="connsiteX23" fmla="*/ 0 w 430349"/>
                  <a:gd name="connsiteY23" fmla="*/ 28919 h 164169"/>
                  <a:gd name="connsiteX24" fmla="*/ 0 w 430349"/>
                  <a:gd name="connsiteY24" fmla="*/ 28302 h 164169"/>
                  <a:gd name="connsiteX25" fmla="*/ 617 w 430349"/>
                  <a:gd name="connsiteY25" fmla="*/ 27773 h 164169"/>
                  <a:gd name="connsiteX26" fmla="*/ 1499 w 430349"/>
                  <a:gd name="connsiteY26" fmla="*/ 27773 h 164169"/>
                  <a:gd name="connsiteX27" fmla="*/ 2645 w 430349"/>
                  <a:gd name="connsiteY27" fmla="*/ 28655 h 164169"/>
                  <a:gd name="connsiteX28" fmla="*/ 2998 w 430349"/>
                  <a:gd name="connsiteY28" fmla="*/ 29536 h 164169"/>
                  <a:gd name="connsiteX29" fmla="*/ 2645 w 430349"/>
                  <a:gd name="connsiteY29" fmla="*/ 30418 h 164169"/>
                  <a:gd name="connsiteX30" fmla="*/ 3262 w 430349"/>
                  <a:gd name="connsiteY30" fmla="*/ 31035 h 164169"/>
                  <a:gd name="connsiteX31" fmla="*/ 2645 w 430349"/>
                  <a:gd name="connsiteY31" fmla="*/ 31564 h 164169"/>
                  <a:gd name="connsiteX32" fmla="*/ 2116 w 430349"/>
                  <a:gd name="connsiteY32" fmla="*/ 31564 h 164169"/>
                  <a:gd name="connsiteX33" fmla="*/ 529 w 430349"/>
                  <a:gd name="connsiteY33" fmla="*/ 30065 h 164169"/>
                  <a:gd name="connsiteX34" fmla="*/ 5202 w 430349"/>
                  <a:gd name="connsiteY34" fmla="*/ 28037 h 164169"/>
                  <a:gd name="connsiteX35" fmla="*/ 6348 w 430349"/>
                  <a:gd name="connsiteY35" fmla="*/ 26010 h 164169"/>
                  <a:gd name="connsiteX36" fmla="*/ 6348 w 430349"/>
                  <a:gd name="connsiteY36" fmla="*/ 25128 h 164169"/>
                  <a:gd name="connsiteX37" fmla="*/ 6348 w 430349"/>
                  <a:gd name="connsiteY37" fmla="*/ 23629 h 164169"/>
                  <a:gd name="connsiteX38" fmla="*/ 6348 w 430349"/>
                  <a:gd name="connsiteY38" fmla="*/ 20984 h 164169"/>
                  <a:gd name="connsiteX39" fmla="*/ 6965 w 430349"/>
                  <a:gd name="connsiteY39" fmla="*/ 20102 h 164169"/>
                  <a:gd name="connsiteX40" fmla="*/ 8729 w 430349"/>
                  <a:gd name="connsiteY40" fmla="*/ 20984 h 164169"/>
                  <a:gd name="connsiteX41" fmla="*/ 9875 w 430349"/>
                  <a:gd name="connsiteY41" fmla="*/ 24158 h 164169"/>
                  <a:gd name="connsiteX42" fmla="*/ 17722 w 430349"/>
                  <a:gd name="connsiteY42" fmla="*/ 26539 h 164169"/>
                  <a:gd name="connsiteX43" fmla="*/ 19485 w 430349"/>
                  <a:gd name="connsiteY43" fmla="*/ 25657 h 164169"/>
                  <a:gd name="connsiteX44" fmla="*/ 21866 w 430349"/>
                  <a:gd name="connsiteY44" fmla="*/ 29184 h 164169"/>
                  <a:gd name="connsiteX45" fmla="*/ 21866 w 430349"/>
                  <a:gd name="connsiteY45" fmla="*/ 31212 h 164169"/>
                  <a:gd name="connsiteX46" fmla="*/ 23894 w 430349"/>
                  <a:gd name="connsiteY46" fmla="*/ 31829 h 164169"/>
                  <a:gd name="connsiteX47" fmla="*/ 24246 w 430349"/>
                  <a:gd name="connsiteY47" fmla="*/ 30683 h 164169"/>
                  <a:gd name="connsiteX48" fmla="*/ 27420 w 430349"/>
                  <a:gd name="connsiteY48" fmla="*/ 31300 h 164169"/>
                  <a:gd name="connsiteX49" fmla="*/ 27420 w 430349"/>
                  <a:gd name="connsiteY49" fmla="*/ 33592 h 164169"/>
                  <a:gd name="connsiteX50" fmla="*/ 26539 w 430349"/>
                  <a:gd name="connsiteY50" fmla="*/ 34474 h 164169"/>
                  <a:gd name="connsiteX51" fmla="*/ 27685 w 430349"/>
                  <a:gd name="connsiteY51" fmla="*/ 35620 h 164169"/>
                  <a:gd name="connsiteX52" fmla="*/ 27068 w 430349"/>
                  <a:gd name="connsiteY52" fmla="*/ 37383 h 164169"/>
                  <a:gd name="connsiteX53" fmla="*/ 25922 w 430349"/>
                  <a:gd name="connsiteY53" fmla="*/ 40293 h 164169"/>
                  <a:gd name="connsiteX54" fmla="*/ 25040 w 430349"/>
                  <a:gd name="connsiteY54" fmla="*/ 43555 h 164169"/>
                  <a:gd name="connsiteX55" fmla="*/ 25569 w 430349"/>
                  <a:gd name="connsiteY55" fmla="*/ 44701 h 164169"/>
                  <a:gd name="connsiteX56" fmla="*/ 26451 w 430349"/>
                  <a:gd name="connsiteY56" fmla="*/ 44701 h 164169"/>
                  <a:gd name="connsiteX57" fmla="*/ 29095 w 430349"/>
                  <a:gd name="connsiteY57" fmla="*/ 47346 h 164169"/>
                  <a:gd name="connsiteX58" fmla="*/ 29977 w 430349"/>
                  <a:gd name="connsiteY58" fmla="*/ 46200 h 164169"/>
                  <a:gd name="connsiteX59" fmla="*/ 30594 w 430349"/>
                  <a:gd name="connsiteY59" fmla="*/ 45583 h 164169"/>
                  <a:gd name="connsiteX60" fmla="*/ 31211 w 430349"/>
                  <a:gd name="connsiteY60" fmla="*/ 43820 h 164169"/>
                  <a:gd name="connsiteX61" fmla="*/ 31211 w 430349"/>
                  <a:gd name="connsiteY61" fmla="*/ 43291 h 164169"/>
                  <a:gd name="connsiteX62" fmla="*/ 32975 w 430349"/>
                  <a:gd name="connsiteY62" fmla="*/ 43026 h 164169"/>
                  <a:gd name="connsiteX63" fmla="*/ 35267 w 430349"/>
                  <a:gd name="connsiteY63" fmla="*/ 42762 h 164169"/>
                  <a:gd name="connsiteX64" fmla="*/ 36149 w 430349"/>
                  <a:gd name="connsiteY64" fmla="*/ 42762 h 164169"/>
                  <a:gd name="connsiteX65" fmla="*/ 37560 w 430349"/>
                  <a:gd name="connsiteY65" fmla="*/ 40381 h 164169"/>
                  <a:gd name="connsiteX66" fmla="*/ 38706 w 430349"/>
                  <a:gd name="connsiteY66" fmla="*/ 41527 h 164169"/>
                  <a:gd name="connsiteX67" fmla="*/ 39588 w 430349"/>
                  <a:gd name="connsiteY67" fmla="*/ 42144 h 164169"/>
                  <a:gd name="connsiteX68" fmla="*/ 40470 w 430349"/>
                  <a:gd name="connsiteY68" fmla="*/ 43026 h 164169"/>
                  <a:gd name="connsiteX69" fmla="*/ 40734 w 430349"/>
                  <a:gd name="connsiteY69" fmla="*/ 43291 h 164169"/>
                  <a:gd name="connsiteX70" fmla="*/ 41615 w 430349"/>
                  <a:gd name="connsiteY70" fmla="*/ 43555 h 164169"/>
                  <a:gd name="connsiteX71" fmla="*/ 42761 w 430349"/>
                  <a:gd name="connsiteY71" fmla="*/ 43820 h 164169"/>
                  <a:gd name="connsiteX72" fmla="*/ 43908 w 430349"/>
                  <a:gd name="connsiteY72" fmla="*/ 43820 h 164169"/>
                  <a:gd name="connsiteX73" fmla="*/ 44437 w 430349"/>
                  <a:gd name="connsiteY73" fmla="*/ 43555 h 164169"/>
                  <a:gd name="connsiteX74" fmla="*/ 45054 w 430349"/>
                  <a:gd name="connsiteY74" fmla="*/ 43291 h 164169"/>
                  <a:gd name="connsiteX75" fmla="*/ 46200 w 430349"/>
                  <a:gd name="connsiteY75" fmla="*/ 42409 h 164169"/>
                  <a:gd name="connsiteX76" fmla="*/ 46553 w 430349"/>
                  <a:gd name="connsiteY76" fmla="*/ 39235 h 164169"/>
                  <a:gd name="connsiteX77" fmla="*/ 48316 w 430349"/>
                  <a:gd name="connsiteY77" fmla="*/ 35708 h 164169"/>
                  <a:gd name="connsiteX78" fmla="*/ 53254 w 430349"/>
                  <a:gd name="connsiteY78" fmla="*/ 33063 h 164169"/>
                  <a:gd name="connsiteX79" fmla="*/ 54400 w 430349"/>
                  <a:gd name="connsiteY79" fmla="*/ 32799 h 164169"/>
                  <a:gd name="connsiteX80" fmla="*/ 55546 w 430349"/>
                  <a:gd name="connsiteY80" fmla="*/ 34209 h 164169"/>
                  <a:gd name="connsiteX81" fmla="*/ 56692 w 430349"/>
                  <a:gd name="connsiteY81" fmla="*/ 34562 h 164169"/>
                  <a:gd name="connsiteX82" fmla="*/ 57838 w 430349"/>
                  <a:gd name="connsiteY82" fmla="*/ 35179 h 164169"/>
                  <a:gd name="connsiteX83" fmla="*/ 57838 w 430349"/>
                  <a:gd name="connsiteY83" fmla="*/ 36678 h 164169"/>
                  <a:gd name="connsiteX84" fmla="*/ 57486 w 430349"/>
                  <a:gd name="connsiteY84" fmla="*/ 37824 h 164169"/>
                  <a:gd name="connsiteX85" fmla="*/ 57838 w 430349"/>
                  <a:gd name="connsiteY85" fmla="*/ 39852 h 164169"/>
                  <a:gd name="connsiteX86" fmla="*/ 59602 w 430349"/>
                  <a:gd name="connsiteY86" fmla="*/ 40998 h 164169"/>
                  <a:gd name="connsiteX87" fmla="*/ 61365 w 430349"/>
                  <a:gd name="connsiteY87" fmla="*/ 42144 h 164169"/>
                  <a:gd name="connsiteX88" fmla="*/ 61982 w 430349"/>
                  <a:gd name="connsiteY88" fmla="*/ 43643 h 164169"/>
                  <a:gd name="connsiteX89" fmla="*/ 63481 w 430349"/>
                  <a:gd name="connsiteY89" fmla="*/ 44172 h 164169"/>
                  <a:gd name="connsiteX90" fmla="*/ 64363 w 430349"/>
                  <a:gd name="connsiteY90" fmla="*/ 44789 h 164169"/>
                  <a:gd name="connsiteX91" fmla="*/ 64980 w 430349"/>
                  <a:gd name="connsiteY91" fmla="*/ 46288 h 164169"/>
                  <a:gd name="connsiteX92" fmla="*/ 66744 w 430349"/>
                  <a:gd name="connsiteY92" fmla="*/ 48316 h 164169"/>
                  <a:gd name="connsiteX93" fmla="*/ 69036 w 430349"/>
                  <a:gd name="connsiteY93" fmla="*/ 49463 h 164169"/>
                  <a:gd name="connsiteX94" fmla="*/ 71064 w 430349"/>
                  <a:gd name="connsiteY94" fmla="*/ 50344 h 164169"/>
                  <a:gd name="connsiteX95" fmla="*/ 71064 w 430349"/>
                  <a:gd name="connsiteY95" fmla="*/ 51843 h 164169"/>
                  <a:gd name="connsiteX96" fmla="*/ 72562 w 430349"/>
                  <a:gd name="connsiteY96" fmla="*/ 53342 h 164169"/>
                  <a:gd name="connsiteX97" fmla="*/ 74062 w 430349"/>
                  <a:gd name="connsiteY97" fmla="*/ 54841 h 164169"/>
                  <a:gd name="connsiteX98" fmla="*/ 74943 w 430349"/>
                  <a:gd name="connsiteY98" fmla="*/ 55458 h 164169"/>
                  <a:gd name="connsiteX99" fmla="*/ 74943 w 430349"/>
                  <a:gd name="connsiteY99" fmla="*/ 57221 h 164169"/>
                  <a:gd name="connsiteX100" fmla="*/ 76178 w 430349"/>
                  <a:gd name="connsiteY100" fmla="*/ 58985 h 164169"/>
                  <a:gd name="connsiteX101" fmla="*/ 76707 w 430349"/>
                  <a:gd name="connsiteY101" fmla="*/ 60395 h 164169"/>
                  <a:gd name="connsiteX102" fmla="*/ 77588 w 430349"/>
                  <a:gd name="connsiteY102" fmla="*/ 61542 h 164169"/>
                  <a:gd name="connsiteX103" fmla="*/ 79087 w 430349"/>
                  <a:gd name="connsiteY103" fmla="*/ 62159 h 164169"/>
                  <a:gd name="connsiteX104" fmla="*/ 79087 w 430349"/>
                  <a:gd name="connsiteY104" fmla="*/ 63922 h 164169"/>
                  <a:gd name="connsiteX105" fmla="*/ 79352 w 430349"/>
                  <a:gd name="connsiteY105" fmla="*/ 65421 h 164169"/>
                  <a:gd name="connsiteX106" fmla="*/ 80850 w 430349"/>
                  <a:gd name="connsiteY106" fmla="*/ 67449 h 164169"/>
                  <a:gd name="connsiteX107" fmla="*/ 81467 w 430349"/>
                  <a:gd name="connsiteY107" fmla="*/ 69477 h 164169"/>
                  <a:gd name="connsiteX108" fmla="*/ 82350 w 430349"/>
                  <a:gd name="connsiteY108" fmla="*/ 71857 h 164169"/>
                  <a:gd name="connsiteX109" fmla="*/ 81467 w 430349"/>
                  <a:gd name="connsiteY109" fmla="*/ 72739 h 164169"/>
                  <a:gd name="connsiteX110" fmla="*/ 81732 w 430349"/>
                  <a:gd name="connsiteY110" fmla="*/ 73885 h 164169"/>
                  <a:gd name="connsiteX111" fmla="*/ 81467 w 430349"/>
                  <a:gd name="connsiteY111" fmla="*/ 75913 h 164169"/>
                  <a:gd name="connsiteX112" fmla="*/ 81203 w 430349"/>
                  <a:gd name="connsiteY112" fmla="*/ 78823 h 164169"/>
                  <a:gd name="connsiteX113" fmla="*/ 82350 w 430349"/>
                  <a:gd name="connsiteY113" fmla="*/ 80322 h 164169"/>
                  <a:gd name="connsiteX114" fmla="*/ 82614 w 430349"/>
                  <a:gd name="connsiteY114" fmla="*/ 82966 h 164169"/>
                  <a:gd name="connsiteX115" fmla="*/ 81732 w 430349"/>
                  <a:gd name="connsiteY115" fmla="*/ 83584 h 164169"/>
                  <a:gd name="connsiteX116" fmla="*/ 81996 w 430349"/>
                  <a:gd name="connsiteY116" fmla="*/ 86493 h 164169"/>
                  <a:gd name="connsiteX117" fmla="*/ 81115 w 430349"/>
                  <a:gd name="connsiteY117" fmla="*/ 88521 h 164169"/>
                  <a:gd name="connsiteX118" fmla="*/ 80498 w 430349"/>
                  <a:gd name="connsiteY118" fmla="*/ 90284 h 164169"/>
                  <a:gd name="connsiteX119" fmla="*/ 80233 w 430349"/>
                  <a:gd name="connsiteY119" fmla="*/ 91783 h 164169"/>
                  <a:gd name="connsiteX120" fmla="*/ 80233 w 430349"/>
                  <a:gd name="connsiteY120" fmla="*/ 92930 h 164169"/>
                  <a:gd name="connsiteX121" fmla="*/ 80762 w 430349"/>
                  <a:gd name="connsiteY121" fmla="*/ 95574 h 164169"/>
                  <a:gd name="connsiteX122" fmla="*/ 80233 w 430349"/>
                  <a:gd name="connsiteY122" fmla="*/ 96456 h 164169"/>
                  <a:gd name="connsiteX123" fmla="*/ 81115 w 430349"/>
                  <a:gd name="connsiteY123" fmla="*/ 97955 h 164169"/>
                  <a:gd name="connsiteX124" fmla="*/ 81732 w 430349"/>
                  <a:gd name="connsiteY124" fmla="*/ 99101 h 164169"/>
                  <a:gd name="connsiteX125" fmla="*/ 83143 w 430349"/>
                  <a:gd name="connsiteY125" fmla="*/ 99718 h 164169"/>
                  <a:gd name="connsiteX126" fmla="*/ 84024 w 430349"/>
                  <a:gd name="connsiteY126" fmla="*/ 101129 h 164169"/>
                  <a:gd name="connsiteX127" fmla="*/ 83407 w 430349"/>
                  <a:gd name="connsiteY127" fmla="*/ 102893 h 164169"/>
                  <a:gd name="connsiteX128" fmla="*/ 83672 w 430349"/>
                  <a:gd name="connsiteY128" fmla="*/ 104039 h 164169"/>
                  <a:gd name="connsiteX129" fmla="*/ 83672 w 430349"/>
                  <a:gd name="connsiteY129" fmla="*/ 106419 h 164169"/>
                  <a:gd name="connsiteX130" fmla="*/ 83672 w 430349"/>
                  <a:gd name="connsiteY130" fmla="*/ 107918 h 164169"/>
                  <a:gd name="connsiteX131" fmla="*/ 83143 w 430349"/>
                  <a:gd name="connsiteY131" fmla="*/ 109681 h 164169"/>
                  <a:gd name="connsiteX132" fmla="*/ 83672 w 430349"/>
                  <a:gd name="connsiteY132" fmla="*/ 110563 h 164169"/>
                  <a:gd name="connsiteX133" fmla="*/ 83143 w 430349"/>
                  <a:gd name="connsiteY133" fmla="*/ 111709 h 164169"/>
                  <a:gd name="connsiteX134" fmla="*/ 83672 w 430349"/>
                  <a:gd name="connsiteY134" fmla="*/ 112591 h 164169"/>
                  <a:gd name="connsiteX135" fmla="*/ 83407 w 430349"/>
                  <a:gd name="connsiteY135" fmla="*/ 113208 h 164169"/>
                  <a:gd name="connsiteX136" fmla="*/ 83407 w 430349"/>
                  <a:gd name="connsiteY136" fmla="*/ 114354 h 164169"/>
                  <a:gd name="connsiteX137" fmla="*/ 81644 w 430349"/>
                  <a:gd name="connsiteY137" fmla="*/ 114972 h 164169"/>
                  <a:gd name="connsiteX138" fmla="*/ 83054 w 430349"/>
                  <a:gd name="connsiteY138" fmla="*/ 115236 h 164169"/>
                  <a:gd name="connsiteX139" fmla="*/ 83583 w 430349"/>
                  <a:gd name="connsiteY139" fmla="*/ 116735 h 164169"/>
                  <a:gd name="connsiteX140" fmla="*/ 84465 w 430349"/>
                  <a:gd name="connsiteY140" fmla="*/ 117352 h 164169"/>
                  <a:gd name="connsiteX141" fmla="*/ 85347 w 430349"/>
                  <a:gd name="connsiteY141" fmla="*/ 117969 h 164169"/>
                  <a:gd name="connsiteX142" fmla="*/ 85083 w 430349"/>
                  <a:gd name="connsiteY142" fmla="*/ 119116 h 164169"/>
                  <a:gd name="connsiteX143" fmla="*/ 86581 w 430349"/>
                  <a:gd name="connsiteY143" fmla="*/ 119116 h 164169"/>
                  <a:gd name="connsiteX144" fmla="*/ 87463 w 430349"/>
                  <a:gd name="connsiteY144" fmla="*/ 120614 h 164169"/>
                  <a:gd name="connsiteX145" fmla="*/ 88609 w 430349"/>
                  <a:gd name="connsiteY145" fmla="*/ 120879 h 164169"/>
                  <a:gd name="connsiteX146" fmla="*/ 89491 w 430349"/>
                  <a:gd name="connsiteY146" fmla="*/ 121496 h 164169"/>
                  <a:gd name="connsiteX147" fmla="*/ 90637 w 430349"/>
                  <a:gd name="connsiteY147" fmla="*/ 122378 h 164169"/>
                  <a:gd name="connsiteX148" fmla="*/ 90637 w 430349"/>
                  <a:gd name="connsiteY148" fmla="*/ 123788 h 164169"/>
                  <a:gd name="connsiteX149" fmla="*/ 91519 w 430349"/>
                  <a:gd name="connsiteY149" fmla="*/ 124670 h 164169"/>
                  <a:gd name="connsiteX150" fmla="*/ 92665 w 430349"/>
                  <a:gd name="connsiteY150" fmla="*/ 125816 h 164169"/>
                  <a:gd name="connsiteX151" fmla="*/ 92136 w 430349"/>
                  <a:gd name="connsiteY151" fmla="*/ 127227 h 164169"/>
                  <a:gd name="connsiteX152" fmla="*/ 93018 w 430349"/>
                  <a:gd name="connsiteY152" fmla="*/ 128373 h 164169"/>
                  <a:gd name="connsiteX153" fmla="*/ 94164 w 430349"/>
                  <a:gd name="connsiteY153" fmla="*/ 129872 h 164169"/>
                  <a:gd name="connsiteX154" fmla="*/ 95662 w 430349"/>
                  <a:gd name="connsiteY154" fmla="*/ 131018 h 164169"/>
                  <a:gd name="connsiteX155" fmla="*/ 95045 w 430349"/>
                  <a:gd name="connsiteY155" fmla="*/ 132429 h 164169"/>
                  <a:gd name="connsiteX156" fmla="*/ 95927 w 430349"/>
                  <a:gd name="connsiteY156" fmla="*/ 134810 h 164169"/>
                  <a:gd name="connsiteX157" fmla="*/ 97338 w 430349"/>
                  <a:gd name="connsiteY157" fmla="*/ 135074 h 164169"/>
                  <a:gd name="connsiteX158" fmla="*/ 97073 w 430349"/>
                  <a:gd name="connsiteY158" fmla="*/ 135956 h 164169"/>
                  <a:gd name="connsiteX159" fmla="*/ 97691 w 430349"/>
                  <a:gd name="connsiteY159" fmla="*/ 137719 h 164169"/>
                  <a:gd name="connsiteX160" fmla="*/ 96544 w 430349"/>
                  <a:gd name="connsiteY160" fmla="*/ 139130 h 164169"/>
                  <a:gd name="connsiteX161" fmla="*/ 97162 w 430349"/>
                  <a:gd name="connsiteY161" fmla="*/ 139130 h 164169"/>
                  <a:gd name="connsiteX162" fmla="*/ 98043 w 430349"/>
                  <a:gd name="connsiteY162" fmla="*/ 140629 h 164169"/>
                  <a:gd name="connsiteX163" fmla="*/ 99454 w 430349"/>
                  <a:gd name="connsiteY163" fmla="*/ 140893 h 164169"/>
                  <a:gd name="connsiteX164" fmla="*/ 100336 w 430349"/>
                  <a:gd name="connsiteY164" fmla="*/ 143185 h 164169"/>
                  <a:gd name="connsiteX165" fmla="*/ 100336 w 430349"/>
                  <a:gd name="connsiteY165" fmla="*/ 144684 h 164169"/>
                  <a:gd name="connsiteX166" fmla="*/ 100600 w 430349"/>
                  <a:gd name="connsiteY166" fmla="*/ 146183 h 164169"/>
                  <a:gd name="connsiteX167" fmla="*/ 101482 w 430349"/>
                  <a:gd name="connsiteY167" fmla="*/ 147329 h 164169"/>
                  <a:gd name="connsiteX168" fmla="*/ 100953 w 430349"/>
                  <a:gd name="connsiteY168" fmla="*/ 148740 h 164169"/>
                  <a:gd name="connsiteX169" fmla="*/ 100688 w 430349"/>
                  <a:gd name="connsiteY169" fmla="*/ 149622 h 164169"/>
                  <a:gd name="connsiteX170" fmla="*/ 101570 w 430349"/>
                  <a:gd name="connsiteY170" fmla="*/ 151032 h 164169"/>
                  <a:gd name="connsiteX171" fmla="*/ 100688 w 430349"/>
                  <a:gd name="connsiteY171" fmla="*/ 151914 h 164169"/>
                  <a:gd name="connsiteX172" fmla="*/ 99807 w 430349"/>
                  <a:gd name="connsiteY172" fmla="*/ 151650 h 164169"/>
                  <a:gd name="connsiteX173" fmla="*/ 98043 w 430349"/>
                  <a:gd name="connsiteY173" fmla="*/ 151297 h 164169"/>
                  <a:gd name="connsiteX174" fmla="*/ 96015 w 430349"/>
                  <a:gd name="connsiteY174" fmla="*/ 150415 h 164169"/>
                  <a:gd name="connsiteX175" fmla="*/ 94869 w 430349"/>
                  <a:gd name="connsiteY175" fmla="*/ 148123 h 164169"/>
                  <a:gd name="connsiteX176" fmla="*/ 96633 w 430349"/>
                  <a:gd name="connsiteY176" fmla="*/ 146977 h 164169"/>
                  <a:gd name="connsiteX177" fmla="*/ 96633 w 430349"/>
                  <a:gd name="connsiteY177" fmla="*/ 146095 h 164169"/>
                  <a:gd name="connsiteX178" fmla="*/ 94869 w 430349"/>
                  <a:gd name="connsiteY178" fmla="*/ 147241 h 164169"/>
                  <a:gd name="connsiteX179" fmla="*/ 93106 w 430349"/>
                  <a:gd name="connsiteY179" fmla="*/ 144067 h 164169"/>
                  <a:gd name="connsiteX180" fmla="*/ 92489 w 430349"/>
                  <a:gd name="connsiteY180" fmla="*/ 144067 h 164169"/>
                  <a:gd name="connsiteX181" fmla="*/ 93987 w 430349"/>
                  <a:gd name="connsiteY181" fmla="*/ 146360 h 164169"/>
                  <a:gd name="connsiteX182" fmla="*/ 93987 w 430349"/>
                  <a:gd name="connsiteY182" fmla="*/ 148652 h 164169"/>
                  <a:gd name="connsiteX183" fmla="*/ 93106 w 430349"/>
                  <a:gd name="connsiteY183" fmla="*/ 149269 h 164169"/>
                  <a:gd name="connsiteX184" fmla="*/ 91607 w 430349"/>
                  <a:gd name="connsiteY184" fmla="*/ 148387 h 164169"/>
                  <a:gd name="connsiteX185" fmla="*/ 89315 w 430349"/>
                  <a:gd name="connsiteY185" fmla="*/ 148123 h 164169"/>
                  <a:gd name="connsiteX186" fmla="*/ 88168 w 430349"/>
                  <a:gd name="connsiteY186" fmla="*/ 148387 h 164169"/>
                  <a:gd name="connsiteX187" fmla="*/ 87551 w 430349"/>
                  <a:gd name="connsiteY187" fmla="*/ 149534 h 164169"/>
                  <a:gd name="connsiteX188" fmla="*/ 86141 w 430349"/>
                  <a:gd name="connsiteY188" fmla="*/ 150151 h 164169"/>
                  <a:gd name="connsiteX189" fmla="*/ 85876 w 430349"/>
                  <a:gd name="connsiteY189" fmla="*/ 151032 h 164169"/>
                  <a:gd name="connsiteX190" fmla="*/ 84994 w 430349"/>
                  <a:gd name="connsiteY190" fmla="*/ 153060 h 164169"/>
                  <a:gd name="connsiteX191" fmla="*/ 83231 w 430349"/>
                  <a:gd name="connsiteY191" fmla="*/ 153325 h 164169"/>
                  <a:gd name="connsiteX192" fmla="*/ 82085 w 430349"/>
                  <a:gd name="connsiteY192" fmla="*/ 151826 h 164169"/>
                  <a:gd name="connsiteX193" fmla="*/ 80939 w 430349"/>
                  <a:gd name="connsiteY193" fmla="*/ 150944 h 164169"/>
                  <a:gd name="connsiteX194" fmla="*/ 80674 w 430349"/>
                  <a:gd name="connsiteY194" fmla="*/ 149534 h 164169"/>
                  <a:gd name="connsiteX195" fmla="*/ 79528 w 430349"/>
                  <a:gd name="connsiteY195" fmla="*/ 148917 h 164169"/>
                  <a:gd name="connsiteX196" fmla="*/ 78382 w 430349"/>
                  <a:gd name="connsiteY196" fmla="*/ 148917 h 164169"/>
                  <a:gd name="connsiteX197" fmla="*/ 77765 w 430349"/>
                  <a:gd name="connsiteY197" fmla="*/ 148035 h 164169"/>
                  <a:gd name="connsiteX198" fmla="*/ 75737 w 430349"/>
                  <a:gd name="connsiteY198" fmla="*/ 147153 h 164169"/>
                  <a:gd name="connsiteX199" fmla="*/ 73709 w 430349"/>
                  <a:gd name="connsiteY199" fmla="*/ 146536 h 164169"/>
                  <a:gd name="connsiteX200" fmla="*/ 73709 w 430349"/>
                  <a:gd name="connsiteY200" fmla="*/ 145654 h 164169"/>
                  <a:gd name="connsiteX201" fmla="*/ 72210 w 430349"/>
                  <a:gd name="connsiteY201" fmla="*/ 145037 h 164169"/>
                  <a:gd name="connsiteX202" fmla="*/ 71064 w 430349"/>
                  <a:gd name="connsiteY202" fmla="*/ 143891 h 164169"/>
                  <a:gd name="connsiteX203" fmla="*/ 69917 w 430349"/>
                  <a:gd name="connsiteY203" fmla="*/ 143626 h 164169"/>
                  <a:gd name="connsiteX204" fmla="*/ 69565 w 430349"/>
                  <a:gd name="connsiteY204" fmla="*/ 142480 h 164169"/>
                  <a:gd name="connsiteX205" fmla="*/ 67802 w 430349"/>
                  <a:gd name="connsiteY205" fmla="*/ 141598 h 164169"/>
                  <a:gd name="connsiteX206" fmla="*/ 66391 w 430349"/>
                  <a:gd name="connsiteY206" fmla="*/ 141598 h 164169"/>
                  <a:gd name="connsiteX207" fmla="*/ 66391 w 430349"/>
                  <a:gd name="connsiteY207" fmla="*/ 140717 h 164169"/>
                  <a:gd name="connsiteX208" fmla="*/ 65774 w 430349"/>
                  <a:gd name="connsiteY208" fmla="*/ 139306 h 164169"/>
                  <a:gd name="connsiteX209" fmla="*/ 64892 w 430349"/>
                  <a:gd name="connsiteY209" fmla="*/ 138689 h 164169"/>
                  <a:gd name="connsiteX210" fmla="*/ 63393 w 430349"/>
                  <a:gd name="connsiteY210" fmla="*/ 136661 h 164169"/>
                  <a:gd name="connsiteX211" fmla="*/ 63393 w 430349"/>
                  <a:gd name="connsiteY211" fmla="*/ 135779 h 164169"/>
                  <a:gd name="connsiteX212" fmla="*/ 60483 w 430349"/>
                  <a:gd name="connsiteY212" fmla="*/ 134633 h 164169"/>
                  <a:gd name="connsiteX213" fmla="*/ 60483 w 430349"/>
                  <a:gd name="connsiteY213" fmla="*/ 134016 h 164169"/>
                  <a:gd name="connsiteX214" fmla="*/ 58720 w 430349"/>
                  <a:gd name="connsiteY214" fmla="*/ 134016 h 164169"/>
                  <a:gd name="connsiteX215" fmla="*/ 57574 w 430349"/>
                  <a:gd name="connsiteY215" fmla="*/ 132870 h 164169"/>
                  <a:gd name="connsiteX216" fmla="*/ 56428 w 430349"/>
                  <a:gd name="connsiteY216" fmla="*/ 132605 h 164169"/>
                  <a:gd name="connsiteX217" fmla="*/ 54929 w 430349"/>
                  <a:gd name="connsiteY217" fmla="*/ 132341 h 164169"/>
                  <a:gd name="connsiteX218" fmla="*/ 53782 w 430349"/>
                  <a:gd name="connsiteY218" fmla="*/ 130577 h 164169"/>
                  <a:gd name="connsiteX219" fmla="*/ 54136 w 430349"/>
                  <a:gd name="connsiteY219" fmla="*/ 130313 h 164169"/>
                  <a:gd name="connsiteX220" fmla="*/ 52636 w 430349"/>
                  <a:gd name="connsiteY220" fmla="*/ 130313 h 164169"/>
                  <a:gd name="connsiteX221" fmla="*/ 52020 w 430349"/>
                  <a:gd name="connsiteY221" fmla="*/ 129431 h 164169"/>
                  <a:gd name="connsiteX222" fmla="*/ 50873 w 430349"/>
                  <a:gd name="connsiteY222" fmla="*/ 128285 h 164169"/>
                  <a:gd name="connsiteX223" fmla="*/ 48581 w 430349"/>
                  <a:gd name="connsiteY223" fmla="*/ 127668 h 164169"/>
                  <a:gd name="connsiteX224" fmla="*/ 46553 w 430349"/>
                  <a:gd name="connsiteY224" fmla="*/ 126169 h 164169"/>
                  <a:gd name="connsiteX225" fmla="*/ 43908 w 430349"/>
                  <a:gd name="connsiteY225" fmla="*/ 124141 h 164169"/>
                  <a:gd name="connsiteX226" fmla="*/ 42144 w 430349"/>
                  <a:gd name="connsiteY226" fmla="*/ 124141 h 164169"/>
                  <a:gd name="connsiteX227" fmla="*/ 40117 w 430349"/>
                  <a:gd name="connsiteY227" fmla="*/ 122995 h 164169"/>
                  <a:gd name="connsiteX228" fmla="*/ 40381 w 430349"/>
                  <a:gd name="connsiteY228" fmla="*/ 120350 h 164169"/>
                  <a:gd name="connsiteX229" fmla="*/ 38618 w 430349"/>
                  <a:gd name="connsiteY229" fmla="*/ 121496 h 164169"/>
                  <a:gd name="connsiteX230" fmla="*/ 38265 w 430349"/>
                  <a:gd name="connsiteY230" fmla="*/ 119997 h 164169"/>
                  <a:gd name="connsiteX231" fmla="*/ 37383 w 430349"/>
                  <a:gd name="connsiteY231" fmla="*/ 118234 h 164169"/>
                  <a:gd name="connsiteX232" fmla="*/ 36237 w 430349"/>
                  <a:gd name="connsiteY232" fmla="*/ 116206 h 164169"/>
                  <a:gd name="connsiteX233" fmla="*/ 33857 w 430349"/>
                  <a:gd name="connsiteY233" fmla="*/ 115589 h 164169"/>
                  <a:gd name="connsiteX234" fmla="*/ 33504 w 430349"/>
                  <a:gd name="connsiteY234" fmla="*/ 113825 h 164169"/>
                  <a:gd name="connsiteX235" fmla="*/ 35532 w 430349"/>
                  <a:gd name="connsiteY235" fmla="*/ 111797 h 164169"/>
                  <a:gd name="connsiteX236" fmla="*/ 35532 w 430349"/>
                  <a:gd name="connsiteY236" fmla="*/ 110651 h 164169"/>
                  <a:gd name="connsiteX237" fmla="*/ 33769 w 430349"/>
                  <a:gd name="connsiteY237" fmla="*/ 105097 h 164169"/>
                  <a:gd name="connsiteX238" fmla="*/ 32887 w 430349"/>
                  <a:gd name="connsiteY238" fmla="*/ 104215 h 164169"/>
                  <a:gd name="connsiteX239" fmla="*/ 27597 w 430349"/>
                  <a:gd name="connsiteY239" fmla="*/ 96368 h 164169"/>
                  <a:gd name="connsiteX240" fmla="*/ 22659 w 430349"/>
                  <a:gd name="connsiteY240" fmla="*/ 92577 h 164169"/>
                  <a:gd name="connsiteX241" fmla="*/ 23541 w 430349"/>
                  <a:gd name="connsiteY241" fmla="*/ 91078 h 164169"/>
                  <a:gd name="connsiteX242" fmla="*/ 21777 w 430349"/>
                  <a:gd name="connsiteY242" fmla="*/ 91343 h 164169"/>
                  <a:gd name="connsiteX243" fmla="*/ 20632 w 430349"/>
                  <a:gd name="connsiteY243" fmla="*/ 90461 h 164169"/>
                  <a:gd name="connsiteX244" fmla="*/ 20367 w 430349"/>
                  <a:gd name="connsiteY244" fmla="*/ 89315 h 164169"/>
                  <a:gd name="connsiteX245" fmla="*/ 20632 w 430349"/>
                  <a:gd name="connsiteY245" fmla="*/ 87551 h 164169"/>
                  <a:gd name="connsiteX246" fmla="*/ 22130 w 430349"/>
                  <a:gd name="connsiteY246" fmla="*/ 87816 h 164169"/>
                  <a:gd name="connsiteX247" fmla="*/ 23806 w 430349"/>
                  <a:gd name="connsiteY247" fmla="*/ 86669 h 164169"/>
                  <a:gd name="connsiteX248" fmla="*/ 21777 w 430349"/>
                  <a:gd name="connsiteY248" fmla="*/ 86934 h 164169"/>
                  <a:gd name="connsiteX249" fmla="*/ 21513 w 430349"/>
                  <a:gd name="connsiteY249" fmla="*/ 84906 h 164169"/>
                  <a:gd name="connsiteX250" fmla="*/ 18339 w 430349"/>
                  <a:gd name="connsiteY250" fmla="*/ 83495 h 164169"/>
                  <a:gd name="connsiteX251" fmla="*/ 17193 w 430349"/>
                  <a:gd name="connsiteY251" fmla="*/ 79704 h 164169"/>
                  <a:gd name="connsiteX252" fmla="*/ 18692 w 430349"/>
                  <a:gd name="connsiteY252" fmla="*/ 73885 h 164169"/>
                  <a:gd name="connsiteX253" fmla="*/ 17810 w 430349"/>
                  <a:gd name="connsiteY253" fmla="*/ 73621 h 164169"/>
                  <a:gd name="connsiteX254" fmla="*/ 17810 w 430349"/>
                  <a:gd name="connsiteY254" fmla="*/ 72474 h 164169"/>
                  <a:gd name="connsiteX255" fmla="*/ 19309 w 430349"/>
                  <a:gd name="connsiteY255" fmla="*/ 71064 h 164169"/>
                  <a:gd name="connsiteX256" fmla="*/ 17810 w 430349"/>
                  <a:gd name="connsiteY256" fmla="*/ 71328 h 164169"/>
                  <a:gd name="connsiteX257" fmla="*/ 17545 w 430349"/>
                  <a:gd name="connsiteY257" fmla="*/ 69300 h 164169"/>
                  <a:gd name="connsiteX258" fmla="*/ 18427 w 430349"/>
                  <a:gd name="connsiteY258" fmla="*/ 68683 h 164169"/>
                  <a:gd name="connsiteX259" fmla="*/ 17281 w 430349"/>
                  <a:gd name="connsiteY259" fmla="*/ 68154 h 164169"/>
                  <a:gd name="connsiteX260" fmla="*/ 16664 w 430349"/>
                  <a:gd name="connsiteY260" fmla="*/ 66655 h 164169"/>
                  <a:gd name="connsiteX261" fmla="*/ 15782 w 430349"/>
                  <a:gd name="connsiteY261" fmla="*/ 65245 h 164169"/>
                  <a:gd name="connsiteX262" fmla="*/ 14019 w 430349"/>
                  <a:gd name="connsiteY262" fmla="*/ 64980 h 164169"/>
                  <a:gd name="connsiteX263" fmla="*/ 12256 w 430349"/>
                  <a:gd name="connsiteY263" fmla="*/ 61189 h 164169"/>
                  <a:gd name="connsiteX264" fmla="*/ 13402 w 430349"/>
                  <a:gd name="connsiteY264" fmla="*/ 59425 h 164169"/>
                  <a:gd name="connsiteX265" fmla="*/ 11638 w 430349"/>
                  <a:gd name="connsiteY265" fmla="*/ 46906 h 164169"/>
                  <a:gd name="connsiteX266" fmla="*/ 12520 w 430349"/>
                  <a:gd name="connsiteY266" fmla="*/ 46553 h 164169"/>
                  <a:gd name="connsiteX267" fmla="*/ 11638 w 430349"/>
                  <a:gd name="connsiteY267" fmla="*/ 38706 h 164169"/>
                  <a:gd name="connsiteX268" fmla="*/ 8993 w 430349"/>
                  <a:gd name="connsiteY268" fmla="*/ 34033 h 164169"/>
                  <a:gd name="connsiteX269" fmla="*/ 6613 w 430349"/>
                  <a:gd name="connsiteY269" fmla="*/ 31123 h 164169"/>
                  <a:gd name="connsiteX270" fmla="*/ 5202 w 430349"/>
                  <a:gd name="connsiteY270" fmla="*/ 28037 h 164169"/>
                  <a:gd name="connsiteX271" fmla="*/ 335921 w 430349"/>
                  <a:gd name="connsiteY271" fmla="*/ 65333 h 164169"/>
                  <a:gd name="connsiteX272" fmla="*/ 335921 w 430349"/>
                  <a:gd name="connsiteY272" fmla="*/ 69388 h 164169"/>
                  <a:gd name="connsiteX273" fmla="*/ 337332 w 430349"/>
                  <a:gd name="connsiteY273" fmla="*/ 76089 h 164169"/>
                  <a:gd name="connsiteX274" fmla="*/ 342622 w 430349"/>
                  <a:gd name="connsiteY274" fmla="*/ 78117 h 164169"/>
                  <a:gd name="connsiteX275" fmla="*/ 343239 w 430349"/>
                  <a:gd name="connsiteY275" fmla="*/ 77588 h 164169"/>
                  <a:gd name="connsiteX276" fmla="*/ 341212 w 430349"/>
                  <a:gd name="connsiteY276" fmla="*/ 72651 h 164169"/>
                  <a:gd name="connsiteX277" fmla="*/ 340683 w 430349"/>
                  <a:gd name="connsiteY277" fmla="*/ 67713 h 164169"/>
                  <a:gd name="connsiteX278" fmla="*/ 338655 w 430349"/>
                  <a:gd name="connsiteY278" fmla="*/ 63305 h 164169"/>
                  <a:gd name="connsiteX279" fmla="*/ 340418 w 430349"/>
                  <a:gd name="connsiteY279" fmla="*/ 61806 h 164169"/>
                  <a:gd name="connsiteX280" fmla="*/ 342446 w 430349"/>
                  <a:gd name="connsiteY280" fmla="*/ 63569 h 164169"/>
                  <a:gd name="connsiteX281" fmla="*/ 343592 w 430349"/>
                  <a:gd name="connsiteY281" fmla="*/ 63305 h 164169"/>
                  <a:gd name="connsiteX282" fmla="*/ 344738 w 430349"/>
                  <a:gd name="connsiteY282" fmla="*/ 59249 h 164169"/>
                  <a:gd name="connsiteX283" fmla="*/ 340683 w 430349"/>
                  <a:gd name="connsiteY283" fmla="*/ 56340 h 164169"/>
                  <a:gd name="connsiteX284" fmla="*/ 340066 w 430349"/>
                  <a:gd name="connsiteY284" fmla="*/ 53166 h 164169"/>
                  <a:gd name="connsiteX285" fmla="*/ 343857 w 430349"/>
                  <a:gd name="connsiteY285" fmla="*/ 49903 h 164169"/>
                  <a:gd name="connsiteX286" fmla="*/ 347648 w 430349"/>
                  <a:gd name="connsiteY286" fmla="*/ 46465 h 164169"/>
                  <a:gd name="connsiteX287" fmla="*/ 350558 w 430349"/>
                  <a:gd name="connsiteY287" fmla="*/ 43555 h 164169"/>
                  <a:gd name="connsiteX288" fmla="*/ 350558 w 430349"/>
                  <a:gd name="connsiteY288" fmla="*/ 40293 h 164169"/>
                  <a:gd name="connsiteX289" fmla="*/ 356112 w 430349"/>
                  <a:gd name="connsiteY289" fmla="*/ 38265 h 164169"/>
                  <a:gd name="connsiteX290" fmla="*/ 355230 w 430349"/>
                  <a:gd name="connsiteY290" fmla="*/ 33857 h 164169"/>
                  <a:gd name="connsiteX291" fmla="*/ 357876 w 430349"/>
                  <a:gd name="connsiteY291" fmla="*/ 27156 h 164169"/>
                  <a:gd name="connsiteX292" fmla="*/ 362548 w 430349"/>
                  <a:gd name="connsiteY292" fmla="*/ 25128 h 164169"/>
                  <a:gd name="connsiteX293" fmla="*/ 361931 w 430349"/>
                  <a:gd name="connsiteY293" fmla="*/ 26274 h 164169"/>
                  <a:gd name="connsiteX294" fmla="*/ 365458 w 430349"/>
                  <a:gd name="connsiteY294" fmla="*/ 20984 h 164169"/>
                  <a:gd name="connsiteX295" fmla="*/ 367222 w 430349"/>
                  <a:gd name="connsiteY295" fmla="*/ 18692 h 164169"/>
                  <a:gd name="connsiteX296" fmla="*/ 371013 w 430349"/>
                  <a:gd name="connsiteY296" fmla="*/ 10492 h 164169"/>
                  <a:gd name="connsiteX297" fmla="*/ 372776 w 430349"/>
                  <a:gd name="connsiteY297" fmla="*/ 10228 h 164169"/>
                  <a:gd name="connsiteX298" fmla="*/ 374187 w 430349"/>
                  <a:gd name="connsiteY298" fmla="*/ 8464 h 164169"/>
                  <a:gd name="connsiteX299" fmla="*/ 372423 w 430349"/>
                  <a:gd name="connsiteY299" fmla="*/ 4937 h 164169"/>
                  <a:gd name="connsiteX300" fmla="*/ 375068 w 430349"/>
                  <a:gd name="connsiteY300" fmla="*/ 2645 h 164169"/>
                  <a:gd name="connsiteX301" fmla="*/ 376832 w 430349"/>
                  <a:gd name="connsiteY301" fmla="*/ 0 h 164169"/>
                  <a:gd name="connsiteX302" fmla="*/ 377978 w 430349"/>
                  <a:gd name="connsiteY302" fmla="*/ 3791 h 164169"/>
                  <a:gd name="connsiteX303" fmla="*/ 378243 w 430349"/>
                  <a:gd name="connsiteY303" fmla="*/ 8993 h 164169"/>
                  <a:gd name="connsiteX304" fmla="*/ 377096 w 430349"/>
                  <a:gd name="connsiteY304" fmla="*/ 11286 h 164169"/>
                  <a:gd name="connsiteX305" fmla="*/ 378595 w 430349"/>
                  <a:gd name="connsiteY305" fmla="*/ 17722 h 164169"/>
                  <a:gd name="connsiteX306" fmla="*/ 381240 w 430349"/>
                  <a:gd name="connsiteY306" fmla="*/ 15694 h 164169"/>
                  <a:gd name="connsiteX307" fmla="*/ 383885 w 430349"/>
                  <a:gd name="connsiteY307" fmla="*/ 16311 h 164169"/>
                  <a:gd name="connsiteX308" fmla="*/ 386177 w 430349"/>
                  <a:gd name="connsiteY308" fmla="*/ 21249 h 164169"/>
                  <a:gd name="connsiteX309" fmla="*/ 388558 w 430349"/>
                  <a:gd name="connsiteY309" fmla="*/ 24158 h 164169"/>
                  <a:gd name="connsiteX310" fmla="*/ 391468 w 430349"/>
                  <a:gd name="connsiteY310" fmla="*/ 26803 h 164169"/>
                  <a:gd name="connsiteX311" fmla="*/ 390939 w 430349"/>
                  <a:gd name="connsiteY311" fmla="*/ 32887 h 164169"/>
                  <a:gd name="connsiteX312" fmla="*/ 388911 w 430349"/>
                  <a:gd name="connsiteY312" fmla="*/ 34386 h 164169"/>
                  <a:gd name="connsiteX313" fmla="*/ 389793 w 430349"/>
                  <a:gd name="connsiteY313" fmla="*/ 34650 h 164169"/>
                  <a:gd name="connsiteX314" fmla="*/ 388293 w 430349"/>
                  <a:gd name="connsiteY314" fmla="*/ 36414 h 164169"/>
                  <a:gd name="connsiteX315" fmla="*/ 390057 w 430349"/>
                  <a:gd name="connsiteY315" fmla="*/ 39323 h 164169"/>
                  <a:gd name="connsiteX316" fmla="*/ 399403 w 430349"/>
                  <a:gd name="connsiteY316" fmla="*/ 37295 h 164169"/>
                  <a:gd name="connsiteX317" fmla="*/ 400285 w 430349"/>
                  <a:gd name="connsiteY317" fmla="*/ 36149 h 164169"/>
                  <a:gd name="connsiteX318" fmla="*/ 402312 w 430349"/>
                  <a:gd name="connsiteY318" fmla="*/ 34738 h 164169"/>
                  <a:gd name="connsiteX319" fmla="*/ 404605 w 430349"/>
                  <a:gd name="connsiteY319" fmla="*/ 39411 h 164169"/>
                  <a:gd name="connsiteX320" fmla="*/ 403723 w 430349"/>
                  <a:gd name="connsiteY320" fmla="*/ 40910 h 164169"/>
                  <a:gd name="connsiteX321" fmla="*/ 400196 w 430349"/>
                  <a:gd name="connsiteY321" fmla="*/ 40646 h 164169"/>
                  <a:gd name="connsiteX322" fmla="*/ 399932 w 430349"/>
                  <a:gd name="connsiteY322" fmla="*/ 41263 h 164169"/>
                  <a:gd name="connsiteX323" fmla="*/ 401166 w 430349"/>
                  <a:gd name="connsiteY323" fmla="*/ 44172 h 164169"/>
                  <a:gd name="connsiteX324" fmla="*/ 405222 w 430349"/>
                  <a:gd name="connsiteY324" fmla="*/ 43643 h 164169"/>
                  <a:gd name="connsiteX325" fmla="*/ 405839 w 430349"/>
                  <a:gd name="connsiteY325" fmla="*/ 40998 h 164169"/>
                  <a:gd name="connsiteX326" fmla="*/ 410159 w 430349"/>
                  <a:gd name="connsiteY326" fmla="*/ 40998 h 164169"/>
                  <a:gd name="connsiteX327" fmla="*/ 412804 w 430349"/>
                  <a:gd name="connsiteY327" fmla="*/ 42409 h 164169"/>
                  <a:gd name="connsiteX328" fmla="*/ 415185 w 430349"/>
                  <a:gd name="connsiteY328" fmla="*/ 44789 h 164169"/>
                  <a:gd name="connsiteX329" fmla="*/ 414568 w 430349"/>
                  <a:gd name="connsiteY329" fmla="*/ 45054 h 164169"/>
                  <a:gd name="connsiteX330" fmla="*/ 414568 w 430349"/>
                  <a:gd name="connsiteY330" fmla="*/ 47964 h 164169"/>
                  <a:gd name="connsiteX331" fmla="*/ 415449 w 430349"/>
                  <a:gd name="connsiteY331" fmla="*/ 45583 h 164169"/>
                  <a:gd name="connsiteX332" fmla="*/ 415978 w 430349"/>
                  <a:gd name="connsiteY332" fmla="*/ 44966 h 164169"/>
                  <a:gd name="connsiteX333" fmla="*/ 420387 w 430349"/>
                  <a:gd name="connsiteY333" fmla="*/ 48493 h 164169"/>
                  <a:gd name="connsiteX334" fmla="*/ 422679 w 430349"/>
                  <a:gd name="connsiteY334" fmla="*/ 50256 h 164169"/>
                  <a:gd name="connsiteX335" fmla="*/ 422414 w 430349"/>
                  <a:gd name="connsiteY335" fmla="*/ 51402 h 164169"/>
                  <a:gd name="connsiteX336" fmla="*/ 423296 w 430349"/>
                  <a:gd name="connsiteY336" fmla="*/ 51402 h 164169"/>
                  <a:gd name="connsiteX337" fmla="*/ 423561 w 430349"/>
                  <a:gd name="connsiteY337" fmla="*/ 50256 h 164169"/>
                  <a:gd name="connsiteX338" fmla="*/ 424443 w 430349"/>
                  <a:gd name="connsiteY338" fmla="*/ 50609 h 164169"/>
                  <a:gd name="connsiteX339" fmla="*/ 427088 w 430349"/>
                  <a:gd name="connsiteY339" fmla="*/ 50256 h 164169"/>
                  <a:gd name="connsiteX340" fmla="*/ 428586 w 430349"/>
                  <a:gd name="connsiteY340" fmla="*/ 50256 h 164169"/>
                  <a:gd name="connsiteX341" fmla="*/ 430350 w 430349"/>
                  <a:gd name="connsiteY341" fmla="*/ 52284 h 164169"/>
                  <a:gd name="connsiteX342" fmla="*/ 430085 w 430349"/>
                  <a:gd name="connsiteY342" fmla="*/ 55810 h 164169"/>
                  <a:gd name="connsiteX343" fmla="*/ 428322 w 430349"/>
                  <a:gd name="connsiteY343" fmla="*/ 57838 h 164169"/>
                  <a:gd name="connsiteX344" fmla="*/ 423649 w 430349"/>
                  <a:gd name="connsiteY344" fmla="*/ 59866 h 164169"/>
                  <a:gd name="connsiteX345" fmla="*/ 412893 w 430349"/>
                  <a:gd name="connsiteY345" fmla="*/ 62776 h 164169"/>
                  <a:gd name="connsiteX346" fmla="*/ 412011 w 430349"/>
                  <a:gd name="connsiteY346" fmla="*/ 61013 h 164169"/>
                  <a:gd name="connsiteX347" fmla="*/ 410600 w 430349"/>
                  <a:gd name="connsiteY347" fmla="*/ 60131 h 164169"/>
                  <a:gd name="connsiteX348" fmla="*/ 406544 w 430349"/>
                  <a:gd name="connsiteY348" fmla="*/ 61894 h 164169"/>
                  <a:gd name="connsiteX349" fmla="*/ 405134 w 430349"/>
                  <a:gd name="connsiteY349" fmla="*/ 64804 h 164169"/>
                  <a:gd name="connsiteX350" fmla="*/ 406280 w 430349"/>
                  <a:gd name="connsiteY350" fmla="*/ 65686 h 164169"/>
                  <a:gd name="connsiteX351" fmla="*/ 411217 w 430349"/>
                  <a:gd name="connsiteY351" fmla="*/ 70975 h 164169"/>
                  <a:gd name="connsiteX352" fmla="*/ 411746 w 430349"/>
                  <a:gd name="connsiteY352" fmla="*/ 70711 h 164169"/>
                  <a:gd name="connsiteX353" fmla="*/ 412893 w 430349"/>
                  <a:gd name="connsiteY353" fmla="*/ 71240 h 164169"/>
                  <a:gd name="connsiteX354" fmla="*/ 412275 w 430349"/>
                  <a:gd name="connsiteY354" fmla="*/ 72386 h 164169"/>
                  <a:gd name="connsiteX355" fmla="*/ 413157 w 430349"/>
                  <a:gd name="connsiteY355" fmla="*/ 73268 h 164169"/>
                  <a:gd name="connsiteX356" fmla="*/ 415185 w 430349"/>
                  <a:gd name="connsiteY356" fmla="*/ 72651 h 164169"/>
                  <a:gd name="connsiteX357" fmla="*/ 416067 w 430349"/>
                  <a:gd name="connsiteY357" fmla="*/ 74943 h 164169"/>
                  <a:gd name="connsiteX358" fmla="*/ 414656 w 430349"/>
                  <a:gd name="connsiteY358" fmla="*/ 76354 h 164169"/>
                  <a:gd name="connsiteX359" fmla="*/ 412364 w 430349"/>
                  <a:gd name="connsiteY359" fmla="*/ 76971 h 164169"/>
                  <a:gd name="connsiteX360" fmla="*/ 401607 w 430349"/>
                  <a:gd name="connsiteY360" fmla="*/ 79881 h 164169"/>
                  <a:gd name="connsiteX361" fmla="*/ 394289 w 430349"/>
                  <a:gd name="connsiteY361" fmla="*/ 75208 h 164169"/>
                  <a:gd name="connsiteX362" fmla="*/ 393143 w 430349"/>
                  <a:gd name="connsiteY362" fmla="*/ 76354 h 164169"/>
                  <a:gd name="connsiteX363" fmla="*/ 394289 w 430349"/>
                  <a:gd name="connsiteY363" fmla="*/ 78999 h 164169"/>
                  <a:gd name="connsiteX364" fmla="*/ 392878 w 430349"/>
                  <a:gd name="connsiteY364" fmla="*/ 81291 h 164169"/>
                  <a:gd name="connsiteX365" fmla="*/ 389704 w 430349"/>
                  <a:gd name="connsiteY365" fmla="*/ 81027 h 164169"/>
                  <a:gd name="connsiteX366" fmla="*/ 385031 w 430349"/>
                  <a:gd name="connsiteY366" fmla="*/ 76618 h 164169"/>
                  <a:gd name="connsiteX367" fmla="*/ 376214 w 430349"/>
                  <a:gd name="connsiteY367" fmla="*/ 77500 h 164169"/>
                  <a:gd name="connsiteX368" fmla="*/ 374187 w 430349"/>
                  <a:gd name="connsiteY368" fmla="*/ 76354 h 164169"/>
                  <a:gd name="connsiteX369" fmla="*/ 373305 w 430349"/>
                  <a:gd name="connsiteY369" fmla="*/ 77500 h 164169"/>
                  <a:gd name="connsiteX370" fmla="*/ 372159 w 430349"/>
                  <a:gd name="connsiteY370" fmla="*/ 77500 h 164169"/>
                  <a:gd name="connsiteX371" fmla="*/ 370395 w 430349"/>
                  <a:gd name="connsiteY371" fmla="*/ 76089 h 164169"/>
                  <a:gd name="connsiteX372" fmla="*/ 369249 w 430349"/>
                  <a:gd name="connsiteY372" fmla="*/ 76707 h 164169"/>
                  <a:gd name="connsiteX373" fmla="*/ 369602 w 430349"/>
                  <a:gd name="connsiteY373" fmla="*/ 77853 h 164169"/>
                  <a:gd name="connsiteX374" fmla="*/ 367838 w 430349"/>
                  <a:gd name="connsiteY374" fmla="*/ 78470 h 164169"/>
                  <a:gd name="connsiteX375" fmla="*/ 365546 w 430349"/>
                  <a:gd name="connsiteY375" fmla="*/ 76442 h 164169"/>
                  <a:gd name="connsiteX376" fmla="*/ 361490 w 430349"/>
                  <a:gd name="connsiteY376" fmla="*/ 76442 h 164169"/>
                  <a:gd name="connsiteX377" fmla="*/ 359198 w 430349"/>
                  <a:gd name="connsiteY377" fmla="*/ 78823 h 164169"/>
                  <a:gd name="connsiteX378" fmla="*/ 355407 w 430349"/>
                  <a:gd name="connsiteY378" fmla="*/ 76795 h 164169"/>
                  <a:gd name="connsiteX379" fmla="*/ 354789 w 430349"/>
                  <a:gd name="connsiteY379" fmla="*/ 77412 h 164169"/>
                  <a:gd name="connsiteX380" fmla="*/ 354789 w 430349"/>
                  <a:gd name="connsiteY380" fmla="*/ 78911 h 164169"/>
                  <a:gd name="connsiteX381" fmla="*/ 352497 w 430349"/>
                  <a:gd name="connsiteY381" fmla="*/ 80057 h 164169"/>
                  <a:gd name="connsiteX382" fmla="*/ 348442 w 430349"/>
                  <a:gd name="connsiteY382" fmla="*/ 88257 h 164169"/>
                  <a:gd name="connsiteX383" fmla="*/ 349588 w 430349"/>
                  <a:gd name="connsiteY383" fmla="*/ 89755 h 164169"/>
                  <a:gd name="connsiteX384" fmla="*/ 348442 w 430349"/>
                  <a:gd name="connsiteY384" fmla="*/ 95574 h 164169"/>
                  <a:gd name="connsiteX385" fmla="*/ 349588 w 430349"/>
                  <a:gd name="connsiteY385" fmla="*/ 100247 h 164169"/>
                  <a:gd name="connsiteX386" fmla="*/ 348442 w 430349"/>
                  <a:gd name="connsiteY386" fmla="*/ 100512 h 164169"/>
                  <a:gd name="connsiteX387" fmla="*/ 346678 w 430349"/>
                  <a:gd name="connsiteY387" fmla="*/ 110122 h 164169"/>
                  <a:gd name="connsiteX388" fmla="*/ 342887 w 430349"/>
                  <a:gd name="connsiteY388" fmla="*/ 111004 h 164169"/>
                  <a:gd name="connsiteX389" fmla="*/ 341741 w 430349"/>
                  <a:gd name="connsiteY389" fmla="*/ 109505 h 164169"/>
                  <a:gd name="connsiteX390" fmla="*/ 339448 w 430349"/>
                  <a:gd name="connsiteY390" fmla="*/ 112679 h 164169"/>
                  <a:gd name="connsiteX391" fmla="*/ 338831 w 430349"/>
                  <a:gd name="connsiteY391" fmla="*/ 113561 h 164169"/>
                  <a:gd name="connsiteX392" fmla="*/ 338831 w 430349"/>
                  <a:gd name="connsiteY392" fmla="*/ 116470 h 164169"/>
                  <a:gd name="connsiteX393" fmla="*/ 337685 w 430349"/>
                  <a:gd name="connsiteY393" fmla="*/ 120262 h 164169"/>
                  <a:gd name="connsiteX394" fmla="*/ 337950 w 430349"/>
                  <a:gd name="connsiteY394" fmla="*/ 120879 h 164169"/>
                  <a:gd name="connsiteX395" fmla="*/ 339096 w 430349"/>
                  <a:gd name="connsiteY395" fmla="*/ 120614 h 164169"/>
                  <a:gd name="connsiteX396" fmla="*/ 341123 w 430349"/>
                  <a:gd name="connsiteY396" fmla="*/ 122642 h 164169"/>
                  <a:gd name="connsiteX397" fmla="*/ 340506 w 430349"/>
                  <a:gd name="connsiteY397" fmla="*/ 123524 h 164169"/>
                  <a:gd name="connsiteX398" fmla="*/ 339096 w 430349"/>
                  <a:gd name="connsiteY398" fmla="*/ 123788 h 164169"/>
                  <a:gd name="connsiteX399" fmla="*/ 337597 w 430349"/>
                  <a:gd name="connsiteY399" fmla="*/ 125287 h 164169"/>
                  <a:gd name="connsiteX400" fmla="*/ 334687 w 430349"/>
                  <a:gd name="connsiteY400" fmla="*/ 126698 h 164169"/>
                  <a:gd name="connsiteX401" fmla="*/ 334687 w 430349"/>
                  <a:gd name="connsiteY401" fmla="*/ 128461 h 164169"/>
                  <a:gd name="connsiteX402" fmla="*/ 331425 w 430349"/>
                  <a:gd name="connsiteY402" fmla="*/ 129343 h 164169"/>
                  <a:gd name="connsiteX403" fmla="*/ 330896 w 430349"/>
                  <a:gd name="connsiteY403" fmla="*/ 131988 h 164169"/>
                  <a:gd name="connsiteX404" fmla="*/ 331425 w 430349"/>
                  <a:gd name="connsiteY404" fmla="*/ 134898 h 164169"/>
                  <a:gd name="connsiteX405" fmla="*/ 332924 w 430349"/>
                  <a:gd name="connsiteY405" fmla="*/ 134633 h 164169"/>
                  <a:gd name="connsiteX406" fmla="*/ 332659 w 430349"/>
                  <a:gd name="connsiteY406" fmla="*/ 138160 h 164169"/>
                  <a:gd name="connsiteX407" fmla="*/ 329133 w 430349"/>
                  <a:gd name="connsiteY407" fmla="*/ 139923 h 164169"/>
                  <a:gd name="connsiteX408" fmla="*/ 329397 w 430349"/>
                  <a:gd name="connsiteY408" fmla="*/ 141422 h 164169"/>
                  <a:gd name="connsiteX409" fmla="*/ 328251 w 430349"/>
                  <a:gd name="connsiteY409" fmla="*/ 144861 h 164169"/>
                  <a:gd name="connsiteX410" fmla="*/ 326752 w 430349"/>
                  <a:gd name="connsiteY410" fmla="*/ 149269 h 164169"/>
                  <a:gd name="connsiteX411" fmla="*/ 325606 w 430349"/>
                  <a:gd name="connsiteY411" fmla="*/ 149886 h 164169"/>
                  <a:gd name="connsiteX412" fmla="*/ 322079 w 430349"/>
                  <a:gd name="connsiteY412" fmla="*/ 147858 h 164169"/>
                  <a:gd name="connsiteX413" fmla="*/ 318023 w 430349"/>
                  <a:gd name="connsiteY413" fmla="*/ 150151 h 164169"/>
                  <a:gd name="connsiteX414" fmla="*/ 316525 w 430349"/>
                  <a:gd name="connsiteY414" fmla="*/ 149005 h 164169"/>
                  <a:gd name="connsiteX415" fmla="*/ 311852 w 430349"/>
                  <a:gd name="connsiteY415" fmla="*/ 149622 h 164169"/>
                  <a:gd name="connsiteX416" fmla="*/ 308589 w 430349"/>
                  <a:gd name="connsiteY416" fmla="*/ 153060 h 164169"/>
                  <a:gd name="connsiteX417" fmla="*/ 305680 w 430349"/>
                  <a:gd name="connsiteY417" fmla="*/ 154824 h 164169"/>
                  <a:gd name="connsiteX418" fmla="*/ 303652 w 430349"/>
                  <a:gd name="connsiteY418" fmla="*/ 152796 h 164169"/>
                  <a:gd name="connsiteX419" fmla="*/ 301007 w 430349"/>
                  <a:gd name="connsiteY419" fmla="*/ 153413 h 164169"/>
                  <a:gd name="connsiteX420" fmla="*/ 293424 w 430349"/>
                  <a:gd name="connsiteY420" fmla="*/ 149622 h 164169"/>
                  <a:gd name="connsiteX421" fmla="*/ 290779 w 430349"/>
                  <a:gd name="connsiteY421" fmla="*/ 150151 h 164169"/>
                  <a:gd name="connsiteX422" fmla="*/ 292278 w 430349"/>
                  <a:gd name="connsiteY422" fmla="*/ 148123 h 164169"/>
                  <a:gd name="connsiteX423" fmla="*/ 292278 w 430349"/>
                  <a:gd name="connsiteY423" fmla="*/ 146977 h 164169"/>
                  <a:gd name="connsiteX424" fmla="*/ 280023 w 430349"/>
                  <a:gd name="connsiteY424" fmla="*/ 146360 h 164169"/>
                  <a:gd name="connsiteX425" fmla="*/ 276232 w 430349"/>
                  <a:gd name="connsiteY425" fmla="*/ 148123 h 164169"/>
                  <a:gd name="connsiteX426" fmla="*/ 273322 w 430349"/>
                  <a:gd name="connsiteY426" fmla="*/ 150151 h 164169"/>
                  <a:gd name="connsiteX427" fmla="*/ 272176 w 430349"/>
                  <a:gd name="connsiteY427" fmla="*/ 156852 h 164169"/>
                  <a:gd name="connsiteX428" fmla="*/ 268120 w 430349"/>
                  <a:gd name="connsiteY428" fmla="*/ 157469 h 164169"/>
                  <a:gd name="connsiteX429" fmla="*/ 266092 w 430349"/>
                  <a:gd name="connsiteY429" fmla="*/ 160114 h 164169"/>
                  <a:gd name="connsiteX430" fmla="*/ 264946 w 430349"/>
                  <a:gd name="connsiteY430" fmla="*/ 160731 h 164169"/>
                  <a:gd name="connsiteX431" fmla="*/ 261419 w 430349"/>
                  <a:gd name="connsiteY431" fmla="*/ 159849 h 164169"/>
                  <a:gd name="connsiteX432" fmla="*/ 259039 w 430349"/>
                  <a:gd name="connsiteY432" fmla="*/ 161613 h 164169"/>
                  <a:gd name="connsiteX433" fmla="*/ 258157 w 430349"/>
                  <a:gd name="connsiteY433" fmla="*/ 160114 h 164169"/>
                  <a:gd name="connsiteX434" fmla="*/ 255865 w 430349"/>
                  <a:gd name="connsiteY434" fmla="*/ 160378 h 164169"/>
                  <a:gd name="connsiteX435" fmla="*/ 252338 w 430349"/>
                  <a:gd name="connsiteY435" fmla="*/ 158350 h 164169"/>
                  <a:gd name="connsiteX436" fmla="*/ 245020 w 430349"/>
                  <a:gd name="connsiteY436" fmla="*/ 160378 h 164169"/>
                  <a:gd name="connsiteX437" fmla="*/ 243521 w 430349"/>
                  <a:gd name="connsiteY437" fmla="*/ 161525 h 164169"/>
                  <a:gd name="connsiteX438" fmla="*/ 237966 w 430349"/>
                  <a:gd name="connsiteY438" fmla="*/ 164169 h 164169"/>
                  <a:gd name="connsiteX439" fmla="*/ 236556 w 430349"/>
                  <a:gd name="connsiteY439" fmla="*/ 163905 h 164169"/>
                  <a:gd name="connsiteX440" fmla="*/ 234528 w 430349"/>
                  <a:gd name="connsiteY440" fmla="*/ 162142 h 164169"/>
                  <a:gd name="connsiteX441" fmla="*/ 232765 w 430349"/>
                  <a:gd name="connsiteY441" fmla="*/ 160996 h 164169"/>
                  <a:gd name="connsiteX442" fmla="*/ 230119 w 430349"/>
                  <a:gd name="connsiteY442" fmla="*/ 157821 h 164169"/>
                  <a:gd name="connsiteX443" fmla="*/ 226328 w 430349"/>
                  <a:gd name="connsiteY443" fmla="*/ 155176 h 164169"/>
                  <a:gd name="connsiteX444" fmla="*/ 223419 w 430349"/>
                  <a:gd name="connsiteY444" fmla="*/ 150503 h 164169"/>
                  <a:gd name="connsiteX445" fmla="*/ 221655 w 430349"/>
                  <a:gd name="connsiteY445" fmla="*/ 150239 h 164169"/>
                  <a:gd name="connsiteX446" fmla="*/ 217599 w 430349"/>
                  <a:gd name="connsiteY446" fmla="*/ 145302 h 164169"/>
                  <a:gd name="connsiteX447" fmla="*/ 217599 w 430349"/>
                  <a:gd name="connsiteY447" fmla="*/ 141158 h 164169"/>
                  <a:gd name="connsiteX448" fmla="*/ 215836 w 430349"/>
                  <a:gd name="connsiteY448" fmla="*/ 140893 h 164169"/>
                  <a:gd name="connsiteX449" fmla="*/ 214955 w 430349"/>
                  <a:gd name="connsiteY449" fmla="*/ 139482 h 164169"/>
                  <a:gd name="connsiteX450" fmla="*/ 217335 w 430349"/>
                  <a:gd name="connsiteY450" fmla="*/ 134281 h 164169"/>
                  <a:gd name="connsiteX451" fmla="*/ 217335 w 430349"/>
                  <a:gd name="connsiteY451" fmla="*/ 137454 h 164169"/>
                  <a:gd name="connsiteX452" fmla="*/ 218217 w 430349"/>
                  <a:gd name="connsiteY452" fmla="*/ 139482 h 164169"/>
                  <a:gd name="connsiteX453" fmla="*/ 221391 w 430349"/>
                  <a:gd name="connsiteY453" fmla="*/ 141246 h 164169"/>
                  <a:gd name="connsiteX454" fmla="*/ 223419 w 430349"/>
                  <a:gd name="connsiteY454" fmla="*/ 143626 h 164169"/>
                  <a:gd name="connsiteX455" fmla="*/ 228709 w 430349"/>
                  <a:gd name="connsiteY455" fmla="*/ 143362 h 164169"/>
                  <a:gd name="connsiteX456" fmla="*/ 231265 w 430349"/>
                  <a:gd name="connsiteY456" fmla="*/ 144244 h 164169"/>
                  <a:gd name="connsiteX457" fmla="*/ 231883 w 430349"/>
                  <a:gd name="connsiteY457" fmla="*/ 140981 h 164169"/>
                  <a:gd name="connsiteX458" fmla="*/ 232500 w 430349"/>
                  <a:gd name="connsiteY458" fmla="*/ 140981 h 164169"/>
                  <a:gd name="connsiteX459" fmla="*/ 233117 w 430349"/>
                  <a:gd name="connsiteY459" fmla="*/ 143009 h 164169"/>
                  <a:gd name="connsiteX460" fmla="*/ 233999 w 430349"/>
                  <a:gd name="connsiteY460" fmla="*/ 143626 h 164169"/>
                  <a:gd name="connsiteX461" fmla="*/ 236027 w 430349"/>
                  <a:gd name="connsiteY461" fmla="*/ 142480 h 164169"/>
                  <a:gd name="connsiteX462" fmla="*/ 236291 w 430349"/>
                  <a:gd name="connsiteY462" fmla="*/ 142745 h 164169"/>
                  <a:gd name="connsiteX463" fmla="*/ 235410 w 430349"/>
                  <a:gd name="connsiteY463" fmla="*/ 145390 h 164169"/>
                  <a:gd name="connsiteX464" fmla="*/ 240964 w 430349"/>
                  <a:gd name="connsiteY464" fmla="*/ 147153 h 164169"/>
                  <a:gd name="connsiteX465" fmla="*/ 241229 w 430349"/>
                  <a:gd name="connsiteY465" fmla="*/ 147770 h 164169"/>
                  <a:gd name="connsiteX466" fmla="*/ 240082 w 430349"/>
                  <a:gd name="connsiteY466" fmla="*/ 149798 h 164169"/>
                  <a:gd name="connsiteX467" fmla="*/ 241582 w 430349"/>
                  <a:gd name="connsiteY467" fmla="*/ 149181 h 164169"/>
                  <a:gd name="connsiteX468" fmla="*/ 242463 w 430349"/>
                  <a:gd name="connsiteY468" fmla="*/ 146536 h 164169"/>
                  <a:gd name="connsiteX469" fmla="*/ 243609 w 430349"/>
                  <a:gd name="connsiteY469" fmla="*/ 146800 h 164169"/>
                  <a:gd name="connsiteX470" fmla="*/ 250045 w 430349"/>
                  <a:gd name="connsiteY470" fmla="*/ 151473 h 164169"/>
                  <a:gd name="connsiteX471" fmla="*/ 252690 w 430349"/>
                  <a:gd name="connsiteY471" fmla="*/ 151121 h 164169"/>
                  <a:gd name="connsiteX472" fmla="*/ 254190 w 430349"/>
                  <a:gd name="connsiteY472" fmla="*/ 152267 h 164169"/>
                  <a:gd name="connsiteX473" fmla="*/ 255688 w 430349"/>
                  <a:gd name="connsiteY473" fmla="*/ 152002 h 164169"/>
                  <a:gd name="connsiteX474" fmla="*/ 253043 w 430349"/>
                  <a:gd name="connsiteY474" fmla="*/ 150239 h 164169"/>
                  <a:gd name="connsiteX475" fmla="*/ 251015 w 430349"/>
                  <a:gd name="connsiteY475" fmla="*/ 150856 h 164169"/>
                  <a:gd name="connsiteX476" fmla="*/ 248370 w 430349"/>
                  <a:gd name="connsiteY476" fmla="*/ 149093 h 164169"/>
                  <a:gd name="connsiteX477" fmla="*/ 247224 w 430349"/>
                  <a:gd name="connsiteY477" fmla="*/ 146448 h 164169"/>
                  <a:gd name="connsiteX478" fmla="*/ 247841 w 430349"/>
                  <a:gd name="connsiteY478" fmla="*/ 144155 h 164169"/>
                  <a:gd name="connsiteX479" fmla="*/ 248987 w 430349"/>
                  <a:gd name="connsiteY479" fmla="*/ 143538 h 164169"/>
                  <a:gd name="connsiteX480" fmla="*/ 251015 w 430349"/>
                  <a:gd name="connsiteY480" fmla="*/ 144420 h 164169"/>
                  <a:gd name="connsiteX481" fmla="*/ 249605 w 430349"/>
                  <a:gd name="connsiteY481" fmla="*/ 142127 h 164169"/>
                  <a:gd name="connsiteX482" fmla="*/ 252514 w 430349"/>
                  <a:gd name="connsiteY482" fmla="*/ 132782 h 164169"/>
                  <a:gd name="connsiteX483" fmla="*/ 255071 w 430349"/>
                  <a:gd name="connsiteY483" fmla="*/ 132782 h 164169"/>
                  <a:gd name="connsiteX484" fmla="*/ 255424 w 430349"/>
                  <a:gd name="connsiteY484" fmla="*/ 131900 h 164169"/>
                  <a:gd name="connsiteX485" fmla="*/ 251280 w 430349"/>
                  <a:gd name="connsiteY485" fmla="*/ 132517 h 164169"/>
                  <a:gd name="connsiteX486" fmla="*/ 251015 w 430349"/>
                  <a:gd name="connsiteY486" fmla="*/ 131900 h 164169"/>
                  <a:gd name="connsiteX487" fmla="*/ 251897 w 430349"/>
                  <a:gd name="connsiteY487" fmla="*/ 130489 h 164169"/>
                  <a:gd name="connsiteX488" fmla="*/ 252514 w 430349"/>
                  <a:gd name="connsiteY488" fmla="*/ 130489 h 164169"/>
                  <a:gd name="connsiteX489" fmla="*/ 251280 w 430349"/>
                  <a:gd name="connsiteY489" fmla="*/ 129608 h 164169"/>
                  <a:gd name="connsiteX490" fmla="*/ 251897 w 430349"/>
                  <a:gd name="connsiteY490" fmla="*/ 125552 h 164169"/>
                  <a:gd name="connsiteX491" fmla="*/ 252779 w 430349"/>
                  <a:gd name="connsiteY491" fmla="*/ 125287 h 164169"/>
                  <a:gd name="connsiteX492" fmla="*/ 255424 w 430349"/>
                  <a:gd name="connsiteY492" fmla="*/ 127580 h 164169"/>
                  <a:gd name="connsiteX493" fmla="*/ 258333 w 430349"/>
                  <a:gd name="connsiteY493" fmla="*/ 126962 h 164169"/>
                  <a:gd name="connsiteX494" fmla="*/ 256306 w 430349"/>
                  <a:gd name="connsiteY494" fmla="*/ 124053 h 164169"/>
                  <a:gd name="connsiteX495" fmla="*/ 258598 w 430349"/>
                  <a:gd name="connsiteY495" fmla="*/ 123788 h 164169"/>
                  <a:gd name="connsiteX496" fmla="*/ 257099 w 430349"/>
                  <a:gd name="connsiteY496" fmla="*/ 123524 h 164169"/>
                  <a:gd name="connsiteX497" fmla="*/ 256482 w 430349"/>
                  <a:gd name="connsiteY497" fmla="*/ 122113 h 164169"/>
                  <a:gd name="connsiteX498" fmla="*/ 257099 w 430349"/>
                  <a:gd name="connsiteY498" fmla="*/ 118939 h 164169"/>
                  <a:gd name="connsiteX499" fmla="*/ 262036 w 430349"/>
                  <a:gd name="connsiteY499" fmla="*/ 114883 h 164169"/>
                  <a:gd name="connsiteX500" fmla="*/ 268208 w 430349"/>
                  <a:gd name="connsiteY500" fmla="*/ 114002 h 164169"/>
                  <a:gd name="connsiteX501" fmla="*/ 276320 w 430349"/>
                  <a:gd name="connsiteY501" fmla="*/ 111974 h 164169"/>
                  <a:gd name="connsiteX502" fmla="*/ 288575 w 430349"/>
                  <a:gd name="connsiteY502" fmla="*/ 108711 h 164169"/>
                  <a:gd name="connsiteX503" fmla="*/ 292366 w 430349"/>
                  <a:gd name="connsiteY503" fmla="*/ 106684 h 164169"/>
                  <a:gd name="connsiteX504" fmla="*/ 295276 w 430349"/>
                  <a:gd name="connsiteY504" fmla="*/ 101746 h 164169"/>
                  <a:gd name="connsiteX505" fmla="*/ 301359 w 430349"/>
                  <a:gd name="connsiteY505" fmla="*/ 92136 h 164169"/>
                  <a:gd name="connsiteX506" fmla="*/ 307531 w 430349"/>
                  <a:gd name="connsiteY506" fmla="*/ 86581 h 164169"/>
                  <a:gd name="connsiteX507" fmla="*/ 308678 w 430349"/>
                  <a:gd name="connsiteY507" fmla="*/ 81291 h 164169"/>
                  <a:gd name="connsiteX508" fmla="*/ 312733 w 430349"/>
                  <a:gd name="connsiteY508" fmla="*/ 78646 h 164169"/>
                  <a:gd name="connsiteX509" fmla="*/ 313350 w 430349"/>
                  <a:gd name="connsiteY509" fmla="*/ 74855 h 164169"/>
                  <a:gd name="connsiteX510" fmla="*/ 312733 w 430349"/>
                  <a:gd name="connsiteY510" fmla="*/ 71945 h 164169"/>
                  <a:gd name="connsiteX511" fmla="*/ 313350 w 430349"/>
                  <a:gd name="connsiteY511" fmla="*/ 71328 h 164169"/>
                  <a:gd name="connsiteX512" fmla="*/ 315731 w 430349"/>
                  <a:gd name="connsiteY512" fmla="*/ 71593 h 164169"/>
                  <a:gd name="connsiteX513" fmla="*/ 318905 w 430349"/>
                  <a:gd name="connsiteY513" fmla="*/ 73092 h 164169"/>
                  <a:gd name="connsiteX514" fmla="*/ 320933 w 430349"/>
                  <a:gd name="connsiteY514" fmla="*/ 77765 h 164169"/>
                  <a:gd name="connsiteX515" fmla="*/ 320668 w 430349"/>
                  <a:gd name="connsiteY515" fmla="*/ 79263 h 164169"/>
                  <a:gd name="connsiteX516" fmla="*/ 321815 w 430349"/>
                  <a:gd name="connsiteY516" fmla="*/ 79881 h 164169"/>
                  <a:gd name="connsiteX517" fmla="*/ 323578 w 430349"/>
                  <a:gd name="connsiteY517" fmla="*/ 79616 h 164169"/>
                  <a:gd name="connsiteX518" fmla="*/ 327104 w 430349"/>
                  <a:gd name="connsiteY518" fmla="*/ 85700 h 164169"/>
                  <a:gd name="connsiteX519" fmla="*/ 328515 w 430349"/>
                  <a:gd name="connsiteY519" fmla="*/ 85700 h 164169"/>
                  <a:gd name="connsiteX520" fmla="*/ 331160 w 430349"/>
                  <a:gd name="connsiteY520" fmla="*/ 83055 h 164169"/>
                  <a:gd name="connsiteX521" fmla="*/ 332307 w 430349"/>
                  <a:gd name="connsiteY521" fmla="*/ 79528 h 164169"/>
                  <a:gd name="connsiteX522" fmla="*/ 331425 w 430349"/>
                  <a:gd name="connsiteY522" fmla="*/ 79528 h 164169"/>
                  <a:gd name="connsiteX523" fmla="*/ 332924 w 430349"/>
                  <a:gd name="connsiteY523" fmla="*/ 77500 h 164169"/>
                  <a:gd name="connsiteX524" fmla="*/ 332924 w 430349"/>
                  <a:gd name="connsiteY524" fmla="*/ 75472 h 164169"/>
                  <a:gd name="connsiteX525" fmla="*/ 332307 w 430349"/>
                  <a:gd name="connsiteY525" fmla="*/ 75472 h 164169"/>
                  <a:gd name="connsiteX526" fmla="*/ 330808 w 430349"/>
                  <a:gd name="connsiteY526" fmla="*/ 68507 h 164169"/>
                  <a:gd name="connsiteX527" fmla="*/ 332307 w 430349"/>
                  <a:gd name="connsiteY527" fmla="*/ 66479 h 164169"/>
                  <a:gd name="connsiteX528" fmla="*/ 335216 w 430349"/>
                  <a:gd name="connsiteY528" fmla="*/ 65597 h 164169"/>
                  <a:gd name="connsiteX529" fmla="*/ 336098 w 430349"/>
                  <a:gd name="connsiteY529" fmla="*/ 64098 h 164169"/>
                  <a:gd name="connsiteX530" fmla="*/ 335921 w 430349"/>
                  <a:gd name="connsiteY530" fmla="*/ 65333 h 164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</a:cxnLst>
                <a:rect l="l" t="t" r="r" b="b"/>
                <a:pathLst>
                  <a:path w="430349" h="164169">
                    <a:moveTo>
                      <a:pt x="4320" y="57221"/>
                    </a:moveTo>
                    <a:lnTo>
                      <a:pt x="3439" y="55458"/>
                    </a:lnTo>
                    <a:lnTo>
                      <a:pt x="2821" y="54312"/>
                    </a:lnTo>
                    <a:lnTo>
                      <a:pt x="2468" y="52813"/>
                    </a:lnTo>
                    <a:lnTo>
                      <a:pt x="4232" y="51667"/>
                    </a:lnTo>
                    <a:lnTo>
                      <a:pt x="6877" y="51667"/>
                    </a:lnTo>
                    <a:lnTo>
                      <a:pt x="9787" y="53430"/>
                    </a:lnTo>
                    <a:lnTo>
                      <a:pt x="11285" y="55193"/>
                    </a:lnTo>
                    <a:lnTo>
                      <a:pt x="10756" y="58103"/>
                    </a:lnTo>
                    <a:lnTo>
                      <a:pt x="11638" y="59249"/>
                    </a:lnTo>
                    <a:lnTo>
                      <a:pt x="10492" y="60395"/>
                    </a:lnTo>
                    <a:lnTo>
                      <a:pt x="8200" y="60131"/>
                    </a:lnTo>
                    <a:lnTo>
                      <a:pt x="4320" y="57221"/>
                    </a:lnTo>
                    <a:close/>
                    <a:moveTo>
                      <a:pt x="387853" y="12256"/>
                    </a:moveTo>
                    <a:lnTo>
                      <a:pt x="386971" y="11109"/>
                    </a:lnTo>
                    <a:lnTo>
                      <a:pt x="387853" y="8200"/>
                    </a:lnTo>
                    <a:lnTo>
                      <a:pt x="390762" y="6701"/>
                    </a:lnTo>
                    <a:lnTo>
                      <a:pt x="392261" y="7230"/>
                    </a:lnTo>
                    <a:lnTo>
                      <a:pt x="391909" y="9610"/>
                    </a:lnTo>
                    <a:lnTo>
                      <a:pt x="390762" y="11109"/>
                    </a:lnTo>
                    <a:lnTo>
                      <a:pt x="387853" y="12256"/>
                    </a:lnTo>
                    <a:close/>
                    <a:moveTo>
                      <a:pt x="529" y="30065"/>
                    </a:moveTo>
                    <a:lnTo>
                      <a:pt x="264" y="29536"/>
                    </a:lnTo>
                    <a:lnTo>
                      <a:pt x="0" y="28919"/>
                    </a:lnTo>
                    <a:lnTo>
                      <a:pt x="0" y="28302"/>
                    </a:lnTo>
                    <a:lnTo>
                      <a:pt x="617" y="27773"/>
                    </a:lnTo>
                    <a:lnTo>
                      <a:pt x="1499" y="27773"/>
                    </a:lnTo>
                    <a:lnTo>
                      <a:pt x="2645" y="28655"/>
                    </a:lnTo>
                    <a:lnTo>
                      <a:pt x="2998" y="29536"/>
                    </a:lnTo>
                    <a:lnTo>
                      <a:pt x="2645" y="30418"/>
                    </a:lnTo>
                    <a:lnTo>
                      <a:pt x="3262" y="31035"/>
                    </a:lnTo>
                    <a:lnTo>
                      <a:pt x="2645" y="31564"/>
                    </a:lnTo>
                    <a:lnTo>
                      <a:pt x="2116" y="31564"/>
                    </a:lnTo>
                    <a:lnTo>
                      <a:pt x="529" y="30065"/>
                    </a:lnTo>
                    <a:close/>
                    <a:moveTo>
                      <a:pt x="5202" y="28037"/>
                    </a:moveTo>
                    <a:lnTo>
                      <a:pt x="6348" y="26010"/>
                    </a:lnTo>
                    <a:lnTo>
                      <a:pt x="6348" y="25128"/>
                    </a:lnTo>
                    <a:lnTo>
                      <a:pt x="6348" y="23629"/>
                    </a:lnTo>
                    <a:lnTo>
                      <a:pt x="6348" y="20984"/>
                    </a:lnTo>
                    <a:lnTo>
                      <a:pt x="6965" y="20102"/>
                    </a:lnTo>
                    <a:lnTo>
                      <a:pt x="8729" y="20984"/>
                    </a:lnTo>
                    <a:lnTo>
                      <a:pt x="9875" y="24158"/>
                    </a:lnTo>
                    <a:lnTo>
                      <a:pt x="17722" y="26539"/>
                    </a:lnTo>
                    <a:lnTo>
                      <a:pt x="19485" y="25657"/>
                    </a:lnTo>
                    <a:lnTo>
                      <a:pt x="21866" y="29184"/>
                    </a:lnTo>
                    <a:lnTo>
                      <a:pt x="21866" y="31212"/>
                    </a:lnTo>
                    <a:lnTo>
                      <a:pt x="23894" y="31829"/>
                    </a:lnTo>
                    <a:lnTo>
                      <a:pt x="24246" y="30683"/>
                    </a:lnTo>
                    <a:lnTo>
                      <a:pt x="27420" y="31300"/>
                    </a:lnTo>
                    <a:lnTo>
                      <a:pt x="27420" y="33592"/>
                    </a:lnTo>
                    <a:lnTo>
                      <a:pt x="26539" y="34474"/>
                    </a:lnTo>
                    <a:lnTo>
                      <a:pt x="27685" y="35620"/>
                    </a:lnTo>
                    <a:lnTo>
                      <a:pt x="27068" y="37383"/>
                    </a:lnTo>
                    <a:lnTo>
                      <a:pt x="25922" y="40293"/>
                    </a:lnTo>
                    <a:lnTo>
                      <a:pt x="25040" y="43555"/>
                    </a:lnTo>
                    <a:lnTo>
                      <a:pt x="25569" y="44701"/>
                    </a:lnTo>
                    <a:lnTo>
                      <a:pt x="26451" y="44701"/>
                    </a:lnTo>
                    <a:lnTo>
                      <a:pt x="29095" y="47346"/>
                    </a:lnTo>
                    <a:lnTo>
                      <a:pt x="29977" y="46200"/>
                    </a:lnTo>
                    <a:lnTo>
                      <a:pt x="30594" y="45583"/>
                    </a:lnTo>
                    <a:lnTo>
                      <a:pt x="31211" y="43820"/>
                    </a:lnTo>
                    <a:lnTo>
                      <a:pt x="31211" y="43291"/>
                    </a:lnTo>
                    <a:lnTo>
                      <a:pt x="32975" y="43026"/>
                    </a:lnTo>
                    <a:lnTo>
                      <a:pt x="35267" y="42762"/>
                    </a:lnTo>
                    <a:lnTo>
                      <a:pt x="36149" y="42762"/>
                    </a:lnTo>
                    <a:lnTo>
                      <a:pt x="37560" y="40381"/>
                    </a:lnTo>
                    <a:lnTo>
                      <a:pt x="38706" y="41527"/>
                    </a:lnTo>
                    <a:lnTo>
                      <a:pt x="39588" y="42144"/>
                    </a:lnTo>
                    <a:lnTo>
                      <a:pt x="40470" y="43026"/>
                    </a:lnTo>
                    <a:lnTo>
                      <a:pt x="40734" y="43291"/>
                    </a:lnTo>
                    <a:lnTo>
                      <a:pt x="41615" y="43555"/>
                    </a:lnTo>
                    <a:lnTo>
                      <a:pt x="42761" y="43820"/>
                    </a:lnTo>
                    <a:lnTo>
                      <a:pt x="43908" y="43820"/>
                    </a:lnTo>
                    <a:lnTo>
                      <a:pt x="44437" y="43555"/>
                    </a:lnTo>
                    <a:lnTo>
                      <a:pt x="45054" y="43291"/>
                    </a:lnTo>
                    <a:lnTo>
                      <a:pt x="46200" y="42409"/>
                    </a:lnTo>
                    <a:lnTo>
                      <a:pt x="46553" y="39235"/>
                    </a:lnTo>
                    <a:lnTo>
                      <a:pt x="48316" y="35708"/>
                    </a:lnTo>
                    <a:lnTo>
                      <a:pt x="53254" y="33063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4562"/>
                    </a:lnTo>
                    <a:lnTo>
                      <a:pt x="57838" y="35179"/>
                    </a:lnTo>
                    <a:lnTo>
                      <a:pt x="57838" y="36678"/>
                    </a:lnTo>
                    <a:lnTo>
                      <a:pt x="57486" y="37824"/>
                    </a:lnTo>
                    <a:lnTo>
                      <a:pt x="57838" y="39852"/>
                    </a:lnTo>
                    <a:lnTo>
                      <a:pt x="59602" y="40998"/>
                    </a:lnTo>
                    <a:lnTo>
                      <a:pt x="61365" y="42144"/>
                    </a:lnTo>
                    <a:lnTo>
                      <a:pt x="61982" y="43643"/>
                    </a:lnTo>
                    <a:lnTo>
                      <a:pt x="63481" y="44172"/>
                    </a:lnTo>
                    <a:lnTo>
                      <a:pt x="64363" y="44789"/>
                    </a:lnTo>
                    <a:lnTo>
                      <a:pt x="64980" y="46288"/>
                    </a:lnTo>
                    <a:lnTo>
                      <a:pt x="66744" y="48316"/>
                    </a:lnTo>
                    <a:lnTo>
                      <a:pt x="69036" y="49463"/>
                    </a:lnTo>
                    <a:lnTo>
                      <a:pt x="71064" y="50344"/>
                    </a:lnTo>
                    <a:lnTo>
                      <a:pt x="71064" y="51843"/>
                    </a:lnTo>
                    <a:lnTo>
                      <a:pt x="72562" y="53342"/>
                    </a:lnTo>
                    <a:lnTo>
                      <a:pt x="74062" y="54841"/>
                    </a:lnTo>
                    <a:lnTo>
                      <a:pt x="74943" y="55458"/>
                    </a:lnTo>
                    <a:lnTo>
                      <a:pt x="74943" y="57221"/>
                    </a:lnTo>
                    <a:lnTo>
                      <a:pt x="76178" y="58985"/>
                    </a:lnTo>
                    <a:lnTo>
                      <a:pt x="76707" y="60395"/>
                    </a:lnTo>
                    <a:lnTo>
                      <a:pt x="77588" y="61542"/>
                    </a:lnTo>
                    <a:lnTo>
                      <a:pt x="79087" y="62159"/>
                    </a:lnTo>
                    <a:lnTo>
                      <a:pt x="79087" y="63922"/>
                    </a:lnTo>
                    <a:lnTo>
                      <a:pt x="79352" y="65421"/>
                    </a:lnTo>
                    <a:lnTo>
                      <a:pt x="80850" y="67449"/>
                    </a:lnTo>
                    <a:lnTo>
                      <a:pt x="81467" y="69477"/>
                    </a:lnTo>
                    <a:lnTo>
                      <a:pt x="82350" y="71857"/>
                    </a:lnTo>
                    <a:lnTo>
                      <a:pt x="81467" y="72739"/>
                    </a:lnTo>
                    <a:lnTo>
                      <a:pt x="81732" y="73885"/>
                    </a:lnTo>
                    <a:lnTo>
                      <a:pt x="81467" y="75913"/>
                    </a:lnTo>
                    <a:lnTo>
                      <a:pt x="81203" y="78823"/>
                    </a:lnTo>
                    <a:lnTo>
                      <a:pt x="82350" y="80322"/>
                    </a:lnTo>
                    <a:lnTo>
                      <a:pt x="82614" y="82966"/>
                    </a:lnTo>
                    <a:lnTo>
                      <a:pt x="81732" y="83584"/>
                    </a:lnTo>
                    <a:lnTo>
                      <a:pt x="81996" y="86493"/>
                    </a:lnTo>
                    <a:lnTo>
                      <a:pt x="81115" y="88521"/>
                    </a:lnTo>
                    <a:lnTo>
                      <a:pt x="80498" y="90284"/>
                    </a:lnTo>
                    <a:lnTo>
                      <a:pt x="80233" y="91783"/>
                    </a:lnTo>
                    <a:lnTo>
                      <a:pt x="80233" y="92930"/>
                    </a:lnTo>
                    <a:lnTo>
                      <a:pt x="80762" y="95574"/>
                    </a:lnTo>
                    <a:lnTo>
                      <a:pt x="80233" y="96456"/>
                    </a:lnTo>
                    <a:lnTo>
                      <a:pt x="81115" y="97955"/>
                    </a:lnTo>
                    <a:lnTo>
                      <a:pt x="81732" y="99101"/>
                    </a:lnTo>
                    <a:lnTo>
                      <a:pt x="83143" y="99718"/>
                    </a:lnTo>
                    <a:lnTo>
                      <a:pt x="84024" y="101129"/>
                    </a:lnTo>
                    <a:lnTo>
                      <a:pt x="83407" y="102893"/>
                    </a:lnTo>
                    <a:lnTo>
                      <a:pt x="83672" y="104039"/>
                    </a:lnTo>
                    <a:lnTo>
                      <a:pt x="83672" y="106419"/>
                    </a:lnTo>
                    <a:lnTo>
                      <a:pt x="83672" y="107918"/>
                    </a:lnTo>
                    <a:lnTo>
                      <a:pt x="83143" y="109681"/>
                    </a:lnTo>
                    <a:lnTo>
                      <a:pt x="83672" y="110563"/>
                    </a:lnTo>
                    <a:lnTo>
                      <a:pt x="83143" y="111709"/>
                    </a:lnTo>
                    <a:lnTo>
                      <a:pt x="83672" y="112591"/>
                    </a:lnTo>
                    <a:lnTo>
                      <a:pt x="83407" y="113208"/>
                    </a:lnTo>
                    <a:lnTo>
                      <a:pt x="83407" y="114354"/>
                    </a:lnTo>
                    <a:lnTo>
                      <a:pt x="81644" y="114972"/>
                    </a:lnTo>
                    <a:lnTo>
                      <a:pt x="83054" y="115236"/>
                    </a:lnTo>
                    <a:lnTo>
                      <a:pt x="83583" y="116735"/>
                    </a:lnTo>
                    <a:lnTo>
                      <a:pt x="84465" y="117352"/>
                    </a:lnTo>
                    <a:lnTo>
                      <a:pt x="85347" y="117969"/>
                    </a:lnTo>
                    <a:lnTo>
                      <a:pt x="85083" y="119116"/>
                    </a:lnTo>
                    <a:lnTo>
                      <a:pt x="86581" y="119116"/>
                    </a:lnTo>
                    <a:lnTo>
                      <a:pt x="87463" y="120614"/>
                    </a:lnTo>
                    <a:lnTo>
                      <a:pt x="88609" y="120879"/>
                    </a:lnTo>
                    <a:lnTo>
                      <a:pt x="89491" y="121496"/>
                    </a:lnTo>
                    <a:lnTo>
                      <a:pt x="90637" y="122378"/>
                    </a:lnTo>
                    <a:lnTo>
                      <a:pt x="90637" y="123788"/>
                    </a:lnTo>
                    <a:lnTo>
                      <a:pt x="91519" y="124670"/>
                    </a:lnTo>
                    <a:lnTo>
                      <a:pt x="92665" y="125816"/>
                    </a:lnTo>
                    <a:lnTo>
                      <a:pt x="92136" y="127227"/>
                    </a:lnTo>
                    <a:lnTo>
                      <a:pt x="93018" y="128373"/>
                    </a:lnTo>
                    <a:lnTo>
                      <a:pt x="94164" y="129872"/>
                    </a:lnTo>
                    <a:lnTo>
                      <a:pt x="95662" y="131018"/>
                    </a:lnTo>
                    <a:lnTo>
                      <a:pt x="95045" y="132429"/>
                    </a:lnTo>
                    <a:lnTo>
                      <a:pt x="95927" y="134810"/>
                    </a:lnTo>
                    <a:lnTo>
                      <a:pt x="97338" y="135074"/>
                    </a:lnTo>
                    <a:lnTo>
                      <a:pt x="97073" y="135956"/>
                    </a:lnTo>
                    <a:lnTo>
                      <a:pt x="97691" y="137719"/>
                    </a:lnTo>
                    <a:lnTo>
                      <a:pt x="96544" y="139130"/>
                    </a:lnTo>
                    <a:lnTo>
                      <a:pt x="97162" y="139130"/>
                    </a:lnTo>
                    <a:lnTo>
                      <a:pt x="98043" y="140629"/>
                    </a:lnTo>
                    <a:lnTo>
                      <a:pt x="99454" y="140893"/>
                    </a:lnTo>
                    <a:lnTo>
                      <a:pt x="100336" y="143185"/>
                    </a:lnTo>
                    <a:lnTo>
                      <a:pt x="100336" y="144684"/>
                    </a:lnTo>
                    <a:lnTo>
                      <a:pt x="100600" y="146183"/>
                    </a:lnTo>
                    <a:lnTo>
                      <a:pt x="101482" y="147329"/>
                    </a:lnTo>
                    <a:lnTo>
                      <a:pt x="100953" y="148740"/>
                    </a:lnTo>
                    <a:lnTo>
                      <a:pt x="100688" y="149622"/>
                    </a:lnTo>
                    <a:lnTo>
                      <a:pt x="101570" y="151032"/>
                    </a:lnTo>
                    <a:lnTo>
                      <a:pt x="100688" y="151914"/>
                    </a:lnTo>
                    <a:lnTo>
                      <a:pt x="99807" y="151650"/>
                    </a:lnTo>
                    <a:lnTo>
                      <a:pt x="98043" y="151297"/>
                    </a:lnTo>
                    <a:lnTo>
                      <a:pt x="96015" y="150415"/>
                    </a:lnTo>
                    <a:lnTo>
                      <a:pt x="94869" y="148123"/>
                    </a:lnTo>
                    <a:lnTo>
                      <a:pt x="96633" y="146977"/>
                    </a:lnTo>
                    <a:lnTo>
                      <a:pt x="96633" y="146095"/>
                    </a:lnTo>
                    <a:lnTo>
                      <a:pt x="94869" y="147241"/>
                    </a:lnTo>
                    <a:lnTo>
                      <a:pt x="93106" y="144067"/>
                    </a:lnTo>
                    <a:lnTo>
                      <a:pt x="92489" y="144067"/>
                    </a:lnTo>
                    <a:lnTo>
                      <a:pt x="93987" y="146360"/>
                    </a:lnTo>
                    <a:lnTo>
                      <a:pt x="93987" y="148652"/>
                    </a:lnTo>
                    <a:lnTo>
                      <a:pt x="93106" y="149269"/>
                    </a:lnTo>
                    <a:lnTo>
                      <a:pt x="91607" y="148387"/>
                    </a:lnTo>
                    <a:lnTo>
                      <a:pt x="89315" y="148123"/>
                    </a:lnTo>
                    <a:lnTo>
                      <a:pt x="88168" y="148387"/>
                    </a:lnTo>
                    <a:lnTo>
                      <a:pt x="87551" y="149534"/>
                    </a:lnTo>
                    <a:lnTo>
                      <a:pt x="86141" y="150151"/>
                    </a:lnTo>
                    <a:lnTo>
                      <a:pt x="85876" y="151032"/>
                    </a:lnTo>
                    <a:lnTo>
                      <a:pt x="84994" y="153060"/>
                    </a:lnTo>
                    <a:lnTo>
                      <a:pt x="83231" y="153325"/>
                    </a:lnTo>
                    <a:lnTo>
                      <a:pt x="82085" y="151826"/>
                    </a:lnTo>
                    <a:lnTo>
                      <a:pt x="80939" y="150944"/>
                    </a:lnTo>
                    <a:lnTo>
                      <a:pt x="80674" y="149534"/>
                    </a:lnTo>
                    <a:lnTo>
                      <a:pt x="79528" y="148917"/>
                    </a:lnTo>
                    <a:lnTo>
                      <a:pt x="78382" y="148917"/>
                    </a:lnTo>
                    <a:lnTo>
                      <a:pt x="77765" y="148035"/>
                    </a:lnTo>
                    <a:lnTo>
                      <a:pt x="75737" y="147153"/>
                    </a:lnTo>
                    <a:lnTo>
                      <a:pt x="73709" y="146536"/>
                    </a:lnTo>
                    <a:lnTo>
                      <a:pt x="73709" y="145654"/>
                    </a:lnTo>
                    <a:lnTo>
                      <a:pt x="72210" y="145037"/>
                    </a:lnTo>
                    <a:lnTo>
                      <a:pt x="71064" y="143891"/>
                    </a:lnTo>
                    <a:lnTo>
                      <a:pt x="69917" y="143626"/>
                    </a:lnTo>
                    <a:lnTo>
                      <a:pt x="69565" y="142480"/>
                    </a:lnTo>
                    <a:lnTo>
                      <a:pt x="67802" y="141598"/>
                    </a:lnTo>
                    <a:lnTo>
                      <a:pt x="66391" y="141598"/>
                    </a:lnTo>
                    <a:lnTo>
                      <a:pt x="66391" y="140717"/>
                    </a:lnTo>
                    <a:lnTo>
                      <a:pt x="65774" y="139306"/>
                    </a:lnTo>
                    <a:lnTo>
                      <a:pt x="64892" y="138689"/>
                    </a:lnTo>
                    <a:lnTo>
                      <a:pt x="63393" y="136661"/>
                    </a:lnTo>
                    <a:lnTo>
                      <a:pt x="63393" y="135779"/>
                    </a:lnTo>
                    <a:lnTo>
                      <a:pt x="60483" y="134633"/>
                    </a:lnTo>
                    <a:lnTo>
                      <a:pt x="60483" y="134016"/>
                    </a:lnTo>
                    <a:lnTo>
                      <a:pt x="58720" y="134016"/>
                    </a:lnTo>
                    <a:lnTo>
                      <a:pt x="57574" y="132870"/>
                    </a:lnTo>
                    <a:lnTo>
                      <a:pt x="56428" y="132605"/>
                    </a:lnTo>
                    <a:lnTo>
                      <a:pt x="54929" y="132341"/>
                    </a:lnTo>
                    <a:lnTo>
                      <a:pt x="53782" y="130577"/>
                    </a:lnTo>
                    <a:lnTo>
                      <a:pt x="54136" y="130313"/>
                    </a:lnTo>
                    <a:lnTo>
                      <a:pt x="52636" y="130313"/>
                    </a:lnTo>
                    <a:lnTo>
                      <a:pt x="52020" y="129431"/>
                    </a:lnTo>
                    <a:lnTo>
                      <a:pt x="50873" y="128285"/>
                    </a:lnTo>
                    <a:lnTo>
                      <a:pt x="48581" y="127668"/>
                    </a:lnTo>
                    <a:lnTo>
                      <a:pt x="46553" y="126169"/>
                    </a:lnTo>
                    <a:lnTo>
                      <a:pt x="43908" y="124141"/>
                    </a:lnTo>
                    <a:lnTo>
                      <a:pt x="42144" y="124141"/>
                    </a:lnTo>
                    <a:lnTo>
                      <a:pt x="40117" y="122995"/>
                    </a:lnTo>
                    <a:lnTo>
                      <a:pt x="40381" y="120350"/>
                    </a:lnTo>
                    <a:lnTo>
                      <a:pt x="38618" y="121496"/>
                    </a:lnTo>
                    <a:lnTo>
                      <a:pt x="38265" y="119997"/>
                    </a:lnTo>
                    <a:lnTo>
                      <a:pt x="37383" y="118234"/>
                    </a:lnTo>
                    <a:lnTo>
                      <a:pt x="36237" y="116206"/>
                    </a:lnTo>
                    <a:lnTo>
                      <a:pt x="33857" y="115589"/>
                    </a:lnTo>
                    <a:lnTo>
                      <a:pt x="33504" y="113825"/>
                    </a:lnTo>
                    <a:lnTo>
                      <a:pt x="35532" y="111797"/>
                    </a:lnTo>
                    <a:lnTo>
                      <a:pt x="35532" y="110651"/>
                    </a:lnTo>
                    <a:lnTo>
                      <a:pt x="33769" y="105097"/>
                    </a:lnTo>
                    <a:lnTo>
                      <a:pt x="32887" y="104215"/>
                    </a:lnTo>
                    <a:lnTo>
                      <a:pt x="27597" y="96368"/>
                    </a:lnTo>
                    <a:lnTo>
                      <a:pt x="22659" y="92577"/>
                    </a:lnTo>
                    <a:lnTo>
                      <a:pt x="23541" y="91078"/>
                    </a:lnTo>
                    <a:lnTo>
                      <a:pt x="21777" y="91343"/>
                    </a:lnTo>
                    <a:lnTo>
                      <a:pt x="20632" y="90461"/>
                    </a:lnTo>
                    <a:lnTo>
                      <a:pt x="20367" y="89315"/>
                    </a:lnTo>
                    <a:lnTo>
                      <a:pt x="20632" y="87551"/>
                    </a:lnTo>
                    <a:lnTo>
                      <a:pt x="22130" y="87816"/>
                    </a:lnTo>
                    <a:lnTo>
                      <a:pt x="23806" y="86669"/>
                    </a:lnTo>
                    <a:lnTo>
                      <a:pt x="21777" y="86934"/>
                    </a:lnTo>
                    <a:lnTo>
                      <a:pt x="21513" y="84906"/>
                    </a:lnTo>
                    <a:lnTo>
                      <a:pt x="18339" y="83495"/>
                    </a:lnTo>
                    <a:lnTo>
                      <a:pt x="17193" y="79704"/>
                    </a:lnTo>
                    <a:lnTo>
                      <a:pt x="18692" y="73885"/>
                    </a:lnTo>
                    <a:lnTo>
                      <a:pt x="17810" y="73621"/>
                    </a:lnTo>
                    <a:lnTo>
                      <a:pt x="17810" y="72474"/>
                    </a:lnTo>
                    <a:lnTo>
                      <a:pt x="19309" y="71064"/>
                    </a:lnTo>
                    <a:lnTo>
                      <a:pt x="17810" y="71328"/>
                    </a:lnTo>
                    <a:lnTo>
                      <a:pt x="17545" y="69300"/>
                    </a:lnTo>
                    <a:lnTo>
                      <a:pt x="18427" y="68683"/>
                    </a:lnTo>
                    <a:lnTo>
                      <a:pt x="17281" y="68154"/>
                    </a:lnTo>
                    <a:lnTo>
                      <a:pt x="16664" y="66655"/>
                    </a:lnTo>
                    <a:lnTo>
                      <a:pt x="15782" y="65245"/>
                    </a:lnTo>
                    <a:lnTo>
                      <a:pt x="14019" y="64980"/>
                    </a:lnTo>
                    <a:lnTo>
                      <a:pt x="12256" y="61189"/>
                    </a:lnTo>
                    <a:lnTo>
                      <a:pt x="13402" y="59425"/>
                    </a:lnTo>
                    <a:lnTo>
                      <a:pt x="11638" y="46906"/>
                    </a:lnTo>
                    <a:lnTo>
                      <a:pt x="12520" y="46553"/>
                    </a:lnTo>
                    <a:lnTo>
                      <a:pt x="11638" y="38706"/>
                    </a:lnTo>
                    <a:lnTo>
                      <a:pt x="8993" y="34033"/>
                    </a:lnTo>
                    <a:lnTo>
                      <a:pt x="6613" y="31123"/>
                    </a:lnTo>
                    <a:lnTo>
                      <a:pt x="5202" y="28037"/>
                    </a:lnTo>
                    <a:close/>
                    <a:moveTo>
                      <a:pt x="335921" y="65333"/>
                    </a:moveTo>
                    <a:lnTo>
                      <a:pt x="335921" y="69388"/>
                    </a:lnTo>
                    <a:lnTo>
                      <a:pt x="337332" y="76089"/>
                    </a:lnTo>
                    <a:lnTo>
                      <a:pt x="342622" y="78117"/>
                    </a:lnTo>
                    <a:lnTo>
                      <a:pt x="343239" y="77588"/>
                    </a:lnTo>
                    <a:lnTo>
                      <a:pt x="341212" y="72651"/>
                    </a:lnTo>
                    <a:lnTo>
                      <a:pt x="340683" y="67713"/>
                    </a:lnTo>
                    <a:lnTo>
                      <a:pt x="338655" y="63305"/>
                    </a:lnTo>
                    <a:lnTo>
                      <a:pt x="340418" y="61806"/>
                    </a:lnTo>
                    <a:lnTo>
                      <a:pt x="342446" y="63569"/>
                    </a:lnTo>
                    <a:lnTo>
                      <a:pt x="343592" y="63305"/>
                    </a:lnTo>
                    <a:lnTo>
                      <a:pt x="344738" y="59249"/>
                    </a:lnTo>
                    <a:lnTo>
                      <a:pt x="340683" y="56340"/>
                    </a:lnTo>
                    <a:lnTo>
                      <a:pt x="340066" y="53166"/>
                    </a:lnTo>
                    <a:lnTo>
                      <a:pt x="343857" y="49903"/>
                    </a:lnTo>
                    <a:lnTo>
                      <a:pt x="347648" y="46465"/>
                    </a:lnTo>
                    <a:lnTo>
                      <a:pt x="350558" y="43555"/>
                    </a:lnTo>
                    <a:lnTo>
                      <a:pt x="350558" y="40293"/>
                    </a:lnTo>
                    <a:lnTo>
                      <a:pt x="356112" y="38265"/>
                    </a:lnTo>
                    <a:lnTo>
                      <a:pt x="355230" y="33857"/>
                    </a:lnTo>
                    <a:lnTo>
                      <a:pt x="357876" y="27156"/>
                    </a:lnTo>
                    <a:lnTo>
                      <a:pt x="362548" y="25128"/>
                    </a:lnTo>
                    <a:lnTo>
                      <a:pt x="361931" y="26274"/>
                    </a:lnTo>
                    <a:lnTo>
                      <a:pt x="365458" y="20984"/>
                    </a:lnTo>
                    <a:lnTo>
                      <a:pt x="367222" y="18692"/>
                    </a:lnTo>
                    <a:lnTo>
                      <a:pt x="371013" y="10492"/>
                    </a:lnTo>
                    <a:lnTo>
                      <a:pt x="372776" y="10228"/>
                    </a:lnTo>
                    <a:lnTo>
                      <a:pt x="374187" y="8464"/>
                    </a:lnTo>
                    <a:lnTo>
                      <a:pt x="372423" y="4937"/>
                    </a:lnTo>
                    <a:lnTo>
                      <a:pt x="375068" y="2645"/>
                    </a:lnTo>
                    <a:lnTo>
                      <a:pt x="376832" y="0"/>
                    </a:lnTo>
                    <a:lnTo>
                      <a:pt x="377978" y="3791"/>
                    </a:lnTo>
                    <a:lnTo>
                      <a:pt x="378243" y="8993"/>
                    </a:lnTo>
                    <a:lnTo>
                      <a:pt x="377096" y="11286"/>
                    </a:lnTo>
                    <a:lnTo>
                      <a:pt x="378595" y="17722"/>
                    </a:lnTo>
                    <a:lnTo>
                      <a:pt x="381240" y="15694"/>
                    </a:lnTo>
                    <a:lnTo>
                      <a:pt x="383885" y="16311"/>
                    </a:lnTo>
                    <a:lnTo>
                      <a:pt x="386177" y="21249"/>
                    </a:lnTo>
                    <a:lnTo>
                      <a:pt x="388558" y="24158"/>
                    </a:lnTo>
                    <a:lnTo>
                      <a:pt x="391468" y="26803"/>
                    </a:lnTo>
                    <a:lnTo>
                      <a:pt x="390939" y="32887"/>
                    </a:lnTo>
                    <a:lnTo>
                      <a:pt x="388911" y="34386"/>
                    </a:lnTo>
                    <a:lnTo>
                      <a:pt x="389793" y="34650"/>
                    </a:lnTo>
                    <a:lnTo>
                      <a:pt x="388293" y="36414"/>
                    </a:lnTo>
                    <a:lnTo>
                      <a:pt x="390057" y="39323"/>
                    </a:lnTo>
                    <a:lnTo>
                      <a:pt x="399403" y="37295"/>
                    </a:lnTo>
                    <a:lnTo>
                      <a:pt x="400285" y="36149"/>
                    </a:lnTo>
                    <a:lnTo>
                      <a:pt x="402312" y="34738"/>
                    </a:lnTo>
                    <a:lnTo>
                      <a:pt x="404605" y="39411"/>
                    </a:lnTo>
                    <a:lnTo>
                      <a:pt x="403723" y="40910"/>
                    </a:lnTo>
                    <a:lnTo>
                      <a:pt x="400196" y="40646"/>
                    </a:lnTo>
                    <a:lnTo>
                      <a:pt x="399932" y="41263"/>
                    </a:lnTo>
                    <a:lnTo>
                      <a:pt x="401166" y="44172"/>
                    </a:lnTo>
                    <a:lnTo>
                      <a:pt x="405222" y="43643"/>
                    </a:lnTo>
                    <a:lnTo>
                      <a:pt x="405839" y="40998"/>
                    </a:lnTo>
                    <a:lnTo>
                      <a:pt x="410159" y="40998"/>
                    </a:lnTo>
                    <a:lnTo>
                      <a:pt x="412804" y="42409"/>
                    </a:lnTo>
                    <a:lnTo>
                      <a:pt x="415185" y="44789"/>
                    </a:lnTo>
                    <a:lnTo>
                      <a:pt x="414568" y="45054"/>
                    </a:lnTo>
                    <a:lnTo>
                      <a:pt x="414568" y="47964"/>
                    </a:lnTo>
                    <a:lnTo>
                      <a:pt x="415449" y="45583"/>
                    </a:lnTo>
                    <a:lnTo>
                      <a:pt x="415978" y="44966"/>
                    </a:lnTo>
                    <a:lnTo>
                      <a:pt x="420387" y="48493"/>
                    </a:lnTo>
                    <a:lnTo>
                      <a:pt x="422679" y="50256"/>
                    </a:lnTo>
                    <a:lnTo>
                      <a:pt x="422414" y="51402"/>
                    </a:lnTo>
                    <a:lnTo>
                      <a:pt x="423296" y="51402"/>
                    </a:lnTo>
                    <a:lnTo>
                      <a:pt x="423561" y="50256"/>
                    </a:lnTo>
                    <a:lnTo>
                      <a:pt x="424443" y="50609"/>
                    </a:lnTo>
                    <a:lnTo>
                      <a:pt x="427088" y="50256"/>
                    </a:lnTo>
                    <a:lnTo>
                      <a:pt x="428586" y="50256"/>
                    </a:lnTo>
                    <a:lnTo>
                      <a:pt x="430350" y="52284"/>
                    </a:lnTo>
                    <a:lnTo>
                      <a:pt x="430085" y="55810"/>
                    </a:lnTo>
                    <a:lnTo>
                      <a:pt x="428322" y="57838"/>
                    </a:lnTo>
                    <a:lnTo>
                      <a:pt x="423649" y="59866"/>
                    </a:lnTo>
                    <a:lnTo>
                      <a:pt x="412893" y="62776"/>
                    </a:lnTo>
                    <a:lnTo>
                      <a:pt x="412011" y="61013"/>
                    </a:lnTo>
                    <a:lnTo>
                      <a:pt x="410600" y="60131"/>
                    </a:lnTo>
                    <a:lnTo>
                      <a:pt x="406544" y="61894"/>
                    </a:lnTo>
                    <a:lnTo>
                      <a:pt x="405134" y="64804"/>
                    </a:lnTo>
                    <a:lnTo>
                      <a:pt x="406280" y="65686"/>
                    </a:lnTo>
                    <a:lnTo>
                      <a:pt x="411217" y="70975"/>
                    </a:lnTo>
                    <a:lnTo>
                      <a:pt x="411746" y="70711"/>
                    </a:lnTo>
                    <a:lnTo>
                      <a:pt x="412893" y="71240"/>
                    </a:lnTo>
                    <a:lnTo>
                      <a:pt x="412275" y="72386"/>
                    </a:lnTo>
                    <a:lnTo>
                      <a:pt x="413157" y="73268"/>
                    </a:lnTo>
                    <a:lnTo>
                      <a:pt x="415185" y="72651"/>
                    </a:lnTo>
                    <a:lnTo>
                      <a:pt x="416067" y="74943"/>
                    </a:lnTo>
                    <a:lnTo>
                      <a:pt x="414656" y="76354"/>
                    </a:lnTo>
                    <a:lnTo>
                      <a:pt x="412364" y="76971"/>
                    </a:lnTo>
                    <a:lnTo>
                      <a:pt x="401607" y="79881"/>
                    </a:lnTo>
                    <a:lnTo>
                      <a:pt x="394289" y="75208"/>
                    </a:lnTo>
                    <a:lnTo>
                      <a:pt x="393143" y="76354"/>
                    </a:lnTo>
                    <a:lnTo>
                      <a:pt x="394289" y="78999"/>
                    </a:lnTo>
                    <a:lnTo>
                      <a:pt x="392878" y="81291"/>
                    </a:lnTo>
                    <a:lnTo>
                      <a:pt x="389704" y="81027"/>
                    </a:lnTo>
                    <a:lnTo>
                      <a:pt x="385031" y="76618"/>
                    </a:lnTo>
                    <a:lnTo>
                      <a:pt x="376214" y="77500"/>
                    </a:lnTo>
                    <a:lnTo>
                      <a:pt x="374187" y="76354"/>
                    </a:lnTo>
                    <a:lnTo>
                      <a:pt x="373305" y="77500"/>
                    </a:lnTo>
                    <a:lnTo>
                      <a:pt x="372159" y="77500"/>
                    </a:lnTo>
                    <a:lnTo>
                      <a:pt x="370395" y="76089"/>
                    </a:lnTo>
                    <a:lnTo>
                      <a:pt x="369249" y="76707"/>
                    </a:lnTo>
                    <a:lnTo>
                      <a:pt x="369602" y="77853"/>
                    </a:lnTo>
                    <a:lnTo>
                      <a:pt x="367838" y="78470"/>
                    </a:lnTo>
                    <a:lnTo>
                      <a:pt x="365546" y="76442"/>
                    </a:lnTo>
                    <a:lnTo>
                      <a:pt x="361490" y="76442"/>
                    </a:lnTo>
                    <a:lnTo>
                      <a:pt x="359198" y="78823"/>
                    </a:lnTo>
                    <a:lnTo>
                      <a:pt x="355407" y="76795"/>
                    </a:lnTo>
                    <a:lnTo>
                      <a:pt x="354789" y="77412"/>
                    </a:lnTo>
                    <a:lnTo>
                      <a:pt x="354789" y="78911"/>
                    </a:lnTo>
                    <a:lnTo>
                      <a:pt x="352497" y="80057"/>
                    </a:lnTo>
                    <a:lnTo>
                      <a:pt x="348442" y="88257"/>
                    </a:lnTo>
                    <a:lnTo>
                      <a:pt x="349588" y="89755"/>
                    </a:lnTo>
                    <a:lnTo>
                      <a:pt x="348442" y="95574"/>
                    </a:lnTo>
                    <a:lnTo>
                      <a:pt x="349588" y="100247"/>
                    </a:lnTo>
                    <a:lnTo>
                      <a:pt x="348442" y="100512"/>
                    </a:lnTo>
                    <a:lnTo>
                      <a:pt x="346678" y="110122"/>
                    </a:lnTo>
                    <a:lnTo>
                      <a:pt x="342887" y="111004"/>
                    </a:lnTo>
                    <a:lnTo>
                      <a:pt x="341741" y="109505"/>
                    </a:lnTo>
                    <a:lnTo>
                      <a:pt x="339448" y="112679"/>
                    </a:lnTo>
                    <a:lnTo>
                      <a:pt x="338831" y="113561"/>
                    </a:lnTo>
                    <a:lnTo>
                      <a:pt x="338831" y="116470"/>
                    </a:lnTo>
                    <a:lnTo>
                      <a:pt x="337685" y="120262"/>
                    </a:lnTo>
                    <a:lnTo>
                      <a:pt x="337950" y="120879"/>
                    </a:lnTo>
                    <a:lnTo>
                      <a:pt x="339096" y="120614"/>
                    </a:lnTo>
                    <a:lnTo>
                      <a:pt x="341123" y="122642"/>
                    </a:lnTo>
                    <a:lnTo>
                      <a:pt x="340506" y="123524"/>
                    </a:lnTo>
                    <a:lnTo>
                      <a:pt x="339096" y="123788"/>
                    </a:lnTo>
                    <a:lnTo>
                      <a:pt x="337597" y="125287"/>
                    </a:lnTo>
                    <a:lnTo>
                      <a:pt x="334687" y="126698"/>
                    </a:lnTo>
                    <a:lnTo>
                      <a:pt x="334687" y="128461"/>
                    </a:lnTo>
                    <a:lnTo>
                      <a:pt x="331425" y="129343"/>
                    </a:lnTo>
                    <a:lnTo>
                      <a:pt x="330896" y="131988"/>
                    </a:lnTo>
                    <a:lnTo>
                      <a:pt x="331425" y="134898"/>
                    </a:lnTo>
                    <a:lnTo>
                      <a:pt x="332924" y="134633"/>
                    </a:lnTo>
                    <a:lnTo>
                      <a:pt x="332659" y="138160"/>
                    </a:lnTo>
                    <a:lnTo>
                      <a:pt x="329133" y="139923"/>
                    </a:lnTo>
                    <a:lnTo>
                      <a:pt x="329397" y="141422"/>
                    </a:lnTo>
                    <a:lnTo>
                      <a:pt x="328251" y="144861"/>
                    </a:lnTo>
                    <a:lnTo>
                      <a:pt x="326752" y="149269"/>
                    </a:lnTo>
                    <a:lnTo>
                      <a:pt x="325606" y="149886"/>
                    </a:lnTo>
                    <a:lnTo>
                      <a:pt x="322079" y="147858"/>
                    </a:lnTo>
                    <a:lnTo>
                      <a:pt x="318023" y="150151"/>
                    </a:lnTo>
                    <a:lnTo>
                      <a:pt x="316525" y="149005"/>
                    </a:lnTo>
                    <a:lnTo>
                      <a:pt x="311852" y="149622"/>
                    </a:lnTo>
                    <a:lnTo>
                      <a:pt x="308589" y="153060"/>
                    </a:lnTo>
                    <a:lnTo>
                      <a:pt x="305680" y="154824"/>
                    </a:lnTo>
                    <a:lnTo>
                      <a:pt x="303652" y="152796"/>
                    </a:lnTo>
                    <a:lnTo>
                      <a:pt x="301007" y="153413"/>
                    </a:lnTo>
                    <a:lnTo>
                      <a:pt x="293424" y="149622"/>
                    </a:lnTo>
                    <a:lnTo>
                      <a:pt x="290779" y="150151"/>
                    </a:lnTo>
                    <a:lnTo>
                      <a:pt x="292278" y="148123"/>
                    </a:lnTo>
                    <a:lnTo>
                      <a:pt x="292278" y="146977"/>
                    </a:lnTo>
                    <a:lnTo>
                      <a:pt x="280023" y="146360"/>
                    </a:lnTo>
                    <a:lnTo>
                      <a:pt x="276232" y="148123"/>
                    </a:lnTo>
                    <a:lnTo>
                      <a:pt x="273322" y="150151"/>
                    </a:lnTo>
                    <a:lnTo>
                      <a:pt x="272176" y="156852"/>
                    </a:lnTo>
                    <a:lnTo>
                      <a:pt x="268120" y="157469"/>
                    </a:lnTo>
                    <a:lnTo>
                      <a:pt x="266092" y="160114"/>
                    </a:lnTo>
                    <a:lnTo>
                      <a:pt x="264946" y="160731"/>
                    </a:lnTo>
                    <a:lnTo>
                      <a:pt x="261419" y="159849"/>
                    </a:lnTo>
                    <a:lnTo>
                      <a:pt x="259039" y="161613"/>
                    </a:lnTo>
                    <a:lnTo>
                      <a:pt x="258157" y="160114"/>
                    </a:lnTo>
                    <a:lnTo>
                      <a:pt x="255865" y="160378"/>
                    </a:lnTo>
                    <a:lnTo>
                      <a:pt x="252338" y="158350"/>
                    </a:lnTo>
                    <a:lnTo>
                      <a:pt x="245020" y="160378"/>
                    </a:lnTo>
                    <a:lnTo>
                      <a:pt x="243521" y="161525"/>
                    </a:lnTo>
                    <a:lnTo>
                      <a:pt x="237966" y="164169"/>
                    </a:lnTo>
                    <a:lnTo>
                      <a:pt x="236556" y="163905"/>
                    </a:lnTo>
                    <a:lnTo>
                      <a:pt x="234528" y="162142"/>
                    </a:lnTo>
                    <a:lnTo>
                      <a:pt x="232765" y="160996"/>
                    </a:lnTo>
                    <a:lnTo>
                      <a:pt x="230119" y="157821"/>
                    </a:lnTo>
                    <a:lnTo>
                      <a:pt x="226328" y="155176"/>
                    </a:lnTo>
                    <a:lnTo>
                      <a:pt x="223419" y="150503"/>
                    </a:lnTo>
                    <a:lnTo>
                      <a:pt x="221655" y="150239"/>
                    </a:lnTo>
                    <a:lnTo>
                      <a:pt x="217599" y="145302"/>
                    </a:lnTo>
                    <a:lnTo>
                      <a:pt x="217599" y="141158"/>
                    </a:lnTo>
                    <a:lnTo>
                      <a:pt x="215836" y="140893"/>
                    </a:lnTo>
                    <a:lnTo>
                      <a:pt x="214955" y="139482"/>
                    </a:lnTo>
                    <a:lnTo>
                      <a:pt x="217335" y="134281"/>
                    </a:lnTo>
                    <a:lnTo>
                      <a:pt x="217335" y="137454"/>
                    </a:lnTo>
                    <a:lnTo>
                      <a:pt x="218217" y="139482"/>
                    </a:lnTo>
                    <a:lnTo>
                      <a:pt x="221391" y="141246"/>
                    </a:lnTo>
                    <a:lnTo>
                      <a:pt x="223419" y="143626"/>
                    </a:lnTo>
                    <a:lnTo>
                      <a:pt x="228709" y="143362"/>
                    </a:lnTo>
                    <a:lnTo>
                      <a:pt x="231265" y="144244"/>
                    </a:lnTo>
                    <a:lnTo>
                      <a:pt x="231883" y="140981"/>
                    </a:lnTo>
                    <a:lnTo>
                      <a:pt x="232500" y="140981"/>
                    </a:lnTo>
                    <a:lnTo>
                      <a:pt x="233117" y="143009"/>
                    </a:lnTo>
                    <a:lnTo>
                      <a:pt x="233999" y="143626"/>
                    </a:lnTo>
                    <a:lnTo>
                      <a:pt x="236027" y="142480"/>
                    </a:lnTo>
                    <a:lnTo>
                      <a:pt x="236291" y="142745"/>
                    </a:lnTo>
                    <a:lnTo>
                      <a:pt x="235410" y="145390"/>
                    </a:lnTo>
                    <a:lnTo>
                      <a:pt x="240964" y="147153"/>
                    </a:lnTo>
                    <a:lnTo>
                      <a:pt x="241229" y="147770"/>
                    </a:lnTo>
                    <a:lnTo>
                      <a:pt x="240082" y="149798"/>
                    </a:lnTo>
                    <a:lnTo>
                      <a:pt x="241582" y="149181"/>
                    </a:lnTo>
                    <a:lnTo>
                      <a:pt x="242463" y="146536"/>
                    </a:lnTo>
                    <a:lnTo>
                      <a:pt x="243609" y="146800"/>
                    </a:lnTo>
                    <a:lnTo>
                      <a:pt x="250045" y="151473"/>
                    </a:lnTo>
                    <a:lnTo>
                      <a:pt x="252690" y="151121"/>
                    </a:lnTo>
                    <a:lnTo>
                      <a:pt x="254190" y="152267"/>
                    </a:lnTo>
                    <a:lnTo>
                      <a:pt x="255688" y="152002"/>
                    </a:lnTo>
                    <a:lnTo>
                      <a:pt x="253043" y="150239"/>
                    </a:lnTo>
                    <a:lnTo>
                      <a:pt x="251015" y="150856"/>
                    </a:lnTo>
                    <a:lnTo>
                      <a:pt x="248370" y="149093"/>
                    </a:lnTo>
                    <a:lnTo>
                      <a:pt x="247224" y="146448"/>
                    </a:lnTo>
                    <a:lnTo>
                      <a:pt x="247841" y="144155"/>
                    </a:lnTo>
                    <a:lnTo>
                      <a:pt x="248987" y="143538"/>
                    </a:lnTo>
                    <a:lnTo>
                      <a:pt x="251015" y="144420"/>
                    </a:lnTo>
                    <a:lnTo>
                      <a:pt x="249605" y="142127"/>
                    </a:lnTo>
                    <a:lnTo>
                      <a:pt x="252514" y="132782"/>
                    </a:lnTo>
                    <a:lnTo>
                      <a:pt x="255071" y="132782"/>
                    </a:lnTo>
                    <a:lnTo>
                      <a:pt x="255424" y="131900"/>
                    </a:lnTo>
                    <a:lnTo>
                      <a:pt x="251280" y="132517"/>
                    </a:lnTo>
                    <a:lnTo>
                      <a:pt x="251015" y="131900"/>
                    </a:lnTo>
                    <a:lnTo>
                      <a:pt x="251897" y="130489"/>
                    </a:lnTo>
                    <a:lnTo>
                      <a:pt x="252514" y="130489"/>
                    </a:lnTo>
                    <a:lnTo>
                      <a:pt x="251280" y="129608"/>
                    </a:lnTo>
                    <a:lnTo>
                      <a:pt x="251897" y="125552"/>
                    </a:lnTo>
                    <a:lnTo>
                      <a:pt x="252779" y="125287"/>
                    </a:lnTo>
                    <a:lnTo>
                      <a:pt x="255424" y="127580"/>
                    </a:lnTo>
                    <a:lnTo>
                      <a:pt x="258333" y="126962"/>
                    </a:lnTo>
                    <a:lnTo>
                      <a:pt x="256306" y="124053"/>
                    </a:lnTo>
                    <a:lnTo>
                      <a:pt x="258598" y="123788"/>
                    </a:lnTo>
                    <a:lnTo>
                      <a:pt x="257099" y="123524"/>
                    </a:lnTo>
                    <a:lnTo>
                      <a:pt x="256482" y="122113"/>
                    </a:lnTo>
                    <a:lnTo>
                      <a:pt x="257099" y="118939"/>
                    </a:lnTo>
                    <a:lnTo>
                      <a:pt x="262036" y="114883"/>
                    </a:lnTo>
                    <a:lnTo>
                      <a:pt x="268208" y="114002"/>
                    </a:lnTo>
                    <a:lnTo>
                      <a:pt x="276320" y="111974"/>
                    </a:lnTo>
                    <a:lnTo>
                      <a:pt x="288575" y="108711"/>
                    </a:lnTo>
                    <a:lnTo>
                      <a:pt x="292366" y="106684"/>
                    </a:lnTo>
                    <a:lnTo>
                      <a:pt x="295276" y="101746"/>
                    </a:lnTo>
                    <a:lnTo>
                      <a:pt x="301359" y="92136"/>
                    </a:lnTo>
                    <a:lnTo>
                      <a:pt x="307531" y="86581"/>
                    </a:lnTo>
                    <a:lnTo>
                      <a:pt x="308678" y="81291"/>
                    </a:lnTo>
                    <a:lnTo>
                      <a:pt x="312733" y="78646"/>
                    </a:lnTo>
                    <a:lnTo>
                      <a:pt x="313350" y="74855"/>
                    </a:lnTo>
                    <a:lnTo>
                      <a:pt x="312733" y="71945"/>
                    </a:lnTo>
                    <a:lnTo>
                      <a:pt x="313350" y="71328"/>
                    </a:lnTo>
                    <a:lnTo>
                      <a:pt x="315731" y="71593"/>
                    </a:lnTo>
                    <a:lnTo>
                      <a:pt x="318905" y="73092"/>
                    </a:lnTo>
                    <a:lnTo>
                      <a:pt x="320933" y="77765"/>
                    </a:lnTo>
                    <a:lnTo>
                      <a:pt x="320668" y="79263"/>
                    </a:lnTo>
                    <a:lnTo>
                      <a:pt x="321815" y="79881"/>
                    </a:lnTo>
                    <a:lnTo>
                      <a:pt x="323578" y="79616"/>
                    </a:lnTo>
                    <a:lnTo>
                      <a:pt x="327104" y="85700"/>
                    </a:lnTo>
                    <a:lnTo>
                      <a:pt x="328515" y="85700"/>
                    </a:lnTo>
                    <a:lnTo>
                      <a:pt x="331160" y="83055"/>
                    </a:lnTo>
                    <a:lnTo>
                      <a:pt x="332307" y="79528"/>
                    </a:lnTo>
                    <a:lnTo>
                      <a:pt x="331425" y="79528"/>
                    </a:lnTo>
                    <a:lnTo>
                      <a:pt x="332924" y="77500"/>
                    </a:lnTo>
                    <a:lnTo>
                      <a:pt x="332924" y="75472"/>
                    </a:lnTo>
                    <a:lnTo>
                      <a:pt x="332307" y="75472"/>
                    </a:lnTo>
                    <a:lnTo>
                      <a:pt x="330808" y="68507"/>
                    </a:lnTo>
                    <a:lnTo>
                      <a:pt x="332307" y="66479"/>
                    </a:lnTo>
                    <a:lnTo>
                      <a:pt x="335216" y="65597"/>
                    </a:lnTo>
                    <a:lnTo>
                      <a:pt x="336098" y="64098"/>
                    </a:lnTo>
                    <a:lnTo>
                      <a:pt x="335921" y="6533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5" name="Freihandform: Form 1964">
                <a:extLst>
                  <a:ext uri="{FF2B5EF4-FFF2-40B4-BE49-F238E27FC236}">
                    <a16:creationId xmlns:a16="http://schemas.microsoft.com/office/drawing/2014/main" id="{F6061FBC-CC5F-1C07-8491-36F94A7350AE}"/>
                  </a:ext>
                </a:extLst>
              </p:cNvPr>
              <p:cNvSpPr/>
              <p:nvPr/>
            </p:nvSpPr>
            <p:spPr>
              <a:xfrm>
                <a:off x="6178564" y="3640692"/>
                <a:ext cx="192559" cy="369337"/>
              </a:xfrm>
              <a:custGeom>
                <a:avLst/>
                <a:gdLst>
                  <a:gd name="connsiteX0" fmla="*/ 85876 w 192559"/>
                  <a:gd name="connsiteY0" fmla="*/ 268385 h 369337"/>
                  <a:gd name="connsiteX1" fmla="*/ 86140 w 192559"/>
                  <a:gd name="connsiteY1" fmla="*/ 269002 h 369337"/>
                  <a:gd name="connsiteX2" fmla="*/ 85523 w 192559"/>
                  <a:gd name="connsiteY2" fmla="*/ 270148 h 369337"/>
                  <a:gd name="connsiteX3" fmla="*/ 85876 w 192559"/>
                  <a:gd name="connsiteY3" fmla="*/ 271294 h 369337"/>
                  <a:gd name="connsiteX4" fmla="*/ 85876 w 192559"/>
                  <a:gd name="connsiteY4" fmla="*/ 272176 h 369337"/>
                  <a:gd name="connsiteX5" fmla="*/ 84994 w 192559"/>
                  <a:gd name="connsiteY5" fmla="*/ 272440 h 369337"/>
                  <a:gd name="connsiteX6" fmla="*/ 83495 w 192559"/>
                  <a:gd name="connsiteY6" fmla="*/ 272176 h 369337"/>
                  <a:gd name="connsiteX7" fmla="*/ 82614 w 192559"/>
                  <a:gd name="connsiteY7" fmla="*/ 272440 h 369337"/>
                  <a:gd name="connsiteX8" fmla="*/ 81732 w 192559"/>
                  <a:gd name="connsiteY8" fmla="*/ 272176 h 369337"/>
                  <a:gd name="connsiteX9" fmla="*/ 80850 w 192559"/>
                  <a:gd name="connsiteY9" fmla="*/ 272176 h 369337"/>
                  <a:gd name="connsiteX10" fmla="*/ 81203 w 192559"/>
                  <a:gd name="connsiteY10" fmla="*/ 271294 h 369337"/>
                  <a:gd name="connsiteX11" fmla="*/ 81467 w 192559"/>
                  <a:gd name="connsiteY11" fmla="*/ 270765 h 369337"/>
                  <a:gd name="connsiteX12" fmla="*/ 81732 w 192559"/>
                  <a:gd name="connsiteY12" fmla="*/ 270148 h 369337"/>
                  <a:gd name="connsiteX13" fmla="*/ 81996 w 192559"/>
                  <a:gd name="connsiteY13" fmla="*/ 269883 h 369337"/>
                  <a:gd name="connsiteX14" fmla="*/ 82614 w 192559"/>
                  <a:gd name="connsiteY14" fmla="*/ 269266 h 369337"/>
                  <a:gd name="connsiteX15" fmla="*/ 82966 w 192559"/>
                  <a:gd name="connsiteY15" fmla="*/ 269002 h 369337"/>
                  <a:gd name="connsiteX16" fmla="*/ 83848 w 192559"/>
                  <a:gd name="connsiteY16" fmla="*/ 268737 h 369337"/>
                  <a:gd name="connsiteX17" fmla="*/ 84112 w 192559"/>
                  <a:gd name="connsiteY17" fmla="*/ 268737 h 369337"/>
                  <a:gd name="connsiteX18" fmla="*/ 84377 w 192559"/>
                  <a:gd name="connsiteY18" fmla="*/ 268473 h 369337"/>
                  <a:gd name="connsiteX19" fmla="*/ 85259 w 192559"/>
                  <a:gd name="connsiteY19" fmla="*/ 268473 h 369337"/>
                  <a:gd name="connsiteX20" fmla="*/ 85876 w 192559"/>
                  <a:gd name="connsiteY20" fmla="*/ 268473 h 369337"/>
                  <a:gd name="connsiteX21" fmla="*/ 52636 w 192559"/>
                  <a:gd name="connsiteY21" fmla="*/ 1763 h 369337"/>
                  <a:gd name="connsiteX22" fmla="*/ 52284 w 192559"/>
                  <a:gd name="connsiteY22" fmla="*/ 1763 h 369337"/>
                  <a:gd name="connsiteX23" fmla="*/ 52284 w 192559"/>
                  <a:gd name="connsiteY23" fmla="*/ 882 h 369337"/>
                  <a:gd name="connsiteX24" fmla="*/ 50873 w 192559"/>
                  <a:gd name="connsiteY24" fmla="*/ 882 h 369337"/>
                  <a:gd name="connsiteX25" fmla="*/ 49991 w 192559"/>
                  <a:gd name="connsiteY25" fmla="*/ 0 h 369337"/>
                  <a:gd name="connsiteX26" fmla="*/ 48228 w 192559"/>
                  <a:gd name="connsiteY26" fmla="*/ 0 h 369337"/>
                  <a:gd name="connsiteX27" fmla="*/ 46464 w 192559"/>
                  <a:gd name="connsiteY27" fmla="*/ 2028 h 369337"/>
                  <a:gd name="connsiteX28" fmla="*/ 44701 w 192559"/>
                  <a:gd name="connsiteY28" fmla="*/ 2028 h 369337"/>
                  <a:gd name="connsiteX29" fmla="*/ 44084 w 192559"/>
                  <a:gd name="connsiteY29" fmla="*/ 2028 h 369337"/>
                  <a:gd name="connsiteX30" fmla="*/ 40910 w 192559"/>
                  <a:gd name="connsiteY30" fmla="*/ 1763 h 369337"/>
                  <a:gd name="connsiteX31" fmla="*/ 38265 w 192559"/>
                  <a:gd name="connsiteY31" fmla="*/ 882 h 369337"/>
                  <a:gd name="connsiteX32" fmla="*/ 40028 w 192559"/>
                  <a:gd name="connsiteY32" fmla="*/ 2028 h 369337"/>
                  <a:gd name="connsiteX33" fmla="*/ 40910 w 192559"/>
                  <a:gd name="connsiteY33" fmla="*/ 4673 h 369337"/>
                  <a:gd name="connsiteX34" fmla="*/ 41439 w 192559"/>
                  <a:gd name="connsiteY34" fmla="*/ 6436 h 369337"/>
                  <a:gd name="connsiteX35" fmla="*/ 41792 w 192559"/>
                  <a:gd name="connsiteY35" fmla="*/ 7318 h 369337"/>
                  <a:gd name="connsiteX36" fmla="*/ 41439 w 192559"/>
                  <a:gd name="connsiteY36" fmla="*/ 7318 h 369337"/>
                  <a:gd name="connsiteX37" fmla="*/ 40910 w 192559"/>
                  <a:gd name="connsiteY37" fmla="*/ 8464 h 369337"/>
                  <a:gd name="connsiteX38" fmla="*/ 37119 w 192559"/>
                  <a:gd name="connsiteY38" fmla="*/ 9346 h 369337"/>
                  <a:gd name="connsiteX39" fmla="*/ 35708 w 192559"/>
                  <a:gd name="connsiteY39" fmla="*/ 8464 h 369337"/>
                  <a:gd name="connsiteX40" fmla="*/ 33945 w 192559"/>
                  <a:gd name="connsiteY40" fmla="*/ 7582 h 369337"/>
                  <a:gd name="connsiteX41" fmla="*/ 32181 w 192559"/>
                  <a:gd name="connsiteY41" fmla="*/ 8464 h 369337"/>
                  <a:gd name="connsiteX42" fmla="*/ 31564 w 192559"/>
                  <a:gd name="connsiteY42" fmla="*/ 9346 h 369337"/>
                  <a:gd name="connsiteX43" fmla="*/ 31300 w 192559"/>
                  <a:gd name="connsiteY43" fmla="*/ 11374 h 369337"/>
                  <a:gd name="connsiteX44" fmla="*/ 31564 w 192559"/>
                  <a:gd name="connsiteY44" fmla="*/ 12873 h 369337"/>
                  <a:gd name="connsiteX45" fmla="*/ 30682 w 192559"/>
                  <a:gd name="connsiteY45" fmla="*/ 12873 h 369337"/>
                  <a:gd name="connsiteX46" fmla="*/ 31829 w 192559"/>
                  <a:gd name="connsiteY46" fmla="*/ 14636 h 369337"/>
                  <a:gd name="connsiteX47" fmla="*/ 30947 w 192559"/>
                  <a:gd name="connsiteY47" fmla="*/ 15782 h 369337"/>
                  <a:gd name="connsiteX48" fmla="*/ 30947 w 192559"/>
                  <a:gd name="connsiteY48" fmla="*/ 16399 h 369337"/>
                  <a:gd name="connsiteX49" fmla="*/ 29801 w 192559"/>
                  <a:gd name="connsiteY49" fmla="*/ 16399 h 369337"/>
                  <a:gd name="connsiteX50" fmla="*/ 27773 w 192559"/>
                  <a:gd name="connsiteY50" fmla="*/ 14900 h 369337"/>
                  <a:gd name="connsiteX51" fmla="*/ 27155 w 192559"/>
                  <a:gd name="connsiteY51" fmla="*/ 16399 h 369337"/>
                  <a:gd name="connsiteX52" fmla="*/ 24246 w 192559"/>
                  <a:gd name="connsiteY52" fmla="*/ 17546 h 369337"/>
                  <a:gd name="connsiteX53" fmla="*/ 23717 w 192559"/>
                  <a:gd name="connsiteY53" fmla="*/ 18163 h 369337"/>
                  <a:gd name="connsiteX54" fmla="*/ 23100 w 192559"/>
                  <a:gd name="connsiteY54" fmla="*/ 18163 h 369337"/>
                  <a:gd name="connsiteX55" fmla="*/ 22483 w 192559"/>
                  <a:gd name="connsiteY55" fmla="*/ 19044 h 369337"/>
                  <a:gd name="connsiteX56" fmla="*/ 21337 w 192559"/>
                  <a:gd name="connsiteY56" fmla="*/ 18163 h 369337"/>
                  <a:gd name="connsiteX57" fmla="*/ 19926 w 192559"/>
                  <a:gd name="connsiteY57" fmla="*/ 18163 h 369337"/>
                  <a:gd name="connsiteX58" fmla="*/ 16752 w 192559"/>
                  <a:gd name="connsiteY58" fmla="*/ 18163 h 369337"/>
                  <a:gd name="connsiteX59" fmla="*/ 15870 w 192559"/>
                  <a:gd name="connsiteY59" fmla="*/ 19044 h 369337"/>
                  <a:gd name="connsiteX60" fmla="*/ 15341 w 192559"/>
                  <a:gd name="connsiteY60" fmla="*/ 19044 h 369337"/>
                  <a:gd name="connsiteX61" fmla="*/ 15341 w 192559"/>
                  <a:gd name="connsiteY61" fmla="*/ 18163 h 369337"/>
                  <a:gd name="connsiteX62" fmla="*/ 14460 w 192559"/>
                  <a:gd name="connsiteY62" fmla="*/ 17546 h 369337"/>
                  <a:gd name="connsiteX63" fmla="*/ 12432 w 192559"/>
                  <a:gd name="connsiteY63" fmla="*/ 16399 h 369337"/>
                  <a:gd name="connsiteX64" fmla="*/ 11814 w 192559"/>
                  <a:gd name="connsiteY64" fmla="*/ 16399 h 369337"/>
                  <a:gd name="connsiteX65" fmla="*/ 11814 w 192559"/>
                  <a:gd name="connsiteY65" fmla="*/ 15782 h 369337"/>
                  <a:gd name="connsiteX66" fmla="*/ 10933 w 192559"/>
                  <a:gd name="connsiteY66" fmla="*/ 15782 h 369337"/>
                  <a:gd name="connsiteX67" fmla="*/ 10668 w 192559"/>
                  <a:gd name="connsiteY67" fmla="*/ 18075 h 369337"/>
                  <a:gd name="connsiteX68" fmla="*/ 10933 w 192559"/>
                  <a:gd name="connsiteY68" fmla="*/ 19221 h 369337"/>
                  <a:gd name="connsiteX69" fmla="*/ 10668 w 192559"/>
                  <a:gd name="connsiteY69" fmla="*/ 20103 h 369337"/>
                  <a:gd name="connsiteX70" fmla="*/ 10051 w 192559"/>
                  <a:gd name="connsiteY70" fmla="*/ 20720 h 369337"/>
                  <a:gd name="connsiteX71" fmla="*/ 8640 w 192559"/>
                  <a:gd name="connsiteY71" fmla="*/ 21337 h 369337"/>
                  <a:gd name="connsiteX72" fmla="*/ 7759 w 192559"/>
                  <a:gd name="connsiteY72" fmla="*/ 21337 h 369337"/>
                  <a:gd name="connsiteX73" fmla="*/ 8023 w 192559"/>
                  <a:gd name="connsiteY73" fmla="*/ 22836 h 369337"/>
                  <a:gd name="connsiteX74" fmla="*/ 8288 w 192559"/>
                  <a:gd name="connsiteY74" fmla="*/ 23100 h 369337"/>
                  <a:gd name="connsiteX75" fmla="*/ 6877 w 192559"/>
                  <a:gd name="connsiteY75" fmla="*/ 24864 h 369337"/>
                  <a:gd name="connsiteX76" fmla="*/ 8023 w 192559"/>
                  <a:gd name="connsiteY76" fmla="*/ 28655 h 369337"/>
                  <a:gd name="connsiteX77" fmla="*/ 7406 w 192559"/>
                  <a:gd name="connsiteY77" fmla="*/ 29184 h 369337"/>
                  <a:gd name="connsiteX78" fmla="*/ 8288 w 192559"/>
                  <a:gd name="connsiteY78" fmla="*/ 30330 h 369337"/>
                  <a:gd name="connsiteX79" fmla="*/ 8817 w 192559"/>
                  <a:gd name="connsiteY79" fmla="*/ 33504 h 369337"/>
                  <a:gd name="connsiteX80" fmla="*/ 6789 w 192559"/>
                  <a:gd name="connsiteY80" fmla="*/ 34650 h 369337"/>
                  <a:gd name="connsiteX81" fmla="*/ 7053 w 192559"/>
                  <a:gd name="connsiteY81" fmla="*/ 36414 h 369337"/>
                  <a:gd name="connsiteX82" fmla="*/ 6172 w 192559"/>
                  <a:gd name="connsiteY82" fmla="*/ 37295 h 369337"/>
                  <a:gd name="connsiteX83" fmla="*/ 7671 w 192559"/>
                  <a:gd name="connsiteY83" fmla="*/ 39059 h 369337"/>
                  <a:gd name="connsiteX84" fmla="*/ 8552 w 192559"/>
                  <a:gd name="connsiteY84" fmla="*/ 41968 h 369337"/>
                  <a:gd name="connsiteX85" fmla="*/ 9698 w 192559"/>
                  <a:gd name="connsiteY85" fmla="*/ 43467 h 369337"/>
                  <a:gd name="connsiteX86" fmla="*/ 9346 w 192559"/>
                  <a:gd name="connsiteY86" fmla="*/ 46377 h 369337"/>
                  <a:gd name="connsiteX87" fmla="*/ 7582 w 192559"/>
                  <a:gd name="connsiteY87" fmla="*/ 46377 h 369337"/>
                  <a:gd name="connsiteX88" fmla="*/ 6084 w 192559"/>
                  <a:gd name="connsiteY88" fmla="*/ 46377 h 369337"/>
                  <a:gd name="connsiteX89" fmla="*/ 6084 w 192559"/>
                  <a:gd name="connsiteY89" fmla="*/ 47523 h 369337"/>
                  <a:gd name="connsiteX90" fmla="*/ 5202 w 192559"/>
                  <a:gd name="connsiteY90" fmla="*/ 48404 h 369337"/>
                  <a:gd name="connsiteX91" fmla="*/ 2292 w 192559"/>
                  <a:gd name="connsiteY91" fmla="*/ 48404 h 369337"/>
                  <a:gd name="connsiteX92" fmla="*/ 1146 w 192559"/>
                  <a:gd name="connsiteY92" fmla="*/ 46377 h 369337"/>
                  <a:gd name="connsiteX93" fmla="*/ 0 w 192559"/>
                  <a:gd name="connsiteY93" fmla="*/ 46377 h 369337"/>
                  <a:gd name="connsiteX94" fmla="*/ 1146 w 192559"/>
                  <a:gd name="connsiteY94" fmla="*/ 46377 h 369337"/>
                  <a:gd name="connsiteX95" fmla="*/ 0 w 192559"/>
                  <a:gd name="connsiteY95" fmla="*/ 46377 h 369337"/>
                  <a:gd name="connsiteX96" fmla="*/ 1763 w 192559"/>
                  <a:gd name="connsiteY96" fmla="*/ 50168 h 369337"/>
                  <a:gd name="connsiteX97" fmla="*/ 2909 w 192559"/>
                  <a:gd name="connsiteY97" fmla="*/ 52813 h 369337"/>
                  <a:gd name="connsiteX98" fmla="*/ 3439 w 192559"/>
                  <a:gd name="connsiteY98" fmla="*/ 53077 h 369337"/>
                  <a:gd name="connsiteX99" fmla="*/ 6084 w 192559"/>
                  <a:gd name="connsiteY99" fmla="*/ 53959 h 369337"/>
                  <a:gd name="connsiteX100" fmla="*/ 5819 w 192559"/>
                  <a:gd name="connsiteY100" fmla="*/ 52813 h 369337"/>
                  <a:gd name="connsiteX101" fmla="*/ 6701 w 192559"/>
                  <a:gd name="connsiteY101" fmla="*/ 52813 h 369337"/>
                  <a:gd name="connsiteX102" fmla="*/ 6965 w 192559"/>
                  <a:gd name="connsiteY102" fmla="*/ 52813 h 369337"/>
                  <a:gd name="connsiteX103" fmla="*/ 7847 w 192559"/>
                  <a:gd name="connsiteY103" fmla="*/ 53077 h 369337"/>
                  <a:gd name="connsiteX104" fmla="*/ 7847 w 192559"/>
                  <a:gd name="connsiteY104" fmla="*/ 53959 h 369337"/>
                  <a:gd name="connsiteX105" fmla="*/ 7230 w 192559"/>
                  <a:gd name="connsiteY105" fmla="*/ 54576 h 369337"/>
                  <a:gd name="connsiteX106" fmla="*/ 7230 w 192559"/>
                  <a:gd name="connsiteY106" fmla="*/ 54841 h 369337"/>
                  <a:gd name="connsiteX107" fmla="*/ 8993 w 192559"/>
                  <a:gd name="connsiteY107" fmla="*/ 56869 h 369337"/>
                  <a:gd name="connsiteX108" fmla="*/ 8993 w 192559"/>
                  <a:gd name="connsiteY108" fmla="*/ 57486 h 369337"/>
                  <a:gd name="connsiteX109" fmla="*/ 9875 w 192559"/>
                  <a:gd name="connsiteY109" fmla="*/ 58368 h 369337"/>
                  <a:gd name="connsiteX110" fmla="*/ 9258 w 192559"/>
                  <a:gd name="connsiteY110" fmla="*/ 59514 h 369337"/>
                  <a:gd name="connsiteX111" fmla="*/ 10139 w 192559"/>
                  <a:gd name="connsiteY111" fmla="*/ 59514 h 369337"/>
                  <a:gd name="connsiteX112" fmla="*/ 10492 w 192559"/>
                  <a:gd name="connsiteY112" fmla="*/ 61277 h 369337"/>
                  <a:gd name="connsiteX113" fmla="*/ 10756 w 192559"/>
                  <a:gd name="connsiteY113" fmla="*/ 61806 h 369337"/>
                  <a:gd name="connsiteX114" fmla="*/ 10492 w 192559"/>
                  <a:gd name="connsiteY114" fmla="*/ 62423 h 369337"/>
                  <a:gd name="connsiteX115" fmla="*/ 9875 w 192559"/>
                  <a:gd name="connsiteY115" fmla="*/ 63834 h 369337"/>
                  <a:gd name="connsiteX116" fmla="*/ 10756 w 192559"/>
                  <a:gd name="connsiteY116" fmla="*/ 64716 h 369337"/>
                  <a:gd name="connsiteX117" fmla="*/ 11903 w 192559"/>
                  <a:gd name="connsiteY117" fmla="*/ 66744 h 369337"/>
                  <a:gd name="connsiteX118" fmla="*/ 13049 w 192559"/>
                  <a:gd name="connsiteY118" fmla="*/ 68507 h 369337"/>
                  <a:gd name="connsiteX119" fmla="*/ 16576 w 192559"/>
                  <a:gd name="connsiteY119" fmla="*/ 72298 h 369337"/>
                  <a:gd name="connsiteX120" fmla="*/ 18339 w 192559"/>
                  <a:gd name="connsiteY120" fmla="*/ 72915 h 369337"/>
                  <a:gd name="connsiteX121" fmla="*/ 18603 w 192559"/>
                  <a:gd name="connsiteY121" fmla="*/ 74062 h 369337"/>
                  <a:gd name="connsiteX122" fmla="*/ 19221 w 192559"/>
                  <a:gd name="connsiteY122" fmla="*/ 74679 h 369337"/>
                  <a:gd name="connsiteX123" fmla="*/ 19485 w 192559"/>
                  <a:gd name="connsiteY123" fmla="*/ 75560 h 369337"/>
                  <a:gd name="connsiteX124" fmla="*/ 20984 w 192559"/>
                  <a:gd name="connsiteY124" fmla="*/ 75825 h 369337"/>
                  <a:gd name="connsiteX125" fmla="*/ 21248 w 192559"/>
                  <a:gd name="connsiteY125" fmla="*/ 77588 h 369337"/>
                  <a:gd name="connsiteX126" fmla="*/ 23893 w 192559"/>
                  <a:gd name="connsiteY126" fmla="*/ 80233 h 369337"/>
                  <a:gd name="connsiteX127" fmla="*/ 25657 w 192559"/>
                  <a:gd name="connsiteY127" fmla="*/ 82261 h 369337"/>
                  <a:gd name="connsiteX128" fmla="*/ 25657 w 192559"/>
                  <a:gd name="connsiteY128" fmla="*/ 82878 h 369337"/>
                  <a:gd name="connsiteX129" fmla="*/ 25657 w 192559"/>
                  <a:gd name="connsiteY129" fmla="*/ 83143 h 369337"/>
                  <a:gd name="connsiteX130" fmla="*/ 26274 w 192559"/>
                  <a:gd name="connsiteY130" fmla="*/ 84025 h 369337"/>
                  <a:gd name="connsiteX131" fmla="*/ 28302 w 192559"/>
                  <a:gd name="connsiteY131" fmla="*/ 84025 h 369337"/>
                  <a:gd name="connsiteX132" fmla="*/ 29448 w 192559"/>
                  <a:gd name="connsiteY132" fmla="*/ 85171 h 369337"/>
                  <a:gd name="connsiteX133" fmla="*/ 29448 w 192559"/>
                  <a:gd name="connsiteY133" fmla="*/ 85700 h 369337"/>
                  <a:gd name="connsiteX134" fmla="*/ 31211 w 192559"/>
                  <a:gd name="connsiteY134" fmla="*/ 86846 h 369337"/>
                  <a:gd name="connsiteX135" fmla="*/ 31211 w 192559"/>
                  <a:gd name="connsiteY135" fmla="*/ 87375 h 369337"/>
                  <a:gd name="connsiteX136" fmla="*/ 32093 w 192559"/>
                  <a:gd name="connsiteY136" fmla="*/ 87375 h 369337"/>
                  <a:gd name="connsiteX137" fmla="*/ 32358 w 192559"/>
                  <a:gd name="connsiteY137" fmla="*/ 89403 h 369337"/>
                  <a:gd name="connsiteX138" fmla="*/ 31211 w 192559"/>
                  <a:gd name="connsiteY138" fmla="*/ 88786 h 369337"/>
                  <a:gd name="connsiteX139" fmla="*/ 31476 w 192559"/>
                  <a:gd name="connsiteY139" fmla="*/ 89403 h 369337"/>
                  <a:gd name="connsiteX140" fmla="*/ 32622 w 192559"/>
                  <a:gd name="connsiteY140" fmla="*/ 91166 h 369337"/>
                  <a:gd name="connsiteX141" fmla="*/ 32358 w 192559"/>
                  <a:gd name="connsiteY141" fmla="*/ 91166 h 369337"/>
                  <a:gd name="connsiteX142" fmla="*/ 31476 w 192559"/>
                  <a:gd name="connsiteY142" fmla="*/ 91166 h 369337"/>
                  <a:gd name="connsiteX143" fmla="*/ 30330 w 192559"/>
                  <a:gd name="connsiteY143" fmla="*/ 92577 h 369337"/>
                  <a:gd name="connsiteX144" fmla="*/ 31740 w 192559"/>
                  <a:gd name="connsiteY144" fmla="*/ 92577 h 369337"/>
                  <a:gd name="connsiteX145" fmla="*/ 32622 w 192559"/>
                  <a:gd name="connsiteY145" fmla="*/ 94340 h 369337"/>
                  <a:gd name="connsiteX146" fmla="*/ 33768 w 192559"/>
                  <a:gd name="connsiteY146" fmla="*/ 94957 h 369337"/>
                  <a:gd name="connsiteX147" fmla="*/ 34650 w 192559"/>
                  <a:gd name="connsiteY147" fmla="*/ 96368 h 369337"/>
                  <a:gd name="connsiteX148" fmla="*/ 34033 w 192559"/>
                  <a:gd name="connsiteY148" fmla="*/ 96721 h 369337"/>
                  <a:gd name="connsiteX149" fmla="*/ 36414 w 192559"/>
                  <a:gd name="connsiteY149" fmla="*/ 99366 h 369337"/>
                  <a:gd name="connsiteX150" fmla="*/ 35796 w 192559"/>
                  <a:gd name="connsiteY150" fmla="*/ 99983 h 369337"/>
                  <a:gd name="connsiteX151" fmla="*/ 36678 w 192559"/>
                  <a:gd name="connsiteY151" fmla="*/ 100600 h 369337"/>
                  <a:gd name="connsiteX152" fmla="*/ 36943 w 192559"/>
                  <a:gd name="connsiteY152" fmla="*/ 102981 h 369337"/>
                  <a:gd name="connsiteX153" fmla="*/ 38089 w 192559"/>
                  <a:gd name="connsiteY153" fmla="*/ 103862 h 369337"/>
                  <a:gd name="connsiteX154" fmla="*/ 37824 w 192559"/>
                  <a:gd name="connsiteY154" fmla="*/ 102099 h 369337"/>
                  <a:gd name="connsiteX155" fmla="*/ 38970 w 192559"/>
                  <a:gd name="connsiteY155" fmla="*/ 100600 h 369337"/>
                  <a:gd name="connsiteX156" fmla="*/ 39588 w 192559"/>
                  <a:gd name="connsiteY156" fmla="*/ 99454 h 369337"/>
                  <a:gd name="connsiteX157" fmla="*/ 40469 w 192559"/>
                  <a:gd name="connsiteY157" fmla="*/ 98308 h 369337"/>
                  <a:gd name="connsiteX158" fmla="*/ 40734 w 192559"/>
                  <a:gd name="connsiteY158" fmla="*/ 100071 h 369337"/>
                  <a:gd name="connsiteX159" fmla="*/ 42232 w 192559"/>
                  <a:gd name="connsiteY159" fmla="*/ 100688 h 369337"/>
                  <a:gd name="connsiteX160" fmla="*/ 41615 w 192559"/>
                  <a:gd name="connsiteY160" fmla="*/ 102452 h 369337"/>
                  <a:gd name="connsiteX161" fmla="*/ 41880 w 192559"/>
                  <a:gd name="connsiteY161" fmla="*/ 103951 h 369337"/>
                  <a:gd name="connsiteX162" fmla="*/ 41263 w 192559"/>
                  <a:gd name="connsiteY162" fmla="*/ 105097 h 369337"/>
                  <a:gd name="connsiteX163" fmla="*/ 40734 w 192559"/>
                  <a:gd name="connsiteY163" fmla="*/ 106860 h 369337"/>
                  <a:gd name="connsiteX164" fmla="*/ 39852 w 192559"/>
                  <a:gd name="connsiteY164" fmla="*/ 107477 h 369337"/>
                  <a:gd name="connsiteX165" fmla="*/ 37824 w 192559"/>
                  <a:gd name="connsiteY165" fmla="*/ 106860 h 369337"/>
                  <a:gd name="connsiteX166" fmla="*/ 37560 w 192559"/>
                  <a:gd name="connsiteY166" fmla="*/ 107477 h 369337"/>
                  <a:gd name="connsiteX167" fmla="*/ 37560 w 192559"/>
                  <a:gd name="connsiteY167" fmla="*/ 108095 h 369337"/>
                  <a:gd name="connsiteX168" fmla="*/ 36943 w 192559"/>
                  <a:gd name="connsiteY168" fmla="*/ 109858 h 369337"/>
                  <a:gd name="connsiteX169" fmla="*/ 34914 w 192559"/>
                  <a:gd name="connsiteY169" fmla="*/ 109858 h 369337"/>
                  <a:gd name="connsiteX170" fmla="*/ 36325 w 192559"/>
                  <a:gd name="connsiteY170" fmla="*/ 110740 h 369337"/>
                  <a:gd name="connsiteX171" fmla="*/ 36325 w 192559"/>
                  <a:gd name="connsiteY171" fmla="*/ 111357 h 369337"/>
                  <a:gd name="connsiteX172" fmla="*/ 36061 w 192559"/>
                  <a:gd name="connsiteY172" fmla="*/ 112503 h 369337"/>
                  <a:gd name="connsiteX173" fmla="*/ 36943 w 192559"/>
                  <a:gd name="connsiteY173" fmla="*/ 114266 h 369337"/>
                  <a:gd name="connsiteX174" fmla="*/ 35796 w 192559"/>
                  <a:gd name="connsiteY174" fmla="*/ 117528 h 369337"/>
                  <a:gd name="connsiteX175" fmla="*/ 36678 w 192559"/>
                  <a:gd name="connsiteY175" fmla="*/ 119556 h 369337"/>
                  <a:gd name="connsiteX176" fmla="*/ 36414 w 192559"/>
                  <a:gd name="connsiteY176" fmla="*/ 121320 h 369337"/>
                  <a:gd name="connsiteX177" fmla="*/ 38177 w 192559"/>
                  <a:gd name="connsiteY177" fmla="*/ 124229 h 369337"/>
                  <a:gd name="connsiteX178" fmla="*/ 37560 w 192559"/>
                  <a:gd name="connsiteY178" fmla="*/ 126874 h 369337"/>
                  <a:gd name="connsiteX179" fmla="*/ 36943 w 192559"/>
                  <a:gd name="connsiteY179" fmla="*/ 127139 h 369337"/>
                  <a:gd name="connsiteX180" fmla="*/ 36943 w 192559"/>
                  <a:gd name="connsiteY180" fmla="*/ 125993 h 369337"/>
                  <a:gd name="connsiteX181" fmla="*/ 35796 w 192559"/>
                  <a:gd name="connsiteY181" fmla="*/ 125993 h 369337"/>
                  <a:gd name="connsiteX182" fmla="*/ 34385 w 192559"/>
                  <a:gd name="connsiteY182" fmla="*/ 125993 h 369337"/>
                  <a:gd name="connsiteX183" fmla="*/ 33504 w 192559"/>
                  <a:gd name="connsiteY183" fmla="*/ 125993 h 369337"/>
                  <a:gd name="connsiteX184" fmla="*/ 33768 w 192559"/>
                  <a:gd name="connsiteY184" fmla="*/ 128021 h 369337"/>
                  <a:gd name="connsiteX185" fmla="*/ 33768 w 192559"/>
                  <a:gd name="connsiteY185" fmla="*/ 129784 h 369337"/>
                  <a:gd name="connsiteX186" fmla="*/ 32887 w 192559"/>
                  <a:gd name="connsiteY186" fmla="*/ 128021 h 369337"/>
                  <a:gd name="connsiteX187" fmla="*/ 31123 w 192559"/>
                  <a:gd name="connsiteY187" fmla="*/ 128021 h 369337"/>
                  <a:gd name="connsiteX188" fmla="*/ 30859 w 192559"/>
                  <a:gd name="connsiteY188" fmla="*/ 129784 h 369337"/>
                  <a:gd name="connsiteX189" fmla="*/ 29360 w 192559"/>
                  <a:gd name="connsiteY189" fmla="*/ 130401 h 369337"/>
                  <a:gd name="connsiteX190" fmla="*/ 30242 w 192559"/>
                  <a:gd name="connsiteY190" fmla="*/ 131547 h 369337"/>
                  <a:gd name="connsiteX191" fmla="*/ 29095 w 192559"/>
                  <a:gd name="connsiteY191" fmla="*/ 133575 h 369337"/>
                  <a:gd name="connsiteX192" fmla="*/ 30594 w 192559"/>
                  <a:gd name="connsiteY192" fmla="*/ 135074 h 369337"/>
                  <a:gd name="connsiteX193" fmla="*/ 30594 w 192559"/>
                  <a:gd name="connsiteY193" fmla="*/ 135339 h 369337"/>
                  <a:gd name="connsiteX194" fmla="*/ 30859 w 192559"/>
                  <a:gd name="connsiteY194" fmla="*/ 137984 h 369337"/>
                  <a:gd name="connsiteX195" fmla="*/ 31123 w 192559"/>
                  <a:gd name="connsiteY195" fmla="*/ 138865 h 369337"/>
                  <a:gd name="connsiteX196" fmla="*/ 31740 w 192559"/>
                  <a:gd name="connsiteY196" fmla="*/ 139747 h 369337"/>
                  <a:gd name="connsiteX197" fmla="*/ 32005 w 192559"/>
                  <a:gd name="connsiteY197" fmla="*/ 140364 h 369337"/>
                  <a:gd name="connsiteX198" fmla="*/ 32887 w 192559"/>
                  <a:gd name="connsiteY198" fmla="*/ 141510 h 369337"/>
                  <a:gd name="connsiteX199" fmla="*/ 32887 w 192559"/>
                  <a:gd name="connsiteY199" fmla="*/ 142657 h 369337"/>
                  <a:gd name="connsiteX200" fmla="*/ 35796 w 192559"/>
                  <a:gd name="connsiteY200" fmla="*/ 145302 h 369337"/>
                  <a:gd name="connsiteX201" fmla="*/ 36678 w 192559"/>
                  <a:gd name="connsiteY201" fmla="*/ 145919 h 369337"/>
                  <a:gd name="connsiteX202" fmla="*/ 36943 w 192559"/>
                  <a:gd name="connsiteY202" fmla="*/ 147065 h 369337"/>
                  <a:gd name="connsiteX203" fmla="*/ 38089 w 192559"/>
                  <a:gd name="connsiteY203" fmla="*/ 147065 h 369337"/>
                  <a:gd name="connsiteX204" fmla="*/ 39588 w 192559"/>
                  <a:gd name="connsiteY204" fmla="*/ 150856 h 369337"/>
                  <a:gd name="connsiteX205" fmla="*/ 40998 w 192559"/>
                  <a:gd name="connsiteY205" fmla="*/ 151473 h 369337"/>
                  <a:gd name="connsiteX206" fmla="*/ 41263 w 192559"/>
                  <a:gd name="connsiteY206" fmla="*/ 152620 h 369337"/>
                  <a:gd name="connsiteX207" fmla="*/ 42761 w 192559"/>
                  <a:gd name="connsiteY207" fmla="*/ 153766 h 369337"/>
                  <a:gd name="connsiteX208" fmla="*/ 43908 w 192559"/>
                  <a:gd name="connsiteY208" fmla="*/ 153766 h 369337"/>
                  <a:gd name="connsiteX209" fmla="*/ 44789 w 192559"/>
                  <a:gd name="connsiteY209" fmla="*/ 155529 h 369337"/>
                  <a:gd name="connsiteX210" fmla="*/ 47435 w 192559"/>
                  <a:gd name="connsiteY210" fmla="*/ 157910 h 369337"/>
                  <a:gd name="connsiteX211" fmla="*/ 48052 w 192559"/>
                  <a:gd name="connsiteY211" fmla="*/ 157910 h 369337"/>
                  <a:gd name="connsiteX212" fmla="*/ 49551 w 192559"/>
                  <a:gd name="connsiteY212" fmla="*/ 158791 h 369337"/>
                  <a:gd name="connsiteX213" fmla="*/ 49815 w 192559"/>
                  <a:gd name="connsiteY213" fmla="*/ 159673 h 369337"/>
                  <a:gd name="connsiteX214" fmla="*/ 49815 w 192559"/>
                  <a:gd name="connsiteY214" fmla="*/ 159937 h 369337"/>
                  <a:gd name="connsiteX215" fmla="*/ 50961 w 192559"/>
                  <a:gd name="connsiteY215" fmla="*/ 162583 h 369337"/>
                  <a:gd name="connsiteX216" fmla="*/ 52989 w 192559"/>
                  <a:gd name="connsiteY216" fmla="*/ 163729 h 369337"/>
                  <a:gd name="connsiteX217" fmla="*/ 52989 w 192559"/>
                  <a:gd name="connsiteY217" fmla="*/ 164346 h 369337"/>
                  <a:gd name="connsiteX218" fmla="*/ 53254 w 192559"/>
                  <a:gd name="connsiteY218" fmla="*/ 166374 h 369337"/>
                  <a:gd name="connsiteX219" fmla="*/ 53782 w 192559"/>
                  <a:gd name="connsiteY219" fmla="*/ 166991 h 369337"/>
                  <a:gd name="connsiteX220" fmla="*/ 54665 w 192559"/>
                  <a:gd name="connsiteY220" fmla="*/ 167255 h 369337"/>
                  <a:gd name="connsiteX221" fmla="*/ 54136 w 192559"/>
                  <a:gd name="connsiteY221" fmla="*/ 169901 h 369337"/>
                  <a:gd name="connsiteX222" fmla="*/ 55017 w 192559"/>
                  <a:gd name="connsiteY222" fmla="*/ 171928 h 369337"/>
                  <a:gd name="connsiteX223" fmla="*/ 54488 w 192559"/>
                  <a:gd name="connsiteY223" fmla="*/ 171928 h 369337"/>
                  <a:gd name="connsiteX224" fmla="*/ 55898 w 192559"/>
                  <a:gd name="connsiteY224" fmla="*/ 173692 h 369337"/>
                  <a:gd name="connsiteX225" fmla="*/ 56163 w 192559"/>
                  <a:gd name="connsiteY225" fmla="*/ 175455 h 369337"/>
                  <a:gd name="connsiteX226" fmla="*/ 56427 w 192559"/>
                  <a:gd name="connsiteY226" fmla="*/ 178100 h 369337"/>
                  <a:gd name="connsiteX227" fmla="*/ 55546 w 192559"/>
                  <a:gd name="connsiteY227" fmla="*/ 178100 h 369337"/>
                  <a:gd name="connsiteX228" fmla="*/ 56692 w 192559"/>
                  <a:gd name="connsiteY228" fmla="*/ 180745 h 369337"/>
                  <a:gd name="connsiteX229" fmla="*/ 54665 w 192559"/>
                  <a:gd name="connsiteY229" fmla="*/ 181010 h 369337"/>
                  <a:gd name="connsiteX230" fmla="*/ 54665 w 192559"/>
                  <a:gd name="connsiteY230" fmla="*/ 182420 h 369337"/>
                  <a:gd name="connsiteX231" fmla="*/ 54929 w 192559"/>
                  <a:gd name="connsiteY231" fmla="*/ 184184 h 369337"/>
                  <a:gd name="connsiteX232" fmla="*/ 56427 w 192559"/>
                  <a:gd name="connsiteY232" fmla="*/ 186476 h 369337"/>
                  <a:gd name="connsiteX233" fmla="*/ 56692 w 192559"/>
                  <a:gd name="connsiteY233" fmla="*/ 187093 h 369337"/>
                  <a:gd name="connsiteX234" fmla="*/ 56692 w 192559"/>
                  <a:gd name="connsiteY234" fmla="*/ 189738 h 369337"/>
                  <a:gd name="connsiteX235" fmla="*/ 58191 w 192559"/>
                  <a:gd name="connsiteY235" fmla="*/ 190003 h 369337"/>
                  <a:gd name="connsiteX236" fmla="*/ 58456 w 192559"/>
                  <a:gd name="connsiteY236" fmla="*/ 192648 h 369337"/>
                  <a:gd name="connsiteX237" fmla="*/ 59602 w 192559"/>
                  <a:gd name="connsiteY237" fmla="*/ 192648 h 369337"/>
                  <a:gd name="connsiteX238" fmla="*/ 59602 w 192559"/>
                  <a:gd name="connsiteY238" fmla="*/ 194676 h 369337"/>
                  <a:gd name="connsiteX239" fmla="*/ 61101 w 192559"/>
                  <a:gd name="connsiteY239" fmla="*/ 194676 h 369337"/>
                  <a:gd name="connsiteX240" fmla="*/ 61982 w 192559"/>
                  <a:gd name="connsiteY240" fmla="*/ 195558 h 369337"/>
                  <a:gd name="connsiteX241" fmla="*/ 62247 w 192559"/>
                  <a:gd name="connsiteY241" fmla="*/ 195558 h 369337"/>
                  <a:gd name="connsiteX242" fmla="*/ 62511 w 192559"/>
                  <a:gd name="connsiteY242" fmla="*/ 197585 h 369337"/>
                  <a:gd name="connsiteX243" fmla="*/ 62511 w 192559"/>
                  <a:gd name="connsiteY243" fmla="*/ 199349 h 369337"/>
                  <a:gd name="connsiteX244" fmla="*/ 63393 w 192559"/>
                  <a:gd name="connsiteY244" fmla="*/ 200848 h 369337"/>
                  <a:gd name="connsiteX245" fmla="*/ 63657 w 192559"/>
                  <a:gd name="connsiteY245" fmla="*/ 203493 h 369337"/>
                  <a:gd name="connsiteX246" fmla="*/ 65157 w 192559"/>
                  <a:gd name="connsiteY246" fmla="*/ 203845 h 369337"/>
                  <a:gd name="connsiteX247" fmla="*/ 65157 w 192559"/>
                  <a:gd name="connsiteY247" fmla="*/ 205344 h 369337"/>
                  <a:gd name="connsiteX248" fmla="*/ 65421 w 192559"/>
                  <a:gd name="connsiteY248" fmla="*/ 206490 h 369337"/>
                  <a:gd name="connsiteX249" fmla="*/ 65421 w 192559"/>
                  <a:gd name="connsiteY249" fmla="*/ 207108 h 369337"/>
                  <a:gd name="connsiteX250" fmla="*/ 67713 w 192559"/>
                  <a:gd name="connsiteY250" fmla="*/ 207108 h 369337"/>
                  <a:gd name="connsiteX251" fmla="*/ 66567 w 192559"/>
                  <a:gd name="connsiteY251" fmla="*/ 209400 h 369337"/>
                  <a:gd name="connsiteX252" fmla="*/ 66831 w 192559"/>
                  <a:gd name="connsiteY252" fmla="*/ 210017 h 369337"/>
                  <a:gd name="connsiteX253" fmla="*/ 68859 w 192559"/>
                  <a:gd name="connsiteY253" fmla="*/ 210899 h 369337"/>
                  <a:gd name="connsiteX254" fmla="*/ 68859 w 192559"/>
                  <a:gd name="connsiteY254" fmla="*/ 211163 h 369337"/>
                  <a:gd name="connsiteX255" fmla="*/ 68242 w 192559"/>
                  <a:gd name="connsiteY255" fmla="*/ 213808 h 369337"/>
                  <a:gd name="connsiteX256" fmla="*/ 69124 w 192559"/>
                  <a:gd name="connsiteY256" fmla="*/ 214955 h 369337"/>
                  <a:gd name="connsiteX257" fmla="*/ 70270 w 192559"/>
                  <a:gd name="connsiteY257" fmla="*/ 214955 h 369337"/>
                  <a:gd name="connsiteX258" fmla="*/ 69388 w 192559"/>
                  <a:gd name="connsiteY258" fmla="*/ 217600 h 369337"/>
                  <a:gd name="connsiteX259" fmla="*/ 69388 w 192559"/>
                  <a:gd name="connsiteY259" fmla="*/ 218481 h 369337"/>
                  <a:gd name="connsiteX260" fmla="*/ 68859 w 192559"/>
                  <a:gd name="connsiteY260" fmla="*/ 219892 h 369337"/>
                  <a:gd name="connsiteX261" fmla="*/ 66567 w 192559"/>
                  <a:gd name="connsiteY261" fmla="*/ 219892 h 369337"/>
                  <a:gd name="connsiteX262" fmla="*/ 66567 w 192559"/>
                  <a:gd name="connsiteY262" fmla="*/ 220509 h 369337"/>
                  <a:gd name="connsiteX263" fmla="*/ 66831 w 192559"/>
                  <a:gd name="connsiteY263" fmla="*/ 223154 h 369337"/>
                  <a:gd name="connsiteX264" fmla="*/ 65333 w 192559"/>
                  <a:gd name="connsiteY264" fmla="*/ 224036 h 369337"/>
                  <a:gd name="connsiteX265" fmla="*/ 64451 w 192559"/>
                  <a:gd name="connsiteY265" fmla="*/ 224918 h 369337"/>
                  <a:gd name="connsiteX266" fmla="*/ 64451 w 192559"/>
                  <a:gd name="connsiteY266" fmla="*/ 226328 h 369337"/>
                  <a:gd name="connsiteX267" fmla="*/ 63305 w 192559"/>
                  <a:gd name="connsiteY267" fmla="*/ 227474 h 369337"/>
                  <a:gd name="connsiteX268" fmla="*/ 62776 w 192559"/>
                  <a:gd name="connsiteY268" fmla="*/ 228356 h 369337"/>
                  <a:gd name="connsiteX269" fmla="*/ 62776 w 192559"/>
                  <a:gd name="connsiteY269" fmla="*/ 229767 h 369337"/>
                  <a:gd name="connsiteX270" fmla="*/ 62159 w 192559"/>
                  <a:gd name="connsiteY270" fmla="*/ 233558 h 369337"/>
                  <a:gd name="connsiteX271" fmla="*/ 60660 w 192559"/>
                  <a:gd name="connsiteY271" fmla="*/ 233823 h 369337"/>
                  <a:gd name="connsiteX272" fmla="*/ 60131 w 192559"/>
                  <a:gd name="connsiteY272" fmla="*/ 235321 h 369337"/>
                  <a:gd name="connsiteX273" fmla="*/ 59249 w 192559"/>
                  <a:gd name="connsiteY273" fmla="*/ 235939 h 369337"/>
                  <a:gd name="connsiteX274" fmla="*/ 59249 w 192559"/>
                  <a:gd name="connsiteY274" fmla="*/ 236556 h 369337"/>
                  <a:gd name="connsiteX275" fmla="*/ 58632 w 192559"/>
                  <a:gd name="connsiteY275" fmla="*/ 237438 h 369337"/>
                  <a:gd name="connsiteX276" fmla="*/ 57221 w 192559"/>
                  <a:gd name="connsiteY276" fmla="*/ 236556 h 369337"/>
                  <a:gd name="connsiteX277" fmla="*/ 56956 w 192559"/>
                  <a:gd name="connsiteY277" fmla="*/ 237702 h 369337"/>
                  <a:gd name="connsiteX278" fmla="*/ 57221 w 192559"/>
                  <a:gd name="connsiteY278" fmla="*/ 239201 h 369337"/>
                  <a:gd name="connsiteX279" fmla="*/ 57221 w 192559"/>
                  <a:gd name="connsiteY279" fmla="*/ 240347 h 369337"/>
                  <a:gd name="connsiteX280" fmla="*/ 56340 w 192559"/>
                  <a:gd name="connsiteY280" fmla="*/ 240347 h 369337"/>
                  <a:gd name="connsiteX281" fmla="*/ 55722 w 192559"/>
                  <a:gd name="connsiteY281" fmla="*/ 240347 h 369337"/>
                  <a:gd name="connsiteX282" fmla="*/ 55722 w 192559"/>
                  <a:gd name="connsiteY282" fmla="*/ 241229 h 369337"/>
                  <a:gd name="connsiteX283" fmla="*/ 55105 w 192559"/>
                  <a:gd name="connsiteY283" fmla="*/ 241229 h 369337"/>
                  <a:gd name="connsiteX284" fmla="*/ 53342 w 192559"/>
                  <a:gd name="connsiteY284" fmla="*/ 243874 h 369337"/>
                  <a:gd name="connsiteX285" fmla="*/ 52813 w 192559"/>
                  <a:gd name="connsiteY285" fmla="*/ 245020 h 369337"/>
                  <a:gd name="connsiteX286" fmla="*/ 53694 w 192559"/>
                  <a:gd name="connsiteY286" fmla="*/ 245902 h 369337"/>
                  <a:gd name="connsiteX287" fmla="*/ 53694 w 192559"/>
                  <a:gd name="connsiteY287" fmla="*/ 247665 h 369337"/>
                  <a:gd name="connsiteX288" fmla="*/ 54047 w 192559"/>
                  <a:gd name="connsiteY288" fmla="*/ 249164 h 369337"/>
                  <a:gd name="connsiteX289" fmla="*/ 53430 w 192559"/>
                  <a:gd name="connsiteY289" fmla="*/ 250310 h 369337"/>
                  <a:gd name="connsiteX290" fmla="*/ 52901 w 192559"/>
                  <a:gd name="connsiteY290" fmla="*/ 251192 h 369337"/>
                  <a:gd name="connsiteX291" fmla="*/ 53430 w 192559"/>
                  <a:gd name="connsiteY291" fmla="*/ 251456 h 369337"/>
                  <a:gd name="connsiteX292" fmla="*/ 53694 w 192559"/>
                  <a:gd name="connsiteY292" fmla="*/ 251721 h 369337"/>
                  <a:gd name="connsiteX293" fmla="*/ 53430 w 192559"/>
                  <a:gd name="connsiteY293" fmla="*/ 251985 h 369337"/>
                  <a:gd name="connsiteX294" fmla="*/ 52901 w 192559"/>
                  <a:gd name="connsiteY294" fmla="*/ 255512 h 369337"/>
                  <a:gd name="connsiteX295" fmla="*/ 52636 w 192559"/>
                  <a:gd name="connsiteY295" fmla="*/ 256658 h 369337"/>
                  <a:gd name="connsiteX296" fmla="*/ 52636 w 192559"/>
                  <a:gd name="connsiteY296" fmla="*/ 256923 h 369337"/>
                  <a:gd name="connsiteX297" fmla="*/ 51490 w 192559"/>
                  <a:gd name="connsiteY297" fmla="*/ 261596 h 369337"/>
                  <a:gd name="connsiteX298" fmla="*/ 51226 w 192559"/>
                  <a:gd name="connsiteY298" fmla="*/ 261860 h 369337"/>
                  <a:gd name="connsiteX299" fmla="*/ 50609 w 192559"/>
                  <a:gd name="connsiteY299" fmla="*/ 261860 h 369337"/>
                  <a:gd name="connsiteX300" fmla="*/ 50609 w 192559"/>
                  <a:gd name="connsiteY300" fmla="*/ 262213 h 369337"/>
                  <a:gd name="connsiteX301" fmla="*/ 49991 w 192559"/>
                  <a:gd name="connsiteY301" fmla="*/ 262830 h 369337"/>
                  <a:gd name="connsiteX302" fmla="*/ 49727 w 192559"/>
                  <a:gd name="connsiteY302" fmla="*/ 263095 h 369337"/>
                  <a:gd name="connsiteX303" fmla="*/ 50344 w 192559"/>
                  <a:gd name="connsiteY303" fmla="*/ 263359 h 369337"/>
                  <a:gd name="connsiteX304" fmla="*/ 49727 w 192559"/>
                  <a:gd name="connsiteY304" fmla="*/ 263888 h 369337"/>
                  <a:gd name="connsiteX305" fmla="*/ 49462 w 192559"/>
                  <a:gd name="connsiteY305" fmla="*/ 264153 h 369337"/>
                  <a:gd name="connsiteX306" fmla="*/ 49727 w 192559"/>
                  <a:gd name="connsiteY306" fmla="*/ 263535 h 369337"/>
                  <a:gd name="connsiteX307" fmla="*/ 49462 w 192559"/>
                  <a:gd name="connsiteY307" fmla="*/ 263800 h 369337"/>
                  <a:gd name="connsiteX308" fmla="*/ 49110 w 192559"/>
                  <a:gd name="connsiteY308" fmla="*/ 263535 h 369337"/>
                  <a:gd name="connsiteX309" fmla="*/ 48845 w 192559"/>
                  <a:gd name="connsiteY309" fmla="*/ 263800 h 369337"/>
                  <a:gd name="connsiteX310" fmla="*/ 48845 w 192559"/>
                  <a:gd name="connsiteY310" fmla="*/ 264064 h 369337"/>
                  <a:gd name="connsiteX311" fmla="*/ 49462 w 192559"/>
                  <a:gd name="connsiteY311" fmla="*/ 265211 h 369337"/>
                  <a:gd name="connsiteX312" fmla="*/ 49991 w 192559"/>
                  <a:gd name="connsiteY312" fmla="*/ 265475 h 369337"/>
                  <a:gd name="connsiteX313" fmla="*/ 49991 w 192559"/>
                  <a:gd name="connsiteY313" fmla="*/ 264858 h 369337"/>
                  <a:gd name="connsiteX314" fmla="*/ 50609 w 192559"/>
                  <a:gd name="connsiteY314" fmla="*/ 264593 h 369337"/>
                  <a:gd name="connsiteX315" fmla="*/ 49991 w 192559"/>
                  <a:gd name="connsiteY315" fmla="*/ 265740 h 369337"/>
                  <a:gd name="connsiteX316" fmla="*/ 49110 w 192559"/>
                  <a:gd name="connsiteY316" fmla="*/ 265740 h 369337"/>
                  <a:gd name="connsiteX317" fmla="*/ 48845 w 192559"/>
                  <a:gd name="connsiteY317" fmla="*/ 266092 h 369337"/>
                  <a:gd name="connsiteX318" fmla="*/ 49110 w 192559"/>
                  <a:gd name="connsiteY318" fmla="*/ 267238 h 369337"/>
                  <a:gd name="connsiteX319" fmla="*/ 49110 w 192559"/>
                  <a:gd name="connsiteY319" fmla="*/ 266357 h 369337"/>
                  <a:gd name="connsiteX320" fmla="*/ 50344 w 192559"/>
                  <a:gd name="connsiteY320" fmla="*/ 267238 h 369337"/>
                  <a:gd name="connsiteX321" fmla="*/ 49727 w 192559"/>
                  <a:gd name="connsiteY321" fmla="*/ 267503 h 369337"/>
                  <a:gd name="connsiteX322" fmla="*/ 49110 w 192559"/>
                  <a:gd name="connsiteY322" fmla="*/ 267503 h 369337"/>
                  <a:gd name="connsiteX323" fmla="*/ 49110 w 192559"/>
                  <a:gd name="connsiteY323" fmla="*/ 267767 h 369337"/>
                  <a:gd name="connsiteX324" fmla="*/ 49110 w 192559"/>
                  <a:gd name="connsiteY324" fmla="*/ 268385 h 369337"/>
                  <a:gd name="connsiteX325" fmla="*/ 49110 w 192559"/>
                  <a:gd name="connsiteY325" fmla="*/ 269002 h 369337"/>
                  <a:gd name="connsiteX326" fmla="*/ 49110 w 192559"/>
                  <a:gd name="connsiteY326" fmla="*/ 269266 h 369337"/>
                  <a:gd name="connsiteX327" fmla="*/ 48845 w 192559"/>
                  <a:gd name="connsiteY327" fmla="*/ 269266 h 369337"/>
                  <a:gd name="connsiteX328" fmla="*/ 48228 w 192559"/>
                  <a:gd name="connsiteY328" fmla="*/ 269002 h 369337"/>
                  <a:gd name="connsiteX329" fmla="*/ 47964 w 192559"/>
                  <a:gd name="connsiteY329" fmla="*/ 269266 h 369337"/>
                  <a:gd name="connsiteX330" fmla="*/ 47699 w 192559"/>
                  <a:gd name="connsiteY330" fmla="*/ 270412 h 369337"/>
                  <a:gd name="connsiteX331" fmla="*/ 47964 w 192559"/>
                  <a:gd name="connsiteY331" fmla="*/ 270677 h 369337"/>
                  <a:gd name="connsiteX332" fmla="*/ 49727 w 192559"/>
                  <a:gd name="connsiteY332" fmla="*/ 270412 h 369337"/>
                  <a:gd name="connsiteX333" fmla="*/ 49991 w 192559"/>
                  <a:gd name="connsiteY333" fmla="*/ 270677 h 369337"/>
                  <a:gd name="connsiteX334" fmla="*/ 49727 w 192559"/>
                  <a:gd name="connsiteY334" fmla="*/ 270941 h 369337"/>
                  <a:gd name="connsiteX335" fmla="*/ 48581 w 192559"/>
                  <a:gd name="connsiteY335" fmla="*/ 271823 h 369337"/>
                  <a:gd name="connsiteX336" fmla="*/ 48052 w 192559"/>
                  <a:gd name="connsiteY336" fmla="*/ 271823 h 369337"/>
                  <a:gd name="connsiteX337" fmla="*/ 47435 w 192559"/>
                  <a:gd name="connsiteY337" fmla="*/ 271559 h 369337"/>
                  <a:gd name="connsiteX338" fmla="*/ 47170 w 192559"/>
                  <a:gd name="connsiteY338" fmla="*/ 272176 h 369337"/>
                  <a:gd name="connsiteX339" fmla="*/ 47170 w 192559"/>
                  <a:gd name="connsiteY339" fmla="*/ 275350 h 369337"/>
                  <a:gd name="connsiteX340" fmla="*/ 47170 w 192559"/>
                  <a:gd name="connsiteY340" fmla="*/ 275614 h 369337"/>
                  <a:gd name="connsiteX341" fmla="*/ 46817 w 192559"/>
                  <a:gd name="connsiteY341" fmla="*/ 277378 h 369337"/>
                  <a:gd name="connsiteX342" fmla="*/ 46200 w 192559"/>
                  <a:gd name="connsiteY342" fmla="*/ 279141 h 369337"/>
                  <a:gd name="connsiteX343" fmla="*/ 46200 w 192559"/>
                  <a:gd name="connsiteY343" fmla="*/ 280023 h 369337"/>
                  <a:gd name="connsiteX344" fmla="*/ 46200 w 192559"/>
                  <a:gd name="connsiteY344" fmla="*/ 280640 h 369337"/>
                  <a:gd name="connsiteX345" fmla="*/ 45319 w 192559"/>
                  <a:gd name="connsiteY345" fmla="*/ 280904 h 369337"/>
                  <a:gd name="connsiteX346" fmla="*/ 44966 w 192559"/>
                  <a:gd name="connsiteY346" fmla="*/ 280640 h 369337"/>
                  <a:gd name="connsiteX347" fmla="*/ 45319 w 192559"/>
                  <a:gd name="connsiteY347" fmla="*/ 281257 h 369337"/>
                  <a:gd name="connsiteX348" fmla="*/ 46200 w 192559"/>
                  <a:gd name="connsiteY348" fmla="*/ 282756 h 369337"/>
                  <a:gd name="connsiteX349" fmla="*/ 47082 w 192559"/>
                  <a:gd name="connsiteY349" fmla="*/ 283373 h 369337"/>
                  <a:gd name="connsiteX350" fmla="*/ 47082 w 192559"/>
                  <a:gd name="connsiteY350" fmla="*/ 283990 h 369337"/>
                  <a:gd name="connsiteX351" fmla="*/ 46464 w 192559"/>
                  <a:gd name="connsiteY351" fmla="*/ 283990 h 369337"/>
                  <a:gd name="connsiteX352" fmla="*/ 45848 w 192559"/>
                  <a:gd name="connsiteY352" fmla="*/ 283990 h 369337"/>
                  <a:gd name="connsiteX353" fmla="*/ 45583 w 192559"/>
                  <a:gd name="connsiteY353" fmla="*/ 284608 h 369337"/>
                  <a:gd name="connsiteX354" fmla="*/ 45319 w 192559"/>
                  <a:gd name="connsiteY354" fmla="*/ 284872 h 369337"/>
                  <a:gd name="connsiteX355" fmla="*/ 45583 w 192559"/>
                  <a:gd name="connsiteY355" fmla="*/ 284872 h 369337"/>
                  <a:gd name="connsiteX356" fmla="*/ 47082 w 192559"/>
                  <a:gd name="connsiteY356" fmla="*/ 284608 h 369337"/>
                  <a:gd name="connsiteX357" fmla="*/ 47082 w 192559"/>
                  <a:gd name="connsiteY357" fmla="*/ 284872 h 369337"/>
                  <a:gd name="connsiteX358" fmla="*/ 46464 w 192559"/>
                  <a:gd name="connsiteY358" fmla="*/ 285754 h 369337"/>
                  <a:gd name="connsiteX359" fmla="*/ 46200 w 192559"/>
                  <a:gd name="connsiteY359" fmla="*/ 286371 h 369337"/>
                  <a:gd name="connsiteX360" fmla="*/ 45583 w 192559"/>
                  <a:gd name="connsiteY360" fmla="*/ 286371 h 369337"/>
                  <a:gd name="connsiteX361" fmla="*/ 45319 w 192559"/>
                  <a:gd name="connsiteY361" fmla="*/ 287253 h 369337"/>
                  <a:gd name="connsiteX362" fmla="*/ 45583 w 192559"/>
                  <a:gd name="connsiteY362" fmla="*/ 287517 h 369337"/>
                  <a:gd name="connsiteX363" fmla="*/ 45583 w 192559"/>
                  <a:gd name="connsiteY363" fmla="*/ 288399 h 369337"/>
                  <a:gd name="connsiteX364" fmla="*/ 44966 w 192559"/>
                  <a:gd name="connsiteY364" fmla="*/ 289281 h 369337"/>
                  <a:gd name="connsiteX365" fmla="*/ 44437 w 192559"/>
                  <a:gd name="connsiteY365" fmla="*/ 291308 h 369337"/>
                  <a:gd name="connsiteX366" fmla="*/ 44437 w 192559"/>
                  <a:gd name="connsiteY366" fmla="*/ 291926 h 369337"/>
                  <a:gd name="connsiteX367" fmla="*/ 44966 w 192559"/>
                  <a:gd name="connsiteY367" fmla="*/ 293953 h 369337"/>
                  <a:gd name="connsiteX368" fmla="*/ 44437 w 192559"/>
                  <a:gd name="connsiteY368" fmla="*/ 294571 h 369337"/>
                  <a:gd name="connsiteX369" fmla="*/ 44701 w 192559"/>
                  <a:gd name="connsiteY369" fmla="*/ 296598 h 369337"/>
                  <a:gd name="connsiteX370" fmla="*/ 44966 w 192559"/>
                  <a:gd name="connsiteY370" fmla="*/ 297127 h 369337"/>
                  <a:gd name="connsiteX371" fmla="*/ 44701 w 192559"/>
                  <a:gd name="connsiteY371" fmla="*/ 298274 h 369337"/>
                  <a:gd name="connsiteX372" fmla="*/ 44701 w 192559"/>
                  <a:gd name="connsiteY372" fmla="*/ 296775 h 369337"/>
                  <a:gd name="connsiteX373" fmla="*/ 44437 w 192559"/>
                  <a:gd name="connsiteY373" fmla="*/ 296158 h 369337"/>
                  <a:gd name="connsiteX374" fmla="*/ 43819 w 192559"/>
                  <a:gd name="connsiteY374" fmla="*/ 296158 h 369337"/>
                  <a:gd name="connsiteX375" fmla="*/ 44084 w 192559"/>
                  <a:gd name="connsiteY375" fmla="*/ 296775 h 369337"/>
                  <a:gd name="connsiteX376" fmla="*/ 45848 w 192559"/>
                  <a:gd name="connsiteY376" fmla="*/ 302947 h 369337"/>
                  <a:gd name="connsiteX377" fmla="*/ 46464 w 192559"/>
                  <a:gd name="connsiteY377" fmla="*/ 304710 h 369337"/>
                  <a:gd name="connsiteX378" fmla="*/ 46729 w 192559"/>
                  <a:gd name="connsiteY378" fmla="*/ 305592 h 369337"/>
                  <a:gd name="connsiteX379" fmla="*/ 47082 w 192559"/>
                  <a:gd name="connsiteY379" fmla="*/ 305856 h 369337"/>
                  <a:gd name="connsiteX380" fmla="*/ 47611 w 192559"/>
                  <a:gd name="connsiteY380" fmla="*/ 305856 h 369337"/>
                  <a:gd name="connsiteX381" fmla="*/ 47611 w 192559"/>
                  <a:gd name="connsiteY381" fmla="*/ 306738 h 369337"/>
                  <a:gd name="connsiteX382" fmla="*/ 49022 w 192559"/>
                  <a:gd name="connsiteY382" fmla="*/ 307355 h 369337"/>
                  <a:gd name="connsiteX383" fmla="*/ 49022 w 192559"/>
                  <a:gd name="connsiteY383" fmla="*/ 306738 h 369337"/>
                  <a:gd name="connsiteX384" fmla="*/ 49374 w 192559"/>
                  <a:gd name="connsiteY384" fmla="*/ 305592 h 369337"/>
                  <a:gd name="connsiteX385" fmla="*/ 49903 w 192559"/>
                  <a:gd name="connsiteY385" fmla="*/ 304710 h 369337"/>
                  <a:gd name="connsiteX386" fmla="*/ 49374 w 192559"/>
                  <a:gd name="connsiteY386" fmla="*/ 303828 h 369337"/>
                  <a:gd name="connsiteX387" fmla="*/ 48757 w 192559"/>
                  <a:gd name="connsiteY387" fmla="*/ 302947 h 369337"/>
                  <a:gd name="connsiteX388" fmla="*/ 49374 w 192559"/>
                  <a:gd name="connsiteY388" fmla="*/ 302947 h 369337"/>
                  <a:gd name="connsiteX389" fmla="*/ 49903 w 192559"/>
                  <a:gd name="connsiteY389" fmla="*/ 302065 h 369337"/>
                  <a:gd name="connsiteX390" fmla="*/ 50256 w 192559"/>
                  <a:gd name="connsiteY390" fmla="*/ 302682 h 369337"/>
                  <a:gd name="connsiteX391" fmla="*/ 51402 w 192559"/>
                  <a:gd name="connsiteY391" fmla="*/ 302065 h 369337"/>
                  <a:gd name="connsiteX392" fmla="*/ 51931 w 192559"/>
                  <a:gd name="connsiteY392" fmla="*/ 302065 h 369337"/>
                  <a:gd name="connsiteX393" fmla="*/ 52548 w 192559"/>
                  <a:gd name="connsiteY393" fmla="*/ 301800 h 369337"/>
                  <a:gd name="connsiteX394" fmla="*/ 53430 w 192559"/>
                  <a:gd name="connsiteY394" fmla="*/ 301800 h 369337"/>
                  <a:gd name="connsiteX395" fmla="*/ 53694 w 192559"/>
                  <a:gd name="connsiteY395" fmla="*/ 301271 h 369337"/>
                  <a:gd name="connsiteX396" fmla="*/ 54047 w 192559"/>
                  <a:gd name="connsiteY396" fmla="*/ 301271 h 369337"/>
                  <a:gd name="connsiteX397" fmla="*/ 54311 w 192559"/>
                  <a:gd name="connsiteY397" fmla="*/ 301271 h 369337"/>
                  <a:gd name="connsiteX398" fmla="*/ 53694 w 192559"/>
                  <a:gd name="connsiteY398" fmla="*/ 301800 h 369337"/>
                  <a:gd name="connsiteX399" fmla="*/ 53694 w 192559"/>
                  <a:gd name="connsiteY399" fmla="*/ 303564 h 369337"/>
                  <a:gd name="connsiteX400" fmla="*/ 54840 w 192559"/>
                  <a:gd name="connsiteY400" fmla="*/ 303299 h 369337"/>
                  <a:gd name="connsiteX401" fmla="*/ 55105 w 192559"/>
                  <a:gd name="connsiteY401" fmla="*/ 303035 h 369337"/>
                  <a:gd name="connsiteX402" fmla="*/ 55369 w 192559"/>
                  <a:gd name="connsiteY402" fmla="*/ 303652 h 369337"/>
                  <a:gd name="connsiteX403" fmla="*/ 55634 w 192559"/>
                  <a:gd name="connsiteY403" fmla="*/ 304798 h 369337"/>
                  <a:gd name="connsiteX404" fmla="*/ 56251 w 192559"/>
                  <a:gd name="connsiteY404" fmla="*/ 304181 h 369337"/>
                  <a:gd name="connsiteX405" fmla="*/ 56516 w 192559"/>
                  <a:gd name="connsiteY405" fmla="*/ 305063 h 369337"/>
                  <a:gd name="connsiteX406" fmla="*/ 56516 w 192559"/>
                  <a:gd name="connsiteY406" fmla="*/ 307355 h 369337"/>
                  <a:gd name="connsiteX407" fmla="*/ 57133 w 192559"/>
                  <a:gd name="connsiteY407" fmla="*/ 307619 h 369337"/>
                  <a:gd name="connsiteX408" fmla="*/ 57133 w 192559"/>
                  <a:gd name="connsiteY408" fmla="*/ 308501 h 369337"/>
                  <a:gd name="connsiteX409" fmla="*/ 57133 w 192559"/>
                  <a:gd name="connsiteY409" fmla="*/ 309647 h 369337"/>
                  <a:gd name="connsiteX410" fmla="*/ 58014 w 192559"/>
                  <a:gd name="connsiteY410" fmla="*/ 309030 h 369337"/>
                  <a:gd name="connsiteX411" fmla="*/ 58544 w 192559"/>
                  <a:gd name="connsiteY411" fmla="*/ 310176 h 369337"/>
                  <a:gd name="connsiteX412" fmla="*/ 59690 w 192559"/>
                  <a:gd name="connsiteY412" fmla="*/ 309559 h 369337"/>
                  <a:gd name="connsiteX413" fmla="*/ 60307 w 192559"/>
                  <a:gd name="connsiteY413" fmla="*/ 308942 h 369337"/>
                  <a:gd name="connsiteX414" fmla="*/ 61189 w 192559"/>
                  <a:gd name="connsiteY414" fmla="*/ 309559 h 369337"/>
                  <a:gd name="connsiteX415" fmla="*/ 62070 w 192559"/>
                  <a:gd name="connsiteY415" fmla="*/ 311587 h 369337"/>
                  <a:gd name="connsiteX416" fmla="*/ 62070 w 192559"/>
                  <a:gd name="connsiteY416" fmla="*/ 311852 h 369337"/>
                  <a:gd name="connsiteX417" fmla="*/ 62952 w 192559"/>
                  <a:gd name="connsiteY417" fmla="*/ 312733 h 369337"/>
                  <a:gd name="connsiteX418" fmla="*/ 63481 w 192559"/>
                  <a:gd name="connsiteY418" fmla="*/ 312116 h 369337"/>
                  <a:gd name="connsiteX419" fmla="*/ 63746 w 192559"/>
                  <a:gd name="connsiteY419" fmla="*/ 312469 h 369337"/>
                  <a:gd name="connsiteX420" fmla="*/ 63746 w 192559"/>
                  <a:gd name="connsiteY420" fmla="*/ 314232 h 369337"/>
                  <a:gd name="connsiteX421" fmla="*/ 63746 w 192559"/>
                  <a:gd name="connsiteY421" fmla="*/ 314585 h 369337"/>
                  <a:gd name="connsiteX422" fmla="*/ 63481 w 192559"/>
                  <a:gd name="connsiteY422" fmla="*/ 314849 h 369337"/>
                  <a:gd name="connsiteX423" fmla="*/ 62952 w 192559"/>
                  <a:gd name="connsiteY423" fmla="*/ 314585 h 369337"/>
                  <a:gd name="connsiteX424" fmla="*/ 62335 w 192559"/>
                  <a:gd name="connsiteY424" fmla="*/ 315114 h 369337"/>
                  <a:gd name="connsiteX425" fmla="*/ 62599 w 192559"/>
                  <a:gd name="connsiteY425" fmla="*/ 315731 h 369337"/>
                  <a:gd name="connsiteX426" fmla="*/ 63128 w 192559"/>
                  <a:gd name="connsiteY426" fmla="*/ 317494 h 369337"/>
                  <a:gd name="connsiteX427" fmla="*/ 63393 w 192559"/>
                  <a:gd name="connsiteY427" fmla="*/ 317759 h 369337"/>
                  <a:gd name="connsiteX428" fmla="*/ 65157 w 192559"/>
                  <a:gd name="connsiteY428" fmla="*/ 318023 h 369337"/>
                  <a:gd name="connsiteX429" fmla="*/ 64892 w 192559"/>
                  <a:gd name="connsiteY429" fmla="*/ 317406 h 369337"/>
                  <a:gd name="connsiteX430" fmla="*/ 64892 w 192559"/>
                  <a:gd name="connsiteY430" fmla="*/ 316525 h 369337"/>
                  <a:gd name="connsiteX431" fmla="*/ 64892 w 192559"/>
                  <a:gd name="connsiteY431" fmla="*/ 317406 h 369337"/>
                  <a:gd name="connsiteX432" fmla="*/ 66038 w 192559"/>
                  <a:gd name="connsiteY432" fmla="*/ 317671 h 369337"/>
                  <a:gd name="connsiteX433" fmla="*/ 66391 w 192559"/>
                  <a:gd name="connsiteY433" fmla="*/ 318288 h 369337"/>
                  <a:gd name="connsiteX434" fmla="*/ 68419 w 192559"/>
                  <a:gd name="connsiteY434" fmla="*/ 319434 h 369337"/>
                  <a:gd name="connsiteX435" fmla="*/ 68154 w 192559"/>
                  <a:gd name="connsiteY435" fmla="*/ 319699 h 369337"/>
                  <a:gd name="connsiteX436" fmla="*/ 69035 w 192559"/>
                  <a:gd name="connsiteY436" fmla="*/ 319963 h 369337"/>
                  <a:gd name="connsiteX437" fmla="*/ 68771 w 192559"/>
                  <a:gd name="connsiteY437" fmla="*/ 321462 h 369337"/>
                  <a:gd name="connsiteX438" fmla="*/ 69035 w 192559"/>
                  <a:gd name="connsiteY438" fmla="*/ 321815 h 369337"/>
                  <a:gd name="connsiteX439" fmla="*/ 69300 w 192559"/>
                  <a:gd name="connsiteY439" fmla="*/ 322961 h 369337"/>
                  <a:gd name="connsiteX440" fmla="*/ 69917 w 192559"/>
                  <a:gd name="connsiteY440" fmla="*/ 322961 h 369337"/>
                  <a:gd name="connsiteX441" fmla="*/ 70799 w 192559"/>
                  <a:gd name="connsiteY441" fmla="*/ 324371 h 369337"/>
                  <a:gd name="connsiteX442" fmla="*/ 70182 w 192559"/>
                  <a:gd name="connsiteY442" fmla="*/ 326399 h 369337"/>
                  <a:gd name="connsiteX443" fmla="*/ 72827 w 192559"/>
                  <a:gd name="connsiteY443" fmla="*/ 327546 h 369337"/>
                  <a:gd name="connsiteX444" fmla="*/ 73709 w 192559"/>
                  <a:gd name="connsiteY444" fmla="*/ 328427 h 369337"/>
                  <a:gd name="connsiteX445" fmla="*/ 73973 w 192559"/>
                  <a:gd name="connsiteY445" fmla="*/ 328163 h 369337"/>
                  <a:gd name="connsiteX446" fmla="*/ 73709 w 192559"/>
                  <a:gd name="connsiteY446" fmla="*/ 327017 h 369337"/>
                  <a:gd name="connsiteX447" fmla="*/ 73973 w 192559"/>
                  <a:gd name="connsiteY447" fmla="*/ 326399 h 369337"/>
                  <a:gd name="connsiteX448" fmla="*/ 74590 w 192559"/>
                  <a:gd name="connsiteY448" fmla="*/ 326399 h 369337"/>
                  <a:gd name="connsiteX449" fmla="*/ 75119 w 192559"/>
                  <a:gd name="connsiteY449" fmla="*/ 327281 h 369337"/>
                  <a:gd name="connsiteX450" fmla="*/ 75472 w 192559"/>
                  <a:gd name="connsiteY450" fmla="*/ 327281 h 369337"/>
                  <a:gd name="connsiteX451" fmla="*/ 76354 w 192559"/>
                  <a:gd name="connsiteY451" fmla="*/ 326399 h 369337"/>
                  <a:gd name="connsiteX452" fmla="*/ 77236 w 192559"/>
                  <a:gd name="connsiteY452" fmla="*/ 326399 h 369337"/>
                  <a:gd name="connsiteX453" fmla="*/ 76618 w 192559"/>
                  <a:gd name="connsiteY453" fmla="*/ 328163 h 369337"/>
                  <a:gd name="connsiteX454" fmla="*/ 76354 w 192559"/>
                  <a:gd name="connsiteY454" fmla="*/ 328427 h 369337"/>
                  <a:gd name="connsiteX455" fmla="*/ 75207 w 192559"/>
                  <a:gd name="connsiteY455" fmla="*/ 328427 h 369337"/>
                  <a:gd name="connsiteX456" fmla="*/ 75207 w 192559"/>
                  <a:gd name="connsiteY456" fmla="*/ 329309 h 369337"/>
                  <a:gd name="connsiteX457" fmla="*/ 76618 w 192559"/>
                  <a:gd name="connsiteY457" fmla="*/ 331072 h 369337"/>
                  <a:gd name="connsiteX458" fmla="*/ 76883 w 192559"/>
                  <a:gd name="connsiteY458" fmla="*/ 331337 h 369337"/>
                  <a:gd name="connsiteX459" fmla="*/ 77236 w 192559"/>
                  <a:gd name="connsiteY459" fmla="*/ 331337 h 369337"/>
                  <a:gd name="connsiteX460" fmla="*/ 77500 w 192559"/>
                  <a:gd name="connsiteY460" fmla="*/ 331337 h 369337"/>
                  <a:gd name="connsiteX461" fmla="*/ 77500 w 192559"/>
                  <a:gd name="connsiteY461" fmla="*/ 331072 h 369337"/>
                  <a:gd name="connsiteX462" fmla="*/ 78117 w 192559"/>
                  <a:gd name="connsiteY462" fmla="*/ 331072 h 369337"/>
                  <a:gd name="connsiteX463" fmla="*/ 78382 w 192559"/>
                  <a:gd name="connsiteY463" fmla="*/ 331690 h 369337"/>
                  <a:gd name="connsiteX464" fmla="*/ 78911 w 192559"/>
                  <a:gd name="connsiteY464" fmla="*/ 333188 h 369337"/>
                  <a:gd name="connsiteX465" fmla="*/ 78029 w 192559"/>
                  <a:gd name="connsiteY465" fmla="*/ 334334 h 369337"/>
                  <a:gd name="connsiteX466" fmla="*/ 78911 w 192559"/>
                  <a:gd name="connsiteY466" fmla="*/ 334952 h 369337"/>
                  <a:gd name="connsiteX467" fmla="*/ 78646 w 192559"/>
                  <a:gd name="connsiteY467" fmla="*/ 336715 h 369337"/>
                  <a:gd name="connsiteX468" fmla="*/ 79528 w 192559"/>
                  <a:gd name="connsiteY468" fmla="*/ 336980 h 369337"/>
                  <a:gd name="connsiteX469" fmla="*/ 78911 w 192559"/>
                  <a:gd name="connsiteY469" fmla="*/ 337597 h 369337"/>
                  <a:gd name="connsiteX470" fmla="*/ 78646 w 192559"/>
                  <a:gd name="connsiteY470" fmla="*/ 338478 h 369337"/>
                  <a:gd name="connsiteX471" fmla="*/ 79175 w 192559"/>
                  <a:gd name="connsiteY471" fmla="*/ 338743 h 369337"/>
                  <a:gd name="connsiteX472" fmla="*/ 79792 w 192559"/>
                  <a:gd name="connsiteY472" fmla="*/ 339889 h 369337"/>
                  <a:gd name="connsiteX473" fmla="*/ 81203 w 192559"/>
                  <a:gd name="connsiteY473" fmla="*/ 339625 h 369337"/>
                  <a:gd name="connsiteX474" fmla="*/ 81467 w 192559"/>
                  <a:gd name="connsiteY474" fmla="*/ 340771 h 369337"/>
                  <a:gd name="connsiteX475" fmla="*/ 82085 w 192559"/>
                  <a:gd name="connsiteY475" fmla="*/ 341653 h 369337"/>
                  <a:gd name="connsiteX476" fmla="*/ 82702 w 192559"/>
                  <a:gd name="connsiteY476" fmla="*/ 341653 h 369337"/>
                  <a:gd name="connsiteX477" fmla="*/ 83583 w 192559"/>
                  <a:gd name="connsiteY477" fmla="*/ 342270 h 369337"/>
                  <a:gd name="connsiteX478" fmla="*/ 84730 w 192559"/>
                  <a:gd name="connsiteY478" fmla="*/ 342270 h 369337"/>
                  <a:gd name="connsiteX479" fmla="*/ 85347 w 192559"/>
                  <a:gd name="connsiteY479" fmla="*/ 343769 h 369337"/>
                  <a:gd name="connsiteX480" fmla="*/ 85611 w 192559"/>
                  <a:gd name="connsiteY480" fmla="*/ 343769 h 369337"/>
                  <a:gd name="connsiteX481" fmla="*/ 85964 w 192559"/>
                  <a:gd name="connsiteY481" fmla="*/ 344033 h 369337"/>
                  <a:gd name="connsiteX482" fmla="*/ 85964 w 192559"/>
                  <a:gd name="connsiteY482" fmla="*/ 345797 h 369337"/>
                  <a:gd name="connsiteX483" fmla="*/ 87992 w 192559"/>
                  <a:gd name="connsiteY483" fmla="*/ 346943 h 369337"/>
                  <a:gd name="connsiteX484" fmla="*/ 89491 w 192559"/>
                  <a:gd name="connsiteY484" fmla="*/ 347207 h 369337"/>
                  <a:gd name="connsiteX485" fmla="*/ 88962 w 192559"/>
                  <a:gd name="connsiteY485" fmla="*/ 347736 h 369337"/>
                  <a:gd name="connsiteX486" fmla="*/ 89491 w 192559"/>
                  <a:gd name="connsiteY486" fmla="*/ 348353 h 369337"/>
                  <a:gd name="connsiteX487" fmla="*/ 89491 w 192559"/>
                  <a:gd name="connsiteY487" fmla="*/ 350117 h 369337"/>
                  <a:gd name="connsiteX488" fmla="*/ 90637 w 192559"/>
                  <a:gd name="connsiteY488" fmla="*/ 348089 h 369337"/>
                  <a:gd name="connsiteX489" fmla="*/ 90637 w 192559"/>
                  <a:gd name="connsiteY489" fmla="*/ 347207 h 369337"/>
                  <a:gd name="connsiteX490" fmla="*/ 90637 w 192559"/>
                  <a:gd name="connsiteY490" fmla="*/ 345708 h 369337"/>
                  <a:gd name="connsiteX491" fmla="*/ 90637 w 192559"/>
                  <a:gd name="connsiteY491" fmla="*/ 343063 h 369337"/>
                  <a:gd name="connsiteX492" fmla="*/ 91254 w 192559"/>
                  <a:gd name="connsiteY492" fmla="*/ 342182 h 369337"/>
                  <a:gd name="connsiteX493" fmla="*/ 92400 w 192559"/>
                  <a:gd name="connsiteY493" fmla="*/ 342799 h 369337"/>
                  <a:gd name="connsiteX494" fmla="*/ 92929 w 192559"/>
                  <a:gd name="connsiteY494" fmla="*/ 343063 h 369337"/>
                  <a:gd name="connsiteX495" fmla="*/ 94076 w 192559"/>
                  <a:gd name="connsiteY495" fmla="*/ 346237 h 369337"/>
                  <a:gd name="connsiteX496" fmla="*/ 94340 w 192559"/>
                  <a:gd name="connsiteY496" fmla="*/ 346237 h 369337"/>
                  <a:gd name="connsiteX497" fmla="*/ 96368 w 192559"/>
                  <a:gd name="connsiteY497" fmla="*/ 346855 h 369337"/>
                  <a:gd name="connsiteX498" fmla="*/ 98131 w 192559"/>
                  <a:gd name="connsiteY498" fmla="*/ 347384 h 369337"/>
                  <a:gd name="connsiteX499" fmla="*/ 98749 w 192559"/>
                  <a:gd name="connsiteY499" fmla="*/ 347648 h 369337"/>
                  <a:gd name="connsiteX500" fmla="*/ 101923 w 192559"/>
                  <a:gd name="connsiteY500" fmla="*/ 348530 h 369337"/>
                  <a:gd name="connsiteX501" fmla="*/ 103686 w 192559"/>
                  <a:gd name="connsiteY501" fmla="*/ 347648 h 369337"/>
                  <a:gd name="connsiteX502" fmla="*/ 106066 w 192559"/>
                  <a:gd name="connsiteY502" fmla="*/ 351175 h 369337"/>
                  <a:gd name="connsiteX503" fmla="*/ 106066 w 192559"/>
                  <a:gd name="connsiteY503" fmla="*/ 352674 h 369337"/>
                  <a:gd name="connsiteX504" fmla="*/ 106066 w 192559"/>
                  <a:gd name="connsiteY504" fmla="*/ 353291 h 369337"/>
                  <a:gd name="connsiteX505" fmla="*/ 108095 w 192559"/>
                  <a:gd name="connsiteY505" fmla="*/ 353908 h 369337"/>
                  <a:gd name="connsiteX506" fmla="*/ 108447 w 192559"/>
                  <a:gd name="connsiteY506" fmla="*/ 352762 h 369337"/>
                  <a:gd name="connsiteX507" fmla="*/ 109946 w 192559"/>
                  <a:gd name="connsiteY507" fmla="*/ 353026 h 369337"/>
                  <a:gd name="connsiteX508" fmla="*/ 111709 w 192559"/>
                  <a:gd name="connsiteY508" fmla="*/ 353291 h 369337"/>
                  <a:gd name="connsiteX509" fmla="*/ 111709 w 192559"/>
                  <a:gd name="connsiteY509" fmla="*/ 355583 h 369337"/>
                  <a:gd name="connsiteX510" fmla="*/ 110828 w 192559"/>
                  <a:gd name="connsiteY510" fmla="*/ 356465 h 369337"/>
                  <a:gd name="connsiteX511" fmla="*/ 111974 w 192559"/>
                  <a:gd name="connsiteY511" fmla="*/ 357611 h 369337"/>
                  <a:gd name="connsiteX512" fmla="*/ 111357 w 192559"/>
                  <a:gd name="connsiteY512" fmla="*/ 359374 h 369337"/>
                  <a:gd name="connsiteX513" fmla="*/ 111092 w 192559"/>
                  <a:gd name="connsiteY513" fmla="*/ 360256 h 369337"/>
                  <a:gd name="connsiteX514" fmla="*/ 110828 w 192559"/>
                  <a:gd name="connsiteY514" fmla="*/ 361402 h 369337"/>
                  <a:gd name="connsiteX515" fmla="*/ 110210 w 192559"/>
                  <a:gd name="connsiteY515" fmla="*/ 362284 h 369337"/>
                  <a:gd name="connsiteX516" fmla="*/ 109328 w 192559"/>
                  <a:gd name="connsiteY516" fmla="*/ 365546 h 369337"/>
                  <a:gd name="connsiteX517" fmla="*/ 109857 w 192559"/>
                  <a:gd name="connsiteY517" fmla="*/ 366692 h 369337"/>
                  <a:gd name="connsiteX518" fmla="*/ 110739 w 192559"/>
                  <a:gd name="connsiteY518" fmla="*/ 366692 h 369337"/>
                  <a:gd name="connsiteX519" fmla="*/ 113384 w 192559"/>
                  <a:gd name="connsiteY519" fmla="*/ 369337 h 369337"/>
                  <a:gd name="connsiteX520" fmla="*/ 114266 w 192559"/>
                  <a:gd name="connsiteY520" fmla="*/ 368191 h 369337"/>
                  <a:gd name="connsiteX521" fmla="*/ 114883 w 192559"/>
                  <a:gd name="connsiteY521" fmla="*/ 367574 h 369337"/>
                  <a:gd name="connsiteX522" fmla="*/ 115500 w 192559"/>
                  <a:gd name="connsiteY522" fmla="*/ 365811 h 369337"/>
                  <a:gd name="connsiteX523" fmla="*/ 115500 w 192559"/>
                  <a:gd name="connsiteY523" fmla="*/ 365282 h 369337"/>
                  <a:gd name="connsiteX524" fmla="*/ 117264 w 192559"/>
                  <a:gd name="connsiteY524" fmla="*/ 365017 h 369337"/>
                  <a:gd name="connsiteX525" fmla="*/ 119556 w 192559"/>
                  <a:gd name="connsiteY525" fmla="*/ 364753 h 369337"/>
                  <a:gd name="connsiteX526" fmla="*/ 120438 w 192559"/>
                  <a:gd name="connsiteY526" fmla="*/ 364753 h 369337"/>
                  <a:gd name="connsiteX527" fmla="*/ 121849 w 192559"/>
                  <a:gd name="connsiteY527" fmla="*/ 362372 h 369337"/>
                  <a:gd name="connsiteX528" fmla="*/ 122995 w 192559"/>
                  <a:gd name="connsiteY528" fmla="*/ 363518 h 369337"/>
                  <a:gd name="connsiteX529" fmla="*/ 123876 w 192559"/>
                  <a:gd name="connsiteY529" fmla="*/ 364135 h 369337"/>
                  <a:gd name="connsiteX530" fmla="*/ 124758 w 192559"/>
                  <a:gd name="connsiteY530" fmla="*/ 365017 h 369337"/>
                  <a:gd name="connsiteX531" fmla="*/ 125023 w 192559"/>
                  <a:gd name="connsiteY531" fmla="*/ 365282 h 369337"/>
                  <a:gd name="connsiteX532" fmla="*/ 125904 w 192559"/>
                  <a:gd name="connsiteY532" fmla="*/ 365546 h 369337"/>
                  <a:gd name="connsiteX533" fmla="*/ 127050 w 192559"/>
                  <a:gd name="connsiteY533" fmla="*/ 365811 h 369337"/>
                  <a:gd name="connsiteX534" fmla="*/ 128197 w 192559"/>
                  <a:gd name="connsiteY534" fmla="*/ 365811 h 369337"/>
                  <a:gd name="connsiteX535" fmla="*/ 128726 w 192559"/>
                  <a:gd name="connsiteY535" fmla="*/ 365546 h 369337"/>
                  <a:gd name="connsiteX536" fmla="*/ 129343 w 192559"/>
                  <a:gd name="connsiteY536" fmla="*/ 365282 h 369337"/>
                  <a:gd name="connsiteX537" fmla="*/ 130489 w 192559"/>
                  <a:gd name="connsiteY537" fmla="*/ 364400 h 369337"/>
                  <a:gd name="connsiteX538" fmla="*/ 130842 w 192559"/>
                  <a:gd name="connsiteY538" fmla="*/ 361226 h 369337"/>
                  <a:gd name="connsiteX539" fmla="*/ 132605 w 192559"/>
                  <a:gd name="connsiteY539" fmla="*/ 357699 h 369337"/>
                  <a:gd name="connsiteX540" fmla="*/ 137542 w 192559"/>
                  <a:gd name="connsiteY540" fmla="*/ 355054 h 369337"/>
                  <a:gd name="connsiteX541" fmla="*/ 137013 w 192559"/>
                  <a:gd name="connsiteY541" fmla="*/ 353908 h 369337"/>
                  <a:gd name="connsiteX542" fmla="*/ 135250 w 192559"/>
                  <a:gd name="connsiteY542" fmla="*/ 353643 h 369337"/>
                  <a:gd name="connsiteX543" fmla="*/ 134369 w 192559"/>
                  <a:gd name="connsiteY543" fmla="*/ 353379 h 369337"/>
                  <a:gd name="connsiteX544" fmla="*/ 133222 w 192559"/>
                  <a:gd name="connsiteY544" fmla="*/ 354261 h 369337"/>
                  <a:gd name="connsiteX545" fmla="*/ 132341 w 192559"/>
                  <a:gd name="connsiteY545" fmla="*/ 353114 h 369337"/>
                  <a:gd name="connsiteX546" fmla="*/ 131988 w 192559"/>
                  <a:gd name="connsiteY546" fmla="*/ 351351 h 369337"/>
                  <a:gd name="connsiteX547" fmla="*/ 130842 w 192559"/>
                  <a:gd name="connsiteY547" fmla="*/ 350734 h 369337"/>
                  <a:gd name="connsiteX548" fmla="*/ 130489 w 192559"/>
                  <a:gd name="connsiteY548" fmla="*/ 349323 h 369337"/>
                  <a:gd name="connsiteX549" fmla="*/ 129872 w 192559"/>
                  <a:gd name="connsiteY549" fmla="*/ 348441 h 369337"/>
                  <a:gd name="connsiteX550" fmla="*/ 128726 w 192559"/>
                  <a:gd name="connsiteY550" fmla="*/ 347824 h 369337"/>
                  <a:gd name="connsiteX551" fmla="*/ 126433 w 192559"/>
                  <a:gd name="connsiteY551" fmla="*/ 348441 h 369337"/>
                  <a:gd name="connsiteX552" fmla="*/ 127579 w 192559"/>
                  <a:gd name="connsiteY552" fmla="*/ 347031 h 369337"/>
                  <a:gd name="connsiteX553" fmla="*/ 125552 w 192559"/>
                  <a:gd name="connsiteY553" fmla="*/ 346149 h 369337"/>
                  <a:gd name="connsiteX554" fmla="*/ 124670 w 192559"/>
                  <a:gd name="connsiteY554" fmla="*/ 343857 h 369337"/>
                  <a:gd name="connsiteX555" fmla="*/ 124405 w 192559"/>
                  <a:gd name="connsiteY555" fmla="*/ 342711 h 369337"/>
                  <a:gd name="connsiteX556" fmla="*/ 123524 w 192559"/>
                  <a:gd name="connsiteY556" fmla="*/ 341564 h 369337"/>
                  <a:gd name="connsiteX557" fmla="*/ 122907 w 192559"/>
                  <a:gd name="connsiteY557" fmla="*/ 340683 h 369337"/>
                  <a:gd name="connsiteX558" fmla="*/ 120879 w 192559"/>
                  <a:gd name="connsiteY558" fmla="*/ 340683 h 369337"/>
                  <a:gd name="connsiteX559" fmla="*/ 120262 w 192559"/>
                  <a:gd name="connsiteY559" fmla="*/ 339801 h 369337"/>
                  <a:gd name="connsiteX560" fmla="*/ 120262 w 192559"/>
                  <a:gd name="connsiteY560" fmla="*/ 339536 h 369337"/>
                  <a:gd name="connsiteX561" fmla="*/ 119027 w 192559"/>
                  <a:gd name="connsiteY561" fmla="*/ 338655 h 369337"/>
                  <a:gd name="connsiteX562" fmla="*/ 116999 w 192559"/>
                  <a:gd name="connsiteY562" fmla="*/ 338038 h 369337"/>
                  <a:gd name="connsiteX563" fmla="*/ 115236 w 192559"/>
                  <a:gd name="connsiteY563" fmla="*/ 336891 h 369337"/>
                  <a:gd name="connsiteX564" fmla="*/ 114619 w 192559"/>
                  <a:gd name="connsiteY564" fmla="*/ 336891 h 369337"/>
                  <a:gd name="connsiteX565" fmla="*/ 113737 w 192559"/>
                  <a:gd name="connsiteY565" fmla="*/ 337509 h 369337"/>
                  <a:gd name="connsiteX566" fmla="*/ 114883 w 192559"/>
                  <a:gd name="connsiteY566" fmla="*/ 337509 h 369337"/>
                  <a:gd name="connsiteX567" fmla="*/ 115765 w 192559"/>
                  <a:gd name="connsiteY567" fmla="*/ 338655 h 369337"/>
                  <a:gd name="connsiteX568" fmla="*/ 114883 w 192559"/>
                  <a:gd name="connsiteY568" fmla="*/ 338919 h 369337"/>
                  <a:gd name="connsiteX569" fmla="*/ 114619 w 192559"/>
                  <a:gd name="connsiteY569" fmla="*/ 338655 h 369337"/>
                  <a:gd name="connsiteX570" fmla="*/ 113737 w 192559"/>
                  <a:gd name="connsiteY570" fmla="*/ 338038 h 369337"/>
                  <a:gd name="connsiteX571" fmla="*/ 112591 w 192559"/>
                  <a:gd name="connsiteY571" fmla="*/ 338655 h 369337"/>
                  <a:gd name="connsiteX572" fmla="*/ 110828 w 192559"/>
                  <a:gd name="connsiteY572" fmla="*/ 339272 h 369337"/>
                  <a:gd name="connsiteX573" fmla="*/ 109328 w 192559"/>
                  <a:gd name="connsiteY573" fmla="*/ 338655 h 369337"/>
                  <a:gd name="connsiteX574" fmla="*/ 109064 w 192559"/>
                  <a:gd name="connsiteY574" fmla="*/ 339536 h 369337"/>
                  <a:gd name="connsiteX575" fmla="*/ 108182 w 192559"/>
                  <a:gd name="connsiteY575" fmla="*/ 339536 h 369337"/>
                  <a:gd name="connsiteX576" fmla="*/ 107301 w 192559"/>
                  <a:gd name="connsiteY576" fmla="*/ 337773 h 369337"/>
                  <a:gd name="connsiteX577" fmla="*/ 106419 w 192559"/>
                  <a:gd name="connsiteY577" fmla="*/ 337509 h 369337"/>
                  <a:gd name="connsiteX578" fmla="*/ 104920 w 192559"/>
                  <a:gd name="connsiteY578" fmla="*/ 336891 h 369337"/>
                  <a:gd name="connsiteX579" fmla="*/ 103421 w 192559"/>
                  <a:gd name="connsiteY579" fmla="*/ 336891 h 369337"/>
                  <a:gd name="connsiteX580" fmla="*/ 102892 w 192559"/>
                  <a:gd name="connsiteY580" fmla="*/ 335128 h 369337"/>
                  <a:gd name="connsiteX581" fmla="*/ 100600 w 192559"/>
                  <a:gd name="connsiteY581" fmla="*/ 334863 h 369337"/>
                  <a:gd name="connsiteX582" fmla="*/ 100600 w 192559"/>
                  <a:gd name="connsiteY582" fmla="*/ 332836 h 369337"/>
                  <a:gd name="connsiteX583" fmla="*/ 100336 w 192559"/>
                  <a:gd name="connsiteY583" fmla="*/ 331337 h 369337"/>
                  <a:gd name="connsiteX584" fmla="*/ 99454 w 192559"/>
                  <a:gd name="connsiteY584" fmla="*/ 331072 h 369337"/>
                  <a:gd name="connsiteX585" fmla="*/ 98836 w 192559"/>
                  <a:gd name="connsiteY585" fmla="*/ 332219 h 369337"/>
                  <a:gd name="connsiteX586" fmla="*/ 97690 w 192559"/>
                  <a:gd name="connsiteY586" fmla="*/ 331954 h 369337"/>
                  <a:gd name="connsiteX587" fmla="*/ 96280 w 192559"/>
                  <a:gd name="connsiteY587" fmla="*/ 331954 h 369337"/>
                  <a:gd name="connsiteX588" fmla="*/ 96280 w 192559"/>
                  <a:gd name="connsiteY588" fmla="*/ 331337 h 369337"/>
                  <a:gd name="connsiteX589" fmla="*/ 95398 w 192559"/>
                  <a:gd name="connsiteY589" fmla="*/ 331337 h 369337"/>
                  <a:gd name="connsiteX590" fmla="*/ 93370 w 192559"/>
                  <a:gd name="connsiteY590" fmla="*/ 330191 h 369337"/>
                  <a:gd name="connsiteX591" fmla="*/ 94516 w 192559"/>
                  <a:gd name="connsiteY591" fmla="*/ 329574 h 369337"/>
                  <a:gd name="connsiteX592" fmla="*/ 93370 w 192559"/>
                  <a:gd name="connsiteY592" fmla="*/ 328692 h 369337"/>
                  <a:gd name="connsiteX593" fmla="*/ 93106 w 192559"/>
                  <a:gd name="connsiteY593" fmla="*/ 327193 h 369337"/>
                  <a:gd name="connsiteX594" fmla="*/ 91960 w 192559"/>
                  <a:gd name="connsiteY594" fmla="*/ 326928 h 369337"/>
                  <a:gd name="connsiteX595" fmla="*/ 91342 w 192559"/>
                  <a:gd name="connsiteY595" fmla="*/ 326664 h 369337"/>
                  <a:gd name="connsiteX596" fmla="*/ 92489 w 192559"/>
                  <a:gd name="connsiteY596" fmla="*/ 325782 h 369337"/>
                  <a:gd name="connsiteX597" fmla="*/ 92224 w 192559"/>
                  <a:gd name="connsiteY597" fmla="*/ 324636 h 369337"/>
                  <a:gd name="connsiteX598" fmla="*/ 90461 w 192559"/>
                  <a:gd name="connsiteY598" fmla="*/ 323225 h 369337"/>
                  <a:gd name="connsiteX599" fmla="*/ 89315 w 192559"/>
                  <a:gd name="connsiteY599" fmla="*/ 322961 h 369337"/>
                  <a:gd name="connsiteX600" fmla="*/ 88433 w 192559"/>
                  <a:gd name="connsiteY600" fmla="*/ 320316 h 369337"/>
                  <a:gd name="connsiteX601" fmla="*/ 88168 w 192559"/>
                  <a:gd name="connsiteY601" fmla="*/ 317671 h 369337"/>
                  <a:gd name="connsiteX602" fmla="*/ 89050 w 192559"/>
                  <a:gd name="connsiteY602" fmla="*/ 317935 h 369337"/>
                  <a:gd name="connsiteX603" fmla="*/ 89667 w 192559"/>
                  <a:gd name="connsiteY603" fmla="*/ 316172 h 369337"/>
                  <a:gd name="connsiteX604" fmla="*/ 90549 w 192559"/>
                  <a:gd name="connsiteY604" fmla="*/ 315907 h 369337"/>
                  <a:gd name="connsiteX605" fmla="*/ 91431 w 192559"/>
                  <a:gd name="connsiteY605" fmla="*/ 316525 h 369337"/>
                  <a:gd name="connsiteX606" fmla="*/ 91431 w 192559"/>
                  <a:gd name="connsiteY606" fmla="*/ 317671 h 369337"/>
                  <a:gd name="connsiteX607" fmla="*/ 91695 w 192559"/>
                  <a:gd name="connsiteY607" fmla="*/ 320316 h 369337"/>
                  <a:gd name="connsiteX608" fmla="*/ 91695 w 192559"/>
                  <a:gd name="connsiteY608" fmla="*/ 321197 h 369337"/>
                  <a:gd name="connsiteX609" fmla="*/ 91166 w 192559"/>
                  <a:gd name="connsiteY609" fmla="*/ 322961 h 369337"/>
                  <a:gd name="connsiteX610" fmla="*/ 91695 w 192559"/>
                  <a:gd name="connsiteY610" fmla="*/ 322079 h 369337"/>
                  <a:gd name="connsiteX611" fmla="*/ 93194 w 192559"/>
                  <a:gd name="connsiteY611" fmla="*/ 321462 h 369337"/>
                  <a:gd name="connsiteX612" fmla="*/ 93458 w 192559"/>
                  <a:gd name="connsiteY612" fmla="*/ 322079 h 369337"/>
                  <a:gd name="connsiteX613" fmla="*/ 95222 w 192559"/>
                  <a:gd name="connsiteY613" fmla="*/ 327634 h 369337"/>
                  <a:gd name="connsiteX614" fmla="*/ 95222 w 192559"/>
                  <a:gd name="connsiteY614" fmla="*/ 328780 h 369337"/>
                  <a:gd name="connsiteX615" fmla="*/ 95486 w 192559"/>
                  <a:gd name="connsiteY615" fmla="*/ 329397 h 369337"/>
                  <a:gd name="connsiteX616" fmla="*/ 96368 w 192559"/>
                  <a:gd name="connsiteY616" fmla="*/ 329662 h 369337"/>
                  <a:gd name="connsiteX617" fmla="*/ 98749 w 192559"/>
                  <a:gd name="connsiteY617" fmla="*/ 331425 h 369337"/>
                  <a:gd name="connsiteX618" fmla="*/ 98396 w 192559"/>
                  <a:gd name="connsiteY618" fmla="*/ 330279 h 369337"/>
                  <a:gd name="connsiteX619" fmla="*/ 98131 w 192559"/>
                  <a:gd name="connsiteY619" fmla="*/ 328251 h 369337"/>
                  <a:gd name="connsiteX620" fmla="*/ 96985 w 192559"/>
                  <a:gd name="connsiteY620" fmla="*/ 327634 h 369337"/>
                  <a:gd name="connsiteX621" fmla="*/ 97249 w 192559"/>
                  <a:gd name="connsiteY621" fmla="*/ 326135 h 369337"/>
                  <a:gd name="connsiteX622" fmla="*/ 96985 w 192559"/>
                  <a:gd name="connsiteY622" fmla="*/ 325253 h 369337"/>
                  <a:gd name="connsiteX623" fmla="*/ 96720 w 192559"/>
                  <a:gd name="connsiteY623" fmla="*/ 324107 h 369337"/>
                  <a:gd name="connsiteX624" fmla="*/ 94957 w 192559"/>
                  <a:gd name="connsiteY624" fmla="*/ 324107 h 369337"/>
                  <a:gd name="connsiteX625" fmla="*/ 95486 w 192559"/>
                  <a:gd name="connsiteY625" fmla="*/ 322344 h 369337"/>
                  <a:gd name="connsiteX626" fmla="*/ 95751 w 192559"/>
                  <a:gd name="connsiteY626" fmla="*/ 320580 h 369337"/>
                  <a:gd name="connsiteX627" fmla="*/ 94340 w 192559"/>
                  <a:gd name="connsiteY627" fmla="*/ 319699 h 369337"/>
                  <a:gd name="connsiteX628" fmla="*/ 92312 w 192559"/>
                  <a:gd name="connsiteY628" fmla="*/ 318553 h 369337"/>
                  <a:gd name="connsiteX629" fmla="*/ 94076 w 192559"/>
                  <a:gd name="connsiteY629" fmla="*/ 316525 h 369337"/>
                  <a:gd name="connsiteX630" fmla="*/ 94340 w 192559"/>
                  <a:gd name="connsiteY630" fmla="*/ 315907 h 369337"/>
                  <a:gd name="connsiteX631" fmla="*/ 94605 w 192559"/>
                  <a:gd name="connsiteY631" fmla="*/ 314761 h 369337"/>
                  <a:gd name="connsiteX632" fmla="*/ 94340 w 192559"/>
                  <a:gd name="connsiteY632" fmla="*/ 313262 h 369337"/>
                  <a:gd name="connsiteX633" fmla="*/ 94076 w 192559"/>
                  <a:gd name="connsiteY633" fmla="*/ 312381 h 369337"/>
                  <a:gd name="connsiteX634" fmla="*/ 92929 w 192559"/>
                  <a:gd name="connsiteY634" fmla="*/ 312381 h 369337"/>
                  <a:gd name="connsiteX635" fmla="*/ 92665 w 192559"/>
                  <a:gd name="connsiteY635" fmla="*/ 311499 h 369337"/>
                  <a:gd name="connsiteX636" fmla="*/ 92665 w 192559"/>
                  <a:gd name="connsiteY636" fmla="*/ 310353 h 369337"/>
                  <a:gd name="connsiteX637" fmla="*/ 92665 w 192559"/>
                  <a:gd name="connsiteY637" fmla="*/ 309206 h 369337"/>
                  <a:gd name="connsiteX638" fmla="*/ 92665 w 192559"/>
                  <a:gd name="connsiteY638" fmla="*/ 308325 h 369337"/>
                  <a:gd name="connsiteX639" fmla="*/ 92048 w 192559"/>
                  <a:gd name="connsiteY639" fmla="*/ 307796 h 369337"/>
                  <a:gd name="connsiteX640" fmla="*/ 90902 w 192559"/>
                  <a:gd name="connsiteY640" fmla="*/ 307532 h 369337"/>
                  <a:gd name="connsiteX641" fmla="*/ 91783 w 192559"/>
                  <a:gd name="connsiteY641" fmla="*/ 306121 h 369337"/>
                  <a:gd name="connsiteX642" fmla="*/ 91783 w 192559"/>
                  <a:gd name="connsiteY642" fmla="*/ 305504 h 369337"/>
                  <a:gd name="connsiteX643" fmla="*/ 91783 w 192559"/>
                  <a:gd name="connsiteY643" fmla="*/ 304005 h 369337"/>
                  <a:gd name="connsiteX644" fmla="*/ 90020 w 192559"/>
                  <a:gd name="connsiteY644" fmla="*/ 303123 h 369337"/>
                  <a:gd name="connsiteX645" fmla="*/ 90284 w 192559"/>
                  <a:gd name="connsiteY645" fmla="*/ 301095 h 369337"/>
                  <a:gd name="connsiteX646" fmla="*/ 88873 w 192559"/>
                  <a:gd name="connsiteY646" fmla="*/ 299949 h 369337"/>
                  <a:gd name="connsiteX647" fmla="*/ 87992 w 192559"/>
                  <a:gd name="connsiteY647" fmla="*/ 298538 h 369337"/>
                  <a:gd name="connsiteX648" fmla="*/ 86846 w 192559"/>
                  <a:gd name="connsiteY648" fmla="*/ 298185 h 369337"/>
                  <a:gd name="connsiteX649" fmla="*/ 86581 w 192559"/>
                  <a:gd name="connsiteY649" fmla="*/ 299067 h 369337"/>
                  <a:gd name="connsiteX650" fmla="*/ 87463 w 192559"/>
                  <a:gd name="connsiteY650" fmla="*/ 298803 h 369337"/>
                  <a:gd name="connsiteX651" fmla="*/ 87992 w 192559"/>
                  <a:gd name="connsiteY651" fmla="*/ 300566 h 369337"/>
                  <a:gd name="connsiteX652" fmla="*/ 87992 w 192559"/>
                  <a:gd name="connsiteY652" fmla="*/ 301448 h 369337"/>
                  <a:gd name="connsiteX653" fmla="*/ 86846 w 192559"/>
                  <a:gd name="connsiteY653" fmla="*/ 300831 h 369337"/>
                  <a:gd name="connsiteX654" fmla="*/ 85964 w 192559"/>
                  <a:gd name="connsiteY654" fmla="*/ 300213 h 369337"/>
                  <a:gd name="connsiteX655" fmla="*/ 85347 w 192559"/>
                  <a:gd name="connsiteY655" fmla="*/ 297568 h 369337"/>
                  <a:gd name="connsiteX656" fmla="*/ 83319 w 192559"/>
                  <a:gd name="connsiteY656" fmla="*/ 296951 h 369337"/>
                  <a:gd name="connsiteX657" fmla="*/ 83583 w 192559"/>
                  <a:gd name="connsiteY657" fmla="*/ 295540 h 369337"/>
                  <a:gd name="connsiteX658" fmla="*/ 84465 w 192559"/>
                  <a:gd name="connsiteY658" fmla="*/ 294923 h 369337"/>
                  <a:gd name="connsiteX659" fmla="*/ 84465 w 192559"/>
                  <a:gd name="connsiteY659" fmla="*/ 294042 h 369337"/>
                  <a:gd name="connsiteX660" fmla="*/ 84465 w 192559"/>
                  <a:gd name="connsiteY660" fmla="*/ 292278 h 369337"/>
                  <a:gd name="connsiteX661" fmla="*/ 83848 w 192559"/>
                  <a:gd name="connsiteY661" fmla="*/ 290250 h 369337"/>
                  <a:gd name="connsiteX662" fmla="*/ 82966 w 192559"/>
                  <a:gd name="connsiteY662" fmla="*/ 289633 h 369337"/>
                  <a:gd name="connsiteX663" fmla="*/ 82085 w 192559"/>
                  <a:gd name="connsiteY663" fmla="*/ 288752 h 369337"/>
                  <a:gd name="connsiteX664" fmla="*/ 82437 w 192559"/>
                  <a:gd name="connsiteY664" fmla="*/ 286988 h 369337"/>
                  <a:gd name="connsiteX665" fmla="*/ 81556 w 192559"/>
                  <a:gd name="connsiteY665" fmla="*/ 285842 h 369337"/>
                  <a:gd name="connsiteX666" fmla="*/ 81820 w 192559"/>
                  <a:gd name="connsiteY666" fmla="*/ 285842 h 369337"/>
                  <a:gd name="connsiteX667" fmla="*/ 81556 w 192559"/>
                  <a:gd name="connsiteY667" fmla="*/ 284431 h 369337"/>
                  <a:gd name="connsiteX668" fmla="*/ 81291 w 192559"/>
                  <a:gd name="connsiteY668" fmla="*/ 283285 h 369337"/>
                  <a:gd name="connsiteX669" fmla="*/ 80939 w 192559"/>
                  <a:gd name="connsiteY669" fmla="*/ 282139 h 369337"/>
                  <a:gd name="connsiteX670" fmla="*/ 80674 w 192559"/>
                  <a:gd name="connsiteY670" fmla="*/ 280728 h 369337"/>
                  <a:gd name="connsiteX671" fmla="*/ 80410 w 192559"/>
                  <a:gd name="connsiteY671" fmla="*/ 280464 h 369337"/>
                  <a:gd name="connsiteX672" fmla="*/ 80674 w 192559"/>
                  <a:gd name="connsiteY672" fmla="*/ 279582 h 369337"/>
                  <a:gd name="connsiteX673" fmla="*/ 80057 w 192559"/>
                  <a:gd name="connsiteY673" fmla="*/ 279053 h 369337"/>
                  <a:gd name="connsiteX674" fmla="*/ 79440 w 192559"/>
                  <a:gd name="connsiteY674" fmla="*/ 278789 h 369337"/>
                  <a:gd name="connsiteX675" fmla="*/ 78558 w 192559"/>
                  <a:gd name="connsiteY675" fmla="*/ 278171 h 369337"/>
                  <a:gd name="connsiteX676" fmla="*/ 77676 w 192559"/>
                  <a:gd name="connsiteY676" fmla="*/ 277907 h 369337"/>
                  <a:gd name="connsiteX677" fmla="*/ 76530 w 192559"/>
                  <a:gd name="connsiteY677" fmla="*/ 278789 h 369337"/>
                  <a:gd name="connsiteX678" fmla="*/ 75648 w 192559"/>
                  <a:gd name="connsiteY678" fmla="*/ 277907 h 369337"/>
                  <a:gd name="connsiteX679" fmla="*/ 75384 w 192559"/>
                  <a:gd name="connsiteY679" fmla="*/ 278789 h 369337"/>
                  <a:gd name="connsiteX680" fmla="*/ 74767 w 192559"/>
                  <a:gd name="connsiteY680" fmla="*/ 278436 h 369337"/>
                  <a:gd name="connsiteX681" fmla="*/ 74149 w 192559"/>
                  <a:gd name="connsiteY681" fmla="*/ 279318 h 369337"/>
                  <a:gd name="connsiteX682" fmla="*/ 72651 w 192559"/>
                  <a:gd name="connsiteY682" fmla="*/ 278789 h 369337"/>
                  <a:gd name="connsiteX683" fmla="*/ 71504 w 192559"/>
                  <a:gd name="connsiteY683" fmla="*/ 280552 h 369337"/>
                  <a:gd name="connsiteX684" fmla="*/ 70623 w 192559"/>
                  <a:gd name="connsiteY684" fmla="*/ 281169 h 369337"/>
                  <a:gd name="connsiteX685" fmla="*/ 69212 w 192559"/>
                  <a:gd name="connsiteY685" fmla="*/ 281169 h 369337"/>
                  <a:gd name="connsiteX686" fmla="*/ 66920 w 192559"/>
                  <a:gd name="connsiteY686" fmla="*/ 279670 h 369337"/>
                  <a:gd name="connsiteX687" fmla="*/ 66302 w 192559"/>
                  <a:gd name="connsiteY687" fmla="*/ 280552 h 369337"/>
                  <a:gd name="connsiteX688" fmla="*/ 66038 w 192559"/>
                  <a:gd name="connsiteY688" fmla="*/ 279670 h 369337"/>
                  <a:gd name="connsiteX689" fmla="*/ 65686 w 192559"/>
                  <a:gd name="connsiteY689" fmla="*/ 277907 h 369337"/>
                  <a:gd name="connsiteX690" fmla="*/ 66831 w 192559"/>
                  <a:gd name="connsiteY690" fmla="*/ 276143 h 369337"/>
                  <a:gd name="connsiteX691" fmla="*/ 65950 w 192559"/>
                  <a:gd name="connsiteY691" fmla="*/ 274380 h 369337"/>
                  <a:gd name="connsiteX692" fmla="*/ 64451 w 192559"/>
                  <a:gd name="connsiteY692" fmla="*/ 272352 h 369337"/>
                  <a:gd name="connsiteX693" fmla="*/ 64980 w 192559"/>
                  <a:gd name="connsiteY693" fmla="*/ 268825 h 369337"/>
                  <a:gd name="connsiteX694" fmla="*/ 65333 w 192559"/>
                  <a:gd name="connsiteY694" fmla="*/ 269707 h 369337"/>
                  <a:gd name="connsiteX695" fmla="*/ 64186 w 192559"/>
                  <a:gd name="connsiteY695" fmla="*/ 270589 h 369337"/>
                  <a:gd name="connsiteX696" fmla="*/ 63922 w 192559"/>
                  <a:gd name="connsiteY696" fmla="*/ 269707 h 369337"/>
                  <a:gd name="connsiteX697" fmla="*/ 63040 w 192559"/>
                  <a:gd name="connsiteY697" fmla="*/ 266797 h 369337"/>
                  <a:gd name="connsiteX698" fmla="*/ 63305 w 192559"/>
                  <a:gd name="connsiteY698" fmla="*/ 265652 h 369337"/>
                  <a:gd name="connsiteX699" fmla="*/ 63305 w 192559"/>
                  <a:gd name="connsiteY699" fmla="*/ 264505 h 369337"/>
                  <a:gd name="connsiteX700" fmla="*/ 63834 w 192559"/>
                  <a:gd name="connsiteY700" fmla="*/ 263006 h 369337"/>
                  <a:gd name="connsiteX701" fmla="*/ 62423 w 192559"/>
                  <a:gd name="connsiteY701" fmla="*/ 261243 h 369337"/>
                  <a:gd name="connsiteX702" fmla="*/ 63040 w 192559"/>
                  <a:gd name="connsiteY702" fmla="*/ 260626 h 369337"/>
                  <a:gd name="connsiteX703" fmla="*/ 63040 w 192559"/>
                  <a:gd name="connsiteY703" fmla="*/ 260361 h 369337"/>
                  <a:gd name="connsiteX704" fmla="*/ 62423 w 192559"/>
                  <a:gd name="connsiteY704" fmla="*/ 259480 h 369337"/>
                  <a:gd name="connsiteX705" fmla="*/ 62159 w 192559"/>
                  <a:gd name="connsiteY705" fmla="*/ 258333 h 369337"/>
                  <a:gd name="connsiteX706" fmla="*/ 62776 w 192559"/>
                  <a:gd name="connsiteY706" fmla="*/ 256041 h 369337"/>
                  <a:gd name="connsiteX707" fmla="*/ 63393 w 192559"/>
                  <a:gd name="connsiteY707" fmla="*/ 256041 h 369337"/>
                  <a:gd name="connsiteX708" fmla="*/ 64275 w 192559"/>
                  <a:gd name="connsiteY708" fmla="*/ 256041 h 369337"/>
                  <a:gd name="connsiteX709" fmla="*/ 66038 w 192559"/>
                  <a:gd name="connsiteY709" fmla="*/ 254013 h 369337"/>
                  <a:gd name="connsiteX710" fmla="*/ 64275 w 192559"/>
                  <a:gd name="connsiteY710" fmla="*/ 255159 h 369337"/>
                  <a:gd name="connsiteX711" fmla="*/ 63657 w 192559"/>
                  <a:gd name="connsiteY711" fmla="*/ 254895 h 369337"/>
                  <a:gd name="connsiteX712" fmla="*/ 62776 w 192559"/>
                  <a:gd name="connsiteY712" fmla="*/ 255159 h 369337"/>
                  <a:gd name="connsiteX713" fmla="*/ 62511 w 192559"/>
                  <a:gd name="connsiteY713" fmla="*/ 254895 h 369337"/>
                  <a:gd name="connsiteX714" fmla="*/ 62776 w 192559"/>
                  <a:gd name="connsiteY714" fmla="*/ 254013 h 369337"/>
                  <a:gd name="connsiteX715" fmla="*/ 65421 w 192559"/>
                  <a:gd name="connsiteY715" fmla="*/ 252250 h 369337"/>
                  <a:gd name="connsiteX716" fmla="*/ 66920 w 192559"/>
                  <a:gd name="connsiteY716" fmla="*/ 251368 h 369337"/>
                  <a:gd name="connsiteX717" fmla="*/ 66567 w 192559"/>
                  <a:gd name="connsiteY717" fmla="*/ 249605 h 369337"/>
                  <a:gd name="connsiteX718" fmla="*/ 66302 w 192559"/>
                  <a:gd name="connsiteY718" fmla="*/ 249869 h 369337"/>
                  <a:gd name="connsiteX719" fmla="*/ 66567 w 192559"/>
                  <a:gd name="connsiteY719" fmla="*/ 247841 h 369337"/>
                  <a:gd name="connsiteX720" fmla="*/ 67184 w 192559"/>
                  <a:gd name="connsiteY720" fmla="*/ 247224 h 369337"/>
                  <a:gd name="connsiteX721" fmla="*/ 66920 w 192559"/>
                  <a:gd name="connsiteY721" fmla="*/ 245725 h 369337"/>
                  <a:gd name="connsiteX722" fmla="*/ 66920 w 192559"/>
                  <a:gd name="connsiteY722" fmla="*/ 243697 h 369337"/>
                  <a:gd name="connsiteX723" fmla="*/ 67537 w 192559"/>
                  <a:gd name="connsiteY723" fmla="*/ 241317 h 369337"/>
                  <a:gd name="connsiteX724" fmla="*/ 67184 w 192559"/>
                  <a:gd name="connsiteY724" fmla="*/ 241317 h 369337"/>
                  <a:gd name="connsiteX725" fmla="*/ 67802 w 192559"/>
                  <a:gd name="connsiteY725" fmla="*/ 239024 h 369337"/>
                  <a:gd name="connsiteX726" fmla="*/ 68419 w 192559"/>
                  <a:gd name="connsiteY726" fmla="*/ 237878 h 369337"/>
                  <a:gd name="connsiteX727" fmla="*/ 68419 w 192559"/>
                  <a:gd name="connsiteY727" fmla="*/ 238143 h 369337"/>
                  <a:gd name="connsiteX728" fmla="*/ 69565 w 192559"/>
                  <a:gd name="connsiteY728" fmla="*/ 237261 h 369337"/>
                  <a:gd name="connsiteX729" fmla="*/ 70182 w 192559"/>
                  <a:gd name="connsiteY729" fmla="*/ 236380 h 369337"/>
                  <a:gd name="connsiteX730" fmla="*/ 70182 w 192559"/>
                  <a:gd name="connsiteY730" fmla="*/ 234616 h 369337"/>
                  <a:gd name="connsiteX731" fmla="*/ 70535 w 192559"/>
                  <a:gd name="connsiteY731" fmla="*/ 233470 h 369337"/>
                  <a:gd name="connsiteX732" fmla="*/ 70535 w 192559"/>
                  <a:gd name="connsiteY732" fmla="*/ 231707 h 369337"/>
                  <a:gd name="connsiteX733" fmla="*/ 70535 w 192559"/>
                  <a:gd name="connsiteY733" fmla="*/ 231971 h 369337"/>
                  <a:gd name="connsiteX734" fmla="*/ 70182 w 192559"/>
                  <a:gd name="connsiteY734" fmla="*/ 229679 h 369337"/>
                  <a:gd name="connsiteX735" fmla="*/ 70182 w 192559"/>
                  <a:gd name="connsiteY735" fmla="*/ 228797 h 369337"/>
                  <a:gd name="connsiteX736" fmla="*/ 70535 w 192559"/>
                  <a:gd name="connsiteY736" fmla="*/ 227298 h 369337"/>
                  <a:gd name="connsiteX737" fmla="*/ 71681 w 192559"/>
                  <a:gd name="connsiteY737" fmla="*/ 226416 h 369337"/>
                  <a:gd name="connsiteX738" fmla="*/ 71681 w 192559"/>
                  <a:gd name="connsiteY738" fmla="*/ 226152 h 369337"/>
                  <a:gd name="connsiteX739" fmla="*/ 72298 w 192559"/>
                  <a:gd name="connsiteY739" fmla="*/ 224741 h 369337"/>
                  <a:gd name="connsiteX740" fmla="*/ 73444 w 192559"/>
                  <a:gd name="connsiteY740" fmla="*/ 224477 h 369337"/>
                  <a:gd name="connsiteX741" fmla="*/ 73709 w 192559"/>
                  <a:gd name="connsiteY741" fmla="*/ 223860 h 369337"/>
                  <a:gd name="connsiteX742" fmla="*/ 74855 w 192559"/>
                  <a:gd name="connsiteY742" fmla="*/ 220421 h 369337"/>
                  <a:gd name="connsiteX743" fmla="*/ 74238 w 192559"/>
                  <a:gd name="connsiteY743" fmla="*/ 220686 h 369337"/>
                  <a:gd name="connsiteX744" fmla="*/ 73620 w 192559"/>
                  <a:gd name="connsiteY744" fmla="*/ 221832 h 369337"/>
                  <a:gd name="connsiteX745" fmla="*/ 73885 w 192559"/>
                  <a:gd name="connsiteY745" fmla="*/ 221215 h 369337"/>
                  <a:gd name="connsiteX746" fmla="*/ 74767 w 192559"/>
                  <a:gd name="connsiteY746" fmla="*/ 219187 h 369337"/>
                  <a:gd name="connsiteX747" fmla="*/ 75648 w 192559"/>
                  <a:gd name="connsiteY747" fmla="*/ 216542 h 369337"/>
                  <a:gd name="connsiteX748" fmla="*/ 75384 w 192559"/>
                  <a:gd name="connsiteY748" fmla="*/ 218569 h 369337"/>
                  <a:gd name="connsiteX749" fmla="*/ 75648 w 192559"/>
                  <a:gd name="connsiteY749" fmla="*/ 217688 h 369337"/>
                  <a:gd name="connsiteX750" fmla="*/ 77059 w 192559"/>
                  <a:gd name="connsiteY750" fmla="*/ 215395 h 369337"/>
                  <a:gd name="connsiteX751" fmla="*/ 76794 w 192559"/>
                  <a:gd name="connsiteY751" fmla="*/ 215660 h 369337"/>
                  <a:gd name="connsiteX752" fmla="*/ 75648 w 192559"/>
                  <a:gd name="connsiteY752" fmla="*/ 215660 h 369337"/>
                  <a:gd name="connsiteX753" fmla="*/ 76530 w 192559"/>
                  <a:gd name="connsiteY753" fmla="*/ 213632 h 369337"/>
                  <a:gd name="connsiteX754" fmla="*/ 78029 w 192559"/>
                  <a:gd name="connsiteY754" fmla="*/ 212486 h 369337"/>
                  <a:gd name="connsiteX755" fmla="*/ 78029 w 192559"/>
                  <a:gd name="connsiteY755" fmla="*/ 210723 h 369337"/>
                  <a:gd name="connsiteX756" fmla="*/ 78029 w 192559"/>
                  <a:gd name="connsiteY756" fmla="*/ 209576 h 369337"/>
                  <a:gd name="connsiteX757" fmla="*/ 78029 w 192559"/>
                  <a:gd name="connsiteY757" fmla="*/ 208959 h 369337"/>
                  <a:gd name="connsiteX758" fmla="*/ 77765 w 192559"/>
                  <a:gd name="connsiteY758" fmla="*/ 206314 h 369337"/>
                  <a:gd name="connsiteX759" fmla="*/ 77765 w 192559"/>
                  <a:gd name="connsiteY759" fmla="*/ 204551 h 369337"/>
                  <a:gd name="connsiteX760" fmla="*/ 78029 w 192559"/>
                  <a:gd name="connsiteY760" fmla="*/ 202787 h 369337"/>
                  <a:gd name="connsiteX761" fmla="*/ 77765 w 192559"/>
                  <a:gd name="connsiteY761" fmla="*/ 201906 h 369337"/>
                  <a:gd name="connsiteX762" fmla="*/ 78029 w 192559"/>
                  <a:gd name="connsiteY762" fmla="*/ 200142 h 369337"/>
                  <a:gd name="connsiteX763" fmla="*/ 77765 w 192559"/>
                  <a:gd name="connsiteY763" fmla="*/ 198996 h 369337"/>
                  <a:gd name="connsiteX764" fmla="*/ 77765 w 192559"/>
                  <a:gd name="connsiteY764" fmla="*/ 197850 h 369337"/>
                  <a:gd name="connsiteX765" fmla="*/ 77147 w 192559"/>
                  <a:gd name="connsiteY765" fmla="*/ 197850 h 369337"/>
                  <a:gd name="connsiteX766" fmla="*/ 76618 w 192559"/>
                  <a:gd name="connsiteY766" fmla="*/ 197233 h 369337"/>
                  <a:gd name="connsiteX767" fmla="*/ 75472 w 192559"/>
                  <a:gd name="connsiteY767" fmla="*/ 197850 h 369337"/>
                  <a:gd name="connsiteX768" fmla="*/ 75207 w 192559"/>
                  <a:gd name="connsiteY768" fmla="*/ 195822 h 369337"/>
                  <a:gd name="connsiteX769" fmla="*/ 76089 w 192559"/>
                  <a:gd name="connsiteY769" fmla="*/ 193794 h 369337"/>
                  <a:gd name="connsiteX770" fmla="*/ 76971 w 192559"/>
                  <a:gd name="connsiteY770" fmla="*/ 192383 h 369337"/>
                  <a:gd name="connsiteX771" fmla="*/ 76707 w 192559"/>
                  <a:gd name="connsiteY771" fmla="*/ 191237 h 369337"/>
                  <a:gd name="connsiteX772" fmla="*/ 76442 w 192559"/>
                  <a:gd name="connsiteY772" fmla="*/ 189474 h 369337"/>
                  <a:gd name="connsiteX773" fmla="*/ 76442 w 192559"/>
                  <a:gd name="connsiteY773" fmla="*/ 186829 h 369337"/>
                  <a:gd name="connsiteX774" fmla="*/ 77323 w 192559"/>
                  <a:gd name="connsiteY774" fmla="*/ 184536 h 369337"/>
                  <a:gd name="connsiteX775" fmla="*/ 76794 w 192559"/>
                  <a:gd name="connsiteY775" fmla="*/ 184008 h 369337"/>
                  <a:gd name="connsiteX776" fmla="*/ 76178 w 192559"/>
                  <a:gd name="connsiteY776" fmla="*/ 181980 h 369337"/>
                  <a:gd name="connsiteX777" fmla="*/ 74767 w 192559"/>
                  <a:gd name="connsiteY777" fmla="*/ 181098 h 369337"/>
                  <a:gd name="connsiteX778" fmla="*/ 73620 w 192559"/>
                  <a:gd name="connsiteY778" fmla="*/ 178806 h 369337"/>
                  <a:gd name="connsiteX779" fmla="*/ 73356 w 192559"/>
                  <a:gd name="connsiteY779" fmla="*/ 178188 h 369337"/>
                  <a:gd name="connsiteX780" fmla="*/ 74238 w 192559"/>
                  <a:gd name="connsiteY780" fmla="*/ 177571 h 369337"/>
                  <a:gd name="connsiteX781" fmla="*/ 74502 w 192559"/>
                  <a:gd name="connsiteY781" fmla="*/ 176954 h 369337"/>
                  <a:gd name="connsiteX782" fmla="*/ 75119 w 192559"/>
                  <a:gd name="connsiteY782" fmla="*/ 176954 h 369337"/>
                  <a:gd name="connsiteX783" fmla="*/ 75736 w 192559"/>
                  <a:gd name="connsiteY783" fmla="*/ 175808 h 369337"/>
                  <a:gd name="connsiteX784" fmla="*/ 79528 w 192559"/>
                  <a:gd name="connsiteY784" fmla="*/ 174044 h 369337"/>
                  <a:gd name="connsiteX785" fmla="*/ 79528 w 192559"/>
                  <a:gd name="connsiteY785" fmla="*/ 171664 h 369337"/>
                  <a:gd name="connsiteX786" fmla="*/ 80939 w 192559"/>
                  <a:gd name="connsiteY786" fmla="*/ 174044 h 369337"/>
                  <a:gd name="connsiteX787" fmla="*/ 82966 w 192559"/>
                  <a:gd name="connsiteY787" fmla="*/ 173163 h 369337"/>
                  <a:gd name="connsiteX788" fmla="*/ 83848 w 192559"/>
                  <a:gd name="connsiteY788" fmla="*/ 172281 h 369337"/>
                  <a:gd name="connsiteX789" fmla="*/ 85611 w 192559"/>
                  <a:gd name="connsiteY789" fmla="*/ 173427 h 369337"/>
                  <a:gd name="connsiteX790" fmla="*/ 86493 w 192559"/>
                  <a:gd name="connsiteY790" fmla="*/ 173163 h 369337"/>
                  <a:gd name="connsiteX791" fmla="*/ 86228 w 192559"/>
                  <a:gd name="connsiteY791" fmla="*/ 172281 h 369337"/>
                  <a:gd name="connsiteX792" fmla="*/ 87110 w 192559"/>
                  <a:gd name="connsiteY792" fmla="*/ 169636 h 369337"/>
                  <a:gd name="connsiteX793" fmla="*/ 87375 w 192559"/>
                  <a:gd name="connsiteY793" fmla="*/ 171135 h 369337"/>
                  <a:gd name="connsiteX794" fmla="*/ 88786 w 192559"/>
                  <a:gd name="connsiteY794" fmla="*/ 172898 h 369337"/>
                  <a:gd name="connsiteX795" fmla="*/ 93723 w 192559"/>
                  <a:gd name="connsiteY795" fmla="*/ 174044 h 369337"/>
                  <a:gd name="connsiteX796" fmla="*/ 94605 w 192559"/>
                  <a:gd name="connsiteY796" fmla="*/ 174309 h 369337"/>
                  <a:gd name="connsiteX797" fmla="*/ 95222 w 192559"/>
                  <a:gd name="connsiteY797" fmla="*/ 174044 h 369337"/>
                  <a:gd name="connsiteX798" fmla="*/ 95486 w 192559"/>
                  <a:gd name="connsiteY798" fmla="*/ 174662 h 369337"/>
                  <a:gd name="connsiteX799" fmla="*/ 95222 w 192559"/>
                  <a:gd name="connsiteY799" fmla="*/ 175279 h 369337"/>
                  <a:gd name="connsiteX800" fmla="*/ 95486 w 192559"/>
                  <a:gd name="connsiteY800" fmla="*/ 177042 h 369337"/>
                  <a:gd name="connsiteX801" fmla="*/ 95222 w 192559"/>
                  <a:gd name="connsiteY801" fmla="*/ 177924 h 369337"/>
                  <a:gd name="connsiteX802" fmla="*/ 94340 w 192559"/>
                  <a:gd name="connsiteY802" fmla="*/ 178806 h 369337"/>
                  <a:gd name="connsiteX803" fmla="*/ 94605 w 192559"/>
                  <a:gd name="connsiteY803" fmla="*/ 179335 h 369337"/>
                  <a:gd name="connsiteX804" fmla="*/ 95222 w 192559"/>
                  <a:gd name="connsiteY804" fmla="*/ 181098 h 369337"/>
                  <a:gd name="connsiteX805" fmla="*/ 94076 w 192559"/>
                  <a:gd name="connsiteY805" fmla="*/ 182509 h 369337"/>
                  <a:gd name="connsiteX806" fmla="*/ 93811 w 192559"/>
                  <a:gd name="connsiteY806" fmla="*/ 184008 h 369337"/>
                  <a:gd name="connsiteX807" fmla="*/ 94957 w 192559"/>
                  <a:gd name="connsiteY807" fmla="*/ 184536 h 369337"/>
                  <a:gd name="connsiteX808" fmla="*/ 95574 w 192559"/>
                  <a:gd name="connsiteY808" fmla="*/ 185418 h 369337"/>
                  <a:gd name="connsiteX809" fmla="*/ 95839 w 192559"/>
                  <a:gd name="connsiteY809" fmla="*/ 185683 h 369337"/>
                  <a:gd name="connsiteX810" fmla="*/ 95310 w 192559"/>
                  <a:gd name="connsiteY810" fmla="*/ 186564 h 369337"/>
                  <a:gd name="connsiteX811" fmla="*/ 95045 w 192559"/>
                  <a:gd name="connsiteY811" fmla="*/ 187093 h 369337"/>
                  <a:gd name="connsiteX812" fmla="*/ 94164 w 192559"/>
                  <a:gd name="connsiteY812" fmla="*/ 187358 h 369337"/>
                  <a:gd name="connsiteX813" fmla="*/ 94428 w 192559"/>
                  <a:gd name="connsiteY813" fmla="*/ 188240 h 369337"/>
                  <a:gd name="connsiteX814" fmla="*/ 95045 w 192559"/>
                  <a:gd name="connsiteY814" fmla="*/ 189386 h 369337"/>
                  <a:gd name="connsiteX815" fmla="*/ 95662 w 192559"/>
                  <a:gd name="connsiteY815" fmla="*/ 190267 h 369337"/>
                  <a:gd name="connsiteX816" fmla="*/ 95398 w 192559"/>
                  <a:gd name="connsiteY816" fmla="*/ 192295 h 369337"/>
                  <a:gd name="connsiteX817" fmla="*/ 94781 w 192559"/>
                  <a:gd name="connsiteY817" fmla="*/ 192295 h 369337"/>
                  <a:gd name="connsiteX818" fmla="*/ 94164 w 192559"/>
                  <a:gd name="connsiteY818" fmla="*/ 192824 h 369337"/>
                  <a:gd name="connsiteX819" fmla="*/ 94164 w 192559"/>
                  <a:gd name="connsiteY819" fmla="*/ 193706 h 369337"/>
                  <a:gd name="connsiteX820" fmla="*/ 94428 w 192559"/>
                  <a:gd name="connsiteY820" fmla="*/ 193970 h 369337"/>
                  <a:gd name="connsiteX821" fmla="*/ 95045 w 192559"/>
                  <a:gd name="connsiteY821" fmla="*/ 193706 h 369337"/>
                  <a:gd name="connsiteX822" fmla="*/ 95045 w 192559"/>
                  <a:gd name="connsiteY822" fmla="*/ 193970 h 369337"/>
                  <a:gd name="connsiteX823" fmla="*/ 95045 w 192559"/>
                  <a:gd name="connsiteY823" fmla="*/ 194852 h 369337"/>
                  <a:gd name="connsiteX824" fmla="*/ 95927 w 192559"/>
                  <a:gd name="connsiteY824" fmla="*/ 194852 h 369337"/>
                  <a:gd name="connsiteX825" fmla="*/ 96809 w 192559"/>
                  <a:gd name="connsiteY825" fmla="*/ 194852 h 369337"/>
                  <a:gd name="connsiteX826" fmla="*/ 95927 w 192559"/>
                  <a:gd name="connsiteY826" fmla="*/ 195381 h 369337"/>
                  <a:gd name="connsiteX827" fmla="*/ 96191 w 192559"/>
                  <a:gd name="connsiteY827" fmla="*/ 195646 h 369337"/>
                  <a:gd name="connsiteX828" fmla="*/ 97073 w 192559"/>
                  <a:gd name="connsiteY828" fmla="*/ 195910 h 369337"/>
                  <a:gd name="connsiteX829" fmla="*/ 97690 w 192559"/>
                  <a:gd name="connsiteY829" fmla="*/ 195646 h 369337"/>
                  <a:gd name="connsiteX830" fmla="*/ 97690 w 192559"/>
                  <a:gd name="connsiteY830" fmla="*/ 195381 h 369337"/>
                  <a:gd name="connsiteX831" fmla="*/ 99189 w 192559"/>
                  <a:gd name="connsiteY831" fmla="*/ 193970 h 369337"/>
                  <a:gd name="connsiteX832" fmla="*/ 102981 w 192559"/>
                  <a:gd name="connsiteY832" fmla="*/ 194235 h 369337"/>
                  <a:gd name="connsiteX833" fmla="*/ 103862 w 192559"/>
                  <a:gd name="connsiteY833" fmla="*/ 194852 h 369337"/>
                  <a:gd name="connsiteX834" fmla="*/ 104391 w 192559"/>
                  <a:gd name="connsiteY834" fmla="*/ 195734 h 369337"/>
                  <a:gd name="connsiteX835" fmla="*/ 105008 w 192559"/>
                  <a:gd name="connsiteY835" fmla="*/ 194323 h 369337"/>
                  <a:gd name="connsiteX836" fmla="*/ 107301 w 192559"/>
                  <a:gd name="connsiteY836" fmla="*/ 196616 h 369337"/>
                  <a:gd name="connsiteX837" fmla="*/ 107918 w 192559"/>
                  <a:gd name="connsiteY837" fmla="*/ 196616 h 369337"/>
                  <a:gd name="connsiteX838" fmla="*/ 107918 w 192559"/>
                  <a:gd name="connsiteY838" fmla="*/ 195469 h 369337"/>
                  <a:gd name="connsiteX839" fmla="*/ 108799 w 192559"/>
                  <a:gd name="connsiteY839" fmla="*/ 194940 h 369337"/>
                  <a:gd name="connsiteX840" fmla="*/ 110299 w 192559"/>
                  <a:gd name="connsiteY840" fmla="*/ 195469 h 369337"/>
                  <a:gd name="connsiteX841" fmla="*/ 110915 w 192559"/>
                  <a:gd name="connsiteY841" fmla="*/ 194940 h 369337"/>
                  <a:gd name="connsiteX842" fmla="*/ 112062 w 192559"/>
                  <a:gd name="connsiteY842" fmla="*/ 194940 h 369337"/>
                  <a:gd name="connsiteX843" fmla="*/ 112679 w 192559"/>
                  <a:gd name="connsiteY843" fmla="*/ 194940 h 369337"/>
                  <a:gd name="connsiteX844" fmla="*/ 112679 w 192559"/>
                  <a:gd name="connsiteY844" fmla="*/ 194676 h 369337"/>
                  <a:gd name="connsiteX845" fmla="*/ 113032 w 192559"/>
                  <a:gd name="connsiteY845" fmla="*/ 194411 h 369337"/>
                  <a:gd name="connsiteX846" fmla="*/ 113296 w 192559"/>
                  <a:gd name="connsiteY846" fmla="*/ 193794 h 369337"/>
                  <a:gd name="connsiteX847" fmla="*/ 113561 w 192559"/>
                  <a:gd name="connsiteY847" fmla="*/ 193530 h 369337"/>
                  <a:gd name="connsiteX848" fmla="*/ 114178 w 192559"/>
                  <a:gd name="connsiteY848" fmla="*/ 193794 h 369337"/>
                  <a:gd name="connsiteX849" fmla="*/ 114442 w 192559"/>
                  <a:gd name="connsiteY849" fmla="*/ 194059 h 369337"/>
                  <a:gd name="connsiteX850" fmla="*/ 115060 w 192559"/>
                  <a:gd name="connsiteY850" fmla="*/ 194323 h 369337"/>
                  <a:gd name="connsiteX851" fmla="*/ 115589 w 192559"/>
                  <a:gd name="connsiteY851" fmla="*/ 194323 h 369337"/>
                  <a:gd name="connsiteX852" fmla="*/ 116735 w 192559"/>
                  <a:gd name="connsiteY852" fmla="*/ 194940 h 369337"/>
                  <a:gd name="connsiteX853" fmla="*/ 117352 w 192559"/>
                  <a:gd name="connsiteY853" fmla="*/ 195205 h 369337"/>
                  <a:gd name="connsiteX854" fmla="*/ 117616 w 192559"/>
                  <a:gd name="connsiteY854" fmla="*/ 195822 h 369337"/>
                  <a:gd name="connsiteX855" fmla="*/ 117616 w 192559"/>
                  <a:gd name="connsiteY855" fmla="*/ 196439 h 369337"/>
                  <a:gd name="connsiteX856" fmla="*/ 118145 w 192559"/>
                  <a:gd name="connsiteY856" fmla="*/ 196439 h 369337"/>
                  <a:gd name="connsiteX857" fmla="*/ 118145 w 192559"/>
                  <a:gd name="connsiteY857" fmla="*/ 196704 h 369337"/>
                  <a:gd name="connsiteX858" fmla="*/ 117616 w 192559"/>
                  <a:gd name="connsiteY858" fmla="*/ 197321 h 369337"/>
                  <a:gd name="connsiteX859" fmla="*/ 117881 w 192559"/>
                  <a:gd name="connsiteY859" fmla="*/ 197938 h 369337"/>
                  <a:gd name="connsiteX860" fmla="*/ 118498 w 192559"/>
                  <a:gd name="connsiteY860" fmla="*/ 197674 h 369337"/>
                  <a:gd name="connsiteX861" fmla="*/ 118763 w 192559"/>
                  <a:gd name="connsiteY861" fmla="*/ 197674 h 369337"/>
                  <a:gd name="connsiteX862" fmla="*/ 119027 w 192559"/>
                  <a:gd name="connsiteY862" fmla="*/ 196792 h 369337"/>
                  <a:gd name="connsiteX863" fmla="*/ 119292 w 192559"/>
                  <a:gd name="connsiteY863" fmla="*/ 196792 h 369337"/>
                  <a:gd name="connsiteX864" fmla="*/ 119292 w 192559"/>
                  <a:gd name="connsiteY864" fmla="*/ 197056 h 369337"/>
                  <a:gd name="connsiteX865" fmla="*/ 119027 w 192559"/>
                  <a:gd name="connsiteY865" fmla="*/ 197938 h 369337"/>
                  <a:gd name="connsiteX866" fmla="*/ 120174 w 192559"/>
                  <a:gd name="connsiteY866" fmla="*/ 198203 h 369337"/>
                  <a:gd name="connsiteX867" fmla="*/ 120174 w 192559"/>
                  <a:gd name="connsiteY867" fmla="*/ 198467 h 369337"/>
                  <a:gd name="connsiteX868" fmla="*/ 120791 w 192559"/>
                  <a:gd name="connsiteY868" fmla="*/ 199084 h 369337"/>
                  <a:gd name="connsiteX869" fmla="*/ 120791 w 192559"/>
                  <a:gd name="connsiteY869" fmla="*/ 198820 h 369337"/>
                  <a:gd name="connsiteX870" fmla="*/ 120791 w 192559"/>
                  <a:gd name="connsiteY870" fmla="*/ 197674 h 369337"/>
                  <a:gd name="connsiteX871" fmla="*/ 120174 w 192559"/>
                  <a:gd name="connsiteY871" fmla="*/ 197409 h 369337"/>
                  <a:gd name="connsiteX872" fmla="*/ 120791 w 192559"/>
                  <a:gd name="connsiteY872" fmla="*/ 197409 h 369337"/>
                  <a:gd name="connsiteX873" fmla="*/ 120791 w 192559"/>
                  <a:gd name="connsiteY873" fmla="*/ 198026 h 369337"/>
                  <a:gd name="connsiteX874" fmla="*/ 121672 w 192559"/>
                  <a:gd name="connsiteY874" fmla="*/ 198026 h 369337"/>
                  <a:gd name="connsiteX875" fmla="*/ 121672 w 192559"/>
                  <a:gd name="connsiteY875" fmla="*/ 197762 h 369337"/>
                  <a:gd name="connsiteX876" fmla="*/ 121936 w 192559"/>
                  <a:gd name="connsiteY876" fmla="*/ 197762 h 369337"/>
                  <a:gd name="connsiteX877" fmla="*/ 121936 w 192559"/>
                  <a:gd name="connsiteY877" fmla="*/ 198026 h 369337"/>
                  <a:gd name="connsiteX878" fmla="*/ 122201 w 192559"/>
                  <a:gd name="connsiteY878" fmla="*/ 198291 h 369337"/>
                  <a:gd name="connsiteX879" fmla="*/ 122466 w 192559"/>
                  <a:gd name="connsiteY879" fmla="*/ 199172 h 369337"/>
                  <a:gd name="connsiteX880" fmla="*/ 122201 w 192559"/>
                  <a:gd name="connsiteY880" fmla="*/ 199172 h 369337"/>
                  <a:gd name="connsiteX881" fmla="*/ 121584 w 192559"/>
                  <a:gd name="connsiteY881" fmla="*/ 198291 h 369337"/>
                  <a:gd name="connsiteX882" fmla="*/ 121320 w 192559"/>
                  <a:gd name="connsiteY882" fmla="*/ 199437 h 369337"/>
                  <a:gd name="connsiteX883" fmla="*/ 121584 w 192559"/>
                  <a:gd name="connsiteY883" fmla="*/ 199437 h 369337"/>
                  <a:gd name="connsiteX884" fmla="*/ 122730 w 192559"/>
                  <a:gd name="connsiteY884" fmla="*/ 200054 h 369337"/>
                  <a:gd name="connsiteX885" fmla="*/ 123083 w 192559"/>
                  <a:gd name="connsiteY885" fmla="*/ 200319 h 369337"/>
                  <a:gd name="connsiteX886" fmla="*/ 123347 w 192559"/>
                  <a:gd name="connsiteY886" fmla="*/ 200583 h 369337"/>
                  <a:gd name="connsiteX887" fmla="*/ 123347 w 192559"/>
                  <a:gd name="connsiteY887" fmla="*/ 201200 h 369337"/>
                  <a:gd name="connsiteX888" fmla="*/ 123965 w 192559"/>
                  <a:gd name="connsiteY888" fmla="*/ 201465 h 369337"/>
                  <a:gd name="connsiteX889" fmla="*/ 124229 w 192559"/>
                  <a:gd name="connsiteY889" fmla="*/ 201729 h 369337"/>
                  <a:gd name="connsiteX890" fmla="*/ 124494 w 192559"/>
                  <a:gd name="connsiteY890" fmla="*/ 202611 h 369337"/>
                  <a:gd name="connsiteX891" fmla="*/ 125640 w 192559"/>
                  <a:gd name="connsiteY891" fmla="*/ 203493 h 369337"/>
                  <a:gd name="connsiteX892" fmla="*/ 125375 w 192559"/>
                  <a:gd name="connsiteY892" fmla="*/ 202347 h 369337"/>
                  <a:gd name="connsiteX893" fmla="*/ 124758 w 192559"/>
                  <a:gd name="connsiteY893" fmla="*/ 201729 h 369337"/>
                  <a:gd name="connsiteX894" fmla="*/ 124494 w 192559"/>
                  <a:gd name="connsiteY894" fmla="*/ 201465 h 369337"/>
                  <a:gd name="connsiteX895" fmla="*/ 125111 w 192559"/>
                  <a:gd name="connsiteY895" fmla="*/ 201200 h 369337"/>
                  <a:gd name="connsiteX896" fmla="*/ 124494 w 192559"/>
                  <a:gd name="connsiteY896" fmla="*/ 200583 h 369337"/>
                  <a:gd name="connsiteX897" fmla="*/ 124229 w 192559"/>
                  <a:gd name="connsiteY897" fmla="*/ 200319 h 369337"/>
                  <a:gd name="connsiteX898" fmla="*/ 124494 w 192559"/>
                  <a:gd name="connsiteY898" fmla="*/ 200319 h 369337"/>
                  <a:gd name="connsiteX899" fmla="*/ 125111 w 192559"/>
                  <a:gd name="connsiteY899" fmla="*/ 200319 h 369337"/>
                  <a:gd name="connsiteX900" fmla="*/ 125375 w 192559"/>
                  <a:gd name="connsiteY900" fmla="*/ 200936 h 369337"/>
                  <a:gd name="connsiteX901" fmla="*/ 125640 w 192559"/>
                  <a:gd name="connsiteY901" fmla="*/ 200936 h 369337"/>
                  <a:gd name="connsiteX902" fmla="*/ 125640 w 192559"/>
                  <a:gd name="connsiteY902" fmla="*/ 201200 h 369337"/>
                  <a:gd name="connsiteX903" fmla="*/ 125640 w 192559"/>
                  <a:gd name="connsiteY903" fmla="*/ 201465 h 369337"/>
                  <a:gd name="connsiteX904" fmla="*/ 126257 w 192559"/>
                  <a:gd name="connsiteY904" fmla="*/ 201200 h 369337"/>
                  <a:gd name="connsiteX905" fmla="*/ 126521 w 192559"/>
                  <a:gd name="connsiteY905" fmla="*/ 201200 h 369337"/>
                  <a:gd name="connsiteX906" fmla="*/ 126521 w 192559"/>
                  <a:gd name="connsiteY906" fmla="*/ 201817 h 369337"/>
                  <a:gd name="connsiteX907" fmla="*/ 125640 w 192559"/>
                  <a:gd name="connsiteY907" fmla="*/ 202435 h 369337"/>
                  <a:gd name="connsiteX908" fmla="*/ 126786 w 192559"/>
                  <a:gd name="connsiteY908" fmla="*/ 202699 h 369337"/>
                  <a:gd name="connsiteX909" fmla="*/ 127668 w 192559"/>
                  <a:gd name="connsiteY909" fmla="*/ 202435 h 369337"/>
                  <a:gd name="connsiteX910" fmla="*/ 127050 w 192559"/>
                  <a:gd name="connsiteY910" fmla="*/ 203316 h 369337"/>
                  <a:gd name="connsiteX911" fmla="*/ 127315 w 192559"/>
                  <a:gd name="connsiteY911" fmla="*/ 203316 h 369337"/>
                  <a:gd name="connsiteX912" fmla="*/ 127579 w 192559"/>
                  <a:gd name="connsiteY912" fmla="*/ 203052 h 369337"/>
                  <a:gd name="connsiteX913" fmla="*/ 128108 w 192559"/>
                  <a:gd name="connsiteY913" fmla="*/ 202435 h 369337"/>
                  <a:gd name="connsiteX914" fmla="*/ 128726 w 192559"/>
                  <a:gd name="connsiteY914" fmla="*/ 202435 h 369337"/>
                  <a:gd name="connsiteX915" fmla="*/ 128461 w 192559"/>
                  <a:gd name="connsiteY915" fmla="*/ 202435 h 369337"/>
                  <a:gd name="connsiteX916" fmla="*/ 128108 w 192559"/>
                  <a:gd name="connsiteY916" fmla="*/ 202699 h 369337"/>
                  <a:gd name="connsiteX917" fmla="*/ 127844 w 192559"/>
                  <a:gd name="connsiteY917" fmla="*/ 202699 h 369337"/>
                  <a:gd name="connsiteX918" fmla="*/ 127315 w 192559"/>
                  <a:gd name="connsiteY918" fmla="*/ 203581 h 369337"/>
                  <a:gd name="connsiteX919" fmla="*/ 126698 w 192559"/>
                  <a:gd name="connsiteY919" fmla="*/ 203845 h 369337"/>
                  <a:gd name="connsiteX920" fmla="*/ 126433 w 192559"/>
                  <a:gd name="connsiteY920" fmla="*/ 203845 h 369337"/>
                  <a:gd name="connsiteX921" fmla="*/ 125816 w 192559"/>
                  <a:gd name="connsiteY921" fmla="*/ 203845 h 369337"/>
                  <a:gd name="connsiteX922" fmla="*/ 125816 w 192559"/>
                  <a:gd name="connsiteY922" fmla="*/ 204198 h 369337"/>
                  <a:gd name="connsiteX923" fmla="*/ 126169 w 192559"/>
                  <a:gd name="connsiteY923" fmla="*/ 204198 h 369337"/>
                  <a:gd name="connsiteX924" fmla="*/ 126169 w 192559"/>
                  <a:gd name="connsiteY924" fmla="*/ 204815 h 369337"/>
                  <a:gd name="connsiteX925" fmla="*/ 126698 w 192559"/>
                  <a:gd name="connsiteY925" fmla="*/ 205080 h 369337"/>
                  <a:gd name="connsiteX926" fmla="*/ 126698 w 192559"/>
                  <a:gd name="connsiteY926" fmla="*/ 205961 h 369337"/>
                  <a:gd name="connsiteX927" fmla="*/ 126698 w 192559"/>
                  <a:gd name="connsiteY927" fmla="*/ 206579 h 369337"/>
                  <a:gd name="connsiteX928" fmla="*/ 126962 w 192559"/>
                  <a:gd name="connsiteY928" fmla="*/ 206843 h 369337"/>
                  <a:gd name="connsiteX929" fmla="*/ 127227 w 192559"/>
                  <a:gd name="connsiteY929" fmla="*/ 206843 h 369337"/>
                  <a:gd name="connsiteX930" fmla="*/ 127491 w 192559"/>
                  <a:gd name="connsiteY930" fmla="*/ 206579 h 369337"/>
                  <a:gd name="connsiteX931" fmla="*/ 127756 w 192559"/>
                  <a:gd name="connsiteY931" fmla="*/ 206314 h 369337"/>
                  <a:gd name="connsiteX932" fmla="*/ 128373 w 192559"/>
                  <a:gd name="connsiteY932" fmla="*/ 206050 h 369337"/>
                  <a:gd name="connsiteX933" fmla="*/ 128637 w 192559"/>
                  <a:gd name="connsiteY933" fmla="*/ 206314 h 369337"/>
                  <a:gd name="connsiteX934" fmla="*/ 128902 w 192559"/>
                  <a:gd name="connsiteY934" fmla="*/ 206843 h 369337"/>
                  <a:gd name="connsiteX935" fmla="*/ 129784 w 192559"/>
                  <a:gd name="connsiteY935" fmla="*/ 206843 h 369337"/>
                  <a:gd name="connsiteX936" fmla="*/ 131018 w 192559"/>
                  <a:gd name="connsiteY936" fmla="*/ 207460 h 369337"/>
                  <a:gd name="connsiteX937" fmla="*/ 131547 w 192559"/>
                  <a:gd name="connsiteY937" fmla="*/ 207725 h 369337"/>
                  <a:gd name="connsiteX938" fmla="*/ 132164 w 192559"/>
                  <a:gd name="connsiteY938" fmla="*/ 207989 h 369337"/>
                  <a:gd name="connsiteX939" fmla="*/ 132782 w 192559"/>
                  <a:gd name="connsiteY939" fmla="*/ 207989 h 369337"/>
                  <a:gd name="connsiteX940" fmla="*/ 133134 w 192559"/>
                  <a:gd name="connsiteY940" fmla="*/ 207989 h 369337"/>
                  <a:gd name="connsiteX941" fmla="*/ 132782 w 192559"/>
                  <a:gd name="connsiteY941" fmla="*/ 208606 h 369337"/>
                  <a:gd name="connsiteX942" fmla="*/ 133134 w 192559"/>
                  <a:gd name="connsiteY942" fmla="*/ 209224 h 369337"/>
                  <a:gd name="connsiteX943" fmla="*/ 133399 w 192559"/>
                  <a:gd name="connsiteY943" fmla="*/ 209488 h 369337"/>
                  <a:gd name="connsiteX944" fmla="*/ 134280 w 192559"/>
                  <a:gd name="connsiteY944" fmla="*/ 209488 h 369337"/>
                  <a:gd name="connsiteX945" fmla="*/ 135955 w 192559"/>
                  <a:gd name="connsiteY945" fmla="*/ 210370 h 369337"/>
                  <a:gd name="connsiteX946" fmla="*/ 136573 w 192559"/>
                  <a:gd name="connsiteY946" fmla="*/ 210634 h 369337"/>
                  <a:gd name="connsiteX947" fmla="*/ 136925 w 192559"/>
                  <a:gd name="connsiteY947" fmla="*/ 210899 h 369337"/>
                  <a:gd name="connsiteX948" fmla="*/ 136925 w 192559"/>
                  <a:gd name="connsiteY948" fmla="*/ 211428 h 369337"/>
                  <a:gd name="connsiteX949" fmla="*/ 138689 w 192559"/>
                  <a:gd name="connsiteY949" fmla="*/ 212927 h 369337"/>
                  <a:gd name="connsiteX950" fmla="*/ 138689 w 192559"/>
                  <a:gd name="connsiteY950" fmla="*/ 213544 h 369337"/>
                  <a:gd name="connsiteX951" fmla="*/ 138689 w 192559"/>
                  <a:gd name="connsiteY951" fmla="*/ 214161 h 369337"/>
                  <a:gd name="connsiteX952" fmla="*/ 136925 w 192559"/>
                  <a:gd name="connsiteY952" fmla="*/ 215924 h 369337"/>
                  <a:gd name="connsiteX953" fmla="*/ 138424 w 192559"/>
                  <a:gd name="connsiteY953" fmla="*/ 216806 h 369337"/>
                  <a:gd name="connsiteX954" fmla="*/ 137278 w 192559"/>
                  <a:gd name="connsiteY954" fmla="*/ 218305 h 369337"/>
                  <a:gd name="connsiteX955" fmla="*/ 138424 w 192559"/>
                  <a:gd name="connsiteY955" fmla="*/ 218922 h 369337"/>
                  <a:gd name="connsiteX956" fmla="*/ 140452 w 192559"/>
                  <a:gd name="connsiteY956" fmla="*/ 219804 h 369337"/>
                  <a:gd name="connsiteX957" fmla="*/ 140981 w 192559"/>
                  <a:gd name="connsiteY957" fmla="*/ 220068 h 369337"/>
                  <a:gd name="connsiteX958" fmla="*/ 143626 w 192559"/>
                  <a:gd name="connsiteY958" fmla="*/ 220950 h 369337"/>
                  <a:gd name="connsiteX959" fmla="*/ 140452 w 192559"/>
                  <a:gd name="connsiteY959" fmla="*/ 210458 h 369337"/>
                  <a:gd name="connsiteX960" fmla="*/ 138689 w 192559"/>
                  <a:gd name="connsiteY960" fmla="*/ 203493 h 369337"/>
                  <a:gd name="connsiteX961" fmla="*/ 139835 w 192559"/>
                  <a:gd name="connsiteY961" fmla="*/ 201200 h 369337"/>
                  <a:gd name="connsiteX962" fmla="*/ 132253 w 192559"/>
                  <a:gd name="connsiteY962" fmla="*/ 194764 h 369337"/>
                  <a:gd name="connsiteX963" fmla="*/ 130489 w 192559"/>
                  <a:gd name="connsiteY963" fmla="*/ 195029 h 369337"/>
                  <a:gd name="connsiteX964" fmla="*/ 130489 w 192559"/>
                  <a:gd name="connsiteY964" fmla="*/ 193265 h 369337"/>
                  <a:gd name="connsiteX965" fmla="*/ 131371 w 192559"/>
                  <a:gd name="connsiteY965" fmla="*/ 193265 h 369337"/>
                  <a:gd name="connsiteX966" fmla="*/ 131106 w 192559"/>
                  <a:gd name="connsiteY966" fmla="*/ 190620 h 369337"/>
                  <a:gd name="connsiteX967" fmla="*/ 129872 w 192559"/>
                  <a:gd name="connsiteY967" fmla="*/ 189474 h 369337"/>
                  <a:gd name="connsiteX968" fmla="*/ 130753 w 192559"/>
                  <a:gd name="connsiteY968" fmla="*/ 188857 h 369337"/>
                  <a:gd name="connsiteX969" fmla="*/ 130489 w 192559"/>
                  <a:gd name="connsiteY969" fmla="*/ 187358 h 369337"/>
                  <a:gd name="connsiteX970" fmla="*/ 131371 w 192559"/>
                  <a:gd name="connsiteY970" fmla="*/ 186212 h 369337"/>
                  <a:gd name="connsiteX971" fmla="*/ 129608 w 192559"/>
                  <a:gd name="connsiteY971" fmla="*/ 186212 h 369337"/>
                  <a:gd name="connsiteX972" fmla="*/ 128461 w 192559"/>
                  <a:gd name="connsiteY972" fmla="*/ 183567 h 369337"/>
                  <a:gd name="connsiteX973" fmla="*/ 126962 w 192559"/>
                  <a:gd name="connsiteY973" fmla="*/ 182949 h 369337"/>
                  <a:gd name="connsiteX974" fmla="*/ 126345 w 192559"/>
                  <a:gd name="connsiteY974" fmla="*/ 178541 h 369337"/>
                  <a:gd name="connsiteX975" fmla="*/ 126081 w 192559"/>
                  <a:gd name="connsiteY975" fmla="*/ 173868 h 369337"/>
                  <a:gd name="connsiteX976" fmla="*/ 124317 w 192559"/>
                  <a:gd name="connsiteY976" fmla="*/ 172986 h 369337"/>
                  <a:gd name="connsiteX977" fmla="*/ 126962 w 192559"/>
                  <a:gd name="connsiteY977" fmla="*/ 172105 h 369337"/>
                  <a:gd name="connsiteX978" fmla="*/ 129255 w 192559"/>
                  <a:gd name="connsiteY978" fmla="*/ 172105 h 369337"/>
                  <a:gd name="connsiteX979" fmla="*/ 131547 w 192559"/>
                  <a:gd name="connsiteY979" fmla="*/ 171752 h 369337"/>
                  <a:gd name="connsiteX980" fmla="*/ 132693 w 192559"/>
                  <a:gd name="connsiteY980" fmla="*/ 171488 h 369337"/>
                  <a:gd name="connsiteX981" fmla="*/ 129166 w 192559"/>
                  <a:gd name="connsiteY981" fmla="*/ 169195 h 369337"/>
                  <a:gd name="connsiteX982" fmla="*/ 128020 w 192559"/>
                  <a:gd name="connsiteY982" fmla="*/ 167696 h 369337"/>
                  <a:gd name="connsiteX983" fmla="*/ 132429 w 192559"/>
                  <a:gd name="connsiteY983" fmla="*/ 166550 h 369337"/>
                  <a:gd name="connsiteX984" fmla="*/ 133311 w 192559"/>
                  <a:gd name="connsiteY984" fmla="*/ 163023 h 369337"/>
                  <a:gd name="connsiteX985" fmla="*/ 135603 w 192559"/>
                  <a:gd name="connsiteY985" fmla="*/ 160378 h 369337"/>
                  <a:gd name="connsiteX986" fmla="*/ 136220 w 192559"/>
                  <a:gd name="connsiteY986" fmla="*/ 158615 h 369337"/>
                  <a:gd name="connsiteX987" fmla="*/ 135867 w 192559"/>
                  <a:gd name="connsiteY987" fmla="*/ 156587 h 369337"/>
                  <a:gd name="connsiteX988" fmla="*/ 138248 w 192559"/>
                  <a:gd name="connsiteY988" fmla="*/ 155705 h 369337"/>
                  <a:gd name="connsiteX989" fmla="*/ 139394 w 192559"/>
                  <a:gd name="connsiteY989" fmla="*/ 154295 h 369337"/>
                  <a:gd name="connsiteX990" fmla="*/ 140540 w 192559"/>
                  <a:gd name="connsiteY990" fmla="*/ 153413 h 369337"/>
                  <a:gd name="connsiteX991" fmla="*/ 143450 w 192559"/>
                  <a:gd name="connsiteY991" fmla="*/ 153149 h 369337"/>
                  <a:gd name="connsiteX992" fmla="*/ 146624 w 192559"/>
                  <a:gd name="connsiteY992" fmla="*/ 153149 h 369337"/>
                  <a:gd name="connsiteX993" fmla="*/ 146359 w 192559"/>
                  <a:gd name="connsiteY993" fmla="*/ 151121 h 369337"/>
                  <a:gd name="connsiteX994" fmla="*/ 147241 w 192559"/>
                  <a:gd name="connsiteY994" fmla="*/ 152267 h 369337"/>
                  <a:gd name="connsiteX995" fmla="*/ 148740 w 192559"/>
                  <a:gd name="connsiteY995" fmla="*/ 150239 h 369337"/>
                  <a:gd name="connsiteX996" fmla="*/ 149621 w 192559"/>
                  <a:gd name="connsiteY996" fmla="*/ 151121 h 369337"/>
                  <a:gd name="connsiteX997" fmla="*/ 150768 w 192559"/>
                  <a:gd name="connsiteY997" fmla="*/ 151121 h 369337"/>
                  <a:gd name="connsiteX998" fmla="*/ 151121 w 192559"/>
                  <a:gd name="connsiteY998" fmla="*/ 149357 h 369337"/>
                  <a:gd name="connsiteX999" fmla="*/ 152619 w 192559"/>
                  <a:gd name="connsiteY999" fmla="*/ 150239 h 369337"/>
                  <a:gd name="connsiteX1000" fmla="*/ 153148 w 192559"/>
                  <a:gd name="connsiteY1000" fmla="*/ 152002 h 369337"/>
                  <a:gd name="connsiteX1001" fmla="*/ 154295 w 192559"/>
                  <a:gd name="connsiteY1001" fmla="*/ 152884 h 369337"/>
                  <a:gd name="connsiteX1002" fmla="*/ 155176 w 192559"/>
                  <a:gd name="connsiteY1002" fmla="*/ 151121 h 369337"/>
                  <a:gd name="connsiteX1003" fmla="*/ 157204 w 192559"/>
                  <a:gd name="connsiteY1003" fmla="*/ 153766 h 369337"/>
                  <a:gd name="connsiteX1004" fmla="*/ 157204 w 192559"/>
                  <a:gd name="connsiteY1004" fmla="*/ 152884 h 369337"/>
                  <a:gd name="connsiteX1005" fmla="*/ 159849 w 192559"/>
                  <a:gd name="connsiteY1005" fmla="*/ 153149 h 369337"/>
                  <a:gd name="connsiteX1006" fmla="*/ 161348 w 192559"/>
                  <a:gd name="connsiteY1006" fmla="*/ 151121 h 369337"/>
                  <a:gd name="connsiteX1007" fmla="*/ 161612 w 192559"/>
                  <a:gd name="connsiteY1007" fmla="*/ 152267 h 369337"/>
                  <a:gd name="connsiteX1008" fmla="*/ 162229 w 192559"/>
                  <a:gd name="connsiteY1008" fmla="*/ 152267 h 369337"/>
                  <a:gd name="connsiteX1009" fmla="*/ 162847 w 192559"/>
                  <a:gd name="connsiteY1009" fmla="*/ 151121 h 369337"/>
                  <a:gd name="connsiteX1010" fmla="*/ 166109 w 192559"/>
                  <a:gd name="connsiteY1010" fmla="*/ 151121 h 369337"/>
                  <a:gd name="connsiteX1011" fmla="*/ 167520 w 192559"/>
                  <a:gd name="connsiteY1011" fmla="*/ 152267 h 369337"/>
                  <a:gd name="connsiteX1012" fmla="*/ 169548 w 192559"/>
                  <a:gd name="connsiteY1012" fmla="*/ 153149 h 369337"/>
                  <a:gd name="connsiteX1013" fmla="*/ 169548 w 192559"/>
                  <a:gd name="connsiteY1013" fmla="*/ 151121 h 369337"/>
                  <a:gd name="connsiteX1014" fmla="*/ 171046 w 192559"/>
                  <a:gd name="connsiteY1014" fmla="*/ 152267 h 369337"/>
                  <a:gd name="connsiteX1015" fmla="*/ 171928 w 192559"/>
                  <a:gd name="connsiteY1015" fmla="*/ 152267 h 369337"/>
                  <a:gd name="connsiteX1016" fmla="*/ 172546 w 192559"/>
                  <a:gd name="connsiteY1016" fmla="*/ 150239 h 369337"/>
                  <a:gd name="connsiteX1017" fmla="*/ 173427 w 192559"/>
                  <a:gd name="connsiteY1017" fmla="*/ 151121 h 369337"/>
                  <a:gd name="connsiteX1018" fmla="*/ 176337 w 192559"/>
                  <a:gd name="connsiteY1018" fmla="*/ 149357 h 369337"/>
                  <a:gd name="connsiteX1019" fmla="*/ 177218 w 192559"/>
                  <a:gd name="connsiteY1019" fmla="*/ 151121 h 369337"/>
                  <a:gd name="connsiteX1020" fmla="*/ 179246 w 192559"/>
                  <a:gd name="connsiteY1020" fmla="*/ 151121 h 369337"/>
                  <a:gd name="connsiteX1021" fmla="*/ 180745 w 192559"/>
                  <a:gd name="connsiteY1021" fmla="*/ 153766 h 369337"/>
                  <a:gd name="connsiteX1022" fmla="*/ 181891 w 192559"/>
                  <a:gd name="connsiteY1022" fmla="*/ 156411 h 369337"/>
                  <a:gd name="connsiteX1023" fmla="*/ 183654 w 192559"/>
                  <a:gd name="connsiteY1023" fmla="*/ 155794 h 369337"/>
                  <a:gd name="connsiteX1024" fmla="*/ 185683 w 192559"/>
                  <a:gd name="connsiteY1024" fmla="*/ 154647 h 369337"/>
                  <a:gd name="connsiteX1025" fmla="*/ 186300 w 192559"/>
                  <a:gd name="connsiteY1025" fmla="*/ 153149 h 369337"/>
                  <a:gd name="connsiteX1026" fmla="*/ 188680 w 192559"/>
                  <a:gd name="connsiteY1026" fmla="*/ 152267 h 369337"/>
                  <a:gd name="connsiteX1027" fmla="*/ 187534 w 192559"/>
                  <a:gd name="connsiteY1027" fmla="*/ 151385 h 369337"/>
                  <a:gd name="connsiteX1028" fmla="*/ 188416 w 192559"/>
                  <a:gd name="connsiteY1028" fmla="*/ 151385 h 369337"/>
                  <a:gd name="connsiteX1029" fmla="*/ 188945 w 192559"/>
                  <a:gd name="connsiteY1029" fmla="*/ 151385 h 369337"/>
                  <a:gd name="connsiteX1030" fmla="*/ 189826 w 192559"/>
                  <a:gd name="connsiteY1030" fmla="*/ 150239 h 369337"/>
                  <a:gd name="connsiteX1031" fmla="*/ 189826 w 192559"/>
                  <a:gd name="connsiteY1031" fmla="*/ 149357 h 369337"/>
                  <a:gd name="connsiteX1032" fmla="*/ 191590 w 192559"/>
                  <a:gd name="connsiteY1032" fmla="*/ 147594 h 369337"/>
                  <a:gd name="connsiteX1033" fmla="*/ 191590 w 192559"/>
                  <a:gd name="connsiteY1033" fmla="*/ 145831 h 369337"/>
                  <a:gd name="connsiteX1034" fmla="*/ 190708 w 192559"/>
                  <a:gd name="connsiteY1034" fmla="*/ 144684 h 369337"/>
                  <a:gd name="connsiteX1035" fmla="*/ 191325 w 192559"/>
                  <a:gd name="connsiteY1035" fmla="*/ 142921 h 369337"/>
                  <a:gd name="connsiteX1036" fmla="*/ 190443 w 192559"/>
                  <a:gd name="connsiteY1036" fmla="*/ 142039 h 369337"/>
                  <a:gd name="connsiteX1037" fmla="*/ 190179 w 192559"/>
                  <a:gd name="connsiteY1037" fmla="*/ 140893 h 369337"/>
                  <a:gd name="connsiteX1038" fmla="*/ 191678 w 192559"/>
                  <a:gd name="connsiteY1038" fmla="*/ 140276 h 369337"/>
                  <a:gd name="connsiteX1039" fmla="*/ 190797 w 192559"/>
                  <a:gd name="connsiteY1039" fmla="*/ 139130 h 369337"/>
                  <a:gd name="connsiteX1040" fmla="*/ 192559 w 192559"/>
                  <a:gd name="connsiteY1040" fmla="*/ 139130 h 369337"/>
                  <a:gd name="connsiteX1041" fmla="*/ 191413 w 192559"/>
                  <a:gd name="connsiteY1041" fmla="*/ 137366 h 369337"/>
                  <a:gd name="connsiteX1042" fmla="*/ 192295 w 192559"/>
                  <a:gd name="connsiteY1042" fmla="*/ 136485 h 369337"/>
                  <a:gd name="connsiteX1043" fmla="*/ 192295 w 192559"/>
                  <a:gd name="connsiteY1043" fmla="*/ 135868 h 369337"/>
                  <a:gd name="connsiteX1044" fmla="*/ 191149 w 192559"/>
                  <a:gd name="connsiteY1044" fmla="*/ 135603 h 369337"/>
                  <a:gd name="connsiteX1045" fmla="*/ 189738 w 192559"/>
                  <a:gd name="connsiteY1045" fmla="*/ 135603 h 369337"/>
                  <a:gd name="connsiteX1046" fmla="*/ 188857 w 192559"/>
                  <a:gd name="connsiteY1046" fmla="*/ 134104 h 369337"/>
                  <a:gd name="connsiteX1047" fmla="*/ 189121 w 192559"/>
                  <a:gd name="connsiteY1047" fmla="*/ 131459 h 369337"/>
                  <a:gd name="connsiteX1048" fmla="*/ 190620 w 192559"/>
                  <a:gd name="connsiteY1048" fmla="*/ 130313 h 369337"/>
                  <a:gd name="connsiteX1049" fmla="*/ 191501 w 192559"/>
                  <a:gd name="connsiteY1049" fmla="*/ 130313 h 369337"/>
                  <a:gd name="connsiteX1050" fmla="*/ 191149 w 192559"/>
                  <a:gd name="connsiteY1050" fmla="*/ 127668 h 369337"/>
                  <a:gd name="connsiteX1051" fmla="*/ 188857 w 192559"/>
                  <a:gd name="connsiteY1051" fmla="*/ 127668 h 369337"/>
                  <a:gd name="connsiteX1052" fmla="*/ 187975 w 192559"/>
                  <a:gd name="connsiteY1052" fmla="*/ 127403 h 369337"/>
                  <a:gd name="connsiteX1053" fmla="*/ 188592 w 192559"/>
                  <a:gd name="connsiteY1053" fmla="*/ 126522 h 369337"/>
                  <a:gd name="connsiteX1054" fmla="*/ 190003 w 192559"/>
                  <a:gd name="connsiteY1054" fmla="*/ 125993 h 369337"/>
                  <a:gd name="connsiteX1055" fmla="*/ 190884 w 192559"/>
                  <a:gd name="connsiteY1055" fmla="*/ 125640 h 369337"/>
                  <a:gd name="connsiteX1056" fmla="*/ 190532 w 192559"/>
                  <a:gd name="connsiteY1056" fmla="*/ 122995 h 369337"/>
                  <a:gd name="connsiteX1057" fmla="*/ 190532 w 192559"/>
                  <a:gd name="connsiteY1057" fmla="*/ 121849 h 369337"/>
                  <a:gd name="connsiteX1058" fmla="*/ 190267 w 192559"/>
                  <a:gd name="connsiteY1058" fmla="*/ 120085 h 369337"/>
                  <a:gd name="connsiteX1059" fmla="*/ 190003 w 192559"/>
                  <a:gd name="connsiteY1059" fmla="*/ 118057 h 369337"/>
                  <a:gd name="connsiteX1060" fmla="*/ 188239 w 192559"/>
                  <a:gd name="connsiteY1060" fmla="*/ 117440 h 369337"/>
                  <a:gd name="connsiteX1061" fmla="*/ 187358 w 192559"/>
                  <a:gd name="connsiteY1061" fmla="*/ 116559 h 369337"/>
                  <a:gd name="connsiteX1062" fmla="*/ 186212 w 192559"/>
                  <a:gd name="connsiteY1062" fmla="*/ 117440 h 369337"/>
                  <a:gd name="connsiteX1063" fmla="*/ 185683 w 192559"/>
                  <a:gd name="connsiteY1063" fmla="*/ 116294 h 369337"/>
                  <a:gd name="connsiteX1064" fmla="*/ 183919 w 192559"/>
                  <a:gd name="connsiteY1064" fmla="*/ 113120 h 369337"/>
                  <a:gd name="connsiteX1065" fmla="*/ 184184 w 192559"/>
                  <a:gd name="connsiteY1065" fmla="*/ 111974 h 369337"/>
                  <a:gd name="connsiteX1066" fmla="*/ 185330 w 192559"/>
                  <a:gd name="connsiteY1066" fmla="*/ 111357 h 369337"/>
                  <a:gd name="connsiteX1067" fmla="*/ 185065 w 192559"/>
                  <a:gd name="connsiteY1067" fmla="*/ 111357 h 369337"/>
                  <a:gd name="connsiteX1068" fmla="*/ 180392 w 192559"/>
                  <a:gd name="connsiteY1068" fmla="*/ 110475 h 369337"/>
                  <a:gd name="connsiteX1069" fmla="*/ 176866 w 192559"/>
                  <a:gd name="connsiteY1069" fmla="*/ 108712 h 369337"/>
                  <a:gd name="connsiteX1070" fmla="*/ 175984 w 192559"/>
                  <a:gd name="connsiteY1070" fmla="*/ 107566 h 369337"/>
                  <a:gd name="connsiteX1071" fmla="*/ 174838 w 192559"/>
                  <a:gd name="connsiteY1071" fmla="*/ 104920 h 369337"/>
                  <a:gd name="connsiteX1072" fmla="*/ 172193 w 192559"/>
                  <a:gd name="connsiteY1072" fmla="*/ 102893 h 369337"/>
                  <a:gd name="connsiteX1073" fmla="*/ 171046 w 192559"/>
                  <a:gd name="connsiteY1073" fmla="*/ 100248 h 369337"/>
                  <a:gd name="connsiteX1074" fmla="*/ 168137 w 192559"/>
                  <a:gd name="connsiteY1074" fmla="*/ 97602 h 369337"/>
                  <a:gd name="connsiteX1075" fmla="*/ 168137 w 192559"/>
                  <a:gd name="connsiteY1075" fmla="*/ 97250 h 369337"/>
                  <a:gd name="connsiteX1076" fmla="*/ 168754 w 192559"/>
                  <a:gd name="connsiteY1076" fmla="*/ 93459 h 369337"/>
                  <a:gd name="connsiteX1077" fmla="*/ 167255 w 192559"/>
                  <a:gd name="connsiteY1077" fmla="*/ 92048 h 369337"/>
                  <a:gd name="connsiteX1078" fmla="*/ 168137 w 192559"/>
                  <a:gd name="connsiteY1078" fmla="*/ 89755 h 369337"/>
                  <a:gd name="connsiteX1079" fmla="*/ 166638 w 192559"/>
                  <a:gd name="connsiteY1079" fmla="*/ 87728 h 369337"/>
                  <a:gd name="connsiteX1080" fmla="*/ 166374 w 192559"/>
                  <a:gd name="connsiteY1080" fmla="*/ 85964 h 369337"/>
                  <a:gd name="connsiteX1081" fmla="*/ 167784 w 192559"/>
                  <a:gd name="connsiteY1081" fmla="*/ 83055 h 369337"/>
                  <a:gd name="connsiteX1082" fmla="*/ 167167 w 192559"/>
                  <a:gd name="connsiteY1082" fmla="*/ 79263 h 369337"/>
                  <a:gd name="connsiteX1083" fmla="*/ 166903 w 192559"/>
                  <a:gd name="connsiteY1083" fmla="*/ 76618 h 369337"/>
                  <a:gd name="connsiteX1084" fmla="*/ 166021 w 192559"/>
                  <a:gd name="connsiteY1084" fmla="*/ 76354 h 369337"/>
                  <a:gd name="connsiteX1085" fmla="*/ 164875 w 192559"/>
                  <a:gd name="connsiteY1085" fmla="*/ 75472 h 369337"/>
                  <a:gd name="connsiteX1086" fmla="*/ 164875 w 192559"/>
                  <a:gd name="connsiteY1086" fmla="*/ 73709 h 369337"/>
                  <a:gd name="connsiteX1087" fmla="*/ 163112 w 192559"/>
                  <a:gd name="connsiteY1087" fmla="*/ 73092 h 369337"/>
                  <a:gd name="connsiteX1088" fmla="*/ 159056 w 192559"/>
                  <a:gd name="connsiteY1088" fmla="*/ 70799 h 369337"/>
                  <a:gd name="connsiteX1089" fmla="*/ 157028 w 192559"/>
                  <a:gd name="connsiteY1089" fmla="*/ 67625 h 369337"/>
                  <a:gd name="connsiteX1090" fmla="*/ 155264 w 192559"/>
                  <a:gd name="connsiteY1090" fmla="*/ 65597 h 369337"/>
                  <a:gd name="connsiteX1091" fmla="*/ 154118 w 192559"/>
                  <a:gd name="connsiteY1091" fmla="*/ 64980 h 369337"/>
                  <a:gd name="connsiteX1092" fmla="*/ 152355 w 192559"/>
                  <a:gd name="connsiteY1092" fmla="*/ 62071 h 369337"/>
                  <a:gd name="connsiteX1093" fmla="*/ 148828 w 192559"/>
                  <a:gd name="connsiteY1093" fmla="*/ 59161 h 369337"/>
                  <a:gd name="connsiteX1094" fmla="*/ 147682 w 192559"/>
                  <a:gd name="connsiteY1094" fmla="*/ 56516 h 369337"/>
                  <a:gd name="connsiteX1095" fmla="*/ 145654 w 192559"/>
                  <a:gd name="connsiteY1095" fmla="*/ 53606 h 369337"/>
                  <a:gd name="connsiteX1096" fmla="*/ 144155 w 192559"/>
                  <a:gd name="connsiteY1096" fmla="*/ 53606 h 369337"/>
                  <a:gd name="connsiteX1097" fmla="*/ 143891 w 192559"/>
                  <a:gd name="connsiteY1097" fmla="*/ 53871 h 369337"/>
                  <a:gd name="connsiteX1098" fmla="*/ 142392 w 192559"/>
                  <a:gd name="connsiteY1098" fmla="*/ 53871 h 369337"/>
                  <a:gd name="connsiteX1099" fmla="*/ 141510 w 192559"/>
                  <a:gd name="connsiteY1099" fmla="*/ 53606 h 369337"/>
                  <a:gd name="connsiteX1100" fmla="*/ 140011 w 192559"/>
                  <a:gd name="connsiteY1100" fmla="*/ 53606 h 369337"/>
                  <a:gd name="connsiteX1101" fmla="*/ 137102 w 192559"/>
                  <a:gd name="connsiteY1101" fmla="*/ 51843 h 369337"/>
                  <a:gd name="connsiteX1102" fmla="*/ 133311 w 192559"/>
                  <a:gd name="connsiteY1102" fmla="*/ 50961 h 369337"/>
                  <a:gd name="connsiteX1103" fmla="*/ 130666 w 192559"/>
                  <a:gd name="connsiteY1103" fmla="*/ 50961 h 369337"/>
                  <a:gd name="connsiteX1104" fmla="*/ 128902 w 192559"/>
                  <a:gd name="connsiteY1104" fmla="*/ 52725 h 369337"/>
                  <a:gd name="connsiteX1105" fmla="*/ 130401 w 192559"/>
                  <a:gd name="connsiteY1105" fmla="*/ 53606 h 369337"/>
                  <a:gd name="connsiteX1106" fmla="*/ 130666 w 192559"/>
                  <a:gd name="connsiteY1106" fmla="*/ 53871 h 369337"/>
                  <a:gd name="connsiteX1107" fmla="*/ 127756 w 192559"/>
                  <a:gd name="connsiteY1107" fmla="*/ 55634 h 369337"/>
                  <a:gd name="connsiteX1108" fmla="*/ 126874 w 192559"/>
                  <a:gd name="connsiteY1108" fmla="*/ 57045 h 369337"/>
                  <a:gd name="connsiteX1109" fmla="*/ 126345 w 192559"/>
                  <a:gd name="connsiteY1109" fmla="*/ 58191 h 369337"/>
                  <a:gd name="connsiteX1110" fmla="*/ 126874 w 192559"/>
                  <a:gd name="connsiteY1110" fmla="*/ 60836 h 369337"/>
                  <a:gd name="connsiteX1111" fmla="*/ 126345 w 192559"/>
                  <a:gd name="connsiteY1111" fmla="*/ 62071 h 369337"/>
                  <a:gd name="connsiteX1112" fmla="*/ 125463 w 192559"/>
                  <a:gd name="connsiteY1112" fmla="*/ 62071 h 369337"/>
                  <a:gd name="connsiteX1113" fmla="*/ 123700 w 192559"/>
                  <a:gd name="connsiteY1113" fmla="*/ 61189 h 369337"/>
                  <a:gd name="connsiteX1114" fmla="*/ 122554 w 192559"/>
                  <a:gd name="connsiteY1114" fmla="*/ 62071 h 369337"/>
                  <a:gd name="connsiteX1115" fmla="*/ 120791 w 192559"/>
                  <a:gd name="connsiteY1115" fmla="*/ 63217 h 369337"/>
                  <a:gd name="connsiteX1116" fmla="*/ 120438 w 192559"/>
                  <a:gd name="connsiteY1116" fmla="*/ 64627 h 369337"/>
                  <a:gd name="connsiteX1117" fmla="*/ 118674 w 192559"/>
                  <a:gd name="connsiteY1117" fmla="*/ 64627 h 369337"/>
                  <a:gd name="connsiteX1118" fmla="*/ 118939 w 192559"/>
                  <a:gd name="connsiteY1118" fmla="*/ 65509 h 369337"/>
                  <a:gd name="connsiteX1119" fmla="*/ 116558 w 192559"/>
                  <a:gd name="connsiteY1119" fmla="*/ 64892 h 369337"/>
                  <a:gd name="connsiteX1120" fmla="*/ 117705 w 192559"/>
                  <a:gd name="connsiteY1120" fmla="*/ 63746 h 369337"/>
                  <a:gd name="connsiteX1121" fmla="*/ 116823 w 192559"/>
                  <a:gd name="connsiteY1121" fmla="*/ 62600 h 369337"/>
                  <a:gd name="connsiteX1122" fmla="*/ 115324 w 192559"/>
                  <a:gd name="connsiteY1122" fmla="*/ 62071 h 369337"/>
                  <a:gd name="connsiteX1123" fmla="*/ 114178 w 192559"/>
                  <a:gd name="connsiteY1123" fmla="*/ 62071 h 369337"/>
                  <a:gd name="connsiteX1124" fmla="*/ 113032 w 192559"/>
                  <a:gd name="connsiteY1124" fmla="*/ 62071 h 369337"/>
                  <a:gd name="connsiteX1125" fmla="*/ 111533 w 192559"/>
                  <a:gd name="connsiteY1125" fmla="*/ 60836 h 369337"/>
                  <a:gd name="connsiteX1126" fmla="*/ 109505 w 192559"/>
                  <a:gd name="connsiteY1126" fmla="*/ 60307 h 369337"/>
                  <a:gd name="connsiteX1127" fmla="*/ 108888 w 192559"/>
                  <a:gd name="connsiteY1127" fmla="*/ 59426 h 369337"/>
                  <a:gd name="connsiteX1128" fmla="*/ 106595 w 192559"/>
                  <a:gd name="connsiteY1128" fmla="*/ 57662 h 369337"/>
                  <a:gd name="connsiteX1129" fmla="*/ 106595 w 192559"/>
                  <a:gd name="connsiteY1129" fmla="*/ 56516 h 369337"/>
                  <a:gd name="connsiteX1130" fmla="*/ 103950 w 192559"/>
                  <a:gd name="connsiteY1130" fmla="*/ 55634 h 369337"/>
                  <a:gd name="connsiteX1131" fmla="*/ 103421 w 192559"/>
                  <a:gd name="connsiteY1131" fmla="*/ 56516 h 369337"/>
                  <a:gd name="connsiteX1132" fmla="*/ 102804 w 192559"/>
                  <a:gd name="connsiteY1132" fmla="*/ 57662 h 369337"/>
                  <a:gd name="connsiteX1133" fmla="*/ 102187 w 192559"/>
                  <a:gd name="connsiteY1133" fmla="*/ 59426 h 369337"/>
                  <a:gd name="connsiteX1134" fmla="*/ 101658 w 192559"/>
                  <a:gd name="connsiteY1134" fmla="*/ 60836 h 369337"/>
                  <a:gd name="connsiteX1135" fmla="*/ 101041 w 192559"/>
                  <a:gd name="connsiteY1135" fmla="*/ 60836 h 369337"/>
                  <a:gd name="connsiteX1136" fmla="*/ 98396 w 192559"/>
                  <a:gd name="connsiteY1136" fmla="*/ 59426 h 369337"/>
                  <a:gd name="connsiteX1137" fmla="*/ 97778 w 192559"/>
                  <a:gd name="connsiteY1137" fmla="*/ 60836 h 369337"/>
                  <a:gd name="connsiteX1138" fmla="*/ 98043 w 192559"/>
                  <a:gd name="connsiteY1138" fmla="*/ 63217 h 369337"/>
                  <a:gd name="connsiteX1139" fmla="*/ 96280 w 192559"/>
                  <a:gd name="connsiteY1139" fmla="*/ 63834 h 369337"/>
                  <a:gd name="connsiteX1140" fmla="*/ 95662 w 192559"/>
                  <a:gd name="connsiteY1140" fmla="*/ 64716 h 369337"/>
                  <a:gd name="connsiteX1141" fmla="*/ 95133 w 192559"/>
                  <a:gd name="connsiteY1141" fmla="*/ 64980 h 369337"/>
                  <a:gd name="connsiteX1142" fmla="*/ 94869 w 192559"/>
                  <a:gd name="connsiteY1142" fmla="*/ 64716 h 369337"/>
                  <a:gd name="connsiteX1143" fmla="*/ 94252 w 192559"/>
                  <a:gd name="connsiteY1143" fmla="*/ 65597 h 369337"/>
                  <a:gd name="connsiteX1144" fmla="*/ 95133 w 192559"/>
                  <a:gd name="connsiteY1144" fmla="*/ 66479 h 369337"/>
                  <a:gd name="connsiteX1145" fmla="*/ 94516 w 192559"/>
                  <a:gd name="connsiteY1145" fmla="*/ 67096 h 369337"/>
                  <a:gd name="connsiteX1146" fmla="*/ 93018 w 192559"/>
                  <a:gd name="connsiteY1146" fmla="*/ 67713 h 369337"/>
                  <a:gd name="connsiteX1147" fmla="*/ 92489 w 192559"/>
                  <a:gd name="connsiteY1147" fmla="*/ 67713 h 369337"/>
                  <a:gd name="connsiteX1148" fmla="*/ 92136 w 192559"/>
                  <a:gd name="connsiteY1148" fmla="*/ 67713 h 369337"/>
                  <a:gd name="connsiteX1149" fmla="*/ 92136 w 192559"/>
                  <a:gd name="connsiteY1149" fmla="*/ 69124 h 369337"/>
                  <a:gd name="connsiteX1150" fmla="*/ 92489 w 192559"/>
                  <a:gd name="connsiteY1150" fmla="*/ 69389 h 369337"/>
                  <a:gd name="connsiteX1151" fmla="*/ 90108 w 192559"/>
                  <a:gd name="connsiteY1151" fmla="*/ 69389 h 369337"/>
                  <a:gd name="connsiteX1152" fmla="*/ 90373 w 192559"/>
                  <a:gd name="connsiteY1152" fmla="*/ 70887 h 369337"/>
                  <a:gd name="connsiteX1153" fmla="*/ 89491 w 192559"/>
                  <a:gd name="connsiteY1153" fmla="*/ 70887 h 369337"/>
                  <a:gd name="connsiteX1154" fmla="*/ 88344 w 192559"/>
                  <a:gd name="connsiteY1154" fmla="*/ 72651 h 369337"/>
                  <a:gd name="connsiteX1155" fmla="*/ 88344 w 192559"/>
                  <a:gd name="connsiteY1155" fmla="*/ 73268 h 369337"/>
                  <a:gd name="connsiteX1156" fmla="*/ 86934 w 192559"/>
                  <a:gd name="connsiteY1156" fmla="*/ 73885 h 369337"/>
                  <a:gd name="connsiteX1157" fmla="*/ 87199 w 192559"/>
                  <a:gd name="connsiteY1157" fmla="*/ 75031 h 369337"/>
                  <a:gd name="connsiteX1158" fmla="*/ 86052 w 192559"/>
                  <a:gd name="connsiteY1158" fmla="*/ 75031 h 369337"/>
                  <a:gd name="connsiteX1159" fmla="*/ 85435 w 192559"/>
                  <a:gd name="connsiteY1159" fmla="*/ 73885 h 369337"/>
                  <a:gd name="connsiteX1160" fmla="*/ 84553 w 192559"/>
                  <a:gd name="connsiteY1160" fmla="*/ 73885 h 369337"/>
                  <a:gd name="connsiteX1161" fmla="*/ 84289 w 192559"/>
                  <a:gd name="connsiteY1161" fmla="*/ 73268 h 369337"/>
                  <a:gd name="connsiteX1162" fmla="*/ 81379 w 192559"/>
                  <a:gd name="connsiteY1162" fmla="*/ 72651 h 369337"/>
                  <a:gd name="connsiteX1163" fmla="*/ 81027 w 192559"/>
                  <a:gd name="connsiteY1163" fmla="*/ 71152 h 369337"/>
                  <a:gd name="connsiteX1164" fmla="*/ 81644 w 192559"/>
                  <a:gd name="connsiteY1164" fmla="*/ 70887 h 369337"/>
                  <a:gd name="connsiteX1165" fmla="*/ 82173 w 192559"/>
                  <a:gd name="connsiteY1165" fmla="*/ 69124 h 369337"/>
                  <a:gd name="connsiteX1166" fmla="*/ 81908 w 192559"/>
                  <a:gd name="connsiteY1166" fmla="*/ 67096 h 369337"/>
                  <a:gd name="connsiteX1167" fmla="*/ 81908 w 192559"/>
                  <a:gd name="connsiteY1167" fmla="*/ 66479 h 369337"/>
                  <a:gd name="connsiteX1168" fmla="*/ 81644 w 192559"/>
                  <a:gd name="connsiteY1168" fmla="*/ 65597 h 369337"/>
                  <a:gd name="connsiteX1169" fmla="*/ 83143 w 192559"/>
                  <a:gd name="connsiteY1169" fmla="*/ 64980 h 369337"/>
                  <a:gd name="connsiteX1170" fmla="*/ 82261 w 192559"/>
                  <a:gd name="connsiteY1170" fmla="*/ 63834 h 369337"/>
                  <a:gd name="connsiteX1171" fmla="*/ 83143 w 192559"/>
                  <a:gd name="connsiteY1171" fmla="*/ 63217 h 369337"/>
                  <a:gd name="connsiteX1172" fmla="*/ 84289 w 192559"/>
                  <a:gd name="connsiteY1172" fmla="*/ 62071 h 369337"/>
                  <a:gd name="connsiteX1173" fmla="*/ 84289 w 192559"/>
                  <a:gd name="connsiteY1173" fmla="*/ 60836 h 369337"/>
                  <a:gd name="connsiteX1174" fmla="*/ 85170 w 192559"/>
                  <a:gd name="connsiteY1174" fmla="*/ 60307 h 369337"/>
                  <a:gd name="connsiteX1175" fmla="*/ 84906 w 192559"/>
                  <a:gd name="connsiteY1175" fmla="*/ 58279 h 369337"/>
                  <a:gd name="connsiteX1176" fmla="*/ 84641 w 192559"/>
                  <a:gd name="connsiteY1176" fmla="*/ 56516 h 369337"/>
                  <a:gd name="connsiteX1177" fmla="*/ 84641 w 192559"/>
                  <a:gd name="connsiteY1177" fmla="*/ 55634 h 369337"/>
                  <a:gd name="connsiteX1178" fmla="*/ 84024 w 192559"/>
                  <a:gd name="connsiteY1178" fmla="*/ 55370 h 369337"/>
                  <a:gd name="connsiteX1179" fmla="*/ 84024 w 192559"/>
                  <a:gd name="connsiteY1179" fmla="*/ 53871 h 369337"/>
                  <a:gd name="connsiteX1180" fmla="*/ 84289 w 192559"/>
                  <a:gd name="connsiteY1180" fmla="*/ 53606 h 369337"/>
                  <a:gd name="connsiteX1181" fmla="*/ 82261 w 192559"/>
                  <a:gd name="connsiteY1181" fmla="*/ 52725 h 369337"/>
                  <a:gd name="connsiteX1182" fmla="*/ 81115 w 192559"/>
                  <a:gd name="connsiteY1182" fmla="*/ 50961 h 369337"/>
                  <a:gd name="connsiteX1183" fmla="*/ 81996 w 192559"/>
                  <a:gd name="connsiteY1183" fmla="*/ 49815 h 369337"/>
                  <a:gd name="connsiteX1184" fmla="*/ 81732 w 192559"/>
                  <a:gd name="connsiteY1184" fmla="*/ 48316 h 369337"/>
                  <a:gd name="connsiteX1185" fmla="*/ 82261 w 192559"/>
                  <a:gd name="connsiteY1185" fmla="*/ 48316 h 369337"/>
                  <a:gd name="connsiteX1186" fmla="*/ 83143 w 192559"/>
                  <a:gd name="connsiteY1186" fmla="*/ 47170 h 369337"/>
                  <a:gd name="connsiteX1187" fmla="*/ 83143 w 192559"/>
                  <a:gd name="connsiteY1187" fmla="*/ 46553 h 369337"/>
                  <a:gd name="connsiteX1188" fmla="*/ 84289 w 192559"/>
                  <a:gd name="connsiteY1188" fmla="*/ 45407 h 369337"/>
                  <a:gd name="connsiteX1189" fmla="*/ 84906 w 192559"/>
                  <a:gd name="connsiteY1189" fmla="*/ 44261 h 369337"/>
                  <a:gd name="connsiteX1190" fmla="*/ 84024 w 192559"/>
                  <a:gd name="connsiteY1190" fmla="*/ 42762 h 369337"/>
                  <a:gd name="connsiteX1191" fmla="*/ 83672 w 192559"/>
                  <a:gd name="connsiteY1191" fmla="*/ 41880 h 369337"/>
                  <a:gd name="connsiteX1192" fmla="*/ 83407 w 192559"/>
                  <a:gd name="connsiteY1192" fmla="*/ 39235 h 369337"/>
                  <a:gd name="connsiteX1193" fmla="*/ 84553 w 192559"/>
                  <a:gd name="connsiteY1193" fmla="*/ 38089 h 369337"/>
                  <a:gd name="connsiteX1194" fmla="*/ 84289 w 192559"/>
                  <a:gd name="connsiteY1194" fmla="*/ 36678 h 369337"/>
                  <a:gd name="connsiteX1195" fmla="*/ 85170 w 192559"/>
                  <a:gd name="connsiteY1195" fmla="*/ 35532 h 369337"/>
                  <a:gd name="connsiteX1196" fmla="*/ 83143 w 192559"/>
                  <a:gd name="connsiteY1196" fmla="*/ 32887 h 369337"/>
                  <a:gd name="connsiteX1197" fmla="*/ 82261 w 192559"/>
                  <a:gd name="connsiteY1197" fmla="*/ 30859 h 369337"/>
                  <a:gd name="connsiteX1198" fmla="*/ 81996 w 192559"/>
                  <a:gd name="connsiteY1198" fmla="*/ 29360 h 369337"/>
                  <a:gd name="connsiteX1199" fmla="*/ 81996 w 192559"/>
                  <a:gd name="connsiteY1199" fmla="*/ 28743 h 369337"/>
                  <a:gd name="connsiteX1200" fmla="*/ 80233 w 192559"/>
                  <a:gd name="connsiteY1200" fmla="*/ 26980 h 369337"/>
                  <a:gd name="connsiteX1201" fmla="*/ 80586 w 192559"/>
                  <a:gd name="connsiteY1201" fmla="*/ 24335 h 369337"/>
                  <a:gd name="connsiteX1202" fmla="*/ 81996 w 192559"/>
                  <a:gd name="connsiteY1202" fmla="*/ 24335 h 369337"/>
                  <a:gd name="connsiteX1203" fmla="*/ 81732 w 192559"/>
                  <a:gd name="connsiteY1203" fmla="*/ 23717 h 369337"/>
                  <a:gd name="connsiteX1204" fmla="*/ 81467 w 192559"/>
                  <a:gd name="connsiteY1204" fmla="*/ 21954 h 369337"/>
                  <a:gd name="connsiteX1205" fmla="*/ 80850 w 192559"/>
                  <a:gd name="connsiteY1205" fmla="*/ 21954 h 369337"/>
                  <a:gd name="connsiteX1206" fmla="*/ 79969 w 192559"/>
                  <a:gd name="connsiteY1206" fmla="*/ 21337 h 369337"/>
                  <a:gd name="connsiteX1207" fmla="*/ 79440 w 192559"/>
                  <a:gd name="connsiteY1207" fmla="*/ 21954 h 369337"/>
                  <a:gd name="connsiteX1208" fmla="*/ 78558 w 192559"/>
                  <a:gd name="connsiteY1208" fmla="*/ 21954 h 369337"/>
                  <a:gd name="connsiteX1209" fmla="*/ 76530 w 192559"/>
                  <a:gd name="connsiteY1209" fmla="*/ 20808 h 369337"/>
                  <a:gd name="connsiteX1210" fmla="*/ 73356 w 192559"/>
                  <a:gd name="connsiteY1210" fmla="*/ 20808 h 369337"/>
                  <a:gd name="connsiteX1211" fmla="*/ 72474 w 192559"/>
                  <a:gd name="connsiteY1211" fmla="*/ 23717 h 369337"/>
                  <a:gd name="connsiteX1212" fmla="*/ 71857 w 192559"/>
                  <a:gd name="connsiteY1212" fmla="*/ 24335 h 369337"/>
                  <a:gd name="connsiteX1213" fmla="*/ 70711 w 192559"/>
                  <a:gd name="connsiteY1213" fmla="*/ 23717 h 369337"/>
                  <a:gd name="connsiteX1214" fmla="*/ 68683 w 192559"/>
                  <a:gd name="connsiteY1214" fmla="*/ 22571 h 369337"/>
                  <a:gd name="connsiteX1215" fmla="*/ 67537 w 192559"/>
                  <a:gd name="connsiteY1215" fmla="*/ 22571 h 369337"/>
                  <a:gd name="connsiteX1216" fmla="*/ 67890 w 192559"/>
                  <a:gd name="connsiteY1216" fmla="*/ 23717 h 369337"/>
                  <a:gd name="connsiteX1217" fmla="*/ 67008 w 192559"/>
                  <a:gd name="connsiteY1217" fmla="*/ 23717 h 369337"/>
                  <a:gd name="connsiteX1218" fmla="*/ 66479 w 192559"/>
                  <a:gd name="connsiteY1218" fmla="*/ 23717 h 369337"/>
                  <a:gd name="connsiteX1219" fmla="*/ 65597 w 192559"/>
                  <a:gd name="connsiteY1219" fmla="*/ 23717 h 369337"/>
                  <a:gd name="connsiteX1220" fmla="*/ 65068 w 192559"/>
                  <a:gd name="connsiteY1220" fmla="*/ 22571 h 369337"/>
                  <a:gd name="connsiteX1221" fmla="*/ 64804 w 192559"/>
                  <a:gd name="connsiteY1221" fmla="*/ 22042 h 369337"/>
                  <a:gd name="connsiteX1222" fmla="*/ 64186 w 192559"/>
                  <a:gd name="connsiteY1222" fmla="*/ 20896 h 369337"/>
                  <a:gd name="connsiteX1223" fmla="*/ 63305 w 192559"/>
                  <a:gd name="connsiteY1223" fmla="*/ 18868 h 369337"/>
                  <a:gd name="connsiteX1224" fmla="*/ 61541 w 192559"/>
                  <a:gd name="connsiteY1224" fmla="*/ 17457 h 369337"/>
                  <a:gd name="connsiteX1225" fmla="*/ 63305 w 192559"/>
                  <a:gd name="connsiteY1225" fmla="*/ 15429 h 369337"/>
                  <a:gd name="connsiteX1226" fmla="*/ 63569 w 192559"/>
                  <a:gd name="connsiteY1226" fmla="*/ 14548 h 369337"/>
                  <a:gd name="connsiteX1227" fmla="*/ 64715 w 192559"/>
                  <a:gd name="connsiteY1227" fmla="*/ 8112 h 369337"/>
                  <a:gd name="connsiteX1228" fmla="*/ 63305 w 192559"/>
                  <a:gd name="connsiteY1228" fmla="*/ 8112 h 369337"/>
                  <a:gd name="connsiteX1229" fmla="*/ 62423 w 192559"/>
                  <a:gd name="connsiteY1229" fmla="*/ 7230 h 369337"/>
                  <a:gd name="connsiteX1230" fmla="*/ 61277 w 192559"/>
                  <a:gd name="connsiteY1230" fmla="*/ 5467 h 369337"/>
                  <a:gd name="connsiteX1231" fmla="*/ 58985 w 192559"/>
                  <a:gd name="connsiteY1231" fmla="*/ 2557 h 369337"/>
                  <a:gd name="connsiteX1232" fmla="*/ 58367 w 192559"/>
                  <a:gd name="connsiteY1232" fmla="*/ 1675 h 369337"/>
                  <a:gd name="connsiteX1233" fmla="*/ 56956 w 192559"/>
                  <a:gd name="connsiteY1233" fmla="*/ 1675 h 369337"/>
                  <a:gd name="connsiteX1234" fmla="*/ 56075 w 192559"/>
                  <a:gd name="connsiteY1234" fmla="*/ 2557 h 369337"/>
                  <a:gd name="connsiteX1235" fmla="*/ 56075 w 192559"/>
                  <a:gd name="connsiteY1235" fmla="*/ 3703 h 369337"/>
                  <a:gd name="connsiteX1236" fmla="*/ 55458 w 192559"/>
                  <a:gd name="connsiteY1236" fmla="*/ 4232 h 369337"/>
                  <a:gd name="connsiteX1237" fmla="*/ 55722 w 192559"/>
                  <a:gd name="connsiteY1237" fmla="*/ 5378 h 369337"/>
                  <a:gd name="connsiteX1238" fmla="*/ 54223 w 192559"/>
                  <a:gd name="connsiteY1238" fmla="*/ 5378 h 369337"/>
                  <a:gd name="connsiteX1239" fmla="*/ 53959 w 192559"/>
                  <a:gd name="connsiteY1239" fmla="*/ 3615 h 369337"/>
                  <a:gd name="connsiteX1240" fmla="*/ 53959 w 192559"/>
                  <a:gd name="connsiteY1240" fmla="*/ 2469 h 369337"/>
                  <a:gd name="connsiteX1241" fmla="*/ 52636 w 192559"/>
                  <a:gd name="connsiteY1241" fmla="*/ 2469 h 369337"/>
                  <a:gd name="connsiteX1242" fmla="*/ 47699 w 192559"/>
                  <a:gd name="connsiteY1242" fmla="*/ 308677 h 369337"/>
                  <a:gd name="connsiteX1243" fmla="*/ 47964 w 192559"/>
                  <a:gd name="connsiteY1243" fmla="*/ 308677 h 369337"/>
                  <a:gd name="connsiteX1244" fmla="*/ 47699 w 192559"/>
                  <a:gd name="connsiteY1244" fmla="*/ 306914 h 369337"/>
                  <a:gd name="connsiteX1245" fmla="*/ 48581 w 192559"/>
                  <a:gd name="connsiteY1245" fmla="*/ 307179 h 369337"/>
                  <a:gd name="connsiteX1246" fmla="*/ 49198 w 192559"/>
                  <a:gd name="connsiteY1246" fmla="*/ 308060 h 369337"/>
                  <a:gd name="connsiteX1247" fmla="*/ 50344 w 192559"/>
                  <a:gd name="connsiteY1247" fmla="*/ 307708 h 369337"/>
                  <a:gd name="connsiteX1248" fmla="*/ 50344 w 192559"/>
                  <a:gd name="connsiteY1248" fmla="*/ 309206 h 369337"/>
                  <a:gd name="connsiteX1249" fmla="*/ 50080 w 192559"/>
                  <a:gd name="connsiteY1249" fmla="*/ 310088 h 369337"/>
                  <a:gd name="connsiteX1250" fmla="*/ 50344 w 192559"/>
                  <a:gd name="connsiteY1250" fmla="*/ 310970 h 369337"/>
                  <a:gd name="connsiteX1251" fmla="*/ 50080 w 192559"/>
                  <a:gd name="connsiteY1251" fmla="*/ 312733 h 369337"/>
                  <a:gd name="connsiteX1252" fmla="*/ 49462 w 192559"/>
                  <a:gd name="connsiteY1252" fmla="*/ 312998 h 369337"/>
                  <a:gd name="connsiteX1253" fmla="*/ 48845 w 192559"/>
                  <a:gd name="connsiteY1253" fmla="*/ 314232 h 369337"/>
                  <a:gd name="connsiteX1254" fmla="*/ 48581 w 192559"/>
                  <a:gd name="connsiteY1254" fmla="*/ 313350 h 369337"/>
                  <a:gd name="connsiteX1255" fmla="*/ 47964 w 192559"/>
                  <a:gd name="connsiteY1255" fmla="*/ 311323 h 369337"/>
                  <a:gd name="connsiteX1256" fmla="*/ 47964 w 192559"/>
                  <a:gd name="connsiteY1256" fmla="*/ 310176 h 369337"/>
                  <a:gd name="connsiteX1257" fmla="*/ 47699 w 192559"/>
                  <a:gd name="connsiteY1257" fmla="*/ 309559 h 369337"/>
                  <a:gd name="connsiteX1258" fmla="*/ 47699 w 192559"/>
                  <a:gd name="connsiteY1258" fmla="*/ 308677 h 369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</a:cxnLst>
                <a:rect l="l" t="t" r="r" b="b"/>
                <a:pathLst>
                  <a:path w="192559" h="369337">
                    <a:moveTo>
                      <a:pt x="85876" y="268385"/>
                    </a:moveTo>
                    <a:lnTo>
                      <a:pt x="86140" y="269002"/>
                    </a:lnTo>
                    <a:lnTo>
                      <a:pt x="85523" y="270148"/>
                    </a:lnTo>
                    <a:lnTo>
                      <a:pt x="85876" y="271294"/>
                    </a:lnTo>
                    <a:lnTo>
                      <a:pt x="85876" y="272176"/>
                    </a:lnTo>
                    <a:lnTo>
                      <a:pt x="84994" y="272440"/>
                    </a:lnTo>
                    <a:lnTo>
                      <a:pt x="83495" y="272176"/>
                    </a:lnTo>
                    <a:lnTo>
                      <a:pt x="82614" y="272440"/>
                    </a:lnTo>
                    <a:lnTo>
                      <a:pt x="81732" y="272176"/>
                    </a:lnTo>
                    <a:lnTo>
                      <a:pt x="80850" y="272176"/>
                    </a:lnTo>
                    <a:lnTo>
                      <a:pt x="81203" y="271294"/>
                    </a:lnTo>
                    <a:lnTo>
                      <a:pt x="81467" y="270765"/>
                    </a:lnTo>
                    <a:lnTo>
                      <a:pt x="81732" y="270148"/>
                    </a:lnTo>
                    <a:lnTo>
                      <a:pt x="81996" y="269883"/>
                    </a:lnTo>
                    <a:lnTo>
                      <a:pt x="82614" y="269266"/>
                    </a:lnTo>
                    <a:lnTo>
                      <a:pt x="82966" y="269002"/>
                    </a:lnTo>
                    <a:lnTo>
                      <a:pt x="83848" y="268737"/>
                    </a:lnTo>
                    <a:lnTo>
                      <a:pt x="84112" y="268737"/>
                    </a:lnTo>
                    <a:lnTo>
                      <a:pt x="84377" y="268473"/>
                    </a:lnTo>
                    <a:lnTo>
                      <a:pt x="85259" y="268473"/>
                    </a:lnTo>
                    <a:lnTo>
                      <a:pt x="85876" y="268473"/>
                    </a:lnTo>
                    <a:close/>
                    <a:moveTo>
                      <a:pt x="52636" y="1763"/>
                    </a:moveTo>
                    <a:lnTo>
                      <a:pt x="52284" y="1763"/>
                    </a:lnTo>
                    <a:lnTo>
                      <a:pt x="52284" y="882"/>
                    </a:lnTo>
                    <a:lnTo>
                      <a:pt x="50873" y="882"/>
                    </a:lnTo>
                    <a:lnTo>
                      <a:pt x="49991" y="0"/>
                    </a:lnTo>
                    <a:lnTo>
                      <a:pt x="48228" y="0"/>
                    </a:lnTo>
                    <a:lnTo>
                      <a:pt x="46464" y="2028"/>
                    </a:lnTo>
                    <a:lnTo>
                      <a:pt x="44701" y="2028"/>
                    </a:lnTo>
                    <a:lnTo>
                      <a:pt x="44084" y="2028"/>
                    </a:lnTo>
                    <a:lnTo>
                      <a:pt x="40910" y="1763"/>
                    </a:lnTo>
                    <a:lnTo>
                      <a:pt x="38265" y="882"/>
                    </a:lnTo>
                    <a:lnTo>
                      <a:pt x="40028" y="2028"/>
                    </a:lnTo>
                    <a:lnTo>
                      <a:pt x="40910" y="4673"/>
                    </a:lnTo>
                    <a:lnTo>
                      <a:pt x="41439" y="6436"/>
                    </a:lnTo>
                    <a:lnTo>
                      <a:pt x="41792" y="7318"/>
                    </a:lnTo>
                    <a:lnTo>
                      <a:pt x="41439" y="7318"/>
                    </a:lnTo>
                    <a:lnTo>
                      <a:pt x="40910" y="8464"/>
                    </a:lnTo>
                    <a:lnTo>
                      <a:pt x="37119" y="9346"/>
                    </a:lnTo>
                    <a:lnTo>
                      <a:pt x="35708" y="8464"/>
                    </a:lnTo>
                    <a:lnTo>
                      <a:pt x="33945" y="7582"/>
                    </a:lnTo>
                    <a:lnTo>
                      <a:pt x="32181" y="8464"/>
                    </a:lnTo>
                    <a:lnTo>
                      <a:pt x="31564" y="9346"/>
                    </a:lnTo>
                    <a:lnTo>
                      <a:pt x="31300" y="11374"/>
                    </a:lnTo>
                    <a:lnTo>
                      <a:pt x="31564" y="12873"/>
                    </a:lnTo>
                    <a:lnTo>
                      <a:pt x="30682" y="12873"/>
                    </a:lnTo>
                    <a:lnTo>
                      <a:pt x="31829" y="14636"/>
                    </a:lnTo>
                    <a:lnTo>
                      <a:pt x="30947" y="15782"/>
                    </a:lnTo>
                    <a:lnTo>
                      <a:pt x="30947" y="16399"/>
                    </a:lnTo>
                    <a:lnTo>
                      <a:pt x="29801" y="16399"/>
                    </a:lnTo>
                    <a:lnTo>
                      <a:pt x="27773" y="14900"/>
                    </a:lnTo>
                    <a:lnTo>
                      <a:pt x="27155" y="16399"/>
                    </a:lnTo>
                    <a:lnTo>
                      <a:pt x="24246" y="17546"/>
                    </a:lnTo>
                    <a:lnTo>
                      <a:pt x="23717" y="18163"/>
                    </a:lnTo>
                    <a:lnTo>
                      <a:pt x="23100" y="18163"/>
                    </a:lnTo>
                    <a:lnTo>
                      <a:pt x="22483" y="19044"/>
                    </a:lnTo>
                    <a:lnTo>
                      <a:pt x="21337" y="18163"/>
                    </a:lnTo>
                    <a:lnTo>
                      <a:pt x="19926" y="18163"/>
                    </a:lnTo>
                    <a:lnTo>
                      <a:pt x="16752" y="18163"/>
                    </a:lnTo>
                    <a:lnTo>
                      <a:pt x="15870" y="19044"/>
                    </a:lnTo>
                    <a:lnTo>
                      <a:pt x="15341" y="19044"/>
                    </a:lnTo>
                    <a:lnTo>
                      <a:pt x="15341" y="18163"/>
                    </a:lnTo>
                    <a:lnTo>
                      <a:pt x="14460" y="17546"/>
                    </a:lnTo>
                    <a:lnTo>
                      <a:pt x="12432" y="16399"/>
                    </a:lnTo>
                    <a:lnTo>
                      <a:pt x="11814" y="16399"/>
                    </a:lnTo>
                    <a:lnTo>
                      <a:pt x="11814" y="15782"/>
                    </a:lnTo>
                    <a:lnTo>
                      <a:pt x="10933" y="15782"/>
                    </a:lnTo>
                    <a:lnTo>
                      <a:pt x="10668" y="18075"/>
                    </a:lnTo>
                    <a:lnTo>
                      <a:pt x="10933" y="19221"/>
                    </a:lnTo>
                    <a:lnTo>
                      <a:pt x="10668" y="20103"/>
                    </a:lnTo>
                    <a:lnTo>
                      <a:pt x="10051" y="20720"/>
                    </a:lnTo>
                    <a:lnTo>
                      <a:pt x="8640" y="21337"/>
                    </a:lnTo>
                    <a:lnTo>
                      <a:pt x="7759" y="21337"/>
                    </a:lnTo>
                    <a:lnTo>
                      <a:pt x="8023" y="22836"/>
                    </a:lnTo>
                    <a:lnTo>
                      <a:pt x="8288" y="23100"/>
                    </a:lnTo>
                    <a:lnTo>
                      <a:pt x="6877" y="24864"/>
                    </a:lnTo>
                    <a:lnTo>
                      <a:pt x="8023" y="28655"/>
                    </a:lnTo>
                    <a:lnTo>
                      <a:pt x="7406" y="29184"/>
                    </a:lnTo>
                    <a:lnTo>
                      <a:pt x="8288" y="30330"/>
                    </a:lnTo>
                    <a:lnTo>
                      <a:pt x="8817" y="33504"/>
                    </a:lnTo>
                    <a:lnTo>
                      <a:pt x="6789" y="34650"/>
                    </a:lnTo>
                    <a:lnTo>
                      <a:pt x="7053" y="36414"/>
                    </a:lnTo>
                    <a:lnTo>
                      <a:pt x="6172" y="37295"/>
                    </a:lnTo>
                    <a:lnTo>
                      <a:pt x="7671" y="39059"/>
                    </a:lnTo>
                    <a:lnTo>
                      <a:pt x="8552" y="41968"/>
                    </a:lnTo>
                    <a:lnTo>
                      <a:pt x="9698" y="43467"/>
                    </a:lnTo>
                    <a:lnTo>
                      <a:pt x="9346" y="46377"/>
                    </a:lnTo>
                    <a:lnTo>
                      <a:pt x="7582" y="46377"/>
                    </a:lnTo>
                    <a:lnTo>
                      <a:pt x="6084" y="46377"/>
                    </a:lnTo>
                    <a:lnTo>
                      <a:pt x="6084" y="47523"/>
                    </a:lnTo>
                    <a:lnTo>
                      <a:pt x="5202" y="48404"/>
                    </a:lnTo>
                    <a:lnTo>
                      <a:pt x="2292" y="48404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763" y="50168"/>
                    </a:lnTo>
                    <a:lnTo>
                      <a:pt x="2909" y="52813"/>
                    </a:lnTo>
                    <a:lnTo>
                      <a:pt x="3439" y="53077"/>
                    </a:lnTo>
                    <a:lnTo>
                      <a:pt x="6084" y="53959"/>
                    </a:lnTo>
                    <a:lnTo>
                      <a:pt x="5819" y="52813"/>
                    </a:lnTo>
                    <a:lnTo>
                      <a:pt x="6701" y="52813"/>
                    </a:lnTo>
                    <a:lnTo>
                      <a:pt x="6965" y="52813"/>
                    </a:lnTo>
                    <a:lnTo>
                      <a:pt x="7847" y="53077"/>
                    </a:lnTo>
                    <a:lnTo>
                      <a:pt x="7847" y="53959"/>
                    </a:lnTo>
                    <a:lnTo>
                      <a:pt x="7230" y="54576"/>
                    </a:lnTo>
                    <a:lnTo>
                      <a:pt x="7230" y="54841"/>
                    </a:lnTo>
                    <a:lnTo>
                      <a:pt x="8993" y="56869"/>
                    </a:lnTo>
                    <a:lnTo>
                      <a:pt x="8993" y="57486"/>
                    </a:lnTo>
                    <a:lnTo>
                      <a:pt x="9875" y="58368"/>
                    </a:lnTo>
                    <a:lnTo>
                      <a:pt x="9258" y="59514"/>
                    </a:lnTo>
                    <a:lnTo>
                      <a:pt x="10139" y="59514"/>
                    </a:lnTo>
                    <a:lnTo>
                      <a:pt x="10492" y="61277"/>
                    </a:lnTo>
                    <a:lnTo>
                      <a:pt x="10756" y="61806"/>
                    </a:lnTo>
                    <a:lnTo>
                      <a:pt x="10492" y="62423"/>
                    </a:lnTo>
                    <a:lnTo>
                      <a:pt x="9875" y="63834"/>
                    </a:lnTo>
                    <a:lnTo>
                      <a:pt x="10756" y="64716"/>
                    </a:lnTo>
                    <a:lnTo>
                      <a:pt x="11903" y="66744"/>
                    </a:lnTo>
                    <a:lnTo>
                      <a:pt x="13049" y="68507"/>
                    </a:lnTo>
                    <a:lnTo>
                      <a:pt x="16576" y="72298"/>
                    </a:lnTo>
                    <a:lnTo>
                      <a:pt x="18339" y="72915"/>
                    </a:lnTo>
                    <a:lnTo>
                      <a:pt x="18603" y="74062"/>
                    </a:lnTo>
                    <a:lnTo>
                      <a:pt x="19221" y="74679"/>
                    </a:lnTo>
                    <a:lnTo>
                      <a:pt x="19485" y="75560"/>
                    </a:lnTo>
                    <a:lnTo>
                      <a:pt x="20984" y="75825"/>
                    </a:lnTo>
                    <a:lnTo>
                      <a:pt x="21248" y="77588"/>
                    </a:lnTo>
                    <a:lnTo>
                      <a:pt x="23893" y="80233"/>
                    </a:lnTo>
                    <a:lnTo>
                      <a:pt x="25657" y="82261"/>
                    </a:lnTo>
                    <a:lnTo>
                      <a:pt x="25657" y="82878"/>
                    </a:lnTo>
                    <a:lnTo>
                      <a:pt x="25657" y="83143"/>
                    </a:lnTo>
                    <a:lnTo>
                      <a:pt x="26274" y="84025"/>
                    </a:lnTo>
                    <a:lnTo>
                      <a:pt x="28302" y="84025"/>
                    </a:lnTo>
                    <a:lnTo>
                      <a:pt x="29448" y="85171"/>
                    </a:lnTo>
                    <a:lnTo>
                      <a:pt x="29448" y="85700"/>
                    </a:lnTo>
                    <a:lnTo>
                      <a:pt x="31211" y="86846"/>
                    </a:lnTo>
                    <a:lnTo>
                      <a:pt x="31211" y="87375"/>
                    </a:lnTo>
                    <a:lnTo>
                      <a:pt x="32093" y="87375"/>
                    </a:lnTo>
                    <a:lnTo>
                      <a:pt x="32358" y="89403"/>
                    </a:lnTo>
                    <a:lnTo>
                      <a:pt x="31211" y="88786"/>
                    </a:lnTo>
                    <a:lnTo>
                      <a:pt x="31476" y="89403"/>
                    </a:lnTo>
                    <a:lnTo>
                      <a:pt x="32622" y="91166"/>
                    </a:lnTo>
                    <a:lnTo>
                      <a:pt x="32358" y="91166"/>
                    </a:lnTo>
                    <a:lnTo>
                      <a:pt x="31476" y="91166"/>
                    </a:lnTo>
                    <a:lnTo>
                      <a:pt x="30330" y="92577"/>
                    </a:lnTo>
                    <a:lnTo>
                      <a:pt x="31740" y="92577"/>
                    </a:lnTo>
                    <a:lnTo>
                      <a:pt x="32622" y="94340"/>
                    </a:lnTo>
                    <a:lnTo>
                      <a:pt x="33768" y="94957"/>
                    </a:lnTo>
                    <a:lnTo>
                      <a:pt x="34650" y="96368"/>
                    </a:lnTo>
                    <a:lnTo>
                      <a:pt x="34033" y="96721"/>
                    </a:lnTo>
                    <a:lnTo>
                      <a:pt x="36414" y="99366"/>
                    </a:lnTo>
                    <a:lnTo>
                      <a:pt x="35796" y="99983"/>
                    </a:lnTo>
                    <a:lnTo>
                      <a:pt x="36678" y="100600"/>
                    </a:lnTo>
                    <a:lnTo>
                      <a:pt x="36943" y="102981"/>
                    </a:lnTo>
                    <a:lnTo>
                      <a:pt x="38089" y="103862"/>
                    </a:lnTo>
                    <a:lnTo>
                      <a:pt x="37824" y="102099"/>
                    </a:lnTo>
                    <a:lnTo>
                      <a:pt x="38970" y="100600"/>
                    </a:lnTo>
                    <a:lnTo>
                      <a:pt x="39588" y="99454"/>
                    </a:lnTo>
                    <a:lnTo>
                      <a:pt x="40469" y="98308"/>
                    </a:lnTo>
                    <a:lnTo>
                      <a:pt x="40734" y="100071"/>
                    </a:lnTo>
                    <a:lnTo>
                      <a:pt x="42232" y="100688"/>
                    </a:lnTo>
                    <a:lnTo>
                      <a:pt x="41615" y="102452"/>
                    </a:lnTo>
                    <a:lnTo>
                      <a:pt x="41880" y="103951"/>
                    </a:lnTo>
                    <a:lnTo>
                      <a:pt x="41263" y="105097"/>
                    </a:lnTo>
                    <a:lnTo>
                      <a:pt x="40734" y="106860"/>
                    </a:lnTo>
                    <a:lnTo>
                      <a:pt x="39852" y="107477"/>
                    </a:lnTo>
                    <a:lnTo>
                      <a:pt x="37824" y="106860"/>
                    </a:lnTo>
                    <a:lnTo>
                      <a:pt x="37560" y="107477"/>
                    </a:lnTo>
                    <a:lnTo>
                      <a:pt x="37560" y="108095"/>
                    </a:lnTo>
                    <a:lnTo>
                      <a:pt x="36943" y="109858"/>
                    </a:lnTo>
                    <a:lnTo>
                      <a:pt x="34914" y="109858"/>
                    </a:lnTo>
                    <a:lnTo>
                      <a:pt x="36325" y="110740"/>
                    </a:lnTo>
                    <a:lnTo>
                      <a:pt x="36325" y="111357"/>
                    </a:lnTo>
                    <a:lnTo>
                      <a:pt x="36061" y="112503"/>
                    </a:lnTo>
                    <a:lnTo>
                      <a:pt x="36943" y="114266"/>
                    </a:lnTo>
                    <a:lnTo>
                      <a:pt x="35796" y="117528"/>
                    </a:lnTo>
                    <a:lnTo>
                      <a:pt x="36678" y="119556"/>
                    </a:lnTo>
                    <a:lnTo>
                      <a:pt x="36414" y="121320"/>
                    </a:lnTo>
                    <a:lnTo>
                      <a:pt x="38177" y="124229"/>
                    </a:lnTo>
                    <a:lnTo>
                      <a:pt x="37560" y="126874"/>
                    </a:lnTo>
                    <a:lnTo>
                      <a:pt x="36943" y="127139"/>
                    </a:lnTo>
                    <a:lnTo>
                      <a:pt x="36943" y="125993"/>
                    </a:lnTo>
                    <a:lnTo>
                      <a:pt x="35796" y="125993"/>
                    </a:lnTo>
                    <a:lnTo>
                      <a:pt x="34385" y="125993"/>
                    </a:lnTo>
                    <a:lnTo>
                      <a:pt x="33504" y="125993"/>
                    </a:lnTo>
                    <a:lnTo>
                      <a:pt x="33768" y="128021"/>
                    </a:lnTo>
                    <a:lnTo>
                      <a:pt x="33768" y="129784"/>
                    </a:lnTo>
                    <a:lnTo>
                      <a:pt x="32887" y="128021"/>
                    </a:lnTo>
                    <a:lnTo>
                      <a:pt x="31123" y="128021"/>
                    </a:lnTo>
                    <a:lnTo>
                      <a:pt x="30859" y="129784"/>
                    </a:lnTo>
                    <a:lnTo>
                      <a:pt x="29360" y="130401"/>
                    </a:lnTo>
                    <a:lnTo>
                      <a:pt x="30242" y="131547"/>
                    </a:lnTo>
                    <a:lnTo>
                      <a:pt x="29095" y="133575"/>
                    </a:lnTo>
                    <a:lnTo>
                      <a:pt x="30594" y="135074"/>
                    </a:lnTo>
                    <a:lnTo>
                      <a:pt x="30594" y="135339"/>
                    </a:lnTo>
                    <a:lnTo>
                      <a:pt x="30859" y="137984"/>
                    </a:lnTo>
                    <a:lnTo>
                      <a:pt x="31123" y="138865"/>
                    </a:lnTo>
                    <a:lnTo>
                      <a:pt x="31740" y="139747"/>
                    </a:lnTo>
                    <a:lnTo>
                      <a:pt x="32005" y="140364"/>
                    </a:lnTo>
                    <a:lnTo>
                      <a:pt x="32887" y="141510"/>
                    </a:lnTo>
                    <a:lnTo>
                      <a:pt x="32887" y="142657"/>
                    </a:lnTo>
                    <a:lnTo>
                      <a:pt x="35796" y="145302"/>
                    </a:lnTo>
                    <a:lnTo>
                      <a:pt x="36678" y="145919"/>
                    </a:lnTo>
                    <a:lnTo>
                      <a:pt x="36943" y="147065"/>
                    </a:lnTo>
                    <a:lnTo>
                      <a:pt x="38089" y="147065"/>
                    </a:lnTo>
                    <a:lnTo>
                      <a:pt x="39588" y="150856"/>
                    </a:lnTo>
                    <a:lnTo>
                      <a:pt x="40998" y="151473"/>
                    </a:lnTo>
                    <a:lnTo>
                      <a:pt x="41263" y="152620"/>
                    </a:lnTo>
                    <a:lnTo>
                      <a:pt x="42761" y="153766"/>
                    </a:lnTo>
                    <a:lnTo>
                      <a:pt x="43908" y="153766"/>
                    </a:lnTo>
                    <a:lnTo>
                      <a:pt x="44789" y="155529"/>
                    </a:lnTo>
                    <a:lnTo>
                      <a:pt x="47435" y="157910"/>
                    </a:lnTo>
                    <a:lnTo>
                      <a:pt x="48052" y="157910"/>
                    </a:lnTo>
                    <a:lnTo>
                      <a:pt x="49551" y="158791"/>
                    </a:lnTo>
                    <a:lnTo>
                      <a:pt x="49815" y="159673"/>
                    </a:lnTo>
                    <a:lnTo>
                      <a:pt x="49815" y="159937"/>
                    </a:lnTo>
                    <a:lnTo>
                      <a:pt x="50961" y="162583"/>
                    </a:lnTo>
                    <a:lnTo>
                      <a:pt x="52989" y="163729"/>
                    </a:lnTo>
                    <a:lnTo>
                      <a:pt x="52989" y="164346"/>
                    </a:lnTo>
                    <a:lnTo>
                      <a:pt x="53254" y="166374"/>
                    </a:lnTo>
                    <a:lnTo>
                      <a:pt x="53782" y="166991"/>
                    </a:lnTo>
                    <a:lnTo>
                      <a:pt x="54665" y="167255"/>
                    </a:lnTo>
                    <a:lnTo>
                      <a:pt x="54136" y="169901"/>
                    </a:lnTo>
                    <a:lnTo>
                      <a:pt x="55017" y="171928"/>
                    </a:lnTo>
                    <a:lnTo>
                      <a:pt x="54488" y="171928"/>
                    </a:lnTo>
                    <a:lnTo>
                      <a:pt x="55898" y="173692"/>
                    </a:lnTo>
                    <a:lnTo>
                      <a:pt x="56163" y="175455"/>
                    </a:lnTo>
                    <a:lnTo>
                      <a:pt x="56427" y="178100"/>
                    </a:lnTo>
                    <a:lnTo>
                      <a:pt x="55546" y="178100"/>
                    </a:lnTo>
                    <a:lnTo>
                      <a:pt x="56692" y="180745"/>
                    </a:lnTo>
                    <a:lnTo>
                      <a:pt x="54665" y="181010"/>
                    </a:lnTo>
                    <a:lnTo>
                      <a:pt x="54665" y="182420"/>
                    </a:lnTo>
                    <a:lnTo>
                      <a:pt x="54929" y="184184"/>
                    </a:lnTo>
                    <a:lnTo>
                      <a:pt x="56427" y="186476"/>
                    </a:lnTo>
                    <a:lnTo>
                      <a:pt x="56692" y="187093"/>
                    </a:lnTo>
                    <a:lnTo>
                      <a:pt x="56692" y="189738"/>
                    </a:lnTo>
                    <a:lnTo>
                      <a:pt x="58191" y="190003"/>
                    </a:lnTo>
                    <a:lnTo>
                      <a:pt x="58456" y="192648"/>
                    </a:lnTo>
                    <a:lnTo>
                      <a:pt x="59602" y="192648"/>
                    </a:lnTo>
                    <a:lnTo>
                      <a:pt x="59602" y="194676"/>
                    </a:lnTo>
                    <a:lnTo>
                      <a:pt x="61101" y="194676"/>
                    </a:lnTo>
                    <a:lnTo>
                      <a:pt x="61982" y="195558"/>
                    </a:lnTo>
                    <a:lnTo>
                      <a:pt x="62247" y="195558"/>
                    </a:lnTo>
                    <a:lnTo>
                      <a:pt x="62511" y="197585"/>
                    </a:lnTo>
                    <a:lnTo>
                      <a:pt x="62511" y="199349"/>
                    </a:lnTo>
                    <a:lnTo>
                      <a:pt x="63393" y="200848"/>
                    </a:lnTo>
                    <a:lnTo>
                      <a:pt x="63657" y="203493"/>
                    </a:lnTo>
                    <a:lnTo>
                      <a:pt x="65157" y="203845"/>
                    </a:lnTo>
                    <a:lnTo>
                      <a:pt x="65157" y="205344"/>
                    </a:lnTo>
                    <a:lnTo>
                      <a:pt x="65421" y="206490"/>
                    </a:lnTo>
                    <a:lnTo>
                      <a:pt x="65421" y="207108"/>
                    </a:lnTo>
                    <a:lnTo>
                      <a:pt x="67713" y="207108"/>
                    </a:lnTo>
                    <a:lnTo>
                      <a:pt x="66567" y="209400"/>
                    </a:lnTo>
                    <a:lnTo>
                      <a:pt x="66831" y="210017"/>
                    </a:lnTo>
                    <a:lnTo>
                      <a:pt x="68859" y="210899"/>
                    </a:lnTo>
                    <a:lnTo>
                      <a:pt x="68859" y="211163"/>
                    </a:lnTo>
                    <a:lnTo>
                      <a:pt x="68242" y="213808"/>
                    </a:lnTo>
                    <a:lnTo>
                      <a:pt x="69124" y="214955"/>
                    </a:lnTo>
                    <a:lnTo>
                      <a:pt x="70270" y="214955"/>
                    </a:lnTo>
                    <a:lnTo>
                      <a:pt x="69388" y="217600"/>
                    </a:lnTo>
                    <a:lnTo>
                      <a:pt x="69388" y="218481"/>
                    </a:lnTo>
                    <a:lnTo>
                      <a:pt x="68859" y="219892"/>
                    </a:lnTo>
                    <a:lnTo>
                      <a:pt x="66567" y="219892"/>
                    </a:lnTo>
                    <a:lnTo>
                      <a:pt x="66567" y="220509"/>
                    </a:lnTo>
                    <a:lnTo>
                      <a:pt x="66831" y="223154"/>
                    </a:lnTo>
                    <a:lnTo>
                      <a:pt x="65333" y="224036"/>
                    </a:lnTo>
                    <a:lnTo>
                      <a:pt x="64451" y="224918"/>
                    </a:lnTo>
                    <a:lnTo>
                      <a:pt x="64451" y="226328"/>
                    </a:lnTo>
                    <a:lnTo>
                      <a:pt x="63305" y="227474"/>
                    </a:lnTo>
                    <a:lnTo>
                      <a:pt x="62776" y="228356"/>
                    </a:lnTo>
                    <a:lnTo>
                      <a:pt x="62776" y="229767"/>
                    </a:lnTo>
                    <a:lnTo>
                      <a:pt x="62159" y="233558"/>
                    </a:lnTo>
                    <a:lnTo>
                      <a:pt x="60660" y="233823"/>
                    </a:lnTo>
                    <a:lnTo>
                      <a:pt x="60131" y="235321"/>
                    </a:lnTo>
                    <a:lnTo>
                      <a:pt x="59249" y="235939"/>
                    </a:lnTo>
                    <a:lnTo>
                      <a:pt x="59249" y="236556"/>
                    </a:lnTo>
                    <a:lnTo>
                      <a:pt x="58632" y="237438"/>
                    </a:lnTo>
                    <a:lnTo>
                      <a:pt x="57221" y="236556"/>
                    </a:lnTo>
                    <a:lnTo>
                      <a:pt x="56956" y="237702"/>
                    </a:lnTo>
                    <a:lnTo>
                      <a:pt x="57221" y="239201"/>
                    </a:lnTo>
                    <a:lnTo>
                      <a:pt x="57221" y="240347"/>
                    </a:lnTo>
                    <a:lnTo>
                      <a:pt x="56340" y="240347"/>
                    </a:lnTo>
                    <a:lnTo>
                      <a:pt x="55722" y="240347"/>
                    </a:lnTo>
                    <a:lnTo>
                      <a:pt x="55722" y="241229"/>
                    </a:lnTo>
                    <a:lnTo>
                      <a:pt x="55105" y="241229"/>
                    </a:lnTo>
                    <a:lnTo>
                      <a:pt x="53342" y="243874"/>
                    </a:lnTo>
                    <a:lnTo>
                      <a:pt x="52813" y="245020"/>
                    </a:lnTo>
                    <a:lnTo>
                      <a:pt x="53694" y="245902"/>
                    </a:lnTo>
                    <a:lnTo>
                      <a:pt x="53694" y="247665"/>
                    </a:lnTo>
                    <a:lnTo>
                      <a:pt x="54047" y="249164"/>
                    </a:lnTo>
                    <a:lnTo>
                      <a:pt x="53430" y="250310"/>
                    </a:lnTo>
                    <a:lnTo>
                      <a:pt x="52901" y="251192"/>
                    </a:lnTo>
                    <a:lnTo>
                      <a:pt x="53430" y="251456"/>
                    </a:lnTo>
                    <a:lnTo>
                      <a:pt x="53694" y="251721"/>
                    </a:lnTo>
                    <a:lnTo>
                      <a:pt x="53430" y="251985"/>
                    </a:lnTo>
                    <a:lnTo>
                      <a:pt x="52901" y="255512"/>
                    </a:lnTo>
                    <a:lnTo>
                      <a:pt x="52636" y="256658"/>
                    </a:lnTo>
                    <a:lnTo>
                      <a:pt x="52636" y="256923"/>
                    </a:lnTo>
                    <a:lnTo>
                      <a:pt x="51490" y="261596"/>
                    </a:lnTo>
                    <a:lnTo>
                      <a:pt x="51226" y="261860"/>
                    </a:lnTo>
                    <a:lnTo>
                      <a:pt x="50609" y="261860"/>
                    </a:lnTo>
                    <a:lnTo>
                      <a:pt x="50609" y="262213"/>
                    </a:lnTo>
                    <a:lnTo>
                      <a:pt x="49991" y="262830"/>
                    </a:lnTo>
                    <a:lnTo>
                      <a:pt x="49727" y="263095"/>
                    </a:lnTo>
                    <a:lnTo>
                      <a:pt x="50344" y="263359"/>
                    </a:lnTo>
                    <a:lnTo>
                      <a:pt x="49727" y="263888"/>
                    </a:lnTo>
                    <a:lnTo>
                      <a:pt x="49462" y="264153"/>
                    </a:lnTo>
                    <a:lnTo>
                      <a:pt x="49727" y="263535"/>
                    </a:lnTo>
                    <a:lnTo>
                      <a:pt x="49462" y="263800"/>
                    </a:lnTo>
                    <a:lnTo>
                      <a:pt x="49110" y="263535"/>
                    </a:lnTo>
                    <a:lnTo>
                      <a:pt x="48845" y="263800"/>
                    </a:lnTo>
                    <a:lnTo>
                      <a:pt x="48845" y="264064"/>
                    </a:lnTo>
                    <a:lnTo>
                      <a:pt x="49462" y="265211"/>
                    </a:lnTo>
                    <a:lnTo>
                      <a:pt x="49991" y="265475"/>
                    </a:lnTo>
                    <a:lnTo>
                      <a:pt x="49991" y="264858"/>
                    </a:lnTo>
                    <a:lnTo>
                      <a:pt x="50609" y="264593"/>
                    </a:lnTo>
                    <a:lnTo>
                      <a:pt x="49991" y="265740"/>
                    </a:lnTo>
                    <a:lnTo>
                      <a:pt x="49110" y="265740"/>
                    </a:lnTo>
                    <a:lnTo>
                      <a:pt x="48845" y="266092"/>
                    </a:lnTo>
                    <a:lnTo>
                      <a:pt x="49110" y="267238"/>
                    </a:lnTo>
                    <a:lnTo>
                      <a:pt x="49110" y="266357"/>
                    </a:lnTo>
                    <a:lnTo>
                      <a:pt x="50344" y="267238"/>
                    </a:lnTo>
                    <a:lnTo>
                      <a:pt x="49727" y="267503"/>
                    </a:lnTo>
                    <a:lnTo>
                      <a:pt x="49110" y="267503"/>
                    </a:lnTo>
                    <a:lnTo>
                      <a:pt x="49110" y="267767"/>
                    </a:lnTo>
                    <a:lnTo>
                      <a:pt x="49110" y="268385"/>
                    </a:lnTo>
                    <a:lnTo>
                      <a:pt x="49110" y="269002"/>
                    </a:lnTo>
                    <a:lnTo>
                      <a:pt x="49110" y="269266"/>
                    </a:lnTo>
                    <a:lnTo>
                      <a:pt x="48845" y="269266"/>
                    </a:lnTo>
                    <a:lnTo>
                      <a:pt x="48228" y="269002"/>
                    </a:lnTo>
                    <a:lnTo>
                      <a:pt x="47964" y="269266"/>
                    </a:lnTo>
                    <a:lnTo>
                      <a:pt x="47699" y="270412"/>
                    </a:lnTo>
                    <a:lnTo>
                      <a:pt x="47964" y="270677"/>
                    </a:lnTo>
                    <a:lnTo>
                      <a:pt x="49727" y="270412"/>
                    </a:lnTo>
                    <a:lnTo>
                      <a:pt x="49991" y="270677"/>
                    </a:lnTo>
                    <a:lnTo>
                      <a:pt x="49727" y="270941"/>
                    </a:lnTo>
                    <a:lnTo>
                      <a:pt x="48581" y="271823"/>
                    </a:lnTo>
                    <a:lnTo>
                      <a:pt x="48052" y="271823"/>
                    </a:lnTo>
                    <a:lnTo>
                      <a:pt x="47435" y="271559"/>
                    </a:lnTo>
                    <a:lnTo>
                      <a:pt x="47170" y="272176"/>
                    </a:lnTo>
                    <a:lnTo>
                      <a:pt x="47170" y="275350"/>
                    </a:lnTo>
                    <a:lnTo>
                      <a:pt x="47170" y="275614"/>
                    </a:lnTo>
                    <a:lnTo>
                      <a:pt x="46817" y="277378"/>
                    </a:lnTo>
                    <a:lnTo>
                      <a:pt x="46200" y="279141"/>
                    </a:lnTo>
                    <a:lnTo>
                      <a:pt x="46200" y="280023"/>
                    </a:lnTo>
                    <a:lnTo>
                      <a:pt x="46200" y="280640"/>
                    </a:lnTo>
                    <a:lnTo>
                      <a:pt x="45319" y="280904"/>
                    </a:lnTo>
                    <a:lnTo>
                      <a:pt x="44966" y="280640"/>
                    </a:lnTo>
                    <a:lnTo>
                      <a:pt x="45319" y="281257"/>
                    </a:lnTo>
                    <a:lnTo>
                      <a:pt x="46200" y="282756"/>
                    </a:lnTo>
                    <a:lnTo>
                      <a:pt x="47082" y="283373"/>
                    </a:lnTo>
                    <a:lnTo>
                      <a:pt x="47082" y="283990"/>
                    </a:lnTo>
                    <a:lnTo>
                      <a:pt x="46464" y="283990"/>
                    </a:lnTo>
                    <a:lnTo>
                      <a:pt x="45848" y="283990"/>
                    </a:lnTo>
                    <a:lnTo>
                      <a:pt x="45583" y="284608"/>
                    </a:lnTo>
                    <a:lnTo>
                      <a:pt x="45319" y="284872"/>
                    </a:lnTo>
                    <a:lnTo>
                      <a:pt x="45583" y="284872"/>
                    </a:lnTo>
                    <a:lnTo>
                      <a:pt x="47082" y="284608"/>
                    </a:lnTo>
                    <a:lnTo>
                      <a:pt x="47082" y="284872"/>
                    </a:lnTo>
                    <a:lnTo>
                      <a:pt x="46464" y="285754"/>
                    </a:lnTo>
                    <a:lnTo>
                      <a:pt x="46200" y="286371"/>
                    </a:lnTo>
                    <a:lnTo>
                      <a:pt x="45583" y="286371"/>
                    </a:lnTo>
                    <a:lnTo>
                      <a:pt x="45319" y="287253"/>
                    </a:lnTo>
                    <a:lnTo>
                      <a:pt x="45583" y="287517"/>
                    </a:lnTo>
                    <a:lnTo>
                      <a:pt x="45583" y="288399"/>
                    </a:lnTo>
                    <a:lnTo>
                      <a:pt x="44966" y="289281"/>
                    </a:lnTo>
                    <a:lnTo>
                      <a:pt x="44437" y="291308"/>
                    </a:lnTo>
                    <a:lnTo>
                      <a:pt x="44437" y="291926"/>
                    </a:lnTo>
                    <a:lnTo>
                      <a:pt x="44966" y="293953"/>
                    </a:lnTo>
                    <a:lnTo>
                      <a:pt x="44437" y="294571"/>
                    </a:lnTo>
                    <a:lnTo>
                      <a:pt x="44701" y="296598"/>
                    </a:lnTo>
                    <a:lnTo>
                      <a:pt x="44966" y="297127"/>
                    </a:lnTo>
                    <a:lnTo>
                      <a:pt x="44701" y="298274"/>
                    </a:lnTo>
                    <a:lnTo>
                      <a:pt x="44701" y="296775"/>
                    </a:lnTo>
                    <a:lnTo>
                      <a:pt x="44437" y="296158"/>
                    </a:lnTo>
                    <a:lnTo>
                      <a:pt x="43819" y="296158"/>
                    </a:lnTo>
                    <a:lnTo>
                      <a:pt x="44084" y="296775"/>
                    </a:lnTo>
                    <a:lnTo>
                      <a:pt x="45848" y="302947"/>
                    </a:lnTo>
                    <a:lnTo>
                      <a:pt x="46464" y="304710"/>
                    </a:lnTo>
                    <a:lnTo>
                      <a:pt x="46729" y="305592"/>
                    </a:lnTo>
                    <a:lnTo>
                      <a:pt x="47082" y="305856"/>
                    </a:lnTo>
                    <a:lnTo>
                      <a:pt x="47611" y="305856"/>
                    </a:lnTo>
                    <a:lnTo>
                      <a:pt x="47611" y="306738"/>
                    </a:lnTo>
                    <a:lnTo>
                      <a:pt x="49022" y="307355"/>
                    </a:lnTo>
                    <a:lnTo>
                      <a:pt x="49022" y="306738"/>
                    </a:lnTo>
                    <a:lnTo>
                      <a:pt x="49374" y="305592"/>
                    </a:lnTo>
                    <a:lnTo>
                      <a:pt x="49903" y="304710"/>
                    </a:lnTo>
                    <a:lnTo>
                      <a:pt x="49374" y="303828"/>
                    </a:lnTo>
                    <a:lnTo>
                      <a:pt x="48757" y="302947"/>
                    </a:lnTo>
                    <a:lnTo>
                      <a:pt x="49374" y="302947"/>
                    </a:lnTo>
                    <a:lnTo>
                      <a:pt x="49903" y="302065"/>
                    </a:lnTo>
                    <a:lnTo>
                      <a:pt x="50256" y="302682"/>
                    </a:lnTo>
                    <a:lnTo>
                      <a:pt x="51402" y="302065"/>
                    </a:lnTo>
                    <a:lnTo>
                      <a:pt x="51931" y="302065"/>
                    </a:lnTo>
                    <a:lnTo>
                      <a:pt x="52548" y="301800"/>
                    </a:lnTo>
                    <a:lnTo>
                      <a:pt x="53430" y="301800"/>
                    </a:lnTo>
                    <a:lnTo>
                      <a:pt x="53694" y="301271"/>
                    </a:lnTo>
                    <a:lnTo>
                      <a:pt x="54047" y="301271"/>
                    </a:lnTo>
                    <a:lnTo>
                      <a:pt x="54311" y="301271"/>
                    </a:lnTo>
                    <a:lnTo>
                      <a:pt x="53694" y="301800"/>
                    </a:lnTo>
                    <a:lnTo>
                      <a:pt x="53694" y="303564"/>
                    </a:lnTo>
                    <a:lnTo>
                      <a:pt x="54840" y="303299"/>
                    </a:lnTo>
                    <a:lnTo>
                      <a:pt x="55105" y="303035"/>
                    </a:lnTo>
                    <a:lnTo>
                      <a:pt x="55369" y="303652"/>
                    </a:lnTo>
                    <a:lnTo>
                      <a:pt x="55634" y="304798"/>
                    </a:lnTo>
                    <a:lnTo>
                      <a:pt x="56251" y="304181"/>
                    </a:lnTo>
                    <a:lnTo>
                      <a:pt x="56516" y="305063"/>
                    </a:lnTo>
                    <a:lnTo>
                      <a:pt x="56516" y="307355"/>
                    </a:lnTo>
                    <a:lnTo>
                      <a:pt x="57133" y="307619"/>
                    </a:lnTo>
                    <a:lnTo>
                      <a:pt x="57133" y="308501"/>
                    </a:lnTo>
                    <a:lnTo>
                      <a:pt x="57133" y="309647"/>
                    </a:lnTo>
                    <a:lnTo>
                      <a:pt x="58014" y="309030"/>
                    </a:lnTo>
                    <a:lnTo>
                      <a:pt x="58544" y="310176"/>
                    </a:lnTo>
                    <a:lnTo>
                      <a:pt x="59690" y="309559"/>
                    </a:lnTo>
                    <a:lnTo>
                      <a:pt x="60307" y="308942"/>
                    </a:lnTo>
                    <a:lnTo>
                      <a:pt x="61189" y="309559"/>
                    </a:lnTo>
                    <a:lnTo>
                      <a:pt x="62070" y="311587"/>
                    </a:lnTo>
                    <a:lnTo>
                      <a:pt x="62070" y="311852"/>
                    </a:lnTo>
                    <a:lnTo>
                      <a:pt x="62952" y="312733"/>
                    </a:lnTo>
                    <a:lnTo>
                      <a:pt x="63481" y="312116"/>
                    </a:lnTo>
                    <a:lnTo>
                      <a:pt x="63746" y="312469"/>
                    </a:lnTo>
                    <a:lnTo>
                      <a:pt x="63746" y="314232"/>
                    </a:lnTo>
                    <a:lnTo>
                      <a:pt x="63746" y="314585"/>
                    </a:lnTo>
                    <a:lnTo>
                      <a:pt x="63481" y="314849"/>
                    </a:lnTo>
                    <a:lnTo>
                      <a:pt x="62952" y="314585"/>
                    </a:lnTo>
                    <a:lnTo>
                      <a:pt x="62335" y="315114"/>
                    </a:lnTo>
                    <a:lnTo>
                      <a:pt x="62599" y="315731"/>
                    </a:lnTo>
                    <a:lnTo>
                      <a:pt x="63128" y="317494"/>
                    </a:lnTo>
                    <a:lnTo>
                      <a:pt x="63393" y="317759"/>
                    </a:lnTo>
                    <a:lnTo>
                      <a:pt x="65157" y="318023"/>
                    </a:lnTo>
                    <a:lnTo>
                      <a:pt x="64892" y="317406"/>
                    </a:lnTo>
                    <a:lnTo>
                      <a:pt x="64892" y="316525"/>
                    </a:lnTo>
                    <a:lnTo>
                      <a:pt x="64892" y="317406"/>
                    </a:lnTo>
                    <a:lnTo>
                      <a:pt x="66038" y="317671"/>
                    </a:lnTo>
                    <a:lnTo>
                      <a:pt x="66391" y="318288"/>
                    </a:lnTo>
                    <a:lnTo>
                      <a:pt x="68419" y="319434"/>
                    </a:lnTo>
                    <a:lnTo>
                      <a:pt x="68154" y="319699"/>
                    </a:lnTo>
                    <a:lnTo>
                      <a:pt x="69035" y="319963"/>
                    </a:lnTo>
                    <a:lnTo>
                      <a:pt x="68771" y="321462"/>
                    </a:lnTo>
                    <a:lnTo>
                      <a:pt x="69035" y="321815"/>
                    </a:lnTo>
                    <a:lnTo>
                      <a:pt x="69300" y="322961"/>
                    </a:lnTo>
                    <a:lnTo>
                      <a:pt x="69917" y="322961"/>
                    </a:lnTo>
                    <a:lnTo>
                      <a:pt x="70799" y="324371"/>
                    </a:lnTo>
                    <a:lnTo>
                      <a:pt x="70182" y="326399"/>
                    </a:lnTo>
                    <a:lnTo>
                      <a:pt x="72827" y="327546"/>
                    </a:lnTo>
                    <a:lnTo>
                      <a:pt x="73709" y="328427"/>
                    </a:lnTo>
                    <a:lnTo>
                      <a:pt x="73973" y="328163"/>
                    </a:lnTo>
                    <a:lnTo>
                      <a:pt x="73709" y="327017"/>
                    </a:lnTo>
                    <a:lnTo>
                      <a:pt x="73973" y="326399"/>
                    </a:lnTo>
                    <a:lnTo>
                      <a:pt x="74590" y="326399"/>
                    </a:lnTo>
                    <a:lnTo>
                      <a:pt x="75119" y="327281"/>
                    </a:lnTo>
                    <a:lnTo>
                      <a:pt x="75472" y="327281"/>
                    </a:lnTo>
                    <a:lnTo>
                      <a:pt x="76354" y="326399"/>
                    </a:lnTo>
                    <a:lnTo>
                      <a:pt x="77236" y="326399"/>
                    </a:lnTo>
                    <a:lnTo>
                      <a:pt x="76618" y="328163"/>
                    </a:lnTo>
                    <a:lnTo>
                      <a:pt x="76354" y="328427"/>
                    </a:lnTo>
                    <a:lnTo>
                      <a:pt x="75207" y="328427"/>
                    </a:lnTo>
                    <a:lnTo>
                      <a:pt x="75207" y="329309"/>
                    </a:lnTo>
                    <a:lnTo>
                      <a:pt x="76618" y="331072"/>
                    </a:lnTo>
                    <a:lnTo>
                      <a:pt x="76883" y="331337"/>
                    </a:lnTo>
                    <a:lnTo>
                      <a:pt x="77236" y="331337"/>
                    </a:lnTo>
                    <a:lnTo>
                      <a:pt x="77500" y="331337"/>
                    </a:lnTo>
                    <a:lnTo>
                      <a:pt x="77500" y="331072"/>
                    </a:lnTo>
                    <a:lnTo>
                      <a:pt x="78117" y="331072"/>
                    </a:lnTo>
                    <a:lnTo>
                      <a:pt x="78382" y="331690"/>
                    </a:lnTo>
                    <a:lnTo>
                      <a:pt x="78911" y="333188"/>
                    </a:lnTo>
                    <a:lnTo>
                      <a:pt x="78029" y="334334"/>
                    </a:lnTo>
                    <a:lnTo>
                      <a:pt x="78911" y="334952"/>
                    </a:lnTo>
                    <a:lnTo>
                      <a:pt x="78646" y="336715"/>
                    </a:lnTo>
                    <a:lnTo>
                      <a:pt x="79528" y="336980"/>
                    </a:lnTo>
                    <a:lnTo>
                      <a:pt x="78911" y="337597"/>
                    </a:lnTo>
                    <a:lnTo>
                      <a:pt x="78646" y="338478"/>
                    </a:lnTo>
                    <a:lnTo>
                      <a:pt x="79175" y="338743"/>
                    </a:lnTo>
                    <a:lnTo>
                      <a:pt x="79792" y="339889"/>
                    </a:lnTo>
                    <a:lnTo>
                      <a:pt x="81203" y="339625"/>
                    </a:lnTo>
                    <a:lnTo>
                      <a:pt x="81467" y="340771"/>
                    </a:lnTo>
                    <a:lnTo>
                      <a:pt x="82085" y="341653"/>
                    </a:lnTo>
                    <a:lnTo>
                      <a:pt x="82702" y="341653"/>
                    </a:lnTo>
                    <a:lnTo>
                      <a:pt x="83583" y="342270"/>
                    </a:lnTo>
                    <a:lnTo>
                      <a:pt x="84730" y="342270"/>
                    </a:lnTo>
                    <a:lnTo>
                      <a:pt x="85347" y="343769"/>
                    </a:lnTo>
                    <a:lnTo>
                      <a:pt x="85611" y="343769"/>
                    </a:lnTo>
                    <a:lnTo>
                      <a:pt x="85964" y="344033"/>
                    </a:lnTo>
                    <a:lnTo>
                      <a:pt x="85964" y="345797"/>
                    </a:lnTo>
                    <a:lnTo>
                      <a:pt x="87992" y="346943"/>
                    </a:lnTo>
                    <a:lnTo>
                      <a:pt x="89491" y="347207"/>
                    </a:lnTo>
                    <a:lnTo>
                      <a:pt x="88962" y="347736"/>
                    </a:lnTo>
                    <a:lnTo>
                      <a:pt x="89491" y="348353"/>
                    </a:lnTo>
                    <a:lnTo>
                      <a:pt x="89491" y="350117"/>
                    </a:lnTo>
                    <a:lnTo>
                      <a:pt x="90637" y="348089"/>
                    </a:lnTo>
                    <a:lnTo>
                      <a:pt x="90637" y="347207"/>
                    </a:lnTo>
                    <a:lnTo>
                      <a:pt x="90637" y="345708"/>
                    </a:lnTo>
                    <a:lnTo>
                      <a:pt x="90637" y="343063"/>
                    </a:lnTo>
                    <a:lnTo>
                      <a:pt x="91254" y="342182"/>
                    </a:lnTo>
                    <a:lnTo>
                      <a:pt x="92400" y="342799"/>
                    </a:lnTo>
                    <a:lnTo>
                      <a:pt x="92929" y="343063"/>
                    </a:lnTo>
                    <a:lnTo>
                      <a:pt x="94076" y="346237"/>
                    </a:lnTo>
                    <a:lnTo>
                      <a:pt x="94340" y="346237"/>
                    </a:lnTo>
                    <a:lnTo>
                      <a:pt x="96368" y="346855"/>
                    </a:lnTo>
                    <a:lnTo>
                      <a:pt x="98131" y="347384"/>
                    </a:lnTo>
                    <a:lnTo>
                      <a:pt x="98749" y="347648"/>
                    </a:lnTo>
                    <a:lnTo>
                      <a:pt x="101923" y="348530"/>
                    </a:lnTo>
                    <a:lnTo>
                      <a:pt x="103686" y="347648"/>
                    </a:lnTo>
                    <a:lnTo>
                      <a:pt x="106066" y="351175"/>
                    </a:lnTo>
                    <a:lnTo>
                      <a:pt x="106066" y="352674"/>
                    </a:lnTo>
                    <a:lnTo>
                      <a:pt x="106066" y="353291"/>
                    </a:lnTo>
                    <a:lnTo>
                      <a:pt x="108095" y="353908"/>
                    </a:lnTo>
                    <a:lnTo>
                      <a:pt x="108447" y="352762"/>
                    </a:lnTo>
                    <a:lnTo>
                      <a:pt x="109946" y="353026"/>
                    </a:lnTo>
                    <a:lnTo>
                      <a:pt x="111709" y="353291"/>
                    </a:lnTo>
                    <a:lnTo>
                      <a:pt x="111709" y="355583"/>
                    </a:lnTo>
                    <a:lnTo>
                      <a:pt x="110828" y="356465"/>
                    </a:lnTo>
                    <a:lnTo>
                      <a:pt x="111974" y="357611"/>
                    </a:lnTo>
                    <a:lnTo>
                      <a:pt x="111357" y="359374"/>
                    </a:lnTo>
                    <a:lnTo>
                      <a:pt x="111092" y="360256"/>
                    </a:lnTo>
                    <a:lnTo>
                      <a:pt x="110828" y="361402"/>
                    </a:lnTo>
                    <a:lnTo>
                      <a:pt x="110210" y="362284"/>
                    </a:lnTo>
                    <a:lnTo>
                      <a:pt x="109328" y="365546"/>
                    </a:lnTo>
                    <a:lnTo>
                      <a:pt x="109857" y="366692"/>
                    </a:lnTo>
                    <a:lnTo>
                      <a:pt x="110739" y="366692"/>
                    </a:lnTo>
                    <a:lnTo>
                      <a:pt x="113384" y="369337"/>
                    </a:lnTo>
                    <a:lnTo>
                      <a:pt x="114266" y="368191"/>
                    </a:lnTo>
                    <a:lnTo>
                      <a:pt x="114883" y="367574"/>
                    </a:lnTo>
                    <a:lnTo>
                      <a:pt x="115500" y="365811"/>
                    </a:lnTo>
                    <a:lnTo>
                      <a:pt x="115500" y="365282"/>
                    </a:lnTo>
                    <a:lnTo>
                      <a:pt x="117264" y="365017"/>
                    </a:lnTo>
                    <a:lnTo>
                      <a:pt x="119556" y="364753"/>
                    </a:lnTo>
                    <a:lnTo>
                      <a:pt x="120438" y="364753"/>
                    </a:lnTo>
                    <a:lnTo>
                      <a:pt x="121849" y="362372"/>
                    </a:lnTo>
                    <a:lnTo>
                      <a:pt x="122995" y="363518"/>
                    </a:lnTo>
                    <a:lnTo>
                      <a:pt x="123876" y="364135"/>
                    </a:lnTo>
                    <a:lnTo>
                      <a:pt x="124758" y="365017"/>
                    </a:lnTo>
                    <a:lnTo>
                      <a:pt x="125023" y="365282"/>
                    </a:lnTo>
                    <a:lnTo>
                      <a:pt x="125904" y="365546"/>
                    </a:lnTo>
                    <a:lnTo>
                      <a:pt x="127050" y="365811"/>
                    </a:lnTo>
                    <a:lnTo>
                      <a:pt x="128197" y="365811"/>
                    </a:lnTo>
                    <a:lnTo>
                      <a:pt x="128726" y="365546"/>
                    </a:lnTo>
                    <a:lnTo>
                      <a:pt x="129343" y="365282"/>
                    </a:lnTo>
                    <a:lnTo>
                      <a:pt x="130489" y="364400"/>
                    </a:lnTo>
                    <a:lnTo>
                      <a:pt x="130842" y="361226"/>
                    </a:lnTo>
                    <a:lnTo>
                      <a:pt x="132605" y="357699"/>
                    </a:lnTo>
                    <a:lnTo>
                      <a:pt x="137542" y="355054"/>
                    </a:lnTo>
                    <a:lnTo>
                      <a:pt x="137013" y="353908"/>
                    </a:lnTo>
                    <a:lnTo>
                      <a:pt x="135250" y="353643"/>
                    </a:lnTo>
                    <a:lnTo>
                      <a:pt x="134369" y="353379"/>
                    </a:lnTo>
                    <a:lnTo>
                      <a:pt x="133222" y="354261"/>
                    </a:lnTo>
                    <a:lnTo>
                      <a:pt x="132341" y="353114"/>
                    </a:lnTo>
                    <a:lnTo>
                      <a:pt x="131988" y="351351"/>
                    </a:lnTo>
                    <a:lnTo>
                      <a:pt x="130842" y="350734"/>
                    </a:lnTo>
                    <a:lnTo>
                      <a:pt x="130489" y="349323"/>
                    </a:lnTo>
                    <a:lnTo>
                      <a:pt x="129872" y="348441"/>
                    </a:lnTo>
                    <a:lnTo>
                      <a:pt x="128726" y="347824"/>
                    </a:lnTo>
                    <a:lnTo>
                      <a:pt x="126433" y="348441"/>
                    </a:lnTo>
                    <a:lnTo>
                      <a:pt x="127579" y="347031"/>
                    </a:lnTo>
                    <a:lnTo>
                      <a:pt x="125552" y="346149"/>
                    </a:lnTo>
                    <a:lnTo>
                      <a:pt x="124670" y="343857"/>
                    </a:lnTo>
                    <a:lnTo>
                      <a:pt x="124405" y="342711"/>
                    </a:lnTo>
                    <a:lnTo>
                      <a:pt x="123524" y="341564"/>
                    </a:lnTo>
                    <a:lnTo>
                      <a:pt x="122907" y="340683"/>
                    </a:lnTo>
                    <a:lnTo>
                      <a:pt x="120879" y="340683"/>
                    </a:lnTo>
                    <a:lnTo>
                      <a:pt x="120262" y="339801"/>
                    </a:lnTo>
                    <a:lnTo>
                      <a:pt x="120262" y="339536"/>
                    </a:lnTo>
                    <a:lnTo>
                      <a:pt x="119027" y="338655"/>
                    </a:lnTo>
                    <a:lnTo>
                      <a:pt x="116999" y="338038"/>
                    </a:lnTo>
                    <a:lnTo>
                      <a:pt x="115236" y="336891"/>
                    </a:lnTo>
                    <a:lnTo>
                      <a:pt x="114619" y="336891"/>
                    </a:lnTo>
                    <a:lnTo>
                      <a:pt x="113737" y="337509"/>
                    </a:lnTo>
                    <a:lnTo>
                      <a:pt x="114883" y="337509"/>
                    </a:lnTo>
                    <a:lnTo>
                      <a:pt x="115765" y="338655"/>
                    </a:lnTo>
                    <a:lnTo>
                      <a:pt x="114883" y="338919"/>
                    </a:lnTo>
                    <a:lnTo>
                      <a:pt x="114619" y="338655"/>
                    </a:lnTo>
                    <a:lnTo>
                      <a:pt x="113737" y="338038"/>
                    </a:lnTo>
                    <a:lnTo>
                      <a:pt x="112591" y="338655"/>
                    </a:lnTo>
                    <a:lnTo>
                      <a:pt x="110828" y="339272"/>
                    </a:lnTo>
                    <a:lnTo>
                      <a:pt x="109328" y="338655"/>
                    </a:lnTo>
                    <a:lnTo>
                      <a:pt x="109064" y="339536"/>
                    </a:lnTo>
                    <a:lnTo>
                      <a:pt x="108182" y="339536"/>
                    </a:lnTo>
                    <a:lnTo>
                      <a:pt x="107301" y="337773"/>
                    </a:lnTo>
                    <a:lnTo>
                      <a:pt x="106419" y="337509"/>
                    </a:lnTo>
                    <a:lnTo>
                      <a:pt x="104920" y="336891"/>
                    </a:lnTo>
                    <a:lnTo>
                      <a:pt x="103421" y="336891"/>
                    </a:lnTo>
                    <a:lnTo>
                      <a:pt x="102892" y="335128"/>
                    </a:lnTo>
                    <a:lnTo>
                      <a:pt x="100600" y="334863"/>
                    </a:lnTo>
                    <a:lnTo>
                      <a:pt x="100600" y="332836"/>
                    </a:lnTo>
                    <a:lnTo>
                      <a:pt x="100336" y="331337"/>
                    </a:lnTo>
                    <a:lnTo>
                      <a:pt x="99454" y="331072"/>
                    </a:lnTo>
                    <a:lnTo>
                      <a:pt x="98836" y="332219"/>
                    </a:lnTo>
                    <a:lnTo>
                      <a:pt x="97690" y="331954"/>
                    </a:lnTo>
                    <a:lnTo>
                      <a:pt x="96280" y="331954"/>
                    </a:lnTo>
                    <a:lnTo>
                      <a:pt x="96280" y="331337"/>
                    </a:lnTo>
                    <a:lnTo>
                      <a:pt x="95398" y="331337"/>
                    </a:lnTo>
                    <a:lnTo>
                      <a:pt x="93370" y="330191"/>
                    </a:lnTo>
                    <a:lnTo>
                      <a:pt x="94516" y="329574"/>
                    </a:lnTo>
                    <a:lnTo>
                      <a:pt x="93370" y="328692"/>
                    </a:lnTo>
                    <a:lnTo>
                      <a:pt x="93106" y="327193"/>
                    </a:lnTo>
                    <a:lnTo>
                      <a:pt x="91960" y="326928"/>
                    </a:lnTo>
                    <a:lnTo>
                      <a:pt x="91342" y="326664"/>
                    </a:lnTo>
                    <a:lnTo>
                      <a:pt x="92489" y="325782"/>
                    </a:lnTo>
                    <a:lnTo>
                      <a:pt x="92224" y="324636"/>
                    </a:lnTo>
                    <a:lnTo>
                      <a:pt x="90461" y="323225"/>
                    </a:lnTo>
                    <a:lnTo>
                      <a:pt x="89315" y="322961"/>
                    </a:lnTo>
                    <a:lnTo>
                      <a:pt x="88433" y="320316"/>
                    </a:lnTo>
                    <a:lnTo>
                      <a:pt x="88168" y="317671"/>
                    </a:lnTo>
                    <a:lnTo>
                      <a:pt x="89050" y="317935"/>
                    </a:lnTo>
                    <a:lnTo>
                      <a:pt x="89667" y="316172"/>
                    </a:lnTo>
                    <a:lnTo>
                      <a:pt x="90549" y="315907"/>
                    </a:lnTo>
                    <a:lnTo>
                      <a:pt x="91431" y="316525"/>
                    </a:lnTo>
                    <a:lnTo>
                      <a:pt x="91431" y="317671"/>
                    </a:lnTo>
                    <a:lnTo>
                      <a:pt x="91695" y="320316"/>
                    </a:lnTo>
                    <a:lnTo>
                      <a:pt x="91695" y="321197"/>
                    </a:lnTo>
                    <a:lnTo>
                      <a:pt x="91166" y="322961"/>
                    </a:lnTo>
                    <a:lnTo>
                      <a:pt x="91695" y="322079"/>
                    </a:lnTo>
                    <a:lnTo>
                      <a:pt x="93194" y="321462"/>
                    </a:lnTo>
                    <a:lnTo>
                      <a:pt x="93458" y="322079"/>
                    </a:lnTo>
                    <a:lnTo>
                      <a:pt x="95222" y="327634"/>
                    </a:lnTo>
                    <a:lnTo>
                      <a:pt x="95222" y="328780"/>
                    </a:lnTo>
                    <a:lnTo>
                      <a:pt x="95486" y="329397"/>
                    </a:lnTo>
                    <a:lnTo>
                      <a:pt x="96368" y="329662"/>
                    </a:lnTo>
                    <a:lnTo>
                      <a:pt x="98749" y="331425"/>
                    </a:lnTo>
                    <a:lnTo>
                      <a:pt x="98396" y="330279"/>
                    </a:lnTo>
                    <a:lnTo>
                      <a:pt x="98131" y="328251"/>
                    </a:lnTo>
                    <a:lnTo>
                      <a:pt x="96985" y="327634"/>
                    </a:lnTo>
                    <a:lnTo>
                      <a:pt x="97249" y="326135"/>
                    </a:lnTo>
                    <a:lnTo>
                      <a:pt x="96985" y="325253"/>
                    </a:lnTo>
                    <a:lnTo>
                      <a:pt x="96720" y="324107"/>
                    </a:lnTo>
                    <a:lnTo>
                      <a:pt x="94957" y="324107"/>
                    </a:lnTo>
                    <a:lnTo>
                      <a:pt x="95486" y="322344"/>
                    </a:lnTo>
                    <a:lnTo>
                      <a:pt x="95751" y="320580"/>
                    </a:lnTo>
                    <a:lnTo>
                      <a:pt x="94340" y="319699"/>
                    </a:lnTo>
                    <a:lnTo>
                      <a:pt x="92312" y="318553"/>
                    </a:lnTo>
                    <a:lnTo>
                      <a:pt x="94076" y="316525"/>
                    </a:lnTo>
                    <a:lnTo>
                      <a:pt x="94340" y="315907"/>
                    </a:lnTo>
                    <a:lnTo>
                      <a:pt x="94605" y="314761"/>
                    </a:lnTo>
                    <a:lnTo>
                      <a:pt x="94340" y="313262"/>
                    </a:lnTo>
                    <a:lnTo>
                      <a:pt x="94076" y="312381"/>
                    </a:lnTo>
                    <a:lnTo>
                      <a:pt x="92929" y="312381"/>
                    </a:lnTo>
                    <a:lnTo>
                      <a:pt x="92665" y="311499"/>
                    </a:lnTo>
                    <a:lnTo>
                      <a:pt x="92665" y="310353"/>
                    </a:lnTo>
                    <a:lnTo>
                      <a:pt x="92665" y="309206"/>
                    </a:lnTo>
                    <a:lnTo>
                      <a:pt x="92665" y="308325"/>
                    </a:lnTo>
                    <a:lnTo>
                      <a:pt x="92048" y="307796"/>
                    </a:lnTo>
                    <a:lnTo>
                      <a:pt x="90902" y="307532"/>
                    </a:lnTo>
                    <a:lnTo>
                      <a:pt x="91783" y="306121"/>
                    </a:lnTo>
                    <a:lnTo>
                      <a:pt x="91783" y="305504"/>
                    </a:lnTo>
                    <a:lnTo>
                      <a:pt x="91783" y="304005"/>
                    </a:lnTo>
                    <a:lnTo>
                      <a:pt x="90020" y="303123"/>
                    </a:lnTo>
                    <a:lnTo>
                      <a:pt x="90284" y="301095"/>
                    </a:lnTo>
                    <a:lnTo>
                      <a:pt x="88873" y="299949"/>
                    </a:lnTo>
                    <a:lnTo>
                      <a:pt x="87992" y="298538"/>
                    </a:lnTo>
                    <a:lnTo>
                      <a:pt x="86846" y="298185"/>
                    </a:lnTo>
                    <a:lnTo>
                      <a:pt x="86581" y="299067"/>
                    </a:lnTo>
                    <a:lnTo>
                      <a:pt x="87463" y="298803"/>
                    </a:lnTo>
                    <a:lnTo>
                      <a:pt x="87992" y="300566"/>
                    </a:lnTo>
                    <a:lnTo>
                      <a:pt x="87992" y="301448"/>
                    </a:lnTo>
                    <a:lnTo>
                      <a:pt x="86846" y="300831"/>
                    </a:lnTo>
                    <a:lnTo>
                      <a:pt x="85964" y="300213"/>
                    </a:lnTo>
                    <a:lnTo>
                      <a:pt x="85347" y="297568"/>
                    </a:lnTo>
                    <a:lnTo>
                      <a:pt x="83319" y="296951"/>
                    </a:lnTo>
                    <a:lnTo>
                      <a:pt x="83583" y="295540"/>
                    </a:lnTo>
                    <a:lnTo>
                      <a:pt x="84465" y="294923"/>
                    </a:lnTo>
                    <a:lnTo>
                      <a:pt x="84465" y="294042"/>
                    </a:lnTo>
                    <a:lnTo>
                      <a:pt x="84465" y="292278"/>
                    </a:lnTo>
                    <a:lnTo>
                      <a:pt x="83848" y="290250"/>
                    </a:lnTo>
                    <a:lnTo>
                      <a:pt x="82966" y="289633"/>
                    </a:lnTo>
                    <a:lnTo>
                      <a:pt x="82085" y="288752"/>
                    </a:lnTo>
                    <a:lnTo>
                      <a:pt x="82437" y="286988"/>
                    </a:lnTo>
                    <a:lnTo>
                      <a:pt x="81556" y="285842"/>
                    </a:lnTo>
                    <a:lnTo>
                      <a:pt x="81820" y="285842"/>
                    </a:lnTo>
                    <a:lnTo>
                      <a:pt x="81556" y="284431"/>
                    </a:lnTo>
                    <a:lnTo>
                      <a:pt x="81291" y="283285"/>
                    </a:lnTo>
                    <a:lnTo>
                      <a:pt x="80939" y="282139"/>
                    </a:lnTo>
                    <a:lnTo>
                      <a:pt x="80674" y="280728"/>
                    </a:lnTo>
                    <a:lnTo>
                      <a:pt x="80410" y="280464"/>
                    </a:lnTo>
                    <a:lnTo>
                      <a:pt x="80674" y="279582"/>
                    </a:lnTo>
                    <a:lnTo>
                      <a:pt x="80057" y="279053"/>
                    </a:lnTo>
                    <a:lnTo>
                      <a:pt x="79440" y="278789"/>
                    </a:lnTo>
                    <a:lnTo>
                      <a:pt x="78558" y="278171"/>
                    </a:lnTo>
                    <a:lnTo>
                      <a:pt x="77676" y="277907"/>
                    </a:lnTo>
                    <a:lnTo>
                      <a:pt x="76530" y="278789"/>
                    </a:lnTo>
                    <a:lnTo>
                      <a:pt x="75648" y="277907"/>
                    </a:lnTo>
                    <a:lnTo>
                      <a:pt x="75384" y="278789"/>
                    </a:lnTo>
                    <a:lnTo>
                      <a:pt x="74767" y="278436"/>
                    </a:lnTo>
                    <a:lnTo>
                      <a:pt x="74149" y="279318"/>
                    </a:lnTo>
                    <a:lnTo>
                      <a:pt x="72651" y="278789"/>
                    </a:lnTo>
                    <a:lnTo>
                      <a:pt x="71504" y="280552"/>
                    </a:lnTo>
                    <a:lnTo>
                      <a:pt x="70623" y="281169"/>
                    </a:lnTo>
                    <a:lnTo>
                      <a:pt x="69212" y="281169"/>
                    </a:lnTo>
                    <a:lnTo>
                      <a:pt x="66920" y="279670"/>
                    </a:lnTo>
                    <a:lnTo>
                      <a:pt x="66302" y="280552"/>
                    </a:lnTo>
                    <a:lnTo>
                      <a:pt x="66038" y="279670"/>
                    </a:lnTo>
                    <a:lnTo>
                      <a:pt x="65686" y="277907"/>
                    </a:lnTo>
                    <a:lnTo>
                      <a:pt x="66831" y="276143"/>
                    </a:lnTo>
                    <a:lnTo>
                      <a:pt x="65950" y="274380"/>
                    </a:lnTo>
                    <a:lnTo>
                      <a:pt x="64451" y="272352"/>
                    </a:lnTo>
                    <a:lnTo>
                      <a:pt x="64980" y="268825"/>
                    </a:lnTo>
                    <a:lnTo>
                      <a:pt x="65333" y="269707"/>
                    </a:lnTo>
                    <a:lnTo>
                      <a:pt x="64186" y="270589"/>
                    </a:lnTo>
                    <a:lnTo>
                      <a:pt x="63922" y="269707"/>
                    </a:lnTo>
                    <a:lnTo>
                      <a:pt x="63040" y="266797"/>
                    </a:lnTo>
                    <a:lnTo>
                      <a:pt x="63305" y="265652"/>
                    </a:lnTo>
                    <a:lnTo>
                      <a:pt x="63305" y="264505"/>
                    </a:lnTo>
                    <a:lnTo>
                      <a:pt x="63834" y="263006"/>
                    </a:lnTo>
                    <a:lnTo>
                      <a:pt x="62423" y="261243"/>
                    </a:lnTo>
                    <a:lnTo>
                      <a:pt x="63040" y="260626"/>
                    </a:lnTo>
                    <a:lnTo>
                      <a:pt x="63040" y="260361"/>
                    </a:lnTo>
                    <a:lnTo>
                      <a:pt x="62423" y="259480"/>
                    </a:lnTo>
                    <a:lnTo>
                      <a:pt x="62159" y="258333"/>
                    </a:lnTo>
                    <a:lnTo>
                      <a:pt x="62776" y="256041"/>
                    </a:lnTo>
                    <a:lnTo>
                      <a:pt x="63393" y="256041"/>
                    </a:lnTo>
                    <a:lnTo>
                      <a:pt x="64275" y="256041"/>
                    </a:lnTo>
                    <a:lnTo>
                      <a:pt x="66038" y="254013"/>
                    </a:lnTo>
                    <a:lnTo>
                      <a:pt x="64275" y="255159"/>
                    </a:lnTo>
                    <a:lnTo>
                      <a:pt x="63657" y="254895"/>
                    </a:lnTo>
                    <a:lnTo>
                      <a:pt x="62776" y="255159"/>
                    </a:lnTo>
                    <a:lnTo>
                      <a:pt x="62511" y="254895"/>
                    </a:lnTo>
                    <a:lnTo>
                      <a:pt x="62776" y="254013"/>
                    </a:lnTo>
                    <a:lnTo>
                      <a:pt x="65421" y="252250"/>
                    </a:lnTo>
                    <a:lnTo>
                      <a:pt x="66920" y="251368"/>
                    </a:lnTo>
                    <a:lnTo>
                      <a:pt x="66567" y="249605"/>
                    </a:lnTo>
                    <a:lnTo>
                      <a:pt x="66302" y="249869"/>
                    </a:lnTo>
                    <a:lnTo>
                      <a:pt x="66567" y="247841"/>
                    </a:lnTo>
                    <a:lnTo>
                      <a:pt x="67184" y="247224"/>
                    </a:lnTo>
                    <a:lnTo>
                      <a:pt x="66920" y="245725"/>
                    </a:lnTo>
                    <a:lnTo>
                      <a:pt x="66920" y="243697"/>
                    </a:lnTo>
                    <a:lnTo>
                      <a:pt x="67537" y="241317"/>
                    </a:lnTo>
                    <a:lnTo>
                      <a:pt x="67184" y="241317"/>
                    </a:lnTo>
                    <a:lnTo>
                      <a:pt x="67802" y="239024"/>
                    </a:lnTo>
                    <a:lnTo>
                      <a:pt x="68419" y="237878"/>
                    </a:lnTo>
                    <a:lnTo>
                      <a:pt x="68419" y="238143"/>
                    </a:lnTo>
                    <a:lnTo>
                      <a:pt x="69565" y="237261"/>
                    </a:lnTo>
                    <a:lnTo>
                      <a:pt x="70182" y="236380"/>
                    </a:lnTo>
                    <a:lnTo>
                      <a:pt x="70182" y="234616"/>
                    </a:lnTo>
                    <a:lnTo>
                      <a:pt x="70535" y="233470"/>
                    </a:lnTo>
                    <a:lnTo>
                      <a:pt x="70535" y="231707"/>
                    </a:lnTo>
                    <a:lnTo>
                      <a:pt x="70535" y="231971"/>
                    </a:lnTo>
                    <a:lnTo>
                      <a:pt x="70182" y="229679"/>
                    </a:lnTo>
                    <a:lnTo>
                      <a:pt x="70182" y="228797"/>
                    </a:lnTo>
                    <a:lnTo>
                      <a:pt x="70535" y="227298"/>
                    </a:lnTo>
                    <a:lnTo>
                      <a:pt x="71681" y="226416"/>
                    </a:lnTo>
                    <a:lnTo>
                      <a:pt x="71681" y="226152"/>
                    </a:lnTo>
                    <a:lnTo>
                      <a:pt x="72298" y="224741"/>
                    </a:lnTo>
                    <a:lnTo>
                      <a:pt x="73444" y="224477"/>
                    </a:lnTo>
                    <a:lnTo>
                      <a:pt x="73709" y="223860"/>
                    </a:lnTo>
                    <a:lnTo>
                      <a:pt x="74855" y="220421"/>
                    </a:lnTo>
                    <a:lnTo>
                      <a:pt x="74238" y="220686"/>
                    </a:lnTo>
                    <a:lnTo>
                      <a:pt x="73620" y="221832"/>
                    </a:lnTo>
                    <a:lnTo>
                      <a:pt x="73885" y="221215"/>
                    </a:lnTo>
                    <a:lnTo>
                      <a:pt x="74767" y="219187"/>
                    </a:lnTo>
                    <a:lnTo>
                      <a:pt x="75648" y="216542"/>
                    </a:lnTo>
                    <a:lnTo>
                      <a:pt x="75384" y="218569"/>
                    </a:lnTo>
                    <a:lnTo>
                      <a:pt x="75648" y="217688"/>
                    </a:lnTo>
                    <a:lnTo>
                      <a:pt x="77059" y="215395"/>
                    </a:lnTo>
                    <a:lnTo>
                      <a:pt x="76794" y="215660"/>
                    </a:lnTo>
                    <a:lnTo>
                      <a:pt x="75648" y="215660"/>
                    </a:lnTo>
                    <a:lnTo>
                      <a:pt x="76530" y="213632"/>
                    </a:lnTo>
                    <a:lnTo>
                      <a:pt x="78029" y="212486"/>
                    </a:lnTo>
                    <a:lnTo>
                      <a:pt x="78029" y="210723"/>
                    </a:lnTo>
                    <a:lnTo>
                      <a:pt x="78029" y="209576"/>
                    </a:lnTo>
                    <a:lnTo>
                      <a:pt x="78029" y="208959"/>
                    </a:lnTo>
                    <a:lnTo>
                      <a:pt x="77765" y="206314"/>
                    </a:lnTo>
                    <a:lnTo>
                      <a:pt x="77765" y="204551"/>
                    </a:lnTo>
                    <a:lnTo>
                      <a:pt x="78029" y="202787"/>
                    </a:lnTo>
                    <a:lnTo>
                      <a:pt x="77765" y="201906"/>
                    </a:lnTo>
                    <a:lnTo>
                      <a:pt x="78029" y="200142"/>
                    </a:lnTo>
                    <a:lnTo>
                      <a:pt x="77765" y="198996"/>
                    </a:lnTo>
                    <a:lnTo>
                      <a:pt x="77765" y="197850"/>
                    </a:lnTo>
                    <a:lnTo>
                      <a:pt x="77147" y="197850"/>
                    </a:lnTo>
                    <a:lnTo>
                      <a:pt x="76618" y="197233"/>
                    </a:lnTo>
                    <a:lnTo>
                      <a:pt x="75472" y="197850"/>
                    </a:lnTo>
                    <a:lnTo>
                      <a:pt x="75207" y="195822"/>
                    </a:lnTo>
                    <a:lnTo>
                      <a:pt x="76089" y="193794"/>
                    </a:lnTo>
                    <a:lnTo>
                      <a:pt x="76971" y="192383"/>
                    </a:lnTo>
                    <a:lnTo>
                      <a:pt x="76707" y="191237"/>
                    </a:lnTo>
                    <a:lnTo>
                      <a:pt x="76442" y="189474"/>
                    </a:lnTo>
                    <a:lnTo>
                      <a:pt x="76442" y="186829"/>
                    </a:lnTo>
                    <a:lnTo>
                      <a:pt x="77323" y="184536"/>
                    </a:lnTo>
                    <a:lnTo>
                      <a:pt x="76794" y="184008"/>
                    </a:lnTo>
                    <a:lnTo>
                      <a:pt x="76178" y="181980"/>
                    </a:lnTo>
                    <a:lnTo>
                      <a:pt x="74767" y="181098"/>
                    </a:lnTo>
                    <a:lnTo>
                      <a:pt x="73620" y="178806"/>
                    </a:lnTo>
                    <a:lnTo>
                      <a:pt x="73356" y="178188"/>
                    </a:lnTo>
                    <a:lnTo>
                      <a:pt x="74238" y="177571"/>
                    </a:lnTo>
                    <a:lnTo>
                      <a:pt x="74502" y="176954"/>
                    </a:lnTo>
                    <a:lnTo>
                      <a:pt x="75119" y="176954"/>
                    </a:lnTo>
                    <a:lnTo>
                      <a:pt x="75736" y="175808"/>
                    </a:lnTo>
                    <a:lnTo>
                      <a:pt x="79528" y="174044"/>
                    </a:lnTo>
                    <a:lnTo>
                      <a:pt x="79528" y="171664"/>
                    </a:lnTo>
                    <a:lnTo>
                      <a:pt x="80939" y="174044"/>
                    </a:lnTo>
                    <a:lnTo>
                      <a:pt x="82966" y="173163"/>
                    </a:lnTo>
                    <a:lnTo>
                      <a:pt x="83848" y="172281"/>
                    </a:lnTo>
                    <a:lnTo>
                      <a:pt x="85611" y="173427"/>
                    </a:lnTo>
                    <a:lnTo>
                      <a:pt x="86493" y="173163"/>
                    </a:lnTo>
                    <a:lnTo>
                      <a:pt x="86228" y="172281"/>
                    </a:lnTo>
                    <a:lnTo>
                      <a:pt x="87110" y="169636"/>
                    </a:lnTo>
                    <a:lnTo>
                      <a:pt x="87375" y="171135"/>
                    </a:lnTo>
                    <a:lnTo>
                      <a:pt x="88786" y="172898"/>
                    </a:lnTo>
                    <a:lnTo>
                      <a:pt x="93723" y="174044"/>
                    </a:lnTo>
                    <a:lnTo>
                      <a:pt x="94605" y="174309"/>
                    </a:lnTo>
                    <a:lnTo>
                      <a:pt x="95222" y="174044"/>
                    </a:lnTo>
                    <a:lnTo>
                      <a:pt x="95486" y="174662"/>
                    </a:lnTo>
                    <a:lnTo>
                      <a:pt x="95222" y="175279"/>
                    </a:lnTo>
                    <a:lnTo>
                      <a:pt x="95486" y="177042"/>
                    </a:lnTo>
                    <a:lnTo>
                      <a:pt x="95222" y="177924"/>
                    </a:lnTo>
                    <a:lnTo>
                      <a:pt x="94340" y="178806"/>
                    </a:lnTo>
                    <a:lnTo>
                      <a:pt x="94605" y="179335"/>
                    </a:lnTo>
                    <a:lnTo>
                      <a:pt x="95222" y="181098"/>
                    </a:lnTo>
                    <a:lnTo>
                      <a:pt x="94076" y="182509"/>
                    </a:lnTo>
                    <a:lnTo>
                      <a:pt x="93811" y="184008"/>
                    </a:lnTo>
                    <a:lnTo>
                      <a:pt x="94957" y="184536"/>
                    </a:lnTo>
                    <a:lnTo>
                      <a:pt x="95574" y="185418"/>
                    </a:lnTo>
                    <a:lnTo>
                      <a:pt x="95839" y="185683"/>
                    </a:lnTo>
                    <a:lnTo>
                      <a:pt x="95310" y="186564"/>
                    </a:lnTo>
                    <a:lnTo>
                      <a:pt x="95045" y="187093"/>
                    </a:lnTo>
                    <a:lnTo>
                      <a:pt x="94164" y="187358"/>
                    </a:lnTo>
                    <a:lnTo>
                      <a:pt x="94428" y="188240"/>
                    </a:lnTo>
                    <a:lnTo>
                      <a:pt x="95045" y="189386"/>
                    </a:lnTo>
                    <a:lnTo>
                      <a:pt x="95662" y="190267"/>
                    </a:lnTo>
                    <a:lnTo>
                      <a:pt x="95398" y="192295"/>
                    </a:lnTo>
                    <a:lnTo>
                      <a:pt x="94781" y="192295"/>
                    </a:lnTo>
                    <a:lnTo>
                      <a:pt x="94164" y="192824"/>
                    </a:lnTo>
                    <a:lnTo>
                      <a:pt x="94164" y="193706"/>
                    </a:lnTo>
                    <a:lnTo>
                      <a:pt x="94428" y="193970"/>
                    </a:lnTo>
                    <a:lnTo>
                      <a:pt x="95045" y="193706"/>
                    </a:lnTo>
                    <a:lnTo>
                      <a:pt x="95045" y="193970"/>
                    </a:lnTo>
                    <a:lnTo>
                      <a:pt x="95045" y="194852"/>
                    </a:lnTo>
                    <a:lnTo>
                      <a:pt x="95927" y="194852"/>
                    </a:lnTo>
                    <a:lnTo>
                      <a:pt x="96809" y="194852"/>
                    </a:lnTo>
                    <a:lnTo>
                      <a:pt x="95927" y="195381"/>
                    </a:lnTo>
                    <a:lnTo>
                      <a:pt x="96191" y="195646"/>
                    </a:lnTo>
                    <a:lnTo>
                      <a:pt x="97073" y="195910"/>
                    </a:lnTo>
                    <a:lnTo>
                      <a:pt x="97690" y="195646"/>
                    </a:lnTo>
                    <a:lnTo>
                      <a:pt x="97690" y="195381"/>
                    </a:lnTo>
                    <a:lnTo>
                      <a:pt x="99189" y="193970"/>
                    </a:lnTo>
                    <a:lnTo>
                      <a:pt x="102981" y="194235"/>
                    </a:lnTo>
                    <a:lnTo>
                      <a:pt x="103862" y="194852"/>
                    </a:lnTo>
                    <a:lnTo>
                      <a:pt x="104391" y="195734"/>
                    </a:lnTo>
                    <a:lnTo>
                      <a:pt x="105008" y="194323"/>
                    </a:lnTo>
                    <a:lnTo>
                      <a:pt x="107301" y="196616"/>
                    </a:lnTo>
                    <a:lnTo>
                      <a:pt x="107918" y="196616"/>
                    </a:lnTo>
                    <a:lnTo>
                      <a:pt x="107918" y="195469"/>
                    </a:lnTo>
                    <a:lnTo>
                      <a:pt x="108799" y="194940"/>
                    </a:lnTo>
                    <a:lnTo>
                      <a:pt x="110299" y="195469"/>
                    </a:lnTo>
                    <a:lnTo>
                      <a:pt x="110915" y="194940"/>
                    </a:lnTo>
                    <a:lnTo>
                      <a:pt x="112062" y="194940"/>
                    </a:lnTo>
                    <a:lnTo>
                      <a:pt x="112679" y="194940"/>
                    </a:lnTo>
                    <a:lnTo>
                      <a:pt x="112679" y="194676"/>
                    </a:lnTo>
                    <a:lnTo>
                      <a:pt x="113032" y="194411"/>
                    </a:lnTo>
                    <a:lnTo>
                      <a:pt x="113296" y="193794"/>
                    </a:lnTo>
                    <a:lnTo>
                      <a:pt x="113561" y="193530"/>
                    </a:lnTo>
                    <a:lnTo>
                      <a:pt x="114178" y="193794"/>
                    </a:lnTo>
                    <a:lnTo>
                      <a:pt x="114442" y="194059"/>
                    </a:lnTo>
                    <a:lnTo>
                      <a:pt x="115060" y="194323"/>
                    </a:lnTo>
                    <a:lnTo>
                      <a:pt x="115589" y="194323"/>
                    </a:lnTo>
                    <a:lnTo>
                      <a:pt x="116735" y="194940"/>
                    </a:lnTo>
                    <a:lnTo>
                      <a:pt x="117352" y="195205"/>
                    </a:lnTo>
                    <a:lnTo>
                      <a:pt x="117616" y="195822"/>
                    </a:lnTo>
                    <a:lnTo>
                      <a:pt x="117616" y="196439"/>
                    </a:lnTo>
                    <a:lnTo>
                      <a:pt x="118145" y="196439"/>
                    </a:lnTo>
                    <a:lnTo>
                      <a:pt x="118145" y="196704"/>
                    </a:lnTo>
                    <a:lnTo>
                      <a:pt x="117616" y="197321"/>
                    </a:lnTo>
                    <a:lnTo>
                      <a:pt x="117881" y="197938"/>
                    </a:lnTo>
                    <a:lnTo>
                      <a:pt x="118498" y="197674"/>
                    </a:lnTo>
                    <a:lnTo>
                      <a:pt x="118763" y="197674"/>
                    </a:lnTo>
                    <a:lnTo>
                      <a:pt x="119027" y="196792"/>
                    </a:lnTo>
                    <a:lnTo>
                      <a:pt x="119292" y="196792"/>
                    </a:lnTo>
                    <a:lnTo>
                      <a:pt x="119292" y="197056"/>
                    </a:lnTo>
                    <a:lnTo>
                      <a:pt x="119027" y="197938"/>
                    </a:lnTo>
                    <a:lnTo>
                      <a:pt x="120174" y="198203"/>
                    </a:lnTo>
                    <a:lnTo>
                      <a:pt x="120174" y="198467"/>
                    </a:lnTo>
                    <a:lnTo>
                      <a:pt x="120791" y="199084"/>
                    </a:lnTo>
                    <a:lnTo>
                      <a:pt x="120791" y="198820"/>
                    </a:lnTo>
                    <a:lnTo>
                      <a:pt x="120791" y="197674"/>
                    </a:lnTo>
                    <a:lnTo>
                      <a:pt x="120174" y="197409"/>
                    </a:lnTo>
                    <a:lnTo>
                      <a:pt x="120791" y="197409"/>
                    </a:lnTo>
                    <a:lnTo>
                      <a:pt x="120791" y="198026"/>
                    </a:lnTo>
                    <a:lnTo>
                      <a:pt x="121672" y="198026"/>
                    </a:lnTo>
                    <a:lnTo>
                      <a:pt x="121672" y="197762"/>
                    </a:lnTo>
                    <a:lnTo>
                      <a:pt x="121936" y="197762"/>
                    </a:lnTo>
                    <a:lnTo>
                      <a:pt x="121936" y="198026"/>
                    </a:lnTo>
                    <a:lnTo>
                      <a:pt x="122201" y="198291"/>
                    </a:lnTo>
                    <a:lnTo>
                      <a:pt x="122466" y="199172"/>
                    </a:lnTo>
                    <a:lnTo>
                      <a:pt x="122201" y="199172"/>
                    </a:lnTo>
                    <a:lnTo>
                      <a:pt x="121584" y="198291"/>
                    </a:lnTo>
                    <a:lnTo>
                      <a:pt x="121320" y="199437"/>
                    </a:lnTo>
                    <a:lnTo>
                      <a:pt x="121584" y="199437"/>
                    </a:lnTo>
                    <a:lnTo>
                      <a:pt x="122730" y="200054"/>
                    </a:lnTo>
                    <a:lnTo>
                      <a:pt x="123083" y="200319"/>
                    </a:lnTo>
                    <a:lnTo>
                      <a:pt x="123347" y="200583"/>
                    </a:lnTo>
                    <a:lnTo>
                      <a:pt x="123347" y="201200"/>
                    </a:lnTo>
                    <a:lnTo>
                      <a:pt x="123965" y="201465"/>
                    </a:lnTo>
                    <a:lnTo>
                      <a:pt x="124229" y="201729"/>
                    </a:lnTo>
                    <a:lnTo>
                      <a:pt x="124494" y="202611"/>
                    </a:lnTo>
                    <a:lnTo>
                      <a:pt x="125640" y="203493"/>
                    </a:lnTo>
                    <a:lnTo>
                      <a:pt x="125375" y="202347"/>
                    </a:lnTo>
                    <a:lnTo>
                      <a:pt x="124758" y="201729"/>
                    </a:lnTo>
                    <a:lnTo>
                      <a:pt x="124494" y="201465"/>
                    </a:lnTo>
                    <a:lnTo>
                      <a:pt x="125111" y="201200"/>
                    </a:lnTo>
                    <a:lnTo>
                      <a:pt x="124494" y="200583"/>
                    </a:lnTo>
                    <a:lnTo>
                      <a:pt x="124229" y="200319"/>
                    </a:lnTo>
                    <a:lnTo>
                      <a:pt x="124494" y="200319"/>
                    </a:lnTo>
                    <a:lnTo>
                      <a:pt x="125111" y="200319"/>
                    </a:lnTo>
                    <a:lnTo>
                      <a:pt x="125375" y="200936"/>
                    </a:lnTo>
                    <a:lnTo>
                      <a:pt x="125640" y="200936"/>
                    </a:lnTo>
                    <a:lnTo>
                      <a:pt x="125640" y="201200"/>
                    </a:lnTo>
                    <a:lnTo>
                      <a:pt x="125640" y="201465"/>
                    </a:lnTo>
                    <a:lnTo>
                      <a:pt x="126257" y="201200"/>
                    </a:lnTo>
                    <a:lnTo>
                      <a:pt x="126521" y="201200"/>
                    </a:lnTo>
                    <a:lnTo>
                      <a:pt x="126521" y="201817"/>
                    </a:lnTo>
                    <a:lnTo>
                      <a:pt x="125640" y="202435"/>
                    </a:lnTo>
                    <a:lnTo>
                      <a:pt x="126786" y="202699"/>
                    </a:lnTo>
                    <a:lnTo>
                      <a:pt x="127668" y="202435"/>
                    </a:lnTo>
                    <a:lnTo>
                      <a:pt x="127050" y="203316"/>
                    </a:lnTo>
                    <a:lnTo>
                      <a:pt x="127315" y="203316"/>
                    </a:lnTo>
                    <a:lnTo>
                      <a:pt x="127579" y="203052"/>
                    </a:lnTo>
                    <a:lnTo>
                      <a:pt x="128108" y="202435"/>
                    </a:lnTo>
                    <a:lnTo>
                      <a:pt x="128726" y="202435"/>
                    </a:lnTo>
                    <a:lnTo>
                      <a:pt x="128461" y="202435"/>
                    </a:lnTo>
                    <a:lnTo>
                      <a:pt x="128108" y="202699"/>
                    </a:lnTo>
                    <a:lnTo>
                      <a:pt x="127844" y="202699"/>
                    </a:lnTo>
                    <a:lnTo>
                      <a:pt x="127315" y="203581"/>
                    </a:lnTo>
                    <a:lnTo>
                      <a:pt x="126698" y="203845"/>
                    </a:lnTo>
                    <a:lnTo>
                      <a:pt x="126433" y="203845"/>
                    </a:lnTo>
                    <a:lnTo>
                      <a:pt x="125816" y="203845"/>
                    </a:lnTo>
                    <a:lnTo>
                      <a:pt x="125816" y="204198"/>
                    </a:lnTo>
                    <a:lnTo>
                      <a:pt x="126169" y="204198"/>
                    </a:lnTo>
                    <a:lnTo>
                      <a:pt x="126169" y="204815"/>
                    </a:lnTo>
                    <a:lnTo>
                      <a:pt x="126698" y="205080"/>
                    </a:lnTo>
                    <a:lnTo>
                      <a:pt x="126698" y="205961"/>
                    </a:lnTo>
                    <a:lnTo>
                      <a:pt x="126698" y="206579"/>
                    </a:lnTo>
                    <a:lnTo>
                      <a:pt x="126962" y="206843"/>
                    </a:lnTo>
                    <a:lnTo>
                      <a:pt x="127227" y="206843"/>
                    </a:lnTo>
                    <a:lnTo>
                      <a:pt x="127491" y="206579"/>
                    </a:lnTo>
                    <a:lnTo>
                      <a:pt x="127756" y="206314"/>
                    </a:lnTo>
                    <a:lnTo>
                      <a:pt x="128373" y="206050"/>
                    </a:lnTo>
                    <a:lnTo>
                      <a:pt x="128637" y="206314"/>
                    </a:lnTo>
                    <a:lnTo>
                      <a:pt x="128902" y="206843"/>
                    </a:lnTo>
                    <a:lnTo>
                      <a:pt x="129784" y="206843"/>
                    </a:lnTo>
                    <a:lnTo>
                      <a:pt x="131018" y="207460"/>
                    </a:lnTo>
                    <a:lnTo>
                      <a:pt x="131547" y="207725"/>
                    </a:lnTo>
                    <a:lnTo>
                      <a:pt x="132164" y="207989"/>
                    </a:lnTo>
                    <a:lnTo>
                      <a:pt x="132782" y="207989"/>
                    </a:lnTo>
                    <a:lnTo>
                      <a:pt x="133134" y="207989"/>
                    </a:lnTo>
                    <a:lnTo>
                      <a:pt x="132782" y="208606"/>
                    </a:lnTo>
                    <a:lnTo>
                      <a:pt x="133134" y="209224"/>
                    </a:lnTo>
                    <a:lnTo>
                      <a:pt x="133399" y="209488"/>
                    </a:lnTo>
                    <a:lnTo>
                      <a:pt x="134280" y="209488"/>
                    </a:lnTo>
                    <a:lnTo>
                      <a:pt x="135955" y="210370"/>
                    </a:lnTo>
                    <a:lnTo>
                      <a:pt x="136573" y="210634"/>
                    </a:lnTo>
                    <a:lnTo>
                      <a:pt x="136925" y="210899"/>
                    </a:lnTo>
                    <a:lnTo>
                      <a:pt x="136925" y="211428"/>
                    </a:lnTo>
                    <a:lnTo>
                      <a:pt x="138689" y="212927"/>
                    </a:lnTo>
                    <a:lnTo>
                      <a:pt x="138689" y="213544"/>
                    </a:lnTo>
                    <a:lnTo>
                      <a:pt x="138689" y="214161"/>
                    </a:lnTo>
                    <a:lnTo>
                      <a:pt x="136925" y="215924"/>
                    </a:lnTo>
                    <a:lnTo>
                      <a:pt x="138424" y="216806"/>
                    </a:lnTo>
                    <a:lnTo>
                      <a:pt x="137278" y="218305"/>
                    </a:lnTo>
                    <a:lnTo>
                      <a:pt x="138424" y="218922"/>
                    </a:lnTo>
                    <a:lnTo>
                      <a:pt x="140452" y="219804"/>
                    </a:lnTo>
                    <a:lnTo>
                      <a:pt x="140981" y="220068"/>
                    </a:lnTo>
                    <a:lnTo>
                      <a:pt x="143626" y="220950"/>
                    </a:lnTo>
                    <a:lnTo>
                      <a:pt x="140452" y="210458"/>
                    </a:lnTo>
                    <a:lnTo>
                      <a:pt x="138689" y="203493"/>
                    </a:lnTo>
                    <a:lnTo>
                      <a:pt x="139835" y="201200"/>
                    </a:lnTo>
                    <a:lnTo>
                      <a:pt x="132253" y="194764"/>
                    </a:lnTo>
                    <a:lnTo>
                      <a:pt x="130489" y="195029"/>
                    </a:lnTo>
                    <a:lnTo>
                      <a:pt x="130489" y="193265"/>
                    </a:lnTo>
                    <a:lnTo>
                      <a:pt x="131371" y="193265"/>
                    </a:lnTo>
                    <a:lnTo>
                      <a:pt x="131106" y="190620"/>
                    </a:lnTo>
                    <a:lnTo>
                      <a:pt x="129872" y="189474"/>
                    </a:lnTo>
                    <a:lnTo>
                      <a:pt x="130753" y="188857"/>
                    </a:lnTo>
                    <a:lnTo>
                      <a:pt x="130489" y="187358"/>
                    </a:lnTo>
                    <a:lnTo>
                      <a:pt x="131371" y="186212"/>
                    </a:lnTo>
                    <a:lnTo>
                      <a:pt x="129608" y="186212"/>
                    </a:lnTo>
                    <a:lnTo>
                      <a:pt x="128461" y="183567"/>
                    </a:lnTo>
                    <a:lnTo>
                      <a:pt x="126962" y="182949"/>
                    </a:lnTo>
                    <a:lnTo>
                      <a:pt x="126345" y="178541"/>
                    </a:lnTo>
                    <a:lnTo>
                      <a:pt x="126081" y="173868"/>
                    </a:lnTo>
                    <a:lnTo>
                      <a:pt x="124317" y="172986"/>
                    </a:lnTo>
                    <a:lnTo>
                      <a:pt x="126962" y="172105"/>
                    </a:lnTo>
                    <a:lnTo>
                      <a:pt x="129255" y="172105"/>
                    </a:lnTo>
                    <a:lnTo>
                      <a:pt x="131547" y="171752"/>
                    </a:lnTo>
                    <a:lnTo>
                      <a:pt x="132693" y="171488"/>
                    </a:lnTo>
                    <a:lnTo>
                      <a:pt x="129166" y="169195"/>
                    </a:lnTo>
                    <a:lnTo>
                      <a:pt x="128020" y="167696"/>
                    </a:lnTo>
                    <a:lnTo>
                      <a:pt x="132429" y="166550"/>
                    </a:lnTo>
                    <a:lnTo>
                      <a:pt x="133311" y="163023"/>
                    </a:lnTo>
                    <a:lnTo>
                      <a:pt x="135603" y="160378"/>
                    </a:lnTo>
                    <a:lnTo>
                      <a:pt x="136220" y="158615"/>
                    </a:lnTo>
                    <a:lnTo>
                      <a:pt x="135867" y="156587"/>
                    </a:lnTo>
                    <a:lnTo>
                      <a:pt x="138248" y="155705"/>
                    </a:lnTo>
                    <a:lnTo>
                      <a:pt x="139394" y="154295"/>
                    </a:lnTo>
                    <a:lnTo>
                      <a:pt x="140540" y="153413"/>
                    </a:lnTo>
                    <a:lnTo>
                      <a:pt x="143450" y="153149"/>
                    </a:lnTo>
                    <a:lnTo>
                      <a:pt x="146624" y="153149"/>
                    </a:lnTo>
                    <a:lnTo>
                      <a:pt x="146359" y="151121"/>
                    </a:lnTo>
                    <a:lnTo>
                      <a:pt x="147241" y="152267"/>
                    </a:lnTo>
                    <a:lnTo>
                      <a:pt x="148740" y="150239"/>
                    </a:lnTo>
                    <a:lnTo>
                      <a:pt x="149621" y="151121"/>
                    </a:lnTo>
                    <a:lnTo>
                      <a:pt x="150768" y="151121"/>
                    </a:lnTo>
                    <a:lnTo>
                      <a:pt x="151121" y="149357"/>
                    </a:lnTo>
                    <a:lnTo>
                      <a:pt x="152619" y="150239"/>
                    </a:lnTo>
                    <a:lnTo>
                      <a:pt x="153148" y="152002"/>
                    </a:lnTo>
                    <a:lnTo>
                      <a:pt x="154295" y="152884"/>
                    </a:lnTo>
                    <a:lnTo>
                      <a:pt x="155176" y="151121"/>
                    </a:lnTo>
                    <a:lnTo>
                      <a:pt x="157204" y="153766"/>
                    </a:lnTo>
                    <a:lnTo>
                      <a:pt x="157204" y="152884"/>
                    </a:lnTo>
                    <a:lnTo>
                      <a:pt x="159849" y="153149"/>
                    </a:lnTo>
                    <a:lnTo>
                      <a:pt x="161348" y="151121"/>
                    </a:lnTo>
                    <a:lnTo>
                      <a:pt x="161612" y="152267"/>
                    </a:lnTo>
                    <a:lnTo>
                      <a:pt x="162229" y="152267"/>
                    </a:lnTo>
                    <a:lnTo>
                      <a:pt x="162847" y="151121"/>
                    </a:lnTo>
                    <a:lnTo>
                      <a:pt x="166109" y="151121"/>
                    </a:lnTo>
                    <a:lnTo>
                      <a:pt x="167520" y="152267"/>
                    </a:lnTo>
                    <a:lnTo>
                      <a:pt x="169548" y="153149"/>
                    </a:lnTo>
                    <a:lnTo>
                      <a:pt x="169548" y="151121"/>
                    </a:lnTo>
                    <a:lnTo>
                      <a:pt x="171046" y="152267"/>
                    </a:lnTo>
                    <a:lnTo>
                      <a:pt x="171928" y="152267"/>
                    </a:lnTo>
                    <a:lnTo>
                      <a:pt x="172546" y="150239"/>
                    </a:lnTo>
                    <a:lnTo>
                      <a:pt x="173427" y="151121"/>
                    </a:lnTo>
                    <a:lnTo>
                      <a:pt x="176337" y="149357"/>
                    </a:lnTo>
                    <a:lnTo>
                      <a:pt x="177218" y="151121"/>
                    </a:lnTo>
                    <a:lnTo>
                      <a:pt x="179246" y="151121"/>
                    </a:lnTo>
                    <a:lnTo>
                      <a:pt x="180745" y="153766"/>
                    </a:lnTo>
                    <a:lnTo>
                      <a:pt x="181891" y="156411"/>
                    </a:lnTo>
                    <a:lnTo>
                      <a:pt x="183654" y="155794"/>
                    </a:lnTo>
                    <a:lnTo>
                      <a:pt x="185683" y="154647"/>
                    </a:lnTo>
                    <a:lnTo>
                      <a:pt x="186300" y="153149"/>
                    </a:lnTo>
                    <a:lnTo>
                      <a:pt x="188680" y="152267"/>
                    </a:lnTo>
                    <a:lnTo>
                      <a:pt x="187534" y="151385"/>
                    </a:lnTo>
                    <a:lnTo>
                      <a:pt x="188416" y="151385"/>
                    </a:lnTo>
                    <a:lnTo>
                      <a:pt x="188945" y="151385"/>
                    </a:lnTo>
                    <a:lnTo>
                      <a:pt x="189826" y="150239"/>
                    </a:lnTo>
                    <a:lnTo>
                      <a:pt x="189826" y="149357"/>
                    </a:lnTo>
                    <a:lnTo>
                      <a:pt x="191590" y="147594"/>
                    </a:lnTo>
                    <a:lnTo>
                      <a:pt x="191590" y="145831"/>
                    </a:lnTo>
                    <a:lnTo>
                      <a:pt x="190708" y="144684"/>
                    </a:lnTo>
                    <a:lnTo>
                      <a:pt x="191325" y="142921"/>
                    </a:lnTo>
                    <a:lnTo>
                      <a:pt x="190443" y="142039"/>
                    </a:lnTo>
                    <a:lnTo>
                      <a:pt x="190179" y="140893"/>
                    </a:lnTo>
                    <a:lnTo>
                      <a:pt x="191678" y="140276"/>
                    </a:lnTo>
                    <a:lnTo>
                      <a:pt x="190797" y="139130"/>
                    </a:lnTo>
                    <a:lnTo>
                      <a:pt x="192559" y="139130"/>
                    </a:lnTo>
                    <a:lnTo>
                      <a:pt x="191413" y="137366"/>
                    </a:lnTo>
                    <a:lnTo>
                      <a:pt x="192295" y="136485"/>
                    </a:lnTo>
                    <a:lnTo>
                      <a:pt x="192295" y="135868"/>
                    </a:lnTo>
                    <a:lnTo>
                      <a:pt x="191149" y="135603"/>
                    </a:lnTo>
                    <a:lnTo>
                      <a:pt x="189738" y="135603"/>
                    </a:lnTo>
                    <a:lnTo>
                      <a:pt x="188857" y="134104"/>
                    </a:lnTo>
                    <a:lnTo>
                      <a:pt x="189121" y="131459"/>
                    </a:lnTo>
                    <a:lnTo>
                      <a:pt x="190620" y="130313"/>
                    </a:lnTo>
                    <a:lnTo>
                      <a:pt x="191501" y="130313"/>
                    </a:lnTo>
                    <a:lnTo>
                      <a:pt x="191149" y="127668"/>
                    </a:lnTo>
                    <a:lnTo>
                      <a:pt x="188857" y="127668"/>
                    </a:lnTo>
                    <a:lnTo>
                      <a:pt x="187975" y="127403"/>
                    </a:lnTo>
                    <a:lnTo>
                      <a:pt x="188592" y="126522"/>
                    </a:lnTo>
                    <a:lnTo>
                      <a:pt x="190003" y="125993"/>
                    </a:lnTo>
                    <a:lnTo>
                      <a:pt x="190884" y="125640"/>
                    </a:lnTo>
                    <a:lnTo>
                      <a:pt x="190532" y="122995"/>
                    </a:lnTo>
                    <a:lnTo>
                      <a:pt x="190532" y="121849"/>
                    </a:lnTo>
                    <a:lnTo>
                      <a:pt x="190267" y="120085"/>
                    </a:lnTo>
                    <a:lnTo>
                      <a:pt x="190003" y="118057"/>
                    </a:lnTo>
                    <a:lnTo>
                      <a:pt x="188239" y="117440"/>
                    </a:lnTo>
                    <a:lnTo>
                      <a:pt x="187358" y="116559"/>
                    </a:lnTo>
                    <a:lnTo>
                      <a:pt x="186212" y="117440"/>
                    </a:lnTo>
                    <a:lnTo>
                      <a:pt x="185683" y="116294"/>
                    </a:lnTo>
                    <a:lnTo>
                      <a:pt x="183919" y="113120"/>
                    </a:lnTo>
                    <a:lnTo>
                      <a:pt x="184184" y="111974"/>
                    </a:lnTo>
                    <a:lnTo>
                      <a:pt x="185330" y="111357"/>
                    </a:lnTo>
                    <a:lnTo>
                      <a:pt x="185065" y="111357"/>
                    </a:lnTo>
                    <a:lnTo>
                      <a:pt x="180392" y="110475"/>
                    </a:lnTo>
                    <a:lnTo>
                      <a:pt x="176866" y="108712"/>
                    </a:lnTo>
                    <a:lnTo>
                      <a:pt x="175984" y="107566"/>
                    </a:lnTo>
                    <a:lnTo>
                      <a:pt x="174838" y="104920"/>
                    </a:lnTo>
                    <a:lnTo>
                      <a:pt x="172193" y="102893"/>
                    </a:lnTo>
                    <a:lnTo>
                      <a:pt x="171046" y="100248"/>
                    </a:lnTo>
                    <a:lnTo>
                      <a:pt x="168137" y="97602"/>
                    </a:lnTo>
                    <a:lnTo>
                      <a:pt x="168137" y="97250"/>
                    </a:lnTo>
                    <a:lnTo>
                      <a:pt x="168754" y="93459"/>
                    </a:lnTo>
                    <a:lnTo>
                      <a:pt x="167255" y="92048"/>
                    </a:lnTo>
                    <a:lnTo>
                      <a:pt x="168137" y="89755"/>
                    </a:lnTo>
                    <a:lnTo>
                      <a:pt x="166638" y="87728"/>
                    </a:lnTo>
                    <a:lnTo>
                      <a:pt x="166374" y="85964"/>
                    </a:lnTo>
                    <a:lnTo>
                      <a:pt x="167784" y="83055"/>
                    </a:lnTo>
                    <a:lnTo>
                      <a:pt x="167167" y="79263"/>
                    </a:lnTo>
                    <a:lnTo>
                      <a:pt x="166903" y="76618"/>
                    </a:lnTo>
                    <a:lnTo>
                      <a:pt x="166021" y="76354"/>
                    </a:lnTo>
                    <a:lnTo>
                      <a:pt x="164875" y="75472"/>
                    </a:lnTo>
                    <a:lnTo>
                      <a:pt x="164875" y="73709"/>
                    </a:lnTo>
                    <a:lnTo>
                      <a:pt x="163112" y="73092"/>
                    </a:lnTo>
                    <a:lnTo>
                      <a:pt x="159056" y="70799"/>
                    </a:lnTo>
                    <a:lnTo>
                      <a:pt x="157028" y="67625"/>
                    </a:lnTo>
                    <a:lnTo>
                      <a:pt x="155264" y="65597"/>
                    </a:lnTo>
                    <a:lnTo>
                      <a:pt x="154118" y="64980"/>
                    </a:lnTo>
                    <a:lnTo>
                      <a:pt x="152355" y="62071"/>
                    </a:lnTo>
                    <a:lnTo>
                      <a:pt x="148828" y="59161"/>
                    </a:lnTo>
                    <a:lnTo>
                      <a:pt x="147682" y="56516"/>
                    </a:lnTo>
                    <a:lnTo>
                      <a:pt x="145654" y="53606"/>
                    </a:lnTo>
                    <a:lnTo>
                      <a:pt x="144155" y="53606"/>
                    </a:lnTo>
                    <a:lnTo>
                      <a:pt x="143891" y="53871"/>
                    </a:lnTo>
                    <a:lnTo>
                      <a:pt x="142392" y="53871"/>
                    </a:lnTo>
                    <a:lnTo>
                      <a:pt x="141510" y="53606"/>
                    </a:lnTo>
                    <a:lnTo>
                      <a:pt x="140011" y="53606"/>
                    </a:lnTo>
                    <a:lnTo>
                      <a:pt x="137102" y="51843"/>
                    </a:lnTo>
                    <a:lnTo>
                      <a:pt x="133311" y="50961"/>
                    </a:lnTo>
                    <a:lnTo>
                      <a:pt x="130666" y="50961"/>
                    </a:lnTo>
                    <a:lnTo>
                      <a:pt x="128902" y="52725"/>
                    </a:lnTo>
                    <a:lnTo>
                      <a:pt x="130401" y="53606"/>
                    </a:lnTo>
                    <a:lnTo>
                      <a:pt x="130666" y="53871"/>
                    </a:lnTo>
                    <a:lnTo>
                      <a:pt x="127756" y="55634"/>
                    </a:lnTo>
                    <a:lnTo>
                      <a:pt x="126874" y="57045"/>
                    </a:lnTo>
                    <a:lnTo>
                      <a:pt x="126345" y="58191"/>
                    </a:lnTo>
                    <a:lnTo>
                      <a:pt x="126874" y="60836"/>
                    </a:lnTo>
                    <a:lnTo>
                      <a:pt x="126345" y="62071"/>
                    </a:lnTo>
                    <a:lnTo>
                      <a:pt x="125463" y="62071"/>
                    </a:lnTo>
                    <a:lnTo>
                      <a:pt x="123700" y="61189"/>
                    </a:lnTo>
                    <a:lnTo>
                      <a:pt x="122554" y="62071"/>
                    </a:lnTo>
                    <a:lnTo>
                      <a:pt x="120791" y="63217"/>
                    </a:lnTo>
                    <a:lnTo>
                      <a:pt x="120438" y="64627"/>
                    </a:lnTo>
                    <a:lnTo>
                      <a:pt x="118674" y="64627"/>
                    </a:lnTo>
                    <a:lnTo>
                      <a:pt x="118939" y="65509"/>
                    </a:lnTo>
                    <a:lnTo>
                      <a:pt x="116558" y="64892"/>
                    </a:lnTo>
                    <a:lnTo>
                      <a:pt x="117705" y="63746"/>
                    </a:lnTo>
                    <a:lnTo>
                      <a:pt x="116823" y="62600"/>
                    </a:lnTo>
                    <a:lnTo>
                      <a:pt x="115324" y="62071"/>
                    </a:lnTo>
                    <a:lnTo>
                      <a:pt x="114178" y="62071"/>
                    </a:lnTo>
                    <a:lnTo>
                      <a:pt x="113032" y="62071"/>
                    </a:lnTo>
                    <a:lnTo>
                      <a:pt x="111533" y="60836"/>
                    </a:lnTo>
                    <a:lnTo>
                      <a:pt x="109505" y="60307"/>
                    </a:lnTo>
                    <a:lnTo>
                      <a:pt x="108888" y="59426"/>
                    </a:lnTo>
                    <a:lnTo>
                      <a:pt x="106595" y="57662"/>
                    </a:lnTo>
                    <a:lnTo>
                      <a:pt x="106595" y="56516"/>
                    </a:lnTo>
                    <a:lnTo>
                      <a:pt x="103950" y="55634"/>
                    </a:lnTo>
                    <a:lnTo>
                      <a:pt x="103421" y="56516"/>
                    </a:lnTo>
                    <a:lnTo>
                      <a:pt x="102804" y="57662"/>
                    </a:lnTo>
                    <a:lnTo>
                      <a:pt x="102187" y="59426"/>
                    </a:lnTo>
                    <a:lnTo>
                      <a:pt x="101658" y="60836"/>
                    </a:lnTo>
                    <a:lnTo>
                      <a:pt x="101041" y="60836"/>
                    </a:lnTo>
                    <a:lnTo>
                      <a:pt x="98396" y="59426"/>
                    </a:lnTo>
                    <a:lnTo>
                      <a:pt x="97778" y="60836"/>
                    </a:lnTo>
                    <a:lnTo>
                      <a:pt x="98043" y="63217"/>
                    </a:lnTo>
                    <a:lnTo>
                      <a:pt x="96280" y="63834"/>
                    </a:lnTo>
                    <a:lnTo>
                      <a:pt x="95662" y="64716"/>
                    </a:lnTo>
                    <a:lnTo>
                      <a:pt x="95133" y="64980"/>
                    </a:lnTo>
                    <a:lnTo>
                      <a:pt x="94869" y="64716"/>
                    </a:lnTo>
                    <a:lnTo>
                      <a:pt x="94252" y="65597"/>
                    </a:lnTo>
                    <a:lnTo>
                      <a:pt x="95133" y="66479"/>
                    </a:lnTo>
                    <a:lnTo>
                      <a:pt x="94516" y="67096"/>
                    </a:lnTo>
                    <a:lnTo>
                      <a:pt x="93018" y="67713"/>
                    </a:lnTo>
                    <a:lnTo>
                      <a:pt x="92489" y="67713"/>
                    </a:lnTo>
                    <a:lnTo>
                      <a:pt x="92136" y="67713"/>
                    </a:lnTo>
                    <a:lnTo>
                      <a:pt x="92136" y="69124"/>
                    </a:lnTo>
                    <a:lnTo>
                      <a:pt x="92489" y="69389"/>
                    </a:lnTo>
                    <a:lnTo>
                      <a:pt x="90108" y="69389"/>
                    </a:lnTo>
                    <a:lnTo>
                      <a:pt x="90373" y="70887"/>
                    </a:lnTo>
                    <a:lnTo>
                      <a:pt x="89491" y="70887"/>
                    </a:lnTo>
                    <a:lnTo>
                      <a:pt x="88344" y="72651"/>
                    </a:lnTo>
                    <a:lnTo>
                      <a:pt x="88344" y="73268"/>
                    </a:lnTo>
                    <a:lnTo>
                      <a:pt x="86934" y="73885"/>
                    </a:lnTo>
                    <a:lnTo>
                      <a:pt x="87199" y="75031"/>
                    </a:lnTo>
                    <a:lnTo>
                      <a:pt x="86052" y="75031"/>
                    </a:lnTo>
                    <a:lnTo>
                      <a:pt x="85435" y="73885"/>
                    </a:lnTo>
                    <a:lnTo>
                      <a:pt x="84553" y="73885"/>
                    </a:lnTo>
                    <a:lnTo>
                      <a:pt x="84289" y="73268"/>
                    </a:lnTo>
                    <a:lnTo>
                      <a:pt x="81379" y="72651"/>
                    </a:lnTo>
                    <a:lnTo>
                      <a:pt x="81027" y="71152"/>
                    </a:lnTo>
                    <a:lnTo>
                      <a:pt x="81644" y="70887"/>
                    </a:lnTo>
                    <a:lnTo>
                      <a:pt x="82173" y="69124"/>
                    </a:lnTo>
                    <a:lnTo>
                      <a:pt x="81908" y="67096"/>
                    </a:lnTo>
                    <a:lnTo>
                      <a:pt x="81908" y="66479"/>
                    </a:lnTo>
                    <a:lnTo>
                      <a:pt x="81644" y="65597"/>
                    </a:lnTo>
                    <a:lnTo>
                      <a:pt x="83143" y="64980"/>
                    </a:lnTo>
                    <a:lnTo>
                      <a:pt x="82261" y="63834"/>
                    </a:lnTo>
                    <a:lnTo>
                      <a:pt x="83143" y="63217"/>
                    </a:lnTo>
                    <a:lnTo>
                      <a:pt x="84289" y="62071"/>
                    </a:lnTo>
                    <a:lnTo>
                      <a:pt x="84289" y="60836"/>
                    </a:lnTo>
                    <a:lnTo>
                      <a:pt x="85170" y="60307"/>
                    </a:lnTo>
                    <a:lnTo>
                      <a:pt x="84906" y="58279"/>
                    </a:lnTo>
                    <a:lnTo>
                      <a:pt x="84641" y="56516"/>
                    </a:lnTo>
                    <a:lnTo>
                      <a:pt x="84641" y="55634"/>
                    </a:lnTo>
                    <a:lnTo>
                      <a:pt x="84024" y="55370"/>
                    </a:lnTo>
                    <a:lnTo>
                      <a:pt x="84024" y="53871"/>
                    </a:lnTo>
                    <a:lnTo>
                      <a:pt x="84289" y="53606"/>
                    </a:lnTo>
                    <a:lnTo>
                      <a:pt x="82261" y="52725"/>
                    </a:lnTo>
                    <a:lnTo>
                      <a:pt x="81115" y="50961"/>
                    </a:lnTo>
                    <a:lnTo>
                      <a:pt x="81996" y="49815"/>
                    </a:lnTo>
                    <a:lnTo>
                      <a:pt x="81732" y="48316"/>
                    </a:lnTo>
                    <a:lnTo>
                      <a:pt x="82261" y="48316"/>
                    </a:lnTo>
                    <a:lnTo>
                      <a:pt x="83143" y="47170"/>
                    </a:lnTo>
                    <a:lnTo>
                      <a:pt x="83143" y="46553"/>
                    </a:lnTo>
                    <a:lnTo>
                      <a:pt x="84289" y="45407"/>
                    </a:lnTo>
                    <a:lnTo>
                      <a:pt x="84906" y="44261"/>
                    </a:lnTo>
                    <a:lnTo>
                      <a:pt x="84024" y="42762"/>
                    </a:lnTo>
                    <a:lnTo>
                      <a:pt x="83672" y="41880"/>
                    </a:lnTo>
                    <a:lnTo>
                      <a:pt x="83407" y="39235"/>
                    </a:lnTo>
                    <a:lnTo>
                      <a:pt x="84553" y="38089"/>
                    </a:lnTo>
                    <a:lnTo>
                      <a:pt x="84289" y="36678"/>
                    </a:lnTo>
                    <a:lnTo>
                      <a:pt x="85170" y="35532"/>
                    </a:lnTo>
                    <a:lnTo>
                      <a:pt x="83143" y="32887"/>
                    </a:lnTo>
                    <a:lnTo>
                      <a:pt x="82261" y="30859"/>
                    </a:lnTo>
                    <a:lnTo>
                      <a:pt x="81996" y="29360"/>
                    </a:lnTo>
                    <a:lnTo>
                      <a:pt x="81996" y="28743"/>
                    </a:lnTo>
                    <a:lnTo>
                      <a:pt x="80233" y="26980"/>
                    </a:lnTo>
                    <a:lnTo>
                      <a:pt x="80586" y="24335"/>
                    </a:lnTo>
                    <a:lnTo>
                      <a:pt x="81996" y="24335"/>
                    </a:lnTo>
                    <a:lnTo>
                      <a:pt x="81732" y="23717"/>
                    </a:lnTo>
                    <a:lnTo>
                      <a:pt x="81467" y="21954"/>
                    </a:lnTo>
                    <a:lnTo>
                      <a:pt x="80850" y="21954"/>
                    </a:lnTo>
                    <a:lnTo>
                      <a:pt x="79969" y="21337"/>
                    </a:lnTo>
                    <a:lnTo>
                      <a:pt x="79440" y="21954"/>
                    </a:lnTo>
                    <a:lnTo>
                      <a:pt x="78558" y="21954"/>
                    </a:lnTo>
                    <a:lnTo>
                      <a:pt x="76530" y="20808"/>
                    </a:lnTo>
                    <a:lnTo>
                      <a:pt x="73356" y="20808"/>
                    </a:lnTo>
                    <a:lnTo>
                      <a:pt x="72474" y="23717"/>
                    </a:lnTo>
                    <a:lnTo>
                      <a:pt x="71857" y="24335"/>
                    </a:lnTo>
                    <a:lnTo>
                      <a:pt x="70711" y="23717"/>
                    </a:lnTo>
                    <a:lnTo>
                      <a:pt x="68683" y="22571"/>
                    </a:lnTo>
                    <a:lnTo>
                      <a:pt x="67537" y="22571"/>
                    </a:lnTo>
                    <a:lnTo>
                      <a:pt x="67890" y="23717"/>
                    </a:lnTo>
                    <a:lnTo>
                      <a:pt x="67008" y="23717"/>
                    </a:lnTo>
                    <a:lnTo>
                      <a:pt x="66479" y="23717"/>
                    </a:lnTo>
                    <a:lnTo>
                      <a:pt x="65597" y="23717"/>
                    </a:lnTo>
                    <a:lnTo>
                      <a:pt x="65068" y="22571"/>
                    </a:lnTo>
                    <a:lnTo>
                      <a:pt x="64804" y="22042"/>
                    </a:lnTo>
                    <a:lnTo>
                      <a:pt x="64186" y="20896"/>
                    </a:lnTo>
                    <a:lnTo>
                      <a:pt x="63305" y="18868"/>
                    </a:lnTo>
                    <a:lnTo>
                      <a:pt x="61541" y="17457"/>
                    </a:lnTo>
                    <a:lnTo>
                      <a:pt x="63305" y="15429"/>
                    </a:lnTo>
                    <a:lnTo>
                      <a:pt x="63569" y="14548"/>
                    </a:lnTo>
                    <a:lnTo>
                      <a:pt x="64715" y="8112"/>
                    </a:lnTo>
                    <a:lnTo>
                      <a:pt x="63305" y="8112"/>
                    </a:lnTo>
                    <a:lnTo>
                      <a:pt x="62423" y="7230"/>
                    </a:lnTo>
                    <a:lnTo>
                      <a:pt x="61277" y="5467"/>
                    </a:lnTo>
                    <a:lnTo>
                      <a:pt x="58985" y="2557"/>
                    </a:lnTo>
                    <a:lnTo>
                      <a:pt x="58367" y="1675"/>
                    </a:lnTo>
                    <a:lnTo>
                      <a:pt x="56956" y="1675"/>
                    </a:lnTo>
                    <a:lnTo>
                      <a:pt x="56075" y="2557"/>
                    </a:lnTo>
                    <a:lnTo>
                      <a:pt x="56075" y="3703"/>
                    </a:lnTo>
                    <a:lnTo>
                      <a:pt x="55458" y="4232"/>
                    </a:lnTo>
                    <a:lnTo>
                      <a:pt x="55722" y="5378"/>
                    </a:lnTo>
                    <a:lnTo>
                      <a:pt x="54223" y="5378"/>
                    </a:lnTo>
                    <a:lnTo>
                      <a:pt x="53959" y="3615"/>
                    </a:lnTo>
                    <a:lnTo>
                      <a:pt x="53959" y="2469"/>
                    </a:lnTo>
                    <a:lnTo>
                      <a:pt x="52636" y="2469"/>
                    </a:lnTo>
                    <a:close/>
                    <a:moveTo>
                      <a:pt x="47699" y="308677"/>
                    </a:moveTo>
                    <a:lnTo>
                      <a:pt x="47964" y="308677"/>
                    </a:lnTo>
                    <a:lnTo>
                      <a:pt x="47699" y="306914"/>
                    </a:lnTo>
                    <a:lnTo>
                      <a:pt x="48581" y="307179"/>
                    </a:lnTo>
                    <a:lnTo>
                      <a:pt x="49198" y="308060"/>
                    </a:lnTo>
                    <a:lnTo>
                      <a:pt x="50344" y="307708"/>
                    </a:lnTo>
                    <a:lnTo>
                      <a:pt x="50344" y="309206"/>
                    </a:lnTo>
                    <a:lnTo>
                      <a:pt x="50080" y="310088"/>
                    </a:lnTo>
                    <a:lnTo>
                      <a:pt x="50344" y="310970"/>
                    </a:lnTo>
                    <a:lnTo>
                      <a:pt x="50080" y="312733"/>
                    </a:lnTo>
                    <a:lnTo>
                      <a:pt x="49462" y="312998"/>
                    </a:lnTo>
                    <a:lnTo>
                      <a:pt x="48845" y="314232"/>
                    </a:lnTo>
                    <a:lnTo>
                      <a:pt x="48581" y="313350"/>
                    </a:lnTo>
                    <a:lnTo>
                      <a:pt x="47964" y="311323"/>
                    </a:lnTo>
                    <a:lnTo>
                      <a:pt x="47964" y="310176"/>
                    </a:lnTo>
                    <a:lnTo>
                      <a:pt x="47699" y="309559"/>
                    </a:lnTo>
                    <a:lnTo>
                      <a:pt x="47699" y="30867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6" name="Freihandform: Form 1965">
                <a:extLst>
                  <a:ext uri="{FF2B5EF4-FFF2-40B4-BE49-F238E27FC236}">
                    <a16:creationId xmlns:a16="http://schemas.microsoft.com/office/drawing/2014/main" id="{1CF9084E-A756-0B4B-3084-7D7ADAB0E42E}"/>
                  </a:ext>
                </a:extLst>
              </p:cNvPr>
              <p:cNvSpPr/>
              <p:nvPr/>
            </p:nvSpPr>
            <p:spPr>
              <a:xfrm>
                <a:off x="6268496" y="3567247"/>
                <a:ext cx="192824" cy="370130"/>
              </a:xfrm>
              <a:custGeom>
                <a:avLst/>
                <a:gdLst>
                  <a:gd name="connsiteX0" fmla="*/ 130401 w 192824"/>
                  <a:gd name="connsiteY0" fmla="*/ 49022 h 370130"/>
                  <a:gd name="connsiteX1" fmla="*/ 133311 w 192824"/>
                  <a:gd name="connsiteY1" fmla="*/ 50785 h 370130"/>
                  <a:gd name="connsiteX2" fmla="*/ 130401 w 192824"/>
                  <a:gd name="connsiteY2" fmla="*/ 46112 h 370130"/>
                  <a:gd name="connsiteX3" fmla="*/ 127844 w 192824"/>
                  <a:gd name="connsiteY3" fmla="*/ 45495 h 370130"/>
                  <a:gd name="connsiteX4" fmla="*/ 126081 w 192824"/>
                  <a:gd name="connsiteY4" fmla="*/ 44084 h 370130"/>
                  <a:gd name="connsiteX5" fmla="*/ 122818 w 192824"/>
                  <a:gd name="connsiteY5" fmla="*/ 42585 h 370130"/>
                  <a:gd name="connsiteX6" fmla="*/ 114619 w 192824"/>
                  <a:gd name="connsiteY6" fmla="*/ 44349 h 370130"/>
                  <a:gd name="connsiteX7" fmla="*/ 113825 w 192824"/>
                  <a:gd name="connsiteY7" fmla="*/ 40293 h 370130"/>
                  <a:gd name="connsiteX8" fmla="*/ 111444 w 192824"/>
                  <a:gd name="connsiteY8" fmla="*/ 41704 h 370130"/>
                  <a:gd name="connsiteX9" fmla="*/ 108535 w 192824"/>
                  <a:gd name="connsiteY9" fmla="*/ 40293 h 370130"/>
                  <a:gd name="connsiteX10" fmla="*/ 105890 w 192824"/>
                  <a:gd name="connsiteY10" fmla="*/ 38794 h 370130"/>
                  <a:gd name="connsiteX11" fmla="*/ 105890 w 192824"/>
                  <a:gd name="connsiteY11" fmla="*/ 36149 h 370130"/>
                  <a:gd name="connsiteX12" fmla="*/ 100335 w 192824"/>
                  <a:gd name="connsiteY12" fmla="*/ 33239 h 370130"/>
                  <a:gd name="connsiteX13" fmla="*/ 98043 w 192824"/>
                  <a:gd name="connsiteY13" fmla="*/ 34386 h 370130"/>
                  <a:gd name="connsiteX14" fmla="*/ 97778 w 192824"/>
                  <a:gd name="connsiteY14" fmla="*/ 28302 h 370130"/>
                  <a:gd name="connsiteX15" fmla="*/ 93987 w 192824"/>
                  <a:gd name="connsiteY15" fmla="*/ 24246 h 370130"/>
                  <a:gd name="connsiteX16" fmla="*/ 91960 w 192824"/>
                  <a:gd name="connsiteY16" fmla="*/ 19838 h 370130"/>
                  <a:gd name="connsiteX17" fmla="*/ 96280 w 192824"/>
                  <a:gd name="connsiteY17" fmla="*/ 19838 h 370130"/>
                  <a:gd name="connsiteX18" fmla="*/ 96897 w 192824"/>
                  <a:gd name="connsiteY18" fmla="*/ 14548 h 370130"/>
                  <a:gd name="connsiteX19" fmla="*/ 91078 w 192824"/>
                  <a:gd name="connsiteY19" fmla="*/ 9963 h 370130"/>
                  <a:gd name="connsiteX20" fmla="*/ 86669 w 192824"/>
                  <a:gd name="connsiteY20" fmla="*/ 13401 h 370130"/>
                  <a:gd name="connsiteX21" fmla="*/ 85788 w 192824"/>
                  <a:gd name="connsiteY21" fmla="*/ 11638 h 370130"/>
                  <a:gd name="connsiteX22" fmla="*/ 81114 w 192824"/>
                  <a:gd name="connsiteY22" fmla="*/ 9081 h 370130"/>
                  <a:gd name="connsiteX23" fmla="*/ 76706 w 192824"/>
                  <a:gd name="connsiteY23" fmla="*/ 11638 h 370130"/>
                  <a:gd name="connsiteX24" fmla="*/ 69476 w 192824"/>
                  <a:gd name="connsiteY24" fmla="*/ 7582 h 370130"/>
                  <a:gd name="connsiteX25" fmla="*/ 67977 w 192824"/>
                  <a:gd name="connsiteY25" fmla="*/ 4408 h 370130"/>
                  <a:gd name="connsiteX26" fmla="*/ 63305 w 192824"/>
                  <a:gd name="connsiteY26" fmla="*/ 0 h 370130"/>
                  <a:gd name="connsiteX27" fmla="*/ 61541 w 192824"/>
                  <a:gd name="connsiteY27" fmla="*/ 3527 h 370130"/>
                  <a:gd name="connsiteX28" fmla="*/ 56075 w 192824"/>
                  <a:gd name="connsiteY28" fmla="*/ 4673 h 370130"/>
                  <a:gd name="connsiteX29" fmla="*/ 55722 w 192824"/>
                  <a:gd name="connsiteY29" fmla="*/ 6965 h 370130"/>
                  <a:gd name="connsiteX30" fmla="*/ 53694 w 192824"/>
                  <a:gd name="connsiteY30" fmla="*/ 6965 h 370130"/>
                  <a:gd name="connsiteX31" fmla="*/ 54840 w 192824"/>
                  <a:gd name="connsiteY31" fmla="*/ 10492 h 370130"/>
                  <a:gd name="connsiteX32" fmla="*/ 52284 w 192824"/>
                  <a:gd name="connsiteY32" fmla="*/ 13401 h 370130"/>
                  <a:gd name="connsiteX33" fmla="*/ 48493 w 192824"/>
                  <a:gd name="connsiteY33" fmla="*/ 12520 h 370130"/>
                  <a:gd name="connsiteX34" fmla="*/ 47875 w 192824"/>
                  <a:gd name="connsiteY34" fmla="*/ 15518 h 370130"/>
                  <a:gd name="connsiteX35" fmla="*/ 44348 w 192824"/>
                  <a:gd name="connsiteY35" fmla="*/ 17545 h 370130"/>
                  <a:gd name="connsiteX36" fmla="*/ 40910 w 192824"/>
                  <a:gd name="connsiteY36" fmla="*/ 14900 h 370130"/>
                  <a:gd name="connsiteX37" fmla="*/ 36766 w 192824"/>
                  <a:gd name="connsiteY37" fmla="*/ 15518 h 370130"/>
                  <a:gd name="connsiteX38" fmla="*/ 36766 w 192824"/>
                  <a:gd name="connsiteY38" fmla="*/ 21601 h 370130"/>
                  <a:gd name="connsiteX39" fmla="*/ 30065 w 192824"/>
                  <a:gd name="connsiteY39" fmla="*/ 15518 h 370130"/>
                  <a:gd name="connsiteX40" fmla="*/ 28302 w 192824"/>
                  <a:gd name="connsiteY40" fmla="*/ 21337 h 370130"/>
                  <a:gd name="connsiteX41" fmla="*/ 23364 w 192824"/>
                  <a:gd name="connsiteY41" fmla="*/ 15518 h 370130"/>
                  <a:gd name="connsiteX42" fmla="*/ 22218 w 192824"/>
                  <a:gd name="connsiteY42" fmla="*/ 17193 h 370130"/>
                  <a:gd name="connsiteX43" fmla="*/ 20455 w 192824"/>
                  <a:gd name="connsiteY43" fmla="*/ 17810 h 370130"/>
                  <a:gd name="connsiteX44" fmla="*/ 19309 w 192824"/>
                  <a:gd name="connsiteY44" fmla="*/ 20102 h 370130"/>
                  <a:gd name="connsiteX45" fmla="*/ 19309 w 192824"/>
                  <a:gd name="connsiteY45" fmla="*/ 25657 h 370130"/>
                  <a:gd name="connsiteX46" fmla="*/ 14900 w 192824"/>
                  <a:gd name="connsiteY46" fmla="*/ 21337 h 370130"/>
                  <a:gd name="connsiteX47" fmla="*/ 12608 w 192824"/>
                  <a:gd name="connsiteY47" fmla="*/ 20102 h 370130"/>
                  <a:gd name="connsiteX48" fmla="*/ 10845 w 192824"/>
                  <a:gd name="connsiteY48" fmla="*/ 20102 h 370130"/>
                  <a:gd name="connsiteX49" fmla="*/ 8464 w 192824"/>
                  <a:gd name="connsiteY49" fmla="*/ 16311 h 370130"/>
                  <a:gd name="connsiteX50" fmla="*/ 5819 w 192824"/>
                  <a:gd name="connsiteY50" fmla="*/ 16311 h 370130"/>
                  <a:gd name="connsiteX51" fmla="*/ 4673 w 192824"/>
                  <a:gd name="connsiteY51" fmla="*/ 15782 h 370130"/>
                  <a:gd name="connsiteX52" fmla="*/ 2380 w 192824"/>
                  <a:gd name="connsiteY52" fmla="*/ 18692 h 370130"/>
                  <a:gd name="connsiteX53" fmla="*/ 0 w 192824"/>
                  <a:gd name="connsiteY53" fmla="*/ 23365 h 370130"/>
                  <a:gd name="connsiteX54" fmla="*/ 2645 w 192824"/>
                  <a:gd name="connsiteY54" fmla="*/ 28919 h 370130"/>
                  <a:gd name="connsiteX55" fmla="*/ 7318 w 192824"/>
                  <a:gd name="connsiteY55" fmla="*/ 31829 h 370130"/>
                  <a:gd name="connsiteX56" fmla="*/ 9346 w 192824"/>
                  <a:gd name="connsiteY56" fmla="*/ 33857 h 370130"/>
                  <a:gd name="connsiteX57" fmla="*/ 8200 w 192824"/>
                  <a:gd name="connsiteY57" fmla="*/ 34386 h 370130"/>
                  <a:gd name="connsiteX58" fmla="*/ 8464 w 192824"/>
                  <a:gd name="connsiteY58" fmla="*/ 35267 h 370130"/>
                  <a:gd name="connsiteX59" fmla="*/ 10845 w 192824"/>
                  <a:gd name="connsiteY59" fmla="*/ 35620 h 370130"/>
                  <a:gd name="connsiteX60" fmla="*/ 12608 w 192824"/>
                  <a:gd name="connsiteY60" fmla="*/ 37383 h 370130"/>
                  <a:gd name="connsiteX61" fmla="*/ 12872 w 192824"/>
                  <a:gd name="connsiteY61" fmla="*/ 38177 h 370130"/>
                  <a:gd name="connsiteX62" fmla="*/ 13137 w 192824"/>
                  <a:gd name="connsiteY62" fmla="*/ 39940 h 370130"/>
                  <a:gd name="connsiteX63" fmla="*/ 13137 w 192824"/>
                  <a:gd name="connsiteY63" fmla="*/ 41175 h 370130"/>
                  <a:gd name="connsiteX64" fmla="*/ 14018 w 192824"/>
                  <a:gd name="connsiteY64" fmla="*/ 43731 h 370130"/>
                  <a:gd name="connsiteX65" fmla="*/ 15165 w 192824"/>
                  <a:gd name="connsiteY65" fmla="*/ 42850 h 370130"/>
                  <a:gd name="connsiteX66" fmla="*/ 16663 w 192824"/>
                  <a:gd name="connsiteY66" fmla="*/ 41175 h 370130"/>
                  <a:gd name="connsiteX67" fmla="*/ 15165 w 192824"/>
                  <a:gd name="connsiteY67" fmla="*/ 39059 h 370130"/>
                  <a:gd name="connsiteX68" fmla="*/ 16046 w 192824"/>
                  <a:gd name="connsiteY68" fmla="*/ 38177 h 370130"/>
                  <a:gd name="connsiteX69" fmla="*/ 16928 w 192824"/>
                  <a:gd name="connsiteY69" fmla="*/ 38177 h 370130"/>
                  <a:gd name="connsiteX70" fmla="*/ 16928 w 192824"/>
                  <a:gd name="connsiteY70" fmla="*/ 39059 h 370130"/>
                  <a:gd name="connsiteX71" fmla="*/ 17545 w 192824"/>
                  <a:gd name="connsiteY71" fmla="*/ 41704 h 370130"/>
                  <a:gd name="connsiteX72" fmla="*/ 18692 w 192824"/>
                  <a:gd name="connsiteY72" fmla="*/ 41175 h 370130"/>
                  <a:gd name="connsiteX73" fmla="*/ 19309 w 192824"/>
                  <a:gd name="connsiteY73" fmla="*/ 41175 h 370130"/>
                  <a:gd name="connsiteX74" fmla="*/ 21072 w 192824"/>
                  <a:gd name="connsiteY74" fmla="*/ 44613 h 370130"/>
                  <a:gd name="connsiteX75" fmla="*/ 19309 w 192824"/>
                  <a:gd name="connsiteY75" fmla="*/ 48140 h 370130"/>
                  <a:gd name="connsiteX76" fmla="*/ 19309 w 192824"/>
                  <a:gd name="connsiteY76" fmla="*/ 48757 h 370130"/>
                  <a:gd name="connsiteX77" fmla="*/ 19838 w 192824"/>
                  <a:gd name="connsiteY77" fmla="*/ 48140 h 370130"/>
                  <a:gd name="connsiteX78" fmla="*/ 19838 w 192824"/>
                  <a:gd name="connsiteY78" fmla="*/ 48757 h 370130"/>
                  <a:gd name="connsiteX79" fmla="*/ 19573 w 192824"/>
                  <a:gd name="connsiteY79" fmla="*/ 49903 h 370130"/>
                  <a:gd name="connsiteX80" fmla="*/ 19838 w 192824"/>
                  <a:gd name="connsiteY80" fmla="*/ 51578 h 370130"/>
                  <a:gd name="connsiteX81" fmla="*/ 18956 w 192824"/>
                  <a:gd name="connsiteY81" fmla="*/ 51578 h 370130"/>
                  <a:gd name="connsiteX82" fmla="*/ 18692 w 192824"/>
                  <a:gd name="connsiteY82" fmla="*/ 52813 h 370130"/>
                  <a:gd name="connsiteX83" fmla="*/ 19838 w 192824"/>
                  <a:gd name="connsiteY83" fmla="*/ 52813 h 370130"/>
                  <a:gd name="connsiteX84" fmla="*/ 20719 w 192824"/>
                  <a:gd name="connsiteY84" fmla="*/ 53695 h 370130"/>
                  <a:gd name="connsiteX85" fmla="*/ 21072 w 192824"/>
                  <a:gd name="connsiteY85" fmla="*/ 55458 h 370130"/>
                  <a:gd name="connsiteX86" fmla="*/ 21866 w 192824"/>
                  <a:gd name="connsiteY86" fmla="*/ 57133 h 370130"/>
                  <a:gd name="connsiteX87" fmla="*/ 23982 w 192824"/>
                  <a:gd name="connsiteY87" fmla="*/ 58015 h 370130"/>
                  <a:gd name="connsiteX88" fmla="*/ 24863 w 192824"/>
                  <a:gd name="connsiteY88" fmla="*/ 60131 h 370130"/>
                  <a:gd name="connsiteX89" fmla="*/ 25128 w 192824"/>
                  <a:gd name="connsiteY89" fmla="*/ 61541 h 370130"/>
                  <a:gd name="connsiteX90" fmla="*/ 27155 w 192824"/>
                  <a:gd name="connsiteY90" fmla="*/ 63569 h 370130"/>
                  <a:gd name="connsiteX91" fmla="*/ 28919 w 192824"/>
                  <a:gd name="connsiteY91" fmla="*/ 63922 h 370130"/>
                  <a:gd name="connsiteX92" fmla="*/ 30418 w 192824"/>
                  <a:gd name="connsiteY92" fmla="*/ 63922 h 370130"/>
                  <a:gd name="connsiteX93" fmla="*/ 30947 w 192824"/>
                  <a:gd name="connsiteY93" fmla="*/ 63922 h 370130"/>
                  <a:gd name="connsiteX94" fmla="*/ 32093 w 192824"/>
                  <a:gd name="connsiteY94" fmla="*/ 64451 h 370130"/>
                  <a:gd name="connsiteX95" fmla="*/ 33592 w 192824"/>
                  <a:gd name="connsiteY95" fmla="*/ 64451 h 370130"/>
                  <a:gd name="connsiteX96" fmla="*/ 33239 w 192824"/>
                  <a:gd name="connsiteY96" fmla="*/ 63922 h 370130"/>
                  <a:gd name="connsiteX97" fmla="*/ 35355 w 192824"/>
                  <a:gd name="connsiteY97" fmla="*/ 65597 h 370130"/>
                  <a:gd name="connsiteX98" fmla="*/ 37648 w 192824"/>
                  <a:gd name="connsiteY98" fmla="*/ 66479 h 370130"/>
                  <a:gd name="connsiteX99" fmla="*/ 38794 w 192824"/>
                  <a:gd name="connsiteY99" fmla="*/ 68242 h 370130"/>
                  <a:gd name="connsiteX100" fmla="*/ 40910 w 192824"/>
                  <a:gd name="connsiteY100" fmla="*/ 67361 h 370130"/>
                  <a:gd name="connsiteX101" fmla="*/ 40910 w 192824"/>
                  <a:gd name="connsiteY101" fmla="*/ 66479 h 370130"/>
                  <a:gd name="connsiteX102" fmla="*/ 41174 w 192824"/>
                  <a:gd name="connsiteY102" fmla="*/ 65597 h 370130"/>
                  <a:gd name="connsiteX103" fmla="*/ 41174 w 192824"/>
                  <a:gd name="connsiteY103" fmla="*/ 64451 h 370130"/>
                  <a:gd name="connsiteX104" fmla="*/ 41174 w 192824"/>
                  <a:gd name="connsiteY104" fmla="*/ 63569 h 370130"/>
                  <a:gd name="connsiteX105" fmla="*/ 42056 w 192824"/>
                  <a:gd name="connsiteY105" fmla="*/ 63569 h 370130"/>
                  <a:gd name="connsiteX106" fmla="*/ 43202 w 192824"/>
                  <a:gd name="connsiteY106" fmla="*/ 62688 h 370130"/>
                  <a:gd name="connsiteX107" fmla="*/ 43467 w 192824"/>
                  <a:gd name="connsiteY107" fmla="*/ 62688 h 370130"/>
                  <a:gd name="connsiteX108" fmla="*/ 44966 w 192824"/>
                  <a:gd name="connsiteY108" fmla="*/ 62159 h 370130"/>
                  <a:gd name="connsiteX109" fmla="*/ 46112 w 192824"/>
                  <a:gd name="connsiteY109" fmla="*/ 62159 h 370130"/>
                  <a:gd name="connsiteX110" fmla="*/ 46376 w 192824"/>
                  <a:gd name="connsiteY110" fmla="*/ 60924 h 370130"/>
                  <a:gd name="connsiteX111" fmla="*/ 46993 w 192824"/>
                  <a:gd name="connsiteY111" fmla="*/ 60131 h 370130"/>
                  <a:gd name="connsiteX112" fmla="*/ 47875 w 192824"/>
                  <a:gd name="connsiteY112" fmla="*/ 60924 h 370130"/>
                  <a:gd name="connsiteX113" fmla="*/ 49022 w 192824"/>
                  <a:gd name="connsiteY113" fmla="*/ 60924 h 370130"/>
                  <a:gd name="connsiteX114" fmla="*/ 51049 w 192824"/>
                  <a:gd name="connsiteY114" fmla="*/ 61541 h 370130"/>
                  <a:gd name="connsiteX115" fmla="*/ 51049 w 192824"/>
                  <a:gd name="connsiteY115" fmla="*/ 62159 h 370130"/>
                  <a:gd name="connsiteX116" fmla="*/ 52548 w 192824"/>
                  <a:gd name="connsiteY116" fmla="*/ 62159 h 370130"/>
                  <a:gd name="connsiteX117" fmla="*/ 52548 w 192824"/>
                  <a:gd name="connsiteY117" fmla="*/ 62688 h 370130"/>
                  <a:gd name="connsiteX118" fmla="*/ 53077 w 192824"/>
                  <a:gd name="connsiteY118" fmla="*/ 63922 h 370130"/>
                  <a:gd name="connsiteX119" fmla="*/ 54576 w 192824"/>
                  <a:gd name="connsiteY119" fmla="*/ 63922 h 370130"/>
                  <a:gd name="connsiteX120" fmla="*/ 55193 w 192824"/>
                  <a:gd name="connsiteY120" fmla="*/ 64451 h 370130"/>
                  <a:gd name="connsiteX121" fmla="*/ 56339 w 192824"/>
                  <a:gd name="connsiteY121" fmla="*/ 65333 h 370130"/>
                  <a:gd name="connsiteX122" fmla="*/ 56604 w 192824"/>
                  <a:gd name="connsiteY122" fmla="*/ 66479 h 370130"/>
                  <a:gd name="connsiteX123" fmla="*/ 59866 w 192824"/>
                  <a:gd name="connsiteY123" fmla="*/ 67361 h 370130"/>
                  <a:gd name="connsiteX124" fmla="*/ 59514 w 192824"/>
                  <a:gd name="connsiteY124" fmla="*/ 68859 h 370130"/>
                  <a:gd name="connsiteX125" fmla="*/ 59514 w 192824"/>
                  <a:gd name="connsiteY125" fmla="*/ 69741 h 370130"/>
                  <a:gd name="connsiteX126" fmla="*/ 59866 w 192824"/>
                  <a:gd name="connsiteY126" fmla="*/ 70887 h 370130"/>
                  <a:gd name="connsiteX127" fmla="*/ 58632 w 192824"/>
                  <a:gd name="connsiteY127" fmla="*/ 71416 h 370130"/>
                  <a:gd name="connsiteX128" fmla="*/ 58103 w 192824"/>
                  <a:gd name="connsiteY128" fmla="*/ 71416 h 370130"/>
                  <a:gd name="connsiteX129" fmla="*/ 57221 w 192824"/>
                  <a:gd name="connsiteY129" fmla="*/ 70887 h 370130"/>
                  <a:gd name="connsiteX130" fmla="*/ 56868 w 192824"/>
                  <a:gd name="connsiteY130" fmla="*/ 71769 h 370130"/>
                  <a:gd name="connsiteX131" fmla="*/ 55722 w 192824"/>
                  <a:gd name="connsiteY131" fmla="*/ 72651 h 370130"/>
                  <a:gd name="connsiteX132" fmla="*/ 56075 w 192824"/>
                  <a:gd name="connsiteY132" fmla="*/ 73532 h 370130"/>
                  <a:gd name="connsiteX133" fmla="*/ 56604 w 192824"/>
                  <a:gd name="connsiteY133" fmla="*/ 73797 h 370130"/>
                  <a:gd name="connsiteX134" fmla="*/ 57750 w 192824"/>
                  <a:gd name="connsiteY134" fmla="*/ 74414 h 370130"/>
                  <a:gd name="connsiteX135" fmla="*/ 60130 w 192824"/>
                  <a:gd name="connsiteY135" fmla="*/ 73797 h 370130"/>
                  <a:gd name="connsiteX136" fmla="*/ 61012 w 192824"/>
                  <a:gd name="connsiteY136" fmla="*/ 75208 h 370130"/>
                  <a:gd name="connsiteX137" fmla="*/ 63305 w 192824"/>
                  <a:gd name="connsiteY137" fmla="*/ 75560 h 370130"/>
                  <a:gd name="connsiteX138" fmla="*/ 63305 w 192824"/>
                  <a:gd name="connsiteY138" fmla="*/ 76971 h 370130"/>
                  <a:gd name="connsiteX139" fmla="*/ 62159 w 192824"/>
                  <a:gd name="connsiteY139" fmla="*/ 76971 h 370130"/>
                  <a:gd name="connsiteX140" fmla="*/ 62511 w 192824"/>
                  <a:gd name="connsiteY140" fmla="*/ 78734 h 370130"/>
                  <a:gd name="connsiteX141" fmla="*/ 63922 w 192824"/>
                  <a:gd name="connsiteY141" fmla="*/ 79969 h 370130"/>
                  <a:gd name="connsiteX142" fmla="*/ 65333 w 192824"/>
                  <a:gd name="connsiteY142" fmla="*/ 78205 h 370130"/>
                  <a:gd name="connsiteX143" fmla="*/ 66831 w 192824"/>
                  <a:gd name="connsiteY143" fmla="*/ 78734 h 370130"/>
                  <a:gd name="connsiteX144" fmla="*/ 68859 w 192824"/>
                  <a:gd name="connsiteY144" fmla="*/ 79969 h 370130"/>
                  <a:gd name="connsiteX145" fmla="*/ 68330 w 192824"/>
                  <a:gd name="connsiteY145" fmla="*/ 81115 h 370130"/>
                  <a:gd name="connsiteX146" fmla="*/ 69124 w 192824"/>
                  <a:gd name="connsiteY146" fmla="*/ 81996 h 370130"/>
                  <a:gd name="connsiteX147" fmla="*/ 69741 w 192824"/>
                  <a:gd name="connsiteY147" fmla="*/ 81996 h 370130"/>
                  <a:gd name="connsiteX148" fmla="*/ 69124 w 192824"/>
                  <a:gd name="connsiteY148" fmla="*/ 82878 h 370130"/>
                  <a:gd name="connsiteX149" fmla="*/ 70006 w 192824"/>
                  <a:gd name="connsiteY149" fmla="*/ 84289 h 370130"/>
                  <a:gd name="connsiteX150" fmla="*/ 69476 w 192824"/>
                  <a:gd name="connsiteY150" fmla="*/ 84906 h 370130"/>
                  <a:gd name="connsiteX151" fmla="*/ 68330 w 192824"/>
                  <a:gd name="connsiteY151" fmla="*/ 84906 h 370130"/>
                  <a:gd name="connsiteX152" fmla="*/ 68330 w 192824"/>
                  <a:gd name="connsiteY152" fmla="*/ 85435 h 370130"/>
                  <a:gd name="connsiteX153" fmla="*/ 67448 w 192824"/>
                  <a:gd name="connsiteY153" fmla="*/ 86317 h 370130"/>
                  <a:gd name="connsiteX154" fmla="*/ 66214 w 192824"/>
                  <a:gd name="connsiteY154" fmla="*/ 87199 h 370130"/>
                  <a:gd name="connsiteX155" fmla="*/ 66214 w 192824"/>
                  <a:gd name="connsiteY155" fmla="*/ 88080 h 370130"/>
                  <a:gd name="connsiteX156" fmla="*/ 67448 w 192824"/>
                  <a:gd name="connsiteY156" fmla="*/ 87463 h 370130"/>
                  <a:gd name="connsiteX157" fmla="*/ 67713 w 192824"/>
                  <a:gd name="connsiteY157" fmla="*/ 88080 h 370130"/>
                  <a:gd name="connsiteX158" fmla="*/ 67977 w 192824"/>
                  <a:gd name="connsiteY158" fmla="*/ 90108 h 370130"/>
                  <a:gd name="connsiteX159" fmla="*/ 66567 w 192824"/>
                  <a:gd name="connsiteY159" fmla="*/ 89843 h 370130"/>
                  <a:gd name="connsiteX160" fmla="*/ 66567 w 192824"/>
                  <a:gd name="connsiteY160" fmla="*/ 90108 h 370130"/>
                  <a:gd name="connsiteX161" fmla="*/ 65597 w 192824"/>
                  <a:gd name="connsiteY161" fmla="*/ 90108 h 370130"/>
                  <a:gd name="connsiteX162" fmla="*/ 64451 w 192824"/>
                  <a:gd name="connsiteY162" fmla="*/ 92489 h 370130"/>
                  <a:gd name="connsiteX163" fmla="*/ 63305 w 192824"/>
                  <a:gd name="connsiteY163" fmla="*/ 93635 h 370130"/>
                  <a:gd name="connsiteX164" fmla="*/ 62511 w 192824"/>
                  <a:gd name="connsiteY164" fmla="*/ 94252 h 370130"/>
                  <a:gd name="connsiteX165" fmla="*/ 61012 w 192824"/>
                  <a:gd name="connsiteY165" fmla="*/ 93635 h 370130"/>
                  <a:gd name="connsiteX166" fmla="*/ 59866 w 192824"/>
                  <a:gd name="connsiteY166" fmla="*/ 92753 h 370130"/>
                  <a:gd name="connsiteX167" fmla="*/ 59514 w 192824"/>
                  <a:gd name="connsiteY167" fmla="*/ 91871 h 370130"/>
                  <a:gd name="connsiteX168" fmla="*/ 58367 w 192824"/>
                  <a:gd name="connsiteY168" fmla="*/ 92489 h 370130"/>
                  <a:gd name="connsiteX169" fmla="*/ 57221 w 192824"/>
                  <a:gd name="connsiteY169" fmla="*/ 92489 h 370130"/>
                  <a:gd name="connsiteX170" fmla="*/ 55722 w 192824"/>
                  <a:gd name="connsiteY170" fmla="*/ 91871 h 370130"/>
                  <a:gd name="connsiteX171" fmla="*/ 52813 w 192824"/>
                  <a:gd name="connsiteY171" fmla="*/ 92489 h 370130"/>
                  <a:gd name="connsiteX172" fmla="*/ 52284 w 192824"/>
                  <a:gd name="connsiteY172" fmla="*/ 92489 h 370130"/>
                  <a:gd name="connsiteX173" fmla="*/ 51049 w 192824"/>
                  <a:gd name="connsiteY173" fmla="*/ 91871 h 370130"/>
                  <a:gd name="connsiteX174" fmla="*/ 50520 w 192824"/>
                  <a:gd name="connsiteY174" fmla="*/ 92489 h 370130"/>
                  <a:gd name="connsiteX175" fmla="*/ 51402 w 192824"/>
                  <a:gd name="connsiteY175" fmla="*/ 93635 h 370130"/>
                  <a:gd name="connsiteX176" fmla="*/ 51667 w 192824"/>
                  <a:gd name="connsiteY176" fmla="*/ 94781 h 370130"/>
                  <a:gd name="connsiteX177" fmla="*/ 52548 w 192824"/>
                  <a:gd name="connsiteY177" fmla="*/ 94781 h 370130"/>
                  <a:gd name="connsiteX178" fmla="*/ 52813 w 192824"/>
                  <a:gd name="connsiteY178" fmla="*/ 96544 h 370130"/>
                  <a:gd name="connsiteX179" fmla="*/ 52284 w 192824"/>
                  <a:gd name="connsiteY179" fmla="*/ 97161 h 370130"/>
                  <a:gd name="connsiteX180" fmla="*/ 52284 w 192824"/>
                  <a:gd name="connsiteY180" fmla="*/ 98043 h 370130"/>
                  <a:gd name="connsiteX181" fmla="*/ 52548 w 192824"/>
                  <a:gd name="connsiteY181" fmla="*/ 98308 h 370130"/>
                  <a:gd name="connsiteX182" fmla="*/ 51931 w 192824"/>
                  <a:gd name="connsiteY182" fmla="*/ 98308 h 370130"/>
                  <a:gd name="connsiteX183" fmla="*/ 51402 w 192824"/>
                  <a:gd name="connsiteY183" fmla="*/ 98308 h 370130"/>
                  <a:gd name="connsiteX184" fmla="*/ 50168 w 192824"/>
                  <a:gd name="connsiteY184" fmla="*/ 99189 h 370130"/>
                  <a:gd name="connsiteX185" fmla="*/ 49638 w 192824"/>
                  <a:gd name="connsiteY185" fmla="*/ 100953 h 370130"/>
                  <a:gd name="connsiteX186" fmla="*/ 49286 w 192824"/>
                  <a:gd name="connsiteY186" fmla="*/ 101482 h 370130"/>
                  <a:gd name="connsiteX187" fmla="*/ 49638 w 192824"/>
                  <a:gd name="connsiteY187" fmla="*/ 102099 h 370130"/>
                  <a:gd name="connsiteX188" fmla="*/ 49903 w 192824"/>
                  <a:gd name="connsiteY188" fmla="*/ 102099 h 370130"/>
                  <a:gd name="connsiteX189" fmla="*/ 49903 w 192824"/>
                  <a:gd name="connsiteY189" fmla="*/ 102628 h 370130"/>
                  <a:gd name="connsiteX190" fmla="*/ 52284 w 192824"/>
                  <a:gd name="connsiteY190" fmla="*/ 103510 h 370130"/>
                  <a:gd name="connsiteX191" fmla="*/ 52813 w 192824"/>
                  <a:gd name="connsiteY191" fmla="*/ 102363 h 370130"/>
                  <a:gd name="connsiteX192" fmla="*/ 53077 w 192824"/>
                  <a:gd name="connsiteY192" fmla="*/ 103510 h 370130"/>
                  <a:gd name="connsiteX193" fmla="*/ 53959 w 192824"/>
                  <a:gd name="connsiteY193" fmla="*/ 103862 h 370130"/>
                  <a:gd name="connsiteX194" fmla="*/ 55193 w 192824"/>
                  <a:gd name="connsiteY194" fmla="*/ 104127 h 370130"/>
                  <a:gd name="connsiteX195" fmla="*/ 56339 w 192824"/>
                  <a:gd name="connsiteY195" fmla="*/ 105273 h 370130"/>
                  <a:gd name="connsiteX196" fmla="*/ 57485 w 192824"/>
                  <a:gd name="connsiteY196" fmla="*/ 105626 h 370130"/>
                  <a:gd name="connsiteX197" fmla="*/ 57485 w 192824"/>
                  <a:gd name="connsiteY197" fmla="*/ 106419 h 370130"/>
                  <a:gd name="connsiteX198" fmla="*/ 58632 w 192824"/>
                  <a:gd name="connsiteY198" fmla="*/ 105890 h 370130"/>
                  <a:gd name="connsiteX199" fmla="*/ 59514 w 192824"/>
                  <a:gd name="connsiteY199" fmla="*/ 107036 h 370130"/>
                  <a:gd name="connsiteX200" fmla="*/ 61541 w 192824"/>
                  <a:gd name="connsiteY200" fmla="*/ 107654 h 370130"/>
                  <a:gd name="connsiteX201" fmla="*/ 62511 w 192824"/>
                  <a:gd name="connsiteY201" fmla="*/ 109417 h 370130"/>
                  <a:gd name="connsiteX202" fmla="*/ 63922 w 192824"/>
                  <a:gd name="connsiteY202" fmla="*/ 108183 h 370130"/>
                  <a:gd name="connsiteX203" fmla="*/ 65333 w 192824"/>
                  <a:gd name="connsiteY203" fmla="*/ 111974 h 370130"/>
                  <a:gd name="connsiteX204" fmla="*/ 66214 w 192824"/>
                  <a:gd name="connsiteY204" fmla="*/ 111974 h 370130"/>
                  <a:gd name="connsiteX205" fmla="*/ 67977 w 192824"/>
                  <a:gd name="connsiteY205" fmla="*/ 113208 h 370130"/>
                  <a:gd name="connsiteX206" fmla="*/ 69124 w 192824"/>
                  <a:gd name="connsiteY206" fmla="*/ 112855 h 370130"/>
                  <a:gd name="connsiteX207" fmla="*/ 69476 w 192824"/>
                  <a:gd name="connsiteY207" fmla="*/ 114619 h 370130"/>
                  <a:gd name="connsiteX208" fmla="*/ 71769 w 192824"/>
                  <a:gd name="connsiteY208" fmla="*/ 114619 h 370130"/>
                  <a:gd name="connsiteX209" fmla="*/ 73532 w 192824"/>
                  <a:gd name="connsiteY209" fmla="*/ 114619 h 370130"/>
                  <a:gd name="connsiteX210" fmla="*/ 74414 w 192824"/>
                  <a:gd name="connsiteY210" fmla="*/ 115501 h 370130"/>
                  <a:gd name="connsiteX211" fmla="*/ 75296 w 192824"/>
                  <a:gd name="connsiteY211" fmla="*/ 115501 h 370130"/>
                  <a:gd name="connsiteX212" fmla="*/ 75913 w 192824"/>
                  <a:gd name="connsiteY212" fmla="*/ 115501 h 370130"/>
                  <a:gd name="connsiteX213" fmla="*/ 77588 w 192824"/>
                  <a:gd name="connsiteY213" fmla="*/ 116382 h 370130"/>
                  <a:gd name="connsiteX214" fmla="*/ 78470 w 192824"/>
                  <a:gd name="connsiteY214" fmla="*/ 117528 h 370130"/>
                  <a:gd name="connsiteX215" fmla="*/ 80233 w 192824"/>
                  <a:gd name="connsiteY215" fmla="*/ 117528 h 370130"/>
                  <a:gd name="connsiteX216" fmla="*/ 81114 w 192824"/>
                  <a:gd name="connsiteY216" fmla="*/ 118146 h 370130"/>
                  <a:gd name="connsiteX217" fmla="*/ 80585 w 192824"/>
                  <a:gd name="connsiteY217" fmla="*/ 119292 h 370130"/>
                  <a:gd name="connsiteX218" fmla="*/ 78823 w 192824"/>
                  <a:gd name="connsiteY218" fmla="*/ 119292 h 370130"/>
                  <a:gd name="connsiteX219" fmla="*/ 78823 w 192824"/>
                  <a:gd name="connsiteY219" fmla="*/ 123083 h 370130"/>
                  <a:gd name="connsiteX220" fmla="*/ 79616 w 192824"/>
                  <a:gd name="connsiteY220" fmla="*/ 124582 h 370130"/>
                  <a:gd name="connsiteX221" fmla="*/ 81379 w 192824"/>
                  <a:gd name="connsiteY221" fmla="*/ 124846 h 370130"/>
                  <a:gd name="connsiteX222" fmla="*/ 81732 w 192824"/>
                  <a:gd name="connsiteY222" fmla="*/ 126257 h 370130"/>
                  <a:gd name="connsiteX223" fmla="*/ 82261 w 192824"/>
                  <a:gd name="connsiteY223" fmla="*/ 126610 h 370130"/>
                  <a:gd name="connsiteX224" fmla="*/ 83407 w 192824"/>
                  <a:gd name="connsiteY224" fmla="*/ 128020 h 370130"/>
                  <a:gd name="connsiteX225" fmla="*/ 84289 w 192824"/>
                  <a:gd name="connsiteY225" fmla="*/ 127491 h 370130"/>
                  <a:gd name="connsiteX226" fmla="*/ 84641 w 192824"/>
                  <a:gd name="connsiteY226" fmla="*/ 129167 h 370130"/>
                  <a:gd name="connsiteX227" fmla="*/ 86669 w 192824"/>
                  <a:gd name="connsiteY227" fmla="*/ 130401 h 370130"/>
                  <a:gd name="connsiteX228" fmla="*/ 86669 w 192824"/>
                  <a:gd name="connsiteY228" fmla="*/ 129167 h 370130"/>
                  <a:gd name="connsiteX229" fmla="*/ 87551 w 192824"/>
                  <a:gd name="connsiteY229" fmla="*/ 127491 h 370130"/>
                  <a:gd name="connsiteX230" fmla="*/ 88433 w 192824"/>
                  <a:gd name="connsiteY230" fmla="*/ 129167 h 370130"/>
                  <a:gd name="connsiteX231" fmla="*/ 88433 w 192824"/>
                  <a:gd name="connsiteY231" fmla="*/ 129784 h 370130"/>
                  <a:gd name="connsiteX232" fmla="*/ 88697 w 192824"/>
                  <a:gd name="connsiteY232" fmla="*/ 130930 h 370130"/>
                  <a:gd name="connsiteX233" fmla="*/ 89314 w 192824"/>
                  <a:gd name="connsiteY233" fmla="*/ 130930 h 370130"/>
                  <a:gd name="connsiteX234" fmla="*/ 89579 w 192824"/>
                  <a:gd name="connsiteY234" fmla="*/ 131812 h 370130"/>
                  <a:gd name="connsiteX235" fmla="*/ 91342 w 192824"/>
                  <a:gd name="connsiteY235" fmla="*/ 133046 h 370130"/>
                  <a:gd name="connsiteX236" fmla="*/ 90725 w 192824"/>
                  <a:gd name="connsiteY236" fmla="*/ 133311 h 370130"/>
                  <a:gd name="connsiteX237" fmla="*/ 91960 w 192824"/>
                  <a:gd name="connsiteY237" fmla="*/ 134192 h 370130"/>
                  <a:gd name="connsiteX238" fmla="*/ 91607 w 192824"/>
                  <a:gd name="connsiteY238" fmla="*/ 134809 h 370130"/>
                  <a:gd name="connsiteX239" fmla="*/ 91960 w 192824"/>
                  <a:gd name="connsiteY239" fmla="*/ 137366 h 370130"/>
                  <a:gd name="connsiteX240" fmla="*/ 93635 w 192824"/>
                  <a:gd name="connsiteY240" fmla="*/ 138248 h 370130"/>
                  <a:gd name="connsiteX241" fmla="*/ 93635 w 192824"/>
                  <a:gd name="connsiteY241" fmla="*/ 139130 h 370130"/>
                  <a:gd name="connsiteX242" fmla="*/ 94516 w 192824"/>
                  <a:gd name="connsiteY242" fmla="*/ 140276 h 370130"/>
                  <a:gd name="connsiteX243" fmla="*/ 96015 w 192824"/>
                  <a:gd name="connsiteY243" fmla="*/ 142921 h 370130"/>
                  <a:gd name="connsiteX244" fmla="*/ 98572 w 192824"/>
                  <a:gd name="connsiteY244" fmla="*/ 143803 h 370130"/>
                  <a:gd name="connsiteX245" fmla="*/ 102452 w 192824"/>
                  <a:gd name="connsiteY245" fmla="*/ 149005 h 370130"/>
                  <a:gd name="connsiteX246" fmla="*/ 107389 w 192824"/>
                  <a:gd name="connsiteY246" fmla="*/ 152531 h 370130"/>
                  <a:gd name="connsiteX247" fmla="*/ 108535 w 192824"/>
                  <a:gd name="connsiteY247" fmla="*/ 152531 h 370130"/>
                  <a:gd name="connsiteX248" fmla="*/ 109152 w 192824"/>
                  <a:gd name="connsiteY248" fmla="*/ 152002 h 370130"/>
                  <a:gd name="connsiteX249" fmla="*/ 109681 w 192824"/>
                  <a:gd name="connsiteY249" fmla="*/ 152002 h 370130"/>
                  <a:gd name="connsiteX250" fmla="*/ 110915 w 192824"/>
                  <a:gd name="connsiteY250" fmla="*/ 152796 h 370130"/>
                  <a:gd name="connsiteX251" fmla="*/ 110034 w 192824"/>
                  <a:gd name="connsiteY251" fmla="*/ 153148 h 370130"/>
                  <a:gd name="connsiteX252" fmla="*/ 110034 w 192824"/>
                  <a:gd name="connsiteY252" fmla="*/ 153677 h 370130"/>
                  <a:gd name="connsiteX253" fmla="*/ 111709 w 192824"/>
                  <a:gd name="connsiteY253" fmla="*/ 156323 h 370130"/>
                  <a:gd name="connsiteX254" fmla="*/ 113473 w 192824"/>
                  <a:gd name="connsiteY254" fmla="*/ 156940 h 370130"/>
                  <a:gd name="connsiteX255" fmla="*/ 112326 w 192824"/>
                  <a:gd name="connsiteY255" fmla="*/ 158086 h 370130"/>
                  <a:gd name="connsiteX256" fmla="*/ 113208 w 192824"/>
                  <a:gd name="connsiteY256" fmla="*/ 159232 h 370130"/>
                  <a:gd name="connsiteX257" fmla="*/ 114619 w 192824"/>
                  <a:gd name="connsiteY257" fmla="*/ 159232 h 370130"/>
                  <a:gd name="connsiteX258" fmla="*/ 116118 w 192824"/>
                  <a:gd name="connsiteY258" fmla="*/ 160466 h 370130"/>
                  <a:gd name="connsiteX259" fmla="*/ 116735 w 192824"/>
                  <a:gd name="connsiteY259" fmla="*/ 166550 h 370130"/>
                  <a:gd name="connsiteX260" fmla="*/ 117616 w 192824"/>
                  <a:gd name="connsiteY260" fmla="*/ 168578 h 370130"/>
                  <a:gd name="connsiteX261" fmla="*/ 118410 w 192824"/>
                  <a:gd name="connsiteY261" fmla="*/ 168578 h 370130"/>
                  <a:gd name="connsiteX262" fmla="*/ 118410 w 192824"/>
                  <a:gd name="connsiteY262" fmla="*/ 170077 h 370130"/>
                  <a:gd name="connsiteX263" fmla="*/ 119644 w 192824"/>
                  <a:gd name="connsiteY263" fmla="*/ 170077 h 370130"/>
                  <a:gd name="connsiteX264" fmla="*/ 119644 w 192824"/>
                  <a:gd name="connsiteY264" fmla="*/ 170341 h 370130"/>
                  <a:gd name="connsiteX265" fmla="*/ 119909 w 192824"/>
                  <a:gd name="connsiteY265" fmla="*/ 172986 h 370130"/>
                  <a:gd name="connsiteX266" fmla="*/ 120790 w 192824"/>
                  <a:gd name="connsiteY266" fmla="*/ 173515 h 370130"/>
                  <a:gd name="connsiteX267" fmla="*/ 122290 w 192824"/>
                  <a:gd name="connsiteY267" fmla="*/ 173515 h 370130"/>
                  <a:gd name="connsiteX268" fmla="*/ 122818 w 192824"/>
                  <a:gd name="connsiteY268" fmla="*/ 173515 h 370130"/>
                  <a:gd name="connsiteX269" fmla="*/ 122818 w 192824"/>
                  <a:gd name="connsiteY269" fmla="*/ 172105 h 370130"/>
                  <a:gd name="connsiteX270" fmla="*/ 123083 w 192824"/>
                  <a:gd name="connsiteY270" fmla="*/ 171752 h 370130"/>
                  <a:gd name="connsiteX271" fmla="*/ 122818 w 192824"/>
                  <a:gd name="connsiteY271" fmla="*/ 170341 h 370130"/>
                  <a:gd name="connsiteX272" fmla="*/ 124317 w 192824"/>
                  <a:gd name="connsiteY272" fmla="*/ 170341 h 370130"/>
                  <a:gd name="connsiteX273" fmla="*/ 124846 w 192824"/>
                  <a:gd name="connsiteY273" fmla="*/ 170958 h 370130"/>
                  <a:gd name="connsiteX274" fmla="*/ 125199 w 192824"/>
                  <a:gd name="connsiteY274" fmla="*/ 172105 h 370130"/>
                  <a:gd name="connsiteX275" fmla="*/ 124581 w 192824"/>
                  <a:gd name="connsiteY275" fmla="*/ 173515 h 370130"/>
                  <a:gd name="connsiteX276" fmla="*/ 125463 w 192824"/>
                  <a:gd name="connsiteY276" fmla="*/ 173515 h 370130"/>
                  <a:gd name="connsiteX277" fmla="*/ 125463 w 192824"/>
                  <a:gd name="connsiteY277" fmla="*/ 174133 h 370130"/>
                  <a:gd name="connsiteX278" fmla="*/ 127227 w 192824"/>
                  <a:gd name="connsiteY278" fmla="*/ 175543 h 370130"/>
                  <a:gd name="connsiteX279" fmla="*/ 127491 w 192824"/>
                  <a:gd name="connsiteY279" fmla="*/ 176425 h 370130"/>
                  <a:gd name="connsiteX280" fmla="*/ 128108 w 192824"/>
                  <a:gd name="connsiteY280" fmla="*/ 176425 h 370130"/>
                  <a:gd name="connsiteX281" fmla="*/ 129519 w 192824"/>
                  <a:gd name="connsiteY281" fmla="*/ 176425 h 370130"/>
                  <a:gd name="connsiteX282" fmla="*/ 131282 w 192824"/>
                  <a:gd name="connsiteY282" fmla="*/ 177307 h 370130"/>
                  <a:gd name="connsiteX283" fmla="*/ 132429 w 192824"/>
                  <a:gd name="connsiteY283" fmla="*/ 179070 h 370130"/>
                  <a:gd name="connsiteX284" fmla="*/ 133046 w 192824"/>
                  <a:gd name="connsiteY284" fmla="*/ 180216 h 370130"/>
                  <a:gd name="connsiteX285" fmla="*/ 134192 w 192824"/>
                  <a:gd name="connsiteY285" fmla="*/ 180216 h 370130"/>
                  <a:gd name="connsiteX286" fmla="*/ 135955 w 192824"/>
                  <a:gd name="connsiteY286" fmla="*/ 182861 h 370130"/>
                  <a:gd name="connsiteX287" fmla="*/ 137102 w 192824"/>
                  <a:gd name="connsiteY287" fmla="*/ 182861 h 370130"/>
                  <a:gd name="connsiteX288" fmla="*/ 137454 w 192824"/>
                  <a:gd name="connsiteY288" fmla="*/ 181450 h 370130"/>
                  <a:gd name="connsiteX289" fmla="*/ 139129 w 192824"/>
                  <a:gd name="connsiteY289" fmla="*/ 181450 h 370130"/>
                  <a:gd name="connsiteX290" fmla="*/ 139129 w 192824"/>
                  <a:gd name="connsiteY290" fmla="*/ 183214 h 370130"/>
                  <a:gd name="connsiteX291" fmla="*/ 139482 w 192824"/>
                  <a:gd name="connsiteY291" fmla="*/ 184007 h 370130"/>
                  <a:gd name="connsiteX292" fmla="*/ 137454 w 192824"/>
                  <a:gd name="connsiteY292" fmla="*/ 185771 h 370130"/>
                  <a:gd name="connsiteX293" fmla="*/ 136220 w 192824"/>
                  <a:gd name="connsiteY293" fmla="*/ 185771 h 370130"/>
                  <a:gd name="connsiteX294" fmla="*/ 135073 w 192824"/>
                  <a:gd name="connsiteY294" fmla="*/ 187534 h 370130"/>
                  <a:gd name="connsiteX295" fmla="*/ 134544 w 192824"/>
                  <a:gd name="connsiteY295" fmla="*/ 187534 h 370130"/>
                  <a:gd name="connsiteX296" fmla="*/ 134192 w 192824"/>
                  <a:gd name="connsiteY296" fmla="*/ 187534 h 370130"/>
                  <a:gd name="connsiteX297" fmla="*/ 133575 w 192824"/>
                  <a:gd name="connsiteY297" fmla="*/ 189297 h 370130"/>
                  <a:gd name="connsiteX298" fmla="*/ 135691 w 192824"/>
                  <a:gd name="connsiteY298" fmla="*/ 190796 h 370130"/>
                  <a:gd name="connsiteX299" fmla="*/ 135955 w 192824"/>
                  <a:gd name="connsiteY299" fmla="*/ 192824 h 370130"/>
                  <a:gd name="connsiteX300" fmla="*/ 136573 w 192824"/>
                  <a:gd name="connsiteY300" fmla="*/ 193089 h 370130"/>
                  <a:gd name="connsiteX301" fmla="*/ 137719 w 192824"/>
                  <a:gd name="connsiteY301" fmla="*/ 193970 h 370130"/>
                  <a:gd name="connsiteX302" fmla="*/ 138865 w 192824"/>
                  <a:gd name="connsiteY302" fmla="*/ 196263 h 370130"/>
                  <a:gd name="connsiteX303" fmla="*/ 140099 w 192824"/>
                  <a:gd name="connsiteY303" fmla="*/ 195734 h 370130"/>
                  <a:gd name="connsiteX304" fmla="*/ 140893 w 192824"/>
                  <a:gd name="connsiteY304" fmla="*/ 196263 h 370130"/>
                  <a:gd name="connsiteX305" fmla="*/ 141157 w 192824"/>
                  <a:gd name="connsiteY305" fmla="*/ 195734 h 370130"/>
                  <a:gd name="connsiteX306" fmla="*/ 141157 w 192824"/>
                  <a:gd name="connsiteY306" fmla="*/ 196880 h 370130"/>
                  <a:gd name="connsiteX307" fmla="*/ 141157 w 192824"/>
                  <a:gd name="connsiteY307" fmla="*/ 196263 h 370130"/>
                  <a:gd name="connsiteX308" fmla="*/ 141510 w 192824"/>
                  <a:gd name="connsiteY308" fmla="*/ 198291 h 370130"/>
                  <a:gd name="connsiteX309" fmla="*/ 142921 w 192824"/>
                  <a:gd name="connsiteY309" fmla="*/ 198291 h 370130"/>
                  <a:gd name="connsiteX310" fmla="*/ 143538 w 192824"/>
                  <a:gd name="connsiteY310" fmla="*/ 198291 h 370130"/>
                  <a:gd name="connsiteX311" fmla="*/ 143803 w 192824"/>
                  <a:gd name="connsiteY311" fmla="*/ 199172 h 370130"/>
                  <a:gd name="connsiteX312" fmla="*/ 144419 w 192824"/>
                  <a:gd name="connsiteY312" fmla="*/ 200054 h 370130"/>
                  <a:gd name="connsiteX313" fmla="*/ 146712 w 192824"/>
                  <a:gd name="connsiteY313" fmla="*/ 203052 h 370130"/>
                  <a:gd name="connsiteX314" fmla="*/ 146183 w 192824"/>
                  <a:gd name="connsiteY314" fmla="*/ 204198 h 370130"/>
                  <a:gd name="connsiteX315" fmla="*/ 145301 w 192824"/>
                  <a:gd name="connsiteY315" fmla="*/ 203581 h 370130"/>
                  <a:gd name="connsiteX316" fmla="*/ 145566 w 192824"/>
                  <a:gd name="connsiteY316" fmla="*/ 205873 h 370130"/>
                  <a:gd name="connsiteX317" fmla="*/ 144684 w 192824"/>
                  <a:gd name="connsiteY317" fmla="*/ 206755 h 370130"/>
                  <a:gd name="connsiteX318" fmla="*/ 145566 w 192824"/>
                  <a:gd name="connsiteY318" fmla="*/ 208254 h 370130"/>
                  <a:gd name="connsiteX319" fmla="*/ 144684 w 192824"/>
                  <a:gd name="connsiteY319" fmla="*/ 208254 h 370130"/>
                  <a:gd name="connsiteX320" fmla="*/ 143538 w 192824"/>
                  <a:gd name="connsiteY320" fmla="*/ 208254 h 370130"/>
                  <a:gd name="connsiteX321" fmla="*/ 142656 w 192824"/>
                  <a:gd name="connsiteY321" fmla="*/ 208518 h 370130"/>
                  <a:gd name="connsiteX322" fmla="*/ 142921 w 192824"/>
                  <a:gd name="connsiteY322" fmla="*/ 210017 h 370130"/>
                  <a:gd name="connsiteX323" fmla="*/ 145301 w 192824"/>
                  <a:gd name="connsiteY323" fmla="*/ 211780 h 370130"/>
                  <a:gd name="connsiteX324" fmla="*/ 143538 w 192824"/>
                  <a:gd name="connsiteY324" fmla="*/ 213456 h 370130"/>
                  <a:gd name="connsiteX325" fmla="*/ 144155 w 192824"/>
                  <a:gd name="connsiteY325" fmla="*/ 214690 h 370130"/>
                  <a:gd name="connsiteX326" fmla="*/ 143538 w 192824"/>
                  <a:gd name="connsiteY326" fmla="*/ 215572 h 370130"/>
                  <a:gd name="connsiteX327" fmla="*/ 145037 w 192824"/>
                  <a:gd name="connsiteY327" fmla="*/ 215836 h 370130"/>
                  <a:gd name="connsiteX328" fmla="*/ 145301 w 192824"/>
                  <a:gd name="connsiteY328" fmla="*/ 217335 h 370130"/>
                  <a:gd name="connsiteX329" fmla="*/ 145566 w 192824"/>
                  <a:gd name="connsiteY329" fmla="*/ 218481 h 370130"/>
                  <a:gd name="connsiteX330" fmla="*/ 144419 w 192824"/>
                  <a:gd name="connsiteY330" fmla="*/ 220509 h 370130"/>
                  <a:gd name="connsiteX331" fmla="*/ 145919 w 192824"/>
                  <a:gd name="connsiteY331" fmla="*/ 221920 h 370130"/>
                  <a:gd name="connsiteX332" fmla="*/ 144155 w 192824"/>
                  <a:gd name="connsiteY332" fmla="*/ 221920 h 370130"/>
                  <a:gd name="connsiteX333" fmla="*/ 144684 w 192824"/>
                  <a:gd name="connsiteY333" fmla="*/ 223683 h 370130"/>
                  <a:gd name="connsiteX334" fmla="*/ 143538 w 192824"/>
                  <a:gd name="connsiteY334" fmla="*/ 223419 h 370130"/>
                  <a:gd name="connsiteX335" fmla="*/ 142392 w 192824"/>
                  <a:gd name="connsiteY335" fmla="*/ 223419 h 370130"/>
                  <a:gd name="connsiteX336" fmla="*/ 142656 w 192824"/>
                  <a:gd name="connsiteY336" fmla="*/ 225799 h 370130"/>
                  <a:gd name="connsiteX337" fmla="*/ 142656 w 192824"/>
                  <a:gd name="connsiteY337" fmla="*/ 227474 h 370130"/>
                  <a:gd name="connsiteX338" fmla="*/ 142039 w 192824"/>
                  <a:gd name="connsiteY338" fmla="*/ 230737 h 370130"/>
                  <a:gd name="connsiteX339" fmla="*/ 143803 w 192824"/>
                  <a:gd name="connsiteY339" fmla="*/ 233382 h 370130"/>
                  <a:gd name="connsiteX340" fmla="*/ 145919 w 192824"/>
                  <a:gd name="connsiteY340" fmla="*/ 233382 h 370130"/>
                  <a:gd name="connsiteX341" fmla="*/ 146448 w 192824"/>
                  <a:gd name="connsiteY341" fmla="*/ 236556 h 370130"/>
                  <a:gd name="connsiteX342" fmla="*/ 146712 w 192824"/>
                  <a:gd name="connsiteY342" fmla="*/ 238584 h 370130"/>
                  <a:gd name="connsiteX343" fmla="*/ 147329 w 192824"/>
                  <a:gd name="connsiteY343" fmla="*/ 240347 h 370130"/>
                  <a:gd name="connsiteX344" fmla="*/ 148828 w 192824"/>
                  <a:gd name="connsiteY344" fmla="*/ 242639 h 370130"/>
                  <a:gd name="connsiteX345" fmla="*/ 150239 w 192824"/>
                  <a:gd name="connsiteY345" fmla="*/ 245637 h 370130"/>
                  <a:gd name="connsiteX346" fmla="*/ 150856 w 192824"/>
                  <a:gd name="connsiteY346" fmla="*/ 250222 h 370130"/>
                  <a:gd name="connsiteX347" fmla="*/ 148828 w 192824"/>
                  <a:gd name="connsiteY347" fmla="*/ 258422 h 370130"/>
                  <a:gd name="connsiteX348" fmla="*/ 149092 w 192824"/>
                  <a:gd name="connsiteY348" fmla="*/ 261331 h 370130"/>
                  <a:gd name="connsiteX349" fmla="*/ 150503 w 192824"/>
                  <a:gd name="connsiteY349" fmla="*/ 263094 h 370130"/>
                  <a:gd name="connsiteX350" fmla="*/ 150856 w 192824"/>
                  <a:gd name="connsiteY350" fmla="*/ 265740 h 370130"/>
                  <a:gd name="connsiteX351" fmla="*/ 151737 w 192824"/>
                  <a:gd name="connsiteY351" fmla="*/ 267503 h 370130"/>
                  <a:gd name="connsiteX352" fmla="*/ 152266 w 192824"/>
                  <a:gd name="connsiteY352" fmla="*/ 272440 h 370130"/>
                  <a:gd name="connsiteX353" fmla="*/ 152002 w 192824"/>
                  <a:gd name="connsiteY353" fmla="*/ 274468 h 370130"/>
                  <a:gd name="connsiteX354" fmla="*/ 150239 w 192824"/>
                  <a:gd name="connsiteY354" fmla="*/ 274733 h 370130"/>
                  <a:gd name="connsiteX355" fmla="*/ 150503 w 192824"/>
                  <a:gd name="connsiteY355" fmla="*/ 276231 h 370130"/>
                  <a:gd name="connsiteX356" fmla="*/ 149974 w 192824"/>
                  <a:gd name="connsiteY356" fmla="*/ 278524 h 370130"/>
                  <a:gd name="connsiteX357" fmla="*/ 148828 w 192824"/>
                  <a:gd name="connsiteY357" fmla="*/ 277378 h 370130"/>
                  <a:gd name="connsiteX358" fmla="*/ 147329 w 192824"/>
                  <a:gd name="connsiteY358" fmla="*/ 274733 h 370130"/>
                  <a:gd name="connsiteX359" fmla="*/ 146712 w 192824"/>
                  <a:gd name="connsiteY359" fmla="*/ 274733 h 370130"/>
                  <a:gd name="connsiteX360" fmla="*/ 143803 w 192824"/>
                  <a:gd name="connsiteY360" fmla="*/ 276231 h 370130"/>
                  <a:gd name="connsiteX361" fmla="*/ 141157 w 192824"/>
                  <a:gd name="connsiteY361" fmla="*/ 280023 h 370130"/>
                  <a:gd name="connsiteX362" fmla="*/ 140364 w 192824"/>
                  <a:gd name="connsiteY362" fmla="*/ 280023 h 370130"/>
                  <a:gd name="connsiteX363" fmla="*/ 139747 w 192824"/>
                  <a:gd name="connsiteY363" fmla="*/ 281169 h 370130"/>
                  <a:gd name="connsiteX364" fmla="*/ 138248 w 192824"/>
                  <a:gd name="connsiteY364" fmla="*/ 281786 h 370130"/>
                  <a:gd name="connsiteX365" fmla="*/ 135691 w 192824"/>
                  <a:gd name="connsiteY365" fmla="*/ 281786 h 370130"/>
                  <a:gd name="connsiteX366" fmla="*/ 133575 w 192824"/>
                  <a:gd name="connsiteY366" fmla="*/ 284078 h 370130"/>
                  <a:gd name="connsiteX367" fmla="*/ 129519 w 192824"/>
                  <a:gd name="connsiteY367" fmla="*/ 284078 h 370130"/>
                  <a:gd name="connsiteX368" fmla="*/ 127491 w 192824"/>
                  <a:gd name="connsiteY368" fmla="*/ 284078 h 370130"/>
                  <a:gd name="connsiteX369" fmla="*/ 129872 w 192824"/>
                  <a:gd name="connsiteY369" fmla="*/ 287252 h 370130"/>
                  <a:gd name="connsiteX370" fmla="*/ 127844 w 192824"/>
                  <a:gd name="connsiteY370" fmla="*/ 287252 h 370130"/>
                  <a:gd name="connsiteX371" fmla="*/ 128637 w 192824"/>
                  <a:gd name="connsiteY371" fmla="*/ 288487 h 370130"/>
                  <a:gd name="connsiteX372" fmla="*/ 128108 w 192824"/>
                  <a:gd name="connsiteY372" fmla="*/ 289633 h 370130"/>
                  <a:gd name="connsiteX373" fmla="*/ 130401 w 192824"/>
                  <a:gd name="connsiteY373" fmla="*/ 291396 h 370130"/>
                  <a:gd name="connsiteX374" fmla="*/ 130401 w 192824"/>
                  <a:gd name="connsiteY374" fmla="*/ 292278 h 370130"/>
                  <a:gd name="connsiteX375" fmla="*/ 127844 w 192824"/>
                  <a:gd name="connsiteY375" fmla="*/ 291396 h 370130"/>
                  <a:gd name="connsiteX376" fmla="*/ 126610 w 192824"/>
                  <a:gd name="connsiteY376" fmla="*/ 291396 h 370130"/>
                  <a:gd name="connsiteX377" fmla="*/ 125463 w 192824"/>
                  <a:gd name="connsiteY377" fmla="*/ 290162 h 370130"/>
                  <a:gd name="connsiteX378" fmla="*/ 122554 w 192824"/>
                  <a:gd name="connsiteY378" fmla="*/ 290162 h 370130"/>
                  <a:gd name="connsiteX379" fmla="*/ 119909 w 192824"/>
                  <a:gd name="connsiteY379" fmla="*/ 289633 h 370130"/>
                  <a:gd name="connsiteX380" fmla="*/ 119380 w 192824"/>
                  <a:gd name="connsiteY380" fmla="*/ 289633 h 370130"/>
                  <a:gd name="connsiteX381" fmla="*/ 119644 w 192824"/>
                  <a:gd name="connsiteY381" fmla="*/ 291044 h 370130"/>
                  <a:gd name="connsiteX382" fmla="*/ 118763 w 192824"/>
                  <a:gd name="connsiteY382" fmla="*/ 292807 h 370130"/>
                  <a:gd name="connsiteX383" fmla="*/ 116382 w 192824"/>
                  <a:gd name="connsiteY383" fmla="*/ 292278 h 370130"/>
                  <a:gd name="connsiteX384" fmla="*/ 115236 w 192824"/>
                  <a:gd name="connsiteY384" fmla="*/ 291044 h 370130"/>
                  <a:gd name="connsiteX385" fmla="*/ 115500 w 192824"/>
                  <a:gd name="connsiteY385" fmla="*/ 293160 h 370130"/>
                  <a:gd name="connsiteX386" fmla="*/ 115500 w 192824"/>
                  <a:gd name="connsiteY386" fmla="*/ 294570 h 370130"/>
                  <a:gd name="connsiteX387" fmla="*/ 116735 w 192824"/>
                  <a:gd name="connsiteY387" fmla="*/ 295188 h 370130"/>
                  <a:gd name="connsiteX388" fmla="*/ 116999 w 192824"/>
                  <a:gd name="connsiteY388" fmla="*/ 297480 h 370130"/>
                  <a:gd name="connsiteX389" fmla="*/ 117264 w 192824"/>
                  <a:gd name="connsiteY389" fmla="*/ 301007 h 370130"/>
                  <a:gd name="connsiteX390" fmla="*/ 117881 w 192824"/>
                  <a:gd name="connsiteY390" fmla="*/ 301271 h 370130"/>
                  <a:gd name="connsiteX391" fmla="*/ 118145 w 192824"/>
                  <a:gd name="connsiteY391" fmla="*/ 302770 h 370130"/>
                  <a:gd name="connsiteX392" fmla="*/ 119644 w 192824"/>
                  <a:gd name="connsiteY392" fmla="*/ 303035 h 370130"/>
                  <a:gd name="connsiteX393" fmla="*/ 120790 w 192824"/>
                  <a:gd name="connsiteY393" fmla="*/ 303916 h 370130"/>
                  <a:gd name="connsiteX394" fmla="*/ 122290 w 192824"/>
                  <a:gd name="connsiteY394" fmla="*/ 305680 h 370130"/>
                  <a:gd name="connsiteX395" fmla="*/ 123083 w 192824"/>
                  <a:gd name="connsiteY395" fmla="*/ 306826 h 370130"/>
                  <a:gd name="connsiteX396" fmla="*/ 123965 w 192824"/>
                  <a:gd name="connsiteY396" fmla="*/ 306826 h 370130"/>
                  <a:gd name="connsiteX397" fmla="*/ 125199 w 192824"/>
                  <a:gd name="connsiteY397" fmla="*/ 306561 h 370130"/>
                  <a:gd name="connsiteX398" fmla="*/ 124846 w 192824"/>
                  <a:gd name="connsiteY398" fmla="*/ 307972 h 370130"/>
                  <a:gd name="connsiteX399" fmla="*/ 126081 w 192824"/>
                  <a:gd name="connsiteY399" fmla="*/ 309471 h 370130"/>
                  <a:gd name="connsiteX400" fmla="*/ 124317 w 192824"/>
                  <a:gd name="connsiteY400" fmla="*/ 309471 h 370130"/>
                  <a:gd name="connsiteX401" fmla="*/ 124317 w 192824"/>
                  <a:gd name="connsiteY401" fmla="*/ 310353 h 370130"/>
                  <a:gd name="connsiteX402" fmla="*/ 126081 w 192824"/>
                  <a:gd name="connsiteY402" fmla="*/ 314144 h 370130"/>
                  <a:gd name="connsiteX403" fmla="*/ 123700 w 192824"/>
                  <a:gd name="connsiteY403" fmla="*/ 313879 h 370130"/>
                  <a:gd name="connsiteX404" fmla="*/ 121319 w 192824"/>
                  <a:gd name="connsiteY404" fmla="*/ 312381 h 370130"/>
                  <a:gd name="connsiteX405" fmla="*/ 120261 w 192824"/>
                  <a:gd name="connsiteY405" fmla="*/ 311234 h 370130"/>
                  <a:gd name="connsiteX406" fmla="*/ 119644 w 192824"/>
                  <a:gd name="connsiteY406" fmla="*/ 312998 h 370130"/>
                  <a:gd name="connsiteX407" fmla="*/ 118145 w 192824"/>
                  <a:gd name="connsiteY407" fmla="*/ 312381 h 370130"/>
                  <a:gd name="connsiteX408" fmla="*/ 118410 w 192824"/>
                  <a:gd name="connsiteY408" fmla="*/ 310088 h 370130"/>
                  <a:gd name="connsiteX409" fmla="*/ 116118 w 192824"/>
                  <a:gd name="connsiteY409" fmla="*/ 308589 h 370130"/>
                  <a:gd name="connsiteX410" fmla="*/ 111444 w 192824"/>
                  <a:gd name="connsiteY410" fmla="*/ 310088 h 370130"/>
                  <a:gd name="connsiteX411" fmla="*/ 109417 w 192824"/>
                  <a:gd name="connsiteY411" fmla="*/ 310088 h 370130"/>
                  <a:gd name="connsiteX412" fmla="*/ 108535 w 192824"/>
                  <a:gd name="connsiteY412" fmla="*/ 309471 h 370130"/>
                  <a:gd name="connsiteX413" fmla="*/ 107653 w 192824"/>
                  <a:gd name="connsiteY413" fmla="*/ 311234 h 370130"/>
                  <a:gd name="connsiteX414" fmla="*/ 107036 w 192824"/>
                  <a:gd name="connsiteY414" fmla="*/ 312381 h 370130"/>
                  <a:gd name="connsiteX415" fmla="*/ 105273 w 192824"/>
                  <a:gd name="connsiteY415" fmla="*/ 312116 h 370130"/>
                  <a:gd name="connsiteX416" fmla="*/ 101217 w 192824"/>
                  <a:gd name="connsiteY416" fmla="*/ 310353 h 370130"/>
                  <a:gd name="connsiteX417" fmla="*/ 100071 w 192824"/>
                  <a:gd name="connsiteY417" fmla="*/ 312381 h 370130"/>
                  <a:gd name="connsiteX418" fmla="*/ 102716 w 192824"/>
                  <a:gd name="connsiteY418" fmla="*/ 314408 h 370130"/>
                  <a:gd name="connsiteX419" fmla="*/ 101834 w 192824"/>
                  <a:gd name="connsiteY419" fmla="*/ 315555 h 370130"/>
                  <a:gd name="connsiteX420" fmla="*/ 98925 w 192824"/>
                  <a:gd name="connsiteY420" fmla="*/ 317935 h 370130"/>
                  <a:gd name="connsiteX421" fmla="*/ 97161 w 192824"/>
                  <a:gd name="connsiteY421" fmla="*/ 320227 h 370130"/>
                  <a:gd name="connsiteX422" fmla="*/ 92753 w 192824"/>
                  <a:gd name="connsiteY422" fmla="*/ 320227 h 370130"/>
                  <a:gd name="connsiteX423" fmla="*/ 91078 w 192824"/>
                  <a:gd name="connsiteY423" fmla="*/ 320227 h 370130"/>
                  <a:gd name="connsiteX424" fmla="*/ 88962 w 192824"/>
                  <a:gd name="connsiteY424" fmla="*/ 322873 h 370130"/>
                  <a:gd name="connsiteX425" fmla="*/ 86405 w 192824"/>
                  <a:gd name="connsiteY425" fmla="*/ 322255 h 370130"/>
                  <a:gd name="connsiteX426" fmla="*/ 88080 w 192824"/>
                  <a:gd name="connsiteY426" fmla="*/ 324019 h 370130"/>
                  <a:gd name="connsiteX427" fmla="*/ 88080 w 192824"/>
                  <a:gd name="connsiteY427" fmla="*/ 324371 h 370130"/>
                  <a:gd name="connsiteX428" fmla="*/ 89844 w 192824"/>
                  <a:gd name="connsiteY428" fmla="*/ 323754 h 370130"/>
                  <a:gd name="connsiteX429" fmla="*/ 90196 w 192824"/>
                  <a:gd name="connsiteY429" fmla="*/ 324371 h 370130"/>
                  <a:gd name="connsiteX430" fmla="*/ 89844 w 192824"/>
                  <a:gd name="connsiteY430" fmla="*/ 324900 h 370130"/>
                  <a:gd name="connsiteX431" fmla="*/ 89844 w 192824"/>
                  <a:gd name="connsiteY431" fmla="*/ 326664 h 370130"/>
                  <a:gd name="connsiteX432" fmla="*/ 90725 w 192824"/>
                  <a:gd name="connsiteY432" fmla="*/ 326664 h 370130"/>
                  <a:gd name="connsiteX433" fmla="*/ 91960 w 192824"/>
                  <a:gd name="connsiteY433" fmla="*/ 327545 h 370130"/>
                  <a:gd name="connsiteX434" fmla="*/ 91960 w 192824"/>
                  <a:gd name="connsiteY434" fmla="*/ 329573 h 370130"/>
                  <a:gd name="connsiteX435" fmla="*/ 92753 w 192824"/>
                  <a:gd name="connsiteY435" fmla="*/ 329573 h 370130"/>
                  <a:gd name="connsiteX436" fmla="*/ 93370 w 192824"/>
                  <a:gd name="connsiteY436" fmla="*/ 328692 h 370130"/>
                  <a:gd name="connsiteX437" fmla="*/ 94516 w 192824"/>
                  <a:gd name="connsiteY437" fmla="*/ 327810 h 370130"/>
                  <a:gd name="connsiteX438" fmla="*/ 96544 w 192824"/>
                  <a:gd name="connsiteY438" fmla="*/ 328692 h 370130"/>
                  <a:gd name="connsiteX439" fmla="*/ 96544 w 192824"/>
                  <a:gd name="connsiteY439" fmla="*/ 329838 h 370130"/>
                  <a:gd name="connsiteX440" fmla="*/ 98307 w 192824"/>
                  <a:gd name="connsiteY440" fmla="*/ 331601 h 370130"/>
                  <a:gd name="connsiteX441" fmla="*/ 100688 w 192824"/>
                  <a:gd name="connsiteY441" fmla="*/ 331601 h 370130"/>
                  <a:gd name="connsiteX442" fmla="*/ 101217 w 192824"/>
                  <a:gd name="connsiteY442" fmla="*/ 333100 h 370130"/>
                  <a:gd name="connsiteX443" fmla="*/ 102452 w 192824"/>
                  <a:gd name="connsiteY443" fmla="*/ 333365 h 370130"/>
                  <a:gd name="connsiteX444" fmla="*/ 103245 w 192824"/>
                  <a:gd name="connsiteY444" fmla="*/ 334863 h 370130"/>
                  <a:gd name="connsiteX445" fmla="*/ 103245 w 192824"/>
                  <a:gd name="connsiteY445" fmla="*/ 336010 h 370130"/>
                  <a:gd name="connsiteX446" fmla="*/ 103598 w 192824"/>
                  <a:gd name="connsiteY446" fmla="*/ 336274 h 370130"/>
                  <a:gd name="connsiteX447" fmla="*/ 103245 w 192824"/>
                  <a:gd name="connsiteY447" fmla="*/ 337156 h 370130"/>
                  <a:gd name="connsiteX448" fmla="*/ 102716 w 192824"/>
                  <a:gd name="connsiteY448" fmla="*/ 335128 h 370130"/>
                  <a:gd name="connsiteX449" fmla="*/ 101570 w 192824"/>
                  <a:gd name="connsiteY449" fmla="*/ 336010 h 370130"/>
                  <a:gd name="connsiteX450" fmla="*/ 100335 w 192824"/>
                  <a:gd name="connsiteY450" fmla="*/ 337773 h 370130"/>
                  <a:gd name="connsiteX451" fmla="*/ 98925 w 192824"/>
                  <a:gd name="connsiteY451" fmla="*/ 338655 h 370130"/>
                  <a:gd name="connsiteX452" fmla="*/ 99189 w 192824"/>
                  <a:gd name="connsiteY452" fmla="*/ 340065 h 370130"/>
                  <a:gd name="connsiteX453" fmla="*/ 98925 w 192824"/>
                  <a:gd name="connsiteY453" fmla="*/ 341564 h 370130"/>
                  <a:gd name="connsiteX454" fmla="*/ 97778 w 192824"/>
                  <a:gd name="connsiteY454" fmla="*/ 343328 h 370130"/>
                  <a:gd name="connsiteX455" fmla="*/ 97778 w 192824"/>
                  <a:gd name="connsiteY455" fmla="*/ 344738 h 370130"/>
                  <a:gd name="connsiteX456" fmla="*/ 98043 w 192824"/>
                  <a:gd name="connsiteY456" fmla="*/ 345620 h 370130"/>
                  <a:gd name="connsiteX457" fmla="*/ 96897 w 192824"/>
                  <a:gd name="connsiteY457" fmla="*/ 346237 h 370130"/>
                  <a:gd name="connsiteX458" fmla="*/ 96280 w 192824"/>
                  <a:gd name="connsiteY458" fmla="*/ 346766 h 370130"/>
                  <a:gd name="connsiteX459" fmla="*/ 96544 w 192824"/>
                  <a:gd name="connsiteY459" fmla="*/ 348794 h 370130"/>
                  <a:gd name="connsiteX460" fmla="*/ 96897 w 192824"/>
                  <a:gd name="connsiteY460" fmla="*/ 350557 h 370130"/>
                  <a:gd name="connsiteX461" fmla="*/ 98043 w 192824"/>
                  <a:gd name="connsiteY461" fmla="*/ 350557 h 370130"/>
                  <a:gd name="connsiteX462" fmla="*/ 98925 w 192824"/>
                  <a:gd name="connsiteY462" fmla="*/ 352585 h 370130"/>
                  <a:gd name="connsiteX463" fmla="*/ 98925 w 192824"/>
                  <a:gd name="connsiteY463" fmla="*/ 354084 h 370130"/>
                  <a:gd name="connsiteX464" fmla="*/ 97161 w 192824"/>
                  <a:gd name="connsiteY464" fmla="*/ 354966 h 370130"/>
                  <a:gd name="connsiteX465" fmla="*/ 98307 w 192824"/>
                  <a:gd name="connsiteY465" fmla="*/ 354966 h 370130"/>
                  <a:gd name="connsiteX466" fmla="*/ 98572 w 192824"/>
                  <a:gd name="connsiteY466" fmla="*/ 357258 h 370130"/>
                  <a:gd name="connsiteX467" fmla="*/ 98572 w 192824"/>
                  <a:gd name="connsiteY467" fmla="*/ 357611 h 370130"/>
                  <a:gd name="connsiteX468" fmla="*/ 98307 w 192824"/>
                  <a:gd name="connsiteY468" fmla="*/ 357875 h 370130"/>
                  <a:gd name="connsiteX469" fmla="*/ 98572 w 192824"/>
                  <a:gd name="connsiteY469" fmla="*/ 358757 h 370130"/>
                  <a:gd name="connsiteX470" fmla="*/ 98572 w 192824"/>
                  <a:gd name="connsiteY470" fmla="*/ 359903 h 370130"/>
                  <a:gd name="connsiteX471" fmla="*/ 99189 w 192824"/>
                  <a:gd name="connsiteY471" fmla="*/ 360168 h 370130"/>
                  <a:gd name="connsiteX472" fmla="*/ 98925 w 192824"/>
                  <a:gd name="connsiteY472" fmla="*/ 361402 h 370130"/>
                  <a:gd name="connsiteX473" fmla="*/ 98043 w 192824"/>
                  <a:gd name="connsiteY473" fmla="*/ 362548 h 370130"/>
                  <a:gd name="connsiteX474" fmla="*/ 99189 w 192824"/>
                  <a:gd name="connsiteY474" fmla="*/ 364312 h 370130"/>
                  <a:gd name="connsiteX475" fmla="*/ 99454 w 192824"/>
                  <a:gd name="connsiteY475" fmla="*/ 363694 h 370130"/>
                  <a:gd name="connsiteX476" fmla="*/ 101570 w 192824"/>
                  <a:gd name="connsiteY476" fmla="*/ 363077 h 370130"/>
                  <a:gd name="connsiteX477" fmla="*/ 101570 w 192824"/>
                  <a:gd name="connsiteY477" fmla="*/ 363430 h 370130"/>
                  <a:gd name="connsiteX478" fmla="*/ 101834 w 192824"/>
                  <a:gd name="connsiteY478" fmla="*/ 364576 h 370130"/>
                  <a:gd name="connsiteX479" fmla="*/ 101570 w 192824"/>
                  <a:gd name="connsiteY479" fmla="*/ 364841 h 370130"/>
                  <a:gd name="connsiteX480" fmla="*/ 100688 w 192824"/>
                  <a:gd name="connsiteY480" fmla="*/ 364841 h 370130"/>
                  <a:gd name="connsiteX481" fmla="*/ 99806 w 192824"/>
                  <a:gd name="connsiteY481" fmla="*/ 365193 h 370130"/>
                  <a:gd name="connsiteX482" fmla="*/ 100071 w 192824"/>
                  <a:gd name="connsiteY482" fmla="*/ 365722 h 370130"/>
                  <a:gd name="connsiteX483" fmla="*/ 101217 w 192824"/>
                  <a:gd name="connsiteY483" fmla="*/ 365458 h 370130"/>
                  <a:gd name="connsiteX484" fmla="*/ 102452 w 192824"/>
                  <a:gd name="connsiteY484" fmla="*/ 365193 h 370130"/>
                  <a:gd name="connsiteX485" fmla="*/ 100952 w 192824"/>
                  <a:gd name="connsiteY485" fmla="*/ 366075 h 370130"/>
                  <a:gd name="connsiteX486" fmla="*/ 99189 w 192824"/>
                  <a:gd name="connsiteY486" fmla="*/ 365193 h 370130"/>
                  <a:gd name="connsiteX487" fmla="*/ 98043 w 192824"/>
                  <a:gd name="connsiteY487" fmla="*/ 366075 h 370130"/>
                  <a:gd name="connsiteX488" fmla="*/ 98925 w 192824"/>
                  <a:gd name="connsiteY488" fmla="*/ 366869 h 370130"/>
                  <a:gd name="connsiteX489" fmla="*/ 99189 w 192824"/>
                  <a:gd name="connsiteY489" fmla="*/ 367486 h 370130"/>
                  <a:gd name="connsiteX490" fmla="*/ 98572 w 192824"/>
                  <a:gd name="connsiteY490" fmla="*/ 368367 h 370130"/>
                  <a:gd name="connsiteX491" fmla="*/ 97778 w 192824"/>
                  <a:gd name="connsiteY491" fmla="*/ 368632 h 370130"/>
                  <a:gd name="connsiteX492" fmla="*/ 97778 w 192824"/>
                  <a:gd name="connsiteY492" fmla="*/ 368985 h 370130"/>
                  <a:gd name="connsiteX493" fmla="*/ 100071 w 192824"/>
                  <a:gd name="connsiteY493" fmla="*/ 369866 h 370130"/>
                  <a:gd name="connsiteX494" fmla="*/ 100952 w 192824"/>
                  <a:gd name="connsiteY494" fmla="*/ 370131 h 370130"/>
                  <a:gd name="connsiteX495" fmla="*/ 102099 w 192824"/>
                  <a:gd name="connsiteY495" fmla="*/ 368632 h 370130"/>
                  <a:gd name="connsiteX496" fmla="*/ 103245 w 192824"/>
                  <a:gd name="connsiteY496" fmla="*/ 369249 h 370130"/>
                  <a:gd name="connsiteX497" fmla="*/ 103598 w 192824"/>
                  <a:gd name="connsiteY497" fmla="*/ 368632 h 370130"/>
                  <a:gd name="connsiteX498" fmla="*/ 104127 w 192824"/>
                  <a:gd name="connsiteY498" fmla="*/ 367221 h 370130"/>
                  <a:gd name="connsiteX499" fmla="*/ 105626 w 192824"/>
                  <a:gd name="connsiteY499" fmla="*/ 367838 h 370130"/>
                  <a:gd name="connsiteX500" fmla="*/ 106507 w 192824"/>
                  <a:gd name="connsiteY500" fmla="*/ 367221 h 370130"/>
                  <a:gd name="connsiteX501" fmla="*/ 108006 w 192824"/>
                  <a:gd name="connsiteY501" fmla="*/ 366340 h 370130"/>
                  <a:gd name="connsiteX502" fmla="*/ 107389 w 192824"/>
                  <a:gd name="connsiteY502" fmla="*/ 366340 h 370130"/>
                  <a:gd name="connsiteX503" fmla="*/ 106243 w 192824"/>
                  <a:gd name="connsiteY503" fmla="*/ 364576 h 370130"/>
                  <a:gd name="connsiteX504" fmla="*/ 108006 w 192824"/>
                  <a:gd name="connsiteY504" fmla="*/ 364841 h 370130"/>
                  <a:gd name="connsiteX505" fmla="*/ 109152 w 192824"/>
                  <a:gd name="connsiteY505" fmla="*/ 362813 h 370130"/>
                  <a:gd name="connsiteX506" fmla="*/ 109417 w 192824"/>
                  <a:gd name="connsiteY506" fmla="*/ 363694 h 370130"/>
                  <a:gd name="connsiteX507" fmla="*/ 110298 w 192824"/>
                  <a:gd name="connsiteY507" fmla="*/ 364312 h 370130"/>
                  <a:gd name="connsiteX508" fmla="*/ 110915 w 192824"/>
                  <a:gd name="connsiteY508" fmla="*/ 362284 h 370130"/>
                  <a:gd name="connsiteX509" fmla="*/ 111180 w 192824"/>
                  <a:gd name="connsiteY509" fmla="*/ 361667 h 370130"/>
                  <a:gd name="connsiteX510" fmla="*/ 112591 w 192824"/>
                  <a:gd name="connsiteY510" fmla="*/ 360521 h 370130"/>
                  <a:gd name="connsiteX511" fmla="*/ 111444 w 192824"/>
                  <a:gd name="connsiteY511" fmla="*/ 359903 h 370130"/>
                  <a:gd name="connsiteX512" fmla="*/ 111444 w 192824"/>
                  <a:gd name="connsiteY512" fmla="*/ 359022 h 370130"/>
                  <a:gd name="connsiteX513" fmla="*/ 112062 w 192824"/>
                  <a:gd name="connsiteY513" fmla="*/ 358757 h 370130"/>
                  <a:gd name="connsiteX514" fmla="*/ 112326 w 192824"/>
                  <a:gd name="connsiteY514" fmla="*/ 357611 h 370130"/>
                  <a:gd name="connsiteX515" fmla="*/ 112944 w 192824"/>
                  <a:gd name="connsiteY515" fmla="*/ 357611 h 370130"/>
                  <a:gd name="connsiteX516" fmla="*/ 114354 w 192824"/>
                  <a:gd name="connsiteY516" fmla="*/ 355848 h 370130"/>
                  <a:gd name="connsiteX517" fmla="*/ 115500 w 192824"/>
                  <a:gd name="connsiteY517" fmla="*/ 355230 h 370130"/>
                  <a:gd name="connsiteX518" fmla="*/ 116382 w 192824"/>
                  <a:gd name="connsiteY518" fmla="*/ 353202 h 370130"/>
                  <a:gd name="connsiteX519" fmla="*/ 118145 w 192824"/>
                  <a:gd name="connsiteY519" fmla="*/ 353202 h 370130"/>
                  <a:gd name="connsiteX520" fmla="*/ 118763 w 192824"/>
                  <a:gd name="connsiteY520" fmla="*/ 351792 h 370130"/>
                  <a:gd name="connsiteX521" fmla="*/ 119380 w 192824"/>
                  <a:gd name="connsiteY521" fmla="*/ 351792 h 370130"/>
                  <a:gd name="connsiteX522" fmla="*/ 120790 w 192824"/>
                  <a:gd name="connsiteY522" fmla="*/ 351792 h 370130"/>
                  <a:gd name="connsiteX523" fmla="*/ 121672 w 192824"/>
                  <a:gd name="connsiteY523" fmla="*/ 351439 h 370130"/>
                  <a:gd name="connsiteX524" fmla="*/ 123700 w 192824"/>
                  <a:gd name="connsiteY524" fmla="*/ 351439 h 370130"/>
                  <a:gd name="connsiteX525" fmla="*/ 124846 w 192824"/>
                  <a:gd name="connsiteY525" fmla="*/ 350293 h 370130"/>
                  <a:gd name="connsiteX526" fmla="*/ 128108 w 192824"/>
                  <a:gd name="connsiteY526" fmla="*/ 349411 h 370130"/>
                  <a:gd name="connsiteX527" fmla="*/ 127491 w 192824"/>
                  <a:gd name="connsiteY527" fmla="*/ 348794 h 370130"/>
                  <a:gd name="connsiteX528" fmla="*/ 128108 w 192824"/>
                  <a:gd name="connsiteY528" fmla="*/ 348529 h 370130"/>
                  <a:gd name="connsiteX529" fmla="*/ 128637 w 192824"/>
                  <a:gd name="connsiteY529" fmla="*/ 347119 h 370130"/>
                  <a:gd name="connsiteX530" fmla="*/ 128637 w 192824"/>
                  <a:gd name="connsiteY530" fmla="*/ 345003 h 370130"/>
                  <a:gd name="connsiteX531" fmla="*/ 127844 w 192824"/>
                  <a:gd name="connsiteY531" fmla="*/ 344738 h 370130"/>
                  <a:gd name="connsiteX532" fmla="*/ 125728 w 192824"/>
                  <a:gd name="connsiteY532" fmla="*/ 342093 h 370130"/>
                  <a:gd name="connsiteX533" fmla="*/ 124317 w 192824"/>
                  <a:gd name="connsiteY533" fmla="*/ 339536 h 370130"/>
                  <a:gd name="connsiteX534" fmla="*/ 119380 w 192824"/>
                  <a:gd name="connsiteY534" fmla="*/ 336274 h 370130"/>
                  <a:gd name="connsiteX535" fmla="*/ 118763 w 192824"/>
                  <a:gd name="connsiteY535" fmla="*/ 333365 h 370130"/>
                  <a:gd name="connsiteX536" fmla="*/ 120790 w 192824"/>
                  <a:gd name="connsiteY536" fmla="*/ 334863 h 370130"/>
                  <a:gd name="connsiteX537" fmla="*/ 122554 w 192824"/>
                  <a:gd name="connsiteY537" fmla="*/ 336010 h 370130"/>
                  <a:gd name="connsiteX538" fmla="*/ 124581 w 192824"/>
                  <a:gd name="connsiteY538" fmla="*/ 337156 h 370130"/>
                  <a:gd name="connsiteX539" fmla="*/ 125728 w 192824"/>
                  <a:gd name="connsiteY539" fmla="*/ 338919 h 370130"/>
                  <a:gd name="connsiteX540" fmla="*/ 127227 w 192824"/>
                  <a:gd name="connsiteY540" fmla="*/ 340418 h 370130"/>
                  <a:gd name="connsiteX541" fmla="*/ 129255 w 192824"/>
                  <a:gd name="connsiteY541" fmla="*/ 342446 h 370130"/>
                  <a:gd name="connsiteX542" fmla="*/ 131547 w 192824"/>
                  <a:gd name="connsiteY542" fmla="*/ 343857 h 370130"/>
                  <a:gd name="connsiteX543" fmla="*/ 132429 w 192824"/>
                  <a:gd name="connsiteY543" fmla="*/ 345003 h 370130"/>
                  <a:gd name="connsiteX544" fmla="*/ 134809 w 192824"/>
                  <a:gd name="connsiteY544" fmla="*/ 344738 h 370130"/>
                  <a:gd name="connsiteX545" fmla="*/ 135691 w 192824"/>
                  <a:gd name="connsiteY545" fmla="*/ 343857 h 370130"/>
                  <a:gd name="connsiteX546" fmla="*/ 136220 w 192824"/>
                  <a:gd name="connsiteY546" fmla="*/ 342093 h 370130"/>
                  <a:gd name="connsiteX547" fmla="*/ 135338 w 192824"/>
                  <a:gd name="connsiteY547" fmla="*/ 340418 h 370130"/>
                  <a:gd name="connsiteX548" fmla="*/ 134544 w 192824"/>
                  <a:gd name="connsiteY548" fmla="*/ 339536 h 370130"/>
                  <a:gd name="connsiteX549" fmla="*/ 134192 w 192824"/>
                  <a:gd name="connsiteY549" fmla="*/ 338655 h 370130"/>
                  <a:gd name="connsiteX550" fmla="*/ 134192 w 192824"/>
                  <a:gd name="connsiteY550" fmla="*/ 337156 h 370130"/>
                  <a:gd name="connsiteX551" fmla="*/ 131900 w 192824"/>
                  <a:gd name="connsiteY551" fmla="*/ 335392 h 370130"/>
                  <a:gd name="connsiteX552" fmla="*/ 130136 w 192824"/>
                  <a:gd name="connsiteY552" fmla="*/ 333365 h 370130"/>
                  <a:gd name="connsiteX553" fmla="*/ 128637 w 192824"/>
                  <a:gd name="connsiteY553" fmla="*/ 332219 h 370130"/>
                  <a:gd name="connsiteX554" fmla="*/ 126610 w 192824"/>
                  <a:gd name="connsiteY554" fmla="*/ 331072 h 370130"/>
                  <a:gd name="connsiteX555" fmla="*/ 126610 w 192824"/>
                  <a:gd name="connsiteY555" fmla="*/ 329573 h 370130"/>
                  <a:gd name="connsiteX556" fmla="*/ 126081 w 192824"/>
                  <a:gd name="connsiteY556" fmla="*/ 329309 h 370130"/>
                  <a:gd name="connsiteX557" fmla="*/ 124846 w 192824"/>
                  <a:gd name="connsiteY557" fmla="*/ 327810 h 370130"/>
                  <a:gd name="connsiteX558" fmla="*/ 127227 w 192824"/>
                  <a:gd name="connsiteY558" fmla="*/ 329573 h 370130"/>
                  <a:gd name="connsiteX559" fmla="*/ 128637 w 192824"/>
                  <a:gd name="connsiteY559" fmla="*/ 330455 h 370130"/>
                  <a:gd name="connsiteX560" fmla="*/ 131547 w 192824"/>
                  <a:gd name="connsiteY560" fmla="*/ 333982 h 370130"/>
                  <a:gd name="connsiteX561" fmla="*/ 134192 w 192824"/>
                  <a:gd name="connsiteY561" fmla="*/ 336010 h 370130"/>
                  <a:gd name="connsiteX562" fmla="*/ 135955 w 192824"/>
                  <a:gd name="connsiteY562" fmla="*/ 338655 h 370130"/>
                  <a:gd name="connsiteX563" fmla="*/ 137719 w 192824"/>
                  <a:gd name="connsiteY563" fmla="*/ 337773 h 370130"/>
                  <a:gd name="connsiteX564" fmla="*/ 137454 w 192824"/>
                  <a:gd name="connsiteY564" fmla="*/ 336891 h 370130"/>
                  <a:gd name="connsiteX565" fmla="*/ 136837 w 192824"/>
                  <a:gd name="connsiteY565" fmla="*/ 336891 h 370130"/>
                  <a:gd name="connsiteX566" fmla="*/ 137454 w 192824"/>
                  <a:gd name="connsiteY566" fmla="*/ 336010 h 370130"/>
                  <a:gd name="connsiteX567" fmla="*/ 137983 w 192824"/>
                  <a:gd name="connsiteY567" fmla="*/ 336891 h 370130"/>
                  <a:gd name="connsiteX568" fmla="*/ 138248 w 192824"/>
                  <a:gd name="connsiteY568" fmla="*/ 337156 h 370130"/>
                  <a:gd name="connsiteX569" fmla="*/ 137719 w 192824"/>
                  <a:gd name="connsiteY569" fmla="*/ 336010 h 370130"/>
                  <a:gd name="connsiteX570" fmla="*/ 135073 w 192824"/>
                  <a:gd name="connsiteY570" fmla="*/ 334863 h 370130"/>
                  <a:gd name="connsiteX571" fmla="*/ 133928 w 192824"/>
                  <a:gd name="connsiteY571" fmla="*/ 333365 h 370130"/>
                  <a:gd name="connsiteX572" fmla="*/ 131282 w 192824"/>
                  <a:gd name="connsiteY572" fmla="*/ 330455 h 370130"/>
                  <a:gd name="connsiteX573" fmla="*/ 130401 w 192824"/>
                  <a:gd name="connsiteY573" fmla="*/ 328692 h 370130"/>
                  <a:gd name="connsiteX574" fmla="*/ 128637 w 192824"/>
                  <a:gd name="connsiteY574" fmla="*/ 327281 h 370130"/>
                  <a:gd name="connsiteX575" fmla="*/ 129519 w 192824"/>
                  <a:gd name="connsiteY575" fmla="*/ 327545 h 370130"/>
                  <a:gd name="connsiteX576" fmla="*/ 131018 w 192824"/>
                  <a:gd name="connsiteY576" fmla="*/ 328692 h 370130"/>
                  <a:gd name="connsiteX577" fmla="*/ 133928 w 192824"/>
                  <a:gd name="connsiteY577" fmla="*/ 333100 h 370130"/>
                  <a:gd name="connsiteX578" fmla="*/ 135691 w 192824"/>
                  <a:gd name="connsiteY578" fmla="*/ 333982 h 370130"/>
                  <a:gd name="connsiteX579" fmla="*/ 137454 w 192824"/>
                  <a:gd name="connsiteY579" fmla="*/ 334863 h 370130"/>
                  <a:gd name="connsiteX580" fmla="*/ 137454 w 192824"/>
                  <a:gd name="connsiteY580" fmla="*/ 333365 h 370130"/>
                  <a:gd name="connsiteX581" fmla="*/ 137454 w 192824"/>
                  <a:gd name="connsiteY581" fmla="*/ 333100 h 370130"/>
                  <a:gd name="connsiteX582" fmla="*/ 137983 w 192824"/>
                  <a:gd name="connsiteY582" fmla="*/ 331601 h 370130"/>
                  <a:gd name="connsiteX583" fmla="*/ 137983 w 192824"/>
                  <a:gd name="connsiteY583" fmla="*/ 333100 h 370130"/>
                  <a:gd name="connsiteX584" fmla="*/ 140099 w 192824"/>
                  <a:gd name="connsiteY584" fmla="*/ 331601 h 370130"/>
                  <a:gd name="connsiteX585" fmla="*/ 140099 w 192824"/>
                  <a:gd name="connsiteY585" fmla="*/ 331072 h 370130"/>
                  <a:gd name="connsiteX586" fmla="*/ 140099 w 192824"/>
                  <a:gd name="connsiteY586" fmla="*/ 329573 h 370130"/>
                  <a:gd name="connsiteX587" fmla="*/ 137719 w 192824"/>
                  <a:gd name="connsiteY587" fmla="*/ 328692 h 370130"/>
                  <a:gd name="connsiteX588" fmla="*/ 133311 w 192824"/>
                  <a:gd name="connsiteY588" fmla="*/ 327545 h 370130"/>
                  <a:gd name="connsiteX589" fmla="*/ 131282 w 192824"/>
                  <a:gd name="connsiteY589" fmla="*/ 326047 h 370130"/>
                  <a:gd name="connsiteX590" fmla="*/ 136837 w 192824"/>
                  <a:gd name="connsiteY590" fmla="*/ 326664 h 370130"/>
                  <a:gd name="connsiteX591" fmla="*/ 139747 w 192824"/>
                  <a:gd name="connsiteY591" fmla="*/ 326664 h 370130"/>
                  <a:gd name="connsiteX592" fmla="*/ 139482 w 192824"/>
                  <a:gd name="connsiteY592" fmla="*/ 323754 h 370130"/>
                  <a:gd name="connsiteX593" fmla="*/ 137983 w 192824"/>
                  <a:gd name="connsiteY593" fmla="*/ 321991 h 370130"/>
                  <a:gd name="connsiteX594" fmla="*/ 136573 w 192824"/>
                  <a:gd name="connsiteY594" fmla="*/ 322255 h 370130"/>
                  <a:gd name="connsiteX595" fmla="*/ 136573 w 192824"/>
                  <a:gd name="connsiteY595" fmla="*/ 321991 h 370130"/>
                  <a:gd name="connsiteX596" fmla="*/ 135338 w 192824"/>
                  <a:gd name="connsiteY596" fmla="*/ 322255 h 370130"/>
                  <a:gd name="connsiteX597" fmla="*/ 134809 w 192824"/>
                  <a:gd name="connsiteY597" fmla="*/ 322255 h 370130"/>
                  <a:gd name="connsiteX598" fmla="*/ 134192 w 192824"/>
                  <a:gd name="connsiteY598" fmla="*/ 321462 h 370130"/>
                  <a:gd name="connsiteX599" fmla="*/ 135073 w 192824"/>
                  <a:gd name="connsiteY599" fmla="*/ 320845 h 370130"/>
                  <a:gd name="connsiteX600" fmla="*/ 134809 w 192824"/>
                  <a:gd name="connsiteY600" fmla="*/ 321726 h 370130"/>
                  <a:gd name="connsiteX601" fmla="*/ 135338 w 192824"/>
                  <a:gd name="connsiteY601" fmla="*/ 321726 h 370130"/>
                  <a:gd name="connsiteX602" fmla="*/ 136573 w 192824"/>
                  <a:gd name="connsiteY602" fmla="*/ 321109 h 370130"/>
                  <a:gd name="connsiteX603" fmla="*/ 136220 w 192824"/>
                  <a:gd name="connsiteY603" fmla="*/ 320580 h 370130"/>
                  <a:gd name="connsiteX604" fmla="*/ 136573 w 192824"/>
                  <a:gd name="connsiteY604" fmla="*/ 321109 h 370130"/>
                  <a:gd name="connsiteX605" fmla="*/ 137719 w 192824"/>
                  <a:gd name="connsiteY605" fmla="*/ 320580 h 370130"/>
                  <a:gd name="connsiteX606" fmla="*/ 137719 w 192824"/>
                  <a:gd name="connsiteY606" fmla="*/ 319346 h 370130"/>
                  <a:gd name="connsiteX607" fmla="*/ 138865 w 192824"/>
                  <a:gd name="connsiteY607" fmla="*/ 318817 h 370130"/>
                  <a:gd name="connsiteX608" fmla="*/ 137454 w 192824"/>
                  <a:gd name="connsiteY608" fmla="*/ 316789 h 370130"/>
                  <a:gd name="connsiteX609" fmla="*/ 138865 w 192824"/>
                  <a:gd name="connsiteY609" fmla="*/ 316789 h 370130"/>
                  <a:gd name="connsiteX610" fmla="*/ 139129 w 192824"/>
                  <a:gd name="connsiteY610" fmla="*/ 317935 h 370130"/>
                  <a:gd name="connsiteX611" fmla="*/ 140628 w 192824"/>
                  <a:gd name="connsiteY611" fmla="*/ 317671 h 370130"/>
                  <a:gd name="connsiteX612" fmla="*/ 142039 w 192824"/>
                  <a:gd name="connsiteY612" fmla="*/ 318817 h 370130"/>
                  <a:gd name="connsiteX613" fmla="*/ 142039 w 192824"/>
                  <a:gd name="connsiteY613" fmla="*/ 319346 h 370130"/>
                  <a:gd name="connsiteX614" fmla="*/ 142392 w 192824"/>
                  <a:gd name="connsiteY614" fmla="*/ 320580 h 370130"/>
                  <a:gd name="connsiteX615" fmla="*/ 142656 w 192824"/>
                  <a:gd name="connsiteY615" fmla="*/ 321109 h 370130"/>
                  <a:gd name="connsiteX616" fmla="*/ 142656 w 192824"/>
                  <a:gd name="connsiteY616" fmla="*/ 321991 h 370130"/>
                  <a:gd name="connsiteX617" fmla="*/ 143538 w 192824"/>
                  <a:gd name="connsiteY617" fmla="*/ 321109 h 370130"/>
                  <a:gd name="connsiteX618" fmla="*/ 143803 w 192824"/>
                  <a:gd name="connsiteY618" fmla="*/ 320227 h 370130"/>
                  <a:gd name="connsiteX619" fmla="*/ 143274 w 192824"/>
                  <a:gd name="connsiteY619" fmla="*/ 319699 h 370130"/>
                  <a:gd name="connsiteX620" fmla="*/ 142921 w 192824"/>
                  <a:gd name="connsiteY620" fmla="*/ 318464 h 370130"/>
                  <a:gd name="connsiteX621" fmla="*/ 143538 w 192824"/>
                  <a:gd name="connsiteY621" fmla="*/ 319346 h 370130"/>
                  <a:gd name="connsiteX622" fmla="*/ 143803 w 192824"/>
                  <a:gd name="connsiteY622" fmla="*/ 319699 h 370130"/>
                  <a:gd name="connsiteX623" fmla="*/ 143803 w 192824"/>
                  <a:gd name="connsiteY623" fmla="*/ 319346 h 370130"/>
                  <a:gd name="connsiteX624" fmla="*/ 143538 w 192824"/>
                  <a:gd name="connsiteY624" fmla="*/ 318817 h 370130"/>
                  <a:gd name="connsiteX625" fmla="*/ 142921 w 192824"/>
                  <a:gd name="connsiteY625" fmla="*/ 317935 h 370130"/>
                  <a:gd name="connsiteX626" fmla="*/ 143538 w 192824"/>
                  <a:gd name="connsiteY626" fmla="*/ 317318 h 370130"/>
                  <a:gd name="connsiteX627" fmla="*/ 142921 w 192824"/>
                  <a:gd name="connsiteY627" fmla="*/ 316789 h 370130"/>
                  <a:gd name="connsiteX628" fmla="*/ 142921 w 192824"/>
                  <a:gd name="connsiteY628" fmla="*/ 316172 h 370130"/>
                  <a:gd name="connsiteX629" fmla="*/ 143803 w 192824"/>
                  <a:gd name="connsiteY629" fmla="*/ 316789 h 370130"/>
                  <a:gd name="connsiteX630" fmla="*/ 144419 w 192824"/>
                  <a:gd name="connsiteY630" fmla="*/ 318200 h 370130"/>
                  <a:gd name="connsiteX631" fmla="*/ 143803 w 192824"/>
                  <a:gd name="connsiteY631" fmla="*/ 317935 h 370130"/>
                  <a:gd name="connsiteX632" fmla="*/ 143803 w 192824"/>
                  <a:gd name="connsiteY632" fmla="*/ 318464 h 370130"/>
                  <a:gd name="connsiteX633" fmla="*/ 144684 w 192824"/>
                  <a:gd name="connsiteY633" fmla="*/ 319346 h 370130"/>
                  <a:gd name="connsiteX634" fmla="*/ 144155 w 192824"/>
                  <a:gd name="connsiteY634" fmla="*/ 319963 h 370130"/>
                  <a:gd name="connsiteX635" fmla="*/ 144155 w 192824"/>
                  <a:gd name="connsiteY635" fmla="*/ 321109 h 370130"/>
                  <a:gd name="connsiteX636" fmla="*/ 143538 w 192824"/>
                  <a:gd name="connsiteY636" fmla="*/ 321109 h 370130"/>
                  <a:gd name="connsiteX637" fmla="*/ 144155 w 192824"/>
                  <a:gd name="connsiteY637" fmla="*/ 321109 h 370130"/>
                  <a:gd name="connsiteX638" fmla="*/ 144155 w 192824"/>
                  <a:gd name="connsiteY638" fmla="*/ 321991 h 370130"/>
                  <a:gd name="connsiteX639" fmla="*/ 144684 w 192824"/>
                  <a:gd name="connsiteY639" fmla="*/ 321109 h 370130"/>
                  <a:gd name="connsiteX640" fmla="*/ 146448 w 192824"/>
                  <a:gd name="connsiteY640" fmla="*/ 321109 h 370130"/>
                  <a:gd name="connsiteX641" fmla="*/ 147329 w 192824"/>
                  <a:gd name="connsiteY641" fmla="*/ 321991 h 370130"/>
                  <a:gd name="connsiteX642" fmla="*/ 147946 w 192824"/>
                  <a:gd name="connsiteY642" fmla="*/ 321109 h 370130"/>
                  <a:gd name="connsiteX643" fmla="*/ 148828 w 192824"/>
                  <a:gd name="connsiteY643" fmla="*/ 323137 h 370130"/>
                  <a:gd name="connsiteX644" fmla="*/ 148828 w 192824"/>
                  <a:gd name="connsiteY644" fmla="*/ 323754 h 370130"/>
                  <a:gd name="connsiteX645" fmla="*/ 149092 w 192824"/>
                  <a:gd name="connsiteY645" fmla="*/ 323137 h 370130"/>
                  <a:gd name="connsiteX646" fmla="*/ 149974 w 192824"/>
                  <a:gd name="connsiteY646" fmla="*/ 323754 h 370130"/>
                  <a:gd name="connsiteX647" fmla="*/ 151120 w 192824"/>
                  <a:gd name="connsiteY647" fmla="*/ 322255 h 370130"/>
                  <a:gd name="connsiteX648" fmla="*/ 152266 w 192824"/>
                  <a:gd name="connsiteY648" fmla="*/ 321991 h 370130"/>
                  <a:gd name="connsiteX649" fmla="*/ 154295 w 192824"/>
                  <a:gd name="connsiteY649" fmla="*/ 321991 h 370130"/>
                  <a:gd name="connsiteX650" fmla="*/ 154647 w 192824"/>
                  <a:gd name="connsiteY650" fmla="*/ 321109 h 370130"/>
                  <a:gd name="connsiteX651" fmla="*/ 156675 w 192824"/>
                  <a:gd name="connsiteY651" fmla="*/ 319346 h 370130"/>
                  <a:gd name="connsiteX652" fmla="*/ 160202 w 192824"/>
                  <a:gd name="connsiteY652" fmla="*/ 317935 h 370130"/>
                  <a:gd name="connsiteX653" fmla="*/ 161965 w 192824"/>
                  <a:gd name="connsiteY653" fmla="*/ 316172 h 370130"/>
                  <a:gd name="connsiteX654" fmla="*/ 162494 w 192824"/>
                  <a:gd name="connsiteY654" fmla="*/ 315907 h 370130"/>
                  <a:gd name="connsiteX655" fmla="*/ 165139 w 192824"/>
                  <a:gd name="connsiteY655" fmla="*/ 316172 h 370130"/>
                  <a:gd name="connsiteX656" fmla="*/ 166285 w 192824"/>
                  <a:gd name="connsiteY656" fmla="*/ 312381 h 370130"/>
                  <a:gd name="connsiteX657" fmla="*/ 166903 w 192824"/>
                  <a:gd name="connsiteY657" fmla="*/ 310617 h 370130"/>
                  <a:gd name="connsiteX658" fmla="*/ 170077 w 192824"/>
                  <a:gd name="connsiteY658" fmla="*/ 310353 h 370130"/>
                  <a:gd name="connsiteX659" fmla="*/ 170694 w 192824"/>
                  <a:gd name="connsiteY659" fmla="*/ 310617 h 370130"/>
                  <a:gd name="connsiteX660" fmla="*/ 171575 w 192824"/>
                  <a:gd name="connsiteY660" fmla="*/ 310617 h 370130"/>
                  <a:gd name="connsiteX661" fmla="*/ 171840 w 192824"/>
                  <a:gd name="connsiteY661" fmla="*/ 310353 h 370130"/>
                  <a:gd name="connsiteX662" fmla="*/ 173251 w 192824"/>
                  <a:gd name="connsiteY662" fmla="*/ 310353 h 370130"/>
                  <a:gd name="connsiteX663" fmla="*/ 172986 w 192824"/>
                  <a:gd name="connsiteY663" fmla="*/ 309206 h 370130"/>
                  <a:gd name="connsiteX664" fmla="*/ 174749 w 192824"/>
                  <a:gd name="connsiteY664" fmla="*/ 307708 h 370130"/>
                  <a:gd name="connsiteX665" fmla="*/ 175278 w 192824"/>
                  <a:gd name="connsiteY665" fmla="*/ 306561 h 370130"/>
                  <a:gd name="connsiteX666" fmla="*/ 176513 w 192824"/>
                  <a:gd name="connsiteY666" fmla="*/ 304798 h 370130"/>
                  <a:gd name="connsiteX667" fmla="*/ 177042 w 192824"/>
                  <a:gd name="connsiteY667" fmla="*/ 303916 h 370130"/>
                  <a:gd name="connsiteX668" fmla="*/ 178276 w 192824"/>
                  <a:gd name="connsiteY668" fmla="*/ 303916 h 370130"/>
                  <a:gd name="connsiteX669" fmla="*/ 180040 w 192824"/>
                  <a:gd name="connsiteY669" fmla="*/ 303916 h 370130"/>
                  <a:gd name="connsiteX670" fmla="*/ 180569 w 192824"/>
                  <a:gd name="connsiteY670" fmla="*/ 301271 h 370130"/>
                  <a:gd name="connsiteX671" fmla="*/ 181186 w 192824"/>
                  <a:gd name="connsiteY671" fmla="*/ 300390 h 370130"/>
                  <a:gd name="connsiteX672" fmla="*/ 182949 w 192824"/>
                  <a:gd name="connsiteY672" fmla="*/ 300390 h 370130"/>
                  <a:gd name="connsiteX673" fmla="*/ 184360 w 192824"/>
                  <a:gd name="connsiteY673" fmla="*/ 301007 h 370130"/>
                  <a:gd name="connsiteX674" fmla="*/ 184095 w 192824"/>
                  <a:gd name="connsiteY674" fmla="*/ 300390 h 370130"/>
                  <a:gd name="connsiteX675" fmla="*/ 186741 w 192824"/>
                  <a:gd name="connsiteY675" fmla="*/ 299508 h 370130"/>
                  <a:gd name="connsiteX676" fmla="*/ 186123 w 192824"/>
                  <a:gd name="connsiteY676" fmla="*/ 295188 h 370130"/>
                  <a:gd name="connsiteX677" fmla="*/ 186123 w 192824"/>
                  <a:gd name="connsiteY677" fmla="*/ 294835 h 370130"/>
                  <a:gd name="connsiteX678" fmla="*/ 186741 w 192824"/>
                  <a:gd name="connsiteY678" fmla="*/ 294041 h 370130"/>
                  <a:gd name="connsiteX679" fmla="*/ 185859 w 192824"/>
                  <a:gd name="connsiteY679" fmla="*/ 292807 h 370130"/>
                  <a:gd name="connsiteX680" fmla="*/ 185859 w 192824"/>
                  <a:gd name="connsiteY680" fmla="*/ 291926 h 370130"/>
                  <a:gd name="connsiteX681" fmla="*/ 186741 w 192824"/>
                  <a:gd name="connsiteY681" fmla="*/ 293689 h 370130"/>
                  <a:gd name="connsiteX682" fmla="*/ 187622 w 192824"/>
                  <a:gd name="connsiteY682" fmla="*/ 294041 h 370130"/>
                  <a:gd name="connsiteX683" fmla="*/ 187622 w 192824"/>
                  <a:gd name="connsiteY683" fmla="*/ 294835 h 370130"/>
                  <a:gd name="connsiteX684" fmla="*/ 189033 w 192824"/>
                  <a:gd name="connsiteY684" fmla="*/ 292807 h 370130"/>
                  <a:gd name="connsiteX685" fmla="*/ 189033 w 192824"/>
                  <a:gd name="connsiteY685" fmla="*/ 292278 h 370130"/>
                  <a:gd name="connsiteX686" fmla="*/ 189650 w 192824"/>
                  <a:gd name="connsiteY686" fmla="*/ 291396 h 370130"/>
                  <a:gd name="connsiteX687" fmla="*/ 189650 w 192824"/>
                  <a:gd name="connsiteY687" fmla="*/ 291044 h 370130"/>
                  <a:gd name="connsiteX688" fmla="*/ 190179 w 192824"/>
                  <a:gd name="connsiteY688" fmla="*/ 290515 h 370130"/>
                  <a:gd name="connsiteX689" fmla="*/ 189297 w 192824"/>
                  <a:gd name="connsiteY689" fmla="*/ 289369 h 370130"/>
                  <a:gd name="connsiteX690" fmla="*/ 189297 w 192824"/>
                  <a:gd name="connsiteY690" fmla="*/ 288487 h 370130"/>
                  <a:gd name="connsiteX691" fmla="*/ 188768 w 192824"/>
                  <a:gd name="connsiteY691" fmla="*/ 288134 h 370130"/>
                  <a:gd name="connsiteX692" fmla="*/ 189297 w 192824"/>
                  <a:gd name="connsiteY692" fmla="*/ 287605 h 370130"/>
                  <a:gd name="connsiteX693" fmla="*/ 187622 w 192824"/>
                  <a:gd name="connsiteY693" fmla="*/ 288487 h 370130"/>
                  <a:gd name="connsiteX694" fmla="*/ 187622 w 192824"/>
                  <a:gd name="connsiteY694" fmla="*/ 287870 h 370130"/>
                  <a:gd name="connsiteX695" fmla="*/ 187270 w 192824"/>
                  <a:gd name="connsiteY695" fmla="*/ 286723 h 370130"/>
                  <a:gd name="connsiteX696" fmla="*/ 188504 w 192824"/>
                  <a:gd name="connsiteY696" fmla="*/ 285577 h 370130"/>
                  <a:gd name="connsiteX697" fmla="*/ 189033 w 192824"/>
                  <a:gd name="connsiteY697" fmla="*/ 284078 h 370130"/>
                  <a:gd name="connsiteX698" fmla="*/ 187270 w 192824"/>
                  <a:gd name="connsiteY698" fmla="*/ 281169 h 370130"/>
                  <a:gd name="connsiteX699" fmla="*/ 187887 w 192824"/>
                  <a:gd name="connsiteY699" fmla="*/ 280552 h 370130"/>
                  <a:gd name="connsiteX700" fmla="*/ 188768 w 192824"/>
                  <a:gd name="connsiteY700" fmla="*/ 282315 h 370130"/>
                  <a:gd name="connsiteX701" fmla="*/ 189650 w 192824"/>
                  <a:gd name="connsiteY701" fmla="*/ 284078 h 370130"/>
                  <a:gd name="connsiteX702" fmla="*/ 189033 w 192824"/>
                  <a:gd name="connsiteY702" fmla="*/ 286723 h 370130"/>
                  <a:gd name="connsiteX703" fmla="*/ 190532 w 192824"/>
                  <a:gd name="connsiteY703" fmla="*/ 287605 h 370130"/>
                  <a:gd name="connsiteX704" fmla="*/ 190532 w 192824"/>
                  <a:gd name="connsiteY704" fmla="*/ 286106 h 370130"/>
                  <a:gd name="connsiteX705" fmla="*/ 190532 w 192824"/>
                  <a:gd name="connsiteY705" fmla="*/ 285577 h 370130"/>
                  <a:gd name="connsiteX706" fmla="*/ 190179 w 192824"/>
                  <a:gd name="connsiteY706" fmla="*/ 284078 h 370130"/>
                  <a:gd name="connsiteX707" fmla="*/ 188768 w 192824"/>
                  <a:gd name="connsiteY707" fmla="*/ 281169 h 370130"/>
                  <a:gd name="connsiteX708" fmla="*/ 189297 w 192824"/>
                  <a:gd name="connsiteY708" fmla="*/ 280023 h 370130"/>
                  <a:gd name="connsiteX709" fmla="*/ 188504 w 192824"/>
                  <a:gd name="connsiteY709" fmla="*/ 280023 h 370130"/>
                  <a:gd name="connsiteX710" fmla="*/ 188504 w 192824"/>
                  <a:gd name="connsiteY710" fmla="*/ 279405 h 370130"/>
                  <a:gd name="connsiteX711" fmla="*/ 187622 w 192824"/>
                  <a:gd name="connsiteY711" fmla="*/ 278524 h 370130"/>
                  <a:gd name="connsiteX712" fmla="*/ 188504 w 192824"/>
                  <a:gd name="connsiteY712" fmla="*/ 278524 h 370130"/>
                  <a:gd name="connsiteX713" fmla="*/ 188768 w 192824"/>
                  <a:gd name="connsiteY713" fmla="*/ 277642 h 370130"/>
                  <a:gd name="connsiteX714" fmla="*/ 188151 w 192824"/>
                  <a:gd name="connsiteY714" fmla="*/ 277642 h 370130"/>
                  <a:gd name="connsiteX715" fmla="*/ 186741 w 192824"/>
                  <a:gd name="connsiteY715" fmla="*/ 276761 h 370130"/>
                  <a:gd name="connsiteX716" fmla="*/ 187887 w 192824"/>
                  <a:gd name="connsiteY716" fmla="*/ 277113 h 370130"/>
                  <a:gd name="connsiteX717" fmla="*/ 188151 w 192824"/>
                  <a:gd name="connsiteY717" fmla="*/ 276496 h 370130"/>
                  <a:gd name="connsiteX718" fmla="*/ 189297 w 192824"/>
                  <a:gd name="connsiteY718" fmla="*/ 276761 h 370130"/>
                  <a:gd name="connsiteX719" fmla="*/ 187887 w 192824"/>
                  <a:gd name="connsiteY719" fmla="*/ 275085 h 370130"/>
                  <a:gd name="connsiteX720" fmla="*/ 187887 w 192824"/>
                  <a:gd name="connsiteY720" fmla="*/ 274204 h 370130"/>
                  <a:gd name="connsiteX721" fmla="*/ 186388 w 192824"/>
                  <a:gd name="connsiteY721" fmla="*/ 273851 h 370130"/>
                  <a:gd name="connsiteX722" fmla="*/ 186123 w 192824"/>
                  <a:gd name="connsiteY722" fmla="*/ 272969 h 370130"/>
                  <a:gd name="connsiteX723" fmla="*/ 186741 w 192824"/>
                  <a:gd name="connsiteY723" fmla="*/ 272969 h 370130"/>
                  <a:gd name="connsiteX724" fmla="*/ 185859 w 192824"/>
                  <a:gd name="connsiteY724" fmla="*/ 272440 h 370130"/>
                  <a:gd name="connsiteX725" fmla="*/ 186388 w 192824"/>
                  <a:gd name="connsiteY725" fmla="*/ 272440 h 370130"/>
                  <a:gd name="connsiteX726" fmla="*/ 187887 w 192824"/>
                  <a:gd name="connsiteY726" fmla="*/ 272969 h 370130"/>
                  <a:gd name="connsiteX727" fmla="*/ 189297 w 192824"/>
                  <a:gd name="connsiteY727" fmla="*/ 275085 h 370130"/>
                  <a:gd name="connsiteX728" fmla="*/ 189914 w 192824"/>
                  <a:gd name="connsiteY728" fmla="*/ 274204 h 370130"/>
                  <a:gd name="connsiteX729" fmla="*/ 190179 w 192824"/>
                  <a:gd name="connsiteY729" fmla="*/ 274204 h 370130"/>
                  <a:gd name="connsiteX730" fmla="*/ 190179 w 192824"/>
                  <a:gd name="connsiteY730" fmla="*/ 274733 h 370130"/>
                  <a:gd name="connsiteX731" fmla="*/ 190796 w 192824"/>
                  <a:gd name="connsiteY731" fmla="*/ 274204 h 370130"/>
                  <a:gd name="connsiteX732" fmla="*/ 190796 w 192824"/>
                  <a:gd name="connsiteY732" fmla="*/ 273586 h 370130"/>
                  <a:gd name="connsiteX733" fmla="*/ 189650 w 192824"/>
                  <a:gd name="connsiteY733" fmla="*/ 272969 h 370130"/>
                  <a:gd name="connsiteX734" fmla="*/ 189914 w 192824"/>
                  <a:gd name="connsiteY734" fmla="*/ 271559 h 370130"/>
                  <a:gd name="connsiteX735" fmla="*/ 188151 w 192824"/>
                  <a:gd name="connsiteY735" fmla="*/ 270677 h 370130"/>
                  <a:gd name="connsiteX736" fmla="*/ 188504 w 192824"/>
                  <a:gd name="connsiteY736" fmla="*/ 270060 h 370130"/>
                  <a:gd name="connsiteX737" fmla="*/ 188768 w 192824"/>
                  <a:gd name="connsiteY737" fmla="*/ 269531 h 370130"/>
                  <a:gd name="connsiteX738" fmla="*/ 188151 w 192824"/>
                  <a:gd name="connsiteY738" fmla="*/ 269531 h 370130"/>
                  <a:gd name="connsiteX739" fmla="*/ 187622 w 192824"/>
                  <a:gd name="connsiteY739" fmla="*/ 270060 h 370130"/>
                  <a:gd name="connsiteX740" fmla="*/ 186741 w 192824"/>
                  <a:gd name="connsiteY740" fmla="*/ 270941 h 370130"/>
                  <a:gd name="connsiteX741" fmla="*/ 187270 w 192824"/>
                  <a:gd name="connsiteY741" fmla="*/ 269531 h 370130"/>
                  <a:gd name="connsiteX742" fmla="*/ 187270 w 192824"/>
                  <a:gd name="connsiteY742" fmla="*/ 268649 h 370130"/>
                  <a:gd name="connsiteX743" fmla="*/ 187270 w 192824"/>
                  <a:gd name="connsiteY743" fmla="*/ 268296 h 370130"/>
                  <a:gd name="connsiteX744" fmla="*/ 187887 w 192824"/>
                  <a:gd name="connsiteY744" fmla="*/ 266886 h 370130"/>
                  <a:gd name="connsiteX745" fmla="*/ 189297 w 192824"/>
                  <a:gd name="connsiteY745" fmla="*/ 265122 h 370130"/>
                  <a:gd name="connsiteX746" fmla="*/ 189033 w 192824"/>
                  <a:gd name="connsiteY746" fmla="*/ 263094 h 370130"/>
                  <a:gd name="connsiteX747" fmla="*/ 189914 w 192824"/>
                  <a:gd name="connsiteY747" fmla="*/ 262477 h 370130"/>
                  <a:gd name="connsiteX748" fmla="*/ 189914 w 192824"/>
                  <a:gd name="connsiteY748" fmla="*/ 264505 h 370130"/>
                  <a:gd name="connsiteX749" fmla="*/ 190796 w 192824"/>
                  <a:gd name="connsiteY749" fmla="*/ 266621 h 370130"/>
                  <a:gd name="connsiteX750" fmla="*/ 189650 w 192824"/>
                  <a:gd name="connsiteY750" fmla="*/ 267767 h 370130"/>
                  <a:gd name="connsiteX751" fmla="*/ 190179 w 192824"/>
                  <a:gd name="connsiteY751" fmla="*/ 268032 h 370130"/>
                  <a:gd name="connsiteX752" fmla="*/ 191061 w 192824"/>
                  <a:gd name="connsiteY752" fmla="*/ 267767 h 370130"/>
                  <a:gd name="connsiteX753" fmla="*/ 191413 w 192824"/>
                  <a:gd name="connsiteY753" fmla="*/ 267150 h 370130"/>
                  <a:gd name="connsiteX754" fmla="*/ 191942 w 192824"/>
                  <a:gd name="connsiteY754" fmla="*/ 267767 h 370130"/>
                  <a:gd name="connsiteX755" fmla="*/ 192207 w 192824"/>
                  <a:gd name="connsiteY755" fmla="*/ 268296 h 370130"/>
                  <a:gd name="connsiteX756" fmla="*/ 191061 w 192824"/>
                  <a:gd name="connsiteY756" fmla="*/ 268649 h 370130"/>
                  <a:gd name="connsiteX757" fmla="*/ 190796 w 192824"/>
                  <a:gd name="connsiteY757" fmla="*/ 269178 h 370130"/>
                  <a:gd name="connsiteX758" fmla="*/ 192207 w 192824"/>
                  <a:gd name="connsiteY758" fmla="*/ 268914 h 370130"/>
                  <a:gd name="connsiteX759" fmla="*/ 192559 w 192824"/>
                  <a:gd name="connsiteY759" fmla="*/ 268032 h 370130"/>
                  <a:gd name="connsiteX760" fmla="*/ 192824 w 192824"/>
                  <a:gd name="connsiteY760" fmla="*/ 267767 h 370130"/>
                  <a:gd name="connsiteX761" fmla="*/ 191942 w 192824"/>
                  <a:gd name="connsiteY761" fmla="*/ 266886 h 370130"/>
                  <a:gd name="connsiteX762" fmla="*/ 190796 w 192824"/>
                  <a:gd name="connsiteY762" fmla="*/ 265740 h 370130"/>
                  <a:gd name="connsiteX763" fmla="*/ 190532 w 192824"/>
                  <a:gd name="connsiteY763" fmla="*/ 263094 h 370130"/>
                  <a:gd name="connsiteX764" fmla="*/ 191413 w 192824"/>
                  <a:gd name="connsiteY764" fmla="*/ 262213 h 370130"/>
                  <a:gd name="connsiteX765" fmla="*/ 191942 w 192824"/>
                  <a:gd name="connsiteY765" fmla="*/ 262477 h 370130"/>
                  <a:gd name="connsiteX766" fmla="*/ 191942 w 192824"/>
                  <a:gd name="connsiteY766" fmla="*/ 261067 h 370130"/>
                  <a:gd name="connsiteX767" fmla="*/ 188504 w 192824"/>
                  <a:gd name="connsiteY767" fmla="*/ 256658 h 370130"/>
                  <a:gd name="connsiteX768" fmla="*/ 188504 w 192824"/>
                  <a:gd name="connsiteY768" fmla="*/ 255776 h 370130"/>
                  <a:gd name="connsiteX769" fmla="*/ 187622 w 192824"/>
                  <a:gd name="connsiteY769" fmla="*/ 255512 h 370130"/>
                  <a:gd name="connsiteX770" fmla="*/ 187887 w 192824"/>
                  <a:gd name="connsiteY770" fmla="*/ 252250 h 370130"/>
                  <a:gd name="connsiteX771" fmla="*/ 187270 w 192824"/>
                  <a:gd name="connsiteY771" fmla="*/ 251456 h 370130"/>
                  <a:gd name="connsiteX772" fmla="*/ 187005 w 192824"/>
                  <a:gd name="connsiteY772" fmla="*/ 251456 h 370130"/>
                  <a:gd name="connsiteX773" fmla="*/ 187622 w 192824"/>
                  <a:gd name="connsiteY773" fmla="*/ 253749 h 370130"/>
                  <a:gd name="connsiteX774" fmla="*/ 186388 w 192824"/>
                  <a:gd name="connsiteY774" fmla="*/ 251985 h 370130"/>
                  <a:gd name="connsiteX775" fmla="*/ 186388 w 192824"/>
                  <a:gd name="connsiteY775" fmla="*/ 250839 h 370130"/>
                  <a:gd name="connsiteX776" fmla="*/ 186741 w 192824"/>
                  <a:gd name="connsiteY776" fmla="*/ 251104 h 370130"/>
                  <a:gd name="connsiteX777" fmla="*/ 187270 w 192824"/>
                  <a:gd name="connsiteY777" fmla="*/ 251456 h 370130"/>
                  <a:gd name="connsiteX778" fmla="*/ 186741 w 192824"/>
                  <a:gd name="connsiteY778" fmla="*/ 251104 h 370130"/>
                  <a:gd name="connsiteX779" fmla="*/ 187270 w 192824"/>
                  <a:gd name="connsiteY779" fmla="*/ 251104 h 370130"/>
                  <a:gd name="connsiteX780" fmla="*/ 187005 w 192824"/>
                  <a:gd name="connsiteY780" fmla="*/ 250222 h 370130"/>
                  <a:gd name="connsiteX781" fmla="*/ 186741 w 192824"/>
                  <a:gd name="connsiteY781" fmla="*/ 250222 h 370130"/>
                  <a:gd name="connsiteX782" fmla="*/ 186741 w 192824"/>
                  <a:gd name="connsiteY782" fmla="*/ 249693 h 370130"/>
                  <a:gd name="connsiteX783" fmla="*/ 185859 w 192824"/>
                  <a:gd name="connsiteY783" fmla="*/ 249693 h 370130"/>
                  <a:gd name="connsiteX784" fmla="*/ 185594 w 192824"/>
                  <a:gd name="connsiteY784" fmla="*/ 245902 h 370130"/>
                  <a:gd name="connsiteX785" fmla="*/ 186388 w 192824"/>
                  <a:gd name="connsiteY785" fmla="*/ 246783 h 370130"/>
                  <a:gd name="connsiteX786" fmla="*/ 186741 w 192824"/>
                  <a:gd name="connsiteY786" fmla="*/ 247929 h 370130"/>
                  <a:gd name="connsiteX787" fmla="*/ 186388 w 192824"/>
                  <a:gd name="connsiteY787" fmla="*/ 248458 h 370130"/>
                  <a:gd name="connsiteX788" fmla="*/ 187270 w 192824"/>
                  <a:gd name="connsiteY788" fmla="*/ 249340 h 370130"/>
                  <a:gd name="connsiteX789" fmla="*/ 187622 w 192824"/>
                  <a:gd name="connsiteY789" fmla="*/ 247929 h 370130"/>
                  <a:gd name="connsiteX790" fmla="*/ 187270 w 192824"/>
                  <a:gd name="connsiteY790" fmla="*/ 246783 h 370130"/>
                  <a:gd name="connsiteX791" fmla="*/ 187005 w 192824"/>
                  <a:gd name="connsiteY791" fmla="*/ 247048 h 370130"/>
                  <a:gd name="connsiteX792" fmla="*/ 187270 w 192824"/>
                  <a:gd name="connsiteY792" fmla="*/ 245902 h 370130"/>
                  <a:gd name="connsiteX793" fmla="*/ 186388 w 192824"/>
                  <a:gd name="connsiteY793" fmla="*/ 246166 h 370130"/>
                  <a:gd name="connsiteX794" fmla="*/ 185859 w 192824"/>
                  <a:gd name="connsiteY794" fmla="*/ 245284 h 370130"/>
                  <a:gd name="connsiteX795" fmla="*/ 184360 w 192824"/>
                  <a:gd name="connsiteY795" fmla="*/ 242992 h 370130"/>
                  <a:gd name="connsiteX796" fmla="*/ 184360 w 192824"/>
                  <a:gd name="connsiteY796" fmla="*/ 242375 h 370130"/>
                  <a:gd name="connsiteX797" fmla="*/ 185241 w 192824"/>
                  <a:gd name="connsiteY797" fmla="*/ 242992 h 370130"/>
                  <a:gd name="connsiteX798" fmla="*/ 185594 w 192824"/>
                  <a:gd name="connsiteY798" fmla="*/ 244138 h 370130"/>
                  <a:gd name="connsiteX799" fmla="*/ 186123 w 192824"/>
                  <a:gd name="connsiteY799" fmla="*/ 244755 h 370130"/>
                  <a:gd name="connsiteX800" fmla="*/ 186388 w 192824"/>
                  <a:gd name="connsiteY800" fmla="*/ 245020 h 370130"/>
                  <a:gd name="connsiteX801" fmla="*/ 186123 w 192824"/>
                  <a:gd name="connsiteY801" fmla="*/ 244403 h 370130"/>
                  <a:gd name="connsiteX802" fmla="*/ 185859 w 192824"/>
                  <a:gd name="connsiteY802" fmla="*/ 242639 h 370130"/>
                  <a:gd name="connsiteX803" fmla="*/ 185859 w 192824"/>
                  <a:gd name="connsiteY803" fmla="*/ 241229 h 370130"/>
                  <a:gd name="connsiteX804" fmla="*/ 184095 w 192824"/>
                  <a:gd name="connsiteY804" fmla="*/ 240347 h 370130"/>
                  <a:gd name="connsiteX805" fmla="*/ 185241 w 192824"/>
                  <a:gd name="connsiteY805" fmla="*/ 239730 h 370130"/>
                  <a:gd name="connsiteX806" fmla="*/ 184625 w 192824"/>
                  <a:gd name="connsiteY806" fmla="*/ 239465 h 370130"/>
                  <a:gd name="connsiteX807" fmla="*/ 184625 w 192824"/>
                  <a:gd name="connsiteY807" fmla="*/ 238584 h 370130"/>
                  <a:gd name="connsiteX808" fmla="*/ 184095 w 192824"/>
                  <a:gd name="connsiteY808" fmla="*/ 238319 h 370130"/>
                  <a:gd name="connsiteX809" fmla="*/ 184625 w 192824"/>
                  <a:gd name="connsiteY809" fmla="*/ 237437 h 370130"/>
                  <a:gd name="connsiteX810" fmla="*/ 184360 w 192824"/>
                  <a:gd name="connsiteY810" fmla="*/ 236291 h 370130"/>
                  <a:gd name="connsiteX811" fmla="*/ 184977 w 192824"/>
                  <a:gd name="connsiteY811" fmla="*/ 236556 h 370130"/>
                  <a:gd name="connsiteX812" fmla="*/ 184977 w 192824"/>
                  <a:gd name="connsiteY812" fmla="*/ 237702 h 370130"/>
                  <a:gd name="connsiteX813" fmla="*/ 185241 w 192824"/>
                  <a:gd name="connsiteY813" fmla="*/ 238319 h 370130"/>
                  <a:gd name="connsiteX814" fmla="*/ 185859 w 192824"/>
                  <a:gd name="connsiteY814" fmla="*/ 238319 h 370130"/>
                  <a:gd name="connsiteX815" fmla="*/ 186123 w 192824"/>
                  <a:gd name="connsiteY815" fmla="*/ 236820 h 370130"/>
                  <a:gd name="connsiteX816" fmla="*/ 185594 w 192824"/>
                  <a:gd name="connsiteY816" fmla="*/ 236556 h 370130"/>
                  <a:gd name="connsiteX817" fmla="*/ 184977 w 192824"/>
                  <a:gd name="connsiteY817" fmla="*/ 235674 h 370130"/>
                  <a:gd name="connsiteX818" fmla="*/ 184625 w 192824"/>
                  <a:gd name="connsiteY818" fmla="*/ 233029 h 370130"/>
                  <a:gd name="connsiteX819" fmla="*/ 183478 w 192824"/>
                  <a:gd name="connsiteY819" fmla="*/ 231618 h 370130"/>
                  <a:gd name="connsiteX820" fmla="*/ 182332 w 192824"/>
                  <a:gd name="connsiteY820" fmla="*/ 231001 h 370130"/>
                  <a:gd name="connsiteX821" fmla="*/ 181450 w 192824"/>
                  <a:gd name="connsiteY821" fmla="*/ 229590 h 370130"/>
                  <a:gd name="connsiteX822" fmla="*/ 182332 w 192824"/>
                  <a:gd name="connsiteY822" fmla="*/ 229590 h 370130"/>
                  <a:gd name="connsiteX823" fmla="*/ 182949 w 192824"/>
                  <a:gd name="connsiteY823" fmla="*/ 229590 h 370130"/>
                  <a:gd name="connsiteX824" fmla="*/ 184095 w 192824"/>
                  <a:gd name="connsiteY824" fmla="*/ 230119 h 370130"/>
                  <a:gd name="connsiteX825" fmla="*/ 183831 w 192824"/>
                  <a:gd name="connsiteY825" fmla="*/ 231001 h 370130"/>
                  <a:gd name="connsiteX826" fmla="*/ 184977 w 192824"/>
                  <a:gd name="connsiteY826" fmla="*/ 230384 h 370130"/>
                  <a:gd name="connsiteX827" fmla="*/ 182949 w 192824"/>
                  <a:gd name="connsiteY827" fmla="*/ 228356 h 370130"/>
                  <a:gd name="connsiteX828" fmla="*/ 182067 w 192824"/>
                  <a:gd name="connsiteY828" fmla="*/ 226945 h 370130"/>
                  <a:gd name="connsiteX829" fmla="*/ 180569 w 192824"/>
                  <a:gd name="connsiteY829" fmla="*/ 225182 h 370130"/>
                  <a:gd name="connsiteX830" fmla="*/ 180304 w 192824"/>
                  <a:gd name="connsiteY830" fmla="*/ 221920 h 370130"/>
                  <a:gd name="connsiteX831" fmla="*/ 179422 w 192824"/>
                  <a:gd name="connsiteY831" fmla="*/ 221391 h 370130"/>
                  <a:gd name="connsiteX832" fmla="*/ 179422 w 192824"/>
                  <a:gd name="connsiteY832" fmla="*/ 219627 h 370130"/>
                  <a:gd name="connsiteX833" fmla="*/ 178805 w 192824"/>
                  <a:gd name="connsiteY833" fmla="*/ 220245 h 370130"/>
                  <a:gd name="connsiteX834" fmla="*/ 178541 w 192824"/>
                  <a:gd name="connsiteY834" fmla="*/ 219627 h 370130"/>
                  <a:gd name="connsiteX835" fmla="*/ 179070 w 192824"/>
                  <a:gd name="connsiteY835" fmla="*/ 219010 h 370130"/>
                  <a:gd name="connsiteX836" fmla="*/ 178276 w 192824"/>
                  <a:gd name="connsiteY836" fmla="*/ 216718 h 370130"/>
                  <a:gd name="connsiteX837" fmla="*/ 179070 w 192824"/>
                  <a:gd name="connsiteY837" fmla="*/ 217335 h 370130"/>
                  <a:gd name="connsiteX838" fmla="*/ 179422 w 192824"/>
                  <a:gd name="connsiteY838" fmla="*/ 215836 h 370130"/>
                  <a:gd name="connsiteX839" fmla="*/ 178805 w 192824"/>
                  <a:gd name="connsiteY839" fmla="*/ 215836 h 370130"/>
                  <a:gd name="connsiteX840" fmla="*/ 177042 w 192824"/>
                  <a:gd name="connsiteY840" fmla="*/ 213456 h 370130"/>
                  <a:gd name="connsiteX841" fmla="*/ 175278 w 192824"/>
                  <a:gd name="connsiteY841" fmla="*/ 212927 h 370130"/>
                  <a:gd name="connsiteX842" fmla="*/ 176513 w 192824"/>
                  <a:gd name="connsiteY842" fmla="*/ 212927 h 370130"/>
                  <a:gd name="connsiteX843" fmla="*/ 175014 w 192824"/>
                  <a:gd name="connsiteY843" fmla="*/ 207989 h 370130"/>
                  <a:gd name="connsiteX844" fmla="*/ 172986 w 192824"/>
                  <a:gd name="connsiteY844" fmla="*/ 205873 h 370130"/>
                  <a:gd name="connsiteX845" fmla="*/ 173251 w 192824"/>
                  <a:gd name="connsiteY845" fmla="*/ 206755 h 370130"/>
                  <a:gd name="connsiteX846" fmla="*/ 172369 w 192824"/>
                  <a:gd name="connsiteY846" fmla="*/ 205873 h 370130"/>
                  <a:gd name="connsiteX847" fmla="*/ 172369 w 192824"/>
                  <a:gd name="connsiteY847" fmla="*/ 205609 h 370130"/>
                  <a:gd name="connsiteX848" fmla="*/ 172986 w 192824"/>
                  <a:gd name="connsiteY848" fmla="*/ 205609 h 370130"/>
                  <a:gd name="connsiteX849" fmla="*/ 172722 w 192824"/>
                  <a:gd name="connsiteY849" fmla="*/ 204198 h 370130"/>
                  <a:gd name="connsiteX850" fmla="*/ 172722 w 192824"/>
                  <a:gd name="connsiteY850" fmla="*/ 203581 h 370130"/>
                  <a:gd name="connsiteX851" fmla="*/ 173604 w 192824"/>
                  <a:gd name="connsiteY851" fmla="*/ 204462 h 370130"/>
                  <a:gd name="connsiteX852" fmla="*/ 173251 w 192824"/>
                  <a:gd name="connsiteY852" fmla="*/ 203052 h 370130"/>
                  <a:gd name="connsiteX853" fmla="*/ 171840 w 192824"/>
                  <a:gd name="connsiteY853" fmla="*/ 201817 h 370130"/>
                  <a:gd name="connsiteX854" fmla="*/ 171575 w 192824"/>
                  <a:gd name="connsiteY854" fmla="*/ 200054 h 370130"/>
                  <a:gd name="connsiteX855" fmla="*/ 171223 w 192824"/>
                  <a:gd name="connsiteY855" fmla="*/ 199172 h 370130"/>
                  <a:gd name="connsiteX856" fmla="*/ 170958 w 192824"/>
                  <a:gd name="connsiteY856" fmla="*/ 198291 h 370130"/>
                  <a:gd name="connsiteX857" fmla="*/ 169195 w 192824"/>
                  <a:gd name="connsiteY857" fmla="*/ 197497 h 370130"/>
                  <a:gd name="connsiteX858" fmla="*/ 170341 w 192824"/>
                  <a:gd name="connsiteY858" fmla="*/ 198643 h 370130"/>
                  <a:gd name="connsiteX859" fmla="*/ 169195 w 192824"/>
                  <a:gd name="connsiteY859" fmla="*/ 199172 h 370130"/>
                  <a:gd name="connsiteX860" fmla="*/ 169459 w 192824"/>
                  <a:gd name="connsiteY860" fmla="*/ 199172 h 370130"/>
                  <a:gd name="connsiteX861" fmla="*/ 170694 w 192824"/>
                  <a:gd name="connsiteY861" fmla="*/ 200054 h 370130"/>
                  <a:gd name="connsiteX862" fmla="*/ 169812 w 192824"/>
                  <a:gd name="connsiteY862" fmla="*/ 200671 h 370130"/>
                  <a:gd name="connsiteX863" fmla="*/ 169812 w 192824"/>
                  <a:gd name="connsiteY863" fmla="*/ 201817 h 370130"/>
                  <a:gd name="connsiteX864" fmla="*/ 168930 w 192824"/>
                  <a:gd name="connsiteY864" fmla="*/ 199789 h 370130"/>
                  <a:gd name="connsiteX865" fmla="*/ 167784 w 192824"/>
                  <a:gd name="connsiteY865" fmla="*/ 198643 h 370130"/>
                  <a:gd name="connsiteX866" fmla="*/ 167432 w 192824"/>
                  <a:gd name="connsiteY866" fmla="*/ 195381 h 370130"/>
                  <a:gd name="connsiteX867" fmla="*/ 166550 w 192824"/>
                  <a:gd name="connsiteY867" fmla="*/ 198291 h 370130"/>
                  <a:gd name="connsiteX868" fmla="*/ 165756 w 192824"/>
                  <a:gd name="connsiteY868" fmla="*/ 197497 h 370130"/>
                  <a:gd name="connsiteX869" fmla="*/ 165756 w 192824"/>
                  <a:gd name="connsiteY869" fmla="*/ 196880 h 370130"/>
                  <a:gd name="connsiteX870" fmla="*/ 166285 w 192824"/>
                  <a:gd name="connsiteY870" fmla="*/ 196880 h 370130"/>
                  <a:gd name="connsiteX871" fmla="*/ 166903 w 192824"/>
                  <a:gd name="connsiteY871" fmla="*/ 195734 h 370130"/>
                  <a:gd name="connsiteX872" fmla="*/ 166285 w 192824"/>
                  <a:gd name="connsiteY872" fmla="*/ 195998 h 370130"/>
                  <a:gd name="connsiteX873" fmla="*/ 165403 w 192824"/>
                  <a:gd name="connsiteY873" fmla="*/ 195734 h 370130"/>
                  <a:gd name="connsiteX874" fmla="*/ 165403 w 192824"/>
                  <a:gd name="connsiteY874" fmla="*/ 194852 h 370130"/>
                  <a:gd name="connsiteX875" fmla="*/ 161965 w 192824"/>
                  <a:gd name="connsiteY875" fmla="*/ 191942 h 370130"/>
                  <a:gd name="connsiteX876" fmla="*/ 160466 w 192824"/>
                  <a:gd name="connsiteY876" fmla="*/ 189033 h 370130"/>
                  <a:gd name="connsiteX877" fmla="*/ 159849 w 192824"/>
                  <a:gd name="connsiteY877" fmla="*/ 187534 h 370130"/>
                  <a:gd name="connsiteX878" fmla="*/ 157821 w 192824"/>
                  <a:gd name="connsiteY878" fmla="*/ 185771 h 370130"/>
                  <a:gd name="connsiteX879" fmla="*/ 156675 w 192824"/>
                  <a:gd name="connsiteY879" fmla="*/ 184624 h 370130"/>
                  <a:gd name="connsiteX880" fmla="*/ 156675 w 192824"/>
                  <a:gd name="connsiteY880" fmla="*/ 182244 h 370130"/>
                  <a:gd name="connsiteX881" fmla="*/ 156411 w 192824"/>
                  <a:gd name="connsiteY881" fmla="*/ 181450 h 370130"/>
                  <a:gd name="connsiteX882" fmla="*/ 157292 w 192824"/>
                  <a:gd name="connsiteY882" fmla="*/ 181450 h 370130"/>
                  <a:gd name="connsiteX883" fmla="*/ 158703 w 192824"/>
                  <a:gd name="connsiteY883" fmla="*/ 180833 h 370130"/>
                  <a:gd name="connsiteX884" fmla="*/ 157292 w 192824"/>
                  <a:gd name="connsiteY884" fmla="*/ 180216 h 370130"/>
                  <a:gd name="connsiteX885" fmla="*/ 156058 w 192824"/>
                  <a:gd name="connsiteY885" fmla="*/ 180216 h 370130"/>
                  <a:gd name="connsiteX886" fmla="*/ 154647 w 192824"/>
                  <a:gd name="connsiteY886" fmla="*/ 179423 h 370130"/>
                  <a:gd name="connsiteX887" fmla="*/ 154647 w 192824"/>
                  <a:gd name="connsiteY887" fmla="*/ 180216 h 370130"/>
                  <a:gd name="connsiteX888" fmla="*/ 155793 w 192824"/>
                  <a:gd name="connsiteY888" fmla="*/ 180833 h 370130"/>
                  <a:gd name="connsiteX889" fmla="*/ 155529 w 192824"/>
                  <a:gd name="connsiteY889" fmla="*/ 181450 h 370130"/>
                  <a:gd name="connsiteX890" fmla="*/ 156411 w 192824"/>
                  <a:gd name="connsiteY890" fmla="*/ 183743 h 370130"/>
                  <a:gd name="connsiteX891" fmla="*/ 155529 w 192824"/>
                  <a:gd name="connsiteY891" fmla="*/ 184889 h 370130"/>
                  <a:gd name="connsiteX892" fmla="*/ 155793 w 192824"/>
                  <a:gd name="connsiteY892" fmla="*/ 184007 h 370130"/>
                  <a:gd name="connsiteX893" fmla="*/ 154911 w 192824"/>
                  <a:gd name="connsiteY893" fmla="*/ 181450 h 370130"/>
                  <a:gd name="connsiteX894" fmla="*/ 155176 w 192824"/>
                  <a:gd name="connsiteY894" fmla="*/ 182861 h 370130"/>
                  <a:gd name="connsiteX895" fmla="*/ 154030 w 192824"/>
                  <a:gd name="connsiteY895" fmla="*/ 181450 h 370130"/>
                  <a:gd name="connsiteX896" fmla="*/ 153766 w 192824"/>
                  <a:gd name="connsiteY896" fmla="*/ 180833 h 370130"/>
                  <a:gd name="connsiteX897" fmla="*/ 153148 w 192824"/>
                  <a:gd name="connsiteY897" fmla="*/ 179687 h 370130"/>
                  <a:gd name="connsiteX898" fmla="*/ 154295 w 192824"/>
                  <a:gd name="connsiteY898" fmla="*/ 178541 h 370130"/>
                  <a:gd name="connsiteX899" fmla="*/ 151385 w 192824"/>
                  <a:gd name="connsiteY899" fmla="*/ 178541 h 370130"/>
                  <a:gd name="connsiteX900" fmla="*/ 150856 w 192824"/>
                  <a:gd name="connsiteY900" fmla="*/ 177924 h 370130"/>
                  <a:gd name="connsiteX901" fmla="*/ 151737 w 192824"/>
                  <a:gd name="connsiteY901" fmla="*/ 177042 h 370130"/>
                  <a:gd name="connsiteX902" fmla="*/ 150239 w 192824"/>
                  <a:gd name="connsiteY902" fmla="*/ 177924 h 370130"/>
                  <a:gd name="connsiteX903" fmla="*/ 149974 w 192824"/>
                  <a:gd name="connsiteY903" fmla="*/ 175543 h 370130"/>
                  <a:gd name="connsiteX904" fmla="*/ 149357 w 192824"/>
                  <a:gd name="connsiteY904" fmla="*/ 175896 h 370130"/>
                  <a:gd name="connsiteX905" fmla="*/ 148211 w 192824"/>
                  <a:gd name="connsiteY905" fmla="*/ 174133 h 370130"/>
                  <a:gd name="connsiteX906" fmla="*/ 147946 w 192824"/>
                  <a:gd name="connsiteY906" fmla="*/ 176425 h 370130"/>
                  <a:gd name="connsiteX907" fmla="*/ 146448 w 192824"/>
                  <a:gd name="connsiteY907" fmla="*/ 177042 h 370130"/>
                  <a:gd name="connsiteX908" fmla="*/ 145566 w 192824"/>
                  <a:gd name="connsiteY908" fmla="*/ 176425 h 370130"/>
                  <a:gd name="connsiteX909" fmla="*/ 144155 w 192824"/>
                  <a:gd name="connsiteY909" fmla="*/ 174133 h 370130"/>
                  <a:gd name="connsiteX910" fmla="*/ 145919 w 192824"/>
                  <a:gd name="connsiteY910" fmla="*/ 174750 h 370130"/>
                  <a:gd name="connsiteX911" fmla="*/ 142392 w 192824"/>
                  <a:gd name="connsiteY911" fmla="*/ 170958 h 370130"/>
                  <a:gd name="connsiteX912" fmla="*/ 141774 w 192824"/>
                  <a:gd name="connsiteY912" fmla="*/ 171752 h 370130"/>
                  <a:gd name="connsiteX913" fmla="*/ 142039 w 192824"/>
                  <a:gd name="connsiteY913" fmla="*/ 170606 h 370130"/>
                  <a:gd name="connsiteX914" fmla="*/ 140893 w 192824"/>
                  <a:gd name="connsiteY914" fmla="*/ 170958 h 370130"/>
                  <a:gd name="connsiteX915" fmla="*/ 141510 w 192824"/>
                  <a:gd name="connsiteY915" fmla="*/ 170341 h 370130"/>
                  <a:gd name="connsiteX916" fmla="*/ 142039 w 192824"/>
                  <a:gd name="connsiteY916" fmla="*/ 169460 h 370130"/>
                  <a:gd name="connsiteX917" fmla="*/ 140893 w 192824"/>
                  <a:gd name="connsiteY917" fmla="*/ 170341 h 370130"/>
                  <a:gd name="connsiteX918" fmla="*/ 139747 w 192824"/>
                  <a:gd name="connsiteY918" fmla="*/ 170077 h 370130"/>
                  <a:gd name="connsiteX919" fmla="*/ 139129 w 192824"/>
                  <a:gd name="connsiteY919" fmla="*/ 170077 h 370130"/>
                  <a:gd name="connsiteX920" fmla="*/ 137102 w 192824"/>
                  <a:gd name="connsiteY920" fmla="*/ 167961 h 370130"/>
                  <a:gd name="connsiteX921" fmla="*/ 137454 w 192824"/>
                  <a:gd name="connsiteY921" fmla="*/ 167961 h 370130"/>
                  <a:gd name="connsiteX922" fmla="*/ 140364 w 192824"/>
                  <a:gd name="connsiteY922" fmla="*/ 170077 h 370130"/>
                  <a:gd name="connsiteX923" fmla="*/ 140364 w 192824"/>
                  <a:gd name="connsiteY923" fmla="*/ 169195 h 370130"/>
                  <a:gd name="connsiteX924" fmla="*/ 137102 w 192824"/>
                  <a:gd name="connsiteY924" fmla="*/ 166550 h 370130"/>
                  <a:gd name="connsiteX925" fmla="*/ 130401 w 192824"/>
                  <a:gd name="connsiteY925" fmla="*/ 160995 h 370130"/>
                  <a:gd name="connsiteX926" fmla="*/ 130401 w 192824"/>
                  <a:gd name="connsiteY926" fmla="*/ 163023 h 370130"/>
                  <a:gd name="connsiteX927" fmla="*/ 129255 w 192824"/>
                  <a:gd name="connsiteY927" fmla="*/ 162494 h 370130"/>
                  <a:gd name="connsiteX928" fmla="*/ 130401 w 192824"/>
                  <a:gd name="connsiteY928" fmla="*/ 160466 h 370130"/>
                  <a:gd name="connsiteX929" fmla="*/ 128637 w 192824"/>
                  <a:gd name="connsiteY929" fmla="*/ 158703 h 370130"/>
                  <a:gd name="connsiteX930" fmla="*/ 127844 w 192824"/>
                  <a:gd name="connsiteY930" fmla="*/ 158086 h 370130"/>
                  <a:gd name="connsiteX931" fmla="*/ 127844 w 192824"/>
                  <a:gd name="connsiteY931" fmla="*/ 156587 h 370130"/>
                  <a:gd name="connsiteX932" fmla="*/ 119027 w 192824"/>
                  <a:gd name="connsiteY932" fmla="*/ 150768 h 370130"/>
                  <a:gd name="connsiteX933" fmla="*/ 115236 w 192824"/>
                  <a:gd name="connsiteY933" fmla="*/ 147594 h 370130"/>
                  <a:gd name="connsiteX934" fmla="*/ 114354 w 192824"/>
                  <a:gd name="connsiteY934" fmla="*/ 145213 h 370130"/>
                  <a:gd name="connsiteX935" fmla="*/ 112062 w 192824"/>
                  <a:gd name="connsiteY935" fmla="*/ 142039 h 370130"/>
                  <a:gd name="connsiteX936" fmla="*/ 110034 w 192824"/>
                  <a:gd name="connsiteY936" fmla="*/ 141775 h 370130"/>
                  <a:gd name="connsiteX937" fmla="*/ 109681 w 192824"/>
                  <a:gd name="connsiteY937" fmla="*/ 142039 h 370130"/>
                  <a:gd name="connsiteX938" fmla="*/ 109681 w 192824"/>
                  <a:gd name="connsiteY938" fmla="*/ 141775 h 370130"/>
                  <a:gd name="connsiteX939" fmla="*/ 109681 w 192824"/>
                  <a:gd name="connsiteY939" fmla="*/ 140629 h 370130"/>
                  <a:gd name="connsiteX940" fmla="*/ 108006 w 192824"/>
                  <a:gd name="connsiteY940" fmla="*/ 140276 h 370130"/>
                  <a:gd name="connsiteX941" fmla="*/ 107389 w 192824"/>
                  <a:gd name="connsiteY941" fmla="*/ 139747 h 370130"/>
                  <a:gd name="connsiteX942" fmla="*/ 108535 w 192824"/>
                  <a:gd name="connsiteY942" fmla="*/ 139747 h 370130"/>
                  <a:gd name="connsiteX943" fmla="*/ 109681 w 192824"/>
                  <a:gd name="connsiteY943" fmla="*/ 140276 h 370130"/>
                  <a:gd name="connsiteX944" fmla="*/ 111180 w 192824"/>
                  <a:gd name="connsiteY944" fmla="*/ 140893 h 370130"/>
                  <a:gd name="connsiteX945" fmla="*/ 112062 w 192824"/>
                  <a:gd name="connsiteY945" fmla="*/ 141158 h 370130"/>
                  <a:gd name="connsiteX946" fmla="*/ 110298 w 192824"/>
                  <a:gd name="connsiteY946" fmla="*/ 139130 h 370130"/>
                  <a:gd name="connsiteX947" fmla="*/ 110034 w 192824"/>
                  <a:gd name="connsiteY947" fmla="*/ 137366 h 370130"/>
                  <a:gd name="connsiteX948" fmla="*/ 110915 w 192824"/>
                  <a:gd name="connsiteY948" fmla="*/ 135338 h 370130"/>
                  <a:gd name="connsiteX949" fmla="*/ 111709 w 192824"/>
                  <a:gd name="connsiteY949" fmla="*/ 135338 h 370130"/>
                  <a:gd name="connsiteX950" fmla="*/ 109417 w 192824"/>
                  <a:gd name="connsiteY950" fmla="*/ 133575 h 370130"/>
                  <a:gd name="connsiteX951" fmla="*/ 108535 w 192824"/>
                  <a:gd name="connsiteY951" fmla="*/ 131812 h 370130"/>
                  <a:gd name="connsiteX952" fmla="*/ 109681 w 192824"/>
                  <a:gd name="connsiteY952" fmla="*/ 131283 h 370130"/>
                  <a:gd name="connsiteX953" fmla="*/ 108270 w 192824"/>
                  <a:gd name="connsiteY953" fmla="*/ 130930 h 370130"/>
                  <a:gd name="connsiteX954" fmla="*/ 108006 w 192824"/>
                  <a:gd name="connsiteY954" fmla="*/ 131547 h 370130"/>
                  <a:gd name="connsiteX955" fmla="*/ 107389 w 192824"/>
                  <a:gd name="connsiteY955" fmla="*/ 132164 h 370130"/>
                  <a:gd name="connsiteX956" fmla="*/ 106772 w 192824"/>
                  <a:gd name="connsiteY956" fmla="*/ 131812 h 370130"/>
                  <a:gd name="connsiteX957" fmla="*/ 107389 w 192824"/>
                  <a:gd name="connsiteY957" fmla="*/ 130930 h 370130"/>
                  <a:gd name="connsiteX958" fmla="*/ 104744 w 192824"/>
                  <a:gd name="connsiteY958" fmla="*/ 128373 h 370130"/>
                  <a:gd name="connsiteX959" fmla="*/ 102981 w 192824"/>
                  <a:gd name="connsiteY959" fmla="*/ 127491 h 370130"/>
                  <a:gd name="connsiteX960" fmla="*/ 101217 w 192824"/>
                  <a:gd name="connsiteY960" fmla="*/ 128020 h 370130"/>
                  <a:gd name="connsiteX961" fmla="*/ 101217 w 192824"/>
                  <a:gd name="connsiteY961" fmla="*/ 126610 h 370130"/>
                  <a:gd name="connsiteX962" fmla="*/ 98925 w 192824"/>
                  <a:gd name="connsiteY962" fmla="*/ 126257 h 370130"/>
                  <a:gd name="connsiteX963" fmla="*/ 97778 w 192824"/>
                  <a:gd name="connsiteY963" fmla="*/ 124582 h 370130"/>
                  <a:gd name="connsiteX964" fmla="*/ 97426 w 192824"/>
                  <a:gd name="connsiteY964" fmla="*/ 122466 h 370130"/>
                  <a:gd name="connsiteX965" fmla="*/ 96015 w 192824"/>
                  <a:gd name="connsiteY965" fmla="*/ 122466 h 370130"/>
                  <a:gd name="connsiteX966" fmla="*/ 93987 w 192824"/>
                  <a:gd name="connsiteY966" fmla="*/ 119909 h 370130"/>
                  <a:gd name="connsiteX967" fmla="*/ 93370 w 192824"/>
                  <a:gd name="connsiteY967" fmla="*/ 117528 h 370130"/>
                  <a:gd name="connsiteX968" fmla="*/ 92224 w 192824"/>
                  <a:gd name="connsiteY968" fmla="*/ 115236 h 370130"/>
                  <a:gd name="connsiteX969" fmla="*/ 91607 w 192824"/>
                  <a:gd name="connsiteY969" fmla="*/ 114883 h 370130"/>
                  <a:gd name="connsiteX970" fmla="*/ 92753 w 192824"/>
                  <a:gd name="connsiteY970" fmla="*/ 116999 h 370130"/>
                  <a:gd name="connsiteX971" fmla="*/ 92224 w 192824"/>
                  <a:gd name="connsiteY971" fmla="*/ 117528 h 370130"/>
                  <a:gd name="connsiteX972" fmla="*/ 91960 w 192824"/>
                  <a:gd name="connsiteY972" fmla="*/ 116382 h 370130"/>
                  <a:gd name="connsiteX973" fmla="*/ 91078 w 192824"/>
                  <a:gd name="connsiteY973" fmla="*/ 115501 h 370130"/>
                  <a:gd name="connsiteX974" fmla="*/ 91342 w 192824"/>
                  <a:gd name="connsiteY974" fmla="*/ 113737 h 370130"/>
                  <a:gd name="connsiteX975" fmla="*/ 90460 w 192824"/>
                  <a:gd name="connsiteY975" fmla="*/ 113737 h 370130"/>
                  <a:gd name="connsiteX976" fmla="*/ 89579 w 192824"/>
                  <a:gd name="connsiteY976" fmla="*/ 112591 h 370130"/>
                  <a:gd name="connsiteX977" fmla="*/ 90196 w 192824"/>
                  <a:gd name="connsiteY977" fmla="*/ 112326 h 370130"/>
                  <a:gd name="connsiteX978" fmla="*/ 88080 w 192824"/>
                  <a:gd name="connsiteY978" fmla="*/ 111974 h 370130"/>
                  <a:gd name="connsiteX979" fmla="*/ 87815 w 192824"/>
                  <a:gd name="connsiteY979" fmla="*/ 109417 h 370130"/>
                  <a:gd name="connsiteX980" fmla="*/ 88080 w 192824"/>
                  <a:gd name="connsiteY980" fmla="*/ 107036 h 370130"/>
                  <a:gd name="connsiteX981" fmla="*/ 88962 w 192824"/>
                  <a:gd name="connsiteY981" fmla="*/ 107301 h 370130"/>
                  <a:gd name="connsiteX982" fmla="*/ 89314 w 192824"/>
                  <a:gd name="connsiteY982" fmla="*/ 107654 h 370130"/>
                  <a:gd name="connsiteX983" fmla="*/ 89844 w 192824"/>
                  <a:gd name="connsiteY983" fmla="*/ 107036 h 370130"/>
                  <a:gd name="connsiteX984" fmla="*/ 89844 w 192824"/>
                  <a:gd name="connsiteY984" fmla="*/ 103862 h 370130"/>
                  <a:gd name="connsiteX985" fmla="*/ 89314 w 192824"/>
                  <a:gd name="connsiteY985" fmla="*/ 103510 h 370130"/>
                  <a:gd name="connsiteX986" fmla="*/ 90196 w 192824"/>
                  <a:gd name="connsiteY986" fmla="*/ 103245 h 370130"/>
                  <a:gd name="connsiteX987" fmla="*/ 91078 w 192824"/>
                  <a:gd name="connsiteY987" fmla="*/ 102099 h 370130"/>
                  <a:gd name="connsiteX988" fmla="*/ 91078 w 192824"/>
                  <a:gd name="connsiteY988" fmla="*/ 101482 h 370130"/>
                  <a:gd name="connsiteX989" fmla="*/ 89844 w 192824"/>
                  <a:gd name="connsiteY989" fmla="*/ 99189 h 370130"/>
                  <a:gd name="connsiteX990" fmla="*/ 90460 w 192824"/>
                  <a:gd name="connsiteY990" fmla="*/ 98308 h 370130"/>
                  <a:gd name="connsiteX991" fmla="*/ 88697 w 192824"/>
                  <a:gd name="connsiteY991" fmla="*/ 95046 h 370130"/>
                  <a:gd name="connsiteX992" fmla="*/ 89314 w 192824"/>
                  <a:gd name="connsiteY992" fmla="*/ 93899 h 370130"/>
                  <a:gd name="connsiteX993" fmla="*/ 88962 w 192824"/>
                  <a:gd name="connsiteY993" fmla="*/ 94781 h 370130"/>
                  <a:gd name="connsiteX994" fmla="*/ 89579 w 192824"/>
                  <a:gd name="connsiteY994" fmla="*/ 95663 h 370130"/>
                  <a:gd name="connsiteX995" fmla="*/ 89844 w 192824"/>
                  <a:gd name="connsiteY995" fmla="*/ 95046 h 370130"/>
                  <a:gd name="connsiteX996" fmla="*/ 90196 w 192824"/>
                  <a:gd name="connsiteY996" fmla="*/ 94516 h 370130"/>
                  <a:gd name="connsiteX997" fmla="*/ 89579 w 192824"/>
                  <a:gd name="connsiteY997" fmla="*/ 93370 h 370130"/>
                  <a:gd name="connsiteX998" fmla="*/ 89579 w 192824"/>
                  <a:gd name="connsiteY998" fmla="*/ 92753 h 370130"/>
                  <a:gd name="connsiteX999" fmla="*/ 90460 w 192824"/>
                  <a:gd name="connsiteY999" fmla="*/ 91871 h 370130"/>
                  <a:gd name="connsiteX1000" fmla="*/ 92224 w 192824"/>
                  <a:gd name="connsiteY1000" fmla="*/ 89579 h 370130"/>
                  <a:gd name="connsiteX1001" fmla="*/ 90196 w 192824"/>
                  <a:gd name="connsiteY1001" fmla="*/ 89843 h 370130"/>
                  <a:gd name="connsiteX1002" fmla="*/ 90725 w 192824"/>
                  <a:gd name="connsiteY1002" fmla="*/ 89226 h 370130"/>
                  <a:gd name="connsiteX1003" fmla="*/ 91960 w 192824"/>
                  <a:gd name="connsiteY1003" fmla="*/ 88962 h 370130"/>
                  <a:gd name="connsiteX1004" fmla="*/ 91078 w 192824"/>
                  <a:gd name="connsiteY1004" fmla="*/ 88080 h 370130"/>
                  <a:gd name="connsiteX1005" fmla="*/ 91607 w 192824"/>
                  <a:gd name="connsiteY1005" fmla="*/ 87199 h 370130"/>
                  <a:gd name="connsiteX1006" fmla="*/ 91607 w 192824"/>
                  <a:gd name="connsiteY1006" fmla="*/ 86581 h 370130"/>
                  <a:gd name="connsiteX1007" fmla="*/ 92224 w 192824"/>
                  <a:gd name="connsiteY1007" fmla="*/ 84289 h 370130"/>
                  <a:gd name="connsiteX1008" fmla="*/ 94252 w 192824"/>
                  <a:gd name="connsiteY1008" fmla="*/ 85171 h 370130"/>
                  <a:gd name="connsiteX1009" fmla="*/ 94252 w 192824"/>
                  <a:gd name="connsiteY1009" fmla="*/ 84289 h 370130"/>
                  <a:gd name="connsiteX1010" fmla="*/ 94252 w 192824"/>
                  <a:gd name="connsiteY1010" fmla="*/ 83672 h 370130"/>
                  <a:gd name="connsiteX1011" fmla="*/ 95133 w 192824"/>
                  <a:gd name="connsiteY1011" fmla="*/ 85171 h 370130"/>
                  <a:gd name="connsiteX1012" fmla="*/ 96015 w 192824"/>
                  <a:gd name="connsiteY1012" fmla="*/ 84289 h 370130"/>
                  <a:gd name="connsiteX1013" fmla="*/ 95662 w 192824"/>
                  <a:gd name="connsiteY1013" fmla="*/ 83672 h 370130"/>
                  <a:gd name="connsiteX1014" fmla="*/ 96897 w 192824"/>
                  <a:gd name="connsiteY1014" fmla="*/ 84553 h 370130"/>
                  <a:gd name="connsiteX1015" fmla="*/ 97426 w 192824"/>
                  <a:gd name="connsiteY1015" fmla="*/ 83407 h 370130"/>
                  <a:gd name="connsiteX1016" fmla="*/ 98572 w 192824"/>
                  <a:gd name="connsiteY1016" fmla="*/ 81115 h 370130"/>
                  <a:gd name="connsiteX1017" fmla="*/ 99189 w 192824"/>
                  <a:gd name="connsiteY1017" fmla="*/ 79969 h 370130"/>
                  <a:gd name="connsiteX1018" fmla="*/ 99806 w 192824"/>
                  <a:gd name="connsiteY1018" fmla="*/ 79969 h 370130"/>
                  <a:gd name="connsiteX1019" fmla="*/ 102099 w 192824"/>
                  <a:gd name="connsiteY1019" fmla="*/ 78734 h 370130"/>
                  <a:gd name="connsiteX1020" fmla="*/ 102452 w 192824"/>
                  <a:gd name="connsiteY1020" fmla="*/ 77588 h 370130"/>
                  <a:gd name="connsiteX1021" fmla="*/ 102452 w 192824"/>
                  <a:gd name="connsiteY1021" fmla="*/ 77324 h 370130"/>
                  <a:gd name="connsiteX1022" fmla="*/ 101834 w 192824"/>
                  <a:gd name="connsiteY1022" fmla="*/ 76971 h 370130"/>
                  <a:gd name="connsiteX1023" fmla="*/ 101570 w 192824"/>
                  <a:gd name="connsiteY1023" fmla="*/ 76442 h 370130"/>
                  <a:gd name="connsiteX1024" fmla="*/ 103245 w 192824"/>
                  <a:gd name="connsiteY1024" fmla="*/ 76706 h 370130"/>
                  <a:gd name="connsiteX1025" fmla="*/ 103245 w 192824"/>
                  <a:gd name="connsiteY1025" fmla="*/ 75560 h 370130"/>
                  <a:gd name="connsiteX1026" fmla="*/ 102452 w 192824"/>
                  <a:gd name="connsiteY1026" fmla="*/ 75208 h 370130"/>
                  <a:gd name="connsiteX1027" fmla="*/ 102981 w 192824"/>
                  <a:gd name="connsiteY1027" fmla="*/ 74414 h 370130"/>
                  <a:gd name="connsiteX1028" fmla="*/ 102981 w 192824"/>
                  <a:gd name="connsiteY1028" fmla="*/ 73532 h 370130"/>
                  <a:gd name="connsiteX1029" fmla="*/ 101834 w 192824"/>
                  <a:gd name="connsiteY1029" fmla="*/ 74061 h 370130"/>
                  <a:gd name="connsiteX1030" fmla="*/ 101217 w 192824"/>
                  <a:gd name="connsiteY1030" fmla="*/ 73532 h 370130"/>
                  <a:gd name="connsiteX1031" fmla="*/ 102716 w 192824"/>
                  <a:gd name="connsiteY1031" fmla="*/ 72651 h 370130"/>
                  <a:gd name="connsiteX1032" fmla="*/ 101834 w 192824"/>
                  <a:gd name="connsiteY1032" fmla="*/ 71416 h 370130"/>
                  <a:gd name="connsiteX1033" fmla="*/ 102452 w 192824"/>
                  <a:gd name="connsiteY1033" fmla="*/ 70887 h 370130"/>
                  <a:gd name="connsiteX1034" fmla="*/ 101834 w 192824"/>
                  <a:gd name="connsiteY1034" fmla="*/ 70887 h 370130"/>
                  <a:gd name="connsiteX1035" fmla="*/ 101217 w 192824"/>
                  <a:gd name="connsiteY1035" fmla="*/ 70623 h 370130"/>
                  <a:gd name="connsiteX1036" fmla="*/ 101834 w 192824"/>
                  <a:gd name="connsiteY1036" fmla="*/ 70623 h 370130"/>
                  <a:gd name="connsiteX1037" fmla="*/ 102981 w 192824"/>
                  <a:gd name="connsiteY1037" fmla="*/ 69741 h 370130"/>
                  <a:gd name="connsiteX1038" fmla="*/ 102981 w 192824"/>
                  <a:gd name="connsiteY1038" fmla="*/ 68859 h 370130"/>
                  <a:gd name="connsiteX1039" fmla="*/ 102981 w 192824"/>
                  <a:gd name="connsiteY1039" fmla="*/ 68242 h 370130"/>
                  <a:gd name="connsiteX1040" fmla="*/ 101834 w 192824"/>
                  <a:gd name="connsiteY1040" fmla="*/ 67361 h 370130"/>
                  <a:gd name="connsiteX1041" fmla="*/ 102981 w 192824"/>
                  <a:gd name="connsiteY1041" fmla="*/ 67625 h 370130"/>
                  <a:gd name="connsiteX1042" fmla="*/ 103862 w 192824"/>
                  <a:gd name="connsiteY1042" fmla="*/ 68859 h 370130"/>
                  <a:gd name="connsiteX1043" fmla="*/ 104479 w 192824"/>
                  <a:gd name="connsiteY1043" fmla="*/ 67361 h 370130"/>
                  <a:gd name="connsiteX1044" fmla="*/ 103598 w 192824"/>
                  <a:gd name="connsiteY1044" fmla="*/ 67096 h 370130"/>
                  <a:gd name="connsiteX1045" fmla="*/ 104127 w 192824"/>
                  <a:gd name="connsiteY1045" fmla="*/ 66479 h 370130"/>
                  <a:gd name="connsiteX1046" fmla="*/ 105273 w 192824"/>
                  <a:gd name="connsiteY1046" fmla="*/ 66479 h 370130"/>
                  <a:gd name="connsiteX1047" fmla="*/ 106507 w 192824"/>
                  <a:gd name="connsiteY1047" fmla="*/ 67361 h 370130"/>
                  <a:gd name="connsiteX1048" fmla="*/ 106243 w 192824"/>
                  <a:gd name="connsiteY1048" fmla="*/ 66479 h 370130"/>
                  <a:gd name="connsiteX1049" fmla="*/ 104479 w 192824"/>
                  <a:gd name="connsiteY1049" fmla="*/ 65068 h 370130"/>
                  <a:gd name="connsiteX1050" fmla="*/ 103862 w 192824"/>
                  <a:gd name="connsiteY1050" fmla="*/ 64451 h 370130"/>
                  <a:gd name="connsiteX1051" fmla="*/ 105890 w 192824"/>
                  <a:gd name="connsiteY1051" fmla="*/ 64716 h 370130"/>
                  <a:gd name="connsiteX1052" fmla="*/ 105008 w 192824"/>
                  <a:gd name="connsiteY1052" fmla="*/ 63922 h 370130"/>
                  <a:gd name="connsiteX1053" fmla="*/ 103598 w 192824"/>
                  <a:gd name="connsiteY1053" fmla="*/ 62688 h 370130"/>
                  <a:gd name="connsiteX1054" fmla="*/ 103598 w 192824"/>
                  <a:gd name="connsiteY1054" fmla="*/ 62159 h 370130"/>
                  <a:gd name="connsiteX1055" fmla="*/ 104744 w 192824"/>
                  <a:gd name="connsiteY1055" fmla="*/ 62423 h 370130"/>
                  <a:gd name="connsiteX1056" fmla="*/ 105626 w 192824"/>
                  <a:gd name="connsiteY1056" fmla="*/ 61894 h 370130"/>
                  <a:gd name="connsiteX1057" fmla="*/ 102716 w 192824"/>
                  <a:gd name="connsiteY1057" fmla="*/ 60924 h 370130"/>
                  <a:gd name="connsiteX1058" fmla="*/ 102452 w 192824"/>
                  <a:gd name="connsiteY1058" fmla="*/ 59778 h 370130"/>
                  <a:gd name="connsiteX1059" fmla="*/ 102099 w 192824"/>
                  <a:gd name="connsiteY1059" fmla="*/ 58367 h 370130"/>
                  <a:gd name="connsiteX1060" fmla="*/ 102981 w 192824"/>
                  <a:gd name="connsiteY1060" fmla="*/ 59778 h 370130"/>
                  <a:gd name="connsiteX1061" fmla="*/ 103598 w 192824"/>
                  <a:gd name="connsiteY1061" fmla="*/ 58367 h 370130"/>
                  <a:gd name="connsiteX1062" fmla="*/ 104127 w 192824"/>
                  <a:gd name="connsiteY1062" fmla="*/ 57486 h 370130"/>
                  <a:gd name="connsiteX1063" fmla="*/ 105008 w 192824"/>
                  <a:gd name="connsiteY1063" fmla="*/ 57750 h 370130"/>
                  <a:gd name="connsiteX1064" fmla="*/ 105273 w 192824"/>
                  <a:gd name="connsiteY1064" fmla="*/ 58367 h 370130"/>
                  <a:gd name="connsiteX1065" fmla="*/ 104744 w 192824"/>
                  <a:gd name="connsiteY1065" fmla="*/ 59514 h 370130"/>
                  <a:gd name="connsiteX1066" fmla="*/ 105626 w 192824"/>
                  <a:gd name="connsiteY1066" fmla="*/ 59778 h 370130"/>
                  <a:gd name="connsiteX1067" fmla="*/ 105273 w 192824"/>
                  <a:gd name="connsiteY1067" fmla="*/ 60131 h 370130"/>
                  <a:gd name="connsiteX1068" fmla="*/ 106243 w 192824"/>
                  <a:gd name="connsiteY1068" fmla="*/ 60924 h 370130"/>
                  <a:gd name="connsiteX1069" fmla="*/ 105626 w 192824"/>
                  <a:gd name="connsiteY1069" fmla="*/ 62688 h 370130"/>
                  <a:gd name="connsiteX1070" fmla="*/ 106507 w 192824"/>
                  <a:gd name="connsiteY1070" fmla="*/ 63040 h 370130"/>
                  <a:gd name="connsiteX1071" fmla="*/ 106772 w 192824"/>
                  <a:gd name="connsiteY1071" fmla="*/ 62159 h 370130"/>
                  <a:gd name="connsiteX1072" fmla="*/ 107036 w 192824"/>
                  <a:gd name="connsiteY1072" fmla="*/ 61541 h 370130"/>
                  <a:gd name="connsiteX1073" fmla="*/ 108006 w 192824"/>
                  <a:gd name="connsiteY1073" fmla="*/ 62159 h 370130"/>
                  <a:gd name="connsiteX1074" fmla="*/ 108799 w 192824"/>
                  <a:gd name="connsiteY1074" fmla="*/ 62159 h 370130"/>
                  <a:gd name="connsiteX1075" fmla="*/ 108006 w 192824"/>
                  <a:gd name="connsiteY1075" fmla="*/ 61541 h 370130"/>
                  <a:gd name="connsiteX1076" fmla="*/ 107036 w 192824"/>
                  <a:gd name="connsiteY1076" fmla="*/ 60131 h 370130"/>
                  <a:gd name="connsiteX1077" fmla="*/ 107389 w 192824"/>
                  <a:gd name="connsiteY1077" fmla="*/ 61277 h 370130"/>
                  <a:gd name="connsiteX1078" fmla="*/ 106507 w 192824"/>
                  <a:gd name="connsiteY1078" fmla="*/ 59778 h 370130"/>
                  <a:gd name="connsiteX1079" fmla="*/ 106772 w 192824"/>
                  <a:gd name="connsiteY1079" fmla="*/ 59778 h 370130"/>
                  <a:gd name="connsiteX1080" fmla="*/ 107389 w 192824"/>
                  <a:gd name="connsiteY1080" fmla="*/ 60395 h 370130"/>
                  <a:gd name="connsiteX1081" fmla="*/ 108799 w 192824"/>
                  <a:gd name="connsiteY1081" fmla="*/ 60924 h 370130"/>
                  <a:gd name="connsiteX1082" fmla="*/ 109417 w 192824"/>
                  <a:gd name="connsiteY1082" fmla="*/ 60131 h 370130"/>
                  <a:gd name="connsiteX1083" fmla="*/ 109152 w 192824"/>
                  <a:gd name="connsiteY1083" fmla="*/ 58367 h 370130"/>
                  <a:gd name="connsiteX1084" fmla="*/ 110298 w 192824"/>
                  <a:gd name="connsiteY1084" fmla="*/ 60660 h 370130"/>
                  <a:gd name="connsiteX1085" fmla="*/ 109152 w 192824"/>
                  <a:gd name="connsiteY1085" fmla="*/ 57486 h 370130"/>
                  <a:gd name="connsiteX1086" fmla="*/ 110298 w 192824"/>
                  <a:gd name="connsiteY1086" fmla="*/ 59778 h 370130"/>
                  <a:gd name="connsiteX1087" fmla="*/ 110298 w 192824"/>
                  <a:gd name="connsiteY1087" fmla="*/ 58896 h 370130"/>
                  <a:gd name="connsiteX1088" fmla="*/ 110563 w 192824"/>
                  <a:gd name="connsiteY1088" fmla="*/ 59514 h 370130"/>
                  <a:gd name="connsiteX1089" fmla="*/ 110915 w 192824"/>
                  <a:gd name="connsiteY1089" fmla="*/ 57750 h 370130"/>
                  <a:gd name="connsiteX1090" fmla="*/ 110915 w 192824"/>
                  <a:gd name="connsiteY1090" fmla="*/ 59778 h 370130"/>
                  <a:gd name="connsiteX1091" fmla="*/ 112944 w 192824"/>
                  <a:gd name="connsiteY1091" fmla="*/ 58367 h 370130"/>
                  <a:gd name="connsiteX1092" fmla="*/ 111444 w 192824"/>
                  <a:gd name="connsiteY1092" fmla="*/ 59778 h 370130"/>
                  <a:gd name="connsiteX1093" fmla="*/ 110915 w 192824"/>
                  <a:gd name="connsiteY1093" fmla="*/ 61894 h 370130"/>
                  <a:gd name="connsiteX1094" fmla="*/ 114090 w 192824"/>
                  <a:gd name="connsiteY1094" fmla="*/ 63922 h 370130"/>
                  <a:gd name="connsiteX1095" fmla="*/ 114619 w 192824"/>
                  <a:gd name="connsiteY1095" fmla="*/ 61541 h 370130"/>
                  <a:gd name="connsiteX1096" fmla="*/ 113473 w 192824"/>
                  <a:gd name="connsiteY1096" fmla="*/ 60395 h 370130"/>
                  <a:gd name="connsiteX1097" fmla="*/ 114971 w 192824"/>
                  <a:gd name="connsiteY1097" fmla="*/ 60131 h 370130"/>
                  <a:gd name="connsiteX1098" fmla="*/ 114619 w 192824"/>
                  <a:gd name="connsiteY1098" fmla="*/ 59161 h 370130"/>
                  <a:gd name="connsiteX1099" fmla="*/ 116999 w 192824"/>
                  <a:gd name="connsiteY1099" fmla="*/ 59778 h 370130"/>
                  <a:gd name="connsiteX1100" fmla="*/ 117616 w 192824"/>
                  <a:gd name="connsiteY1100" fmla="*/ 58367 h 370130"/>
                  <a:gd name="connsiteX1101" fmla="*/ 116735 w 192824"/>
                  <a:gd name="connsiteY1101" fmla="*/ 57133 h 370130"/>
                  <a:gd name="connsiteX1102" fmla="*/ 117616 w 192824"/>
                  <a:gd name="connsiteY1102" fmla="*/ 57133 h 370130"/>
                  <a:gd name="connsiteX1103" fmla="*/ 117881 w 192824"/>
                  <a:gd name="connsiteY1103" fmla="*/ 56604 h 370130"/>
                  <a:gd name="connsiteX1104" fmla="*/ 117264 w 192824"/>
                  <a:gd name="connsiteY1104" fmla="*/ 55987 h 370130"/>
                  <a:gd name="connsiteX1105" fmla="*/ 117264 w 192824"/>
                  <a:gd name="connsiteY1105" fmla="*/ 54841 h 370130"/>
                  <a:gd name="connsiteX1106" fmla="*/ 116382 w 192824"/>
                  <a:gd name="connsiteY1106" fmla="*/ 54576 h 370130"/>
                  <a:gd name="connsiteX1107" fmla="*/ 116999 w 192824"/>
                  <a:gd name="connsiteY1107" fmla="*/ 53695 h 370130"/>
                  <a:gd name="connsiteX1108" fmla="*/ 116735 w 192824"/>
                  <a:gd name="connsiteY1108" fmla="*/ 52813 h 370130"/>
                  <a:gd name="connsiteX1109" fmla="*/ 118145 w 192824"/>
                  <a:gd name="connsiteY1109" fmla="*/ 53077 h 370130"/>
                  <a:gd name="connsiteX1110" fmla="*/ 117264 w 192824"/>
                  <a:gd name="connsiteY1110" fmla="*/ 51578 h 370130"/>
                  <a:gd name="connsiteX1111" fmla="*/ 116999 w 192824"/>
                  <a:gd name="connsiteY1111" fmla="*/ 51049 h 370130"/>
                  <a:gd name="connsiteX1112" fmla="*/ 119027 w 192824"/>
                  <a:gd name="connsiteY1112" fmla="*/ 51578 h 370130"/>
                  <a:gd name="connsiteX1113" fmla="*/ 119027 w 192824"/>
                  <a:gd name="connsiteY1113" fmla="*/ 52196 h 370130"/>
                  <a:gd name="connsiteX1114" fmla="*/ 119909 w 192824"/>
                  <a:gd name="connsiteY1114" fmla="*/ 53077 h 370130"/>
                  <a:gd name="connsiteX1115" fmla="*/ 119644 w 192824"/>
                  <a:gd name="connsiteY1115" fmla="*/ 51578 h 370130"/>
                  <a:gd name="connsiteX1116" fmla="*/ 118763 w 192824"/>
                  <a:gd name="connsiteY1116" fmla="*/ 51049 h 370130"/>
                  <a:gd name="connsiteX1117" fmla="*/ 119380 w 192824"/>
                  <a:gd name="connsiteY1117" fmla="*/ 50432 h 370130"/>
                  <a:gd name="connsiteX1118" fmla="*/ 120261 w 192824"/>
                  <a:gd name="connsiteY1118" fmla="*/ 51049 h 370130"/>
                  <a:gd name="connsiteX1119" fmla="*/ 120526 w 192824"/>
                  <a:gd name="connsiteY1119" fmla="*/ 52548 h 370130"/>
                  <a:gd name="connsiteX1120" fmla="*/ 121055 w 192824"/>
                  <a:gd name="connsiteY1120" fmla="*/ 51578 h 370130"/>
                  <a:gd name="connsiteX1121" fmla="*/ 121936 w 192824"/>
                  <a:gd name="connsiteY1121" fmla="*/ 51578 h 370130"/>
                  <a:gd name="connsiteX1122" fmla="*/ 121936 w 192824"/>
                  <a:gd name="connsiteY1122" fmla="*/ 50432 h 370130"/>
                  <a:gd name="connsiteX1123" fmla="*/ 121319 w 192824"/>
                  <a:gd name="connsiteY1123" fmla="*/ 49286 h 370130"/>
                  <a:gd name="connsiteX1124" fmla="*/ 122554 w 192824"/>
                  <a:gd name="connsiteY1124" fmla="*/ 49903 h 370130"/>
                  <a:gd name="connsiteX1125" fmla="*/ 122290 w 192824"/>
                  <a:gd name="connsiteY1125" fmla="*/ 49022 h 370130"/>
                  <a:gd name="connsiteX1126" fmla="*/ 123083 w 192824"/>
                  <a:gd name="connsiteY1126" fmla="*/ 49903 h 370130"/>
                  <a:gd name="connsiteX1127" fmla="*/ 123700 w 192824"/>
                  <a:gd name="connsiteY1127" fmla="*/ 49022 h 370130"/>
                  <a:gd name="connsiteX1128" fmla="*/ 124581 w 192824"/>
                  <a:gd name="connsiteY1128" fmla="*/ 49903 h 370130"/>
                  <a:gd name="connsiteX1129" fmla="*/ 124317 w 192824"/>
                  <a:gd name="connsiteY1129" fmla="*/ 48757 h 370130"/>
                  <a:gd name="connsiteX1130" fmla="*/ 123965 w 192824"/>
                  <a:gd name="connsiteY1130" fmla="*/ 47258 h 370130"/>
                  <a:gd name="connsiteX1131" fmla="*/ 123083 w 192824"/>
                  <a:gd name="connsiteY1131" fmla="*/ 46377 h 370130"/>
                  <a:gd name="connsiteX1132" fmla="*/ 123965 w 192824"/>
                  <a:gd name="connsiteY1132" fmla="*/ 46641 h 370130"/>
                  <a:gd name="connsiteX1133" fmla="*/ 125199 w 192824"/>
                  <a:gd name="connsiteY1133" fmla="*/ 47258 h 370130"/>
                  <a:gd name="connsiteX1134" fmla="*/ 125463 w 192824"/>
                  <a:gd name="connsiteY1134" fmla="*/ 46641 h 370130"/>
                  <a:gd name="connsiteX1135" fmla="*/ 125728 w 192824"/>
                  <a:gd name="connsiteY1135" fmla="*/ 46994 h 370130"/>
                  <a:gd name="connsiteX1136" fmla="*/ 126345 w 192824"/>
                  <a:gd name="connsiteY1136" fmla="*/ 48404 h 370130"/>
                  <a:gd name="connsiteX1137" fmla="*/ 125728 w 192824"/>
                  <a:gd name="connsiteY1137" fmla="*/ 45495 h 370130"/>
                  <a:gd name="connsiteX1138" fmla="*/ 126345 w 192824"/>
                  <a:gd name="connsiteY1138" fmla="*/ 46994 h 370130"/>
                  <a:gd name="connsiteX1139" fmla="*/ 126345 w 192824"/>
                  <a:gd name="connsiteY1139" fmla="*/ 46112 h 370130"/>
                  <a:gd name="connsiteX1140" fmla="*/ 127227 w 192824"/>
                  <a:gd name="connsiteY1140" fmla="*/ 46994 h 370130"/>
                  <a:gd name="connsiteX1141" fmla="*/ 127491 w 192824"/>
                  <a:gd name="connsiteY1141" fmla="*/ 47258 h 370130"/>
                  <a:gd name="connsiteX1142" fmla="*/ 127227 w 192824"/>
                  <a:gd name="connsiteY1142" fmla="*/ 48140 h 370130"/>
                  <a:gd name="connsiteX1143" fmla="*/ 127491 w 192824"/>
                  <a:gd name="connsiteY1143" fmla="*/ 48757 h 370130"/>
                  <a:gd name="connsiteX1144" fmla="*/ 128108 w 192824"/>
                  <a:gd name="connsiteY1144" fmla="*/ 49286 h 370130"/>
                  <a:gd name="connsiteX1145" fmla="*/ 128373 w 192824"/>
                  <a:gd name="connsiteY1145" fmla="*/ 48140 h 370130"/>
                  <a:gd name="connsiteX1146" fmla="*/ 128108 w 192824"/>
                  <a:gd name="connsiteY1146" fmla="*/ 47258 h 370130"/>
                  <a:gd name="connsiteX1147" fmla="*/ 128373 w 192824"/>
                  <a:gd name="connsiteY1147" fmla="*/ 46641 h 370130"/>
                  <a:gd name="connsiteX1148" fmla="*/ 129255 w 192824"/>
                  <a:gd name="connsiteY1148" fmla="*/ 49022 h 370130"/>
                  <a:gd name="connsiteX1149" fmla="*/ 129255 w 192824"/>
                  <a:gd name="connsiteY1149" fmla="*/ 46377 h 370130"/>
                  <a:gd name="connsiteX1150" fmla="*/ 130665 w 192824"/>
                  <a:gd name="connsiteY1150" fmla="*/ 46994 h 370130"/>
                  <a:gd name="connsiteX1151" fmla="*/ 129519 w 192824"/>
                  <a:gd name="connsiteY1151" fmla="*/ 47258 h 37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</a:cxnLst>
                <a:rect l="l" t="t" r="r" b="b"/>
                <a:pathLst>
                  <a:path w="192824" h="370130">
                    <a:moveTo>
                      <a:pt x="130401" y="49022"/>
                    </a:moveTo>
                    <a:lnTo>
                      <a:pt x="133311" y="50785"/>
                    </a:lnTo>
                    <a:lnTo>
                      <a:pt x="130401" y="46112"/>
                    </a:lnTo>
                    <a:lnTo>
                      <a:pt x="127844" y="45495"/>
                    </a:lnTo>
                    <a:lnTo>
                      <a:pt x="126081" y="44084"/>
                    </a:lnTo>
                    <a:lnTo>
                      <a:pt x="122818" y="42585"/>
                    </a:lnTo>
                    <a:lnTo>
                      <a:pt x="114619" y="44349"/>
                    </a:lnTo>
                    <a:lnTo>
                      <a:pt x="113825" y="40293"/>
                    </a:lnTo>
                    <a:lnTo>
                      <a:pt x="111444" y="41704"/>
                    </a:lnTo>
                    <a:lnTo>
                      <a:pt x="108535" y="40293"/>
                    </a:lnTo>
                    <a:lnTo>
                      <a:pt x="105890" y="38794"/>
                    </a:lnTo>
                    <a:lnTo>
                      <a:pt x="105890" y="36149"/>
                    </a:lnTo>
                    <a:lnTo>
                      <a:pt x="100335" y="33239"/>
                    </a:lnTo>
                    <a:lnTo>
                      <a:pt x="98043" y="34386"/>
                    </a:lnTo>
                    <a:lnTo>
                      <a:pt x="97778" y="28302"/>
                    </a:lnTo>
                    <a:lnTo>
                      <a:pt x="93987" y="24246"/>
                    </a:lnTo>
                    <a:lnTo>
                      <a:pt x="91960" y="19838"/>
                    </a:lnTo>
                    <a:lnTo>
                      <a:pt x="96280" y="19838"/>
                    </a:lnTo>
                    <a:lnTo>
                      <a:pt x="96897" y="14548"/>
                    </a:lnTo>
                    <a:lnTo>
                      <a:pt x="91078" y="9963"/>
                    </a:lnTo>
                    <a:lnTo>
                      <a:pt x="86669" y="13401"/>
                    </a:lnTo>
                    <a:lnTo>
                      <a:pt x="85788" y="11638"/>
                    </a:lnTo>
                    <a:lnTo>
                      <a:pt x="81114" y="9081"/>
                    </a:lnTo>
                    <a:lnTo>
                      <a:pt x="76706" y="11638"/>
                    </a:lnTo>
                    <a:lnTo>
                      <a:pt x="69476" y="7582"/>
                    </a:lnTo>
                    <a:lnTo>
                      <a:pt x="67977" y="4408"/>
                    </a:lnTo>
                    <a:lnTo>
                      <a:pt x="63305" y="0"/>
                    </a:lnTo>
                    <a:lnTo>
                      <a:pt x="61541" y="3527"/>
                    </a:lnTo>
                    <a:lnTo>
                      <a:pt x="56075" y="4673"/>
                    </a:lnTo>
                    <a:lnTo>
                      <a:pt x="55722" y="6965"/>
                    </a:lnTo>
                    <a:lnTo>
                      <a:pt x="53694" y="6965"/>
                    </a:lnTo>
                    <a:lnTo>
                      <a:pt x="54840" y="10492"/>
                    </a:lnTo>
                    <a:lnTo>
                      <a:pt x="52284" y="13401"/>
                    </a:lnTo>
                    <a:lnTo>
                      <a:pt x="48493" y="12520"/>
                    </a:lnTo>
                    <a:lnTo>
                      <a:pt x="47875" y="15518"/>
                    </a:lnTo>
                    <a:lnTo>
                      <a:pt x="44348" y="17545"/>
                    </a:lnTo>
                    <a:lnTo>
                      <a:pt x="40910" y="14900"/>
                    </a:lnTo>
                    <a:lnTo>
                      <a:pt x="36766" y="15518"/>
                    </a:lnTo>
                    <a:lnTo>
                      <a:pt x="36766" y="21601"/>
                    </a:lnTo>
                    <a:lnTo>
                      <a:pt x="30065" y="15518"/>
                    </a:lnTo>
                    <a:lnTo>
                      <a:pt x="28302" y="21337"/>
                    </a:lnTo>
                    <a:lnTo>
                      <a:pt x="23364" y="15518"/>
                    </a:lnTo>
                    <a:lnTo>
                      <a:pt x="22218" y="17193"/>
                    </a:lnTo>
                    <a:lnTo>
                      <a:pt x="20455" y="17810"/>
                    </a:lnTo>
                    <a:lnTo>
                      <a:pt x="19309" y="20102"/>
                    </a:lnTo>
                    <a:lnTo>
                      <a:pt x="19309" y="25657"/>
                    </a:lnTo>
                    <a:lnTo>
                      <a:pt x="14900" y="21337"/>
                    </a:lnTo>
                    <a:lnTo>
                      <a:pt x="12608" y="20102"/>
                    </a:lnTo>
                    <a:lnTo>
                      <a:pt x="10845" y="20102"/>
                    </a:lnTo>
                    <a:lnTo>
                      <a:pt x="8464" y="16311"/>
                    </a:lnTo>
                    <a:lnTo>
                      <a:pt x="5819" y="16311"/>
                    </a:lnTo>
                    <a:lnTo>
                      <a:pt x="4673" y="15782"/>
                    </a:lnTo>
                    <a:lnTo>
                      <a:pt x="2380" y="18692"/>
                    </a:lnTo>
                    <a:lnTo>
                      <a:pt x="0" y="23365"/>
                    </a:lnTo>
                    <a:lnTo>
                      <a:pt x="2645" y="28919"/>
                    </a:lnTo>
                    <a:lnTo>
                      <a:pt x="7318" y="31829"/>
                    </a:lnTo>
                    <a:lnTo>
                      <a:pt x="9346" y="33857"/>
                    </a:lnTo>
                    <a:lnTo>
                      <a:pt x="8200" y="34386"/>
                    </a:lnTo>
                    <a:lnTo>
                      <a:pt x="8464" y="35267"/>
                    </a:lnTo>
                    <a:lnTo>
                      <a:pt x="10845" y="35620"/>
                    </a:lnTo>
                    <a:lnTo>
                      <a:pt x="12608" y="37383"/>
                    </a:lnTo>
                    <a:lnTo>
                      <a:pt x="12872" y="38177"/>
                    </a:lnTo>
                    <a:lnTo>
                      <a:pt x="13137" y="39940"/>
                    </a:lnTo>
                    <a:lnTo>
                      <a:pt x="13137" y="41175"/>
                    </a:lnTo>
                    <a:lnTo>
                      <a:pt x="14018" y="43731"/>
                    </a:lnTo>
                    <a:lnTo>
                      <a:pt x="15165" y="42850"/>
                    </a:lnTo>
                    <a:lnTo>
                      <a:pt x="16663" y="41175"/>
                    </a:lnTo>
                    <a:lnTo>
                      <a:pt x="15165" y="39059"/>
                    </a:lnTo>
                    <a:lnTo>
                      <a:pt x="16046" y="38177"/>
                    </a:lnTo>
                    <a:lnTo>
                      <a:pt x="16928" y="38177"/>
                    </a:lnTo>
                    <a:lnTo>
                      <a:pt x="16928" y="39059"/>
                    </a:lnTo>
                    <a:lnTo>
                      <a:pt x="17545" y="41704"/>
                    </a:lnTo>
                    <a:lnTo>
                      <a:pt x="18692" y="41175"/>
                    </a:lnTo>
                    <a:lnTo>
                      <a:pt x="19309" y="41175"/>
                    </a:lnTo>
                    <a:lnTo>
                      <a:pt x="21072" y="44613"/>
                    </a:lnTo>
                    <a:lnTo>
                      <a:pt x="19309" y="48140"/>
                    </a:lnTo>
                    <a:lnTo>
                      <a:pt x="19309" y="48757"/>
                    </a:lnTo>
                    <a:lnTo>
                      <a:pt x="19838" y="48140"/>
                    </a:lnTo>
                    <a:lnTo>
                      <a:pt x="19838" y="48757"/>
                    </a:lnTo>
                    <a:lnTo>
                      <a:pt x="19573" y="49903"/>
                    </a:lnTo>
                    <a:lnTo>
                      <a:pt x="19838" y="51578"/>
                    </a:lnTo>
                    <a:lnTo>
                      <a:pt x="18956" y="51578"/>
                    </a:lnTo>
                    <a:lnTo>
                      <a:pt x="18692" y="52813"/>
                    </a:lnTo>
                    <a:lnTo>
                      <a:pt x="19838" y="52813"/>
                    </a:lnTo>
                    <a:lnTo>
                      <a:pt x="20719" y="53695"/>
                    </a:lnTo>
                    <a:lnTo>
                      <a:pt x="21072" y="55458"/>
                    </a:lnTo>
                    <a:lnTo>
                      <a:pt x="21866" y="57133"/>
                    </a:lnTo>
                    <a:lnTo>
                      <a:pt x="23982" y="58015"/>
                    </a:lnTo>
                    <a:lnTo>
                      <a:pt x="24863" y="60131"/>
                    </a:lnTo>
                    <a:lnTo>
                      <a:pt x="25128" y="61541"/>
                    </a:lnTo>
                    <a:lnTo>
                      <a:pt x="27155" y="63569"/>
                    </a:lnTo>
                    <a:lnTo>
                      <a:pt x="28919" y="63922"/>
                    </a:lnTo>
                    <a:lnTo>
                      <a:pt x="30418" y="63922"/>
                    </a:lnTo>
                    <a:lnTo>
                      <a:pt x="30947" y="63922"/>
                    </a:lnTo>
                    <a:lnTo>
                      <a:pt x="32093" y="64451"/>
                    </a:lnTo>
                    <a:lnTo>
                      <a:pt x="33592" y="64451"/>
                    </a:lnTo>
                    <a:lnTo>
                      <a:pt x="33239" y="63922"/>
                    </a:lnTo>
                    <a:lnTo>
                      <a:pt x="35355" y="65597"/>
                    </a:lnTo>
                    <a:lnTo>
                      <a:pt x="37648" y="66479"/>
                    </a:lnTo>
                    <a:lnTo>
                      <a:pt x="38794" y="68242"/>
                    </a:lnTo>
                    <a:lnTo>
                      <a:pt x="40910" y="67361"/>
                    </a:lnTo>
                    <a:lnTo>
                      <a:pt x="40910" y="66479"/>
                    </a:lnTo>
                    <a:lnTo>
                      <a:pt x="41174" y="65597"/>
                    </a:lnTo>
                    <a:lnTo>
                      <a:pt x="41174" y="64451"/>
                    </a:lnTo>
                    <a:lnTo>
                      <a:pt x="41174" y="63569"/>
                    </a:lnTo>
                    <a:lnTo>
                      <a:pt x="42056" y="63569"/>
                    </a:lnTo>
                    <a:lnTo>
                      <a:pt x="43202" y="62688"/>
                    </a:lnTo>
                    <a:lnTo>
                      <a:pt x="43467" y="62688"/>
                    </a:lnTo>
                    <a:lnTo>
                      <a:pt x="44966" y="62159"/>
                    </a:lnTo>
                    <a:lnTo>
                      <a:pt x="46112" y="62159"/>
                    </a:lnTo>
                    <a:lnTo>
                      <a:pt x="46376" y="60924"/>
                    </a:lnTo>
                    <a:lnTo>
                      <a:pt x="46993" y="60131"/>
                    </a:lnTo>
                    <a:lnTo>
                      <a:pt x="47875" y="60924"/>
                    </a:lnTo>
                    <a:lnTo>
                      <a:pt x="49022" y="60924"/>
                    </a:lnTo>
                    <a:lnTo>
                      <a:pt x="51049" y="61541"/>
                    </a:lnTo>
                    <a:lnTo>
                      <a:pt x="51049" y="62159"/>
                    </a:lnTo>
                    <a:lnTo>
                      <a:pt x="52548" y="62159"/>
                    </a:lnTo>
                    <a:lnTo>
                      <a:pt x="52548" y="62688"/>
                    </a:lnTo>
                    <a:lnTo>
                      <a:pt x="53077" y="63922"/>
                    </a:lnTo>
                    <a:lnTo>
                      <a:pt x="54576" y="63922"/>
                    </a:lnTo>
                    <a:lnTo>
                      <a:pt x="55193" y="64451"/>
                    </a:lnTo>
                    <a:lnTo>
                      <a:pt x="56339" y="65333"/>
                    </a:lnTo>
                    <a:lnTo>
                      <a:pt x="56604" y="66479"/>
                    </a:lnTo>
                    <a:lnTo>
                      <a:pt x="59866" y="67361"/>
                    </a:lnTo>
                    <a:lnTo>
                      <a:pt x="59514" y="68859"/>
                    </a:lnTo>
                    <a:lnTo>
                      <a:pt x="59514" y="69741"/>
                    </a:lnTo>
                    <a:lnTo>
                      <a:pt x="59866" y="70887"/>
                    </a:lnTo>
                    <a:lnTo>
                      <a:pt x="58632" y="71416"/>
                    </a:lnTo>
                    <a:lnTo>
                      <a:pt x="58103" y="71416"/>
                    </a:lnTo>
                    <a:lnTo>
                      <a:pt x="57221" y="70887"/>
                    </a:lnTo>
                    <a:lnTo>
                      <a:pt x="56868" y="71769"/>
                    </a:lnTo>
                    <a:lnTo>
                      <a:pt x="55722" y="72651"/>
                    </a:lnTo>
                    <a:lnTo>
                      <a:pt x="56075" y="73532"/>
                    </a:lnTo>
                    <a:lnTo>
                      <a:pt x="56604" y="73797"/>
                    </a:lnTo>
                    <a:lnTo>
                      <a:pt x="57750" y="74414"/>
                    </a:lnTo>
                    <a:lnTo>
                      <a:pt x="60130" y="73797"/>
                    </a:lnTo>
                    <a:lnTo>
                      <a:pt x="61012" y="75208"/>
                    </a:lnTo>
                    <a:lnTo>
                      <a:pt x="63305" y="75560"/>
                    </a:lnTo>
                    <a:lnTo>
                      <a:pt x="63305" y="76971"/>
                    </a:lnTo>
                    <a:lnTo>
                      <a:pt x="62159" y="76971"/>
                    </a:lnTo>
                    <a:lnTo>
                      <a:pt x="62511" y="78734"/>
                    </a:lnTo>
                    <a:lnTo>
                      <a:pt x="63922" y="79969"/>
                    </a:lnTo>
                    <a:lnTo>
                      <a:pt x="65333" y="78205"/>
                    </a:lnTo>
                    <a:lnTo>
                      <a:pt x="66831" y="78734"/>
                    </a:lnTo>
                    <a:lnTo>
                      <a:pt x="68859" y="79969"/>
                    </a:lnTo>
                    <a:lnTo>
                      <a:pt x="68330" y="81115"/>
                    </a:lnTo>
                    <a:lnTo>
                      <a:pt x="69124" y="81996"/>
                    </a:lnTo>
                    <a:lnTo>
                      <a:pt x="69741" y="81996"/>
                    </a:lnTo>
                    <a:lnTo>
                      <a:pt x="69124" y="82878"/>
                    </a:lnTo>
                    <a:lnTo>
                      <a:pt x="70006" y="84289"/>
                    </a:lnTo>
                    <a:lnTo>
                      <a:pt x="69476" y="84906"/>
                    </a:lnTo>
                    <a:lnTo>
                      <a:pt x="68330" y="84906"/>
                    </a:lnTo>
                    <a:lnTo>
                      <a:pt x="68330" y="85435"/>
                    </a:lnTo>
                    <a:lnTo>
                      <a:pt x="67448" y="86317"/>
                    </a:lnTo>
                    <a:lnTo>
                      <a:pt x="66214" y="87199"/>
                    </a:lnTo>
                    <a:lnTo>
                      <a:pt x="66214" y="88080"/>
                    </a:lnTo>
                    <a:lnTo>
                      <a:pt x="67448" y="87463"/>
                    </a:lnTo>
                    <a:lnTo>
                      <a:pt x="67713" y="88080"/>
                    </a:lnTo>
                    <a:lnTo>
                      <a:pt x="67977" y="90108"/>
                    </a:lnTo>
                    <a:lnTo>
                      <a:pt x="66567" y="89843"/>
                    </a:lnTo>
                    <a:lnTo>
                      <a:pt x="66567" y="90108"/>
                    </a:lnTo>
                    <a:lnTo>
                      <a:pt x="65597" y="90108"/>
                    </a:lnTo>
                    <a:lnTo>
                      <a:pt x="64451" y="92489"/>
                    </a:lnTo>
                    <a:lnTo>
                      <a:pt x="63305" y="93635"/>
                    </a:lnTo>
                    <a:lnTo>
                      <a:pt x="62511" y="94252"/>
                    </a:lnTo>
                    <a:lnTo>
                      <a:pt x="61012" y="93635"/>
                    </a:lnTo>
                    <a:lnTo>
                      <a:pt x="59866" y="92753"/>
                    </a:lnTo>
                    <a:lnTo>
                      <a:pt x="59514" y="91871"/>
                    </a:lnTo>
                    <a:lnTo>
                      <a:pt x="58367" y="92489"/>
                    </a:lnTo>
                    <a:lnTo>
                      <a:pt x="57221" y="92489"/>
                    </a:lnTo>
                    <a:lnTo>
                      <a:pt x="55722" y="91871"/>
                    </a:lnTo>
                    <a:lnTo>
                      <a:pt x="52813" y="92489"/>
                    </a:lnTo>
                    <a:lnTo>
                      <a:pt x="52284" y="92489"/>
                    </a:lnTo>
                    <a:lnTo>
                      <a:pt x="51049" y="91871"/>
                    </a:lnTo>
                    <a:lnTo>
                      <a:pt x="50520" y="92489"/>
                    </a:lnTo>
                    <a:lnTo>
                      <a:pt x="51402" y="93635"/>
                    </a:lnTo>
                    <a:lnTo>
                      <a:pt x="51667" y="94781"/>
                    </a:lnTo>
                    <a:lnTo>
                      <a:pt x="52548" y="94781"/>
                    </a:lnTo>
                    <a:lnTo>
                      <a:pt x="52813" y="96544"/>
                    </a:lnTo>
                    <a:lnTo>
                      <a:pt x="52284" y="97161"/>
                    </a:lnTo>
                    <a:lnTo>
                      <a:pt x="52284" y="98043"/>
                    </a:lnTo>
                    <a:lnTo>
                      <a:pt x="52548" y="98308"/>
                    </a:lnTo>
                    <a:lnTo>
                      <a:pt x="51931" y="98308"/>
                    </a:lnTo>
                    <a:lnTo>
                      <a:pt x="51402" y="98308"/>
                    </a:lnTo>
                    <a:lnTo>
                      <a:pt x="50168" y="99189"/>
                    </a:lnTo>
                    <a:lnTo>
                      <a:pt x="49638" y="100953"/>
                    </a:lnTo>
                    <a:lnTo>
                      <a:pt x="49286" y="101482"/>
                    </a:lnTo>
                    <a:lnTo>
                      <a:pt x="49638" y="102099"/>
                    </a:lnTo>
                    <a:lnTo>
                      <a:pt x="49903" y="102099"/>
                    </a:lnTo>
                    <a:lnTo>
                      <a:pt x="49903" y="102628"/>
                    </a:lnTo>
                    <a:lnTo>
                      <a:pt x="52284" y="103510"/>
                    </a:lnTo>
                    <a:lnTo>
                      <a:pt x="52813" y="102363"/>
                    </a:lnTo>
                    <a:lnTo>
                      <a:pt x="53077" y="103510"/>
                    </a:lnTo>
                    <a:lnTo>
                      <a:pt x="53959" y="103862"/>
                    </a:lnTo>
                    <a:lnTo>
                      <a:pt x="55193" y="104127"/>
                    </a:lnTo>
                    <a:lnTo>
                      <a:pt x="56339" y="105273"/>
                    </a:lnTo>
                    <a:lnTo>
                      <a:pt x="57485" y="105626"/>
                    </a:lnTo>
                    <a:lnTo>
                      <a:pt x="57485" y="106419"/>
                    </a:lnTo>
                    <a:lnTo>
                      <a:pt x="58632" y="105890"/>
                    </a:lnTo>
                    <a:lnTo>
                      <a:pt x="59514" y="107036"/>
                    </a:lnTo>
                    <a:lnTo>
                      <a:pt x="61541" y="107654"/>
                    </a:lnTo>
                    <a:lnTo>
                      <a:pt x="62511" y="109417"/>
                    </a:lnTo>
                    <a:lnTo>
                      <a:pt x="63922" y="108183"/>
                    </a:lnTo>
                    <a:lnTo>
                      <a:pt x="65333" y="111974"/>
                    </a:lnTo>
                    <a:lnTo>
                      <a:pt x="66214" y="111974"/>
                    </a:lnTo>
                    <a:lnTo>
                      <a:pt x="67977" y="113208"/>
                    </a:lnTo>
                    <a:lnTo>
                      <a:pt x="69124" y="112855"/>
                    </a:lnTo>
                    <a:lnTo>
                      <a:pt x="69476" y="114619"/>
                    </a:lnTo>
                    <a:lnTo>
                      <a:pt x="71769" y="114619"/>
                    </a:lnTo>
                    <a:lnTo>
                      <a:pt x="73532" y="114619"/>
                    </a:lnTo>
                    <a:lnTo>
                      <a:pt x="74414" y="115501"/>
                    </a:lnTo>
                    <a:lnTo>
                      <a:pt x="75296" y="115501"/>
                    </a:lnTo>
                    <a:lnTo>
                      <a:pt x="75913" y="115501"/>
                    </a:lnTo>
                    <a:lnTo>
                      <a:pt x="77588" y="116382"/>
                    </a:lnTo>
                    <a:lnTo>
                      <a:pt x="78470" y="117528"/>
                    </a:lnTo>
                    <a:lnTo>
                      <a:pt x="80233" y="117528"/>
                    </a:lnTo>
                    <a:lnTo>
                      <a:pt x="81114" y="118146"/>
                    </a:lnTo>
                    <a:lnTo>
                      <a:pt x="80585" y="119292"/>
                    </a:lnTo>
                    <a:lnTo>
                      <a:pt x="78823" y="119292"/>
                    </a:lnTo>
                    <a:lnTo>
                      <a:pt x="78823" y="123083"/>
                    </a:lnTo>
                    <a:lnTo>
                      <a:pt x="79616" y="124582"/>
                    </a:lnTo>
                    <a:lnTo>
                      <a:pt x="81379" y="124846"/>
                    </a:lnTo>
                    <a:lnTo>
                      <a:pt x="81732" y="126257"/>
                    </a:lnTo>
                    <a:lnTo>
                      <a:pt x="82261" y="126610"/>
                    </a:lnTo>
                    <a:lnTo>
                      <a:pt x="83407" y="128020"/>
                    </a:lnTo>
                    <a:lnTo>
                      <a:pt x="84289" y="127491"/>
                    </a:lnTo>
                    <a:lnTo>
                      <a:pt x="84641" y="129167"/>
                    </a:lnTo>
                    <a:lnTo>
                      <a:pt x="86669" y="130401"/>
                    </a:lnTo>
                    <a:lnTo>
                      <a:pt x="86669" y="129167"/>
                    </a:lnTo>
                    <a:lnTo>
                      <a:pt x="87551" y="127491"/>
                    </a:lnTo>
                    <a:lnTo>
                      <a:pt x="88433" y="129167"/>
                    </a:lnTo>
                    <a:lnTo>
                      <a:pt x="88433" y="129784"/>
                    </a:lnTo>
                    <a:lnTo>
                      <a:pt x="88697" y="130930"/>
                    </a:lnTo>
                    <a:lnTo>
                      <a:pt x="89314" y="130930"/>
                    </a:lnTo>
                    <a:lnTo>
                      <a:pt x="89579" y="131812"/>
                    </a:lnTo>
                    <a:lnTo>
                      <a:pt x="91342" y="133046"/>
                    </a:lnTo>
                    <a:lnTo>
                      <a:pt x="90725" y="133311"/>
                    </a:lnTo>
                    <a:lnTo>
                      <a:pt x="91960" y="134192"/>
                    </a:lnTo>
                    <a:lnTo>
                      <a:pt x="91607" y="134809"/>
                    </a:lnTo>
                    <a:lnTo>
                      <a:pt x="91960" y="137366"/>
                    </a:lnTo>
                    <a:lnTo>
                      <a:pt x="93635" y="138248"/>
                    </a:lnTo>
                    <a:lnTo>
                      <a:pt x="93635" y="139130"/>
                    </a:lnTo>
                    <a:lnTo>
                      <a:pt x="94516" y="140276"/>
                    </a:lnTo>
                    <a:lnTo>
                      <a:pt x="96015" y="142921"/>
                    </a:lnTo>
                    <a:lnTo>
                      <a:pt x="98572" y="143803"/>
                    </a:lnTo>
                    <a:lnTo>
                      <a:pt x="102452" y="149005"/>
                    </a:lnTo>
                    <a:lnTo>
                      <a:pt x="107389" y="152531"/>
                    </a:lnTo>
                    <a:lnTo>
                      <a:pt x="108535" y="152531"/>
                    </a:lnTo>
                    <a:lnTo>
                      <a:pt x="109152" y="152002"/>
                    </a:lnTo>
                    <a:lnTo>
                      <a:pt x="109681" y="152002"/>
                    </a:lnTo>
                    <a:lnTo>
                      <a:pt x="110915" y="152796"/>
                    </a:lnTo>
                    <a:lnTo>
                      <a:pt x="110034" y="153148"/>
                    </a:lnTo>
                    <a:lnTo>
                      <a:pt x="110034" y="153677"/>
                    </a:lnTo>
                    <a:lnTo>
                      <a:pt x="111709" y="156323"/>
                    </a:lnTo>
                    <a:lnTo>
                      <a:pt x="113473" y="156940"/>
                    </a:lnTo>
                    <a:lnTo>
                      <a:pt x="112326" y="158086"/>
                    </a:lnTo>
                    <a:lnTo>
                      <a:pt x="113208" y="159232"/>
                    </a:lnTo>
                    <a:lnTo>
                      <a:pt x="114619" y="159232"/>
                    </a:lnTo>
                    <a:lnTo>
                      <a:pt x="116118" y="160466"/>
                    </a:lnTo>
                    <a:lnTo>
                      <a:pt x="116735" y="166550"/>
                    </a:lnTo>
                    <a:lnTo>
                      <a:pt x="117616" y="168578"/>
                    </a:lnTo>
                    <a:lnTo>
                      <a:pt x="118410" y="168578"/>
                    </a:lnTo>
                    <a:lnTo>
                      <a:pt x="118410" y="170077"/>
                    </a:lnTo>
                    <a:lnTo>
                      <a:pt x="119644" y="170077"/>
                    </a:lnTo>
                    <a:lnTo>
                      <a:pt x="119644" y="170341"/>
                    </a:lnTo>
                    <a:lnTo>
                      <a:pt x="119909" y="172986"/>
                    </a:lnTo>
                    <a:lnTo>
                      <a:pt x="120790" y="173515"/>
                    </a:lnTo>
                    <a:lnTo>
                      <a:pt x="122290" y="173515"/>
                    </a:lnTo>
                    <a:lnTo>
                      <a:pt x="122818" y="173515"/>
                    </a:lnTo>
                    <a:lnTo>
                      <a:pt x="122818" y="172105"/>
                    </a:lnTo>
                    <a:lnTo>
                      <a:pt x="123083" y="171752"/>
                    </a:lnTo>
                    <a:lnTo>
                      <a:pt x="122818" y="170341"/>
                    </a:lnTo>
                    <a:lnTo>
                      <a:pt x="124317" y="170341"/>
                    </a:lnTo>
                    <a:lnTo>
                      <a:pt x="124846" y="170958"/>
                    </a:lnTo>
                    <a:lnTo>
                      <a:pt x="125199" y="172105"/>
                    </a:lnTo>
                    <a:lnTo>
                      <a:pt x="124581" y="173515"/>
                    </a:lnTo>
                    <a:lnTo>
                      <a:pt x="125463" y="173515"/>
                    </a:lnTo>
                    <a:lnTo>
                      <a:pt x="125463" y="174133"/>
                    </a:lnTo>
                    <a:lnTo>
                      <a:pt x="127227" y="175543"/>
                    </a:lnTo>
                    <a:lnTo>
                      <a:pt x="127491" y="176425"/>
                    </a:lnTo>
                    <a:lnTo>
                      <a:pt x="128108" y="176425"/>
                    </a:lnTo>
                    <a:lnTo>
                      <a:pt x="129519" y="176425"/>
                    </a:lnTo>
                    <a:lnTo>
                      <a:pt x="131282" y="177307"/>
                    </a:lnTo>
                    <a:lnTo>
                      <a:pt x="132429" y="179070"/>
                    </a:lnTo>
                    <a:lnTo>
                      <a:pt x="133046" y="180216"/>
                    </a:lnTo>
                    <a:lnTo>
                      <a:pt x="134192" y="180216"/>
                    </a:lnTo>
                    <a:lnTo>
                      <a:pt x="135955" y="182861"/>
                    </a:lnTo>
                    <a:lnTo>
                      <a:pt x="137102" y="182861"/>
                    </a:lnTo>
                    <a:lnTo>
                      <a:pt x="137454" y="181450"/>
                    </a:lnTo>
                    <a:lnTo>
                      <a:pt x="139129" y="181450"/>
                    </a:lnTo>
                    <a:lnTo>
                      <a:pt x="139129" y="183214"/>
                    </a:lnTo>
                    <a:lnTo>
                      <a:pt x="139482" y="184007"/>
                    </a:lnTo>
                    <a:lnTo>
                      <a:pt x="137454" y="185771"/>
                    </a:lnTo>
                    <a:lnTo>
                      <a:pt x="136220" y="185771"/>
                    </a:lnTo>
                    <a:lnTo>
                      <a:pt x="135073" y="187534"/>
                    </a:lnTo>
                    <a:lnTo>
                      <a:pt x="134544" y="187534"/>
                    </a:lnTo>
                    <a:lnTo>
                      <a:pt x="134192" y="187534"/>
                    </a:lnTo>
                    <a:lnTo>
                      <a:pt x="133575" y="189297"/>
                    </a:lnTo>
                    <a:lnTo>
                      <a:pt x="135691" y="190796"/>
                    </a:lnTo>
                    <a:lnTo>
                      <a:pt x="135955" y="192824"/>
                    </a:lnTo>
                    <a:lnTo>
                      <a:pt x="136573" y="193089"/>
                    </a:lnTo>
                    <a:lnTo>
                      <a:pt x="137719" y="193970"/>
                    </a:lnTo>
                    <a:lnTo>
                      <a:pt x="138865" y="196263"/>
                    </a:lnTo>
                    <a:lnTo>
                      <a:pt x="140099" y="195734"/>
                    </a:lnTo>
                    <a:lnTo>
                      <a:pt x="140893" y="196263"/>
                    </a:lnTo>
                    <a:lnTo>
                      <a:pt x="141157" y="195734"/>
                    </a:lnTo>
                    <a:lnTo>
                      <a:pt x="141157" y="196880"/>
                    </a:lnTo>
                    <a:lnTo>
                      <a:pt x="141157" y="196263"/>
                    </a:lnTo>
                    <a:lnTo>
                      <a:pt x="141510" y="198291"/>
                    </a:lnTo>
                    <a:lnTo>
                      <a:pt x="142921" y="198291"/>
                    </a:lnTo>
                    <a:lnTo>
                      <a:pt x="143538" y="198291"/>
                    </a:lnTo>
                    <a:lnTo>
                      <a:pt x="143803" y="199172"/>
                    </a:lnTo>
                    <a:lnTo>
                      <a:pt x="144419" y="200054"/>
                    </a:lnTo>
                    <a:lnTo>
                      <a:pt x="146712" y="203052"/>
                    </a:lnTo>
                    <a:lnTo>
                      <a:pt x="146183" y="204198"/>
                    </a:lnTo>
                    <a:lnTo>
                      <a:pt x="145301" y="203581"/>
                    </a:lnTo>
                    <a:lnTo>
                      <a:pt x="145566" y="205873"/>
                    </a:lnTo>
                    <a:lnTo>
                      <a:pt x="144684" y="206755"/>
                    </a:lnTo>
                    <a:lnTo>
                      <a:pt x="145566" y="208254"/>
                    </a:lnTo>
                    <a:lnTo>
                      <a:pt x="144684" y="208254"/>
                    </a:lnTo>
                    <a:lnTo>
                      <a:pt x="143538" y="208254"/>
                    </a:lnTo>
                    <a:lnTo>
                      <a:pt x="142656" y="208518"/>
                    </a:lnTo>
                    <a:lnTo>
                      <a:pt x="142921" y="210017"/>
                    </a:lnTo>
                    <a:lnTo>
                      <a:pt x="145301" y="211780"/>
                    </a:lnTo>
                    <a:lnTo>
                      <a:pt x="143538" y="213456"/>
                    </a:lnTo>
                    <a:lnTo>
                      <a:pt x="144155" y="214690"/>
                    </a:lnTo>
                    <a:lnTo>
                      <a:pt x="143538" y="215572"/>
                    </a:lnTo>
                    <a:lnTo>
                      <a:pt x="145037" y="215836"/>
                    </a:lnTo>
                    <a:lnTo>
                      <a:pt x="145301" y="217335"/>
                    </a:lnTo>
                    <a:lnTo>
                      <a:pt x="145566" y="218481"/>
                    </a:lnTo>
                    <a:lnTo>
                      <a:pt x="144419" y="220509"/>
                    </a:lnTo>
                    <a:lnTo>
                      <a:pt x="145919" y="221920"/>
                    </a:lnTo>
                    <a:lnTo>
                      <a:pt x="144155" y="221920"/>
                    </a:lnTo>
                    <a:lnTo>
                      <a:pt x="144684" y="223683"/>
                    </a:lnTo>
                    <a:lnTo>
                      <a:pt x="143538" y="223419"/>
                    </a:lnTo>
                    <a:lnTo>
                      <a:pt x="142392" y="223419"/>
                    </a:lnTo>
                    <a:lnTo>
                      <a:pt x="142656" y="225799"/>
                    </a:lnTo>
                    <a:lnTo>
                      <a:pt x="142656" y="227474"/>
                    </a:lnTo>
                    <a:lnTo>
                      <a:pt x="142039" y="230737"/>
                    </a:lnTo>
                    <a:lnTo>
                      <a:pt x="143803" y="233382"/>
                    </a:lnTo>
                    <a:lnTo>
                      <a:pt x="145919" y="233382"/>
                    </a:lnTo>
                    <a:lnTo>
                      <a:pt x="146448" y="236556"/>
                    </a:lnTo>
                    <a:lnTo>
                      <a:pt x="146712" y="238584"/>
                    </a:lnTo>
                    <a:lnTo>
                      <a:pt x="147329" y="240347"/>
                    </a:lnTo>
                    <a:lnTo>
                      <a:pt x="148828" y="242639"/>
                    </a:lnTo>
                    <a:lnTo>
                      <a:pt x="150239" y="245637"/>
                    </a:lnTo>
                    <a:lnTo>
                      <a:pt x="150856" y="250222"/>
                    </a:lnTo>
                    <a:lnTo>
                      <a:pt x="148828" y="258422"/>
                    </a:lnTo>
                    <a:lnTo>
                      <a:pt x="149092" y="261331"/>
                    </a:lnTo>
                    <a:lnTo>
                      <a:pt x="150503" y="263094"/>
                    </a:lnTo>
                    <a:lnTo>
                      <a:pt x="150856" y="265740"/>
                    </a:lnTo>
                    <a:lnTo>
                      <a:pt x="151737" y="267503"/>
                    </a:lnTo>
                    <a:lnTo>
                      <a:pt x="152266" y="272440"/>
                    </a:lnTo>
                    <a:lnTo>
                      <a:pt x="152002" y="274468"/>
                    </a:lnTo>
                    <a:lnTo>
                      <a:pt x="150239" y="274733"/>
                    </a:lnTo>
                    <a:lnTo>
                      <a:pt x="150503" y="276231"/>
                    </a:lnTo>
                    <a:lnTo>
                      <a:pt x="149974" y="278524"/>
                    </a:lnTo>
                    <a:lnTo>
                      <a:pt x="148828" y="277378"/>
                    </a:lnTo>
                    <a:lnTo>
                      <a:pt x="147329" y="274733"/>
                    </a:lnTo>
                    <a:lnTo>
                      <a:pt x="146712" y="274733"/>
                    </a:lnTo>
                    <a:lnTo>
                      <a:pt x="143803" y="276231"/>
                    </a:lnTo>
                    <a:lnTo>
                      <a:pt x="141157" y="280023"/>
                    </a:lnTo>
                    <a:lnTo>
                      <a:pt x="140364" y="280023"/>
                    </a:lnTo>
                    <a:lnTo>
                      <a:pt x="139747" y="281169"/>
                    </a:lnTo>
                    <a:lnTo>
                      <a:pt x="138248" y="281786"/>
                    </a:lnTo>
                    <a:lnTo>
                      <a:pt x="135691" y="281786"/>
                    </a:lnTo>
                    <a:lnTo>
                      <a:pt x="133575" y="284078"/>
                    </a:lnTo>
                    <a:lnTo>
                      <a:pt x="129519" y="284078"/>
                    </a:lnTo>
                    <a:lnTo>
                      <a:pt x="127491" y="284078"/>
                    </a:lnTo>
                    <a:lnTo>
                      <a:pt x="129872" y="287252"/>
                    </a:lnTo>
                    <a:lnTo>
                      <a:pt x="127844" y="287252"/>
                    </a:lnTo>
                    <a:lnTo>
                      <a:pt x="128637" y="288487"/>
                    </a:lnTo>
                    <a:lnTo>
                      <a:pt x="128108" y="289633"/>
                    </a:lnTo>
                    <a:lnTo>
                      <a:pt x="130401" y="291396"/>
                    </a:lnTo>
                    <a:lnTo>
                      <a:pt x="130401" y="292278"/>
                    </a:lnTo>
                    <a:lnTo>
                      <a:pt x="127844" y="291396"/>
                    </a:lnTo>
                    <a:lnTo>
                      <a:pt x="126610" y="291396"/>
                    </a:lnTo>
                    <a:lnTo>
                      <a:pt x="125463" y="290162"/>
                    </a:lnTo>
                    <a:lnTo>
                      <a:pt x="122554" y="290162"/>
                    </a:lnTo>
                    <a:lnTo>
                      <a:pt x="119909" y="289633"/>
                    </a:lnTo>
                    <a:lnTo>
                      <a:pt x="119380" y="289633"/>
                    </a:lnTo>
                    <a:lnTo>
                      <a:pt x="119644" y="291044"/>
                    </a:lnTo>
                    <a:lnTo>
                      <a:pt x="118763" y="292807"/>
                    </a:lnTo>
                    <a:lnTo>
                      <a:pt x="116382" y="292278"/>
                    </a:lnTo>
                    <a:lnTo>
                      <a:pt x="115236" y="291044"/>
                    </a:lnTo>
                    <a:lnTo>
                      <a:pt x="115500" y="293160"/>
                    </a:lnTo>
                    <a:lnTo>
                      <a:pt x="115500" y="294570"/>
                    </a:lnTo>
                    <a:lnTo>
                      <a:pt x="116735" y="295188"/>
                    </a:lnTo>
                    <a:lnTo>
                      <a:pt x="116999" y="297480"/>
                    </a:lnTo>
                    <a:lnTo>
                      <a:pt x="117264" y="301007"/>
                    </a:lnTo>
                    <a:lnTo>
                      <a:pt x="117881" y="301271"/>
                    </a:lnTo>
                    <a:lnTo>
                      <a:pt x="118145" y="302770"/>
                    </a:lnTo>
                    <a:lnTo>
                      <a:pt x="119644" y="303035"/>
                    </a:lnTo>
                    <a:lnTo>
                      <a:pt x="120790" y="303916"/>
                    </a:lnTo>
                    <a:lnTo>
                      <a:pt x="122290" y="305680"/>
                    </a:lnTo>
                    <a:lnTo>
                      <a:pt x="123083" y="306826"/>
                    </a:lnTo>
                    <a:lnTo>
                      <a:pt x="123965" y="306826"/>
                    </a:lnTo>
                    <a:lnTo>
                      <a:pt x="125199" y="306561"/>
                    </a:lnTo>
                    <a:lnTo>
                      <a:pt x="124846" y="307972"/>
                    </a:lnTo>
                    <a:lnTo>
                      <a:pt x="126081" y="309471"/>
                    </a:lnTo>
                    <a:lnTo>
                      <a:pt x="124317" y="309471"/>
                    </a:lnTo>
                    <a:lnTo>
                      <a:pt x="124317" y="310353"/>
                    </a:lnTo>
                    <a:lnTo>
                      <a:pt x="126081" y="314144"/>
                    </a:lnTo>
                    <a:lnTo>
                      <a:pt x="123700" y="313879"/>
                    </a:lnTo>
                    <a:lnTo>
                      <a:pt x="121319" y="312381"/>
                    </a:lnTo>
                    <a:lnTo>
                      <a:pt x="120261" y="311234"/>
                    </a:lnTo>
                    <a:lnTo>
                      <a:pt x="119644" y="312998"/>
                    </a:lnTo>
                    <a:lnTo>
                      <a:pt x="118145" y="312381"/>
                    </a:lnTo>
                    <a:lnTo>
                      <a:pt x="118410" y="310088"/>
                    </a:lnTo>
                    <a:lnTo>
                      <a:pt x="116118" y="308589"/>
                    </a:lnTo>
                    <a:lnTo>
                      <a:pt x="111444" y="310088"/>
                    </a:lnTo>
                    <a:lnTo>
                      <a:pt x="109417" y="310088"/>
                    </a:lnTo>
                    <a:lnTo>
                      <a:pt x="108535" y="309471"/>
                    </a:lnTo>
                    <a:lnTo>
                      <a:pt x="107653" y="311234"/>
                    </a:lnTo>
                    <a:lnTo>
                      <a:pt x="107036" y="312381"/>
                    </a:lnTo>
                    <a:lnTo>
                      <a:pt x="105273" y="312116"/>
                    </a:lnTo>
                    <a:lnTo>
                      <a:pt x="101217" y="310353"/>
                    </a:lnTo>
                    <a:lnTo>
                      <a:pt x="100071" y="312381"/>
                    </a:lnTo>
                    <a:lnTo>
                      <a:pt x="102716" y="314408"/>
                    </a:lnTo>
                    <a:lnTo>
                      <a:pt x="101834" y="315555"/>
                    </a:lnTo>
                    <a:lnTo>
                      <a:pt x="98925" y="317935"/>
                    </a:lnTo>
                    <a:lnTo>
                      <a:pt x="97161" y="320227"/>
                    </a:lnTo>
                    <a:lnTo>
                      <a:pt x="92753" y="320227"/>
                    </a:lnTo>
                    <a:lnTo>
                      <a:pt x="91078" y="320227"/>
                    </a:lnTo>
                    <a:lnTo>
                      <a:pt x="88962" y="322873"/>
                    </a:lnTo>
                    <a:lnTo>
                      <a:pt x="86405" y="322255"/>
                    </a:lnTo>
                    <a:lnTo>
                      <a:pt x="88080" y="324019"/>
                    </a:lnTo>
                    <a:lnTo>
                      <a:pt x="88080" y="324371"/>
                    </a:lnTo>
                    <a:lnTo>
                      <a:pt x="89844" y="323754"/>
                    </a:lnTo>
                    <a:lnTo>
                      <a:pt x="90196" y="324371"/>
                    </a:lnTo>
                    <a:lnTo>
                      <a:pt x="89844" y="324900"/>
                    </a:lnTo>
                    <a:lnTo>
                      <a:pt x="89844" y="326664"/>
                    </a:lnTo>
                    <a:lnTo>
                      <a:pt x="90725" y="326664"/>
                    </a:lnTo>
                    <a:lnTo>
                      <a:pt x="91960" y="327545"/>
                    </a:lnTo>
                    <a:lnTo>
                      <a:pt x="91960" y="329573"/>
                    </a:lnTo>
                    <a:lnTo>
                      <a:pt x="92753" y="329573"/>
                    </a:lnTo>
                    <a:lnTo>
                      <a:pt x="93370" y="328692"/>
                    </a:lnTo>
                    <a:lnTo>
                      <a:pt x="94516" y="327810"/>
                    </a:lnTo>
                    <a:lnTo>
                      <a:pt x="96544" y="328692"/>
                    </a:lnTo>
                    <a:lnTo>
                      <a:pt x="96544" y="329838"/>
                    </a:lnTo>
                    <a:lnTo>
                      <a:pt x="98307" y="331601"/>
                    </a:lnTo>
                    <a:lnTo>
                      <a:pt x="100688" y="331601"/>
                    </a:lnTo>
                    <a:lnTo>
                      <a:pt x="101217" y="333100"/>
                    </a:lnTo>
                    <a:lnTo>
                      <a:pt x="102452" y="333365"/>
                    </a:lnTo>
                    <a:lnTo>
                      <a:pt x="103245" y="334863"/>
                    </a:lnTo>
                    <a:lnTo>
                      <a:pt x="103245" y="336010"/>
                    </a:lnTo>
                    <a:lnTo>
                      <a:pt x="103598" y="336274"/>
                    </a:lnTo>
                    <a:lnTo>
                      <a:pt x="103245" y="337156"/>
                    </a:lnTo>
                    <a:lnTo>
                      <a:pt x="102716" y="335128"/>
                    </a:lnTo>
                    <a:lnTo>
                      <a:pt x="101570" y="336010"/>
                    </a:lnTo>
                    <a:lnTo>
                      <a:pt x="100335" y="337773"/>
                    </a:lnTo>
                    <a:lnTo>
                      <a:pt x="98925" y="338655"/>
                    </a:lnTo>
                    <a:lnTo>
                      <a:pt x="99189" y="340065"/>
                    </a:lnTo>
                    <a:lnTo>
                      <a:pt x="98925" y="341564"/>
                    </a:lnTo>
                    <a:lnTo>
                      <a:pt x="97778" y="343328"/>
                    </a:lnTo>
                    <a:lnTo>
                      <a:pt x="97778" y="344738"/>
                    </a:lnTo>
                    <a:lnTo>
                      <a:pt x="98043" y="345620"/>
                    </a:lnTo>
                    <a:lnTo>
                      <a:pt x="96897" y="346237"/>
                    </a:lnTo>
                    <a:lnTo>
                      <a:pt x="96280" y="346766"/>
                    </a:lnTo>
                    <a:lnTo>
                      <a:pt x="96544" y="348794"/>
                    </a:lnTo>
                    <a:lnTo>
                      <a:pt x="96897" y="350557"/>
                    </a:lnTo>
                    <a:lnTo>
                      <a:pt x="98043" y="350557"/>
                    </a:lnTo>
                    <a:lnTo>
                      <a:pt x="98925" y="352585"/>
                    </a:lnTo>
                    <a:lnTo>
                      <a:pt x="98925" y="354084"/>
                    </a:lnTo>
                    <a:lnTo>
                      <a:pt x="97161" y="354966"/>
                    </a:lnTo>
                    <a:lnTo>
                      <a:pt x="98307" y="354966"/>
                    </a:lnTo>
                    <a:lnTo>
                      <a:pt x="98572" y="357258"/>
                    </a:lnTo>
                    <a:lnTo>
                      <a:pt x="98572" y="357611"/>
                    </a:lnTo>
                    <a:lnTo>
                      <a:pt x="98307" y="357875"/>
                    </a:lnTo>
                    <a:lnTo>
                      <a:pt x="98572" y="358757"/>
                    </a:lnTo>
                    <a:lnTo>
                      <a:pt x="98572" y="359903"/>
                    </a:lnTo>
                    <a:lnTo>
                      <a:pt x="99189" y="360168"/>
                    </a:lnTo>
                    <a:lnTo>
                      <a:pt x="98925" y="361402"/>
                    </a:lnTo>
                    <a:lnTo>
                      <a:pt x="98043" y="362548"/>
                    </a:lnTo>
                    <a:lnTo>
                      <a:pt x="99189" y="364312"/>
                    </a:lnTo>
                    <a:lnTo>
                      <a:pt x="99454" y="363694"/>
                    </a:lnTo>
                    <a:lnTo>
                      <a:pt x="101570" y="363077"/>
                    </a:lnTo>
                    <a:lnTo>
                      <a:pt x="101570" y="363430"/>
                    </a:lnTo>
                    <a:lnTo>
                      <a:pt x="101834" y="364576"/>
                    </a:lnTo>
                    <a:lnTo>
                      <a:pt x="101570" y="364841"/>
                    </a:lnTo>
                    <a:lnTo>
                      <a:pt x="100688" y="364841"/>
                    </a:lnTo>
                    <a:lnTo>
                      <a:pt x="99806" y="365193"/>
                    </a:lnTo>
                    <a:lnTo>
                      <a:pt x="100071" y="365722"/>
                    </a:lnTo>
                    <a:lnTo>
                      <a:pt x="101217" y="365458"/>
                    </a:lnTo>
                    <a:lnTo>
                      <a:pt x="102452" y="365193"/>
                    </a:lnTo>
                    <a:lnTo>
                      <a:pt x="100952" y="366075"/>
                    </a:lnTo>
                    <a:lnTo>
                      <a:pt x="99189" y="365193"/>
                    </a:lnTo>
                    <a:lnTo>
                      <a:pt x="98043" y="366075"/>
                    </a:lnTo>
                    <a:lnTo>
                      <a:pt x="98925" y="366869"/>
                    </a:lnTo>
                    <a:lnTo>
                      <a:pt x="99189" y="367486"/>
                    </a:lnTo>
                    <a:lnTo>
                      <a:pt x="98572" y="368367"/>
                    </a:lnTo>
                    <a:lnTo>
                      <a:pt x="97778" y="368632"/>
                    </a:lnTo>
                    <a:lnTo>
                      <a:pt x="97778" y="368985"/>
                    </a:lnTo>
                    <a:lnTo>
                      <a:pt x="100071" y="369866"/>
                    </a:lnTo>
                    <a:lnTo>
                      <a:pt x="100952" y="370131"/>
                    </a:lnTo>
                    <a:lnTo>
                      <a:pt x="102099" y="368632"/>
                    </a:lnTo>
                    <a:lnTo>
                      <a:pt x="103245" y="369249"/>
                    </a:lnTo>
                    <a:lnTo>
                      <a:pt x="103598" y="368632"/>
                    </a:lnTo>
                    <a:lnTo>
                      <a:pt x="104127" y="367221"/>
                    </a:lnTo>
                    <a:lnTo>
                      <a:pt x="105626" y="367838"/>
                    </a:lnTo>
                    <a:lnTo>
                      <a:pt x="106507" y="367221"/>
                    </a:lnTo>
                    <a:lnTo>
                      <a:pt x="108006" y="366340"/>
                    </a:lnTo>
                    <a:lnTo>
                      <a:pt x="107389" y="366340"/>
                    </a:lnTo>
                    <a:lnTo>
                      <a:pt x="106243" y="364576"/>
                    </a:lnTo>
                    <a:lnTo>
                      <a:pt x="108006" y="364841"/>
                    </a:lnTo>
                    <a:lnTo>
                      <a:pt x="109152" y="362813"/>
                    </a:lnTo>
                    <a:lnTo>
                      <a:pt x="109417" y="363694"/>
                    </a:lnTo>
                    <a:lnTo>
                      <a:pt x="110298" y="364312"/>
                    </a:lnTo>
                    <a:lnTo>
                      <a:pt x="110915" y="362284"/>
                    </a:lnTo>
                    <a:lnTo>
                      <a:pt x="111180" y="361667"/>
                    </a:lnTo>
                    <a:lnTo>
                      <a:pt x="112591" y="360521"/>
                    </a:lnTo>
                    <a:lnTo>
                      <a:pt x="111444" y="359903"/>
                    </a:lnTo>
                    <a:lnTo>
                      <a:pt x="111444" y="359022"/>
                    </a:lnTo>
                    <a:lnTo>
                      <a:pt x="112062" y="358757"/>
                    </a:lnTo>
                    <a:lnTo>
                      <a:pt x="112326" y="357611"/>
                    </a:lnTo>
                    <a:lnTo>
                      <a:pt x="112944" y="357611"/>
                    </a:lnTo>
                    <a:lnTo>
                      <a:pt x="114354" y="355848"/>
                    </a:lnTo>
                    <a:lnTo>
                      <a:pt x="115500" y="355230"/>
                    </a:lnTo>
                    <a:lnTo>
                      <a:pt x="116382" y="353202"/>
                    </a:lnTo>
                    <a:lnTo>
                      <a:pt x="118145" y="353202"/>
                    </a:lnTo>
                    <a:lnTo>
                      <a:pt x="118763" y="351792"/>
                    </a:lnTo>
                    <a:lnTo>
                      <a:pt x="119380" y="351792"/>
                    </a:lnTo>
                    <a:lnTo>
                      <a:pt x="120790" y="351792"/>
                    </a:lnTo>
                    <a:lnTo>
                      <a:pt x="121672" y="351439"/>
                    </a:lnTo>
                    <a:lnTo>
                      <a:pt x="123700" y="351439"/>
                    </a:lnTo>
                    <a:lnTo>
                      <a:pt x="124846" y="350293"/>
                    </a:lnTo>
                    <a:lnTo>
                      <a:pt x="128108" y="349411"/>
                    </a:lnTo>
                    <a:lnTo>
                      <a:pt x="127491" y="348794"/>
                    </a:lnTo>
                    <a:lnTo>
                      <a:pt x="128108" y="348529"/>
                    </a:lnTo>
                    <a:lnTo>
                      <a:pt x="128637" y="347119"/>
                    </a:lnTo>
                    <a:lnTo>
                      <a:pt x="128637" y="345003"/>
                    </a:lnTo>
                    <a:lnTo>
                      <a:pt x="127844" y="344738"/>
                    </a:lnTo>
                    <a:lnTo>
                      <a:pt x="125728" y="342093"/>
                    </a:lnTo>
                    <a:lnTo>
                      <a:pt x="124317" y="339536"/>
                    </a:lnTo>
                    <a:lnTo>
                      <a:pt x="119380" y="336274"/>
                    </a:lnTo>
                    <a:lnTo>
                      <a:pt x="118763" y="333365"/>
                    </a:lnTo>
                    <a:lnTo>
                      <a:pt x="120790" y="334863"/>
                    </a:lnTo>
                    <a:lnTo>
                      <a:pt x="122554" y="336010"/>
                    </a:lnTo>
                    <a:lnTo>
                      <a:pt x="124581" y="337156"/>
                    </a:lnTo>
                    <a:lnTo>
                      <a:pt x="125728" y="338919"/>
                    </a:lnTo>
                    <a:lnTo>
                      <a:pt x="127227" y="340418"/>
                    </a:lnTo>
                    <a:lnTo>
                      <a:pt x="129255" y="342446"/>
                    </a:lnTo>
                    <a:lnTo>
                      <a:pt x="131547" y="343857"/>
                    </a:lnTo>
                    <a:lnTo>
                      <a:pt x="132429" y="345003"/>
                    </a:lnTo>
                    <a:lnTo>
                      <a:pt x="134809" y="344738"/>
                    </a:lnTo>
                    <a:lnTo>
                      <a:pt x="135691" y="343857"/>
                    </a:lnTo>
                    <a:lnTo>
                      <a:pt x="136220" y="342093"/>
                    </a:lnTo>
                    <a:lnTo>
                      <a:pt x="135338" y="340418"/>
                    </a:lnTo>
                    <a:lnTo>
                      <a:pt x="134544" y="339536"/>
                    </a:lnTo>
                    <a:lnTo>
                      <a:pt x="134192" y="338655"/>
                    </a:lnTo>
                    <a:lnTo>
                      <a:pt x="134192" y="337156"/>
                    </a:lnTo>
                    <a:lnTo>
                      <a:pt x="131900" y="335392"/>
                    </a:lnTo>
                    <a:lnTo>
                      <a:pt x="130136" y="333365"/>
                    </a:lnTo>
                    <a:lnTo>
                      <a:pt x="128637" y="332219"/>
                    </a:lnTo>
                    <a:lnTo>
                      <a:pt x="126610" y="331072"/>
                    </a:lnTo>
                    <a:lnTo>
                      <a:pt x="126610" y="329573"/>
                    </a:lnTo>
                    <a:lnTo>
                      <a:pt x="126081" y="329309"/>
                    </a:lnTo>
                    <a:lnTo>
                      <a:pt x="124846" y="327810"/>
                    </a:lnTo>
                    <a:lnTo>
                      <a:pt x="127227" y="329573"/>
                    </a:lnTo>
                    <a:lnTo>
                      <a:pt x="128637" y="330455"/>
                    </a:lnTo>
                    <a:lnTo>
                      <a:pt x="131547" y="333982"/>
                    </a:lnTo>
                    <a:lnTo>
                      <a:pt x="134192" y="336010"/>
                    </a:lnTo>
                    <a:lnTo>
                      <a:pt x="135955" y="338655"/>
                    </a:lnTo>
                    <a:lnTo>
                      <a:pt x="137719" y="337773"/>
                    </a:lnTo>
                    <a:lnTo>
                      <a:pt x="137454" y="336891"/>
                    </a:lnTo>
                    <a:lnTo>
                      <a:pt x="136837" y="336891"/>
                    </a:lnTo>
                    <a:lnTo>
                      <a:pt x="137454" y="336010"/>
                    </a:lnTo>
                    <a:lnTo>
                      <a:pt x="137983" y="336891"/>
                    </a:lnTo>
                    <a:lnTo>
                      <a:pt x="138248" y="337156"/>
                    </a:lnTo>
                    <a:lnTo>
                      <a:pt x="137719" y="336010"/>
                    </a:lnTo>
                    <a:lnTo>
                      <a:pt x="135073" y="334863"/>
                    </a:lnTo>
                    <a:lnTo>
                      <a:pt x="133928" y="333365"/>
                    </a:lnTo>
                    <a:lnTo>
                      <a:pt x="131282" y="330455"/>
                    </a:lnTo>
                    <a:lnTo>
                      <a:pt x="130401" y="328692"/>
                    </a:lnTo>
                    <a:lnTo>
                      <a:pt x="128637" y="327281"/>
                    </a:lnTo>
                    <a:lnTo>
                      <a:pt x="129519" y="327545"/>
                    </a:lnTo>
                    <a:lnTo>
                      <a:pt x="131018" y="328692"/>
                    </a:lnTo>
                    <a:lnTo>
                      <a:pt x="133928" y="333100"/>
                    </a:lnTo>
                    <a:lnTo>
                      <a:pt x="135691" y="333982"/>
                    </a:lnTo>
                    <a:lnTo>
                      <a:pt x="137454" y="334863"/>
                    </a:lnTo>
                    <a:lnTo>
                      <a:pt x="137454" y="333365"/>
                    </a:lnTo>
                    <a:lnTo>
                      <a:pt x="137454" y="333100"/>
                    </a:lnTo>
                    <a:lnTo>
                      <a:pt x="137983" y="331601"/>
                    </a:lnTo>
                    <a:lnTo>
                      <a:pt x="137983" y="333100"/>
                    </a:lnTo>
                    <a:lnTo>
                      <a:pt x="140099" y="331601"/>
                    </a:lnTo>
                    <a:lnTo>
                      <a:pt x="140099" y="331072"/>
                    </a:lnTo>
                    <a:lnTo>
                      <a:pt x="140099" y="329573"/>
                    </a:lnTo>
                    <a:lnTo>
                      <a:pt x="137719" y="328692"/>
                    </a:lnTo>
                    <a:lnTo>
                      <a:pt x="133311" y="327545"/>
                    </a:lnTo>
                    <a:lnTo>
                      <a:pt x="131282" y="326047"/>
                    </a:lnTo>
                    <a:lnTo>
                      <a:pt x="136837" y="326664"/>
                    </a:lnTo>
                    <a:lnTo>
                      <a:pt x="139747" y="326664"/>
                    </a:lnTo>
                    <a:lnTo>
                      <a:pt x="139482" y="323754"/>
                    </a:lnTo>
                    <a:lnTo>
                      <a:pt x="137983" y="321991"/>
                    </a:lnTo>
                    <a:lnTo>
                      <a:pt x="136573" y="322255"/>
                    </a:lnTo>
                    <a:lnTo>
                      <a:pt x="136573" y="321991"/>
                    </a:lnTo>
                    <a:lnTo>
                      <a:pt x="135338" y="322255"/>
                    </a:lnTo>
                    <a:lnTo>
                      <a:pt x="134809" y="322255"/>
                    </a:lnTo>
                    <a:lnTo>
                      <a:pt x="134192" y="321462"/>
                    </a:lnTo>
                    <a:lnTo>
                      <a:pt x="135073" y="320845"/>
                    </a:lnTo>
                    <a:lnTo>
                      <a:pt x="134809" y="321726"/>
                    </a:lnTo>
                    <a:lnTo>
                      <a:pt x="135338" y="321726"/>
                    </a:lnTo>
                    <a:lnTo>
                      <a:pt x="136573" y="321109"/>
                    </a:lnTo>
                    <a:lnTo>
                      <a:pt x="136220" y="320580"/>
                    </a:lnTo>
                    <a:lnTo>
                      <a:pt x="136573" y="321109"/>
                    </a:lnTo>
                    <a:lnTo>
                      <a:pt x="137719" y="320580"/>
                    </a:lnTo>
                    <a:lnTo>
                      <a:pt x="137719" y="319346"/>
                    </a:lnTo>
                    <a:lnTo>
                      <a:pt x="138865" y="318817"/>
                    </a:lnTo>
                    <a:lnTo>
                      <a:pt x="137454" y="316789"/>
                    </a:lnTo>
                    <a:lnTo>
                      <a:pt x="138865" y="316789"/>
                    </a:lnTo>
                    <a:lnTo>
                      <a:pt x="139129" y="317935"/>
                    </a:lnTo>
                    <a:lnTo>
                      <a:pt x="140628" y="317671"/>
                    </a:lnTo>
                    <a:lnTo>
                      <a:pt x="142039" y="318817"/>
                    </a:lnTo>
                    <a:lnTo>
                      <a:pt x="142039" y="319346"/>
                    </a:lnTo>
                    <a:lnTo>
                      <a:pt x="142392" y="320580"/>
                    </a:lnTo>
                    <a:lnTo>
                      <a:pt x="142656" y="321109"/>
                    </a:lnTo>
                    <a:lnTo>
                      <a:pt x="142656" y="321991"/>
                    </a:lnTo>
                    <a:lnTo>
                      <a:pt x="143538" y="321109"/>
                    </a:lnTo>
                    <a:lnTo>
                      <a:pt x="143803" y="320227"/>
                    </a:lnTo>
                    <a:lnTo>
                      <a:pt x="143274" y="319699"/>
                    </a:lnTo>
                    <a:lnTo>
                      <a:pt x="142921" y="318464"/>
                    </a:lnTo>
                    <a:lnTo>
                      <a:pt x="143538" y="319346"/>
                    </a:lnTo>
                    <a:lnTo>
                      <a:pt x="143803" y="319699"/>
                    </a:lnTo>
                    <a:lnTo>
                      <a:pt x="143803" y="319346"/>
                    </a:lnTo>
                    <a:lnTo>
                      <a:pt x="143538" y="318817"/>
                    </a:lnTo>
                    <a:lnTo>
                      <a:pt x="142921" y="317935"/>
                    </a:lnTo>
                    <a:lnTo>
                      <a:pt x="143538" y="317318"/>
                    </a:lnTo>
                    <a:lnTo>
                      <a:pt x="142921" y="316789"/>
                    </a:lnTo>
                    <a:lnTo>
                      <a:pt x="142921" y="316172"/>
                    </a:lnTo>
                    <a:lnTo>
                      <a:pt x="143803" y="316789"/>
                    </a:lnTo>
                    <a:lnTo>
                      <a:pt x="144419" y="318200"/>
                    </a:lnTo>
                    <a:lnTo>
                      <a:pt x="143803" y="317935"/>
                    </a:lnTo>
                    <a:lnTo>
                      <a:pt x="143803" y="318464"/>
                    </a:lnTo>
                    <a:lnTo>
                      <a:pt x="144684" y="319346"/>
                    </a:lnTo>
                    <a:lnTo>
                      <a:pt x="144155" y="319963"/>
                    </a:lnTo>
                    <a:lnTo>
                      <a:pt x="144155" y="321109"/>
                    </a:lnTo>
                    <a:lnTo>
                      <a:pt x="143538" y="321109"/>
                    </a:lnTo>
                    <a:lnTo>
                      <a:pt x="144155" y="321109"/>
                    </a:lnTo>
                    <a:lnTo>
                      <a:pt x="144155" y="321991"/>
                    </a:lnTo>
                    <a:lnTo>
                      <a:pt x="144684" y="321109"/>
                    </a:lnTo>
                    <a:lnTo>
                      <a:pt x="146448" y="321109"/>
                    </a:lnTo>
                    <a:lnTo>
                      <a:pt x="147329" y="321991"/>
                    </a:lnTo>
                    <a:lnTo>
                      <a:pt x="147946" y="321109"/>
                    </a:lnTo>
                    <a:lnTo>
                      <a:pt x="148828" y="323137"/>
                    </a:lnTo>
                    <a:lnTo>
                      <a:pt x="148828" y="323754"/>
                    </a:lnTo>
                    <a:lnTo>
                      <a:pt x="149092" y="323137"/>
                    </a:lnTo>
                    <a:lnTo>
                      <a:pt x="149974" y="323754"/>
                    </a:lnTo>
                    <a:lnTo>
                      <a:pt x="151120" y="322255"/>
                    </a:lnTo>
                    <a:lnTo>
                      <a:pt x="152266" y="321991"/>
                    </a:lnTo>
                    <a:lnTo>
                      <a:pt x="154295" y="321991"/>
                    </a:lnTo>
                    <a:lnTo>
                      <a:pt x="154647" y="321109"/>
                    </a:lnTo>
                    <a:lnTo>
                      <a:pt x="156675" y="319346"/>
                    </a:lnTo>
                    <a:lnTo>
                      <a:pt x="160202" y="317935"/>
                    </a:lnTo>
                    <a:lnTo>
                      <a:pt x="161965" y="316172"/>
                    </a:lnTo>
                    <a:lnTo>
                      <a:pt x="162494" y="315907"/>
                    </a:lnTo>
                    <a:lnTo>
                      <a:pt x="165139" y="316172"/>
                    </a:lnTo>
                    <a:lnTo>
                      <a:pt x="166285" y="312381"/>
                    </a:lnTo>
                    <a:lnTo>
                      <a:pt x="166903" y="310617"/>
                    </a:lnTo>
                    <a:lnTo>
                      <a:pt x="170077" y="310353"/>
                    </a:lnTo>
                    <a:lnTo>
                      <a:pt x="170694" y="310617"/>
                    </a:lnTo>
                    <a:lnTo>
                      <a:pt x="171575" y="310617"/>
                    </a:lnTo>
                    <a:lnTo>
                      <a:pt x="171840" y="310353"/>
                    </a:lnTo>
                    <a:lnTo>
                      <a:pt x="173251" y="310353"/>
                    </a:lnTo>
                    <a:lnTo>
                      <a:pt x="172986" y="309206"/>
                    </a:lnTo>
                    <a:lnTo>
                      <a:pt x="174749" y="307708"/>
                    </a:lnTo>
                    <a:lnTo>
                      <a:pt x="175278" y="306561"/>
                    </a:lnTo>
                    <a:lnTo>
                      <a:pt x="176513" y="304798"/>
                    </a:lnTo>
                    <a:lnTo>
                      <a:pt x="177042" y="303916"/>
                    </a:lnTo>
                    <a:lnTo>
                      <a:pt x="178276" y="303916"/>
                    </a:lnTo>
                    <a:lnTo>
                      <a:pt x="180040" y="303916"/>
                    </a:lnTo>
                    <a:lnTo>
                      <a:pt x="180569" y="301271"/>
                    </a:lnTo>
                    <a:lnTo>
                      <a:pt x="181186" y="300390"/>
                    </a:lnTo>
                    <a:lnTo>
                      <a:pt x="182949" y="300390"/>
                    </a:lnTo>
                    <a:lnTo>
                      <a:pt x="184360" y="301007"/>
                    </a:lnTo>
                    <a:lnTo>
                      <a:pt x="184095" y="300390"/>
                    </a:lnTo>
                    <a:lnTo>
                      <a:pt x="186741" y="299508"/>
                    </a:lnTo>
                    <a:lnTo>
                      <a:pt x="186123" y="295188"/>
                    </a:lnTo>
                    <a:lnTo>
                      <a:pt x="186123" y="294835"/>
                    </a:lnTo>
                    <a:lnTo>
                      <a:pt x="186741" y="294041"/>
                    </a:lnTo>
                    <a:lnTo>
                      <a:pt x="185859" y="292807"/>
                    </a:lnTo>
                    <a:lnTo>
                      <a:pt x="185859" y="291926"/>
                    </a:lnTo>
                    <a:lnTo>
                      <a:pt x="186741" y="293689"/>
                    </a:lnTo>
                    <a:lnTo>
                      <a:pt x="187622" y="294041"/>
                    </a:lnTo>
                    <a:lnTo>
                      <a:pt x="187622" y="294835"/>
                    </a:lnTo>
                    <a:lnTo>
                      <a:pt x="189033" y="292807"/>
                    </a:lnTo>
                    <a:lnTo>
                      <a:pt x="189033" y="292278"/>
                    </a:lnTo>
                    <a:lnTo>
                      <a:pt x="189650" y="291396"/>
                    </a:lnTo>
                    <a:lnTo>
                      <a:pt x="189650" y="291044"/>
                    </a:lnTo>
                    <a:lnTo>
                      <a:pt x="190179" y="290515"/>
                    </a:lnTo>
                    <a:lnTo>
                      <a:pt x="189297" y="289369"/>
                    </a:lnTo>
                    <a:lnTo>
                      <a:pt x="189297" y="288487"/>
                    </a:lnTo>
                    <a:lnTo>
                      <a:pt x="188768" y="288134"/>
                    </a:lnTo>
                    <a:lnTo>
                      <a:pt x="189297" y="287605"/>
                    </a:lnTo>
                    <a:lnTo>
                      <a:pt x="187622" y="288487"/>
                    </a:lnTo>
                    <a:lnTo>
                      <a:pt x="187622" y="287870"/>
                    </a:lnTo>
                    <a:lnTo>
                      <a:pt x="187270" y="286723"/>
                    </a:lnTo>
                    <a:lnTo>
                      <a:pt x="188504" y="285577"/>
                    </a:lnTo>
                    <a:lnTo>
                      <a:pt x="189033" y="284078"/>
                    </a:lnTo>
                    <a:lnTo>
                      <a:pt x="187270" y="281169"/>
                    </a:lnTo>
                    <a:lnTo>
                      <a:pt x="187887" y="280552"/>
                    </a:lnTo>
                    <a:lnTo>
                      <a:pt x="188768" y="282315"/>
                    </a:lnTo>
                    <a:lnTo>
                      <a:pt x="189650" y="284078"/>
                    </a:lnTo>
                    <a:lnTo>
                      <a:pt x="189033" y="286723"/>
                    </a:lnTo>
                    <a:lnTo>
                      <a:pt x="190532" y="287605"/>
                    </a:lnTo>
                    <a:lnTo>
                      <a:pt x="190532" y="286106"/>
                    </a:lnTo>
                    <a:lnTo>
                      <a:pt x="190532" y="285577"/>
                    </a:lnTo>
                    <a:lnTo>
                      <a:pt x="190179" y="284078"/>
                    </a:lnTo>
                    <a:lnTo>
                      <a:pt x="188768" y="281169"/>
                    </a:lnTo>
                    <a:lnTo>
                      <a:pt x="189297" y="280023"/>
                    </a:lnTo>
                    <a:lnTo>
                      <a:pt x="188504" y="280023"/>
                    </a:lnTo>
                    <a:lnTo>
                      <a:pt x="188504" y="279405"/>
                    </a:lnTo>
                    <a:lnTo>
                      <a:pt x="187622" y="278524"/>
                    </a:lnTo>
                    <a:lnTo>
                      <a:pt x="188504" y="278524"/>
                    </a:lnTo>
                    <a:lnTo>
                      <a:pt x="188768" y="277642"/>
                    </a:lnTo>
                    <a:lnTo>
                      <a:pt x="188151" y="277642"/>
                    </a:lnTo>
                    <a:lnTo>
                      <a:pt x="186741" y="276761"/>
                    </a:lnTo>
                    <a:lnTo>
                      <a:pt x="187887" y="277113"/>
                    </a:lnTo>
                    <a:lnTo>
                      <a:pt x="188151" y="276496"/>
                    </a:lnTo>
                    <a:lnTo>
                      <a:pt x="189297" y="276761"/>
                    </a:lnTo>
                    <a:lnTo>
                      <a:pt x="187887" y="275085"/>
                    </a:lnTo>
                    <a:lnTo>
                      <a:pt x="187887" y="274204"/>
                    </a:lnTo>
                    <a:lnTo>
                      <a:pt x="186388" y="273851"/>
                    </a:lnTo>
                    <a:lnTo>
                      <a:pt x="186123" y="272969"/>
                    </a:lnTo>
                    <a:lnTo>
                      <a:pt x="186741" y="272969"/>
                    </a:lnTo>
                    <a:lnTo>
                      <a:pt x="185859" y="272440"/>
                    </a:lnTo>
                    <a:lnTo>
                      <a:pt x="186388" y="272440"/>
                    </a:lnTo>
                    <a:lnTo>
                      <a:pt x="187887" y="272969"/>
                    </a:lnTo>
                    <a:lnTo>
                      <a:pt x="189297" y="275085"/>
                    </a:lnTo>
                    <a:lnTo>
                      <a:pt x="189914" y="274204"/>
                    </a:lnTo>
                    <a:lnTo>
                      <a:pt x="190179" y="274204"/>
                    </a:lnTo>
                    <a:lnTo>
                      <a:pt x="190179" y="274733"/>
                    </a:lnTo>
                    <a:lnTo>
                      <a:pt x="190796" y="274204"/>
                    </a:lnTo>
                    <a:lnTo>
                      <a:pt x="190796" y="273586"/>
                    </a:lnTo>
                    <a:lnTo>
                      <a:pt x="189650" y="272969"/>
                    </a:lnTo>
                    <a:lnTo>
                      <a:pt x="189914" y="271559"/>
                    </a:lnTo>
                    <a:lnTo>
                      <a:pt x="188151" y="270677"/>
                    </a:lnTo>
                    <a:lnTo>
                      <a:pt x="188504" y="270060"/>
                    </a:lnTo>
                    <a:lnTo>
                      <a:pt x="188768" y="269531"/>
                    </a:lnTo>
                    <a:lnTo>
                      <a:pt x="188151" y="269531"/>
                    </a:lnTo>
                    <a:lnTo>
                      <a:pt x="187622" y="270060"/>
                    </a:lnTo>
                    <a:lnTo>
                      <a:pt x="186741" y="270941"/>
                    </a:lnTo>
                    <a:lnTo>
                      <a:pt x="187270" y="269531"/>
                    </a:lnTo>
                    <a:lnTo>
                      <a:pt x="187270" y="268649"/>
                    </a:lnTo>
                    <a:lnTo>
                      <a:pt x="187270" y="268296"/>
                    </a:lnTo>
                    <a:lnTo>
                      <a:pt x="187887" y="266886"/>
                    </a:lnTo>
                    <a:lnTo>
                      <a:pt x="189297" y="265122"/>
                    </a:lnTo>
                    <a:lnTo>
                      <a:pt x="189033" y="263094"/>
                    </a:lnTo>
                    <a:lnTo>
                      <a:pt x="189914" y="262477"/>
                    </a:lnTo>
                    <a:lnTo>
                      <a:pt x="189914" y="264505"/>
                    </a:lnTo>
                    <a:lnTo>
                      <a:pt x="190796" y="266621"/>
                    </a:lnTo>
                    <a:lnTo>
                      <a:pt x="189650" y="267767"/>
                    </a:lnTo>
                    <a:lnTo>
                      <a:pt x="190179" y="268032"/>
                    </a:lnTo>
                    <a:lnTo>
                      <a:pt x="191061" y="267767"/>
                    </a:lnTo>
                    <a:lnTo>
                      <a:pt x="191413" y="267150"/>
                    </a:lnTo>
                    <a:lnTo>
                      <a:pt x="191942" y="267767"/>
                    </a:lnTo>
                    <a:lnTo>
                      <a:pt x="192207" y="268296"/>
                    </a:lnTo>
                    <a:lnTo>
                      <a:pt x="191061" y="268649"/>
                    </a:lnTo>
                    <a:lnTo>
                      <a:pt x="190796" y="269178"/>
                    </a:lnTo>
                    <a:lnTo>
                      <a:pt x="192207" y="268914"/>
                    </a:lnTo>
                    <a:lnTo>
                      <a:pt x="192559" y="268032"/>
                    </a:lnTo>
                    <a:lnTo>
                      <a:pt x="192824" y="267767"/>
                    </a:lnTo>
                    <a:lnTo>
                      <a:pt x="191942" y="266886"/>
                    </a:lnTo>
                    <a:lnTo>
                      <a:pt x="190796" y="265740"/>
                    </a:lnTo>
                    <a:lnTo>
                      <a:pt x="190532" y="263094"/>
                    </a:lnTo>
                    <a:lnTo>
                      <a:pt x="191413" y="262213"/>
                    </a:lnTo>
                    <a:lnTo>
                      <a:pt x="191942" y="262477"/>
                    </a:lnTo>
                    <a:lnTo>
                      <a:pt x="191942" y="261067"/>
                    </a:lnTo>
                    <a:lnTo>
                      <a:pt x="188504" y="256658"/>
                    </a:lnTo>
                    <a:lnTo>
                      <a:pt x="188504" y="255776"/>
                    </a:lnTo>
                    <a:lnTo>
                      <a:pt x="187622" y="255512"/>
                    </a:lnTo>
                    <a:lnTo>
                      <a:pt x="187887" y="252250"/>
                    </a:lnTo>
                    <a:lnTo>
                      <a:pt x="187270" y="251456"/>
                    </a:lnTo>
                    <a:lnTo>
                      <a:pt x="187005" y="251456"/>
                    </a:lnTo>
                    <a:lnTo>
                      <a:pt x="187622" y="253749"/>
                    </a:lnTo>
                    <a:lnTo>
                      <a:pt x="186388" y="251985"/>
                    </a:lnTo>
                    <a:lnTo>
                      <a:pt x="186388" y="250839"/>
                    </a:lnTo>
                    <a:lnTo>
                      <a:pt x="186741" y="251104"/>
                    </a:lnTo>
                    <a:lnTo>
                      <a:pt x="187270" y="251456"/>
                    </a:lnTo>
                    <a:lnTo>
                      <a:pt x="186741" y="251104"/>
                    </a:lnTo>
                    <a:lnTo>
                      <a:pt x="187270" y="251104"/>
                    </a:lnTo>
                    <a:lnTo>
                      <a:pt x="187005" y="250222"/>
                    </a:lnTo>
                    <a:lnTo>
                      <a:pt x="186741" y="250222"/>
                    </a:lnTo>
                    <a:lnTo>
                      <a:pt x="186741" y="249693"/>
                    </a:lnTo>
                    <a:lnTo>
                      <a:pt x="185859" y="249693"/>
                    </a:lnTo>
                    <a:lnTo>
                      <a:pt x="185594" y="245902"/>
                    </a:lnTo>
                    <a:lnTo>
                      <a:pt x="186388" y="246783"/>
                    </a:lnTo>
                    <a:lnTo>
                      <a:pt x="186741" y="247929"/>
                    </a:lnTo>
                    <a:lnTo>
                      <a:pt x="186388" y="248458"/>
                    </a:lnTo>
                    <a:lnTo>
                      <a:pt x="187270" y="249340"/>
                    </a:lnTo>
                    <a:lnTo>
                      <a:pt x="187622" y="247929"/>
                    </a:lnTo>
                    <a:lnTo>
                      <a:pt x="187270" y="246783"/>
                    </a:lnTo>
                    <a:lnTo>
                      <a:pt x="187005" y="247048"/>
                    </a:lnTo>
                    <a:lnTo>
                      <a:pt x="187270" y="245902"/>
                    </a:lnTo>
                    <a:lnTo>
                      <a:pt x="186388" y="246166"/>
                    </a:lnTo>
                    <a:lnTo>
                      <a:pt x="185859" y="245284"/>
                    </a:lnTo>
                    <a:lnTo>
                      <a:pt x="184360" y="242992"/>
                    </a:lnTo>
                    <a:lnTo>
                      <a:pt x="184360" y="242375"/>
                    </a:lnTo>
                    <a:lnTo>
                      <a:pt x="185241" y="242992"/>
                    </a:lnTo>
                    <a:lnTo>
                      <a:pt x="185594" y="244138"/>
                    </a:lnTo>
                    <a:lnTo>
                      <a:pt x="186123" y="244755"/>
                    </a:lnTo>
                    <a:lnTo>
                      <a:pt x="186388" y="245020"/>
                    </a:lnTo>
                    <a:lnTo>
                      <a:pt x="186123" y="244403"/>
                    </a:lnTo>
                    <a:lnTo>
                      <a:pt x="185859" y="242639"/>
                    </a:lnTo>
                    <a:lnTo>
                      <a:pt x="185859" y="241229"/>
                    </a:lnTo>
                    <a:lnTo>
                      <a:pt x="184095" y="240347"/>
                    </a:lnTo>
                    <a:lnTo>
                      <a:pt x="185241" y="239730"/>
                    </a:lnTo>
                    <a:lnTo>
                      <a:pt x="184625" y="239465"/>
                    </a:lnTo>
                    <a:lnTo>
                      <a:pt x="184625" y="238584"/>
                    </a:lnTo>
                    <a:lnTo>
                      <a:pt x="184095" y="238319"/>
                    </a:lnTo>
                    <a:lnTo>
                      <a:pt x="184625" y="237437"/>
                    </a:lnTo>
                    <a:lnTo>
                      <a:pt x="184360" y="236291"/>
                    </a:lnTo>
                    <a:lnTo>
                      <a:pt x="184977" y="236556"/>
                    </a:lnTo>
                    <a:lnTo>
                      <a:pt x="184977" y="237702"/>
                    </a:lnTo>
                    <a:lnTo>
                      <a:pt x="185241" y="238319"/>
                    </a:lnTo>
                    <a:lnTo>
                      <a:pt x="185859" y="238319"/>
                    </a:lnTo>
                    <a:lnTo>
                      <a:pt x="186123" y="236820"/>
                    </a:lnTo>
                    <a:lnTo>
                      <a:pt x="185594" y="236556"/>
                    </a:lnTo>
                    <a:lnTo>
                      <a:pt x="184977" y="235674"/>
                    </a:lnTo>
                    <a:lnTo>
                      <a:pt x="184625" y="233029"/>
                    </a:lnTo>
                    <a:lnTo>
                      <a:pt x="183478" y="231618"/>
                    </a:lnTo>
                    <a:lnTo>
                      <a:pt x="182332" y="231001"/>
                    </a:lnTo>
                    <a:lnTo>
                      <a:pt x="181450" y="229590"/>
                    </a:lnTo>
                    <a:lnTo>
                      <a:pt x="182332" y="229590"/>
                    </a:lnTo>
                    <a:lnTo>
                      <a:pt x="182949" y="229590"/>
                    </a:lnTo>
                    <a:lnTo>
                      <a:pt x="184095" y="230119"/>
                    </a:lnTo>
                    <a:lnTo>
                      <a:pt x="183831" y="231001"/>
                    </a:lnTo>
                    <a:lnTo>
                      <a:pt x="184977" y="230384"/>
                    </a:lnTo>
                    <a:lnTo>
                      <a:pt x="182949" y="228356"/>
                    </a:lnTo>
                    <a:lnTo>
                      <a:pt x="182067" y="226945"/>
                    </a:lnTo>
                    <a:lnTo>
                      <a:pt x="180569" y="225182"/>
                    </a:lnTo>
                    <a:lnTo>
                      <a:pt x="180304" y="221920"/>
                    </a:lnTo>
                    <a:lnTo>
                      <a:pt x="179422" y="221391"/>
                    </a:lnTo>
                    <a:lnTo>
                      <a:pt x="179422" y="219627"/>
                    </a:lnTo>
                    <a:lnTo>
                      <a:pt x="178805" y="220245"/>
                    </a:lnTo>
                    <a:lnTo>
                      <a:pt x="178541" y="219627"/>
                    </a:lnTo>
                    <a:lnTo>
                      <a:pt x="179070" y="219010"/>
                    </a:lnTo>
                    <a:lnTo>
                      <a:pt x="178276" y="216718"/>
                    </a:lnTo>
                    <a:lnTo>
                      <a:pt x="179070" y="217335"/>
                    </a:lnTo>
                    <a:lnTo>
                      <a:pt x="179422" y="215836"/>
                    </a:lnTo>
                    <a:lnTo>
                      <a:pt x="178805" y="215836"/>
                    </a:lnTo>
                    <a:lnTo>
                      <a:pt x="177042" y="213456"/>
                    </a:lnTo>
                    <a:lnTo>
                      <a:pt x="175278" y="212927"/>
                    </a:lnTo>
                    <a:lnTo>
                      <a:pt x="176513" y="212927"/>
                    </a:lnTo>
                    <a:lnTo>
                      <a:pt x="175014" y="207989"/>
                    </a:lnTo>
                    <a:lnTo>
                      <a:pt x="172986" y="205873"/>
                    </a:lnTo>
                    <a:lnTo>
                      <a:pt x="173251" y="206755"/>
                    </a:lnTo>
                    <a:lnTo>
                      <a:pt x="172369" y="205873"/>
                    </a:lnTo>
                    <a:lnTo>
                      <a:pt x="172369" y="205609"/>
                    </a:lnTo>
                    <a:lnTo>
                      <a:pt x="172986" y="205609"/>
                    </a:lnTo>
                    <a:lnTo>
                      <a:pt x="172722" y="204198"/>
                    </a:lnTo>
                    <a:lnTo>
                      <a:pt x="172722" y="203581"/>
                    </a:lnTo>
                    <a:lnTo>
                      <a:pt x="173604" y="204462"/>
                    </a:lnTo>
                    <a:lnTo>
                      <a:pt x="173251" y="203052"/>
                    </a:lnTo>
                    <a:lnTo>
                      <a:pt x="171840" y="201817"/>
                    </a:lnTo>
                    <a:lnTo>
                      <a:pt x="171575" y="200054"/>
                    </a:lnTo>
                    <a:lnTo>
                      <a:pt x="171223" y="199172"/>
                    </a:lnTo>
                    <a:lnTo>
                      <a:pt x="170958" y="198291"/>
                    </a:lnTo>
                    <a:lnTo>
                      <a:pt x="169195" y="197497"/>
                    </a:lnTo>
                    <a:lnTo>
                      <a:pt x="170341" y="198643"/>
                    </a:lnTo>
                    <a:lnTo>
                      <a:pt x="169195" y="199172"/>
                    </a:lnTo>
                    <a:lnTo>
                      <a:pt x="169459" y="199172"/>
                    </a:lnTo>
                    <a:lnTo>
                      <a:pt x="170694" y="200054"/>
                    </a:lnTo>
                    <a:lnTo>
                      <a:pt x="169812" y="200671"/>
                    </a:lnTo>
                    <a:lnTo>
                      <a:pt x="169812" y="201817"/>
                    </a:lnTo>
                    <a:lnTo>
                      <a:pt x="168930" y="199789"/>
                    </a:lnTo>
                    <a:lnTo>
                      <a:pt x="167784" y="198643"/>
                    </a:lnTo>
                    <a:lnTo>
                      <a:pt x="167432" y="195381"/>
                    </a:lnTo>
                    <a:lnTo>
                      <a:pt x="166550" y="198291"/>
                    </a:lnTo>
                    <a:lnTo>
                      <a:pt x="165756" y="197497"/>
                    </a:lnTo>
                    <a:lnTo>
                      <a:pt x="165756" y="196880"/>
                    </a:lnTo>
                    <a:lnTo>
                      <a:pt x="166285" y="196880"/>
                    </a:lnTo>
                    <a:lnTo>
                      <a:pt x="166903" y="195734"/>
                    </a:lnTo>
                    <a:lnTo>
                      <a:pt x="166285" y="195998"/>
                    </a:lnTo>
                    <a:lnTo>
                      <a:pt x="165403" y="195734"/>
                    </a:lnTo>
                    <a:lnTo>
                      <a:pt x="165403" y="194852"/>
                    </a:lnTo>
                    <a:lnTo>
                      <a:pt x="161965" y="191942"/>
                    </a:lnTo>
                    <a:lnTo>
                      <a:pt x="160466" y="189033"/>
                    </a:lnTo>
                    <a:lnTo>
                      <a:pt x="159849" y="187534"/>
                    </a:lnTo>
                    <a:lnTo>
                      <a:pt x="157821" y="185771"/>
                    </a:lnTo>
                    <a:lnTo>
                      <a:pt x="156675" y="184624"/>
                    </a:lnTo>
                    <a:lnTo>
                      <a:pt x="156675" y="182244"/>
                    </a:lnTo>
                    <a:lnTo>
                      <a:pt x="156411" y="181450"/>
                    </a:lnTo>
                    <a:lnTo>
                      <a:pt x="157292" y="181450"/>
                    </a:lnTo>
                    <a:lnTo>
                      <a:pt x="158703" y="180833"/>
                    </a:lnTo>
                    <a:lnTo>
                      <a:pt x="157292" y="180216"/>
                    </a:lnTo>
                    <a:lnTo>
                      <a:pt x="156058" y="180216"/>
                    </a:lnTo>
                    <a:lnTo>
                      <a:pt x="154647" y="179423"/>
                    </a:lnTo>
                    <a:lnTo>
                      <a:pt x="154647" y="180216"/>
                    </a:lnTo>
                    <a:lnTo>
                      <a:pt x="155793" y="180833"/>
                    </a:lnTo>
                    <a:lnTo>
                      <a:pt x="155529" y="181450"/>
                    </a:lnTo>
                    <a:lnTo>
                      <a:pt x="156411" y="183743"/>
                    </a:lnTo>
                    <a:lnTo>
                      <a:pt x="155529" y="184889"/>
                    </a:lnTo>
                    <a:lnTo>
                      <a:pt x="155793" y="184007"/>
                    </a:lnTo>
                    <a:lnTo>
                      <a:pt x="154911" y="181450"/>
                    </a:lnTo>
                    <a:lnTo>
                      <a:pt x="155176" y="182861"/>
                    </a:lnTo>
                    <a:lnTo>
                      <a:pt x="154030" y="181450"/>
                    </a:lnTo>
                    <a:lnTo>
                      <a:pt x="153766" y="180833"/>
                    </a:lnTo>
                    <a:lnTo>
                      <a:pt x="153148" y="179687"/>
                    </a:lnTo>
                    <a:lnTo>
                      <a:pt x="154295" y="178541"/>
                    </a:lnTo>
                    <a:lnTo>
                      <a:pt x="151385" y="178541"/>
                    </a:lnTo>
                    <a:lnTo>
                      <a:pt x="150856" y="177924"/>
                    </a:lnTo>
                    <a:lnTo>
                      <a:pt x="151737" y="177042"/>
                    </a:lnTo>
                    <a:lnTo>
                      <a:pt x="150239" y="177924"/>
                    </a:lnTo>
                    <a:lnTo>
                      <a:pt x="149974" y="175543"/>
                    </a:lnTo>
                    <a:lnTo>
                      <a:pt x="149357" y="175896"/>
                    </a:lnTo>
                    <a:lnTo>
                      <a:pt x="148211" y="174133"/>
                    </a:lnTo>
                    <a:lnTo>
                      <a:pt x="147946" y="176425"/>
                    </a:lnTo>
                    <a:lnTo>
                      <a:pt x="146448" y="177042"/>
                    </a:lnTo>
                    <a:lnTo>
                      <a:pt x="145566" y="176425"/>
                    </a:lnTo>
                    <a:lnTo>
                      <a:pt x="144155" y="174133"/>
                    </a:lnTo>
                    <a:lnTo>
                      <a:pt x="145919" y="174750"/>
                    </a:lnTo>
                    <a:lnTo>
                      <a:pt x="142392" y="170958"/>
                    </a:lnTo>
                    <a:lnTo>
                      <a:pt x="141774" y="171752"/>
                    </a:lnTo>
                    <a:lnTo>
                      <a:pt x="142039" y="170606"/>
                    </a:lnTo>
                    <a:lnTo>
                      <a:pt x="140893" y="170958"/>
                    </a:lnTo>
                    <a:lnTo>
                      <a:pt x="141510" y="170341"/>
                    </a:lnTo>
                    <a:lnTo>
                      <a:pt x="142039" y="169460"/>
                    </a:lnTo>
                    <a:lnTo>
                      <a:pt x="140893" y="170341"/>
                    </a:lnTo>
                    <a:lnTo>
                      <a:pt x="139747" y="170077"/>
                    </a:lnTo>
                    <a:lnTo>
                      <a:pt x="139129" y="170077"/>
                    </a:lnTo>
                    <a:lnTo>
                      <a:pt x="137102" y="167961"/>
                    </a:lnTo>
                    <a:lnTo>
                      <a:pt x="137454" y="167961"/>
                    </a:lnTo>
                    <a:lnTo>
                      <a:pt x="140364" y="170077"/>
                    </a:lnTo>
                    <a:lnTo>
                      <a:pt x="140364" y="169195"/>
                    </a:lnTo>
                    <a:lnTo>
                      <a:pt x="137102" y="166550"/>
                    </a:lnTo>
                    <a:lnTo>
                      <a:pt x="130401" y="160995"/>
                    </a:lnTo>
                    <a:lnTo>
                      <a:pt x="130401" y="163023"/>
                    </a:lnTo>
                    <a:lnTo>
                      <a:pt x="129255" y="162494"/>
                    </a:lnTo>
                    <a:lnTo>
                      <a:pt x="130401" y="160466"/>
                    </a:lnTo>
                    <a:lnTo>
                      <a:pt x="128637" y="158703"/>
                    </a:lnTo>
                    <a:lnTo>
                      <a:pt x="127844" y="158086"/>
                    </a:lnTo>
                    <a:lnTo>
                      <a:pt x="127844" y="156587"/>
                    </a:lnTo>
                    <a:lnTo>
                      <a:pt x="119027" y="150768"/>
                    </a:lnTo>
                    <a:lnTo>
                      <a:pt x="115236" y="147594"/>
                    </a:lnTo>
                    <a:lnTo>
                      <a:pt x="114354" y="145213"/>
                    </a:lnTo>
                    <a:lnTo>
                      <a:pt x="112062" y="142039"/>
                    </a:lnTo>
                    <a:lnTo>
                      <a:pt x="110034" y="141775"/>
                    </a:lnTo>
                    <a:lnTo>
                      <a:pt x="109681" y="142039"/>
                    </a:lnTo>
                    <a:lnTo>
                      <a:pt x="109681" y="141775"/>
                    </a:lnTo>
                    <a:lnTo>
                      <a:pt x="109681" y="140629"/>
                    </a:lnTo>
                    <a:lnTo>
                      <a:pt x="108006" y="140276"/>
                    </a:lnTo>
                    <a:lnTo>
                      <a:pt x="107389" y="139747"/>
                    </a:lnTo>
                    <a:lnTo>
                      <a:pt x="108535" y="139747"/>
                    </a:lnTo>
                    <a:lnTo>
                      <a:pt x="109681" y="140276"/>
                    </a:lnTo>
                    <a:lnTo>
                      <a:pt x="111180" y="140893"/>
                    </a:lnTo>
                    <a:lnTo>
                      <a:pt x="112062" y="141158"/>
                    </a:lnTo>
                    <a:lnTo>
                      <a:pt x="110298" y="139130"/>
                    </a:lnTo>
                    <a:lnTo>
                      <a:pt x="110034" y="137366"/>
                    </a:lnTo>
                    <a:lnTo>
                      <a:pt x="110915" y="135338"/>
                    </a:lnTo>
                    <a:lnTo>
                      <a:pt x="111709" y="135338"/>
                    </a:lnTo>
                    <a:lnTo>
                      <a:pt x="109417" y="133575"/>
                    </a:lnTo>
                    <a:lnTo>
                      <a:pt x="108535" y="131812"/>
                    </a:lnTo>
                    <a:lnTo>
                      <a:pt x="109681" y="131283"/>
                    </a:lnTo>
                    <a:lnTo>
                      <a:pt x="108270" y="130930"/>
                    </a:lnTo>
                    <a:lnTo>
                      <a:pt x="108006" y="131547"/>
                    </a:lnTo>
                    <a:lnTo>
                      <a:pt x="107389" y="132164"/>
                    </a:lnTo>
                    <a:lnTo>
                      <a:pt x="106772" y="131812"/>
                    </a:lnTo>
                    <a:lnTo>
                      <a:pt x="107389" y="130930"/>
                    </a:lnTo>
                    <a:lnTo>
                      <a:pt x="104744" y="128373"/>
                    </a:lnTo>
                    <a:lnTo>
                      <a:pt x="102981" y="127491"/>
                    </a:lnTo>
                    <a:lnTo>
                      <a:pt x="101217" y="128020"/>
                    </a:lnTo>
                    <a:lnTo>
                      <a:pt x="101217" y="126610"/>
                    </a:lnTo>
                    <a:lnTo>
                      <a:pt x="98925" y="126257"/>
                    </a:lnTo>
                    <a:lnTo>
                      <a:pt x="97778" y="124582"/>
                    </a:lnTo>
                    <a:lnTo>
                      <a:pt x="97426" y="122466"/>
                    </a:lnTo>
                    <a:lnTo>
                      <a:pt x="96015" y="122466"/>
                    </a:lnTo>
                    <a:lnTo>
                      <a:pt x="93987" y="119909"/>
                    </a:lnTo>
                    <a:lnTo>
                      <a:pt x="93370" y="117528"/>
                    </a:lnTo>
                    <a:lnTo>
                      <a:pt x="92224" y="115236"/>
                    </a:lnTo>
                    <a:lnTo>
                      <a:pt x="91607" y="114883"/>
                    </a:lnTo>
                    <a:lnTo>
                      <a:pt x="92753" y="116999"/>
                    </a:lnTo>
                    <a:lnTo>
                      <a:pt x="92224" y="117528"/>
                    </a:lnTo>
                    <a:lnTo>
                      <a:pt x="91960" y="116382"/>
                    </a:lnTo>
                    <a:lnTo>
                      <a:pt x="91078" y="115501"/>
                    </a:lnTo>
                    <a:lnTo>
                      <a:pt x="91342" y="113737"/>
                    </a:lnTo>
                    <a:lnTo>
                      <a:pt x="90460" y="113737"/>
                    </a:lnTo>
                    <a:lnTo>
                      <a:pt x="89579" y="112591"/>
                    </a:lnTo>
                    <a:lnTo>
                      <a:pt x="90196" y="112326"/>
                    </a:lnTo>
                    <a:lnTo>
                      <a:pt x="88080" y="111974"/>
                    </a:lnTo>
                    <a:lnTo>
                      <a:pt x="87815" y="109417"/>
                    </a:lnTo>
                    <a:lnTo>
                      <a:pt x="88080" y="107036"/>
                    </a:lnTo>
                    <a:lnTo>
                      <a:pt x="88962" y="107301"/>
                    </a:lnTo>
                    <a:lnTo>
                      <a:pt x="89314" y="107654"/>
                    </a:lnTo>
                    <a:lnTo>
                      <a:pt x="89844" y="107036"/>
                    </a:lnTo>
                    <a:lnTo>
                      <a:pt x="89844" y="103862"/>
                    </a:lnTo>
                    <a:lnTo>
                      <a:pt x="89314" y="103510"/>
                    </a:lnTo>
                    <a:lnTo>
                      <a:pt x="90196" y="103245"/>
                    </a:lnTo>
                    <a:lnTo>
                      <a:pt x="91078" y="102099"/>
                    </a:lnTo>
                    <a:lnTo>
                      <a:pt x="91078" y="101482"/>
                    </a:lnTo>
                    <a:lnTo>
                      <a:pt x="89844" y="99189"/>
                    </a:lnTo>
                    <a:lnTo>
                      <a:pt x="90460" y="98308"/>
                    </a:lnTo>
                    <a:lnTo>
                      <a:pt x="88697" y="95046"/>
                    </a:lnTo>
                    <a:lnTo>
                      <a:pt x="89314" y="93899"/>
                    </a:lnTo>
                    <a:lnTo>
                      <a:pt x="88962" y="94781"/>
                    </a:lnTo>
                    <a:lnTo>
                      <a:pt x="89579" y="95663"/>
                    </a:lnTo>
                    <a:lnTo>
                      <a:pt x="89844" y="95046"/>
                    </a:lnTo>
                    <a:lnTo>
                      <a:pt x="90196" y="94516"/>
                    </a:lnTo>
                    <a:lnTo>
                      <a:pt x="89579" y="93370"/>
                    </a:lnTo>
                    <a:lnTo>
                      <a:pt x="89579" y="92753"/>
                    </a:lnTo>
                    <a:lnTo>
                      <a:pt x="90460" y="91871"/>
                    </a:lnTo>
                    <a:lnTo>
                      <a:pt x="92224" y="89579"/>
                    </a:lnTo>
                    <a:lnTo>
                      <a:pt x="90196" y="89843"/>
                    </a:lnTo>
                    <a:lnTo>
                      <a:pt x="90725" y="89226"/>
                    </a:lnTo>
                    <a:lnTo>
                      <a:pt x="91960" y="88962"/>
                    </a:lnTo>
                    <a:lnTo>
                      <a:pt x="91078" y="88080"/>
                    </a:lnTo>
                    <a:lnTo>
                      <a:pt x="91607" y="87199"/>
                    </a:lnTo>
                    <a:lnTo>
                      <a:pt x="91607" y="86581"/>
                    </a:lnTo>
                    <a:lnTo>
                      <a:pt x="92224" y="84289"/>
                    </a:lnTo>
                    <a:lnTo>
                      <a:pt x="94252" y="85171"/>
                    </a:lnTo>
                    <a:lnTo>
                      <a:pt x="94252" y="84289"/>
                    </a:lnTo>
                    <a:lnTo>
                      <a:pt x="94252" y="83672"/>
                    </a:lnTo>
                    <a:lnTo>
                      <a:pt x="95133" y="85171"/>
                    </a:lnTo>
                    <a:lnTo>
                      <a:pt x="96015" y="84289"/>
                    </a:lnTo>
                    <a:lnTo>
                      <a:pt x="95662" y="83672"/>
                    </a:lnTo>
                    <a:lnTo>
                      <a:pt x="96897" y="84553"/>
                    </a:lnTo>
                    <a:lnTo>
                      <a:pt x="97426" y="83407"/>
                    </a:lnTo>
                    <a:lnTo>
                      <a:pt x="98572" y="81115"/>
                    </a:lnTo>
                    <a:lnTo>
                      <a:pt x="99189" y="79969"/>
                    </a:lnTo>
                    <a:lnTo>
                      <a:pt x="99806" y="79969"/>
                    </a:lnTo>
                    <a:lnTo>
                      <a:pt x="102099" y="78734"/>
                    </a:lnTo>
                    <a:lnTo>
                      <a:pt x="102452" y="77588"/>
                    </a:lnTo>
                    <a:lnTo>
                      <a:pt x="102452" y="77324"/>
                    </a:lnTo>
                    <a:lnTo>
                      <a:pt x="101834" y="76971"/>
                    </a:lnTo>
                    <a:lnTo>
                      <a:pt x="101570" y="76442"/>
                    </a:lnTo>
                    <a:lnTo>
                      <a:pt x="103245" y="76706"/>
                    </a:lnTo>
                    <a:lnTo>
                      <a:pt x="103245" y="75560"/>
                    </a:lnTo>
                    <a:lnTo>
                      <a:pt x="102452" y="75208"/>
                    </a:lnTo>
                    <a:lnTo>
                      <a:pt x="102981" y="74414"/>
                    </a:lnTo>
                    <a:lnTo>
                      <a:pt x="102981" y="73532"/>
                    </a:lnTo>
                    <a:lnTo>
                      <a:pt x="101834" y="74061"/>
                    </a:lnTo>
                    <a:lnTo>
                      <a:pt x="101217" y="73532"/>
                    </a:lnTo>
                    <a:lnTo>
                      <a:pt x="102716" y="72651"/>
                    </a:lnTo>
                    <a:lnTo>
                      <a:pt x="101834" y="71416"/>
                    </a:lnTo>
                    <a:lnTo>
                      <a:pt x="102452" y="70887"/>
                    </a:lnTo>
                    <a:lnTo>
                      <a:pt x="101834" y="70887"/>
                    </a:lnTo>
                    <a:lnTo>
                      <a:pt x="101217" y="70623"/>
                    </a:lnTo>
                    <a:lnTo>
                      <a:pt x="101834" y="70623"/>
                    </a:lnTo>
                    <a:lnTo>
                      <a:pt x="102981" y="69741"/>
                    </a:lnTo>
                    <a:lnTo>
                      <a:pt x="102981" y="68859"/>
                    </a:lnTo>
                    <a:lnTo>
                      <a:pt x="102981" y="68242"/>
                    </a:lnTo>
                    <a:lnTo>
                      <a:pt x="101834" y="67361"/>
                    </a:lnTo>
                    <a:lnTo>
                      <a:pt x="102981" y="67625"/>
                    </a:lnTo>
                    <a:lnTo>
                      <a:pt x="103862" y="68859"/>
                    </a:lnTo>
                    <a:lnTo>
                      <a:pt x="104479" y="67361"/>
                    </a:lnTo>
                    <a:lnTo>
                      <a:pt x="103598" y="67096"/>
                    </a:lnTo>
                    <a:lnTo>
                      <a:pt x="104127" y="66479"/>
                    </a:lnTo>
                    <a:lnTo>
                      <a:pt x="105273" y="66479"/>
                    </a:lnTo>
                    <a:lnTo>
                      <a:pt x="106507" y="67361"/>
                    </a:lnTo>
                    <a:lnTo>
                      <a:pt x="106243" y="66479"/>
                    </a:lnTo>
                    <a:lnTo>
                      <a:pt x="104479" y="65068"/>
                    </a:lnTo>
                    <a:lnTo>
                      <a:pt x="103862" y="64451"/>
                    </a:lnTo>
                    <a:lnTo>
                      <a:pt x="105890" y="64716"/>
                    </a:lnTo>
                    <a:lnTo>
                      <a:pt x="105008" y="63922"/>
                    </a:lnTo>
                    <a:lnTo>
                      <a:pt x="103598" y="62688"/>
                    </a:lnTo>
                    <a:lnTo>
                      <a:pt x="103598" y="62159"/>
                    </a:lnTo>
                    <a:lnTo>
                      <a:pt x="104744" y="62423"/>
                    </a:lnTo>
                    <a:lnTo>
                      <a:pt x="105626" y="61894"/>
                    </a:lnTo>
                    <a:lnTo>
                      <a:pt x="102716" y="60924"/>
                    </a:lnTo>
                    <a:lnTo>
                      <a:pt x="102452" y="59778"/>
                    </a:lnTo>
                    <a:lnTo>
                      <a:pt x="102099" y="58367"/>
                    </a:lnTo>
                    <a:lnTo>
                      <a:pt x="102981" y="59778"/>
                    </a:lnTo>
                    <a:lnTo>
                      <a:pt x="103598" y="58367"/>
                    </a:lnTo>
                    <a:lnTo>
                      <a:pt x="104127" y="57486"/>
                    </a:lnTo>
                    <a:lnTo>
                      <a:pt x="105008" y="57750"/>
                    </a:lnTo>
                    <a:lnTo>
                      <a:pt x="105273" y="58367"/>
                    </a:lnTo>
                    <a:lnTo>
                      <a:pt x="104744" y="59514"/>
                    </a:lnTo>
                    <a:lnTo>
                      <a:pt x="105626" y="59778"/>
                    </a:lnTo>
                    <a:lnTo>
                      <a:pt x="105273" y="60131"/>
                    </a:lnTo>
                    <a:lnTo>
                      <a:pt x="106243" y="60924"/>
                    </a:lnTo>
                    <a:lnTo>
                      <a:pt x="105626" y="62688"/>
                    </a:lnTo>
                    <a:lnTo>
                      <a:pt x="106507" y="63040"/>
                    </a:lnTo>
                    <a:lnTo>
                      <a:pt x="106772" y="62159"/>
                    </a:lnTo>
                    <a:lnTo>
                      <a:pt x="107036" y="61541"/>
                    </a:lnTo>
                    <a:lnTo>
                      <a:pt x="108006" y="62159"/>
                    </a:lnTo>
                    <a:lnTo>
                      <a:pt x="108799" y="62159"/>
                    </a:lnTo>
                    <a:lnTo>
                      <a:pt x="108006" y="61541"/>
                    </a:lnTo>
                    <a:lnTo>
                      <a:pt x="107036" y="60131"/>
                    </a:lnTo>
                    <a:lnTo>
                      <a:pt x="107389" y="61277"/>
                    </a:lnTo>
                    <a:lnTo>
                      <a:pt x="106507" y="59778"/>
                    </a:lnTo>
                    <a:lnTo>
                      <a:pt x="106772" y="59778"/>
                    </a:lnTo>
                    <a:lnTo>
                      <a:pt x="107389" y="60395"/>
                    </a:lnTo>
                    <a:lnTo>
                      <a:pt x="108799" y="60924"/>
                    </a:lnTo>
                    <a:lnTo>
                      <a:pt x="109417" y="60131"/>
                    </a:lnTo>
                    <a:lnTo>
                      <a:pt x="109152" y="58367"/>
                    </a:lnTo>
                    <a:lnTo>
                      <a:pt x="110298" y="60660"/>
                    </a:lnTo>
                    <a:lnTo>
                      <a:pt x="109152" y="57486"/>
                    </a:lnTo>
                    <a:lnTo>
                      <a:pt x="110298" y="59778"/>
                    </a:lnTo>
                    <a:lnTo>
                      <a:pt x="110298" y="58896"/>
                    </a:lnTo>
                    <a:lnTo>
                      <a:pt x="110563" y="59514"/>
                    </a:lnTo>
                    <a:lnTo>
                      <a:pt x="110915" y="57750"/>
                    </a:lnTo>
                    <a:lnTo>
                      <a:pt x="110915" y="59778"/>
                    </a:lnTo>
                    <a:lnTo>
                      <a:pt x="112944" y="58367"/>
                    </a:lnTo>
                    <a:lnTo>
                      <a:pt x="111444" y="59778"/>
                    </a:lnTo>
                    <a:lnTo>
                      <a:pt x="110915" y="61894"/>
                    </a:lnTo>
                    <a:lnTo>
                      <a:pt x="114090" y="63922"/>
                    </a:lnTo>
                    <a:lnTo>
                      <a:pt x="114619" y="61541"/>
                    </a:lnTo>
                    <a:lnTo>
                      <a:pt x="113473" y="60395"/>
                    </a:lnTo>
                    <a:lnTo>
                      <a:pt x="114971" y="60131"/>
                    </a:lnTo>
                    <a:lnTo>
                      <a:pt x="114619" y="59161"/>
                    </a:lnTo>
                    <a:lnTo>
                      <a:pt x="116999" y="59778"/>
                    </a:lnTo>
                    <a:lnTo>
                      <a:pt x="117616" y="58367"/>
                    </a:lnTo>
                    <a:lnTo>
                      <a:pt x="116735" y="57133"/>
                    </a:lnTo>
                    <a:lnTo>
                      <a:pt x="117616" y="57133"/>
                    </a:lnTo>
                    <a:lnTo>
                      <a:pt x="117881" y="56604"/>
                    </a:lnTo>
                    <a:lnTo>
                      <a:pt x="117264" y="55987"/>
                    </a:lnTo>
                    <a:lnTo>
                      <a:pt x="117264" y="54841"/>
                    </a:lnTo>
                    <a:lnTo>
                      <a:pt x="116382" y="54576"/>
                    </a:lnTo>
                    <a:lnTo>
                      <a:pt x="116999" y="53695"/>
                    </a:lnTo>
                    <a:lnTo>
                      <a:pt x="116735" y="52813"/>
                    </a:lnTo>
                    <a:lnTo>
                      <a:pt x="118145" y="53077"/>
                    </a:lnTo>
                    <a:lnTo>
                      <a:pt x="117264" y="51578"/>
                    </a:lnTo>
                    <a:lnTo>
                      <a:pt x="116999" y="51049"/>
                    </a:lnTo>
                    <a:lnTo>
                      <a:pt x="119027" y="51578"/>
                    </a:lnTo>
                    <a:lnTo>
                      <a:pt x="119027" y="52196"/>
                    </a:lnTo>
                    <a:lnTo>
                      <a:pt x="119909" y="53077"/>
                    </a:lnTo>
                    <a:lnTo>
                      <a:pt x="119644" y="51578"/>
                    </a:lnTo>
                    <a:lnTo>
                      <a:pt x="118763" y="51049"/>
                    </a:lnTo>
                    <a:lnTo>
                      <a:pt x="119380" y="50432"/>
                    </a:lnTo>
                    <a:lnTo>
                      <a:pt x="120261" y="51049"/>
                    </a:lnTo>
                    <a:lnTo>
                      <a:pt x="120526" y="52548"/>
                    </a:lnTo>
                    <a:lnTo>
                      <a:pt x="121055" y="51578"/>
                    </a:lnTo>
                    <a:lnTo>
                      <a:pt x="121936" y="51578"/>
                    </a:lnTo>
                    <a:lnTo>
                      <a:pt x="121936" y="50432"/>
                    </a:lnTo>
                    <a:lnTo>
                      <a:pt x="121319" y="49286"/>
                    </a:lnTo>
                    <a:lnTo>
                      <a:pt x="122554" y="49903"/>
                    </a:lnTo>
                    <a:lnTo>
                      <a:pt x="122290" y="49022"/>
                    </a:lnTo>
                    <a:lnTo>
                      <a:pt x="123083" y="49903"/>
                    </a:lnTo>
                    <a:lnTo>
                      <a:pt x="123700" y="49022"/>
                    </a:lnTo>
                    <a:lnTo>
                      <a:pt x="124581" y="49903"/>
                    </a:lnTo>
                    <a:lnTo>
                      <a:pt x="124317" y="48757"/>
                    </a:lnTo>
                    <a:lnTo>
                      <a:pt x="123965" y="47258"/>
                    </a:lnTo>
                    <a:lnTo>
                      <a:pt x="123083" y="46377"/>
                    </a:lnTo>
                    <a:lnTo>
                      <a:pt x="123965" y="46641"/>
                    </a:lnTo>
                    <a:lnTo>
                      <a:pt x="125199" y="47258"/>
                    </a:lnTo>
                    <a:lnTo>
                      <a:pt x="125463" y="46641"/>
                    </a:lnTo>
                    <a:lnTo>
                      <a:pt x="125728" y="46994"/>
                    </a:lnTo>
                    <a:lnTo>
                      <a:pt x="126345" y="48404"/>
                    </a:lnTo>
                    <a:lnTo>
                      <a:pt x="125728" y="45495"/>
                    </a:lnTo>
                    <a:lnTo>
                      <a:pt x="126345" y="46994"/>
                    </a:lnTo>
                    <a:lnTo>
                      <a:pt x="126345" y="46112"/>
                    </a:lnTo>
                    <a:lnTo>
                      <a:pt x="127227" y="46994"/>
                    </a:lnTo>
                    <a:lnTo>
                      <a:pt x="127491" y="47258"/>
                    </a:lnTo>
                    <a:lnTo>
                      <a:pt x="127227" y="48140"/>
                    </a:lnTo>
                    <a:lnTo>
                      <a:pt x="127491" y="48757"/>
                    </a:lnTo>
                    <a:lnTo>
                      <a:pt x="128108" y="49286"/>
                    </a:lnTo>
                    <a:lnTo>
                      <a:pt x="128373" y="48140"/>
                    </a:lnTo>
                    <a:lnTo>
                      <a:pt x="128108" y="47258"/>
                    </a:lnTo>
                    <a:lnTo>
                      <a:pt x="128373" y="46641"/>
                    </a:lnTo>
                    <a:lnTo>
                      <a:pt x="129255" y="49022"/>
                    </a:lnTo>
                    <a:lnTo>
                      <a:pt x="129255" y="46377"/>
                    </a:lnTo>
                    <a:lnTo>
                      <a:pt x="130665" y="46994"/>
                    </a:lnTo>
                    <a:lnTo>
                      <a:pt x="129519" y="4725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7" name="Freihandform: Form 1966">
                <a:extLst>
                  <a:ext uri="{FF2B5EF4-FFF2-40B4-BE49-F238E27FC236}">
                    <a16:creationId xmlns:a16="http://schemas.microsoft.com/office/drawing/2014/main" id="{7EE83DF0-4318-BAD2-9C50-C9FFF992B8AD}"/>
                  </a:ext>
                </a:extLst>
              </p:cNvPr>
              <p:cNvSpPr/>
              <p:nvPr/>
            </p:nvSpPr>
            <p:spPr>
              <a:xfrm>
                <a:off x="6057950" y="3438081"/>
                <a:ext cx="192206" cy="463148"/>
              </a:xfrm>
              <a:custGeom>
                <a:avLst/>
                <a:gdLst>
                  <a:gd name="connsiteX0" fmla="*/ 8200 w 192206"/>
                  <a:gd name="connsiteY0" fmla="*/ 161525 h 463148"/>
                  <a:gd name="connsiteX1" fmla="*/ 6700 w 192206"/>
                  <a:gd name="connsiteY1" fmla="*/ 161525 h 463148"/>
                  <a:gd name="connsiteX2" fmla="*/ 5555 w 192206"/>
                  <a:gd name="connsiteY2" fmla="*/ 163905 h 463148"/>
                  <a:gd name="connsiteX3" fmla="*/ 6436 w 192206"/>
                  <a:gd name="connsiteY3" fmla="*/ 169107 h 463148"/>
                  <a:gd name="connsiteX4" fmla="*/ 6965 w 192206"/>
                  <a:gd name="connsiteY4" fmla="*/ 172898 h 463148"/>
                  <a:gd name="connsiteX5" fmla="*/ 8200 w 192206"/>
                  <a:gd name="connsiteY5" fmla="*/ 177307 h 463148"/>
                  <a:gd name="connsiteX6" fmla="*/ 9875 w 192206"/>
                  <a:gd name="connsiteY6" fmla="*/ 180745 h 463148"/>
                  <a:gd name="connsiteX7" fmla="*/ 8200 w 192206"/>
                  <a:gd name="connsiteY7" fmla="*/ 181980 h 463148"/>
                  <a:gd name="connsiteX8" fmla="*/ 8200 w 192206"/>
                  <a:gd name="connsiteY8" fmla="*/ 180745 h 463148"/>
                  <a:gd name="connsiteX9" fmla="*/ 7318 w 192206"/>
                  <a:gd name="connsiteY9" fmla="*/ 179070 h 463148"/>
                  <a:gd name="connsiteX10" fmla="*/ 5555 w 192206"/>
                  <a:gd name="connsiteY10" fmla="*/ 179599 h 463148"/>
                  <a:gd name="connsiteX11" fmla="*/ 4055 w 192206"/>
                  <a:gd name="connsiteY11" fmla="*/ 179599 h 463148"/>
                  <a:gd name="connsiteX12" fmla="*/ 3174 w 192206"/>
                  <a:gd name="connsiteY12" fmla="*/ 177924 h 463148"/>
                  <a:gd name="connsiteX13" fmla="*/ 2909 w 192206"/>
                  <a:gd name="connsiteY13" fmla="*/ 177307 h 463148"/>
                  <a:gd name="connsiteX14" fmla="*/ 1410 w 192206"/>
                  <a:gd name="connsiteY14" fmla="*/ 178188 h 463148"/>
                  <a:gd name="connsiteX15" fmla="*/ 264 w 192206"/>
                  <a:gd name="connsiteY15" fmla="*/ 178188 h 463148"/>
                  <a:gd name="connsiteX16" fmla="*/ 264 w 192206"/>
                  <a:gd name="connsiteY16" fmla="*/ 179599 h 463148"/>
                  <a:gd name="connsiteX17" fmla="*/ 0 w 192206"/>
                  <a:gd name="connsiteY17" fmla="*/ 180216 h 463148"/>
                  <a:gd name="connsiteX18" fmla="*/ 264 w 192206"/>
                  <a:gd name="connsiteY18" fmla="*/ 180745 h 463148"/>
                  <a:gd name="connsiteX19" fmla="*/ 529 w 192206"/>
                  <a:gd name="connsiteY19" fmla="*/ 182861 h 463148"/>
                  <a:gd name="connsiteX20" fmla="*/ 529 w 192206"/>
                  <a:gd name="connsiteY20" fmla="*/ 183390 h 463148"/>
                  <a:gd name="connsiteX21" fmla="*/ 881 w 192206"/>
                  <a:gd name="connsiteY21" fmla="*/ 184625 h 463148"/>
                  <a:gd name="connsiteX22" fmla="*/ 2028 w 192206"/>
                  <a:gd name="connsiteY22" fmla="*/ 186652 h 463148"/>
                  <a:gd name="connsiteX23" fmla="*/ 2645 w 192206"/>
                  <a:gd name="connsiteY23" fmla="*/ 190091 h 463148"/>
                  <a:gd name="connsiteX24" fmla="*/ 5202 w 192206"/>
                  <a:gd name="connsiteY24" fmla="*/ 193618 h 463148"/>
                  <a:gd name="connsiteX25" fmla="*/ 5555 w 192206"/>
                  <a:gd name="connsiteY25" fmla="*/ 196263 h 463148"/>
                  <a:gd name="connsiteX26" fmla="*/ 7318 w 192206"/>
                  <a:gd name="connsiteY26" fmla="*/ 196527 h 463148"/>
                  <a:gd name="connsiteX27" fmla="*/ 8200 w 192206"/>
                  <a:gd name="connsiteY27" fmla="*/ 197409 h 463148"/>
                  <a:gd name="connsiteX28" fmla="*/ 8200 w 192206"/>
                  <a:gd name="connsiteY28" fmla="*/ 198026 h 463148"/>
                  <a:gd name="connsiteX29" fmla="*/ 8993 w 192206"/>
                  <a:gd name="connsiteY29" fmla="*/ 200054 h 463148"/>
                  <a:gd name="connsiteX30" fmla="*/ 11903 w 192206"/>
                  <a:gd name="connsiteY30" fmla="*/ 202699 h 463148"/>
                  <a:gd name="connsiteX31" fmla="*/ 13666 w 192206"/>
                  <a:gd name="connsiteY31" fmla="*/ 206490 h 463148"/>
                  <a:gd name="connsiteX32" fmla="*/ 14547 w 192206"/>
                  <a:gd name="connsiteY32" fmla="*/ 206755 h 463148"/>
                  <a:gd name="connsiteX33" fmla="*/ 14283 w 192206"/>
                  <a:gd name="connsiteY33" fmla="*/ 206138 h 463148"/>
                  <a:gd name="connsiteX34" fmla="*/ 14018 w 192206"/>
                  <a:gd name="connsiteY34" fmla="*/ 204727 h 463148"/>
                  <a:gd name="connsiteX35" fmla="*/ 14283 w 192206"/>
                  <a:gd name="connsiteY35" fmla="*/ 203581 h 463148"/>
                  <a:gd name="connsiteX36" fmla="*/ 13401 w 192206"/>
                  <a:gd name="connsiteY36" fmla="*/ 201200 h 463148"/>
                  <a:gd name="connsiteX37" fmla="*/ 12784 w 192206"/>
                  <a:gd name="connsiteY37" fmla="*/ 198026 h 463148"/>
                  <a:gd name="connsiteX38" fmla="*/ 14283 w 192206"/>
                  <a:gd name="connsiteY38" fmla="*/ 201817 h 463148"/>
                  <a:gd name="connsiteX39" fmla="*/ 14812 w 192206"/>
                  <a:gd name="connsiteY39" fmla="*/ 202082 h 463148"/>
                  <a:gd name="connsiteX40" fmla="*/ 15429 w 192206"/>
                  <a:gd name="connsiteY40" fmla="*/ 203228 h 463148"/>
                  <a:gd name="connsiteX41" fmla="*/ 15694 w 192206"/>
                  <a:gd name="connsiteY41" fmla="*/ 201817 h 463148"/>
                  <a:gd name="connsiteX42" fmla="*/ 15429 w 192206"/>
                  <a:gd name="connsiteY42" fmla="*/ 201200 h 463148"/>
                  <a:gd name="connsiteX43" fmla="*/ 16576 w 192206"/>
                  <a:gd name="connsiteY43" fmla="*/ 201817 h 463148"/>
                  <a:gd name="connsiteX44" fmla="*/ 16576 w 192206"/>
                  <a:gd name="connsiteY44" fmla="*/ 202699 h 463148"/>
                  <a:gd name="connsiteX45" fmla="*/ 15694 w 192206"/>
                  <a:gd name="connsiteY45" fmla="*/ 202346 h 463148"/>
                  <a:gd name="connsiteX46" fmla="*/ 16576 w 192206"/>
                  <a:gd name="connsiteY46" fmla="*/ 203845 h 463148"/>
                  <a:gd name="connsiteX47" fmla="*/ 17810 w 192206"/>
                  <a:gd name="connsiteY47" fmla="*/ 204374 h 463148"/>
                  <a:gd name="connsiteX48" fmla="*/ 18074 w 192206"/>
                  <a:gd name="connsiteY48" fmla="*/ 203845 h 463148"/>
                  <a:gd name="connsiteX49" fmla="*/ 18074 w 192206"/>
                  <a:gd name="connsiteY49" fmla="*/ 204727 h 463148"/>
                  <a:gd name="connsiteX50" fmla="*/ 18603 w 192206"/>
                  <a:gd name="connsiteY50" fmla="*/ 204727 h 463148"/>
                  <a:gd name="connsiteX51" fmla="*/ 18074 w 192206"/>
                  <a:gd name="connsiteY51" fmla="*/ 206138 h 463148"/>
                  <a:gd name="connsiteX52" fmla="*/ 16311 w 192206"/>
                  <a:gd name="connsiteY52" fmla="*/ 206490 h 463148"/>
                  <a:gd name="connsiteX53" fmla="*/ 16311 w 192206"/>
                  <a:gd name="connsiteY53" fmla="*/ 207372 h 463148"/>
                  <a:gd name="connsiteX54" fmla="*/ 18603 w 192206"/>
                  <a:gd name="connsiteY54" fmla="*/ 211163 h 463148"/>
                  <a:gd name="connsiteX55" fmla="*/ 19221 w 192206"/>
                  <a:gd name="connsiteY55" fmla="*/ 211428 h 463148"/>
                  <a:gd name="connsiteX56" fmla="*/ 18956 w 192206"/>
                  <a:gd name="connsiteY56" fmla="*/ 209135 h 463148"/>
                  <a:gd name="connsiteX57" fmla="*/ 20367 w 192206"/>
                  <a:gd name="connsiteY57" fmla="*/ 206138 h 463148"/>
                  <a:gd name="connsiteX58" fmla="*/ 20102 w 192206"/>
                  <a:gd name="connsiteY58" fmla="*/ 202346 h 463148"/>
                  <a:gd name="connsiteX59" fmla="*/ 20367 w 192206"/>
                  <a:gd name="connsiteY59" fmla="*/ 198555 h 463148"/>
                  <a:gd name="connsiteX60" fmla="*/ 21248 w 192206"/>
                  <a:gd name="connsiteY60" fmla="*/ 200583 h 463148"/>
                  <a:gd name="connsiteX61" fmla="*/ 20367 w 192206"/>
                  <a:gd name="connsiteY61" fmla="*/ 202699 h 463148"/>
                  <a:gd name="connsiteX62" fmla="*/ 20719 w 192206"/>
                  <a:gd name="connsiteY62" fmla="*/ 203581 h 463148"/>
                  <a:gd name="connsiteX63" fmla="*/ 20984 w 192206"/>
                  <a:gd name="connsiteY63" fmla="*/ 203845 h 463148"/>
                  <a:gd name="connsiteX64" fmla="*/ 20984 w 192206"/>
                  <a:gd name="connsiteY64" fmla="*/ 202964 h 463148"/>
                  <a:gd name="connsiteX65" fmla="*/ 21513 w 192206"/>
                  <a:gd name="connsiteY65" fmla="*/ 202699 h 463148"/>
                  <a:gd name="connsiteX66" fmla="*/ 22130 w 192206"/>
                  <a:gd name="connsiteY66" fmla="*/ 202699 h 463148"/>
                  <a:gd name="connsiteX67" fmla="*/ 21513 w 192206"/>
                  <a:gd name="connsiteY67" fmla="*/ 203581 h 463148"/>
                  <a:gd name="connsiteX68" fmla="*/ 22483 w 192206"/>
                  <a:gd name="connsiteY68" fmla="*/ 203581 h 463148"/>
                  <a:gd name="connsiteX69" fmla="*/ 20984 w 192206"/>
                  <a:gd name="connsiteY69" fmla="*/ 204727 h 463148"/>
                  <a:gd name="connsiteX70" fmla="*/ 20984 w 192206"/>
                  <a:gd name="connsiteY70" fmla="*/ 206138 h 463148"/>
                  <a:gd name="connsiteX71" fmla="*/ 20367 w 192206"/>
                  <a:gd name="connsiteY71" fmla="*/ 207372 h 463148"/>
                  <a:gd name="connsiteX72" fmla="*/ 20719 w 192206"/>
                  <a:gd name="connsiteY72" fmla="*/ 209135 h 463148"/>
                  <a:gd name="connsiteX73" fmla="*/ 20984 w 192206"/>
                  <a:gd name="connsiteY73" fmla="*/ 210282 h 463148"/>
                  <a:gd name="connsiteX74" fmla="*/ 21513 w 192206"/>
                  <a:gd name="connsiteY74" fmla="*/ 208783 h 463148"/>
                  <a:gd name="connsiteX75" fmla="*/ 23012 w 192206"/>
                  <a:gd name="connsiteY75" fmla="*/ 207372 h 463148"/>
                  <a:gd name="connsiteX76" fmla="*/ 23276 w 192206"/>
                  <a:gd name="connsiteY76" fmla="*/ 209400 h 463148"/>
                  <a:gd name="connsiteX77" fmla="*/ 23012 w 192206"/>
                  <a:gd name="connsiteY77" fmla="*/ 209929 h 463148"/>
                  <a:gd name="connsiteX78" fmla="*/ 22483 w 192206"/>
                  <a:gd name="connsiteY78" fmla="*/ 209135 h 463148"/>
                  <a:gd name="connsiteX79" fmla="*/ 22483 w 192206"/>
                  <a:gd name="connsiteY79" fmla="*/ 209664 h 463148"/>
                  <a:gd name="connsiteX80" fmla="*/ 22747 w 192206"/>
                  <a:gd name="connsiteY80" fmla="*/ 210282 h 463148"/>
                  <a:gd name="connsiteX81" fmla="*/ 20367 w 192206"/>
                  <a:gd name="connsiteY81" fmla="*/ 211163 h 463148"/>
                  <a:gd name="connsiteX82" fmla="*/ 21248 w 192206"/>
                  <a:gd name="connsiteY82" fmla="*/ 212045 h 463148"/>
                  <a:gd name="connsiteX83" fmla="*/ 22747 w 192206"/>
                  <a:gd name="connsiteY83" fmla="*/ 213456 h 463148"/>
                  <a:gd name="connsiteX84" fmla="*/ 22483 w 192206"/>
                  <a:gd name="connsiteY84" fmla="*/ 214337 h 463148"/>
                  <a:gd name="connsiteX85" fmla="*/ 24511 w 192206"/>
                  <a:gd name="connsiteY85" fmla="*/ 217247 h 463148"/>
                  <a:gd name="connsiteX86" fmla="*/ 25040 w 192206"/>
                  <a:gd name="connsiteY86" fmla="*/ 217600 h 463148"/>
                  <a:gd name="connsiteX87" fmla="*/ 25922 w 192206"/>
                  <a:gd name="connsiteY87" fmla="*/ 218393 h 463148"/>
                  <a:gd name="connsiteX88" fmla="*/ 25040 w 192206"/>
                  <a:gd name="connsiteY88" fmla="*/ 217247 h 463148"/>
                  <a:gd name="connsiteX89" fmla="*/ 23893 w 192206"/>
                  <a:gd name="connsiteY89" fmla="*/ 214602 h 463148"/>
                  <a:gd name="connsiteX90" fmla="*/ 23893 w 192206"/>
                  <a:gd name="connsiteY90" fmla="*/ 214073 h 463148"/>
                  <a:gd name="connsiteX91" fmla="*/ 24511 w 192206"/>
                  <a:gd name="connsiteY91" fmla="*/ 213456 h 463148"/>
                  <a:gd name="connsiteX92" fmla="*/ 26803 w 192206"/>
                  <a:gd name="connsiteY92" fmla="*/ 217600 h 463148"/>
                  <a:gd name="connsiteX93" fmla="*/ 27420 w 192206"/>
                  <a:gd name="connsiteY93" fmla="*/ 218129 h 463148"/>
                  <a:gd name="connsiteX94" fmla="*/ 26186 w 192206"/>
                  <a:gd name="connsiteY94" fmla="*/ 215748 h 463148"/>
                  <a:gd name="connsiteX95" fmla="*/ 24246 w 192206"/>
                  <a:gd name="connsiteY95" fmla="*/ 211692 h 463148"/>
                  <a:gd name="connsiteX96" fmla="*/ 25040 w 192206"/>
                  <a:gd name="connsiteY96" fmla="*/ 212045 h 463148"/>
                  <a:gd name="connsiteX97" fmla="*/ 25922 w 192206"/>
                  <a:gd name="connsiteY97" fmla="*/ 211428 h 463148"/>
                  <a:gd name="connsiteX98" fmla="*/ 26803 w 192206"/>
                  <a:gd name="connsiteY98" fmla="*/ 212045 h 463148"/>
                  <a:gd name="connsiteX99" fmla="*/ 27420 w 192206"/>
                  <a:gd name="connsiteY99" fmla="*/ 212309 h 463148"/>
                  <a:gd name="connsiteX100" fmla="*/ 28566 w 192206"/>
                  <a:gd name="connsiteY100" fmla="*/ 211163 h 463148"/>
                  <a:gd name="connsiteX101" fmla="*/ 28831 w 192206"/>
                  <a:gd name="connsiteY101" fmla="*/ 211692 h 463148"/>
                  <a:gd name="connsiteX102" fmla="*/ 29448 w 192206"/>
                  <a:gd name="connsiteY102" fmla="*/ 213456 h 463148"/>
                  <a:gd name="connsiteX103" fmla="*/ 29184 w 192206"/>
                  <a:gd name="connsiteY103" fmla="*/ 211692 h 463148"/>
                  <a:gd name="connsiteX104" fmla="*/ 30065 w 192206"/>
                  <a:gd name="connsiteY104" fmla="*/ 214073 h 463148"/>
                  <a:gd name="connsiteX105" fmla="*/ 31476 w 192206"/>
                  <a:gd name="connsiteY105" fmla="*/ 214602 h 463148"/>
                  <a:gd name="connsiteX106" fmla="*/ 31211 w 192206"/>
                  <a:gd name="connsiteY106" fmla="*/ 213720 h 463148"/>
                  <a:gd name="connsiteX107" fmla="*/ 32093 w 192206"/>
                  <a:gd name="connsiteY107" fmla="*/ 214337 h 463148"/>
                  <a:gd name="connsiteX108" fmla="*/ 32358 w 192206"/>
                  <a:gd name="connsiteY108" fmla="*/ 213456 h 463148"/>
                  <a:gd name="connsiteX109" fmla="*/ 32358 w 192206"/>
                  <a:gd name="connsiteY109" fmla="*/ 214073 h 463148"/>
                  <a:gd name="connsiteX110" fmla="*/ 32622 w 192206"/>
                  <a:gd name="connsiteY110" fmla="*/ 214602 h 463148"/>
                  <a:gd name="connsiteX111" fmla="*/ 32622 w 192206"/>
                  <a:gd name="connsiteY111" fmla="*/ 215484 h 463148"/>
                  <a:gd name="connsiteX112" fmla="*/ 34121 w 192206"/>
                  <a:gd name="connsiteY112" fmla="*/ 215748 h 463148"/>
                  <a:gd name="connsiteX113" fmla="*/ 33504 w 192206"/>
                  <a:gd name="connsiteY113" fmla="*/ 216365 h 463148"/>
                  <a:gd name="connsiteX114" fmla="*/ 34738 w 192206"/>
                  <a:gd name="connsiteY114" fmla="*/ 216982 h 463148"/>
                  <a:gd name="connsiteX115" fmla="*/ 34738 w 192206"/>
                  <a:gd name="connsiteY115" fmla="*/ 215748 h 463148"/>
                  <a:gd name="connsiteX116" fmla="*/ 35885 w 192206"/>
                  <a:gd name="connsiteY116" fmla="*/ 215748 h 463148"/>
                  <a:gd name="connsiteX117" fmla="*/ 36414 w 192206"/>
                  <a:gd name="connsiteY117" fmla="*/ 215484 h 463148"/>
                  <a:gd name="connsiteX118" fmla="*/ 38177 w 192206"/>
                  <a:gd name="connsiteY118" fmla="*/ 215748 h 463148"/>
                  <a:gd name="connsiteX119" fmla="*/ 36766 w 192206"/>
                  <a:gd name="connsiteY119" fmla="*/ 216101 h 463148"/>
                  <a:gd name="connsiteX120" fmla="*/ 38530 w 192206"/>
                  <a:gd name="connsiteY120" fmla="*/ 216365 h 463148"/>
                  <a:gd name="connsiteX121" fmla="*/ 36149 w 192206"/>
                  <a:gd name="connsiteY121" fmla="*/ 217247 h 463148"/>
                  <a:gd name="connsiteX122" fmla="*/ 35620 w 192206"/>
                  <a:gd name="connsiteY122" fmla="*/ 217600 h 463148"/>
                  <a:gd name="connsiteX123" fmla="*/ 35267 w 192206"/>
                  <a:gd name="connsiteY123" fmla="*/ 219010 h 463148"/>
                  <a:gd name="connsiteX124" fmla="*/ 35267 w 192206"/>
                  <a:gd name="connsiteY124" fmla="*/ 220421 h 463148"/>
                  <a:gd name="connsiteX125" fmla="*/ 35620 w 192206"/>
                  <a:gd name="connsiteY125" fmla="*/ 219010 h 463148"/>
                  <a:gd name="connsiteX126" fmla="*/ 35885 w 192206"/>
                  <a:gd name="connsiteY126" fmla="*/ 221038 h 463148"/>
                  <a:gd name="connsiteX127" fmla="*/ 36766 w 192206"/>
                  <a:gd name="connsiteY127" fmla="*/ 221038 h 463148"/>
                  <a:gd name="connsiteX128" fmla="*/ 37030 w 192206"/>
                  <a:gd name="connsiteY128" fmla="*/ 219010 h 463148"/>
                  <a:gd name="connsiteX129" fmla="*/ 38794 w 192206"/>
                  <a:gd name="connsiteY129" fmla="*/ 219010 h 463148"/>
                  <a:gd name="connsiteX130" fmla="*/ 37295 w 192206"/>
                  <a:gd name="connsiteY130" fmla="*/ 219892 h 463148"/>
                  <a:gd name="connsiteX131" fmla="*/ 37295 w 192206"/>
                  <a:gd name="connsiteY131" fmla="*/ 221038 h 463148"/>
                  <a:gd name="connsiteX132" fmla="*/ 37648 w 192206"/>
                  <a:gd name="connsiteY132" fmla="*/ 222537 h 463148"/>
                  <a:gd name="connsiteX133" fmla="*/ 39059 w 192206"/>
                  <a:gd name="connsiteY133" fmla="*/ 221655 h 463148"/>
                  <a:gd name="connsiteX134" fmla="*/ 39676 w 192206"/>
                  <a:gd name="connsiteY134" fmla="*/ 221303 h 463148"/>
                  <a:gd name="connsiteX135" fmla="*/ 39676 w 192206"/>
                  <a:gd name="connsiteY135" fmla="*/ 220156 h 463148"/>
                  <a:gd name="connsiteX136" fmla="*/ 40557 w 192206"/>
                  <a:gd name="connsiteY136" fmla="*/ 221038 h 463148"/>
                  <a:gd name="connsiteX137" fmla="*/ 39940 w 192206"/>
                  <a:gd name="connsiteY137" fmla="*/ 221655 h 463148"/>
                  <a:gd name="connsiteX138" fmla="*/ 39940 w 192206"/>
                  <a:gd name="connsiteY138" fmla="*/ 221920 h 463148"/>
                  <a:gd name="connsiteX139" fmla="*/ 39059 w 192206"/>
                  <a:gd name="connsiteY139" fmla="*/ 221920 h 463148"/>
                  <a:gd name="connsiteX140" fmla="*/ 39323 w 192206"/>
                  <a:gd name="connsiteY140" fmla="*/ 222802 h 463148"/>
                  <a:gd name="connsiteX141" fmla="*/ 40205 w 192206"/>
                  <a:gd name="connsiteY141" fmla="*/ 223419 h 463148"/>
                  <a:gd name="connsiteX142" fmla="*/ 40205 w 192206"/>
                  <a:gd name="connsiteY142" fmla="*/ 223948 h 463148"/>
                  <a:gd name="connsiteX143" fmla="*/ 42585 w 192206"/>
                  <a:gd name="connsiteY143" fmla="*/ 225711 h 463148"/>
                  <a:gd name="connsiteX144" fmla="*/ 43467 w 192206"/>
                  <a:gd name="connsiteY144" fmla="*/ 225711 h 463148"/>
                  <a:gd name="connsiteX145" fmla="*/ 42585 w 192206"/>
                  <a:gd name="connsiteY145" fmla="*/ 226328 h 463148"/>
                  <a:gd name="connsiteX146" fmla="*/ 42850 w 192206"/>
                  <a:gd name="connsiteY146" fmla="*/ 226328 h 463148"/>
                  <a:gd name="connsiteX147" fmla="*/ 44348 w 192206"/>
                  <a:gd name="connsiteY147" fmla="*/ 226328 h 463148"/>
                  <a:gd name="connsiteX148" fmla="*/ 44877 w 192206"/>
                  <a:gd name="connsiteY148" fmla="*/ 226328 h 463148"/>
                  <a:gd name="connsiteX149" fmla="*/ 45230 w 192206"/>
                  <a:gd name="connsiteY149" fmla="*/ 227474 h 463148"/>
                  <a:gd name="connsiteX150" fmla="*/ 45230 w 192206"/>
                  <a:gd name="connsiteY150" fmla="*/ 228356 h 463148"/>
                  <a:gd name="connsiteX151" fmla="*/ 43467 w 192206"/>
                  <a:gd name="connsiteY151" fmla="*/ 231795 h 463148"/>
                  <a:gd name="connsiteX152" fmla="*/ 41968 w 192206"/>
                  <a:gd name="connsiteY152" fmla="*/ 232676 h 463148"/>
                  <a:gd name="connsiteX153" fmla="*/ 40557 w 192206"/>
                  <a:gd name="connsiteY153" fmla="*/ 231795 h 463148"/>
                  <a:gd name="connsiteX154" fmla="*/ 38794 w 192206"/>
                  <a:gd name="connsiteY154" fmla="*/ 231795 h 463148"/>
                  <a:gd name="connsiteX155" fmla="*/ 38177 w 192206"/>
                  <a:gd name="connsiteY155" fmla="*/ 231266 h 463148"/>
                  <a:gd name="connsiteX156" fmla="*/ 37030 w 192206"/>
                  <a:gd name="connsiteY156" fmla="*/ 230649 h 463148"/>
                  <a:gd name="connsiteX157" fmla="*/ 37295 w 192206"/>
                  <a:gd name="connsiteY157" fmla="*/ 230120 h 463148"/>
                  <a:gd name="connsiteX158" fmla="*/ 36414 w 192206"/>
                  <a:gd name="connsiteY158" fmla="*/ 227474 h 463148"/>
                  <a:gd name="connsiteX159" fmla="*/ 35885 w 192206"/>
                  <a:gd name="connsiteY159" fmla="*/ 227474 h 463148"/>
                  <a:gd name="connsiteX160" fmla="*/ 35003 w 192206"/>
                  <a:gd name="connsiteY160" fmla="*/ 227210 h 463148"/>
                  <a:gd name="connsiteX161" fmla="*/ 34121 w 192206"/>
                  <a:gd name="connsiteY161" fmla="*/ 227474 h 463148"/>
                  <a:gd name="connsiteX162" fmla="*/ 34121 w 192206"/>
                  <a:gd name="connsiteY162" fmla="*/ 228356 h 463148"/>
                  <a:gd name="connsiteX163" fmla="*/ 34385 w 192206"/>
                  <a:gd name="connsiteY163" fmla="*/ 230120 h 463148"/>
                  <a:gd name="connsiteX164" fmla="*/ 34738 w 192206"/>
                  <a:gd name="connsiteY164" fmla="*/ 230649 h 463148"/>
                  <a:gd name="connsiteX165" fmla="*/ 36766 w 192206"/>
                  <a:gd name="connsiteY165" fmla="*/ 233029 h 463148"/>
                  <a:gd name="connsiteX166" fmla="*/ 37648 w 192206"/>
                  <a:gd name="connsiteY166" fmla="*/ 234440 h 463148"/>
                  <a:gd name="connsiteX167" fmla="*/ 38794 w 192206"/>
                  <a:gd name="connsiteY167" fmla="*/ 234792 h 463148"/>
                  <a:gd name="connsiteX168" fmla="*/ 38794 w 192206"/>
                  <a:gd name="connsiteY168" fmla="*/ 236820 h 463148"/>
                  <a:gd name="connsiteX169" fmla="*/ 39059 w 192206"/>
                  <a:gd name="connsiteY169" fmla="*/ 238231 h 463148"/>
                  <a:gd name="connsiteX170" fmla="*/ 39940 w 192206"/>
                  <a:gd name="connsiteY170" fmla="*/ 237702 h 463148"/>
                  <a:gd name="connsiteX171" fmla="*/ 41703 w 192206"/>
                  <a:gd name="connsiteY171" fmla="*/ 239113 h 463148"/>
                  <a:gd name="connsiteX172" fmla="*/ 43731 w 192206"/>
                  <a:gd name="connsiteY172" fmla="*/ 239994 h 463148"/>
                  <a:gd name="connsiteX173" fmla="*/ 45759 w 192206"/>
                  <a:gd name="connsiteY173" fmla="*/ 241758 h 463148"/>
                  <a:gd name="connsiteX174" fmla="*/ 45759 w 192206"/>
                  <a:gd name="connsiteY174" fmla="*/ 241141 h 463148"/>
                  <a:gd name="connsiteX175" fmla="*/ 46993 w 192206"/>
                  <a:gd name="connsiteY175" fmla="*/ 241758 h 463148"/>
                  <a:gd name="connsiteX176" fmla="*/ 46993 w 192206"/>
                  <a:gd name="connsiteY176" fmla="*/ 239113 h 463148"/>
                  <a:gd name="connsiteX177" fmla="*/ 46024 w 192206"/>
                  <a:gd name="connsiteY177" fmla="*/ 238231 h 463148"/>
                  <a:gd name="connsiteX178" fmla="*/ 45230 w 192206"/>
                  <a:gd name="connsiteY178" fmla="*/ 236820 h 463148"/>
                  <a:gd name="connsiteX179" fmla="*/ 45759 w 192206"/>
                  <a:gd name="connsiteY179" fmla="*/ 235586 h 463148"/>
                  <a:gd name="connsiteX180" fmla="*/ 43996 w 192206"/>
                  <a:gd name="connsiteY180" fmla="*/ 233029 h 463148"/>
                  <a:gd name="connsiteX181" fmla="*/ 44613 w 192206"/>
                  <a:gd name="connsiteY181" fmla="*/ 233294 h 463148"/>
                  <a:gd name="connsiteX182" fmla="*/ 45230 w 192206"/>
                  <a:gd name="connsiteY182" fmla="*/ 234175 h 463148"/>
                  <a:gd name="connsiteX183" fmla="*/ 45495 w 192206"/>
                  <a:gd name="connsiteY183" fmla="*/ 234792 h 463148"/>
                  <a:gd name="connsiteX184" fmla="*/ 46376 w 192206"/>
                  <a:gd name="connsiteY184" fmla="*/ 234792 h 463148"/>
                  <a:gd name="connsiteX185" fmla="*/ 46641 w 192206"/>
                  <a:gd name="connsiteY185" fmla="*/ 233029 h 463148"/>
                  <a:gd name="connsiteX186" fmla="*/ 46376 w 192206"/>
                  <a:gd name="connsiteY186" fmla="*/ 230649 h 463148"/>
                  <a:gd name="connsiteX187" fmla="*/ 47258 w 192206"/>
                  <a:gd name="connsiteY187" fmla="*/ 227739 h 463148"/>
                  <a:gd name="connsiteX188" fmla="*/ 47787 w 192206"/>
                  <a:gd name="connsiteY188" fmla="*/ 228356 h 463148"/>
                  <a:gd name="connsiteX189" fmla="*/ 46641 w 192206"/>
                  <a:gd name="connsiteY189" fmla="*/ 231266 h 463148"/>
                  <a:gd name="connsiteX190" fmla="*/ 46993 w 192206"/>
                  <a:gd name="connsiteY190" fmla="*/ 231795 h 463148"/>
                  <a:gd name="connsiteX191" fmla="*/ 47522 w 192206"/>
                  <a:gd name="connsiteY191" fmla="*/ 232676 h 463148"/>
                  <a:gd name="connsiteX192" fmla="*/ 46993 w 192206"/>
                  <a:gd name="connsiteY192" fmla="*/ 234792 h 463148"/>
                  <a:gd name="connsiteX193" fmla="*/ 46993 w 192206"/>
                  <a:gd name="connsiteY193" fmla="*/ 235586 h 463148"/>
                  <a:gd name="connsiteX194" fmla="*/ 47258 w 192206"/>
                  <a:gd name="connsiteY194" fmla="*/ 236203 h 463148"/>
                  <a:gd name="connsiteX195" fmla="*/ 48140 w 192206"/>
                  <a:gd name="connsiteY195" fmla="*/ 236203 h 463148"/>
                  <a:gd name="connsiteX196" fmla="*/ 47522 w 192206"/>
                  <a:gd name="connsiteY196" fmla="*/ 236820 h 463148"/>
                  <a:gd name="connsiteX197" fmla="*/ 48404 w 192206"/>
                  <a:gd name="connsiteY197" fmla="*/ 237349 h 463148"/>
                  <a:gd name="connsiteX198" fmla="*/ 47522 w 192206"/>
                  <a:gd name="connsiteY198" fmla="*/ 238584 h 463148"/>
                  <a:gd name="connsiteX199" fmla="*/ 48140 w 192206"/>
                  <a:gd name="connsiteY199" fmla="*/ 239994 h 463148"/>
                  <a:gd name="connsiteX200" fmla="*/ 47787 w 192206"/>
                  <a:gd name="connsiteY200" fmla="*/ 241141 h 463148"/>
                  <a:gd name="connsiteX201" fmla="*/ 47787 w 192206"/>
                  <a:gd name="connsiteY201" fmla="*/ 241758 h 463148"/>
                  <a:gd name="connsiteX202" fmla="*/ 49903 w 192206"/>
                  <a:gd name="connsiteY202" fmla="*/ 242904 h 463148"/>
                  <a:gd name="connsiteX203" fmla="*/ 50432 w 192206"/>
                  <a:gd name="connsiteY203" fmla="*/ 241758 h 463148"/>
                  <a:gd name="connsiteX204" fmla="*/ 51049 w 192206"/>
                  <a:gd name="connsiteY204" fmla="*/ 241758 h 463148"/>
                  <a:gd name="connsiteX205" fmla="*/ 51314 w 192206"/>
                  <a:gd name="connsiteY205" fmla="*/ 242904 h 463148"/>
                  <a:gd name="connsiteX206" fmla="*/ 51314 w 192206"/>
                  <a:gd name="connsiteY206" fmla="*/ 243786 h 463148"/>
                  <a:gd name="connsiteX207" fmla="*/ 51931 w 192206"/>
                  <a:gd name="connsiteY207" fmla="*/ 244403 h 463148"/>
                  <a:gd name="connsiteX208" fmla="*/ 53077 w 192206"/>
                  <a:gd name="connsiteY208" fmla="*/ 244050 h 463148"/>
                  <a:gd name="connsiteX209" fmla="*/ 53077 w 192206"/>
                  <a:gd name="connsiteY209" fmla="*/ 245285 h 463148"/>
                  <a:gd name="connsiteX210" fmla="*/ 51931 w 192206"/>
                  <a:gd name="connsiteY210" fmla="*/ 244667 h 463148"/>
                  <a:gd name="connsiteX211" fmla="*/ 51314 w 192206"/>
                  <a:gd name="connsiteY211" fmla="*/ 244667 h 463148"/>
                  <a:gd name="connsiteX212" fmla="*/ 52813 w 192206"/>
                  <a:gd name="connsiteY212" fmla="*/ 246695 h 463148"/>
                  <a:gd name="connsiteX213" fmla="*/ 54840 w 192206"/>
                  <a:gd name="connsiteY213" fmla="*/ 250751 h 463148"/>
                  <a:gd name="connsiteX214" fmla="*/ 53959 w 192206"/>
                  <a:gd name="connsiteY214" fmla="*/ 250222 h 463148"/>
                  <a:gd name="connsiteX215" fmla="*/ 54223 w 192206"/>
                  <a:gd name="connsiteY215" fmla="*/ 252250 h 463148"/>
                  <a:gd name="connsiteX216" fmla="*/ 56339 w 192206"/>
                  <a:gd name="connsiteY216" fmla="*/ 254013 h 463148"/>
                  <a:gd name="connsiteX217" fmla="*/ 57750 w 192206"/>
                  <a:gd name="connsiteY217" fmla="*/ 254542 h 463148"/>
                  <a:gd name="connsiteX218" fmla="*/ 57750 w 192206"/>
                  <a:gd name="connsiteY218" fmla="*/ 255777 h 463148"/>
                  <a:gd name="connsiteX219" fmla="*/ 57133 w 192206"/>
                  <a:gd name="connsiteY219" fmla="*/ 256306 h 463148"/>
                  <a:gd name="connsiteX220" fmla="*/ 55722 w 192206"/>
                  <a:gd name="connsiteY220" fmla="*/ 255777 h 463148"/>
                  <a:gd name="connsiteX221" fmla="*/ 56339 w 192206"/>
                  <a:gd name="connsiteY221" fmla="*/ 256923 h 463148"/>
                  <a:gd name="connsiteX222" fmla="*/ 58014 w 192206"/>
                  <a:gd name="connsiteY222" fmla="*/ 257187 h 463148"/>
                  <a:gd name="connsiteX223" fmla="*/ 58896 w 192206"/>
                  <a:gd name="connsiteY223" fmla="*/ 257540 h 463148"/>
                  <a:gd name="connsiteX224" fmla="*/ 58896 w 192206"/>
                  <a:gd name="connsiteY224" fmla="*/ 258950 h 463148"/>
                  <a:gd name="connsiteX225" fmla="*/ 59778 w 192206"/>
                  <a:gd name="connsiteY225" fmla="*/ 262213 h 463148"/>
                  <a:gd name="connsiteX226" fmla="*/ 59778 w 192206"/>
                  <a:gd name="connsiteY226" fmla="*/ 262742 h 463148"/>
                  <a:gd name="connsiteX227" fmla="*/ 59514 w 192206"/>
                  <a:gd name="connsiteY227" fmla="*/ 263006 h 463148"/>
                  <a:gd name="connsiteX228" fmla="*/ 60043 w 192206"/>
                  <a:gd name="connsiteY228" fmla="*/ 265651 h 463148"/>
                  <a:gd name="connsiteX229" fmla="*/ 60307 w 192206"/>
                  <a:gd name="connsiteY229" fmla="*/ 267415 h 463148"/>
                  <a:gd name="connsiteX230" fmla="*/ 62688 w 192206"/>
                  <a:gd name="connsiteY230" fmla="*/ 269443 h 463148"/>
                  <a:gd name="connsiteX231" fmla="*/ 63834 w 192206"/>
                  <a:gd name="connsiteY231" fmla="*/ 272705 h 463148"/>
                  <a:gd name="connsiteX232" fmla="*/ 64451 w 192206"/>
                  <a:gd name="connsiteY232" fmla="*/ 274997 h 463148"/>
                  <a:gd name="connsiteX233" fmla="*/ 64098 w 192206"/>
                  <a:gd name="connsiteY233" fmla="*/ 274997 h 463148"/>
                  <a:gd name="connsiteX234" fmla="*/ 64098 w 192206"/>
                  <a:gd name="connsiteY234" fmla="*/ 273851 h 463148"/>
                  <a:gd name="connsiteX235" fmla="*/ 63569 w 192206"/>
                  <a:gd name="connsiteY235" fmla="*/ 274997 h 463148"/>
                  <a:gd name="connsiteX236" fmla="*/ 64098 w 192206"/>
                  <a:gd name="connsiteY236" fmla="*/ 275614 h 463148"/>
                  <a:gd name="connsiteX237" fmla="*/ 64715 w 192206"/>
                  <a:gd name="connsiteY237" fmla="*/ 278171 h 463148"/>
                  <a:gd name="connsiteX238" fmla="*/ 65333 w 192206"/>
                  <a:gd name="connsiteY238" fmla="*/ 279670 h 463148"/>
                  <a:gd name="connsiteX239" fmla="*/ 64980 w 192206"/>
                  <a:gd name="connsiteY239" fmla="*/ 280287 h 463148"/>
                  <a:gd name="connsiteX240" fmla="*/ 64098 w 192206"/>
                  <a:gd name="connsiteY240" fmla="*/ 280287 h 463148"/>
                  <a:gd name="connsiteX241" fmla="*/ 64715 w 192206"/>
                  <a:gd name="connsiteY241" fmla="*/ 281169 h 463148"/>
                  <a:gd name="connsiteX242" fmla="*/ 63569 w 192206"/>
                  <a:gd name="connsiteY242" fmla="*/ 281169 h 463148"/>
                  <a:gd name="connsiteX243" fmla="*/ 63305 w 192206"/>
                  <a:gd name="connsiteY243" fmla="*/ 282844 h 463148"/>
                  <a:gd name="connsiteX244" fmla="*/ 64451 w 192206"/>
                  <a:gd name="connsiteY244" fmla="*/ 282844 h 463148"/>
                  <a:gd name="connsiteX245" fmla="*/ 64715 w 192206"/>
                  <a:gd name="connsiteY245" fmla="*/ 284079 h 463148"/>
                  <a:gd name="connsiteX246" fmla="*/ 62688 w 192206"/>
                  <a:gd name="connsiteY246" fmla="*/ 283726 h 463148"/>
                  <a:gd name="connsiteX247" fmla="*/ 62159 w 192206"/>
                  <a:gd name="connsiteY247" fmla="*/ 283726 h 463148"/>
                  <a:gd name="connsiteX248" fmla="*/ 62423 w 192206"/>
                  <a:gd name="connsiteY248" fmla="*/ 284079 h 463148"/>
                  <a:gd name="connsiteX249" fmla="*/ 62952 w 192206"/>
                  <a:gd name="connsiteY249" fmla="*/ 284608 h 463148"/>
                  <a:gd name="connsiteX250" fmla="*/ 62159 w 192206"/>
                  <a:gd name="connsiteY250" fmla="*/ 284608 h 463148"/>
                  <a:gd name="connsiteX251" fmla="*/ 62423 w 192206"/>
                  <a:gd name="connsiteY251" fmla="*/ 285754 h 463148"/>
                  <a:gd name="connsiteX252" fmla="*/ 62952 w 192206"/>
                  <a:gd name="connsiteY252" fmla="*/ 289280 h 463148"/>
                  <a:gd name="connsiteX253" fmla="*/ 63305 w 192206"/>
                  <a:gd name="connsiteY253" fmla="*/ 289280 h 463148"/>
                  <a:gd name="connsiteX254" fmla="*/ 62952 w 192206"/>
                  <a:gd name="connsiteY254" fmla="*/ 290779 h 463148"/>
                  <a:gd name="connsiteX255" fmla="*/ 61541 w 192206"/>
                  <a:gd name="connsiteY255" fmla="*/ 290162 h 463148"/>
                  <a:gd name="connsiteX256" fmla="*/ 62688 w 192206"/>
                  <a:gd name="connsiteY256" fmla="*/ 293953 h 463148"/>
                  <a:gd name="connsiteX257" fmla="*/ 61541 w 192206"/>
                  <a:gd name="connsiteY257" fmla="*/ 295364 h 463148"/>
                  <a:gd name="connsiteX258" fmla="*/ 61806 w 192206"/>
                  <a:gd name="connsiteY258" fmla="*/ 297127 h 463148"/>
                  <a:gd name="connsiteX259" fmla="*/ 61277 w 192206"/>
                  <a:gd name="connsiteY259" fmla="*/ 298362 h 463148"/>
                  <a:gd name="connsiteX260" fmla="*/ 62159 w 192206"/>
                  <a:gd name="connsiteY260" fmla="*/ 299155 h 463148"/>
                  <a:gd name="connsiteX261" fmla="*/ 62423 w 192206"/>
                  <a:gd name="connsiteY261" fmla="*/ 299773 h 463148"/>
                  <a:gd name="connsiteX262" fmla="*/ 61541 w 192206"/>
                  <a:gd name="connsiteY262" fmla="*/ 300125 h 463148"/>
                  <a:gd name="connsiteX263" fmla="*/ 60924 w 192206"/>
                  <a:gd name="connsiteY263" fmla="*/ 299508 h 463148"/>
                  <a:gd name="connsiteX264" fmla="*/ 61277 w 192206"/>
                  <a:gd name="connsiteY264" fmla="*/ 300919 h 463148"/>
                  <a:gd name="connsiteX265" fmla="*/ 60924 w 192206"/>
                  <a:gd name="connsiteY265" fmla="*/ 303916 h 463148"/>
                  <a:gd name="connsiteX266" fmla="*/ 59778 w 192206"/>
                  <a:gd name="connsiteY266" fmla="*/ 304445 h 463148"/>
                  <a:gd name="connsiteX267" fmla="*/ 59161 w 192206"/>
                  <a:gd name="connsiteY267" fmla="*/ 306209 h 463148"/>
                  <a:gd name="connsiteX268" fmla="*/ 61277 w 192206"/>
                  <a:gd name="connsiteY268" fmla="*/ 306473 h 463148"/>
                  <a:gd name="connsiteX269" fmla="*/ 60043 w 192206"/>
                  <a:gd name="connsiteY269" fmla="*/ 307355 h 463148"/>
                  <a:gd name="connsiteX270" fmla="*/ 59514 w 192206"/>
                  <a:gd name="connsiteY270" fmla="*/ 310265 h 463148"/>
                  <a:gd name="connsiteX271" fmla="*/ 60660 w 192206"/>
                  <a:gd name="connsiteY271" fmla="*/ 313174 h 463148"/>
                  <a:gd name="connsiteX272" fmla="*/ 62159 w 192206"/>
                  <a:gd name="connsiteY272" fmla="*/ 313791 h 463148"/>
                  <a:gd name="connsiteX273" fmla="*/ 62688 w 192206"/>
                  <a:gd name="connsiteY273" fmla="*/ 313527 h 463148"/>
                  <a:gd name="connsiteX274" fmla="*/ 63305 w 192206"/>
                  <a:gd name="connsiteY274" fmla="*/ 313791 h 463148"/>
                  <a:gd name="connsiteX275" fmla="*/ 63569 w 192206"/>
                  <a:gd name="connsiteY275" fmla="*/ 312381 h 463148"/>
                  <a:gd name="connsiteX276" fmla="*/ 65950 w 192206"/>
                  <a:gd name="connsiteY276" fmla="*/ 311146 h 463148"/>
                  <a:gd name="connsiteX277" fmla="*/ 65597 w 192206"/>
                  <a:gd name="connsiteY277" fmla="*/ 310000 h 463148"/>
                  <a:gd name="connsiteX278" fmla="*/ 67096 w 192206"/>
                  <a:gd name="connsiteY278" fmla="*/ 308237 h 463148"/>
                  <a:gd name="connsiteX279" fmla="*/ 66744 w 192206"/>
                  <a:gd name="connsiteY279" fmla="*/ 305592 h 463148"/>
                  <a:gd name="connsiteX280" fmla="*/ 67360 w 192206"/>
                  <a:gd name="connsiteY280" fmla="*/ 305592 h 463148"/>
                  <a:gd name="connsiteX281" fmla="*/ 67977 w 192206"/>
                  <a:gd name="connsiteY281" fmla="*/ 306209 h 463148"/>
                  <a:gd name="connsiteX282" fmla="*/ 67977 w 192206"/>
                  <a:gd name="connsiteY282" fmla="*/ 305592 h 463148"/>
                  <a:gd name="connsiteX283" fmla="*/ 67977 w 192206"/>
                  <a:gd name="connsiteY283" fmla="*/ 304710 h 463148"/>
                  <a:gd name="connsiteX284" fmla="*/ 69124 w 192206"/>
                  <a:gd name="connsiteY284" fmla="*/ 304710 h 463148"/>
                  <a:gd name="connsiteX285" fmla="*/ 69388 w 192206"/>
                  <a:gd name="connsiteY285" fmla="*/ 304710 h 463148"/>
                  <a:gd name="connsiteX286" fmla="*/ 68242 w 192206"/>
                  <a:gd name="connsiteY286" fmla="*/ 305063 h 463148"/>
                  <a:gd name="connsiteX287" fmla="*/ 68859 w 192206"/>
                  <a:gd name="connsiteY287" fmla="*/ 305592 h 463148"/>
                  <a:gd name="connsiteX288" fmla="*/ 68242 w 192206"/>
                  <a:gd name="connsiteY288" fmla="*/ 306826 h 463148"/>
                  <a:gd name="connsiteX289" fmla="*/ 68242 w 192206"/>
                  <a:gd name="connsiteY289" fmla="*/ 307708 h 463148"/>
                  <a:gd name="connsiteX290" fmla="*/ 69124 w 192206"/>
                  <a:gd name="connsiteY290" fmla="*/ 306473 h 463148"/>
                  <a:gd name="connsiteX291" fmla="*/ 69653 w 192206"/>
                  <a:gd name="connsiteY291" fmla="*/ 304710 h 463148"/>
                  <a:gd name="connsiteX292" fmla="*/ 69124 w 192206"/>
                  <a:gd name="connsiteY292" fmla="*/ 299508 h 463148"/>
                  <a:gd name="connsiteX293" fmla="*/ 69653 w 192206"/>
                  <a:gd name="connsiteY293" fmla="*/ 301536 h 463148"/>
                  <a:gd name="connsiteX294" fmla="*/ 70887 w 192206"/>
                  <a:gd name="connsiteY294" fmla="*/ 300125 h 463148"/>
                  <a:gd name="connsiteX295" fmla="*/ 70535 w 192206"/>
                  <a:gd name="connsiteY295" fmla="*/ 300919 h 463148"/>
                  <a:gd name="connsiteX296" fmla="*/ 71152 w 192206"/>
                  <a:gd name="connsiteY296" fmla="*/ 303299 h 463148"/>
                  <a:gd name="connsiteX297" fmla="*/ 71416 w 192206"/>
                  <a:gd name="connsiteY297" fmla="*/ 304710 h 463148"/>
                  <a:gd name="connsiteX298" fmla="*/ 71152 w 192206"/>
                  <a:gd name="connsiteY298" fmla="*/ 304710 h 463148"/>
                  <a:gd name="connsiteX299" fmla="*/ 70006 w 192206"/>
                  <a:gd name="connsiteY299" fmla="*/ 306826 h 463148"/>
                  <a:gd name="connsiteX300" fmla="*/ 70006 w 192206"/>
                  <a:gd name="connsiteY300" fmla="*/ 307708 h 463148"/>
                  <a:gd name="connsiteX301" fmla="*/ 70270 w 192206"/>
                  <a:gd name="connsiteY301" fmla="*/ 310000 h 463148"/>
                  <a:gd name="connsiteX302" fmla="*/ 70006 w 192206"/>
                  <a:gd name="connsiteY302" fmla="*/ 313174 h 463148"/>
                  <a:gd name="connsiteX303" fmla="*/ 69124 w 192206"/>
                  <a:gd name="connsiteY303" fmla="*/ 313791 h 463148"/>
                  <a:gd name="connsiteX304" fmla="*/ 69124 w 192206"/>
                  <a:gd name="connsiteY304" fmla="*/ 314408 h 463148"/>
                  <a:gd name="connsiteX305" fmla="*/ 68506 w 192206"/>
                  <a:gd name="connsiteY305" fmla="*/ 314937 h 463148"/>
                  <a:gd name="connsiteX306" fmla="*/ 69388 w 192206"/>
                  <a:gd name="connsiteY306" fmla="*/ 314673 h 463148"/>
                  <a:gd name="connsiteX307" fmla="*/ 72033 w 192206"/>
                  <a:gd name="connsiteY307" fmla="*/ 313174 h 463148"/>
                  <a:gd name="connsiteX308" fmla="*/ 72033 w 192206"/>
                  <a:gd name="connsiteY308" fmla="*/ 311763 h 463148"/>
                  <a:gd name="connsiteX309" fmla="*/ 72915 w 192206"/>
                  <a:gd name="connsiteY309" fmla="*/ 310000 h 463148"/>
                  <a:gd name="connsiteX310" fmla="*/ 72651 w 192206"/>
                  <a:gd name="connsiteY310" fmla="*/ 309118 h 463148"/>
                  <a:gd name="connsiteX311" fmla="*/ 73180 w 192206"/>
                  <a:gd name="connsiteY311" fmla="*/ 308589 h 463148"/>
                  <a:gd name="connsiteX312" fmla="*/ 73532 w 192206"/>
                  <a:gd name="connsiteY312" fmla="*/ 309383 h 463148"/>
                  <a:gd name="connsiteX313" fmla="*/ 73532 w 192206"/>
                  <a:gd name="connsiteY313" fmla="*/ 310000 h 463148"/>
                  <a:gd name="connsiteX314" fmla="*/ 72298 w 192206"/>
                  <a:gd name="connsiteY314" fmla="*/ 312028 h 463148"/>
                  <a:gd name="connsiteX315" fmla="*/ 72651 w 192206"/>
                  <a:gd name="connsiteY315" fmla="*/ 313791 h 463148"/>
                  <a:gd name="connsiteX316" fmla="*/ 70887 w 192206"/>
                  <a:gd name="connsiteY316" fmla="*/ 314673 h 463148"/>
                  <a:gd name="connsiteX317" fmla="*/ 69124 w 192206"/>
                  <a:gd name="connsiteY317" fmla="*/ 315202 h 463148"/>
                  <a:gd name="connsiteX318" fmla="*/ 69653 w 192206"/>
                  <a:gd name="connsiteY318" fmla="*/ 316701 h 463148"/>
                  <a:gd name="connsiteX319" fmla="*/ 70270 w 192206"/>
                  <a:gd name="connsiteY319" fmla="*/ 315555 h 463148"/>
                  <a:gd name="connsiteX320" fmla="*/ 70535 w 192206"/>
                  <a:gd name="connsiteY320" fmla="*/ 316701 h 463148"/>
                  <a:gd name="connsiteX321" fmla="*/ 71416 w 192206"/>
                  <a:gd name="connsiteY321" fmla="*/ 316172 h 463148"/>
                  <a:gd name="connsiteX322" fmla="*/ 72915 w 192206"/>
                  <a:gd name="connsiteY322" fmla="*/ 316701 h 463148"/>
                  <a:gd name="connsiteX323" fmla="*/ 74061 w 192206"/>
                  <a:gd name="connsiteY323" fmla="*/ 314673 h 463148"/>
                  <a:gd name="connsiteX324" fmla="*/ 75207 w 192206"/>
                  <a:gd name="connsiteY324" fmla="*/ 313791 h 463148"/>
                  <a:gd name="connsiteX325" fmla="*/ 75207 w 192206"/>
                  <a:gd name="connsiteY325" fmla="*/ 313174 h 463148"/>
                  <a:gd name="connsiteX326" fmla="*/ 74414 w 192206"/>
                  <a:gd name="connsiteY326" fmla="*/ 309383 h 463148"/>
                  <a:gd name="connsiteX327" fmla="*/ 74678 w 192206"/>
                  <a:gd name="connsiteY327" fmla="*/ 308237 h 463148"/>
                  <a:gd name="connsiteX328" fmla="*/ 75560 w 192206"/>
                  <a:gd name="connsiteY328" fmla="*/ 307708 h 463148"/>
                  <a:gd name="connsiteX329" fmla="*/ 76442 w 192206"/>
                  <a:gd name="connsiteY329" fmla="*/ 307355 h 463148"/>
                  <a:gd name="connsiteX330" fmla="*/ 76971 w 192206"/>
                  <a:gd name="connsiteY330" fmla="*/ 307090 h 463148"/>
                  <a:gd name="connsiteX331" fmla="*/ 76971 w 192206"/>
                  <a:gd name="connsiteY331" fmla="*/ 307708 h 463148"/>
                  <a:gd name="connsiteX332" fmla="*/ 75825 w 192206"/>
                  <a:gd name="connsiteY332" fmla="*/ 308237 h 463148"/>
                  <a:gd name="connsiteX333" fmla="*/ 74678 w 192206"/>
                  <a:gd name="connsiteY333" fmla="*/ 309383 h 463148"/>
                  <a:gd name="connsiteX334" fmla="*/ 75825 w 192206"/>
                  <a:gd name="connsiteY334" fmla="*/ 312645 h 463148"/>
                  <a:gd name="connsiteX335" fmla="*/ 76971 w 192206"/>
                  <a:gd name="connsiteY335" fmla="*/ 313174 h 463148"/>
                  <a:gd name="connsiteX336" fmla="*/ 76442 w 192206"/>
                  <a:gd name="connsiteY336" fmla="*/ 313791 h 463148"/>
                  <a:gd name="connsiteX337" fmla="*/ 75207 w 192206"/>
                  <a:gd name="connsiteY337" fmla="*/ 313791 h 463148"/>
                  <a:gd name="connsiteX338" fmla="*/ 75560 w 192206"/>
                  <a:gd name="connsiteY338" fmla="*/ 314673 h 463148"/>
                  <a:gd name="connsiteX339" fmla="*/ 75560 w 192206"/>
                  <a:gd name="connsiteY339" fmla="*/ 316701 h 463148"/>
                  <a:gd name="connsiteX340" fmla="*/ 75825 w 192206"/>
                  <a:gd name="connsiteY340" fmla="*/ 318200 h 463148"/>
                  <a:gd name="connsiteX341" fmla="*/ 75560 w 192206"/>
                  <a:gd name="connsiteY341" fmla="*/ 316701 h 463148"/>
                  <a:gd name="connsiteX342" fmla="*/ 76089 w 192206"/>
                  <a:gd name="connsiteY342" fmla="*/ 316701 h 463148"/>
                  <a:gd name="connsiteX343" fmla="*/ 76971 w 192206"/>
                  <a:gd name="connsiteY343" fmla="*/ 318200 h 463148"/>
                  <a:gd name="connsiteX344" fmla="*/ 76089 w 192206"/>
                  <a:gd name="connsiteY344" fmla="*/ 318200 h 463148"/>
                  <a:gd name="connsiteX345" fmla="*/ 75825 w 192206"/>
                  <a:gd name="connsiteY345" fmla="*/ 318200 h 463148"/>
                  <a:gd name="connsiteX346" fmla="*/ 75825 w 192206"/>
                  <a:gd name="connsiteY346" fmla="*/ 318464 h 463148"/>
                  <a:gd name="connsiteX347" fmla="*/ 77852 w 192206"/>
                  <a:gd name="connsiteY347" fmla="*/ 319346 h 463148"/>
                  <a:gd name="connsiteX348" fmla="*/ 78117 w 192206"/>
                  <a:gd name="connsiteY348" fmla="*/ 318464 h 463148"/>
                  <a:gd name="connsiteX349" fmla="*/ 78734 w 192206"/>
                  <a:gd name="connsiteY349" fmla="*/ 318729 h 463148"/>
                  <a:gd name="connsiteX350" fmla="*/ 79352 w 192206"/>
                  <a:gd name="connsiteY350" fmla="*/ 318200 h 463148"/>
                  <a:gd name="connsiteX351" fmla="*/ 79616 w 192206"/>
                  <a:gd name="connsiteY351" fmla="*/ 314673 h 463148"/>
                  <a:gd name="connsiteX352" fmla="*/ 79352 w 192206"/>
                  <a:gd name="connsiteY352" fmla="*/ 312381 h 463148"/>
                  <a:gd name="connsiteX353" fmla="*/ 80498 w 192206"/>
                  <a:gd name="connsiteY353" fmla="*/ 308589 h 463148"/>
                  <a:gd name="connsiteX354" fmla="*/ 81379 w 192206"/>
                  <a:gd name="connsiteY354" fmla="*/ 309383 h 463148"/>
                  <a:gd name="connsiteX355" fmla="*/ 83407 w 192206"/>
                  <a:gd name="connsiteY355" fmla="*/ 310000 h 463148"/>
                  <a:gd name="connsiteX356" fmla="*/ 81643 w 192206"/>
                  <a:gd name="connsiteY356" fmla="*/ 310617 h 463148"/>
                  <a:gd name="connsiteX357" fmla="*/ 80762 w 192206"/>
                  <a:gd name="connsiteY357" fmla="*/ 310617 h 463148"/>
                  <a:gd name="connsiteX358" fmla="*/ 80233 w 192206"/>
                  <a:gd name="connsiteY358" fmla="*/ 311763 h 463148"/>
                  <a:gd name="connsiteX359" fmla="*/ 80762 w 192206"/>
                  <a:gd name="connsiteY359" fmla="*/ 313174 h 463148"/>
                  <a:gd name="connsiteX360" fmla="*/ 80762 w 192206"/>
                  <a:gd name="connsiteY360" fmla="*/ 313791 h 463148"/>
                  <a:gd name="connsiteX361" fmla="*/ 81027 w 192206"/>
                  <a:gd name="connsiteY361" fmla="*/ 313174 h 463148"/>
                  <a:gd name="connsiteX362" fmla="*/ 81027 w 192206"/>
                  <a:gd name="connsiteY362" fmla="*/ 315555 h 463148"/>
                  <a:gd name="connsiteX363" fmla="*/ 81379 w 192206"/>
                  <a:gd name="connsiteY363" fmla="*/ 318200 h 463148"/>
                  <a:gd name="connsiteX364" fmla="*/ 82261 w 192206"/>
                  <a:gd name="connsiteY364" fmla="*/ 319081 h 463148"/>
                  <a:gd name="connsiteX365" fmla="*/ 83143 w 192206"/>
                  <a:gd name="connsiteY365" fmla="*/ 318464 h 463148"/>
                  <a:gd name="connsiteX366" fmla="*/ 82790 w 192206"/>
                  <a:gd name="connsiteY366" fmla="*/ 316701 h 463148"/>
                  <a:gd name="connsiteX367" fmla="*/ 84024 w 192206"/>
                  <a:gd name="connsiteY367" fmla="*/ 314937 h 463148"/>
                  <a:gd name="connsiteX368" fmla="*/ 84024 w 192206"/>
                  <a:gd name="connsiteY368" fmla="*/ 313791 h 463148"/>
                  <a:gd name="connsiteX369" fmla="*/ 84553 w 192206"/>
                  <a:gd name="connsiteY369" fmla="*/ 313527 h 463148"/>
                  <a:gd name="connsiteX370" fmla="*/ 84289 w 192206"/>
                  <a:gd name="connsiteY370" fmla="*/ 316701 h 463148"/>
                  <a:gd name="connsiteX371" fmla="*/ 84553 w 192206"/>
                  <a:gd name="connsiteY371" fmla="*/ 316701 h 463148"/>
                  <a:gd name="connsiteX372" fmla="*/ 85170 w 192206"/>
                  <a:gd name="connsiteY372" fmla="*/ 313791 h 463148"/>
                  <a:gd name="connsiteX373" fmla="*/ 85170 w 192206"/>
                  <a:gd name="connsiteY373" fmla="*/ 312381 h 463148"/>
                  <a:gd name="connsiteX374" fmla="*/ 84553 w 192206"/>
                  <a:gd name="connsiteY374" fmla="*/ 310000 h 463148"/>
                  <a:gd name="connsiteX375" fmla="*/ 85170 w 192206"/>
                  <a:gd name="connsiteY375" fmla="*/ 309736 h 463148"/>
                  <a:gd name="connsiteX376" fmla="*/ 84553 w 192206"/>
                  <a:gd name="connsiteY376" fmla="*/ 310000 h 463148"/>
                  <a:gd name="connsiteX377" fmla="*/ 85435 w 192206"/>
                  <a:gd name="connsiteY377" fmla="*/ 312381 h 463148"/>
                  <a:gd name="connsiteX378" fmla="*/ 85699 w 192206"/>
                  <a:gd name="connsiteY378" fmla="*/ 313791 h 463148"/>
                  <a:gd name="connsiteX379" fmla="*/ 85699 w 192206"/>
                  <a:gd name="connsiteY379" fmla="*/ 314937 h 463148"/>
                  <a:gd name="connsiteX380" fmla="*/ 85170 w 192206"/>
                  <a:gd name="connsiteY380" fmla="*/ 315555 h 463148"/>
                  <a:gd name="connsiteX381" fmla="*/ 85435 w 192206"/>
                  <a:gd name="connsiteY381" fmla="*/ 316701 h 463148"/>
                  <a:gd name="connsiteX382" fmla="*/ 84906 w 192206"/>
                  <a:gd name="connsiteY382" fmla="*/ 318200 h 463148"/>
                  <a:gd name="connsiteX383" fmla="*/ 85170 w 192206"/>
                  <a:gd name="connsiteY383" fmla="*/ 319963 h 463148"/>
                  <a:gd name="connsiteX384" fmla="*/ 86317 w 192206"/>
                  <a:gd name="connsiteY384" fmla="*/ 319610 h 463148"/>
                  <a:gd name="connsiteX385" fmla="*/ 88080 w 192206"/>
                  <a:gd name="connsiteY385" fmla="*/ 319963 h 463148"/>
                  <a:gd name="connsiteX386" fmla="*/ 89226 w 192206"/>
                  <a:gd name="connsiteY386" fmla="*/ 318200 h 463148"/>
                  <a:gd name="connsiteX387" fmla="*/ 92753 w 192206"/>
                  <a:gd name="connsiteY387" fmla="*/ 316701 h 463148"/>
                  <a:gd name="connsiteX388" fmla="*/ 93018 w 192206"/>
                  <a:gd name="connsiteY388" fmla="*/ 314673 h 463148"/>
                  <a:gd name="connsiteX389" fmla="*/ 93635 w 192206"/>
                  <a:gd name="connsiteY389" fmla="*/ 313791 h 463148"/>
                  <a:gd name="connsiteX390" fmla="*/ 93635 w 192206"/>
                  <a:gd name="connsiteY390" fmla="*/ 312381 h 463148"/>
                  <a:gd name="connsiteX391" fmla="*/ 93899 w 192206"/>
                  <a:gd name="connsiteY391" fmla="*/ 310000 h 463148"/>
                  <a:gd name="connsiteX392" fmla="*/ 93018 w 192206"/>
                  <a:gd name="connsiteY392" fmla="*/ 307708 h 463148"/>
                  <a:gd name="connsiteX393" fmla="*/ 93899 w 192206"/>
                  <a:gd name="connsiteY393" fmla="*/ 308589 h 463148"/>
                  <a:gd name="connsiteX394" fmla="*/ 94516 w 192206"/>
                  <a:gd name="connsiteY394" fmla="*/ 309383 h 463148"/>
                  <a:gd name="connsiteX395" fmla="*/ 96809 w 192206"/>
                  <a:gd name="connsiteY395" fmla="*/ 307708 h 463148"/>
                  <a:gd name="connsiteX396" fmla="*/ 98307 w 192206"/>
                  <a:gd name="connsiteY396" fmla="*/ 307708 h 463148"/>
                  <a:gd name="connsiteX397" fmla="*/ 98572 w 192206"/>
                  <a:gd name="connsiteY397" fmla="*/ 306826 h 463148"/>
                  <a:gd name="connsiteX398" fmla="*/ 98307 w 192206"/>
                  <a:gd name="connsiteY398" fmla="*/ 307708 h 463148"/>
                  <a:gd name="connsiteX399" fmla="*/ 98572 w 192206"/>
                  <a:gd name="connsiteY399" fmla="*/ 307708 h 463148"/>
                  <a:gd name="connsiteX400" fmla="*/ 100865 w 192206"/>
                  <a:gd name="connsiteY400" fmla="*/ 305063 h 463148"/>
                  <a:gd name="connsiteX401" fmla="*/ 100336 w 192206"/>
                  <a:gd name="connsiteY401" fmla="*/ 304710 h 463148"/>
                  <a:gd name="connsiteX402" fmla="*/ 98572 w 192206"/>
                  <a:gd name="connsiteY402" fmla="*/ 303299 h 463148"/>
                  <a:gd name="connsiteX403" fmla="*/ 100865 w 192206"/>
                  <a:gd name="connsiteY403" fmla="*/ 304710 h 463148"/>
                  <a:gd name="connsiteX404" fmla="*/ 101217 w 192206"/>
                  <a:gd name="connsiteY404" fmla="*/ 305063 h 463148"/>
                  <a:gd name="connsiteX405" fmla="*/ 106155 w 192206"/>
                  <a:gd name="connsiteY405" fmla="*/ 302682 h 463148"/>
                  <a:gd name="connsiteX406" fmla="*/ 106772 w 192206"/>
                  <a:gd name="connsiteY406" fmla="*/ 302153 h 463148"/>
                  <a:gd name="connsiteX407" fmla="*/ 104656 w 192206"/>
                  <a:gd name="connsiteY407" fmla="*/ 301271 h 463148"/>
                  <a:gd name="connsiteX408" fmla="*/ 103510 w 192206"/>
                  <a:gd name="connsiteY408" fmla="*/ 299155 h 463148"/>
                  <a:gd name="connsiteX409" fmla="*/ 103245 w 192206"/>
                  <a:gd name="connsiteY409" fmla="*/ 297127 h 463148"/>
                  <a:gd name="connsiteX410" fmla="*/ 102628 w 192206"/>
                  <a:gd name="connsiteY410" fmla="*/ 296334 h 463148"/>
                  <a:gd name="connsiteX411" fmla="*/ 102363 w 192206"/>
                  <a:gd name="connsiteY411" fmla="*/ 295364 h 463148"/>
                  <a:gd name="connsiteX412" fmla="*/ 101481 w 192206"/>
                  <a:gd name="connsiteY412" fmla="*/ 293953 h 463148"/>
                  <a:gd name="connsiteX413" fmla="*/ 102099 w 192206"/>
                  <a:gd name="connsiteY413" fmla="*/ 293953 h 463148"/>
                  <a:gd name="connsiteX414" fmla="*/ 102981 w 192206"/>
                  <a:gd name="connsiteY414" fmla="*/ 292807 h 463148"/>
                  <a:gd name="connsiteX415" fmla="*/ 103245 w 192206"/>
                  <a:gd name="connsiteY415" fmla="*/ 294218 h 463148"/>
                  <a:gd name="connsiteX416" fmla="*/ 102628 w 192206"/>
                  <a:gd name="connsiteY416" fmla="*/ 293953 h 463148"/>
                  <a:gd name="connsiteX417" fmla="*/ 102981 w 192206"/>
                  <a:gd name="connsiteY417" fmla="*/ 294835 h 463148"/>
                  <a:gd name="connsiteX418" fmla="*/ 102981 w 192206"/>
                  <a:gd name="connsiteY418" fmla="*/ 295717 h 463148"/>
                  <a:gd name="connsiteX419" fmla="*/ 103510 w 192206"/>
                  <a:gd name="connsiteY419" fmla="*/ 297127 h 463148"/>
                  <a:gd name="connsiteX420" fmla="*/ 103510 w 192206"/>
                  <a:gd name="connsiteY420" fmla="*/ 298362 h 463148"/>
                  <a:gd name="connsiteX421" fmla="*/ 104391 w 192206"/>
                  <a:gd name="connsiteY421" fmla="*/ 299508 h 463148"/>
                  <a:gd name="connsiteX422" fmla="*/ 107036 w 192206"/>
                  <a:gd name="connsiteY422" fmla="*/ 300919 h 463148"/>
                  <a:gd name="connsiteX423" fmla="*/ 109064 w 192206"/>
                  <a:gd name="connsiteY423" fmla="*/ 300919 h 463148"/>
                  <a:gd name="connsiteX424" fmla="*/ 110210 w 192206"/>
                  <a:gd name="connsiteY424" fmla="*/ 297745 h 463148"/>
                  <a:gd name="connsiteX425" fmla="*/ 111973 w 192206"/>
                  <a:gd name="connsiteY425" fmla="*/ 299508 h 463148"/>
                  <a:gd name="connsiteX426" fmla="*/ 115148 w 192206"/>
                  <a:gd name="connsiteY426" fmla="*/ 298009 h 463148"/>
                  <a:gd name="connsiteX427" fmla="*/ 114619 w 192206"/>
                  <a:gd name="connsiteY427" fmla="*/ 295364 h 463148"/>
                  <a:gd name="connsiteX428" fmla="*/ 115148 w 192206"/>
                  <a:gd name="connsiteY428" fmla="*/ 295717 h 463148"/>
                  <a:gd name="connsiteX429" fmla="*/ 114619 w 192206"/>
                  <a:gd name="connsiteY429" fmla="*/ 294835 h 463148"/>
                  <a:gd name="connsiteX430" fmla="*/ 115500 w 192206"/>
                  <a:gd name="connsiteY430" fmla="*/ 293953 h 463148"/>
                  <a:gd name="connsiteX431" fmla="*/ 116118 w 192206"/>
                  <a:gd name="connsiteY431" fmla="*/ 292190 h 463148"/>
                  <a:gd name="connsiteX432" fmla="*/ 116118 w 192206"/>
                  <a:gd name="connsiteY432" fmla="*/ 291661 h 463148"/>
                  <a:gd name="connsiteX433" fmla="*/ 114354 w 192206"/>
                  <a:gd name="connsiteY433" fmla="*/ 290162 h 463148"/>
                  <a:gd name="connsiteX434" fmla="*/ 115500 w 192206"/>
                  <a:gd name="connsiteY434" fmla="*/ 290162 h 463148"/>
                  <a:gd name="connsiteX435" fmla="*/ 115765 w 192206"/>
                  <a:gd name="connsiteY435" fmla="*/ 289633 h 463148"/>
                  <a:gd name="connsiteX436" fmla="*/ 116382 w 192206"/>
                  <a:gd name="connsiteY436" fmla="*/ 290162 h 463148"/>
                  <a:gd name="connsiteX437" fmla="*/ 116999 w 192206"/>
                  <a:gd name="connsiteY437" fmla="*/ 287253 h 463148"/>
                  <a:gd name="connsiteX438" fmla="*/ 116647 w 192206"/>
                  <a:gd name="connsiteY438" fmla="*/ 285754 h 463148"/>
                  <a:gd name="connsiteX439" fmla="*/ 114883 w 192206"/>
                  <a:gd name="connsiteY439" fmla="*/ 282844 h 463148"/>
                  <a:gd name="connsiteX440" fmla="*/ 116118 w 192206"/>
                  <a:gd name="connsiteY440" fmla="*/ 280552 h 463148"/>
                  <a:gd name="connsiteX441" fmla="*/ 115765 w 192206"/>
                  <a:gd name="connsiteY441" fmla="*/ 279935 h 463148"/>
                  <a:gd name="connsiteX442" fmla="*/ 114354 w 192206"/>
                  <a:gd name="connsiteY442" fmla="*/ 279406 h 463148"/>
                  <a:gd name="connsiteX443" fmla="*/ 113473 w 192206"/>
                  <a:gd name="connsiteY443" fmla="*/ 278524 h 463148"/>
                  <a:gd name="connsiteX444" fmla="*/ 114090 w 192206"/>
                  <a:gd name="connsiteY444" fmla="*/ 277907 h 463148"/>
                  <a:gd name="connsiteX445" fmla="*/ 114354 w 192206"/>
                  <a:gd name="connsiteY445" fmla="*/ 278524 h 463148"/>
                  <a:gd name="connsiteX446" fmla="*/ 114883 w 192206"/>
                  <a:gd name="connsiteY446" fmla="*/ 277378 h 463148"/>
                  <a:gd name="connsiteX447" fmla="*/ 115148 w 192206"/>
                  <a:gd name="connsiteY447" fmla="*/ 278524 h 463148"/>
                  <a:gd name="connsiteX448" fmla="*/ 117528 w 192206"/>
                  <a:gd name="connsiteY448" fmla="*/ 280287 h 463148"/>
                  <a:gd name="connsiteX449" fmla="*/ 118410 w 192206"/>
                  <a:gd name="connsiteY449" fmla="*/ 281698 h 463148"/>
                  <a:gd name="connsiteX450" fmla="*/ 118939 w 192206"/>
                  <a:gd name="connsiteY450" fmla="*/ 281698 h 463148"/>
                  <a:gd name="connsiteX451" fmla="*/ 119909 w 192206"/>
                  <a:gd name="connsiteY451" fmla="*/ 283726 h 463148"/>
                  <a:gd name="connsiteX452" fmla="*/ 120438 w 192206"/>
                  <a:gd name="connsiteY452" fmla="*/ 283726 h 463148"/>
                  <a:gd name="connsiteX453" fmla="*/ 120438 w 192206"/>
                  <a:gd name="connsiteY453" fmla="*/ 284079 h 463148"/>
                  <a:gd name="connsiteX454" fmla="*/ 120703 w 192206"/>
                  <a:gd name="connsiteY454" fmla="*/ 285754 h 463148"/>
                  <a:gd name="connsiteX455" fmla="*/ 121319 w 192206"/>
                  <a:gd name="connsiteY455" fmla="*/ 284960 h 463148"/>
                  <a:gd name="connsiteX456" fmla="*/ 121936 w 192206"/>
                  <a:gd name="connsiteY456" fmla="*/ 284343 h 463148"/>
                  <a:gd name="connsiteX457" fmla="*/ 123083 w 192206"/>
                  <a:gd name="connsiteY457" fmla="*/ 285489 h 463148"/>
                  <a:gd name="connsiteX458" fmla="*/ 123083 w 192206"/>
                  <a:gd name="connsiteY458" fmla="*/ 285754 h 463148"/>
                  <a:gd name="connsiteX459" fmla="*/ 121936 w 192206"/>
                  <a:gd name="connsiteY459" fmla="*/ 284960 h 463148"/>
                  <a:gd name="connsiteX460" fmla="*/ 122201 w 192206"/>
                  <a:gd name="connsiteY460" fmla="*/ 285489 h 463148"/>
                  <a:gd name="connsiteX461" fmla="*/ 121584 w 192206"/>
                  <a:gd name="connsiteY461" fmla="*/ 285754 h 463148"/>
                  <a:gd name="connsiteX462" fmla="*/ 122818 w 192206"/>
                  <a:gd name="connsiteY462" fmla="*/ 287870 h 463148"/>
                  <a:gd name="connsiteX463" fmla="*/ 122818 w 192206"/>
                  <a:gd name="connsiteY463" fmla="*/ 290162 h 463148"/>
                  <a:gd name="connsiteX464" fmla="*/ 123700 w 192206"/>
                  <a:gd name="connsiteY464" fmla="*/ 290162 h 463148"/>
                  <a:gd name="connsiteX465" fmla="*/ 124229 w 192206"/>
                  <a:gd name="connsiteY465" fmla="*/ 292807 h 463148"/>
                  <a:gd name="connsiteX466" fmla="*/ 123965 w 192206"/>
                  <a:gd name="connsiteY466" fmla="*/ 291661 h 463148"/>
                  <a:gd name="connsiteX467" fmla="*/ 124229 w 192206"/>
                  <a:gd name="connsiteY467" fmla="*/ 292543 h 463148"/>
                  <a:gd name="connsiteX468" fmla="*/ 124229 w 192206"/>
                  <a:gd name="connsiteY468" fmla="*/ 292807 h 463148"/>
                  <a:gd name="connsiteX469" fmla="*/ 124229 w 192206"/>
                  <a:gd name="connsiteY469" fmla="*/ 293953 h 463148"/>
                  <a:gd name="connsiteX470" fmla="*/ 125375 w 192206"/>
                  <a:gd name="connsiteY470" fmla="*/ 294835 h 463148"/>
                  <a:gd name="connsiteX471" fmla="*/ 125111 w 192206"/>
                  <a:gd name="connsiteY471" fmla="*/ 295717 h 463148"/>
                  <a:gd name="connsiteX472" fmla="*/ 125992 w 192206"/>
                  <a:gd name="connsiteY472" fmla="*/ 296598 h 463148"/>
                  <a:gd name="connsiteX473" fmla="*/ 126874 w 192206"/>
                  <a:gd name="connsiteY473" fmla="*/ 296334 h 463148"/>
                  <a:gd name="connsiteX474" fmla="*/ 127139 w 192206"/>
                  <a:gd name="connsiteY474" fmla="*/ 297127 h 463148"/>
                  <a:gd name="connsiteX475" fmla="*/ 126257 w 192206"/>
                  <a:gd name="connsiteY475" fmla="*/ 299508 h 463148"/>
                  <a:gd name="connsiteX476" fmla="*/ 127491 w 192206"/>
                  <a:gd name="connsiteY476" fmla="*/ 300919 h 463148"/>
                  <a:gd name="connsiteX477" fmla="*/ 128902 w 192206"/>
                  <a:gd name="connsiteY477" fmla="*/ 300125 h 463148"/>
                  <a:gd name="connsiteX478" fmla="*/ 130313 w 192206"/>
                  <a:gd name="connsiteY478" fmla="*/ 301800 h 463148"/>
                  <a:gd name="connsiteX479" fmla="*/ 131282 w 192206"/>
                  <a:gd name="connsiteY479" fmla="*/ 300125 h 463148"/>
                  <a:gd name="connsiteX480" fmla="*/ 131282 w 192206"/>
                  <a:gd name="connsiteY480" fmla="*/ 299508 h 463148"/>
                  <a:gd name="connsiteX481" fmla="*/ 133840 w 192206"/>
                  <a:gd name="connsiteY481" fmla="*/ 300125 h 463148"/>
                  <a:gd name="connsiteX482" fmla="*/ 134457 w 192206"/>
                  <a:gd name="connsiteY482" fmla="*/ 299508 h 463148"/>
                  <a:gd name="connsiteX483" fmla="*/ 135603 w 192206"/>
                  <a:gd name="connsiteY483" fmla="*/ 298891 h 463148"/>
                  <a:gd name="connsiteX484" fmla="*/ 135955 w 192206"/>
                  <a:gd name="connsiteY484" fmla="*/ 299155 h 463148"/>
                  <a:gd name="connsiteX485" fmla="*/ 134986 w 192206"/>
                  <a:gd name="connsiteY485" fmla="*/ 299508 h 463148"/>
                  <a:gd name="connsiteX486" fmla="*/ 133840 w 192206"/>
                  <a:gd name="connsiteY486" fmla="*/ 300919 h 463148"/>
                  <a:gd name="connsiteX487" fmla="*/ 134192 w 192206"/>
                  <a:gd name="connsiteY487" fmla="*/ 304710 h 463148"/>
                  <a:gd name="connsiteX488" fmla="*/ 135338 w 192206"/>
                  <a:gd name="connsiteY488" fmla="*/ 306473 h 463148"/>
                  <a:gd name="connsiteX489" fmla="*/ 134457 w 192206"/>
                  <a:gd name="connsiteY489" fmla="*/ 307355 h 463148"/>
                  <a:gd name="connsiteX490" fmla="*/ 134721 w 192206"/>
                  <a:gd name="connsiteY490" fmla="*/ 311146 h 463148"/>
                  <a:gd name="connsiteX491" fmla="*/ 134192 w 192206"/>
                  <a:gd name="connsiteY491" fmla="*/ 312028 h 463148"/>
                  <a:gd name="connsiteX492" fmla="*/ 134986 w 192206"/>
                  <a:gd name="connsiteY492" fmla="*/ 313174 h 463148"/>
                  <a:gd name="connsiteX493" fmla="*/ 134986 w 192206"/>
                  <a:gd name="connsiteY493" fmla="*/ 313791 h 463148"/>
                  <a:gd name="connsiteX494" fmla="*/ 135603 w 192206"/>
                  <a:gd name="connsiteY494" fmla="*/ 314673 h 463148"/>
                  <a:gd name="connsiteX495" fmla="*/ 137983 w 192206"/>
                  <a:gd name="connsiteY495" fmla="*/ 312645 h 463148"/>
                  <a:gd name="connsiteX496" fmla="*/ 137631 w 192206"/>
                  <a:gd name="connsiteY496" fmla="*/ 314937 h 463148"/>
                  <a:gd name="connsiteX497" fmla="*/ 138248 w 192206"/>
                  <a:gd name="connsiteY497" fmla="*/ 316172 h 463148"/>
                  <a:gd name="connsiteX498" fmla="*/ 137983 w 192206"/>
                  <a:gd name="connsiteY498" fmla="*/ 316701 h 463148"/>
                  <a:gd name="connsiteX499" fmla="*/ 138248 w 192206"/>
                  <a:gd name="connsiteY499" fmla="*/ 316701 h 463148"/>
                  <a:gd name="connsiteX500" fmla="*/ 138512 w 192206"/>
                  <a:gd name="connsiteY500" fmla="*/ 318464 h 463148"/>
                  <a:gd name="connsiteX501" fmla="*/ 137983 w 192206"/>
                  <a:gd name="connsiteY501" fmla="*/ 319081 h 463148"/>
                  <a:gd name="connsiteX502" fmla="*/ 138512 w 192206"/>
                  <a:gd name="connsiteY502" fmla="*/ 319963 h 463148"/>
                  <a:gd name="connsiteX503" fmla="*/ 140893 w 192206"/>
                  <a:gd name="connsiteY503" fmla="*/ 321374 h 463148"/>
                  <a:gd name="connsiteX504" fmla="*/ 138865 w 192206"/>
                  <a:gd name="connsiteY504" fmla="*/ 323137 h 463148"/>
                  <a:gd name="connsiteX505" fmla="*/ 140011 w 192206"/>
                  <a:gd name="connsiteY505" fmla="*/ 324901 h 463148"/>
                  <a:gd name="connsiteX506" fmla="*/ 139394 w 192206"/>
                  <a:gd name="connsiteY506" fmla="*/ 325430 h 463148"/>
                  <a:gd name="connsiteX507" fmla="*/ 140893 w 192206"/>
                  <a:gd name="connsiteY507" fmla="*/ 327457 h 463148"/>
                  <a:gd name="connsiteX508" fmla="*/ 139747 w 192206"/>
                  <a:gd name="connsiteY508" fmla="*/ 328339 h 463148"/>
                  <a:gd name="connsiteX509" fmla="*/ 140011 w 192206"/>
                  <a:gd name="connsiteY509" fmla="*/ 329221 h 463148"/>
                  <a:gd name="connsiteX510" fmla="*/ 139747 w 192206"/>
                  <a:gd name="connsiteY510" fmla="*/ 330455 h 463148"/>
                  <a:gd name="connsiteX511" fmla="*/ 140011 w 192206"/>
                  <a:gd name="connsiteY511" fmla="*/ 332219 h 463148"/>
                  <a:gd name="connsiteX512" fmla="*/ 141422 w 192206"/>
                  <a:gd name="connsiteY512" fmla="*/ 333365 h 463148"/>
                  <a:gd name="connsiteX513" fmla="*/ 141157 w 192206"/>
                  <a:gd name="connsiteY513" fmla="*/ 333894 h 463148"/>
                  <a:gd name="connsiteX514" fmla="*/ 141774 w 192206"/>
                  <a:gd name="connsiteY514" fmla="*/ 334775 h 463148"/>
                  <a:gd name="connsiteX515" fmla="*/ 141774 w 192206"/>
                  <a:gd name="connsiteY515" fmla="*/ 337420 h 463148"/>
                  <a:gd name="connsiteX516" fmla="*/ 142039 w 192206"/>
                  <a:gd name="connsiteY516" fmla="*/ 337685 h 463148"/>
                  <a:gd name="connsiteX517" fmla="*/ 142568 w 192206"/>
                  <a:gd name="connsiteY517" fmla="*/ 339184 h 463148"/>
                  <a:gd name="connsiteX518" fmla="*/ 142568 w 192206"/>
                  <a:gd name="connsiteY518" fmla="*/ 341212 h 463148"/>
                  <a:gd name="connsiteX519" fmla="*/ 143538 w 192206"/>
                  <a:gd name="connsiteY519" fmla="*/ 345003 h 463148"/>
                  <a:gd name="connsiteX520" fmla="*/ 144420 w 192206"/>
                  <a:gd name="connsiteY520" fmla="*/ 345885 h 463148"/>
                  <a:gd name="connsiteX521" fmla="*/ 144949 w 192206"/>
                  <a:gd name="connsiteY521" fmla="*/ 344386 h 463148"/>
                  <a:gd name="connsiteX522" fmla="*/ 144949 w 192206"/>
                  <a:gd name="connsiteY522" fmla="*/ 342622 h 463148"/>
                  <a:gd name="connsiteX523" fmla="*/ 146095 w 192206"/>
                  <a:gd name="connsiteY523" fmla="*/ 344386 h 463148"/>
                  <a:gd name="connsiteX524" fmla="*/ 145830 w 192206"/>
                  <a:gd name="connsiteY524" fmla="*/ 342622 h 463148"/>
                  <a:gd name="connsiteX525" fmla="*/ 146712 w 192206"/>
                  <a:gd name="connsiteY525" fmla="*/ 343857 h 463148"/>
                  <a:gd name="connsiteX526" fmla="*/ 146712 w 192206"/>
                  <a:gd name="connsiteY526" fmla="*/ 345003 h 463148"/>
                  <a:gd name="connsiteX527" fmla="*/ 147241 w 192206"/>
                  <a:gd name="connsiteY527" fmla="*/ 344386 h 463148"/>
                  <a:gd name="connsiteX528" fmla="*/ 146712 w 192206"/>
                  <a:gd name="connsiteY528" fmla="*/ 345885 h 463148"/>
                  <a:gd name="connsiteX529" fmla="*/ 147858 w 192206"/>
                  <a:gd name="connsiteY529" fmla="*/ 346502 h 463148"/>
                  <a:gd name="connsiteX530" fmla="*/ 146977 w 192206"/>
                  <a:gd name="connsiteY530" fmla="*/ 347031 h 463148"/>
                  <a:gd name="connsiteX531" fmla="*/ 145830 w 192206"/>
                  <a:gd name="connsiteY531" fmla="*/ 345003 h 463148"/>
                  <a:gd name="connsiteX532" fmla="*/ 145213 w 192206"/>
                  <a:gd name="connsiteY532" fmla="*/ 345003 h 463148"/>
                  <a:gd name="connsiteX533" fmla="*/ 144684 w 192206"/>
                  <a:gd name="connsiteY533" fmla="*/ 346502 h 463148"/>
                  <a:gd name="connsiteX534" fmla="*/ 145566 w 192206"/>
                  <a:gd name="connsiteY534" fmla="*/ 347648 h 463148"/>
                  <a:gd name="connsiteX535" fmla="*/ 145830 w 192206"/>
                  <a:gd name="connsiteY535" fmla="*/ 348794 h 463148"/>
                  <a:gd name="connsiteX536" fmla="*/ 146359 w 192206"/>
                  <a:gd name="connsiteY536" fmla="*/ 349411 h 463148"/>
                  <a:gd name="connsiteX537" fmla="*/ 147594 w 192206"/>
                  <a:gd name="connsiteY537" fmla="*/ 351968 h 463148"/>
                  <a:gd name="connsiteX538" fmla="*/ 148211 w 192206"/>
                  <a:gd name="connsiteY538" fmla="*/ 351087 h 463148"/>
                  <a:gd name="connsiteX539" fmla="*/ 147594 w 192206"/>
                  <a:gd name="connsiteY539" fmla="*/ 353732 h 463148"/>
                  <a:gd name="connsiteX540" fmla="*/ 149004 w 192206"/>
                  <a:gd name="connsiteY540" fmla="*/ 356112 h 463148"/>
                  <a:gd name="connsiteX541" fmla="*/ 149886 w 192206"/>
                  <a:gd name="connsiteY541" fmla="*/ 359022 h 463148"/>
                  <a:gd name="connsiteX542" fmla="*/ 150768 w 192206"/>
                  <a:gd name="connsiteY542" fmla="*/ 358669 h 463148"/>
                  <a:gd name="connsiteX543" fmla="*/ 150150 w 192206"/>
                  <a:gd name="connsiteY543" fmla="*/ 360168 h 463148"/>
                  <a:gd name="connsiteX544" fmla="*/ 151120 w 192206"/>
                  <a:gd name="connsiteY544" fmla="*/ 361931 h 463148"/>
                  <a:gd name="connsiteX545" fmla="*/ 149886 w 192206"/>
                  <a:gd name="connsiteY545" fmla="*/ 361314 h 463148"/>
                  <a:gd name="connsiteX546" fmla="*/ 150150 w 192206"/>
                  <a:gd name="connsiteY546" fmla="*/ 362196 h 463148"/>
                  <a:gd name="connsiteX547" fmla="*/ 151385 w 192206"/>
                  <a:gd name="connsiteY547" fmla="*/ 364841 h 463148"/>
                  <a:gd name="connsiteX548" fmla="*/ 151385 w 192206"/>
                  <a:gd name="connsiteY548" fmla="*/ 365722 h 463148"/>
                  <a:gd name="connsiteX549" fmla="*/ 151385 w 192206"/>
                  <a:gd name="connsiteY549" fmla="*/ 366604 h 463148"/>
                  <a:gd name="connsiteX550" fmla="*/ 152266 w 192206"/>
                  <a:gd name="connsiteY550" fmla="*/ 368632 h 463148"/>
                  <a:gd name="connsiteX551" fmla="*/ 151649 w 192206"/>
                  <a:gd name="connsiteY551" fmla="*/ 368367 h 463148"/>
                  <a:gd name="connsiteX552" fmla="*/ 151649 w 192206"/>
                  <a:gd name="connsiteY552" fmla="*/ 369514 h 463148"/>
                  <a:gd name="connsiteX553" fmla="*/ 152531 w 192206"/>
                  <a:gd name="connsiteY553" fmla="*/ 369249 h 463148"/>
                  <a:gd name="connsiteX554" fmla="*/ 151914 w 192206"/>
                  <a:gd name="connsiteY554" fmla="*/ 370395 h 463148"/>
                  <a:gd name="connsiteX555" fmla="*/ 152795 w 192206"/>
                  <a:gd name="connsiteY555" fmla="*/ 370924 h 463148"/>
                  <a:gd name="connsiteX556" fmla="*/ 153677 w 192206"/>
                  <a:gd name="connsiteY556" fmla="*/ 370395 h 463148"/>
                  <a:gd name="connsiteX557" fmla="*/ 153677 w 192206"/>
                  <a:gd name="connsiteY557" fmla="*/ 371277 h 463148"/>
                  <a:gd name="connsiteX558" fmla="*/ 153413 w 192206"/>
                  <a:gd name="connsiteY558" fmla="*/ 370924 h 463148"/>
                  <a:gd name="connsiteX559" fmla="*/ 152795 w 192206"/>
                  <a:gd name="connsiteY559" fmla="*/ 371806 h 463148"/>
                  <a:gd name="connsiteX560" fmla="*/ 152795 w 192206"/>
                  <a:gd name="connsiteY560" fmla="*/ 372423 h 463148"/>
                  <a:gd name="connsiteX561" fmla="*/ 153413 w 192206"/>
                  <a:gd name="connsiteY561" fmla="*/ 372159 h 463148"/>
                  <a:gd name="connsiteX562" fmla="*/ 152795 w 192206"/>
                  <a:gd name="connsiteY562" fmla="*/ 374187 h 463148"/>
                  <a:gd name="connsiteX563" fmla="*/ 153677 w 192206"/>
                  <a:gd name="connsiteY563" fmla="*/ 373569 h 463148"/>
                  <a:gd name="connsiteX564" fmla="*/ 153148 w 192206"/>
                  <a:gd name="connsiteY564" fmla="*/ 375068 h 463148"/>
                  <a:gd name="connsiteX565" fmla="*/ 153677 w 192206"/>
                  <a:gd name="connsiteY565" fmla="*/ 374716 h 463148"/>
                  <a:gd name="connsiteX566" fmla="*/ 154559 w 192206"/>
                  <a:gd name="connsiteY566" fmla="*/ 375597 h 463148"/>
                  <a:gd name="connsiteX567" fmla="*/ 154030 w 192206"/>
                  <a:gd name="connsiteY567" fmla="*/ 374187 h 463148"/>
                  <a:gd name="connsiteX568" fmla="*/ 153677 w 192206"/>
                  <a:gd name="connsiteY568" fmla="*/ 372159 h 463148"/>
                  <a:gd name="connsiteX569" fmla="*/ 154295 w 192206"/>
                  <a:gd name="connsiteY569" fmla="*/ 370924 h 463148"/>
                  <a:gd name="connsiteX570" fmla="*/ 153413 w 192206"/>
                  <a:gd name="connsiteY570" fmla="*/ 369249 h 463148"/>
                  <a:gd name="connsiteX571" fmla="*/ 154030 w 192206"/>
                  <a:gd name="connsiteY571" fmla="*/ 365987 h 463148"/>
                  <a:gd name="connsiteX572" fmla="*/ 153148 w 192206"/>
                  <a:gd name="connsiteY572" fmla="*/ 364841 h 463148"/>
                  <a:gd name="connsiteX573" fmla="*/ 153677 w 192206"/>
                  <a:gd name="connsiteY573" fmla="*/ 363695 h 463148"/>
                  <a:gd name="connsiteX574" fmla="*/ 152795 w 192206"/>
                  <a:gd name="connsiteY574" fmla="*/ 362196 h 463148"/>
                  <a:gd name="connsiteX575" fmla="*/ 152531 w 192206"/>
                  <a:gd name="connsiteY575" fmla="*/ 361050 h 463148"/>
                  <a:gd name="connsiteX576" fmla="*/ 154295 w 192206"/>
                  <a:gd name="connsiteY576" fmla="*/ 363077 h 463148"/>
                  <a:gd name="connsiteX577" fmla="*/ 154559 w 192206"/>
                  <a:gd name="connsiteY577" fmla="*/ 364841 h 463148"/>
                  <a:gd name="connsiteX578" fmla="*/ 154559 w 192206"/>
                  <a:gd name="connsiteY578" fmla="*/ 365987 h 463148"/>
                  <a:gd name="connsiteX579" fmla="*/ 155176 w 192206"/>
                  <a:gd name="connsiteY579" fmla="*/ 371277 h 463148"/>
                  <a:gd name="connsiteX580" fmla="*/ 156322 w 192206"/>
                  <a:gd name="connsiteY580" fmla="*/ 370395 h 463148"/>
                  <a:gd name="connsiteX581" fmla="*/ 156587 w 192206"/>
                  <a:gd name="connsiteY581" fmla="*/ 371542 h 463148"/>
                  <a:gd name="connsiteX582" fmla="*/ 156940 w 192206"/>
                  <a:gd name="connsiteY582" fmla="*/ 372159 h 463148"/>
                  <a:gd name="connsiteX583" fmla="*/ 157204 w 192206"/>
                  <a:gd name="connsiteY583" fmla="*/ 374187 h 463148"/>
                  <a:gd name="connsiteX584" fmla="*/ 157733 w 192206"/>
                  <a:gd name="connsiteY584" fmla="*/ 373569 h 463148"/>
                  <a:gd name="connsiteX585" fmla="*/ 157733 w 192206"/>
                  <a:gd name="connsiteY585" fmla="*/ 374716 h 463148"/>
                  <a:gd name="connsiteX586" fmla="*/ 158615 w 192206"/>
                  <a:gd name="connsiteY586" fmla="*/ 374716 h 463148"/>
                  <a:gd name="connsiteX587" fmla="*/ 159585 w 192206"/>
                  <a:gd name="connsiteY587" fmla="*/ 375950 h 463148"/>
                  <a:gd name="connsiteX588" fmla="*/ 159232 w 192206"/>
                  <a:gd name="connsiteY588" fmla="*/ 376479 h 463148"/>
                  <a:gd name="connsiteX589" fmla="*/ 159849 w 192206"/>
                  <a:gd name="connsiteY589" fmla="*/ 377625 h 463148"/>
                  <a:gd name="connsiteX590" fmla="*/ 159849 w 192206"/>
                  <a:gd name="connsiteY590" fmla="*/ 378242 h 463148"/>
                  <a:gd name="connsiteX591" fmla="*/ 160731 w 192206"/>
                  <a:gd name="connsiteY591" fmla="*/ 378507 h 463148"/>
                  <a:gd name="connsiteX592" fmla="*/ 160114 w 192206"/>
                  <a:gd name="connsiteY592" fmla="*/ 378860 h 463148"/>
                  <a:gd name="connsiteX593" fmla="*/ 160995 w 192206"/>
                  <a:gd name="connsiteY593" fmla="*/ 380623 h 463148"/>
                  <a:gd name="connsiteX594" fmla="*/ 162406 w 192206"/>
                  <a:gd name="connsiteY594" fmla="*/ 380623 h 463148"/>
                  <a:gd name="connsiteX595" fmla="*/ 163023 w 192206"/>
                  <a:gd name="connsiteY595" fmla="*/ 381769 h 463148"/>
                  <a:gd name="connsiteX596" fmla="*/ 163287 w 192206"/>
                  <a:gd name="connsiteY596" fmla="*/ 382915 h 463148"/>
                  <a:gd name="connsiteX597" fmla="*/ 164522 w 192206"/>
                  <a:gd name="connsiteY597" fmla="*/ 384061 h 463148"/>
                  <a:gd name="connsiteX598" fmla="*/ 163905 w 192206"/>
                  <a:gd name="connsiteY598" fmla="*/ 384943 h 463148"/>
                  <a:gd name="connsiteX599" fmla="*/ 164522 w 192206"/>
                  <a:gd name="connsiteY599" fmla="*/ 385825 h 463148"/>
                  <a:gd name="connsiteX600" fmla="*/ 164787 w 192206"/>
                  <a:gd name="connsiteY600" fmla="*/ 387588 h 463148"/>
                  <a:gd name="connsiteX601" fmla="*/ 165668 w 192206"/>
                  <a:gd name="connsiteY601" fmla="*/ 388734 h 463148"/>
                  <a:gd name="connsiteX602" fmla="*/ 165051 w 192206"/>
                  <a:gd name="connsiteY602" fmla="*/ 389352 h 463148"/>
                  <a:gd name="connsiteX603" fmla="*/ 165933 w 192206"/>
                  <a:gd name="connsiteY603" fmla="*/ 391379 h 463148"/>
                  <a:gd name="connsiteX604" fmla="*/ 166550 w 192206"/>
                  <a:gd name="connsiteY604" fmla="*/ 392261 h 463148"/>
                  <a:gd name="connsiteX605" fmla="*/ 166814 w 192206"/>
                  <a:gd name="connsiteY605" fmla="*/ 393672 h 463148"/>
                  <a:gd name="connsiteX606" fmla="*/ 166285 w 192206"/>
                  <a:gd name="connsiteY606" fmla="*/ 394289 h 463148"/>
                  <a:gd name="connsiteX607" fmla="*/ 166285 w 192206"/>
                  <a:gd name="connsiteY607" fmla="*/ 394554 h 463148"/>
                  <a:gd name="connsiteX608" fmla="*/ 167079 w 192206"/>
                  <a:gd name="connsiteY608" fmla="*/ 394554 h 463148"/>
                  <a:gd name="connsiteX609" fmla="*/ 166285 w 192206"/>
                  <a:gd name="connsiteY609" fmla="*/ 395435 h 463148"/>
                  <a:gd name="connsiteX610" fmla="*/ 168049 w 192206"/>
                  <a:gd name="connsiteY610" fmla="*/ 394906 h 463148"/>
                  <a:gd name="connsiteX611" fmla="*/ 167079 w 192206"/>
                  <a:gd name="connsiteY611" fmla="*/ 396934 h 463148"/>
                  <a:gd name="connsiteX612" fmla="*/ 168049 w 192206"/>
                  <a:gd name="connsiteY612" fmla="*/ 397816 h 463148"/>
                  <a:gd name="connsiteX613" fmla="*/ 167079 w 192206"/>
                  <a:gd name="connsiteY613" fmla="*/ 397816 h 463148"/>
                  <a:gd name="connsiteX614" fmla="*/ 166550 w 192206"/>
                  <a:gd name="connsiteY614" fmla="*/ 399226 h 463148"/>
                  <a:gd name="connsiteX615" fmla="*/ 169195 w 192206"/>
                  <a:gd name="connsiteY615" fmla="*/ 399844 h 463148"/>
                  <a:gd name="connsiteX616" fmla="*/ 166814 w 192206"/>
                  <a:gd name="connsiteY616" fmla="*/ 401254 h 463148"/>
                  <a:gd name="connsiteX617" fmla="*/ 166814 w 192206"/>
                  <a:gd name="connsiteY617" fmla="*/ 403018 h 463148"/>
                  <a:gd name="connsiteX618" fmla="*/ 167696 w 192206"/>
                  <a:gd name="connsiteY618" fmla="*/ 402489 h 463148"/>
                  <a:gd name="connsiteX619" fmla="*/ 168313 w 192206"/>
                  <a:gd name="connsiteY619" fmla="*/ 403018 h 463148"/>
                  <a:gd name="connsiteX620" fmla="*/ 168842 w 192206"/>
                  <a:gd name="connsiteY620" fmla="*/ 404781 h 463148"/>
                  <a:gd name="connsiteX621" fmla="*/ 167696 w 192206"/>
                  <a:gd name="connsiteY621" fmla="*/ 405927 h 463148"/>
                  <a:gd name="connsiteX622" fmla="*/ 165668 w 192206"/>
                  <a:gd name="connsiteY622" fmla="*/ 405663 h 463148"/>
                  <a:gd name="connsiteX623" fmla="*/ 165668 w 192206"/>
                  <a:gd name="connsiteY623" fmla="*/ 406809 h 463148"/>
                  <a:gd name="connsiteX624" fmla="*/ 165933 w 192206"/>
                  <a:gd name="connsiteY624" fmla="*/ 407426 h 463148"/>
                  <a:gd name="connsiteX625" fmla="*/ 167432 w 192206"/>
                  <a:gd name="connsiteY625" fmla="*/ 407691 h 463148"/>
                  <a:gd name="connsiteX626" fmla="*/ 168842 w 192206"/>
                  <a:gd name="connsiteY626" fmla="*/ 407162 h 463148"/>
                  <a:gd name="connsiteX627" fmla="*/ 169724 w 192206"/>
                  <a:gd name="connsiteY627" fmla="*/ 407426 h 463148"/>
                  <a:gd name="connsiteX628" fmla="*/ 169988 w 192206"/>
                  <a:gd name="connsiteY628" fmla="*/ 408043 h 463148"/>
                  <a:gd name="connsiteX629" fmla="*/ 168313 w 192206"/>
                  <a:gd name="connsiteY629" fmla="*/ 408572 h 463148"/>
                  <a:gd name="connsiteX630" fmla="*/ 168049 w 192206"/>
                  <a:gd name="connsiteY630" fmla="*/ 409454 h 463148"/>
                  <a:gd name="connsiteX631" fmla="*/ 167432 w 192206"/>
                  <a:gd name="connsiteY631" fmla="*/ 409189 h 463148"/>
                  <a:gd name="connsiteX632" fmla="*/ 167079 w 192206"/>
                  <a:gd name="connsiteY632" fmla="*/ 410071 h 463148"/>
                  <a:gd name="connsiteX633" fmla="*/ 167696 w 192206"/>
                  <a:gd name="connsiteY633" fmla="*/ 410336 h 463148"/>
                  <a:gd name="connsiteX634" fmla="*/ 168842 w 192206"/>
                  <a:gd name="connsiteY634" fmla="*/ 411482 h 463148"/>
                  <a:gd name="connsiteX635" fmla="*/ 169988 w 192206"/>
                  <a:gd name="connsiteY635" fmla="*/ 411217 h 463148"/>
                  <a:gd name="connsiteX636" fmla="*/ 169459 w 192206"/>
                  <a:gd name="connsiteY636" fmla="*/ 412099 h 463148"/>
                  <a:gd name="connsiteX637" fmla="*/ 170341 w 192206"/>
                  <a:gd name="connsiteY637" fmla="*/ 412099 h 463148"/>
                  <a:gd name="connsiteX638" fmla="*/ 170870 w 192206"/>
                  <a:gd name="connsiteY638" fmla="*/ 413510 h 463148"/>
                  <a:gd name="connsiteX639" fmla="*/ 169195 w 192206"/>
                  <a:gd name="connsiteY639" fmla="*/ 413245 h 463148"/>
                  <a:gd name="connsiteX640" fmla="*/ 168842 w 192206"/>
                  <a:gd name="connsiteY640" fmla="*/ 415273 h 463148"/>
                  <a:gd name="connsiteX641" fmla="*/ 166814 w 192206"/>
                  <a:gd name="connsiteY641" fmla="*/ 415890 h 463148"/>
                  <a:gd name="connsiteX642" fmla="*/ 168578 w 192206"/>
                  <a:gd name="connsiteY642" fmla="*/ 416155 h 463148"/>
                  <a:gd name="connsiteX643" fmla="*/ 169459 w 192206"/>
                  <a:gd name="connsiteY643" fmla="*/ 415890 h 463148"/>
                  <a:gd name="connsiteX644" fmla="*/ 169724 w 192206"/>
                  <a:gd name="connsiteY644" fmla="*/ 415890 h 463148"/>
                  <a:gd name="connsiteX645" fmla="*/ 169459 w 192206"/>
                  <a:gd name="connsiteY645" fmla="*/ 416772 h 463148"/>
                  <a:gd name="connsiteX646" fmla="*/ 168842 w 192206"/>
                  <a:gd name="connsiteY646" fmla="*/ 417036 h 463148"/>
                  <a:gd name="connsiteX647" fmla="*/ 168313 w 192206"/>
                  <a:gd name="connsiteY647" fmla="*/ 417654 h 463148"/>
                  <a:gd name="connsiteX648" fmla="*/ 168578 w 192206"/>
                  <a:gd name="connsiteY648" fmla="*/ 418535 h 463148"/>
                  <a:gd name="connsiteX649" fmla="*/ 168578 w 192206"/>
                  <a:gd name="connsiteY649" fmla="*/ 419682 h 463148"/>
                  <a:gd name="connsiteX650" fmla="*/ 169988 w 192206"/>
                  <a:gd name="connsiteY650" fmla="*/ 420563 h 463148"/>
                  <a:gd name="connsiteX651" fmla="*/ 170341 w 192206"/>
                  <a:gd name="connsiteY651" fmla="*/ 420563 h 463148"/>
                  <a:gd name="connsiteX652" fmla="*/ 170870 w 192206"/>
                  <a:gd name="connsiteY652" fmla="*/ 419682 h 463148"/>
                  <a:gd name="connsiteX653" fmla="*/ 171487 w 192206"/>
                  <a:gd name="connsiteY653" fmla="*/ 418800 h 463148"/>
                  <a:gd name="connsiteX654" fmla="*/ 171752 w 192206"/>
                  <a:gd name="connsiteY654" fmla="*/ 417654 h 463148"/>
                  <a:gd name="connsiteX655" fmla="*/ 172104 w 192206"/>
                  <a:gd name="connsiteY655" fmla="*/ 417301 h 463148"/>
                  <a:gd name="connsiteX656" fmla="*/ 172104 w 192206"/>
                  <a:gd name="connsiteY656" fmla="*/ 417654 h 463148"/>
                  <a:gd name="connsiteX657" fmla="*/ 172633 w 192206"/>
                  <a:gd name="connsiteY657" fmla="*/ 418535 h 463148"/>
                  <a:gd name="connsiteX658" fmla="*/ 172369 w 192206"/>
                  <a:gd name="connsiteY658" fmla="*/ 419682 h 463148"/>
                  <a:gd name="connsiteX659" fmla="*/ 173251 w 192206"/>
                  <a:gd name="connsiteY659" fmla="*/ 419682 h 463148"/>
                  <a:gd name="connsiteX660" fmla="*/ 174133 w 192206"/>
                  <a:gd name="connsiteY660" fmla="*/ 420563 h 463148"/>
                  <a:gd name="connsiteX661" fmla="*/ 172898 w 192206"/>
                  <a:gd name="connsiteY661" fmla="*/ 421092 h 463148"/>
                  <a:gd name="connsiteX662" fmla="*/ 172104 w 192206"/>
                  <a:gd name="connsiteY662" fmla="*/ 420211 h 463148"/>
                  <a:gd name="connsiteX663" fmla="*/ 170870 w 192206"/>
                  <a:gd name="connsiteY663" fmla="*/ 420563 h 463148"/>
                  <a:gd name="connsiteX664" fmla="*/ 171223 w 192206"/>
                  <a:gd name="connsiteY664" fmla="*/ 422591 h 463148"/>
                  <a:gd name="connsiteX665" fmla="*/ 170606 w 192206"/>
                  <a:gd name="connsiteY665" fmla="*/ 424002 h 463148"/>
                  <a:gd name="connsiteX666" fmla="*/ 171487 w 192206"/>
                  <a:gd name="connsiteY666" fmla="*/ 425236 h 463148"/>
                  <a:gd name="connsiteX667" fmla="*/ 172369 w 192206"/>
                  <a:gd name="connsiteY667" fmla="*/ 427000 h 463148"/>
                  <a:gd name="connsiteX668" fmla="*/ 171487 w 192206"/>
                  <a:gd name="connsiteY668" fmla="*/ 427000 h 463148"/>
                  <a:gd name="connsiteX669" fmla="*/ 170870 w 192206"/>
                  <a:gd name="connsiteY669" fmla="*/ 428410 h 463148"/>
                  <a:gd name="connsiteX670" fmla="*/ 171752 w 192206"/>
                  <a:gd name="connsiteY670" fmla="*/ 428410 h 463148"/>
                  <a:gd name="connsiteX671" fmla="*/ 172104 w 192206"/>
                  <a:gd name="connsiteY671" fmla="*/ 429027 h 463148"/>
                  <a:gd name="connsiteX672" fmla="*/ 171752 w 192206"/>
                  <a:gd name="connsiteY672" fmla="*/ 429556 h 463148"/>
                  <a:gd name="connsiteX673" fmla="*/ 172633 w 192206"/>
                  <a:gd name="connsiteY673" fmla="*/ 430438 h 463148"/>
                  <a:gd name="connsiteX674" fmla="*/ 172104 w 192206"/>
                  <a:gd name="connsiteY674" fmla="*/ 432466 h 463148"/>
                  <a:gd name="connsiteX675" fmla="*/ 172104 w 192206"/>
                  <a:gd name="connsiteY675" fmla="*/ 433083 h 463148"/>
                  <a:gd name="connsiteX676" fmla="*/ 171487 w 192206"/>
                  <a:gd name="connsiteY676" fmla="*/ 435111 h 463148"/>
                  <a:gd name="connsiteX677" fmla="*/ 171223 w 192206"/>
                  <a:gd name="connsiteY677" fmla="*/ 435111 h 463148"/>
                  <a:gd name="connsiteX678" fmla="*/ 170870 w 192206"/>
                  <a:gd name="connsiteY678" fmla="*/ 435993 h 463148"/>
                  <a:gd name="connsiteX679" fmla="*/ 171487 w 192206"/>
                  <a:gd name="connsiteY679" fmla="*/ 435728 h 463148"/>
                  <a:gd name="connsiteX680" fmla="*/ 171487 w 192206"/>
                  <a:gd name="connsiteY680" fmla="*/ 435993 h 463148"/>
                  <a:gd name="connsiteX681" fmla="*/ 172369 w 192206"/>
                  <a:gd name="connsiteY681" fmla="*/ 436874 h 463148"/>
                  <a:gd name="connsiteX682" fmla="*/ 171752 w 192206"/>
                  <a:gd name="connsiteY682" fmla="*/ 438021 h 463148"/>
                  <a:gd name="connsiteX683" fmla="*/ 171487 w 192206"/>
                  <a:gd name="connsiteY683" fmla="*/ 438021 h 463148"/>
                  <a:gd name="connsiteX684" fmla="*/ 172104 w 192206"/>
                  <a:gd name="connsiteY684" fmla="*/ 438638 h 463148"/>
                  <a:gd name="connsiteX685" fmla="*/ 172633 w 192206"/>
                  <a:gd name="connsiteY685" fmla="*/ 439784 h 463148"/>
                  <a:gd name="connsiteX686" fmla="*/ 171487 w 192206"/>
                  <a:gd name="connsiteY686" fmla="*/ 440048 h 463148"/>
                  <a:gd name="connsiteX687" fmla="*/ 169988 w 192206"/>
                  <a:gd name="connsiteY687" fmla="*/ 439784 h 463148"/>
                  <a:gd name="connsiteX688" fmla="*/ 169988 w 192206"/>
                  <a:gd name="connsiteY688" fmla="*/ 440666 h 463148"/>
                  <a:gd name="connsiteX689" fmla="*/ 169724 w 192206"/>
                  <a:gd name="connsiteY689" fmla="*/ 441547 h 463148"/>
                  <a:gd name="connsiteX690" fmla="*/ 170341 w 192206"/>
                  <a:gd name="connsiteY690" fmla="*/ 441547 h 463148"/>
                  <a:gd name="connsiteX691" fmla="*/ 169988 w 192206"/>
                  <a:gd name="connsiteY691" fmla="*/ 442429 h 463148"/>
                  <a:gd name="connsiteX692" fmla="*/ 170341 w 192206"/>
                  <a:gd name="connsiteY692" fmla="*/ 443046 h 463148"/>
                  <a:gd name="connsiteX693" fmla="*/ 169459 w 192206"/>
                  <a:gd name="connsiteY693" fmla="*/ 443575 h 463148"/>
                  <a:gd name="connsiteX694" fmla="*/ 169195 w 192206"/>
                  <a:gd name="connsiteY694" fmla="*/ 445074 h 463148"/>
                  <a:gd name="connsiteX695" fmla="*/ 168049 w 192206"/>
                  <a:gd name="connsiteY695" fmla="*/ 444192 h 463148"/>
                  <a:gd name="connsiteX696" fmla="*/ 168842 w 192206"/>
                  <a:gd name="connsiteY696" fmla="*/ 445074 h 463148"/>
                  <a:gd name="connsiteX697" fmla="*/ 167079 w 192206"/>
                  <a:gd name="connsiteY697" fmla="*/ 445339 h 463148"/>
                  <a:gd name="connsiteX698" fmla="*/ 166550 w 192206"/>
                  <a:gd name="connsiteY698" fmla="*/ 445074 h 463148"/>
                  <a:gd name="connsiteX699" fmla="*/ 166814 w 192206"/>
                  <a:gd name="connsiteY699" fmla="*/ 447102 h 463148"/>
                  <a:gd name="connsiteX700" fmla="*/ 168578 w 192206"/>
                  <a:gd name="connsiteY700" fmla="*/ 448865 h 463148"/>
                  <a:gd name="connsiteX701" fmla="*/ 168578 w 192206"/>
                  <a:gd name="connsiteY701" fmla="*/ 451422 h 463148"/>
                  <a:gd name="connsiteX702" fmla="*/ 169459 w 192206"/>
                  <a:gd name="connsiteY702" fmla="*/ 453186 h 463148"/>
                  <a:gd name="connsiteX703" fmla="*/ 168842 w 192206"/>
                  <a:gd name="connsiteY703" fmla="*/ 455831 h 463148"/>
                  <a:gd name="connsiteX704" fmla="*/ 169195 w 192206"/>
                  <a:gd name="connsiteY704" fmla="*/ 456977 h 463148"/>
                  <a:gd name="connsiteX705" fmla="*/ 167696 w 192206"/>
                  <a:gd name="connsiteY705" fmla="*/ 458476 h 463148"/>
                  <a:gd name="connsiteX706" fmla="*/ 169195 w 192206"/>
                  <a:gd name="connsiteY706" fmla="*/ 458740 h 463148"/>
                  <a:gd name="connsiteX707" fmla="*/ 169459 w 192206"/>
                  <a:gd name="connsiteY707" fmla="*/ 460768 h 463148"/>
                  <a:gd name="connsiteX708" fmla="*/ 169459 w 192206"/>
                  <a:gd name="connsiteY708" fmla="*/ 461385 h 463148"/>
                  <a:gd name="connsiteX709" fmla="*/ 169459 w 192206"/>
                  <a:gd name="connsiteY709" fmla="*/ 462531 h 463148"/>
                  <a:gd name="connsiteX710" fmla="*/ 170341 w 192206"/>
                  <a:gd name="connsiteY710" fmla="*/ 463149 h 463148"/>
                  <a:gd name="connsiteX711" fmla="*/ 170606 w 192206"/>
                  <a:gd name="connsiteY711" fmla="*/ 463149 h 463148"/>
                  <a:gd name="connsiteX712" fmla="*/ 171752 w 192206"/>
                  <a:gd name="connsiteY712" fmla="*/ 460768 h 463148"/>
                  <a:gd name="connsiteX713" fmla="*/ 172898 w 192206"/>
                  <a:gd name="connsiteY713" fmla="*/ 457858 h 463148"/>
                  <a:gd name="connsiteX714" fmla="*/ 173868 w 192206"/>
                  <a:gd name="connsiteY714" fmla="*/ 453186 h 463148"/>
                  <a:gd name="connsiteX715" fmla="*/ 174397 w 192206"/>
                  <a:gd name="connsiteY715" fmla="*/ 452304 h 463148"/>
                  <a:gd name="connsiteX716" fmla="*/ 175014 w 192206"/>
                  <a:gd name="connsiteY716" fmla="*/ 451158 h 463148"/>
                  <a:gd name="connsiteX717" fmla="*/ 174662 w 192206"/>
                  <a:gd name="connsiteY717" fmla="*/ 449747 h 463148"/>
                  <a:gd name="connsiteX718" fmla="*/ 174662 w 192206"/>
                  <a:gd name="connsiteY718" fmla="*/ 447984 h 463148"/>
                  <a:gd name="connsiteX719" fmla="*/ 173868 w 192206"/>
                  <a:gd name="connsiteY719" fmla="*/ 447102 h 463148"/>
                  <a:gd name="connsiteX720" fmla="*/ 174397 w 192206"/>
                  <a:gd name="connsiteY720" fmla="*/ 445956 h 463148"/>
                  <a:gd name="connsiteX721" fmla="*/ 176160 w 192206"/>
                  <a:gd name="connsiteY721" fmla="*/ 443311 h 463148"/>
                  <a:gd name="connsiteX722" fmla="*/ 176777 w 192206"/>
                  <a:gd name="connsiteY722" fmla="*/ 443311 h 463148"/>
                  <a:gd name="connsiteX723" fmla="*/ 176777 w 192206"/>
                  <a:gd name="connsiteY723" fmla="*/ 442429 h 463148"/>
                  <a:gd name="connsiteX724" fmla="*/ 177306 w 192206"/>
                  <a:gd name="connsiteY724" fmla="*/ 442429 h 463148"/>
                  <a:gd name="connsiteX725" fmla="*/ 178188 w 192206"/>
                  <a:gd name="connsiteY725" fmla="*/ 442429 h 463148"/>
                  <a:gd name="connsiteX726" fmla="*/ 178188 w 192206"/>
                  <a:gd name="connsiteY726" fmla="*/ 441283 h 463148"/>
                  <a:gd name="connsiteX727" fmla="*/ 177924 w 192206"/>
                  <a:gd name="connsiteY727" fmla="*/ 439784 h 463148"/>
                  <a:gd name="connsiteX728" fmla="*/ 178188 w 192206"/>
                  <a:gd name="connsiteY728" fmla="*/ 438638 h 463148"/>
                  <a:gd name="connsiteX729" fmla="*/ 179687 w 192206"/>
                  <a:gd name="connsiteY729" fmla="*/ 439519 h 463148"/>
                  <a:gd name="connsiteX730" fmla="*/ 180216 w 192206"/>
                  <a:gd name="connsiteY730" fmla="*/ 438638 h 463148"/>
                  <a:gd name="connsiteX731" fmla="*/ 180216 w 192206"/>
                  <a:gd name="connsiteY731" fmla="*/ 438021 h 463148"/>
                  <a:gd name="connsiteX732" fmla="*/ 181098 w 192206"/>
                  <a:gd name="connsiteY732" fmla="*/ 437491 h 463148"/>
                  <a:gd name="connsiteX733" fmla="*/ 181715 w 192206"/>
                  <a:gd name="connsiteY733" fmla="*/ 435993 h 463148"/>
                  <a:gd name="connsiteX734" fmla="*/ 183125 w 192206"/>
                  <a:gd name="connsiteY734" fmla="*/ 435728 h 463148"/>
                  <a:gd name="connsiteX735" fmla="*/ 183743 w 192206"/>
                  <a:gd name="connsiteY735" fmla="*/ 431937 h 463148"/>
                  <a:gd name="connsiteX736" fmla="*/ 183743 w 192206"/>
                  <a:gd name="connsiteY736" fmla="*/ 430438 h 463148"/>
                  <a:gd name="connsiteX737" fmla="*/ 184272 w 192206"/>
                  <a:gd name="connsiteY737" fmla="*/ 429556 h 463148"/>
                  <a:gd name="connsiteX738" fmla="*/ 185506 w 192206"/>
                  <a:gd name="connsiteY738" fmla="*/ 428410 h 463148"/>
                  <a:gd name="connsiteX739" fmla="*/ 185506 w 192206"/>
                  <a:gd name="connsiteY739" fmla="*/ 427000 h 463148"/>
                  <a:gd name="connsiteX740" fmla="*/ 186388 w 192206"/>
                  <a:gd name="connsiteY740" fmla="*/ 426118 h 463148"/>
                  <a:gd name="connsiteX741" fmla="*/ 187799 w 192206"/>
                  <a:gd name="connsiteY741" fmla="*/ 425236 h 463148"/>
                  <a:gd name="connsiteX742" fmla="*/ 187534 w 192206"/>
                  <a:gd name="connsiteY742" fmla="*/ 422591 h 463148"/>
                  <a:gd name="connsiteX743" fmla="*/ 187534 w 192206"/>
                  <a:gd name="connsiteY743" fmla="*/ 421974 h 463148"/>
                  <a:gd name="connsiteX744" fmla="*/ 189826 w 192206"/>
                  <a:gd name="connsiteY744" fmla="*/ 421974 h 463148"/>
                  <a:gd name="connsiteX745" fmla="*/ 190443 w 192206"/>
                  <a:gd name="connsiteY745" fmla="*/ 420563 h 463148"/>
                  <a:gd name="connsiteX746" fmla="*/ 190443 w 192206"/>
                  <a:gd name="connsiteY746" fmla="*/ 419682 h 463148"/>
                  <a:gd name="connsiteX747" fmla="*/ 191325 w 192206"/>
                  <a:gd name="connsiteY747" fmla="*/ 417036 h 463148"/>
                  <a:gd name="connsiteX748" fmla="*/ 190179 w 192206"/>
                  <a:gd name="connsiteY748" fmla="*/ 417036 h 463148"/>
                  <a:gd name="connsiteX749" fmla="*/ 189297 w 192206"/>
                  <a:gd name="connsiteY749" fmla="*/ 415890 h 463148"/>
                  <a:gd name="connsiteX750" fmla="*/ 189826 w 192206"/>
                  <a:gd name="connsiteY750" fmla="*/ 413245 h 463148"/>
                  <a:gd name="connsiteX751" fmla="*/ 189826 w 192206"/>
                  <a:gd name="connsiteY751" fmla="*/ 412981 h 463148"/>
                  <a:gd name="connsiteX752" fmla="*/ 187799 w 192206"/>
                  <a:gd name="connsiteY752" fmla="*/ 412099 h 463148"/>
                  <a:gd name="connsiteX753" fmla="*/ 187534 w 192206"/>
                  <a:gd name="connsiteY753" fmla="*/ 411482 h 463148"/>
                  <a:gd name="connsiteX754" fmla="*/ 188680 w 192206"/>
                  <a:gd name="connsiteY754" fmla="*/ 409189 h 463148"/>
                  <a:gd name="connsiteX755" fmla="*/ 186388 w 192206"/>
                  <a:gd name="connsiteY755" fmla="*/ 409189 h 463148"/>
                  <a:gd name="connsiteX756" fmla="*/ 186388 w 192206"/>
                  <a:gd name="connsiteY756" fmla="*/ 408572 h 463148"/>
                  <a:gd name="connsiteX757" fmla="*/ 186035 w 192206"/>
                  <a:gd name="connsiteY757" fmla="*/ 407426 h 463148"/>
                  <a:gd name="connsiteX758" fmla="*/ 186035 w 192206"/>
                  <a:gd name="connsiteY758" fmla="*/ 405927 h 463148"/>
                  <a:gd name="connsiteX759" fmla="*/ 184625 w 192206"/>
                  <a:gd name="connsiteY759" fmla="*/ 405663 h 463148"/>
                  <a:gd name="connsiteX760" fmla="*/ 184272 w 192206"/>
                  <a:gd name="connsiteY760" fmla="*/ 403018 h 463148"/>
                  <a:gd name="connsiteX761" fmla="*/ 183478 w 192206"/>
                  <a:gd name="connsiteY761" fmla="*/ 401607 h 463148"/>
                  <a:gd name="connsiteX762" fmla="*/ 183478 w 192206"/>
                  <a:gd name="connsiteY762" fmla="*/ 399844 h 463148"/>
                  <a:gd name="connsiteX763" fmla="*/ 183125 w 192206"/>
                  <a:gd name="connsiteY763" fmla="*/ 397816 h 463148"/>
                  <a:gd name="connsiteX764" fmla="*/ 182861 w 192206"/>
                  <a:gd name="connsiteY764" fmla="*/ 397816 h 463148"/>
                  <a:gd name="connsiteX765" fmla="*/ 181979 w 192206"/>
                  <a:gd name="connsiteY765" fmla="*/ 396934 h 463148"/>
                  <a:gd name="connsiteX766" fmla="*/ 180480 w 192206"/>
                  <a:gd name="connsiteY766" fmla="*/ 396934 h 463148"/>
                  <a:gd name="connsiteX767" fmla="*/ 180480 w 192206"/>
                  <a:gd name="connsiteY767" fmla="*/ 394906 h 463148"/>
                  <a:gd name="connsiteX768" fmla="*/ 179422 w 192206"/>
                  <a:gd name="connsiteY768" fmla="*/ 394906 h 463148"/>
                  <a:gd name="connsiteX769" fmla="*/ 179070 w 192206"/>
                  <a:gd name="connsiteY769" fmla="*/ 392261 h 463148"/>
                  <a:gd name="connsiteX770" fmla="*/ 177659 w 192206"/>
                  <a:gd name="connsiteY770" fmla="*/ 391997 h 463148"/>
                  <a:gd name="connsiteX771" fmla="*/ 177659 w 192206"/>
                  <a:gd name="connsiteY771" fmla="*/ 389352 h 463148"/>
                  <a:gd name="connsiteX772" fmla="*/ 177306 w 192206"/>
                  <a:gd name="connsiteY772" fmla="*/ 388734 h 463148"/>
                  <a:gd name="connsiteX773" fmla="*/ 175895 w 192206"/>
                  <a:gd name="connsiteY773" fmla="*/ 386442 h 463148"/>
                  <a:gd name="connsiteX774" fmla="*/ 175543 w 192206"/>
                  <a:gd name="connsiteY774" fmla="*/ 384679 h 463148"/>
                  <a:gd name="connsiteX775" fmla="*/ 175543 w 192206"/>
                  <a:gd name="connsiteY775" fmla="*/ 383180 h 463148"/>
                  <a:gd name="connsiteX776" fmla="*/ 177659 w 192206"/>
                  <a:gd name="connsiteY776" fmla="*/ 382915 h 463148"/>
                  <a:gd name="connsiteX777" fmla="*/ 176424 w 192206"/>
                  <a:gd name="connsiteY777" fmla="*/ 380270 h 463148"/>
                  <a:gd name="connsiteX778" fmla="*/ 177306 w 192206"/>
                  <a:gd name="connsiteY778" fmla="*/ 380270 h 463148"/>
                  <a:gd name="connsiteX779" fmla="*/ 177042 w 192206"/>
                  <a:gd name="connsiteY779" fmla="*/ 377625 h 463148"/>
                  <a:gd name="connsiteX780" fmla="*/ 176777 w 192206"/>
                  <a:gd name="connsiteY780" fmla="*/ 375950 h 463148"/>
                  <a:gd name="connsiteX781" fmla="*/ 175279 w 192206"/>
                  <a:gd name="connsiteY781" fmla="*/ 374187 h 463148"/>
                  <a:gd name="connsiteX782" fmla="*/ 175895 w 192206"/>
                  <a:gd name="connsiteY782" fmla="*/ 374187 h 463148"/>
                  <a:gd name="connsiteX783" fmla="*/ 175014 w 192206"/>
                  <a:gd name="connsiteY783" fmla="*/ 372159 h 463148"/>
                  <a:gd name="connsiteX784" fmla="*/ 175543 w 192206"/>
                  <a:gd name="connsiteY784" fmla="*/ 369514 h 463148"/>
                  <a:gd name="connsiteX785" fmla="*/ 174662 w 192206"/>
                  <a:gd name="connsiteY785" fmla="*/ 369249 h 463148"/>
                  <a:gd name="connsiteX786" fmla="*/ 174133 w 192206"/>
                  <a:gd name="connsiteY786" fmla="*/ 368632 h 463148"/>
                  <a:gd name="connsiteX787" fmla="*/ 173868 w 192206"/>
                  <a:gd name="connsiteY787" fmla="*/ 366604 h 463148"/>
                  <a:gd name="connsiteX788" fmla="*/ 173868 w 192206"/>
                  <a:gd name="connsiteY788" fmla="*/ 365987 h 463148"/>
                  <a:gd name="connsiteX789" fmla="*/ 171752 w 192206"/>
                  <a:gd name="connsiteY789" fmla="*/ 364841 h 463148"/>
                  <a:gd name="connsiteX790" fmla="*/ 170606 w 192206"/>
                  <a:gd name="connsiteY790" fmla="*/ 362196 h 463148"/>
                  <a:gd name="connsiteX791" fmla="*/ 170606 w 192206"/>
                  <a:gd name="connsiteY791" fmla="*/ 361931 h 463148"/>
                  <a:gd name="connsiteX792" fmla="*/ 170341 w 192206"/>
                  <a:gd name="connsiteY792" fmla="*/ 361050 h 463148"/>
                  <a:gd name="connsiteX793" fmla="*/ 168842 w 192206"/>
                  <a:gd name="connsiteY793" fmla="*/ 360168 h 463148"/>
                  <a:gd name="connsiteX794" fmla="*/ 168313 w 192206"/>
                  <a:gd name="connsiteY794" fmla="*/ 360168 h 463148"/>
                  <a:gd name="connsiteX795" fmla="*/ 165668 w 192206"/>
                  <a:gd name="connsiteY795" fmla="*/ 357875 h 463148"/>
                  <a:gd name="connsiteX796" fmla="*/ 164787 w 192206"/>
                  <a:gd name="connsiteY796" fmla="*/ 356112 h 463148"/>
                  <a:gd name="connsiteX797" fmla="*/ 163640 w 192206"/>
                  <a:gd name="connsiteY797" fmla="*/ 356112 h 463148"/>
                  <a:gd name="connsiteX798" fmla="*/ 162141 w 192206"/>
                  <a:gd name="connsiteY798" fmla="*/ 354966 h 463148"/>
                  <a:gd name="connsiteX799" fmla="*/ 161877 w 192206"/>
                  <a:gd name="connsiteY799" fmla="*/ 353732 h 463148"/>
                  <a:gd name="connsiteX800" fmla="*/ 160378 w 192206"/>
                  <a:gd name="connsiteY800" fmla="*/ 353203 h 463148"/>
                  <a:gd name="connsiteX801" fmla="*/ 158967 w 192206"/>
                  <a:gd name="connsiteY801" fmla="*/ 349411 h 463148"/>
                  <a:gd name="connsiteX802" fmla="*/ 157733 w 192206"/>
                  <a:gd name="connsiteY802" fmla="*/ 349411 h 463148"/>
                  <a:gd name="connsiteX803" fmla="*/ 157469 w 192206"/>
                  <a:gd name="connsiteY803" fmla="*/ 348177 h 463148"/>
                  <a:gd name="connsiteX804" fmla="*/ 156587 w 192206"/>
                  <a:gd name="connsiteY804" fmla="*/ 347648 h 463148"/>
                  <a:gd name="connsiteX805" fmla="*/ 153677 w 192206"/>
                  <a:gd name="connsiteY805" fmla="*/ 345003 h 463148"/>
                  <a:gd name="connsiteX806" fmla="*/ 153677 w 192206"/>
                  <a:gd name="connsiteY806" fmla="*/ 343857 h 463148"/>
                  <a:gd name="connsiteX807" fmla="*/ 152795 w 192206"/>
                  <a:gd name="connsiteY807" fmla="*/ 342622 h 463148"/>
                  <a:gd name="connsiteX808" fmla="*/ 152531 w 192206"/>
                  <a:gd name="connsiteY808" fmla="*/ 342093 h 463148"/>
                  <a:gd name="connsiteX809" fmla="*/ 151914 w 192206"/>
                  <a:gd name="connsiteY809" fmla="*/ 341212 h 463148"/>
                  <a:gd name="connsiteX810" fmla="*/ 151649 w 192206"/>
                  <a:gd name="connsiteY810" fmla="*/ 340330 h 463148"/>
                  <a:gd name="connsiteX811" fmla="*/ 151385 w 192206"/>
                  <a:gd name="connsiteY811" fmla="*/ 337685 h 463148"/>
                  <a:gd name="connsiteX812" fmla="*/ 151385 w 192206"/>
                  <a:gd name="connsiteY812" fmla="*/ 337420 h 463148"/>
                  <a:gd name="connsiteX813" fmla="*/ 149886 w 192206"/>
                  <a:gd name="connsiteY813" fmla="*/ 335922 h 463148"/>
                  <a:gd name="connsiteX814" fmla="*/ 151120 w 192206"/>
                  <a:gd name="connsiteY814" fmla="*/ 333894 h 463148"/>
                  <a:gd name="connsiteX815" fmla="*/ 150150 w 192206"/>
                  <a:gd name="connsiteY815" fmla="*/ 332748 h 463148"/>
                  <a:gd name="connsiteX816" fmla="*/ 151649 w 192206"/>
                  <a:gd name="connsiteY816" fmla="*/ 332219 h 463148"/>
                  <a:gd name="connsiteX817" fmla="*/ 151914 w 192206"/>
                  <a:gd name="connsiteY817" fmla="*/ 330455 h 463148"/>
                  <a:gd name="connsiteX818" fmla="*/ 153677 w 192206"/>
                  <a:gd name="connsiteY818" fmla="*/ 330455 h 463148"/>
                  <a:gd name="connsiteX819" fmla="*/ 154559 w 192206"/>
                  <a:gd name="connsiteY819" fmla="*/ 332219 h 463148"/>
                  <a:gd name="connsiteX820" fmla="*/ 154559 w 192206"/>
                  <a:gd name="connsiteY820" fmla="*/ 330455 h 463148"/>
                  <a:gd name="connsiteX821" fmla="*/ 154295 w 192206"/>
                  <a:gd name="connsiteY821" fmla="*/ 328339 h 463148"/>
                  <a:gd name="connsiteX822" fmla="*/ 155176 w 192206"/>
                  <a:gd name="connsiteY822" fmla="*/ 328339 h 463148"/>
                  <a:gd name="connsiteX823" fmla="*/ 156587 w 192206"/>
                  <a:gd name="connsiteY823" fmla="*/ 328339 h 463148"/>
                  <a:gd name="connsiteX824" fmla="*/ 157733 w 192206"/>
                  <a:gd name="connsiteY824" fmla="*/ 328339 h 463148"/>
                  <a:gd name="connsiteX825" fmla="*/ 157733 w 192206"/>
                  <a:gd name="connsiteY825" fmla="*/ 329573 h 463148"/>
                  <a:gd name="connsiteX826" fmla="*/ 158350 w 192206"/>
                  <a:gd name="connsiteY826" fmla="*/ 329221 h 463148"/>
                  <a:gd name="connsiteX827" fmla="*/ 158967 w 192206"/>
                  <a:gd name="connsiteY827" fmla="*/ 326664 h 463148"/>
                  <a:gd name="connsiteX828" fmla="*/ 157204 w 192206"/>
                  <a:gd name="connsiteY828" fmla="*/ 323754 h 463148"/>
                  <a:gd name="connsiteX829" fmla="*/ 157469 w 192206"/>
                  <a:gd name="connsiteY829" fmla="*/ 321991 h 463148"/>
                  <a:gd name="connsiteX830" fmla="*/ 156587 w 192206"/>
                  <a:gd name="connsiteY830" fmla="*/ 319963 h 463148"/>
                  <a:gd name="connsiteX831" fmla="*/ 157733 w 192206"/>
                  <a:gd name="connsiteY831" fmla="*/ 316701 h 463148"/>
                  <a:gd name="connsiteX832" fmla="*/ 156940 w 192206"/>
                  <a:gd name="connsiteY832" fmla="*/ 314937 h 463148"/>
                  <a:gd name="connsiteX833" fmla="*/ 157204 w 192206"/>
                  <a:gd name="connsiteY833" fmla="*/ 313791 h 463148"/>
                  <a:gd name="connsiteX834" fmla="*/ 157204 w 192206"/>
                  <a:gd name="connsiteY834" fmla="*/ 313174 h 463148"/>
                  <a:gd name="connsiteX835" fmla="*/ 155793 w 192206"/>
                  <a:gd name="connsiteY835" fmla="*/ 312381 h 463148"/>
                  <a:gd name="connsiteX836" fmla="*/ 157733 w 192206"/>
                  <a:gd name="connsiteY836" fmla="*/ 312381 h 463148"/>
                  <a:gd name="connsiteX837" fmla="*/ 158350 w 192206"/>
                  <a:gd name="connsiteY837" fmla="*/ 310617 h 463148"/>
                  <a:gd name="connsiteX838" fmla="*/ 158350 w 192206"/>
                  <a:gd name="connsiteY838" fmla="*/ 310000 h 463148"/>
                  <a:gd name="connsiteX839" fmla="*/ 158615 w 192206"/>
                  <a:gd name="connsiteY839" fmla="*/ 309383 h 463148"/>
                  <a:gd name="connsiteX840" fmla="*/ 160731 w 192206"/>
                  <a:gd name="connsiteY840" fmla="*/ 310000 h 463148"/>
                  <a:gd name="connsiteX841" fmla="*/ 161612 w 192206"/>
                  <a:gd name="connsiteY841" fmla="*/ 309383 h 463148"/>
                  <a:gd name="connsiteX842" fmla="*/ 162141 w 192206"/>
                  <a:gd name="connsiteY842" fmla="*/ 307708 h 463148"/>
                  <a:gd name="connsiteX843" fmla="*/ 162758 w 192206"/>
                  <a:gd name="connsiteY843" fmla="*/ 306473 h 463148"/>
                  <a:gd name="connsiteX844" fmla="*/ 162406 w 192206"/>
                  <a:gd name="connsiteY844" fmla="*/ 305063 h 463148"/>
                  <a:gd name="connsiteX845" fmla="*/ 163023 w 192206"/>
                  <a:gd name="connsiteY845" fmla="*/ 303299 h 463148"/>
                  <a:gd name="connsiteX846" fmla="*/ 161612 w 192206"/>
                  <a:gd name="connsiteY846" fmla="*/ 302682 h 463148"/>
                  <a:gd name="connsiteX847" fmla="*/ 161260 w 192206"/>
                  <a:gd name="connsiteY847" fmla="*/ 300919 h 463148"/>
                  <a:gd name="connsiteX848" fmla="*/ 160378 w 192206"/>
                  <a:gd name="connsiteY848" fmla="*/ 302153 h 463148"/>
                  <a:gd name="connsiteX849" fmla="*/ 159849 w 192206"/>
                  <a:gd name="connsiteY849" fmla="*/ 303299 h 463148"/>
                  <a:gd name="connsiteX850" fmla="*/ 158615 w 192206"/>
                  <a:gd name="connsiteY850" fmla="*/ 304710 h 463148"/>
                  <a:gd name="connsiteX851" fmla="*/ 158967 w 192206"/>
                  <a:gd name="connsiteY851" fmla="*/ 306473 h 463148"/>
                  <a:gd name="connsiteX852" fmla="*/ 157733 w 192206"/>
                  <a:gd name="connsiteY852" fmla="*/ 305592 h 463148"/>
                  <a:gd name="connsiteX853" fmla="*/ 157469 w 192206"/>
                  <a:gd name="connsiteY853" fmla="*/ 303299 h 463148"/>
                  <a:gd name="connsiteX854" fmla="*/ 156587 w 192206"/>
                  <a:gd name="connsiteY854" fmla="*/ 302682 h 463148"/>
                  <a:gd name="connsiteX855" fmla="*/ 157204 w 192206"/>
                  <a:gd name="connsiteY855" fmla="*/ 302153 h 463148"/>
                  <a:gd name="connsiteX856" fmla="*/ 154824 w 192206"/>
                  <a:gd name="connsiteY856" fmla="*/ 299508 h 463148"/>
                  <a:gd name="connsiteX857" fmla="*/ 155441 w 192206"/>
                  <a:gd name="connsiteY857" fmla="*/ 299155 h 463148"/>
                  <a:gd name="connsiteX858" fmla="*/ 154559 w 192206"/>
                  <a:gd name="connsiteY858" fmla="*/ 297745 h 463148"/>
                  <a:gd name="connsiteX859" fmla="*/ 153413 w 192206"/>
                  <a:gd name="connsiteY859" fmla="*/ 297127 h 463148"/>
                  <a:gd name="connsiteX860" fmla="*/ 152531 w 192206"/>
                  <a:gd name="connsiteY860" fmla="*/ 295364 h 463148"/>
                  <a:gd name="connsiteX861" fmla="*/ 151120 w 192206"/>
                  <a:gd name="connsiteY861" fmla="*/ 295364 h 463148"/>
                  <a:gd name="connsiteX862" fmla="*/ 152266 w 192206"/>
                  <a:gd name="connsiteY862" fmla="*/ 293953 h 463148"/>
                  <a:gd name="connsiteX863" fmla="*/ 153148 w 192206"/>
                  <a:gd name="connsiteY863" fmla="*/ 293953 h 463148"/>
                  <a:gd name="connsiteX864" fmla="*/ 153413 w 192206"/>
                  <a:gd name="connsiteY864" fmla="*/ 293953 h 463148"/>
                  <a:gd name="connsiteX865" fmla="*/ 152266 w 192206"/>
                  <a:gd name="connsiteY865" fmla="*/ 292190 h 463148"/>
                  <a:gd name="connsiteX866" fmla="*/ 151914 w 192206"/>
                  <a:gd name="connsiteY866" fmla="*/ 291661 h 463148"/>
                  <a:gd name="connsiteX867" fmla="*/ 153148 w 192206"/>
                  <a:gd name="connsiteY867" fmla="*/ 292190 h 463148"/>
                  <a:gd name="connsiteX868" fmla="*/ 152795 w 192206"/>
                  <a:gd name="connsiteY868" fmla="*/ 290162 h 463148"/>
                  <a:gd name="connsiteX869" fmla="*/ 151914 w 192206"/>
                  <a:gd name="connsiteY869" fmla="*/ 290162 h 463148"/>
                  <a:gd name="connsiteX870" fmla="*/ 151914 w 192206"/>
                  <a:gd name="connsiteY870" fmla="*/ 289633 h 463148"/>
                  <a:gd name="connsiteX871" fmla="*/ 150150 w 192206"/>
                  <a:gd name="connsiteY871" fmla="*/ 288399 h 463148"/>
                  <a:gd name="connsiteX872" fmla="*/ 150150 w 192206"/>
                  <a:gd name="connsiteY872" fmla="*/ 287870 h 463148"/>
                  <a:gd name="connsiteX873" fmla="*/ 149004 w 192206"/>
                  <a:gd name="connsiteY873" fmla="*/ 286636 h 463148"/>
                  <a:gd name="connsiteX874" fmla="*/ 146977 w 192206"/>
                  <a:gd name="connsiteY874" fmla="*/ 286636 h 463148"/>
                  <a:gd name="connsiteX875" fmla="*/ 146359 w 192206"/>
                  <a:gd name="connsiteY875" fmla="*/ 285754 h 463148"/>
                  <a:gd name="connsiteX876" fmla="*/ 146359 w 192206"/>
                  <a:gd name="connsiteY876" fmla="*/ 285489 h 463148"/>
                  <a:gd name="connsiteX877" fmla="*/ 146359 w 192206"/>
                  <a:gd name="connsiteY877" fmla="*/ 284960 h 463148"/>
                  <a:gd name="connsiteX878" fmla="*/ 144684 w 192206"/>
                  <a:gd name="connsiteY878" fmla="*/ 282844 h 463148"/>
                  <a:gd name="connsiteX879" fmla="*/ 142039 w 192206"/>
                  <a:gd name="connsiteY879" fmla="*/ 280287 h 463148"/>
                  <a:gd name="connsiteX880" fmla="*/ 141774 w 192206"/>
                  <a:gd name="connsiteY880" fmla="*/ 278524 h 463148"/>
                  <a:gd name="connsiteX881" fmla="*/ 140276 w 192206"/>
                  <a:gd name="connsiteY881" fmla="*/ 278171 h 463148"/>
                  <a:gd name="connsiteX882" fmla="*/ 140011 w 192206"/>
                  <a:gd name="connsiteY882" fmla="*/ 277378 h 463148"/>
                  <a:gd name="connsiteX883" fmla="*/ 139394 w 192206"/>
                  <a:gd name="connsiteY883" fmla="*/ 276761 h 463148"/>
                  <a:gd name="connsiteX884" fmla="*/ 139129 w 192206"/>
                  <a:gd name="connsiteY884" fmla="*/ 275614 h 463148"/>
                  <a:gd name="connsiteX885" fmla="*/ 137366 w 192206"/>
                  <a:gd name="connsiteY885" fmla="*/ 274997 h 463148"/>
                  <a:gd name="connsiteX886" fmla="*/ 133840 w 192206"/>
                  <a:gd name="connsiteY886" fmla="*/ 271206 h 463148"/>
                  <a:gd name="connsiteX887" fmla="*/ 132693 w 192206"/>
                  <a:gd name="connsiteY887" fmla="*/ 269443 h 463148"/>
                  <a:gd name="connsiteX888" fmla="*/ 131547 w 192206"/>
                  <a:gd name="connsiteY888" fmla="*/ 267415 h 463148"/>
                  <a:gd name="connsiteX889" fmla="*/ 130666 w 192206"/>
                  <a:gd name="connsiteY889" fmla="*/ 266533 h 463148"/>
                  <a:gd name="connsiteX890" fmla="*/ 131282 w 192206"/>
                  <a:gd name="connsiteY890" fmla="*/ 265122 h 463148"/>
                  <a:gd name="connsiteX891" fmla="*/ 131547 w 192206"/>
                  <a:gd name="connsiteY891" fmla="*/ 264505 h 463148"/>
                  <a:gd name="connsiteX892" fmla="*/ 131282 w 192206"/>
                  <a:gd name="connsiteY892" fmla="*/ 263888 h 463148"/>
                  <a:gd name="connsiteX893" fmla="*/ 130930 w 192206"/>
                  <a:gd name="connsiteY893" fmla="*/ 262213 h 463148"/>
                  <a:gd name="connsiteX894" fmla="*/ 130048 w 192206"/>
                  <a:gd name="connsiteY894" fmla="*/ 262213 h 463148"/>
                  <a:gd name="connsiteX895" fmla="*/ 130666 w 192206"/>
                  <a:gd name="connsiteY895" fmla="*/ 260978 h 463148"/>
                  <a:gd name="connsiteX896" fmla="*/ 129784 w 192206"/>
                  <a:gd name="connsiteY896" fmla="*/ 260097 h 463148"/>
                  <a:gd name="connsiteX897" fmla="*/ 129784 w 192206"/>
                  <a:gd name="connsiteY897" fmla="*/ 259568 h 463148"/>
                  <a:gd name="connsiteX898" fmla="*/ 128020 w 192206"/>
                  <a:gd name="connsiteY898" fmla="*/ 257540 h 463148"/>
                  <a:gd name="connsiteX899" fmla="*/ 128020 w 192206"/>
                  <a:gd name="connsiteY899" fmla="*/ 257187 h 463148"/>
                  <a:gd name="connsiteX900" fmla="*/ 128637 w 192206"/>
                  <a:gd name="connsiteY900" fmla="*/ 256658 h 463148"/>
                  <a:gd name="connsiteX901" fmla="*/ 128637 w 192206"/>
                  <a:gd name="connsiteY901" fmla="*/ 255777 h 463148"/>
                  <a:gd name="connsiteX902" fmla="*/ 127756 w 192206"/>
                  <a:gd name="connsiteY902" fmla="*/ 255424 h 463148"/>
                  <a:gd name="connsiteX903" fmla="*/ 127491 w 192206"/>
                  <a:gd name="connsiteY903" fmla="*/ 255424 h 463148"/>
                  <a:gd name="connsiteX904" fmla="*/ 126521 w 192206"/>
                  <a:gd name="connsiteY904" fmla="*/ 255424 h 463148"/>
                  <a:gd name="connsiteX905" fmla="*/ 126874 w 192206"/>
                  <a:gd name="connsiteY905" fmla="*/ 256658 h 463148"/>
                  <a:gd name="connsiteX906" fmla="*/ 124229 w 192206"/>
                  <a:gd name="connsiteY906" fmla="*/ 255777 h 463148"/>
                  <a:gd name="connsiteX907" fmla="*/ 123700 w 192206"/>
                  <a:gd name="connsiteY907" fmla="*/ 255424 h 463148"/>
                  <a:gd name="connsiteX908" fmla="*/ 122465 w 192206"/>
                  <a:gd name="connsiteY908" fmla="*/ 252867 h 463148"/>
                  <a:gd name="connsiteX909" fmla="*/ 120703 w 192206"/>
                  <a:gd name="connsiteY909" fmla="*/ 249076 h 463148"/>
                  <a:gd name="connsiteX910" fmla="*/ 121936 w 192206"/>
                  <a:gd name="connsiteY910" fmla="*/ 249076 h 463148"/>
                  <a:gd name="connsiteX911" fmla="*/ 123083 w 192206"/>
                  <a:gd name="connsiteY911" fmla="*/ 251104 h 463148"/>
                  <a:gd name="connsiteX912" fmla="*/ 125992 w 192206"/>
                  <a:gd name="connsiteY912" fmla="*/ 251104 h 463148"/>
                  <a:gd name="connsiteX913" fmla="*/ 126874 w 192206"/>
                  <a:gd name="connsiteY913" fmla="*/ 250222 h 463148"/>
                  <a:gd name="connsiteX914" fmla="*/ 126874 w 192206"/>
                  <a:gd name="connsiteY914" fmla="*/ 249076 h 463148"/>
                  <a:gd name="connsiteX915" fmla="*/ 128373 w 192206"/>
                  <a:gd name="connsiteY915" fmla="*/ 249076 h 463148"/>
                  <a:gd name="connsiteX916" fmla="*/ 130048 w 192206"/>
                  <a:gd name="connsiteY916" fmla="*/ 249076 h 463148"/>
                  <a:gd name="connsiteX917" fmla="*/ 130313 w 192206"/>
                  <a:gd name="connsiteY917" fmla="*/ 246166 h 463148"/>
                  <a:gd name="connsiteX918" fmla="*/ 129166 w 192206"/>
                  <a:gd name="connsiteY918" fmla="*/ 244667 h 463148"/>
                  <a:gd name="connsiteX919" fmla="*/ 128373 w 192206"/>
                  <a:gd name="connsiteY919" fmla="*/ 241758 h 463148"/>
                  <a:gd name="connsiteX920" fmla="*/ 126874 w 192206"/>
                  <a:gd name="connsiteY920" fmla="*/ 239994 h 463148"/>
                  <a:gd name="connsiteX921" fmla="*/ 127756 w 192206"/>
                  <a:gd name="connsiteY921" fmla="*/ 239113 h 463148"/>
                  <a:gd name="connsiteX922" fmla="*/ 127491 w 192206"/>
                  <a:gd name="connsiteY922" fmla="*/ 237349 h 463148"/>
                  <a:gd name="connsiteX923" fmla="*/ 129519 w 192206"/>
                  <a:gd name="connsiteY923" fmla="*/ 236203 h 463148"/>
                  <a:gd name="connsiteX924" fmla="*/ 128902 w 192206"/>
                  <a:gd name="connsiteY924" fmla="*/ 233029 h 463148"/>
                  <a:gd name="connsiteX925" fmla="*/ 128020 w 192206"/>
                  <a:gd name="connsiteY925" fmla="*/ 231795 h 463148"/>
                  <a:gd name="connsiteX926" fmla="*/ 128637 w 192206"/>
                  <a:gd name="connsiteY926" fmla="*/ 231266 h 463148"/>
                  <a:gd name="connsiteX927" fmla="*/ 127491 w 192206"/>
                  <a:gd name="connsiteY927" fmla="*/ 227474 h 463148"/>
                  <a:gd name="connsiteX928" fmla="*/ 128902 w 192206"/>
                  <a:gd name="connsiteY928" fmla="*/ 225711 h 463148"/>
                  <a:gd name="connsiteX929" fmla="*/ 128637 w 192206"/>
                  <a:gd name="connsiteY929" fmla="*/ 225447 h 463148"/>
                  <a:gd name="connsiteX930" fmla="*/ 128373 w 192206"/>
                  <a:gd name="connsiteY930" fmla="*/ 223948 h 463148"/>
                  <a:gd name="connsiteX931" fmla="*/ 129166 w 192206"/>
                  <a:gd name="connsiteY931" fmla="*/ 223948 h 463148"/>
                  <a:gd name="connsiteX932" fmla="*/ 130666 w 192206"/>
                  <a:gd name="connsiteY932" fmla="*/ 223419 h 463148"/>
                  <a:gd name="connsiteX933" fmla="*/ 131282 w 192206"/>
                  <a:gd name="connsiteY933" fmla="*/ 222802 h 463148"/>
                  <a:gd name="connsiteX934" fmla="*/ 131547 w 192206"/>
                  <a:gd name="connsiteY934" fmla="*/ 221920 h 463148"/>
                  <a:gd name="connsiteX935" fmla="*/ 131282 w 192206"/>
                  <a:gd name="connsiteY935" fmla="*/ 221038 h 463148"/>
                  <a:gd name="connsiteX936" fmla="*/ 131547 w 192206"/>
                  <a:gd name="connsiteY936" fmla="*/ 218393 h 463148"/>
                  <a:gd name="connsiteX937" fmla="*/ 132429 w 192206"/>
                  <a:gd name="connsiteY937" fmla="*/ 218393 h 463148"/>
                  <a:gd name="connsiteX938" fmla="*/ 132429 w 192206"/>
                  <a:gd name="connsiteY938" fmla="*/ 219010 h 463148"/>
                  <a:gd name="connsiteX939" fmla="*/ 132958 w 192206"/>
                  <a:gd name="connsiteY939" fmla="*/ 219010 h 463148"/>
                  <a:gd name="connsiteX940" fmla="*/ 134986 w 192206"/>
                  <a:gd name="connsiteY940" fmla="*/ 220156 h 463148"/>
                  <a:gd name="connsiteX941" fmla="*/ 135955 w 192206"/>
                  <a:gd name="connsiteY941" fmla="*/ 221038 h 463148"/>
                  <a:gd name="connsiteX942" fmla="*/ 135955 w 192206"/>
                  <a:gd name="connsiteY942" fmla="*/ 221655 h 463148"/>
                  <a:gd name="connsiteX943" fmla="*/ 136484 w 192206"/>
                  <a:gd name="connsiteY943" fmla="*/ 221655 h 463148"/>
                  <a:gd name="connsiteX944" fmla="*/ 137366 w 192206"/>
                  <a:gd name="connsiteY944" fmla="*/ 221038 h 463148"/>
                  <a:gd name="connsiteX945" fmla="*/ 140540 w 192206"/>
                  <a:gd name="connsiteY945" fmla="*/ 221038 h 463148"/>
                  <a:gd name="connsiteX946" fmla="*/ 142039 w 192206"/>
                  <a:gd name="connsiteY946" fmla="*/ 221038 h 463148"/>
                  <a:gd name="connsiteX947" fmla="*/ 143185 w 192206"/>
                  <a:gd name="connsiteY947" fmla="*/ 221655 h 463148"/>
                  <a:gd name="connsiteX948" fmla="*/ 143803 w 192206"/>
                  <a:gd name="connsiteY948" fmla="*/ 221038 h 463148"/>
                  <a:gd name="connsiteX949" fmla="*/ 144420 w 192206"/>
                  <a:gd name="connsiteY949" fmla="*/ 221038 h 463148"/>
                  <a:gd name="connsiteX950" fmla="*/ 144949 w 192206"/>
                  <a:gd name="connsiteY950" fmla="*/ 220156 h 463148"/>
                  <a:gd name="connsiteX951" fmla="*/ 147858 w 192206"/>
                  <a:gd name="connsiteY951" fmla="*/ 219010 h 463148"/>
                  <a:gd name="connsiteX952" fmla="*/ 148475 w 192206"/>
                  <a:gd name="connsiteY952" fmla="*/ 217600 h 463148"/>
                  <a:gd name="connsiteX953" fmla="*/ 150503 w 192206"/>
                  <a:gd name="connsiteY953" fmla="*/ 219010 h 463148"/>
                  <a:gd name="connsiteX954" fmla="*/ 151649 w 192206"/>
                  <a:gd name="connsiteY954" fmla="*/ 219010 h 463148"/>
                  <a:gd name="connsiteX955" fmla="*/ 151649 w 192206"/>
                  <a:gd name="connsiteY955" fmla="*/ 218393 h 463148"/>
                  <a:gd name="connsiteX956" fmla="*/ 152531 w 192206"/>
                  <a:gd name="connsiteY956" fmla="*/ 217247 h 463148"/>
                  <a:gd name="connsiteX957" fmla="*/ 151385 w 192206"/>
                  <a:gd name="connsiteY957" fmla="*/ 215484 h 463148"/>
                  <a:gd name="connsiteX958" fmla="*/ 152266 w 192206"/>
                  <a:gd name="connsiteY958" fmla="*/ 215484 h 463148"/>
                  <a:gd name="connsiteX959" fmla="*/ 151914 w 192206"/>
                  <a:gd name="connsiteY959" fmla="*/ 214073 h 463148"/>
                  <a:gd name="connsiteX960" fmla="*/ 152266 w 192206"/>
                  <a:gd name="connsiteY960" fmla="*/ 212045 h 463148"/>
                  <a:gd name="connsiteX961" fmla="*/ 152795 w 192206"/>
                  <a:gd name="connsiteY961" fmla="*/ 211163 h 463148"/>
                  <a:gd name="connsiteX962" fmla="*/ 154559 w 192206"/>
                  <a:gd name="connsiteY962" fmla="*/ 210282 h 463148"/>
                  <a:gd name="connsiteX963" fmla="*/ 156322 w 192206"/>
                  <a:gd name="connsiteY963" fmla="*/ 211163 h 463148"/>
                  <a:gd name="connsiteX964" fmla="*/ 157733 w 192206"/>
                  <a:gd name="connsiteY964" fmla="*/ 212045 h 463148"/>
                  <a:gd name="connsiteX965" fmla="*/ 161612 w 192206"/>
                  <a:gd name="connsiteY965" fmla="*/ 211163 h 463148"/>
                  <a:gd name="connsiteX966" fmla="*/ 162141 w 192206"/>
                  <a:gd name="connsiteY966" fmla="*/ 209929 h 463148"/>
                  <a:gd name="connsiteX967" fmla="*/ 162406 w 192206"/>
                  <a:gd name="connsiteY967" fmla="*/ 209929 h 463148"/>
                  <a:gd name="connsiteX968" fmla="*/ 162141 w 192206"/>
                  <a:gd name="connsiteY968" fmla="*/ 209135 h 463148"/>
                  <a:gd name="connsiteX969" fmla="*/ 161612 w 192206"/>
                  <a:gd name="connsiteY969" fmla="*/ 207372 h 463148"/>
                  <a:gd name="connsiteX970" fmla="*/ 160731 w 192206"/>
                  <a:gd name="connsiteY970" fmla="*/ 204727 h 463148"/>
                  <a:gd name="connsiteX971" fmla="*/ 158967 w 192206"/>
                  <a:gd name="connsiteY971" fmla="*/ 203581 h 463148"/>
                  <a:gd name="connsiteX972" fmla="*/ 161612 w 192206"/>
                  <a:gd name="connsiteY972" fmla="*/ 204374 h 463148"/>
                  <a:gd name="connsiteX973" fmla="*/ 164787 w 192206"/>
                  <a:gd name="connsiteY973" fmla="*/ 204727 h 463148"/>
                  <a:gd name="connsiteX974" fmla="*/ 165403 w 192206"/>
                  <a:gd name="connsiteY974" fmla="*/ 204727 h 463148"/>
                  <a:gd name="connsiteX975" fmla="*/ 167079 w 192206"/>
                  <a:gd name="connsiteY975" fmla="*/ 204727 h 463148"/>
                  <a:gd name="connsiteX976" fmla="*/ 168842 w 192206"/>
                  <a:gd name="connsiteY976" fmla="*/ 202699 h 463148"/>
                  <a:gd name="connsiteX977" fmla="*/ 170606 w 192206"/>
                  <a:gd name="connsiteY977" fmla="*/ 202699 h 463148"/>
                  <a:gd name="connsiteX978" fmla="*/ 171487 w 192206"/>
                  <a:gd name="connsiteY978" fmla="*/ 203581 h 463148"/>
                  <a:gd name="connsiteX979" fmla="*/ 172898 w 192206"/>
                  <a:gd name="connsiteY979" fmla="*/ 203581 h 463148"/>
                  <a:gd name="connsiteX980" fmla="*/ 172898 w 192206"/>
                  <a:gd name="connsiteY980" fmla="*/ 204374 h 463148"/>
                  <a:gd name="connsiteX981" fmla="*/ 173251 w 192206"/>
                  <a:gd name="connsiteY981" fmla="*/ 204374 h 463148"/>
                  <a:gd name="connsiteX982" fmla="*/ 173868 w 192206"/>
                  <a:gd name="connsiteY982" fmla="*/ 203581 h 463148"/>
                  <a:gd name="connsiteX983" fmla="*/ 174397 w 192206"/>
                  <a:gd name="connsiteY983" fmla="*/ 198026 h 463148"/>
                  <a:gd name="connsiteX984" fmla="*/ 175543 w 192206"/>
                  <a:gd name="connsiteY984" fmla="*/ 194764 h 463148"/>
                  <a:gd name="connsiteX985" fmla="*/ 177659 w 192206"/>
                  <a:gd name="connsiteY985" fmla="*/ 193618 h 463148"/>
                  <a:gd name="connsiteX986" fmla="*/ 177306 w 192206"/>
                  <a:gd name="connsiteY986" fmla="*/ 193089 h 463148"/>
                  <a:gd name="connsiteX987" fmla="*/ 181098 w 192206"/>
                  <a:gd name="connsiteY987" fmla="*/ 193618 h 463148"/>
                  <a:gd name="connsiteX988" fmla="*/ 182332 w 192206"/>
                  <a:gd name="connsiteY988" fmla="*/ 193089 h 463148"/>
                  <a:gd name="connsiteX989" fmla="*/ 183743 w 192206"/>
                  <a:gd name="connsiteY989" fmla="*/ 191854 h 463148"/>
                  <a:gd name="connsiteX990" fmla="*/ 183743 w 192206"/>
                  <a:gd name="connsiteY990" fmla="*/ 191325 h 463148"/>
                  <a:gd name="connsiteX991" fmla="*/ 181979 w 192206"/>
                  <a:gd name="connsiteY991" fmla="*/ 191854 h 463148"/>
                  <a:gd name="connsiteX992" fmla="*/ 180833 w 192206"/>
                  <a:gd name="connsiteY992" fmla="*/ 191854 h 463148"/>
                  <a:gd name="connsiteX993" fmla="*/ 180480 w 192206"/>
                  <a:gd name="connsiteY993" fmla="*/ 191325 h 463148"/>
                  <a:gd name="connsiteX994" fmla="*/ 180480 w 192206"/>
                  <a:gd name="connsiteY994" fmla="*/ 190091 h 463148"/>
                  <a:gd name="connsiteX995" fmla="*/ 181715 w 192206"/>
                  <a:gd name="connsiteY995" fmla="*/ 188945 h 463148"/>
                  <a:gd name="connsiteX996" fmla="*/ 181362 w 192206"/>
                  <a:gd name="connsiteY996" fmla="*/ 187534 h 463148"/>
                  <a:gd name="connsiteX997" fmla="*/ 181979 w 192206"/>
                  <a:gd name="connsiteY997" fmla="*/ 187181 h 463148"/>
                  <a:gd name="connsiteX998" fmla="*/ 183478 w 192206"/>
                  <a:gd name="connsiteY998" fmla="*/ 184625 h 463148"/>
                  <a:gd name="connsiteX999" fmla="*/ 183125 w 192206"/>
                  <a:gd name="connsiteY999" fmla="*/ 183390 h 463148"/>
                  <a:gd name="connsiteX1000" fmla="*/ 183478 w 192206"/>
                  <a:gd name="connsiteY1000" fmla="*/ 180745 h 463148"/>
                  <a:gd name="connsiteX1001" fmla="*/ 185241 w 192206"/>
                  <a:gd name="connsiteY1001" fmla="*/ 180745 h 463148"/>
                  <a:gd name="connsiteX1002" fmla="*/ 186652 w 192206"/>
                  <a:gd name="connsiteY1002" fmla="*/ 180745 h 463148"/>
                  <a:gd name="connsiteX1003" fmla="*/ 186917 w 192206"/>
                  <a:gd name="connsiteY1003" fmla="*/ 179599 h 463148"/>
                  <a:gd name="connsiteX1004" fmla="*/ 188680 w 192206"/>
                  <a:gd name="connsiteY1004" fmla="*/ 178188 h 463148"/>
                  <a:gd name="connsiteX1005" fmla="*/ 191325 w 192206"/>
                  <a:gd name="connsiteY1005" fmla="*/ 176425 h 463148"/>
                  <a:gd name="connsiteX1006" fmla="*/ 192207 w 192206"/>
                  <a:gd name="connsiteY1006" fmla="*/ 173515 h 463148"/>
                  <a:gd name="connsiteX1007" fmla="*/ 190443 w 192206"/>
                  <a:gd name="connsiteY1007" fmla="*/ 169107 h 463148"/>
                  <a:gd name="connsiteX1008" fmla="*/ 184889 w 192206"/>
                  <a:gd name="connsiteY1008" fmla="*/ 171752 h 463148"/>
                  <a:gd name="connsiteX1009" fmla="*/ 182596 w 192206"/>
                  <a:gd name="connsiteY1009" fmla="*/ 175279 h 463148"/>
                  <a:gd name="connsiteX1010" fmla="*/ 181715 w 192206"/>
                  <a:gd name="connsiteY1010" fmla="*/ 176690 h 463148"/>
                  <a:gd name="connsiteX1011" fmla="*/ 179951 w 192206"/>
                  <a:gd name="connsiteY1011" fmla="*/ 177571 h 463148"/>
                  <a:gd name="connsiteX1012" fmla="*/ 178453 w 192206"/>
                  <a:gd name="connsiteY1012" fmla="*/ 176160 h 463148"/>
                  <a:gd name="connsiteX1013" fmla="*/ 175543 w 192206"/>
                  <a:gd name="connsiteY1013" fmla="*/ 174397 h 463148"/>
                  <a:gd name="connsiteX1014" fmla="*/ 174397 w 192206"/>
                  <a:gd name="connsiteY1014" fmla="*/ 174662 h 463148"/>
                  <a:gd name="connsiteX1015" fmla="*/ 172104 w 192206"/>
                  <a:gd name="connsiteY1015" fmla="*/ 177307 h 463148"/>
                  <a:gd name="connsiteX1016" fmla="*/ 169988 w 192206"/>
                  <a:gd name="connsiteY1016" fmla="*/ 177924 h 463148"/>
                  <a:gd name="connsiteX1017" fmla="*/ 169724 w 192206"/>
                  <a:gd name="connsiteY1017" fmla="*/ 176160 h 463148"/>
                  <a:gd name="connsiteX1018" fmla="*/ 168049 w 192206"/>
                  <a:gd name="connsiteY1018" fmla="*/ 176160 h 463148"/>
                  <a:gd name="connsiteX1019" fmla="*/ 167696 w 192206"/>
                  <a:gd name="connsiteY1019" fmla="*/ 173251 h 463148"/>
                  <a:gd name="connsiteX1020" fmla="*/ 169459 w 192206"/>
                  <a:gd name="connsiteY1020" fmla="*/ 172898 h 463148"/>
                  <a:gd name="connsiteX1021" fmla="*/ 167696 w 192206"/>
                  <a:gd name="connsiteY1021" fmla="*/ 172017 h 463148"/>
                  <a:gd name="connsiteX1022" fmla="*/ 163905 w 192206"/>
                  <a:gd name="connsiteY1022" fmla="*/ 167961 h 463148"/>
                  <a:gd name="connsiteX1023" fmla="*/ 165933 w 192206"/>
                  <a:gd name="connsiteY1023" fmla="*/ 161877 h 463148"/>
                  <a:gd name="connsiteX1024" fmla="*/ 163287 w 192206"/>
                  <a:gd name="connsiteY1024" fmla="*/ 162406 h 463148"/>
                  <a:gd name="connsiteX1025" fmla="*/ 161877 w 192206"/>
                  <a:gd name="connsiteY1025" fmla="*/ 160996 h 463148"/>
                  <a:gd name="connsiteX1026" fmla="*/ 162141 w 192206"/>
                  <a:gd name="connsiteY1026" fmla="*/ 162406 h 463148"/>
                  <a:gd name="connsiteX1027" fmla="*/ 160378 w 192206"/>
                  <a:gd name="connsiteY1027" fmla="*/ 162406 h 463148"/>
                  <a:gd name="connsiteX1028" fmla="*/ 160114 w 192206"/>
                  <a:gd name="connsiteY1028" fmla="*/ 160996 h 463148"/>
                  <a:gd name="connsiteX1029" fmla="*/ 156940 w 192206"/>
                  <a:gd name="connsiteY1029" fmla="*/ 160996 h 463148"/>
                  <a:gd name="connsiteX1030" fmla="*/ 155441 w 192206"/>
                  <a:gd name="connsiteY1030" fmla="*/ 160114 h 463148"/>
                  <a:gd name="connsiteX1031" fmla="*/ 154030 w 192206"/>
                  <a:gd name="connsiteY1031" fmla="*/ 160643 h 463148"/>
                  <a:gd name="connsiteX1032" fmla="*/ 144949 w 192206"/>
                  <a:gd name="connsiteY1032" fmla="*/ 158968 h 463148"/>
                  <a:gd name="connsiteX1033" fmla="*/ 148740 w 192206"/>
                  <a:gd name="connsiteY1033" fmla="*/ 158086 h 463148"/>
                  <a:gd name="connsiteX1034" fmla="*/ 149357 w 192206"/>
                  <a:gd name="connsiteY1034" fmla="*/ 156587 h 463148"/>
                  <a:gd name="connsiteX1035" fmla="*/ 147858 w 192206"/>
                  <a:gd name="connsiteY1035" fmla="*/ 153942 h 463148"/>
                  <a:gd name="connsiteX1036" fmla="*/ 149004 w 192206"/>
                  <a:gd name="connsiteY1036" fmla="*/ 152531 h 463148"/>
                  <a:gd name="connsiteX1037" fmla="*/ 148475 w 192206"/>
                  <a:gd name="connsiteY1037" fmla="*/ 142568 h 463148"/>
                  <a:gd name="connsiteX1038" fmla="*/ 148475 w 192206"/>
                  <a:gd name="connsiteY1038" fmla="*/ 139659 h 463148"/>
                  <a:gd name="connsiteX1039" fmla="*/ 152531 w 192206"/>
                  <a:gd name="connsiteY1039" fmla="*/ 140540 h 463148"/>
                  <a:gd name="connsiteX1040" fmla="*/ 151649 w 192206"/>
                  <a:gd name="connsiteY1040" fmla="*/ 138513 h 463148"/>
                  <a:gd name="connsiteX1041" fmla="*/ 151120 w 192206"/>
                  <a:gd name="connsiteY1041" fmla="*/ 136749 h 463148"/>
                  <a:gd name="connsiteX1042" fmla="*/ 145566 w 192206"/>
                  <a:gd name="connsiteY1042" fmla="*/ 136132 h 463148"/>
                  <a:gd name="connsiteX1043" fmla="*/ 145830 w 192206"/>
                  <a:gd name="connsiteY1043" fmla="*/ 137895 h 463148"/>
                  <a:gd name="connsiteX1044" fmla="*/ 142303 w 192206"/>
                  <a:gd name="connsiteY1044" fmla="*/ 137631 h 463148"/>
                  <a:gd name="connsiteX1045" fmla="*/ 141157 w 192206"/>
                  <a:gd name="connsiteY1045" fmla="*/ 134986 h 463148"/>
                  <a:gd name="connsiteX1046" fmla="*/ 136749 w 192206"/>
                  <a:gd name="connsiteY1046" fmla="*/ 134986 h 463148"/>
                  <a:gd name="connsiteX1047" fmla="*/ 137102 w 192206"/>
                  <a:gd name="connsiteY1047" fmla="*/ 130930 h 463148"/>
                  <a:gd name="connsiteX1048" fmla="*/ 135603 w 192206"/>
                  <a:gd name="connsiteY1048" fmla="*/ 127139 h 463148"/>
                  <a:gd name="connsiteX1049" fmla="*/ 133575 w 192206"/>
                  <a:gd name="connsiteY1049" fmla="*/ 127139 h 463148"/>
                  <a:gd name="connsiteX1050" fmla="*/ 132958 w 192206"/>
                  <a:gd name="connsiteY1050" fmla="*/ 123965 h 463148"/>
                  <a:gd name="connsiteX1051" fmla="*/ 132429 w 192206"/>
                  <a:gd name="connsiteY1051" fmla="*/ 120703 h 463148"/>
                  <a:gd name="connsiteX1052" fmla="*/ 132429 w 192206"/>
                  <a:gd name="connsiteY1052" fmla="*/ 118410 h 463148"/>
                  <a:gd name="connsiteX1053" fmla="*/ 128902 w 192206"/>
                  <a:gd name="connsiteY1053" fmla="*/ 114266 h 463148"/>
                  <a:gd name="connsiteX1054" fmla="*/ 130313 w 192206"/>
                  <a:gd name="connsiteY1054" fmla="*/ 112856 h 463148"/>
                  <a:gd name="connsiteX1055" fmla="*/ 134192 w 192206"/>
                  <a:gd name="connsiteY1055" fmla="*/ 111092 h 463148"/>
                  <a:gd name="connsiteX1056" fmla="*/ 132693 w 192206"/>
                  <a:gd name="connsiteY1056" fmla="*/ 109946 h 463148"/>
                  <a:gd name="connsiteX1057" fmla="*/ 129784 w 192206"/>
                  <a:gd name="connsiteY1057" fmla="*/ 111357 h 463148"/>
                  <a:gd name="connsiteX1058" fmla="*/ 127139 w 192206"/>
                  <a:gd name="connsiteY1058" fmla="*/ 112238 h 463148"/>
                  <a:gd name="connsiteX1059" fmla="*/ 124229 w 192206"/>
                  <a:gd name="connsiteY1059" fmla="*/ 111357 h 463148"/>
                  <a:gd name="connsiteX1060" fmla="*/ 119556 w 192206"/>
                  <a:gd name="connsiteY1060" fmla="*/ 111092 h 463148"/>
                  <a:gd name="connsiteX1061" fmla="*/ 116382 w 192206"/>
                  <a:gd name="connsiteY1061" fmla="*/ 111357 h 463148"/>
                  <a:gd name="connsiteX1062" fmla="*/ 114354 w 192206"/>
                  <a:gd name="connsiteY1062" fmla="*/ 112591 h 463148"/>
                  <a:gd name="connsiteX1063" fmla="*/ 111973 w 192206"/>
                  <a:gd name="connsiteY1063" fmla="*/ 114002 h 463148"/>
                  <a:gd name="connsiteX1064" fmla="*/ 111092 w 192206"/>
                  <a:gd name="connsiteY1064" fmla="*/ 114883 h 463148"/>
                  <a:gd name="connsiteX1065" fmla="*/ 107918 w 192206"/>
                  <a:gd name="connsiteY1065" fmla="*/ 117176 h 463148"/>
                  <a:gd name="connsiteX1066" fmla="*/ 106772 w 192206"/>
                  <a:gd name="connsiteY1066" fmla="*/ 115765 h 463148"/>
                  <a:gd name="connsiteX1067" fmla="*/ 105008 w 192206"/>
                  <a:gd name="connsiteY1067" fmla="*/ 115148 h 463148"/>
                  <a:gd name="connsiteX1068" fmla="*/ 108182 w 192206"/>
                  <a:gd name="connsiteY1068" fmla="*/ 111974 h 463148"/>
                  <a:gd name="connsiteX1069" fmla="*/ 107036 w 192206"/>
                  <a:gd name="connsiteY1069" fmla="*/ 104391 h 463148"/>
                  <a:gd name="connsiteX1070" fmla="*/ 105273 w 192206"/>
                  <a:gd name="connsiteY1070" fmla="*/ 102628 h 463148"/>
                  <a:gd name="connsiteX1071" fmla="*/ 103245 w 192206"/>
                  <a:gd name="connsiteY1071" fmla="*/ 102628 h 463148"/>
                  <a:gd name="connsiteX1072" fmla="*/ 101834 w 192206"/>
                  <a:gd name="connsiteY1072" fmla="*/ 94517 h 463148"/>
                  <a:gd name="connsiteX1073" fmla="*/ 103245 w 192206"/>
                  <a:gd name="connsiteY1073" fmla="*/ 93018 h 463148"/>
                  <a:gd name="connsiteX1074" fmla="*/ 106419 w 192206"/>
                  <a:gd name="connsiteY1074" fmla="*/ 92400 h 463148"/>
                  <a:gd name="connsiteX1075" fmla="*/ 105273 w 192206"/>
                  <a:gd name="connsiteY1075" fmla="*/ 90108 h 463148"/>
                  <a:gd name="connsiteX1076" fmla="*/ 104656 w 192206"/>
                  <a:gd name="connsiteY1076" fmla="*/ 82173 h 463148"/>
                  <a:gd name="connsiteX1077" fmla="*/ 106772 w 192206"/>
                  <a:gd name="connsiteY1077" fmla="*/ 82790 h 463148"/>
                  <a:gd name="connsiteX1078" fmla="*/ 109328 w 192206"/>
                  <a:gd name="connsiteY1078" fmla="*/ 80762 h 463148"/>
                  <a:gd name="connsiteX1079" fmla="*/ 110563 w 192206"/>
                  <a:gd name="connsiteY1079" fmla="*/ 77588 h 463148"/>
                  <a:gd name="connsiteX1080" fmla="*/ 109946 w 192206"/>
                  <a:gd name="connsiteY1080" fmla="*/ 73180 h 463148"/>
                  <a:gd name="connsiteX1081" fmla="*/ 114354 w 192206"/>
                  <a:gd name="connsiteY1081" fmla="*/ 75208 h 463148"/>
                  <a:gd name="connsiteX1082" fmla="*/ 115765 w 192206"/>
                  <a:gd name="connsiteY1082" fmla="*/ 74591 h 463148"/>
                  <a:gd name="connsiteX1083" fmla="*/ 116999 w 192206"/>
                  <a:gd name="connsiteY1083" fmla="*/ 71681 h 463148"/>
                  <a:gd name="connsiteX1084" fmla="*/ 116382 w 192206"/>
                  <a:gd name="connsiteY1084" fmla="*/ 70270 h 463148"/>
                  <a:gd name="connsiteX1085" fmla="*/ 120438 w 192206"/>
                  <a:gd name="connsiteY1085" fmla="*/ 70270 h 463148"/>
                  <a:gd name="connsiteX1086" fmla="*/ 122818 w 192206"/>
                  <a:gd name="connsiteY1086" fmla="*/ 69388 h 463148"/>
                  <a:gd name="connsiteX1087" fmla="*/ 121584 w 192206"/>
                  <a:gd name="connsiteY1087" fmla="*/ 66744 h 463148"/>
                  <a:gd name="connsiteX1088" fmla="*/ 119556 w 192206"/>
                  <a:gd name="connsiteY1088" fmla="*/ 64716 h 463148"/>
                  <a:gd name="connsiteX1089" fmla="*/ 117793 w 192206"/>
                  <a:gd name="connsiteY1089" fmla="*/ 62423 h 463148"/>
                  <a:gd name="connsiteX1090" fmla="*/ 120703 w 192206"/>
                  <a:gd name="connsiteY1090" fmla="*/ 63217 h 463148"/>
                  <a:gd name="connsiteX1091" fmla="*/ 119909 w 192206"/>
                  <a:gd name="connsiteY1091" fmla="*/ 58897 h 463148"/>
                  <a:gd name="connsiteX1092" fmla="*/ 120703 w 192206"/>
                  <a:gd name="connsiteY1092" fmla="*/ 55634 h 463148"/>
                  <a:gd name="connsiteX1093" fmla="*/ 119292 w 192206"/>
                  <a:gd name="connsiteY1093" fmla="*/ 51050 h 463148"/>
                  <a:gd name="connsiteX1094" fmla="*/ 121055 w 192206"/>
                  <a:gd name="connsiteY1094" fmla="*/ 51050 h 463148"/>
                  <a:gd name="connsiteX1095" fmla="*/ 118939 w 192206"/>
                  <a:gd name="connsiteY1095" fmla="*/ 48933 h 463148"/>
                  <a:gd name="connsiteX1096" fmla="*/ 120174 w 192206"/>
                  <a:gd name="connsiteY1096" fmla="*/ 46024 h 463148"/>
                  <a:gd name="connsiteX1097" fmla="*/ 116999 w 192206"/>
                  <a:gd name="connsiteY1097" fmla="*/ 42850 h 463148"/>
                  <a:gd name="connsiteX1098" fmla="*/ 116999 w 192206"/>
                  <a:gd name="connsiteY1098" fmla="*/ 40558 h 463148"/>
                  <a:gd name="connsiteX1099" fmla="*/ 114619 w 192206"/>
                  <a:gd name="connsiteY1099" fmla="*/ 38794 h 463148"/>
                  <a:gd name="connsiteX1100" fmla="*/ 116118 w 192206"/>
                  <a:gd name="connsiteY1100" fmla="*/ 33240 h 463148"/>
                  <a:gd name="connsiteX1101" fmla="*/ 113737 w 192206"/>
                  <a:gd name="connsiteY1101" fmla="*/ 33240 h 463148"/>
                  <a:gd name="connsiteX1102" fmla="*/ 112591 w 192206"/>
                  <a:gd name="connsiteY1102" fmla="*/ 27068 h 463148"/>
                  <a:gd name="connsiteX1103" fmla="*/ 105537 w 192206"/>
                  <a:gd name="connsiteY1103" fmla="*/ 24158 h 463148"/>
                  <a:gd name="connsiteX1104" fmla="*/ 103774 w 192206"/>
                  <a:gd name="connsiteY1104" fmla="*/ 27068 h 463148"/>
                  <a:gd name="connsiteX1105" fmla="*/ 100071 w 192206"/>
                  <a:gd name="connsiteY1105" fmla="*/ 20367 h 463148"/>
                  <a:gd name="connsiteX1106" fmla="*/ 95927 w 192206"/>
                  <a:gd name="connsiteY1106" fmla="*/ 16576 h 463148"/>
                  <a:gd name="connsiteX1107" fmla="*/ 97690 w 192206"/>
                  <a:gd name="connsiteY1107" fmla="*/ 16047 h 463148"/>
                  <a:gd name="connsiteX1108" fmla="*/ 98572 w 192206"/>
                  <a:gd name="connsiteY1108" fmla="*/ 14548 h 463148"/>
                  <a:gd name="connsiteX1109" fmla="*/ 97690 w 192206"/>
                  <a:gd name="connsiteY1109" fmla="*/ 11903 h 463148"/>
                  <a:gd name="connsiteX1110" fmla="*/ 96544 w 192206"/>
                  <a:gd name="connsiteY1110" fmla="*/ 10492 h 463148"/>
                  <a:gd name="connsiteX1111" fmla="*/ 95398 w 192206"/>
                  <a:gd name="connsiteY1111" fmla="*/ 9258 h 463148"/>
                  <a:gd name="connsiteX1112" fmla="*/ 94164 w 192206"/>
                  <a:gd name="connsiteY1112" fmla="*/ 7847 h 463148"/>
                  <a:gd name="connsiteX1113" fmla="*/ 92753 w 192206"/>
                  <a:gd name="connsiteY1113" fmla="*/ 6084 h 463148"/>
                  <a:gd name="connsiteX1114" fmla="*/ 89226 w 192206"/>
                  <a:gd name="connsiteY1114" fmla="*/ 4937 h 463148"/>
                  <a:gd name="connsiteX1115" fmla="*/ 86581 w 192206"/>
                  <a:gd name="connsiteY1115" fmla="*/ 6084 h 463148"/>
                  <a:gd name="connsiteX1116" fmla="*/ 86317 w 192206"/>
                  <a:gd name="connsiteY1116" fmla="*/ 2910 h 463148"/>
                  <a:gd name="connsiteX1117" fmla="*/ 86052 w 192206"/>
                  <a:gd name="connsiteY1117" fmla="*/ 1411 h 463148"/>
                  <a:gd name="connsiteX1118" fmla="*/ 83407 w 192206"/>
                  <a:gd name="connsiteY1118" fmla="*/ 529 h 463148"/>
                  <a:gd name="connsiteX1119" fmla="*/ 83143 w 192206"/>
                  <a:gd name="connsiteY1119" fmla="*/ 1675 h 463148"/>
                  <a:gd name="connsiteX1120" fmla="*/ 81643 w 192206"/>
                  <a:gd name="connsiteY1120" fmla="*/ 264 h 463148"/>
                  <a:gd name="connsiteX1121" fmla="*/ 81027 w 192206"/>
                  <a:gd name="connsiteY1121" fmla="*/ 0 h 463148"/>
                  <a:gd name="connsiteX1122" fmla="*/ 80498 w 192206"/>
                  <a:gd name="connsiteY1122" fmla="*/ 882 h 463148"/>
                  <a:gd name="connsiteX1123" fmla="*/ 81379 w 192206"/>
                  <a:gd name="connsiteY1123" fmla="*/ 4673 h 463148"/>
                  <a:gd name="connsiteX1124" fmla="*/ 79881 w 192206"/>
                  <a:gd name="connsiteY1124" fmla="*/ 4320 h 463148"/>
                  <a:gd name="connsiteX1125" fmla="*/ 80233 w 192206"/>
                  <a:gd name="connsiteY1125" fmla="*/ 6084 h 463148"/>
                  <a:gd name="connsiteX1126" fmla="*/ 78999 w 192206"/>
                  <a:gd name="connsiteY1126" fmla="*/ 7582 h 463148"/>
                  <a:gd name="connsiteX1127" fmla="*/ 79881 w 192206"/>
                  <a:gd name="connsiteY1127" fmla="*/ 10757 h 463148"/>
                  <a:gd name="connsiteX1128" fmla="*/ 78734 w 192206"/>
                  <a:gd name="connsiteY1128" fmla="*/ 13402 h 463148"/>
                  <a:gd name="connsiteX1129" fmla="*/ 79881 w 192206"/>
                  <a:gd name="connsiteY1129" fmla="*/ 16047 h 463148"/>
                  <a:gd name="connsiteX1130" fmla="*/ 77852 w 192206"/>
                  <a:gd name="connsiteY1130" fmla="*/ 16047 h 463148"/>
                  <a:gd name="connsiteX1131" fmla="*/ 76442 w 192206"/>
                  <a:gd name="connsiteY1131" fmla="*/ 18604 h 463148"/>
                  <a:gd name="connsiteX1132" fmla="*/ 76706 w 192206"/>
                  <a:gd name="connsiteY1132" fmla="*/ 18956 h 463148"/>
                  <a:gd name="connsiteX1133" fmla="*/ 75825 w 192206"/>
                  <a:gd name="connsiteY1133" fmla="*/ 20720 h 463148"/>
                  <a:gd name="connsiteX1134" fmla="*/ 75207 w 192206"/>
                  <a:gd name="connsiteY1134" fmla="*/ 21513 h 463148"/>
                  <a:gd name="connsiteX1135" fmla="*/ 74943 w 192206"/>
                  <a:gd name="connsiteY1135" fmla="*/ 21866 h 463148"/>
                  <a:gd name="connsiteX1136" fmla="*/ 74414 w 192206"/>
                  <a:gd name="connsiteY1136" fmla="*/ 22130 h 463148"/>
                  <a:gd name="connsiteX1137" fmla="*/ 73532 w 192206"/>
                  <a:gd name="connsiteY1137" fmla="*/ 23629 h 463148"/>
                  <a:gd name="connsiteX1138" fmla="*/ 72915 w 192206"/>
                  <a:gd name="connsiteY1138" fmla="*/ 25657 h 463148"/>
                  <a:gd name="connsiteX1139" fmla="*/ 73532 w 192206"/>
                  <a:gd name="connsiteY1139" fmla="*/ 27420 h 463148"/>
                  <a:gd name="connsiteX1140" fmla="*/ 75207 w 192206"/>
                  <a:gd name="connsiteY1140" fmla="*/ 28831 h 463148"/>
                  <a:gd name="connsiteX1141" fmla="*/ 76442 w 192206"/>
                  <a:gd name="connsiteY1141" fmla="*/ 29977 h 463148"/>
                  <a:gd name="connsiteX1142" fmla="*/ 78734 w 192206"/>
                  <a:gd name="connsiteY1142" fmla="*/ 31741 h 463148"/>
                  <a:gd name="connsiteX1143" fmla="*/ 80498 w 192206"/>
                  <a:gd name="connsiteY1143" fmla="*/ 33504 h 463148"/>
                  <a:gd name="connsiteX1144" fmla="*/ 82790 w 192206"/>
                  <a:gd name="connsiteY1144" fmla="*/ 35003 h 463148"/>
                  <a:gd name="connsiteX1145" fmla="*/ 81027 w 192206"/>
                  <a:gd name="connsiteY1145" fmla="*/ 35796 h 463148"/>
                  <a:gd name="connsiteX1146" fmla="*/ 76971 w 192206"/>
                  <a:gd name="connsiteY1146" fmla="*/ 34650 h 463148"/>
                  <a:gd name="connsiteX1147" fmla="*/ 72651 w 192206"/>
                  <a:gd name="connsiteY1147" fmla="*/ 33240 h 463148"/>
                  <a:gd name="connsiteX1148" fmla="*/ 73532 w 192206"/>
                  <a:gd name="connsiteY1148" fmla="*/ 32622 h 463148"/>
                  <a:gd name="connsiteX1149" fmla="*/ 71769 w 192206"/>
                  <a:gd name="connsiteY1149" fmla="*/ 29977 h 463148"/>
                  <a:gd name="connsiteX1150" fmla="*/ 70270 w 192206"/>
                  <a:gd name="connsiteY1150" fmla="*/ 30594 h 463148"/>
                  <a:gd name="connsiteX1151" fmla="*/ 68242 w 192206"/>
                  <a:gd name="connsiteY1151" fmla="*/ 29977 h 463148"/>
                  <a:gd name="connsiteX1152" fmla="*/ 66214 w 192206"/>
                  <a:gd name="connsiteY1152" fmla="*/ 31476 h 463148"/>
                  <a:gd name="connsiteX1153" fmla="*/ 63834 w 192206"/>
                  <a:gd name="connsiteY1153" fmla="*/ 31476 h 463148"/>
                  <a:gd name="connsiteX1154" fmla="*/ 59778 w 192206"/>
                  <a:gd name="connsiteY1154" fmla="*/ 31741 h 463148"/>
                  <a:gd name="connsiteX1155" fmla="*/ 58014 w 192206"/>
                  <a:gd name="connsiteY1155" fmla="*/ 34650 h 463148"/>
                  <a:gd name="connsiteX1156" fmla="*/ 55722 w 192206"/>
                  <a:gd name="connsiteY1156" fmla="*/ 37560 h 463148"/>
                  <a:gd name="connsiteX1157" fmla="*/ 51578 w 192206"/>
                  <a:gd name="connsiteY1157" fmla="*/ 39588 h 463148"/>
                  <a:gd name="connsiteX1158" fmla="*/ 51931 w 192206"/>
                  <a:gd name="connsiteY1158" fmla="*/ 41704 h 463148"/>
                  <a:gd name="connsiteX1159" fmla="*/ 50785 w 192206"/>
                  <a:gd name="connsiteY1159" fmla="*/ 41704 h 463148"/>
                  <a:gd name="connsiteX1160" fmla="*/ 49286 w 192206"/>
                  <a:gd name="connsiteY1160" fmla="*/ 43379 h 463148"/>
                  <a:gd name="connsiteX1161" fmla="*/ 46993 w 192206"/>
                  <a:gd name="connsiteY1161" fmla="*/ 43379 h 463148"/>
                  <a:gd name="connsiteX1162" fmla="*/ 45759 w 192206"/>
                  <a:gd name="connsiteY1162" fmla="*/ 45759 h 463148"/>
                  <a:gd name="connsiteX1163" fmla="*/ 42850 w 192206"/>
                  <a:gd name="connsiteY1163" fmla="*/ 48052 h 463148"/>
                  <a:gd name="connsiteX1164" fmla="*/ 41086 w 192206"/>
                  <a:gd name="connsiteY1164" fmla="*/ 48052 h 463148"/>
                  <a:gd name="connsiteX1165" fmla="*/ 41439 w 192206"/>
                  <a:gd name="connsiteY1165" fmla="*/ 48933 h 463148"/>
                  <a:gd name="connsiteX1166" fmla="*/ 39323 w 192206"/>
                  <a:gd name="connsiteY1166" fmla="*/ 51579 h 463148"/>
                  <a:gd name="connsiteX1167" fmla="*/ 41086 w 192206"/>
                  <a:gd name="connsiteY1167" fmla="*/ 53342 h 463148"/>
                  <a:gd name="connsiteX1168" fmla="*/ 40205 w 192206"/>
                  <a:gd name="connsiteY1168" fmla="*/ 55370 h 463148"/>
                  <a:gd name="connsiteX1169" fmla="*/ 40822 w 192206"/>
                  <a:gd name="connsiteY1169" fmla="*/ 58279 h 463148"/>
                  <a:gd name="connsiteX1170" fmla="*/ 42850 w 192206"/>
                  <a:gd name="connsiteY1170" fmla="*/ 58279 h 463148"/>
                  <a:gd name="connsiteX1171" fmla="*/ 42232 w 192206"/>
                  <a:gd name="connsiteY1171" fmla="*/ 58897 h 463148"/>
                  <a:gd name="connsiteX1172" fmla="*/ 43731 w 192206"/>
                  <a:gd name="connsiteY1172" fmla="*/ 62952 h 463148"/>
                  <a:gd name="connsiteX1173" fmla="*/ 42232 w 192206"/>
                  <a:gd name="connsiteY1173" fmla="*/ 65597 h 463148"/>
                  <a:gd name="connsiteX1174" fmla="*/ 43114 w 192206"/>
                  <a:gd name="connsiteY1174" fmla="*/ 69653 h 463148"/>
                  <a:gd name="connsiteX1175" fmla="*/ 41439 w 192206"/>
                  <a:gd name="connsiteY1175" fmla="*/ 70270 h 463148"/>
                  <a:gd name="connsiteX1176" fmla="*/ 40557 w 192206"/>
                  <a:gd name="connsiteY1176" fmla="*/ 72915 h 463148"/>
                  <a:gd name="connsiteX1177" fmla="*/ 38530 w 192206"/>
                  <a:gd name="connsiteY1177" fmla="*/ 73797 h 463148"/>
                  <a:gd name="connsiteX1178" fmla="*/ 38530 w 192206"/>
                  <a:gd name="connsiteY1178" fmla="*/ 75825 h 463148"/>
                  <a:gd name="connsiteX1179" fmla="*/ 35267 w 192206"/>
                  <a:gd name="connsiteY1179" fmla="*/ 76971 h 463148"/>
                  <a:gd name="connsiteX1180" fmla="*/ 36149 w 192206"/>
                  <a:gd name="connsiteY1180" fmla="*/ 79616 h 463148"/>
                  <a:gd name="connsiteX1181" fmla="*/ 34738 w 192206"/>
                  <a:gd name="connsiteY1181" fmla="*/ 79881 h 463148"/>
                  <a:gd name="connsiteX1182" fmla="*/ 35620 w 192206"/>
                  <a:gd name="connsiteY1182" fmla="*/ 83672 h 463148"/>
                  <a:gd name="connsiteX1183" fmla="*/ 39059 w 192206"/>
                  <a:gd name="connsiteY1183" fmla="*/ 84553 h 463148"/>
                  <a:gd name="connsiteX1184" fmla="*/ 39940 w 192206"/>
                  <a:gd name="connsiteY1184" fmla="*/ 88609 h 463148"/>
                  <a:gd name="connsiteX1185" fmla="*/ 37912 w 192206"/>
                  <a:gd name="connsiteY1185" fmla="*/ 90725 h 463148"/>
                  <a:gd name="connsiteX1186" fmla="*/ 37030 w 192206"/>
                  <a:gd name="connsiteY1186" fmla="*/ 91254 h 463148"/>
                  <a:gd name="connsiteX1187" fmla="*/ 37912 w 192206"/>
                  <a:gd name="connsiteY1187" fmla="*/ 94164 h 463148"/>
                  <a:gd name="connsiteX1188" fmla="*/ 35620 w 192206"/>
                  <a:gd name="connsiteY1188" fmla="*/ 95310 h 463148"/>
                  <a:gd name="connsiteX1189" fmla="*/ 35885 w 192206"/>
                  <a:gd name="connsiteY1189" fmla="*/ 97955 h 463148"/>
                  <a:gd name="connsiteX1190" fmla="*/ 35003 w 192206"/>
                  <a:gd name="connsiteY1190" fmla="*/ 99101 h 463148"/>
                  <a:gd name="connsiteX1191" fmla="*/ 35003 w 192206"/>
                  <a:gd name="connsiteY1191" fmla="*/ 102011 h 463148"/>
                  <a:gd name="connsiteX1192" fmla="*/ 33856 w 192206"/>
                  <a:gd name="connsiteY1192" fmla="*/ 102981 h 463148"/>
                  <a:gd name="connsiteX1193" fmla="*/ 33504 w 192206"/>
                  <a:gd name="connsiteY1193" fmla="*/ 104391 h 463148"/>
                  <a:gd name="connsiteX1194" fmla="*/ 33239 w 192206"/>
                  <a:gd name="connsiteY1194" fmla="*/ 107036 h 463148"/>
                  <a:gd name="connsiteX1195" fmla="*/ 33856 w 192206"/>
                  <a:gd name="connsiteY1195" fmla="*/ 109946 h 463148"/>
                  <a:gd name="connsiteX1196" fmla="*/ 33239 w 192206"/>
                  <a:gd name="connsiteY1196" fmla="*/ 112856 h 463148"/>
                  <a:gd name="connsiteX1197" fmla="*/ 34121 w 192206"/>
                  <a:gd name="connsiteY1197" fmla="*/ 115148 h 463148"/>
                  <a:gd name="connsiteX1198" fmla="*/ 33504 w 192206"/>
                  <a:gd name="connsiteY1198" fmla="*/ 116911 h 463148"/>
                  <a:gd name="connsiteX1199" fmla="*/ 31740 w 192206"/>
                  <a:gd name="connsiteY1199" fmla="*/ 116911 h 463148"/>
                  <a:gd name="connsiteX1200" fmla="*/ 28566 w 192206"/>
                  <a:gd name="connsiteY1200" fmla="*/ 115501 h 463148"/>
                  <a:gd name="connsiteX1201" fmla="*/ 24511 w 192206"/>
                  <a:gd name="connsiteY1201" fmla="*/ 115148 h 463148"/>
                  <a:gd name="connsiteX1202" fmla="*/ 22130 w 192206"/>
                  <a:gd name="connsiteY1202" fmla="*/ 114883 h 463148"/>
                  <a:gd name="connsiteX1203" fmla="*/ 21513 w 192206"/>
                  <a:gd name="connsiteY1203" fmla="*/ 114883 h 463148"/>
                  <a:gd name="connsiteX1204" fmla="*/ 19221 w 192206"/>
                  <a:gd name="connsiteY1204" fmla="*/ 113737 h 463148"/>
                  <a:gd name="connsiteX1205" fmla="*/ 17810 w 192206"/>
                  <a:gd name="connsiteY1205" fmla="*/ 112856 h 463148"/>
                  <a:gd name="connsiteX1206" fmla="*/ 16576 w 192206"/>
                  <a:gd name="connsiteY1206" fmla="*/ 111974 h 463148"/>
                  <a:gd name="connsiteX1207" fmla="*/ 16047 w 192206"/>
                  <a:gd name="connsiteY1207" fmla="*/ 110828 h 463148"/>
                  <a:gd name="connsiteX1208" fmla="*/ 14283 w 192206"/>
                  <a:gd name="connsiteY1208" fmla="*/ 109593 h 463148"/>
                  <a:gd name="connsiteX1209" fmla="*/ 12520 w 192206"/>
                  <a:gd name="connsiteY1209" fmla="*/ 109946 h 463148"/>
                  <a:gd name="connsiteX1210" fmla="*/ 13401 w 192206"/>
                  <a:gd name="connsiteY1210" fmla="*/ 112856 h 463148"/>
                  <a:gd name="connsiteX1211" fmla="*/ 15429 w 192206"/>
                  <a:gd name="connsiteY1211" fmla="*/ 115148 h 463148"/>
                  <a:gd name="connsiteX1212" fmla="*/ 15694 w 192206"/>
                  <a:gd name="connsiteY1212" fmla="*/ 117176 h 463148"/>
                  <a:gd name="connsiteX1213" fmla="*/ 16311 w 192206"/>
                  <a:gd name="connsiteY1213" fmla="*/ 119821 h 463148"/>
                  <a:gd name="connsiteX1214" fmla="*/ 16928 w 192206"/>
                  <a:gd name="connsiteY1214" fmla="*/ 122201 h 463148"/>
                  <a:gd name="connsiteX1215" fmla="*/ 16928 w 192206"/>
                  <a:gd name="connsiteY1215" fmla="*/ 125375 h 463148"/>
                  <a:gd name="connsiteX1216" fmla="*/ 17457 w 192206"/>
                  <a:gd name="connsiteY1216" fmla="*/ 128285 h 463148"/>
                  <a:gd name="connsiteX1217" fmla="*/ 17457 w 192206"/>
                  <a:gd name="connsiteY1217" fmla="*/ 132076 h 463148"/>
                  <a:gd name="connsiteX1218" fmla="*/ 18074 w 192206"/>
                  <a:gd name="connsiteY1218" fmla="*/ 133575 h 463148"/>
                  <a:gd name="connsiteX1219" fmla="*/ 18339 w 192206"/>
                  <a:gd name="connsiteY1219" fmla="*/ 135339 h 463148"/>
                  <a:gd name="connsiteX1220" fmla="*/ 18074 w 192206"/>
                  <a:gd name="connsiteY1220" fmla="*/ 136132 h 463148"/>
                  <a:gd name="connsiteX1221" fmla="*/ 17457 w 192206"/>
                  <a:gd name="connsiteY1221" fmla="*/ 138248 h 463148"/>
                  <a:gd name="connsiteX1222" fmla="*/ 14283 w 192206"/>
                  <a:gd name="connsiteY1222" fmla="*/ 135603 h 463148"/>
                  <a:gd name="connsiteX1223" fmla="*/ 13137 w 192206"/>
                  <a:gd name="connsiteY1223" fmla="*/ 135603 h 463148"/>
                  <a:gd name="connsiteX1224" fmla="*/ 12255 w 192206"/>
                  <a:gd name="connsiteY1224" fmla="*/ 136132 h 463148"/>
                  <a:gd name="connsiteX1225" fmla="*/ 12784 w 192206"/>
                  <a:gd name="connsiteY1225" fmla="*/ 138248 h 463148"/>
                  <a:gd name="connsiteX1226" fmla="*/ 14018 w 192206"/>
                  <a:gd name="connsiteY1226" fmla="*/ 139130 h 463148"/>
                  <a:gd name="connsiteX1227" fmla="*/ 14018 w 192206"/>
                  <a:gd name="connsiteY1227" fmla="*/ 140805 h 463148"/>
                  <a:gd name="connsiteX1228" fmla="*/ 15429 w 192206"/>
                  <a:gd name="connsiteY1228" fmla="*/ 148123 h 463148"/>
                  <a:gd name="connsiteX1229" fmla="*/ 13401 w 192206"/>
                  <a:gd name="connsiteY1229" fmla="*/ 151032 h 463148"/>
                  <a:gd name="connsiteX1230" fmla="*/ 13137 w 192206"/>
                  <a:gd name="connsiteY1230" fmla="*/ 153678 h 463148"/>
                  <a:gd name="connsiteX1231" fmla="*/ 15694 w 192206"/>
                  <a:gd name="connsiteY1231" fmla="*/ 151914 h 463148"/>
                  <a:gd name="connsiteX1232" fmla="*/ 16928 w 192206"/>
                  <a:gd name="connsiteY1232" fmla="*/ 156323 h 463148"/>
                  <a:gd name="connsiteX1233" fmla="*/ 17192 w 192206"/>
                  <a:gd name="connsiteY1233" fmla="*/ 158086 h 463148"/>
                  <a:gd name="connsiteX1234" fmla="*/ 15165 w 192206"/>
                  <a:gd name="connsiteY1234" fmla="*/ 158350 h 463148"/>
                  <a:gd name="connsiteX1235" fmla="*/ 15694 w 192206"/>
                  <a:gd name="connsiteY1235" fmla="*/ 160643 h 463148"/>
                  <a:gd name="connsiteX1236" fmla="*/ 12784 w 192206"/>
                  <a:gd name="connsiteY1236" fmla="*/ 162406 h 463148"/>
                  <a:gd name="connsiteX1237" fmla="*/ 9875 w 192206"/>
                  <a:gd name="connsiteY1237" fmla="*/ 160996 h 463148"/>
                  <a:gd name="connsiteX1238" fmla="*/ 7847 w 192206"/>
                  <a:gd name="connsiteY1238" fmla="*/ 159497 h 463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</a:cxnLst>
                <a:rect l="l" t="t" r="r" b="b"/>
                <a:pathLst>
                  <a:path w="192206" h="463148">
                    <a:moveTo>
                      <a:pt x="8200" y="161525"/>
                    </a:moveTo>
                    <a:lnTo>
                      <a:pt x="6700" y="161525"/>
                    </a:lnTo>
                    <a:lnTo>
                      <a:pt x="5555" y="163905"/>
                    </a:lnTo>
                    <a:lnTo>
                      <a:pt x="6436" y="169107"/>
                    </a:lnTo>
                    <a:lnTo>
                      <a:pt x="6965" y="172898"/>
                    </a:lnTo>
                    <a:lnTo>
                      <a:pt x="8200" y="177307"/>
                    </a:lnTo>
                    <a:lnTo>
                      <a:pt x="9875" y="180745"/>
                    </a:lnTo>
                    <a:lnTo>
                      <a:pt x="8200" y="181980"/>
                    </a:lnTo>
                    <a:lnTo>
                      <a:pt x="8200" y="180745"/>
                    </a:lnTo>
                    <a:lnTo>
                      <a:pt x="7318" y="179070"/>
                    </a:lnTo>
                    <a:lnTo>
                      <a:pt x="5555" y="179599"/>
                    </a:lnTo>
                    <a:lnTo>
                      <a:pt x="4055" y="179599"/>
                    </a:lnTo>
                    <a:lnTo>
                      <a:pt x="3174" y="177924"/>
                    </a:lnTo>
                    <a:lnTo>
                      <a:pt x="2909" y="177307"/>
                    </a:lnTo>
                    <a:lnTo>
                      <a:pt x="1410" y="178188"/>
                    </a:lnTo>
                    <a:lnTo>
                      <a:pt x="264" y="178188"/>
                    </a:lnTo>
                    <a:lnTo>
                      <a:pt x="264" y="179599"/>
                    </a:lnTo>
                    <a:lnTo>
                      <a:pt x="0" y="180216"/>
                    </a:lnTo>
                    <a:lnTo>
                      <a:pt x="264" y="180745"/>
                    </a:lnTo>
                    <a:lnTo>
                      <a:pt x="529" y="182861"/>
                    </a:lnTo>
                    <a:lnTo>
                      <a:pt x="529" y="183390"/>
                    </a:lnTo>
                    <a:lnTo>
                      <a:pt x="881" y="184625"/>
                    </a:lnTo>
                    <a:lnTo>
                      <a:pt x="2028" y="186652"/>
                    </a:lnTo>
                    <a:lnTo>
                      <a:pt x="2645" y="190091"/>
                    </a:lnTo>
                    <a:lnTo>
                      <a:pt x="5202" y="193618"/>
                    </a:lnTo>
                    <a:lnTo>
                      <a:pt x="5555" y="196263"/>
                    </a:lnTo>
                    <a:lnTo>
                      <a:pt x="7318" y="196527"/>
                    </a:lnTo>
                    <a:lnTo>
                      <a:pt x="8200" y="197409"/>
                    </a:lnTo>
                    <a:lnTo>
                      <a:pt x="8200" y="198026"/>
                    </a:lnTo>
                    <a:lnTo>
                      <a:pt x="8993" y="200054"/>
                    </a:lnTo>
                    <a:lnTo>
                      <a:pt x="11903" y="202699"/>
                    </a:lnTo>
                    <a:lnTo>
                      <a:pt x="13666" y="206490"/>
                    </a:lnTo>
                    <a:lnTo>
                      <a:pt x="14547" y="206755"/>
                    </a:lnTo>
                    <a:lnTo>
                      <a:pt x="14283" y="206138"/>
                    </a:lnTo>
                    <a:lnTo>
                      <a:pt x="14018" y="204727"/>
                    </a:lnTo>
                    <a:lnTo>
                      <a:pt x="14283" y="203581"/>
                    </a:lnTo>
                    <a:lnTo>
                      <a:pt x="13401" y="201200"/>
                    </a:lnTo>
                    <a:lnTo>
                      <a:pt x="12784" y="198026"/>
                    </a:lnTo>
                    <a:lnTo>
                      <a:pt x="14283" y="201817"/>
                    </a:lnTo>
                    <a:lnTo>
                      <a:pt x="14812" y="202082"/>
                    </a:lnTo>
                    <a:lnTo>
                      <a:pt x="15429" y="203228"/>
                    </a:lnTo>
                    <a:lnTo>
                      <a:pt x="15694" y="201817"/>
                    </a:lnTo>
                    <a:lnTo>
                      <a:pt x="15429" y="201200"/>
                    </a:lnTo>
                    <a:lnTo>
                      <a:pt x="16576" y="201817"/>
                    </a:lnTo>
                    <a:lnTo>
                      <a:pt x="16576" y="202699"/>
                    </a:lnTo>
                    <a:lnTo>
                      <a:pt x="15694" y="202346"/>
                    </a:lnTo>
                    <a:lnTo>
                      <a:pt x="16576" y="203845"/>
                    </a:lnTo>
                    <a:lnTo>
                      <a:pt x="17810" y="204374"/>
                    </a:lnTo>
                    <a:lnTo>
                      <a:pt x="18074" y="203845"/>
                    </a:lnTo>
                    <a:lnTo>
                      <a:pt x="18074" y="204727"/>
                    </a:lnTo>
                    <a:lnTo>
                      <a:pt x="18603" y="204727"/>
                    </a:lnTo>
                    <a:lnTo>
                      <a:pt x="18074" y="206138"/>
                    </a:lnTo>
                    <a:lnTo>
                      <a:pt x="16311" y="206490"/>
                    </a:lnTo>
                    <a:lnTo>
                      <a:pt x="16311" y="207372"/>
                    </a:lnTo>
                    <a:lnTo>
                      <a:pt x="18603" y="211163"/>
                    </a:lnTo>
                    <a:lnTo>
                      <a:pt x="19221" y="211428"/>
                    </a:lnTo>
                    <a:lnTo>
                      <a:pt x="18956" y="209135"/>
                    </a:lnTo>
                    <a:lnTo>
                      <a:pt x="20367" y="206138"/>
                    </a:lnTo>
                    <a:lnTo>
                      <a:pt x="20102" y="202346"/>
                    </a:lnTo>
                    <a:lnTo>
                      <a:pt x="20367" y="198555"/>
                    </a:lnTo>
                    <a:lnTo>
                      <a:pt x="21248" y="200583"/>
                    </a:lnTo>
                    <a:lnTo>
                      <a:pt x="20367" y="202699"/>
                    </a:lnTo>
                    <a:lnTo>
                      <a:pt x="20719" y="203581"/>
                    </a:lnTo>
                    <a:lnTo>
                      <a:pt x="20984" y="203845"/>
                    </a:lnTo>
                    <a:lnTo>
                      <a:pt x="20984" y="202964"/>
                    </a:lnTo>
                    <a:lnTo>
                      <a:pt x="21513" y="202699"/>
                    </a:lnTo>
                    <a:lnTo>
                      <a:pt x="22130" y="202699"/>
                    </a:lnTo>
                    <a:lnTo>
                      <a:pt x="21513" y="203581"/>
                    </a:lnTo>
                    <a:lnTo>
                      <a:pt x="22483" y="203581"/>
                    </a:lnTo>
                    <a:lnTo>
                      <a:pt x="20984" y="204727"/>
                    </a:lnTo>
                    <a:lnTo>
                      <a:pt x="20984" y="206138"/>
                    </a:lnTo>
                    <a:lnTo>
                      <a:pt x="20367" y="207372"/>
                    </a:lnTo>
                    <a:lnTo>
                      <a:pt x="20719" y="209135"/>
                    </a:lnTo>
                    <a:lnTo>
                      <a:pt x="20984" y="210282"/>
                    </a:lnTo>
                    <a:lnTo>
                      <a:pt x="21513" y="208783"/>
                    </a:lnTo>
                    <a:lnTo>
                      <a:pt x="23012" y="207372"/>
                    </a:lnTo>
                    <a:lnTo>
                      <a:pt x="23276" y="209400"/>
                    </a:lnTo>
                    <a:lnTo>
                      <a:pt x="23012" y="209929"/>
                    </a:lnTo>
                    <a:lnTo>
                      <a:pt x="22483" y="209135"/>
                    </a:lnTo>
                    <a:lnTo>
                      <a:pt x="22483" y="209664"/>
                    </a:lnTo>
                    <a:lnTo>
                      <a:pt x="22747" y="210282"/>
                    </a:lnTo>
                    <a:lnTo>
                      <a:pt x="20367" y="211163"/>
                    </a:lnTo>
                    <a:lnTo>
                      <a:pt x="21248" y="212045"/>
                    </a:lnTo>
                    <a:lnTo>
                      <a:pt x="22747" y="213456"/>
                    </a:lnTo>
                    <a:lnTo>
                      <a:pt x="22483" y="214337"/>
                    </a:lnTo>
                    <a:lnTo>
                      <a:pt x="24511" y="217247"/>
                    </a:lnTo>
                    <a:lnTo>
                      <a:pt x="25040" y="217600"/>
                    </a:lnTo>
                    <a:lnTo>
                      <a:pt x="25922" y="218393"/>
                    </a:lnTo>
                    <a:lnTo>
                      <a:pt x="25040" y="217247"/>
                    </a:lnTo>
                    <a:lnTo>
                      <a:pt x="23893" y="214602"/>
                    </a:lnTo>
                    <a:lnTo>
                      <a:pt x="23893" y="214073"/>
                    </a:lnTo>
                    <a:lnTo>
                      <a:pt x="24511" y="213456"/>
                    </a:lnTo>
                    <a:lnTo>
                      <a:pt x="26803" y="217600"/>
                    </a:lnTo>
                    <a:lnTo>
                      <a:pt x="27420" y="218129"/>
                    </a:lnTo>
                    <a:lnTo>
                      <a:pt x="26186" y="215748"/>
                    </a:lnTo>
                    <a:lnTo>
                      <a:pt x="24246" y="211692"/>
                    </a:lnTo>
                    <a:lnTo>
                      <a:pt x="25040" y="212045"/>
                    </a:lnTo>
                    <a:lnTo>
                      <a:pt x="25922" y="211428"/>
                    </a:lnTo>
                    <a:lnTo>
                      <a:pt x="26803" y="212045"/>
                    </a:lnTo>
                    <a:lnTo>
                      <a:pt x="27420" y="212309"/>
                    </a:lnTo>
                    <a:lnTo>
                      <a:pt x="28566" y="211163"/>
                    </a:lnTo>
                    <a:lnTo>
                      <a:pt x="28831" y="211692"/>
                    </a:lnTo>
                    <a:lnTo>
                      <a:pt x="29448" y="213456"/>
                    </a:lnTo>
                    <a:lnTo>
                      <a:pt x="29184" y="211692"/>
                    </a:lnTo>
                    <a:lnTo>
                      <a:pt x="30065" y="214073"/>
                    </a:lnTo>
                    <a:lnTo>
                      <a:pt x="31476" y="214602"/>
                    </a:lnTo>
                    <a:lnTo>
                      <a:pt x="31211" y="213720"/>
                    </a:lnTo>
                    <a:lnTo>
                      <a:pt x="32093" y="214337"/>
                    </a:lnTo>
                    <a:lnTo>
                      <a:pt x="32358" y="213456"/>
                    </a:lnTo>
                    <a:lnTo>
                      <a:pt x="32358" y="214073"/>
                    </a:lnTo>
                    <a:lnTo>
                      <a:pt x="32622" y="214602"/>
                    </a:lnTo>
                    <a:lnTo>
                      <a:pt x="32622" y="215484"/>
                    </a:lnTo>
                    <a:lnTo>
                      <a:pt x="34121" y="215748"/>
                    </a:lnTo>
                    <a:lnTo>
                      <a:pt x="33504" y="216365"/>
                    </a:lnTo>
                    <a:lnTo>
                      <a:pt x="34738" y="216982"/>
                    </a:lnTo>
                    <a:lnTo>
                      <a:pt x="34738" y="215748"/>
                    </a:lnTo>
                    <a:lnTo>
                      <a:pt x="35885" y="215748"/>
                    </a:lnTo>
                    <a:lnTo>
                      <a:pt x="36414" y="215484"/>
                    </a:lnTo>
                    <a:lnTo>
                      <a:pt x="38177" y="215748"/>
                    </a:lnTo>
                    <a:lnTo>
                      <a:pt x="36766" y="216101"/>
                    </a:lnTo>
                    <a:lnTo>
                      <a:pt x="38530" y="216365"/>
                    </a:lnTo>
                    <a:lnTo>
                      <a:pt x="36149" y="217247"/>
                    </a:lnTo>
                    <a:lnTo>
                      <a:pt x="35620" y="217600"/>
                    </a:lnTo>
                    <a:lnTo>
                      <a:pt x="35267" y="219010"/>
                    </a:lnTo>
                    <a:lnTo>
                      <a:pt x="35267" y="220421"/>
                    </a:lnTo>
                    <a:lnTo>
                      <a:pt x="35620" y="219010"/>
                    </a:lnTo>
                    <a:lnTo>
                      <a:pt x="35885" y="221038"/>
                    </a:lnTo>
                    <a:lnTo>
                      <a:pt x="36766" y="221038"/>
                    </a:lnTo>
                    <a:lnTo>
                      <a:pt x="37030" y="219010"/>
                    </a:lnTo>
                    <a:lnTo>
                      <a:pt x="38794" y="219010"/>
                    </a:lnTo>
                    <a:lnTo>
                      <a:pt x="37295" y="219892"/>
                    </a:lnTo>
                    <a:lnTo>
                      <a:pt x="37295" y="221038"/>
                    </a:lnTo>
                    <a:lnTo>
                      <a:pt x="37648" y="222537"/>
                    </a:lnTo>
                    <a:lnTo>
                      <a:pt x="39059" y="221655"/>
                    </a:lnTo>
                    <a:lnTo>
                      <a:pt x="39676" y="221303"/>
                    </a:lnTo>
                    <a:lnTo>
                      <a:pt x="39676" y="220156"/>
                    </a:lnTo>
                    <a:lnTo>
                      <a:pt x="40557" y="221038"/>
                    </a:lnTo>
                    <a:lnTo>
                      <a:pt x="39940" y="221655"/>
                    </a:lnTo>
                    <a:lnTo>
                      <a:pt x="39940" y="221920"/>
                    </a:lnTo>
                    <a:lnTo>
                      <a:pt x="39059" y="221920"/>
                    </a:lnTo>
                    <a:lnTo>
                      <a:pt x="39323" y="222802"/>
                    </a:lnTo>
                    <a:lnTo>
                      <a:pt x="40205" y="223419"/>
                    </a:lnTo>
                    <a:lnTo>
                      <a:pt x="40205" y="223948"/>
                    </a:lnTo>
                    <a:lnTo>
                      <a:pt x="42585" y="225711"/>
                    </a:lnTo>
                    <a:lnTo>
                      <a:pt x="43467" y="225711"/>
                    </a:lnTo>
                    <a:lnTo>
                      <a:pt x="42585" y="226328"/>
                    </a:lnTo>
                    <a:lnTo>
                      <a:pt x="42850" y="226328"/>
                    </a:lnTo>
                    <a:lnTo>
                      <a:pt x="44348" y="226328"/>
                    </a:lnTo>
                    <a:lnTo>
                      <a:pt x="44877" y="226328"/>
                    </a:lnTo>
                    <a:lnTo>
                      <a:pt x="45230" y="227474"/>
                    </a:lnTo>
                    <a:lnTo>
                      <a:pt x="45230" y="228356"/>
                    </a:lnTo>
                    <a:lnTo>
                      <a:pt x="43467" y="231795"/>
                    </a:lnTo>
                    <a:lnTo>
                      <a:pt x="41968" y="232676"/>
                    </a:lnTo>
                    <a:lnTo>
                      <a:pt x="40557" y="231795"/>
                    </a:lnTo>
                    <a:lnTo>
                      <a:pt x="38794" y="231795"/>
                    </a:lnTo>
                    <a:lnTo>
                      <a:pt x="38177" y="231266"/>
                    </a:lnTo>
                    <a:lnTo>
                      <a:pt x="37030" y="230649"/>
                    </a:lnTo>
                    <a:lnTo>
                      <a:pt x="37295" y="230120"/>
                    </a:lnTo>
                    <a:lnTo>
                      <a:pt x="36414" y="227474"/>
                    </a:lnTo>
                    <a:lnTo>
                      <a:pt x="35885" y="227474"/>
                    </a:lnTo>
                    <a:lnTo>
                      <a:pt x="35003" y="227210"/>
                    </a:lnTo>
                    <a:lnTo>
                      <a:pt x="34121" y="227474"/>
                    </a:lnTo>
                    <a:lnTo>
                      <a:pt x="34121" y="228356"/>
                    </a:lnTo>
                    <a:lnTo>
                      <a:pt x="34385" y="230120"/>
                    </a:lnTo>
                    <a:lnTo>
                      <a:pt x="34738" y="230649"/>
                    </a:lnTo>
                    <a:lnTo>
                      <a:pt x="36766" y="233029"/>
                    </a:lnTo>
                    <a:lnTo>
                      <a:pt x="37648" y="234440"/>
                    </a:lnTo>
                    <a:lnTo>
                      <a:pt x="38794" y="234792"/>
                    </a:lnTo>
                    <a:lnTo>
                      <a:pt x="38794" y="236820"/>
                    </a:lnTo>
                    <a:lnTo>
                      <a:pt x="39059" y="238231"/>
                    </a:lnTo>
                    <a:lnTo>
                      <a:pt x="39940" y="237702"/>
                    </a:lnTo>
                    <a:lnTo>
                      <a:pt x="41703" y="239113"/>
                    </a:lnTo>
                    <a:lnTo>
                      <a:pt x="43731" y="239994"/>
                    </a:lnTo>
                    <a:lnTo>
                      <a:pt x="45759" y="241758"/>
                    </a:lnTo>
                    <a:lnTo>
                      <a:pt x="45759" y="241141"/>
                    </a:lnTo>
                    <a:lnTo>
                      <a:pt x="46993" y="241758"/>
                    </a:lnTo>
                    <a:lnTo>
                      <a:pt x="46993" y="239113"/>
                    </a:lnTo>
                    <a:lnTo>
                      <a:pt x="46024" y="238231"/>
                    </a:lnTo>
                    <a:lnTo>
                      <a:pt x="45230" y="236820"/>
                    </a:lnTo>
                    <a:lnTo>
                      <a:pt x="45759" y="235586"/>
                    </a:lnTo>
                    <a:lnTo>
                      <a:pt x="43996" y="233029"/>
                    </a:lnTo>
                    <a:lnTo>
                      <a:pt x="44613" y="233294"/>
                    </a:lnTo>
                    <a:lnTo>
                      <a:pt x="45230" y="234175"/>
                    </a:lnTo>
                    <a:lnTo>
                      <a:pt x="45495" y="234792"/>
                    </a:lnTo>
                    <a:lnTo>
                      <a:pt x="46376" y="234792"/>
                    </a:lnTo>
                    <a:lnTo>
                      <a:pt x="46641" y="233029"/>
                    </a:lnTo>
                    <a:lnTo>
                      <a:pt x="46376" y="230649"/>
                    </a:lnTo>
                    <a:lnTo>
                      <a:pt x="47258" y="227739"/>
                    </a:lnTo>
                    <a:lnTo>
                      <a:pt x="47787" y="228356"/>
                    </a:lnTo>
                    <a:lnTo>
                      <a:pt x="46641" y="231266"/>
                    </a:lnTo>
                    <a:lnTo>
                      <a:pt x="46993" y="231795"/>
                    </a:lnTo>
                    <a:lnTo>
                      <a:pt x="47522" y="232676"/>
                    </a:lnTo>
                    <a:lnTo>
                      <a:pt x="46993" y="234792"/>
                    </a:lnTo>
                    <a:lnTo>
                      <a:pt x="46993" y="235586"/>
                    </a:lnTo>
                    <a:lnTo>
                      <a:pt x="47258" y="236203"/>
                    </a:lnTo>
                    <a:lnTo>
                      <a:pt x="48140" y="236203"/>
                    </a:lnTo>
                    <a:lnTo>
                      <a:pt x="47522" y="236820"/>
                    </a:lnTo>
                    <a:lnTo>
                      <a:pt x="48404" y="237349"/>
                    </a:lnTo>
                    <a:lnTo>
                      <a:pt x="47522" y="238584"/>
                    </a:lnTo>
                    <a:lnTo>
                      <a:pt x="48140" y="239994"/>
                    </a:lnTo>
                    <a:lnTo>
                      <a:pt x="47787" y="241141"/>
                    </a:lnTo>
                    <a:lnTo>
                      <a:pt x="47787" y="241758"/>
                    </a:lnTo>
                    <a:lnTo>
                      <a:pt x="49903" y="242904"/>
                    </a:lnTo>
                    <a:lnTo>
                      <a:pt x="50432" y="241758"/>
                    </a:lnTo>
                    <a:lnTo>
                      <a:pt x="51049" y="241758"/>
                    </a:lnTo>
                    <a:lnTo>
                      <a:pt x="51314" y="242904"/>
                    </a:lnTo>
                    <a:lnTo>
                      <a:pt x="51314" y="243786"/>
                    </a:lnTo>
                    <a:lnTo>
                      <a:pt x="51931" y="244403"/>
                    </a:lnTo>
                    <a:lnTo>
                      <a:pt x="53077" y="244050"/>
                    </a:lnTo>
                    <a:lnTo>
                      <a:pt x="53077" y="245285"/>
                    </a:lnTo>
                    <a:lnTo>
                      <a:pt x="51931" y="244667"/>
                    </a:lnTo>
                    <a:lnTo>
                      <a:pt x="51314" y="244667"/>
                    </a:lnTo>
                    <a:lnTo>
                      <a:pt x="52813" y="246695"/>
                    </a:lnTo>
                    <a:lnTo>
                      <a:pt x="54840" y="250751"/>
                    </a:lnTo>
                    <a:lnTo>
                      <a:pt x="53959" y="250222"/>
                    </a:lnTo>
                    <a:lnTo>
                      <a:pt x="54223" y="252250"/>
                    </a:lnTo>
                    <a:lnTo>
                      <a:pt x="56339" y="254013"/>
                    </a:lnTo>
                    <a:lnTo>
                      <a:pt x="57750" y="254542"/>
                    </a:lnTo>
                    <a:lnTo>
                      <a:pt x="57750" y="255777"/>
                    </a:lnTo>
                    <a:lnTo>
                      <a:pt x="57133" y="256306"/>
                    </a:lnTo>
                    <a:lnTo>
                      <a:pt x="55722" y="255777"/>
                    </a:lnTo>
                    <a:lnTo>
                      <a:pt x="56339" y="256923"/>
                    </a:lnTo>
                    <a:lnTo>
                      <a:pt x="58014" y="257187"/>
                    </a:lnTo>
                    <a:lnTo>
                      <a:pt x="58896" y="257540"/>
                    </a:lnTo>
                    <a:lnTo>
                      <a:pt x="58896" y="258950"/>
                    </a:lnTo>
                    <a:lnTo>
                      <a:pt x="59778" y="262213"/>
                    </a:lnTo>
                    <a:lnTo>
                      <a:pt x="59778" y="262742"/>
                    </a:lnTo>
                    <a:lnTo>
                      <a:pt x="59514" y="263006"/>
                    </a:lnTo>
                    <a:lnTo>
                      <a:pt x="60043" y="265651"/>
                    </a:lnTo>
                    <a:lnTo>
                      <a:pt x="60307" y="267415"/>
                    </a:lnTo>
                    <a:lnTo>
                      <a:pt x="62688" y="269443"/>
                    </a:lnTo>
                    <a:lnTo>
                      <a:pt x="63834" y="272705"/>
                    </a:lnTo>
                    <a:lnTo>
                      <a:pt x="64451" y="274997"/>
                    </a:lnTo>
                    <a:lnTo>
                      <a:pt x="64098" y="274997"/>
                    </a:lnTo>
                    <a:lnTo>
                      <a:pt x="64098" y="273851"/>
                    </a:lnTo>
                    <a:lnTo>
                      <a:pt x="63569" y="274997"/>
                    </a:lnTo>
                    <a:lnTo>
                      <a:pt x="64098" y="275614"/>
                    </a:lnTo>
                    <a:lnTo>
                      <a:pt x="64715" y="278171"/>
                    </a:lnTo>
                    <a:lnTo>
                      <a:pt x="65333" y="279670"/>
                    </a:lnTo>
                    <a:lnTo>
                      <a:pt x="64980" y="280287"/>
                    </a:lnTo>
                    <a:lnTo>
                      <a:pt x="64098" y="280287"/>
                    </a:lnTo>
                    <a:lnTo>
                      <a:pt x="64715" y="281169"/>
                    </a:lnTo>
                    <a:lnTo>
                      <a:pt x="63569" y="281169"/>
                    </a:lnTo>
                    <a:lnTo>
                      <a:pt x="63305" y="282844"/>
                    </a:lnTo>
                    <a:lnTo>
                      <a:pt x="64451" y="282844"/>
                    </a:lnTo>
                    <a:lnTo>
                      <a:pt x="64715" y="284079"/>
                    </a:lnTo>
                    <a:lnTo>
                      <a:pt x="62688" y="283726"/>
                    </a:lnTo>
                    <a:lnTo>
                      <a:pt x="62159" y="283726"/>
                    </a:lnTo>
                    <a:lnTo>
                      <a:pt x="62423" y="284079"/>
                    </a:lnTo>
                    <a:lnTo>
                      <a:pt x="62952" y="284608"/>
                    </a:lnTo>
                    <a:lnTo>
                      <a:pt x="62159" y="284608"/>
                    </a:lnTo>
                    <a:lnTo>
                      <a:pt x="62423" y="285754"/>
                    </a:lnTo>
                    <a:lnTo>
                      <a:pt x="62952" y="289280"/>
                    </a:lnTo>
                    <a:lnTo>
                      <a:pt x="63305" y="289280"/>
                    </a:lnTo>
                    <a:lnTo>
                      <a:pt x="62952" y="290779"/>
                    </a:lnTo>
                    <a:lnTo>
                      <a:pt x="61541" y="290162"/>
                    </a:lnTo>
                    <a:lnTo>
                      <a:pt x="62688" y="293953"/>
                    </a:lnTo>
                    <a:lnTo>
                      <a:pt x="61541" y="295364"/>
                    </a:lnTo>
                    <a:lnTo>
                      <a:pt x="61806" y="297127"/>
                    </a:lnTo>
                    <a:lnTo>
                      <a:pt x="61277" y="298362"/>
                    </a:lnTo>
                    <a:lnTo>
                      <a:pt x="62159" y="299155"/>
                    </a:lnTo>
                    <a:lnTo>
                      <a:pt x="62423" y="299773"/>
                    </a:lnTo>
                    <a:lnTo>
                      <a:pt x="61541" y="300125"/>
                    </a:lnTo>
                    <a:lnTo>
                      <a:pt x="60924" y="299508"/>
                    </a:lnTo>
                    <a:lnTo>
                      <a:pt x="61277" y="300919"/>
                    </a:lnTo>
                    <a:lnTo>
                      <a:pt x="60924" y="303916"/>
                    </a:lnTo>
                    <a:lnTo>
                      <a:pt x="59778" y="304445"/>
                    </a:lnTo>
                    <a:lnTo>
                      <a:pt x="59161" y="306209"/>
                    </a:lnTo>
                    <a:lnTo>
                      <a:pt x="61277" y="306473"/>
                    </a:lnTo>
                    <a:lnTo>
                      <a:pt x="60043" y="307355"/>
                    </a:lnTo>
                    <a:lnTo>
                      <a:pt x="59514" y="310265"/>
                    </a:lnTo>
                    <a:lnTo>
                      <a:pt x="60660" y="313174"/>
                    </a:lnTo>
                    <a:lnTo>
                      <a:pt x="62159" y="313791"/>
                    </a:lnTo>
                    <a:lnTo>
                      <a:pt x="62688" y="313527"/>
                    </a:lnTo>
                    <a:lnTo>
                      <a:pt x="63305" y="313791"/>
                    </a:lnTo>
                    <a:lnTo>
                      <a:pt x="63569" y="312381"/>
                    </a:lnTo>
                    <a:lnTo>
                      <a:pt x="65950" y="311146"/>
                    </a:lnTo>
                    <a:lnTo>
                      <a:pt x="65597" y="310000"/>
                    </a:lnTo>
                    <a:lnTo>
                      <a:pt x="67096" y="308237"/>
                    </a:lnTo>
                    <a:lnTo>
                      <a:pt x="66744" y="305592"/>
                    </a:lnTo>
                    <a:lnTo>
                      <a:pt x="67360" y="305592"/>
                    </a:lnTo>
                    <a:lnTo>
                      <a:pt x="67977" y="306209"/>
                    </a:lnTo>
                    <a:lnTo>
                      <a:pt x="67977" y="305592"/>
                    </a:lnTo>
                    <a:lnTo>
                      <a:pt x="67977" y="304710"/>
                    </a:lnTo>
                    <a:lnTo>
                      <a:pt x="69124" y="304710"/>
                    </a:lnTo>
                    <a:lnTo>
                      <a:pt x="69388" y="304710"/>
                    </a:lnTo>
                    <a:lnTo>
                      <a:pt x="68242" y="305063"/>
                    </a:lnTo>
                    <a:lnTo>
                      <a:pt x="68859" y="305592"/>
                    </a:lnTo>
                    <a:lnTo>
                      <a:pt x="68242" y="306826"/>
                    </a:lnTo>
                    <a:lnTo>
                      <a:pt x="68242" y="307708"/>
                    </a:lnTo>
                    <a:lnTo>
                      <a:pt x="69124" y="306473"/>
                    </a:lnTo>
                    <a:lnTo>
                      <a:pt x="69653" y="304710"/>
                    </a:lnTo>
                    <a:lnTo>
                      <a:pt x="69124" y="299508"/>
                    </a:lnTo>
                    <a:lnTo>
                      <a:pt x="69653" y="301536"/>
                    </a:lnTo>
                    <a:lnTo>
                      <a:pt x="70887" y="300125"/>
                    </a:lnTo>
                    <a:lnTo>
                      <a:pt x="70535" y="300919"/>
                    </a:lnTo>
                    <a:lnTo>
                      <a:pt x="71152" y="303299"/>
                    </a:lnTo>
                    <a:lnTo>
                      <a:pt x="71416" y="304710"/>
                    </a:lnTo>
                    <a:lnTo>
                      <a:pt x="71152" y="304710"/>
                    </a:lnTo>
                    <a:lnTo>
                      <a:pt x="70006" y="306826"/>
                    </a:lnTo>
                    <a:lnTo>
                      <a:pt x="70006" y="307708"/>
                    </a:lnTo>
                    <a:lnTo>
                      <a:pt x="70270" y="310000"/>
                    </a:lnTo>
                    <a:lnTo>
                      <a:pt x="70006" y="313174"/>
                    </a:lnTo>
                    <a:lnTo>
                      <a:pt x="69124" y="313791"/>
                    </a:lnTo>
                    <a:lnTo>
                      <a:pt x="69124" y="314408"/>
                    </a:lnTo>
                    <a:lnTo>
                      <a:pt x="68506" y="314937"/>
                    </a:lnTo>
                    <a:lnTo>
                      <a:pt x="69388" y="314673"/>
                    </a:lnTo>
                    <a:lnTo>
                      <a:pt x="72033" y="313174"/>
                    </a:lnTo>
                    <a:lnTo>
                      <a:pt x="72033" y="311763"/>
                    </a:lnTo>
                    <a:lnTo>
                      <a:pt x="72915" y="310000"/>
                    </a:lnTo>
                    <a:lnTo>
                      <a:pt x="72651" y="309118"/>
                    </a:lnTo>
                    <a:lnTo>
                      <a:pt x="73180" y="308589"/>
                    </a:lnTo>
                    <a:lnTo>
                      <a:pt x="73532" y="309383"/>
                    </a:lnTo>
                    <a:lnTo>
                      <a:pt x="73532" y="310000"/>
                    </a:lnTo>
                    <a:lnTo>
                      <a:pt x="72298" y="312028"/>
                    </a:lnTo>
                    <a:lnTo>
                      <a:pt x="72651" y="313791"/>
                    </a:lnTo>
                    <a:lnTo>
                      <a:pt x="70887" y="314673"/>
                    </a:lnTo>
                    <a:lnTo>
                      <a:pt x="69124" y="315202"/>
                    </a:lnTo>
                    <a:lnTo>
                      <a:pt x="69653" y="316701"/>
                    </a:lnTo>
                    <a:lnTo>
                      <a:pt x="70270" y="315555"/>
                    </a:lnTo>
                    <a:lnTo>
                      <a:pt x="70535" y="316701"/>
                    </a:lnTo>
                    <a:lnTo>
                      <a:pt x="71416" y="316172"/>
                    </a:lnTo>
                    <a:lnTo>
                      <a:pt x="72915" y="316701"/>
                    </a:lnTo>
                    <a:lnTo>
                      <a:pt x="74061" y="314673"/>
                    </a:lnTo>
                    <a:lnTo>
                      <a:pt x="75207" y="313791"/>
                    </a:lnTo>
                    <a:lnTo>
                      <a:pt x="75207" y="313174"/>
                    </a:lnTo>
                    <a:lnTo>
                      <a:pt x="74414" y="309383"/>
                    </a:lnTo>
                    <a:lnTo>
                      <a:pt x="74678" y="308237"/>
                    </a:lnTo>
                    <a:lnTo>
                      <a:pt x="75560" y="307708"/>
                    </a:lnTo>
                    <a:lnTo>
                      <a:pt x="76442" y="307355"/>
                    </a:lnTo>
                    <a:lnTo>
                      <a:pt x="76971" y="307090"/>
                    </a:lnTo>
                    <a:lnTo>
                      <a:pt x="76971" y="307708"/>
                    </a:lnTo>
                    <a:lnTo>
                      <a:pt x="75825" y="308237"/>
                    </a:lnTo>
                    <a:lnTo>
                      <a:pt x="74678" y="309383"/>
                    </a:lnTo>
                    <a:lnTo>
                      <a:pt x="75825" y="312645"/>
                    </a:lnTo>
                    <a:lnTo>
                      <a:pt x="76971" y="313174"/>
                    </a:lnTo>
                    <a:lnTo>
                      <a:pt x="76442" y="313791"/>
                    </a:lnTo>
                    <a:lnTo>
                      <a:pt x="75207" y="313791"/>
                    </a:lnTo>
                    <a:lnTo>
                      <a:pt x="75560" y="314673"/>
                    </a:lnTo>
                    <a:lnTo>
                      <a:pt x="75560" y="316701"/>
                    </a:lnTo>
                    <a:lnTo>
                      <a:pt x="75825" y="318200"/>
                    </a:lnTo>
                    <a:lnTo>
                      <a:pt x="75560" y="316701"/>
                    </a:lnTo>
                    <a:lnTo>
                      <a:pt x="76089" y="316701"/>
                    </a:lnTo>
                    <a:lnTo>
                      <a:pt x="76971" y="318200"/>
                    </a:lnTo>
                    <a:lnTo>
                      <a:pt x="76089" y="318200"/>
                    </a:lnTo>
                    <a:lnTo>
                      <a:pt x="75825" y="318200"/>
                    </a:lnTo>
                    <a:lnTo>
                      <a:pt x="75825" y="318464"/>
                    </a:lnTo>
                    <a:lnTo>
                      <a:pt x="77852" y="319346"/>
                    </a:lnTo>
                    <a:lnTo>
                      <a:pt x="78117" y="318464"/>
                    </a:lnTo>
                    <a:lnTo>
                      <a:pt x="78734" y="318729"/>
                    </a:lnTo>
                    <a:lnTo>
                      <a:pt x="79352" y="318200"/>
                    </a:lnTo>
                    <a:lnTo>
                      <a:pt x="79616" y="314673"/>
                    </a:lnTo>
                    <a:lnTo>
                      <a:pt x="79352" y="312381"/>
                    </a:lnTo>
                    <a:lnTo>
                      <a:pt x="80498" y="308589"/>
                    </a:lnTo>
                    <a:lnTo>
                      <a:pt x="81379" y="309383"/>
                    </a:lnTo>
                    <a:lnTo>
                      <a:pt x="83407" y="310000"/>
                    </a:lnTo>
                    <a:lnTo>
                      <a:pt x="81643" y="310617"/>
                    </a:lnTo>
                    <a:lnTo>
                      <a:pt x="80762" y="310617"/>
                    </a:lnTo>
                    <a:lnTo>
                      <a:pt x="80233" y="311763"/>
                    </a:lnTo>
                    <a:lnTo>
                      <a:pt x="80762" y="313174"/>
                    </a:lnTo>
                    <a:lnTo>
                      <a:pt x="80762" y="313791"/>
                    </a:lnTo>
                    <a:lnTo>
                      <a:pt x="81027" y="313174"/>
                    </a:lnTo>
                    <a:lnTo>
                      <a:pt x="81027" y="315555"/>
                    </a:lnTo>
                    <a:lnTo>
                      <a:pt x="81379" y="318200"/>
                    </a:lnTo>
                    <a:lnTo>
                      <a:pt x="82261" y="319081"/>
                    </a:lnTo>
                    <a:lnTo>
                      <a:pt x="83143" y="318464"/>
                    </a:lnTo>
                    <a:lnTo>
                      <a:pt x="82790" y="316701"/>
                    </a:lnTo>
                    <a:lnTo>
                      <a:pt x="84024" y="314937"/>
                    </a:lnTo>
                    <a:lnTo>
                      <a:pt x="84024" y="313791"/>
                    </a:lnTo>
                    <a:lnTo>
                      <a:pt x="84553" y="313527"/>
                    </a:lnTo>
                    <a:lnTo>
                      <a:pt x="84289" y="316701"/>
                    </a:lnTo>
                    <a:lnTo>
                      <a:pt x="84553" y="316701"/>
                    </a:lnTo>
                    <a:lnTo>
                      <a:pt x="85170" y="313791"/>
                    </a:lnTo>
                    <a:lnTo>
                      <a:pt x="85170" y="312381"/>
                    </a:lnTo>
                    <a:lnTo>
                      <a:pt x="84553" y="310000"/>
                    </a:lnTo>
                    <a:lnTo>
                      <a:pt x="85170" y="309736"/>
                    </a:lnTo>
                    <a:lnTo>
                      <a:pt x="84553" y="310000"/>
                    </a:lnTo>
                    <a:lnTo>
                      <a:pt x="85435" y="312381"/>
                    </a:lnTo>
                    <a:lnTo>
                      <a:pt x="85699" y="313791"/>
                    </a:lnTo>
                    <a:lnTo>
                      <a:pt x="85699" y="314937"/>
                    </a:lnTo>
                    <a:lnTo>
                      <a:pt x="85170" y="315555"/>
                    </a:lnTo>
                    <a:lnTo>
                      <a:pt x="85435" y="316701"/>
                    </a:lnTo>
                    <a:lnTo>
                      <a:pt x="84906" y="318200"/>
                    </a:lnTo>
                    <a:lnTo>
                      <a:pt x="85170" y="319963"/>
                    </a:lnTo>
                    <a:lnTo>
                      <a:pt x="86317" y="319610"/>
                    </a:lnTo>
                    <a:lnTo>
                      <a:pt x="88080" y="319963"/>
                    </a:lnTo>
                    <a:lnTo>
                      <a:pt x="89226" y="318200"/>
                    </a:lnTo>
                    <a:lnTo>
                      <a:pt x="92753" y="316701"/>
                    </a:lnTo>
                    <a:lnTo>
                      <a:pt x="93018" y="314673"/>
                    </a:lnTo>
                    <a:lnTo>
                      <a:pt x="93635" y="313791"/>
                    </a:lnTo>
                    <a:lnTo>
                      <a:pt x="93635" y="312381"/>
                    </a:lnTo>
                    <a:lnTo>
                      <a:pt x="93899" y="310000"/>
                    </a:lnTo>
                    <a:lnTo>
                      <a:pt x="93018" y="307708"/>
                    </a:lnTo>
                    <a:lnTo>
                      <a:pt x="93899" y="308589"/>
                    </a:lnTo>
                    <a:lnTo>
                      <a:pt x="94516" y="309383"/>
                    </a:lnTo>
                    <a:lnTo>
                      <a:pt x="96809" y="307708"/>
                    </a:lnTo>
                    <a:lnTo>
                      <a:pt x="98307" y="307708"/>
                    </a:lnTo>
                    <a:lnTo>
                      <a:pt x="98572" y="306826"/>
                    </a:lnTo>
                    <a:lnTo>
                      <a:pt x="98307" y="307708"/>
                    </a:lnTo>
                    <a:lnTo>
                      <a:pt x="98572" y="307708"/>
                    </a:lnTo>
                    <a:lnTo>
                      <a:pt x="100865" y="305063"/>
                    </a:lnTo>
                    <a:lnTo>
                      <a:pt x="100336" y="304710"/>
                    </a:lnTo>
                    <a:lnTo>
                      <a:pt x="98572" y="303299"/>
                    </a:lnTo>
                    <a:lnTo>
                      <a:pt x="100865" y="304710"/>
                    </a:lnTo>
                    <a:lnTo>
                      <a:pt x="101217" y="305063"/>
                    </a:lnTo>
                    <a:lnTo>
                      <a:pt x="106155" y="302682"/>
                    </a:lnTo>
                    <a:lnTo>
                      <a:pt x="106772" y="302153"/>
                    </a:lnTo>
                    <a:lnTo>
                      <a:pt x="104656" y="301271"/>
                    </a:lnTo>
                    <a:lnTo>
                      <a:pt x="103510" y="299155"/>
                    </a:lnTo>
                    <a:lnTo>
                      <a:pt x="103245" y="297127"/>
                    </a:lnTo>
                    <a:lnTo>
                      <a:pt x="102628" y="296334"/>
                    </a:lnTo>
                    <a:lnTo>
                      <a:pt x="102363" y="295364"/>
                    </a:lnTo>
                    <a:lnTo>
                      <a:pt x="101481" y="293953"/>
                    </a:lnTo>
                    <a:lnTo>
                      <a:pt x="102099" y="293953"/>
                    </a:lnTo>
                    <a:lnTo>
                      <a:pt x="102981" y="292807"/>
                    </a:lnTo>
                    <a:lnTo>
                      <a:pt x="103245" y="294218"/>
                    </a:lnTo>
                    <a:lnTo>
                      <a:pt x="102628" y="293953"/>
                    </a:lnTo>
                    <a:lnTo>
                      <a:pt x="102981" y="294835"/>
                    </a:lnTo>
                    <a:lnTo>
                      <a:pt x="102981" y="295717"/>
                    </a:lnTo>
                    <a:lnTo>
                      <a:pt x="103510" y="297127"/>
                    </a:lnTo>
                    <a:lnTo>
                      <a:pt x="103510" y="298362"/>
                    </a:lnTo>
                    <a:lnTo>
                      <a:pt x="104391" y="299508"/>
                    </a:lnTo>
                    <a:lnTo>
                      <a:pt x="107036" y="300919"/>
                    </a:lnTo>
                    <a:lnTo>
                      <a:pt x="109064" y="300919"/>
                    </a:lnTo>
                    <a:lnTo>
                      <a:pt x="110210" y="297745"/>
                    </a:lnTo>
                    <a:lnTo>
                      <a:pt x="111973" y="299508"/>
                    </a:lnTo>
                    <a:lnTo>
                      <a:pt x="115148" y="298009"/>
                    </a:lnTo>
                    <a:lnTo>
                      <a:pt x="114619" y="295364"/>
                    </a:lnTo>
                    <a:lnTo>
                      <a:pt x="115148" y="295717"/>
                    </a:lnTo>
                    <a:lnTo>
                      <a:pt x="114619" y="294835"/>
                    </a:lnTo>
                    <a:lnTo>
                      <a:pt x="115500" y="293953"/>
                    </a:lnTo>
                    <a:lnTo>
                      <a:pt x="116118" y="292190"/>
                    </a:lnTo>
                    <a:lnTo>
                      <a:pt x="116118" y="291661"/>
                    </a:lnTo>
                    <a:lnTo>
                      <a:pt x="114354" y="290162"/>
                    </a:lnTo>
                    <a:lnTo>
                      <a:pt x="115500" y="290162"/>
                    </a:lnTo>
                    <a:lnTo>
                      <a:pt x="115765" y="289633"/>
                    </a:lnTo>
                    <a:lnTo>
                      <a:pt x="116382" y="290162"/>
                    </a:lnTo>
                    <a:lnTo>
                      <a:pt x="116999" y="287253"/>
                    </a:lnTo>
                    <a:lnTo>
                      <a:pt x="116647" y="285754"/>
                    </a:lnTo>
                    <a:lnTo>
                      <a:pt x="114883" y="282844"/>
                    </a:lnTo>
                    <a:lnTo>
                      <a:pt x="116118" y="280552"/>
                    </a:lnTo>
                    <a:lnTo>
                      <a:pt x="115765" y="279935"/>
                    </a:lnTo>
                    <a:lnTo>
                      <a:pt x="114354" y="279406"/>
                    </a:lnTo>
                    <a:lnTo>
                      <a:pt x="113473" y="278524"/>
                    </a:lnTo>
                    <a:lnTo>
                      <a:pt x="114090" y="277907"/>
                    </a:lnTo>
                    <a:lnTo>
                      <a:pt x="114354" y="278524"/>
                    </a:lnTo>
                    <a:lnTo>
                      <a:pt x="114883" y="277378"/>
                    </a:lnTo>
                    <a:lnTo>
                      <a:pt x="115148" y="278524"/>
                    </a:lnTo>
                    <a:lnTo>
                      <a:pt x="117528" y="280287"/>
                    </a:lnTo>
                    <a:lnTo>
                      <a:pt x="118410" y="281698"/>
                    </a:lnTo>
                    <a:lnTo>
                      <a:pt x="118939" y="281698"/>
                    </a:lnTo>
                    <a:lnTo>
                      <a:pt x="119909" y="283726"/>
                    </a:lnTo>
                    <a:lnTo>
                      <a:pt x="120438" y="283726"/>
                    </a:lnTo>
                    <a:lnTo>
                      <a:pt x="120438" y="284079"/>
                    </a:lnTo>
                    <a:lnTo>
                      <a:pt x="120703" y="285754"/>
                    </a:lnTo>
                    <a:lnTo>
                      <a:pt x="121319" y="284960"/>
                    </a:lnTo>
                    <a:lnTo>
                      <a:pt x="121936" y="284343"/>
                    </a:lnTo>
                    <a:lnTo>
                      <a:pt x="123083" y="285489"/>
                    </a:lnTo>
                    <a:lnTo>
                      <a:pt x="123083" y="285754"/>
                    </a:lnTo>
                    <a:lnTo>
                      <a:pt x="121936" y="284960"/>
                    </a:lnTo>
                    <a:lnTo>
                      <a:pt x="122201" y="285489"/>
                    </a:lnTo>
                    <a:lnTo>
                      <a:pt x="121584" y="285754"/>
                    </a:lnTo>
                    <a:lnTo>
                      <a:pt x="122818" y="287870"/>
                    </a:lnTo>
                    <a:lnTo>
                      <a:pt x="122818" y="290162"/>
                    </a:lnTo>
                    <a:lnTo>
                      <a:pt x="123700" y="290162"/>
                    </a:lnTo>
                    <a:lnTo>
                      <a:pt x="124229" y="292807"/>
                    </a:lnTo>
                    <a:lnTo>
                      <a:pt x="123965" y="291661"/>
                    </a:lnTo>
                    <a:lnTo>
                      <a:pt x="124229" y="292543"/>
                    </a:lnTo>
                    <a:lnTo>
                      <a:pt x="124229" y="292807"/>
                    </a:lnTo>
                    <a:lnTo>
                      <a:pt x="124229" y="293953"/>
                    </a:lnTo>
                    <a:lnTo>
                      <a:pt x="125375" y="294835"/>
                    </a:lnTo>
                    <a:lnTo>
                      <a:pt x="125111" y="295717"/>
                    </a:lnTo>
                    <a:lnTo>
                      <a:pt x="125992" y="296598"/>
                    </a:lnTo>
                    <a:lnTo>
                      <a:pt x="126874" y="296334"/>
                    </a:lnTo>
                    <a:lnTo>
                      <a:pt x="127139" y="297127"/>
                    </a:lnTo>
                    <a:lnTo>
                      <a:pt x="126257" y="299508"/>
                    </a:lnTo>
                    <a:lnTo>
                      <a:pt x="127491" y="300919"/>
                    </a:lnTo>
                    <a:lnTo>
                      <a:pt x="128902" y="300125"/>
                    </a:lnTo>
                    <a:lnTo>
                      <a:pt x="130313" y="301800"/>
                    </a:lnTo>
                    <a:lnTo>
                      <a:pt x="131282" y="300125"/>
                    </a:lnTo>
                    <a:lnTo>
                      <a:pt x="131282" y="299508"/>
                    </a:lnTo>
                    <a:lnTo>
                      <a:pt x="133840" y="300125"/>
                    </a:lnTo>
                    <a:lnTo>
                      <a:pt x="134457" y="299508"/>
                    </a:lnTo>
                    <a:lnTo>
                      <a:pt x="135603" y="298891"/>
                    </a:lnTo>
                    <a:lnTo>
                      <a:pt x="135955" y="299155"/>
                    </a:lnTo>
                    <a:lnTo>
                      <a:pt x="134986" y="299508"/>
                    </a:lnTo>
                    <a:lnTo>
                      <a:pt x="133840" y="300919"/>
                    </a:lnTo>
                    <a:lnTo>
                      <a:pt x="134192" y="304710"/>
                    </a:lnTo>
                    <a:lnTo>
                      <a:pt x="135338" y="306473"/>
                    </a:lnTo>
                    <a:lnTo>
                      <a:pt x="134457" y="307355"/>
                    </a:lnTo>
                    <a:lnTo>
                      <a:pt x="134721" y="311146"/>
                    </a:lnTo>
                    <a:lnTo>
                      <a:pt x="134192" y="312028"/>
                    </a:lnTo>
                    <a:lnTo>
                      <a:pt x="134986" y="313174"/>
                    </a:lnTo>
                    <a:lnTo>
                      <a:pt x="134986" y="313791"/>
                    </a:lnTo>
                    <a:lnTo>
                      <a:pt x="135603" y="314673"/>
                    </a:lnTo>
                    <a:lnTo>
                      <a:pt x="137983" y="312645"/>
                    </a:lnTo>
                    <a:lnTo>
                      <a:pt x="137631" y="314937"/>
                    </a:lnTo>
                    <a:lnTo>
                      <a:pt x="138248" y="316172"/>
                    </a:lnTo>
                    <a:lnTo>
                      <a:pt x="137983" y="316701"/>
                    </a:lnTo>
                    <a:lnTo>
                      <a:pt x="138248" y="316701"/>
                    </a:lnTo>
                    <a:lnTo>
                      <a:pt x="138512" y="318464"/>
                    </a:lnTo>
                    <a:lnTo>
                      <a:pt x="137983" y="319081"/>
                    </a:lnTo>
                    <a:lnTo>
                      <a:pt x="138512" y="319963"/>
                    </a:lnTo>
                    <a:lnTo>
                      <a:pt x="140893" y="321374"/>
                    </a:lnTo>
                    <a:lnTo>
                      <a:pt x="138865" y="323137"/>
                    </a:lnTo>
                    <a:lnTo>
                      <a:pt x="140011" y="324901"/>
                    </a:lnTo>
                    <a:lnTo>
                      <a:pt x="139394" y="325430"/>
                    </a:lnTo>
                    <a:lnTo>
                      <a:pt x="140893" y="327457"/>
                    </a:lnTo>
                    <a:lnTo>
                      <a:pt x="139747" y="328339"/>
                    </a:lnTo>
                    <a:lnTo>
                      <a:pt x="140011" y="329221"/>
                    </a:lnTo>
                    <a:lnTo>
                      <a:pt x="139747" y="330455"/>
                    </a:lnTo>
                    <a:lnTo>
                      <a:pt x="140011" y="332219"/>
                    </a:lnTo>
                    <a:lnTo>
                      <a:pt x="141422" y="333365"/>
                    </a:lnTo>
                    <a:lnTo>
                      <a:pt x="141157" y="333894"/>
                    </a:lnTo>
                    <a:lnTo>
                      <a:pt x="141774" y="334775"/>
                    </a:lnTo>
                    <a:lnTo>
                      <a:pt x="141774" y="337420"/>
                    </a:lnTo>
                    <a:lnTo>
                      <a:pt x="142039" y="337685"/>
                    </a:lnTo>
                    <a:lnTo>
                      <a:pt x="142568" y="339184"/>
                    </a:lnTo>
                    <a:lnTo>
                      <a:pt x="142568" y="341212"/>
                    </a:lnTo>
                    <a:lnTo>
                      <a:pt x="143538" y="345003"/>
                    </a:lnTo>
                    <a:lnTo>
                      <a:pt x="144420" y="345885"/>
                    </a:lnTo>
                    <a:lnTo>
                      <a:pt x="144949" y="344386"/>
                    </a:lnTo>
                    <a:lnTo>
                      <a:pt x="144949" y="342622"/>
                    </a:lnTo>
                    <a:lnTo>
                      <a:pt x="146095" y="344386"/>
                    </a:lnTo>
                    <a:lnTo>
                      <a:pt x="145830" y="342622"/>
                    </a:lnTo>
                    <a:lnTo>
                      <a:pt x="146712" y="343857"/>
                    </a:lnTo>
                    <a:lnTo>
                      <a:pt x="146712" y="345003"/>
                    </a:lnTo>
                    <a:lnTo>
                      <a:pt x="147241" y="344386"/>
                    </a:lnTo>
                    <a:lnTo>
                      <a:pt x="146712" y="345885"/>
                    </a:lnTo>
                    <a:lnTo>
                      <a:pt x="147858" y="346502"/>
                    </a:lnTo>
                    <a:lnTo>
                      <a:pt x="146977" y="347031"/>
                    </a:lnTo>
                    <a:lnTo>
                      <a:pt x="145830" y="345003"/>
                    </a:lnTo>
                    <a:lnTo>
                      <a:pt x="145213" y="345003"/>
                    </a:lnTo>
                    <a:lnTo>
                      <a:pt x="144684" y="346502"/>
                    </a:lnTo>
                    <a:lnTo>
                      <a:pt x="145566" y="347648"/>
                    </a:lnTo>
                    <a:lnTo>
                      <a:pt x="145830" y="348794"/>
                    </a:lnTo>
                    <a:lnTo>
                      <a:pt x="146359" y="349411"/>
                    </a:lnTo>
                    <a:lnTo>
                      <a:pt x="147594" y="351968"/>
                    </a:lnTo>
                    <a:lnTo>
                      <a:pt x="148211" y="351087"/>
                    </a:lnTo>
                    <a:lnTo>
                      <a:pt x="147594" y="353732"/>
                    </a:lnTo>
                    <a:lnTo>
                      <a:pt x="149004" y="356112"/>
                    </a:lnTo>
                    <a:lnTo>
                      <a:pt x="149886" y="359022"/>
                    </a:lnTo>
                    <a:lnTo>
                      <a:pt x="150768" y="358669"/>
                    </a:lnTo>
                    <a:lnTo>
                      <a:pt x="150150" y="360168"/>
                    </a:lnTo>
                    <a:lnTo>
                      <a:pt x="151120" y="361931"/>
                    </a:lnTo>
                    <a:lnTo>
                      <a:pt x="149886" y="361314"/>
                    </a:lnTo>
                    <a:lnTo>
                      <a:pt x="150150" y="362196"/>
                    </a:lnTo>
                    <a:lnTo>
                      <a:pt x="151385" y="364841"/>
                    </a:lnTo>
                    <a:lnTo>
                      <a:pt x="151385" y="365722"/>
                    </a:lnTo>
                    <a:lnTo>
                      <a:pt x="151385" y="366604"/>
                    </a:lnTo>
                    <a:lnTo>
                      <a:pt x="152266" y="368632"/>
                    </a:lnTo>
                    <a:lnTo>
                      <a:pt x="151649" y="368367"/>
                    </a:lnTo>
                    <a:lnTo>
                      <a:pt x="151649" y="369514"/>
                    </a:lnTo>
                    <a:lnTo>
                      <a:pt x="152531" y="369249"/>
                    </a:lnTo>
                    <a:lnTo>
                      <a:pt x="151914" y="370395"/>
                    </a:lnTo>
                    <a:lnTo>
                      <a:pt x="152795" y="370924"/>
                    </a:lnTo>
                    <a:lnTo>
                      <a:pt x="153677" y="370395"/>
                    </a:lnTo>
                    <a:lnTo>
                      <a:pt x="153677" y="371277"/>
                    </a:lnTo>
                    <a:lnTo>
                      <a:pt x="153413" y="370924"/>
                    </a:lnTo>
                    <a:lnTo>
                      <a:pt x="152795" y="371806"/>
                    </a:lnTo>
                    <a:lnTo>
                      <a:pt x="152795" y="372423"/>
                    </a:lnTo>
                    <a:lnTo>
                      <a:pt x="153413" y="372159"/>
                    </a:lnTo>
                    <a:lnTo>
                      <a:pt x="152795" y="374187"/>
                    </a:lnTo>
                    <a:lnTo>
                      <a:pt x="153677" y="373569"/>
                    </a:lnTo>
                    <a:lnTo>
                      <a:pt x="153148" y="375068"/>
                    </a:lnTo>
                    <a:lnTo>
                      <a:pt x="153677" y="374716"/>
                    </a:lnTo>
                    <a:lnTo>
                      <a:pt x="154559" y="375597"/>
                    </a:lnTo>
                    <a:lnTo>
                      <a:pt x="154030" y="374187"/>
                    </a:lnTo>
                    <a:lnTo>
                      <a:pt x="153677" y="372159"/>
                    </a:lnTo>
                    <a:lnTo>
                      <a:pt x="154295" y="370924"/>
                    </a:lnTo>
                    <a:lnTo>
                      <a:pt x="153413" y="369249"/>
                    </a:lnTo>
                    <a:lnTo>
                      <a:pt x="154030" y="365987"/>
                    </a:lnTo>
                    <a:lnTo>
                      <a:pt x="153148" y="364841"/>
                    </a:lnTo>
                    <a:lnTo>
                      <a:pt x="153677" y="363695"/>
                    </a:lnTo>
                    <a:lnTo>
                      <a:pt x="152795" y="362196"/>
                    </a:lnTo>
                    <a:lnTo>
                      <a:pt x="152531" y="361050"/>
                    </a:lnTo>
                    <a:lnTo>
                      <a:pt x="154295" y="363077"/>
                    </a:lnTo>
                    <a:lnTo>
                      <a:pt x="154559" y="364841"/>
                    </a:lnTo>
                    <a:lnTo>
                      <a:pt x="154559" y="365987"/>
                    </a:lnTo>
                    <a:lnTo>
                      <a:pt x="155176" y="371277"/>
                    </a:lnTo>
                    <a:lnTo>
                      <a:pt x="156322" y="370395"/>
                    </a:lnTo>
                    <a:lnTo>
                      <a:pt x="156587" y="371542"/>
                    </a:lnTo>
                    <a:lnTo>
                      <a:pt x="156940" y="372159"/>
                    </a:lnTo>
                    <a:lnTo>
                      <a:pt x="157204" y="374187"/>
                    </a:lnTo>
                    <a:lnTo>
                      <a:pt x="157733" y="373569"/>
                    </a:lnTo>
                    <a:lnTo>
                      <a:pt x="157733" y="374716"/>
                    </a:lnTo>
                    <a:lnTo>
                      <a:pt x="158615" y="374716"/>
                    </a:lnTo>
                    <a:lnTo>
                      <a:pt x="159585" y="375950"/>
                    </a:lnTo>
                    <a:lnTo>
                      <a:pt x="159232" y="376479"/>
                    </a:lnTo>
                    <a:lnTo>
                      <a:pt x="159849" y="377625"/>
                    </a:lnTo>
                    <a:lnTo>
                      <a:pt x="159849" y="378242"/>
                    </a:lnTo>
                    <a:lnTo>
                      <a:pt x="160731" y="378507"/>
                    </a:lnTo>
                    <a:lnTo>
                      <a:pt x="160114" y="378860"/>
                    </a:lnTo>
                    <a:lnTo>
                      <a:pt x="160995" y="380623"/>
                    </a:lnTo>
                    <a:lnTo>
                      <a:pt x="162406" y="380623"/>
                    </a:lnTo>
                    <a:lnTo>
                      <a:pt x="163023" y="381769"/>
                    </a:lnTo>
                    <a:lnTo>
                      <a:pt x="163287" y="382915"/>
                    </a:lnTo>
                    <a:lnTo>
                      <a:pt x="164522" y="384061"/>
                    </a:lnTo>
                    <a:lnTo>
                      <a:pt x="163905" y="384943"/>
                    </a:lnTo>
                    <a:lnTo>
                      <a:pt x="164522" y="385825"/>
                    </a:lnTo>
                    <a:lnTo>
                      <a:pt x="164787" y="387588"/>
                    </a:lnTo>
                    <a:lnTo>
                      <a:pt x="165668" y="388734"/>
                    </a:lnTo>
                    <a:lnTo>
                      <a:pt x="165051" y="389352"/>
                    </a:lnTo>
                    <a:lnTo>
                      <a:pt x="165933" y="391379"/>
                    </a:lnTo>
                    <a:lnTo>
                      <a:pt x="166550" y="392261"/>
                    </a:lnTo>
                    <a:lnTo>
                      <a:pt x="166814" y="393672"/>
                    </a:lnTo>
                    <a:lnTo>
                      <a:pt x="166285" y="394289"/>
                    </a:lnTo>
                    <a:lnTo>
                      <a:pt x="166285" y="394554"/>
                    </a:lnTo>
                    <a:lnTo>
                      <a:pt x="167079" y="394554"/>
                    </a:lnTo>
                    <a:lnTo>
                      <a:pt x="166285" y="395435"/>
                    </a:lnTo>
                    <a:lnTo>
                      <a:pt x="168049" y="394906"/>
                    </a:lnTo>
                    <a:lnTo>
                      <a:pt x="167079" y="396934"/>
                    </a:lnTo>
                    <a:lnTo>
                      <a:pt x="168049" y="397816"/>
                    </a:lnTo>
                    <a:lnTo>
                      <a:pt x="167079" y="397816"/>
                    </a:lnTo>
                    <a:lnTo>
                      <a:pt x="166550" y="399226"/>
                    </a:lnTo>
                    <a:lnTo>
                      <a:pt x="169195" y="399844"/>
                    </a:lnTo>
                    <a:lnTo>
                      <a:pt x="166814" y="401254"/>
                    </a:lnTo>
                    <a:lnTo>
                      <a:pt x="166814" y="403018"/>
                    </a:lnTo>
                    <a:lnTo>
                      <a:pt x="167696" y="402489"/>
                    </a:lnTo>
                    <a:lnTo>
                      <a:pt x="168313" y="403018"/>
                    </a:lnTo>
                    <a:lnTo>
                      <a:pt x="168842" y="404781"/>
                    </a:lnTo>
                    <a:lnTo>
                      <a:pt x="167696" y="405927"/>
                    </a:lnTo>
                    <a:lnTo>
                      <a:pt x="165668" y="405663"/>
                    </a:lnTo>
                    <a:lnTo>
                      <a:pt x="165668" y="406809"/>
                    </a:lnTo>
                    <a:lnTo>
                      <a:pt x="165933" y="407426"/>
                    </a:lnTo>
                    <a:lnTo>
                      <a:pt x="167432" y="407691"/>
                    </a:lnTo>
                    <a:lnTo>
                      <a:pt x="168842" y="407162"/>
                    </a:lnTo>
                    <a:lnTo>
                      <a:pt x="169724" y="407426"/>
                    </a:lnTo>
                    <a:lnTo>
                      <a:pt x="169988" y="408043"/>
                    </a:lnTo>
                    <a:lnTo>
                      <a:pt x="168313" y="408572"/>
                    </a:lnTo>
                    <a:lnTo>
                      <a:pt x="168049" y="409454"/>
                    </a:lnTo>
                    <a:lnTo>
                      <a:pt x="167432" y="409189"/>
                    </a:lnTo>
                    <a:lnTo>
                      <a:pt x="167079" y="410071"/>
                    </a:lnTo>
                    <a:lnTo>
                      <a:pt x="167696" y="410336"/>
                    </a:lnTo>
                    <a:lnTo>
                      <a:pt x="168842" y="411482"/>
                    </a:lnTo>
                    <a:lnTo>
                      <a:pt x="169988" y="411217"/>
                    </a:lnTo>
                    <a:lnTo>
                      <a:pt x="169459" y="412099"/>
                    </a:lnTo>
                    <a:lnTo>
                      <a:pt x="170341" y="412099"/>
                    </a:lnTo>
                    <a:lnTo>
                      <a:pt x="170870" y="413510"/>
                    </a:lnTo>
                    <a:lnTo>
                      <a:pt x="169195" y="413245"/>
                    </a:lnTo>
                    <a:lnTo>
                      <a:pt x="168842" y="415273"/>
                    </a:lnTo>
                    <a:lnTo>
                      <a:pt x="166814" y="415890"/>
                    </a:lnTo>
                    <a:lnTo>
                      <a:pt x="168578" y="416155"/>
                    </a:lnTo>
                    <a:lnTo>
                      <a:pt x="169459" y="415890"/>
                    </a:lnTo>
                    <a:lnTo>
                      <a:pt x="169724" y="415890"/>
                    </a:lnTo>
                    <a:lnTo>
                      <a:pt x="169459" y="416772"/>
                    </a:lnTo>
                    <a:lnTo>
                      <a:pt x="168842" y="417036"/>
                    </a:lnTo>
                    <a:lnTo>
                      <a:pt x="168313" y="417654"/>
                    </a:lnTo>
                    <a:lnTo>
                      <a:pt x="168578" y="418535"/>
                    </a:lnTo>
                    <a:lnTo>
                      <a:pt x="168578" y="419682"/>
                    </a:lnTo>
                    <a:lnTo>
                      <a:pt x="169988" y="420563"/>
                    </a:lnTo>
                    <a:lnTo>
                      <a:pt x="170341" y="420563"/>
                    </a:lnTo>
                    <a:lnTo>
                      <a:pt x="170870" y="419682"/>
                    </a:lnTo>
                    <a:lnTo>
                      <a:pt x="171487" y="418800"/>
                    </a:lnTo>
                    <a:lnTo>
                      <a:pt x="171752" y="417654"/>
                    </a:lnTo>
                    <a:lnTo>
                      <a:pt x="172104" y="417301"/>
                    </a:lnTo>
                    <a:lnTo>
                      <a:pt x="172104" y="417654"/>
                    </a:lnTo>
                    <a:lnTo>
                      <a:pt x="172633" y="418535"/>
                    </a:lnTo>
                    <a:lnTo>
                      <a:pt x="172369" y="419682"/>
                    </a:lnTo>
                    <a:lnTo>
                      <a:pt x="173251" y="419682"/>
                    </a:lnTo>
                    <a:lnTo>
                      <a:pt x="174133" y="420563"/>
                    </a:lnTo>
                    <a:lnTo>
                      <a:pt x="172898" y="421092"/>
                    </a:lnTo>
                    <a:lnTo>
                      <a:pt x="172104" y="420211"/>
                    </a:lnTo>
                    <a:lnTo>
                      <a:pt x="170870" y="420563"/>
                    </a:lnTo>
                    <a:lnTo>
                      <a:pt x="171223" y="422591"/>
                    </a:lnTo>
                    <a:lnTo>
                      <a:pt x="170606" y="424002"/>
                    </a:lnTo>
                    <a:lnTo>
                      <a:pt x="171487" y="425236"/>
                    </a:lnTo>
                    <a:lnTo>
                      <a:pt x="172369" y="427000"/>
                    </a:lnTo>
                    <a:lnTo>
                      <a:pt x="171487" y="427000"/>
                    </a:lnTo>
                    <a:lnTo>
                      <a:pt x="170870" y="428410"/>
                    </a:lnTo>
                    <a:lnTo>
                      <a:pt x="171752" y="428410"/>
                    </a:lnTo>
                    <a:lnTo>
                      <a:pt x="172104" y="429027"/>
                    </a:lnTo>
                    <a:lnTo>
                      <a:pt x="171752" y="429556"/>
                    </a:lnTo>
                    <a:lnTo>
                      <a:pt x="172633" y="430438"/>
                    </a:lnTo>
                    <a:lnTo>
                      <a:pt x="172104" y="432466"/>
                    </a:lnTo>
                    <a:lnTo>
                      <a:pt x="172104" y="433083"/>
                    </a:lnTo>
                    <a:lnTo>
                      <a:pt x="171487" y="435111"/>
                    </a:lnTo>
                    <a:lnTo>
                      <a:pt x="171223" y="435111"/>
                    </a:lnTo>
                    <a:lnTo>
                      <a:pt x="170870" y="435993"/>
                    </a:lnTo>
                    <a:lnTo>
                      <a:pt x="171487" y="435728"/>
                    </a:lnTo>
                    <a:lnTo>
                      <a:pt x="171487" y="435993"/>
                    </a:lnTo>
                    <a:lnTo>
                      <a:pt x="172369" y="436874"/>
                    </a:lnTo>
                    <a:lnTo>
                      <a:pt x="171752" y="438021"/>
                    </a:lnTo>
                    <a:lnTo>
                      <a:pt x="171487" y="438021"/>
                    </a:lnTo>
                    <a:lnTo>
                      <a:pt x="172104" y="438638"/>
                    </a:lnTo>
                    <a:lnTo>
                      <a:pt x="172633" y="439784"/>
                    </a:lnTo>
                    <a:lnTo>
                      <a:pt x="171487" y="440048"/>
                    </a:lnTo>
                    <a:lnTo>
                      <a:pt x="169988" y="439784"/>
                    </a:lnTo>
                    <a:lnTo>
                      <a:pt x="169988" y="440666"/>
                    </a:lnTo>
                    <a:lnTo>
                      <a:pt x="169724" y="441547"/>
                    </a:lnTo>
                    <a:lnTo>
                      <a:pt x="170341" y="441547"/>
                    </a:lnTo>
                    <a:lnTo>
                      <a:pt x="169988" y="442429"/>
                    </a:lnTo>
                    <a:lnTo>
                      <a:pt x="170341" y="443046"/>
                    </a:lnTo>
                    <a:lnTo>
                      <a:pt x="169459" y="443575"/>
                    </a:lnTo>
                    <a:lnTo>
                      <a:pt x="169195" y="445074"/>
                    </a:lnTo>
                    <a:lnTo>
                      <a:pt x="168049" y="444192"/>
                    </a:lnTo>
                    <a:lnTo>
                      <a:pt x="168842" y="445074"/>
                    </a:lnTo>
                    <a:lnTo>
                      <a:pt x="167079" y="445339"/>
                    </a:lnTo>
                    <a:lnTo>
                      <a:pt x="166550" y="445074"/>
                    </a:lnTo>
                    <a:lnTo>
                      <a:pt x="166814" y="447102"/>
                    </a:lnTo>
                    <a:lnTo>
                      <a:pt x="168578" y="448865"/>
                    </a:lnTo>
                    <a:lnTo>
                      <a:pt x="168578" y="451422"/>
                    </a:lnTo>
                    <a:lnTo>
                      <a:pt x="169459" y="453186"/>
                    </a:lnTo>
                    <a:lnTo>
                      <a:pt x="168842" y="455831"/>
                    </a:lnTo>
                    <a:lnTo>
                      <a:pt x="169195" y="456977"/>
                    </a:lnTo>
                    <a:lnTo>
                      <a:pt x="167696" y="458476"/>
                    </a:lnTo>
                    <a:lnTo>
                      <a:pt x="169195" y="458740"/>
                    </a:lnTo>
                    <a:lnTo>
                      <a:pt x="169459" y="460768"/>
                    </a:lnTo>
                    <a:lnTo>
                      <a:pt x="169459" y="461385"/>
                    </a:lnTo>
                    <a:lnTo>
                      <a:pt x="169459" y="462531"/>
                    </a:lnTo>
                    <a:lnTo>
                      <a:pt x="170341" y="463149"/>
                    </a:lnTo>
                    <a:lnTo>
                      <a:pt x="170606" y="463149"/>
                    </a:lnTo>
                    <a:lnTo>
                      <a:pt x="171752" y="460768"/>
                    </a:lnTo>
                    <a:lnTo>
                      <a:pt x="172898" y="457858"/>
                    </a:lnTo>
                    <a:lnTo>
                      <a:pt x="173868" y="453186"/>
                    </a:lnTo>
                    <a:lnTo>
                      <a:pt x="174397" y="452304"/>
                    </a:lnTo>
                    <a:lnTo>
                      <a:pt x="175014" y="451158"/>
                    </a:lnTo>
                    <a:lnTo>
                      <a:pt x="174662" y="449747"/>
                    </a:lnTo>
                    <a:lnTo>
                      <a:pt x="174662" y="447984"/>
                    </a:lnTo>
                    <a:lnTo>
                      <a:pt x="173868" y="447102"/>
                    </a:lnTo>
                    <a:lnTo>
                      <a:pt x="174397" y="445956"/>
                    </a:lnTo>
                    <a:lnTo>
                      <a:pt x="176160" y="443311"/>
                    </a:lnTo>
                    <a:lnTo>
                      <a:pt x="176777" y="443311"/>
                    </a:lnTo>
                    <a:lnTo>
                      <a:pt x="176777" y="442429"/>
                    </a:lnTo>
                    <a:lnTo>
                      <a:pt x="177306" y="442429"/>
                    </a:lnTo>
                    <a:lnTo>
                      <a:pt x="178188" y="442429"/>
                    </a:lnTo>
                    <a:lnTo>
                      <a:pt x="178188" y="441283"/>
                    </a:lnTo>
                    <a:lnTo>
                      <a:pt x="177924" y="439784"/>
                    </a:lnTo>
                    <a:lnTo>
                      <a:pt x="178188" y="438638"/>
                    </a:lnTo>
                    <a:lnTo>
                      <a:pt x="179687" y="439519"/>
                    </a:lnTo>
                    <a:lnTo>
                      <a:pt x="180216" y="438638"/>
                    </a:lnTo>
                    <a:lnTo>
                      <a:pt x="180216" y="438021"/>
                    </a:lnTo>
                    <a:lnTo>
                      <a:pt x="181098" y="437491"/>
                    </a:lnTo>
                    <a:lnTo>
                      <a:pt x="181715" y="435993"/>
                    </a:lnTo>
                    <a:lnTo>
                      <a:pt x="183125" y="435728"/>
                    </a:lnTo>
                    <a:lnTo>
                      <a:pt x="183743" y="431937"/>
                    </a:lnTo>
                    <a:lnTo>
                      <a:pt x="183743" y="430438"/>
                    </a:lnTo>
                    <a:lnTo>
                      <a:pt x="184272" y="429556"/>
                    </a:lnTo>
                    <a:lnTo>
                      <a:pt x="185506" y="428410"/>
                    </a:lnTo>
                    <a:lnTo>
                      <a:pt x="185506" y="427000"/>
                    </a:lnTo>
                    <a:lnTo>
                      <a:pt x="186388" y="426118"/>
                    </a:lnTo>
                    <a:lnTo>
                      <a:pt x="187799" y="425236"/>
                    </a:lnTo>
                    <a:lnTo>
                      <a:pt x="187534" y="422591"/>
                    </a:lnTo>
                    <a:lnTo>
                      <a:pt x="187534" y="421974"/>
                    </a:lnTo>
                    <a:lnTo>
                      <a:pt x="189826" y="421974"/>
                    </a:lnTo>
                    <a:lnTo>
                      <a:pt x="190443" y="420563"/>
                    </a:lnTo>
                    <a:lnTo>
                      <a:pt x="190443" y="419682"/>
                    </a:lnTo>
                    <a:lnTo>
                      <a:pt x="191325" y="417036"/>
                    </a:lnTo>
                    <a:lnTo>
                      <a:pt x="190179" y="417036"/>
                    </a:lnTo>
                    <a:lnTo>
                      <a:pt x="189297" y="415890"/>
                    </a:lnTo>
                    <a:lnTo>
                      <a:pt x="189826" y="413245"/>
                    </a:lnTo>
                    <a:lnTo>
                      <a:pt x="189826" y="412981"/>
                    </a:lnTo>
                    <a:lnTo>
                      <a:pt x="187799" y="412099"/>
                    </a:lnTo>
                    <a:lnTo>
                      <a:pt x="187534" y="411482"/>
                    </a:lnTo>
                    <a:lnTo>
                      <a:pt x="188680" y="409189"/>
                    </a:lnTo>
                    <a:lnTo>
                      <a:pt x="186388" y="409189"/>
                    </a:lnTo>
                    <a:lnTo>
                      <a:pt x="186388" y="408572"/>
                    </a:lnTo>
                    <a:lnTo>
                      <a:pt x="186035" y="407426"/>
                    </a:lnTo>
                    <a:lnTo>
                      <a:pt x="186035" y="405927"/>
                    </a:lnTo>
                    <a:lnTo>
                      <a:pt x="184625" y="405663"/>
                    </a:lnTo>
                    <a:lnTo>
                      <a:pt x="184272" y="403018"/>
                    </a:lnTo>
                    <a:lnTo>
                      <a:pt x="183478" y="401607"/>
                    </a:lnTo>
                    <a:lnTo>
                      <a:pt x="183478" y="399844"/>
                    </a:lnTo>
                    <a:lnTo>
                      <a:pt x="183125" y="397816"/>
                    </a:lnTo>
                    <a:lnTo>
                      <a:pt x="182861" y="397816"/>
                    </a:lnTo>
                    <a:lnTo>
                      <a:pt x="181979" y="396934"/>
                    </a:lnTo>
                    <a:lnTo>
                      <a:pt x="180480" y="396934"/>
                    </a:lnTo>
                    <a:lnTo>
                      <a:pt x="180480" y="394906"/>
                    </a:lnTo>
                    <a:lnTo>
                      <a:pt x="179422" y="394906"/>
                    </a:lnTo>
                    <a:lnTo>
                      <a:pt x="179070" y="392261"/>
                    </a:lnTo>
                    <a:lnTo>
                      <a:pt x="177659" y="391997"/>
                    </a:lnTo>
                    <a:lnTo>
                      <a:pt x="177659" y="389352"/>
                    </a:lnTo>
                    <a:lnTo>
                      <a:pt x="177306" y="388734"/>
                    </a:lnTo>
                    <a:lnTo>
                      <a:pt x="175895" y="386442"/>
                    </a:lnTo>
                    <a:lnTo>
                      <a:pt x="175543" y="384679"/>
                    </a:lnTo>
                    <a:lnTo>
                      <a:pt x="175543" y="383180"/>
                    </a:lnTo>
                    <a:lnTo>
                      <a:pt x="177659" y="382915"/>
                    </a:lnTo>
                    <a:lnTo>
                      <a:pt x="176424" y="380270"/>
                    </a:lnTo>
                    <a:lnTo>
                      <a:pt x="177306" y="380270"/>
                    </a:lnTo>
                    <a:lnTo>
                      <a:pt x="177042" y="377625"/>
                    </a:lnTo>
                    <a:lnTo>
                      <a:pt x="176777" y="375950"/>
                    </a:lnTo>
                    <a:lnTo>
                      <a:pt x="175279" y="374187"/>
                    </a:lnTo>
                    <a:lnTo>
                      <a:pt x="175895" y="374187"/>
                    </a:lnTo>
                    <a:lnTo>
                      <a:pt x="175014" y="372159"/>
                    </a:lnTo>
                    <a:lnTo>
                      <a:pt x="175543" y="369514"/>
                    </a:lnTo>
                    <a:lnTo>
                      <a:pt x="174662" y="369249"/>
                    </a:lnTo>
                    <a:lnTo>
                      <a:pt x="174133" y="368632"/>
                    </a:lnTo>
                    <a:lnTo>
                      <a:pt x="173868" y="366604"/>
                    </a:lnTo>
                    <a:lnTo>
                      <a:pt x="173868" y="365987"/>
                    </a:lnTo>
                    <a:lnTo>
                      <a:pt x="171752" y="364841"/>
                    </a:lnTo>
                    <a:lnTo>
                      <a:pt x="170606" y="362196"/>
                    </a:lnTo>
                    <a:lnTo>
                      <a:pt x="170606" y="361931"/>
                    </a:lnTo>
                    <a:lnTo>
                      <a:pt x="170341" y="361050"/>
                    </a:lnTo>
                    <a:lnTo>
                      <a:pt x="168842" y="360168"/>
                    </a:lnTo>
                    <a:lnTo>
                      <a:pt x="168313" y="360168"/>
                    </a:lnTo>
                    <a:lnTo>
                      <a:pt x="165668" y="357875"/>
                    </a:lnTo>
                    <a:lnTo>
                      <a:pt x="164787" y="356112"/>
                    </a:lnTo>
                    <a:lnTo>
                      <a:pt x="163640" y="356112"/>
                    </a:lnTo>
                    <a:lnTo>
                      <a:pt x="162141" y="354966"/>
                    </a:lnTo>
                    <a:lnTo>
                      <a:pt x="161877" y="353732"/>
                    </a:lnTo>
                    <a:lnTo>
                      <a:pt x="160378" y="353203"/>
                    </a:lnTo>
                    <a:lnTo>
                      <a:pt x="158967" y="349411"/>
                    </a:lnTo>
                    <a:lnTo>
                      <a:pt x="157733" y="349411"/>
                    </a:lnTo>
                    <a:lnTo>
                      <a:pt x="157469" y="348177"/>
                    </a:lnTo>
                    <a:lnTo>
                      <a:pt x="156587" y="347648"/>
                    </a:lnTo>
                    <a:lnTo>
                      <a:pt x="153677" y="345003"/>
                    </a:lnTo>
                    <a:lnTo>
                      <a:pt x="153677" y="343857"/>
                    </a:lnTo>
                    <a:lnTo>
                      <a:pt x="152795" y="342622"/>
                    </a:lnTo>
                    <a:lnTo>
                      <a:pt x="152531" y="342093"/>
                    </a:lnTo>
                    <a:lnTo>
                      <a:pt x="151914" y="341212"/>
                    </a:lnTo>
                    <a:lnTo>
                      <a:pt x="151649" y="340330"/>
                    </a:lnTo>
                    <a:lnTo>
                      <a:pt x="151385" y="337685"/>
                    </a:lnTo>
                    <a:lnTo>
                      <a:pt x="151385" y="337420"/>
                    </a:lnTo>
                    <a:lnTo>
                      <a:pt x="149886" y="335922"/>
                    </a:lnTo>
                    <a:lnTo>
                      <a:pt x="151120" y="333894"/>
                    </a:lnTo>
                    <a:lnTo>
                      <a:pt x="150150" y="332748"/>
                    </a:lnTo>
                    <a:lnTo>
                      <a:pt x="151649" y="332219"/>
                    </a:lnTo>
                    <a:lnTo>
                      <a:pt x="151914" y="330455"/>
                    </a:lnTo>
                    <a:lnTo>
                      <a:pt x="153677" y="330455"/>
                    </a:lnTo>
                    <a:lnTo>
                      <a:pt x="154559" y="332219"/>
                    </a:lnTo>
                    <a:lnTo>
                      <a:pt x="154559" y="330455"/>
                    </a:lnTo>
                    <a:lnTo>
                      <a:pt x="154295" y="328339"/>
                    </a:lnTo>
                    <a:lnTo>
                      <a:pt x="155176" y="328339"/>
                    </a:lnTo>
                    <a:lnTo>
                      <a:pt x="156587" y="328339"/>
                    </a:lnTo>
                    <a:lnTo>
                      <a:pt x="157733" y="328339"/>
                    </a:lnTo>
                    <a:lnTo>
                      <a:pt x="157733" y="329573"/>
                    </a:lnTo>
                    <a:lnTo>
                      <a:pt x="158350" y="329221"/>
                    </a:lnTo>
                    <a:lnTo>
                      <a:pt x="158967" y="326664"/>
                    </a:lnTo>
                    <a:lnTo>
                      <a:pt x="157204" y="323754"/>
                    </a:lnTo>
                    <a:lnTo>
                      <a:pt x="157469" y="321991"/>
                    </a:lnTo>
                    <a:lnTo>
                      <a:pt x="156587" y="319963"/>
                    </a:lnTo>
                    <a:lnTo>
                      <a:pt x="157733" y="316701"/>
                    </a:lnTo>
                    <a:lnTo>
                      <a:pt x="156940" y="314937"/>
                    </a:lnTo>
                    <a:lnTo>
                      <a:pt x="157204" y="313791"/>
                    </a:lnTo>
                    <a:lnTo>
                      <a:pt x="157204" y="313174"/>
                    </a:lnTo>
                    <a:lnTo>
                      <a:pt x="155793" y="312381"/>
                    </a:lnTo>
                    <a:lnTo>
                      <a:pt x="157733" y="312381"/>
                    </a:lnTo>
                    <a:lnTo>
                      <a:pt x="158350" y="310617"/>
                    </a:lnTo>
                    <a:lnTo>
                      <a:pt x="158350" y="310000"/>
                    </a:lnTo>
                    <a:lnTo>
                      <a:pt x="158615" y="309383"/>
                    </a:lnTo>
                    <a:lnTo>
                      <a:pt x="160731" y="310000"/>
                    </a:lnTo>
                    <a:lnTo>
                      <a:pt x="161612" y="309383"/>
                    </a:lnTo>
                    <a:lnTo>
                      <a:pt x="162141" y="307708"/>
                    </a:lnTo>
                    <a:lnTo>
                      <a:pt x="162758" y="306473"/>
                    </a:lnTo>
                    <a:lnTo>
                      <a:pt x="162406" y="305063"/>
                    </a:lnTo>
                    <a:lnTo>
                      <a:pt x="163023" y="303299"/>
                    </a:lnTo>
                    <a:lnTo>
                      <a:pt x="161612" y="302682"/>
                    </a:lnTo>
                    <a:lnTo>
                      <a:pt x="161260" y="300919"/>
                    </a:lnTo>
                    <a:lnTo>
                      <a:pt x="160378" y="302153"/>
                    </a:lnTo>
                    <a:lnTo>
                      <a:pt x="159849" y="303299"/>
                    </a:lnTo>
                    <a:lnTo>
                      <a:pt x="158615" y="304710"/>
                    </a:lnTo>
                    <a:lnTo>
                      <a:pt x="158967" y="306473"/>
                    </a:lnTo>
                    <a:lnTo>
                      <a:pt x="157733" y="305592"/>
                    </a:lnTo>
                    <a:lnTo>
                      <a:pt x="157469" y="303299"/>
                    </a:lnTo>
                    <a:lnTo>
                      <a:pt x="156587" y="302682"/>
                    </a:lnTo>
                    <a:lnTo>
                      <a:pt x="157204" y="302153"/>
                    </a:lnTo>
                    <a:lnTo>
                      <a:pt x="154824" y="299508"/>
                    </a:lnTo>
                    <a:lnTo>
                      <a:pt x="155441" y="299155"/>
                    </a:lnTo>
                    <a:lnTo>
                      <a:pt x="154559" y="297745"/>
                    </a:lnTo>
                    <a:lnTo>
                      <a:pt x="153413" y="297127"/>
                    </a:lnTo>
                    <a:lnTo>
                      <a:pt x="152531" y="295364"/>
                    </a:lnTo>
                    <a:lnTo>
                      <a:pt x="151120" y="295364"/>
                    </a:lnTo>
                    <a:lnTo>
                      <a:pt x="152266" y="293953"/>
                    </a:lnTo>
                    <a:lnTo>
                      <a:pt x="153148" y="293953"/>
                    </a:lnTo>
                    <a:lnTo>
                      <a:pt x="153413" y="293953"/>
                    </a:lnTo>
                    <a:lnTo>
                      <a:pt x="152266" y="292190"/>
                    </a:lnTo>
                    <a:lnTo>
                      <a:pt x="151914" y="291661"/>
                    </a:lnTo>
                    <a:lnTo>
                      <a:pt x="153148" y="292190"/>
                    </a:lnTo>
                    <a:lnTo>
                      <a:pt x="152795" y="290162"/>
                    </a:lnTo>
                    <a:lnTo>
                      <a:pt x="151914" y="290162"/>
                    </a:lnTo>
                    <a:lnTo>
                      <a:pt x="151914" y="289633"/>
                    </a:lnTo>
                    <a:lnTo>
                      <a:pt x="150150" y="288399"/>
                    </a:lnTo>
                    <a:lnTo>
                      <a:pt x="150150" y="287870"/>
                    </a:lnTo>
                    <a:lnTo>
                      <a:pt x="149004" y="286636"/>
                    </a:lnTo>
                    <a:lnTo>
                      <a:pt x="146977" y="286636"/>
                    </a:lnTo>
                    <a:lnTo>
                      <a:pt x="146359" y="285754"/>
                    </a:lnTo>
                    <a:lnTo>
                      <a:pt x="146359" y="285489"/>
                    </a:lnTo>
                    <a:lnTo>
                      <a:pt x="146359" y="284960"/>
                    </a:lnTo>
                    <a:lnTo>
                      <a:pt x="144684" y="282844"/>
                    </a:lnTo>
                    <a:lnTo>
                      <a:pt x="142039" y="280287"/>
                    </a:lnTo>
                    <a:lnTo>
                      <a:pt x="141774" y="278524"/>
                    </a:lnTo>
                    <a:lnTo>
                      <a:pt x="140276" y="278171"/>
                    </a:lnTo>
                    <a:lnTo>
                      <a:pt x="140011" y="277378"/>
                    </a:lnTo>
                    <a:lnTo>
                      <a:pt x="139394" y="276761"/>
                    </a:lnTo>
                    <a:lnTo>
                      <a:pt x="139129" y="275614"/>
                    </a:lnTo>
                    <a:lnTo>
                      <a:pt x="137366" y="274997"/>
                    </a:lnTo>
                    <a:lnTo>
                      <a:pt x="133840" y="271206"/>
                    </a:lnTo>
                    <a:lnTo>
                      <a:pt x="132693" y="269443"/>
                    </a:lnTo>
                    <a:lnTo>
                      <a:pt x="131547" y="267415"/>
                    </a:lnTo>
                    <a:lnTo>
                      <a:pt x="130666" y="266533"/>
                    </a:lnTo>
                    <a:lnTo>
                      <a:pt x="131282" y="265122"/>
                    </a:lnTo>
                    <a:lnTo>
                      <a:pt x="131547" y="264505"/>
                    </a:lnTo>
                    <a:lnTo>
                      <a:pt x="131282" y="263888"/>
                    </a:lnTo>
                    <a:lnTo>
                      <a:pt x="130930" y="262213"/>
                    </a:lnTo>
                    <a:lnTo>
                      <a:pt x="130048" y="262213"/>
                    </a:lnTo>
                    <a:lnTo>
                      <a:pt x="130666" y="260978"/>
                    </a:lnTo>
                    <a:lnTo>
                      <a:pt x="129784" y="260097"/>
                    </a:lnTo>
                    <a:lnTo>
                      <a:pt x="129784" y="259568"/>
                    </a:lnTo>
                    <a:lnTo>
                      <a:pt x="128020" y="257540"/>
                    </a:lnTo>
                    <a:lnTo>
                      <a:pt x="128020" y="257187"/>
                    </a:lnTo>
                    <a:lnTo>
                      <a:pt x="128637" y="256658"/>
                    </a:lnTo>
                    <a:lnTo>
                      <a:pt x="128637" y="255777"/>
                    </a:lnTo>
                    <a:lnTo>
                      <a:pt x="127756" y="255424"/>
                    </a:lnTo>
                    <a:lnTo>
                      <a:pt x="127491" y="255424"/>
                    </a:lnTo>
                    <a:lnTo>
                      <a:pt x="126521" y="255424"/>
                    </a:lnTo>
                    <a:lnTo>
                      <a:pt x="126874" y="256658"/>
                    </a:lnTo>
                    <a:lnTo>
                      <a:pt x="124229" y="255777"/>
                    </a:lnTo>
                    <a:lnTo>
                      <a:pt x="123700" y="255424"/>
                    </a:lnTo>
                    <a:lnTo>
                      <a:pt x="122465" y="252867"/>
                    </a:lnTo>
                    <a:lnTo>
                      <a:pt x="120703" y="249076"/>
                    </a:lnTo>
                    <a:lnTo>
                      <a:pt x="121936" y="249076"/>
                    </a:lnTo>
                    <a:lnTo>
                      <a:pt x="123083" y="251104"/>
                    </a:lnTo>
                    <a:lnTo>
                      <a:pt x="125992" y="251104"/>
                    </a:lnTo>
                    <a:lnTo>
                      <a:pt x="126874" y="250222"/>
                    </a:lnTo>
                    <a:lnTo>
                      <a:pt x="126874" y="249076"/>
                    </a:lnTo>
                    <a:lnTo>
                      <a:pt x="128373" y="249076"/>
                    </a:lnTo>
                    <a:lnTo>
                      <a:pt x="130048" y="249076"/>
                    </a:lnTo>
                    <a:lnTo>
                      <a:pt x="130313" y="246166"/>
                    </a:lnTo>
                    <a:lnTo>
                      <a:pt x="129166" y="244667"/>
                    </a:lnTo>
                    <a:lnTo>
                      <a:pt x="128373" y="241758"/>
                    </a:lnTo>
                    <a:lnTo>
                      <a:pt x="126874" y="239994"/>
                    </a:lnTo>
                    <a:lnTo>
                      <a:pt x="127756" y="239113"/>
                    </a:lnTo>
                    <a:lnTo>
                      <a:pt x="127491" y="237349"/>
                    </a:lnTo>
                    <a:lnTo>
                      <a:pt x="129519" y="236203"/>
                    </a:lnTo>
                    <a:lnTo>
                      <a:pt x="128902" y="233029"/>
                    </a:lnTo>
                    <a:lnTo>
                      <a:pt x="128020" y="231795"/>
                    </a:lnTo>
                    <a:lnTo>
                      <a:pt x="128637" y="231266"/>
                    </a:lnTo>
                    <a:lnTo>
                      <a:pt x="127491" y="227474"/>
                    </a:lnTo>
                    <a:lnTo>
                      <a:pt x="128902" y="225711"/>
                    </a:lnTo>
                    <a:lnTo>
                      <a:pt x="128637" y="225447"/>
                    </a:lnTo>
                    <a:lnTo>
                      <a:pt x="128373" y="223948"/>
                    </a:lnTo>
                    <a:lnTo>
                      <a:pt x="129166" y="223948"/>
                    </a:lnTo>
                    <a:lnTo>
                      <a:pt x="130666" y="223419"/>
                    </a:lnTo>
                    <a:lnTo>
                      <a:pt x="131282" y="222802"/>
                    </a:lnTo>
                    <a:lnTo>
                      <a:pt x="131547" y="221920"/>
                    </a:lnTo>
                    <a:lnTo>
                      <a:pt x="131282" y="221038"/>
                    </a:lnTo>
                    <a:lnTo>
                      <a:pt x="131547" y="218393"/>
                    </a:lnTo>
                    <a:lnTo>
                      <a:pt x="132429" y="218393"/>
                    </a:lnTo>
                    <a:lnTo>
                      <a:pt x="132429" y="219010"/>
                    </a:lnTo>
                    <a:lnTo>
                      <a:pt x="132958" y="219010"/>
                    </a:lnTo>
                    <a:lnTo>
                      <a:pt x="134986" y="220156"/>
                    </a:lnTo>
                    <a:lnTo>
                      <a:pt x="135955" y="221038"/>
                    </a:lnTo>
                    <a:lnTo>
                      <a:pt x="135955" y="221655"/>
                    </a:lnTo>
                    <a:lnTo>
                      <a:pt x="136484" y="221655"/>
                    </a:lnTo>
                    <a:lnTo>
                      <a:pt x="137366" y="221038"/>
                    </a:lnTo>
                    <a:lnTo>
                      <a:pt x="140540" y="221038"/>
                    </a:lnTo>
                    <a:lnTo>
                      <a:pt x="142039" y="221038"/>
                    </a:lnTo>
                    <a:lnTo>
                      <a:pt x="143185" y="221655"/>
                    </a:lnTo>
                    <a:lnTo>
                      <a:pt x="143803" y="221038"/>
                    </a:lnTo>
                    <a:lnTo>
                      <a:pt x="144420" y="221038"/>
                    </a:lnTo>
                    <a:lnTo>
                      <a:pt x="144949" y="220156"/>
                    </a:lnTo>
                    <a:lnTo>
                      <a:pt x="147858" y="219010"/>
                    </a:lnTo>
                    <a:lnTo>
                      <a:pt x="148475" y="217600"/>
                    </a:lnTo>
                    <a:lnTo>
                      <a:pt x="150503" y="219010"/>
                    </a:lnTo>
                    <a:lnTo>
                      <a:pt x="151649" y="219010"/>
                    </a:lnTo>
                    <a:lnTo>
                      <a:pt x="151649" y="218393"/>
                    </a:lnTo>
                    <a:lnTo>
                      <a:pt x="152531" y="217247"/>
                    </a:lnTo>
                    <a:lnTo>
                      <a:pt x="151385" y="215484"/>
                    </a:lnTo>
                    <a:lnTo>
                      <a:pt x="152266" y="215484"/>
                    </a:lnTo>
                    <a:lnTo>
                      <a:pt x="151914" y="214073"/>
                    </a:lnTo>
                    <a:lnTo>
                      <a:pt x="152266" y="212045"/>
                    </a:lnTo>
                    <a:lnTo>
                      <a:pt x="152795" y="211163"/>
                    </a:lnTo>
                    <a:lnTo>
                      <a:pt x="154559" y="210282"/>
                    </a:lnTo>
                    <a:lnTo>
                      <a:pt x="156322" y="211163"/>
                    </a:lnTo>
                    <a:lnTo>
                      <a:pt x="157733" y="212045"/>
                    </a:lnTo>
                    <a:lnTo>
                      <a:pt x="161612" y="211163"/>
                    </a:lnTo>
                    <a:lnTo>
                      <a:pt x="162141" y="209929"/>
                    </a:lnTo>
                    <a:lnTo>
                      <a:pt x="162406" y="209929"/>
                    </a:lnTo>
                    <a:lnTo>
                      <a:pt x="162141" y="209135"/>
                    </a:lnTo>
                    <a:lnTo>
                      <a:pt x="161612" y="207372"/>
                    </a:lnTo>
                    <a:lnTo>
                      <a:pt x="160731" y="204727"/>
                    </a:lnTo>
                    <a:lnTo>
                      <a:pt x="158967" y="203581"/>
                    </a:lnTo>
                    <a:lnTo>
                      <a:pt x="161612" y="204374"/>
                    </a:lnTo>
                    <a:lnTo>
                      <a:pt x="164787" y="204727"/>
                    </a:lnTo>
                    <a:lnTo>
                      <a:pt x="165403" y="204727"/>
                    </a:lnTo>
                    <a:lnTo>
                      <a:pt x="167079" y="204727"/>
                    </a:lnTo>
                    <a:lnTo>
                      <a:pt x="168842" y="202699"/>
                    </a:lnTo>
                    <a:lnTo>
                      <a:pt x="170606" y="202699"/>
                    </a:lnTo>
                    <a:lnTo>
                      <a:pt x="171487" y="203581"/>
                    </a:lnTo>
                    <a:lnTo>
                      <a:pt x="172898" y="203581"/>
                    </a:lnTo>
                    <a:lnTo>
                      <a:pt x="172898" y="204374"/>
                    </a:lnTo>
                    <a:lnTo>
                      <a:pt x="173251" y="204374"/>
                    </a:lnTo>
                    <a:lnTo>
                      <a:pt x="173868" y="203581"/>
                    </a:lnTo>
                    <a:lnTo>
                      <a:pt x="174397" y="198026"/>
                    </a:lnTo>
                    <a:lnTo>
                      <a:pt x="175543" y="194764"/>
                    </a:lnTo>
                    <a:lnTo>
                      <a:pt x="177659" y="193618"/>
                    </a:lnTo>
                    <a:lnTo>
                      <a:pt x="177306" y="193089"/>
                    </a:lnTo>
                    <a:lnTo>
                      <a:pt x="181098" y="193618"/>
                    </a:lnTo>
                    <a:lnTo>
                      <a:pt x="182332" y="193089"/>
                    </a:lnTo>
                    <a:lnTo>
                      <a:pt x="183743" y="191854"/>
                    </a:lnTo>
                    <a:lnTo>
                      <a:pt x="183743" y="191325"/>
                    </a:lnTo>
                    <a:lnTo>
                      <a:pt x="181979" y="191854"/>
                    </a:lnTo>
                    <a:lnTo>
                      <a:pt x="180833" y="191854"/>
                    </a:lnTo>
                    <a:lnTo>
                      <a:pt x="180480" y="191325"/>
                    </a:lnTo>
                    <a:lnTo>
                      <a:pt x="180480" y="190091"/>
                    </a:lnTo>
                    <a:lnTo>
                      <a:pt x="181715" y="188945"/>
                    </a:lnTo>
                    <a:lnTo>
                      <a:pt x="181362" y="187534"/>
                    </a:lnTo>
                    <a:lnTo>
                      <a:pt x="181979" y="187181"/>
                    </a:lnTo>
                    <a:lnTo>
                      <a:pt x="183478" y="184625"/>
                    </a:lnTo>
                    <a:lnTo>
                      <a:pt x="183125" y="183390"/>
                    </a:lnTo>
                    <a:lnTo>
                      <a:pt x="183478" y="180745"/>
                    </a:lnTo>
                    <a:lnTo>
                      <a:pt x="185241" y="180745"/>
                    </a:lnTo>
                    <a:lnTo>
                      <a:pt x="186652" y="180745"/>
                    </a:lnTo>
                    <a:lnTo>
                      <a:pt x="186917" y="179599"/>
                    </a:lnTo>
                    <a:lnTo>
                      <a:pt x="188680" y="178188"/>
                    </a:lnTo>
                    <a:lnTo>
                      <a:pt x="191325" y="176425"/>
                    </a:lnTo>
                    <a:lnTo>
                      <a:pt x="192207" y="173515"/>
                    </a:lnTo>
                    <a:lnTo>
                      <a:pt x="190443" y="169107"/>
                    </a:lnTo>
                    <a:lnTo>
                      <a:pt x="184889" y="171752"/>
                    </a:lnTo>
                    <a:lnTo>
                      <a:pt x="182596" y="175279"/>
                    </a:lnTo>
                    <a:lnTo>
                      <a:pt x="181715" y="176690"/>
                    </a:lnTo>
                    <a:lnTo>
                      <a:pt x="179951" y="177571"/>
                    </a:lnTo>
                    <a:lnTo>
                      <a:pt x="178453" y="176160"/>
                    </a:lnTo>
                    <a:lnTo>
                      <a:pt x="175543" y="174397"/>
                    </a:lnTo>
                    <a:lnTo>
                      <a:pt x="174397" y="174662"/>
                    </a:lnTo>
                    <a:lnTo>
                      <a:pt x="172104" y="177307"/>
                    </a:lnTo>
                    <a:lnTo>
                      <a:pt x="169988" y="177924"/>
                    </a:lnTo>
                    <a:lnTo>
                      <a:pt x="169724" y="176160"/>
                    </a:lnTo>
                    <a:lnTo>
                      <a:pt x="168049" y="176160"/>
                    </a:lnTo>
                    <a:lnTo>
                      <a:pt x="167696" y="173251"/>
                    </a:lnTo>
                    <a:lnTo>
                      <a:pt x="169459" y="172898"/>
                    </a:lnTo>
                    <a:lnTo>
                      <a:pt x="167696" y="172017"/>
                    </a:lnTo>
                    <a:lnTo>
                      <a:pt x="163905" y="167961"/>
                    </a:lnTo>
                    <a:lnTo>
                      <a:pt x="165933" y="161877"/>
                    </a:lnTo>
                    <a:lnTo>
                      <a:pt x="163287" y="162406"/>
                    </a:lnTo>
                    <a:lnTo>
                      <a:pt x="161877" y="160996"/>
                    </a:lnTo>
                    <a:lnTo>
                      <a:pt x="162141" y="162406"/>
                    </a:lnTo>
                    <a:lnTo>
                      <a:pt x="160378" y="162406"/>
                    </a:lnTo>
                    <a:lnTo>
                      <a:pt x="160114" y="160996"/>
                    </a:lnTo>
                    <a:lnTo>
                      <a:pt x="156940" y="160996"/>
                    </a:lnTo>
                    <a:lnTo>
                      <a:pt x="155441" y="160114"/>
                    </a:lnTo>
                    <a:lnTo>
                      <a:pt x="154030" y="160643"/>
                    </a:lnTo>
                    <a:lnTo>
                      <a:pt x="144949" y="158968"/>
                    </a:lnTo>
                    <a:lnTo>
                      <a:pt x="148740" y="158086"/>
                    </a:lnTo>
                    <a:lnTo>
                      <a:pt x="149357" y="156587"/>
                    </a:lnTo>
                    <a:lnTo>
                      <a:pt x="147858" y="153942"/>
                    </a:lnTo>
                    <a:lnTo>
                      <a:pt x="149004" y="152531"/>
                    </a:lnTo>
                    <a:lnTo>
                      <a:pt x="148475" y="142568"/>
                    </a:lnTo>
                    <a:lnTo>
                      <a:pt x="148475" y="139659"/>
                    </a:lnTo>
                    <a:lnTo>
                      <a:pt x="152531" y="140540"/>
                    </a:lnTo>
                    <a:lnTo>
                      <a:pt x="151649" y="138513"/>
                    </a:lnTo>
                    <a:lnTo>
                      <a:pt x="151120" y="136749"/>
                    </a:lnTo>
                    <a:lnTo>
                      <a:pt x="145566" y="136132"/>
                    </a:lnTo>
                    <a:lnTo>
                      <a:pt x="145830" y="137895"/>
                    </a:lnTo>
                    <a:lnTo>
                      <a:pt x="142303" y="137631"/>
                    </a:lnTo>
                    <a:lnTo>
                      <a:pt x="141157" y="134986"/>
                    </a:lnTo>
                    <a:lnTo>
                      <a:pt x="136749" y="134986"/>
                    </a:lnTo>
                    <a:lnTo>
                      <a:pt x="137102" y="130930"/>
                    </a:lnTo>
                    <a:lnTo>
                      <a:pt x="135603" y="127139"/>
                    </a:lnTo>
                    <a:lnTo>
                      <a:pt x="133575" y="127139"/>
                    </a:lnTo>
                    <a:lnTo>
                      <a:pt x="132958" y="123965"/>
                    </a:lnTo>
                    <a:lnTo>
                      <a:pt x="132429" y="120703"/>
                    </a:lnTo>
                    <a:lnTo>
                      <a:pt x="132429" y="118410"/>
                    </a:lnTo>
                    <a:lnTo>
                      <a:pt x="128902" y="114266"/>
                    </a:lnTo>
                    <a:lnTo>
                      <a:pt x="130313" y="112856"/>
                    </a:lnTo>
                    <a:lnTo>
                      <a:pt x="134192" y="111092"/>
                    </a:lnTo>
                    <a:lnTo>
                      <a:pt x="132693" y="109946"/>
                    </a:lnTo>
                    <a:lnTo>
                      <a:pt x="129784" y="111357"/>
                    </a:lnTo>
                    <a:lnTo>
                      <a:pt x="127139" y="112238"/>
                    </a:lnTo>
                    <a:lnTo>
                      <a:pt x="124229" y="111357"/>
                    </a:lnTo>
                    <a:lnTo>
                      <a:pt x="119556" y="111092"/>
                    </a:lnTo>
                    <a:lnTo>
                      <a:pt x="116382" y="111357"/>
                    </a:lnTo>
                    <a:lnTo>
                      <a:pt x="114354" y="112591"/>
                    </a:lnTo>
                    <a:lnTo>
                      <a:pt x="111973" y="114002"/>
                    </a:lnTo>
                    <a:lnTo>
                      <a:pt x="111092" y="114883"/>
                    </a:lnTo>
                    <a:lnTo>
                      <a:pt x="107918" y="117176"/>
                    </a:lnTo>
                    <a:lnTo>
                      <a:pt x="106772" y="115765"/>
                    </a:lnTo>
                    <a:lnTo>
                      <a:pt x="105008" y="115148"/>
                    </a:lnTo>
                    <a:lnTo>
                      <a:pt x="108182" y="111974"/>
                    </a:lnTo>
                    <a:lnTo>
                      <a:pt x="107036" y="104391"/>
                    </a:lnTo>
                    <a:lnTo>
                      <a:pt x="105273" y="102628"/>
                    </a:lnTo>
                    <a:lnTo>
                      <a:pt x="103245" y="102628"/>
                    </a:lnTo>
                    <a:lnTo>
                      <a:pt x="101834" y="94517"/>
                    </a:lnTo>
                    <a:lnTo>
                      <a:pt x="103245" y="93018"/>
                    </a:lnTo>
                    <a:lnTo>
                      <a:pt x="106419" y="92400"/>
                    </a:lnTo>
                    <a:lnTo>
                      <a:pt x="105273" y="90108"/>
                    </a:lnTo>
                    <a:lnTo>
                      <a:pt x="104656" y="82173"/>
                    </a:lnTo>
                    <a:lnTo>
                      <a:pt x="106772" y="82790"/>
                    </a:lnTo>
                    <a:lnTo>
                      <a:pt x="109328" y="80762"/>
                    </a:lnTo>
                    <a:lnTo>
                      <a:pt x="110563" y="77588"/>
                    </a:lnTo>
                    <a:lnTo>
                      <a:pt x="109946" y="73180"/>
                    </a:lnTo>
                    <a:lnTo>
                      <a:pt x="114354" y="75208"/>
                    </a:lnTo>
                    <a:lnTo>
                      <a:pt x="115765" y="74591"/>
                    </a:lnTo>
                    <a:lnTo>
                      <a:pt x="116999" y="71681"/>
                    </a:lnTo>
                    <a:lnTo>
                      <a:pt x="116382" y="70270"/>
                    </a:lnTo>
                    <a:lnTo>
                      <a:pt x="120438" y="70270"/>
                    </a:lnTo>
                    <a:lnTo>
                      <a:pt x="122818" y="69388"/>
                    </a:lnTo>
                    <a:lnTo>
                      <a:pt x="121584" y="66744"/>
                    </a:lnTo>
                    <a:lnTo>
                      <a:pt x="119556" y="64716"/>
                    </a:lnTo>
                    <a:lnTo>
                      <a:pt x="117793" y="62423"/>
                    </a:lnTo>
                    <a:lnTo>
                      <a:pt x="120703" y="63217"/>
                    </a:lnTo>
                    <a:lnTo>
                      <a:pt x="119909" y="58897"/>
                    </a:lnTo>
                    <a:lnTo>
                      <a:pt x="120703" y="55634"/>
                    </a:lnTo>
                    <a:lnTo>
                      <a:pt x="119292" y="51050"/>
                    </a:lnTo>
                    <a:lnTo>
                      <a:pt x="121055" y="51050"/>
                    </a:lnTo>
                    <a:lnTo>
                      <a:pt x="118939" y="48933"/>
                    </a:lnTo>
                    <a:lnTo>
                      <a:pt x="120174" y="46024"/>
                    </a:lnTo>
                    <a:lnTo>
                      <a:pt x="116999" y="42850"/>
                    </a:lnTo>
                    <a:lnTo>
                      <a:pt x="116999" y="40558"/>
                    </a:lnTo>
                    <a:lnTo>
                      <a:pt x="114619" y="38794"/>
                    </a:lnTo>
                    <a:lnTo>
                      <a:pt x="116118" y="33240"/>
                    </a:lnTo>
                    <a:lnTo>
                      <a:pt x="113737" y="33240"/>
                    </a:lnTo>
                    <a:lnTo>
                      <a:pt x="112591" y="27068"/>
                    </a:lnTo>
                    <a:lnTo>
                      <a:pt x="105537" y="24158"/>
                    </a:lnTo>
                    <a:lnTo>
                      <a:pt x="103774" y="27068"/>
                    </a:lnTo>
                    <a:lnTo>
                      <a:pt x="100071" y="20367"/>
                    </a:lnTo>
                    <a:lnTo>
                      <a:pt x="95927" y="16576"/>
                    </a:lnTo>
                    <a:lnTo>
                      <a:pt x="97690" y="16047"/>
                    </a:lnTo>
                    <a:lnTo>
                      <a:pt x="98572" y="14548"/>
                    </a:lnTo>
                    <a:lnTo>
                      <a:pt x="97690" y="11903"/>
                    </a:lnTo>
                    <a:lnTo>
                      <a:pt x="96544" y="10492"/>
                    </a:lnTo>
                    <a:lnTo>
                      <a:pt x="95398" y="9258"/>
                    </a:lnTo>
                    <a:lnTo>
                      <a:pt x="94164" y="7847"/>
                    </a:lnTo>
                    <a:lnTo>
                      <a:pt x="92753" y="6084"/>
                    </a:lnTo>
                    <a:lnTo>
                      <a:pt x="89226" y="4937"/>
                    </a:lnTo>
                    <a:lnTo>
                      <a:pt x="86581" y="6084"/>
                    </a:lnTo>
                    <a:lnTo>
                      <a:pt x="86317" y="2910"/>
                    </a:lnTo>
                    <a:lnTo>
                      <a:pt x="86052" y="1411"/>
                    </a:lnTo>
                    <a:lnTo>
                      <a:pt x="83407" y="529"/>
                    </a:lnTo>
                    <a:lnTo>
                      <a:pt x="83143" y="1675"/>
                    </a:lnTo>
                    <a:lnTo>
                      <a:pt x="81643" y="264"/>
                    </a:lnTo>
                    <a:lnTo>
                      <a:pt x="81027" y="0"/>
                    </a:lnTo>
                    <a:lnTo>
                      <a:pt x="80498" y="882"/>
                    </a:lnTo>
                    <a:lnTo>
                      <a:pt x="81379" y="4673"/>
                    </a:lnTo>
                    <a:lnTo>
                      <a:pt x="79881" y="4320"/>
                    </a:lnTo>
                    <a:lnTo>
                      <a:pt x="80233" y="6084"/>
                    </a:lnTo>
                    <a:lnTo>
                      <a:pt x="78999" y="7582"/>
                    </a:lnTo>
                    <a:lnTo>
                      <a:pt x="79881" y="10757"/>
                    </a:lnTo>
                    <a:lnTo>
                      <a:pt x="78734" y="13402"/>
                    </a:lnTo>
                    <a:lnTo>
                      <a:pt x="79881" y="16047"/>
                    </a:lnTo>
                    <a:lnTo>
                      <a:pt x="77852" y="16047"/>
                    </a:lnTo>
                    <a:lnTo>
                      <a:pt x="76442" y="18604"/>
                    </a:lnTo>
                    <a:lnTo>
                      <a:pt x="76706" y="18956"/>
                    </a:lnTo>
                    <a:lnTo>
                      <a:pt x="75825" y="20720"/>
                    </a:lnTo>
                    <a:lnTo>
                      <a:pt x="75207" y="21513"/>
                    </a:lnTo>
                    <a:lnTo>
                      <a:pt x="74943" y="21866"/>
                    </a:lnTo>
                    <a:lnTo>
                      <a:pt x="74414" y="22130"/>
                    </a:lnTo>
                    <a:lnTo>
                      <a:pt x="73532" y="23629"/>
                    </a:lnTo>
                    <a:lnTo>
                      <a:pt x="72915" y="25657"/>
                    </a:lnTo>
                    <a:lnTo>
                      <a:pt x="73532" y="27420"/>
                    </a:lnTo>
                    <a:lnTo>
                      <a:pt x="75207" y="28831"/>
                    </a:lnTo>
                    <a:lnTo>
                      <a:pt x="76442" y="29977"/>
                    </a:lnTo>
                    <a:lnTo>
                      <a:pt x="78734" y="31741"/>
                    </a:lnTo>
                    <a:lnTo>
                      <a:pt x="80498" y="33504"/>
                    </a:lnTo>
                    <a:lnTo>
                      <a:pt x="82790" y="35003"/>
                    </a:lnTo>
                    <a:lnTo>
                      <a:pt x="81027" y="35796"/>
                    </a:lnTo>
                    <a:lnTo>
                      <a:pt x="76971" y="34650"/>
                    </a:lnTo>
                    <a:lnTo>
                      <a:pt x="72651" y="33240"/>
                    </a:lnTo>
                    <a:lnTo>
                      <a:pt x="73532" y="32622"/>
                    </a:lnTo>
                    <a:lnTo>
                      <a:pt x="71769" y="29977"/>
                    </a:lnTo>
                    <a:lnTo>
                      <a:pt x="70270" y="30594"/>
                    </a:lnTo>
                    <a:lnTo>
                      <a:pt x="68242" y="29977"/>
                    </a:lnTo>
                    <a:lnTo>
                      <a:pt x="66214" y="31476"/>
                    </a:lnTo>
                    <a:lnTo>
                      <a:pt x="63834" y="31476"/>
                    </a:lnTo>
                    <a:lnTo>
                      <a:pt x="59778" y="31741"/>
                    </a:lnTo>
                    <a:lnTo>
                      <a:pt x="58014" y="34650"/>
                    </a:lnTo>
                    <a:lnTo>
                      <a:pt x="55722" y="37560"/>
                    </a:lnTo>
                    <a:lnTo>
                      <a:pt x="51578" y="39588"/>
                    </a:lnTo>
                    <a:lnTo>
                      <a:pt x="51931" y="41704"/>
                    </a:lnTo>
                    <a:lnTo>
                      <a:pt x="50785" y="41704"/>
                    </a:lnTo>
                    <a:lnTo>
                      <a:pt x="49286" y="43379"/>
                    </a:lnTo>
                    <a:lnTo>
                      <a:pt x="46993" y="43379"/>
                    </a:lnTo>
                    <a:lnTo>
                      <a:pt x="45759" y="45759"/>
                    </a:lnTo>
                    <a:lnTo>
                      <a:pt x="42850" y="48052"/>
                    </a:lnTo>
                    <a:lnTo>
                      <a:pt x="41086" y="48052"/>
                    </a:lnTo>
                    <a:lnTo>
                      <a:pt x="41439" y="48933"/>
                    </a:lnTo>
                    <a:lnTo>
                      <a:pt x="39323" y="51579"/>
                    </a:lnTo>
                    <a:lnTo>
                      <a:pt x="41086" y="53342"/>
                    </a:lnTo>
                    <a:lnTo>
                      <a:pt x="40205" y="55370"/>
                    </a:lnTo>
                    <a:lnTo>
                      <a:pt x="40822" y="58279"/>
                    </a:lnTo>
                    <a:lnTo>
                      <a:pt x="42850" y="58279"/>
                    </a:lnTo>
                    <a:lnTo>
                      <a:pt x="42232" y="58897"/>
                    </a:lnTo>
                    <a:lnTo>
                      <a:pt x="43731" y="62952"/>
                    </a:lnTo>
                    <a:lnTo>
                      <a:pt x="42232" y="65597"/>
                    </a:lnTo>
                    <a:lnTo>
                      <a:pt x="43114" y="69653"/>
                    </a:lnTo>
                    <a:lnTo>
                      <a:pt x="41439" y="70270"/>
                    </a:lnTo>
                    <a:lnTo>
                      <a:pt x="40557" y="72915"/>
                    </a:lnTo>
                    <a:lnTo>
                      <a:pt x="38530" y="73797"/>
                    </a:lnTo>
                    <a:lnTo>
                      <a:pt x="38530" y="75825"/>
                    </a:lnTo>
                    <a:lnTo>
                      <a:pt x="35267" y="76971"/>
                    </a:lnTo>
                    <a:lnTo>
                      <a:pt x="36149" y="79616"/>
                    </a:lnTo>
                    <a:lnTo>
                      <a:pt x="34738" y="79881"/>
                    </a:lnTo>
                    <a:lnTo>
                      <a:pt x="35620" y="83672"/>
                    </a:lnTo>
                    <a:lnTo>
                      <a:pt x="39059" y="84553"/>
                    </a:lnTo>
                    <a:lnTo>
                      <a:pt x="39940" y="88609"/>
                    </a:lnTo>
                    <a:lnTo>
                      <a:pt x="37912" y="90725"/>
                    </a:lnTo>
                    <a:lnTo>
                      <a:pt x="37030" y="91254"/>
                    </a:lnTo>
                    <a:lnTo>
                      <a:pt x="37912" y="94164"/>
                    </a:lnTo>
                    <a:lnTo>
                      <a:pt x="35620" y="95310"/>
                    </a:lnTo>
                    <a:lnTo>
                      <a:pt x="35885" y="97955"/>
                    </a:lnTo>
                    <a:lnTo>
                      <a:pt x="35003" y="99101"/>
                    </a:lnTo>
                    <a:lnTo>
                      <a:pt x="35003" y="102011"/>
                    </a:lnTo>
                    <a:lnTo>
                      <a:pt x="33856" y="102981"/>
                    </a:lnTo>
                    <a:lnTo>
                      <a:pt x="33504" y="104391"/>
                    </a:lnTo>
                    <a:lnTo>
                      <a:pt x="33239" y="107036"/>
                    </a:lnTo>
                    <a:lnTo>
                      <a:pt x="33856" y="109946"/>
                    </a:lnTo>
                    <a:lnTo>
                      <a:pt x="33239" y="112856"/>
                    </a:lnTo>
                    <a:lnTo>
                      <a:pt x="34121" y="115148"/>
                    </a:lnTo>
                    <a:lnTo>
                      <a:pt x="33504" y="116911"/>
                    </a:lnTo>
                    <a:lnTo>
                      <a:pt x="31740" y="116911"/>
                    </a:lnTo>
                    <a:lnTo>
                      <a:pt x="28566" y="115501"/>
                    </a:lnTo>
                    <a:lnTo>
                      <a:pt x="24511" y="115148"/>
                    </a:lnTo>
                    <a:lnTo>
                      <a:pt x="22130" y="114883"/>
                    </a:lnTo>
                    <a:lnTo>
                      <a:pt x="21513" y="114883"/>
                    </a:lnTo>
                    <a:lnTo>
                      <a:pt x="19221" y="113737"/>
                    </a:lnTo>
                    <a:lnTo>
                      <a:pt x="17810" y="112856"/>
                    </a:lnTo>
                    <a:lnTo>
                      <a:pt x="16576" y="111974"/>
                    </a:lnTo>
                    <a:lnTo>
                      <a:pt x="16047" y="110828"/>
                    </a:lnTo>
                    <a:lnTo>
                      <a:pt x="14283" y="109593"/>
                    </a:lnTo>
                    <a:lnTo>
                      <a:pt x="12520" y="109946"/>
                    </a:lnTo>
                    <a:lnTo>
                      <a:pt x="13401" y="112856"/>
                    </a:lnTo>
                    <a:lnTo>
                      <a:pt x="15429" y="115148"/>
                    </a:lnTo>
                    <a:lnTo>
                      <a:pt x="15694" y="117176"/>
                    </a:lnTo>
                    <a:lnTo>
                      <a:pt x="16311" y="119821"/>
                    </a:lnTo>
                    <a:lnTo>
                      <a:pt x="16928" y="122201"/>
                    </a:lnTo>
                    <a:lnTo>
                      <a:pt x="16928" y="125375"/>
                    </a:lnTo>
                    <a:lnTo>
                      <a:pt x="17457" y="128285"/>
                    </a:lnTo>
                    <a:lnTo>
                      <a:pt x="17457" y="132076"/>
                    </a:lnTo>
                    <a:lnTo>
                      <a:pt x="18074" y="133575"/>
                    </a:lnTo>
                    <a:lnTo>
                      <a:pt x="18339" y="135339"/>
                    </a:lnTo>
                    <a:lnTo>
                      <a:pt x="18074" y="136132"/>
                    </a:lnTo>
                    <a:lnTo>
                      <a:pt x="17457" y="138248"/>
                    </a:lnTo>
                    <a:lnTo>
                      <a:pt x="14283" y="135603"/>
                    </a:lnTo>
                    <a:lnTo>
                      <a:pt x="13137" y="135603"/>
                    </a:lnTo>
                    <a:lnTo>
                      <a:pt x="12255" y="136132"/>
                    </a:lnTo>
                    <a:lnTo>
                      <a:pt x="12784" y="138248"/>
                    </a:lnTo>
                    <a:lnTo>
                      <a:pt x="14018" y="139130"/>
                    </a:lnTo>
                    <a:lnTo>
                      <a:pt x="14018" y="140805"/>
                    </a:lnTo>
                    <a:lnTo>
                      <a:pt x="15429" y="148123"/>
                    </a:lnTo>
                    <a:lnTo>
                      <a:pt x="13401" y="151032"/>
                    </a:lnTo>
                    <a:lnTo>
                      <a:pt x="13137" y="153678"/>
                    </a:lnTo>
                    <a:lnTo>
                      <a:pt x="15694" y="151914"/>
                    </a:lnTo>
                    <a:lnTo>
                      <a:pt x="16928" y="156323"/>
                    </a:lnTo>
                    <a:lnTo>
                      <a:pt x="17192" y="158086"/>
                    </a:lnTo>
                    <a:lnTo>
                      <a:pt x="15165" y="158350"/>
                    </a:lnTo>
                    <a:lnTo>
                      <a:pt x="15694" y="160643"/>
                    </a:lnTo>
                    <a:lnTo>
                      <a:pt x="12784" y="162406"/>
                    </a:lnTo>
                    <a:lnTo>
                      <a:pt x="9875" y="160996"/>
                    </a:lnTo>
                    <a:lnTo>
                      <a:pt x="7847" y="15949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8" name="Freihandform: Form 1967">
                <a:extLst>
                  <a:ext uri="{FF2B5EF4-FFF2-40B4-BE49-F238E27FC236}">
                    <a16:creationId xmlns:a16="http://schemas.microsoft.com/office/drawing/2014/main" id="{D3DE2100-85A8-6A5B-D3B9-E2BA86874F84}"/>
                  </a:ext>
                </a:extLst>
              </p:cNvPr>
              <p:cNvSpPr/>
              <p:nvPr/>
            </p:nvSpPr>
            <p:spPr>
              <a:xfrm>
                <a:off x="6231200" y="3588849"/>
                <a:ext cx="184007" cy="214072"/>
              </a:xfrm>
              <a:custGeom>
                <a:avLst/>
                <a:gdLst>
                  <a:gd name="connsiteX0" fmla="*/ 37296 w 184007"/>
                  <a:gd name="connsiteY0" fmla="*/ 1763 h 214072"/>
                  <a:gd name="connsiteX1" fmla="*/ 39941 w 184007"/>
                  <a:gd name="connsiteY1" fmla="*/ 7318 h 214072"/>
                  <a:gd name="connsiteX2" fmla="*/ 44613 w 184007"/>
                  <a:gd name="connsiteY2" fmla="*/ 10228 h 214072"/>
                  <a:gd name="connsiteX3" fmla="*/ 46641 w 184007"/>
                  <a:gd name="connsiteY3" fmla="*/ 12255 h 214072"/>
                  <a:gd name="connsiteX4" fmla="*/ 45495 w 184007"/>
                  <a:gd name="connsiteY4" fmla="*/ 12784 h 214072"/>
                  <a:gd name="connsiteX5" fmla="*/ 45759 w 184007"/>
                  <a:gd name="connsiteY5" fmla="*/ 13666 h 214072"/>
                  <a:gd name="connsiteX6" fmla="*/ 48140 w 184007"/>
                  <a:gd name="connsiteY6" fmla="*/ 14019 h 214072"/>
                  <a:gd name="connsiteX7" fmla="*/ 49904 w 184007"/>
                  <a:gd name="connsiteY7" fmla="*/ 15782 h 214072"/>
                  <a:gd name="connsiteX8" fmla="*/ 50168 w 184007"/>
                  <a:gd name="connsiteY8" fmla="*/ 16576 h 214072"/>
                  <a:gd name="connsiteX9" fmla="*/ 50433 w 184007"/>
                  <a:gd name="connsiteY9" fmla="*/ 18339 h 214072"/>
                  <a:gd name="connsiteX10" fmla="*/ 50433 w 184007"/>
                  <a:gd name="connsiteY10" fmla="*/ 19573 h 214072"/>
                  <a:gd name="connsiteX11" fmla="*/ 51314 w 184007"/>
                  <a:gd name="connsiteY11" fmla="*/ 22130 h 214072"/>
                  <a:gd name="connsiteX12" fmla="*/ 52460 w 184007"/>
                  <a:gd name="connsiteY12" fmla="*/ 21249 h 214072"/>
                  <a:gd name="connsiteX13" fmla="*/ 53959 w 184007"/>
                  <a:gd name="connsiteY13" fmla="*/ 19573 h 214072"/>
                  <a:gd name="connsiteX14" fmla="*/ 52460 w 184007"/>
                  <a:gd name="connsiteY14" fmla="*/ 17457 h 214072"/>
                  <a:gd name="connsiteX15" fmla="*/ 53342 w 184007"/>
                  <a:gd name="connsiteY15" fmla="*/ 16576 h 214072"/>
                  <a:gd name="connsiteX16" fmla="*/ 54224 w 184007"/>
                  <a:gd name="connsiteY16" fmla="*/ 16576 h 214072"/>
                  <a:gd name="connsiteX17" fmla="*/ 54224 w 184007"/>
                  <a:gd name="connsiteY17" fmla="*/ 17457 h 214072"/>
                  <a:gd name="connsiteX18" fmla="*/ 54841 w 184007"/>
                  <a:gd name="connsiteY18" fmla="*/ 20102 h 214072"/>
                  <a:gd name="connsiteX19" fmla="*/ 55987 w 184007"/>
                  <a:gd name="connsiteY19" fmla="*/ 19573 h 214072"/>
                  <a:gd name="connsiteX20" fmla="*/ 56604 w 184007"/>
                  <a:gd name="connsiteY20" fmla="*/ 19573 h 214072"/>
                  <a:gd name="connsiteX21" fmla="*/ 58367 w 184007"/>
                  <a:gd name="connsiteY21" fmla="*/ 23012 h 214072"/>
                  <a:gd name="connsiteX22" fmla="*/ 56604 w 184007"/>
                  <a:gd name="connsiteY22" fmla="*/ 26539 h 214072"/>
                  <a:gd name="connsiteX23" fmla="*/ 56604 w 184007"/>
                  <a:gd name="connsiteY23" fmla="*/ 27156 h 214072"/>
                  <a:gd name="connsiteX24" fmla="*/ 57133 w 184007"/>
                  <a:gd name="connsiteY24" fmla="*/ 26539 h 214072"/>
                  <a:gd name="connsiteX25" fmla="*/ 57133 w 184007"/>
                  <a:gd name="connsiteY25" fmla="*/ 27156 h 214072"/>
                  <a:gd name="connsiteX26" fmla="*/ 56869 w 184007"/>
                  <a:gd name="connsiteY26" fmla="*/ 28302 h 214072"/>
                  <a:gd name="connsiteX27" fmla="*/ 57133 w 184007"/>
                  <a:gd name="connsiteY27" fmla="*/ 29977 h 214072"/>
                  <a:gd name="connsiteX28" fmla="*/ 56251 w 184007"/>
                  <a:gd name="connsiteY28" fmla="*/ 29977 h 214072"/>
                  <a:gd name="connsiteX29" fmla="*/ 55987 w 184007"/>
                  <a:gd name="connsiteY29" fmla="*/ 31212 h 214072"/>
                  <a:gd name="connsiteX30" fmla="*/ 57133 w 184007"/>
                  <a:gd name="connsiteY30" fmla="*/ 31212 h 214072"/>
                  <a:gd name="connsiteX31" fmla="*/ 58015 w 184007"/>
                  <a:gd name="connsiteY31" fmla="*/ 32093 h 214072"/>
                  <a:gd name="connsiteX32" fmla="*/ 58367 w 184007"/>
                  <a:gd name="connsiteY32" fmla="*/ 33857 h 214072"/>
                  <a:gd name="connsiteX33" fmla="*/ 59161 w 184007"/>
                  <a:gd name="connsiteY33" fmla="*/ 35532 h 214072"/>
                  <a:gd name="connsiteX34" fmla="*/ 61277 w 184007"/>
                  <a:gd name="connsiteY34" fmla="*/ 36413 h 214072"/>
                  <a:gd name="connsiteX35" fmla="*/ 62159 w 184007"/>
                  <a:gd name="connsiteY35" fmla="*/ 38530 h 214072"/>
                  <a:gd name="connsiteX36" fmla="*/ 62423 w 184007"/>
                  <a:gd name="connsiteY36" fmla="*/ 39940 h 214072"/>
                  <a:gd name="connsiteX37" fmla="*/ 64451 w 184007"/>
                  <a:gd name="connsiteY37" fmla="*/ 41968 h 214072"/>
                  <a:gd name="connsiteX38" fmla="*/ 66215 w 184007"/>
                  <a:gd name="connsiteY38" fmla="*/ 42321 h 214072"/>
                  <a:gd name="connsiteX39" fmla="*/ 67713 w 184007"/>
                  <a:gd name="connsiteY39" fmla="*/ 42321 h 214072"/>
                  <a:gd name="connsiteX40" fmla="*/ 68242 w 184007"/>
                  <a:gd name="connsiteY40" fmla="*/ 42321 h 214072"/>
                  <a:gd name="connsiteX41" fmla="*/ 69388 w 184007"/>
                  <a:gd name="connsiteY41" fmla="*/ 42850 h 214072"/>
                  <a:gd name="connsiteX42" fmla="*/ 70888 w 184007"/>
                  <a:gd name="connsiteY42" fmla="*/ 42850 h 214072"/>
                  <a:gd name="connsiteX43" fmla="*/ 70535 w 184007"/>
                  <a:gd name="connsiteY43" fmla="*/ 42321 h 214072"/>
                  <a:gd name="connsiteX44" fmla="*/ 72651 w 184007"/>
                  <a:gd name="connsiteY44" fmla="*/ 43996 h 214072"/>
                  <a:gd name="connsiteX45" fmla="*/ 74943 w 184007"/>
                  <a:gd name="connsiteY45" fmla="*/ 44878 h 214072"/>
                  <a:gd name="connsiteX46" fmla="*/ 76089 w 184007"/>
                  <a:gd name="connsiteY46" fmla="*/ 46641 h 214072"/>
                  <a:gd name="connsiteX47" fmla="*/ 78205 w 184007"/>
                  <a:gd name="connsiteY47" fmla="*/ 45759 h 214072"/>
                  <a:gd name="connsiteX48" fmla="*/ 78205 w 184007"/>
                  <a:gd name="connsiteY48" fmla="*/ 44878 h 214072"/>
                  <a:gd name="connsiteX49" fmla="*/ 78470 w 184007"/>
                  <a:gd name="connsiteY49" fmla="*/ 43996 h 214072"/>
                  <a:gd name="connsiteX50" fmla="*/ 78470 w 184007"/>
                  <a:gd name="connsiteY50" fmla="*/ 42850 h 214072"/>
                  <a:gd name="connsiteX51" fmla="*/ 78470 w 184007"/>
                  <a:gd name="connsiteY51" fmla="*/ 41968 h 214072"/>
                  <a:gd name="connsiteX52" fmla="*/ 79352 w 184007"/>
                  <a:gd name="connsiteY52" fmla="*/ 41968 h 214072"/>
                  <a:gd name="connsiteX53" fmla="*/ 80498 w 184007"/>
                  <a:gd name="connsiteY53" fmla="*/ 41086 h 214072"/>
                  <a:gd name="connsiteX54" fmla="*/ 80763 w 184007"/>
                  <a:gd name="connsiteY54" fmla="*/ 41086 h 214072"/>
                  <a:gd name="connsiteX55" fmla="*/ 82261 w 184007"/>
                  <a:gd name="connsiteY55" fmla="*/ 40557 h 214072"/>
                  <a:gd name="connsiteX56" fmla="*/ 83407 w 184007"/>
                  <a:gd name="connsiteY56" fmla="*/ 40557 h 214072"/>
                  <a:gd name="connsiteX57" fmla="*/ 83672 w 184007"/>
                  <a:gd name="connsiteY57" fmla="*/ 39323 h 214072"/>
                  <a:gd name="connsiteX58" fmla="*/ 84289 w 184007"/>
                  <a:gd name="connsiteY58" fmla="*/ 38530 h 214072"/>
                  <a:gd name="connsiteX59" fmla="*/ 85171 w 184007"/>
                  <a:gd name="connsiteY59" fmla="*/ 39323 h 214072"/>
                  <a:gd name="connsiteX60" fmla="*/ 86317 w 184007"/>
                  <a:gd name="connsiteY60" fmla="*/ 39323 h 214072"/>
                  <a:gd name="connsiteX61" fmla="*/ 88345 w 184007"/>
                  <a:gd name="connsiteY61" fmla="*/ 39940 h 214072"/>
                  <a:gd name="connsiteX62" fmla="*/ 88345 w 184007"/>
                  <a:gd name="connsiteY62" fmla="*/ 40557 h 214072"/>
                  <a:gd name="connsiteX63" fmla="*/ 89844 w 184007"/>
                  <a:gd name="connsiteY63" fmla="*/ 40557 h 214072"/>
                  <a:gd name="connsiteX64" fmla="*/ 89844 w 184007"/>
                  <a:gd name="connsiteY64" fmla="*/ 41086 h 214072"/>
                  <a:gd name="connsiteX65" fmla="*/ 90373 w 184007"/>
                  <a:gd name="connsiteY65" fmla="*/ 42321 h 214072"/>
                  <a:gd name="connsiteX66" fmla="*/ 91872 w 184007"/>
                  <a:gd name="connsiteY66" fmla="*/ 42321 h 214072"/>
                  <a:gd name="connsiteX67" fmla="*/ 92489 w 184007"/>
                  <a:gd name="connsiteY67" fmla="*/ 42850 h 214072"/>
                  <a:gd name="connsiteX68" fmla="*/ 93635 w 184007"/>
                  <a:gd name="connsiteY68" fmla="*/ 43731 h 214072"/>
                  <a:gd name="connsiteX69" fmla="*/ 93900 w 184007"/>
                  <a:gd name="connsiteY69" fmla="*/ 44878 h 214072"/>
                  <a:gd name="connsiteX70" fmla="*/ 97162 w 184007"/>
                  <a:gd name="connsiteY70" fmla="*/ 45759 h 214072"/>
                  <a:gd name="connsiteX71" fmla="*/ 96809 w 184007"/>
                  <a:gd name="connsiteY71" fmla="*/ 47258 h 214072"/>
                  <a:gd name="connsiteX72" fmla="*/ 96809 w 184007"/>
                  <a:gd name="connsiteY72" fmla="*/ 48140 h 214072"/>
                  <a:gd name="connsiteX73" fmla="*/ 97162 w 184007"/>
                  <a:gd name="connsiteY73" fmla="*/ 49286 h 214072"/>
                  <a:gd name="connsiteX74" fmla="*/ 95927 w 184007"/>
                  <a:gd name="connsiteY74" fmla="*/ 49815 h 214072"/>
                  <a:gd name="connsiteX75" fmla="*/ 95398 w 184007"/>
                  <a:gd name="connsiteY75" fmla="*/ 49815 h 214072"/>
                  <a:gd name="connsiteX76" fmla="*/ 94517 w 184007"/>
                  <a:gd name="connsiteY76" fmla="*/ 49286 h 214072"/>
                  <a:gd name="connsiteX77" fmla="*/ 94164 w 184007"/>
                  <a:gd name="connsiteY77" fmla="*/ 50168 h 214072"/>
                  <a:gd name="connsiteX78" fmla="*/ 93018 w 184007"/>
                  <a:gd name="connsiteY78" fmla="*/ 51049 h 214072"/>
                  <a:gd name="connsiteX79" fmla="*/ 93371 w 184007"/>
                  <a:gd name="connsiteY79" fmla="*/ 51931 h 214072"/>
                  <a:gd name="connsiteX80" fmla="*/ 93900 w 184007"/>
                  <a:gd name="connsiteY80" fmla="*/ 52196 h 214072"/>
                  <a:gd name="connsiteX81" fmla="*/ 95046 w 184007"/>
                  <a:gd name="connsiteY81" fmla="*/ 52813 h 214072"/>
                  <a:gd name="connsiteX82" fmla="*/ 97426 w 184007"/>
                  <a:gd name="connsiteY82" fmla="*/ 52196 h 214072"/>
                  <a:gd name="connsiteX83" fmla="*/ 98308 w 184007"/>
                  <a:gd name="connsiteY83" fmla="*/ 53606 h 214072"/>
                  <a:gd name="connsiteX84" fmla="*/ 100600 w 184007"/>
                  <a:gd name="connsiteY84" fmla="*/ 53959 h 214072"/>
                  <a:gd name="connsiteX85" fmla="*/ 100600 w 184007"/>
                  <a:gd name="connsiteY85" fmla="*/ 55370 h 214072"/>
                  <a:gd name="connsiteX86" fmla="*/ 99454 w 184007"/>
                  <a:gd name="connsiteY86" fmla="*/ 55370 h 214072"/>
                  <a:gd name="connsiteX87" fmla="*/ 99807 w 184007"/>
                  <a:gd name="connsiteY87" fmla="*/ 57133 h 214072"/>
                  <a:gd name="connsiteX88" fmla="*/ 101218 w 184007"/>
                  <a:gd name="connsiteY88" fmla="*/ 58367 h 214072"/>
                  <a:gd name="connsiteX89" fmla="*/ 102628 w 184007"/>
                  <a:gd name="connsiteY89" fmla="*/ 56604 h 214072"/>
                  <a:gd name="connsiteX90" fmla="*/ 104127 w 184007"/>
                  <a:gd name="connsiteY90" fmla="*/ 57133 h 214072"/>
                  <a:gd name="connsiteX91" fmla="*/ 106155 w 184007"/>
                  <a:gd name="connsiteY91" fmla="*/ 58367 h 214072"/>
                  <a:gd name="connsiteX92" fmla="*/ 105626 w 184007"/>
                  <a:gd name="connsiteY92" fmla="*/ 59514 h 214072"/>
                  <a:gd name="connsiteX93" fmla="*/ 106419 w 184007"/>
                  <a:gd name="connsiteY93" fmla="*/ 60395 h 214072"/>
                  <a:gd name="connsiteX94" fmla="*/ 107037 w 184007"/>
                  <a:gd name="connsiteY94" fmla="*/ 60395 h 214072"/>
                  <a:gd name="connsiteX95" fmla="*/ 106419 w 184007"/>
                  <a:gd name="connsiteY95" fmla="*/ 61277 h 214072"/>
                  <a:gd name="connsiteX96" fmla="*/ 107301 w 184007"/>
                  <a:gd name="connsiteY96" fmla="*/ 62688 h 214072"/>
                  <a:gd name="connsiteX97" fmla="*/ 106772 w 184007"/>
                  <a:gd name="connsiteY97" fmla="*/ 63305 h 214072"/>
                  <a:gd name="connsiteX98" fmla="*/ 105626 w 184007"/>
                  <a:gd name="connsiteY98" fmla="*/ 63305 h 214072"/>
                  <a:gd name="connsiteX99" fmla="*/ 105626 w 184007"/>
                  <a:gd name="connsiteY99" fmla="*/ 63834 h 214072"/>
                  <a:gd name="connsiteX100" fmla="*/ 104744 w 184007"/>
                  <a:gd name="connsiteY100" fmla="*/ 64716 h 214072"/>
                  <a:gd name="connsiteX101" fmla="*/ 103510 w 184007"/>
                  <a:gd name="connsiteY101" fmla="*/ 65597 h 214072"/>
                  <a:gd name="connsiteX102" fmla="*/ 103510 w 184007"/>
                  <a:gd name="connsiteY102" fmla="*/ 66479 h 214072"/>
                  <a:gd name="connsiteX103" fmla="*/ 104744 w 184007"/>
                  <a:gd name="connsiteY103" fmla="*/ 65862 h 214072"/>
                  <a:gd name="connsiteX104" fmla="*/ 105009 w 184007"/>
                  <a:gd name="connsiteY104" fmla="*/ 66479 h 214072"/>
                  <a:gd name="connsiteX105" fmla="*/ 105273 w 184007"/>
                  <a:gd name="connsiteY105" fmla="*/ 68507 h 214072"/>
                  <a:gd name="connsiteX106" fmla="*/ 103863 w 184007"/>
                  <a:gd name="connsiteY106" fmla="*/ 68242 h 214072"/>
                  <a:gd name="connsiteX107" fmla="*/ 103863 w 184007"/>
                  <a:gd name="connsiteY107" fmla="*/ 68507 h 214072"/>
                  <a:gd name="connsiteX108" fmla="*/ 102893 w 184007"/>
                  <a:gd name="connsiteY108" fmla="*/ 68507 h 214072"/>
                  <a:gd name="connsiteX109" fmla="*/ 101747 w 184007"/>
                  <a:gd name="connsiteY109" fmla="*/ 70887 h 214072"/>
                  <a:gd name="connsiteX110" fmla="*/ 100600 w 184007"/>
                  <a:gd name="connsiteY110" fmla="*/ 72034 h 214072"/>
                  <a:gd name="connsiteX111" fmla="*/ 99807 w 184007"/>
                  <a:gd name="connsiteY111" fmla="*/ 72651 h 214072"/>
                  <a:gd name="connsiteX112" fmla="*/ 98308 w 184007"/>
                  <a:gd name="connsiteY112" fmla="*/ 72034 h 214072"/>
                  <a:gd name="connsiteX113" fmla="*/ 97162 w 184007"/>
                  <a:gd name="connsiteY113" fmla="*/ 71152 h 214072"/>
                  <a:gd name="connsiteX114" fmla="*/ 96809 w 184007"/>
                  <a:gd name="connsiteY114" fmla="*/ 70270 h 214072"/>
                  <a:gd name="connsiteX115" fmla="*/ 95663 w 184007"/>
                  <a:gd name="connsiteY115" fmla="*/ 70887 h 214072"/>
                  <a:gd name="connsiteX116" fmla="*/ 94517 w 184007"/>
                  <a:gd name="connsiteY116" fmla="*/ 70887 h 214072"/>
                  <a:gd name="connsiteX117" fmla="*/ 93018 w 184007"/>
                  <a:gd name="connsiteY117" fmla="*/ 70270 h 214072"/>
                  <a:gd name="connsiteX118" fmla="*/ 90108 w 184007"/>
                  <a:gd name="connsiteY118" fmla="*/ 70887 h 214072"/>
                  <a:gd name="connsiteX119" fmla="*/ 89579 w 184007"/>
                  <a:gd name="connsiteY119" fmla="*/ 70887 h 214072"/>
                  <a:gd name="connsiteX120" fmla="*/ 88345 w 184007"/>
                  <a:gd name="connsiteY120" fmla="*/ 70270 h 214072"/>
                  <a:gd name="connsiteX121" fmla="*/ 87816 w 184007"/>
                  <a:gd name="connsiteY121" fmla="*/ 70887 h 214072"/>
                  <a:gd name="connsiteX122" fmla="*/ 88697 w 184007"/>
                  <a:gd name="connsiteY122" fmla="*/ 72034 h 214072"/>
                  <a:gd name="connsiteX123" fmla="*/ 88962 w 184007"/>
                  <a:gd name="connsiteY123" fmla="*/ 73180 h 214072"/>
                  <a:gd name="connsiteX124" fmla="*/ 89844 w 184007"/>
                  <a:gd name="connsiteY124" fmla="*/ 73180 h 214072"/>
                  <a:gd name="connsiteX125" fmla="*/ 90108 w 184007"/>
                  <a:gd name="connsiteY125" fmla="*/ 74943 h 214072"/>
                  <a:gd name="connsiteX126" fmla="*/ 89579 w 184007"/>
                  <a:gd name="connsiteY126" fmla="*/ 75560 h 214072"/>
                  <a:gd name="connsiteX127" fmla="*/ 89579 w 184007"/>
                  <a:gd name="connsiteY127" fmla="*/ 76442 h 214072"/>
                  <a:gd name="connsiteX128" fmla="*/ 89844 w 184007"/>
                  <a:gd name="connsiteY128" fmla="*/ 76706 h 214072"/>
                  <a:gd name="connsiteX129" fmla="*/ 89226 w 184007"/>
                  <a:gd name="connsiteY129" fmla="*/ 76706 h 214072"/>
                  <a:gd name="connsiteX130" fmla="*/ 88697 w 184007"/>
                  <a:gd name="connsiteY130" fmla="*/ 76706 h 214072"/>
                  <a:gd name="connsiteX131" fmla="*/ 87463 w 184007"/>
                  <a:gd name="connsiteY131" fmla="*/ 77588 h 214072"/>
                  <a:gd name="connsiteX132" fmla="*/ 86934 w 184007"/>
                  <a:gd name="connsiteY132" fmla="*/ 79352 h 214072"/>
                  <a:gd name="connsiteX133" fmla="*/ 86581 w 184007"/>
                  <a:gd name="connsiteY133" fmla="*/ 79881 h 214072"/>
                  <a:gd name="connsiteX134" fmla="*/ 86934 w 184007"/>
                  <a:gd name="connsiteY134" fmla="*/ 80498 h 214072"/>
                  <a:gd name="connsiteX135" fmla="*/ 87199 w 184007"/>
                  <a:gd name="connsiteY135" fmla="*/ 80498 h 214072"/>
                  <a:gd name="connsiteX136" fmla="*/ 87199 w 184007"/>
                  <a:gd name="connsiteY136" fmla="*/ 81027 h 214072"/>
                  <a:gd name="connsiteX137" fmla="*/ 89579 w 184007"/>
                  <a:gd name="connsiteY137" fmla="*/ 81908 h 214072"/>
                  <a:gd name="connsiteX138" fmla="*/ 90108 w 184007"/>
                  <a:gd name="connsiteY138" fmla="*/ 80762 h 214072"/>
                  <a:gd name="connsiteX139" fmla="*/ 90373 w 184007"/>
                  <a:gd name="connsiteY139" fmla="*/ 81908 h 214072"/>
                  <a:gd name="connsiteX140" fmla="*/ 91255 w 184007"/>
                  <a:gd name="connsiteY140" fmla="*/ 82261 h 214072"/>
                  <a:gd name="connsiteX141" fmla="*/ 92489 w 184007"/>
                  <a:gd name="connsiteY141" fmla="*/ 82526 h 214072"/>
                  <a:gd name="connsiteX142" fmla="*/ 93635 w 184007"/>
                  <a:gd name="connsiteY142" fmla="*/ 83672 h 214072"/>
                  <a:gd name="connsiteX143" fmla="*/ 94781 w 184007"/>
                  <a:gd name="connsiteY143" fmla="*/ 84024 h 214072"/>
                  <a:gd name="connsiteX144" fmla="*/ 94781 w 184007"/>
                  <a:gd name="connsiteY144" fmla="*/ 84818 h 214072"/>
                  <a:gd name="connsiteX145" fmla="*/ 95927 w 184007"/>
                  <a:gd name="connsiteY145" fmla="*/ 84289 h 214072"/>
                  <a:gd name="connsiteX146" fmla="*/ 96809 w 184007"/>
                  <a:gd name="connsiteY146" fmla="*/ 85435 h 214072"/>
                  <a:gd name="connsiteX147" fmla="*/ 98837 w 184007"/>
                  <a:gd name="connsiteY147" fmla="*/ 86052 h 214072"/>
                  <a:gd name="connsiteX148" fmla="*/ 99807 w 184007"/>
                  <a:gd name="connsiteY148" fmla="*/ 87816 h 214072"/>
                  <a:gd name="connsiteX149" fmla="*/ 101218 w 184007"/>
                  <a:gd name="connsiteY149" fmla="*/ 86581 h 214072"/>
                  <a:gd name="connsiteX150" fmla="*/ 102628 w 184007"/>
                  <a:gd name="connsiteY150" fmla="*/ 90373 h 214072"/>
                  <a:gd name="connsiteX151" fmla="*/ 103510 w 184007"/>
                  <a:gd name="connsiteY151" fmla="*/ 90373 h 214072"/>
                  <a:gd name="connsiteX152" fmla="*/ 105273 w 184007"/>
                  <a:gd name="connsiteY152" fmla="*/ 91607 h 214072"/>
                  <a:gd name="connsiteX153" fmla="*/ 106419 w 184007"/>
                  <a:gd name="connsiteY153" fmla="*/ 91254 h 214072"/>
                  <a:gd name="connsiteX154" fmla="*/ 106772 w 184007"/>
                  <a:gd name="connsiteY154" fmla="*/ 93018 h 214072"/>
                  <a:gd name="connsiteX155" fmla="*/ 109064 w 184007"/>
                  <a:gd name="connsiteY155" fmla="*/ 93018 h 214072"/>
                  <a:gd name="connsiteX156" fmla="*/ 110828 w 184007"/>
                  <a:gd name="connsiteY156" fmla="*/ 93018 h 214072"/>
                  <a:gd name="connsiteX157" fmla="*/ 111710 w 184007"/>
                  <a:gd name="connsiteY157" fmla="*/ 93899 h 214072"/>
                  <a:gd name="connsiteX158" fmla="*/ 112591 w 184007"/>
                  <a:gd name="connsiteY158" fmla="*/ 93899 h 214072"/>
                  <a:gd name="connsiteX159" fmla="*/ 113208 w 184007"/>
                  <a:gd name="connsiteY159" fmla="*/ 93899 h 214072"/>
                  <a:gd name="connsiteX160" fmla="*/ 114884 w 184007"/>
                  <a:gd name="connsiteY160" fmla="*/ 94781 h 214072"/>
                  <a:gd name="connsiteX161" fmla="*/ 115765 w 184007"/>
                  <a:gd name="connsiteY161" fmla="*/ 95927 h 214072"/>
                  <a:gd name="connsiteX162" fmla="*/ 117529 w 184007"/>
                  <a:gd name="connsiteY162" fmla="*/ 95927 h 214072"/>
                  <a:gd name="connsiteX163" fmla="*/ 118410 w 184007"/>
                  <a:gd name="connsiteY163" fmla="*/ 96544 h 214072"/>
                  <a:gd name="connsiteX164" fmla="*/ 117881 w 184007"/>
                  <a:gd name="connsiteY164" fmla="*/ 97691 h 214072"/>
                  <a:gd name="connsiteX165" fmla="*/ 116118 w 184007"/>
                  <a:gd name="connsiteY165" fmla="*/ 97691 h 214072"/>
                  <a:gd name="connsiteX166" fmla="*/ 116118 w 184007"/>
                  <a:gd name="connsiteY166" fmla="*/ 101482 h 214072"/>
                  <a:gd name="connsiteX167" fmla="*/ 116911 w 184007"/>
                  <a:gd name="connsiteY167" fmla="*/ 102981 h 214072"/>
                  <a:gd name="connsiteX168" fmla="*/ 118675 w 184007"/>
                  <a:gd name="connsiteY168" fmla="*/ 103245 h 214072"/>
                  <a:gd name="connsiteX169" fmla="*/ 119027 w 184007"/>
                  <a:gd name="connsiteY169" fmla="*/ 104656 h 214072"/>
                  <a:gd name="connsiteX170" fmla="*/ 119556 w 184007"/>
                  <a:gd name="connsiteY170" fmla="*/ 105009 h 214072"/>
                  <a:gd name="connsiteX171" fmla="*/ 120703 w 184007"/>
                  <a:gd name="connsiteY171" fmla="*/ 106419 h 214072"/>
                  <a:gd name="connsiteX172" fmla="*/ 121585 w 184007"/>
                  <a:gd name="connsiteY172" fmla="*/ 105890 h 214072"/>
                  <a:gd name="connsiteX173" fmla="*/ 121937 w 184007"/>
                  <a:gd name="connsiteY173" fmla="*/ 107565 h 214072"/>
                  <a:gd name="connsiteX174" fmla="*/ 123965 w 184007"/>
                  <a:gd name="connsiteY174" fmla="*/ 108800 h 214072"/>
                  <a:gd name="connsiteX175" fmla="*/ 123965 w 184007"/>
                  <a:gd name="connsiteY175" fmla="*/ 107565 h 214072"/>
                  <a:gd name="connsiteX176" fmla="*/ 124847 w 184007"/>
                  <a:gd name="connsiteY176" fmla="*/ 105890 h 214072"/>
                  <a:gd name="connsiteX177" fmla="*/ 125728 w 184007"/>
                  <a:gd name="connsiteY177" fmla="*/ 107565 h 214072"/>
                  <a:gd name="connsiteX178" fmla="*/ 125728 w 184007"/>
                  <a:gd name="connsiteY178" fmla="*/ 108183 h 214072"/>
                  <a:gd name="connsiteX179" fmla="*/ 125993 w 184007"/>
                  <a:gd name="connsiteY179" fmla="*/ 109329 h 214072"/>
                  <a:gd name="connsiteX180" fmla="*/ 126610 w 184007"/>
                  <a:gd name="connsiteY180" fmla="*/ 109329 h 214072"/>
                  <a:gd name="connsiteX181" fmla="*/ 126874 w 184007"/>
                  <a:gd name="connsiteY181" fmla="*/ 110210 h 214072"/>
                  <a:gd name="connsiteX182" fmla="*/ 128638 w 184007"/>
                  <a:gd name="connsiteY182" fmla="*/ 111445 h 214072"/>
                  <a:gd name="connsiteX183" fmla="*/ 128021 w 184007"/>
                  <a:gd name="connsiteY183" fmla="*/ 111709 h 214072"/>
                  <a:gd name="connsiteX184" fmla="*/ 129255 w 184007"/>
                  <a:gd name="connsiteY184" fmla="*/ 112591 h 214072"/>
                  <a:gd name="connsiteX185" fmla="*/ 128902 w 184007"/>
                  <a:gd name="connsiteY185" fmla="*/ 113208 h 214072"/>
                  <a:gd name="connsiteX186" fmla="*/ 129255 w 184007"/>
                  <a:gd name="connsiteY186" fmla="*/ 115765 h 214072"/>
                  <a:gd name="connsiteX187" fmla="*/ 130930 w 184007"/>
                  <a:gd name="connsiteY187" fmla="*/ 116647 h 214072"/>
                  <a:gd name="connsiteX188" fmla="*/ 130930 w 184007"/>
                  <a:gd name="connsiteY188" fmla="*/ 117528 h 214072"/>
                  <a:gd name="connsiteX189" fmla="*/ 131812 w 184007"/>
                  <a:gd name="connsiteY189" fmla="*/ 118675 h 214072"/>
                  <a:gd name="connsiteX190" fmla="*/ 133311 w 184007"/>
                  <a:gd name="connsiteY190" fmla="*/ 121320 h 214072"/>
                  <a:gd name="connsiteX191" fmla="*/ 135868 w 184007"/>
                  <a:gd name="connsiteY191" fmla="*/ 122201 h 214072"/>
                  <a:gd name="connsiteX192" fmla="*/ 139747 w 184007"/>
                  <a:gd name="connsiteY192" fmla="*/ 127403 h 214072"/>
                  <a:gd name="connsiteX193" fmla="*/ 144685 w 184007"/>
                  <a:gd name="connsiteY193" fmla="*/ 130930 h 214072"/>
                  <a:gd name="connsiteX194" fmla="*/ 145831 w 184007"/>
                  <a:gd name="connsiteY194" fmla="*/ 130930 h 214072"/>
                  <a:gd name="connsiteX195" fmla="*/ 146448 w 184007"/>
                  <a:gd name="connsiteY195" fmla="*/ 130401 h 214072"/>
                  <a:gd name="connsiteX196" fmla="*/ 146977 w 184007"/>
                  <a:gd name="connsiteY196" fmla="*/ 130401 h 214072"/>
                  <a:gd name="connsiteX197" fmla="*/ 148211 w 184007"/>
                  <a:gd name="connsiteY197" fmla="*/ 131194 h 214072"/>
                  <a:gd name="connsiteX198" fmla="*/ 147330 w 184007"/>
                  <a:gd name="connsiteY198" fmla="*/ 131547 h 214072"/>
                  <a:gd name="connsiteX199" fmla="*/ 147330 w 184007"/>
                  <a:gd name="connsiteY199" fmla="*/ 132076 h 214072"/>
                  <a:gd name="connsiteX200" fmla="*/ 149005 w 184007"/>
                  <a:gd name="connsiteY200" fmla="*/ 134721 h 214072"/>
                  <a:gd name="connsiteX201" fmla="*/ 150768 w 184007"/>
                  <a:gd name="connsiteY201" fmla="*/ 135338 h 214072"/>
                  <a:gd name="connsiteX202" fmla="*/ 149622 w 184007"/>
                  <a:gd name="connsiteY202" fmla="*/ 136485 h 214072"/>
                  <a:gd name="connsiteX203" fmla="*/ 150503 w 184007"/>
                  <a:gd name="connsiteY203" fmla="*/ 137631 h 214072"/>
                  <a:gd name="connsiteX204" fmla="*/ 151914 w 184007"/>
                  <a:gd name="connsiteY204" fmla="*/ 137631 h 214072"/>
                  <a:gd name="connsiteX205" fmla="*/ 153413 w 184007"/>
                  <a:gd name="connsiteY205" fmla="*/ 138865 h 214072"/>
                  <a:gd name="connsiteX206" fmla="*/ 154030 w 184007"/>
                  <a:gd name="connsiteY206" fmla="*/ 144949 h 214072"/>
                  <a:gd name="connsiteX207" fmla="*/ 154912 w 184007"/>
                  <a:gd name="connsiteY207" fmla="*/ 146977 h 214072"/>
                  <a:gd name="connsiteX208" fmla="*/ 155706 w 184007"/>
                  <a:gd name="connsiteY208" fmla="*/ 146977 h 214072"/>
                  <a:gd name="connsiteX209" fmla="*/ 155706 w 184007"/>
                  <a:gd name="connsiteY209" fmla="*/ 148476 h 214072"/>
                  <a:gd name="connsiteX210" fmla="*/ 156940 w 184007"/>
                  <a:gd name="connsiteY210" fmla="*/ 148476 h 214072"/>
                  <a:gd name="connsiteX211" fmla="*/ 156940 w 184007"/>
                  <a:gd name="connsiteY211" fmla="*/ 148740 h 214072"/>
                  <a:gd name="connsiteX212" fmla="*/ 157204 w 184007"/>
                  <a:gd name="connsiteY212" fmla="*/ 151385 h 214072"/>
                  <a:gd name="connsiteX213" fmla="*/ 158086 w 184007"/>
                  <a:gd name="connsiteY213" fmla="*/ 151914 h 214072"/>
                  <a:gd name="connsiteX214" fmla="*/ 159585 w 184007"/>
                  <a:gd name="connsiteY214" fmla="*/ 151914 h 214072"/>
                  <a:gd name="connsiteX215" fmla="*/ 160114 w 184007"/>
                  <a:gd name="connsiteY215" fmla="*/ 151914 h 214072"/>
                  <a:gd name="connsiteX216" fmla="*/ 160114 w 184007"/>
                  <a:gd name="connsiteY216" fmla="*/ 150503 h 214072"/>
                  <a:gd name="connsiteX217" fmla="*/ 160378 w 184007"/>
                  <a:gd name="connsiteY217" fmla="*/ 150151 h 214072"/>
                  <a:gd name="connsiteX218" fmla="*/ 160114 w 184007"/>
                  <a:gd name="connsiteY218" fmla="*/ 148740 h 214072"/>
                  <a:gd name="connsiteX219" fmla="*/ 161613 w 184007"/>
                  <a:gd name="connsiteY219" fmla="*/ 148740 h 214072"/>
                  <a:gd name="connsiteX220" fmla="*/ 162142 w 184007"/>
                  <a:gd name="connsiteY220" fmla="*/ 149357 h 214072"/>
                  <a:gd name="connsiteX221" fmla="*/ 162494 w 184007"/>
                  <a:gd name="connsiteY221" fmla="*/ 150503 h 214072"/>
                  <a:gd name="connsiteX222" fmla="*/ 161877 w 184007"/>
                  <a:gd name="connsiteY222" fmla="*/ 151914 h 214072"/>
                  <a:gd name="connsiteX223" fmla="*/ 162759 w 184007"/>
                  <a:gd name="connsiteY223" fmla="*/ 151914 h 214072"/>
                  <a:gd name="connsiteX224" fmla="*/ 162759 w 184007"/>
                  <a:gd name="connsiteY224" fmla="*/ 152531 h 214072"/>
                  <a:gd name="connsiteX225" fmla="*/ 164523 w 184007"/>
                  <a:gd name="connsiteY225" fmla="*/ 153942 h 214072"/>
                  <a:gd name="connsiteX226" fmla="*/ 164787 w 184007"/>
                  <a:gd name="connsiteY226" fmla="*/ 154824 h 214072"/>
                  <a:gd name="connsiteX227" fmla="*/ 165404 w 184007"/>
                  <a:gd name="connsiteY227" fmla="*/ 154824 h 214072"/>
                  <a:gd name="connsiteX228" fmla="*/ 166815 w 184007"/>
                  <a:gd name="connsiteY228" fmla="*/ 154824 h 214072"/>
                  <a:gd name="connsiteX229" fmla="*/ 168578 w 184007"/>
                  <a:gd name="connsiteY229" fmla="*/ 155705 h 214072"/>
                  <a:gd name="connsiteX230" fmla="*/ 169724 w 184007"/>
                  <a:gd name="connsiteY230" fmla="*/ 157469 h 214072"/>
                  <a:gd name="connsiteX231" fmla="*/ 170341 w 184007"/>
                  <a:gd name="connsiteY231" fmla="*/ 158615 h 214072"/>
                  <a:gd name="connsiteX232" fmla="*/ 171488 w 184007"/>
                  <a:gd name="connsiteY232" fmla="*/ 158615 h 214072"/>
                  <a:gd name="connsiteX233" fmla="*/ 173251 w 184007"/>
                  <a:gd name="connsiteY233" fmla="*/ 161260 h 214072"/>
                  <a:gd name="connsiteX234" fmla="*/ 174397 w 184007"/>
                  <a:gd name="connsiteY234" fmla="*/ 161260 h 214072"/>
                  <a:gd name="connsiteX235" fmla="*/ 174750 w 184007"/>
                  <a:gd name="connsiteY235" fmla="*/ 159849 h 214072"/>
                  <a:gd name="connsiteX236" fmla="*/ 176425 w 184007"/>
                  <a:gd name="connsiteY236" fmla="*/ 159849 h 214072"/>
                  <a:gd name="connsiteX237" fmla="*/ 176425 w 184007"/>
                  <a:gd name="connsiteY237" fmla="*/ 161613 h 214072"/>
                  <a:gd name="connsiteX238" fmla="*/ 176777 w 184007"/>
                  <a:gd name="connsiteY238" fmla="*/ 162406 h 214072"/>
                  <a:gd name="connsiteX239" fmla="*/ 174750 w 184007"/>
                  <a:gd name="connsiteY239" fmla="*/ 164169 h 214072"/>
                  <a:gd name="connsiteX240" fmla="*/ 173515 w 184007"/>
                  <a:gd name="connsiteY240" fmla="*/ 164169 h 214072"/>
                  <a:gd name="connsiteX241" fmla="*/ 172369 w 184007"/>
                  <a:gd name="connsiteY241" fmla="*/ 165933 h 214072"/>
                  <a:gd name="connsiteX242" fmla="*/ 171840 w 184007"/>
                  <a:gd name="connsiteY242" fmla="*/ 165933 h 214072"/>
                  <a:gd name="connsiteX243" fmla="*/ 171488 w 184007"/>
                  <a:gd name="connsiteY243" fmla="*/ 165933 h 214072"/>
                  <a:gd name="connsiteX244" fmla="*/ 170870 w 184007"/>
                  <a:gd name="connsiteY244" fmla="*/ 167696 h 214072"/>
                  <a:gd name="connsiteX245" fmla="*/ 172986 w 184007"/>
                  <a:gd name="connsiteY245" fmla="*/ 169195 h 214072"/>
                  <a:gd name="connsiteX246" fmla="*/ 173251 w 184007"/>
                  <a:gd name="connsiteY246" fmla="*/ 171223 h 214072"/>
                  <a:gd name="connsiteX247" fmla="*/ 173868 w 184007"/>
                  <a:gd name="connsiteY247" fmla="*/ 171487 h 214072"/>
                  <a:gd name="connsiteX248" fmla="*/ 175015 w 184007"/>
                  <a:gd name="connsiteY248" fmla="*/ 172369 h 214072"/>
                  <a:gd name="connsiteX249" fmla="*/ 176161 w 184007"/>
                  <a:gd name="connsiteY249" fmla="*/ 174662 h 214072"/>
                  <a:gd name="connsiteX250" fmla="*/ 177395 w 184007"/>
                  <a:gd name="connsiteY250" fmla="*/ 174133 h 214072"/>
                  <a:gd name="connsiteX251" fmla="*/ 178188 w 184007"/>
                  <a:gd name="connsiteY251" fmla="*/ 174662 h 214072"/>
                  <a:gd name="connsiteX252" fmla="*/ 178453 w 184007"/>
                  <a:gd name="connsiteY252" fmla="*/ 174133 h 214072"/>
                  <a:gd name="connsiteX253" fmla="*/ 178453 w 184007"/>
                  <a:gd name="connsiteY253" fmla="*/ 175279 h 214072"/>
                  <a:gd name="connsiteX254" fmla="*/ 178453 w 184007"/>
                  <a:gd name="connsiteY254" fmla="*/ 174662 h 214072"/>
                  <a:gd name="connsiteX255" fmla="*/ 178806 w 184007"/>
                  <a:gd name="connsiteY255" fmla="*/ 176689 h 214072"/>
                  <a:gd name="connsiteX256" fmla="*/ 180216 w 184007"/>
                  <a:gd name="connsiteY256" fmla="*/ 176689 h 214072"/>
                  <a:gd name="connsiteX257" fmla="*/ 180833 w 184007"/>
                  <a:gd name="connsiteY257" fmla="*/ 176689 h 214072"/>
                  <a:gd name="connsiteX258" fmla="*/ 181098 w 184007"/>
                  <a:gd name="connsiteY258" fmla="*/ 177571 h 214072"/>
                  <a:gd name="connsiteX259" fmla="*/ 181715 w 184007"/>
                  <a:gd name="connsiteY259" fmla="*/ 178453 h 214072"/>
                  <a:gd name="connsiteX260" fmla="*/ 184007 w 184007"/>
                  <a:gd name="connsiteY260" fmla="*/ 181451 h 214072"/>
                  <a:gd name="connsiteX261" fmla="*/ 183478 w 184007"/>
                  <a:gd name="connsiteY261" fmla="*/ 182597 h 214072"/>
                  <a:gd name="connsiteX262" fmla="*/ 182597 w 184007"/>
                  <a:gd name="connsiteY262" fmla="*/ 181980 h 214072"/>
                  <a:gd name="connsiteX263" fmla="*/ 182861 w 184007"/>
                  <a:gd name="connsiteY263" fmla="*/ 184272 h 214072"/>
                  <a:gd name="connsiteX264" fmla="*/ 181980 w 184007"/>
                  <a:gd name="connsiteY264" fmla="*/ 185154 h 214072"/>
                  <a:gd name="connsiteX265" fmla="*/ 182861 w 184007"/>
                  <a:gd name="connsiteY265" fmla="*/ 186652 h 214072"/>
                  <a:gd name="connsiteX266" fmla="*/ 181980 w 184007"/>
                  <a:gd name="connsiteY266" fmla="*/ 186652 h 214072"/>
                  <a:gd name="connsiteX267" fmla="*/ 180833 w 184007"/>
                  <a:gd name="connsiteY267" fmla="*/ 186652 h 214072"/>
                  <a:gd name="connsiteX268" fmla="*/ 179952 w 184007"/>
                  <a:gd name="connsiteY268" fmla="*/ 186917 h 214072"/>
                  <a:gd name="connsiteX269" fmla="*/ 180216 w 184007"/>
                  <a:gd name="connsiteY269" fmla="*/ 188416 h 214072"/>
                  <a:gd name="connsiteX270" fmla="*/ 182597 w 184007"/>
                  <a:gd name="connsiteY270" fmla="*/ 190179 h 214072"/>
                  <a:gd name="connsiteX271" fmla="*/ 180833 w 184007"/>
                  <a:gd name="connsiteY271" fmla="*/ 191854 h 214072"/>
                  <a:gd name="connsiteX272" fmla="*/ 181451 w 184007"/>
                  <a:gd name="connsiteY272" fmla="*/ 193089 h 214072"/>
                  <a:gd name="connsiteX273" fmla="*/ 180833 w 184007"/>
                  <a:gd name="connsiteY273" fmla="*/ 193970 h 214072"/>
                  <a:gd name="connsiteX274" fmla="*/ 182332 w 184007"/>
                  <a:gd name="connsiteY274" fmla="*/ 194235 h 214072"/>
                  <a:gd name="connsiteX275" fmla="*/ 182597 w 184007"/>
                  <a:gd name="connsiteY275" fmla="*/ 195734 h 214072"/>
                  <a:gd name="connsiteX276" fmla="*/ 182861 w 184007"/>
                  <a:gd name="connsiteY276" fmla="*/ 196880 h 214072"/>
                  <a:gd name="connsiteX277" fmla="*/ 181715 w 184007"/>
                  <a:gd name="connsiteY277" fmla="*/ 198908 h 214072"/>
                  <a:gd name="connsiteX278" fmla="*/ 179070 w 184007"/>
                  <a:gd name="connsiteY278" fmla="*/ 197409 h 214072"/>
                  <a:gd name="connsiteX279" fmla="*/ 177924 w 184007"/>
                  <a:gd name="connsiteY279" fmla="*/ 195998 h 214072"/>
                  <a:gd name="connsiteX280" fmla="*/ 176425 w 184007"/>
                  <a:gd name="connsiteY280" fmla="*/ 198291 h 214072"/>
                  <a:gd name="connsiteX281" fmla="*/ 176777 w 184007"/>
                  <a:gd name="connsiteY281" fmla="*/ 199790 h 214072"/>
                  <a:gd name="connsiteX282" fmla="*/ 175279 w 184007"/>
                  <a:gd name="connsiteY282" fmla="*/ 201200 h 214072"/>
                  <a:gd name="connsiteX283" fmla="*/ 174133 w 184007"/>
                  <a:gd name="connsiteY283" fmla="*/ 202435 h 214072"/>
                  <a:gd name="connsiteX284" fmla="*/ 172105 w 184007"/>
                  <a:gd name="connsiteY284" fmla="*/ 200319 h 214072"/>
                  <a:gd name="connsiteX285" fmla="*/ 172369 w 184007"/>
                  <a:gd name="connsiteY285" fmla="*/ 202082 h 214072"/>
                  <a:gd name="connsiteX286" fmla="*/ 170870 w 184007"/>
                  <a:gd name="connsiteY286" fmla="*/ 204727 h 214072"/>
                  <a:gd name="connsiteX287" fmla="*/ 169460 w 184007"/>
                  <a:gd name="connsiteY287" fmla="*/ 204198 h 214072"/>
                  <a:gd name="connsiteX288" fmla="*/ 168049 w 184007"/>
                  <a:gd name="connsiteY288" fmla="*/ 205344 h 214072"/>
                  <a:gd name="connsiteX289" fmla="*/ 166815 w 184007"/>
                  <a:gd name="connsiteY289" fmla="*/ 204198 h 214072"/>
                  <a:gd name="connsiteX290" fmla="*/ 166285 w 184007"/>
                  <a:gd name="connsiteY290" fmla="*/ 200319 h 214072"/>
                  <a:gd name="connsiteX291" fmla="*/ 165669 w 184007"/>
                  <a:gd name="connsiteY291" fmla="*/ 202082 h 214072"/>
                  <a:gd name="connsiteX292" fmla="*/ 164169 w 184007"/>
                  <a:gd name="connsiteY292" fmla="*/ 200319 h 214072"/>
                  <a:gd name="connsiteX293" fmla="*/ 162142 w 184007"/>
                  <a:gd name="connsiteY293" fmla="*/ 200054 h 214072"/>
                  <a:gd name="connsiteX294" fmla="*/ 161260 w 184007"/>
                  <a:gd name="connsiteY294" fmla="*/ 199172 h 214072"/>
                  <a:gd name="connsiteX295" fmla="*/ 160643 w 184007"/>
                  <a:gd name="connsiteY295" fmla="*/ 196880 h 214072"/>
                  <a:gd name="connsiteX296" fmla="*/ 159849 w 184007"/>
                  <a:gd name="connsiteY296" fmla="*/ 197762 h 214072"/>
                  <a:gd name="connsiteX297" fmla="*/ 159849 w 184007"/>
                  <a:gd name="connsiteY297" fmla="*/ 199172 h 214072"/>
                  <a:gd name="connsiteX298" fmla="*/ 158703 w 184007"/>
                  <a:gd name="connsiteY298" fmla="*/ 199172 h 214072"/>
                  <a:gd name="connsiteX299" fmla="*/ 158351 w 184007"/>
                  <a:gd name="connsiteY299" fmla="*/ 200319 h 214072"/>
                  <a:gd name="connsiteX300" fmla="*/ 156323 w 184007"/>
                  <a:gd name="connsiteY300" fmla="*/ 200319 h 214072"/>
                  <a:gd name="connsiteX301" fmla="*/ 155706 w 184007"/>
                  <a:gd name="connsiteY301" fmla="*/ 199790 h 214072"/>
                  <a:gd name="connsiteX302" fmla="*/ 154912 w 184007"/>
                  <a:gd name="connsiteY302" fmla="*/ 199790 h 214072"/>
                  <a:gd name="connsiteX303" fmla="*/ 154912 w 184007"/>
                  <a:gd name="connsiteY303" fmla="*/ 201817 h 214072"/>
                  <a:gd name="connsiteX304" fmla="*/ 154295 w 184007"/>
                  <a:gd name="connsiteY304" fmla="*/ 202082 h 214072"/>
                  <a:gd name="connsiteX305" fmla="*/ 154295 w 184007"/>
                  <a:gd name="connsiteY305" fmla="*/ 203845 h 214072"/>
                  <a:gd name="connsiteX306" fmla="*/ 153413 w 184007"/>
                  <a:gd name="connsiteY306" fmla="*/ 203845 h 214072"/>
                  <a:gd name="connsiteX307" fmla="*/ 152796 w 184007"/>
                  <a:gd name="connsiteY307" fmla="*/ 204463 h 214072"/>
                  <a:gd name="connsiteX308" fmla="*/ 151121 w 184007"/>
                  <a:gd name="connsiteY308" fmla="*/ 202699 h 214072"/>
                  <a:gd name="connsiteX309" fmla="*/ 151385 w 184007"/>
                  <a:gd name="connsiteY309" fmla="*/ 204198 h 214072"/>
                  <a:gd name="connsiteX310" fmla="*/ 149005 w 184007"/>
                  <a:gd name="connsiteY310" fmla="*/ 203316 h 214072"/>
                  <a:gd name="connsiteX311" fmla="*/ 149005 w 184007"/>
                  <a:gd name="connsiteY311" fmla="*/ 204198 h 214072"/>
                  <a:gd name="connsiteX312" fmla="*/ 149886 w 184007"/>
                  <a:gd name="connsiteY312" fmla="*/ 205344 h 214072"/>
                  <a:gd name="connsiteX313" fmla="*/ 150239 w 184007"/>
                  <a:gd name="connsiteY313" fmla="*/ 206755 h 214072"/>
                  <a:gd name="connsiteX314" fmla="*/ 152267 w 184007"/>
                  <a:gd name="connsiteY314" fmla="*/ 207637 h 214072"/>
                  <a:gd name="connsiteX315" fmla="*/ 154030 w 184007"/>
                  <a:gd name="connsiteY315" fmla="*/ 209135 h 214072"/>
                  <a:gd name="connsiteX316" fmla="*/ 154559 w 184007"/>
                  <a:gd name="connsiteY316" fmla="*/ 211163 h 214072"/>
                  <a:gd name="connsiteX317" fmla="*/ 153148 w 184007"/>
                  <a:gd name="connsiteY317" fmla="*/ 212927 h 214072"/>
                  <a:gd name="connsiteX318" fmla="*/ 153148 w 184007"/>
                  <a:gd name="connsiteY318" fmla="*/ 214073 h 214072"/>
                  <a:gd name="connsiteX319" fmla="*/ 148211 w 184007"/>
                  <a:gd name="connsiteY319" fmla="*/ 214073 h 214072"/>
                  <a:gd name="connsiteX320" fmla="*/ 145831 w 184007"/>
                  <a:gd name="connsiteY320" fmla="*/ 210282 h 214072"/>
                  <a:gd name="connsiteX321" fmla="*/ 145566 w 184007"/>
                  <a:gd name="connsiteY321" fmla="*/ 210546 h 214072"/>
                  <a:gd name="connsiteX322" fmla="*/ 144685 w 184007"/>
                  <a:gd name="connsiteY322" fmla="*/ 210017 h 214072"/>
                  <a:gd name="connsiteX323" fmla="*/ 143538 w 184007"/>
                  <a:gd name="connsiteY323" fmla="*/ 210282 h 214072"/>
                  <a:gd name="connsiteX324" fmla="*/ 141775 w 184007"/>
                  <a:gd name="connsiteY324" fmla="*/ 209664 h 214072"/>
                  <a:gd name="connsiteX325" fmla="*/ 140540 w 184007"/>
                  <a:gd name="connsiteY325" fmla="*/ 207637 h 214072"/>
                  <a:gd name="connsiteX326" fmla="*/ 138513 w 184007"/>
                  <a:gd name="connsiteY326" fmla="*/ 208783 h 214072"/>
                  <a:gd name="connsiteX327" fmla="*/ 136485 w 184007"/>
                  <a:gd name="connsiteY327" fmla="*/ 208783 h 214072"/>
                  <a:gd name="connsiteX328" fmla="*/ 132693 w 184007"/>
                  <a:gd name="connsiteY328" fmla="*/ 205609 h 214072"/>
                  <a:gd name="connsiteX329" fmla="*/ 133311 w 184007"/>
                  <a:gd name="connsiteY329" fmla="*/ 204198 h 214072"/>
                  <a:gd name="connsiteX330" fmla="*/ 135603 w 184007"/>
                  <a:gd name="connsiteY330" fmla="*/ 203316 h 214072"/>
                  <a:gd name="connsiteX331" fmla="*/ 134457 w 184007"/>
                  <a:gd name="connsiteY331" fmla="*/ 202435 h 214072"/>
                  <a:gd name="connsiteX332" fmla="*/ 135339 w 184007"/>
                  <a:gd name="connsiteY332" fmla="*/ 202435 h 214072"/>
                  <a:gd name="connsiteX333" fmla="*/ 135868 w 184007"/>
                  <a:gd name="connsiteY333" fmla="*/ 202435 h 214072"/>
                  <a:gd name="connsiteX334" fmla="*/ 136749 w 184007"/>
                  <a:gd name="connsiteY334" fmla="*/ 201200 h 214072"/>
                  <a:gd name="connsiteX335" fmla="*/ 136749 w 184007"/>
                  <a:gd name="connsiteY335" fmla="*/ 200319 h 214072"/>
                  <a:gd name="connsiteX336" fmla="*/ 138513 w 184007"/>
                  <a:gd name="connsiteY336" fmla="*/ 198643 h 214072"/>
                  <a:gd name="connsiteX337" fmla="*/ 138513 w 184007"/>
                  <a:gd name="connsiteY337" fmla="*/ 196880 h 214072"/>
                  <a:gd name="connsiteX338" fmla="*/ 137631 w 184007"/>
                  <a:gd name="connsiteY338" fmla="*/ 195734 h 214072"/>
                  <a:gd name="connsiteX339" fmla="*/ 138248 w 184007"/>
                  <a:gd name="connsiteY339" fmla="*/ 193970 h 214072"/>
                  <a:gd name="connsiteX340" fmla="*/ 137366 w 184007"/>
                  <a:gd name="connsiteY340" fmla="*/ 193089 h 214072"/>
                  <a:gd name="connsiteX341" fmla="*/ 137102 w 184007"/>
                  <a:gd name="connsiteY341" fmla="*/ 191854 h 214072"/>
                  <a:gd name="connsiteX342" fmla="*/ 138513 w 184007"/>
                  <a:gd name="connsiteY342" fmla="*/ 191325 h 214072"/>
                  <a:gd name="connsiteX343" fmla="*/ 137631 w 184007"/>
                  <a:gd name="connsiteY343" fmla="*/ 190179 h 214072"/>
                  <a:gd name="connsiteX344" fmla="*/ 139394 w 184007"/>
                  <a:gd name="connsiteY344" fmla="*/ 190179 h 214072"/>
                  <a:gd name="connsiteX345" fmla="*/ 138248 w 184007"/>
                  <a:gd name="connsiteY345" fmla="*/ 188416 h 214072"/>
                  <a:gd name="connsiteX346" fmla="*/ 139130 w 184007"/>
                  <a:gd name="connsiteY346" fmla="*/ 187534 h 214072"/>
                  <a:gd name="connsiteX347" fmla="*/ 139130 w 184007"/>
                  <a:gd name="connsiteY347" fmla="*/ 186917 h 214072"/>
                  <a:gd name="connsiteX348" fmla="*/ 137984 w 184007"/>
                  <a:gd name="connsiteY348" fmla="*/ 186652 h 214072"/>
                  <a:gd name="connsiteX349" fmla="*/ 136485 w 184007"/>
                  <a:gd name="connsiteY349" fmla="*/ 186652 h 214072"/>
                  <a:gd name="connsiteX350" fmla="*/ 135603 w 184007"/>
                  <a:gd name="connsiteY350" fmla="*/ 185154 h 214072"/>
                  <a:gd name="connsiteX351" fmla="*/ 135868 w 184007"/>
                  <a:gd name="connsiteY351" fmla="*/ 182597 h 214072"/>
                  <a:gd name="connsiteX352" fmla="*/ 137366 w 184007"/>
                  <a:gd name="connsiteY352" fmla="*/ 181451 h 214072"/>
                  <a:gd name="connsiteX353" fmla="*/ 138248 w 184007"/>
                  <a:gd name="connsiteY353" fmla="*/ 181451 h 214072"/>
                  <a:gd name="connsiteX354" fmla="*/ 137984 w 184007"/>
                  <a:gd name="connsiteY354" fmla="*/ 178805 h 214072"/>
                  <a:gd name="connsiteX355" fmla="*/ 135603 w 184007"/>
                  <a:gd name="connsiteY355" fmla="*/ 178805 h 214072"/>
                  <a:gd name="connsiteX356" fmla="*/ 134722 w 184007"/>
                  <a:gd name="connsiteY356" fmla="*/ 178453 h 214072"/>
                  <a:gd name="connsiteX357" fmla="*/ 135339 w 184007"/>
                  <a:gd name="connsiteY357" fmla="*/ 177571 h 214072"/>
                  <a:gd name="connsiteX358" fmla="*/ 136749 w 184007"/>
                  <a:gd name="connsiteY358" fmla="*/ 177042 h 214072"/>
                  <a:gd name="connsiteX359" fmla="*/ 137631 w 184007"/>
                  <a:gd name="connsiteY359" fmla="*/ 176689 h 214072"/>
                  <a:gd name="connsiteX360" fmla="*/ 137366 w 184007"/>
                  <a:gd name="connsiteY360" fmla="*/ 174133 h 214072"/>
                  <a:gd name="connsiteX361" fmla="*/ 137366 w 184007"/>
                  <a:gd name="connsiteY361" fmla="*/ 172986 h 214072"/>
                  <a:gd name="connsiteX362" fmla="*/ 137102 w 184007"/>
                  <a:gd name="connsiteY362" fmla="*/ 171223 h 214072"/>
                  <a:gd name="connsiteX363" fmla="*/ 136749 w 184007"/>
                  <a:gd name="connsiteY363" fmla="*/ 169195 h 214072"/>
                  <a:gd name="connsiteX364" fmla="*/ 135074 w 184007"/>
                  <a:gd name="connsiteY364" fmla="*/ 168578 h 214072"/>
                  <a:gd name="connsiteX365" fmla="*/ 134193 w 184007"/>
                  <a:gd name="connsiteY365" fmla="*/ 167696 h 214072"/>
                  <a:gd name="connsiteX366" fmla="*/ 132958 w 184007"/>
                  <a:gd name="connsiteY366" fmla="*/ 168578 h 214072"/>
                  <a:gd name="connsiteX367" fmla="*/ 132429 w 184007"/>
                  <a:gd name="connsiteY367" fmla="*/ 167432 h 214072"/>
                  <a:gd name="connsiteX368" fmla="*/ 130666 w 184007"/>
                  <a:gd name="connsiteY368" fmla="*/ 164169 h 214072"/>
                  <a:gd name="connsiteX369" fmla="*/ 130930 w 184007"/>
                  <a:gd name="connsiteY369" fmla="*/ 163023 h 214072"/>
                  <a:gd name="connsiteX370" fmla="*/ 132164 w 184007"/>
                  <a:gd name="connsiteY370" fmla="*/ 162406 h 214072"/>
                  <a:gd name="connsiteX371" fmla="*/ 131812 w 184007"/>
                  <a:gd name="connsiteY371" fmla="*/ 162406 h 214072"/>
                  <a:gd name="connsiteX372" fmla="*/ 127139 w 184007"/>
                  <a:gd name="connsiteY372" fmla="*/ 161613 h 214072"/>
                  <a:gd name="connsiteX373" fmla="*/ 123700 w 184007"/>
                  <a:gd name="connsiteY373" fmla="*/ 159849 h 214072"/>
                  <a:gd name="connsiteX374" fmla="*/ 122818 w 184007"/>
                  <a:gd name="connsiteY374" fmla="*/ 158615 h 214072"/>
                  <a:gd name="connsiteX375" fmla="*/ 121585 w 184007"/>
                  <a:gd name="connsiteY375" fmla="*/ 156058 h 214072"/>
                  <a:gd name="connsiteX376" fmla="*/ 119027 w 184007"/>
                  <a:gd name="connsiteY376" fmla="*/ 153942 h 214072"/>
                  <a:gd name="connsiteX377" fmla="*/ 117881 w 184007"/>
                  <a:gd name="connsiteY377" fmla="*/ 151385 h 214072"/>
                  <a:gd name="connsiteX378" fmla="*/ 114884 w 184007"/>
                  <a:gd name="connsiteY378" fmla="*/ 148740 h 214072"/>
                  <a:gd name="connsiteX379" fmla="*/ 114884 w 184007"/>
                  <a:gd name="connsiteY379" fmla="*/ 148476 h 214072"/>
                  <a:gd name="connsiteX380" fmla="*/ 115501 w 184007"/>
                  <a:gd name="connsiteY380" fmla="*/ 144596 h 214072"/>
                  <a:gd name="connsiteX381" fmla="*/ 114002 w 184007"/>
                  <a:gd name="connsiteY381" fmla="*/ 143185 h 214072"/>
                  <a:gd name="connsiteX382" fmla="*/ 114884 w 184007"/>
                  <a:gd name="connsiteY382" fmla="*/ 140893 h 214072"/>
                  <a:gd name="connsiteX383" fmla="*/ 113473 w 184007"/>
                  <a:gd name="connsiteY383" fmla="*/ 138865 h 214072"/>
                  <a:gd name="connsiteX384" fmla="*/ 113208 w 184007"/>
                  <a:gd name="connsiteY384" fmla="*/ 137102 h 214072"/>
                  <a:gd name="connsiteX385" fmla="*/ 114619 w 184007"/>
                  <a:gd name="connsiteY385" fmla="*/ 134192 h 214072"/>
                  <a:gd name="connsiteX386" fmla="*/ 114002 w 184007"/>
                  <a:gd name="connsiteY386" fmla="*/ 130401 h 214072"/>
                  <a:gd name="connsiteX387" fmla="*/ 113737 w 184007"/>
                  <a:gd name="connsiteY387" fmla="*/ 127756 h 214072"/>
                  <a:gd name="connsiteX388" fmla="*/ 112855 w 184007"/>
                  <a:gd name="connsiteY388" fmla="*/ 127403 h 214072"/>
                  <a:gd name="connsiteX389" fmla="*/ 111710 w 184007"/>
                  <a:gd name="connsiteY389" fmla="*/ 126610 h 214072"/>
                  <a:gd name="connsiteX390" fmla="*/ 111710 w 184007"/>
                  <a:gd name="connsiteY390" fmla="*/ 124846 h 214072"/>
                  <a:gd name="connsiteX391" fmla="*/ 109946 w 184007"/>
                  <a:gd name="connsiteY391" fmla="*/ 124229 h 214072"/>
                  <a:gd name="connsiteX392" fmla="*/ 105890 w 184007"/>
                  <a:gd name="connsiteY392" fmla="*/ 121937 h 214072"/>
                  <a:gd name="connsiteX393" fmla="*/ 103863 w 184007"/>
                  <a:gd name="connsiteY393" fmla="*/ 118675 h 214072"/>
                  <a:gd name="connsiteX394" fmla="*/ 102099 w 184007"/>
                  <a:gd name="connsiteY394" fmla="*/ 116647 h 214072"/>
                  <a:gd name="connsiteX395" fmla="*/ 100953 w 184007"/>
                  <a:gd name="connsiteY395" fmla="*/ 116030 h 214072"/>
                  <a:gd name="connsiteX396" fmla="*/ 99189 w 184007"/>
                  <a:gd name="connsiteY396" fmla="*/ 113208 h 214072"/>
                  <a:gd name="connsiteX397" fmla="*/ 95663 w 184007"/>
                  <a:gd name="connsiteY397" fmla="*/ 110210 h 214072"/>
                  <a:gd name="connsiteX398" fmla="*/ 94517 w 184007"/>
                  <a:gd name="connsiteY398" fmla="*/ 107565 h 214072"/>
                  <a:gd name="connsiteX399" fmla="*/ 92489 w 184007"/>
                  <a:gd name="connsiteY399" fmla="*/ 104656 h 214072"/>
                  <a:gd name="connsiteX400" fmla="*/ 90990 w 184007"/>
                  <a:gd name="connsiteY400" fmla="*/ 104656 h 214072"/>
                  <a:gd name="connsiteX401" fmla="*/ 90726 w 184007"/>
                  <a:gd name="connsiteY401" fmla="*/ 105009 h 214072"/>
                  <a:gd name="connsiteX402" fmla="*/ 89226 w 184007"/>
                  <a:gd name="connsiteY402" fmla="*/ 105009 h 214072"/>
                  <a:gd name="connsiteX403" fmla="*/ 88345 w 184007"/>
                  <a:gd name="connsiteY403" fmla="*/ 104656 h 214072"/>
                  <a:gd name="connsiteX404" fmla="*/ 86934 w 184007"/>
                  <a:gd name="connsiteY404" fmla="*/ 104656 h 214072"/>
                  <a:gd name="connsiteX405" fmla="*/ 84025 w 184007"/>
                  <a:gd name="connsiteY405" fmla="*/ 102981 h 214072"/>
                  <a:gd name="connsiteX406" fmla="*/ 80234 w 184007"/>
                  <a:gd name="connsiteY406" fmla="*/ 102099 h 214072"/>
                  <a:gd name="connsiteX407" fmla="*/ 77588 w 184007"/>
                  <a:gd name="connsiteY407" fmla="*/ 102099 h 214072"/>
                  <a:gd name="connsiteX408" fmla="*/ 75825 w 184007"/>
                  <a:gd name="connsiteY408" fmla="*/ 103774 h 214072"/>
                  <a:gd name="connsiteX409" fmla="*/ 77324 w 184007"/>
                  <a:gd name="connsiteY409" fmla="*/ 104656 h 214072"/>
                  <a:gd name="connsiteX410" fmla="*/ 77588 w 184007"/>
                  <a:gd name="connsiteY410" fmla="*/ 105009 h 214072"/>
                  <a:gd name="connsiteX411" fmla="*/ 74679 w 184007"/>
                  <a:gd name="connsiteY411" fmla="*/ 106772 h 214072"/>
                  <a:gd name="connsiteX412" fmla="*/ 73797 w 184007"/>
                  <a:gd name="connsiteY412" fmla="*/ 108183 h 214072"/>
                  <a:gd name="connsiteX413" fmla="*/ 73180 w 184007"/>
                  <a:gd name="connsiteY413" fmla="*/ 109329 h 214072"/>
                  <a:gd name="connsiteX414" fmla="*/ 73797 w 184007"/>
                  <a:gd name="connsiteY414" fmla="*/ 111974 h 214072"/>
                  <a:gd name="connsiteX415" fmla="*/ 73180 w 184007"/>
                  <a:gd name="connsiteY415" fmla="*/ 113208 h 214072"/>
                  <a:gd name="connsiteX416" fmla="*/ 72298 w 184007"/>
                  <a:gd name="connsiteY416" fmla="*/ 113208 h 214072"/>
                  <a:gd name="connsiteX417" fmla="*/ 70535 w 184007"/>
                  <a:gd name="connsiteY417" fmla="*/ 112238 h 214072"/>
                  <a:gd name="connsiteX418" fmla="*/ 69388 w 184007"/>
                  <a:gd name="connsiteY418" fmla="*/ 113208 h 214072"/>
                  <a:gd name="connsiteX419" fmla="*/ 67713 w 184007"/>
                  <a:gd name="connsiteY419" fmla="*/ 114354 h 214072"/>
                  <a:gd name="connsiteX420" fmla="*/ 67361 w 184007"/>
                  <a:gd name="connsiteY420" fmla="*/ 115765 h 214072"/>
                  <a:gd name="connsiteX421" fmla="*/ 65597 w 184007"/>
                  <a:gd name="connsiteY421" fmla="*/ 115765 h 214072"/>
                  <a:gd name="connsiteX422" fmla="*/ 65950 w 184007"/>
                  <a:gd name="connsiteY422" fmla="*/ 116647 h 214072"/>
                  <a:gd name="connsiteX423" fmla="*/ 63570 w 184007"/>
                  <a:gd name="connsiteY423" fmla="*/ 116030 h 214072"/>
                  <a:gd name="connsiteX424" fmla="*/ 64716 w 184007"/>
                  <a:gd name="connsiteY424" fmla="*/ 114883 h 214072"/>
                  <a:gd name="connsiteX425" fmla="*/ 63922 w 184007"/>
                  <a:gd name="connsiteY425" fmla="*/ 113737 h 214072"/>
                  <a:gd name="connsiteX426" fmla="*/ 62423 w 184007"/>
                  <a:gd name="connsiteY426" fmla="*/ 113208 h 214072"/>
                  <a:gd name="connsiteX427" fmla="*/ 61277 w 184007"/>
                  <a:gd name="connsiteY427" fmla="*/ 113208 h 214072"/>
                  <a:gd name="connsiteX428" fmla="*/ 60043 w 184007"/>
                  <a:gd name="connsiteY428" fmla="*/ 113208 h 214072"/>
                  <a:gd name="connsiteX429" fmla="*/ 58632 w 184007"/>
                  <a:gd name="connsiteY429" fmla="*/ 111974 h 214072"/>
                  <a:gd name="connsiteX430" fmla="*/ 56604 w 184007"/>
                  <a:gd name="connsiteY430" fmla="*/ 111445 h 214072"/>
                  <a:gd name="connsiteX431" fmla="*/ 55987 w 184007"/>
                  <a:gd name="connsiteY431" fmla="*/ 110563 h 214072"/>
                  <a:gd name="connsiteX432" fmla="*/ 53695 w 184007"/>
                  <a:gd name="connsiteY432" fmla="*/ 108800 h 214072"/>
                  <a:gd name="connsiteX433" fmla="*/ 53695 w 184007"/>
                  <a:gd name="connsiteY433" fmla="*/ 107565 h 214072"/>
                  <a:gd name="connsiteX434" fmla="*/ 51050 w 184007"/>
                  <a:gd name="connsiteY434" fmla="*/ 106772 h 214072"/>
                  <a:gd name="connsiteX435" fmla="*/ 50433 w 184007"/>
                  <a:gd name="connsiteY435" fmla="*/ 107565 h 214072"/>
                  <a:gd name="connsiteX436" fmla="*/ 49904 w 184007"/>
                  <a:gd name="connsiteY436" fmla="*/ 108800 h 214072"/>
                  <a:gd name="connsiteX437" fmla="*/ 49286 w 184007"/>
                  <a:gd name="connsiteY437" fmla="*/ 110563 h 214072"/>
                  <a:gd name="connsiteX438" fmla="*/ 48669 w 184007"/>
                  <a:gd name="connsiteY438" fmla="*/ 111974 h 214072"/>
                  <a:gd name="connsiteX439" fmla="*/ 48140 w 184007"/>
                  <a:gd name="connsiteY439" fmla="*/ 111974 h 214072"/>
                  <a:gd name="connsiteX440" fmla="*/ 45495 w 184007"/>
                  <a:gd name="connsiteY440" fmla="*/ 110563 h 214072"/>
                  <a:gd name="connsiteX441" fmla="*/ 44878 w 184007"/>
                  <a:gd name="connsiteY441" fmla="*/ 111974 h 214072"/>
                  <a:gd name="connsiteX442" fmla="*/ 45230 w 184007"/>
                  <a:gd name="connsiteY442" fmla="*/ 114354 h 214072"/>
                  <a:gd name="connsiteX443" fmla="*/ 43467 w 184007"/>
                  <a:gd name="connsiteY443" fmla="*/ 114883 h 214072"/>
                  <a:gd name="connsiteX444" fmla="*/ 42850 w 184007"/>
                  <a:gd name="connsiteY444" fmla="*/ 115765 h 214072"/>
                  <a:gd name="connsiteX445" fmla="*/ 42321 w 184007"/>
                  <a:gd name="connsiteY445" fmla="*/ 116030 h 214072"/>
                  <a:gd name="connsiteX446" fmla="*/ 41968 w 184007"/>
                  <a:gd name="connsiteY446" fmla="*/ 115765 h 214072"/>
                  <a:gd name="connsiteX447" fmla="*/ 41439 w 184007"/>
                  <a:gd name="connsiteY447" fmla="*/ 116647 h 214072"/>
                  <a:gd name="connsiteX448" fmla="*/ 42321 w 184007"/>
                  <a:gd name="connsiteY448" fmla="*/ 117528 h 214072"/>
                  <a:gd name="connsiteX449" fmla="*/ 41704 w 184007"/>
                  <a:gd name="connsiteY449" fmla="*/ 118146 h 214072"/>
                  <a:gd name="connsiteX450" fmla="*/ 40205 w 184007"/>
                  <a:gd name="connsiteY450" fmla="*/ 118675 h 214072"/>
                  <a:gd name="connsiteX451" fmla="*/ 39676 w 184007"/>
                  <a:gd name="connsiteY451" fmla="*/ 118675 h 214072"/>
                  <a:gd name="connsiteX452" fmla="*/ 39323 w 184007"/>
                  <a:gd name="connsiteY452" fmla="*/ 118675 h 214072"/>
                  <a:gd name="connsiteX453" fmla="*/ 39323 w 184007"/>
                  <a:gd name="connsiteY453" fmla="*/ 120173 h 214072"/>
                  <a:gd name="connsiteX454" fmla="*/ 39676 w 184007"/>
                  <a:gd name="connsiteY454" fmla="*/ 120438 h 214072"/>
                  <a:gd name="connsiteX455" fmla="*/ 37296 w 184007"/>
                  <a:gd name="connsiteY455" fmla="*/ 120438 h 214072"/>
                  <a:gd name="connsiteX456" fmla="*/ 37648 w 184007"/>
                  <a:gd name="connsiteY456" fmla="*/ 121937 h 214072"/>
                  <a:gd name="connsiteX457" fmla="*/ 36767 w 184007"/>
                  <a:gd name="connsiteY457" fmla="*/ 121937 h 214072"/>
                  <a:gd name="connsiteX458" fmla="*/ 35532 w 184007"/>
                  <a:gd name="connsiteY458" fmla="*/ 123612 h 214072"/>
                  <a:gd name="connsiteX459" fmla="*/ 35532 w 184007"/>
                  <a:gd name="connsiteY459" fmla="*/ 124229 h 214072"/>
                  <a:gd name="connsiteX460" fmla="*/ 34121 w 184007"/>
                  <a:gd name="connsiteY460" fmla="*/ 124846 h 214072"/>
                  <a:gd name="connsiteX461" fmla="*/ 34386 w 184007"/>
                  <a:gd name="connsiteY461" fmla="*/ 125993 h 214072"/>
                  <a:gd name="connsiteX462" fmla="*/ 33240 w 184007"/>
                  <a:gd name="connsiteY462" fmla="*/ 125993 h 214072"/>
                  <a:gd name="connsiteX463" fmla="*/ 32622 w 184007"/>
                  <a:gd name="connsiteY463" fmla="*/ 124846 h 214072"/>
                  <a:gd name="connsiteX464" fmla="*/ 31829 w 184007"/>
                  <a:gd name="connsiteY464" fmla="*/ 124846 h 214072"/>
                  <a:gd name="connsiteX465" fmla="*/ 31476 w 184007"/>
                  <a:gd name="connsiteY465" fmla="*/ 124229 h 214072"/>
                  <a:gd name="connsiteX466" fmla="*/ 28566 w 184007"/>
                  <a:gd name="connsiteY466" fmla="*/ 123612 h 214072"/>
                  <a:gd name="connsiteX467" fmla="*/ 28302 w 184007"/>
                  <a:gd name="connsiteY467" fmla="*/ 122201 h 214072"/>
                  <a:gd name="connsiteX468" fmla="*/ 28919 w 184007"/>
                  <a:gd name="connsiteY468" fmla="*/ 121937 h 214072"/>
                  <a:gd name="connsiteX469" fmla="*/ 29448 w 184007"/>
                  <a:gd name="connsiteY469" fmla="*/ 120173 h 214072"/>
                  <a:gd name="connsiteX470" fmla="*/ 29184 w 184007"/>
                  <a:gd name="connsiteY470" fmla="*/ 118146 h 214072"/>
                  <a:gd name="connsiteX471" fmla="*/ 29184 w 184007"/>
                  <a:gd name="connsiteY471" fmla="*/ 117528 h 214072"/>
                  <a:gd name="connsiteX472" fmla="*/ 28919 w 184007"/>
                  <a:gd name="connsiteY472" fmla="*/ 116647 h 214072"/>
                  <a:gd name="connsiteX473" fmla="*/ 30330 w 184007"/>
                  <a:gd name="connsiteY473" fmla="*/ 116030 h 214072"/>
                  <a:gd name="connsiteX474" fmla="*/ 29448 w 184007"/>
                  <a:gd name="connsiteY474" fmla="*/ 114883 h 214072"/>
                  <a:gd name="connsiteX475" fmla="*/ 30330 w 184007"/>
                  <a:gd name="connsiteY475" fmla="*/ 114354 h 214072"/>
                  <a:gd name="connsiteX476" fmla="*/ 31476 w 184007"/>
                  <a:gd name="connsiteY476" fmla="*/ 113208 h 214072"/>
                  <a:gd name="connsiteX477" fmla="*/ 31476 w 184007"/>
                  <a:gd name="connsiteY477" fmla="*/ 111974 h 214072"/>
                  <a:gd name="connsiteX478" fmla="*/ 32358 w 184007"/>
                  <a:gd name="connsiteY478" fmla="*/ 111445 h 214072"/>
                  <a:gd name="connsiteX479" fmla="*/ 32093 w 184007"/>
                  <a:gd name="connsiteY479" fmla="*/ 109329 h 214072"/>
                  <a:gd name="connsiteX480" fmla="*/ 31829 w 184007"/>
                  <a:gd name="connsiteY480" fmla="*/ 107565 h 214072"/>
                  <a:gd name="connsiteX481" fmla="*/ 31829 w 184007"/>
                  <a:gd name="connsiteY481" fmla="*/ 106772 h 214072"/>
                  <a:gd name="connsiteX482" fmla="*/ 31212 w 184007"/>
                  <a:gd name="connsiteY482" fmla="*/ 106419 h 214072"/>
                  <a:gd name="connsiteX483" fmla="*/ 31212 w 184007"/>
                  <a:gd name="connsiteY483" fmla="*/ 105009 h 214072"/>
                  <a:gd name="connsiteX484" fmla="*/ 31476 w 184007"/>
                  <a:gd name="connsiteY484" fmla="*/ 104656 h 214072"/>
                  <a:gd name="connsiteX485" fmla="*/ 29448 w 184007"/>
                  <a:gd name="connsiteY485" fmla="*/ 103774 h 214072"/>
                  <a:gd name="connsiteX486" fmla="*/ 28302 w 184007"/>
                  <a:gd name="connsiteY486" fmla="*/ 102099 h 214072"/>
                  <a:gd name="connsiteX487" fmla="*/ 29184 w 184007"/>
                  <a:gd name="connsiteY487" fmla="*/ 100865 h 214072"/>
                  <a:gd name="connsiteX488" fmla="*/ 28919 w 184007"/>
                  <a:gd name="connsiteY488" fmla="*/ 99454 h 214072"/>
                  <a:gd name="connsiteX489" fmla="*/ 29448 w 184007"/>
                  <a:gd name="connsiteY489" fmla="*/ 99454 h 214072"/>
                  <a:gd name="connsiteX490" fmla="*/ 30330 w 184007"/>
                  <a:gd name="connsiteY490" fmla="*/ 98308 h 214072"/>
                  <a:gd name="connsiteX491" fmla="*/ 30330 w 184007"/>
                  <a:gd name="connsiteY491" fmla="*/ 97691 h 214072"/>
                  <a:gd name="connsiteX492" fmla="*/ 31476 w 184007"/>
                  <a:gd name="connsiteY492" fmla="*/ 96544 h 214072"/>
                  <a:gd name="connsiteX493" fmla="*/ 32093 w 184007"/>
                  <a:gd name="connsiteY493" fmla="*/ 95398 h 214072"/>
                  <a:gd name="connsiteX494" fmla="*/ 31212 w 184007"/>
                  <a:gd name="connsiteY494" fmla="*/ 93899 h 214072"/>
                  <a:gd name="connsiteX495" fmla="*/ 30859 w 184007"/>
                  <a:gd name="connsiteY495" fmla="*/ 93018 h 214072"/>
                  <a:gd name="connsiteX496" fmla="*/ 30595 w 184007"/>
                  <a:gd name="connsiteY496" fmla="*/ 90373 h 214072"/>
                  <a:gd name="connsiteX497" fmla="*/ 31829 w 184007"/>
                  <a:gd name="connsiteY497" fmla="*/ 89226 h 214072"/>
                  <a:gd name="connsiteX498" fmla="*/ 31476 w 184007"/>
                  <a:gd name="connsiteY498" fmla="*/ 87816 h 214072"/>
                  <a:gd name="connsiteX499" fmla="*/ 32358 w 184007"/>
                  <a:gd name="connsiteY499" fmla="*/ 86581 h 214072"/>
                  <a:gd name="connsiteX500" fmla="*/ 30330 w 184007"/>
                  <a:gd name="connsiteY500" fmla="*/ 84024 h 214072"/>
                  <a:gd name="connsiteX501" fmla="*/ 29448 w 184007"/>
                  <a:gd name="connsiteY501" fmla="*/ 81908 h 214072"/>
                  <a:gd name="connsiteX502" fmla="*/ 29184 w 184007"/>
                  <a:gd name="connsiteY502" fmla="*/ 80498 h 214072"/>
                  <a:gd name="connsiteX503" fmla="*/ 29184 w 184007"/>
                  <a:gd name="connsiteY503" fmla="*/ 79881 h 214072"/>
                  <a:gd name="connsiteX504" fmla="*/ 27420 w 184007"/>
                  <a:gd name="connsiteY504" fmla="*/ 78117 h 214072"/>
                  <a:gd name="connsiteX505" fmla="*/ 27685 w 184007"/>
                  <a:gd name="connsiteY505" fmla="*/ 75560 h 214072"/>
                  <a:gd name="connsiteX506" fmla="*/ 29184 w 184007"/>
                  <a:gd name="connsiteY506" fmla="*/ 75560 h 214072"/>
                  <a:gd name="connsiteX507" fmla="*/ 28919 w 184007"/>
                  <a:gd name="connsiteY507" fmla="*/ 74943 h 214072"/>
                  <a:gd name="connsiteX508" fmla="*/ 28566 w 184007"/>
                  <a:gd name="connsiteY508" fmla="*/ 73180 h 214072"/>
                  <a:gd name="connsiteX509" fmla="*/ 27950 w 184007"/>
                  <a:gd name="connsiteY509" fmla="*/ 73180 h 214072"/>
                  <a:gd name="connsiteX510" fmla="*/ 27068 w 184007"/>
                  <a:gd name="connsiteY510" fmla="*/ 72651 h 214072"/>
                  <a:gd name="connsiteX511" fmla="*/ 26539 w 184007"/>
                  <a:gd name="connsiteY511" fmla="*/ 73180 h 214072"/>
                  <a:gd name="connsiteX512" fmla="*/ 25657 w 184007"/>
                  <a:gd name="connsiteY512" fmla="*/ 73180 h 214072"/>
                  <a:gd name="connsiteX513" fmla="*/ 23629 w 184007"/>
                  <a:gd name="connsiteY513" fmla="*/ 72034 h 214072"/>
                  <a:gd name="connsiteX514" fmla="*/ 20455 w 184007"/>
                  <a:gd name="connsiteY514" fmla="*/ 72034 h 214072"/>
                  <a:gd name="connsiteX515" fmla="*/ 19485 w 184007"/>
                  <a:gd name="connsiteY515" fmla="*/ 74943 h 214072"/>
                  <a:gd name="connsiteX516" fmla="*/ 18956 w 184007"/>
                  <a:gd name="connsiteY516" fmla="*/ 75560 h 214072"/>
                  <a:gd name="connsiteX517" fmla="*/ 17810 w 184007"/>
                  <a:gd name="connsiteY517" fmla="*/ 74943 h 214072"/>
                  <a:gd name="connsiteX518" fmla="*/ 15782 w 184007"/>
                  <a:gd name="connsiteY518" fmla="*/ 73797 h 214072"/>
                  <a:gd name="connsiteX519" fmla="*/ 14548 w 184007"/>
                  <a:gd name="connsiteY519" fmla="*/ 73797 h 214072"/>
                  <a:gd name="connsiteX520" fmla="*/ 14900 w 184007"/>
                  <a:gd name="connsiteY520" fmla="*/ 74943 h 214072"/>
                  <a:gd name="connsiteX521" fmla="*/ 14019 w 184007"/>
                  <a:gd name="connsiteY521" fmla="*/ 74943 h 214072"/>
                  <a:gd name="connsiteX522" fmla="*/ 13402 w 184007"/>
                  <a:gd name="connsiteY522" fmla="*/ 74943 h 214072"/>
                  <a:gd name="connsiteX523" fmla="*/ 12520 w 184007"/>
                  <a:gd name="connsiteY523" fmla="*/ 74943 h 214072"/>
                  <a:gd name="connsiteX524" fmla="*/ 11991 w 184007"/>
                  <a:gd name="connsiteY524" fmla="*/ 73797 h 214072"/>
                  <a:gd name="connsiteX525" fmla="*/ 11638 w 184007"/>
                  <a:gd name="connsiteY525" fmla="*/ 73180 h 214072"/>
                  <a:gd name="connsiteX526" fmla="*/ 11021 w 184007"/>
                  <a:gd name="connsiteY526" fmla="*/ 72034 h 214072"/>
                  <a:gd name="connsiteX527" fmla="*/ 10228 w 184007"/>
                  <a:gd name="connsiteY527" fmla="*/ 70270 h 214072"/>
                  <a:gd name="connsiteX528" fmla="*/ 8464 w 184007"/>
                  <a:gd name="connsiteY528" fmla="*/ 68507 h 214072"/>
                  <a:gd name="connsiteX529" fmla="*/ 10228 w 184007"/>
                  <a:gd name="connsiteY529" fmla="*/ 66479 h 214072"/>
                  <a:gd name="connsiteX530" fmla="*/ 10492 w 184007"/>
                  <a:gd name="connsiteY530" fmla="*/ 65597 h 214072"/>
                  <a:gd name="connsiteX531" fmla="*/ 11638 w 184007"/>
                  <a:gd name="connsiteY531" fmla="*/ 59161 h 214072"/>
                  <a:gd name="connsiteX532" fmla="*/ 10228 w 184007"/>
                  <a:gd name="connsiteY532" fmla="*/ 59161 h 214072"/>
                  <a:gd name="connsiteX533" fmla="*/ 9346 w 184007"/>
                  <a:gd name="connsiteY533" fmla="*/ 58367 h 214072"/>
                  <a:gd name="connsiteX534" fmla="*/ 8112 w 184007"/>
                  <a:gd name="connsiteY534" fmla="*/ 56604 h 214072"/>
                  <a:gd name="connsiteX535" fmla="*/ 5819 w 184007"/>
                  <a:gd name="connsiteY535" fmla="*/ 53606 h 214072"/>
                  <a:gd name="connsiteX536" fmla="*/ 5202 w 184007"/>
                  <a:gd name="connsiteY536" fmla="*/ 52813 h 214072"/>
                  <a:gd name="connsiteX537" fmla="*/ 3791 w 184007"/>
                  <a:gd name="connsiteY537" fmla="*/ 52813 h 214072"/>
                  <a:gd name="connsiteX538" fmla="*/ 2910 w 184007"/>
                  <a:gd name="connsiteY538" fmla="*/ 53606 h 214072"/>
                  <a:gd name="connsiteX539" fmla="*/ 2910 w 184007"/>
                  <a:gd name="connsiteY539" fmla="*/ 54841 h 214072"/>
                  <a:gd name="connsiteX540" fmla="*/ 2292 w 184007"/>
                  <a:gd name="connsiteY540" fmla="*/ 55370 h 214072"/>
                  <a:gd name="connsiteX541" fmla="*/ 2645 w 184007"/>
                  <a:gd name="connsiteY541" fmla="*/ 56604 h 214072"/>
                  <a:gd name="connsiteX542" fmla="*/ 1146 w 184007"/>
                  <a:gd name="connsiteY542" fmla="*/ 56604 h 214072"/>
                  <a:gd name="connsiteX543" fmla="*/ 882 w 184007"/>
                  <a:gd name="connsiteY543" fmla="*/ 54841 h 214072"/>
                  <a:gd name="connsiteX544" fmla="*/ 882 w 184007"/>
                  <a:gd name="connsiteY544" fmla="*/ 53606 h 214072"/>
                  <a:gd name="connsiteX545" fmla="*/ 0 w 184007"/>
                  <a:gd name="connsiteY545" fmla="*/ 53606 h 214072"/>
                  <a:gd name="connsiteX546" fmla="*/ 617 w 184007"/>
                  <a:gd name="connsiteY546" fmla="*/ 52813 h 214072"/>
                  <a:gd name="connsiteX547" fmla="*/ 1146 w 184007"/>
                  <a:gd name="connsiteY547" fmla="*/ 47258 h 214072"/>
                  <a:gd name="connsiteX548" fmla="*/ 2292 w 184007"/>
                  <a:gd name="connsiteY548" fmla="*/ 43996 h 214072"/>
                  <a:gd name="connsiteX549" fmla="*/ 4408 w 184007"/>
                  <a:gd name="connsiteY549" fmla="*/ 42850 h 214072"/>
                  <a:gd name="connsiteX550" fmla="*/ 4056 w 184007"/>
                  <a:gd name="connsiteY550" fmla="*/ 42321 h 214072"/>
                  <a:gd name="connsiteX551" fmla="*/ 7847 w 184007"/>
                  <a:gd name="connsiteY551" fmla="*/ 42850 h 214072"/>
                  <a:gd name="connsiteX552" fmla="*/ 9082 w 184007"/>
                  <a:gd name="connsiteY552" fmla="*/ 42321 h 214072"/>
                  <a:gd name="connsiteX553" fmla="*/ 10492 w 184007"/>
                  <a:gd name="connsiteY553" fmla="*/ 41086 h 214072"/>
                  <a:gd name="connsiteX554" fmla="*/ 10492 w 184007"/>
                  <a:gd name="connsiteY554" fmla="*/ 40557 h 214072"/>
                  <a:gd name="connsiteX555" fmla="*/ 8729 w 184007"/>
                  <a:gd name="connsiteY555" fmla="*/ 41086 h 214072"/>
                  <a:gd name="connsiteX556" fmla="*/ 7582 w 184007"/>
                  <a:gd name="connsiteY556" fmla="*/ 41086 h 214072"/>
                  <a:gd name="connsiteX557" fmla="*/ 7230 w 184007"/>
                  <a:gd name="connsiteY557" fmla="*/ 40557 h 214072"/>
                  <a:gd name="connsiteX558" fmla="*/ 7230 w 184007"/>
                  <a:gd name="connsiteY558" fmla="*/ 39323 h 214072"/>
                  <a:gd name="connsiteX559" fmla="*/ 8464 w 184007"/>
                  <a:gd name="connsiteY559" fmla="*/ 38177 h 214072"/>
                  <a:gd name="connsiteX560" fmla="*/ 8112 w 184007"/>
                  <a:gd name="connsiteY560" fmla="*/ 36766 h 214072"/>
                  <a:gd name="connsiteX561" fmla="*/ 8729 w 184007"/>
                  <a:gd name="connsiteY561" fmla="*/ 36413 h 214072"/>
                  <a:gd name="connsiteX562" fmla="*/ 10228 w 184007"/>
                  <a:gd name="connsiteY562" fmla="*/ 33857 h 214072"/>
                  <a:gd name="connsiteX563" fmla="*/ 9875 w 184007"/>
                  <a:gd name="connsiteY563" fmla="*/ 32622 h 214072"/>
                  <a:gd name="connsiteX564" fmla="*/ 10228 w 184007"/>
                  <a:gd name="connsiteY564" fmla="*/ 29977 h 214072"/>
                  <a:gd name="connsiteX565" fmla="*/ 11991 w 184007"/>
                  <a:gd name="connsiteY565" fmla="*/ 29977 h 214072"/>
                  <a:gd name="connsiteX566" fmla="*/ 13402 w 184007"/>
                  <a:gd name="connsiteY566" fmla="*/ 29977 h 214072"/>
                  <a:gd name="connsiteX567" fmla="*/ 13666 w 184007"/>
                  <a:gd name="connsiteY567" fmla="*/ 28831 h 214072"/>
                  <a:gd name="connsiteX568" fmla="*/ 15429 w 184007"/>
                  <a:gd name="connsiteY568" fmla="*/ 27420 h 214072"/>
                  <a:gd name="connsiteX569" fmla="*/ 18074 w 184007"/>
                  <a:gd name="connsiteY569" fmla="*/ 25657 h 214072"/>
                  <a:gd name="connsiteX570" fmla="*/ 18956 w 184007"/>
                  <a:gd name="connsiteY570" fmla="*/ 22747 h 214072"/>
                  <a:gd name="connsiteX571" fmla="*/ 22483 w 184007"/>
                  <a:gd name="connsiteY571" fmla="*/ 32622 h 214072"/>
                  <a:gd name="connsiteX572" fmla="*/ 28302 w 184007"/>
                  <a:gd name="connsiteY572" fmla="*/ 31212 h 214072"/>
                  <a:gd name="connsiteX573" fmla="*/ 33504 w 184007"/>
                  <a:gd name="connsiteY573" fmla="*/ 32622 h 214072"/>
                  <a:gd name="connsiteX574" fmla="*/ 31829 w 184007"/>
                  <a:gd name="connsiteY574" fmla="*/ 22130 h 214072"/>
                  <a:gd name="connsiteX575" fmla="*/ 24511 w 184007"/>
                  <a:gd name="connsiteY575" fmla="*/ 6701 h 214072"/>
                  <a:gd name="connsiteX576" fmla="*/ 25922 w 184007"/>
                  <a:gd name="connsiteY576" fmla="*/ 5555 h 214072"/>
                  <a:gd name="connsiteX577" fmla="*/ 27068 w 184007"/>
                  <a:gd name="connsiteY577" fmla="*/ 0 h 214072"/>
                  <a:gd name="connsiteX578" fmla="*/ 30330 w 184007"/>
                  <a:gd name="connsiteY578" fmla="*/ 2910 h 214072"/>
                  <a:gd name="connsiteX579" fmla="*/ 33240 w 184007"/>
                  <a:gd name="connsiteY579" fmla="*/ 1146 h 21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</a:cxnLst>
                <a:rect l="l" t="t" r="r" b="b"/>
                <a:pathLst>
                  <a:path w="184007" h="214072">
                    <a:moveTo>
                      <a:pt x="37296" y="1763"/>
                    </a:moveTo>
                    <a:lnTo>
                      <a:pt x="39941" y="7318"/>
                    </a:lnTo>
                    <a:lnTo>
                      <a:pt x="44613" y="10228"/>
                    </a:lnTo>
                    <a:lnTo>
                      <a:pt x="46641" y="12255"/>
                    </a:lnTo>
                    <a:lnTo>
                      <a:pt x="45495" y="12784"/>
                    </a:lnTo>
                    <a:lnTo>
                      <a:pt x="45759" y="13666"/>
                    </a:lnTo>
                    <a:lnTo>
                      <a:pt x="48140" y="14019"/>
                    </a:lnTo>
                    <a:lnTo>
                      <a:pt x="49904" y="15782"/>
                    </a:lnTo>
                    <a:lnTo>
                      <a:pt x="50168" y="16576"/>
                    </a:lnTo>
                    <a:lnTo>
                      <a:pt x="50433" y="18339"/>
                    </a:lnTo>
                    <a:lnTo>
                      <a:pt x="50433" y="19573"/>
                    </a:lnTo>
                    <a:lnTo>
                      <a:pt x="51314" y="22130"/>
                    </a:lnTo>
                    <a:lnTo>
                      <a:pt x="52460" y="21249"/>
                    </a:lnTo>
                    <a:lnTo>
                      <a:pt x="53959" y="19573"/>
                    </a:lnTo>
                    <a:lnTo>
                      <a:pt x="52460" y="17457"/>
                    </a:lnTo>
                    <a:lnTo>
                      <a:pt x="53342" y="16576"/>
                    </a:lnTo>
                    <a:lnTo>
                      <a:pt x="54224" y="16576"/>
                    </a:lnTo>
                    <a:lnTo>
                      <a:pt x="54224" y="17457"/>
                    </a:lnTo>
                    <a:lnTo>
                      <a:pt x="54841" y="20102"/>
                    </a:lnTo>
                    <a:lnTo>
                      <a:pt x="55987" y="19573"/>
                    </a:lnTo>
                    <a:lnTo>
                      <a:pt x="56604" y="19573"/>
                    </a:lnTo>
                    <a:lnTo>
                      <a:pt x="58367" y="23012"/>
                    </a:lnTo>
                    <a:lnTo>
                      <a:pt x="56604" y="26539"/>
                    </a:lnTo>
                    <a:lnTo>
                      <a:pt x="56604" y="27156"/>
                    </a:lnTo>
                    <a:lnTo>
                      <a:pt x="57133" y="26539"/>
                    </a:lnTo>
                    <a:lnTo>
                      <a:pt x="57133" y="27156"/>
                    </a:lnTo>
                    <a:lnTo>
                      <a:pt x="56869" y="28302"/>
                    </a:lnTo>
                    <a:lnTo>
                      <a:pt x="57133" y="29977"/>
                    </a:lnTo>
                    <a:lnTo>
                      <a:pt x="56251" y="29977"/>
                    </a:lnTo>
                    <a:lnTo>
                      <a:pt x="55987" y="31212"/>
                    </a:lnTo>
                    <a:lnTo>
                      <a:pt x="57133" y="31212"/>
                    </a:lnTo>
                    <a:lnTo>
                      <a:pt x="58015" y="32093"/>
                    </a:lnTo>
                    <a:lnTo>
                      <a:pt x="58367" y="33857"/>
                    </a:lnTo>
                    <a:lnTo>
                      <a:pt x="59161" y="35532"/>
                    </a:lnTo>
                    <a:lnTo>
                      <a:pt x="61277" y="36413"/>
                    </a:lnTo>
                    <a:lnTo>
                      <a:pt x="62159" y="38530"/>
                    </a:lnTo>
                    <a:lnTo>
                      <a:pt x="62423" y="39940"/>
                    </a:lnTo>
                    <a:lnTo>
                      <a:pt x="64451" y="41968"/>
                    </a:lnTo>
                    <a:lnTo>
                      <a:pt x="66215" y="42321"/>
                    </a:lnTo>
                    <a:lnTo>
                      <a:pt x="67713" y="42321"/>
                    </a:lnTo>
                    <a:lnTo>
                      <a:pt x="68242" y="42321"/>
                    </a:lnTo>
                    <a:lnTo>
                      <a:pt x="69388" y="42850"/>
                    </a:lnTo>
                    <a:lnTo>
                      <a:pt x="70888" y="42850"/>
                    </a:lnTo>
                    <a:lnTo>
                      <a:pt x="70535" y="42321"/>
                    </a:lnTo>
                    <a:lnTo>
                      <a:pt x="72651" y="43996"/>
                    </a:lnTo>
                    <a:lnTo>
                      <a:pt x="74943" y="44878"/>
                    </a:lnTo>
                    <a:lnTo>
                      <a:pt x="76089" y="46641"/>
                    </a:lnTo>
                    <a:lnTo>
                      <a:pt x="78205" y="45759"/>
                    </a:lnTo>
                    <a:lnTo>
                      <a:pt x="78205" y="44878"/>
                    </a:lnTo>
                    <a:lnTo>
                      <a:pt x="78470" y="43996"/>
                    </a:lnTo>
                    <a:lnTo>
                      <a:pt x="78470" y="42850"/>
                    </a:lnTo>
                    <a:lnTo>
                      <a:pt x="78470" y="41968"/>
                    </a:lnTo>
                    <a:lnTo>
                      <a:pt x="79352" y="41968"/>
                    </a:lnTo>
                    <a:lnTo>
                      <a:pt x="80498" y="41086"/>
                    </a:lnTo>
                    <a:lnTo>
                      <a:pt x="80763" y="41086"/>
                    </a:lnTo>
                    <a:lnTo>
                      <a:pt x="82261" y="40557"/>
                    </a:lnTo>
                    <a:lnTo>
                      <a:pt x="83407" y="40557"/>
                    </a:lnTo>
                    <a:lnTo>
                      <a:pt x="83672" y="39323"/>
                    </a:lnTo>
                    <a:lnTo>
                      <a:pt x="84289" y="38530"/>
                    </a:lnTo>
                    <a:lnTo>
                      <a:pt x="85171" y="39323"/>
                    </a:lnTo>
                    <a:lnTo>
                      <a:pt x="86317" y="39323"/>
                    </a:lnTo>
                    <a:lnTo>
                      <a:pt x="88345" y="39940"/>
                    </a:lnTo>
                    <a:lnTo>
                      <a:pt x="88345" y="40557"/>
                    </a:lnTo>
                    <a:lnTo>
                      <a:pt x="89844" y="40557"/>
                    </a:lnTo>
                    <a:lnTo>
                      <a:pt x="89844" y="41086"/>
                    </a:lnTo>
                    <a:lnTo>
                      <a:pt x="90373" y="42321"/>
                    </a:lnTo>
                    <a:lnTo>
                      <a:pt x="91872" y="42321"/>
                    </a:lnTo>
                    <a:lnTo>
                      <a:pt x="92489" y="42850"/>
                    </a:lnTo>
                    <a:lnTo>
                      <a:pt x="93635" y="43731"/>
                    </a:lnTo>
                    <a:lnTo>
                      <a:pt x="93900" y="44878"/>
                    </a:lnTo>
                    <a:lnTo>
                      <a:pt x="97162" y="45759"/>
                    </a:lnTo>
                    <a:lnTo>
                      <a:pt x="96809" y="47258"/>
                    </a:lnTo>
                    <a:lnTo>
                      <a:pt x="96809" y="48140"/>
                    </a:lnTo>
                    <a:lnTo>
                      <a:pt x="97162" y="49286"/>
                    </a:lnTo>
                    <a:lnTo>
                      <a:pt x="95927" y="49815"/>
                    </a:lnTo>
                    <a:lnTo>
                      <a:pt x="95398" y="49815"/>
                    </a:lnTo>
                    <a:lnTo>
                      <a:pt x="94517" y="49286"/>
                    </a:lnTo>
                    <a:lnTo>
                      <a:pt x="94164" y="50168"/>
                    </a:lnTo>
                    <a:lnTo>
                      <a:pt x="93018" y="51049"/>
                    </a:lnTo>
                    <a:lnTo>
                      <a:pt x="93371" y="51931"/>
                    </a:lnTo>
                    <a:lnTo>
                      <a:pt x="93900" y="52196"/>
                    </a:lnTo>
                    <a:lnTo>
                      <a:pt x="95046" y="52813"/>
                    </a:lnTo>
                    <a:lnTo>
                      <a:pt x="97426" y="52196"/>
                    </a:lnTo>
                    <a:lnTo>
                      <a:pt x="98308" y="53606"/>
                    </a:lnTo>
                    <a:lnTo>
                      <a:pt x="100600" y="53959"/>
                    </a:lnTo>
                    <a:lnTo>
                      <a:pt x="100600" y="55370"/>
                    </a:lnTo>
                    <a:lnTo>
                      <a:pt x="99454" y="55370"/>
                    </a:lnTo>
                    <a:lnTo>
                      <a:pt x="99807" y="57133"/>
                    </a:lnTo>
                    <a:lnTo>
                      <a:pt x="101218" y="58367"/>
                    </a:lnTo>
                    <a:lnTo>
                      <a:pt x="102628" y="56604"/>
                    </a:lnTo>
                    <a:lnTo>
                      <a:pt x="104127" y="57133"/>
                    </a:lnTo>
                    <a:lnTo>
                      <a:pt x="106155" y="58367"/>
                    </a:lnTo>
                    <a:lnTo>
                      <a:pt x="105626" y="59514"/>
                    </a:lnTo>
                    <a:lnTo>
                      <a:pt x="106419" y="60395"/>
                    </a:lnTo>
                    <a:lnTo>
                      <a:pt x="107037" y="60395"/>
                    </a:lnTo>
                    <a:lnTo>
                      <a:pt x="106419" y="61277"/>
                    </a:lnTo>
                    <a:lnTo>
                      <a:pt x="107301" y="62688"/>
                    </a:lnTo>
                    <a:lnTo>
                      <a:pt x="106772" y="63305"/>
                    </a:lnTo>
                    <a:lnTo>
                      <a:pt x="105626" y="63305"/>
                    </a:lnTo>
                    <a:lnTo>
                      <a:pt x="105626" y="63834"/>
                    </a:lnTo>
                    <a:lnTo>
                      <a:pt x="104744" y="64716"/>
                    </a:lnTo>
                    <a:lnTo>
                      <a:pt x="103510" y="65597"/>
                    </a:lnTo>
                    <a:lnTo>
                      <a:pt x="103510" y="66479"/>
                    </a:lnTo>
                    <a:lnTo>
                      <a:pt x="104744" y="65862"/>
                    </a:lnTo>
                    <a:lnTo>
                      <a:pt x="105009" y="66479"/>
                    </a:lnTo>
                    <a:lnTo>
                      <a:pt x="105273" y="68507"/>
                    </a:lnTo>
                    <a:lnTo>
                      <a:pt x="103863" y="68242"/>
                    </a:lnTo>
                    <a:lnTo>
                      <a:pt x="103863" y="68507"/>
                    </a:lnTo>
                    <a:lnTo>
                      <a:pt x="102893" y="68507"/>
                    </a:lnTo>
                    <a:lnTo>
                      <a:pt x="101747" y="70887"/>
                    </a:lnTo>
                    <a:lnTo>
                      <a:pt x="100600" y="72034"/>
                    </a:lnTo>
                    <a:lnTo>
                      <a:pt x="99807" y="72651"/>
                    </a:lnTo>
                    <a:lnTo>
                      <a:pt x="98308" y="72034"/>
                    </a:lnTo>
                    <a:lnTo>
                      <a:pt x="97162" y="71152"/>
                    </a:lnTo>
                    <a:lnTo>
                      <a:pt x="96809" y="70270"/>
                    </a:lnTo>
                    <a:lnTo>
                      <a:pt x="95663" y="70887"/>
                    </a:lnTo>
                    <a:lnTo>
                      <a:pt x="94517" y="70887"/>
                    </a:lnTo>
                    <a:lnTo>
                      <a:pt x="93018" y="70270"/>
                    </a:lnTo>
                    <a:lnTo>
                      <a:pt x="90108" y="70887"/>
                    </a:lnTo>
                    <a:lnTo>
                      <a:pt x="89579" y="70887"/>
                    </a:lnTo>
                    <a:lnTo>
                      <a:pt x="88345" y="70270"/>
                    </a:lnTo>
                    <a:lnTo>
                      <a:pt x="87816" y="70887"/>
                    </a:lnTo>
                    <a:lnTo>
                      <a:pt x="88697" y="72034"/>
                    </a:lnTo>
                    <a:lnTo>
                      <a:pt x="88962" y="73180"/>
                    </a:lnTo>
                    <a:lnTo>
                      <a:pt x="89844" y="73180"/>
                    </a:lnTo>
                    <a:lnTo>
                      <a:pt x="90108" y="74943"/>
                    </a:lnTo>
                    <a:lnTo>
                      <a:pt x="89579" y="75560"/>
                    </a:lnTo>
                    <a:lnTo>
                      <a:pt x="89579" y="76442"/>
                    </a:lnTo>
                    <a:lnTo>
                      <a:pt x="89844" y="76706"/>
                    </a:lnTo>
                    <a:lnTo>
                      <a:pt x="89226" y="76706"/>
                    </a:lnTo>
                    <a:lnTo>
                      <a:pt x="88697" y="76706"/>
                    </a:lnTo>
                    <a:lnTo>
                      <a:pt x="87463" y="77588"/>
                    </a:lnTo>
                    <a:lnTo>
                      <a:pt x="86934" y="79352"/>
                    </a:lnTo>
                    <a:lnTo>
                      <a:pt x="86581" y="79881"/>
                    </a:lnTo>
                    <a:lnTo>
                      <a:pt x="86934" y="80498"/>
                    </a:lnTo>
                    <a:lnTo>
                      <a:pt x="87199" y="80498"/>
                    </a:lnTo>
                    <a:lnTo>
                      <a:pt x="87199" y="81027"/>
                    </a:lnTo>
                    <a:lnTo>
                      <a:pt x="89579" y="81908"/>
                    </a:lnTo>
                    <a:lnTo>
                      <a:pt x="90108" y="80762"/>
                    </a:lnTo>
                    <a:lnTo>
                      <a:pt x="90373" y="81908"/>
                    </a:lnTo>
                    <a:lnTo>
                      <a:pt x="91255" y="82261"/>
                    </a:lnTo>
                    <a:lnTo>
                      <a:pt x="92489" y="82526"/>
                    </a:lnTo>
                    <a:lnTo>
                      <a:pt x="93635" y="83672"/>
                    </a:lnTo>
                    <a:lnTo>
                      <a:pt x="94781" y="84024"/>
                    </a:lnTo>
                    <a:lnTo>
                      <a:pt x="94781" y="84818"/>
                    </a:lnTo>
                    <a:lnTo>
                      <a:pt x="95927" y="84289"/>
                    </a:lnTo>
                    <a:lnTo>
                      <a:pt x="96809" y="85435"/>
                    </a:lnTo>
                    <a:lnTo>
                      <a:pt x="98837" y="86052"/>
                    </a:lnTo>
                    <a:lnTo>
                      <a:pt x="99807" y="87816"/>
                    </a:lnTo>
                    <a:lnTo>
                      <a:pt x="101218" y="86581"/>
                    </a:lnTo>
                    <a:lnTo>
                      <a:pt x="102628" y="90373"/>
                    </a:lnTo>
                    <a:lnTo>
                      <a:pt x="103510" y="90373"/>
                    </a:lnTo>
                    <a:lnTo>
                      <a:pt x="105273" y="91607"/>
                    </a:lnTo>
                    <a:lnTo>
                      <a:pt x="106419" y="91254"/>
                    </a:lnTo>
                    <a:lnTo>
                      <a:pt x="106772" y="93018"/>
                    </a:lnTo>
                    <a:lnTo>
                      <a:pt x="109064" y="93018"/>
                    </a:lnTo>
                    <a:lnTo>
                      <a:pt x="110828" y="93018"/>
                    </a:lnTo>
                    <a:lnTo>
                      <a:pt x="111710" y="93899"/>
                    </a:lnTo>
                    <a:lnTo>
                      <a:pt x="112591" y="93899"/>
                    </a:lnTo>
                    <a:lnTo>
                      <a:pt x="113208" y="93899"/>
                    </a:lnTo>
                    <a:lnTo>
                      <a:pt x="114884" y="94781"/>
                    </a:lnTo>
                    <a:lnTo>
                      <a:pt x="115765" y="95927"/>
                    </a:lnTo>
                    <a:lnTo>
                      <a:pt x="117529" y="95927"/>
                    </a:lnTo>
                    <a:lnTo>
                      <a:pt x="118410" y="96544"/>
                    </a:lnTo>
                    <a:lnTo>
                      <a:pt x="117881" y="97691"/>
                    </a:lnTo>
                    <a:lnTo>
                      <a:pt x="116118" y="97691"/>
                    </a:lnTo>
                    <a:lnTo>
                      <a:pt x="116118" y="101482"/>
                    </a:lnTo>
                    <a:lnTo>
                      <a:pt x="116911" y="102981"/>
                    </a:lnTo>
                    <a:lnTo>
                      <a:pt x="118675" y="103245"/>
                    </a:lnTo>
                    <a:lnTo>
                      <a:pt x="119027" y="104656"/>
                    </a:lnTo>
                    <a:lnTo>
                      <a:pt x="119556" y="105009"/>
                    </a:lnTo>
                    <a:lnTo>
                      <a:pt x="120703" y="106419"/>
                    </a:lnTo>
                    <a:lnTo>
                      <a:pt x="121585" y="105890"/>
                    </a:lnTo>
                    <a:lnTo>
                      <a:pt x="121937" y="107565"/>
                    </a:lnTo>
                    <a:lnTo>
                      <a:pt x="123965" y="108800"/>
                    </a:lnTo>
                    <a:lnTo>
                      <a:pt x="123965" y="107565"/>
                    </a:lnTo>
                    <a:lnTo>
                      <a:pt x="124847" y="105890"/>
                    </a:lnTo>
                    <a:lnTo>
                      <a:pt x="125728" y="107565"/>
                    </a:lnTo>
                    <a:lnTo>
                      <a:pt x="125728" y="108183"/>
                    </a:lnTo>
                    <a:lnTo>
                      <a:pt x="125993" y="109329"/>
                    </a:lnTo>
                    <a:lnTo>
                      <a:pt x="126610" y="109329"/>
                    </a:lnTo>
                    <a:lnTo>
                      <a:pt x="126874" y="110210"/>
                    </a:lnTo>
                    <a:lnTo>
                      <a:pt x="128638" y="111445"/>
                    </a:lnTo>
                    <a:lnTo>
                      <a:pt x="128021" y="111709"/>
                    </a:lnTo>
                    <a:lnTo>
                      <a:pt x="129255" y="112591"/>
                    </a:lnTo>
                    <a:lnTo>
                      <a:pt x="128902" y="113208"/>
                    </a:lnTo>
                    <a:lnTo>
                      <a:pt x="129255" y="115765"/>
                    </a:lnTo>
                    <a:lnTo>
                      <a:pt x="130930" y="116647"/>
                    </a:lnTo>
                    <a:lnTo>
                      <a:pt x="130930" y="117528"/>
                    </a:lnTo>
                    <a:lnTo>
                      <a:pt x="131812" y="118675"/>
                    </a:lnTo>
                    <a:lnTo>
                      <a:pt x="133311" y="121320"/>
                    </a:lnTo>
                    <a:lnTo>
                      <a:pt x="135868" y="122201"/>
                    </a:lnTo>
                    <a:lnTo>
                      <a:pt x="139747" y="127403"/>
                    </a:lnTo>
                    <a:lnTo>
                      <a:pt x="144685" y="130930"/>
                    </a:lnTo>
                    <a:lnTo>
                      <a:pt x="145831" y="130930"/>
                    </a:lnTo>
                    <a:lnTo>
                      <a:pt x="146448" y="130401"/>
                    </a:lnTo>
                    <a:lnTo>
                      <a:pt x="146977" y="130401"/>
                    </a:lnTo>
                    <a:lnTo>
                      <a:pt x="148211" y="131194"/>
                    </a:lnTo>
                    <a:lnTo>
                      <a:pt x="147330" y="131547"/>
                    </a:lnTo>
                    <a:lnTo>
                      <a:pt x="147330" y="132076"/>
                    </a:lnTo>
                    <a:lnTo>
                      <a:pt x="149005" y="134721"/>
                    </a:lnTo>
                    <a:lnTo>
                      <a:pt x="150768" y="135338"/>
                    </a:lnTo>
                    <a:lnTo>
                      <a:pt x="149622" y="136485"/>
                    </a:lnTo>
                    <a:lnTo>
                      <a:pt x="150503" y="137631"/>
                    </a:lnTo>
                    <a:lnTo>
                      <a:pt x="151914" y="137631"/>
                    </a:lnTo>
                    <a:lnTo>
                      <a:pt x="153413" y="138865"/>
                    </a:lnTo>
                    <a:lnTo>
                      <a:pt x="154030" y="144949"/>
                    </a:lnTo>
                    <a:lnTo>
                      <a:pt x="154912" y="146977"/>
                    </a:lnTo>
                    <a:lnTo>
                      <a:pt x="155706" y="146977"/>
                    </a:lnTo>
                    <a:lnTo>
                      <a:pt x="155706" y="148476"/>
                    </a:lnTo>
                    <a:lnTo>
                      <a:pt x="156940" y="148476"/>
                    </a:lnTo>
                    <a:lnTo>
                      <a:pt x="156940" y="148740"/>
                    </a:lnTo>
                    <a:lnTo>
                      <a:pt x="157204" y="151385"/>
                    </a:lnTo>
                    <a:lnTo>
                      <a:pt x="158086" y="151914"/>
                    </a:lnTo>
                    <a:lnTo>
                      <a:pt x="159585" y="151914"/>
                    </a:lnTo>
                    <a:lnTo>
                      <a:pt x="160114" y="151914"/>
                    </a:lnTo>
                    <a:lnTo>
                      <a:pt x="160114" y="150503"/>
                    </a:lnTo>
                    <a:lnTo>
                      <a:pt x="160378" y="150151"/>
                    </a:lnTo>
                    <a:lnTo>
                      <a:pt x="160114" y="148740"/>
                    </a:lnTo>
                    <a:lnTo>
                      <a:pt x="161613" y="148740"/>
                    </a:lnTo>
                    <a:lnTo>
                      <a:pt x="162142" y="149357"/>
                    </a:lnTo>
                    <a:lnTo>
                      <a:pt x="162494" y="150503"/>
                    </a:lnTo>
                    <a:lnTo>
                      <a:pt x="161877" y="151914"/>
                    </a:lnTo>
                    <a:lnTo>
                      <a:pt x="162759" y="151914"/>
                    </a:lnTo>
                    <a:lnTo>
                      <a:pt x="162759" y="152531"/>
                    </a:lnTo>
                    <a:lnTo>
                      <a:pt x="164523" y="153942"/>
                    </a:lnTo>
                    <a:lnTo>
                      <a:pt x="164787" y="154824"/>
                    </a:lnTo>
                    <a:lnTo>
                      <a:pt x="165404" y="154824"/>
                    </a:lnTo>
                    <a:lnTo>
                      <a:pt x="166815" y="154824"/>
                    </a:lnTo>
                    <a:lnTo>
                      <a:pt x="168578" y="155705"/>
                    </a:lnTo>
                    <a:lnTo>
                      <a:pt x="169724" y="157469"/>
                    </a:lnTo>
                    <a:lnTo>
                      <a:pt x="170341" y="158615"/>
                    </a:lnTo>
                    <a:lnTo>
                      <a:pt x="171488" y="158615"/>
                    </a:lnTo>
                    <a:lnTo>
                      <a:pt x="173251" y="161260"/>
                    </a:lnTo>
                    <a:lnTo>
                      <a:pt x="174397" y="161260"/>
                    </a:lnTo>
                    <a:lnTo>
                      <a:pt x="174750" y="159849"/>
                    </a:lnTo>
                    <a:lnTo>
                      <a:pt x="176425" y="159849"/>
                    </a:lnTo>
                    <a:lnTo>
                      <a:pt x="176425" y="161613"/>
                    </a:lnTo>
                    <a:lnTo>
                      <a:pt x="176777" y="162406"/>
                    </a:lnTo>
                    <a:lnTo>
                      <a:pt x="174750" y="164169"/>
                    </a:lnTo>
                    <a:lnTo>
                      <a:pt x="173515" y="164169"/>
                    </a:lnTo>
                    <a:lnTo>
                      <a:pt x="172369" y="165933"/>
                    </a:lnTo>
                    <a:lnTo>
                      <a:pt x="171840" y="165933"/>
                    </a:lnTo>
                    <a:lnTo>
                      <a:pt x="171488" y="165933"/>
                    </a:lnTo>
                    <a:lnTo>
                      <a:pt x="170870" y="167696"/>
                    </a:lnTo>
                    <a:lnTo>
                      <a:pt x="172986" y="169195"/>
                    </a:lnTo>
                    <a:lnTo>
                      <a:pt x="173251" y="171223"/>
                    </a:lnTo>
                    <a:lnTo>
                      <a:pt x="173868" y="171487"/>
                    </a:lnTo>
                    <a:lnTo>
                      <a:pt x="175015" y="172369"/>
                    </a:lnTo>
                    <a:lnTo>
                      <a:pt x="176161" y="174662"/>
                    </a:lnTo>
                    <a:lnTo>
                      <a:pt x="177395" y="174133"/>
                    </a:lnTo>
                    <a:lnTo>
                      <a:pt x="178188" y="174662"/>
                    </a:lnTo>
                    <a:lnTo>
                      <a:pt x="178453" y="174133"/>
                    </a:lnTo>
                    <a:lnTo>
                      <a:pt x="178453" y="175279"/>
                    </a:lnTo>
                    <a:lnTo>
                      <a:pt x="178453" y="174662"/>
                    </a:lnTo>
                    <a:lnTo>
                      <a:pt x="178806" y="176689"/>
                    </a:lnTo>
                    <a:lnTo>
                      <a:pt x="180216" y="176689"/>
                    </a:lnTo>
                    <a:lnTo>
                      <a:pt x="180833" y="176689"/>
                    </a:lnTo>
                    <a:lnTo>
                      <a:pt x="181098" y="177571"/>
                    </a:lnTo>
                    <a:lnTo>
                      <a:pt x="181715" y="178453"/>
                    </a:lnTo>
                    <a:lnTo>
                      <a:pt x="184007" y="181451"/>
                    </a:lnTo>
                    <a:lnTo>
                      <a:pt x="183478" y="182597"/>
                    </a:lnTo>
                    <a:lnTo>
                      <a:pt x="182597" y="181980"/>
                    </a:lnTo>
                    <a:lnTo>
                      <a:pt x="182861" y="184272"/>
                    </a:lnTo>
                    <a:lnTo>
                      <a:pt x="181980" y="185154"/>
                    </a:lnTo>
                    <a:lnTo>
                      <a:pt x="182861" y="186652"/>
                    </a:lnTo>
                    <a:lnTo>
                      <a:pt x="181980" y="186652"/>
                    </a:lnTo>
                    <a:lnTo>
                      <a:pt x="180833" y="186652"/>
                    </a:lnTo>
                    <a:lnTo>
                      <a:pt x="179952" y="186917"/>
                    </a:lnTo>
                    <a:lnTo>
                      <a:pt x="180216" y="188416"/>
                    </a:lnTo>
                    <a:lnTo>
                      <a:pt x="182597" y="190179"/>
                    </a:lnTo>
                    <a:lnTo>
                      <a:pt x="180833" y="191854"/>
                    </a:lnTo>
                    <a:lnTo>
                      <a:pt x="181451" y="193089"/>
                    </a:lnTo>
                    <a:lnTo>
                      <a:pt x="180833" y="193970"/>
                    </a:lnTo>
                    <a:lnTo>
                      <a:pt x="182332" y="194235"/>
                    </a:lnTo>
                    <a:lnTo>
                      <a:pt x="182597" y="195734"/>
                    </a:lnTo>
                    <a:lnTo>
                      <a:pt x="182861" y="196880"/>
                    </a:lnTo>
                    <a:lnTo>
                      <a:pt x="181715" y="198908"/>
                    </a:lnTo>
                    <a:lnTo>
                      <a:pt x="179070" y="197409"/>
                    </a:lnTo>
                    <a:lnTo>
                      <a:pt x="177924" y="195998"/>
                    </a:lnTo>
                    <a:lnTo>
                      <a:pt x="176425" y="198291"/>
                    </a:lnTo>
                    <a:lnTo>
                      <a:pt x="176777" y="199790"/>
                    </a:lnTo>
                    <a:lnTo>
                      <a:pt x="175279" y="201200"/>
                    </a:lnTo>
                    <a:lnTo>
                      <a:pt x="174133" y="202435"/>
                    </a:lnTo>
                    <a:lnTo>
                      <a:pt x="172105" y="200319"/>
                    </a:lnTo>
                    <a:lnTo>
                      <a:pt x="172369" y="202082"/>
                    </a:lnTo>
                    <a:lnTo>
                      <a:pt x="170870" y="204727"/>
                    </a:lnTo>
                    <a:lnTo>
                      <a:pt x="169460" y="204198"/>
                    </a:lnTo>
                    <a:lnTo>
                      <a:pt x="168049" y="205344"/>
                    </a:lnTo>
                    <a:lnTo>
                      <a:pt x="166815" y="204198"/>
                    </a:lnTo>
                    <a:lnTo>
                      <a:pt x="166285" y="200319"/>
                    </a:lnTo>
                    <a:lnTo>
                      <a:pt x="165669" y="202082"/>
                    </a:lnTo>
                    <a:lnTo>
                      <a:pt x="164169" y="200319"/>
                    </a:lnTo>
                    <a:lnTo>
                      <a:pt x="162142" y="200054"/>
                    </a:lnTo>
                    <a:lnTo>
                      <a:pt x="161260" y="199172"/>
                    </a:lnTo>
                    <a:lnTo>
                      <a:pt x="160643" y="196880"/>
                    </a:lnTo>
                    <a:lnTo>
                      <a:pt x="159849" y="197762"/>
                    </a:lnTo>
                    <a:lnTo>
                      <a:pt x="159849" y="199172"/>
                    </a:lnTo>
                    <a:lnTo>
                      <a:pt x="158703" y="199172"/>
                    </a:lnTo>
                    <a:lnTo>
                      <a:pt x="158351" y="200319"/>
                    </a:lnTo>
                    <a:lnTo>
                      <a:pt x="156323" y="200319"/>
                    </a:lnTo>
                    <a:lnTo>
                      <a:pt x="155706" y="199790"/>
                    </a:lnTo>
                    <a:lnTo>
                      <a:pt x="154912" y="199790"/>
                    </a:lnTo>
                    <a:lnTo>
                      <a:pt x="154912" y="201817"/>
                    </a:lnTo>
                    <a:lnTo>
                      <a:pt x="154295" y="202082"/>
                    </a:lnTo>
                    <a:lnTo>
                      <a:pt x="154295" y="203845"/>
                    </a:lnTo>
                    <a:lnTo>
                      <a:pt x="153413" y="203845"/>
                    </a:lnTo>
                    <a:lnTo>
                      <a:pt x="152796" y="204463"/>
                    </a:lnTo>
                    <a:lnTo>
                      <a:pt x="151121" y="202699"/>
                    </a:lnTo>
                    <a:lnTo>
                      <a:pt x="151385" y="204198"/>
                    </a:lnTo>
                    <a:lnTo>
                      <a:pt x="149005" y="203316"/>
                    </a:lnTo>
                    <a:lnTo>
                      <a:pt x="149005" y="204198"/>
                    </a:lnTo>
                    <a:lnTo>
                      <a:pt x="149886" y="205344"/>
                    </a:lnTo>
                    <a:lnTo>
                      <a:pt x="150239" y="206755"/>
                    </a:lnTo>
                    <a:lnTo>
                      <a:pt x="152267" y="207637"/>
                    </a:lnTo>
                    <a:lnTo>
                      <a:pt x="154030" y="209135"/>
                    </a:lnTo>
                    <a:lnTo>
                      <a:pt x="154559" y="211163"/>
                    </a:lnTo>
                    <a:lnTo>
                      <a:pt x="153148" y="212927"/>
                    </a:lnTo>
                    <a:lnTo>
                      <a:pt x="153148" y="214073"/>
                    </a:lnTo>
                    <a:lnTo>
                      <a:pt x="148211" y="214073"/>
                    </a:lnTo>
                    <a:lnTo>
                      <a:pt x="145831" y="210282"/>
                    </a:lnTo>
                    <a:lnTo>
                      <a:pt x="145566" y="210546"/>
                    </a:lnTo>
                    <a:lnTo>
                      <a:pt x="144685" y="210017"/>
                    </a:lnTo>
                    <a:lnTo>
                      <a:pt x="143538" y="210282"/>
                    </a:lnTo>
                    <a:lnTo>
                      <a:pt x="141775" y="209664"/>
                    </a:lnTo>
                    <a:lnTo>
                      <a:pt x="140540" y="207637"/>
                    </a:lnTo>
                    <a:lnTo>
                      <a:pt x="138513" y="208783"/>
                    </a:lnTo>
                    <a:lnTo>
                      <a:pt x="136485" y="208783"/>
                    </a:lnTo>
                    <a:lnTo>
                      <a:pt x="132693" y="205609"/>
                    </a:lnTo>
                    <a:lnTo>
                      <a:pt x="133311" y="204198"/>
                    </a:lnTo>
                    <a:lnTo>
                      <a:pt x="135603" y="203316"/>
                    </a:lnTo>
                    <a:lnTo>
                      <a:pt x="134457" y="202435"/>
                    </a:lnTo>
                    <a:lnTo>
                      <a:pt x="135339" y="202435"/>
                    </a:lnTo>
                    <a:lnTo>
                      <a:pt x="135868" y="202435"/>
                    </a:lnTo>
                    <a:lnTo>
                      <a:pt x="136749" y="201200"/>
                    </a:lnTo>
                    <a:lnTo>
                      <a:pt x="136749" y="200319"/>
                    </a:lnTo>
                    <a:lnTo>
                      <a:pt x="138513" y="198643"/>
                    </a:lnTo>
                    <a:lnTo>
                      <a:pt x="138513" y="196880"/>
                    </a:lnTo>
                    <a:lnTo>
                      <a:pt x="137631" y="195734"/>
                    </a:lnTo>
                    <a:lnTo>
                      <a:pt x="138248" y="193970"/>
                    </a:lnTo>
                    <a:lnTo>
                      <a:pt x="137366" y="193089"/>
                    </a:lnTo>
                    <a:lnTo>
                      <a:pt x="137102" y="191854"/>
                    </a:lnTo>
                    <a:lnTo>
                      <a:pt x="138513" y="191325"/>
                    </a:lnTo>
                    <a:lnTo>
                      <a:pt x="137631" y="190179"/>
                    </a:lnTo>
                    <a:lnTo>
                      <a:pt x="139394" y="190179"/>
                    </a:lnTo>
                    <a:lnTo>
                      <a:pt x="138248" y="188416"/>
                    </a:lnTo>
                    <a:lnTo>
                      <a:pt x="139130" y="187534"/>
                    </a:lnTo>
                    <a:lnTo>
                      <a:pt x="139130" y="186917"/>
                    </a:lnTo>
                    <a:lnTo>
                      <a:pt x="137984" y="186652"/>
                    </a:lnTo>
                    <a:lnTo>
                      <a:pt x="136485" y="186652"/>
                    </a:lnTo>
                    <a:lnTo>
                      <a:pt x="135603" y="185154"/>
                    </a:lnTo>
                    <a:lnTo>
                      <a:pt x="135868" y="182597"/>
                    </a:lnTo>
                    <a:lnTo>
                      <a:pt x="137366" y="181451"/>
                    </a:lnTo>
                    <a:lnTo>
                      <a:pt x="138248" y="181451"/>
                    </a:lnTo>
                    <a:lnTo>
                      <a:pt x="137984" y="178805"/>
                    </a:lnTo>
                    <a:lnTo>
                      <a:pt x="135603" y="178805"/>
                    </a:lnTo>
                    <a:lnTo>
                      <a:pt x="134722" y="178453"/>
                    </a:lnTo>
                    <a:lnTo>
                      <a:pt x="135339" y="177571"/>
                    </a:lnTo>
                    <a:lnTo>
                      <a:pt x="136749" y="177042"/>
                    </a:lnTo>
                    <a:lnTo>
                      <a:pt x="137631" y="176689"/>
                    </a:lnTo>
                    <a:lnTo>
                      <a:pt x="137366" y="174133"/>
                    </a:lnTo>
                    <a:lnTo>
                      <a:pt x="137366" y="172986"/>
                    </a:lnTo>
                    <a:lnTo>
                      <a:pt x="137102" y="171223"/>
                    </a:lnTo>
                    <a:lnTo>
                      <a:pt x="136749" y="169195"/>
                    </a:lnTo>
                    <a:lnTo>
                      <a:pt x="135074" y="168578"/>
                    </a:lnTo>
                    <a:lnTo>
                      <a:pt x="134193" y="167696"/>
                    </a:lnTo>
                    <a:lnTo>
                      <a:pt x="132958" y="168578"/>
                    </a:lnTo>
                    <a:lnTo>
                      <a:pt x="132429" y="167432"/>
                    </a:lnTo>
                    <a:lnTo>
                      <a:pt x="130666" y="164169"/>
                    </a:lnTo>
                    <a:lnTo>
                      <a:pt x="130930" y="163023"/>
                    </a:lnTo>
                    <a:lnTo>
                      <a:pt x="132164" y="162406"/>
                    </a:lnTo>
                    <a:lnTo>
                      <a:pt x="131812" y="162406"/>
                    </a:lnTo>
                    <a:lnTo>
                      <a:pt x="127139" y="161613"/>
                    </a:lnTo>
                    <a:lnTo>
                      <a:pt x="123700" y="159849"/>
                    </a:lnTo>
                    <a:lnTo>
                      <a:pt x="122818" y="158615"/>
                    </a:lnTo>
                    <a:lnTo>
                      <a:pt x="121585" y="156058"/>
                    </a:lnTo>
                    <a:lnTo>
                      <a:pt x="119027" y="153942"/>
                    </a:lnTo>
                    <a:lnTo>
                      <a:pt x="117881" y="151385"/>
                    </a:lnTo>
                    <a:lnTo>
                      <a:pt x="114884" y="148740"/>
                    </a:lnTo>
                    <a:lnTo>
                      <a:pt x="114884" y="148476"/>
                    </a:lnTo>
                    <a:lnTo>
                      <a:pt x="115501" y="144596"/>
                    </a:lnTo>
                    <a:lnTo>
                      <a:pt x="114002" y="143185"/>
                    </a:lnTo>
                    <a:lnTo>
                      <a:pt x="114884" y="140893"/>
                    </a:lnTo>
                    <a:lnTo>
                      <a:pt x="113473" y="138865"/>
                    </a:lnTo>
                    <a:lnTo>
                      <a:pt x="113208" y="137102"/>
                    </a:lnTo>
                    <a:lnTo>
                      <a:pt x="114619" y="134192"/>
                    </a:lnTo>
                    <a:lnTo>
                      <a:pt x="114002" y="130401"/>
                    </a:lnTo>
                    <a:lnTo>
                      <a:pt x="113737" y="127756"/>
                    </a:lnTo>
                    <a:lnTo>
                      <a:pt x="112855" y="127403"/>
                    </a:lnTo>
                    <a:lnTo>
                      <a:pt x="111710" y="126610"/>
                    </a:lnTo>
                    <a:lnTo>
                      <a:pt x="111710" y="124846"/>
                    </a:lnTo>
                    <a:lnTo>
                      <a:pt x="109946" y="124229"/>
                    </a:lnTo>
                    <a:lnTo>
                      <a:pt x="105890" y="121937"/>
                    </a:lnTo>
                    <a:lnTo>
                      <a:pt x="103863" y="118675"/>
                    </a:lnTo>
                    <a:lnTo>
                      <a:pt x="102099" y="116647"/>
                    </a:lnTo>
                    <a:lnTo>
                      <a:pt x="100953" y="116030"/>
                    </a:lnTo>
                    <a:lnTo>
                      <a:pt x="99189" y="113208"/>
                    </a:lnTo>
                    <a:lnTo>
                      <a:pt x="95663" y="110210"/>
                    </a:lnTo>
                    <a:lnTo>
                      <a:pt x="94517" y="107565"/>
                    </a:lnTo>
                    <a:lnTo>
                      <a:pt x="92489" y="104656"/>
                    </a:lnTo>
                    <a:lnTo>
                      <a:pt x="90990" y="104656"/>
                    </a:lnTo>
                    <a:lnTo>
                      <a:pt x="90726" y="105009"/>
                    </a:lnTo>
                    <a:lnTo>
                      <a:pt x="89226" y="105009"/>
                    </a:lnTo>
                    <a:lnTo>
                      <a:pt x="88345" y="104656"/>
                    </a:lnTo>
                    <a:lnTo>
                      <a:pt x="86934" y="104656"/>
                    </a:lnTo>
                    <a:lnTo>
                      <a:pt x="84025" y="102981"/>
                    </a:lnTo>
                    <a:lnTo>
                      <a:pt x="80234" y="102099"/>
                    </a:lnTo>
                    <a:lnTo>
                      <a:pt x="77588" y="102099"/>
                    </a:lnTo>
                    <a:lnTo>
                      <a:pt x="75825" y="103774"/>
                    </a:lnTo>
                    <a:lnTo>
                      <a:pt x="77324" y="104656"/>
                    </a:lnTo>
                    <a:lnTo>
                      <a:pt x="77588" y="105009"/>
                    </a:lnTo>
                    <a:lnTo>
                      <a:pt x="74679" y="106772"/>
                    </a:lnTo>
                    <a:lnTo>
                      <a:pt x="73797" y="108183"/>
                    </a:lnTo>
                    <a:lnTo>
                      <a:pt x="73180" y="109329"/>
                    </a:lnTo>
                    <a:lnTo>
                      <a:pt x="73797" y="111974"/>
                    </a:lnTo>
                    <a:lnTo>
                      <a:pt x="73180" y="113208"/>
                    </a:lnTo>
                    <a:lnTo>
                      <a:pt x="72298" y="113208"/>
                    </a:lnTo>
                    <a:lnTo>
                      <a:pt x="70535" y="112238"/>
                    </a:lnTo>
                    <a:lnTo>
                      <a:pt x="69388" y="113208"/>
                    </a:lnTo>
                    <a:lnTo>
                      <a:pt x="67713" y="114354"/>
                    </a:lnTo>
                    <a:lnTo>
                      <a:pt x="67361" y="115765"/>
                    </a:lnTo>
                    <a:lnTo>
                      <a:pt x="65597" y="115765"/>
                    </a:lnTo>
                    <a:lnTo>
                      <a:pt x="65950" y="116647"/>
                    </a:lnTo>
                    <a:lnTo>
                      <a:pt x="63570" y="116030"/>
                    </a:lnTo>
                    <a:lnTo>
                      <a:pt x="64716" y="114883"/>
                    </a:lnTo>
                    <a:lnTo>
                      <a:pt x="63922" y="113737"/>
                    </a:lnTo>
                    <a:lnTo>
                      <a:pt x="62423" y="113208"/>
                    </a:lnTo>
                    <a:lnTo>
                      <a:pt x="61277" y="113208"/>
                    </a:lnTo>
                    <a:lnTo>
                      <a:pt x="60043" y="113208"/>
                    </a:lnTo>
                    <a:lnTo>
                      <a:pt x="58632" y="111974"/>
                    </a:lnTo>
                    <a:lnTo>
                      <a:pt x="56604" y="111445"/>
                    </a:lnTo>
                    <a:lnTo>
                      <a:pt x="55987" y="110563"/>
                    </a:lnTo>
                    <a:lnTo>
                      <a:pt x="53695" y="108800"/>
                    </a:lnTo>
                    <a:lnTo>
                      <a:pt x="53695" y="107565"/>
                    </a:lnTo>
                    <a:lnTo>
                      <a:pt x="51050" y="106772"/>
                    </a:lnTo>
                    <a:lnTo>
                      <a:pt x="50433" y="107565"/>
                    </a:lnTo>
                    <a:lnTo>
                      <a:pt x="49904" y="108800"/>
                    </a:lnTo>
                    <a:lnTo>
                      <a:pt x="49286" y="110563"/>
                    </a:lnTo>
                    <a:lnTo>
                      <a:pt x="48669" y="111974"/>
                    </a:lnTo>
                    <a:lnTo>
                      <a:pt x="48140" y="111974"/>
                    </a:lnTo>
                    <a:lnTo>
                      <a:pt x="45495" y="110563"/>
                    </a:lnTo>
                    <a:lnTo>
                      <a:pt x="44878" y="111974"/>
                    </a:lnTo>
                    <a:lnTo>
                      <a:pt x="45230" y="114354"/>
                    </a:lnTo>
                    <a:lnTo>
                      <a:pt x="43467" y="114883"/>
                    </a:lnTo>
                    <a:lnTo>
                      <a:pt x="42850" y="115765"/>
                    </a:lnTo>
                    <a:lnTo>
                      <a:pt x="42321" y="116030"/>
                    </a:lnTo>
                    <a:lnTo>
                      <a:pt x="41968" y="115765"/>
                    </a:lnTo>
                    <a:lnTo>
                      <a:pt x="41439" y="116647"/>
                    </a:lnTo>
                    <a:lnTo>
                      <a:pt x="42321" y="117528"/>
                    </a:lnTo>
                    <a:lnTo>
                      <a:pt x="41704" y="118146"/>
                    </a:lnTo>
                    <a:lnTo>
                      <a:pt x="40205" y="118675"/>
                    </a:lnTo>
                    <a:lnTo>
                      <a:pt x="39676" y="118675"/>
                    </a:lnTo>
                    <a:lnTo>
                      <a:pt x="39323" y="118675"/>
                    </a:lnTo>
                    <a:lnTo>
                      <a:pt x="39323" y="120173"/>
                    </a:lnTo>
                    <a:lnTo>
                      <a:pt x="39676" y="120438"/>
                    </a:lnTo>
                    <a:lnTo>
                      <a:pt x="37296" y="120438"/>
                    </a:lnTo>
                    <a:lnTo>
                      <a:pt x="37648" y="121937"/>
                    </a:lnTo>
                    <a:lnTo>
                      <a:pt x="36767" y="121937"/>
                    </a:lnTo>
                    <a:lnTo>
                      <a:pt x="35532" y="123612"/>
                    </a:lnTo>
                    <a:lnTo>
                      <a:pt x="35532" y="124229"/>
                    </a:lnTo>
                    <a:lnTo>
                      <a:pt x="34121" y="124846"/>
                    </a:lnTo>
                    <a:lnTo>
                      <a:pt x="34386" y="125993"/>
                    </a:lnTo>
                    <a:lnTo>
                      <a:pt x="33240" y="125993"/>
                    </a:lnTo>
                    <a:lnTo>
                      <a:pt x="32622" y="124846"/>
                    </a:lnTo>
                    <a:lnTo>
                      <a:pt x="31829" y="124846"/>
                    </a:lnTo>
                    <a:lnTo>
                      <a:pt x="31476" y="124229"/>
                    </a:lnTo>
                    <a:lnTo>
                      <a:pt x="28566" y="123612"/>
                    </a:lnTo>
                    <a:lnTo>
                      <a:pt x="28302" y="122201"/>
                    </a:lnTo>
                    <a:lnTo>
                      <a:pt x="28919" y="121937"/>
                    </a:lnTo>
                    <a:lnTo>
                      <a:pt x="29448" y="120173"/>
                    </a:lnTo>
                    <a:lnTo>
                      <a:pt x="29184" y="118146"/>
                    </a:lnTo>
                    <a:lnTo>
                      <a:pt x="29184" y="117528"/>
                    </a:lnTo>
                    <a:lnTo>
                      <a:pt x="28919" y="116647"/>
                    </a:lnTo>
                    <a:lnTo>
                      <a:pt x="30330" y="116030"/>
                    </a:lnTo>
                    <a:lnTo>
                      <a:pt x="29448" y="114883"/>
                    </a:lnTo>
                    <a:lnTo>
                      <a:pt x="30330" y="114354"/>
                    </a:lnTo>
                    <a:lnTo>
                      <a:pt x="31476" y="113208"/>
                    </a:lnTo>
                    <a:lnTo>
                      <a:pt x="31476" y="111974"/>
                    </a:lnTo>
                    <a:lnTo>
                      <a:pt x="32358" y="111445"/>
                    </a:lnTo>
                    <a:lnTo>
                      <a:pt x="32093" y="109329"/>
                    </a:lnTo>
                    <a:lnTo>
                      <a:pt x="31829" y="107565"/>
                    </a:lnTo>
                    <a:lnTo>
                      <a:pt x="31829" y="106772"/>
                    </a:lnTo>
                    <a:lnTo>
                      <a:pt x="31212" y="106419"/>
                    </a:lnTo>
                    <a:lnTo>
                      <a:pt x="31212" y="105009"/>
                    </a:lnTo>
                    <a:lnTo>
                      <a:pt x="31476" y="104656"/>
                    </a:lnTo>
                    <a:lnTo>
                      <a:pt x="29448" y="103774"/>
                    </a:lnTo>
                    <a:lnTo>
                      <a:pt x="28302" y="102099"/>
                    </a:lnTo>
                    <a:lnTo>
                      <a:pt x="29184" y="100865"/>
                    </a:lnTo>
                    <a:lnTo>
                      <a:pt x="28919" y="99454"/>
                    </a:lnTo>
                    <a:lnTo>
                      <a:pt x="29448" y="99454"/>
                    </a:lnTo>
                    <a:lnTo>
                      <a:pt x="30330" y="98308"/>
                    </a:lnTo>
                    <a:lnTo>
                      <a:pt x="30330" y="97691"/>
                    </a:lnTo>
                    <a:lnTo>
                      <a:pt x="31476" y="96544"/>
                    </a:lnTo>
                    <a:lnTo>
                      <a:pt x="32093" y="95398"/>
                    </a:lnTo>
                    <a:lnTo>
                      <a:pt x="31212" y="93899"/>
                    </a:lnTo>
                    <a:lnTo>
                      <a:pt x="30859" y="93018"/>
                    </a:lnTo>
                    <a:lnTo>
                      <a:pt x="30595" y="90373"/>
                    </a:lnTo>
                    <a:lnTo>
                      <a:pt x="31829" y="89226"/>
                    </a:lnTo>
                    <a:lnTo>
                      <a:pt x="31476" y="87816"/>
                    </a:lnTo>
                    <a:lnTo>
                      <a:pt x="32358" y="86581"/>
                    </a:lnTo>
                    <a:lnTo>
                      <a:pt x="30330" y="84024"/>
                    </a:lnTo>
                    <a:lnTo>
                      <a:pt x="29448" y="81908"/>
                    </a:lnTo>
                    <a:lnTo>
                      <a:pt x="29184" y="80498"/>
                    </a:lnTo>
                    <a:lnTo>
                      <a:pt x="29184" y="79881"/>
                    </a:lnTo>
                    <a:lnTo>
                      <a:pt x="27420" y="78117"/>
                    </a:lnTo>
                    <a:lnTo>
                      <a:pt x="27685" y="75560"/>
                    </a:lnTo>
                    <a:lnTo>
                      <a:pt x="29184" y="75560"/>
                    </a:lnTo>
                    <a:lnTo>
                      <a:pt x="28919" y="74943"/>
                    </a:lnTo>
                    <a:lnTo>
                      <a:pt x="28566" y="73180"/>
                    </a:lnTo>
                    <a:lnTo>
                      <a:pt x="27950" y="73180"/>
                    </a:lnTo>
                    <a:lnTo>
                      <a:pt x="27068" y="72651"/>
                    </a:lnTo>
                    <a:lnTo>
                      <a:pt x="26539" y="73180"/>
                    </a:lnTo>
                    <a:lnTo>
                      <a:pt x="25657" y="73180"/>
                    </a:lnTo>
                    <a:lnTo>
                      <a:pt x="23629" y="72034"/>
                    </a:lnTo>
                    <a:lnTo>
                      <a:pt x="20455" y="72034"/>
                    </a:lnTo>
                    <a:lnTo>
                      <a:pt x="19485" y="74943"/>
                    </a:lnTo>
                    <a:lnTo>
                      <a:pt x="18956" y="75560"/>
                    </a:lnTo>
                    <a:lnTo>
                      <a:pt x="17810" y="74943"/>
                    </a:lnTo>
                    <a:lnTo>
                      <a:pt x="15782" y="73797"/>
                    </a:lnTo>
                    <a:lnTo>
                      <a:pt x="14548" y="73797"/>
                    </a:lnTo>
                    <a:lnTo>
                      <a:pt x="14900" y="74943"/>
                    </a:lnTo>
                    <a:lnTo>
                      <a:pt x="14019" y="74943"/>
                    </a:lnTo>
                    <a:lnTo>
                      <a:pt x="13402" y="74943"/>
                    </a:lnTo>
                    <a:lnTo>
                      <a:pt x="12520" y="74943"/>
                    </a:lnTo>
                    <a:lnTo>
                      <a:pt x="11991" y="73797"/>
                    </a:lnTo>
                    <a:lnTo>
                      <a:pt x="11638" y="73180"/>
                    </a:lnTo>
                    <a:lnTo>
                      <a:pt x="11021" y="72034"/>
                    </a:lnTo>
                    <a:lnTo>
                      <a:pt x="10228" y="70270"/>
                    </a:lnTo>
                    <a:lnTo>
                      <a:pt x="8464" y="68507"/>
                    </a:lnTo>
                    <a:lnTo>
                      <a:pt x="10228" y="66479"/>
                    </a:lnTo>
                    <a:lnTo>
                      <a:pt x="10492" y="65597"/>
                    </a:lnTo>
                    <a:lnTo>
                      <a:pt x="11638" y="59161"/>
                    </a:lnTo>
                    <a:lnTo>
                      <a:pt x="10228" y="59161"/>
                    </a:lnTo>
                    <a:lnTo>
                      <a:pt x="9346" y="58367"/>
                    </a:lnTo>
                    <a:lnTo>
                      <a:pt x="8112" y="56604"/>
                    </a:lnTo>
                    <a:lnTo>
                      <a:pt x="5819" y="53606"/>
                    </a:lnTo>
                    <a:lnTo>
                      <a:pt x="5202" y="52813"/>
                    </a:lnTo>
                    <a:lnTo>
                      <a:pt x="3791" y="52813"/>
                    </a:lnTo>
                    <a:lnTo>
                      <a:pt x="2910" y="53606"/>
                    </a:lnTo>
                    <a:lnTo>
                      <a:pt x="2910" y="54841"/>
                    </a:lnTo>
                    <a:lnTo>
                      <a:pt x="2292" y="55370"/>
                    </a:lnTo>
                    <a:lnTo>
                      <a:pt x="2645" y="56604"/>
                    </a:lnTo>
                    <a:lnTo>
                      <a:pt x="1146" y="56604"/>
                    </a:lnTo>
                    <a:lnTo>
                      <a:pt x="882" y="54841"/>
                    </a:lnTo>
                    <a:lnTo>
                      <a:pt x="882" y="53606"/>
                    </a:lnTo>
                    <a:lnTo>
                      <a:pt x="0" y="53606"/>
                    </a:lnTo>
                    <a:lnTo>
                      <a:pt x="617" y="52813"/>
                    </a:lnTo>
                    <a:lnTo>
                      <a:pt x="1146" y="47258"/>
                    </a:lnTo>
                    <a:lnTo>
                      <a:pt x="2292" y="43996"/>
                    </a:lnTo>
                    <a:lnTo>
                      <a:pt x="4408" y="42850"/>
                    </a:lnTo>
                    <a:lnTo>
                      <a:pt x="4056" y="42321"/>
                    </a:lnTo>
                    <a:lnTo>
                      <a:pt x="7847" y="42850"/>
                    </a:lnTo>
                    <a:lnTo>
                      <a:pt x="9082" y="42321"/>
                    </a:lnTo>
                    <a:lnTo>
                      <a:pt x="10492" y="41086"/>
                    </a:lnTo>
                    <a:lnTo>
                      <a:pt x="10492" y="40557"/>
                    </a:lnTo>
                    <a:lnTo>
                      <a:pt x="8729" y="41086"/>
                    </a:lnTo>
                    <a:lnTo>
                      <a:pt x="7582" y="41086"/>
                    </a:lnTo>
                    <a:lnTo>
                      <a:pt x="7230" y="40557"/>
                    </a:lnTo>
                    <a:lnTo>
                      <a:pt x="7230" y="39323"/>
                    </a:lnTo>
                    <a:lnTo>
                      <a:pt x="8464" y="38177"/>
                    </a:lnTo>
                    <a:lnTo>
                      <a:pt x="8112" y="36766"/>
                    </a:lnTo>
                    <a:lnTo>
                      <a:pt x="8729" y="36413"/>
                    </a:lnTo>
                    <a:lnTo>
                      <a:pt x="10228" y="33857"/>
                    </a:lnTo>
                    <a:lnTo>
                      <a:pt x="9875" y="32622"/>
                    </a:lnTo>
                    <a:lnTo>
                      <a:pt x="10228" y="29977"/>
                    </a:lnTo>
                    <a:lnTo>
                      <a:pt x="11991" y="29977"/>
                    </a:lnTo>
                    <a:lnTo>
                      <a:pt x="13402" y="29977"/>
                    </a:lnTo>
                    <a:lnTo>
                      <a:pt x="13666" y="28831"/>
                    </a:lnTo>
                    <a:lnTo>
                      <a:pt x="15429" y="27420"/>
                    </a:lnTo>
                    <a:lnTo>
                      <a:pt x="18074" y="25657"/>
                    </a:lnTo>
                    <a:lnTo>
                      <a:pt x="18956" y="22747"/>
                    </a:lnTo>
                    <a:lnTo>
                      <a:pt x="22483" y="32622"/>
                    </a:lnTo>
                    <a:lnTo>
                      <a:pt x="28302" y="31212"/>
                    </a:lnTo>
                    <a:lnTo>
                      <a:pt x="33504" y="32622"/>
                    </a:lnTo>
                    <a:lnTo>
                      <a:pt x="31829" y="22130"/>
                    </a:lnTo>
                    <a:lnTo>
                      <a:pt x="24511" y="6701"/>
                    </a:lnTo>
                    <a:lnTo>
                      <a:pt x="25922" y="5555"/>
                    </a:lnTo>
                    <a:lnTo>
                      <a:pt x="27068" y="0"/>
                    </a:lnTo>
                    <a:lnTo>
                      <a:pt x="30330" y="2910"/>
                    </a:lnTo>
                    <a:lnTo>
                      <a:pt x="33240" y="114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9" name="Freihandform: Form 1968">
                <a:extLst>
                  <a:ext uri="{FF2B5EF4-FFF2-40B4-BE49-F238E27FC236}">
                    <a16:creationId xmlns:a16="http://schemas.microsoft.com/office/drawing/2014/main" id="{8710E7EA-69D6-A0ED-6E85-1629A886D2AB}"/>
                  </a:ext>
                </a:extLst>
              </p:cNvPr>
              <p:cNvSpPr/>
              <p:nvPr/>
            </p:nvSpPr>
            <p:spPr>
              <a:xfrm>
                <a:off x="6302617" y="3784582"/>
                <a:ext cx="118233" cy="115764"/>
              </a:xfrm>
              <a:custGeom>
                <a:avLst/>
                <a:gdLst>
                  <a:gd name="connsiteX0" fmla="*/ 33856 w 118233"/>
                  <a:gd name="connsiteY0" fmla="*/ 99983 h 115764"/>
                  <a:gd name="connsiteX1" fmla="*/ 32975 w 118233"/>
                  <a:gd name="connsiteY1" fmla="*/ 98484 h 115764"/>
                  <a:gd name="connsiteX2" fmla="*/ 33327 w 118233"/>
                  <a:gd name="connsiteY2" fmla="*/ 97602 h 115764"/>
                  <a:gd name="connsiteX3" fmla="*/ 34209 w 118233"/>
                  <a:gd name="connsiteY3" fmla="*/ 96721 h 115764"/>
                  <a:gd name="connsiteX4" fmla="*/ 34738 w 118233"/>
                  <a:gd name="connsiteY4" fmla="*/ 95310 h 115764"/>
                  <a:gd name="connsiteX5" fmla="*/ 33327 w 118233"/>
                  <a:gd name="connsiteY5" fmla="*/ 92665 h 115764"/>
                  <a:gd name="connsiteX6" fmla="*/ 33592 w 118233"/>
                  <a:gd name="connsiteY6" fmla="*/ 93811 h 115764"/>
                  <a:gd name="connsiteX7" fmla="*/ 32975 w 118233"/>
                  <a:gd name="connsiteY7" fmla="*/ 94693 h 115764"/>
                  <a:gd name="connsiteX8" fmla="*/ 31829 w 118233"/>
                  <a:gd name="connsiteY8" fmla="*/ 91783 h 115764"/>
                  <a:gd name="connsiteX9" fmla="*/ 30947 w 118233"/>
                  <a:gd name="connsiteY9" fmla="*/ 91166 h 115764"/>
                  <a:gd name="connsiteX10" fmla="*/ 30330 w 118233"/>
                  <a:gd name="connsiteY10" fmla="*/ 92665 h 115764"/>
                  <a:gd name="connsiteX11" fmla="*/ 28831 w 118233"/>
                  <a:gd name="connsiteY11" fmla="*/ 92400 h 115764"/>
                  <a:gd name="connsiteX12" fmla="*/ 27684 w 118233"/>
                  <a:gd name="connsiteY12" fmla="*/ 92665 h 115764"/>
                  <a:gd name="connsiteX13" fmla="*/ 26274 w 118233"/>
                  <a:gd name="connsiteY13" fmla="*/ 92665 h 115764"/>
                  <a:gd name="connsiteX14" fmla="*/ 25128 w 118233"/>
                  <a:gd name="connsiteY14" fmla="*/ 93547 h 115764"/>
                  <a:gd name="connsiteX15" fmla="*/ 24246 w 118233"/>
                  <a:gd name="connsiteY15" fmla="*/ 91783 h 115764"/>
                  <a:gd name="connsiteX16" fmla="*/ 22483 w 118233"/>
                  <a:gd name="connsiteY16" fmla="*/ 90637 h 115764"/>
                  <a:gd name="connsiteX17" fmla="*/ 24246 w 118233"/>
                  <a:gd name="connsiteY17" fmla="*/ 89138 h 115764"/>
                  <a:gd name="connsiteX18" fmla="*/ 22218 w 118233"/>
                  <a:gd name="connsiteY18" fmla="*/ 87992 h 115764"/>
                  <a:gd name="connsiteX19" fmla="*/ 21337 w 118233"/>
                  <a:gd name="connsiteY19" fmla="*/ 85612 h 115764"/>
                  <a:gd name="connsiteX20" fmla="*/ 21601 w 118233"/>
                  <a:gd name="connsiteY20" fmla="*/ 84201 h 115764"/>
                  <a:gd name="connsiteX21" fmla="*/ 20984 w 118233"/>
                  <a:gd name="connsiteY21" fmla="*/ 81820 h 115764"/>
                  <a:gd name="connsiteX22" fmla="*/ 19221 w 118233"/>
                  <a:gd name="connsiteY22" fmla="*/ 80057 h 115764"/>
                  <a:gd name="connsiteX23" fmla="*/ 18692 w 118233"/>
                  <a:gd name="connsiteY23" fmla="*/ 79175 h 115764"/>
                  <a:gd name="connsiteX24" fmla="*/ 18427 w 118233"/>
                  <a:gd name="connsiteY24" fmla="*/ 77412 h 115764"/>
                  <a:gd name="connsiteX25" fmla="*/ 19309 w 118233"/>
                  <a:gd name="connsiteY25" fmla="*/ 77147 h 115764"/>
                  <a:gd name="connsiteX26" fmla="*/ 19309 w 118233"/>
                  <a:gd name="connsiteY26" fmla="*/ 76001 h 115764"/>
                  <a:gd name="connsiteX27" fmla="*/ 16134 w 118233"/>
                  <a:gd name="connsiteY27" fmla="*/ 65156 h 115764"/>
                  <a:gd name="connsiteX28" fmla="*/ 14371 w 118233"/>
                  <a:gd name="connsiteY28" fmla="*/ 58456 h 115764"/>
                  <a:gd name="connsiteX29" fmla="*/ 15517 w 118233"/>
                  <a:gd name="connsiteY29" fmla="*/ 56163 h 115764"/>
                  <a:gd name="connsiteX30" fmla="*/ 7935 w 118233"/>
                  <a:gd name="connsiteY30" fmla="*/ 49727 h 115764"/>
                  <a:gd name="connsiteX31" fmla="*/ 6171 w 118233"/>
                  <a:gd name="connsiteY31" fmla="*/ 49991 h 115764"/>
                  <a:gd name="connsiteX32" fmla="*/ 6171 w 118233"/>
                  <a:gd name="connsiteY32" fmla="*/ 48228 h 115764"/>
                  <a:gd name="connsiteX33" fmla="*/ 7053 w 118233"/>
                  <a:gd name="connsiteY33" fmla="*/ 48228 h 115764"/>
                  <a:gd name="connsiteX34" fmla="*/ 6789 w 118233"/>
                  <a:gd name="connsiteY34" fmla="*/ 45583 h 115764"/>
                  <a:gd name="connsiteX35" fmla="*/ 5555 w 118233"/>
                  <a:gd name="connsiteY35" fmla="*/ 44437 h 115764"/>
                  <a:gd name="connsiteX36" fmla="*/ 6436 w 118233"/>
                  <a:gd name="connsiteY36" fmla="*/ 43820 h 115764"/>
                  <a:gd name="connsiteX37" fmla="*/ 6171 w 118233"/>
                  <a:gd name="connsiteY37" fmla="*/ 42321 h 115764"/>
                  <a:gd name="connsiteX38" fmla="*/ 7053 w 118233"/>
                  <a:gd name="connsiteY38" fmla="*/ 41175 h 115764"/>
                  <a:gd name="connsiteX39" fmla="*/ 5290 w 118233"/>
                  <a:gd name="connsiteY39" fmla="*/ 41175 h 115764"/>
                  <a:gd name="connsiteX40" fmla="*/ 4144 w 118233"/>
                  <a:gd name="connsiteY40" fmla="*/ 38530 h 115764"/>
                  <a:gd name="connsiteX41" fmla="*/ 2645 w 118233"/>
                  <a:gd name="connsiteY41" fmla="*/ 37912 h 115764"/>
                  <a:gd name="connsiteX42" fmla="*/ 2028 w 118233"/>
                  <a:gd name="connsiteY42" fmla="*/ 33504 h 115764"/>
                  <a:gd name="connsiteX43" fmla="*/ 1763 w 118233"/>
                  <a:gd name="connsiteY43" fmla="*/ 28831 h 115764"/>
                  <a:gd name="connsiteX44" fmla="*/ 0 w 118233"/>
                  <a:gd name="connsiteY44" fmla="*/ 27949 h 115764"/>
                  <a:gd name="connsiteX45" fmla="*/ 2645 w 118233"/>
                  <a:gd name="connsiteY45" fmla="*/ 27068 h 115764"/>
                  <a:gd name="connsiteX46" fmla="*/ 4937 w 118233"/>
                  <a:gd name="connsiteY46" fmla="*/ 27068 h 115764"/>
                  <a:gd name="connsiteX47" fmla="*/ 7230 w 118233"/>
                  <a:gd name="connsiteY47" fmla="*/ 26715 h 115764"/>
                  <a:gd name="connsiteX48" fmla="*/ 8376 w 118233"/>
                  <a:gd name="connsiteY48" fmla="*/ 26451 h 115764"/>
                  <a:gd name="connsiteX49" fmla="*/ 4849 w 118233"/>
                  <a:gd name="connsiteY49" fmla="*/ 24158 h 115764"/>
                  <a:gd name="connsiteX50" fmla="*/ 3703 w 118233"/>
                  <a:gd name="connsiteY50" fmla="*/ 22659 h 115764"/>
                  <a:gd name="connsiteX51" fmla="*/ 8111 w 118233"/>
                  <a:gd name="connsiteY51" fmla="*/ 21513 h 115764"/>
                  <a:gd name="connsiteX52" fmla="*/ 8993 w 118233"/>
                  <a:gd name="connsiteY52" fmla="*/ 17986 h 115764"/>
                  <a:gd name="connsiteX53" fmla="*/ 11285 w 118233"/>
                  <a:gd name="connsiteY53" fmla="*/ 15341 h 115764"/>
                  <a:gd name="connsiteX54" fmla="*/ 11903 w 118233"/>
                  <a:gd name="connsiteY54" fmla="*/ 13578 h 115764"/>
                  <a:gd name="connsiteX55" fmla="*/ 11550 w 118233"/>
                  <a:gd name="connsiteY55" fmla="*/ 11550 h 115764"/>
                  <a:gd name="connsiteX56" fmla="*/ 13930 w 118233"/>
                  <a:gd name="connsiteY56" fmla="*/ 10668 h 115764"/>
                  <a:gd name="connsiteX57" fmla="*/ 15076 w 118233"/>
                  <a:gd name="connsiteY57" fmla="*/ 9258 h 115764"/>
                  <a:gd name="connsiteX58" fmla="*/ 16223 w 118233"/>
                  <a:gd name="connsiteY58" fmla="*/ 8376 h 115764"/>
                  <a:gd name="connsiteX59" fmla="*/ 19132 w 118233"/>
                  <a:gd name="connsiteY59" fmla="*/ 8111 h 115764"/>
                  <a:gd name="connsiteX60" fmla="*/ 22306 w 118233"/>
                  <a:gd name="connsiteY60" fmla="*/ 8111 h 115764"/>
                  <a:gd name="connsiteX61" fmla="*/ 22042 w 118233"/>
                  <a:gd name="connsiteY61" fmla="*/ 6084 h 115764"/>
                  <a:gd name="connsiteX62" fmla="*/ 22924 w 118233"/>
                  <a:gd name="connsiteY62" fmla="*/ 7230 h 115764"/>
                  <a:gd name="connsiteX63" fmla="*/ 24422 w 118233"/>
                  <a:gd name="connsiteY63" fmla="*/ 5202 h 115764"/>
                  <a:gd name="connsiteX64" fmla="*/ 25304 w 118233"/>
                  <a:gd name="connsiteY64" fmla="*/ 6084 h 115764"/>
                  <a:gd name="connsiteX65" fmla="*/ 26451 w 118233"/>
                  <a:gd name="connsiteY65" fmla="*/ 6084 h 115764"/>
                  <a:gd name="connsiteX66" fmla="*/ 26803 w 118233"/>
                  <a:gd name="connsiteY66" fmla="*/ 4320 h 115764"/>
                  <a:gd name="connsiteX67" fmla="*/ 28302 w 118233"/>
                  <a:gd name="connsiteY67" fmla="*/ 5202 h 115764"/>
                  <a:gd name="connsiteX68" fmla="*/ 28831 w 118233"/>
                  <a:gd name="connsiteY68" fmla="*/ 6965 h 115764"/>
                  <a:gd name="connsiteX69" fmla="*/ 29977 w 118233"/>
                  <a:gd name="connsiteY69" fmla="*/ 7847 h 115764"/>
                  <a:gd name="connsiteX70" fmla="*/ 30859 w 118233"/>
                  <a:gd name="connsiteY70" fmla="*/ 6084 h 115764"/>
                  <a:gd name="connsiteX71" fmla="*/ 32887 w 118233"/>
                  <a:gd name="connsiteY71" fmla="*/ 8729 h 115764"/>
                  <a:gd name="connsiteX72" fmla="*/ 32887 w 118233"/>
                  <a:gd name="connsiteY72" fmla="*/ 7847 h 115764"/>
                  <a:gd name="connsiteX73" fmla="*/ 35532 w 118233"/>
                  <a:gd name="connsiteY73" fmla="*/ 8111 h 115764"/>
                  <a:gd name="connsiteX74" fmla="*/ 37030 w 118233"/>
                  <a:gd name="connsiteY74" fmla="*/ 6084 h 115764"/>
                  <a:gd name="connsiteX75" fmla="*/ 37295 w 118233"/>
                  <a:gd name="connsiteY75" fmla="*/ 7230 h 115764"/>
                  <a:gd name="connsiteX76" fmla="*/ 37912 w 118233"/>
                  <a:gd name="connsiteY76" fmla="*/ 7230 h 115764"/>
                  <a:gd name="connsiteX77" fmla="*/ 38530 w 118233"/>
                  <a:gd name="connsiteY77" fmla="*/ 6084 h 115764"/>
                  <a:gd name="connsiteX78" fmla="*/ 41792 w 118233"/>
                  <a:gd name="connsiteY78" fmla="*/ 6084 h 115764"/>
                  <a:gd name="connsiteX79" fmla="*/ 43202 w 118233"/>
                  <a:gd name="connsiteY79" fmla="*/ 7230 h 115764"/>
                  <a:gd name="connsiteX80" fmla="*/ 45230 w 118233"/>
                  <a:gd name="connsiteY80" fmla="*/ 8111 h 115764"/>
                  <a:gd name="connsiteX81" fmla="*/ 45230 w 118233"/>
                  <a:gd name="connsiteY81" fmla="*/ 6084 h 115764"/>
                  <a:gd name="connsiteX82" fmla="*/ 46729 w 118233"/>
                  <a:gd name="connsiteY82" fmla="*/ 7230 h 115764"/>
                  <a:gd name="connsiteX83" fmla="*/ 47611 w 118233"/>
                  <a:gd name="connsiteY83" fmla="*/ 7230 h 115764"/>
                  <a:gd name="connsiteX84" fmla="*/ 48228 w 118233"/>
                  <a:gd name="connsiteY84" fmla="*/ 5202 h 115764"/>
                  <a:gd name="connsiteX85" fmla="*/ 49110 w 118233"/>
                  <a:gd name="connsiteY85" fmla="*/ 6084 h 115764"/>
                  <a:gd name="connsiteX86" fmla="*/ 52019 w 118233"/>
                  <a:gd name="connsiteY86" fmla="*/ 4320 h 115764"/>
                  <a:gd name="connsiteX87" fmla="*/ 52901 w 118233"/>
                  <a:gd name="connsiteY87" fmla="*/ 6084 h 115764"/>
                  <a:gd name="connsiteX88" fmla="*/ 54929 w 118233"/>
                  <a:gd name="connsiteY88" fmla="*/ 6084 h 115764"/>
                  <a:gd name="connsiteX89" fmla="*/ 56427 w 118233"/>
                  <a:gd name="connsiteY89" fmla="*/ 8729 h 115764"/>
                  <a:gd name="connsiteX90" fmla="*/ 57574 w 118233"/>
                  <a:gd name="connsiteY90" fmla="*/ 11374 h 115764"/>
                  <a:gd name="connsiteX91" fmla="*/ 59337 w 118233"/>
                  <a:gd name="connsiteY91" fmla="*/ 10757 h 115764"/>
                  <a:gd name="connsiteX92" fmla="*/ 61365 w 118233"/>
                  <a:gd name="connsiteY92" fmla="*/ 9610 h 115764"/>
                  <a:gd name="connsiteX93" fmla="*/ 65156 w 118233"/>
                  <a:gd name="connsiteY93" fmla="*/ 12784 h 115764"/>
                  <a:gd name="connsiteX94" fmla="*/ 67184 w 118233"/>
                  <a:gd name="connsiteY94" fmla="*/ 12784 h 115764"/>
                  <a:gd name="connsiteX95" fmla="*/ 69212 w 118233"/>
                  <a:gd name="connsiteY95" fmla="*/ 11638 h 115764"/>
                  <a:gd name="connsiteX96" fmla="*/ 70358 w 118233"/>
                  <a:gd name="connsiteY96" fmla="*/ 13666 h 115764"/>
                  <a:gd name="connsiteX97" fmla="*/ 72122 w 118233"/>
                  <a:gd name="connsiteY97" fmla="*/ 14283 h 115764"/>
                  <a:gd name="connsiteX98" fmla="*/ 73268 w 118233"/>
                  <a:gd name="connsiteY98" fmla="*/ 14019 h 115764"/>
                  <a:gd name="connsiteX99" fmla="*/ 74149 w 118233"/>
                  <a:gd name="connsiteY99" fmla="*/ 14548 h 115764"/>
                  <a:gd name="connsiteX100" fmla="*/ 74414 w 118233"/>
                  <a:gd name="connsiteY100" fmla="*/ 14283 h 115764"/>
                  <a:gd name="connsiteX101" fmla="*/ 76706 w 118233"/>
                  <a:gd name="connsiteY101" fmla="*/ 18075 h 115764"/>
                  <a:gd name="connsiteX102" fmla="*/ 81643 w 118233"/>
                  <a:gd name="connsiteY102" fmla="*/ 18075 h 115764"/>
                  <a:gd name="connsiteX103" fmla="*/ 81643 w 118233"/>
                  <a:gd name="connsiteY103" fmla="*/ 16928 h 115764"/>
                  <a:gd name="connsiteX104" fmla="*/ 83143 w 118233"/>
                  <a:gd name="connsiteY104" fmla="*/ 15165 h 115764"/>
                  <a:gd name="connsiteX105" fmla="*/ 82525 w 118233"/>
                  <a:gd name="connsiteY105" fmla="*/ 13137 h 115764"/>
                  <a:gd name="connsiteX106" fmla="*/ 80762 w 118233"/>
                  <a:gd name="connsiteY106" fmla="*/ 11638 h 115764"/>
                  <a:gd name="connsiteX107" fmla="*/ 78734 w 118233"/>
                  <a:gd name="connsiteY107" fmla="*/ 10757 h 115764"/>
                  <a:gd name="connsiteX108" fmla="*/ 78470 w 118233"/>
                  <a:gd name="connsiteY108" fmla="*/ 9346 h 115764"/>
                  <a:gd name="connsiteX109" fmla="*/ 77588 w 118233"/>
                  <a:gd name="connsiteY109" fmla="*/ 8200 h 115764"/>
                  <a:gd name="connsiteX110" fmla="*/ 77588 w 118233"/>
                  <a:gd name="connsiteY110" fmla="*/ 7318 h 115764"/>
                  <a:gd name="connsiteX111" fmla="*/ 79881 w 118233"/>
                  <a:gd name="connsiteY111" fmla="*/ 8200 h 115764"/>
                  <a:gd name="connsiteX112" fmla="*/ 79616 w 118233"/>
                  <a:gd name="connsiteY112" fmla="*/ 6701 h 115764"/>
                  <a:gd name="connsiteX113" fmla="*/ 81379 w 118233"/>
                  <a:gd name="connsiteY113" fmla="*/ 8464 h 115764"/>
                  <a:gd name="connsiteX114" fmla="*/ 81996 w 118233"/>
                  <a:gd name="connsiteY114" fmla="*/ 7935 h 115764"/>
                  <a:gd name="connsiteX115" fmla="*/ 82878 w 118233"/>
                  <a:gd name="connsiteY115" fmla="*/ 7935 h 115764"/>
                  <a:gd name="connsiteX116" fmla="*/ 82878 w 118233"/>
                  <a:gd name="connsiteY116" fmla="*/ 6172 h 115764"/>
                  <a:gd name="connsiteX117" fmla="*/ 83495 w 118233"/>
                  <a:gd name="connsiteY117" fmla="*/ 5907 h 115764"/>
                  <a:gd name="connsiteX118" fmla="*/ 83495 w 118233"/>
                  <a:gd name="connsiteY118" fmla="*/ 3879 h 115764"/>
                  <a:gd name="connsiteX119" fmla="*/ 84377 w 118233"/>
                  <a:gd name="connsiteY119" fmla="*/ 3879 h 115764"/>
                  <a:gd name="connsiteX120" fmla="*/ 84994 w 118233"/>
                  <a:gd name="connsiteY120" fmla="*/ 4497 h 115764"/>
                  <a:gd name="connsiteX121" fmla="*/ 87022 w 118233"/>
                  <a:gd name="connsiteY121" fmla="*/ 4497 h 115764"/>
                  <a:gd name="connsiteX122" fmla="*/ 87286 w 118233"/>
                  <a:gd name="connsiteY122" fmla="*/ 3350 h 115764"/>
                  <a:gd name="connsiteX123" fmla="*/ 88433 w 118233"/>
                  <a:gd name="connsiteY123" fmla="*/ 3350 h 115764"/>
                  <a:gd name="connsiteX124" fmla="*/ 88433 w 118233"/>
                  <a:gd name="connsiteY124" fmla="*/ 1852 h 115764"/>
                  <a:gd name="connsiteX125" fmla="*/ 89315 w 118233"/>
                  <a:gd name="connsiteY125" fmla="*/ 970 h 115764"/>
                  <a:gd name="connsiteX126" fmla="*/ 89931 w 118233"/>
                  <a:gd name="connsiteY126" fmla="*/ 3350 h 115764"/>
                  <a:gd name="connsiteX127" fmla="*/ 90813 w 118233"/>
                  <a:gd name="connsiteY127" fmla="*/ 4232 h 115764"/>
                  <a:gd name="connsiteX128" fmla="*/ 92841 w 118233"/>
                  <a:gd name="connsiteY128" fmla="*/ 4497 h 115764"/>
                  <a:gd name="connsiteX129" fmla="*/ 94340 w 118233"/>
                  <a:gd name="connsiteY129" fmla="*/ 6260 h 115764"/>
                  <a:gd name="connsiteX130" fmla="*/ 94957 w 118233"/>
                  <a:gd name="connsiteY130" fmla="*/ 4497 h 115764"/>
                  <a:gd name="connsiteX131" fmla="*/ 95486 w 118233"/>
                  <a:gd name="connsiteY131" fmla="*/ 8288 h 115764"/>
                  <a:gd name="connsiteX132" fmla="*/ 96632 w 118233"/>
                  <a:gd name="connsiteY132" fmla="*/ 9434 h 115764"/>
                  <a:gd name="connsiteX133" fmla="*/ 98131 w 118233"/>
                  <a:gd name="connsiteY133" fmla="*/ 8288 h 115764"/>
                  <a:gd name="connsiteX134" fmla="*/ 99542 w 118233"/>
                  <a:gd name="connsiteY134" fmla="*/ 8817 h 115764"/>
                  <a:gd name="connsiteX135" fmla="*/ 101041 w 118233"/>
                  <a:gd name="connsiteY135" fmla="*/ 6172 h 115764"/>
                  <a:gd name="connsiteX136" fmla="*/ 100688 w 118233"/>
                  <a:gd name="connsiteY136" fmla="*/ 4408 h 115764"/>
                  <a:gd name="connsiteX137" fmla="*/ 102716 w 118233"/>
                  <a:gd name="connsiteY137" fmla="*/ 6436 h 115764"/>
                  <a:gd name="connsiteX138" fmla="*/ 103862 w 118233"/>
                  <a:gd name="connsiteY138" fmla="*/ 5290 h 115764"/>
                  <a:gd name="connsiteX139" fmla="*/ 105361 w 118233"/>
                  <a:gd name="connsiteY139" fmla="*/ 3791 h 115764"/>
                  <a:gd name="connsiteX140" fmla="*/ 105097 w 118233"/>
                  <a:gd name="connsiteY140" fmla="*/ 2292 h 115764"/>
                  <a:gd name="connsiteX141" fmla="*/ 106595 w 118233"/>
                  <a:gd name="connsiteY141" fmla="*/ 0 h 115764"/>
                  <a:gd name="connsiteX142" fmla="*/ 107742 w 118233"/>
                  <a:gd name="connsiteY142" fmla="*/ 1411 h 115764"/>
                  <a:gd name="connsiteX143" fmla="*/ 110386 w 118233"/>
                  <a:gd name="connsiteY143" fmla="*/ 2910 h 115764"/>
                  <a:gd name="connsiteX144" fmla="*/ 111797 w 118233"/>
                  <a:gd name="connsiteY144" fmla="*/ 4408 h 115764"/>
                  <a:gd name="connsiteX145" fmla="*/ 110034 w 118233"/>
                  <a:gd name="connsiteY145" fmla="*/ 4408 h 115764"/>
                  <a:gd name="connsiteX146" fmla="*/ 110651 w 118233"/>
                  <a:gd name="connsiteY146" fmla="*/ 6172 h 115764"/>
                  <a:gd name="connsiteX147" fmla="*/ 109505 w 118233"/>
                  <a:gd name="connsiteY147" fmla="*/ 5907 h 115764"/>
                  <a:gd name="connsiteX148" fmla="*/ 108359 w 118233"/>
                  <a:gd name="connsiteY148" fmla="*/ 5907 h 115764"/>
                  <a:gd name="connsiteX149" fmla="*/ 108624 w 118233"/>
                  <a:gd name="connsiteY149" fmla="*/ 8288 h 115764"/>
                  <a:gd name="connsiteX150" fmla="*/ 108624 w 118233"/>
                  <a:gd name="connsiteY150" fmla="*/ 10051 h 115764"/>
                  <a:gd name="connsiteX151" fmla="*/ 108006 w 118233"/>
                  <a:gd name="connsiteY151" fmla="*/ 13225 h 115764"/>
                  <a:gd name="connsiteX152" fmla="*/ 109769 w 118233"/>
                  <a:gd name="connsiteY152" fmla="*/ 15870 h 115764"/>
                  <a:gd name="connsiteX153" fmla="*/ 111797 w 118233"/>
                  <a:gd name="connsiteY153" fmla="*/ 15870 h 115764"/>
                  <a:gd name="connsiteX154" fmla="*/ 112415 w 118233"/>
                  <a:gd name="connsiteY154" fmla="*/ 19044 h 115764"/>
                  <a:gd name="connsiteX155" fmla="*/ 112679 w 118233"/>
                  <a:gd name="connsiteY155" fmla="*/ 21072 h 115764"/>
                  <a:gd name="connsiteX156" fmla="*/ 113296 w 118233"/>
                  <a:gd name="connsiteY156" fmla="*/ 22836 h 115764"/>
                  <a:gd name="connsiteX157" fmla="*/ 114795 w 118233"/>
                  <a:gd name="connsiteY157" fmla="*/ 25128 h 115764"/>
                  <a:gd name="connsiteX158" fmla="*/ 116206 w 118233"/>
                  <a:gd name="connsiteY158" fmla="*/ 28037 h 115764"/>
                  <a:gd name="connsiteX159" fmla="*/ 116735 w 118233"/>
                  <a:gd name="connsiteY159" fmla="*/ 32711 h 115764"/>
                  <a:gd name="connsiteX160" fmla="*/ 114707 w 118233"/>
                  <a:gd name="connsiteY160" fmla="*/ 40910 h 115764"/>
                  <a:gd name="connsiteX161" fmla="*/ 114971 w 118233"/>
                  <a:gd name="connsiteY161" fmla="*/ 43820 h 115764"/>
                  <a:gd name="connsiteX162" fmla="*/ 116470 w 118233"/>
                  <a:gd name="connsiteY162" fmla="*/ 45583 h 115764"/>
                  <a:gd name="connsiteX163" fmla="*/ 116735 w 118233"/>
                  <a:gd name="connsiteY163" fmla="*/ 48228 h 115764"/>
                  <a:gd name="connsiteX164" fmla="*/ 117616 w 118233"/>
                  <a:gd name="connsiteY164" fmla="*/ 49991 h 115764"/>
                  <a:gd name="connsiteX165" fmla="*/ 118234 w 118233"/>
                  <a:gd name="connsiteY165" fmla="*/ 54929 h 115764"/>
                  <a:gd name="connsiteX166" fmla="*/ 117969 w 118233"/>
                  <a:gd name="connsiteY166" fmla="*/ 56957 h 115764"/>
                  <a:gd name="connsiteX167" fmla="*/ 116206 w 118233"/>
                  <a:gd name="connsiteY167" fmla="*/ 57221 h 115764"/>
                  <a:gd name="connsiteX168" fmla="*/ 116470 w 118233"/>
                  <a:gd name="connsiteY168" fmla="*/ 58720 h 115764"/>
                  <a:gd name="connsiteX169" fmla="*/ 115941 w 118233"/>
                  <a:gd name="connsiteY169" fmla="*/ 61101 h 115764"/>
                  <a:gd name="connsiteX170" fmla="*/ 114795 w 118233"/>
                  <a:gd name="connsiteY170" fmla="*/ 59955 h 115764"/>
                  <a:gd name="connsiteX171" fmla="*/ 113296 w 118233"/>
                  <a:gd name="connsiteY171" fmla="*/ 57309 h 115764"/>
                  <a:gd name="connsiteX172" fmla="*/ 112679 w 118233"/>
                  <a:gd name="connsiteY172" fmla="*/ 57309 h 115764"/>
                  <a:gd name="connsiteX173" fmla="*/ 109769 w 118233"/>
                  <a:gd name="connsiteY173" fmla="*/ 58808 h 115764"/>
                  <a:gd name="connsiteX174" fmla="*/ 107124 w 118233"/>
                  <a:gd name="connsiteY174" fmla="*/ 62600 h 115764"/>
                  <a:gd name="connsiteX175" fmla="*/ 106243 w 118233"/>
                  <a:gd name="connsiteY175" fmla="*/ 62600 h 115764"/>
                  <a:gd name="connsiteX176" fmla="*/ 105626 w 118233"/>
                  <a:gd name="connsiteY176" fmla="*/ 63746 h 115764"/>
                  <a:gd name="connsiteX177" fmla="*/ 104215 w 118233"/>
                  <a:gd name="connsiteY177" fmla="*/ 64363 h 115764"/>
                  <a:gd name="connsiteX178" fmla="*/ 101570 w 118233"/>
                  <a:gd name="connsiteY178" fmla="*/ 64363 h 115764"/>
                  <a:gd name="connsiteX179" fmla="*/ 99542 w 118233"/>
                  <a:gd name="connsiteY179" fmla="*/ 66655 h 115764"/>
                  <a:gd name="connsiteX180" fmla="*/ 95486 w 118233"/>
                  <a:gd name="connsiteY180" fmla="*/ 66655 h 115764"/>
                  <a:gd name="connsiteX181" fmla="*/ 93458 w 118233"/>
                  <a:gd name="connsiteY181" fmla="*/ 66655 h 115764"/>
                  <a:gd name="connsiteX182" fmla="*/ 95839 w 118233"/>
                  <a:gd name="connsiteY182" fmla="*/ 69829 h 115764"/>
                  <a:gd name="connsiteX183" fmla="*/ 93811 w 118233"/>
                  <a:gd name="connsiteY183" fmla="*/ 69829 h 115764"/>
                  <a:gd name="connsiteX184" fmla="*/ 94693 w 118233"/>
                  <a:gd name="connsiteY184" fmla="*/ 70976 h 115764"/>
                  <a:gd name="connsiteX185" fmla="*/ 94076 w 118233"/>
                  <a:gd name="connsiteY185" fmla="*/ 72122 h 115764"/>
                  <a:gd name="connsiteX186" fmla="*/ 96368 w 118233"/>
                  <a:gd name="connsiteY186" fmla="*/ 73885 h 115764"/>
                  <a:gd name="connsiteX187" fmla="*/ 96368 w 118233"/>
                  <a:gd name="connsiteY187" fmla="*/ 74767 h 115764"/>
                  <a:gd name="connsiteX188" fmla="*/ 93723 w 118233"/>
                  <a:gd name="connsiteY188" fmla="*/ 73885 h 115764"/>
                  <a:gd name="connsiteX189" fmla="*/ 92577 w 118233"/>
                  <a:gd name="connsiteY189" fmla="*/ 73885 h 115764"/>
                  <a:gd name="connsiteX190" fmla="*/ 91431 w 118233"/>
                  <a:gd name="connsiteY190" fmla="*/ 72739 h 115764"/>
                  <a:gd name="connsiteX191" fmla="*/ 88521 w 118233"/>
                  <a:gd name="connsiteY191" fmla="*/ 72739 h 115764"/>
                  <a:gd name="connsiteX192" fmla="*/ 85876 w 118233"/>
                  <a:gd name="connsiteY192" fmla="*/ 72122 h 115764"/>
                  <a:gd name="connsiteX193" fmla="*/ 85347 w 118233"/>
                  <a:gd name="connsiteY193" fmla="*/ 72122 h 115764"/>
                  <a:gd name="connsiteX194" fmla="*/ 85611 w 118233"/>
                  <a:gd name="connsiteY194" fmla="*/ 73621 h 115764"/>
                  <a:gd name="connsiteX195" fmla="*/ 84730 w 118233"/>
                  <a:gd name="connsiteY195" fmla="*/ 75384 h 115764"/>
                  <a:gd name="connsiteX196" fmla="*/ 82349 w 118233"/>
                  <a:gd name="connsiteY196" fmla="*/ 74767 h 115764"/>
                  <a:gd name="connsiteX197" fmla="*/ 81203 w 118233"/>
                  <a:gd name="connsiteY197" fmla="*/ 73621 h 115764"/>
                  <a:gd name="connsiteX198" fmla="*/ 81467 w 118233"/>
                  <a:gd name="connsiteY198" fmla="*/ 75648 h 115764"/>
                  <a:gd name="connsiteX199" fmla="*/ 81467 w 118233"/>
                  <a:gd name="connsiteY199" fmla="*/ 77059 h 115764"/>
                  <a:gd name="connsiteX200" fmla="*/ 82614 w 118233"/>
                  <a:gd name="connsiteY200" fmla="*/ 77676 h 115764"/>
                  <a:gd name="connsiteX201" fmla="*/ 82878 w 118233"/>
                  <a:gd name="connsiteY201" fmla="*/ 80057 h 115764"/>
                  <a:gd name="connsiteX202" fmla="*/ 83143 w 118233"/>
                  <a:gd name="connsiteY202" fmla="*/ 83584 h 115764"/>
                  <a:gd name="connsiteX203" fmla="*/ 83760 w 118233"/>
                  <a:gd name="connsiteY203" fmla="*/ 83848 h 115764"/>
                  <a:gd name="connsiteX204" fmla="*/ 84024 w 118233"/>
                  <a:gd name="connsiteY204" fmla="*/ 85259 h 115764"/>
                  <a:gd name="connsiteX205" fmla="*/ 85435 w 118233"/>
                  <a:gd name="connsiteY205" fmla="*/ 85523 h 115764"/>
                  <a:gd name="connsiteX206" fmla="*/ 86581 w 118233"/>
                  <a:gd name="connsiteY206" fmla="*/ 86405 h 115764"/>
                  <a:gd name="connsiteX207" fmla="*/ 88080 w 118233"/>
                  <a:gd name="connsiteY207" fmla="*/ 88168 h 115764"/>
                  <a:gd name="connsiteX208" fmla="*/ 88962 w 118233"/>
                  <a:gd name="connsiteY208" fmla="*/ 89315 h 115764"/>
                  <a:gd name="connsiteX209" fmla="*/ 89844 w 118233"/>
                  <a:gd name="connsiteY209" fmla="*/ 89315 h 115764"/>
                  <a:gd name="connsiteX210" fmla="*/ 90990 w 118233"/>
                  <a:gd name="connsiteY210" fmla="*/ 89050 h 115764"/>
                  <a:gd name="connsiteX211" fmla="*/ 90637 w 118233"/>
                  <a:gd name="connsiteY211" fmla="*/ 90549 h 115764"/>
                  <a:gd name="connsiteX212" fmla="*/ 91783 w 118233"/>
                  <a:gd name="connsiteY212" fmla="*/ 91960 h 115764"/>
                  <a:gd name="connsiteX213" fmla="*/ 90020 w 118233"/>
                  <a:gd name="connsiteY213" fmla="*/ 91960 h 115764"/>
                  <a:gd name="connsiteX214" fmla="*/ 90020 w 118233"/>
                  <a:gd name="connsiteY214" fmla="*/ 92841 h 115764"/>
                  <a:gd name="connsiteX215" fmla="*/ 91783 w 118233"/>
                  <a:gd name="connsiteY215" fmla="*/ 96633 h 115764"/>
                  <a:gd name="connsiteX216" fmla="*/ 89402 w 118233"/>
                  <a:gd name="connsiteY216" fmla="*/ 96368 h 115764"/>
                  <a:gd name="connsiteX217" fmla="*/ 87110 w 118233"/>
                  <a:gd name="connsiteY217" fmla="*/ 94869 h 115764"/>
                  <a:gd name="connsiteX218" fmla="*/ 85964 w 118233"/>
                  <a:gd name="connsiteY218" fmla="*/ 93723 h 115764"/>
                  <a:gd name="connsiteX219" fmla="*/ 85347 w 118233"/>
                  <a:gd name="connsiteY219" fmla="*/ 95486 h 115764"/>
                  <a:gd name="connsiteX220" fmla="*/ 83936 w 118233"/>
                  <a:gd name="connsiteY220" fmla="*/ 94869 h 115764"/>
                  <a:gd name="connsiteX221" fmla="*/ 84201 w 118233"/>
                  <a:gd name="connsiteY221" fmla="*/ 92577 h 115764"/>
                  <a:gd name="connsiteX222" fmla="*/ 81908 w 118233"/>
                  <a:gd name="connsiteY222" fmla="*/ 91078 h 115764"/>
                  <a:gd name="connsiteX223" fmla="*/ 77235 w 118233"/>
                  <a:gd name="connsiteY223" fmla="*/ 92577 h 115764"/>
                  <a:gd name="connsiteX224" fmla="*/ 75296 w 118233"/>
                  <a:gd name="connsiteY224" fmla="*/ 92577 h 115764"/>
                  <a:gd name="connsiteX225" fmla="*/ 74414 w 118233"/>
                  <a:gd name="connsiteY225" fmla="*/ 91960 h 115764"/>
                  <a:gd name="connsiteX226" fmla="*/ 73532 w 118233"/>
                  <a:gd name="connsiteY226" fmla="*/ 93723 h 115764"/>
                  <a:gd name="connsiteX227" fmla="*/ 72915 w 118233"/>
                  <a:gd name="connsiteY227" fmla="*/ 94869 h 115764"/>
                  <a:gd name="connsiteX228" fmla="*/ 71152 w 118233"/>
                  <a:gd name="connsiteY228" fmla="*/ 94605 h 115764"/>
                  <a:gd name="connsiteX229" fmla="*/ 67096 w 118233"/>
                  <a:gd name="connsiteY229" fmla="*/ 92841 h 115764"/>
                  <a:gd name="connsiteX230" fmla="*/ 65950 w 118233"/>
                  <a:gd name="connsiteY230" fmla="*/ 94869 h 115764"/>
                  <a:gd name="connsiteX231" fmla="*/ 68595 w 118233"/>
                  <a:gd name="connsiteY231" fmla="*/ 96897 h 115764"/>
                  <a:gd name="connsiteX232" fmla="*/ 67713 w 118233"/>
                  <a:gd name="connsiteY232" fmla="*/ 98043 h 115764"/>
                  <a:gd name="connsiteX233" fmla="*/ 64804 w 118233"/>
                  <a:gd name="connsiteY233" fmla="*/ 100336 h 115764"/>
                  <a:gd name="connsiteX234" fmla="*/ 63040 w 118233"/>
                  <a:gd name="connsiteY234" fmla="*/ 102716 h 115764"/>
                  <a:gd name="connsiteX235" fmla="*/ 58632 w 118233"/>
                  <a:gd name="connsiteY235" fmla="*/ 102716 h 115764"/>
                  <a:gd name="connsiteX236" fmla="*/ 56868 w 118233"/>
                  <a:gd name="connsiteY236" fmla="*/ 102716 h 115764"/>
                  <a:gd name="connsiteX237" fmla="*/ 54840 w 118233"/>
                  <a:gd name="connsiteY237" fmla="*/ 105361 h 115764"/>
                  <a:gd name="connsiteX238" fmla="*/ 52284 w 118233"/>
                  <a:gd name="connsiteY238" fmla="*/ 104744 h 115764"/>
                  <a:gd name="connsiteX239" fmla="*/ 50785 w 118233"/>
                  <a:gd name="connsiteY239" fmla="*/ 104744 h 115764"/>
                  <a:gd name="connsiteX240" fmla="*/ 49639 w 118233"/>
                  <a:gd name="connsiteY240" fmla="*/ 104480 h 115764"/>
                  <a:gd name="connsiteX241" fmla="*/ 48757 w 118233"/>
                  <a:gd name="connsiteY241" fmla="*/ 103333 h 115764"/>
                  <a:gd name="connsiteX242" fmla="*/ 48228 w 118233"/>
                  <a:gd name="connsiteY242" fmla="*/ 102187 h 115764"/>
                  <a:gd name="connsiteX243" fmla="*/ 47346 w 118233"/>
                  <a:gd name="connsiteY243" fmla="*/ 101923 h 115764"/>
                  <a:gd name="connsiteX244" fmla="*/ 47346 w 118233"/>
                  <a:gd name="connsiteY244" fmla="*/ 101658 h 115764"/>
                  <a:gd name="connsiteX245" fmla="*/ 45583 w 118233"/>
                  <a:gd name="connsiteY245" fmla="*/ 101041 h 115764"/>
                  <a:gd name="connsiteX246" fmla="*/ 44437 w 118233"/>
                  <a:gd name="connsiteY246" fmla="*/ 101041 h 115764"/>
                  <a:gd name="connsiteX247" fmla="*/ 42673 w 118233"/>
                  <a:gd name="connsiteY247" fmla="*/ 100424 h 115764"/>
                  <a:gd name="connsiteX248" fmla="*/ 40910 w 118233"/>
                  <a:gd name="connsiteY248" fmla="*/ 99895 h 115764"/>
                  <a:gd name="connsiteX249" fmla="*/ 39763 w 118233"/>
                  <a:gd name="connsiteY249" fmla="*/ 99895 h 115764"/>
                  <a:gd name="connsiteX250" fmla="*/ 38882 w 118233"/>
                  <a:gd name="connsiteY250" fmla="*/ 98396 h 115764"/>
                  <a:gd name="connsiteX251" fmla="*/ 37736 w 118233"/>
                  <a:gd name="connsiteY251" fmla="*/ 100159 h 115764"/>
                  <a:gd name="connsiteX252" fmla="*/ 37736 w 118233"/>
                  <a:gd name="connsiteY252" fmla="*/ 100776 h 115764"/>
                  <a:gd name="connsiteX253" fmla="*/ 37472 w 118233"/>
                  <a:gd name="connsiteY253" fmla="*/ 101923 h 115764"/>
                  <a:gd name="connsiteX254" fmla="*/ 36854 w 118233"/>
                  <a:gd name="connsiteY254" fmla="*/ 102187 h 115764"/>
                  <a:gd name="connsiteX255" fmla="*/ 35708 w 118233"/>
                  <a:gd name="connsiteY255" fmla="*/ 101923 h 115764"/>
                  <a:gd name="connsiteX256" fmla="*/ 33856 w 118233"/>
                  <a:gd name="connsiteY256" fmla="*/ 99983 h 115764"/>
                  <a:gd name="connsiteX257" fmla="*/ 38794 w 118233"/>
                  <a:gd name="connsiteY257" fmla="*/ 106684 h 115764"/>
                  <a:gd name="connsiteX258" fmla="*/ 39059 w 118233"/>
                  <a:gd name="connsiteY258" fmla="*/ 106419 h 115764"/>
                  <a:gd name="connsiteX259" fmla="*/ 40557 w 118233"/>
                  <a:gd name="connsiteY259" fmla="*/ 105273 h 115764"/>
                  <a:gd name="connsiteX260" fmla="*/ 41968 w 118233"/>
                  <a:gd name="connsiteY260" fmla="*/ 105273 h 115764"/>
                  <a:gd name="connsiteX261" fmla="*/ 42850 w 118233"/>
                  <a:gd name="connsiteY261" fmla="*/ 104391 h 115764"/>
                  <a:gd name="connsiteX262" fmla="*/ 44348 w 118233"/>
                  <a:gd name="connsiteY262" fmla="*/ 105802 h 115764"/>
                  <a:gd name="connsiteX263" fmla="*/ 44613 w 118233"/>
                  <a:gd name="connsiteY263" fmla="*/ 107301 h 115764"/>
                  <a:gd name="connsiteX264" fmla="*/ 45230 w 118233"/>
                  <a:gd name="connsiteY264" fmla="*/ 108183 h 115764"/>
                  <a:gd name="connsiteX265" fmla="*/ 44348 w 118233"/>
                  <a:gd name="connsiteY265" fmla="*/ 108183 h 115764"/>
                  <a:gd name="connsiteX266" fmla="*/ 44613 w 118233"/>
                  <a:gd name="connsiteY266" fmla="*/ 110210 h 115764"/>
                  <a:gd name="connsiteX267" fmla="*/ 46112 w 118233"/>
                  <a:gd name="connsiteY267" fmla="*/ 110828 h 115764"/>
                  <a:gd name="connsiteX268" fmla="*/ 46376 w 118233"/>
                  <a:gd name="connsiteY268" fmla="*/ 111974 h 115764"/>
                  <a:gd name="connsiteX269" fmla="*/ 45759 w 118233"/>
                  <a:gd name="connsiteY269" fmla="*/ 114002 h 115764"/>
                  <a:gd name="connsiteX270" fmla="*/ 43114 w 118233"/>
                  <a:gd name="connsiteY270" fmla="*/ 115765 h 115764"/>
                  <a:gd name="connsiteX271" fmla="*/ 43379 w 118233"/>
                  <a:gd name="connsiteY271" fmla="*/ 113120 h 115764"/>
                  <a:gd name="connsiteX272" fmla="*/ 41880 w 118233"/>
                  <a:gd name="connsiteY272" fmla="*/ 111092 h 115764"/>
                  <a:gd name="connsiteX273" fmla="*/ 40117 w 118233"/>
                  <a:gd name="connsiteY273" fmla="*/ 110828 h 115764"/>
                  <a:gd name="connsiteX274" fmla="*/ 39852 w 118233"/>
                  <a:gd name="connsiteY274" fmla="*/ 108183 h 115764"/>
                  <a:gd name="connsiteX275" fmla="*/ 38794 w 118233"/>
                  <a:gd name="connsiteY275" fmla="*/ 106684 h 115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18233" h="115764">
                    <a:moveTo>
                      <a:pt x="33856" y="99983"/>
                    </a:moveTo>
                    <a:lnTo>
                      <a:pt x="32975" y="98484"/>
                    </a:lnTo>
                    <a:lnTo>
                      <a:pt x="33327" y="97602"/>
                    </a:lnTo>
                    <a:lnTo>
                      <a:pt x="34209" y="96721"/>
                    </a:lnTo>
                    <a:lnTo>
                      <a:pt x="34738" y="95310"/>
                    </a:lnTo>
                    <a:lnTo>
                      <a:pt x="33327" y="92665"/>
                    </a:lnTo>
                    <a:lnTo>
                      <a:pt x="33592" y="93811"/>
                    </a:lnTo>
                    <a:lnTo>
                      <a:pt x="32975" y="94693"/>
                    </a:lnTo>
                    <a:lnTo>
                      <a:pt x="31829" y="91783"/>
                    </a:lnTo>
                    <a:lnTo>
                      <a:pt x="30947" y="91166"/>
                    </a:lnTo>
                    <a:lnTo>
                      <a:pt x="30330" y="92665"/>
                    </a:lnTo>
                    <a:lnTo>
                      <a:pt x="28831" y="92400"/>
                    </a:lnTo>
                    <a:lnTo>
                      <a:pt x="27684" y="92665"/>
                    </a:lnTo>
                    <a:lnTo>
                      <a:pt x="26274" y="92665"/>
                    </a:lnTo>
                    <a:lnTo>
                      <a:pt x="25128" y="93547"/>
                    </a:lnTo>
                    <a:lnTo>
                      <a:pt x="24246" y="91783"/>
                    </a:lnTo>
                    <a:lnTo>
                      <a:pt x="22483" y="90637"/>
                    </a:lnTo>
                    <a:lnTo>
                      <a:pt x="24246" y="89138"/>
                    </a:lnTo>
                    <a:lnTo>
                      <a:pt x="22218" y="87992"/>
                    </a:lnTo>
                    <a:lnTo>
                      <a:pt x="21337" y="85612"/>
                    </a:lnTo>
                    <a:lnTo>
                      <a:pt x="21601" y="84201"/>
                    </a:lnTo>
                    <a:lnTo>
                      <a:pt x="20984" y="81820"/>
                    </a:lnTo>
                    <a:lnTo>
                      <a:pt x="19221" y="80057"/>
                    </a:lnTo>
                    <a:lnTo>
                      <a:pt x="18692" y="79175"/>
                    </a:lnTo>
                    <a:lnTo>
                      <a:pt x="18427" y="77412"/>
                    </a:lnTo>
                    <a:lnTo>
                      <a:pt x="19309" y="77147"/>
                    </a:lnTo>
                    <a:lnTo>
                      <a:pt x="19309" y="76001"/>
                    </a:lnTo>
                    <a:lnTo>
                      <a:pt x="16134" y="65156"/>
                    </a:lnTo>
                    <a:lnTo>
                      <a:pt x="14371" y="58456"/>
                    </a:lnTo>
                    <a:lnTo>
                      <a:pt x="15517" y="56163"/>
                    </a:lnTo>
                    <a:lnTo>
                      <a:pt x="7935" y="49727"/>
                    </a:lnTo>
                    <a:lnTo>
                      <a:pt x="6171" y="49991"/>
                    </a:lnTo>
                    <a:lnTo>
                      <a:pt x="6171" y="48228"/>
                    </a:lnTo>
                    <a:lnTo>
                      <a:pt x="7053" y="48228"/>
                    </a:lnTo>
                    <a:lnTo>
                      <a:pt x="6789" y="45583"/>
                    </a:lnTo>
                    <a:lnTo>
                      <a:pt x="5555" y="44437"/>
                    </a:lnTo>
                    <a:lnTo>
                      <a:pt x="6436" y="43820"/>
                    </a:lnTo>
                    <a:lnTo>
                      <a:pt x="6171" y="42321"/>
                    </a:lnTo>
                    <a:lnTo>
                      <a:pt x="7053" y="41175"/>
                    </a:lnTo>
                    <a:lnTo>
                      <a:pt x="5290" y="41175"/>
                    </a:lnTo>
                    <a:lnTo>
                      <a:pt x="4144" y="38530"/>
                    </a:lnTo>
                    <a:lnTo>
                      <a:pt x="2645" y="37912"/>
                    </a:lnTo>
                    <a:lnTo>
                      <a:pt x="2028" y="33504"/>
                    </a:lnTo>
                    <a:lnTo>
                      <a:pt x="1763" y="28831"/>
                    </a:lnTo>
                    <a:lnTo>
                      <a:pt x="0" y="27949"/>
                    </a:lnTo>
                    <a:lnTo>
                      <a:pt x="2645" y="27068"/>
                    </a:lnTo>
                    <a:lnTo>
                      <a:pt x="4937" y="27068"/>
                    </a:lnTo>
                    <a:lnTo>
                      <a:pt x="7230" y="26715"/>
                    </a:lnTo>
                    <a:lnTo>
                      <a:pt x="8376" y="26451"/>
                    </a:lnTo>
                    <a:lnTo>
                      <a:pt x="4849" y="24158"/>
                    </a:lnTo>
                    <a:lnTo>
                      <a:pt x="3703" y="22659"/>
                    </a:lnTo>
                    <a:lnTo>
                      <a:pt x="8111" y="21513"/>
                    </a:lnTo>
                    <a:lnTo>
                      <a:pt x="8993" y="17986"/>
                    </a:lnTo>
                    <a:lnTo>
                      <a:pt x="11285" y="15341"/>
                    </a:lnTo>
                    <a:lnTo>
                      <a:pt x="11903" y="13578"/>
                    </a:lnTo>
                    <a:lnTo>
                      <a:pt x="11550" y="11550"/>
                    </a:lnTo>
                    <a:lnTo>
                      <a:pt x="13930" y="10668"/>
                    </a:lnTo>
                    <a:lnTo>
                      <a:pt x="15076" y="9258"/>
                    </a:lnTo>
                    <a:lnTo>
                      <a:pt x="16223" y="8376"/>
                    </a:lnTo>
                    <a:lnTo>
                      <a:pt x="19132" y="8111"/>
                    </a:lnTo>
                    <a:lnTo>
                      <a:pt x="22306" y="8111"/>
                    </a:lnTo>
                    <a:lnTo>
                      <a:pt x="22042" y="6084"/>
                    </a:lnTo>
                    <a:lnTo>
                      <a:pt x="22924" y="7230"/>
                    </a:lnTo>
                    <a:lnTo>
                      <a:pt x="24422" y="5202"/>
                    </a:lnTo>
                    <a:lnTo>
                      <a:pt x="25304" y="6084"/>
                    </a:lnTo>
                    <a:lnTo>
                      <a:pt x="26451" y="6084"/>
                    </a:lnTo>
                    <a:lnTo>
                      <a:pt x="26803" y="4320"/>
                    </a:lnTo>
                    <a:lnTo>
                      <a:pt x="28302" y="5202"/>
                    </a:lnTo>
                    <a:lnTo>
                      <a:pt x="28831" y="6965"/>
                    </a:lnTo>
                    <a:lnTo>
                      <a:pt x="29977" y="7847"/>
                    </a:lnTo>
                    <a:lnTo>
                      <a:pt x="30859" y="6084"/>
                    </a:lnTo>
                    <a:lnTo>
                      <a:pt x="32887" y="8729"/>
                    </a:lnTo>
                    <a:lnTo>
                      <a:pt x="32887" y="7847"/>
                    </a:lnTo>
                    <a:lnTo>
                      <a:pt x="35532" y="8111"/>
                    </a:lnTo>
                    <a:lnTo>
                      <a:pt x="37030" y="6084"/>
                    </a:lnTo>
                    <a:lnTo>
                      <a:pt x="37295" y="7230"/>
                    </a:lnTo>
                    <a:lnTo>
                      <a:pt x="37912" y="7230"/>
                    </a:lnTo>
                    <a:lnTo>
                      <a:pt x="38530" y="6084"/>
                    </a:lnTo>
                    <a:lnTo>
                      <a:pt x="41792" y="6084"/>
                    </a:lnTo>
                    <a:lnTo>
                      <a:pt x="43202" y="7230"/>
                    </a:lnTo>
                    <a:lnTo>
                      <a:pt x="45230" y="8111"/>
                    </a:lnTo>
                    <a:lnTo>
                      <a:pt x="45230" y="6084"/>
                    </a:lnTo>
                    <a:lnTo>
                      <a:pt x="46729" y="7230"/>
                    </a:lnTo>
                    <a:lnTo>
                      <a:pt x="47611" y="7230"/>
                    </a:lnTo>
                    <a:lnTo>
                      <a:pt x="48228" y="5202"/>
                    </a:lnTo>
                    <a:lnTo>
                      <a:pt x="49110" y="6084"/>
                    </a:lnTo>
                    <a:lnTo>
                      <a:pt x="52019" y="4320"/>
                    </a:lnTo>
                    <a:lnTo>
                      <a:pt x="52901" y="6084"/>
                    </a:lnTo>
                    <a:lnTo>
                      <a:pt x="54929" y="6084"/>
                    </a:lnTo>
                    <a:lnTo>
                      <a:pt x="56427" y="8729"/>
                    </a:lnTo>
                    <a:lnTo>
                      <a:pt x="57574" y="11374"/>
                    </a:lnTo>
                    <a:lnTo>
                      <a:pt x="59337" y="10757"/>
                    </a:lnTo>
                    <a:lnTo>
                      <a:pt x="61365" y="9610"/>
                    </a:lnTo>
                    <a:lnTo>
                      <a:pt x="65156" y="12784"/>
                    </a:lnTo>
                    <a:lnTo>
                      <a:pt x="67184" y="12784"/>
                    </a:lnTo>
                    <a:lnTo>
                      <a:pt x="69212" y="11638"/>
                    </a:lnTo>
                    <a:lnTo>
                      <a:pt x="70358" y="13666"/>
                    </a:lnTo>
                    <a:lnTo>
                      <a:pt x="72122" y="14283"/>
                    </a:lnTo>
                    <a:lnTo>
                      <a:pt x="73268" y="14019"/>
                    </a:lnTo>
                    <a:lnTo>
                      <a:pt x="74149" y="14548"/>
                    </a:lnTo>
                    <a:lnTo>
                      <a:pt x="74414" y="14283"/>
                    </a:lnTo>
                    <a:lnTo>
                      <a:pt x="76706" y="18075"/>
                    </a:lnTo>
                    <a:lnTo>
                      <a:pt x="81643" y="18075"/>
                    </a:lnTo>
                    <a:lnTo>
                      <a:pt x="81643" y="16928"/>
                    </a:lnTo>
                    <a:lnTo>
                      <a:pt x="83143" y="15165"/>
                    </a:lnTo>
                    <a:lnTo>
                      <a:pt x="82525" y="13137"/>
                    </a:lnTo>
                    <a:lnTo>
                      <a:pt x="80762" y="11638"/>
                    </a:lnTo>
                    <a:lnTo>
                      <a:pt x="78734" y="10757"/>
                    </a:lnTo>
                    <a:lnTo>
                      <a:pt x="78470" y="9346"/>
                    </a:lnTo>
                    <a:lnTo>
                      <a:pt x="77588" y="8200"/>
                    </a:lnTo>
                    <a:lnTo>
                      <a:pt x="77588" y="7318"/>
                    </a:lnTo>
                    <a:lnTo>
                      <a:pt x="79881" y="8200"/>
                    </a:lnTo>
                    <a:lnTo>
                      <a:pt x="79616" y="6701"/>
                    </a:lnTo>
                    <a:lnTo>
                      <a:pt x="81379" y="8464"/>
                    </a:lnTo>
                    <a:lnTo>
                      <a:pt x="81996" y="7935"/>
                    </a:lnTo>
                    <a:lnTo>
                      <a:pt x="82878" y="7935"/>
                    </a:lnTo>
                    <a:lnTo>
                      <a:pt x="82878" y="6172"/>
                    </a:lnTo>
                    <a:lnTo>
                      <a:pt x="83495" y="5907"/>
                    </a:lnTo>
                    <a:lnTo>
                      <a:pt x="83495" y="3879"/>
                    </a:lnTo>
                    <a:lnTo>
                      <a:pt x="84377" y="3879"/>
                    </a:lnTo>
                    <a:lnTo>
                      <a:pt x="84994" y="4497"/>
                    </a:lnTo>
                    <a:lnTo>
                      <a:pt x="87022" y="4497"/>
                    </a:lnTo>
                    <a:lnTo>
                      <a:pt x="87286" y="3350"/>
                    </a:lnTo>
                    <a:lnTo>
                      <a:pt x="88433" y="3350"/>
                    </a:lnTo>
                    <a:lnTo>
                      <a:pt x="88433" y="1852"/>
                    </a:lnTo>
                    <a:lnTo>
                      <a:pt x="89315" y="970"/>
                    </a:lnTo>
                    <a:lnTo>
                      <a:pt x="89931" y="3350"/>
                    </a:lnTo>
                    <a:lnTo>
                      <a:pt x="90813" y="4232"/>
                    </a:lnTo>
                    <a:lnTo>
                      <a:pt x="92841" y="4497"/>
                    </a:lnTo>
                    <a:lnTo>
                      <a:pt x="94340" y="6260"/>
                    </a:lnTo>
                    <a:lnTo>
                      <a:pt x="94957" y="4497"/>
                    </a:lnTo>
                    <a:lnTo>
                      <a:pt x="95486" y="8288"/>
                    </a:lnTo>
                    <a:lnTo>
                      <a:pt x="96632" y="9434"/>
                    </a:lnTo>
                    <a:lnTo>
                      <a:pt x="98131" y="8288"/>
                    </a:lnTo>
                    <a:lnTo>
                      <a:pt x="99542" y="8817"/>
                    </a:lnTo>
                    <a:lnTo>
                      <a:pt x="101041" y="6172"/>
                    </a:lnTo>
                    <a:lnTo>
                      <a:pt x="100688" y="4408"/>
                    </a:lnTo>
                    <a:lnTo>
                      <a:pt x="102716" y="6436"/>
                    </a:lnTo>
                    <a:lnTo>
                      <a:pt x="103862" y="5290"/>
                    </a:lnTo>
                    <a:lnTo>
                      <a:pt x="105361" y="3791"/>
                    </a:lnTo>
                    <a:lnTo>
                      <a:pt x="105097" y="2292"/>
                    </a:lnTo>
                    <a:lnTo>
                      <a:pt x="106595" y="0"/>
                    </a:lnTo>
                    <a:lnTo>
                      <a:pt x="107742" y="1411"/>
                    </a:lnTo>
                    <a:lnTo>
                      <a:pt x="110386" y="2910"/>
                    </a:lnTo>
                    <a:lnTo>
                      <a:pt x="111797" y="4408"/>
                    </a:lnTo>
                    <a:lnTo>
                      <a:pt x="110034" y="4408"/>
                    </a:lnTo>
                    <a:lnTo>
                      <a:pt x="110651" y="6172"/>
                    </a:lnTo>
                    <a:lnTo>
                      <a:pt x="109505" y="5907"/>
                    </a:lnTo>
                    <a:lnTo>
                      <a:pt x="108359" y="5907"/>
                    </a:lnTo>
                    <a:lnTo>
                      <a:pt x="108624" y="8288"/>
                    </a:lnTo>
                    <a:lnTo>
                      <a:pt x="108624" y="10051"/>
                    </a:lnTo>
                    <a:lnTo>
                      <a:pt x="108006" y="13225"/>
                    </a:lnTo>
                    <a:lnTo>
                      <a:pt x="109769" y="15870"/>
                    </a:lnTo>
                    <a:lnTo>
                      <a:pt x="111797" y="15870"/>
                    </a:lnTo>
                    <a:lnTo>
                      <a:pt x="112415" y="19044"/>
                    </a:lnTo>
                    <a:lnTo>
                      <a:pt x="112679" y="21072"/>
                    </a:lnTo>
                    <a:lnTo>
                      <a:pt x="113296" y="22836"/>
                    </a:lnTo>
                    <a:lnTo>
                      <a:pt x="114795" y="25128"/>
                    </a:lnTo>
                    <a:lnTo>
                      <a:pt x="116206" y="28037"/>
                    </a:lnTo>
                    <a:lnTo>
                      <a:pt x="116735" y="32711"/>
                    </a:lnTo>
                    <a:lnTo>
                      <a:pt x="114707" y="40910"/>
                    </a:lnTo>
                    <a:lnTo>
                      <a:pt x="114971" y="43820"/>
                    </a:lnTo>
                    <a:lnTo>
                      <a:pt x="116470" y="45583"/>
                    </a:lnTo>
                    <a:lnTo>
                      <a:pt x="116735" y="48228"/>
                    </a:lnTo>
                    <a:lnTo>
                      <a:pt x="117616" y="49991"/>
                    </a:lnTo>
                    <a:lnTo>
                      <a:pt x="118234" y="54929"/>
                    </a:lnTo>
                    <a:lnTo>
                      <a:pt x="117969" y="56957"/>
                    </a:lnTo>
                    <a:lnTo>
                      <a:pt x="116206" y="57221"/>
                    </a:lnTo>
                    <a:lnTo>
                      <a:pt x="116470" y="58720"/>
                    </a:lnTo>
                    <a:lnTo>
                      <a:pt x="115941" y="61101"/>
                    </a:lnTo>
                    <a:lnTo>
                      <a:pt x="114795" y="59955"/>
                    </a:lnTo>
                    <a:lnTo>
                      <a:pt x="113296" y="57309"/>
                    </a:lnTo>
                    <a:lnTo>
                      <a:pt x="112679" y="57309"/>
                    </a:lnTo>
                    <a:lnTo>
                      <a:pt x="109769" y="58808"/>
                    </a:lnTo>
                    <a:lnTo>
                      <a:pt x="107124" y="62600"/>
                    </a:lnTo>
                    <a:lnTo>
                      <a:pt x="106243" y="62600"/>
                    </a:lnTo>
                    <a:lnTo>
                      <a:pt x="105626" y="63746"/>
                    </a:lnTo>
                    <a:lnTo>
                      <a:pt x="104215" y="64363"/>
                    </a:lnTo>
                    <a:lnTo>
                      <a:pt x="101570" y="64363"/>
                    </a:lnTo>
                    <a:lnTo>
                      <a:pt x="99542" y="66655"/>
                    </a:lnTo>
                    <a:lnTo>
                      <a:pt x="95486" y="66655"/>
                    </a:lnTo>
                    <a:lnTo>
                      <a:pt x="93458" y="66655"/>
                    </a:lnTo>
                    <a:lnTo>
                      <a:pt x="95839" y="69829"/>
                    </a:lnTo>
                    <a:lnTo>
                      <a:pt x="93811" y="69829"/>
                    </a:lnTo>
                    <a:lnTo>
                      <a:pt x="94693" y="70976"/>
                    </a:lnTo>
                    <a:lnTo>
                      <a:pt x="94076" y="72122"/>
                    </a:lnTo>
                    <a:lnTo>
                      <a:pt x="96368" y="73885"/>
                    </a:lnTo>
                    <a:lnTo>
                      <a:pt x="96368" y="74767"/>
                    </a:lnTo>
                    <a:lnTo>
                      <a:pt x="93723" y="73885"/>
                    </a:lnTo>
                    <a:lnTo>
                      <a:pt x="92577" y="73885"/>
                    </a:lnTo>
                    <a:lnTo>
                      <a:pt x="91431" y="72739"/>
                    </a:lnTo>
                    <a:lnTo>
                      <a:pt x="88521" y="72739"/>
                    </a:lnTo>
                    <a:lnTo>
                      <a:pt x="85876" y="72122"/>
                    </a:lnTo>
                    <a:lnTo>
                      <a:pt x="85347" y="72122"/>
                    </a:lnTo>
                    <a:lnTo>
                      <a:pt x="85611" y="73621"/>
                    </a:lnTo>
                    <a:lnTo>
                      <a:pt x="84730" y="75384"/>
                    </a:lnTo>
                    <a:lnTo>
                      <a:pt x="82349" y="74767"/>
                    </a:lnTo>
                    <a:lnTo>
                      <a:pt x="81203" y="73621"/>
                    </a:lnTo>
                    <a:lnTo>
                      <a:pt x="81467" y="75648"/>
                    </a:lnTo>
                    <a:lnTo>
                      <a:pt x="81467" y="77059"/>
                    </a:lnTo>
                    <a:lnTo>
                      <a:pt x="82614" y="77676"/>
                    </a:lnTo>
                    <a:lnTo>
                      <a:pt x="82878" y="80057"/>
                    </a:lnTo>
                    <a:lnTo>
                      <a:pt x="83143" y="83584"/>
                    </a:lnTo>
                    <a:lnTo>
                      <a:pt x="83760" y="83848"/>
                    </a:lnTo>
                    <a:lnTo>
                      <a:pt x="84024" y="85259"/>
                    </a:lnTo>
                    <a:lnTo>
                      <a:pt x="85435" y="85523"/>
                    </a:lnTo>
                    <a:lnTo>
                      <a:pt x="86581" y="86405"/>
                    </a:lnTo>
                    <a:lnTo>
                      <a:pt x="88080" y="88168"/>
                    </a:lnTo>
                    <a:lnTo>
                      <a:pt x="88962" y="89315"/>
                    </a:lnTo>
                    <a:lnTo>
                      <a:pt x="89844" y="89315"/>
                    </a:lnTo>
                    <a:lnTo>
                      <a:pt x="90990" y="89050"/>
                    </a:lnTo>
                    <a:lnTo>
                      <a:pt x="90637" y="90549"/>
                    </a:lnTo>
                    <a:lnTo>
                      <a:pt x="91783" y="91960"/>
                    </a:lnTo>
                    <a:lnTo>
                      <a:pt x="90020" y="91960"/>
                    </a:lnTo>
                    <a:lnTo>
                      <a:pt x="90020" y="92841"/>
                    </a:lnTo>
                    <a:lnTo>
                      <a:pt x="91783" y="96633"/>
                    </a:lnTo>
                    <a:lnTo>
                      <a:pt x="89402" y="96368"/>
                    </a:lnTo>
                    <a:lnTo>
                      <a:pt x="87110" y="94869"/>
                    </a:lnTo>
                    <a:lnTo>
                      <a:pt x="85964" y="93723"/>
                    </a:lnTo>
                    <a:lnTo>
                      <a:pt x="85347" y="95486"/>
                    </a:lnTo>
                    <a:lnTo>
                      <a:pt x="83936" y="94869"/>
                    </a:lnTo>
                    <a:lnTo>
                      <a:pt x="84201" y="92577"/>
                    </a:lnTo>
                    <a:lnTo>
                      <a:pt x="81908" y="91078"/>
                    </a:lnTo>
                    <a:lnTo>
                      <a:pt x="77235" y="92577"/>
                    </a:lnTo>
                    <a:lnTo>
                      <a:pt x="75296" y="92577"/>
                    </a:lnTo>
                    <a:lnTo>
                      <a:pt x="74414" y="91960"/>
                    </a:lnTo>
                    <a:lnTo>
                      <a:pt x="73532" y="93723"/>
                    </a:lnTo>
                    <a:lnTo>
                      <a:pt x="72915" y="94869"/>
                    </a:lnTo>
                    <a:lnTo>
                      <a:pt x="71152" y="94605"/>
                    </a:lnTo>
                    <a:lnTo>
                      <a:pt x="67096" y="92841"/>
                    </a:lnTo>
                    <a:lnTo>
                      <a:pt x="65950" y="94869"/>
                    </a:lnTo>
                    <a:lnTo>
                      <a:pt x="68595" y="96897"/>
                    </a:lnTo>
                    <a:lnTo>
                      <a:pt x="67713" y="98043"/>
                    </a:lnTo>
                    <a:lnTo>
                      <a:pt x="64804" y="100336"/>
                    </a:lnTo>
                    <a:lnTo>
                      <a:pt x="63040" y="102716"/>
                    </a:lnTo>
                    <a:lnTo>
                      <a:pt x="58632" y="102716"/>
                    </a:lnTo>
                    <a:lnTo>
                      <a:pt x="56868" y="102716"/>
                    </a:lnTo>
                    <a:lnTo>
                      <a:pt x="54840" y="105361"/>
                    </a:lnTo>
                    <a:lnTo>
                      <a:pt x="52284" y="104744"/>
                    </a:lnTo>
                    <a:lnTo>
                      <a:pt x="50785" y="104744"/>
                    </a:lnTo>
                    <a:lnTo>
                      <a:pt x="49639" y="104480"/>
                    </a:lnTo>
                    <a:lnTo>
                      <a:pt x="48757" y="103333"/>
                    </a:lnTo>
                    <a:lnTo>
                      <a:pt x="48228" y="102187"/>
                    </a:lnTo>
                    <a:lnTo>
                      <a:pt x="47346" y="101923"/>
                    </a:lnTo>
                    <a:lnTo>
                      <a:pt x="47346" y="101658"/>
                    </a:lnTo>
                    <a:lnTo>
                      <a:pt x="45583" y="101041"/>
                    </a:lnTo>
                    <a:lnTo>
                      <a:pt x="44437" y="101041"/>
                    </a:lnTo>
                    <a:lnTo>
                      <a:pt x="42673" y="100424"/>
                    </a:lnTo>
                    <a:lnTo>
                      <a:pt x="40910" y="99895"/>
                    </a:lnTo>
                    <a:lnTo>
                      <a:pt x="39763" y="99895"/>
                    </a:lnTo>
                    <a:lnTo>
                      <a:pt x="38882" y="98396"/>
                    </a:lnTo>
                    <a:lnTo>
                      <a:pt x="37736" y="100159"/>
                    </a:lnTo>
                    <a:lnTo>
                      <a:pt x="37736" y="100776"/>
                    </a:lnTo>
                    <a:lnTo>
                      <a:pt x="37472" y="101923"/>
                    </a:lnTo>
                    <a:lnTo>
                      <a:pt x="36854" y="102187"/>
                    </a:lnTo>
                    <a:lnTo>
                      <a:pt x="35708" y="101923"/>
                    </a:lnTo>
                    <a:lnTo>
                      <a:pt x="33856" y="99983"/>
                    </a:lnTo>
                    <a:close/>
                    <a:moveTo>
                      <a:pt x="38794" y="106684"/>
                    </a:moveTo>
                    <a:lnTo>
                      <a:pt x="39059" y="106419"/>
                    </a:lnTo>
                    <a:lnTo>
                      <a:pt x="40557" y="105273"/>
                    </a:lnTo>
                    <a:lnTo>
                      <a:pt x="41968" y="105273"/>
                    </a:lnTo>
                    <a:lnTo>
                      <a:pt x="42850" y="104391"/>
                    </a:lnTo>
                    <a:lnTo>
                      <a:pt x="44348" y="105802"/>
                    </a:lnTo>
                    <a:lnTo>
                      <a:pt x="44613" y="107301"/>
                    </a:lnTo>
                    <a:lnTo>
                      <a:pt x="45230" y="108183"/>
                    </a:lnTo>
                    <a:lnTo>
                      <a:pt x="44348" y="108183"/>
                    </a:lnTo>
                    <a:lnTo>
                      <a:pt x="44613" y="110210"/>
                    </a:lnTo>
                    <a:lnTo>
                      <a:pt x="46112" y="110828"/>
                    </a:lnTo>
                    <a:lnTo>
                      <a:pt x="46376" y="111974"/>
                    </a:lnTo>
                    <a:lnTo>
                      <a:pt x="45759" y="114002"/>
                    </a:lnTo>
                    <a:lnTo>
                      <a:pt x="43114" y="115765"/>
                    </a:lnTo>
                    <a:lnTo>
                      <a:pt x="43379" y="113120"/>
                    </a:lnTo>
                    <a:lnTo>
                      <a:pt x="41880" y="111092"/>
                    </a:lnTo>
                    <a:lnTo>
                      <a:pt x="40117" y="110828"/>
                    </a:lnTo>
                    <a:lnTo>
                      <a:pt x="39852" y="108183"/>
                    </a:lnTo>
                    <a:lnTo>
                      <a:pt x="38794" y="1066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0" name="Freihandform: Form 1969">
                <a:extLst>
                  <a:ext uri="{FF2B5EF4-FFF2-40B4-BE49-F238E27FC236}">
                    <a16:creationId xmlns:a16="http://schemas.microsoft.com/office/drawing/2014/main" id="{67C9918A-E616-C277-0082-30D2B98826E8}"/>
                  </a:ext>
                </a:extLst>
              </p:cNvPr>
              <p:cNvSpPr/>
              <p:nvPr/>
            </p:nvSpPr>
            <p:spPr>
              <a:xfrm>
                <a:off x="5764790" y="3385532"/>
                <a:ext cx="187004" cy="107036"/>
              </a:xfrm>
              <a:custGeom>
                <a:avLst/>
                <a:gdLst>
                  <a:gd name="connsiteX0" fmla="*/ 16928 w 187004"/>
                  <a:gd name="connsiteY0" fmla="*/ 6701 h 107036"/>
                  <a:gd name="connsiteX1" fmla="*/ 17810 w 187004"/>
                  <a:gd name="connsiteY1" fmla="*/ 7847 h 107036"/>
                  <a:gd name="connsiteX2" fmla="*/ 17192 w 187004"/>
                  <a:gd name="connsiteY2" fmla="*/ 9346 h 107036"/>
                  <a:gd name="connsiteX3" fmla="*/ 16311 w 187004"/>
                  <a:gd name="connsiteY3" fmla="*/ 8729 h 107036"/>
                  <a:gd name="connsiteX4" fmla="*/ 14636 w 187004"/>
                  <a:gd name="connsiteY4" fmla="*/ 10492 h 107036"/>
                  <a:gd name="connsiteX5" fmla="*/ 12255 w 187004"/>
                  <a:gd name="connsiteY5" fmla="*/ 11991 h 107036"/>
                  <a:gd name="connsiteX6" fmla="*/ 11991 w 187004"/>
                  <a:gd name="connsiteY6" fmla="*/ 11374 h 107036"/>
                  <a:gd name="connsiteX7" fmla="*/ 11109 w 187004"/>
                  <a:gd name="connsiteY7" fmla="*/ 11991 h 107036"/>
                  <a:gd name="connsiteX8" fmla="*/ 11374 w 187004"/>
                  <a:gd name="connsiteY8" fmla="*/ 13137 h 107036"/>
                  <a:gd name="connsiteX9" fmla="*/ 9875 w 187004"/>
                  <a:gd name="connsiteY9" fmla="*/ 14900 h 107036"/>
                  <a:gd name="connsiteX10" fmla="*/ 10492 w 187004"/>
                  <a:gd name="connsiteY10" fmla="*/ 17193 h 107036"/>
                  <a:gd name="connsiteX11" fmla="*/ 9081 w 187004"/>
                  <a:gd name="connsiteY11" fmla="*/ 17545 h 107036"/>
                  <a:gd name="connsiteX12" fmla="*/ 6084 w 187004"/>
                  <a:gd name="connsiteY12" fmla="*/ 17810 h 107036"/>
                  <a:gd name="connsiteX13" fmla="*/ 6084 w 187004"/>
                  <a:gd name="connsiteY13" fmla="*/ 20719 h 107036"/>
                  <a:gd name="connsiteX14" fmla="*/ 2645 w 187004"/>
                  <a:gd name="connsiteY14" fmla="*/ 22218 h 107036"/>
                  <a:gd name="connsiteX15" fmla="*/ 4673 w 187004"/>
                  <a:gd name="connsiteY15" fmla="*/ 24775 h 107036"/>
                  <a:gd name="connsiteX16" fmla="*/ 2380 w 187004"/>
                  <a:gd name="connsiteY16" fmla="*/ 27156 h 107036"/>
                  <a:gd name="connsiteX17" fmla="*/ 2645 w 187004"/>
                  <a:gd name="connsiteY17" fmla="*/ 28037 h 107036"/>
                  <a:gd name="connsiteX18" fmla="*/ 617 w 187004"/>
                  <a:gd name="connsiteY18" fmla="*/ 30065 h 107036"/>
                  <a:gd name="connsiteX19" fmla="*/ 2909 w 187004"/>
                  <a:gd name="connsiteY19" fmla="*/ 33239 h 107036"/>
                  <a:gd name="connsiteX20" fmla="*/ 2909 w 187004"/>
                  <a:gd name="connsiteY20" fmla="*/ 36766 h 107036"/>
                  <a:gd name="connsiteX21" fmla="*/ 2909 w 187004"/>
                  <a:gd name="connsiteY21" fmla="*/ 37912 h 107036"/>
                  <a:gd name="connsiteX22" fmla="*/ 2380 w 187004"/>
                  <a:gd name="connsiteY22" fmla="*/ 39676 h 107036"/>
                  <a:gd name="connsiteX23" fmla="*/ 3526 w 187004"/>
                  <a:gd name="connsiteY23" fmla="*/ 41175 h 107036"/>
                  <a:gd name="connsiteX24" fmla="*/ 881 w 187004"/>
                  <a:gd name="connsiteY24" fmla="*/ 42585 h 107036"/>
                  <a:gd name="connsiteX25" fmla="*/ 0 w 187004"/>
                  <a:gd name="connsiteY25" fmla="*/ 43202 h 107036"/>
                  <a:gd name="connsiteX26" fmla="*/ 1763 w 187004"/>
                  <a:gd name="connsiteY26" fmla="*/ 44613 h 107036"/>
                  <a:gd name="connsiteX27" fmla="*/ 2909 w 187004"/>
                  <a:gd name="connsiteY27" fmla="*/ 45848 h 107036"/>
                  <a:gd name="connsiteX28" fmla="*/ 4055 w 187004"/>
                  <a:gd name="connsiteY28" fmla="*/ 47258 h 107036"/>
                  <a:gd name="connsiteX29" fmla="*/ 5819 w 187004"/>
                  <a:gd name="connsiteY29" fmla="*/ 48404 h 107036"/>
                  <a:gd name="connsiteX30" fmla="*/ 7318 w 187004"/>
                  <a:gd name="connsiteY30" fmla="*/ 48757 h 107036"/>
                  <a:gd name="connsiteX31" fmla="*/ 7582 w 187004"/>
                  <a:gd name="connsiteY31" fmla="*/ 50168 h 107036"/>
                  <a:gd name="connsiteX32" fmla="*/ 9875 w 187004"/>
                  <a:gd name="connsiteY32" fmla="*/ 50168 h 107036"/>
                  <a:gd name="connsiteX33" fmla="*/ 12520 w 187004"/>
                  <a:gd name="connsiteY33" fmla="*/ 51931 h 107036"/>
                  <a:gd name="connsiteX34" fmla="*/ 12255 w 187004"/>
                  <a:gd name="connsiteY34" fmla="*/ 50168 h 107036"/>
                  <a:gd name="connsiteX35" fmla="*/ 12872 w 187004"/>
                  <a:gd name="connsiteY35" fmla="*/ 49286 h 107036"/>
                  <a:gd name="connsiteX36" fmla="*/ 12872 w 187004"/>
                  <a:gd name="connsiteY36" fmla="*/ 50168 h 107036"/>
                  <a:gd name="connsiteX37" fmla="*/ 16047 w 187004"/>
                  <a:gd name="connsiteY37" fmla="*/ 50168 h 107036"/>
                  <a:gd name="connsiteX38" fmla="*/ 16311 w 187004"/>
                  <a:gd name="connsiteY38" fmla="*/ 51314 h 107036"/>
                  <a:gd name="connsiteX39" fmla="*/ 17457 w 187004"/>
                  <a:gd name="connsiteY39" fmla="*/ 51931 h 107036"/>
                  <a:gd name="connsiteX40" fmla="*/ 17457 w 187004"/>
                  <a:gd name="connsiteY40" fmla="*/ 53077 h 107036"/>
                  <a:gd name="connsiteX41" fmla="*/ 19838 w 187004"/>
                  <a:gd name="connsiteY41" fmla="*/ 53959 h 107036"/>
                  <a:gd name="connsiteX42" fmla="*/ 20719 w 187004"/>
                  <a:gd name="connsiteY42" fmla="*/ 53959 h 107036"/>
                  <a:gd name="connsiteX43" fmla="*/ 20984 w 187004"/>
                  <a:gd name="connsiteY43" fmla="*/ 54841 h 107036"/>
                  <a:gd name="connsiteX44" fmla="*/ 23012 w 187004"/>
                  <a:gd name="connsiteY44" fmla="*/ 54841 h 107036"/>
                  <a:gd name="connsiteX45" fmla="*/ 23364 w 187004"/>
                  <a:gd name="connsiteY45" fmla="*/ 55722 h 107036"/>
                  <a:gd name="connsiteX46" fmla="*/ 23364 w 187004"/>
                  <a:gd name="connsiteY46" fmla="*/ 56869 h 107036"/>
                  <a:gd name="connsiteX47" fmla="*/ 27684 w 187004"/>
                  <a:gd name="connsiteY47" fmla="*/ 57486 h 107036"/>
                  <a:gd name="connsiteX48" fmla="*/ 28919 w 187004"/>
                  <a:gd name="connsiteY48" fmla="*/ 58896 h 107036"/>
                  <a:gd name="connsiteX49" fmla="*/ 30065 w 187004"/>
                  <a:gd name="connsiteY49" fmla="*/ 61541 h 107036"/>
                  <a:gd name="connsiteX50" fmla="*/ 30594 w 187004"/>
                  <a:gd name="connsiteY50" fmla="*/ 63305 h 107036"/>
                  <a:gd name="connsiteX51" fmla="*/ 32358 w 187004"/>
                  <a:gd name="connsiteY51" fmla="*/ 63305 h 107036"/>
                  <a:gd name="connsiteX52" fmla="*/ 32358 w 187004"/>
                  <a:gd name="connsiteY52" fmla="*/ 62423 h 107036"/>
                  <a:gd name="connsiteX53" fmla="*/ 34121 w 187004"/>
                  <a:gd name="connsiteY53" fmla="*/ 63040 h 107036"/>
                  <a:gd name="connsiteX54" fmla="*/ 34738 w 187004"/>
                  <a:gd name="connsiteY54" fmla="*/ 63305 h 107036"/>
                  <a:gd name="connsiteX55" fmla="*/ 39411 w 187004"/>
                  <a:gd name="connsiteY55" fmla="*/ 66832 h 107036"/>
                  <a:gd name="connsiteX56" fmla="*/ 41968 w 187004"/>
                  <a:gd name="connsiteY56" fmla="*/ 67978 h 107036"/>
                  <a:gd name="connsiteX57" fmla="*/ 44613 w 187004"/>
                  <a:gd name="connsiteY57" fmla="*/ 69741 h 107036"/>
                  <a:gd name="connsiteX58" fmla="*/ 45759 w 187004"/>
                  <a:gd name="connsiteY58" fmla="*/ 69741 h 107036"/>
                  <a:gd name="connsiteX59" fmla="*/ 46112 w 187004"/>
                  <a:gd name="connsiteY59" fmla="*/ 68595 h 107036"/>
                  <a:gd name="connsiteX60" fmla="*/ 48757 w 187004"/>
                  <a:gd name="connsiteY60" fmla="*/ 68595 h 107036"/>
                  <a:gd name="connsiteX61" fmla="*/ 49286 w 187004"/>
                  <a:gd name="connsiteY61" fmla="*/ 69124 h 107036"/>
                  <a:gd name="connsiteX62" fmla="*/ 50785 w 187004"/>
                  <a:gd name="connsiteY62" fmla="*/ 69741 h 107036"/>
                  <a:gd name="connsiteX63" fmla="*/ 54840 w 187004"/>
                  <a:gd name="connsiteY63" fmla="*/ 72298 h 107036"/>
                  <a:gd name="connsiteX64" fmla="*/ 55105 w 187004"/>
                  <a:gd name="connsiteY64" fmla="*/ 72915 h 107036"/>
                  <a:gd name="connsiteX65" fmla="*/ 56868 w 187004"/>
                  <a:gd name="connsiteY65" fmla="*/ 74061 h 107036"/>
                  <a:gd name="connsiteX66" fmla="*/ 58367 w 187004"/>
                  <a:gd name="connsiteY66" fmla="*/ 74061 h 107036"/>
                  <a:gd name="connsiteX67" fmla="*/ 63040 w 187004"/>
                  <a:gd name="connsiteY67" fmla="*/ 73268 h 107036"/>
                  <a:gd name="connsiteX68" fmla="*/ 63040 w 187004"/>
                  <a:gd name="connsiteY68" fmla="*/ 74061 h 107036"/>
                  <a:gd name="connsiteX69" fmla="*/ 65068 w 187004"/>
                  <a:gd name="connsiteY69" fmla="*/ 77588 h 107036"/>
                  <a:gd name="connsiteX70" fmla="*/ 65068 w 187004"/>
                  <a:gd name="connsiteY70" fmla="*/ 78734 h 107036"/>
                  <a:gd name="connsiteX71" fmla="*/ 68242 w 187004"/>
                  <a:gd name="connsiteY71" fmla="*/ 78734 h 107036"/>
                  <a:gd name="connsiteX72" fmla="*/ 68242 w 187004"/>
                  <a:gd name="connsiteY72" fmla="*/ 79616 h 107036"/>
                  <a:gd name="connsiteX73" fmla="*/ 73180 w 187004"/>
                  <a:gd name="connsiteY73" fmla="*/ 79616 h 107036"/>
                  <a:gd name="connsiteX74" fmla="*/ 75207 w 187004"/>
                  <a:gd name="connsiteY74" fmla="*/ 83143 h 107036"/>
                  <a:gd name="connsiteX75" fmla="*/ 77588 w 187004"/>
                  <a:gd name="connsiteY75" fmla="*/ 83143 h 107036"/>
                  <a:gd name="connsiteX76" fmla="*/ 81379 w 187004"/>
                  <a:gd name="connsiteY76" fmla="*/ 81379 h 107036"/>
                  <a:gd name="connsiteX77" fmla="*/ 81114 w 187004"/>
                  <a:gd name="connsiteY77" fmla="*/ 79616 h 107036"/>
                  <a:gd name="connsiteX78" fmla="*/ 83143 w 187004"/>
                  <a:gd name="connsiteY78" fmla="*/ 79616 h 107036"/>
                  <a:gd name="connsiteX79" fmla="*/ 88433 w 187004"/>
                  <a:gd name="connsiteY79" fmla="*/ 82526 h 107036"/>
                  <a:gd name="connsiteX80" fmla="*/ 89315 w 187004"/>
                  <a:gd name="connsiteY80" fmla="*/ 81996 h 107036"/>
                  <a:gd name="connsiteX81" fmla="*/ 88433 w 187004"/>
                  <a:gd name="connsiteY81" fmla="*/ 81379 h 107036"/>
                  <a:gd name="connsiteX82" fmla="*/ 90108 w 187004"/>
                  <a:gd name="connsiteY82" fmla="*/ 79616 h 107036"/>
                  <a:gd name="connsiteX83" fmla="*/ 91871 w 187004"/>
                  <a:gd name="connsiteY83" fmla="*/ 79616 h 107036"/>
                  <a:gd name="connsiteX84" fmla="*/ 94516 w 187004"/>
                  <a:gd name="connsiteY84" fmla="*/ 79969 h 107036"/>
                  <a:gd name="connsiteX85" fmla="*/ 96809 w 187004"/>
                  <a:gd name="connsiteY85" fmla="*/ 79969 h 107036"/>
                  <a:gd name="connsiteX86" fmla="*/ 99454 w 187004"/>
                  <a:gd name="connsiteY86" fmla="*/ 81996 h 107036"/>
                  <a:gd name="connsiteX87" fmla="*/ 105273 w 187004"/>
                  <a:gd name="connsiteY87" fmla="*/ 84024 h 107036"/>
                  <a:gd name="connsiteX88" fmla="*/ 107301 w 187004"/>
                  <a:gd name="connsiteY88" fmla="*/ 85435 h 107036"/>
                  <a:gd name="connsiteX89" fmla="*/ 108182 w 187004"/>
                  <a:gd name="connsiteY89" fmla="*/ 87551 h 107036"/>
                  <a:gd name="connsiteX90" fmla="*/ 107036 w 187004"/>
                  <a:gd name="connsiteY90" fmla="*/ 89843 h 107036"/>
                  <a:gd name="connsiteX91" fmla="*/ 110298 w 187004"/>
                  <a:gd name="connsiteY91" fmla="*/ 91342 h 107036"/>
                  <a:gd name="connsiteX92" fmla="*/ 111709 w 187004"/>
                  <a:gd name="connsiteY92" fmla="*/ 90461 h 107036"/>
                  <a:gd name="connsiteX93" fmla="*/ 113473 w 187004"/>
                  <a:gd name="connsiteY93" fmla="*/ 91871 h 107036"/>
                  <a:gd name="connsiteX94" fmla="*/ 113737 w 187004"/>
                  <a:gd name="connsiteY94" fmla="*/ 93106 h 107036"/>
                  <a:gd name="connsiteX95" fmla="*/ 115500 w 187004"/>
                  <a:gd name="connsiteY95" fmla="*/ 93899 h 107036"/>
                  <a:gd name="connsiteX96" fmla="*/ 115853 w 187004"/>
                  <a:gd name="connsiteY96" fmla="*/ 95134 h 107036"/>
                  <a:gd name="connsiteX97" fmla="*/ 116999 w 187004"/>
                  <a:gd name="connsiteY97" fmla="*/ 94252 h 107036"/>
                  <a:gd name="connsiteX98" fmla="*/ 118674 w 187004"/>
                  <a:gd name="connsiteY98" fmla="*/ 94252 h 107036"/>
                  <a:gd name="connsiteX99" fmla="*/ 120790 w 187004"/>
                  <a:gd name="connsiteY99" fmla="*/ 95134 h 107036"/>
                  <a:gd name="connsiteX100" fmla="*/ 121055 w 187004"/>
                  <a:gd name="connsiteY100" fmla="*/ 96897 h 107036"/>
                  <a:gd name="connsiteX101" fmla="*/ 124582 w 187004"/>
                  <a:gd name="connsiteY101" fmla="*/ 98043 h 107036"/>
                  <a:gd name="connsiteX102" fmla="*/ 123965 w 187004"/>
                  <a:gd name="connsiteY102" fmla="*/ 95927 h 107036"/>
                  <a:gd name="connsiteX103" fmla="*/ 127139 w 187004"/>
                  <a:gd name="connsiteY103" fmla="*/ 95927 h 107036"/>
                  <a:gd name="connsiteX104" fmla="*/ 128373 w 187004"/>
                  <a:gd name="connsiteY104" fmla="*/ 95398 h 107036"/>
                  <a:gd name="connsiteX105" fmla="*/ 130136 w 187004"/>
                  <a:gd name="connsiteY105" fmla="*/ 95927 h 107036"/>
                  <a:gd name="connsiteX106" fmla="*/ 129784 w 187004"/>
                  <a:gd name="connsiteY106" fmla="*/ 98043 h 107036"/>
                  <a:gd name="connsiteX107" fmla="*/ 131547 w 187004"/>
                  <a:gd name="connsiteY107" fmla="*/ 101482 h 107036"/>
                  <a:gd name="connsiteX108" fmla="*/ 133575 w 187004"/>
                  <a:gd name="connsiteY108" fmla="*/ 100071 h 107036"/>
                  <a:gd name="connsiteX109" fmla="*/ 134721 w 187004"/>
                  <a:gd name="connsiteY109" fmla="*/ 102363 h 107036"/>
                  <a:gd name="connsiteX110" fmla="*/ 137366 w 187004"/>
                  <a:gd name="connsiteY110" fmla="*/ 100953 h 107036"/>
                  <a:gd name="connsiteX111" fmla="*/ 137366 w 187004"/>
                  <a:gd name="connsiteY111" fmla="*/ 99718 h 107036"/>
                  <a:gd name="connsiteX112" fmla="*/ 138865 w 187004"/>
                  <a:gd name="connsiteY112" fmla="*/ 99718 h 107036"/>
                  <a:gd name="connsiteX113" fmla="*/ 140893 w 187004"/>
                  <a:gd name="connsiteY113" fmla="*/ 104127 h 107036"/>
                  <a:gd name="connsiteX114" fmla="*/ 141510 w 187004"/>
                  <a:gd name="connsiteY114" fmla="*/ 101217 h 107036"/>
                  <a:gd name="connsiteX115" fmla="*/ 141774 w 187004"/>
                  <a:gd name="connsiteY115" fmla="*/ 100953 h 107036"/>
                  <a:gd name="connsiteX116" fmla="*/ 144067 w 187004"/>
                  <a:gd name="connsiteY116" fmla="*/ 101217 h 107036"/>
                  <a:gd name="connsiteX117" fmla="*/ 144420 w 187004"/>
                  <a:gd name="connsiteY117" fmla="*/ 100071 h 107036"/>
                  <a:gd name="connsiteX118" fmla="*/ 145830 w 187004"/>
                  <a:gd name="connsiteY118" fmla="*/ 102363 h 107036"/>
                  <a:gd name="connsiteX119" fmla="*/ 147858 w 187004"/>
                  <a:gd name="connsiteY119" fmla="*/ 101482 h 107036"/>
                  <a:gd name="connsiteX120" fmla="*/ 150239 w 187004"/>
                  <a:gd name="connsiteY120" fmla="*/ 103862 h 107036"/>
                  <a:gd name="connsiteX121" fmla="*/ 151120 w 187004"/>
                  <a:gd name="connsiteY121" fmla="*/ 102981 h 107036"/>
                  <a:gd name="connsiteX122" fmla="*/ 152531 w 187004"/>
                  <a:gd name="connsiteY122" fmla="*/ 104127 h 107036"/>
                  <a:gd name="connsiteX123" fmla="*/ 154559 w 187004"/>
                  <a:gd name="connsiteY123" fmla="*/ 105890 h 107036"/>
                  <a:gd name="connsiteX124" fmla="*/ 155441 w 187004"/>
                  <a:gd name="connsiteY124" fmla="*/ 105008 h 107036"/>
                  <a:gd name="connsiteX125" fmla="*/ 155441 w 187004"/>
                  <a:gd name="connsiteY125" fmla="*/ 105273 h 107036"/>
                  <a:gd name="connsiteX126" fmla="*/ 157469 w 187004"/>
                  <a:gd name="connsiteY126" fmla="*/ 105008 h 107036"/>
                  <a:gd name="connsiteX127" fmla="*/ 158438 w 187004"/>
                  <a:gd name="connsiteY127" fmla="*/ 104127 h 107036"/>
                  <a:gd name="connsiteX128" fmla="*/ 158086 w 187004"/>
                  <a:gd name="connsiteY128" fmla="*/ 102981 h 107036"/>
                  <a:gd name="connsiteX129" fmla="*/ 160114 w 187004"/>
                  <a:gd name="connsiteY129" fmla="*/ 102981 h 107036"/>
                  <a:gd name="connsiteX130" fmla="*/ 161612 w 187004"/>
                  <a:gd name="connsiteY130" fmla="*/ 101482 h 107036"/>
                  <a:gd name="connsiteX131" fmla="*/ 162141 w 187004"/>
                  <a:gd name="connsiteY131" fmla="*/ 106507 h 107036"/>
                  <a:gd name="connsiteX132" fmla="*/ 163993 w 187004"/>
                  <a:gd name="connsiteY132" fmla="*/ 105626 h 107036"/>
                  <a:gd name="connsiteX133" fmla="*/ 165403 w 187004"/>
                  <a:gd name="connsiteY133" fmla="*/ 105890 h 107036"/>
                  <a:gd name="connsiteX134" fmla="*/ 165668 w 187004"/>
                  <a:gd name="connsiteY134" fmla="*/ 107036 h 107036"/>
                  <a:gd name="connsiteX135" fmla="*/ 168842 w 187004"/>
                  <a:gd name="connsiteY135" fmla="*/ 107036 h 107036"/>
                  <a:gd name="connsiteX136" fmla="*/ 169195 w 187004"/>
                  <a:gd name="connsiteY136" fmla="*/ 105890 h 107036"/>
                  <a:gd name="connsiteX137" fmla="*/ 170341 w 187004"/>
                  <a:gd name="connsiteY137" fmla="*/ 105273 h 107036"/>
                  <a:gd name="connsiteX138" fmla="*/ 172369 w 187004"/>
                  <a:gd name="connsiteY138" fmla="*/ 105890 h 107036"/>
                  <a:gd name="connsiteX139" fmla="*/ 173604 w 187004"/>
                  <a:gd name="connsiteY139" fmla="*/ 106772 h 107036"/>
                  <a:gd name="connsiteX140" fmla="*/ 174750 w 187004"/>
                  <a:gd name="connsiteY140" fmla="*/ 105890 h 107036"/>
                  <a:gd name="connsiteX141" fmla="*/ 175631 w 187004"/>
                  <a:gd name="connsiteY141" fmla="*/ 107036 h 107036"/>
                  <a:gd name="connsiteX142" fmla="*/ 177306 w 187004"/>
                  <a:gd name="connsiteY142" fmla="*/ 106155 h 107036"/>
                  <a:gd name="connsiteX143" fmla="*/ 180216 w 187004"/>
                  <a:gd name="connsiteY143" fmla="*/ 105273 h 107036"/>
                  <a:gd name="connsiteX144" fmla="*/ 181979 w 187004"/>
                  <a:gd name="connsiteY144" fmla="*/ 107036 h 107036"/>
                  <a:gd name="connsiteX145" fmla="*/ 184360 w 187004"/>
                  <a:gd name="connsiteY145" fmla="*/ 105890 h 107036"/>
                  <a:gd name="connsiteX146" fmla="*/ 186388 w 187004"/>
                  <a:gd name="connsiteY146" fmla="*/ 100071 h 107036"/>
                  <a:gd name="connsiteX147" fmla="*/ 186123 w 187004"/>
                  <a:gd name="connsiteY147" fmla="*/ 94781 h 107036"/>
                  <a:gd name="connsiteX148" fmla="*/ 182332 w 187004"/>
                  <a:gd name="connsiteY148" fmla="*/ 90108 h 107036"/>
                  <a:gd name="connsiteX149" fmla="*/ 182861 w 187004"/>
                  <a:gd name="connsiteY149" fmla="*/ 86934 h 107036"/>
                  <a:gd name="connsiteX150" fmla="*/ 184096 w 187004"/>
                  <a:gd name="connsiteY150" fmla="*/ 80850 h 107036"/>
                  <a:gd name="connsiteX151" fmla="*/ 183478 w 187004"/>
                  <a:gd name="connsiteY151" fmla="*/ 79087 h 107036"/>
                  <a:gd name="connsiteX152" fmla="*/ 187005 w 187004"/>
                  <a:gd name="connsiteY152" fmla="*/ 70270 h 107036"/>
                  <a:gd name="connsiteX153" fmla="*/ 186652 w 187004"/>
                  <a:gd name="connsiteY153" fmla="*/ 69124 h 107036"/>
                  <a:gd name="connsiteX154" fmla="*/ 179070 w 187004"/>
                  <a:gd name="connsiteY154" fmla="*/ 67978 h 107036"/>
                  <a:gd name="connsiteX155" fmla="*/ 177924 w 187004"/>
                  <a:gd name="connsiteY155" fmla="*/ 70006 h 107036"/>
                  <a:gd name="connsiteX156" fmla="*/ 176160 w 187004"/>
                  <a:gd name="connsiteY156" fmla="*/ 70887 h 107036"/>
                  <a:gd name="connsiteX157" fmla="*/ 172104 w 187004"/>
                  <a:gd name="connsiteY157" fmla="*/ 69741 h 107036"/>
                  <a:gd name="connsiteX158" fmla="*/ 168578 w 187004"/>
                  <a:gd name="connsiteY158" fmla="*/ 70887 h 107036"/>
                  <a:gd name="connsiteX159" fmla="*/ 168578 w 187004"/>
                  <a:gd name="connsiteY159" fmla="*/ 69477 h 107036"/>
                  <a:gd name="connsiteX160" fmla="*/ 163640 w 187004"/>
                  <a:gd name="connsiteY160" fmla="*/ 70623 h 107036"/>
                  <a:gd name="connsiteX161" fmla="*/ 160114 w 187004"/>
                  <a:gd name="connsiteY161" fmla="*/ 66479 h 107036"/>
                  <a:gd name="connsiteX162" fmla="*/ 157821 w 187004"/>
                  <a:gd name="connsiteY162" fmla="*/ 67096 h 107036"/>
                  <a:gd name="connsiteX163" fmla="*/ 156675 w 187004"/>
                  <a:gd name="connsiteY163" fmla="*/ 65333 h 107036"/>
                  <a:gd name="connsiteX164" fmla="*/ 154030 w 187004"/>
                  <a:gd name="connsiteY164" fmla="*/ 65068 h 107036"/>
                  <a:gd name="connsiteX165" fmla="*/ 153766 w 187004"/>
                  <a:gd name="connsiteY165" fmla="*/ 63569 h 107036"/>
                  <a:gd name="connsiteX166" fmla="*/ 152531 w 187004"/>
                  <a:gd name="connsiteY166" fmla="*/ 62688 h 107036"/>
                  <a:gd name="connsiteX167" fmla="*/ 149357 w 187004"/>
                  <a:gd name="connsiteY167" fmla="*/ 62688 h 107036"/>
                  <a:gd name="connsiteX168" fmla="*/ 148475 w 187004"/>
                  <a:gd name="connsiteY168" fmla="*/ 66832 h 107036"/>
                  <a:gd name="connsiteX169" fmla="*/ 146448 w 187004"/>
                  <a:gd name="connsiteY169" fmla="*/ 68242 h 107036"/>
                  <a:gd name="connsiteX170" fmla="*/ 141157 w 187004"/>
                  <a:gd name="connsiteY170" fmla="*/ 65333 h 107036"/>
                  <a:gd name="connsiteX171" fmla="*/ 141157 w 187004"/>
                  <a:gd name="connsiteY171" fmla="*/ 62423 h 107036"/>
                  <a:gd name="connsiteX172" fmla="*/ 140276 w 187004"/>
                  <a:gd name="connsiteY172" fmla="*/ 61277 h 107036"/>
                  <a:gd name="connsiteX173" fmla="*/ 138248 w 187004"/>
                  <a:gd name="connsiteY173" fmla="*/ 63569 h 107036"/>
                  <a:gd name="connsiteX174" fmla="*/ 139129 w 187004"/>
                  <a:gd name="connsiteY174" fmla="*/ 67713 h 107036"/>
                  <a:gd name="connsiteX175" fmla="*/ 136484 w 187004"/>
                  <a:gd name="connsiteY175" fmla="*/ 68859 h 107036"/>
                  <a:gd name="connsiteX176" fmla="*/ 135603 w 187004"/>
                  <a:gd name="connsiteY176" fmla="*/ 67978 h 107036"/>
                  <a:gd name="connsiteX177" fmla="*/ 135603 w 187004"/>
                  <a:gd name="connsiteY177" fmla="*/ 65950 h 107036"/>
                  <a:gd name="connsiteX178" fmla="*/ 134192 w 187004"/>
                  <a:gd name="connsiteY178" fmla="*/ 64804 h 107036"/>
                  <a:gd name="connsiteX179" fmla="*/ 134192 w 187004"/>
                  <a:gd name="connsiteY179" fmla="*/ 63040 h 107036"/>
                  <a:gd name="connsiteX180" fmla="*/ 130930 w 187004"/>
                  <a:gd name="connsiteY180" fmla="*/ 60131 h 107036"/>
                  <a:gd name="connsiteX181" fmla="*/ 129166 w 187004"/>
                  <a:gd name="connsiteY181" fmla="*/ 56604 h 107036"/>
                  <a:gd name="connsiteX182" fmla="*/ 127139 w 187004"/>
                  <a:gd name="connsiteY182" fmla="*/ 58896 h 107036"/>
                  <a:gd name="connsiteX183" fmla="*/ 125375 w 187004"/>
                  <a:gd name="connsiteY183" fmla="*/ 57750 h 107036"/>
                  <a:gd name="connsiteX184" fmla="*/ 119292 w 187004"/>
                  <a:gd name="connsiteY184" fmla="*/ 58367 h 107036"/>
                  <a:gd name="connsiteX185" fmla="*/ 115236 w 187004"/>
                  <a:gd name="connsiteY185" fmla="*/ 57221 h 107036"/>
                  <a:gd name="connsiteX186" fmla="*/ 115236 w 187004"/>
                  <a:gd name="connsiteY186" fmla="*/ 53695 h 107036"/>
                  <a:gd name="connsiteX187" fmla="*/ 117264 w 187004"/>
                  <a:gd name="connsiteY187" fmla="*/ 51314 h 107036"/>
                  <a:gd name="connsiteX188" fmla="*/ 117264 w 187004"/>
                  <a:gd name="connsiteY188" fmla="*/ 49286 h 107036"/>
                  <a:gd name="connsiteX189" fmla="*/ 114354 w 187004"/>
                  <a:gd name="connsiteY189" fmla="*/ 48404 h 107036"/>
                  <a:gd name="connsiteX190" fmla="*/ 111444 w 187004"/>
                  <a:gd name="connsiteY190" fmla="*/ 51049 h 107036"/>
                  <a:gd name="connsiteX191" fmla="*/ 108799 w 187004"/>
                  <a:gd name="connsiteY191" fmla="*/ 50785 h 107036"/>
                  <a:gd name="connsiteX192" fmla="*/ 95045 w 187004"/>
                  <a:gd name="connsiteY192" fmla="*/ 40557 h 107036"/>
                  <a:gd name="connsiteX193" fmla="*/ 95662 w 187004"/>
                  <a:gd name="connsiteY193" fmla="*/ 37383 h 107036"/>
                  <a:gd name="connsiteX194" fmla="*/ 94516 w 187004"/>
                  <a:gd name="connsiteY194" fmla="*/ 36766 h 107036"/>
                  <a:gd name="connsiteX195" fmla="*/ 93899 w 187004"/>
                  <a:gd name="connsiteY195" fmla="*/ 32710 h 107036"/>
                  <a:gd name="connsiteX196" fmla="*/ 90460 w 187004"/>
                  <a:gd name="connsiteY196" fmla="*/ 30947 h 107036"/>
                  <a:gd name="connsiteX197" fmla="*/ 83143 w 187004"/>
                  <a:gd name="connsiteY197" fmla="*/ 32358 h 107036"/>
                  <a:gd name="connsiteX198" fmla="*/ 82261 w 187004"/>
                  <a:gd name="connsiteY198" fmla="*/ 34121 h 107036"/>
                  <a:gd name="connsiteX199" fmla="*/ 80498 w 187004"/>
                  <a:gd name="connsiteY199" fmla="*/ 34121 h 107036"/>
                  <a:gd name="connsiteX200" fmla="*/ 74678 w 187004"/>
                  <a:gd name="connsiteY200" fmla="*/ 25128 h 107036"/>
                  <a:gd name="connsiteX201" fmla="*/ 73180 w 187004"/>
                  <a:gd name="connsiteY201" fmla="*/ 25657 h 107036"/>
                  <a:gd name="connsiteX202" fmla="*/ 72651 w 187004"/>
                  <a:gd name="connsiteY202" fmla="*/ 22747 h 107036"/>
                  <a:gd name="connsiteX203" fmla="*/ 70270 w 187004"/>
                  <a:gd name="connsiteY203" fmla="*/ 21337 h 107036"/>
                  <a:gd name="connsiteX204" fmla="*/ 68595 w 187004"/>
                  <a:gd name="connsiteY204" fmla="*/ 22747 h 107036"/>
                  <a:gd name="connsiteX205" fmla="*/ 66479 w 187004"/>
                  <a:gd name="connsiteY205" fmla="*/ 20455 h 107036"/>
                  <a:gd name="connsiteX206" fmla="*/ 63305 w 187004"/>
                  <a:gd name="connsiteY206" fmla="*/ 20455 h 107036"/>
                  <a:gd name="connsiteX207" fmla="*/ 56339 w 187004"/>
                  <a:gd name="connsiteY207" fmla="*/ 13137 h 107036"/>
                  <a:gd name="connsiteX208" fmla="*/ 47258 w 187004"/>
                  <a:gd name="connsiteY208" fmla="*/ 9346 h 107036"/>
                  <a:gd name="connsiteX209" fmla="*/ 45759 w 187004"/>
                  <a:gd name="connsiteY209" fmla="*/ 2380 h 107036"/>
                  <a:gd name="connsiteX210" fmla="*/ 34385 w 187004"/>
                  <a:gd name="connsiteY210" fmla="*/ 0 h 107036"/>
                  <a:gd name="connsiteX211" fmla="*/ 32710 w 187004"/>
                  <a:gd name="connsiteY211" fmla="*/ 2645 h 107036"/>
                  <a:gd name="connsiteX212" fmla="*/ 29801 w 187004"/>
                  <a:gd name="connsiteY212" fmla="*/ 1146 h 107036"/>
                  <a:gd name="connsiteX213" fmla="*/ 29184 w 187004"/>
                  <a:gd name="connsiteY213" fmla="*/ 3791 h 107036"/>
                  <a:gd name="connsiteX214" fmla="*/ 28302 w 187004"/>
                  <a:gd name="connsiteY214" fmla="*/ 7582 h 107036"/>
                  <a:gd name="connsiteX215" fmla="*/ 26891 w 187004"/>
                  <a:gd name="connsiteY215" fmla="*/ 7847 h 107036"/>
                  <a:gd name="connsiteX216" fmla="*/ 27155 w 187004"/>
                  <a:gd name="connsiteY216" fmla="*/ 9346 h 107036"/>
                  <a:gd name="connsiteX217" fmla="*/ 25393 w 187004"/>
                  <a:gd name="connsiteY217" fmla="*/ 11109 h 107036"/>
                  <a:gd name="connsiteX218" fmla="*/ 22747 w 187004"/>
                  <a:gd name="connsiteY218" fmla="*/ 10845 h 107036"/>
                  <a:gd name="connsiteX219" fmla="*/ 20719 w 187004"/>
                  <a:gd name="connsiteY219" fmla="*/ 5819 h 107036"/>
                  <a:gd name="connsiteX220" fmla="*/ 18692 w 187004"/>
                  <a:gd name="connsiteY220" fmla="*/ 6701 h 107036"/>
                  <a:gd name="connsiteX221" fmla="*/ 17810 w 187004"/>
                  <a:gd name="connsiteY221" fmla="*/ 5555 h 107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</a:cxnLst>
                <a:rect l="l" t="t" r="r" b="b"/>
                <a:pathLst>
                  <a:path w="187004" h="107036">
                    <a:moveTo>
                      <a:pt x="16928" y="6701"/>
                    </a:moveTo>
                    <a:lnTo>
                      <a:pt x="17810" y="7847"/>
                    </a:lnTo>
                    <a:lnTo>
                      <a:pt x="17192" y="9346"/>
                    </a:lnTo>
                    <a:lnTo>
                      <a:pt x="16311" y="8729"/>
                    </a:lnTo>
                    <a:lnTo>
                      <a:pt x="14636" y="10492"/>
                    </a:lnTo>
                    <a:lnTo>
                      <a:pt x="12255" y="11991"/>
                    </a:lnTo>
                    <a:lnTo>
                      <a:pt x="11991" y="11374"/>
                    </a:lnTo>
                    <a:lnTo>
                      <a:pt x="11109" y="11991"/>
                    </a:lnTo>
                    <a:lnTo>
                      <a:pt x="11374" y="13137"/>
                    </a:lnTo>
                    <a:lnTo>
                      <a:pt x="9875" y="14900"/>
                    </a:lnTo>
                    <a:lnTo>
                      <a:pt x="10492" y="17193"/>
                    </a:lnTo>
                    <a:lnTo>
                      <a:pt x="9081" y="17545"/>
                    </a:lnTo>
                    <a:lnTo>
                      <a:pt x="6084" y="17810"/>
                    </a:lnTo>
                    <a:lnTo>
                      <a:pt x="6084" y="20719"/>
                    </a:lnTo>
                    <a:lnTo>
                      <a:pt x="2645" y="22218"/>
                    </a:lnTo>
                    <a:lnTo>
                      <a:pt x="4673" y="24775"/>
                    </a:lnTo>
                    <a:lnTo>
                      <a:pt x="2380" y="27156"/>
                    </a:lnTo>
                    <a:lnTo>
                      <a:pt x="2645" y="28037"/>
                    </a:lnTo>
                    <a:lnTo>
                      <a:pt x="617" y="30065"/>
                    </a:lnTo>
                    <a:lnTo>
                      <a:pt x="2909" y="33239"/>
                    </a:lnTo>
                    <a:lnTo>
                      <a:pt x="2909" y="36766"/>
                    </a:lnTo>
                    <a:lnTo>
                      <a:pt x="2909" y="37912"/>
                    </a:lnTo>
                    <a:lnTo>
                      <a:pt x="2380" y="39676"/>
                    </a:lnTo>
                    <a:lnTo>
                      <a:pt x="3526" y="41175"/>
                    </a:lnTo>
                    <a:lnTo>
                      <a:pt x="881" y="42585"/>
                    </a:lnTo>
                    <a:lnTo>
                      <a:pt x="0" y="43202"/>
                    </a:lnTo>
                    <a:lnTo>
                      <a:pt x="1763" y="44613"/>
                    </a:lnTo>
                    <a:lnTo>
                      <a:pt x="2909" y="45848"/>
                    </a:lnTo>
                    <a:lnTo>
                      <a:pt x="4055" y="47258"/>
                    </a:lnTo>
                    <a:lnTo>
                      <a:pt x="5819" y="48404"/>
                    </a:lnTo>
                    <a:lnTo>
                      <a:pt x="7318" y="48757"/>
                    </a:lnTo>
                    <a:lnTo>
                      <a:pt x="7582" y="50168"/>
                    </a:lnTo>
                    <a:lnTo>
                      <a:pt x="9875" y="50168"/>
                    </a:lnTo>
                    <a:lnTo>
                      <a:pt x="12520" y="51931"/>
                    </a:lnTo>
                    <a:lnTo>
                      <a:pt x="12255" y="50168"/>
                    </a:lnTo>
                    <a:lnTo>
                      <a:pt x="12872" y="49286"/>
                    </a:lnTo>
                    <a:lnTo>
                      <a:pt x="12872" y="50168"/>
                    </a:lnTo>
                    <a:lnTo>
                      <a:pt x="16047" y="50168"/>
                    </a:lnTo>
                    <a:lnTo>
                      <a:pt x="16311" y="51314"/>
                    </a:lnTo>
                    <a:lnTo>
                      <a:pt x="17457" y="51931"/>
                    </a:lnTo>
                    <a:lnTo>
                      <a:pt x="17457" y="53077"/>
                    </a:lnTo>
                    <a:lnTo>
                      <a:pt x="19838" y="53959"/>
                    </a:lnTo>
                    <a:lnTo>
                      <a:pt x="20719" y="53959"/>
                    </a:lnTo>
                    <a:lnTo>
                      <a:pt x="20984" y="54841"/>
                    </a:lnTo>
                    <a:lnTo>
                      <a:pt x="23012" y="54841"/>
                    </a:lnTo>
                    <a:lnTo>
                      <a:pt x="23364" y="55722"/>
                    </a:lnTo>
                    <a:lnTo>
                      <a:pt x="23364" y="56869"/>
                    </a:lnTo>
                    <a:lnTo>
                      <a:pt x="27684" y="57486"/>
                    </a:lnTo>
                    <a:lnTo>
                      <a:pt x="28919" y="58896"/>
                    </a:lnTo>
                    <a:lnTo>
                      <a:pt x="30065" y="61541"/>
                    </a:lnTo>
                    <a:lnTo>
                      <a:pt x="30594" y="63305"/>
                    </a:lnTo>
                    <a:lnTo>
                      <a:pt x="32358" y="63305"/>
                    </a:lnTo>
                    <a:lnTo>
                      <a:pt x="32358" y="62423"/>
                    </a:lnTo>
                    <a:lnTo>
                      <a:pt x="34121" y="63040"/>
                    </a:lnTo>
                    <a:lnTo>
                      <a:pt x="34738" y="63305"/>
                    </a:lnTo>
                    <a:lnTo>
                      <a:pt x="39411" y="66832"/>
                    </a:lnTo>
                    <a:lnTo>
                      <a:pt x="41968" y="67978"/>
                    </a:lnTo>
                    <a:lnTo>
                      <a:pt x="44613" y="69741"/>
                    </a:lnTo>
                    <a:lnTo>
                      <a:pt x="45759" y="69741"/>
                    </a:lnTo>
                    <a:lnTo>
                      <a:pt x="46112" y="68595"/>
                    </a:lnTo>
                    <a:lnTo>
                      <a:pt x="48757" y="68595"/>
                    </a:lnTo>
                    <a:lnTo>
                      <a:pt x="49286" y="69124"/>
                    </a:lnTo>
                    <a:lnTo>
                      <a:pt x="50785" y="69741"/>
                    </a:lnTo>
                    <a:lnTo>
                      <a:pt x="54840" y="72298"/>
                    </a:lnTo>
                    <a:lnTo>
                      <a:pt x="55105" y="72915"/>
                    </a:lnTo>
                    <a:lnTo>
                      <a:pt x="56868" y="74061"/>
                    </a:lnTo>
                    <a:lnTo>
                      <a:pt x="58367" y="74061"/>
                    </a:lnTo>
                    <a:lnTo>
                      <a:pt x="63040" y="73268"/>
                    </a:lnTo>
                    <a:lnTo>
                      <a:pt x="63040" y="74061"/>
                    </a:lnTo>
                    <a:lnTo>
                      <a:pt x="65068" y="77588"/>
                    </a:lnTo>
                    <a:lnTo>
                      <a:pt x="65068" y="78734"/>
                    </a:lnTo>
                    <a:lnTo>
                      <a:pt x="68242" y="78734"/>
                    </a:lnTo>
                    <a:lnTo>
                      <a:pt x="68242" y="79616"/>
                    </a:lnTo>
                    <a:lnTo>
                      <a:pt x="73180" y="79616"/>
                    </a:lnTo>
                    <a:lnTo>
                      <a:pt x="75207" y="83143"/>
                    </a:lnTo>
                    <a:lnTo>
                      <a:pt x="77588" y="83143"/>
                    </a:lnTo>
                    <a:lnTo>
                      <a:pt x="81379" y="81379"/>
                    </a:lnTo>
                    <a:lnTo>
                      <a:pt x="81114" y="79616"/>
                    </a:lnTo>
                    <a:lnTo>
                      <a:pt x="83143" y="79616"/>
                    </a:lnTo>
                    <a:lnTo>
                      <a:pt x="88433" y="82526"/>
                    </a:lnTo>
                    <a:lnTo>
                      <a:pt x="89315" y="81996"/>
                    </a:lnTo>
                    <a:lnTo>
                      <a:pt x="88433" y="81379"/>
                    </a:lnTo>
                    <a:lnTo>
                      <a:pt x="90108" y="79616"/>
                    </a:lnTo>
                    <a:lnTo>
                      <a:pt x="91871" y="79616"/>
                    </a:lnTo>
                    <a:lnTo>
                      <a:pt x="94516" y="79969"/>
                    </a:lnTo>
                    <a:lnTo>
                      <a:pt x="96809" y="79969"/>
                    </a:lnTo>
                    <a:lnTo>
                      <a:pt x="99454" y="81996"/>
                    </a:lnTo>
                    <a:lnTo>
                      <a:pt x="105273" y="84024"/>
                    </a:lnTo>
                    <a:lnTo>
                      <a:pt x="107301" y="85435"/>
                    </a:lnTo>
                    <a:lnTo>
                      <a:pt x="108182" y="87551"/>
                    </a:lnTo>
                    <a:lnTo>
                      <a:pt x="107036" y="89843"/>
                    </a:lnTo>
                    <a:lnTo>
                      <a:pt x="110298" y="91342"/>
                    </a:lnTo>
                    <a:lnTo>
                      <a:pt x="111709" y="90461"/>
                    </a:lnTo>
                    <a:lnTo>
                      <a:pt x="113473" y="91871"/>
                    </a:lnTo>
                    <a:lnTo>
                      <a:pt x="113737" y="93106"/>
                    </a:lnTo>
                    <a:lnTo>
                      <a:pt x="115500" y="93899"/>
                    </a:lnTo>
                    <a:lnTo>
                      <a:pt x="115853" y="95134"/>
                    </a:lnTo>
                    <a:lnTo>
                      <a:pt x="116999" y="94252"/>
                    </a:lnTo>
                    <a:lnTo>
                      <a:pt x="118674" y="94252"/>
                    </a:lnTo>
                    <a:lnTo>
                      <a:pt x="120790" y="95134"/>
                    </a:lnTo>
                    <a:lnTo>
                      <a:pt x="121055" y="96897"/>
                    </a:lnTo>
                    <a:lnTo>
                      <a:pt x="124582" y="98043"/>
                    </a:lnTo>
                    <a:lnTo>
                      <a:pt x="123965" y="95927"/>
                    </a:lnTo>
                    <a:lnTo>
                      <a:pt x="127139" y="95927"/>
                    </a:lnTo>
                    <a:lnTo>
                      <a:pt x="128373" y="95398"/>
                    </a:lnTo>
                    <a:lnTo>
                      <a:pt x="130136" y="95927"/>
                    </a:lnTo>
                    <a:lnTo>
                      <a:pt x="129784" y="98043"/>
                    </a:lnTo>
                    <a:lnTo>
                      <a:pt x="131547" y="101482"/>
                    </a:lnTo>
                    <a:lnTo>
                      <a:pt x="133575" y="100071"/>
                    </a:lnTo>
                    <a:lnTo>
                      <a:pt x="134721" y="102363"/>
                    </a:lnTo>
                    <a:lnTo>
                      <a:pt x="137366" y="100953"/>
                    </a:lnTo>
                    <a:lnTo>
                      <a:pt x="137366" y="99718"/>
                    </a:lnTo>
                    <a:lnTo>
                      <a:pt x="138865" y="99718"/>
                    </a:lnTo>
                    <a:lnTo>
                      <a:pt x="140893" y="104127"/>
                    </a:lnTo>
                    <a:lnTo>
                      <a:pt x="141510" y="101217"/>
                    </a:lnTo>
                    <a:lnTo>
                      <a:pt x="141774" y="100953"/>
                    </a:lnTo>
                    <a:lnTo>
                      <a:pt x="144067" y="101217"/>
                    </a:lnTo>
                    <a:lnTo>
                      <a:pt x="144420" y="100071"/>
                    </a:lnTo>
                    <a:lnTo>
                      <a:pt x="145830" y="102363"/>
                    </a:lnTo>
                    <a:lnTo>
                      <a:pt x="147858" y="101482"/>
                    </a:lnTo>
                    <a:lnTo>
                      <a:pt x="150239" y="103862"/>
                    </a:lnTo>
                    <a:lnTo>
                      <a:pt x="151120" y="102981"/>
                    </a:lnTo>
                    <a:lnTo>
                      <a:pt x="152531" y="104127"/>
                    </a:lnTo>
                    <a:lnTo>
                      <a:pt x="154559" y="105890"/>
                    </a:lnTo>
                    <a:lnTo>
                      <a:pt x="155441" y="105008"/>
                    </a:lnTo>
                    <a:lnTo>
                      <a:pt x="155441" y="105273"/>
                    </a:lnTo>
                    <a:lnTo>
                      <a:pt x="157469" y="105008"/>
                    </a:lnTo>
                    <a:lnTo>
                      <a:pt x="158438" y="104127"/>
                    </a:lnTo>
                    <a:lnTo>
                      <a:pt x="158086" y="102981"/>
                    </a:lnTo>
                    <a:lnTo>
                      <a:pt x="160114" y="102981"/>
                    </a:lnTo>
                    <a:lnTo>
                      <a:pt x="161612" y="101482"/>
                    </a:lnTo>
                    <a:lnTo>
                      <a:pt x="162141" y="106507"/>
                    </a:lnTo>
                    <a:lnTo>
                      <a:pt x="163993" y="105626"/>
                    </a:lnTo>
                    <a:lnTo>
                      <a:pt x="165403" y="105890"/>
                    </a:lnTo>
                    <a:lnTo>
                      <a:pt x="165668" y="107036"/>
                    </a:lnTo>
                    <a:lnTo>
                      <a:pt x="168842" y="107036"/>
                    </a:lnTo>
                    <a:lnTo>
                      <a:pt x="169195" y="105890"/>
                    </a:lnTo>
                    <a:lnTo>
                      <a:pt x="170341" y="105273"/>
                    </a:lnTo>
                    <a:lnTo>
                      <a:pt x="172369" y="105890"/>
                    </a:lnTo>
                    <a:lnTo>
                      <a:pt x="173604" y="106772"/>
                    </a:lnTo>
                    <a:lnTo>
                      <a:pt x="174750" y="105890"/>
                    </a:lnTo>
                    <a:lnTo>
                      <a:pt x="175631" y="107036"/>
                    </a:lnTo>
                    <a:lnTo>
                      <a:pt x="177306" y="106155"/>
                    </a:lnTo>
                    <a:lnTo>
                      <a:pt x="180216" y="105273"/>
                    </a:lnTo>
                    <a:lnTo>
                      <a:pt x="181979" y="107036"/>
                    </a:lnTo>
                    <a:lnTo>
                      <a:pt x="184360" y="105890"/>
                    </a:lnTo>
                    <a:lnTo>
                      <a:pt x="186388" y="100071"/>
                    </a:lnTo>
                    <a:lnTo>
                      <a:pt x="186123" y="94781"/>
                    </a:lnTo>
                    <a:lnTo>
                      <a:pt x="182332" y="90108"/>
                    </a:lnTo>
                    <a:lnTo>
                      <a:pt x="182861" y="86934"/>
                    </a:lnTo>
                    <a:lnTo>
                      <a:pt x="184096" y="80850"/>
                    </a:lnTo>
                    <a:lnTo>
                      <a:pt x="183478" y="79087"/>
                    </a:lnTo>
                    <a:lnTo>
                      <a:pt x="187005" y="70270"/>
                    </a:lnTo>
                    <a:lnTo>
                      <a:pt x="186652" y="69124"/>
                    </a:lnTo>
                    <a:lnTo>
                      <a:pt x="179070" y="67978"/>
                    </a:lnTo>
                    <a:lnTo>
                      <a:pt x="177924" y="70006"/>
                    </a:lnTo>
                    <a:lnTo>
                      <a:pt x="176160" y="70887"/>
                    </a:lnTo>
                    <a:lnTo>
                      <a:pt x="172104" y="69741"/>
                    </a:lnTo>
                    <a:lnTo>
                      <a:pt x="168578" y="70887"/>
                    </a:lnTo>
                    <a:lnTo>
                      <a:pt x="168578" y="69477"/>
                    </a:lnTo>
                    <a:lnTo>
                      <a:pt x="163640" y="70623"/>
                    </a:lnTo>
                    <a:lnTo>
                      <a:pt x="160114" y="66479"/>
                    </a:lnTo>
                    <a:lnTo>
                      <a:pt x="157821" y="67096"/>
                    </a:lnTo>
                    <a:lnTo>
                      <a:pt x="156675" y="65333"/>
                    </a:lnTo>
                    <a:lnTo>
                      <a:pt x="154030" y="65068"/>
                    </a:lnTo>
                    <a:lnTo>
                      <a:pt x="153766" y="63569"/>
                    </a:lnTo>
                    <a:lnTo>
                      <a:pt x="152531" y="62688"/>
                    </a:lnTo>
                    <a:lnTo>
                      <a:pt x="149357" y="62688"/>
                    </a:lnTo>
                    <a:lnTo>
                      <a:pt x="148475" y="66832"/>
                    </a:lnTo>
                    <a:lnTo>
                      <a:pt x="146448" y="68242"/>
                    </a:lnTo>
                    <a:lnTo>
                      <a:pt x="141157" y="65333"/>
                    </a:lnTo>
                    <a:lnTo>
                      <a:pt x="141157" y="62423"/>
                    </a:lnTo>
                    <a:lnTo>
                      <a:pt x="140276" y="61277"/>
                    </a:lnTo>
                    <a:lnTo>
                      <a:pt x="138248" y="63569"/>
                    </a:lnTo>
                    <a:lnTo>
                      <a:pt x="139129" y="67713"/>
                    </a:lnTo>
                    <a:lnTo>
                      <a:pt x="136484" y="68859"/>
                    </a:lnTo>
                    <a:lnTo>
                      <a:pt x="135603" y="67978"/>
                    </a:lnTo>
                    <a:lnTo>
                      <a:pt x="135603" y="65950"/>
                    </a:lnTo>
                    <a:lnTo>
                      <a:pt x="134192" y="64804"/>
                    </a:lnTo>
                    <a:lnTo>
                      <a:pt x="134192" y="63040"/>
                    </a:lnTo>
                    <a:lnTo>
                      <a:pt x="130930" y="60131"/>
                    </a:lnTo>
                    <a:lnTo>
                      <a:pt x="129166" y="56604"/>
                    </a:lnTo>
                    <a:lnTo>
                      <a:pt x="127139" y="58896"/>
                    </a:lnTo>
                    <a:lnTo>
                      <a:pt x="125375" y="57750"/>
                    </a:lnTo>
                    <a:lnTo>
                      <a:pt x="119292" y="58367"/>
                    </a:lnTo>
                    <a:lnTo>
                      <a:pt x="115236" y="57221"/>
                    </a:lnTo>
                    <a:lnTo>
                      <a:pt x="115236" y="53695"/>
                    </a:lnTo>
                    <a:lnTo>
                      <a:pt x="117264" y="51314"/>
                    </a:lnTo>
                    <a:lnTo>
                      <a:pt x="117264" y="49286"/>
                    </a:lnTo>
                    <a:lnTo>
                      <a:pt x="114354" y="48404"/>
                    </a:lnTo>
                    <a:lnTo>
                      <a:pt x="111444" y="51049"/>
                    </a:lnTo>
                    <a:lnTo>
                      <a:pt x="108799" y="50785"/>
                    </a:lnTo>
                    <a:lnTo>
                      <a:pt x="95045" y="40557"/>
                    </a:lnTo>
                    <a:lnTo>
                      <a:pt x="95662" y="37383"/>
                    </a:lnTo>
                    <a:lnTo>
                      <a:pt x="94516" y="36766"/>
                    </a:lnTo>
                    <a:lnTo>
                      <a:pt x="93899" y="32710"/>
                    </a:lnTo>
                    <a:lnTo>
                      <a:pt x="90460" y="30947"/>
                    </a:lnTo>
                    <a:lnTo>
                      <a:pt x="83143" y="32358"/>
                    </a:lnTo>
                    <a:lnTo>
                      <a:pt x="82261" y="34121"/>
                    </a:lnTo>
                    <a:lnTo>
                      <a:pt x="80498" y="34121"/>
                    </a:lnTo>
                    <a:lnTo>
                      <a:pt x="74678" y="25128"/>
                    </a:lnTo>
                    <a:lnTo>
                      <a:pt x="73180" y="25657"/>
                    </a:lnTo>
                    <a:lnTo>
                      <a:pt x="72651" y="22747"/>
                    </a:lnTo>
                    <a:lnTo>
                      <a:pt x="70270" y="21337"/>
                    </a:lnTo>
                    <a:lnTo>
                      <a:pt x="68595" y="22747"/>
                    </a:lnTo>
                    <a:lnTo>
                      <a:pt x="66479" y="20455"/>
                    </a:lnTo>
                    <a:lnTo>
                      <a:pt x="63305" y="20455"/>
                    </a:lnTo>
                    <a:lnTo>
                      <a:pt x="56339" y="13137"/>
                    </a:lnTo>
                    <a:lnTo>
                      <a:pt x="47258" y="9346"/>
                    </a:lnTo>
                    <a:lnTo>
                      <a:pt x="45759" y="2380"/>
                    </a:lnTo>
                    <a:lnTo>
                      <a:pt x="34385" y="0"/>
                    </a:lnTo>
                    <a:lnTo>
                      <a:pt x="32710" y="2645"/>
                    </a:lnTo>
                    <a:lnTo>
                      <a:pt x="29801" y="1146"/>
                    </a:lnTo>
                    <a:lnTo>
                      <a:pt x="29184" y="3791"/>
                    </a:lnTo>
                    <a:lnTo>
                      <a:pt x="28302" y="7582"/>
                    </a:lnTo>
                    <a:lnTo>
                      <a:pt x="26891" y="7847"/>
                    </a:lnTo>
                    <a:lnTo>
                      <a:pt x="27155" y="9346"/>
                    </a:lnTo>
                    <a:lnTo>
                      <a:pt x="25393" y="11109"/>
                    </a:lnTo>
                    <a:lnTo>
                      <a:pt x="22747" y="10845"/>
                    </a:lnTo>
                    <a:lnTo>
                      <a:pt x="20719" y="5819"/>
                    </a:lnTo>
                    <a:lnTo>
                      <a:pt x="18692" y="6701"/>
                    </a:lnTo>
                    <a:lnTo>
                      <a:pt x="17810" y="55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1" name="Freihandform: Form 1970">
                <a:extLst>
                  <a:ext uri="{FF2B5EF4-FFF2-40B4-BE49-F238E27FC236}">
                    <a16:creationId xmlns:a16="http://schemas.microsoft.com/office/drawing/2014/main" id="{B47F2316-4EA7-DDE8-775C-A9F1DA876338}"/>
                  </a:ext>
                </a:extLst>
              </p:cNvPr>
              <p:cNvSpPr/>
              <p:nvPr/>
            </p:nvSpPr>
            <p:spPr>
              <a:xfrm>
                <a:off x="5818131" y="3905638"/>
                <a:ext cx="54576" cy="96808"/>
              </a:xfrm>
              <a:custGeom>
                <a:avLst/>
                <a:gdLst>
                  <a:gd name="connsiteX0" fmla="*/ 7318 w 54576"/>
                  <a:gd name="connsiteY0" fmla="*/ 5202 h 96808"/>
                  <a:gd name="connsiteX1" fmla="*/ 7053 w 54576"/>
                  <a:gd name="connsiteY1" fmla="*/ 5202 h 96808"/>
                  <a:gd name="connsiteX2" fmla="*/ 5907 w 54576"/>
                  <a:gd name="connsiteY2" fmla="*/ 5202 h 96808"/>
                  <a:gd name="connsiteX3" fmla="*/ 5555 w 54576"/>
                  <a:gd name="connsiteY3" fmla="*/ 5202 h 96808"/>
                  <a:gd name="connsiteX4" fmla="*/ 4937 w 54576"/>
                  <a:gd name="connsiteY4" fmla="*/ 4585 h 96808"/>
                  <a:gd name="connsiteX5" fmla="*/ 4408 w 54576"/>
                  <a:gd name="connsiteY5" fmla="*/ 3703 h 96808"/>
                  <a:gd name="connsiteX6" fmla="*/ 4408 w 54576"/>
                  <a:gd name="connsiteY6" fmla="*/ 3439 h 96808"/>
                  <a:gd name="connsiteX7" fmla="*/ 4144 w 54576"/>
                  <a:gd name="connsiteY7" fmla="*/ 2910 h 96808"/>
                  <a:gd name="connsiteX8" fmla="*/ 4408 w 54576"/>
                  <a:gd name="connsiteY8" fmla="*/ 2028 h 96808"/>
                  <a:gd name="connsiteX9" fmla="*/ 4408 w 54576"/>
                  <a:gd name="connsiteY9" fmla="*/ 1763 h 96808"/>
                  <a:gd name="connsiteX10" fmla="*/ 4761 w 54576"/>
                  <a:gd name="connsiteY10" fmla="*/ 1763 h 96808"/>
                  <a:gd name="connsiteX11" fmla="*/ 5026 w 54576"/>
                  <a:gd name="connsiteY11" fmla="*/ 1499 h 96808"/>
                  <a:gd name="connsiteX12" fmla="*/ 5290 w 54576"/>
                  <a:gd name="connsiteY12" fmla="*/ 2645 h 96808"/>
                  <a:gd name="connsiteX13" fmla="*/ 5290 w 54576"/>
                  <a:gd name="connsiteY13" fmla="*/ 3262 h 96808"/>
                  <a:gd name="connsiteX14" fmla="*/ 5555 w 54576"/>
                  <a:gd name="connsiteY14" fmla="*/ 3879 h 96808"/>
                  <a:gd name="connsiteX15" fmla="*/ 6436 w 54576"/>
                  <a:gd name="connsiteY15" fmla="*/ 4497 h 96808"/>
                  <a:gd name="connsiteX16" fmla="*/ 6789 w 54576"/>
                  <a:gd name="connsiteY16" fmla="*/ 4761 h 96808"/>
                  <a:gd name="connsiteX17" fmla="*/ 7406 w 54576"/>
                  <a:gd name="connsiteY17" fmla="*/ 4761 h 96808"/>
                  <a:gd name="connsiteX18" fmla="*/ 7406 w 54576"/>
                  <a:gd name="connsiteY18" fmla="*/ 5114 h 96808"/>
                  <a:gd name="connsiteX19" fmla="*/ 7406 w 54576"/>
                  <a:gd name="connsiteY19" fmla="*/ 5202 h 96808"/>
                  <a:gd name="connsiteX20" fmla="*/ 1499 w 54576"/>
                  <a:gd name="connsiteY20" fmla="*/ 8376 h 96808"/>
                  <a:gd name="connsiteX21" fmla="*/ 1234 w 54576"/>
                  <a:gd name="connsiteY21" fmla="*/ 8641 h 96808"/>
                  <a:gd name="connsiteX22" fmla="*/ 352 w 54576"/>
                  <a:gd name="connsiteY22" fmla="*/ 8023 h 96808"/>
                  <a:gd name="connsiteX23" fmla="*/ 0 w 54576"/>
                  <a:gd name="connsiteY23" fmla="*/ 7759 h 96808"/>
                  <a:gd name="connsiteX24" fmla="*/ 0 w 54576"/>
                  <a:gd name="connsiteY24" fmla="*/ 7494 h 96808"/>
                  <a:gd name="connsiteX25" fmla="*/ 0 w 54576"/>
                  <a:gd name="connsiteY25" fmla="*/ 6877 h 96808"/>
                  <a:gd name="connsiteX26" fmla="*/ 0 w 54576"/>
                  <a:gd name="connsiteY26" fmla="*/ 6613 h 96808"/>
                  <a:gd name="connsiteX27" fmla="*/ 352 w 54576"/>
                  <a:gd name="connsiteY27" fmla="*/ 6613 h 96808"/>
                  <a:gd name="connsiteX28" fmla="*/ 617 w 54576"/>
                  <a:gd name="connsiteY28" fmla="*/ 7230 h 96808"/>
                  <a:gd name="connsiteX29" fmla="*/ 1499 w 54576"/>
                  <a:gd name="connsiteY29" fmla="*/ 7494 h 96808"/>
                  <a:gd name="connsiteX30" fmla="*/ 1763 w 54576"/>
                  <a:gd name="connsiteY30" fmla="*/ 8112 h 96808"/>
                  <a:gd name="connsiteX31" fmla="*/ 1499 w 54576"/>
                  <a:gd name="connsiteY31" fmla="*/ 8376 h 96808"/>
                  <a:gd name="connsiteX32" fmla="*/ 6789 w 54576"/>
                  <a:gd name="connsiteY32" fmla="*/ 20102 h 96808"/>
                  <a:gd name="connsiteX33" fmla="*/ 6436 w 54576"/>
                  <a:gd name="connsiteY33" fmla="*/ 20720 h 96808"/>
                  <a:gd name="connsiteX34" fmla="*/ 5290 w 54576"/>
                  <a:gd name="connsiteY34" fmla="*/ 20455 h 96808"/>
                  <a:gd name="connsiteX35" fmla="*/ 1851 w 54576"/>
                  <a:gd name="connsiteY35" fmla="*/ 18427 h 96808"/>
                  <a:gd name="connsiteX36" fmla="*/ 1587 w 54576"/>
                  <a:gd name="connsiteY36" fmla="*/ 18427 h 96808"/>
                  <a:gd name="connsiteX37" fmla="*/ 1587 w 54576"/>
                  <a:gd name="connsiteY37" fmla="*/ 18163 h 96808"/>
                  <a:gd name="connsiteX38" fmla="*/ 1851 w 54576"/>
                  <a:gd name="connsiteY38" fmla="*/ 18163 h 96808"/>
                  <a:gd name="connsiteX39" fmla="*/ 2381 w 54576"/>
                  <a:gd name="connsiteY39" fmla="*/ 17898 h 96808"/>
                  <a:gd name="connsiteX40" fmla="*/ 2645 w 54576"/>
                  <a:gd name="connsiteY40" fmla="*/ 17898 h 96808"/>
                  <a:gd name="connsiteX41" fmla="*/ 2910 w 54576"/>
                  <a:gd name="connsiteY41" fmla="*/ 17898 h 96808"/>
                  <a:gd name="connsiteX42" fmla="*/ 4673 w 54576"/>
                  <a:gd name="connsiteY42" fmla="*/ 18515 h 96808"/>
                  <a:gd name="connsiteX43" fmla="*/ 4937 w 54576"/>
                  <a:gd name="connsiteY43" fmla="*/ 18515 h 96808"/>
                  <a:gd name="connsiteX44" fmla="*/ 4937 w 54576"/>
                  <a:gd name="connsiteY44" fmla="*/ 18780 h 96808"/>
                  <a:gd name="connsiteX45" fmla="*/ 6436 w 54576"/>
                  <a:gd name="connsiteY45" fmla="*/ 19662 h 96808"/>
                  <a:gd name="connsiteX46" fmla="*/ 6789 w 54576"/>
                  <a:gd name="connsiteY46" fmla="*/ 19926 h 96808"/>
                  <a:gd name="connsiteX47" fmla="*/ 6789 w 54576"/>
                  <a:gd name="connsiteY47" fmla="*/ 20102 h 96808"/>
                  <a:gd name="connsiteX48" fmla="*/ 52196 w 54576"/>
                  <a:gd name="connsiteY48" fmla="*/ 58279 h 96808"/>
                  <a:gd name="connsiteX49" fmla="*/ 52196 w 54576"/>
                  <a:gd name="connsiteY49" fmla="*/ 58279 h 96808"/>
                  <a:gd name="connsiteX50" fmla="*/ 51931 w 54576"/>
                  <a:gd name="connsiteY50" fmla="*/ 58015 h 96808"/>
                  <a:gd name="connsiteX51" fmla="*/ 51667 w 54576"/>
                  <a:gd name="connsiteY51" fmla="*/ 57750 h 96808"/>
                  <a:gd name="connsiteX52" fmla="*/ 51931 w 54576"/>
                  <a:gd name="connsiteY52" fmla="*/ 55987 h 96808"/>
                  <a:gd name="connsiteX53" fmla="*/ 51314 w 54576"/>
                  <a:gd name="connsiteY53" fmla="*/ 54841 h 96808"/>
                  <a:gd name="connsiteX54" fmla="*/ 50697 w 54576"/>
                  <a:gd name="connsiteY54" fmla="*/ 54224 h 96808"/>
                  <a:gd name="connsiteX55" fmla="*/ 50080 w 54576"/>
                  <a:gd name="connsiteY55" fmla="*/ 53077 h 96808"/>
                  <a:gd name="connsiteX56" fmla="*/ 50080 w 54576"/>
                  <a:gd name="connsiteY56" fmla="*/ 52813 h 96808"/>
                  <a:gd name="connsiteX57" fmla="*/ 50080 w 54576"/>
                  <a:gd name="connsiteY57" fmla="*/ 51667 h 96808"/>
                  <a:gd name="connsiteX58" fmla="*/ 50080 w 54576"/>
                  <a:gd name="connsiteY58" fmla="*/ 51931 h 96808"/>
                  <a:gd name="connsiteX59" fmla="*/ 50344 w 54576"/>
                  <a:gd name="connsiteY59" fmla="*/ 51931 h 96808"/>
                  <a:gd name="connsiteX60" fmla="*/ 50344 w 54576"/>
                  <a:gd name="connsiteY60" fmla="*/ 52196 h 96808"/>
                  <a:gd name="connsiteX61" fmla="*/ 50609 w 54576"/>
                  <a:gd name="connsiteY61" fmla="*/ 52813 h 96808"/>
                  <a:gd name="connsiteX62" fmla="*/ 50873 w 54576"/>
                  <a:gd name="connsiteY62" fmla="*/ 53430 h 96808"/>
                  <a:gd name="connsiteX63" fmla="*/ 51755 w 54576"/>
                  <a:gd name="connsiteY63" fmla="*/ 54841 h 96808"/>
                  <a:gd name="connsiteX64" fmla="*/ 52019 w 54576"/>
                  <a:gd name="connsiteY64" fmla="*/ 55105 h 96808"/>
                  <a:gd name="connsiteX65" fmla="*/ 52019 w 54576"/>
                  <a:gd name="connsiteY65" fmla="*/ 55722 h 96808"/>
                  <a:gd name="connsiteX66" fmla="*/ 52372 w 54576"/>
                  <a:gd name="connsiteY66" fmla="*/ 55987 h 96808"/>
                  <a:gd name="connsiteX67" fmla="*/ 52725 w 54576"/>
                  <a:gd name="connsiteY67" fmla="*/ 58015 h 96808"/>
                  <a:gd name="connsiteX68" fmla="*/ 52196 w 54576"/>
                  <a:gd name="connsiteY68" fmla="*/ 58279 h 96808"/>
                  <a:gd name="connsiteX69" fmla="*/ 49903 w 54576"/>
                  <a:gd name="connsiteY69" fmla="*/ 53077 h 96808"/>
                  <a:gd name="connsiteX70" fmla="*/ 49903 w 54576"/>
                  <a:gd name="connsiteY70" fmla="*/ 53342 h 96808"/>
                  <a:gd name="connsiteX71" fmla="*/ 49639 w 54576"/>
                  <a:gd name="connsiteY71" fmla="*/ 53342 h 96808"/>
                  <a:gd name="connsiteX72" fmla="*/ 49639 w 54576"/>
                  <a:gd name="connsiteY72" fmla="*/ 53077 h 96808"/>
                  <a:gd name="connsiteX73" fmla="*/ 49903 w 54576"/>
                  <a:gd name="connsiteY73" fmla="*/ 52813 h 96808"/>
                  <a:gd name="connsiteX74" fmla="*/ 49903 w 54576"/>
                  <a:gd name="connsiteY74" fmla="*/ 52548 h 96808"/>
                  <a:gd name="connsiteX75" fmla="*/ 49903 w 54576"/>
                  <a:gd name="connsiteY75" fmla="*/ 52813 h 96808"/>
                  <a:gd name="connsiteX76" fmla="*/ 50168 w 54576"/>
                  <a:gd name="connsiteY76" fmla="*/ 52813 h 96808"/>
                  <a:gd name="connsiteX77" fmla="*/ 50168 w 54576"/>
                  <a:gd name="connsiteY77" fmla="*/ 53077 h 96808"/>
                  <a:gd name="connsiteX78" fmla="*/ 49903 w 54576"/>
                  <a:gd name="connsiteY78" fmla="*/ 53077 h 96808"/>
                  <a:gd name="connsiteX79" fmla="*/ 26010 w 54576"/>
                  <a:gd name="connsiteY79" fmla="*/ 96809 h 96808"/>
                  <a:gd name="connsiteX80" fmla="*/ 26010 w 54576"/>
                  <a:gd name="connsiteY80" fmla="*/ 96809 h 96808"/>
                  <a:gd name="connsiteX81" fmla="*/ 22835 w 54576"/>
                  <a:gd name="connsiteY81" fmla="*/ 96280 h 96808"/>
                  <a:gd name="connsiteX82" fmla="*/ 19044 w 54576"/>
                  <a:gd name="connsiteY82" fmla="*/ 95134 h 96808"/>
                  <a:gd name="connsiteX83" fmla="*/ 17810 w 54576"/>
                  <a:gd name="connsiteY83" fmla="*/ 94869 h 96808"/>
                  <a:gd name="connsiteX84" fmla="*/ 16928 w 54576"/>
                  <a:gd name="connsiteY84" fmla="*/ 94252 h 96808"/>
                  <a:gd name="connsiteX85" fmla="*/ 16664 w 54576"/>
                  <a:gd name="connsiteY85" fmla="*/ 94252 h 96808"/>
                  <a:gd name="connsiteX86" fmla="*/ 14900 w 54576"/>
                  <a:gd name="connsiteY86" fmla="*/ 92224 h 96808"/>
                  <a:gd name="connsiteX87" fmla="*/ 14018 w 54576"/>
                  <a:gd name="connsiteY87" fmla="*/ 90725 h 96808"/>
                  <a:gd name="connsiteX88" fmla="*/ 13137 w 54576"/>
                  <a:gd name="connsiteY88" fmla="*/ 88962 h 96808"/>
                  <a:gd name="connsiteX89" fmla="*/ 12520 w 54576"/>
                  <a:gd name="connsiteY89" fmla="*/ 86934 h 96808"/>
                  <a:gd name="connsiteX90" fmla="*/ 11638 w 54576"/>
                  <a:gd name="connsiteY90" fmla="*/ 84289 h 96808"/>
                  <a:gd name="connsiteX91" fmla="*/ 11021 w 54576"/>
                  <a:gd name="connsiteY91" fmla="*/ 81997 h 96808"/>
                  <a:gd name="connsiteX92" fmla="*/ 11021 w 54576"/>
                  <a:gd name="connsiteY92" fmla="*/ 81732 h 96808"/>
                  <a:gd name="connsiteX93" fmla="*/ 10404 w 54576"/>
                  <a:gd name="connsiteY93" fmla="*/ 80851 h 96808"/>
                  <a:gd name="connsiteX94" fmla="*/ 9875 w 54576"/>
                  <a:gd name="connsiteY94" fmla="*/ 79087 h 96808"/>
                  <a:gd name="connsiteX95" fmla="*/ 9258 w 54576"/>
                  <a:gd name="connsiteY95" fmla="*/ 77324 h 96808"/>
                  <a:gd name="connsiteX96" fmla="*/ 8729 w 54576"/>
                  <a:gd name="connsiteY96" fmla="*/ 76442 h 96808"/>
                  <a:gd name="connsiteX97" fmla="*/ 8111 w 54576"/>
                  <a:gd name="connsiteY97" fmla="*/ 75296 h 96808"/>
                  <a:gd name="connsiteX98" fmla="*/ 8111 w 54576"/>
                  <a:gd name="connsiteY98" fmla="*/ 75031 h 96808"/>
                  <a:gd name="connsiteX99" fmla="*/ 7847 w 54576"/>
                  <a:gd name="connsiteY99" fmla="*/ 74150 h 96808"/>
                  <a:gd name="connsiteX100" fmla="*/ 7582 w 54576"/>
                  <a:gd name="connsiteY100" fmla="*/ 71769 h 96808"/>
                  <a:gd name="connsiteX101" fmla="*/ 7582 w 54576"/>
                  <a:gd name="connsiteY101" fmla="*/ 71505 h 96808"/>
                  <a:gd name="connsiteX102" fmla="*/ 7847 w 54576"/>
                  <a:gd name="connsiteY102" fmla="*/ 71240 h 96808"/>
                  <a:gd name="connsiteX103" fmla="*/ 8111 w 54576"/>
                  <a:gd name="connsiteY103" fmla="*/ 70623 h 96808"/>
                  <a:gd name="connsiteX104" fmla="*/ 8111 w 54576"/>
                  <a:gd name="connsiteY104" fmla="*/ 70358 h 96808"/>
                  <a:gd name="connsiteX105" fmla="*/ 7582 w 54576"/>
                  <a:gd name="connsiteY105" fmla="*/ 67184 h 96808"/>
                  <a:gd name="connsiteX106" fmla="*/ 6965 w 54576"/>
                  <a:gd name="connsiteY106" fmla="*/ 65421 h 96808"/>
                  <a:gd name="connsiteX107" fmla="*/ 6965 w 54576"/>
                  <a:gd name="connsiteY107" fmla="*/ 63658 h 96808"/>
                  <a:gd name="connsiteX108" fmla="*/ 6965 w 54576"/>
                  <a:gd name="connsiteY108" fmla="*/ 62776 h 96808"/>
                  <a:gd name="connsiteX109" fmla="*/ 6348 w 54576"/>
                  <a:gd name="connsiteY109" fmla="*/ 60131 h 96808"/>
                  <a:gd name="connsiteX110" fmla="*/ 6348 w 54576"/>
                  <a:gd name="connsiteY110" fmla="*/ 59866 h 96808"/>
                  <a:gd name="connsiteX111" fmla="*/ 5466 w 54576"/>
                  <a:gd name="connsiteY111" fmla="*/ 55193 h 96808"/>
                  <a:gd name="connsiteX112" fmla="*/ 5819 w 54576"/>
                  <a:gd name="connsiteY112" fmla="*/ 54929 h 96808"/>
                  <a:gd name="connsiteX113" fmla="*/ 5819 w 54576"/>
                  <a:gd name="connsiteY113" fmla="*/ 54312 h 96808"/>
                  <a:gd name="connsiteX114" fmla="*/ 5819 w 54576"/>
                  <a:gd name="connsiteY114" fmla="*/ 53783 h 96808"/>
                  <a:gd name="connsiteX115" fmla="*/ 5202 w 54576"/>
                  <a:gd name="connsiteY115" fmla="*/ 51490 h 96808"/>
                  <a:gd name="connsiteX116" fmla="*/ 4320 w 54576"/>
                  <a:gd name="connsiteY116" fmla="*/ 48228 h 96808"/>
                  <a:gd name="connsiteX117" fmla="*/ 4055 w 54576"/>
                  <a:gd name="connsiteY117" fmla="*/ 47346 h 96808"/>
                  <a:gd name="connsiteX118" fmla="*/ 4055 w 54576"/>
                  <a:gd name="connsiteY118" fmla="*/ 46994 h 96808"/>
                  <a:gd name="connsiteX119" fmla="*/ 4055 w 54576"/>
                  <a:gd name="connsiteY119" fmla="*/ 46729 h 96808"/>
                  <a:gd name="connsiteX120" fmla="*/ 3791 w 54576"/>
                  <a:gd name="connsiteY120" fmla="*/ 46465 h 96808"/>
                  <a:gd name="connsiteX121" fmla="*/ 3526 w 54576"/>
                  <a:gd name="connsiteY121" fmla="*/ 45583 h 96808"/>
                  <a:gd name="connsiteX122" fmla="*/ 3526 w 54576"/>
                  <a:gd name="connsiteY122" fmla="*/ 45319 h 96808"/>
                  <a:gd name="connsiteX123" fmla="*/ 3174 w 54576"/>
                  <a:gd name="connsiteY123" fmla="*/ 44437 h 96808"/>
                  <a:gd name="connsiteX124" fmla="*/ 3174 w 54576"/>
                  <a:gd name="connsiteY124" fmla="*/ 43291 h 96808"/>
                  <a:gd name="connsiteX125" fmla="*/ 2910 w 54576"/>
                  <a:gd name="connsiteY125" fmla="*/ 40646 h 96808"/>
                  <a:gd name="connsiteX126" fmla="*/ 2910 w 54576"/>
                  <a:gd name="connsiteY126" fmla="*/ 40381 h 96808"/>
                  <a:gd name="connsiteX127" fmla="*/ 2910 w 54576"/>
                  <a:gd name="connsiteY127" fmla="*/ 39764 h 96808"/>
                  <a:gd name="connsiteX128" fmla="*/ 3174 w 54576"/>
                  <a:gd name="connsiteY128" fmla="*/ 39500 h 96808"/>
                  <a:gd name="connsiteX129" fmla="*/ 3791 w 54576"/>
                  <a:gd name="connsiteY129" fmla="*/ 38882 h 96808"/>
                  <a:gd name="connsiteX130" fmla="*/ 3526 w 54576"/>
                  <a:gd name="connsiteY130" fmla="*/ 42056 h 96808"/>
                  <a:gd name="connsiteX131" fmla="*/ 3526 w 54576"/>
                  <a:gd name="connsiteY131" fmla="*/ 42321 h 96808"/>
                  <a:gd name="connsiteX132" fmla="*/ 3791 w 54576"/>
                  <a:gd name="connsiteY132" fmla="*/ 44613 h 96808"/>
                  <a:gd name="connsiteX133" fmla="*/ 3791 w 54576"/>
                  <a:gd name="connsiteY133" fmla="*/ 44878 h 96808"/>
                  <a:gd name="connsiteX134" fmla="*/ 3791 w 54576"/>
                  <a:gd name="connsiteY134" fmla="*/ 45142 h 96808"/>
                  <a:gd name="connsiteX135" fmla="*/ 4055 w 54576"/>
                  <a:gd name="connsiteY135" fmla="*/ 45142 h 96808"/>
                  <a:gd name="connsiteX136" fmla="*/ 4320 w 54576"/>
                  <a:gd name="connsiteY136" fmla="*/ 45407 h 96808"/>
                  <a:gd name="connsiteX137" fmla="*/ 4673 w 54576"/>
                  <a:gd name="connsiteY137" fmla="*/ 45671 h 96808"/>
                  <a:gd name="connsiteX138" fmla="*/ 5202 w 54576"/>
                  <a:gd name="connsiteY138" fmla="*/ 45671 h 96808"/>
                  <a:gd name="connsiteX139" fmla="*/ 5466 w 54576"/>
                  <a:gd name="connsiteY139" fmla="*/ 45671 h 96808"/>
                  <a:gd name="connsiteX140" fmla="*/ 5819 w 54576"/>
                  <a:gd name="connsiteY140" fmla="*/ 45671 h 96808"/>
                  <a:gd name="connsiteX141" fmla="*/ 5819 w 54576"/>
                  <a:gd name="connsiteY141" fmla="*/ 45407 h 96808"/>
                  <a:gd name="connsiteX142" fmla="*/ 6084 w 54576"/>
                  <a:gd name="connsiteY142" fmla="*/ 45407 h 96808"/>
                  <a:gd name="connsiteX143" fmla="*/ 6084 w 54576"/>
                  <a:gd name="connsiteY143" fmla="*/ 45142 h 96808"/>
                  <a:gd name="connsiteX144" fmla="*/ 6084 w 54576"/>
                  <a:gd name="connsiteY144" fmla="*/ 44878 h 96808"/>
                  <a:gd name="connsiteX145" fmla="*/ 6084 w 54576"/>
                  <a:gd name="connsiteY145" fmla="*/ 44613 h 96808"/>
                  <a:gd name="connsiteX146" fmla="*/ 5819 w 54576"/>
                  <a:gd name="connsiteY146" fmla="*/ 44349 h 96808"/>
                  <a:gd name="connsiteX147" fmla="*/ 5466 w 54576"/>
                  <a:gd name="connsiteY147" fmla="*/ 39147 h 96808"/>
                  <a:gd name="connsiteX148" fmla="*/ 6084 w 54576"/>
                  <a:gd name="connsiteY148" fmla="*/ 32181 h 96808"/>
                  <a:gd name="connsiteX149" fmla="*/ 6348 w 54576"/>
                  <a:gd name="connsiteY149" fmla="*/ 31917 h 96808"/>
                  <a:gd name="connsiteX150" fmla="*/ 6965 w 54576"/>
                  <a:gd name="connsiteY150" fmla="*/ 31652 h 96808"/>
                  <a:gd name="connsiteX151" fmla="*/ 7230 w 54576"/>
                  <a:gd name="connsiteY151" fmla="*/ 31388 h 96808"/>
                  <a:gd name="connsiteX152" fmla="*/ 7759 w 54576"/>
                  <a:gd name="connsiteY152" fmla="*/ 29889 h 96808"/>
                  <a:gd name="connsiteX153" fmla="*/ 7759 w 54576"/>
                  <a:gd name="connsiteY153" fmla="*/ 27508 h 96808"/>
                  <a:gd name="connsiteX154" fmla="*/ 7759 w 54576"/>
                  <a:gd name="connsiteY154" fmla="*/ 27244 h 96808"/>
                  <a:gd name="connsiteX155" fmla="*/ 7230 w 54576"/>
                  <a:gd name="connsiteY155" fmla="*/ 24599 h 96808"/>
                  <a:gd name="connsiteX156" fmla="*/ 6965 w 54576"/>
                  <a:gd name="connsiteY156" fmla="*/ 22307 h 96808"/>
                  <a:gd name="connsiteX157" fmla="*/ 6965 w 54576"/>
                  <a:gd name="connsiteY157" fmla="*/ 22042 h 96808"/>
                  <a:gd name="connsiteX158" fmla="*/ 8111 w 54576"/>
                  <a:gd name="connsiteY158" fmla="*/ 21160 h 96808"/>
                  <a:gd name="connsiteX159" fmla="*/ 8376 w 54576"/>
                  <a:gd name="connsiteY159" fmla="*/ 21160 h 96808"/>
                  <a:gd name="connsiteX160" fmla="*/ 9522 w 54576"/>
                  <a:gd name="connsiteY160" fmla="*/ 20279 h 96808"/>
                  <a:gd name="connsiteX161" fmla="*/ 9787 w 54576"/>
                  <a:gd name="connsiteY161" fmla="*/ 20014 h 96808"/>
                  <a:gd name="connsiteX162" fmla="*/ 10051 w 54576"/>
                  <a:gd name="connsiteY162" fmla="*/ 19133 h 96808"/>
                  <a:gd name="connsiteX163" fmla="*/ 10933 w 54576"/>
                  <a:gd name="connsiteY163" fmla="*/ 16223 h 96808"/>
                  <a:gd name="connsiteX164" fmla="*/ 10933 w 54576"/>
                  <a:gd name="connsiteY164" fmla="*/ 15606 h 96808"/>
                  <a:gd name="connsiteX165" fmla="*/ 10933 w 54576"/>
                  <a:gd name="connsiteY165" fmla="*/ 14460 h 96808"/>
                  <a:gd name="connsiteX166" fmla="*/ 10933 w 54576"/>
                  <a:gd name="connsiteY166" fmla="*/ 14195 h 96808"/>
                  <a:gd name="connsiteX167" fmla="*/ 10933 w 54576"/>
                  <a:gd name="connsiteY167" fmla="*/ 13314 h 96808"/>
                  <a:gd name="connsiteX168" fmla="*/ 10668 w 54576"/>
                  <a:gd name="connsiteY168" fmla="*/ 12961 h 96808"/>
                  <a:gd name="connsiteX169" fmla="*/ 10316 w 54576"/>
                  <a:gd name="connsiteY169" fmla="*/ 12961 h 96808"/>
                  <a:gd name="connsiteX170" fmla="*/ 10051 w 54576"/>
                  <a:gd name="connsiteY170" fmla="*/ 10316 h 96808"/>
                  <a:gd name="connsiteX171" fmla="*/ 11198 w 54576"/>
                  <a:gd name="connsiteY171" fmla="*/ 10051 h 96808"/>
                  <a:gd name="connsiteX172" fmla="*/ 12343 w 54576"/>
                  <a:gd name="connsiteY172" fmla="*/ 8905 h 96808"/>
                  <a:gd name="connsiteX173" fmla="*/ 11991 w 54576"/>
                  <a:gd name="connsiteY173" fmla="*/ 8641 h 96808"/>
                  <a:gd name="connsiteX174" fmla="*/ 11991 w 54576"/>
                  <a:gd name="connsiteY174" fmla="*/ 8376 h 96808"/>
                  <a:gd name="connsiteX175" fmla="*/ 11727 w 54576"/>
                  <a:gd name="connsiteY175" fmla="*/ 8376 h 96808"/>
                  <a:gd name="connsiteX176" fmla="*/ 11462 w 54576"/>
                  <a:gd name="connsiteY176" fmla="*/ 7759 h 96808"/>
                  <a:gd name="connsiteX177" fmla="*/ 10845 w 54576"/>
                  <a:gd name="connsiteY177" fmla="*/ 7494 h 96808"/>
                  <a:gd name="connsiteX178" fmla="*/ 10580 w 54576"/>
                  <a:gd name="connsiteY178" fmla="*/ 7230 h 96808"/>
                  <a:gd name="connsiteX179" fmla="*/ 9698 w 54576"/>
                  <a:gd name="connsiteY179" fmla="*/ 6613 h 96808"/>
                  <a:gd name="connsiteX180" fmla="*/ 9081 w 54576"/>
                  <a:gd name="connsiteY180" fmla="*/ 6348 h 96808"/>
                  <a:gd name="connsiteX181" fmla="*/ 8817 w 54576"/>
                  <a:gd name="connsiteY181" fmla="*/ 6084 h 96808"/>
                  <a:gd name="connsiteX182" fmla="*/ 9081 w 54576"/>
                  <a:gd name="connsiteY182" fmla="*/ 6084 h 96808"/>
                  <a:gd name="connsiteX183" fmla="*/ 9698 w 54576"/>
                  <a:gd name="connsiteY183" fmla="*/ 6084 h 96808"/>
                  <a:gd name="connsiteX184" fmla="*/ 13225 w 54576"/>
                  <a:gd name="connsiteY184" fmla="*/ 7583 h 96808"/>
                  <a:gd name="connsiteX185" fmla="*/ 14107 w 54576"/>
                  <a:gd name="connsiteY185" fmla="*/ 8464 h 96808"/>
                  <a:gd name="connsiteX186" fmla="*/ 18780 w 54576"/>
                  <a:gd name="connsiteY186" fmla="*/ 8464 h 96808"/>
                  <a:gd name="connsiteX187" fmla="*/ 19309 w 54576"/>
                  <a:gd name="connsiteY187" fmla="*/ 8729 h 96808"/>
                  <a:gd name="connsiteX188" fmla="*/ 19926 w 54576"/>
                  <a:gd name="connsiteY188" fmla="*/ 8993 h 96808"/>
                  <a:gd name="connsiteX189" fmla="*/ 20190 w 54576"/>
                  <a:gd name="connsiteY189" fmla="*/ 9258 h 96808"/>
                  <a:gd name="connsiteX190" fmla="*/ 20455 w 54576"/>
                  <a:gd name="connsiteY190" fmla="*/ 9522 h 96808"/>
                  <a:gd name="connsiteX191" fmla="*/ 20719 w 54576"/>
                  <a:gd name="connsiteY191" fmla="*/ 9522 h 96808"/>
                  <a:gd name="connsiteX192" fmla="*/ 20984 w 54576"/>
                  <a:gd name="connsiteY192" fmla="*/ 9522 h 96808"/>
                  <a:gd name="connsiteX193" fmla="*/ 21866 w 54576"/>
                  <a:gd name="connsiteY193" fmla="*/ 9787 h 96808"/>
                  <a:gd name="connsiteX194" fmla="*/ 21866 w 54576"/>
                  <a:gd name="connsiteY194" fmla="*/ 9522 h 96808"/>
                  <a:gd name="connsiteX195" fmla="*/ 21248 w 54576"/>
                  <a:gd name="connsiteY195" fmla="*/ 9258 h 96808"/>
                  <a:gd name="connsiteX196" fmla="*/ 20102 w 54576"/>
                  <a:gd name="connsiteY196" fmla="*/ 8376 h 96808"/>
                  <a:gd name="connsiteX197" fmla="*/ 18339 w 54576"/>
                  <a:gd name="connsiteY197" fmla="*/ 7494 h 96808"/>
                  <a:gd name="connsiteX198" fmla="*/ 17457 w 54576"/>
                  <a:gd name="connsiteY198" fmla="*/ 7230 h 96808"/>
                  <a:gd name="connsiteX199" fmla="*/ 16840 w 54576"/>
                  <a:gd name="connsiteY199" fmla="*/ 7494 h 96808"/>
                  <a:gd name="connsiteX200" fmla="*/ 16576 w 54576"/>
                  <a:gd name="connsiteY200" fmla="*/ 7494 h 96808"/>
                  <a:gd name="connsiteX201" fmla="*/ 16311 w 54576"/>
                  <a:gd name="connsiteY201" fmla="*/ 7494 h 96808"/>
                  <a:gd name="connsiteX202" fmla="*/ 15165 w 54576"/>
                  <a:gd name="connsiteY202" fmla="*/ 6877 h 96808"/>
                  <a:gd name="connsiteX203" fmla="*/ 14900 w 54576"/>
                  <a:gd name="connsiteY203" fmla="*/ 6260 h 96808"/>
                  <a:gd name="connsiteX204" fmla="*/ 14900 w 54576"/>
                  <a:gd name="connsiteY204" fmla="*/ 5819 h 96808"/>
                  <a:gd name="connsiteX205" fmla="*/ 12608 w 54576"/>
                  <a:gd name="connsiteY205" fmla="*/ 4673 h 96808"/>
                  <a:gd name="connsiteX206" fmla="*/ 12256 w 54576"/>
                  <a:gd name="connsiteY206" fmla="*/ 4408 h 96808"/>
                  <a:gd name="connsiteX207" fmla="*/ 11991 w 54576"/>
                  <a:gd name="connsiteY207" fmla="*/ 4408 h 96808"/>
                  <a:gd name="connsiteX208" fmla="*/ 11727 w 54576"/>
                  <a:gd name="connsiteY208" fmla="*/ 4408 h 96808"/>
                  <a:gd name="connsiteX209" fmla="*/ 11727 w 54576"/>
                  <a:gd name="connsiteY209" fmla="*/ 4673 h 96808"/>
                  <a:gd name="connsiteX210" fmla="*/ 11991 w 54576"/>
                  <a:gd name="connsiteY210" fmla="*/ 5026 h 96808"/>
                  <a:gd name="connsiteX211" fmla="*/ 12256 w 54576"/>
                  <a:gd name="connsiteY211" fmla="*/ 5290 h 96808"/>
                  <a:gd name="connsiteX212" fmla="*/ 12256 w 54576"/>
                  <a:gd name="connsiteY212" fmla="*/ 5555 h 96808"/>
                  <a:gd name="connsiteX213" fmla="*/ 12608 w 54576"/>
                  <a:gd name="connsiteY213" fmla="*/ 5555 h 96808"/>
                  <a:gd name="connsiteX214" fmla="*/ 12608 w 54576"/>
                  <a:gd name="connsiteY214" fmla="*/ 5819 h 96808"/>
                  <a:gd name="connsiteX215" fmla="*/ 12256 w 54576"/>
                  <a:gd name="connsiteY215" fmla="*/ 5819 h 96808"/>
                  <a:gd name="connsiteX216" fmla="*/ 12256 w 54576"/>
                  <a:gd name="connsiteY216" fmla="*/ 6084 h 96808"/>
                  <a:gd name="connsiteX217" fmla="*/ 10756 w 54576"/>
                  <a:gd name="connsiteY217" fmla="*/ 5466 h 96808"/>
                  <a:gd name="connsiteX218" fmla="*/ 8464 w 54576"/>
                  <a:gd name="connsiteY218" fmla="*/ 4320 h 96808"/>
                  <a:gd name="connsiteX219" fmla="*/ 6701 w 54576"/>
                  <a:gd name="connsiteY219" fmla="*/ 3439 h 96808"/>
                  <a:gd name="connsiteX220" fmla="*/ 6348 w 54576"/>
                  <a:gd name="connsiteY220" fmla="*/ 3174 h 96808"/>
                  <a:gd name="connsiteX221" fmla="*/ 6348 w 54576"/>
                  <a:gd name="connsiteY221" fmla="*/ 2910 h 96808"/>
                  <a:gd name="connsiteX222" fmla="*/ 5819 w 54576"/>
                  <a:gd name="connsiteY222" fmla="*/ 2028 h 96808"/>
                  <a:gd name="connsiteX223" fmla="*/ 5819 w 54576"/>
                  <a:gd name="connsiteY223" fmla="*/ 1146 h 96808"/>
                  <a:gd name="connsiteX224" fmla="*/ 6965 w 54576"/>
                  <a:gd name="connsiteY224" fmla="*/ 264 h 96808"/>
                  <a:gd name="connsiteX225" fmla="*/ 7230 w 54576"/>
                  <a:gd name="connsiteY225" fmla="*/ 264 h 96808"/>
                  <a:gd name="connsiteX226" fmla="*/ 7759 w 54576"/>
                  <a:gd name="connsiteY226" fmla="*/ 0 h 96808"/>
                  <a:gd name="connsiteX227" fmla="*/ 8023 w 54576"/>
                  <a:gd name="connsiteY227" fmla="*/ 0 h 96808"/>
                  <a:gd name="connsiteX228" fmla="*/ 10051 w 54576"/>
                  <a:gd name="connsiteY228" fmla="*/ 617 h 96808"/>
                  <a:gd name="connsiteX229" fmla="*/ 10316 w 54576"/>
                  <a:gd name="connsiteY229" fmla="*/ 1234 h 96808"/>
                  <a:gd name="connsiteX230" fmla="*/ 10668 w 54576"/>
                  <a:gd name="connsiteY230" fmla="*/ 1499 h 96808"/>
                  <a:gd name="connsiteX231" fmla="*/ 11285 w 54576"/>
                  <a:gd name="connsiteY231" fmla="*/ 1499 h 96808"/>
                  <a:gd name="connsiteX232" fmla="*/ 12167 w 54576"/>
                  <a:gd name="connsiteY232" fmla="*/ 1763 h 96808"/>
                  <a:gd name="connsiteX233" fmla="*/ 12785 w 54576"/>
                  <a:gd name="connsiteY233" fmla="*/ 1763 h 96808"/>
                  <a:gd name="connsiteX234" fmla="*/ 13049 w 54576"/>
                  <a:gd name="connsiteY234" fmla="*/ 2028 h 96808"/>
                  <a:gd name="connsiteX235" fmla="*/ 13314 w 54576"/>
                  <a:gd name="connsiteY235" fmla="*/ 2645 h 96808"/>
                  <a:gd name="connsiteX236" fmla="*/ 13843 w 54576"/>
                  <a:gd name="connsiteY236" fmla="*/ 3262 h 96808"/>
                  <a:gd name="connsiteX237" fmla="*/ 14724 w 54576"/>
                  <a:gd name="connsiteY237" fmla="*/ 4408 h 96808"/>
                  <a:gd name="connsiteX238" fmla="*/ 15870 w 54576"/>
                  <a:gd name="connsiteY238" fmla="*/ 5026 h 96808"/>
                  <a:gd name="connsiteX239" fmla="*/ 16135 w 54576"/>
                  <a:gd name="connsiteY239" fmla="*/ 5290 h 96808"/>
                  <a:gd name="connsiteX240" fmla="*/ 16752 w 54576"/>
                  <a:gd name="connsiteY240" fmla="*/ 5907 h 96808"/>
                  <a:gd name="connsiteX241" fmla="*/ 17898 w 54576"/>
                  <a:gd name="connsiteY241" fmla="*/ 6172 h 96808"/>
                  <a:gd name="connsiteX242" fmla="*/ 13843 w 54576"/>
                  <a:gd name="connsiteY242" fmla="*/ 2645 h 96808"/>
                  <a:gd name="connsiteX243" fmla="*/ 12696 w 54576"/>
                  <a:gd name="connsiteY243" fmla="*/ 1146 h 96808"/>
                  <a:gd name="connsiteX244" fmla="*/ 12079 w 54576"/>
                  <a:gd name="connsiteY244" fmla="*/ 1411 h 96808"/>
                  <a:gd name="connsiteX245" fmla="*/ 11814 w 54576"/>
                  <a:gd name="connsiteY245" fmla="*/ 1411 h 96808"/>
                  <a:gd name="connsiteX246" fmla="*/ 11285 w 54576"/>
                  <a:gd name="connsiteY246" fmla="*/ 1146 h 96808"/>
                  <a:gd name="connsiteX247" fmla="*/ 11021 w 54576"/>
                  <a:gd name="connsiteY247" fmla="*/ 882 h 96808"/>
                  <a:gd name="connsiteX248" fmla="*/ 10756 w 54576"/>
                  <a:gd name="connsiteY248" fmla="*/ 882 h 96808"/>
                  <a:gd name="connsiteX249" fmla="*/ 11021 w 54576"/>
                  <a:gd name="connsiteY249" fmla="*/ 529 h 96808"/>
                  <a:gd name="connsiteX250" fmla="*/ 11021 w 54576"/>
                  <a:gd name="connsiteY250" fmla="*/ 264 h 96808"/>
                  <a:gd name="connsiteX251" fmla="*/ 11285 w 54576"/>
                  <a:gd name="connsiteY251" fmla="*/ 264 h 96808"/>
                  <a:gd name="connsiteX252" fmla="*/ 13049 w 54576"/>
                  <a:gd name="connsiteY252" fmla="*/ 0 h 96808"/>
                  <a:gd name="connsiteX253" fmla="*/ 13314 w 54576"/>
                  <a:gd name="connsiteY253" fmla="*/ 0 h 96808"/>
                  <a:gd name="connsiteX254" fmla="*/ 13314 w 54576"/>
                  <a:gd name="connsiteY254" fmla="*/ 264 h 96808"/>
                  <a:gd name="connsiteX255" fmla="*/ 13314 w 54576"/>
                  <a:gd name="connsiteY255" fmla="*/ 529 h 96808"/>
                  <a:gd name="connsiteX256" fmla="*/ 13578 w 54576"/>
                  <a:gd name="connsiteY256" fmla="*/ 882 h 96808"/>
                  <a:gd name="connsiteX257" fmla="*/ 13843 w 54576"/>
                  <a:gd name="connsiteY257" fmla="*/ 1146 h 96808"/>
                  <a:gd name="connsiteX258" fmla="*/ 15341 w 54576"/>
                  <a:gd name="connsiteY258" fmla="*/ 3174 h 96808"/>
                  <a:gd name="connsiteX259" fmla="*/ 15606 w 54576"/>
                  <a:gd name="connsiteY259" fmla="*/ 3439 h 96808"/>
                  <a:gd name="connsiteX260" fmla="*/ 15958 w 54576"/>
                  <a:gd name="connsiteY260" fmla="*/ 3703 h 96808"/>
                  <a:gd name="connsiteX261" fmla="*/ 17105 w 54576"/>
                  <a:gd name="connsiteY261" fmla="*/ 4849 h 96808"/>
                  <a:gd name="connsiteX262" fmla="*/ 21160 w 54576"/>
                  <a:gd name="connsiteY262" fmla="*/ 8023 h 96808"/>
                  <a:gd name="connsiteX263" fmla="*/ 21425 w 54576"/>
                  <a:gd name="connsiteY263" fmla="*/ 8288 h 96808"/>
                  <a:gd name="connsiteX264" fmla="*/ 22042 w 54576"/>
                  <a:gd name="connsiteY264" fmla="*/ 8552 h 96808"/>
                  <a:gd name="connsiteX265" fmla="*/ 22306 w 54576"/>
                  <a:gd name="connsiteY265" fmla="*/ 8817 h 96808"/>
                  <a:gd name="connsiteX266" fmla="*/ 22571 w 54576"/>
                  <a:gd name="connsiteY266" fmla="*/ 9081 h 96808"/>
                  <a:gd name="connsiteX267" fmla="*/ 23188 w 54576"/>
                  <a:gd name="connsiteY267" fmla="*/ 9346 h 96808"/>
                  <a:gd name="connsiteX268" fmla="*/ 23453 w 54576"/>
                  <a:gd name="connsiteY268" fmla="*/ 9610 h 96808"/>
                  <a:gd name="connsiteX269" fmla="*/ 24599 w 54576"/>
                  <a:gd name="connsiteY269" fmla="*/ 10757 h 96808"/>
                  <a:gd name="connsiteX270" fmla="*/ 25745 w 54576"/>
                  <a:gd name="connsiteY270" fmla="*/ 11903 h 96808"/>
                  <a:gd name="connsiteX271" fmla="*/ 26627 w 54576"/>
                  <a:gd name="connsiteY271" fmla="*/ 12785 h 96808"/>
                  <a:gd name="connsiteX272" fmla="*/ 27244 w 54576"/>
                  <a:gd name="connsiteY272" fmla="*/ 13666 h 96808"/>
                  <a:gd name="connsiteX273" fmla="*/ 27773 w 54576"/>
                  <a:gd name="connsiteY273" fmla="*/ 14548 h 96808"/>
                  <a:gd name="connsiteX274" fmla="*/ 27773 w 54576"/>
                  <a:gd name="connsiteY274" fmla="*/ 14812 h 96808"/>
                  <a:gd name="connsiteX275" fmla="*/ 29801 w 54576"/>
                  <a:gd name="connsiteY275" fmla="*/ 19221 h 96808"/>
                  <a:gd name="connsiteX276" fmla="*/ 29801 w 54576"/>
                  <a:gd name="connsiteY276" fmla="*/ 20720 h 96808"/>
                  <a:gd name="connsiteX277" fmla="*/ 29536 w 54576"/>
                  <a:gd name="connsiteY277" fmla="*/ 21337 h 96808"/>
                  <a:gd name="connsiteX278" fmla="*/ 29536 w 54576"/>
                  <a:gd name="connsiteY278" fmla="*/ 21601 h 96808"/>
                  <a:gd name="connsiteX279" fmla="*/ 29801 w 54576"/>
                  <a:gd name="connsiteY279" fmla="*/ 21866 h 96808"/>
                  <a:gd name="connsiteX280" fmla="*/ 30153 w 54576"/>
                  <a:gd name="connsiteY280" fmla="*/ 21866 h 96808"/>
                  <a:gd name="connsiteX281" fmla="*/ 30418 w 54576"/>
                  <a:gd name="connsiteY281" fmla="*/ 21866 h 96808"/>
                  <a:gd name="connsiteX282" fmla="*/ 30771 w 54576"/>
                  <a:gd name="connsiteY282" fmla="*/ 21601 h 96808"/>
                  <a:gd name="connsiteX283" fmla="*/ 31035 w 54576"/>
                  <a:gd name="connsiteY283" fmla="*/ 21337 h 96808"/>
                  <a:gd name="connsiteX284" fmla="*/ 32181 w 54576"/>
                  <a:gd name="connsiteY284" fmla="*/ 22218 h 96808"/>
                  <a:gd name="connsiteX285" fmla="*/ 35708 w 54576"/>
                  <a:gd name="connsiteY285" fmla="*/ 26627 h 96808"/>
                  <a:gd name="connsiteX286" fmla="*/ 37119 w 54576"/>
                  <a:gd name="connsiteY286" fmla="*/ 28655 h 96808"/>
                  <a:gd name="connsiteX287" fmla="*/ 37383 w 54576"/>
                  <a:gd name="connsiteY287" fmla="*/ 29007 h 96808"/>
                  <a:gd name="connsiteX288" fmla="*/ 38001 w 54576"/>
                  <a:gd name="connsiteY288" fmla="*/ 31300 h 96808"/>
                  <a:gd name="connsiteX289" fmla="*/ 38001 w 54576"/>
                  <a:gd name="connsiteY289" fmla="*/ 31564 h 96808"/>
                  <a:gd name="connsiteX290" fmla="*/ 37648 w 54576"/>
                  <a:gd name="connsiteY290" fmla="*/ 31829 h 96808"/>
                  <a:gd name="connsiteX291" fmla="*/ 37383 w 54576"/>
                  <a:gd name="connsiteY291" fmla="*/ 31564 h 96808"/>
                  <a:gd name="connsiteX292" fmla="*/ 37383 w 54576"/>
                  <a:gd name="connsiteY292" fmla="*/ 31300 h 96808"/>
                  <a:gd name="connsiteX293" fmla="*/ 37383 w 54576"/>
                  <a:gd name="connsiteY293" fmla="*/ 31035 h 96808"/>
                  <a:gd name="connsiteX294" fmla="*/ 37119 w 54576"/>
                  <a:gd name="connsiteY294" fmla="*/ 31035 h 96808"/>
                  <a:gd name="connsiteX295" fmla="*/ 36854 w 54576"/>
                  <a:gd name="connsiteY295" fmla="*/ 31035 h 96808"/>
                  <a:gd name="connsiteX296" fmla="*/ 35708 w 54576"/>
                  <a:gd name="connsiteY296" fmla="*/ 31917 h 96808"/>
                  <a:gd name="connsiteX297" fmla="*/ 35708 w 54576"/>
                  <a:gd name="connsiteY297" fmla="*/ 32270 h 96808"/>
                  <a:gd name="connsiteX298" fmla="*/ 35091 w 54576"/>
                  <a:gd name="connsiteY298" fmla="*/ 32534 h 96808"/>
                  <a:gd name="connsiteX299" fmla="*/ 35356 w 54576"/>
                  <a:gd name="connsiteY299" fmla="*/ 32887 h 96808"/>
                  <a:gd name="connsiteX300" fmla="*/ 35356 w 54576"/>
                  <a:gd name="connsiteY300" fmla="*/ 33151 h 96808"/>
                  <a:gd name="connsiteX301" fmla="*/ 37383 w 54576"/>
                  <a:gd name="connsiteY301" fmla="*/ 33769 h 96808"/>
                  <a:gd name="connsiteX302" fmla="*/ 38265 w 54576"/>
                  <a:gd name="connsiteY302" fmla="*/ 33769 h 96808"/>
                  <a:gd name="connsiteX303" fmla="*/ 38265 w 54576"/>
                  <a:gd name="connsiteY303" fmla="*/ 34033 h 96808"/>
                  <a:gd name="connsiteX304" fmla="*/ 38530 w 54576"/>
                  <a:gd name="connsiteY304" fmla="*/ 34033 h 96808"/>
                  <a:gd name="connsiteX305" fmla="*/ 38794 w 54576"/>
                  <a:gd name="connsiteY305" fmla="*/ 33769 h 96808"/>
                  <a:gd name="connsiteX306" fmla="*/ 38794 w 54576"/>
                  <a:gd name="connsiteY306" fmla="*/ 33504 h 96808"/>
                  <a:gd name="connsiteX307" fmla="*/ 39059 w 54576"/>
                  <a:gd name="connsiteY307" fmla="*/ 33239 h 96808"/>
                  <a:gd name="connsiteX308" fmla="*/ 38794 w 54576"/>
                  <a:gd name="connsiteY308" fmla="*/ 33239 h 96808"/>
                  <a:gd name="connsiteX309" fmla="*/ 38794 w 54576"/>
                  <a:gd name="connsiteY309" fmla="*/ 32975 h 96808"/>
                  <a:gd name="connsiteX310" fmla="*/ 39411 w 54576"/>
                  <a:gd name="connsiteY310" fmla="*/ 32358 h 96808"/>
                  <a:gd name="connsiteX311" fmla="*/ 39676 w 54576"/>
                  <a:gd name="connsiteY311" fmla="*/ 32358 h 96808"/>
                  <a:gd name="connsiteX312" fmla="*/ 40293 w 54576"/>
                  <a:gd name="connsiteY312" fmla="*/ 32975 h 96808"/>
                  <a:gd name="connsiteX313" fmla="*/ 40557 w 54576"/>
                  <a:gd name="connsiteY313" fmla="*/ 33239 h 96808"/>
                  <a:gd name="connsiteX314" fmla="*/ 41086 w 54576"/>
                  <a:gd name="connsiteY314" fmla="*/ 35885 h 96808"/>
                  <a:gd name="connsiteX315" fmla="*/ 41351 w 54576"/>
                  <a:gd name="connsiteY315" fmla="*/ 35885 h 96808"/>
                  <a:gd name="connsiteX316" fmla="*/ 42232 w 54576"/>
                  <a:gd name="connsiteY316" fmla="*/ 40293 h 96808"/>
                  <a:gd name="connsiteX317" fmla="*/ 41968 w 54576"/>
                  <a:gd name="connsiteY317" fmla="*/ 40910 h 96808"/>
                  <a:gd name="connsiteX318" fmla="*/ 41703 w 54576"/>
                  <a:gd name="connsiteY318" fmla="*/ 40646 h 96808"/>
                  <a:gd name="connsiteX319" fmla="*/ 41703 w 54576"/>
                  <a:gd name="connsiteY319" fmla="*/ 41792 h 96808"/>
                  <a:gd name="connsiteX320" fmla="*/ 42321 w 54576"/>
                  <a:gd name="connsiteY320" fmla="*/ 42938 h 96808"/>
                  <a:gd name="connsiteX321" fmla="*/ 42585 w 54576"/>
                  <a:gd name="connsiteY321" fmla="*/ 42938 h 96808"/>
                  <a:gd name="connsiteX322" fmla="*/ 44877 w 54576"/>
                  <a:gd name="connsiteY322" fmla="*/ 45319 h 96808"/>
                  <a:gd name="connsiteX323" fmla="*/ 47170 w 54576"/>
                  <a:gd name="connsiteY323" fmla="*/ 49727 h 96808"/>
                  <a:gd name="connsiteX324" fmla="*/ 48933 w 54576"/>
                  <a:gd name="connsiteY324" fmla="*/ 51490 h 96808"/>
                  <a:gd name="connsiteX325" fmla="*/ 49286 w 54576"/>
                  <a:gd name="connsiteY325" fmla="*/ 51490 h 96808"/>
                  <a:gd name="connsiteX326" fmla="*/ 49551 w 54576"/>
                  <a:gd name="connsiteY326" fmla="*/ 51755 h 96808"/>
                  <a:gd name="connsiteX327" fmla="*/ 49551 w 54576"/>
                  <a:gd name="connsiteY327" fmla="*/ 52019 h 96808"/>
                  <a:gd name="connsiteX328" fmla="*/ 49551 w 54576"/>
                  <a:gd name="connsiteY328" fmla="*/ 52284 h 96808"/>
                  <a:gd name="connsiteX329" fmla="*/ 48933 w 54576"/>
                  <a:gd name="connsiteY329" fmla="*/ 52901 h 96808"/>
                  <a:gd name="connsiteX330" fmla="*/ 48933 w 54576"/>
                  <a:gd name="connsiteY330" fmla="*/ 53166 h 96808"/>
                  <a:gd name="connsiteX331" fmla="*/ 49551 w 54576"/>
                  <a:gd name="connsiteY331" fmla="*/ 54047 h 96808"/>
                  <a:gd name="connsiteX332" fmla="*/ 49815 w 54576"/>
                  <a:gd name="connsiteY332" fmla="*/ 54312 h 96808"/>
                  <a:gd name="connsiteX333" fmla="*/ 50080 w 54576"/>
                  <a:gd name="connsiteY333" fmla="*/ 54312 h 96808"/>
                  <a:gd name="connsiteX334" fmla="*/ 50697 w 54576"/>
                  <a:gd name="connsiteY334" fmla="*/ 54929 h 96808"/>
                  <a:gd name="connsiteX335" fmla="*/ 50961 w 54576"/>
                  <a:gd name="connsiteY335" fmla="*/ 56075 h 96808"/>
                  <a:gd name="connsiteX336" fmla="*/ 50961 w 54576"/>
                  <a:gd name="connsiteY336" fmla="*/ 56692 h 96808"/>
                  <a:gd name="connsiteX337" fmla="*/ 50697 w 54576"/>
                  <a:gd name="connsiteY337" fmla="*/ 57574 h 96808"/>
                  <a:gd name="connsiteX338" fmla="*/ 50697 w 54576"/>
                  <a:gd name="connsiteY338" fmla="*/ 57838 h 96808"/>
                  <a:gd name="connsiteX339" fmla="*/ 50961 w 54576"/>
                  <a:gd name="connsiteY339" fmla="*/ 58720 h 96808"/>
                  <a:gd name="connsiteX340" fmla="*/ 51843 w 54576"/>
                  <a:gd name="connsiteY340" fmla="*/ 58985 h 96808"/>
                  <a:gd name="connsiteX341" fmla="*/ 52196 w 54576"/>
                  <a:gd name="connsiteY341" fmla="*/ 59249 h 96808"/>
                  <a:gd name="connsiteX342" fmla="*/ 52196 w 54576"/>
                  <a:gd name="connsiteY342" fmla="*/ 58367 h 96808"/>
                  <a:gd name="connsiteX343" fmla="*/ 52548 w 54576"/>
                  <a:gd name="connsiteY343" fmla="*/ 58367 h 96808"/>
                  <a:gd name="connsiteX344" fmla="*/ 53342 w 54576"/>
                  <a:gd name="connsiteY344" fmla="*/ 60131 h 96808"/>
                  <a:gd name="connsiteX345" fmla="*/ 53694 w 54576"/>
                  <a:gd name="connsiteY345" fmla="*/ 61277 h 96808"/>
                  <a:gd name="connsiteX346" fmla="*/ 53694 w 54576"/>
                  <a:gd name="connsiteY346" fmla="*/ 61542 h 96808"/>
                  <a:gd name="connsiteX347" fmla="*/ 53959 w 54576"/>
                  <a:gd name="connsiteY347" fmla="*/ 62423 h 96808"/>
                  <a:gd name="connsiteX348" fmla="*/ 53959 w 54576"/>
                  <a:gd name="connsiteY348" fmla="*/ 63040 h 96808"/>
                  <a:gd name="connsiteX349" fmla="*/ 53959 w 54576"/>
                  <a:gd name="connsiteY349" fmla="*/ 65950 h 96808"/>
                  <a:gd name="connsiteX350" fmla="*/ 54576 w 54576"/>
                  <a:gd name="connsiteY350" fmla="*/ 69741 h 96808"/>
                  <a:gd name="connsiteX351" fmla="*/ 54576 w 54576"/>
                  <a:gd name="connsiteY351" fmla="*/ 70006 h 96808"/>
                  <a:gd name="connsiteX352" fmla="*/ 54311 w 54576"/>
                  <a:gd name="connsiteY352" fmla="*/ 71152 h 96808"/>
                  <a:gd name="connsiteX353" fmla="*/ 53694 w 54576"/>
                  <a:gd name="connsiteY353" fmla="*/ 74326 h 96808"/>
                  <a:gd name="connsiteX354" fmla="*/ 53342 w 54576"/>
                  <a:gd name="connsiteY354" fmla="*/ 75825 h 96808"/>
                  <a:gd name="connsiteX355" fmla="*/ 53078 w 54576"/>
                  <a:gd name="connsiteY355" fmla="*/ 77588 h 96808"/>
                  <a:gd name="connsiteX356" fmla="*/ 52548 w 54576"/>
                  <a:gd name="connsiteY356" fmla="*/ 78205 h 96808"/>
                  <a:gd name="connsiteX357" fmla="*/ 52548 w 54576"/>
                  <a:gd name="connsiteY357" fmla="*/ 79087 h 96808"/>
                  <a:gd name="connsiteX358" fmla="*/ 52548 w 54576"/>
                  <a:gd name="connsiteY358" fmla="*/ 79352 h 96808"/>
                  <a:gd name="connsiteX359" fmla="*/ 52548 w 54576"/>
                  <a:gd name="connsiteY359" fmla="*/ 79616 h 96808"/>
                  <a:gd name="connsiteX360" fmla="*/ 52196 w 54576"/>
                  <a:gd name="connsiteY360" fmla="*/ 80233 h 96808"/>
                  <a:gd name="connsiteX361" fmla="*/ 51049 w 54576"/>
                  <a:gd name="connsiteY361" fmla="*/ 82526 h 96808"/>
                  <a:gd name="connsiteX362" fmla="*/ 50785 w 54576"/>
                  <a:gd name="connsiteY362" fmla="*/ 82790 h 96808"/>
                  <a:gd name="connsiteX363" fmla="*/ 50168 w 54576"/>
                  <a:gd name="connsiteY363" fmla="*/ 83407 h 96808"/>
                  <a:gd name="connsiteX364" fmla="*/ 49903 w 54576"/>
                  <a:gd name="connsiteY364" fmla="*/ 84024 h 96808"/>
                  <a:gd name="connsiteX365" fmla="*/ 48757 w 54576"/>
                  <a:gd name="connsiteY365" fmla="*/ 84906 h 96808"/>
                  <a:gd name="connsiteX366" fmla="*/ 44348 w 54576"/>
                  <a:gd name="connsiteY366" fmla="*/ 88697 h 96808"/>
                  <a:gd name="connsiteX367" fmla="*/ 42321 w 54576"/>
                  <a:gd name="connsiteY367" fmla="*/ 90196 h 96808"/>
                  <a:gd name="connsiteX368" fmla="*/ 42056 w 54576"/>
                  <a:gd name="connsiteY368" fmla="*/ 90196 h 96808"/>
                  <a:gd name="connsiteX369" fmla="*/ 36237 w 54576"/>
                  <a:gd name="connsiteY369" fmla="*/ 92224 h 96808"/>
                  <a:gd name="connsiteX370" fmla="*/ 35356 w 54576"/>
                  <a:gd name="connsiteY370" fmla="*/ 92489 h 96808"/>
                  <a:gd name="connsiteX371" fmla="*/ 34827 w 54576"/>
                  <a:gd name="connsiteY371" fmla="*/ 92489 h 96808"/>
                  <a:gd name="connsiteX372" fmla="*/ 32446 w 54576"/>
                  <a:gd name="connsiteY372" fmla="*/ 93370 h 96808"/>
                  <a:gd name="connsiteX373" fmla="*/ 31300 w 54576"/>
                  <a:gd name="connsiteY373" fmla="*/ 93988 h 96808"/>
                  <a:gd name="connsiteX374" fmla="*/ 30418 w 54576"/>
                  <a:gd name="connsiteY374" fmla="*/ 94605 h 96808"/>
                  <a:gd name="connsiteX375" fmla="*/ 30153 w 54576"/>
                  <a:gd name="connsiteY375" fmla="*/ 94869 h 96808"/>
                  <a:gd name="connsiteX376" fmla="*/ 29272 w 54576"/>
                  <a:gd name="connsiteY376" fmla="*/ 95487 h 96808"/>
                  <a:gd name="connsiteX377" fmla="*/ 28390 w 54576"/>
                  <a:gd name="connsiteY377" fmla="*/ 96103 h 96808"/>
                  <a:gd name="connsiteX378" fmla="*/ 26010 w 54576"/>
                  <a:gd name="connsiteY378" fmla="*/ 96809 h 96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</a:cxnLst>
                <a:rect l="l" t="t" r="r" b="b"/>
                <a:pathLst>
                  <a:path w="54576" h="96808">
                    <a:moveTo>
                      <a:pt x="7318" y="5202"/>
                    </a:moveTo>
                    <a:lnTo>
                      <a:pt x="7053" y="5202"/>
                    </a:lnTo>
                    <a:lnTo>
                      <a:pt x="5907" y="5202"/>
                    </a:lnTo>
                    <a:lnTo>
                      <a:pt x="5555" y="5202"/>
                    </a:lnTo>
                    <a:lnTo>
                      <a:pt x="4937" y="4585"/>
                    </a:lnTo>
                    <a:lnTo>
                      <a:pt x="4408" y="3703"/>
                    </a:lnTo>
                    <a:lnTo>
                      <a:pt x="4408" y="3439"/>
                    </a:lnTo>
                    <a:lnTo>
                      <a:pt x="4144" y="2910"/>
                    </a:lnTo>
                    <a:lnTo>
                      <a:pt x="4408" y="2028"/>
                    </a:lnTo>
                    <a:lnTo>
                      <a:pt x="4408" y="1763"/>
                    </a:lnTo>
                    <a:lnTo>
                      <a:pt x="4761" y="1763"/>
                    </a:lnTo>
                    <a:lnTo>
                      <a:pt x="5026" y="1499"/>
                    </a:lnTo>
                    <a:lnTo>
                      <a:pt x="5290" y="2645"/>
                    </a:lnTo>
                    <a:lnTo>
                      <a:pt x="5290" y="3262"/>
                    </a:lnTo>
                    <a:lnTo>
                      <a:pt x="5555" y="3879"/>
                    </a:lnTo>
                    <a:lnTo>
                      <a:pt x="6436" y="4497"/>
                    </a:lnTo>
                    <a:lnTo>
                      <a:pt x="6789" y="4761"/>
                    </a:lnTo>
                    <a:lnTo>
                      <a:pt x="7406" y="4761"/>
                    </a:lnTo>
                    <a:lnTo>
                      <a:pt x="7406" y="5114"/>
                    </a:lnTo>
                    <a:lnTo>
                      <a:pt x="7406" y="5202"/>
                    </a:lnTo>
                    <a:close/>
                    <a:moveTo>
                      <a:pt x="1499" y="8376"/>
                    </a:moveTo>
                    <a:lnTo>
                      <a:pt x="1234" y="8641"/>
                    </a:lnTo>
                    <a:lnTo>
                      <a:pt x="352" y="8023"/>
                    </a:lnTo>
                    <a:lnTo>
                      <a:pt x="0" y="7759"/>
                    </a:lnTo>
                    <a:lnTo>
                      <a:pt x="0" y="7494"/>
                    </a:lnTo>
                    <a:lnTo>
                      <a:pt x="0" y="6877"/>
                    </a:lnTo>
                    <a:lnTo>
                      <a:pt x="0" y="6613"/>
                    </a:lnTo>
                    <a:lnTo>
                      <a:pt x="352" y="6613"/>
                    </a:lnTo>
                    <a:lnTo>
                      <a:pt x="617" y="7230"/>
                    </a:lnTo>
                    <a:lnTo>
                      <a:pt x="1499" y="7494"/>
                    </a:lnTo>
                    <a:lnTo>
                      <a:pt x="1763" y="8112"/>
                    </a:lnTo>
                    <a:lnTo>
                      <a:pt x="1499" y="8376"/>
                    </a:lnTo>
                    <a:close/>
                    <a:moveTo>
                      <a:pt x="6789" y="20102"/>
                    </a:moveTo>
                    <a:lnTo>
                      <a:pt x="6436" y="20720"/>
                    </a:lnTo>
                    <a:lnTo>
                      <a:pt x="5290" y="20455"/>
                    </a:lnTo>
                    <a:lnTo>
                      <a:pt x="1851" y="18427"/>
                    </a:lnTo>
                    <a:lnTo>
                      <a:pt x="1587" y="18427"/>
                    </a:lnTo>
                    <a:lnTo>
                      <a:pt x="1587" y="18163"/>
                    </a:lnTo>
                    <a:lnTo>
                      <a:pt x="1851" y="18163"/>
                    </a:lnTo>
                    <a:lnTo>
                      <a:pt x="2381" y="17898"/>
                    </a:lnTo>
                    <a:lnTo>
                      <a:pt x="2645" y="17898"/>
                    </a:lnTo>
                    <a:lnTo>
                      <a:pt x="2910" y="17898"/>
                    </a:lnTo>
                    <a:lnTo>
                      <a:pt x="4673" y="18515"/>
                    </a:lnTo>
                    <a:lnTo>
                      <a:pt x="4937" y="18515"/>
                    </a:lnTo>
                    <a:lnTo>
                      <a:pt x="4937" y="18780"/>
                    </a:lnTo>
                    <a:lnTo>
                      <a:pt x="6436" y="19662"/>
                    </a:lnTo>
                    <a:lnTo>
                      <a:pt x="6789" y="19926"/>
                    </a:lnTo>
                    <a:lnTo>
                      <a:pt x="6789" y="20102"/>
                    </a:lnTo>
                    <a:close/>
                    <a:moveTo>
                      <a:pt x="52196" y="58279"/>
                    </a:moveTo>
                    <a:lnTo>
                      <a:pt x="52196" y="58279"/>
                    </a:lnTo>
                    <a:lnTo>
                      <a:pt x="51931" y="58015"/>
                    </a:lnTo>
                    <a:lnTo>
                      <a:pt x="51667" y="57750"/>
                    </a:lnTo>
                    <a:lnTo>
                      <a:pt x="51931" y="55987"/>
                    </a:lnTo>
                    <a:lnTo>
                      <a:pt x="51314" y="54841"/>
                    </a:lnTo>
                    <a:lnTo>
                      <a:pt x="50697" y="54224"/>
                    </a:lnTo>
                    <a:lnTo>
                      <a:pt x="50080" y="53077"/>
                    </a:lnTo>
                    <a:lnTo>
                      <a:pt x="50080" y="52813"/>
                    </a:lnTo>
                    <a:lnTo>
                      <a:pt x="50080" y="51667"/>
                    </a:lnTo>
                    <a:lnTo>
                      <a:pt x="50080" y="51931"/>
                    </a:lnTo>
                    <a:lnTo>
                      <a:pt x="50344" y="51931"/>
                    </a:lnTo>
                    <a:lnTo>
                      <a:pt x="50344" y="52196"/>
                    </a:lnTo>
                    <a:lnTo>
                      <a:pt x="50609" y="52813"/>
                    </a:lnTo>
                    <a:lnTo>
                      <a:pt x="50873" y="53430"/>
                    </a:lnTo>
                    <a:lnTo>
                      <a:pt x="51755" y="54841"/>
                    </a:lnTo>
                    <a:lnTo>
                      <a:pt x="52019" y="55105"/>
                    </a:lnTo>
                    <a:lnTo>
                      <a:pt x="52019" y="55722"/>
                    </a:lnTo>
                    <a:lnTo>
                      <a:pt x="52372" y="55987"/>
                    </a:lnTo>
                    <a:lnTo>
                      <a:pt x="52725" y="58015"/>
                    </a:lnTo>
                    <a:lnTo>
                      <a:pt x="52196" y="58279"/>
                    </a:lnTo>
                    <a:close/>
                    <a:moveTo>
                      <a:pt x="49903" y="53077"/>
                    </a:moveTo>
                    <a:lnTo>
                      <a:pt x="49903" y="53342"/>
                    </a:lnTo>
                    <a:lnTo>
                      <a:pt x="49639" y="53342"/>
                    </a:lnTo>
                    <a:lnTo>
                      <a:pt x="49639" y="53077"/>
                    </a:lnTo>
                    <a:lnTo>
                      <a:pt x="49903" y="52813"/>
                    </a:lnTo>
                    <a:lnTo>
                      <a:pt x="49903" y="52548"/>
                    </a:lnTo>
                    <a:lnTo>
                      <a:pt x="49903" y="52813"/>
                    </a:lnTo>
                    <a:lnTo>
                      <a:pt x="50168" y="52813"/>
                    </a:lnTo>
                    <a:lnTo>
                      <a:pt x="50168" y="53077"/>
                    </a:lnTo>
                    <a:lnTo>
                      <a:pt x="49903" y="53077"/>
                    </a:lnTo>
                    <a:close/>
                    <a:moveTo>
                      <a:pt x="26010" y="96809"/>
                    </a:moveTo>
                    <a:lnTo>
                      <a:pt x="26010" y="96809"/>
                    </a:lnTo>
                    <a:lnTo>
                      <a:pt x="22835" y="96280"/>
                    </a:lnTo>
                    <a:lnTo>
                      <a:pt x="19044" y="95134"/>
                    </a:lnTo>
                    <a:lnTo>
                      <a:pt x="17810" y="94869"/>
                    </a:lnTo>
                    <a:lnTo>
                      <a:pt x="16928" y="94252"/>
                    </a:lnTo>
                    <a:lnTo>
                      <a:pt x="16664" y="94252"/>
                    </a:lnTo>
                    <a:lnTo>
                      <a:pt x="14900" y="92224"/>
                    </a:lnTo>
                    <a:lnTo>
                      <a:pt x="14018" y="90725"/>
                    </a:lnTo>
                    <a:lnTo>
                      <a:pt x="13137" y="88962"/>
                    </a:lnTo>
                    <a:lnTo>
                      <a:pt x="12520" y="86934"/>
                    </a:lnTo>
                    <a:lnTo>
                      <a:pt x="11638" y="84289"/>
                    </a:lnTo>
                    <a:lnTo>
                      <a:pt x="11021" y="81997"/>
                    </a:lnTo>
                    <a:lnTo>
                      <a:pt x="11021" y="81732"/>
                    </a:lnTo>
                    <a:lnTo>
                      <a:pt x="10404" y="80851"/>
                    </a:lnTo>
                    <a:lnTo>
                      <a:pt x="9875" y="79087"/>
                    </a:lnTo>
                    <a:lnTo>
                      <a:pt x="9258" y="77324"/>
                    </a:lnTo>
                    <a:lnTo>
                      <a:pt x="8729" y="76442"/>
                    </a:lnTo>
                    <a:lnTo>
                      <a:pt x="8111" y="75296"/>
                    </a:lnTo>
                    <a:lnTo>
                      <a:pt x="8111" y="75031"/>
                    </a:lnTo>
                    <a:lnTo>
                      <a:pt x="7847" y="74150"/>
                    </a:lnTo>
                    <a:lnTo>
                      <a:pt x="7582" y="71769"/>
                    </a:lnTo>
                    <a:lnTo>
                      <a:pt x="7582" y="71505"/>
                    </a:lnTo>
                    <a:lnTo>
                      <a:pt x="7847" y="71240"/>
                    </a:lnTo>
                    <a:lnTo>
                      <a:pt x="8111" y="70623"/>
                    </a:lnTo>
                    <a:lnTo>
                      <a:pt x="8111" y="70358"/>
                    </a:lnTo>
                    <a:lnTo>
                      <a:pt x="7582" y="67184"/>
                    </a:lnTo>
                    <a:lnTo>
                      <a:pt x="6965" y="65421"/>
                    </a:lnTo>
                    <a:lnTo>
                      <a:pt x="6965" y="63658"/>
                    </a:lnTo>
                    <a:lnTo>
                      <a:pt x="6965" y="62776"/>
                    </a:lnTo>
                    <a:lnTo>
                      <a:pt x="6348" y="60131"/>
                    </a:lnTo>
                    <a:lnTo>
                      <a:pt x="6348" y="59866"/>
                    </a:lnTo>
                    <a:lnTo>
                      <a:pt x="5466" y="55193"/>
                    </a:lnTo>
                    <a:lnTo>
                      <a:pt x="5819" y="54929"/>
                    </a:lnTo>
                    <a:lnTo>
                      <a:pt x="5819" y="54312"/>
                    </a:lnTo>
                    <a:lnTo>
                      <a:pt x="5819" y="53783"/>
                    </a:lnTo>
                    <a:lnTo>
                      <a:pt x="5202" y="51490"/>
                    </a:lnTo>
                    <a:lnTo>
                      <a:pt x="4320" y="48228"/>
                    </a:lnTo>
                    <a:lnTo>
                      <a:pt x="4055" y="47346"/>
                    </a:lnTo>
                    <a:lnTo>
                      <a:pt x="4055" y="46994"/>
                    </a:lnTo>
                    <a:lnTo>
                      <a:pt x="4055" y="46729"/>
                    </a:lnTo>
                    <a:lnTo>
                      <a:pt x="3791" y="46465"/>
                    </a:lnTo>
                    <a:lnTo>
                      <a:pt x="3526" y="45583"/>
                    </a:lnTo>
                    <a:lnTo>
                      <a:pt x="3526" y="45319"/>
                    </a:lnTo>
                    <a:lnTo>
                      <a:pt x="3174" y="44437"/>
                    </a:lnTo>
                    <a:lnTo>
                      <a:pt x="3174" y="43291"/>
                    </a:lnTo>
                    <a:lnTo>
                      <a:pt x="2910" y="40646"/>
                    </a:lnTo>
                    <a:lnTo>
                      <a:pt x="2910" y="40381"/>
                    </a:lnTo>
                    <a:lnTo>
                      <a:pt x="2910" y="39764"/>
                    </a:lnTo>
                    <a:lnTo>
                      <a:pt x="3174" y="39500"/>
                    </a:lnTo>
                    <a:lnTo>
                      <a:pt x="3791" y="38882"/>
                    </a:lnTo>
                    <a:lnTo>
                      <a:pt x="3526" y="42056"/>
                    </a:lnTo>
                    <a:lnTo>
                      <a:pt x="3526" y="42321"/>
                    </a:lnTo>
                    <a:lnTo>
                      <a:pt x="3791" y="44613"/>
                    </a:lnTo>
                    <a:lnTo>
                      <a:pt x="3791" y="44878"/>
                    </a:lnTo>
                    <a:lnTo>
                      <a:pt x="3791" y="45142"/>
                    </a:lnTo>
                    <a:lnTo>
                      <a:pt x="4055" y="45142"/>
                    </a:lnTo>
                    <a:lnTo>
                      <a:pt x="4320" y="45407"/>
                    </a:lnTo>
                    <a:lnTo>
                      <a:pt x="4673" y="45671"/>
                    </a:lnTo>
                    <a:lnTo>
                      <a:pt x="5202" y="45671"/>
                    </a:lnTo>
                    <a:lnTo>
                      <a:pt x="5466" y="45671"/>
                    </a:lnTo>
                    <a:lnTo>
                      <a:pt x="5819" y="45671"/>
                    </a:lnTo>
                    <a:lnTo>
                      <a:pt x="5819" y="45407"/>
                    </a:lnTo>
                    <a:lnTo>
                      <a:pt x="6084" y="45407"/>
                    </a:lnTo>
                    <a:lnTo>
                      <a:pt x="6084" y="45142"/>
                    </a:lnTo>
                    <a:lnTo>
                      <a:pt x="6084" y="44878"/>
                    </a:lnTo>
                    <a:lnTo>
                      <a:pt x="6084" y="44613"/>
                    </a:lnTo>
                    <a:lnTo>
                      <a:pt x="5819" y="44349"/>
                    </a:lnTo>
                    <a:lnTo>
                      <a:pt x="5466" y="39147"/>
                    </a:lnTo>
                    <a:lnTo>
                      <a:pt x="6084" y="32181"/>
                    </a:lnTo>
                    <a:lnTo>
                      <a:pt x="6348" y="31917"/>
                    </a:lnTo>
                    <a:lnTo>
                      <a:pt x="6965" y="31652"/>
                    </a:lnTo>
                    <a:lnTo>
                      <a:pt x="7230" y="31388"/>
                    </a:lnTo>
                    <a:lnTo>
                      <a:pt x="7759" y="29889"/>
                    </a:lnTo>
                    <a:lnTo>
                      <a:pt x="7759" y="27508"/>
                    </a:lnTo>
                    <a:lnTo>
                      <a:pt x="7759" y="27244"/>
                    </a:lnTo>
                    <a:lnTo>
                      <a:pt x="7230" y="24599"/>
                    </a:lnTo>
                    <a:lnTo>
                      <a:pt x="6965" y="22307"/>
                    </a:lnTo>
                    <a:lnTo>
                      <a:pt x="6965" y="22042"/>
                    </a:lnTo>
                    <a:lnTo>
                      <a:pt x="8111" y="21160"/>
                    </a:lnTo>
                    <a:lnTo>
                      <a:pt x="8376" y="21160"/>
                    </a:lnTo>
                    <a:lnTo>
                      <a:pt x="9522" y="20279"/>
                    </a:lnTo>
                    <a:lnTo>
                      <a:pt x="9787" y="20014"/>
                    </a:lnTo>
                    <a:lnTo>
                      <a:pt x="10051" y="19133"/>
                    </a:lnTo>
                    <a:lnTo>
                      <a:pt x="10933" y="16223"/>
                    </a:lnTo>
                    <a:lnTo>
                      <a:pt x="10933" y="15606"/>
                    </a:lnTo>
                    <a:lnTo>
                      <a:pt x="10933" y="14460"/>
                    </a:lnTo>
                    <a:lnTo>
                      <a:pt x="10933" y="14195"/>
                    </a:lnTo>
                    <a:lnTo>
                      <a:pt x="10933" y="13314"/>
                    </a:lnTo>
                    <a:lnTo>
                      <a:pt x="10668" y="12961"/>
                    </a:lnTo>
                    <a:lnTo>
                      <a:pt x="10316" y="12961"/>
                    </a:lnTo>
                    <a:lnTo>
                      <a:pt x="10051" y="10316"/>
                    </a:lnTo>
                    <a:lnTo>
                      <a:pt x="11198" y="10051"/>
                    </a:lnTo>
                    <a:lnTo>
                      <a:pt x="12343" y="8905"/>
                    </a:lnTo>
                    <a:lnTo>
                      <a:pt x="11991" y="8641"/>
                    </a:lnTo>
                    <a:lnTo>
                      <a:pt x="11991" y="8376"/>
                    </a:lnTo>
                    <a:lnTo>
                      <a:pt x="11727" y="8376"/>
                    </a:lnTo>
                    <a:lnTo>
                      <a:pt x="11462" y="7759"/>
                    </a:lnTo>
                    <a:lnTo>
                      <a:pt x="10845" y="7494"/>
                    </a:lnTo>
                    <a:lnTo>
                      <a:pt x="10580" y="7230"/>
                    </a:lnTo>
                    <a:lnTo>
                      <a:pt x="9698" y="6613"/>
                    </a:lnTo>
                    <a:lnTo>
                      <a:pt x="9081" y="6348"/>
                    </a:lnTo>
                    <a:lnTo>
                      <a:pt x="8817" y="6084"/>
                    </a:lnTo>
                    <a:lnTo>
                      <a:pt x="9081" y="6084"/>
                    </a:lnTo>
                    <a:lnTo>
                      <a:pt x="9698" y="6084"/>
                    </a:lnTo>
                    <a:lnTo>
                      <a:pt x="13225" y="7583"/>
                    </a:lnTo>
                    <a:lnTo>
                      <a:pt x="14107" y="8464"/>
                    </a:lnTo>
                    <a:lnTo>
                      <a:pt x="18780" y="8464"/>
                    </a:lnTo>
                    <a:lnTo>
                      <a:pt x="19309" y="8729"/>
                    </a:lnTo>
                    <a:lnTo>
                      <a:pt x="19926" y="8993"/>
                    </a:lnTo>
                    <a:lnTo>
                      <a:pt x="20190" y="9258"/>
                    </a:lnTo>
                    <a:lnTo>
                      <a:pt x="20455" y="9522"/>
                    </a:lnTo>
                    <a:lnTo>
                      <a:pt x="20719" y="9522"/>
                    </a:lnTo>
                    <a:lnTo>
                      <a:pt x="20984" y="9522"/>
                    </a:lnTo>
                    <a:lnTo>
                      <a:pt x="21866" y="9787"/>
                    </a:lnTo>
                    <a:lnTo>
                      <a:pt x="21866" y="9522"/>
                    </a:lnTo>
                    <a:lnTo>
                      <a:pt x="21248" y="9258"/>
                    </a:lnTo>
                    <a:lnTo>
                      <a:pt x="20102" y="8376"/>
                    </a:lnTo>
                    <a:lnTo>
                      <a:pt x="18339" y="7494"/>
                    </a:lnTo>
                    <a:lnTo>
                      <a:pt x="17457" y="7230"/>
                    </a:lnTo>
                    <a:lnTo>
                      <a:pt x="16840" y="7494"/>
                    </a:lnTo>
                    <a:lnTo>
                      <a:pt x="16576" y="7494"/>
                    </a:lnTo>
                    <a:lnTo>
                      <a:pt x="16311" y="7494"/>
                    </a:lnTo>
                    <a:lnTo>
                      <a:pt x="15165" y="6877"/>
                    </a:lnTo>
                    <a:lnTo>
                      <a:pt x="14900" y="6260"/>
                    </a:lnTo>
                    <a:lnTo>
                      <a:pt x="14900" y="5819"/>
                    </a:lnTo>
                    <a:lnTo>
                      <a:pt x="12608" y="4673"/>
                    </a:lnTo>
                    <a:lnTo>
                      <a:pt x="12256" y="4408"/>
                    </a:lnTo>
                    <a:lnTo>
                      <a:pt x="11991" y="4408"/>
                    </a:lnTo>
                    <a:lnTo>
                      <a:pt x="11727" y="4408"/>
                    </a:lnTo>
                    <a:lnTo>
                      <a:pt x="11727" y="4673"/>
                    </a:lnTo>
                    <a:lnTo>
                      <a:pt x="11991" y="5026"/>
                    </a:lnTo>
                    <a:lnTo>
                      <a:pt x="12256" y="5290"/>
                    </a:lnTo>
                    <a:lnTo>
                      <a:pt x="12256" y="5555"/>
                    </a:lnTo>
                    <a:lnTo>
                      <a:pt x="12608" y="5555"/>
                    </a:lnTo>
                    <a:lnTo>
                      <a:pt x="12608" y="5819"/>
                    </a:lnTo>
                    <a:lnTo>
                      <a:pt x="12256" y="5819"/>
                    </a:lnTo>
                    <a:lnTo>
                      <a:pt x="12256" y="6084"/>
                    </a:lnTo>
                    <a:lnTo>
                      <a:pt x="10756" y="5466"/>
                    </a:lnTo>
                    <a:lnTo>
                      <a:pt x="8464" y="4320"/>
                    </a:lnTo>
                    <a:lnTo>
                      <a:pt x="6701" y="3439"/>
                    </a:lnTo>
                    <a:lnTo>
                      <a:pt x="6348" y="3174"/>
                    </a:lnTo>
                    <a:lnTo>
                      <a:pt x="6348" y="2910"/>
                    </a:lnTo>
                    <a:lnTo>
                      <a:pt x="5819" y="2028"/>
                    </a:lnTo>
                    <a:lnTo>
                      <a:pt x="5819" y="1146"/>
                    </a:lnTo>
                    <a:lnTo>
                      <a:pt x="6965" y="264"/>
                    </a:lnTo>
                    <a:lnTo>
                      <a:pt x="7230" y="264"/>
                    </a:lnTo>
                    <a:lnTo>
                      <a:pt x="7759" y="0"/>
                    </a:lnTo>
                    <a:lnTo>
                      <a:pt x="8023" y="0"/>
                    </a:lnTo>
                    <a:lnTo>
                      <a:pt x="10051" y="617"/>
                    </a:lnTo>
                    <a:lnTo>
                      <a:pt x="10316" y="1234"/>
                    </a:lnTo>
                    <a:lnTo>
                      <a:pt x="10668" y="1499"/>
                    </a:lnTo>
                    <a:lnTo>
                      <a:pt x="11285" y="1499"/>
                    </a:lnTo>
                    <a:lnTo>
                      <a:pt x="12167" y="1763"/>
                    </a:lnTo>
                    <a:lnTo>
                      <a:pt x="12785" y="1763"/>
                    </a:lnTo>
                    <a:lnTo>
                      <a:pt x="13049" y="2028"/>
                    </a:lnTo>
                    <a:lnTo>
                      <a:pt x="13314" y="2645"/>
                    </a:lnTo>
                    <a:lnTo>
                      <a:pt x="13843" y="3262"/>
                    </a:lnTo>
                    <a:lnTo>
                      <a:pt x="14724" y="4408"/>
                    </a:lnTo>
                    <a:lnTo>
                      <a:pt x="15870" y="5026"/>
                    </a:lnTo>
                    <a:lnTo>
                      <a:pt x="16135" y="5290"/>
                    </a:lnTo>
                    <a:lnTo>
                      <a:pt x="16752" y="5907"/>
                    </a:lnTo>
                    <a:lnTo>
                      <a:pt x="17898" y="6172"/>
                    </a:lnTo>
                    <a:lnTo>
                      <a:pt x="13843" y="2645"/>
                    </a:lnTo>
                    <a:lnTo>
                      <a:pt x="12696" y="1146"/>
                    </a:lnTo>
                    <a:lnTo>
                      <a:pt x="12079" y="1411"/>
                    </a:lnTo>
                    <a:lnTo>
                      <a:pt x="11814" y="1411"/>
                    </a:lnTo>
                    <a:lnTo>
                      <a:pt x="11285" y="1146"/>
                    </a:lnTo>
                    <a:lnTo>
                      <a:pt x="11021" y="882"/>
                    </a:lnTo>
                    <a:lnTo>
                      <a:pt x="10756" y="882"/>
                    </a:lnTo>
                    <a:lnTo>
                      <a:pt x="11021" y="529"/>
                    </a:lnTo>
                    <a:lnTo>
                      <a:pt x="11021" y="264"/>
                    </a:lnTo>
                    <a:lnTo>
                      <a:pt x="11285" y="264"/>
                    </a:lnTo>
                    <a:lnTo>
                      <a:pt x="13049" y="0"/>
                    </a:lnTo>
                    <a:lnTo>
                      <a:pt x="13314" y="0"/>
                    </a:lnTo>
                    <a:lnTo>
                      <a:pt x="13314" y="264"/>
                    </a:lnTo>
                    <a:lnTo>
                      <a:pt x="13314" y="529"/>
                    </a:lnTo>
                    <a:lnTo>
                      <a:pt x="13578" y="882"/>
                    </a:lnTo>
                    <a:lnTo>
                      <a:pt x="13843" y="1146"/>
                    </a:lnTo>
                    <a:lnTo>
                      <a:pt x="15341" y="3174"/>
                    </a:lnTo>
                    <a:lnTo>
                      <a:pt x="15606" y="3439"/>
                    </a:lnTo>
                    <a:lnTo>
                      <a:pt x="15958" y="3703"/>
                    </a:lnTo>
                    <a:lnTo>
                      <a:pt x="17105" y="4849"/>
                    </a:lnTo>
                    <a:lnTo>
                      <a:pt x="21160" y="8023"/>
                    </a:lnTo>
                    <a:lnTo>
                      <a:pt x="21425" y="8288"/>
                    </a:lnTo>
                    <a:lnTo>
                      <a:pt x="22042" y="8552"/>
                    </a:lnTo>
                    <a:lnTo>
                      <a:pt x="22306" y="8817"/>
                    </a:lnTo>
                    <a:lnTo>
                      <a:pt x="22571" y="9081"/>
                    </a:lnTo>
                    <a:lnTo>
                      <a:pt x="23188" y="9346"/>
                    </a:lnTo>
                    <a:lnTo>
                      <a:pt x="23453" y="9610"/>
                    </a:lnTo>
                    <a:lnTo>
                      <a:pt x="24599" y="10757"/>
                    </a:lnTo>
                    <a:lnTo>
                      <a:pt x="25745" y="11903"/>
                    </a:lnTo>
                    <a:lnTo>
                      <a:pt x="26627" y="12785"/>
                    </a:lnTo>
                    <a:lnTo>
                      <a:pt x="27244" y="13666"/>
                    </a:lnTo>
                    <a:lnTo>
                      <a:pt x="27773" y="14548"/>
                    </a:lnTo>
                    <a:lnTo>
                      <a:pt x="27773" y="14812"/>
                    </a:lnTo>
                    <a:lnTo>
                      <a:pt x="29801" y="19221"/>
                    </a:lnTo>
                    <a:lnTo>
                      <a:pt x="29801" y="20720"/>
                    </a:lnTo>
                    <a:lnTo>
                      <a:pt x="29536" y="21337"/>
                    </a:lnTo>
                    <a:lnTo>
                      <a:pt x="29536" y="21601"/>
                    </a:lnTo>
                    <a:lnTo>
                      <a:pt x="29801" y="21866"/>
                    </a:lnTo>
                    <a:lnTo>
                      <a:pt x="30153" y="21866"/>
                    </a:lnTo>
                    <a:lnTo>
                      <a:pt x="30418" y="21866"/>
                    </a:lnTo>
                    <a:lnTo>
                      <a:pt x="30771" y="21601"/>
                    </a:lnTo>
                    <a:lnTo>
                      <a:pt x="31035" y="21337"/>
                    </a:lnTo>
                    <a:lnTo>
                      <a:pt x="32181" y="22218"/>
                    </a:lnTo>
                    <a:lnTo>
                      <a:pt x="35708" y="26627"/>
                    </a:lnTo>
                    <a:lnTo>
                      <a:pt x="37119" y="28655"/>
                    </a:lnTo>
                    <a:lnTo>
                      <a:pt x="37383" y="29007"/>
                    </a:lnTo>
                    <a:lnTo>
                      <a:pt x="38001" y="31300"/>
                    </a:lnTo>
                    <a:lnTo>
                      <a:pt x="38001" y="31564"/>
                    </a:lnTo>
                    <a:lnTo>
                      <a:pt x="37648" y="31829"/>
                    </a:lnTo>
                    <a:lnTo>
                      <a:pt x="37383" y="31564"/>
                    </a:lnTo>
                    <a:lnTo>
                      <a:pt x="37383" y="31300"/>
                    </a:lnTo>
                    <a:lnTo>
                      <a:pt x="37383" y="31035"/>
                    </a:lnTo>
                    <a:lnTo>
                      <a:pt x="37119" y="31035"/>
                    </a:lnTo>
                    <a:lnTo>
                      <a:pt x="36854" y="31035"/>
                    </a:lnTo>
                    <a:lnTo>
                      <a:pt x="35708" y="31917"/>
                    </a:lnTo>
                    <a:lnTo>
                      <a:pt x="35708" y="32270"/>
                    </a:lnTo>
                    <a:lnTo>
                      <a:pt x="35091" y="32534"/>
                    </a:lnTo>
                    <a:lnTo>
                      <a:pt x="35356" y="32887"/>
                    </a:lnTo>
                    <a:lnTo>
                      <a:pt x="35356" y="33151"/>
                    </a:lnTo>
                    <a:lnTo>
                      <a:pt x="37383" y="33769"/>
                    </a:lnTo>
                    <a:lnTo>
                      <a:pt x="38265" y="33769"/>
                    </a:lnTo>
                    <a:lnTo>
                      <a:pt x="38265" y="34033"/>
                    </a:lnTo>
                    <a:lnTo>
                      <a:pt x="38530" y="34033"/>
                    </a:lnTo>
                    <a:lnTo>
                      <a:pt x="38794" y="33769"/>
                    </a:lnTo>
                    <a:lnTo>
                      <a:pt x="38794" y="33504"/>
                    </a:lnTo>
                    <a:lnTo>
                      <a:pt x="39059" y="33239"/>
                    </a:lnTo>
                    <a:lnTo>
                      <a:pt x="38794" y="33239"/>
                    </a:lnTo>
                    <a:lnTo>
                      <a:pt x="38794" y="32975"/>
                    </a:lnTo>
                    <a:lnTo>
                      <a:pt x="39411" y="32358"/>
                    </a:lnTo>
                    <a:lnTo>
                      <a:pt x="39676" y="32358"/>
                    </a:lnTo>
                    <a:lnTo>
                      <a:pt x="40293" y="32975"/>
                    </a:lnTo>
                    <a:lnTo>
                      <a:pt x="40557" y="33239"/>
                    </a:lnTo>
                    <a:lnTo>
                      <a:pt x="41086" y="35885"/>
                    </a:lnTo>
                    <a:lnTo>
                      <a:pt x="41351" y="35885"/>
                    </a:lnTo>
                    <a:lnTo>
                      <a:pt x="42232" y="40293"/>
                    </a:lnTo>
                    <a:lnTo>
                      <a:pt x="41968" y="40910"/>
                    </a:lnTo>
                    <a:lnTo>
                      <a:pt x="41703" y="40646"/>
                    </a:lnTo>
                    <a:lnTo>
                      <a:pt x="41703" y="41792"/>
                    </a:lnTo>
                    <a:lnTo>
                      <a:pt x="42321" y="42938"/>
                    </a:lnTo>
                    <a:lnTo>
                      <a:pt x="42585" y="42938"/>
                    </a:lnTo>
                    <a:lnTo>
                      <a:pt x="44877" y="45319"/>
                    </a:lnTo>
                    <a:lnTo>
                      <a:pt x="47170" y="49727"/>
                    </a:lnTo>
                    <a:lnTo>
                      <a:pt x="48933" y="51490"/>
                    </a:lnTo>
                    <a:lnTo>
                      <a:pt x="49286" y="51490"/>
                    </a:lnTo>
                    <a:lnTo>
                      <a:pt x="49551" y="51755"/>
                    </a:lnTo>
                    <a:lnTo>
                      <a:pt x="49551" y="52019"/>
                    </a:lnTo>
                    <a:lnTo>
                      <a:pt x="49551" y="52284"/>
                    </a:lnTo>
                    <a:lnTo>
                      <a:pt x="48933" y="52901"/>
                    </a:lnTo>
                    <a:lnTo>
                      <a:pt x="48933" y="53166"/>
                    </a:lnTo>
                    <a:lnTo>
                      <a:pt x="49551" y="54047"/>
                    </a:lnTo>
                    <a:lnTo>
                      <a:pt x="49815" y="54312"/>
                    </a:lnTo>
                    <a:lnTo>
                      <a:pt x="50080" y="54312"/>
                    </a:lnTo>
                    <a:lnTo>
                      <a:pt x="50697" y="54929"/>
                    </a:lnTo>
                    <a:lnTo>
                      <a:pt x="50961" y="56075"/>
                    </a:lnTo>
                    <a:lnTo>
                      <a:pt x="50961" y="56692"/>
                    </a:lnTo>
                    <a:lnTo>
                      <a:pt x="50697" y="57574"/>
                    </a:lnTo>
                    <a:lnTo>
                      <a:pt x="50697" y="57838"/>
                    </a:lnTo>
                    <a:lnTo>
                      <a:pt x="50961" y="58720"/>
                    </a:lnTo>
                    <a:lnTo>
                      <a:pt x="51843" y="58985"/>
                    </a:lnTo>
                    <a:lnTo>
                      <a:pt x="52196" y="59249"/>
                    </a:lnTo>
                    <a:lnTo>
                      <a:pt x="52196" y="58367"/>
                    </a:lnTo>
                    <a:lnTo>
                      <a:pt x="52548" y="58367"/>
                    </a:lnTo>
                    <a:lnTo>
                      <a:pt x="53342" y="60131"/>
                    </a:lnTo>
                    <a:lnTo>
                      <a:pt x="53694" y="61277"/>
                    </a:lnTo>
                    <a:lnTo>
                      <a:pt x="53694" y="61542"/>
                    </a:lnTo>
                    <a:lnTo>
                      <a:pt x="53959" y="62423"/>
                    </a:lnTo>
                    <a:lnTo>
                      <a:pt x="53959" y="63040"/>
                    </a:lnTo>
                    <a:lnTo>
                      <a:pt x="53959" y="65950"/>
                    </a:lnTo>
                    <a:lnTo>
                      <a:pt x="54576" y="69741"/>
                    </a:lnTo>
                    <a:lnTo>
                      <a:pt x="54576" y="70006"/>
                    </a:lnTo>
                    <a:lnTo>
                      <a:pt x="54311" y="71152"/>
                    </a:lnTo>
                    <a:lnTo>
                      <a:pt x="53694" y="74326"/>
                    </a:lnTo>
                    <a:lnTo>
                      <a:pt x="53342" y="75825"/>
                    </a:lnTo>
                    <a:lnTo>
                      <a:pt x="53078" y="77588"/>
                    </a:lnTo>
                    <a:lnTo>
                      <a:pt x="52548" y="78205"/>
                    </a:lnTo>
                    <a:lnTo>
                      <a:pt x="52548" y="79087"/>
                    </a:lnTo>
                    <a:lnTo>
                      <a:pt x="52548" y="79352"/>
                    </a:lnTo>
                    <a:lnTo>
                      <a:pt x="52548" y="79616"/>
                    </a:lnTo>
                    <a:lnTo>
                      <a:pt x="52196" y="80233"/>
                    </a:lnTo>
                    <a:lnTo>
                      <a:pt x="51049" y="82526"/>
                    </a:lnTo>
                    <a:lnTo>
                      <a:pt x="50785" y="82790"/>
                    </a:lnTo>
                    <a:lnTo>
                      <a:pt x="50168" y="83407"/>
                    </a:lnTo>
                    <a:lnTo>
                      <a:pt x="49903" y="84024"/>
                    </a:lnTo>
                    <a:lnTo>
                      <a:pt x="48757" y="84906"/>
                    </a:lnTo>
                    <a:lnTo>
                      <a:pt x="44348" y="88697"/>
                    </a:lnTo>
                    <a:lnTo>
                      <a:pt x="42321" y="90196"/>
                    </a:lnTo>
                    <a:lnTo>
                      <a:pt x="42056" y="90196"/>
                    </a:lnTo>
                    <a:lnTo>
                      <a:pt x="36237" y="92224"/>
                    </a:lnTo>
                    <a:lnTo>
                      <a:pt x="35356" y="92489"/>
                    </a:lnTo>
                    <a:lnTo>
                      <a:pt x="34827" y="92489"/>
                    </a:lnTo>
                    <a:lnTo>
                      <a:pt x="32446" y="93370"/>
                    </a:lnTo>
                    <a:lnTo>
                      <a:pt x="31300" y="93988"/>
                    </a:lnTo>
                    <a:lnTo>
                      <a:pt x="30418" y="94605"/>
                    </a:lnTo>
                    <a:lnTo>
                      <a:pt x="30153" y="94869"/>
                    </a:lnTo>
                    <a:lnTo>
                      <a:pt x="29272" y="95487"/>
                    </a:lnTo>
                    <a:lnTo>
                      <a:pt x="28390" y="96103"/>
                    </a:lnTo>
                    <a:lnTo>
                      <a:pt x="26010" y="9680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2" name="Freihandform: Form 1971">
                <a:extLst>
                  <a:ext uri="{FF2B5EF4-FFF2-40B4-BE49-F238E27FC236}">
                    <a16:creationId xmlns:a16="http://schemas.microsoft.com/office/drawing/2014/main" id="{6AA57578-351A-C150-B87A-168D988C9354}"/>
                  </a:ext>
                </a:extLst>
              </p:cNvPr>
              <p:cNvSpPr/>
              <p:nvPr/>
            </p:nvSpPr>
            <p:spPr>
              <a:xfrm>
                <a:off x="5531496" y="3252927"/>
                <a:ext cx="609772" cy="697852"/>
              </a:xfrm>
              <a:custGeom>
                <a:avLst/>
                <a:gdLst>
                  <a:gd name="connsiteX0" fmla="*/ 498151 w 609772"/>
                  <a:gd name="connsiteY0" fmla="*/ 222184 h 697852"/>
                  <a:gd name="connsiteX1" fmla="*/ 499033 w 609772"/>
                  <a:gd name="connsiteY1" fmla="*/ 224829 h 697852"/>
                  <a:gd name="connsiteX2" fmla="*/ 498151 w 609772"/>
                  <a:gd name="connsiteY2" fmla="*/ 225976 h 697852"/>
                  <a:gd name="connsiteX3" fmla="*/ 496388 w 609772"/>
                  <a:gd name="connsiteY3" fmla="*/ 226240 h 697852"/>
                  <a:gd name="connsiteX4" fmla="*/ 494624 w 609772"/>
                  <a:gd name="connsiteY4" fmla="*/ 225358 h 697852"/>
                  <a:gd name="connsiteX5" fmla="*/ 494624 w 609772"/>
                  <a:gd name="connsiteY5" fmla="*/ 226240 h 697852"/>
                  <a:gd name="connsiteX6" fmla="*/ 492861 w 609772"/>
                  <a:gd name="connsiteY6" fmla="*/ 225976 h 697852"/>
                  <a:gd name="connsiteX7" fmla="*/ 490216 w 609772"/>
                  <a:gd name="connsiteY7" fmla="*/ 227739 h 697852"/>
                  <a:gd name="connsiteX8" fmla="*/ 486425 w 609772"/>
                  <a:gd name="connsiteY8" fmla="*/ 227474 h 697852"/>
                  <a:gd name="connsiteX9" fmla="*/ 485279 w 609772"/>
                  <a:gd name="connsiteY9" fmla="*/ 225711 h 697852"/>
                  <a:gd name="connsiteX10" fmla="*/ 483868 w 609772"/>
                  <a:gd name="connsiteY10" fmla="*/ 225976 h 697852"/>
                  <a:gd name="connsiteX11" fmla="*/ 482987 w 609772"/>
                  <a:gd name="connsiteY11" fmla="*/ 227474 h 697852"/>
                  <a:gd name="connsiteX12" fmla="*/ 481487 w 609772"/>
                  <a:gd name="connsiteY12" fmla="*/ 228356 h 697852"/>
                  <a:gd name="connsiteX13" fmla="*/ 467733 w 609772"/>
                  <a:gd name="connsiteY13" fmla="*/ 228356 h 697852"/>
                  <a:gd name="connsiteX14" fmla="*/ 461297 w 609772"/>
                  <a:gd name="connsiteY14" fmla="*/ 225094 h 697852"/>
                  <a:gd name="connsiteX15" fmla="*/ 460151 w 609772"/>
                  <a:gd name="connsiteY15" fmla="*/ 225447 h 697852"/>
                  <a:gd name="connsiteX16" fmla="*/ 455742 w 609772"/>
                  <a:gd name="connsiteY16" fmla="*/ 228885 h 697852"/>
                  <a:gd name="connsiteX17" fmla="*/ 452568 w 609772"/>
                  <a:gd name="connsiteY17" fmla="*/ 229150 h 697852"/>
                  <a:gd name="connsiteX18" fmla="*/ 449041 w 609772"/>
                  <a:gd name="connsiteY18" fmla="*/ 230296 h 697852"/>
                  <a:gd name="connsiteX19" fmla="*/ 444369 w 609772"/>
                  <a:gd name="connsiteY19" fmla="*/ 229414 h 697852"/>
                  <a:gd name="connsiteX20" fmla="*/ 444633 w 609772"/>
                  <a:gd name="connsiteY20" fmla="*/ 228532 h 697852"/>
                  <a:gd name="connsiteX21" fmla="*/ 438814 w 609772"/>
                  <a:gd name="connsiteY21" fmla="*/ 226240 h 697852"/>
                  <a:gd name="connsiteX22" fmla="*/ 435640 w 609772"/>
                  <a:gd name="connsiteY22" fmla="*/ 227386 h 697852"/>
                  <a:gd name="connsiteX23" fmla="*/ 433260 w 609772"/>
                  <a:gd name="connsiteY23" fmla="*/ 226769 h 697852"/>
                  <a:gd name="connsiteX24" fmla="*/ 429204 w 609772"/>
                  <a:gd name="connsiteY24" fmla="*/ 222978 h 697852"/>
                  <a:gd name="connsiteX25" fmla="*/ 428057 w 609772"/>
                  <a:gd name="connsiteY25" fmla="*/ 223860 h 697852"/>
                  <a:gd name="connsiteX26" fmla="*/ 427705 w 609772"/>
                  <a:gd name="connsiteY26" fmla="*/ 220597 h 697852"/>
                  <a:gd name="connsiteX27" fmla="*/ 427088 w 609772"/>
                  <a:gd name="connsiteY27" fmla="*/ 220068 h 697852"/>
                  <a:gd name="connsiteX28" fmla="*/ 425324 w 609772"/>
                  <a:gd name="connsiteY28" fmla="*/ 218922 h 697852"/>
                  <a:gd name="connsiteX29" fmla="*/ 426559 w 609772"/>
                  <a:gd name="connsiteY29" fmla="*/ 216542 h 697852"/>
                  <a:gd name="connsiteX30" fmla="*/ 428586 w 609772"/>
                  <a:gd name="connsiteY30" fmla="*/ 215660 h 697852"/>
                  <a:gd name="connsiteX31" fmla="*/ 430350 w 609772"/>
                  <a:gd name="connsiteY31" fmla="*/ 210987 h 697852"/>
                  <a:gd name="connsiteX32" fmla="*/ 429733 w 609772"/>
                  <a:gd name="connsiteY32" fmla="*/ 206049 h 697852"/>
                  <a:gd name="connsiteX33" fmla="*/ 427969 w 609772"/>
                  <a:gd name="connsiteY33" fmla="*/ 202876 h 697852"/>
                  <a:gd name="connsiteX34" fmla="*/ 426823 w 609772"/>
                  <a:gd name="connsiteY34" fmla="*/ 201465 h 697852"/>
                  <a:gd name="connsiteX35" fmla="*/ 422767 w 609772"/>
                  <a:gd name="connsiteY35" fmla="*/ 201729 h 697852"/>
                  <a:gd name="connsiteX36" fmla="*/ 420123 w 609772"/>
                  <a:gd name="connsiteY36" fmla="*/ 202876 h 697852"/>
                  <a:gd name="connsiteX37" fmla="*/ 416596 w 609772"/>
                  <a:gd name="connsiteY37" fmla="*/ 211604 h 697852"/>
                  <a:gd name="connsiteX38" fmla="*/ 417213 w 609772"/>
                  <a:gd name="connsiteY38" fmla="*/ 213367 h 697852"/>
                  <a:gd name="connsiteX39" fmla="*/ 416067 w 609772"/>
                  <a:gd name="connsiteY39" fmla="*/ 219451 h 697852"/>
                  <a:gd name="connsiteX40" fmla="*/ 415538 w 609772"/>
                  <a:gd name="connsiteY40" fmla="*/ 222625 h 697852"/>
                  <a:gd name="connsiteX41" fmla="*/ 416948 w 609772"/>
                  <a:gd name="connsiteY41" fmla="*/ 224389 h 697852"/>
                  <a:gd name="connsiteX42" fmla="*/ 419241 w 609772"/>
                  <a:gd name="connsiteY42" fmla="*/ 227298 h 697852"/>
                  <a:gd name="connsiteX43" fmla="*/ 419505 w 609772"/>
                  <a:gd name="connsiteY43" fmla="*/ 232588 h 697852"/>
                  <a:gd name="connsiteX44" fmla="*/ 417477 w 609772"/>
                  <a:gd name="connsiteY44" fmla="*/ 238407 h 697852"/>
                  <a:gd name="connsiteX45" fmla="*/ 415185 w 609772"/>
                  <a:gd name="connsiteY45" fmla="*/ 239553 h 697852"/>
                  <a:gd name="connsiteX46" fmla="*/ 413422 w 609772"/>
                  <a:gd name="connsiteY46" fmla="*/ 237790 h 697852"/>
                  <a:gd name="connsiteX47" fmla="*/ 410512 w 609772"/>
                  <a:gd name="connsiteY47" fmla="*/ 238672 h 697852"/>
                  <a:gd name="connsiteX48" fmla="*/ 408748 w 609772"/>
                  <a:gd name="connsiteY48" fmla="*/ 239553 h 697852"/>
                  <a:gd name="connsiteX49" fmla="*/ 407867 w 609772"/>
                  <a:gd name="connsiteY49" fmla="*/ 238407 h 697852"/>
                  <a:gd name="connsiteX50" fmla="*/ 406721 w 609772"/>
                  <a:gd name="connsiteY50" fmla="*/ 239289 h 697852"/>
                  <a:gd name="connsiteX51" fmla="*/ 405575 w 609772"/>
                  <a:gd name="connsiteY51" fmla="*/ 238407 h 697852"/>
                  <a:gd name="connsiteX52" fmla="*/ 403547 w 609772"/>
                  <a:gd name="connsiteY52" fmla="*/ 237878 h 697852"/>
                  <a:gd name="connsiteX53" fmla="*/ 402401 w 609772"/>
                  <a:gd name="connsiteY53" fmla="*/ 238407 h 697852"/>
                  <a:gd name="connsiteX54" fmla="*/ 402136 w 609772"/>
                  <a:gd name="connsiteY54" fmla="*/ 239553 h 697852"/>
                  <a:gd name="connsiteX55" fmla="*/ 398962 w 609772"/>
                  <a:gd name="connsiteY55" fmla="*/ 239553 h 697852"/>
                  <a:gd name="connsiteX56" fmla="*/ 398609 w 609772"/>
                  <a:gd name="connsiteY56" fmla="*/ 238407 h 697852"/>
                  <a:gd name="connsiteX57" fmla="*/ 397198 w 609772"/>
                  <a:gd name="connsiteY57" fmla="*/ 238143 h 697852"/>
                  <a:gd name="connsiteX58" fmla="*/ 395435 w 609772"/>
                  <a:gd name="connsiteY58" fmla="*/ 239024 h 697852"/>
                  <a:gd name="connsiteX59" fmla="*/ 394818 w 609772"/>
                  <a:gd name="connsiteY59" fmla="*/ 234087 h 697852"/>
                  <a:gd name="connsiteX60" fmla="*/ 393407 w 609772"/>
                  <a:gd name="connsiteY60" fmla="*/ 235586 h 697852"/>
                  <a:gd name="connsiteX61" fmla="*/ 391380 w 609772"/>
                  <a:gd name="connsiteY61" fmla="*/ 235586 h 697852"/>
                  <a:gd name="connsiteX62" fmla="*/ 391644 w 609772"/>
                  <a:gd name="connsiteY62" fmla="*/ 236732 h 697852"/>
                  <a:gd name="connsiteX63" fmla="*/ 390762 w 609772"/>
                  <a:gd name="connsiteY63" fmla="*/ 237614 h 697852"/>
                  <a:gd name="connsiteX64" fmla="*/ 388735 w 609772"/>
                  <a:gd name="connsiteY64" fmla="*/ 237878 h 697852"/>
                  <a:gd name="connsiteX65" fmla="*/ 388735 w 609772"/>
                  <a:gd name="connsiteY65" fmla="*/ 237614 h 697852"/>
                  <a:gd name="connsiteX66" fmla="*/ 387853 w 609772"/>
                  <a:gd name="connsiteY66" fmla="*/ 238496 h 697852"/>
                  <a:gd name="connsiteX67" fmla="*/ 385825 w 609772"/>
                  <a:gd name="connsiteY67" fmla="*/ 236732 h 697852"/>
                  <a:gd name="connsiteX68" fmla="*/ 384326 w 609772"/>
                  <a:gd name="connsiteY68" fmla="*/ 235586 h 697852"/>
                  <a:gd name="connsiteX69" fmla="*/ 383444 w 609772"/>
                  <a:gd name="connsiteY69" fmla="*/ 236468 h 697852"/>
                  <a:gd name="connsiteX70" fmla="*/ 381152 w 609772"/>
                  <a:gd name="connsiteY70" fmla="*/ 234087 h 697852"/>
                  <a:gd name="connsiteX71" fmla="*/ 379124 w 609772"/>
                  <a:gd name="connsiteY71" fmla="*/ 234969 h 697852"/>
                  <a:gd name="connsiteX72" fmla="*/ 377714 w 609772"/>
                  <a:gd name="connsiteY72" fmla="*/ 232676 h 697852"/>
                  <a:gd name="connsiteX73" fmla="*/ 377361 w 609772"/>
                  <a:gd name="connsiteY73" fmla="*/ 233823 h 697852"/>
                  <a:gd name="connsiteX74" fmla="*/ 375068 w 609772"/>
                  <a:gd name="connsiteY74" fmla="*/ 233558 h 697852"/>
                  <a:gd name="connsiteX75" fmla="*/ 374804 w 609772"/>
                  <a:gd name="connsiteY75" fmla="*/ 233823 h 697852"/>
                  <a:gd name="connsiteX76" fmla="*/ 374187 w 609772"/>
                  <a:gd name="connsiteY76" fmla="*/ 236732 h 697852"/>
                  <a:gd name="connsiteX77" fmla="*/ 372159 w 609772"/>
                  <a:gd name="connsiteY77" fmla="*/ 232324 h 697852"/>
                  <a:gd name="connsiteX78" fmla="*/ 370660 w 609772"/>
                  <a:gd name="connsiteY78" fmla="*/ 232324 h 697852"/>
                  <a:gd name="connsiteX79" fmla="*/ 370660 w 609772"/>
                  <a:gd name="connsiteY79" fmla="*/ 233470 h 697852"/>
                  <a:gd name="connsiteX80" fmla="*/ 368015 w 609772"/>
                  <a:gd name="connsiteY80" fmla="*/ 234881 h 697852"/>
                  <a:gd name="connsiteX81" fmla="*/ 366869 w 609772"/>
                  <a:gd name="connsiteY81" fmla="*/ 232588 h 697852"/>
                  <a:gd name="connsiteX82" fmla="*/ 364841 w 609772"/>
                  <a:gd name="connsiteY82" fmla="*/ 234087 h 697852"/>
                  <a:gd name="connsiteX83" fmla="*/ 363077 w 609772"/>
                  <a:gd name="connsiteY83" fmla="*/ 230560 h 697852"/>
                  <a:gd name="connsiteX84" fmla="*/ 363342 w 609772"/>
                  <a:gd name="connsiteY84" fmla="*/ 228532 h 697852"/>
                  <a:gd name="connsiteX85" fmla="*/ 361579 w 609772"/>
                  <a:gd name="connsiteY85" fmla="*/ 228003 h 697852"/>
                  <a:gd name="connsiteX86" fmla="*/ 360432 w 609772"/>
                  <a:gd name="connsiteY86" fmla="*/ 228532 h 697852"/>
                  <a:gd name="connsiteX87" fmla="*/ 357258 w 609772"/>
                  <a:gd name="connsiteY87" fmla="*/ 228532 h 697852"/>
                  <a:gd name="connsiteX88" fmla="*/ 357523 w 609772"/>
                  <a:gd name="connsiteY88" fmla="*/ 229414 h 697852"/>
                  <a:gd name="connsiteX89" fmla="*/ 357787 w 609772"/>
                  <a:gd name="connsiteY89" fmla="*/ 230560 h 697852"/>
                  <a:gd name="connsiteX90" fmla="*/ 354260 w 609772"/>
                  <a:gd name="connsiteY90" fmla="*/ 229414 h 697852"/>
                  <a:gd name="connsiteX91" fmla="*/ 353996 w 609772"/>
                  <a:gd name="connsiteY91" fmla="*/ 227651 h 697852"/>
                  <a:gd name="connsiteX92" fmla="*/ 351968 w 609772"/>
                  <a:gd name="connsiteY92" fmla="*/ 226769 h 697852"/>
                  <a:gd name="connsiteX93" fmla="*/ 350205 w 609772"/>
                  <a:gd name="connsiteY93" fmla="*/ 226769 h 697852"/>
                  <a:gd name="connsiteX94" fmla="*/ 349059 w 609772"/>
                  <a:gd name="connsiteY94" fmla="*/ 227651 h 697852"/>
                  <a:gd name="connsiteX95" fmla="*/ 348706 w 609772"/>
                  <a:gd name="connsiteY95" fmla="*/ 226505 h 697852"/>
                  <a:gd name="connsiteX96" fmla="*/ 346942 w 609772"/>
                  <a:gd name="connsiteY96" fmla="*/ 225623 h 697852"/>
                  <a:gd name="connsiteX97" fmla="*/ 346678 w 609772"/>
                  <a:gd name="connsiteY97" fmla="*/ 225006 h 697852"/>
                  <a:gd name="connsiteX98" fmla="*/ 346678 w 609772"/>
                  <a:gd name="connsiteY98" fmla="*/ 224741 h 697852"/>
                  <a:gd name="connsiteX99" fmla="*/ 344915 w 609772"/>
                  <a:gd name="connsiteY99" fmla="*/ 222978 h 697852"/>
                  <a:gd name="connsiteX100" fmla="*/ 343504 w 609772"/>
                  <a:gd name="connsiteY100" fmla="*/ 223860 h 697852"/>
                  <a:gd name="connsiteX101" fmla="*/ 340242 w 609772"/>
                  <a:gd name="connsiteY101" fmla="*/ 222361 h 697852"/>
                  <a:gd name="connsiteX102" fmla="*/ 341476 w 609772"/>
                  <a:gd name="connsiteY102" fmla="*/ 219980 h 697852"/>
                  <a:gd name="connsiteX103" fmla="*/ 340595 w 609772"/>
                  <a:gd name="connsiteY103" fmla="*/ 217952 h 697852"/>
                  <a:gd name="connsiteX104" fmla="*/ 338567 w 609772"/>
                  <a:gd name="connsiteY104" fmla="*/ 216453 h 697852"/>
                  <a:gd name="connsiteX105" fmla="*/ 332747 w 609772"/>
                  <a:gd name="connsiteY105" fmla="*/ 214426 h 697852"/>
                  <a:gd name="connsiteX106" fmla="*/ 330102 w 609772"/>
                  <a:gd name="connsiteY106" fmla="*/ 212398 h 697852"/>
                  <a:gd name="connsiteX107" fmla="*/ 327722 w 609772"/>
                  <a:gd name="connsiteY107" fmla="*/ 212398 h 697852"/>
                  <a:gd name="connsiteX108" fmla="*/ 325165 w 609772"/>
                  <a:gd name="connsiteY108" fmla="*/ 212133 h 697852"/>
                  <a:gd name="connsiteX109" fmla="*/ 323402 w 609772"/>
                  <a:gd name="connsiteY109" fmla="*/ 212133 h 697852"/>
                  <a:gd name="connsiteX110" fmla="*/ 321638 w 609772"/>
                  <a:gd name="connsiteY110" fmla="*/ 213897 h 697852"/>
                  <a:gd name="connsiteX111" fmla="*/ 322520 w 609772"/>
                  <a:gd name="connsiteY111" fmla="*/ 214514 h 697852"/>
                  <a:gd name="connsiteX112" fmla="*/ 321638 w 609772"/>
                  <a:gd name="connsiteY112" fmla="*/ 215043 h 697852"/>
                  <a:gd name="connsiteX113" fmla="*/ 316348 w 609772"/>
                  <a:gd name="connsiteY113" fmla="*/ 212133 h 697852"/>
                  <a:gd name="connsiteX114" fmla="*/ 314320 w 609772"/>
                  <a:gd name="connsiteY114" fmla="*/ 212133 h 697852"/>
                  <a:gd name="connsiteX115" fmla="*/ 314585 w 609772"/>
                  <a:gd name="connsiteY115" fmla="*/ 213897 h 697852"/>
                  <a:gd name="connsiteX116" fmla="*/ 310794 w 609772"/>
                  <a:gd name="connsiteY116" fmla="*/ 215660 h 697852"/>
                  <a:gd name="connsiteX117" fmla="*/ 308413 w 609772"/>
                  <a:gd name="connsiteY117" fmla="*/ 215660 h 697852"/>
                  <a:gd name="connsiteX118" fmla="*/ 306385 w 609772"/>
                  <a:gd name="connsiteY118" fmla="*/ 212133 h 697852"/>
                  <a:gd name="connsiteX119" fmla="*/ 301448 w 609772"/>
                  <a:gd name="connsiteY119" fmla="*/ 212133 h 697852"/>
                  <a:gd name="connsiteX120" fmla="*/ 301448 w 609772"/>
                  <a:gd name="connsiteY120" fmla="*/ 211252 h 697852"/>
                  <a:gd name="connsiteX121" fmla="*/ 298186 w 609772"/>
                  <a:gd name="connsiteY121" fmla="*/ 211252 h 697852"/>
                  <a:gd name="connsiteX122" fmla="*/ 298186 w 609772"/>
                  <a:gd name="connsiteY122" fmla="*/ 210105 h 697852"/>
                  <a:gd name="connsiteX123" fmla="*/ 296158 w 609772"/>
                  <a:gd name="connsiteY123" fmla="*/ 206579 h 697852"/>
                  <a:gd name="connsiteX124" fmla="*/ 296158 w 609772"/>
                  <a:gd name="connsiteY124" fmla="*/ 205697 h 697852"/>
                  <a:gd name="connsiteX125" fmla="*/ 291485 w 609772"/>
                  <a:gd name="connsiteY125" fmla="*/ 206579 h 697852"/>
                  <a:gd name="connsiteX126" fmla="*/ 290074 w 609772"/>
                  <a:gd name="connsiteY126" fmla="*/ 206579 h 697852"/>
                  <a:gd name="connsiteX127" fmla="*/ 288311 w 609772"/>
                  <a:gd name="connsiteY127" fmla="*/ 205432 h 697852"/>
                  <a:gd name="connsiteX128" fmla="*/ 288046 w 609772"/>
                  <a:gd name="connsiteY128" fmla="*/ 204815 h 697852"/>
                  <a:gd name="connsiteX129" fmla="*/ 283991 w 609772"/>
                  <a:gd name="connsiteY129" fmla="*/ 202170 h 697852"/>
                  <a:gd name="connsiteX130" fmla="*/ 282491 w 609772"/>
                  <a:gd name="connsiteY130" fmla="*/ 201553 h 697852"/>
                  <a:gd name="connsiteX131" fmla="*/ 281962 w 609772"/>
                  <a:gd name="connsiteY131" fmla="*/ 201024 h 697852"/>
                  <a:gd name="connsiteX132" fmla="*/ 279317 w 609772"/>
                  <a:gd name="connsiteY132" fmla="*/ 201024 h 697852"/>
                  <a:gd name="connsiteX133" fmla="*/ 278965 w 609772"/>
                  <a:gd name="connsiteY133" fmla="*/ 202170 h 697852"/>
                  <a:gd name="connsiteX134" fmla="*/ 277819 w 609772"/>
                  <a:gd name="connsiteY134" fmla="*/ 202170 h 697852"/>
                  <a:gd name="connsiteX135" fmla="*/ 275174 w 609772"/>
                  <a:gd name="connsiteY135" fmla="*/ 200407 h 697852"/>
                  <a:gd name="connsiteX136" fmla="*/ 274292 w 609772"/>
                  <a:gd name="connsiteY136" fmla="*/ 200142 h 697852"/>
                  <a:gd name="connsiteX137" fmla="*/ 272528 w 609772"/>
                  <a:gd name="connsiteY137" fmla="*/ 199261 h 697852"/>
                  <a:gd name="connsiteX138" fmla="*/ 267856 w 609772"/>
                  <a:gd name="connsiteY138" fmla="*/ 195734 h 697852"/>
                  <a:gd name="connsiteX139" fmla="*/ 267238 w 609772"/>
                  <a:gd name="connsiteY139" fmla="*/ 195469 h 697852"/>
                  <a:gd name="connsiteX140" fmla="*/ 265475 w 609772"/>
                  <a:gd name="connsiteY140" fmla="*/ 194852 h 697852"/>
                  <a:gd name="connsiteX141" fmla="*/ 265475 w 609772"/>
                  <a:gd name="connsiteY141" fmla="*/ 195734 h 697852"/>
                  <a:gd name="connsiteX142" fmla="*/ 263711 w 609772"/>
                  <a:gd name="connsiteY142" fmla="*/ 195734 h 697852"/>
                  <a:gd name="connsiteX143" fmla="*/ 263447 w 609772"/>
                  <a:gd name="connsiteY143" fmla="*/ 195469 h 697852"/>
                  <a:gd name="connsiteX144" fmla="*/ 263447 w 609772"/>
                  <a:gd name="connsiteY144" fmla="*/ 194852 h 697852"/>
                  <a:gd name="connsiteX145" fmla="*/ 263182 w 609772"/>
                  <a:gd name="connsiteY145" fmla="*/ 193970 h 697852"/>
                  <a:gd name="connsiteX146" fmla="*/ 262036 w 609772"/>
                  <a:gd name="connsiteY146" fmla="*/ 191325 h 697852"/>
                  <a:gd name="connsiteX147" fmla="*/ 260890 w 609772"/>
                  <a:gd name="connsiteY147" fmla="*/ 189827 h 697852"/>
                  <a:gd name="connsiteX148" fmla="*/ 256482 w 609772"/>
                  <a:gd name="connsiteY148" fmla="*/ 189209 h 697852"/>
                  <a:gd name="connsiteX149" fmla="*/ 256482 w 609772"/>
                  <a:gd name="connsiteY149" fmla="*/ 188063 h 697852"/>
                  <a:gd name="connsiteX150" fmla="*/ 256217 w 609772"/>
                  <a:gd name="connsiteY150" fmla="*/ 187181 h 697852"/>
                  <a:gd name="connsiteX151" fmla="*/ 254190 w 609772"/>
                  <a:gd name="connsiteY151" fmla="*/ 187181 h 697852"/>
                  <a:gd name="connsiteX152" fmla="*/ 254190 w 609772"/>
                  <a:gd name="connsiteY152" fmla="*/ 186564 h 697852"/>
                  <a:gd name="connsiteX153" fmla="*/ 253925 w 609772"/>
                  <a:gd name="connsiteY153" fmla="*/ 186300 h 697852"/>
                  <a:gd name="connsiteX154" fmla="*/ 253043 w 609772"/>
                  <a:gd name="connsiteY154" fmla="*/ 186300 h 697852"/>
                  <a:gd name="connsiteX155" fmla="*/ 250663 w 609772"/>
                  <a:gd name="connsiteY155" fmla="*/ 185418 h 697852"/>
                  <a:gd name="connsiteX156" fmla="*/ 250663 w 609772"/>
                  <a:gd name="connsiteY156" fmla="*/ 184272 h 697852"/>
                  <a:gd name="connsiteX157" fmla="*/ 249516 w 609772"/>
                  <a:gd name="connsiteY157" fmla="*/ 183655 h 697852"/>
                  <a:gd name="connsiteX158" fmla="*/ 249252 w 609772"/>
                  <a:gd name="connsiteY158" fmla="*/ 182509 h 697852"/>
                  <a:gd name="connsiteX159" fmla="*/ 246078 w 609772"/>
                  <a:gd name="connsiteY159" fmla="*/ 182509 h 697852"/>
                  <a:gd name="connsiteX160" fmla="*/ 246078 w 609772"/>
                  <a:gd name="connsiteY160" fmla="*/ 181980 h 697852"/>
                  <a:gd name="connsiteX161" fmla="*/ 245549 w 609772"/>
                  <a:gd name="connsiteY161" fmla="*/ 182509 h 697852"/>
                  <a:gd name="connsiteX162" fmla="*/ 245813 w 609772"/>
                  <a:gd name="connsiteY162" fmla="*/ 183655 h 697852"/>
                  <a:gd name="connsiteX163" fmla="*/ 245813 w 609772"/>
                  <a:gd name="connsiteY163" fmla="*/ 184272 h 697852"/>
                  <a:gd name="connsiteX164" fmla="*/ 243169 w 609772"/>
                  <a:gd name="connsiteY164" fmla="*/ 182509 h 697852"/>
                  <a:gd name="connsiteX165" fmla="*/ 240876 w 609772"/>
                  <a:gd name="connsiteY165" fmla="*/ 182509 h 697852"/>
                  <a:gd name="connsiteX166" fmla="*/ 240611 w 609772"/>
                  <a:gd name="connsiteY166" fmla="*/ 181098 h 697852"/>
                  <a:gd name="connsiteX167" fmla="*/ 239113 w 609772"/>
                  <a:gd name="connsiteY167" fmla="*/ 180833 h 697852"/>
                  <a:gd name="connsiteX168" fmla="*/ 237349 w 609772"/>
                  <a:gd name="connsiteY168" fmla="*/ 179687 h 697852"/>
                  <a:gd name="connsiteX169" fmla="*/ 236203 w 609772"/>
                  <a:gd name="connsiteY169" fmla="*/ 178276 h 697852"/>
                  <a:gd name="connsiteX170" fmla="*/ 234704 w 609772"/>
                  <a:gd name="connsiteY170" fmla="*/ 177130 h 697852"/>
                  <a:gd name="connsiteX171" fmla="*/ 233205 w 609772"/>
                  <a:gd name="connsiteY171" fmla="*/ 175631 h 697852"/>
                  <a:gd name="connsiteX172" fmla="*/ 234087 w 609772"/>
                  <a:gd name="connsiteY172" fmla="*/ 175014 h 697852"/>
                  <a:gd name="connsiteX173" fmla="*/ 236732 w 609772"/>
                  <a:gd name="connsiteY173" fmla="*/ 173515 h 697852"/>
                  <a:gd name="connsiteX174" fmla="*/ 235586 w 609772"/>
                  <a:gd name="connsiteY174" fmla="*/ 172017 h 697852"/>
                  <a:gd name="connsiteX175" fmla="*/ 236203 w 609772"/>
                  <a:gd name="connsiteY175" fmla="*/ 170253 h 697852"/>
                  <a:gd name="connsiteX176" fmla="*/ 236203 w 609772"/>
                  <a:gd name="connsiteY176" fmla="*/ 168754 h 697852"/>
                  <a:gd name="connsiteX177" fmla="*/ 236203 w 609772"/>
                  <a:gd name="connsiteY177" fmla="*/ 165580 h 697852"/>
                  <a:gd name="connsiteX178" fmla="*/ 233823 w 609772"/>
                  <a:gd name="connsiteY178" fmla="*/ 162406 h 697852"/>
                  <a:gd name="connsiteX179" fmla="*/ 235850 w 609772"/>
                  <a:gd name="connsiteY179" fmla="*/ 160378 h 697852"/>
                  <a:gd name="connsiteX180" fmla="*/ 235586 w 609772"/>
                  <a:gd name="connsiteY180" fmla="*/ 159497 h 697852"/>
                  <a:gd name="connsiteX181" fmla="*/ 237878 w 609772"/>
                  <a:gd name="connsiteY181" fmla="*/ 157116 h 697852"/>
                  <a:gd name="connsiteX182" fmla="*/ 235850 w 609772"/>
                  <a:gd name="connsiteY182" fmla="*/ 154471 h 697852"/>
                  <a:gd name="connsiteX183" fmla="*/ 239289 w 609772"/>
                  <a:gd name="connsiteY183" fmla="*/ 152972 h 697852"/>
                  <a:gd name="connsiteX184" fmla="*/ 239289 w 609772"/>
                  <a:gd name="connsiteY184" fmla="*/ 150063 h 697852"/>
                  <a:gd name="connsiteX185" fmla="*/ 242198 w 609772"/>
                  <a:gd name="connsiteY185" fmla="*/ 149798 h 697852"/>
                  <a:gd name="connsiteX186" fmla="*/ 243609 w 609772"/>
                  <a:gd name="connsiteY186" fmla="*/ 149534 h 697852"/>
                  <a:gd name="connsiteX187" fmla="*/ 242992 w 609772"/>
                  <a:gd name="connsiteY187" fmla="*/ 147241 h 697852"/>
                  <a:gd name="connsiteX188" fmla="*/ 244491 w 609772"/>
                  <a:gd name="connsiteY188" fmla="*/ 145478 h 697852"/>
                  <a:gd name="connsiteX189" fmla="*/ 244227 w 609772"/>
                  <a:gd name="connsiteY189" fmla="*/ 144332 h 697852"/>
                  <a:gd name="connsiteX190" fmla="*/ 245108 w 609772"/>
                  <a:gd name="connsiteY190" fmla="*/ 143714 h 697852"/>
                  <a:gd name="connsiteX191" fmla="*/ 245461 w 609772"/>
                  <a:gd name="connsiteY191" fmla="*/ 144332 h 697852"/>
                  <a:gd name="connsiteX192" fmla="*/ 247753 w 609772"/>
                  <a:gd name="connsiteY192" fmla="*/ 142833 h 697852"/>
                  <a:gd name="connsiteX193" fmla="*/ 241053 w 609772"/>
                  <a:gd name="connsiteY193" fmla="*/ 138777 h 697852"/>
                  <a:gd name="connsiteX194" fmla="*/ 236908 w 609772"/>
                  <a:gd name="connsiteY194" fmla="*/ 137631 h 697852"/>
                  <a:gd name="connsiteX195" fmla="*/ 227915 w 609772"/>
                  <a:gd name="connsiteY195" fmla="*/ 135339 h 697852"/>
                  <a:gd name="connsiteX196" fmla="*/ 228532 w 609772"/>
                  <a:gd name="connsiteY196" fmla="*/ 133840 h 697852"/>
                  <a:gd name="connsiteX197" fmla="*/ 227034 w 609772"/>
                  <a:gd name="connsiteY197" fmla="*/ 131812 h 697852"/>
                  <a:gd name="connsiteX198" fmla="*/ 228180 w 609772"/>
                  <a:gd name="connsiteY198" fmla="*/ 131812 h 697852"/>
                  <a:gd name="connsiteX199" fmla="*/ 226416 w 609772"/>
                  <a:gd name="connsiteY199" fmla="*/ 128902 h 697852"/>
                  <a:gd name="connsiteX200" fmla="*/ 223242 w 609772"/>
                  <a:gd name="connsiteY200" fmla="*/ 128285 h 697852"/>
                  <a:gd name="connsiteX201" fmla="*/ 221479 w 609772"/>
                  <a:gd name="connsiteY201" fmla="*/ 126257 h 697852"/>
                  <a:gd name="connsiteX202" fmla="*/ 220862 w 609772"/>
                  <a:gd name="connsiteY202" fmla="*/ 126257 h 697852"/>
                  <a:gd name="connsiteX203" fmla="*/ 219451 w 609772"/>
                  <a:gd name="connsiteY203" fmla="*/ 124494 h 697852"/>
                  <a:gd name="connsiteX204" fmla="*/ 216189 w 609772"/>
                  <a:gd name="connsiteY204" fmla="*/ 124494 h 697852"/>
                  <a:gd name="connsiteX205" fmla="*/ 214161 w 609772"/>
                  <a:gd name="connsiteY205" fmla="*/ 124494 h 697852"/>
                  <a:gd name="connsiteX206" fmla="*/ 210899 w 609772"/>
                  <a:gd name="connsiteY206" fmla="*/ 124494 h 697852"/>
                  <a:gd name="connsiteX207" fmla="*/ 207989 w 609772"/>
                  <a:gd name="connsiteY207" fmla="*/ 122466 h 697852"/>
                  <a:gd name="connsiteX208" fmla="*/ 205697 w 609772"/>
                  <a:gd name="connsiteY208" fmla="*/ 120174 h 697852"/>
                  <a:gd name="connsiteX209" fmla="*/ 204551 w 609772"/>
                  <a:gd name="connsiteY209" fmla="*/ 119027 h 697852"/>
                  <a:gd name="connsiteX210" fmla="*/ 203052 w 609772"/>
                  <a:gd name="connsiteY210" fmla="*/ 116999 h 697852"/>
                  <a:gd name="connsiteX211" fmla="*/ 201289 w 609772"/>
                  <a:gd name="connsiteY211" fmla="*/ 114972 h 697852"/>
                  <a:gd name="connsiteX212" fmla="*/ 199260 w 609772"/>
                  <a:gd name="connsiteY212" fmla="*/ 112944 h 697852"/>
                  <a:gd name="connsiteX213" fmla="*/ 198731 w 609772"/>
                  <a:gd name="connsiteY213" fmla="*/ 116118 h 697852"/>
                  <a:gd name="connsiteX214" fmla="*/ 194059 w 609772"/>
                  <a:gd name="connsiteY214" fmla="*/ 116382 h 697852"/>
                  <a:gd name="connsiteX215" fmla="*/ 192912 w 609772"/>
                  <a:gd name="connsiteY215" fmla="*/ 112856 h 697852"/>
                  <a:gd name="connsiteX216" fmla="*/ 191766 w 609772"/>
                  <a:gd name="connsiteY216" fmla="*/ 111357 h 697852"/>
                  <a:gd name="connsiteX217" fmla="*/ 193794 w 609772"/>
                  <a:gd name="connsiteY217" fmla="*/ 108712 h 697852"/>
                  <a:gd name="connsiteX218" fmla="*/ 191766 w 609772"/>
                  <a:gd name="connsiteY218" fmla="*/ 106067 h 697852"/>
                  <a:gd name="connsiteX219" fmla="*/ 190003 w 609772"/>
                  <a:gd name="connsiteY219" fmla="*/ 105449 h 697852"/>
                  <a:gd name="connsiteX220" fmla="*/ 189650 w 609772"/>
                  <a:gd name="connsiteY220" fmla="*/ 99366 h 697852"/>
                  <a:gd name="connsiteX221" fmla="*/ 181186 w 609772"/>
                  <a:gd name="connsiteY221" fmla="*/ 93194 h 697852"/>
                  <a:gd name="connsiteX222" fmla="*/ 180304 w 609772"/>
                  <a:gd name="connsiteY222" fmla="*/ 90284 h 697852"/>
                  <a:gd name="connsiteX223" fmla="*/ 178806 w 609772"/>
                  <a:gd name="connsiteY223" fmla="*/ 83584 h 697852"/>
                  <a:gd name="connsiteX224" fmla="*/ 181451 w 609772"/>
                  <a:gd name="connsiteY224" fmla="*/ 83584 h 697852"/>
                  <a:gd name="connsiteX225" fmla="*/ 186123 w 609772"/>
                  <a:gd name="connsiteY225" fmla="*/ 83319 h 697852"/>
                  <a:gd name="connsiteX226" fmla="*/ 187270 w 609772"/>
                  <a:gd name="connsiteY226" fmla="*/ 87728 h 697852"/>
                  <a:gd name="connsiteX227" fmla="*/ 192560 w 609772"/>
                  <a:gd name="connsiteY227" fmla="*/ 90020 h 697852"/>
                  <a:gd name="connsiteX228" fmla="*/ 196086 w 609772"/>
                  <a:gd name="connsiteY228" fmla="*/ 87110 h 697852"/>
                  <a:gd name="connsiteX229" fmla="*/ 198996 w 609772"/>
                  <a:gd name="connsiteY229" fmla="*/ 87110 h 697852"/>
                  <a:gd name="connsiteX230" fmla="*/ 198467 w 609772"/>
                  <a:gd name="connsiteY230" fmla="*/ 85083 h 697852"/>
                  <a:gd name="connsiteX231" fmla="*/ 201112 w 609772"/>
                  <a:gd name="connsiteY231" fmla="*/ 81820 h 697852"/>
                  <a:gd name="connsiteX232" fmla="*/ 200848 w 609772"/>
                  <a:gd name="connsiteY232" fmla="*/ 80057 h 697852"/>
                  <a:gd name="connsiteX233" fmla="*/ 200495 w 609772"/>
                  <a:gd name="connsiteY233" fmla="*/ 78911 h 697852"/>
                  <a:gd name="connsiteX234" fmla="*/ 196175 w 609772"/>
                  <a:gd name="connsiteY234" fmla="*/ 74502 h 697852"/>
                  <a:gd name="connsiteX235" fmla="*/ 195028 w 609772"/>
                  <a:gd name="connsiteY235" fmla="*/ 69565 h 697852"/>
                  <a:gd name="connsiteX236" fmla="*/ 192736 w 609772"/>
                  <a:gd name="connsiteY236" fmla="*/ 69300 h 697852"/>
                  <a:gd name="connsiteX237" fmla="*/ 190356 w 609772"/>
                  <a:gd name="connsiteY237" fmla="*/ 68683 h 697852"/>
                  <a:gd name="connsiteX238" fmla="*/ 188592 w 609772"/>
                  <a:gd name="connsiteY238" fmla="*/ 68683 h 697852"/>
                  <a:gd name="connsiteX239" fmla="*/ 184536 w 609772"/>
                  <a:gd name="connsiteY239" fmla="*/ 63393 h 697852"/>
                  <a:gd name="connsiteX240" fmla="*/ 183038 w 609772"/>
                  <a:gd name="connsiteY240" fmla="*/ 58720 h 697852"/>
                  <a:gd name="connsiteX241" fmla="*/ 186300 w 609772"/>
                  <a:gd name="connsiteY241" fmla="*/ 58720 h 697852"/>
                  <a:gd name="connsiteX242" fmla="*/ 180745 w 609772"/>
                  <a:gd name="connsiteY242" fmla="*/ 49991 h 697852"/>
                  <a:gd name="connsiteX243" fmla="*/ 182244 w 609772"/>
                  <a:gd name="connsiteY243" fmla="*/ 48845 h 697852"/>
                  <a:gd name="connsiteX244" fmla="*/ 183743 w 609772"/>
                  <a:gd name="connsiteY244" fmla="*/ 49462 h 697852"/>
                  <a:gd name="connsiteX245" fmla="*/ 185771 w 609772"/>
                  <a:gd name="connsiteY245" fmla="*/ 48316 h 697852"/>
                  <a:gd name="connsiteX246" fmla="*/ 190443 w 609772"/>
                  <a:gd name="connsiteY246" fmla="*/ 48933 h 697852"/>
                  <a:gd name="connsiteX247" fmla="*/ 192472 w 609772"/>
                  <a:gd name="connsiteY247" fmla="*/ 47787 h 697852"/>
                  <a:gd name="connsiteX248" fmla="*/ 191854 w 609772"/>
                  <a:gd name="connsiteY248" fmla="*/ 43996 h 697852"/>
                  <a:gd name="connsiteX249" fmla="*/ 193618 w 609772"/>
                  <a:gd name="connsiteY249" fmla="*/ 43996 h 697852"/>
                  <a:gd name="connsiteX250" fmla="*/ 189210 w 609772"/>
                  <a:gd name="connsiteY250" fmla="*/ 39059 h 697852"/>
                  <a:gd name="connsiteX251" fmla="*/ 195910 w 609772"/>
                  <a:gd name="connsiteY251" fmla="*/ 39059 h 697852"/>
                  <a:gd name="connsiteX252" fmla="*/ 197673 w 609772"/>
                  <a:gd name="connsiteY252" fmla="*/ 37912 h 697852"/>
                  <a:gd name="connsiteX253" fmla="*/ 193618 w 609772"/>
                  <a:gd name="connsiteY253" fmla="*/ 37031 h 697852"/>
                  <a:gd name="connsiteX254" fmla="*/ 197144 w 609772"/>
                  <a:gd name="connsiteY254" fmla="*/ 34650 h 697852"/>
                  <a:gd name="connsiteX255" fmla="*/ 196527 w 609772"/>
                  <a:gd name="connsiteY255" fmla="*/ 32358 h 697852"/>
                  <a:gd name="connsiteX256" fmla="*/ 200583 w 609772"/>
                  <a:gd name="connsiteY256" fmla="*/ 32358 h 697852"/>
                  <a:gd name="connsiteX257" fmla="*/ 200583 w 609772"/>
                  <a:gd name="connsiteY257" fmla="*/ 30594 h 697852"/>
                  <a:gd name="connsiteX258" fmla="*/ 201200 w 609772"/>
                  <a:gd name="connsiteY258" fmla="*/ 27949 h 697852"/>
                  <a:gd name="connsiteX259" fmla="*/ 200936 w 609772"/>
                  <a:gd name="connsiteY259" fmla="*/ 26803 h 697852"/>
                  <a:gd name="connsiteX260" fmla="*/ 202082 w 609772"/>
                  <a:gd name="connsiteY260" fmla="*/ 11374 h 697852"/>
                  <a:gd name="connsiteX261" fmla="*/ 196527 w 609772"/>
                  <a:gd name="connsiteY261" fmla="*/ 9875 h 697852"/>
                  <a:gd name="connsiteX262" fmla="*/ 194499 w 609772"/>
                  <a:gd name="connsiteY262" fmla="*/ 13666 h 697852"/>
                  <a:gd name="connsiteX263" fmla="*/ 193618 w 609772"/>
                  <a:gd name="connsiteY263" fmla="*/ 15429 h 697852"/>
                  <a:gd name="connsiteX264" fmla="*/ 191854 w 609772"/>
                  <a:gd name="connsiteY264" fmla="*/ 9610 h 697852"/>
                  <a:gd name="connsiteX265" fmla="*/ 188328 w 609772"/>
                  <a:gd name="connsiteY265" fmla="*/ 9875 h 697852"/>
                  <a:gd name="connsiteX266" fmla="*/ 188063 w 609772"/>
                  <a:gd name="connsiteY266" fmla="*/ 8111 h 697852"/>
                  <a:gd name="connsiteX267" fmla="*/ 184889 w 609772"/>
                  <a:gd name="connsiteY267" fmla="*/ 8111 h 697852"/>
                  <a:gd name="connsiteX268" fmla="*/ 184272 w 609772"/>
                  <a:gd name="connsiteY268" fmla="*/ 6084 h 697852"/>
                  <a:gd name="connsiteX269" fmla="*/ 183743 w 609772"/>
                  <a:gd name="connsiteY269" fmla="*/ 4056 h 697852"/>
                  <a:gd name="connsiteX270" fmla="*/ 177042 w 609772"/>
                  <a:gd name="connsiteY270" fmla="*/ 1411 h 697852"/>
                  <a:gd name="connsiteX271" fmla="*/ 176777 w 609772"/>
                  <a:gd name="connsiteY271" fmla="*/ 0 h 697852"/>
                  <a:gd name="connsiteX272" fmla="*/ 164787 w 609772"/>
                  <a:gd name="connsiteY272" fmla="*/ 882 h 697852"/>
                  <a:gd name="connsiteX273" fmla="*/ 160996 w 609772"/>
                  <a:gd name="connsiteY273" fmla="*/ 5290 h 697852"/>
                  <a:gd name="connsiteX274" fmla="*/ 159585 w 609772"/>
                  <a:gd name="connsiteY274" fmla="*/ 5290 h 697852"/>
                  <a:gd name="connsiteX275" fmla="*/ 158438 w 609772"/>
                  <a:gd name="connsiteY275" fmla="*/ 6436 h 697852"/>
                  <a:gd name="connsiteX276" fmla="*/ 156940 w 609772"/>
                  <a:gd name="connsiteY276" fmla="*/ 7053 h 697852"/>
                  <a:gd name="connsiteX277" fmla="*/ 156058 w 609772"/>
                  <a:gd name="connsiteY277" fmla="*/ 7935 h 697852"/>
                  <a:gd name="connsiteX278" fmla="*/ 154030 w 609772"/>
                  <a:gd name="connsiteY278" fmla="*/ 10845 h 697852"/>
                  <a:gd name="connsiteX279" fmla="*/ 152002 w 609772"/>
                  <a:gd name="connsiteY279" fmla="*/ 9963 h 697852"/>
                  <a:gd name="connsiteX280" fmla="*/ 151121 w 609772"/>
                  <a:gd name="connsiteY280" fmla="*/ 10845 h 697852"/>
                  <a:gd name="connsiteX281" fmla="*/ 151385 w 609772"/>
                  <a:gd name="connsiteY281" fmla="*/ 11991 h 697852"/>
                  <a:gd name="connsiteX282" fmla="*/ 150768 w 609772"/>
                  <a:gd name="connsiteY282" fmla="*/ 12608 h 697852"/>
                  <a:gd name="connsiteX283" fmla="*/ 148476 w 609772"/>
                  <a:gd name="connsiteY283" fmla="*/ 11991 h 697852"/>
                  <a:gd name="connsiteX284" fmla="*/ 135338 w 609772"/>
                  <a:gd name="connsiteY284" fmla="*/ 28038 h 697852"/>
                  <a:gd name="connsiteX285" fmla="*/ 134457 w 609772"/>
                  <a:gd name="connsiteY285" fmla="*/ 29536 h 697852"/>
                  <a:gd name="connsiteX286" fmla="*/ 132958 w 609772"/>
                  <a:gd name="connsiteY286" fmla="*/ 30683 h 697852"/>
                  <a:gd name="connsiteX287" fmla="*/ 131195 w 609772"/>
                  <a:gd name="connsiteY287" fmla="*/ 30683 h 697852"/>
                  <a:gd name="connsiteX288" fmla="*/ 128021 w 609772"/>
                  <a:gd name="connsiteY288" fmla="*/ 30683 h 697852"/>
                  <a:gd name="connsiteX289" fmla="*/ 125640 w 609772"/>
                  <a:gd name="connsiteY289" fmla="*/ 30683 h 697852"/>
                  <a:gd name="connsiteX290" fmla="*/ 123612 w 609772"/>
                  <a:gd name="connsiteY290" fmla="*/ 31829 h 697852"/>
                  <a:gd name="connsiteX291" fmla="*/ 123347 w 609772"/>
                  <a:gd name="connsiteY291" fmla="*/ 33592 h 697852"/>
                  <a:gd name="connsiteX292" fmla="*/ 120174 w 609772"/>
                  <a:gd name="connsiteY292" fmla="*/ 32711 h 697852"/>
                  <a:gd name="connsiteX293" fmla="*/ 112326 w 609772"/>
                  <a:gd name="connsiteY293" fmla="*/ 36502 h 697852"/>
                  <a:gd name="connsiteX294" fmla="*/ 108800 w 609772"/>
                  <a:gd name="connsiteY294" fmla="*/ 39411 h 697852"/>
                  <a:gd name="connsiteX295" fmla="*/ 104127 w 609772"/>
                  <a:gd name="connsiteY295" fmla="*/ 36237 h 697852"/>
                  <a:gd name="connsiteX296" fmla="*/ 101217 w 609772"/>
                  <a:gd name="connsiteY296" fmla="*/ 33857 h 697852"/>
                  <a:gd name="connsiteX297" fmla="*/ 98572 w 609772"/>
                  <a:gd name="connsiteY297" fmla="*/ 32711 h 697852"/>
                  <a:gd name="connsiteX298" fmla="*/ 93371 w 609772"/>
                  <a:gd name="connsiteY298" fmla="*/ 32711 h 697852"/>
                  <a:gd name="connsiteX299" fmla="*/ 91607 w 609772"/>
                  <a:gd name="connsiteY299" fmla="*/ 31829 h 697852"/>
                  <a:gd name="connsiteX300" fmla="*/ 88697 w 609772"/>
                  <a:gd name="connsiteY300" fmla="*/ 32446 h 697852"/>
                  <a:gd name="connsiteX301" fmla="*/ 86052 w 609772"/>
                  <a:gd name="connsiteY301" fmla="*/ 30947 h 697852"/>
                  <a:gd name="connsiteX302" fmla="*/ 81644 w 609772"/>
                  <a:gd name="connsiteY302" fmla="*/ 29801 h 697852"/>
                  <a:gd name="connsiteX303" fmla="*/ 79616 w 609772"/>
                  <a:gd name="connsiteY303" fmla="*/ 29801 h 697852"/>
                  <a:gd name="connsiteX304" fmla="*/ 78470 w 609772"/>
                  <a:gd name="connsiteY304" fmla="*/ 30947 h 697852"/>
                  <a:gd name="connsiteX305" fmla="*/ 77588 w 609772"/>
                  <a:gd name="connsiteY305" fmla="*/ 32711 h 697852"/>
                  <a:gd name="connsiteX306" fmla="*/ 75825 w 609772"/>
                  <a:gd name="connsiteY306" fmla="*/ 32446 h 697852"/>
                  <a:gd name="connsiteX307" fmla="*/ 73180 w 609772"/>
                  <a:gd name="connsiteY307" fmla="*/ 34209 h 697852"/>
                  <a:gd name="connsiteX308" fmla="*/ 73444 w 609772"/>
                  <a:gd name="connsiteY308" fmla="*/ 35356 h 697852"/>
                  <a:gd name="connsiteX309" fmla="*/ 71681 w 609772"/>
                  <a:gd name="connsiteY309" fmla="*/ 40646 h 697852"/>
                  <a:gd name="connsiteX310" fmla="*/ 71681 w 609772"/>
                  <a:gd name="connsiteY310" fmla="*/ 42056 h 697852"/>
                  <a:gd name="connsiteX311" fmla="*/ 73444 w 609772"/>
                  <a:gd name="connsiteY311" fmla="*/ 40646 h 697852"/>
                  <a:gd name="connsiteX312" fmla="*/ 76354 w 609772"/>
                  <a:gd name="connsiteY312" fmla="*/ 40646 h 697852"/>
                  <a:gd name="connsiteX313" fmla="*/ 77500 w 609772"/>
                  <a:gd name="connsiteY313" fmla="*/ 41263 h 697852"/>
                  <a:gd name="connsiteX314" fmla="*/ 78646 w 609772"/>
                  <a:gd name="connsiteY314" fmla="*/ 44172 h 697852"/>
                  <a:gd name="connsiteX315" fmla="*/ 76266 w 609772"/>
                  <a:gd name="connsiteY315" fmla="*/ 47082 h 697852"/>
                  <a:gd name="connsiteX316" fmla="*/ 78294 w 609772"/>
                  <a:gd name="connsiteY316" fmla="*/ 48228 h 697852"/>
                  <a:gd name="connsiteX317" fmla="*/ 82614 w 609772"/>
                  <a:gd name="connsiteY317" fmla="*/ 48228 h 697852"/>
                  <a:gd name="connsiteX318" fmla="*/ 84641 w 609772"/>
                  <a:gd name="connsiteY318" fmla="*/ 49727 h 697852"/>
                  <a:gd name="connsiteX319" fmla="*/ 84641 w 609772"/>
                  <a:gd name="connsiteY319" fmla="*/ 50344 h 697852"/>
                  <a:gd name="connsiteX320" fmla="*/ 84112 w 609772"/>
                  <a:gd name="connsiteY320" fmla="*/ 52108 h 697852"/>
                  <a:gd name="connsiteX321" fmla="*/ 81115 w 609772"/>
                  <a:gd name="connsiteY321" fmla="*/ 54753 h 697852"/>
                  <a:gd name="connsiteX322" fmla="*/ 79969 w 609772"/>
                  <a:gd name="connsiteY322" fmla="*/ 55634 h 697852"/>
                  <a:gd name="connsiteX323" fmla="*/ 80586 w 609772"/>
                  <a:gd name="connsiteY323" fmla="*/ 58279 h 697852"/>
                  <a:gd name="connsiteX324" fmla="*/ 81996 w 609772"/>
                  <a:gd name="connsiteY324" fmla="*/ 59161 h 697852"/>
                  <a:gd name="connsiteX325" fmla="*/ 83760 w 609772"/>
                  <a:gd name="connsiteY325" fmla="*/ 59426 h 697852"/>
                  <a:gd name="connsiteX326" fmla="*/ 86405 w 609772"/>
                  <a:gd name="connsiteY326" fmla="*/ 63217 h 697852"/>
                  <a:gd name="connsiteX327" fmla="*/ 85523 w 609772"/>
                  <a:gd name="connsiteY327" fmla="*/ 66391 h 697852"/>
                  <a:gd name="connsiteX328" fmla="*/ 84641 w 609772"/>
                  <a:gd name="connsiteY328" fmla="*/ 67537 h 697852"/>
                  <a:gd name="connsiteX329" fmla="*/ 82878 w 609772"/>
                  <a:gd name="connsiteY329" fmla="*/ 67537 h 697852"/>
                  <a:gd name="connsiteX330" fmla="*/ 83143 w 609772"/>
                  <a:gd name="connsiteY330" fmla="*/ 69036 h 697852"/>
                  <a:gd name="connsiteX331" fmla="*/ 85435 w 609772"/>
                  <a:gd name="connsiteY331" fmla="*/ 69918 h 697852"/>
                  <a:gd name="connsiteX332" fmla="*/ 88962 w 609772"/>
                  <a:gd name="connsiteY332" fmla="*/ 73092 h 697852"/>
                  <a:gd name="connsiteX333" fmla="*/ 90108 w 609772"/>
                  <a:gd name="connsiteY333" fmla="*/ 73092 h 697852"/>
                  <a:gd name="connsiteX334" fmla="*/ 93547 w 609772"/>
                  <a:gd name="connsiteY334" fmla="*/ 79792 h 697852"/>
                  <a:gd name="connsiteX335" fmla="*/ 94429 w 609772"/>
                  <a:gd name="connsiteY335" fmla="*/ 79792 h 697852"/>
                  <a:gd name="connsiteX336" fmla="*/ 98484 w 609772"/>
                  <a:gd name="connsiteY336" fmla="*/ 79792 h 697852"/>
                  <a:gd name="connsiteX337" fmla="*/ 98131 w 609772"/>
                  <a:gd name="connsiteY337" fmla="*/ 77412 h 697852"/>
                  <a:gd name="connsiteX338" fmla="*/ 100776 w 609772"/>
                  <a:gd name="connsiteY338" fmla="*/ 77412 h 697852"/>
                  <a:gd name="connsiteX339" fmla="*/ 99630 w 609772"/>
                  <a:gd name="connsiteY339" fmla="*/ 79440 h 697852"/>
                  <a:gd name="connsiteX340" fmla="*/ 100512 w 609772"/>
                  <a:gd name="connsiteY340" fmla="*/ 83231 h 697852"/>
                  <a:gd name="connsiteX341" fmla="*/ 101658 w 609772"/>
                  <a:gd name="connsiteY341" fmla="*/ 87287 h 697852"/>
                  <a:gd name="connsiteX342" fmla="*/ 102540 w 609772"/>
                  <a:gd name="connsiteY342" fmla="*/ 87904 h 697852"/>
                  <a:gd name="connsiteX343" fmla="*/ 104832 w 609772"/>
                  <a:gd name="connsiteY343" fmla="*/ 87904 h 697852"/>
                  <a:gd name="connsiteX344" fmla="*/ 108624 w 609772"/>
                  <a:gd name="connsiteY344" fmla="*/ 87904 h 697852"/>
                  <a:gd name="connsiteX345" fmla="*/ 112415 w 609772"/>
                  <a:gd name="connsiteY345" fmla="*/ 89050 h 697852"/>
                  <a:gd name="connsiteX346" fmla="*/ 115677 w 609772"/>
                  <a:gd name="connsiteY346" fmla="*/ 90196 h 697852"/>
                  <a:gd name="connsiteX347" fmla="*/ 115942 w 609772"/>
                  <a:gd name="connsiteY347" fmla="*/ 91960 h 697852"/>
                  <a:gd name="connsiteX348" fmla="*/ 116823 w 609772"/>
                  <a:gd name="connsiteY348" fmla="*/ 95751 h 697852"/>
                  <a:gd name="connsiteX349" fmla="*/ 115413 w 609772"/>
                  <a:gd name="connsiteY349" fmla="*/ 95751 h 697852"/>
                  <a:gd name="connsiteX350" fmla="*/ 114266 w 609772"/>
                  <a:gd name="connsiteY350" fmla="*/ 97250 h 697852"/>
                  <a:gd name="connsiteX351" fmla="*/ 112767 w 609772"/>
                  <a:gd name="connsiteY351" fmla="*/ 97250 h 697852"/>
                  <a:gd name="connsiteX352" fmla="*/ 111357 w 609772"/>
                  <a:gd name="connsiteY352" fmla="*/ 97514 h 697852"/>
                  <a:gd name="connsiteX353" fmla="*/ 111357 w 609772"/>
                  <a:gd name="connsiteY353" fmla="*/ 97250 h 697852"/>
                  <a:gd name="connsiteX354" fmla="*/ 111357 w 609772"/>
                  <a:gd name="connsiteY354" fmla="*/ 97514 h 697852"/>
                  <a:gd name="connsiteX355" fmla="*/ 108447 w 609772"/>
                  <a:gd name="connsiteY355" fmla="*/ 98131 h 697852"/>
                  <a:gd name="connsiteX356" fmla="*/ 108447 w 609772"/>
                  <a:gd name="connsiteY356" fmla="*/ 99013 h 697852"/>
                  <a:gd name="connsiteX357" fmla="*/ 107918 w 609772"/>
                  <a:gd name="connsiteY357" fmla="*/ 100424 h 697852"/>
                  <a:gd name="connsiteX358" fmla="*/ 104744 w 609772"/>
                  <a:gd name="connsiteY358" fmla="*/ 101306 h 697852"/>
                  <a:gd name="connsiteX359" fmla="*/ 102099 w 609772"/>
                  <a:gd name="connsiteY359" fmla="*/ 103598 h 697852"/>
                  <a:gd name="connsiteX360" fmla="*/ 102363 w 609772"/>
                  <a:gd name="connsiteY360" fmla="*/ 104744 h 697852"/>
                  <a:gd name="connsiteX361" fmla="*/ 103863 w 609772"/>
                  <a:gd name="connsiteY361" fmla="*/ 108800 h 697852"/>
                  <a:gd name="connsiteX362" fmla="*/ 105890 w 609772"/>
                  <a:gd name="connsiteY362" fmla="*/ 111974 h 697852"/>
                  <a:gd name="connsiteX363" fmla="*/ 104744 w 609772"/>
                  <a:gd name="connsiteY363" fmla="*/ 116382 h 697852"/>
                  <a:gd name="connsiteX364" fmla="*/ 105626 w 609772"/>
                  <a:gd name="connsiteY364" fmla="*/ 120174 h 697852"/>
                  <a:gd name="connsiteX365" fmla="*/ 105979 w 609772"/>
                  <a:gd name="connsiteY365" fmla="*/ 121055 h 697852"/>
                  <a:gd name="connsiteX366" fmla="*/ 109505 w 609772"/>
                  <a:gd name="connsiteY366" fmla="*/ 121937 h 697852"/>
                  <a:gd name="connsiteX367" fmla="*/ 105979 w 609772"/>
                  <a:gd name="connsiteY367" fmla="*/ 121937 h 697852"/>
                  <a:gd name="connsiteX368" fmla="*/ 106596 w 609772"/>
                  <a:gd name="connsiteY368" fmla="*/ 124582 h 697852"/>
                  <a:gd name="connsiteX369" fmla="*/ 104568 w 609772"/>
                  <a:gd name="connsiteY369" fmla="*/ 124582 h 697852"/>
                  <a:gd name="connsiteX370" fmla="*/ 105185 w 609772"/>
                  <a:gd name="connsiteY370" fmla="*/ 127227 h 697852"/>
                  <a:gd name="connsiteX371" fmla="*/ 102540 w 609772"/>
                  <a:gd name="connsiteY371" fmla="*/ 127227 h 697852"/>
                  <a:gd name="connsiteX372" fmla="*/ 102804 w 609772"/>
                  <a:gd name="connsiteY372" fmla="*/ 128638 h 697852"/>
                  <a:gd name="connsiteX373" fmla="*/ 101041 w 609772"/>
                  <a:gd name="connsiteY373" fmla="*/ 131547 h 697852"/>
                  <a:gd name="connsiteX374" fmla="*/ 99542 w 609772"/>
                  <a:gd name="connsiteY374" fmla="*/ 133928 h 697852"/>
                  <a:gd name="connsiteX375" fmla="*/ 99807 w 609772"/>
                  <a:gd name="connsiteY375" fmla="*/ 135691 h 697852"/>
                  <a:gd name="connsiteX376" fmla="*/ 97779 w 609772"/>
                  <a:gd name="connsiteY376" fmla="*/ 135691 h 697852"/>
                  <a:gd name="connsiteX377" fmla="*/ 98131 w 609772"/>
                  <a:gd name="connsiteY377" fmla="*/ 137102 h 697852"/>
                  <a:gd name="connsiteX378" fmla="*/ 95487 w 609772"/>
                  <a:gd name="connsiteY378" fmla="*/ 139130 h 697852"/>
                  <a:gd name="connsiteX379" fmla="*/ 99542 w 609772"/>
                  <a:gd name="connsiteY379" fmla="*/ 143803 h 697852"/>
                  <a:gd name="connsiteX380" fmla="*/ 95487 w 609772"/>
                  <a:gd name="connsiteY380" fmla="*/ 147329 h 697852"/>
                  <a:gd name="connsiteX381" fmla="*/ 91078 w 609772"/>
                  <a:gd name="connsiteY381" fmla="*/ 149093 h 697852"/>
                  <a:gd name="connsiteX382" fmla="*/ 86405 w 609772"/>
                  <a:gd name="connsiteY382" fmla="*/ 150239 h 697852"/>
                  <a:gd name="connsiteX383" fmla="*/ 87022 w 609772"/>
                  <a:gd name="connsiteY383" fmla="*/ 159849 h 697852"/>
                  <a:gd name="connsiteX384" fmla="*/ 83495 w 609772"/>
                  <a:gd name="connsiteY384" fmla="*/ 172986 h 697852"/>
                  <a:gd name="connsiteX385" fmla="*/ 71857 w 609772"/>
                  <a:gd name="connsiteY385" fmla="*/ 179423 h 697852"/>
                  <a:gd name="connsiteX386" fmla="*/ 70358 w 609772"/>
                  <a:gd name="connsiteY386" fmla="*/ 182068 h 697852"/>
                  <a:gd name="connsiteX387" fmla="*/ 69741 w 609772"/>
                  <a:gd name="connsiteY387" fmla="*/ 189386 h 697852"/>
                  <a:gd name="connsiteX388" fmla="*/ 68859 w 609772"/>
                  <a:gd name="connsiteY388" fmla="*/ 191149 h 697852"/>
                  <a:gd name="connsiteX389" fmla="*/ 66215 w 609772"/>
                  <a:gd name="connsiteY389" fmla="*/ 192912 h 697852"/>
                  <a:gd name="connsiteX390" fmla="*/ 64980 w 609772"/>
                  <a:gd name="connsiteY390" fmla="*/ 195822 h 697852"/>
                  <a:gd name="connsiteX391" fmla="*/ 65597 w 609772"/>
                  <a:gd name="connsiteY391" fmla="*/ 199613 h 697852"/>
                  <a:gd name="connsiteX392" fmla="*/ 59161 w 609772"/>
                  <a:gd name="connsiteY392" fmla="*/ 201641 h 697852"/>
                  <a:gd name="connsiteX393" fmla="*/ 52989 w 609772"/>
                  <a:gd name="connsiteY393" fmla="*/ 201641 h 697852"/>
                  <a:gd name="connsiteX394" fmla="*/ 46024 w 609772"/>
                  <a:gd name="connsiteY394" fmla="*/ 205697 h 697852"/>
                  <a:gd name="connsiteX395" fmla="*/ 40734 w 609772"/>
                  <a:gd name="connsiteY395" fmla="*/ 205432 h 697852"/>
                  <a:gd name="connsiteX396" fmla="*/ 38970 w 609772"/>
                  <a:gd name="connsiteY396" fmla="*/ 200142 h 697852"/>
                  <a:gd name="connsiteX397" fmla="*/ 36678 w 609772"/>
                  <a:gd name="connsiteY397" fmla="*/ 198379 h 697852"/>
                  <a:gd name="connsiteX398" fmla="*/ 34915 w 609772"/>
                  <a:gd name="connsiteY398" fmla="*/ 197233 h 697852"/>
                  <a:gd name="connsiteX399" fmla="*/ 33680 w 609772"/>
                  <a:gd name="connsiteY399" fmla="*/ 197233 h 697852"/>
                  <a:gd name="connsiteX400" fmla="*/ 32534 w 609772"/>
                  <a:gd name="connsiteY400" fmla="*/ 198114 h 697852"/>
                  <a:gd name="connsiteX401" fmla="*/ 30242 w 609772"/>
                  <a:gd name="connsiteY401" fmla="*/ 200142 h 697852"/>
                  <a:gd name="connsiteX402" fmla="*/ 28214 w 609772"/>
                  <a:gd name="connsiteY402" fmla="*/ 202787 h 697852"/>
                  <a:gd name="connsiteX403" fmla="*/ 25922 w 609772"/>
                  <a:gd name="connsiteY403" fmla="*/ 207196 h 697852"/>
                  <a:gd name="connsiteX404" fmla="*/ 24775 w 609772"/>
                  <a:gd name="connsiteY404" fmla="*/ 212750 h 697852"/>
                  <a:gd name="connsiteX405" fmla="*/ 22130 w 609772"/>
                  <a:gd name="connsiteY405" fmla="*/ 215043 h 697852"/>
                  <a:gd name="connsiteX406" fmla="*/ 20984 w 609772"/>
                  <a:gd name="connsiteY406" fmla="*/ 216806 h 697852"/>
                  <a:gd name="connsiteX407" fmla="*/ 18427 w 609772"/>
                  <a:gd name="connsiteY407" fmla="*/ 219451 h 697852"/>
                  <a:gd name="connsiteX408" fmla="*/ 16399 w 609772"/>
                  <a:gd name="connsiteY408" fmla="*/ 223860 h 697852"/>
                  <a:gd name="connsiteX409" fmla="*/ 17545 w 609772"/>
                  <a:gd name="connsiteY409" fmla="*/ 228268 h 697852"/>
                  <a:gd name="connsiteX410" fmla="*/ 19838 w 609772"/>
                  <a:gd name="connsiteY410" fmla="*/ 230560 h 697852"/>
                  <a:gd name="connsiteX411" fmla="*/ 23365 w 609772"/>
                  <a:gd name="connsiteY411" fmla="*/ 232324 h 697852"/>
                  <a:gd name="connsiteX412" fmla="*/ 24511 w 609772"/>
                  <a:gd name="connsiteY412" fmla="*/ 234087 h 697852"/>
                  <a:gd name="connsiteX413" fmla="*/ 26539 w 609772"/>
                  <a:gd name="connsiteY413" fmla="*/ 234087 h 697852"/>
                  <a:gd name="connsiteX414" fmla="*/ 30594 w 609772"/>
                  <a:gd name="connsiteY414" fmla="*/ 234704 h 697852"/>
                  <a:gd name="connsiteX415" fmla="*/ 36149 w 609772"/>
                  <a:gd name="connsiteY415" fmla="*/ 234969 h 697852"/>
                  <a:gd name="connsiteX416" fmla="*/ 35532 w 609772"/>
                  <a:gd name="connsiteY416" fmla="*/ 241405 h 697852"/>
                  <a:gd name="connsiteX417" fmla="*/ 33504 w 609772"/>
                  <a:gd name="connsiteY417" fmla="*/ 249252 h 697852"/>
                  <a:gd name="connsiteX418" fmla="*/ 35532 w 609772"/>
                  <a:gd name="connsiteY418" fmla="*/ 251280 h 697852"/>
                  <a:gd name="connsiteX419" fmla="*/ 35885 w 609772"/>
                  <a:gd name="connsiteY419" fmla="*/ 253308 h 697852"/>
                  <a:gd name="connsiteX420" fmla="*/ 37912 w 609772"/>
                  <a:gd name="connsiteY420" fmla="*/ 255071 h 697852"/>
                  <a:gd name="connsiteX421" fmla="*/ 39676 w 609772"/>
                  <a:gd name="connsiteY421" fmla="*/ 256570 h 697852"/>
                  <a:gd name="connsiteX422" fmla="*/ 47875 w 609772"/>
                  <a:gd name="connsiteY422" fmla="*/ 256570 h 697852"/>
                  <a:gd name="connsiteX423" fmla="*/ 50256 w 609772"/>
                  <a:gd name="connsiteY423" fmla="*/ 266798 h 697852"/>
                  <a:gd name="connsiteX424" fmla="*/ 54311 w 609772"/>
                  <a:gd name="connsiteY424" fmla="*/ 269443 h 697852"/>
                  <a:gd name="connsiteX425" fmla="*/ 56957 w 609772"/>
                  <a:gd name="connsiteY425" fmla="*/ 275879 h 697852"/>
                  <a:gd name="connsiteX426" fmla="*/ 58720 w 609772"/>
                  <a:gd name="connsiteY426" fmla="*/ 277907 h 697852"/>
                  <a:gd name="connsiteX427" fmla="*/ 58985 w 609772"/>
                  <a:gd name="connsiteY427" fmla="*/ 279670 h 697852"/>
                  <a:gd name="connsiteX428" fmla="*/ 60131 w 609772"/>
                  <a:gd name="connsiteY428" fmla="*/ 281081 h 697852"/>
                  <a:gd name="connsiteX429" fmla="*/ 57750 w 609772"/>
                  <a:gd name="connsiteY429" fmla="*/ 283373 h 697852"/>
                  <a:gd name="connsiteX430" fmla="*/ 58367 w 609772"/>
                  <a:gd name="connsiteY430" fmla="*/ 287164 h 697852"/>
                  <a:gd name="connsiteX431" fmla="*/ 61012 w 609772"/>
                  <a:gd name="connsiteY431" fmla="*/ 287164 h 697852"/>
                  <a:gd name="connsiteX432" fmla="*/ 60748 w 609772"/>
                  <a:gd name="connsiteY432" fmla="*/ 288663 h 697852"/>
                  <a:gd name="connsiteX433" fmla="*/ 59337 w 609772"/>
                  <a:gd name="connsiteY433" fmla="*/ 289545 h 697852"/>
                  <a:gd name="connsiteX434" fmla="*/ 56428 w 609772"/>
                  <a:gd name="connsiteY434" fmla="*/ 290427 h 697852"/>
                  <a:gd name="connsiteX435" fmla="*/ 56957 w 609772"/>
                  <a:gd name="connsiteY435" fmla="*/ 292190 h 697852"/>
                  <a:gd name="connsiteX436" fmla="*/ 56075 w 609772"/>
                  <a:gd name="connsiteY436" fmla="*/ 292455 h 697852"/>
                  <a:gd name="connsiteX437" fmla="*/ 55193 w 609772"/>
                  <a:gd name="connsiteY437" fmla="*/ 293072 h 697852"/>
                  <a:gd name="connsiteX438" fmla="*/ 51931 w 609772"/>
                  <a:gd name="connsiteY438" fmla="*/ 293072 h 697852"/>
                  <a:gd name="connsiteX439" fmla="*/ 50168 w 609772"/>
                  <a:gd name="connsiteY439" fmla="*/ 292190 h 697852"/>
                  <a:gd name="connsiteX440" fmla="*/ 49551 w 609772"/>
                  <a:gd name="connsiteY440" fmla="*/ 287782 h 697852"/>
                  <a:gd name="connsiteX441" fmla="*/ 47258 w 609772"/>
                  <a:gd name="connsiteY441" fmla="*/ 287782 h 697852"/>
                  <a:gd name="connsiteX442" fmla="*/ 45495 w 609772"/>
                  <a:gd name="connsiteY442" fmla="*/ 288928 h 697852"/>
                  <a:gd name="connsiteX443" fmla="*/ 43203 w 609772"/>
                  <a:gd name="connsiteY443" fmla="*/ 289457 h 697852"/>
                  <a:gd name="connsiteX444" fmla="*/ 39147 w 609772"/>
                  <a:gd name="connsiteY444" fmla="*/ 290074 h 697852"/>
                  <a:gd name="connsiteX445" fmla="*/ 39764 w 609772"/>
                  <a:gd name="connsiteY445" fmla="*/ 294482 h 697852"/>
                  <a:gd name="connsiteX446" fmla="*/ 31917 w 609772"/>
                  <a:gd name="connsiteY446" fmla="*/ 294747 h 697852"/>
                  <a:gd name="connsiteX447" fmla="*/ 30153 w 609772"/>
                  <a:gd name="connsiteY447" fmla="*/ 292102 h 697852"/>
                  <a:gd name="connsiteX448" fmla="*/ 22307 w 609772"/>
                  <a:gd name="connsiteY448" fmla="*/ 292102 h 697852"/>
                  <a:gd name="connsiteX449" fmla="*/ 20808 w 609772"/>
                  <a:gd name="connsiteY449" fmla="*/ 292984 h 697852"/>
                  <a:gd name="connsiteX450" fmla="*/ 18515 w 609772"/>
                  <a:gd name="connsiteY450" fmla="*/ 292366 h 697852"/>
                  <a:gd name="connsiteX451" fmla="*/ 17281 w 609772"/>
                  <a:gd name="connsiteY451" fmla="*/ 292984 h 697852"/>
                  <a:gd name="connsiteX452" fmla="*/ 14371 w 609772"/>
                  <a:gd name="connsiteY452" fmla="*/ 289457 h 697852"/>
                  <a:gd name="connsiteX453" fmla="*/ 13490 w 609772"/>
                  <a:gd name="connsiteY453" fmla="*/ 290339 h 697852"/>
                  <a:gd name="connsiteX454" fmla="*/ 12873 w 609772"/>
                  <a:gd name="connsiteY454" fmla="*/ 294130 h 697852"/>
                  <a:gd name="connsiteX455" fmla="*/ 11991 w 609772"/>
                  <a:gd name="connsiteY455" fmla="*/ 289457 h 697852"/>
                  <a:gd name="connsiteX456" fmla="*/ 11374 w 609772"/>
                  <a:gd name="connsiteY456" fmla="*/ 289457 h 697852"/>
                  <a:gd name="connsiteX457" fmla="*/ 10492 w 609772"/>
                  <a:gd name="connsiteY457" fmla="*/ 290339 h 697852"/>
                  <a:gd name="connsiteX458" fmla="*/ 11374 w 609772"/>
                  <a:gd name="connsiteY458" fmla="*/ 299332 h 697852"/>
                  <a:gd name="connsiteX459" fmla="*/ 4673 w 609772"/>
                  <a:gd name="connsiteY459" fmla="*/ 299332 h 697852"/>
                  <a:gd name="connsiteX460" fmla="*/ 2645 w 609772"/>
                  <a:gd name="connsiteY460" fmla="*/ 300830 h 697852"/>
                  <a:gd name="connsiteX461" fmla="*/ 881 w 609772"/>
                  <a:gd name="connsiteY461" fmla="*/ 301360 h 697852"/>
                  <a:gd name="connsiteX462" fmla="*/ 1146 w 609772"/>
                  <a:gd name="connsiteY462" fmla="*/ 304269 h 697852"/>
                  <a:gd name="connsiteX463" fmla="*/ 1675 w 609772"/>
                  <a:gd name="connsiteY463" fmla="*/ 304534 h 697852"/>
                  <a:gd name="connsiteX464" fmla="*/ 1675 w 609772"/>
                  <a:gd name="connsiteY464" fmla="*/ 305856 h 697852"/>
                  <a:gd name="connsiteX465" fmla="*/ 2821 w 609772"/>
                  <a:gd name="connsiteY465" fmla="*/ 306121 h 697852"/>
                  <a:gd name="connsiteX466" fmla="*/ 1675 w 609772"/>
                  <a:gd name="connsiteY466" fmla="*/ 306738 h 697852"/>
                  <a:gd name="connsiteX467" fmla="*/ 1146 w 609772"/>
                  <a:gd name="connsiteY467" fmla="*/ 306121 h 697852"/>
                  <a:gd name="connsiteX468" fmla="*/ 881 w 609772"/>
                  <a:gd name="connsiteY468" fmla="*/ 307002 h 697852"/>
                  <a:gd name="connsiteX469" fmla="*/ 0 w 609772"/>
                  <a:gd name="connsiteY469" fmla="*/ 307619 h 697852"/>
                  <a:gd name="connsiteX470" fmla="*/ 352 w 609772"/>
                  <a:gd name="connsiteY470" fmla="*/ 307884 h 697852"/>
                  <a:gd name="connsiteX471" fmla="*/ 1499 w 609772"/>
                  <a:gd name="connsiteY471" fmla="*/ 308766 h 697852"/>
                  <a:gd name="connsiteX472" fmla="*/ 3262 w 609772"/>
                  <a:gd name="connsiteY472" fmla="*/ 308766 h 697852"/>
                  <a:gd name="connsiteX473" fmla="*/ 4761 w 609772"/>
                  <a:gd name="connsiteY473" fmla="*/ 307884 h 697852"/>
                  <a:gd name="connsiteX474" fmla="*/ 3615 w 609772"/>
                  <a:gd name="connsiteY474" fmla="*/ 307619 h 697852"/>
                  <a:gd name="connsiteX475" fmla="*/ 4761 w 609772"/>
                  <a:gd name="connsiteY475" fmla="*/ 307619 h 697852"/>
                  <a:gd name="connsiteX476" fmla="*/ 5026 w 609772"/>
                  <a:gd name="connsiteY476" fmla="*/ 306473 h 697852"/>
                  <a:gd name="connsiteX477" fmla="*/ 5643 w 609772"/>
                  <a:gd name="connsiteY477" fmla="*/ 306209 h 697852"/>
                  <a:gd name="connsiteX478" fmla="*/ 6260 w 609772"/>
                  <a:gd name="connsiteY478" fmla="*/ 305063 h 697852"/>
                  <a:gd name="connsiteX479" fmla="*/ 6877 w 609772"/>
                  <a:gd name="connsiteY479" fmla="*/ 304181 h 697852"/>
                  <a:gd name="connsiteX480" fmla="*/ 9169 w 609772"/>
                  <a:gd name="connsiteY480" fmla="*/ 304445 h 697852"/>
                  <a:gd name="connsiteX481" fmla="*/ 10316 w 609772"/>
                  <a:gd name="connsiteY481" fmla="*/ 302418 h 697852"/>
                  <a:gd name="connsiteX482" fmla="*/ 12079 w 609772"/>
                  <a:gd name="connsiteY482" fmla="*/ 302418 h 697852"/>
                  <a:gd name="connsiteX483" fmla="*/ 12079 w 609772"/>
                  <a:gd name="connsiteY483" fmla="*/ 302153 h 697852"/>
                  <a:gd name="connsiteX484" fmla="*/ 13578 w 609772"/>
                  <a:gd name="connsiteY484" fmla="*/ 301536 h 697852"/>
                  <a:gd name="connsiteX485" fmla="*/ 13578 w 609772"/>
                  <a:gd name="connsiteY485" fmla="*/ 302153 h 697852"/>
                  <a:gd name="connsiteX486" fmla="*/ 12079 w 609772"/>
                  <a:gd name="connsiteY486" fmla="*/ 303299 h 697852"/>
                  <a:gd name="connsiteX487" fmla="*/ 10669 w 609772"/>
                  <a:gd name="connsiteY487" fmla="*/ 303299 h 697852"/>
                  <a:gd name="connsiteX488" fmla="*/ 10669 w 609772"/>
                  <a:gd name="connsiteY488" fmla="*/ 304445 h 697852"/>
                  <a:gd name="connsiteX489" fmla="*/ 9169 w 609772"/>
                  <a:gd name="connsiteY489" fmla="*/ 305856 h 697852"/>
                  <a:gd name="connsiteX490" fmla="*/ 8023 w 609772"/>
                  <a:gd name="connsiteY490" fmla="*/ 306121 h 697852"/>
                  <a:gd name="connsiteX491" fmla="*/ 7759 w 609772"/>
                  <a:gd name="connsiteY491" fmla="*/ 307002 h 697852"/>
                  <a:gd name="connsiteX492" fmla="*/ 7759 w 609772"/>
                  <a:gd name="connsiteY492" fmla="*/ 307619 h 697852"/>
                  <a:gd name="connsiteX493" fmla="*/ 6613 w 609772"/>
                  <a:gd name="connsiteY493" fmla="*/ 307619 h 697852"/>
                  <a:gd name="connsiteX494" fmla="*/ 5995 w 609772"/>
                  <a:gd name="connsiteY494" fmla="*/ 308237 h 697852"/>
                  <a:gd name="connsiteX495" fmla="*/ 5378 w 609772"/>
                  <a:gd name="connsiteY495" fmla="*/ 310529 h 697852"/>
                  <a:gd name="connsiteX496" fmla="*/ 5378 w 609772"/>
                  <a:gd name="connsiteY496" fmla="*/ 311411 h 697852"/>
                  <a:gd name="connsiteX497" fmla="*/ 6877 w 609772"/>
                  <a:gd name="connsiteY497" fmla="*/ 310529 h 697852"/>
                  <a:gd name="connsiteX498" fmla="*/ 6877 w 609772"/>
                  <a:gd name="connsiteY498" fmla="*/ 309647 h 697852"/>
                  <a:gd name="connsiteX499" fmla="*/ 7494 w 609772"/>
                  <a:gd name="connsiteY499" fmla="*/ 310529 h 697852"/>
                  <a:gd name="connsiteX500" fmla="*/ 6877 w 609772"/>
                  <a:gd name="connsiteY500" fmla="*/ 311411 h 697852"/>
                  <a:gd name="connsiteX501" fmla="*/ 6877 w 609772"/>
                  <a:gd name="connsiteY501" fmla="*/ 312292 h 697852"/>
                  <a:gd name="connsiteX502" fmla="*/ 7142 w 609772"/>
                  <a:gd name="connsiteY502" fmla="*/ 313174 h 697852"/>
                  <a:gd name="connsiteX503" fmla="*/ 8288 w 609772"/>
                  <a:gd name="connsiteY503" fmla="*/ 312557 h 697852"/>
                  <a:gd name="connsiteX504" fmla="*/ 8905 w 609772"/>
                  <a:gd name="connsiteY504" fmla="*/ 312821 h 697852"/>
                  <a:gd name="connsiteX505" fmla="*/ 8288 w 609772"/>
                  <a:gd name="connsiteY505" fmla="*/ 313086 h 697852"/>
                  <a:gd name="connsiteX506" fmla="*/ 7759 w 609772"/>
                  <a:gd name="connsiteY506" fmla="*/ 313968 h 697852"/>
                  <a:gd name="connsiteX507" fmla="*/ 8905 w 609772"/>
                  <a:gd name="connsiteY507" fmla="*/ 314849 h 697852"/>
                  <a:gd name="connsiteX508" fmla="*/ 9787 w 609772"/>
                  <a:gd name="connsiteY508" fmla="*/ 314849 h 697852"/>
                  <a:gd name="connsiteX509" fmla="*/ 10051 w 609772"/>
                  <a:gd name="connsiteY509" fmla="*/ 315466 h 697852"/>
                  <a:gd name="connsiteX510" fmla="*/ 10404 w 609772"/>
                  <a:gd name="connsiteY510" fmla="*/ 316084 h 697852"/>
                  <a:gd name="connsiteX511" fmla="*/ 10051 w 609772"/>
                  <a:gd name="connsiteY511" fmla="*/ 316701 h 697852"/>
                  <a:gd name="connsiteX512" fmla="*/ 10669 w 609772"/>
                  <a:gd name="connsiteY512" fmla="*/ 317583 h 697852"/>
                  <a:gd name="connsiteX513" fmla="*/ 11198 w 609772"/>
                  <a:gd name="connsiteY513" fmla="*/ 316965 h 697852"/>
                  <a:gd name="connsiteX514" fmla="*/ 12079 w 609772"/>
                  <a:gd name="connsiteY514" fmla="*/ 317847 h 697852"/>
                  <a:gd name="connsiteX515" fmla="*/ 11198 w 609772"/>
                  <a:gd name="connsiteY515" fmla="*/ 318112 h 697852"/>
                  <a:gd name="connsiteX516" fmla="*/ 11815 w 609772"/>
                  <a:gd name="connsiteY516" fmla="*/ 318993 h 697852"/>
                  <a:gd name="connsiteX517" fmla="*/ 11815 w 609772"/>
                  <a:gd name="connsiteY517" fmla="*/ 319522 h 697852"/>
                  <a:gd name="connsiteX518" fmla="*/ 12696 w 609772"/>
                  <a:gd name="connsiteY518" fmla="*/ 319875 h 697852"/>
                  <a:gd name="connsiteX519" fmla="*/ 14724 w 609772"/>
                  <a:gd name="connsiteY519" fmla="*/ 320757 h 697852"/>
                  <a:gd name="connsiteX520" fmla="*/ 15253 w 609772"/>
                  <a:gd name="connsiteY520" fmla="*/ 321903 h 697852"/>
                  <a:gd name="connsiteX521" fmla="*/ 16399 w 609772"/>
                  <a:gd name="connsiteY521" fmla="*/ 322167 h 697852"/>
                  <a:gd name="connsiteX522" fmla="*/ 16399 w 609772"/>
                  <a:gd name="connsiteY522" fmla="*/ 323049 h 697852"/>
                  <a:gd name="connsiteX523" fmla="*/ 17281 w 609772"/>
                  <a:gd name="connsiteY523" fmla="*/ 323313 h 697852"/>
                  <a:gd name="connsiteX524" fmla="*/ 18515 w 609772"/>
                  <a:gd name="connsiteY524" fmla="*/ 324460 h 697852"/>
                  <a:gd name="connsiteX525" fmla="*/ 21425 w 609772"/>
                  <a:gd name="connsiteY525" fmla="*/ 324724 h 697852"/>
                  <a:gd name="connsiteX526" fmla="*/ 22924 w 609772"/>
                  <a:gd name="connsiteY526" fmla="*/ 326223 h 697852"/>
                  <a:gd name="connsiteX527" fmla="*/ 24687 w 609772"/>
                  <a:gd name="connsiteY527" fmla="*/ 326840 h 697852"/>
                  <a:gd name="connsiteX528" fmla="*/ 25833 w 609772"/>
                  <a:gd name="connsiteY528" fmla="*/ 327105 h 697852"/>
                  <a:gd name="connsiteX529" fmla="*/ 26715 w 609772"/>
                  <a:gd name="connsiteY529" fmla="*/ 327722 h 697852"/>
                  <a:gd name="connsiteX530" fmla="*/ 27861 w 609772"/>
                  <a:gd name="connsiteY530" fmla="*/ 327105 h 697852"/>
                  <a:gd name="connsiteX531" fmla="*/ 30771 w 609772"/>
                  <a:gd name="connsiteY531" fmla="*/ 328604 h 697852"/>
                  <a:gd name="connsiteX532" fmla="*/ 32798 w 609772"/>
                  <a:gd name="connsiteY532" fmla="*/ 328604 h 697852"/>
                  <a:gd name="connsiteX533" fmla="*/ 33151 w 609772"/>
                  <a:gd name="connsiteY533" fmla="*/ 329750 h 697852"/>
                  <a:gd name="connsiteX534" fmla="*/ 36061 w 609772"/>
                  <a:gd name="connsiteY534" fmla="*/ 329750 h 697852"/>
                  <a:gd name="connsiteX535" fmla="*/ 36943 w 609772"/>
                  <a:gd name="connsiteY535" fmla="*/ 328868 h 697852"/>
                  <a:gd name="connsiteX536" fmla="*/ 36943 w 609772"/>
                  <a:gd name="connsiteY536" fmla="*/ 328604 h 697852"/>
                  <a:gd name="connsiteX537" fmla="*/ 36943 w 609772"/>
                  <a:gd name="connsiteY537" fmla="*/ 327105 h 697852"/>
                  <a:gd name="connsiteX538" fmla="*/ 38353 w 609772"/>
                  <a:gd name="connsiteY538" fmla="*/ 327105 h 697852"/>
                  <a:gd name="connsiteX539" fmla="*/ 40381 w 609772"/>
                  <a:gd name="connsiteY539" fmla="*/ 325959 h 697852"/>
                  <a:gd name="connsiteX540" fmla="*/ 44437 w 609772"/>
                  <a:gd name="connsiteY540" fmla="*/ 326223 h 697852"/>
                  <a:gd name="connsiteX541" fmla="*/ 44172 w 609772"/>
                  <a:gd name="connsiteY541" fmla="*/ 325077 h 697852"/>
                  <a:gd name="connsiteX542" fmla="*/ 44701 w 609772"/>
                  <a:gd name="connsiteY542" fmla="*/ 324195 h 697852"/>
                  <a:gd name="connsiteX543" fmla="*/ 45319 w 609772"/>
                  <a:gd name="connsiteY543" fmla="*/ 323313 h 697852"/>
                  <a:gd name="connsiteX544" fmla="*/ 45583 w 609772"/>
                  <a:gd name="connsiteY544" fmla="*/ 323931 h 697852"/>
                  <a:gd name="connsiteX545" fmla="*/ 45054 w 609772"/>
                  <a:gd name="connsiteY545" fmla="*/ 325694 h 697852"/>
                  <a:gd name="connsiteX546" fmla="*/ 46200 w 609772"/>
                  <a:gd name="connsiteY546" fmla="*/ 324812 h 697852"/>
                  <a:gd name="connsiteX547" fmla="*/ 46200 w 609772"/>
                  <a:gd name="connsiteY547" fmla="*/ 324283 h 697852"/>
                  <a:gd name="connsiteX548" fmla="*/ 47082 w 609772"/>
                  <a:gd name="connsiteY548" fmla="*/ 324548 h 697852"/>
                  <a:gd name="connsiteX549" fmla="*/ 47082 w 609772"/>
                  <a:gd name="connsiteY549" fmla="*/ 324812 h 697852"/>
                  <a:gd name="connsiteX550" fmla="*/ 50344 w 609772"/>
                  <a:gd name="connsiteY550" fmla="*/ 324812 h 697852"/>
                  <a:gd name="connsiteX551" fmla="*/ 51226 w 609772"/>
                  <a:gd name="connsiteY551" fmla="*/ 323313 h 697852"/>
                  <a:gd name="connsiteX552" fmla="*/ 50080 w 609772"/>
                  <a:gd name="connsiteY552" fmla="*/ 322167 h 697852"/>
                  <a:gd name="connsiteX553" fmla="*/ 49815 w 609772"/>
                  <a:gd name="connsiteY553" fmla="*/ 321286 h 697852"/>
                  <a:gd name="connsiteX554" fmla="*/ 52107 w 609772"/>
                  <a:gd name="connsiteY554" fmla="*/ 320404 h 697852"/>
                  <a:gd name="connsiteX555" fmla="*/ 52989 w 609772"/>
                  <a:gd name="connsiteY555" fmla="*/ 321286 h 697852"/>
                  <a:gd name="connsiteX556" fmla="*/ 52989 w 609772"/>
                  <a:gd name="connsiteY556" fmla="*/ 322167 h 697852"/>
                  <a:gd name="connsiteX557" fmla="*/ 53254 w 609772"/>
                  <a:gd name="connsiteY557" fmla="*/ 323313 h 697852"/>
                  <a:gd name="connsiteX558" fmla="*/ 52636 w 609772"/>
                  <a:gd name="connsiteY558" fmla="*/ 324195 h 697852"/>
                  <a:gd name="connsiteX559" fmla="*/ 51138 w 609772"/>
                  <a:gd name="connsiteY559" fmla="*/ 324195 h 697852"/>
                  <a:gd name="connsiteX560" fmla="*/ 51138 w 609772"/>
                  <a:gd name="connsiteY560" fmla="*/ 324724 h 697852"/>
                  <a:gd name="connsiteX561" fmla="*/ 50256 w 609772"/>
                  <a:gd name="connsiteY561" fmla="*/ 325870 h 697852"/>
                  <a:gd name="connsiteX562" fmla="*/ 48493 w 609772"/>
                  <a:gd name="connsiteY562" fmla="*/ 327634 h 697852"/>
                  <a:gd name="connsiteX563" fmla="*/ 48493 w 609772"/>
                  <a:gd name="connsiteY563" fmla="*/ 328780 h 697852"/>
                  <a:gd name="connsiteX564" fmla="*/ 47611 w 609772"/>
                  <a:gd name="connsiteY564" fmla="*/ 329662 h 697852"/>
                  <a:gd name="connsiteX565" fmla="*/ 47611 w 609772"/>
                  <a:gd name="connsiteY565" fmla="*/ 330191 h 697852"/>
                  <a:gd name="connsiteX566" fmla="*/ 48228 w 609772"/>
                  <a:gd name="connsiteY566" fmla="*/ 332571 h 697852"/>
                  <a:gd name="connsiteX567" fmla="*/ 46200 w 609772"/>
                  <a:gd name="connsiteY567" fmla="*/ 335216 h 697852"/>
                  <a:gd name="connsiteX568" fmla="*/ 44437 w 609772"/>
                  <a:gd name="connsiteY568" fmla="*/ 335216 h 697852"/>
                  <a:gd name="connsiteX569" fmla="*/ 43555 w 609772"/>
                  <a:gd name="connsiteY569" fmla="*/ 335216 h 697852"/>
                  <a:gd name="connsiteX570" fmla="*/ 41528 w 609772"/>
                  <a:gd name="connsiteY570" fmla="*/ 335216 h 697852"/>
                  <a:gd name="connsiteX571" fmla="*/ 41528 w 609772"/>
                  <a:gd name="connsiteY571" fmla="*/ 335833 h 697852"/>
                  <a:gd name="connsiteX572" fmla="*/ 39499 w 609772"/>
                  <a:gd name="connsiteY572" fmla="*/ 336715 h 697852"/>
                  <a:gd name="connsiteX573" fmla="*/ 38089 w 609772"/>
                  <a:gd name="connsiteY573" fmla="*/ 338478 h 697852"/>
                  <a:gd name="connsiteX574" fmla="*/ 38089 w 609772"/>
                  <a:gd name="connsiteY574" fmla="*/ 337068 h 697852"/>
                  <a:gd name="connsiteX575" fmla="*/ 36590 w 609772"/>
                  <a:gd name="connsiteY575" fmla="*/ 338478 h 697852"/>
                  <a:gd name="connsiteX576" fmla="*/ 36325 w 609772"/>
                  <a:gd name="connsiteY576" fmla="*/ 339360 h 697852"/>
                  <a:gd name="connsiteX577" fmla="*/ 35179 w 609772"/>
                  <a:gd name="connsiteY577" fmla="*/ 339977 h 697852"/>
                  <a:gd name="connsiteX578" fmla="*/ 35179 w 609772"/>
                  <a:gd name="connsiteY578" fmla="*/ 339713 h 697852"/>
                  <a:gd name="connsiteX579" fmla="*/ 33945 w 609772"/>
                  <a:gd name="connsiteY579" fmla="*/ 338831 h 697852"/>
                  <a:gd name="connsiteX580" fmla="*/ 33680 w 609772"/>
                  <a:gd name="connsiteY580" fmla="*/ 337068 h 697852"/>
                  <a:gd name="connsiteX581" fmla="*/ 33151 w 609772"/>
                  <a:gd name="connsiteY581" fmla="*/ 337332 h 697852"/>
                  <a:gd name="connsiteX582" fmla="*/ 31653 w 609772"/>
                  <a:gd name="connsiteY582" fmla="*/ 337068 h 697852"/>
                  <a:gd name="connsiteX583" fmla="*/ 31917 w 609772"/>
                  <a:gd name="connsiteY583" fmla="*/ 337685 h 697852"/>
                  <a:gd name="connsiteX584" fmla="*/ 32798 w 609772"/>
                  <a:gd name="connsiteY584" fmla="*/ 338831 h 697852"/>
                  <a:gd name="connsiteX585" fmla="*/ 32182 w 609772"/>
                  <a:gd name="connsiteY585" fmla="*/ 340242 h 697852"/>
                  <a:gd name="connsiteX586" fmla="*/ 31035 w 609772"/>
                  <a:gd name="connsiteY586" fmla="*/ 340506 h 697852"/>
                  <a:gd name="connsiteX587" fmla="*/ 29272 w 609772"/>
                  <a:gd name="connsiteY587" fmla="*/ 340242 h 697852"/>
                  <a:gd name="connsiteX588" fmla="*/ 29536 w 609772"/>
                  <a:gd name="connsiteY588" fmla="*/ 341388 h 697852"/>
                  <a:gd name="connsiteX589" fmla="*/ 27508 w 609772"/>
                  <a:gd name="connsiteY589" fmla="*/ 342005 h 697852"/>
                  <a:gd name="connsiteX590" fmla="*/ 26362 w 609772"/>
                  <a:gd name="connsiteY590" fmla="*/ 340506 h 697852"/>
                  <a:gd name="connsiteX591" fmla="*/ 26098 w 609772"/>
                  <a:gd name="connsiteY591" fmla="*/ 339625 h 697852"/>
                  <a:gd name="connsiteX592" fmla="*/ 27244 w 609772"/>
                  <a:gd name="connsiteY592" fmla="*/ 338743 h 697852"/>
                  <a:gd name="connsiteX593" fmla="*/ 26980 w 609772"/>
                  <a:gd name="connsiteY593" fmla="*/ 338478 h 697852"/>
                  <a:gd name="connsiteX594" fmla="*/ 26098 w 609772"/>
                  <a:gd name="connsiteY594" fmla="*/ 338743 h 697852"/>
                  <a:gd name="connsiteX595" fmla="*/ 24070 w 609772"/>
                  <a:gd name="connsiteY595" fmla="*/ 338743 h 697852"/>
                  <a:gd name="connsiteX596" fmla="*/ 22924 w 609772"/>
                  <a:gd name="connsiteY596" fmla="*/ 338478 h 697852"/>
                  <a:gd name="connsiteX597" fmla="*/ 22924 w 609772"/>
                  <a:gd name="connsiteY597" fmla="*/ 337597 h 697852"/>
                  <a:gd name="connsiteX598" fmla="*/ 23806 w 609772"/>
                  <a:gd name="connsiteY598" fmla="*/ 336980 h 697852"/>
                  <a:gd name="connsiteX599" fmla="*/ 22307 w 609772"/>
                  <a:gd name="connsiteY599" fmla="*/ 336098 h 697852"/>
                  <a:gd name="connsiteX600" fmla="*/ 21425 w 609772"/>
                  <a:gd name="connsiteY600" fmla="*/ 336980 h 697852"/>
                  <a:gd name="connsiteX601" fmla="*/ 21161 w 609772"/>
                  <a:gd name="connsiteY601" fmla="*/ 339007 h 697852"/>
                  <a:gd name="connsiteX602" fmla="*/ 21777 w 609772"/>
                  <a:gd name="connsiteY602" fmla="*/ 340154 h 697852"/>
                  <a:gd name="connsiteX603" fmla="*/ 21513 w 609772"/>
                  <a:gd name="connsiteY603" fmla="*/ 341652 h 697852"/>
                  <a:gd name="connsiteX604" fmla="*/ 22395 w 609772"/>
                  <a:gd name="connsiteY604" fmla="*/ 344033 h 697852"/>
                  <a:gd name="connsiteX605" fmla="*/ 28214 w 609772"/>
                  <a:gd name="connsiteY605" fmla="*/ 348706 h 697852"/>
                  <a:gd name="connsiteX606" fmla="*/ 30859 w 609772"/>
                  <a:gd name="connsiteY606" fmla="*/ 351616 h 697852"/>
                  <a:gd name="connsiteX607" fmla="*/ 30594 w 609772"/>
                  <a:gd name="connsiteY607" fmla="*/ 351351 h 697852"/>
                  <a:gd name="connsiteX608" fmla="*/ 30859 w 609772"/>
                  <a:gd name="connsiteY608" fmla="*/ 352497 h 697852"/>
                  <a:gd name="connsiteX609" fmla="*/ 32622 w 609772"/>
                  <a:gd name="connsiteY609" fmla="*/ 354261 h 697852"/>
                  <a:gd name="connsiteX610" fmla="*/ 33769 w 609772"/>
                  <a:gd name="connsiteY610" fmla="*/ 354878 h 697852"/>
                  <a:gd name="connsiteX611" fmla="*/ 36149 w 609772"/>
                  <a:gd name="connsiteY611" fmla="*/ 357170 h 697852"/>
                  <a:gd name="connsiteX612" fmla="*/ 37295 w 609772"/>
                  <a:gd name="connsiteY612" fmla="*/ 358669 h 697852"/>
                  <a:gd name="connsiteX613" fmla="*/ 40822 w 609772"/>
                  <a:gd name="connsiteY613" fmla="*/ 361314 h 697852"/>
                  <a:gd name="connsiteX614" fmla="*/ 40822 w 609772"/>
                  <a:gd name="connsiteY614" fmla="*/ 361579 h 697852"/>
                  <a:gd name="connsiteX615" fmla="*/ 40822 w 609772"/>
                  <a:gd name="connsiteY615" fmla="*/ 362460 h 697852"/>
                  <a:gd name="connsiteX616" fmla="*/ 44878 w 609772"/>
                  <a:gd name="connsiteY616" fmla="*/ 365370 h 697852"/>
                  <a:gd name="connsiteX617" fmla="*/ 45142 w 609772"/>
                  <a:gd name="connsiteY617" fmla="*/ 366869 h 697852"/>
                  <a:gd name="connsiteX618" fmla="*/ 47523 w 609772"/>
                  <a:gd name="connsiteY618" fmla="*/ 368632 h 697852"/>
                  <a:gd name="connsiteX619" fmla="*/ 50432 w 609772"/>
                  <a:gd name="connsiteY619" fmla="*/ 371542 h 697852"/>
                  <a:gd name="connsiteX620" fmla="*/ 55370 w 609772"/>
                  <a:gd name="connsiteY620" fmla="*/ 375950 h 697852"/>
                  <a:gd name="connsiteX621" fmla="*/ 56251 w 609772"/>
                  <a:gd name="connsiteY621" fmla="*/ 375950 h 697852"/>
                  <a:gd name="connsiteX622" fmla="*/ 57398 w 609772"/>
                  <a:gd name="connsiteY622" fmla="*/ 377096 h 697852"/>
                  <a:gd name="connsiteX623" fmla="*/ 60660 w 609772"/>
                  <a:gd name="connsiteY623" fmla="*/ 378860 h 697852"/>
                  <a:gd name="connsiteX624" fmla="*/ 62688 w 609772"/>
                  <a:gd name="connsiteY624" fmla="*/ 379741 h 697852"/>
                  <a:gd name="connsiteX625" fmla="*/ 63834 w 609772"/>
                  <a:gd name="connsiteY625" fmla="*/ 380887 h 697852"/>
                  <a:gd name="connsiteX626" fmla="*/ 65333 w 609772"/>
                  <a:gd name="connsiteY626" fmla="*/ 380887 h 697852"/>
                  <a:gd name="connsiteX627" fmla="*/ 64804 w 609772"/>
                  <a:gd name="connsiteY627" fmla="*/ 381769 h 697852"/>
                  <a:gd name="connsiteX628" fmla="*/ 67449 w 609772"/>
                  <a:gd name="connsiteY628" fmla="*/ 382386 h 697852"/>
                  <a:gd name="connsiteX629" fmla="*/ 69477 w 609772"/>
                  <a:gd name="connsiteY629" fmla="*/ 380887 h 697852"/>
                  <a:gd name="connsiteX630" fmla="*/ 70975 w 609772"/>
                  <a:gd name="connsiteY630" fmla="*/ 380006 h 697852"/>
                  <a:gd name="connsiteX631" fmla="*/ 72386 w 609772"/>
                  <a:gd name="connsiteY631" fmla="*/ 378860 h 697852"/>
                  <a:gd name="connsiteX632" fmla="*/ 73885 w 609772"/>
                  <a:gd name="connsiteY632" fmla="*/ 379389 h 697852"/>
                  <a:gd name="connsiteX633" fmla="*/ 76795 w 609772"/>
                  <a:gd name="connsiteY633" fmla="*/ 377890 h 697852"/>
                  <a:gd name="connsiteX634" fmla="*/ 77941 w 609772"/>
                  <a:gd name="connsiteY634" fmla="*/ 377625 h 697852"/>
                  <a:gd name="connsiteX635" fmla="*/ 79704 w 609772"/>
                  <a:gd name="connsiteY635" fmla="*/ 376479 h 697852"/>
                  <a:gd name="connsiteX636" fmla="*/ 79704 w 609772"/>
                  <a:gd name="connsiteY636" fmla="*/ 375333 h 697852"/>
                  <a:gd name="connsiteX637" fmla="*/ 81203 w 609772"/>
                  <a:gd name="connsiteY637" fmla="*/ 374187 h 697852"/>
                  <a:gd name="connsiteX638" fmla="*/ 81203 w 609772"/>
                  <a:gd name="connsiteY638" fmla="*/ 374451 h 697852"/>
                  <a:gd name="connsiteX639" fmla="*/ 82350 w 609772"/>
                  <a:gd name="connsiteY639" fmla="*/ 375333 h 697852"/>
                  <a:gd name="connsiteX640" fmla="*/ 84112 w 609772"/>
                  <a:gd name="connsiteY640" fmla="*/ 372688 h 697852"/>
                  <a:gd name="connsiteX641" fmla="*/ 84730 w 609772"/>
                  <a:gd name="connsiteY641" fmla="*/ 373217 h 697852"/>
                  <a:gd name="connsiteX642" fmla="*/ 85612 w 609772"/>
                  <a:gd name="connsiteY642" fmla="*/ 372335 h 697852"/>
                  <a:gd name="connsiteX643" fmla="*/ 85612 w 609772"/>
                  <a:gd name="connsiteY643" fmla="*/ 371453 h 697852"/>
                  <a:gd name="connsiteX644" fmla="*/ 86758 w 609772"/>
                  <a:gd name="connsiteY644" fmla="*/ 370307 h 697852"/>
                  <a:gd name="connsiteX645" fmla="*/ 89050 w 609772"/>
                  <a:gd name="connsiteY645" fmla="*/ 369690 h 697852"/>
                  <a:gd name="connsiteX646" fmla="*/ 90813 w 609772"/>
                  <a:gd name="connsiteY646" fmla="*/ 369690 h 697852"/>
                  <a:gd name="connsiteX647" fmla="*/ 92312 w 609772"/>
                  <a:gd name="connsiteY647" fmla="*/ 369073 h 697852"/>
                  <a:gd name="connsiteX648" fmla="*/ 92577 w 609772"/>
                  <a:gd name="connsiteY648" fmla="*/ 367662 h 697852"/>
                  <a:gd name="connsiteX649" fmla="*/ 91695 w 609772"/>
                  <a:gd name="connsiteY649" fmla="*/ 366781 h 697852"/>
                  <a:gd name="connsiteX650" fmla="*/ 92842 w 609772"/>
                  <a:gd name="connsiteY650" fmla="*/ 364753 h 697852"/>
                  <a:gd name="connsiteX651" fmla="*/ 93987 w 609772"/>
                  <a:gd name="connsiteY651" fmla="*/ 362989 h 697852"/>
                  <a:gd name="connsiteX652" fmla="*/ 94605 w 609772"/>
                  <a:gd name="connsiteY652" fmla="*/ 361490 h 697852"/>
                  <a:gd name="connsiteX653" fmla="*/ 95751 w 609772"/>
                  <a:gd name="connsiteY653" fmla="*/ 360344 h 697852"/>
                  <a:gd name="connsiteX654" fmla="*/ 96015 w 609772"/>
                  <a:gd name="connsiteY654" fmla="*/ 358581 h 697852"/>
                  <a:gd name="connsiteX655" fmla="*/ 95487 w 609772"/>
                  <a:gd name="connsiteY655" fmla="*/ 357964 h 697852"/>
                  <a:gd name="connsiteX656" fmla="*/ 95487 w 609772"/>
                  <a:gd name="connsiteY656" fmla="*/ 356817 h 697852"/>
                  <a:gd name="connsiteX657" fmla="*/ 93458 w 609772"/>
                  <a:gd name="connsiteY657" fmla="*/ 355936 h 697852"/>
                  <a:gd name="connsiteX658" fmla="*/ 93987 w 609772"/>
                  <a:gd name="connsiteY658" fmla="*/ 355054 h 697852"/>
                  <a:gd name="connsiteX659" fmla="*/ 93106 w 609772"/>
                  <a:gd name="connsiteY659" fmla="*/ 354172 h 697852"/>
                  <a:gd name="connsiteX660" fmla="*/ 91960 w 609772"/>
                  <a:gd name="connsiteY660" fmla="*/ 354172 h 697852"/>
                  <a:gd name="connsiteX661" fmla="*/ 90196 w 609772"/>
                  <a:gd name="connsiteY661" fmla="*/ 354172 h 697852"/>
                  <a:gd name="connsiteX662" fmla="*/ 89315 w 609772"/>
                  <a:gd name="connsiteY662" fmla="*/ 355054 h 697852"/>
                  <a:gd name="connsiteX663" fmla="*/ 88433 w 609772"/>
                  <a:gd name="connsiteY663" fmla="*/ 354437 h 697852"/>
                  <a:gd name="connsiteX664" fmla="*/ 88962 w 609772"/>
                  <a:gd name="connsiteY664" fmla="*/ 354172 h 697852"/>
                  <a:gd name="connsiteX665" fmla="*/ 88080 w 609772"/>
                  <a:gd name="connsiteY665" fmla="*/ 352145 h 697852"/>
                  <a:gd name="connsiteX666" fmla="*/ 88697 w 609772"/>
                  <a:gd name="connsiteY666" fmla="*/ 351263 h 697852"/>
                  <a:gd name="connsiteX667" fmla="*/ 89579 w 609772"/>
                  <a:gd name="connsiteY667" fmla="*/ 352409 h 697852"/>
                  <a:gd name="connsiteX668" fmla="*/ 89579 w 609772"/>
                  <a:gd name="connsiteY668" fmla="*/ 351792 h 697852"/>
                  <a:gd name="connsiteX669" fmla="*/ 89579 w 609772"/>
                  <a:gd name="connsiteY669" fmla="*/ 350910 h 697852"/>
                  <a:gd name="connsiteX670" fmla="*/ 90196 w 609772"/>
                  <a:gd name="connsiteY670" fmla="*/ 350293 h 697852"/>
                  <a:gd name="connsiteX671" fmla="*/ 89932 w 609772"/>
                  <a:gd name="connsiteY671" fmla="*/ 351175 h 697852"/>
                  <a:gd name="connsiteX672" fmla="*/ 90813 w 609772"/>
                  <a:gd name="connsiteY672" fmla="*/ 351704 h 697852"/>
                  <a:gd name="connsiteX673" fmla="*/ 91431 w 609772"/>
                  <a:gd name="connsiteY673" fmla="*/ 352056 h 697852"/>
                  <a:gd name="connsiteX674" fmla="*/ 91695 w 609772"/>
                  <a:gd name="connsiteY674" fmla="*/ 351439 h 697852"/>
                  <a:gd name="connsiteX675" fmla="*/ 91960 w 609772"/>
                  <a:gd name="connsiteY675" fmla="*/ 350822 h 697852"/>
                  <a:gd name="connsiteX676" fmla="*/ 91342 w 609772"/>
                  <a:gd name="connsiteY676" fmla="*/ 350205 h 697852"/>
                  <a:gd name="connsiteX677" fmla="*/ 91960 w 609772"/>
                  <a:gd name="connsiteY677" fmla="*/ 350205 h 697852"/>
                  <a:gd name="connsiteX678" fmla="*/ 91695 w 609772"/>
                  <a:gd name="connsiteY678" fmla="*/ 349588 h 697852"/>
                  <a:gd name="connsiteX679" fmla="*/ 89667 w 609772"/>
                  <a:gd name="connsiteY679" fmla="*/ 349852 h 697852"/>
                  <a:gd name="connsiteX680" fmla="*/ 88786 w 609772"/>
                  <a:gd name="connsiteY680" fmla="*/ 349235 h 697852"/>
                  <a:gd name="connsiteX681" fmla="*/ 89932 w 609772"/>
                  <a:gd name="connsiteY681" fmla="*/ 349235 h 697852"/>
                  <a:gd name="connsiteX682" fmla="*/ 89667 w 609772"/>
                  <a:gd name="connsiteY682" fmla="*/ 348353 h 697852"/>
                  <a:gd name="connsiteX683" fmla="*/ 90284 w 609772"/>
                  <a:gd name="connsiteY683" fmla="*/ 348089 h 697852"/>
                  <a:gd name="connsiteX684" fmla="*/ 90637 w 609772"/>
                  <a:gd name="connsiteY684" fmla="*/ 347824 h 697852"/>
                  <a:gd name="connsiteX685" fmla="*/ 91519 w 609772"/>
                  <a:gd name="connsiteY685" fmla="*/ 348441 h 697852"/>
                  <a:gd name="connsiteX686" fmla="*/ 91783 w 609772"/>
                  <a:gd name="connsiteY686" fmla="*/ 347824 h 697852"/>
                  <a:gd name="connsiteX687" fmla="*/ 92048 w 609772"/>
                  <a:gd name="connsiteY687" fmla="*/ 348441 h 697852"/>
                  <a:gd name="connsiteX688" fmla="*/ 92312 w 609772"/>
                  <a:gd name="connsiteY688" fmla="*/ 347824 h 697852"/>
                  <a:gd name="connsiteX689" fmla="*/ 93458 w 609772"/>
                  <a:gd name="connsiteY689" fmla="*/ 347824 h 697852"/>
                  <a:gd name="connsiteX690" fmla="*/ 94340 w 609772"/>
                  <a:gd name="connsiteY690" fmla="*/ 346678 h 697852"/>
                  <a:gd name="connsiteX691" fmla="*/ 94693 w 609772"/>
                  <a:gd name="connsiteY691" fmla="*/ 345532 h 697852"/>
                  <a:gd name="connsiteX692" fmla="*/ 94076 w 609772"/>
                  <a:gd name="connsiteY692" fmla="*/ 344121 h 697852"/>
                  <a:gd name="connsiteX693" fmla="*/ 92312 w 609772"/>
                  <a:gd name="connsiteY693" fmla="*/ 343504 h 697852"/>
                  <a:gd name="connsiteX694" fmla="*/ 92577 w 609772"/>
                  <a:gd name="connsiteY694" fmla="*/ 342358 h 697852"/>
                  <a:gd name="connsiteX695" fmla="*/ 92312 w 609772"/>
                  <a:gd name="connsiteY695" fmla="*/ 341212 h 697852"/>
                  <a:gd name="connsiteX696" fmla="*/ 91695 w 609772"/>
                  <a:gd name="connsiteY696" fmla="*/ 342358 h 697852"/>
                  <a:gd name="connsiteX697" fmla="*/ 91166 w 609772"/>
                  <a:gd name="connsiteY697" fmla="*/ 340859 h 697852"/>
                  <a:gd name="connsiteX698" fmla="*/ 93194 w 609772"/>
                  <a:gd name="connsiteY698" fmla="*/ 339977 h 697852"/>
                  <a:gd name="connsiteX699" fmla="*/ 93194 w 609772"/>
                  <a:gd name="connsiteY699" fmla="*/ 340859 h 697852"/>
                  <a:gd name="connsiteX700" fmla="*/ 93194 w 609772"/>
                  <a:gd name="connsiteY700" fmla="*/ 342005 h 697852"/>
                  <a:gd name="connsiteX701" fmla="*/ 93458 w 609772"/>
                  <a:gd name="connsiteY701" fmla="*/ 342270 h 697852"/>
                  <a:gd name="connsiteX702" fmla="*/ 93723 w 609772"/>
                  <a:gd name="connsiteY702" fmla="*/ 341652 h 697852"/>
                  <a:gd name="connsiteX703" fmla="*/ 93723 w 609772"/>
                  <a:gd name="connsiteY703" fmla="*/ 341035 h 697852"/>
                  <a:gd name="connsiteX704" fmla="*/ 95222 w 609772"/>
                  <a:gd name="connsiteY704" fmla="*/ 339272 h 697852"/>
                  <a:gd name="connsiteX705" fmla="*/ 95839 w 609772"/>
                  <a:gd name="connsiteY705" fmla="*/ 339537 h 697852"/>
                  <a:gd name="connsiteX706" fmla="*/ 95222 w 609772"/>
                  <a:gd name="connsiteY706" fmla="*/ 340154 h 697852"/>
                  <a:gd name="connsiteX707" fmla="*/ 95487 w 609772"/>
                  <a:gd name="connsiteY707" fmla="*/ 342181 h 697852"/>
                  <a:gd name="connsiteX708" fmla="*/ 96368 w 609772"/>
                  <a:gd name="connsiteY708" fmla="*/ 341917 h 697852"/>
                  <a:gd name="connsiteX709" fmla="*/ 96897 w 609772"/>
                  <a:gd name="connsiteY709" fmla="*/ 341652 h 697852"/>
                  <a:gd name="connsiteX710" fmla="*/ 97162 w 609772"/>
                  <a:gd name="connsiteY710" fmla="*/ 342270 h 697852"/>
                  <a:gd name="connsiteX711" fmla="*/ 98308 w 609772"/>
                  <a:gd name="connsiteY711" fmla="*/ 342005 h 697852"/>
                  <a:gd name="connsiteX712" fmla="*/ 99718 w 609772"/>
                  <a:gd name="connsiteY712" fmla="*/ 341123 h 697852"/>
                  <a:gd name="connsiteX713" fmla="*/ 100865 w 609772"/>
                  <a:gd name="connsiteY713" fmla="*/ 341741 h 697852"/>
                  <a:gd name="connsiteX714" fmla="*/ 101482 w 609772"/>
                  <a:gd name="connsiteY714" fmla="*/ 341741 h 697852"/>
                  <a:gd name="connsiteX715" fmla="*/ 102981 w 609772"/>
                  <a:gd name="connsiteY715" fmla="*/ 342358 h 697852"/>
                  <a:gd name="connsiteX716" fmla="*/ 105008 w 609772"/>
                  <a:gd name="connsiteY716" fmla="*/ 341212 h 697852"/>
                  <a:gd name="connsiteX717" fmla="*/ 105626 w 609772"/>
                  <a:gd name="connsiteY717" fmla="*/ 341212 h 697852"/>
                  <a:gd name="connsiteX718" fmla="*/ 106243 w 609772"/>
                  <a:gd name="connsiteY718" fmla="*/ 340595 h 697852"/>
                  <a:gd name="connsiteX719" fmla="*/ 107125 w 609772"/>
                  <a:gd name="connsiteY719" fmla="*/ 341741 h 697852"/>
                  <a:gd name="connsiteX720" fmla="*/ 106508 w 609772"/>
                  <a:gd name="connsiteY720" fmla="*/ 342887 h 697852"/>
                  <a:gd name="connsiteX721" fmla="*/ 105361 w 609772"/>
                  <a:gd name="connsiteY721" fmla="*/ 342270 h 697852"/>
                  <a:gd name="connsiteX722" fmla="*/ 104744 w 609772"/>
                  <a:gd name="connsiteY722" fmla="*/ 342887 h 697852"/>
                  <a:gd name="connsiteX723" fmla="*/ 103245 w 609772"/>
                  <a:gd name="connsiteY723" fmla="*/ 343769 h 697852"/>
                  <a:gd name="connsiteX724" fmla="*/ 101746 w 609772"/>
                  <a:gd name="connsiteY724" fmla="*/ 343769 h 697852"/>
                  <a:gd name="connsiteX725" fmla="*/ 100865 w 609772"/>
                  <a:gd name="connsiteY725" fmla="*/ 342887 h 697852"/>
                  <a:gd name="connsiteX726" fmla="*/ 99983 w 609772"/>
                  <a:gd name="connsiteY726" fmla="*/ 343769 h 697852"/>
                  <a:gd name="connsiteX727" fmla="*/ 98837 w 609772"/>
                  <a:gd name="connsiteY727" fmla="*/ 344915 h 697852"/>
                  <a:gd name="connsiteX728" fmla="*/ 98484 w 609772"/>
                  <a:gd name="connsiteY728" fmla="*/ 348441 h 697852"/>
                  <a:gd name="connsiteX729" fmla="*/ 99366 w 609772"/>
                  <a:gd name="connsiteY729" fmla="*/ 349588 h 697852"/>
                  <a:gd name="connsiteX730" fmla="*/ 99366 w 609772"/>
                  <a:gd name="connsiteY730" fmla="*/ 350205 h 697852"/>
                  <a:gd name="connsiteX731" fmla="*/ 101658 w 609772"/>
                  <a:gd name="connsiteY731" fmla="*/ 348441 h 697852"/>
                  <a:gd name="connsiteX732" fmla="*/ 102275 w 609772"/>
                  <a:gd name="connsiteY732" fmla="*/ 347560 h 697852"/>
                  <a:gd name="connsiteX733" fmla="*/ 103421 w 609772"/>
                  <a:gd name="connsiteY733" fmla="*/ 347560 h 697852"/>
                  <a:gd name="connsiteX734" fmla="*/ 103774 w 609772"/>
                  <a:gd name="connsiteY734" fmla="*/ 348441 h 697852"/>
                  <a:gd name="connsiteX735" fmla="*/ 102363 w 609772"/>
                  <a:gd name="connsiteY735" fmla="*/ 348441 h 697852"/>
                  <a:gd name="connsiteX736" fmla="*/ 102363 w 609772"/>
                  <a:gd name="connsiteY736" fmla="*/ 349323 h 697852"/>
                  <a:gd name="connsiteX737" fmla="*/ 101746 w 609772"/>
                  <a:gd name="connsiteY737" fmla="*/ 349323 h 697852"/>
                  <a:gd name="connsiteX738" fmla="*/ 100865 w 609772"/>
                  <a:gd name="connsiteY738" fmla="*/ 351351 h 697852"/>
                  <a:gd name="connsiteX739" fmla="*/ 99983 w 609772"/>
                  <a:gd name="connsiteY739" fmla="*/ 353996 h 697852"/>
                  <a:gd name="connsiteX740" fmla="*/ 99983 w 609772"/>
                  <a:gd name="connsiteY740" fmla="*/ 355759 h 697852"/>
                  <a:gd name="connsiteX741" fmla="*/ 100336 w 609772"/>
                  <a:gd name="connsiteY741" fmla="*/ 356641 h 697852"/>
                  <a:gd name="connsiteX742" fmla="*/ 101482 w 609772"/>
                  <a:gd name="connsiteY742" fmla="*/ 355759 h 697852"/>
                  <a:gd name="connsiteX743" fmla="*/ 102628 w 609772"/>
                  <a:gd name="connsiteY743" fmla="*/ 356641 h 697852"/>
                  <a:gd name="connsiteX744" fmla="*/ 103245 w 609772"/>
                  <a:gd name="connsiteY744" fmla="*/ 356641 h 697852"/>
                  <a:gd name="connsiteX745" fmla="*/ 104744 w 609772"/>
                  <a:gd name="connsiteY745" fmla="*/ 356641 h 697852"/>
                  <a:gd name="connsiteX746" fmla="*/ 106508 w 609772"/>
                  <a:gd name="connsiteY746" fmla="*/ 356641 h 697852"/>
                  <a:gd name="connsiteX747" fmla="*/ 107125 w 609772"/>
                  <a:gd name="connsiteY747" fmla="*/ 356641 h 697852"/>
                  <a:gd name="connsiteX748" fmla="*/ 109770 w 609772"/>
                  <a:gd name="connsiteY748" fmla="*/ 355142 h 697852"/>
                  <a:gd name="connsiteX749" fmla="*/ 113032 w 609772"/>
                  <a:gd name="connsiteY749" fmla="*/ 353996 h 697852"/>
                  <a:gd name="connsiteX750" fmla="*/ 113296 w 609772"/>
                  <a:gd name="connsiteY750" fmla="*/ 354613 h 697852"/>
                  <a:gd name="connsiteX751" fmla="*/ 111533 w 609772"/>
                  <a:gd name="connsiteY751" fmla="*/ 356112 h 697852"/>
                  <a:gd name="connsiteX752" fmla="*/ 109152 w 609772"/>
                  <a:gd name="connsiteY752" fmla="*/ 357523 h 697852"/>
                  <a:gd name="connsiteX753" fmla="*/ 108271 w 609772"/>
                  <a:gd name="connsiteY753" fmla="*/ 356906 h 697852"/>
                  <a:gd name="connsiteX754" fmla="*/ 107389 w 609772"/>
                  <a:gd name="connsiteY754" fmla="*/ 357787 h 697852"/>
                  <a:gd name="connsiteX755" fmla="*/ 105097 w 609772"/>
                  <a:gd name="connsiteY755" fmla="*/ 358669 h 697852"/>
                  <a:gd name="connsiteX756" fmla="*/ 103598 w 609772"/>
                  <a:gd name="connsiteY756" fmla="*/ 359551 h 697852"/>
                  <a:gd name="connsiteX757" fmla="*/ 103333 w 609772"/>
                  <a:gd name="connsiteY757" fmla="*/ 361314 h 697852"/>
                  <a:gd name="connsiteX758" fmla="*/ 102452 w 609772"/>
                  <a:gd name="connsiteY758" fmla="*/ 362813 h 697852"/>
                  <a:gd name="connsiteX759" fmla="*/ 103333 w 609772"/>
                  <a:gd name="connsiteY759" fmla="*/ 362548 h 697852"/>
                  <a:gd name="connsiteX760" fmla="*/ 103950 w 609772"/>
                  <a:gd name="connsiteY760" fmla="*/ 361402 h 697852"/>
                  <a:gd name="connsiteX761" fmla="*/ 104832 w 609772"/>
                  <a:gd name="connsiteY761" fmla="*/ 361402 h 697852"/>
                  <a:gd name="connsiteX762" fmla="*/ 104832 w 609772"/>
                  <a:gd name="connsiteY762" fmla="*/ 362019 h 697852"/>
                  <a:gd name="connsiteX763" fmla="*/ 103950 w 609772"/>
                  <a:gd name="connsiteY763" fmla="*/ 362284 h 697852"/>
                  <a:gd name="connsiteX764" fmla="*/ 103598 w 609772"/>
                  <a:gd name="connsiteY764" fmla="*/ 363166 h 697852"/>
                  <a:gd name="connsiteX765" fmla="*/ 102716 w 609772"/>
                  <a:gd name="connsiteY765" fmla="*/ 363430 h 697852"/>
                  <a:gd name="connsiteX766" fmla="*/ 102452 w 609772"/>
                  <a:gd name="connsiteY766" fmla="*/ 364047 h 697852"/>
                  <a:gd name="connsiteX767" fmla="*/ 103598 w 609772"/>
                  <a:gd name="connsiteY767" fmla="*/ 364047 h 697852"/>
                  <a:gd name="connsiteX768" fmla="*/ 102452 w 609772"/>
                  <a:gd name="connsiteY768" fmla="*/ 364664 h 697852"/>
                  <a:gd name="connsiteX769" fmla="*/ 102716 w 609772"/>
                  <a:gd name="connsiteY769" fmla="*/ 367045 h 697852"/>
                  <a:gd name="connsiteX770" fmla="*/ 104744 w 609772"/>
                  <a:gd name="connsiteY770" fmla="*/ 368191 h 697852"/>
                  <a:gd name="connsiteX771" fmla="*/ 104215 w 609772"/>
                  <a:gd name="connsiteY771" fmla="*/ 369602 h 697852"/>
                  <a:gd name="connsiteX772" fmla="*/ 103598 w 609772"/>
                  <a:gd name="connsiteY772" fmla="*/ 370219 h 697852"/>
                  <a:gd name="connsiteX773" fmla="*/ 104215 w 609772"/>
                  <a:gd name="connsiteY773" fmla="*/ 370836 h 697852"/>
                  <a:gd name="connsiteX774" fmla="*/ 105097 w 609772"/>
                  <a:gd name="connsiteY774" fmla="*/ 369690 h 697852"/>
                  <a:gd name="connsiteX775" fmla="*/ 105361 w 609772"/>
                  <a:gd name="connsiteY775" fmla="*/ 369073 h 697852"/>
                  <a:gd name="connsiteX776" fmla="*/ 105890 w 609772"/>
                  <a:gd name="connsiteY776" fmla="*/ 369690 h 697852"/>
                  <a:gd name="connsiteX777" fmla="*/ 105361 w 609772"/>
                  <a:gd name="connsiteY777" fmla="*/ 370307 h 697852"/>
                  <a:gd name="connsiteX778" fmla="*/ 105361 w 609772"/>
                  <a:gd name="connsiteY778" fmla="*/ 371189 h 697852"/>
                  <a:gd name="connsiteX779" fmla="*/ 106243 w 609772"/>
                  <a:gd name="connsiteY779" fmla="*/ 370924 h 697852"/>
                  <a:gd name="connsiteX780" fmla="*/ 106243 w 609772"/>
                  <a:gd name="connsiteY780" fmla="*/ 370307 h 697852"/>
                  <a:gd name="connsiteX781" fmla="*/ 108006 w 609772"/>
                  <a:gd name="connsiteY781" fmla="*/ 370307 h 697852"/>
                  <a:gd name="connsiteX782" fmla="*/ 108359 w 609772"/>
                  <a:gd name="connsiteY782" fmla="*/ 369690 h 697852"/>
                  <a:gd name="connsiteX783" fmla="*/ 108624 w 609772"/>
                  <a:gd name="connsiteY783" fmla="*/ 370307 h 697852"/>
                  <a:gd name="connsiteX784" fmla="*/ 108359 w 609772"/>
                  <a:gd name="connsiteY784" fmla="*/ 371189 h 697852"/>
                  <a:gd name="connsiteX785" fmla="*/ 108006 w 609772"/>
                  <a:gd name="connsiteY785" fmla="*/ 371718 h 697852"/>
                  <a:gd name="connsiteX786" fmla="*/ 106596 w 609772"/>
                  <a:gd name="connsiteY786" fmla="*/ 372335 h 697852"/>
                  <a:gd name="connsiteX787" fmla="*/ 107213 w 609772"/>
                  <a:gd name="connsiteY787" fmla="*/ 372864 h 697852"/>
                  <a:gd name="connsiteX788" fmla="*/ 108359 w 609772"/>
                  <a:gd name="connsiteY788" fmla="*/ 372600 h 697852"/>
                  <a:gd name="connsiteX789" fmla="*/ 108888 w 609772"/>
                  <a:gd name="connsiteY789" fmla="*/ 372600 h 697852"/>
                  <a:gd name="connsiteX790" fmla="*/ 109152 w 609772"/>
                  <a:gd name="connsiteY790" fmla="*/ 374099 h 697852"/>
                  <a:gd name="connsiteX791" fmla="*/ 110034 w 609772"/>
                  <a:gd name="connsiteY791" fmla="*/ 374099 h 697852"/>
                  <a:gd name="connsiteX792" fmla="*/ 109770 w 609772"/>
                  <a:gd name="connsiteY792" fmla="*/ 374980 h 697852"/>
                  <a:gd name="connsiteX793" fmla="*/ 109152 w 609772"/>
                  <a:gd name="connsiteY793" fmla="*/ 375245 h 697852"/>
                  <a:gd name="connsiteX794" fmla="*/ 110299 w 609772"/>
                  <a:gd name="connsiteY794" fmla="*/ 375862 h 697852"/>
                  <a:gd name="connsiteX795" fmla="*/ 109417 w 609772"/>
                  <a:gd name="connsiteY795" fmla="*/ 376479 h 697852"/>
                  <a:gd name="connsiteX796" fmla="*/ 109417 w 609772"/>
                  <a:gd name="connsiteY796" fmla="*/ 377096 h 697852"/>
                  <a:gd name="connsiteX797" fmla="*/ 109417 w 609772"/>
                  <a:gd name="connsiteY797" fmla="*/ 377978 h 697852"/>
                  <a:gd name="connsiteX798" fmla="*/ 110563 w 609772"/>
                  <a:gd name="connsiteY798" fmla="*/ 377096 h 697852"/>
                  <a:gd name="connsiteX799" fmla="*/ 111180 w 609772"/>
                  <a:gd name="connsiteY799" fmla="*/ 377096 h 697852"/>
                  <a:gd name="connsiteX800" fmla="*/ 111797 w 609772"/>
                  <a:gd name="connsiteY800" fmla="*/ 377625 h 697852"/>
                  <a:gd name="connsiteX801" fmla="*/ 111180 w 609772"/>
                  <a:gd name="connsiteY801" fmla="*/ 378242 h 697852"/>
                  <a:gd name="connsiteX802" fmla="*/ 109152 w 609772"/>
                  <a:gd name="connsiteY802" fmla="*/ 379124 h 697852"/>
                  <a:gd name="connsiteX803" fmla="*/ 110034 w 609772"/>
                  <a:gd name="connsiteY803" fmla="*/ 379124 h 697852"/>
                  <a:gd name="connsiteX804" fmla="*/ 110916 w 609772"/>
                  <a:gd name="connsiteY804" fmla="*/ 380006 h 697852"/>
                  <a:gd name="connsiteX805" fmla="*/ 110916 w 609772"/>
                  <a:gd name="connsiteY805" fmla="*/ 380887 h 697852"/>
                  <a:gd name="connsiteX806" fmla="*/ 111533 w 609772"/>
                  <a:gd name="connsiteY806" fmla="*/ 381505 h 697852"/>
                  <a:gd name="connsiteX807" fmla="*/ 111268 w 609772"/>
                  <a:gd name="connsiteY807" fmla="*/ 382651 h 697852"/>
                  <a:gd name="connsiteX808" fmla="*/ 111533 w 609772"/>
                  <a:gd name="connsiteY808" fmla="*/ 385825 h 697852"/>
                  <a:gd name="connsiteX809" fmla="*/ 110651 w 609772"/>
                  <a:gd name="connsiteY809" fmla="*/ 386971 h 697852"/>
                  <a:gd name="connsiteX810" fmla="*/ 110916 w 609772"/>
                  <a:gd name="connsiteY810" fmla="*/ 388734 h 697852"/>
                  <a:gd name="connsiteX811" fmla="*/ 110034 w 609772"/>
                  <a:gd name="connsiteY811" fmla="*/ 389616 h 697852"/>
                  <a:gd name="connsiteX812" fmla="*/ 108535 w 609772"/>
                  <a:gd name="connsiteY812" fmla="*/ 388734 h 697852"/>
                  <a:gd name="connsiteX813" fmla="*/ 108535 w 609772"/>
                  <a:gd name="connsiteY813" fmla="*/ 390762 h 697852"/>
                  <a:gd name="connsiteX814" fmla="*/ 108800 w 609772"/>
                  <a:gd name="connsiteY814" fmla="*/ 392526 h 697852"/>
                  <a:gd name="connsiteX815" fmla="*/ 109681 w 609772"/>
                  <a:gd name="connsiteY815" fmla="*/ 394289 h 697852"/>
                  <a:gd name="connsiteX816" fmla="*/ 107654 w 609772"/>
                  <a:gd name="connsiteY816" fmla="*/ 396317 h 697852"/>
                  <a:gd name="connsiteX817" fmla="*/ 107918 w 609772"/>
                  <a:gd name="connsiteY817" fmla="*/ 396934 h 697852"/>
                  <a:gd name="connsiteX818" fmla="*/ 107918 w 609772"/>
                  <a:gd name="connsiteY818" fmla="*/ 398697 h 697852"/>
                  <a:gd name="connsiteX819" fmla="*/ 108271 w 609772"/>
                  <a:gd name="connsiteY819" fmla="*/ 399844 h 697852"/>
                  <a:gd name="connsiteX820" fmla="*/ 108271 w 609772"/>
                  <a:gd name="connsiteY820" fmla="*/ 401607 h 697852"/>
                  <a:gd name="connsiteX821" fmla="*/ 107654 w 609772"/>
                  <a:gd name="connsiteY821" fmla="*/ 402489 h 697852"/>
                  <a:gd name="connsiteX822" fmla="*/ 108535 w 609772"/>
                  <a:gd name="connsiteY822" fmla="*/ 403635 h 697852"/>
                  <a:gd name="connsiteX823" fmla="*/ 109152 w 609772"/>
                  <a:gd name="connsiteY823" fmla="*/ 403899 h 697852"/>
                  <a:gd name="connsiteX824" fmla="*/ 110034 w 609772"/>
                  <a:gd name="connsiteY824" fmla="*/ 403635 h 697852"/>
                  <a:gd name="connsiteX825" fmla="*/ 110034 w 609772"/>
                  <a:gd name="connsiteY825" fmla="*/ 404517 h 697852"/>
                  <a:gd name="connsiteX826" fmla="*/ 109152 w 609772"/>
                  <a:gd name="connsiteY826" fmla="*/ 404781 h 697852"/>
                  <a:gd name="connsiteX827" fmla="*/ 110299 w 609772"/>
                  <a:gd name="connsiteY827" fmla="*/ 406280 h 697852"/>
                  <a:gd name="connsiteX828" fmla="*/ 108800 w 609772"/>
                  <a:gd name="connsiteY828" fmla="*/ 406280 h 697852"/>
                  <a:gd name="connsiteX829" fmla="*/ 108271 w 609772"/>
                  <a:gd name="connsiteY829" fmla="*/ 406544 h 697852"/>
                  <a:gd name="connsiteX830" fmla="*/ 109152 w 609772"/>
                  <a:gd name="connsiteY830" fmla="*/ 407073 h 697852"/>
                  <a:gd name="connsiteX831" fmla="*/ 109152 w 609772"/>
                  <a:gd name="connsiteY831" fmla="*/ 407955 h 697852"/>
                  <a:gd name="connsiteX832" fmla="*/ 110034 w 609772"/>
                  <a:gd name="connsiteY832" fmla="*/ 409718 h 697852"/>
                  <a:gd name="connsiteX833" fmla="*/ 110651 w 609772"/>
                  <a:gd name="connsiteY833" fmla="*/ 409718 h 697852"/>
                  <a:gd name="connsiteX834" fmla="*/ 111533 w 609772"/>
                  <a:gd name="connsiteY834" fmla="*/ 409718 h 697852"/>
                  <a:gd name="connsiteX835" fmla="*/ 112415 w 609772"/>
                  <a:gd name="connsiteY835" fmla="*/ 409983 h 697852"/>
                  <a:gd name="connsiteX836" fmla="*/ 113296 w 609772"/>
                  <a:gd name="connsiteY836" fmla="*/ 409718 h 697852"/>
                  <a:gd name="connsiteX837" fmla="*/ 113913 w 609772"/>
                  <a:gd name="connsiteY837" fmla="*/ 410336 h 697852"/>
                  <a:gd name="connsiteX838" fmla="*/ 113649 w 609772"/>
                  <a:gd name="connsiteY838" fmla="*/ 410953 h 697852"/>
                  <a:gd name="connsiteX839" fmla="*/ 111357 w 609772"/>
                  <a:gd name="connsiteY839" fmla="*/ 413598 h 697852"/>
                  <a:gd name="connsiteX840" fmla="*/ 114266 w 609772"/>
                  <a:gd name="connsiteY840" fmla="*/ 414127 h 697852"/>
                  <a:gd name="connsiteX841" fmla="*/ 114884 w 609772"/>
                  <a:gd name="connsiteY841" fmla="*/ 415273 h 697852"/>
                  <a:gd name="connsiteX842" fmla="*/ 115148 w 609772"/>
                  <a:gd name="connsiteY842" fmla="*/ 415890 h 697852"/>
                  <a:gd name="connsiteX843" fmla="*/ 116911 w 609772"/>
                  <a:gd name="connsiteY843" fmla="*/ 415273 h 697852"/>
                  <a:gd name="connsiteX844" fmla="*/ 118058 w 609772"/>
                  <a:gd name="connsiteY844" fmla="*/ 415890 h 697852"/>
                  <a:gd name="connsiteX845" fmla="*/ 118322 w 609772"/>
                  <a:gd name="connsiteY845" fmla="*/ 417036 h 697852"/>
                  <a:gd name="connsiteX846" fmla="*/ 118939 w 609772"/>
                  <a:gd name="connsiteY846" fmla="*/ 417036 h 697852"/>
                  <a:gd name="connsiteX847" fmla="*/ 118322 w 609772"/>
                  <a:gd name="connsiteY847" fmla="*/ 417918 h 697852"/>
                  <a:gd name="connsiteX848" fmla="*/ 118322 w 609772"/>
                  <a:gd name="connsiteY848" fmla="*/ 418183 h 697852"/>
                  <a:gd name="connsiteX849" fmla="*/ 117176 w 609772"/>
                  <a:gd name="connsiteY849" fmla="*/ 417918 h 697852"/>
                  <a:gd name="connsiteX850" fmla="*/ 117176 w 609772"/>
                  <a:gd name="connsiteY850" fmla="*/ 416419 h 697852"/>
                  <a:gd name="connsiteX851" fmla="*/ 115148 w 609772"/>
                  <a:gd name="connsiteY851" fmla="*/ 417301 h 697852"/>
                  <a:gd name="connsiteX852" fmla="*/ 114002 w 609772"/>
                  <a:gd name="connsiteY852" fmla="*/ 415273 h 697852"/>
                  <a:gd name="connsiteX853" fmla="*/ 113384 w 609772"/>
                  <a:gd name="connsiteY853" fmla="*/ 415890 h 697852"/>
                  <a:gd name="connsiteX854" fmla="*/ 113120 w 609772"/>
                  <a:gd name="connsiteY854" fmla="*/ 415273 h 697852"/>
                  <a:gd name="connsiteX855" fmla="*/ 112855 w 609772"/>
                  <a:gd name="connsiteY855" fmla="*/ 416684 h 697852"/>
                  <a:gd name="connsiteX856" fmla="*/ 113473 w 609772"/>
                  <a:gd name="connsiteY856" fmla="*/ 418183 h 697852"/>
                  <a:gd name="connsiteX857" fmla="*/ 113737 w 609772"/>
                  <a:gd name="connsiteY857" fmla="*/ 418183 h 697852"/>
                  <a:gd name="connsiteX858" fmla="*/ 113737 w 609772"/>
                  <a:gd name="connsiteY858" fmla="*/ 419064 h 697852"/>
                  <a:gd name="connsiteX859" fmla="*/ 113737 w 609772"/>
                  <a:gd name="connsiteY859" fmla="*/ 419682 h 697852"/>
                  <a:gd name="connsiteX860" fmla="*/ 114354 w 609772"/>
                  <a:gd name="connsiteY860" fmla="*/ 419064 h 697852"/>
                  <a:gd name="connsiteX861" fmla="*/ 113737 w 609772"/>
                  <a:gd name="connsiteY861" fmla="*/ 421709 h 697852"/>
                  <a:gd name="connsiteX862" fmla="*/ 114619 w 609772"/>
                  <a:gd name="connsiteY862" fmla="*/ 422591 h 697852"/>
                  <a:gd name="connsiteX863" fmla="*/ 114884 w 609772"/>
                  <a:gd name="connsiteY863" fmla="*/ 423473 h 697852"/>
                  <a:gd name="connsiteX864" fmla="*/ 114002 w 609772"/>
                  <a:gd name="connsiteY864" fmla="*/ 423473 h 697852"/>
                  <a:gd name="connsiteX865" fmla="*/ 114884 w 609772"/>
                  <a:gd name="connsiteY865" fmla="*/ 423737 h 697852"/>
                  <a:gd name="connsiteX866" fmla="*/ 115148 w 609772"/>
                  <a:gd name="connsiteY866" fmla="*/ 425501 h 697852"/>
                  <a:gd name="connsiteX867" fmla="*/ 114884 w 609772"/>
                  <a:gd name="connsiteY867" fmla="*/ 423737 h 697852"/>
                  <a:gd name="connsiteX868" fmla="*/ 115148 w 609772"/>
                  <a:gd name="connsiteY868" fmla="*/ 424354 h 697852"/>
                  <a:gd name="connsiteX869" fmla="*/ 115765 w 609772"/>
                  <a:gd name="connsiteY869" fmla="*/ 423737 h 697852"/>
                  <a:gd name="connsiteX870" fmla="*/ 115765 w 609772"/>
                  <a:gd name="connsiteY870" fmla="*/ 422591 h 697852"/>
                  <a:gd name="connsiteX871" fmla="*/ 116911 w 609772"/>
                  <a:gd name="connsiteY871" fmla="*/ 422327 h 697852"/>
                  <a:gd name="connsiteX872" fmla="*/ 116911 w 609772"/>
                  <a:gd name="connsiteY872" fmla="*/ 421445 h 697852"/>
                  <a:gd name="connsiteX873" fmla="*/ 116911 w 609772"/>
                  <a:gd name="connsiteY873" fmla="*/ 420828 h 697852"/>
                  <a:gd name="connsiteX874" fmla="*/ 117440 w 609772"/>
                  <a:gd name="connsiteY874" fmla="*/ 419682 h 697852"/>
                  <a:gd name="connsiteX875" fmla="*/ 118322 w 609772"/>
                  <a:gd name="connsiteY875" fmla="*/ 420563 h 697852"/>
                  <a:gd name="connsiteX876" fmla="*/ 117793 w 609772"/>
                  <a:gd name="connsiteY876" fmla="*/ 421445 h 697852"/>
                  <a:gd name="connsiteX877" fmla="*/ 117793 w 609772"/>
                  <a:gd name="connsiteY877" fmla="*/ 423473 h 697852"/>
                  <a:gd name="connsiteX878" fmla="*/ 118939 w 609772"/>
                  <a:gd name="connsiteY878" fmla="*/ 422591 h 697852"/>
                  <a:gd name="connsiteX879" fmla="*/ 118939 w 609772"/>
                  <a:gd name="connsiteY879" fmla="*/ 423473 h 697852"/>
                  <a:gd name="connsiteX880" fmla="*/ 118058 w 609772"/>
                  <a:gd name="connsiteY880" fmla="*/ 424090 h 697852"/>
                  <a:gd name="connsiteX881" fmla="*/ 118058 w 609772"/>
                  <a:gd name="connsiteY881" fmla="*/ 425236 h 697852"/>
                  <a:gd name="connsiteX882" fmla="*/ 117440 w 609772"/>
                  <a:gd name="connsiteY882" fmla="*/ 424354 h 697852"/>
                  <a:gd name="connsiteX883" fmla="*/ 117440 w 609772"/>
                  <a:gd name="connsiteY883" fmla="*/ 424972 h 697852"/>
                  <a:gd name="connsiteX884" fmla="*/ 117176 w 609772"/>
                  <a:gd name="connsiteY884" fmla="*/ 425589 h 697852"/>
                  <a:gd name="connsiteX885" fmla="*/ 116029 w 609772"/>
                  <a:gd name="connsiteY885" fmla="*/ 425589 h 697852"/>
                  <a:gd name="connsiteX886" fmla="*/ 115413 w 609772"/>
                  <a:gd name="connsiteY886" fmla="*/ 426470 h 697852"/>
                  <a:gd name="connsiteX887" fmla="*/ 116294 w 609772"/>
                  <a:gd name="connsiteY887" fmla="*/ 427088 h 697852"/>
                  <a:gd name="connsiteX888" fmla="*/ 118322 w 609772"/>
                  <a:gd name="connsiteY888" fmla="*/ 426470 h 697852"/>
                  <a:gd name="connsiteX889" fmla="*/ 118322 w 609772"/>
                  <a:gd name="connsiteY889" fmla="*/ 427088 h 697852"/>
                  <a:gd name="connsiteX890" fmla="*/ 118322 w 609772"/>
                  <a:gd name="connsiteY890" fmla="*/ 427705 h 697852"/>
                  <a:gd name="connsiteX891" fmla="*/ 118322 w 609772"/>
                  <a:gd name="connsiteY891" fmla="*/ 428234 h 697852"/>
                  <a:gd name="connsiteX892" fmla="*/ 118675 w 609772"/>
                  <a:gd name="connsiteY892" fmla="*/ 429997 h 697852"/>
                  <a:gd name="connsiteX893" fmla="*/ 118058 w 609772"/>
                  <a:gd name="connsiteY893" fmla="*/ 431143 h 697852"/>
                  <a:gd name="connsiteX894" fmla="*/ 117176 w 609772"/>
                  <a:gd name="connsiteY894" fmla="*/ 429116 h 697852"/>
                  <a:gd name="connsiteX895" fmla="*/ 116294 w 609772"/>
                  <a:gd name="connsiteY895" fmla="*/ 429116 h 697852"/>
                  <a:gd name="connsiteX896" fmla="*/ 116294 w 609772"/>
                  <a:gd name="connsiteY896" fmla="*/ 428234 h 697852"/>
                  <a:gd name="connsiteX897" fmla="*/ 115413 w 609772"/>
                  <a:gd name="connsiteY897" fmla="*/ 428234 h 697852"/>
                  <a:gd name="connsiteX898" fmla="*/ 115677 w 609772"/>
                  <a:gd name="connsiteY898" fmla="*/ 431496 h 697852"/>
                  <a:gd name="connsiteX899" fmla="*/ 116823 w 609772"/>
                  <a:gd name="connsiteY899" fmla="*/ 432642 h 697852"/>
                  <a:gd name="connsiteX900" fmla="*/ 117088 w 609772"/>
                  <a:gd name="connsiteY900" fmla="*/ 434141 h 697852"/>
                  <a:gd name="connsiteX901" fmla="*/ 119733 w 609772"/>
                  <a:gd name="connsiteY901" fmla="*/ 434141 h 697852"/>
                  <a:gd name="connsiteX902" fmla="*/ 119733 w 609772"/>
                  <a:gd name="connsiteY902" fmla="*/ 435552 h 697852"/>
                  <a:gd name="connsiteX903" fmla="*/ 119733 w 609772"/>
                  <a:gd name="connsiteY903" fmla="*/ 436433 h 697852"/>
                  <a:gd name="connsiteX904" fmla="*/ 118851 w 609772"/>
                  <a:gd name="connsiteY904" fmla="*/ 437580 h 697852"/>
                  <a:gd name="connsiteX905" fmla="*/ 117969 w 609772"/>
                  <a:gd name="connsiteY905" fmla="*/ 435287 h 697852"/>
                  <a:gd name="connsiteX906" fmla="*/ 116823 w 609772"/>
                  <a:gd name="connsiteY906" fmla="*/ 434406 h 697852"/>
                  <a:gd name="connsiteX907" fmla="*/ 116206 w 609772"/>
                  <a:gd name="connsiteY907" fmla="*/ 436698 h 697852"/>
                  <a:gd name="connsiteX908" fmla="*/ 117352 w 609772"/>
                  <a:gd name="connsiteY908" fmla="*/ 438197 h 697852"/>
                  <a:gd name="connsiteX909" fmla="*/ 117352 w 609772"/>
                  <a:gd name="connsiteY909" fmla="*/ 439079 h 697852"/>
                  <a:gd name="connsiteX910" fmla="*/ 117352 w 609772"/>
                  <a:gd name="connsiteY910" fmla="*/ 439960 h 697852"/>
                  <a:gd name="connsiteX911" fmla="*/ 119733 w 609772"/>
                  <a:gd name="connsiteY911" fmla="*/ 439960 h 697852"/>
                  <a:gd name="connsiteX912" fmla="*/ 119733 w 609772"/>
                  <a:gd name="connsiteY912" fmla="*/ 440842 h 697852"/>
                  <a:gd name="connsiteX913" fmla="*/ 120350 w 609772"/>
                  <a:gd name="connsiteY913" fmla="*/ 440842 h 697852"/>
                  <a:gd name="connsiteX914" fmla="*/ 120967 w 609772"/>
                  <a:gd name="connsiteY914" fmla="*/ 440577 h 697852"/>
                  <a:gd name="connsiteX915" fmla="*/ 120967 w 609772"/>
                  <a:gd name="connsiteY915" fmla="*/ 441195 h 697852"/>
                  <a:gd name="connsiteX916" fmla="*/ 120967 w 609772"/>
                  <a:gd name="connsiteY916" fmla="*/ 442076 h 697852"/>
                  <a:gd name="connsiteX917" fmla="*/ 122113 w 609772"/>
                  <a:gd name="connsiteY917" fmla="*/ 442694 h 697852"/>
                  <a:gd name="connsiteX918" fmla="*/ 121496 w 609772"/>
                  <a:gd name="connsiteY918" fmla="*/ 443311 h 697852"/>
                  <a:gd name="connsiteX919" fmla="*/ 120967 w 609772"/>
                  <a:gd name="connsiteY919" fmla="*/ 443046 h 697852"/>
                  <a:gd name="connsiteX920" fmla="*/ 120085 w 609772"/>
                  <a:gd name="connsiteY920" fmla="*/ 442782 h 697852"/>
                  <a:gd name="connsiteX921" fmla="*/ 119204 w 609772"/>
                  <a:gd name="connsiteY921" fmla="*/ 442782 h 697852"/>
                  <a:gd name="connsiteX922" fmla="*/ 119821 w 609772"/>
                  <a:gd name="connsiteY922" fmla="*/ 442165 h 697852"/>
                  <a:gd name="connsiteX923" fmla="*/ 119204 w 609772"/>
                  <a:gd name="connsiteY923" fmla="*/ 442165 h 697852"/>
                  <a:gd name="connsiteX924" fmla="*/ 118587 w 609772"/>
                  <a:gd name="connsiteY924" fmla="*/ 442429 h 697852"/>
                  <a:gd name="connsiteX925" fmla="*/ 119204 w 609772"/>
                  <a:gd name="connsiteY925" fmla="*/ 443575 h 697852"/>
                  <a:gd name="connsiteX926" fmla="*/ 120085 w 609772"/>
                  <a:gd name="connsiteY926" fmla="*/ 443840 h 697852"/>
                  <a:gd name="connsiteX927" fmla="*/ 120350 w 609772"/>
                  <a:gd name="connsiteY927" fmla="*/ 445603 h 697852"/>
                  <a:gd name="connsiteX928" fmla="*/ 120350 w 609772"/>
                  <a:gd name="connsiteY928" fmla="*/ 446485 h 697852"/>
                  <a:gd name="connsiteX929" fmla="*/ 120350 w 609772"/>
                  <a:gd name="connsiteY929" fmla="*/ 446749 h 697852"/>
                  <a:gd name="connsiteX930" fmla="*/ 120967 w 609772"/>
                  <a:gd name="connsiteY930" fmla="*/ 447366 h 697852"/>
                  <a:gd name="connsiteX931" fmla="*/ 120350 w 609772"/>
                  <a:gd name="connsiteY931" fmla="*/ 448248 h 697852"/>
                  <a:gd name="connsiteX932" fmla="*/ 120614 w 609772"/>
                  <a:gd name="connsiteY932" fmla="*/ 448513 h 697852"/>
                  <a:gd name="connsiteX933" fmla="*/ 121496 w 609772"/>
                  <a:gd name="connsiteY933" fmla="*/ 448513 h 697852"/>
                  <a:gd name="connsiteX934" fmla="*/ 122378 w 609772"/>
                  <a:gd name="connsiteY934" fmla="*/ 449394 h 697852"/>
                  <a:gd name="connsiteX935" fmla="*/ 121761 w 609772"/>
                  <a:gd name="connsiteY935" fmla="*/ 450540 h 697852"/>
                  <a:gd name="connsiteX936" fmla="*/ 124053 w 609772"/>
                  <a:gd name="connsiteY936" fmla="*/ 453715 h 697852"/>
                  <a:gd name="connsiteX937" fmla="*/ 124317 w 609772"/>
                  <a:gd name="connsiteY937" fmla="*/ 456360 h 697852"/>
                  <a:gd name="connsiteX938" fmla="*/ 124317 w 609772"/>
                  <a:gd name="connsiteY938" fmla="*/ 457506 h 697852"/>
                  <a:gd name="connsiteX939" fmla="*/ 124582 w 609772"/>
                  <a:gd name="connsiteY939" fmla="*/ 458387 h 697852"/>
                  <a:gd name="connsiteX940" fmla="*/ 124846 w 609772"/>
                  <a:gd name="connsiteY940" fmla="*/ 459005 h 697852"/>
                  <a:gd name="connsiteX941" fmla="*/ 124582 w 609772"/>
                  <a:gd name="connsiteY941" fmla="*/ 459269 h 697852"/>
                  <a:gd name="connsiteX942" fmla="*/ 124582 w 609772"/>
                  <a:gd name="connsiteY942" fmla="*/ 459798 h 697852"/>
                  <a:gd name="connsiteX943" fmla="*/ 125728 w 609772"/>
                  <a:gd name="connsiteY943" fmla="*/ 461826 h 697852"/>
                  <a:gd name="connsiteX944" fmla="*/ 125992 w 609772"/>
                  <a:gd name="connsiteY944" fmla="*/ 462708 h 697852"/>
                  <a:gd name="connsiteX945" fmla="*/ 125992 w 609772"/>
                  <a:gd name="connsiteY945" fmla="*/ 463589 h 697852"/>
                  <a:gd name="connsiteX946" fmla="*/ 125992 w 609772"/>
                  <a:gd name="connsiteY946" fmla="*/ 463854 h 697852"/>
                  <a:gd name="connsiteX947" fmla="*/ 126345 w 609772"/>
                  <a:gd name="connsiteY947" fmla="*/ 465617 h 697852"/>
                  <a:gd name="connsiteX948" fmla="*/ 126610 w 609772"/>
                  <a:gd name="connsiteY948" fmla="*/ 467645 h 697852"/>
                  <a:gd name="connsiteX949" fmla="*/ 126610 w 609772"/>
                  <a:gd name="connsiteY949" fmla="*/ 468174 h 697852"/>
                  <a:gd name="connsiteX950" fmla="*/ 126610 w 609772"/>
                  <a:gd name="connsiteY950" fmla="*/ 469056 h 697852"/>
                  <a:gd name="connsiteX951" fmla="*/ 128902 w 609772"/>
                  <a:gd name="connsiteY951" fmla="*/ 470819 h 697852"/>
                  <a:gd name="connsiteX952" fmla="*/ 128638 w 609772"/>
                  <a:gd name="connsiteY952" fmla="*/ 471701 h 697852"/>
                  <a:gd name="connsiteX953" fmla="*/ 127492 w 609772"/>
                  <a:gd name="connsiteY953" fmla="*/ 471965 h 697852"/>
                  <a:gd name="connsiteX954" fmla="*/ 126874 w 609772"/>
                  <a:gd name="connsiteY954" fmla="*/ 473112 h 697852"/>
                  <a:gd name="connsiteX955" fmla="*/ 127756 w 609772"/>
                  <a:gd name="connsiteY955" fmla="*/ 473993 h 697852"/>
                  <a:gd name="connsiteX956" fmla="*/ 128638 w 609772"/>
                  <a:gd name="connsiteY956" fmla="*/ 474258 h 697852"/>
                  <a:gd name="connsiteX957" fmla="*/ 129167 w 609772"/>
                  <a:gd name="connsiteY957" fmla="*/ 475404 h 697852"/>
                  <a:gd name="connsiteX958" fmla="*/ 129431 w 609772"/>
                  <a:gd name="connsiteY958" fmla="*/ 476903 h 697852"/>
                  <a:gd name="connsiteX959" fmla="*/ 129431 w 609772"/>
                  <a:gd name="connsiteY959" fmla="*/ 478049 h 697852"/>
                  <a:gd name="connsiteX960" fmla="*/ 130048 w 609772"/>
                  <a:gd name="connsiteY960" fmla="*/ 478931 h 697852"/>
                  <a:gd name="connsiteX961" fmla="*/ 129784 w 609772"/>
                  <a:gd name="connsiteY961" fmla="*/ 480077 h 697852"/>
                  <a:gd name="connsiteX962" fmla="*/ 130930 w 609772"/>
                  <a:gd name="connsiteY962" fmla="*/ 480694 h 697852"/>
                  <a:gd name="connsiteX963" fmla="*/ 131547 w 609772"/>
                  <a:gd name="connsiteY963" fmla="*/ 481311 h 697852"/>
                  <a:gd name="connsiteX964" fmla="*/ 130930 w 609772"/>
                  <a:gd name="connsiteY964" fmla="*/ 482457 h 697852"/>
                  <a:gd name="connsiteX965" fmla="*/ 130930 w 609772"/>
                  <a:gd name="connsiteY965" fmla="*/ 483075 h 697852"/>
                  <a:gd name="connsiteX966" fmla="*/ 131195 w 609772"/>
                  <a:gd name="connsiteY966" fmla="*/ 484485 h 697852"/>
                  <a:gd name="connsiteX967" fmla="*/ 130930 w 609772"/>
                  <a:gd name="connsiteY967" fmla="*/ 483075 h 697852"/>
                  <a:gd name="connsiteX968" fmla="*/ 131195 w 609772"/>
                  <a:gd name="connsiteY968" fmla="*/ 484485 h 697852"/>
                  <a:gd name="connsiteX969" fmla="*/ 131724 w 609772"/>
                  <a:gd name="connsiteY969" fmla="*/ 484485 h 697852"/>
                  <a:gd name="connsiteX970" fmla="*/ 130225 w 609772"/>
                  <a:gd name="connsiteY970" fmla="*/ 484838 h 697852"/>
                  <a:gd name="connsiteX971" fmla="*/ 130489 w 609772"/>
                  <a:gd name="connsiteY971" fmla="*/ 485102 h 697852"/>
                  <a:gd name="connsiteX972" fmla="*/ 130754 w 609772"/>
                  <a:gd name="connsiteY972" fmla="*/ 485984 h 697852"/>
                  <a:gd name="connsiteX973" fmla="*/ 131371 w 609772"/>
                  <a:gd name="connsiteY973" fmla="*/ 485367 h 697852"/>
                  <a:gd name="connsiteX974" fmla="*/ 132253 w 609772"/>
                  <a:gd name="connsiteY974" fmla="*/ 485984 h 697852"/>
                  <a:gd name="connsiteX975" fmla="*/ 131371 w 609772"/>
                  <a:gd name="connsiteY975" fmla="*/ 488012 h 697852"/>
                  <a:gd name="connsiteX976" fmla="*/ 131371 w 609772"/>
                  <a:gd name="connsiteY976" fmla="*/ 489158 h 697852"/>
                  <a:gd name="connsiteX977" fmla="*/ 132517 w 609772"/>
                  <a:gd name="connsiteY977" fmla="*/ 490040 h 697852"/>
                  <a:gd name="connsiteX978" fmla="*/ 133046 w 609772"/>
                  <a:gd name="connsiteY978" fmla="*/ 489775 h 697852"/>
                  <a:gd name="connsiteX979" fmla="*/ 133928 w 609772"/>
                  <a:gd name="connsiteY979" fmla="*/ 492949 h 697852"/>
                  <a:gd name="connsiteX980" fmla="*/ 133311 w 609772"/>
                  <a:gd name="connsiteY980" fmla="*/ 493214 h 697852"/>
                  <a:gd name="connsiteX981" fmla="*/ 133046 w 609772"/>
                  <a:gd name="connsiteY981" fmla="*/ 494625 h 697852"/>
                  <a:gd name="connsiteX982" fmla="*/ 133928 w 609772"/>
                  <a:gd name="connsiteY982" fmla="*/ 493743 h 697852"/>
                  <a:gd name="connsiteX983" fmla="*/ 134809 w 609772"/>
                  <a:gd name="connsiteY983" fmla="*/ 494889 h 697852"/>
                  <a:gd name="connsiteX984" fmla="*/ 135074 w 609772"/>
                  <a:gd name="connsiteY984" fmla="*/ 496300 h 697852"/>
                  <a:gd name="connsiteX985" fmla="*/ 134192 w 609772"/>
                  <a:gd name="connsiteY985" fmla="*/ 497446 h 697852"/>
                  <a:gd name="connsiteX986" fmla="*/ 135338 w 609772"/>
                  <a:gd name="connsiteY986" fmla="*/ 498328 h 697852"/>
                  <a:gd name="connsiteX987" fmla="*/ 135691 w 609772"/>
                  <a:gd name="connsiteY987" fmla="*/ 499827 h 697852"/>
                  <a:gd name="connsiteX988" fmla="*/ 136838 w 609772"/>
                  <a:gd name="connsiteY988" fmla="*/ 500973 h 697852"/>
                  <a:gd name="connsiteX989" fmla="*/ 137719 w 609772"/>
                  <a:gd name="connsiteY989" fmla="*/ 501854 h 697852"/>
                  <a:gd name="connsiteX990" fmla="*/ 138865 w 609772"/>
                  <a:gd name="connsiteY990" fmla="*/ 502119 h 697852"/>
                  <a:gd name="connsiteX991" fmla="*/ 139130 w 609772"/>
                  <a:gd name="connsiteY991" fmla="*/ 504411 h 697852"/>
                  <a:gd name="connsiteX992" fmla="*/ 139130 w 609772"/>
                  <a:gd name="connsiteY992" fmla="*/ 505028 h 697852"/>
                  <a:gd name="connsiteX993" fmla="*/ 141158 w 609772"/>
                  <a:gd name="connsiteY993" fmla="*/ 506175 h 697852"/>
                  <a:gd name="connsiteX994" fmla="*/ 142039 w 609772"/>
                  <a:gd name="connsiteY994" fmla="*/ 505910 h 697852"/>
                  <a:gd name="connsiteX995" fmla="*/ 143450 w 609772"/>
                  <a:gd name="connsiteY995" fmla="*/ 507674 h 697852"/>
                  <a:gd name="connsiteX996" fmla="*/ 141422 w 609772"/>
                  <a:gd name="connsiteY996" fmla="*/ 508291 h 697852"/>
                  <a:gd name="connsiteX997" fmla="*/ 143185 w 609772"/>
                  <a:gd name="connsiteY997" fmla="*/ 507145 h 697852"/>
                  <a:gd name="connsiteX998" fmla="*/ 142921 w 609772"/>
                  <a:gd name="connsiteY998" fmla="*/ 506880 h 697852"/>
                  <a:gd name="connsiteX999" fmla="*/ 143185 w 609772"/>
                  <a:gd name="connsiteY999" fmla="*/ 507145 h 697852"/>
                  <a:gd name="connsiteX1000" fmla="*/ 141422 w 609772"/>
                  <a:gd name="connsiteY1000" fmla="*/ 508291 h 697852"/>
                  <a:gd name="connsiteX1001" fmla="*/ 141687 w 609772"/>
                  <a:gd name="connsiteY1001" fmla="*/ 509437 h 697852"/>
                  <a:gd name="connsiteX1002" fmla="*/ 143450 w 609772"/>
                  <a:gd name="connsiteY1002" fmla="*/ 510319 h 697852"/>
                  <a:gd name="connsiteX1003" fmla="*/ 145213 w 609772"/>
                  <a:gd name="connsiteY1003" fmla="*/ 510054 h 697852"/>
                  <a:gd name="connsiteX1004" fmla="*/ 145213 w 609772"/>
                  <a:gd name="connsiteY1004" fmla="*/ 511200 h 697852"/>
                  <a:gd name="connsiteX1005" fmla="*/ 144332 w 609772"/>
                  <a:gd name="connsiteY1005" fmla="*/ 511200 h 697852"/>
                  <a:gd name="connsiteX1006" fmla="*/ 143450 w 609772"/>
                  <a:gd name="connsiteY1006" fmla="*/ 511729 h 697852"/>
                  <a:gd name="connsiteX1007" fmla="*/ 144596 w 609772"/>
                  <a:gd name="connsiteY1007" fmla="*/ 511994 h 697852"/>
                  <a:gd name="connsiteX1008" fmla="*/ 146359 w 609772"/>
                  <a:gd name="connsiteY1008" fmla="*/ 511994 h 697852"/>
                  <a:gd name="connsiteX1009" fmla="*/ 147506 w 609772"/>
                  <a:gd name="connsiteY1009" fmla="*/ 513493 h 697852"/>
                  <a:gd name="connsiteX1010" fmla="*/ 146359 w 609772"/>
                  <a:gd name="connsiteY1010" fmla="*/ 512964 h 697852"/>
                  <a:gd name="connsiteX1011" fmla="*/ 144596 w 609772"/>
                  <a:gd name="connsiteY1011" fmla="*/ 513493 h 697852"/>
                  <a:gd name="connsiteX1012" fmla="*/ 143714 w 609772"/>
                  <a:gd name="connsiteY1012" fmla="*/ 514374 h 697852"/>
                  <a:gd name="connsiteX1013" fmla="*/ 144596 w 609772"/>
                  <a:gd name="connsiteY1013" fmla="*/ 514374 h 697852"/>
                  <a:gd name="connsiteX1014" fmla="*/ 145478 w 609772"/>
                  <a:gd name="connsiteY1014" fmla="*/ 514374 h 697852"/>
                  <a:gd name="connsiteX1015" fmla="*/ 146888 w 609772"/>
                  <a:gd name="connsiteY1015" fmla="*/ 515256 h 697852"/>
                  <a:gd name="connsiteX1016" fmla="*/ 147153 w 609772"/>
                  <a:gd name="connsiteY1016" fmla="*/ 517284 h 697852"/>
                  <a:gd name="connsiteX1017" fmla="*/ 147770 w 609772"/>
                  <a:gd name="connsiteY1017" fmla="*/ 518695 h 697852"/>
                  <a:gd name="connsiteX1018" fmla="*/ 147153 w 609772"/>
                  <a:gd name="connsiteY1018" fmla="*/ 520105 h 697852"/>
                  <a:gd name="connsiteX1019" fmla="*/ 147770 w 609772"/>
                  <a:gd name="connsiteY1019" fmla="*/ 520370 h 697852"/>
                  <a:gd name="connsiteX1020" fmla="*/ 147506 w 609772"/>
                  <a:gd name="connsiteY1020" fmla="*/ 520987 h 697852"/>
                  <a:gd name="connsiteX1021" fmla="*/ 147506 w 609772"/>
                  <a:gd name="connsiteY1021" fmla="*/ 521604 h 697852"/>
                  <a:gd name="connsiteX1022" fmla="*/ 147506 w 609772"/>
                  <a:gd name="connsiteY1022" fmla="*/ 522486 h 697852"/>
                  <a:gd name="connsiteX1023" fmla="*/ 148388 w 609772"/>
                  <a:gd name="connsiteY1023" fmla="*/ 522221 h 697852"/>
                  <a:gd name="connsiteX1024" fmla="*/ 149269 w 609772"/>
                  <a:gd name="connsiteY1024" fmla="*/ 523368 h 697852"/>
                  <a:gd name="connsiteX1025" fmla="*/ 149534 w 609772"/>
                  <a:gd name="connsiteY1025" fmla="*/ 524249 h 697852"/>
                  <a:gd name="connsiteX1026" fmla="*/ 150151 w 609772"/>
                  <a:gd name="connsiteY1026" fmla="*/ 524514 h 697852"/>
                  <a:gd name="connsiteX1027" fmla="*/ 150415 w 609772"/>
                  <a:gd name="connsiteY1027" fmla="*/ 525395 h 697852"/>
                  <a:gd name="connsiteX1028" fmla="*/ 151561 w 609772"/>
                  <a:gd name="connsiteY1028" fmla="*/ 526013 h 697852"/>
                  <a:gd name="connsiteX1029" fmla="*/ 152179 w 609772"/>
                  <a:gd name="connsiteY1029" fmla="*/ 526277 h 697852"/>
                  <a:gd name="connsiteX1030" fmla="*/ 153060 w 609772"/>
                  <a:gd name="connsiteY1030" fmla="*/ 526277 h 697852"/>
                  <a:gd name="connsiteX1031" fmla="*/ 154206 w 609772"/>
                  <a:gd name="connsiteY1031" fmla="*/ 526013 h 697852"/>
                  <a:gd name="connsiteX1032" fmla="*/ 154824 w 609772"/>
                  <a:gd name="connsiteY1032" fmla="*/ 527159 h 697852"/>
                  <a:gd name="connsiteX1033" fmla="*/ 154206 w 609772"/>
                  <a:gd name="connsiteY1033" fmla="*/ 527423 h 697852"/>
                  <a:gd name="connsiteX1034" fmla="*/ 151914 w 609772"/>
                  <a:gd name="connsiteY1034" fmla="*/ 527159 h 697852"/>
                  <a:gd name="connsiteX1035" fmla="*/ 151650 w 609772"/>
                  <a:gd name="connsiteY1035" fmla="*/ 527423 h 697852"/>
                  <a:gd name="connsiteX1036" fmla="*/ 151914 w 609772"/>
                  <a:gd name="connsiteY1036" fmla="*/ 528305 h 697852"/>
                  <a:gd name="connsiteX1037" fmla="*/ 153060 w 609772"/>
                  <a:gd name="connsiteY1037" fmla="*/ 528922 h 697852"/>
                  <a:gd name="connsiteX1038" fmla="*/ 153060 w 609772"/>
                  <a:gd name="connsiteY1038" fmla="*/ 529804 h 697852"/>
                  <a:gd name="connsiteX1039" fmla="*/ 154471 w 609772"/>
                  <a:gd name="connsiteY1039" fmla="*/ 530068 h 697852"/>
                  <a:gd name="connsiteX1040" fmla="*/ 155088 w 609772"/>
                  <a:gd name="connsiteY1040" fmla="*/ 530068 h 697852"/>
                  <a:gd name="connsiteX1041" fmla="*/ 156234 w 609772"/>
                  <a:gd name="connsiteY1041" fmla="*/ 530950 h 697852"/>
                  <a:gd name="connsiteX1042" fmla="*/ 156234 w 609772"/>
                  <a:gd name="connsiteY1042" fmla="*/ 532713 h 697852"/>
                  <a:gd name="connsiteX1043" fmla="*/ 156499 w 609772"/>
                  <a:gd name="connsiteY1043" fmla="*/ 533331 h 697852"/>
                  <a:gd name="connsiteX1044" fmla="*/ 156234 w 609772"/>
                  <a:gd name="connsiteY1044" fmla="*/ 532713 h 697852"/>
                  <a:gd name="connsiteX1045" fmla="*/ 156499 w 609772"/>
                  <a:gd name="connsiteY1045" fmla="*/ 533331 h 697852"/>
                  <a:gd name="connsiteX1046" fmla="*/ 156499 w 609772"/>
                  <a:gd name="connsiteY1046" fmla="*/ 533948 h 697852"/>
                  <a:gd name="connsiteX1047" fmla="*/ 156234 w 609772"/>
                  <a:gd name="connsiteY1047" fmla="*/ 534212 h 697852"/>
                  <a:gd name="connsiteX1048" fmla="*/ 156499 w 609772"/>
                  <a:gd name="connsiteY1048" fmla="*/ 534477 h 697852"/>
                  <a:gd name="connsiteX1049" fmla="*/ 157998 w 609772"/>
                  <a:gd name="connsiteY1049" fmla="*/ 533860 h 697852"/>
                  <a:gd name="connsiteX1050" fmla="*/ 157998 w 609772"/>
                  <a:gd name="connsiteY1050" fmla="*/ 534477 h 697852"/>
                  <a:gd name="connsiteX1051" fmla="*/ 158262 w 609772"/>
                  <a:gd name="connsiteY1051" fmla="*/ 534741 h 697852"/>
                  <a:gd name="connsiteX1052" fmla="*/ 159144 w 609772"/>
                  <a:gd name="connsiteY1052" fmla="*/ 535006 h 697852"/>
                  <a:gd name="connsiteX1053" fmla="*/ 159144 w 609772"/>
                  <a:gd name="connsiteY1053" fmla="*/ 535535 h 697852"/>
                  <a:gd name="connsiteX1054" fmla="*/ 159144 w 609772"/>
                  <a:gd name="connsiteY1054" fmla="*/ 536416 h 697852"/>
                  <a:gd name="connsiteX1055" fmla="*/ 158791 w 609772"/>
                  <a:gd name="connsiteY1055" fmla="*/ 536152 h 697852"/>
                  <a:gd name="connsiteX1056" fmla="*/ 158527 w 609772"/>
                  <a:gd name="connsiteY1056" fmla="*/ 535887 h 697852"/>
                  <a:gd name="connsiteX1057" fmla="*/ 158262 w 609772"/>
                  <a:gd name="connsiteY1057" fmla="*/ 535623 h 697852"/>
                  <a:gd name="connsiteX1058" fmla="*/ 157998 w 609772"/>
                  <a:gd name="connsiteY1058" fmla="*/ 536240 h 697852"/>
                  <a:gd name="connsiteX1059" fmla="*/ 158880 w 609772"/>
                  <a:gd name="connsiteY1059" fmla="*/ 538268 h 697852"/>
                  <a:gd name="connsiteX1060" fmla="*/ 159497 w 609772"/>
                  <a:gd name="connsiteY1060" fmla="*/ 540296 h 697852"/>
                  <a:gd name="connsiteX1061" fmla="*/ 160378 w 609772"/>
                  <a:gd name="connsiteY1061" fmla="*/ 541442 h 697852"/>
                  <a:gd name="connsiteX1062" fmla="*/ 160378 w 609772"/>
                  <a:gd name="connsiteY1062" fmla="*/ 542588 h 697852"/>
                  <a:gd name="connsiteX1063" fmla="*/ 160378 w 609772"/>
                  <a:gd name="connsiteY1063" fmla="*/ 543734 h 697852"/>
                  <a:gd name="connsiteX1064" fmla="*/ 162142 w 609772"/>
                  <a:gd name="connsiteY1064" fmla="*/ 547261 h 697852"/>
                  <a:gd name="connsiteX1065" fmla="*/ 161877 w 609772"/>
                  <a:gd name="connsiteY1065" fmla="*/ 548143 h 697852"/>
                  <a:gd name="connsiteX1066" fmla="*/ 162494 w 609772"/>
                  <a:gd name="connsiteY1066" fmla="*/ 548672 h 697852"/>
                  <a:gd name="connsiteX1067" fmla="*/ 163376 w 609772"/>
                  <a:gd name="connsiteY1067" fmla="*/ 549818 h 697852"/>
                  <a:gd name="connsiteX1068" fmla="*/ 164258 w 609772"/>
                  <a:gd name="connsiteY1068" fmla="*/ 552463 h 697852"/>
                  <a:gd name="connsiteX1069" fmla="*/ 166021 w 609772"/>
                  <a:gd name="connsiteY1069" fmla="*/ 555373 h 697852"/>
                  <a:gd name="connsiteX1070" fmla="*/ 166903 w 609772"/>
                  <a:gd name="connsiteY1070" fmla="*/ 555637 h 697852"/>
                  <a:gd name="connsiteX1071" fmla="*/ 167520 w 609772"/>
                  <a:gd name="connsiteY1071" fmla="*/ 554755 h 697852"/>
                  <a:gd name="connsiteX1072" fmla="*/ 167785 w 609772"/>
                  <a:gd name="connsiteY1072" fmla="*/ 555284 h 697852"/>
                  <a:gd name="connsiteX1073" fmla="*/ 167520 w 609772"/>
                  <a:gd name="connsiteY1073" fmla="*/ 555902 h 697852"/>
                  <a:gd name="connsiteX1074" fmla="*/ 167785 w 609772"/>
                  <a:gd name="connsiteY1074" fmla="*/ 556166 h 697852"/>
                  <a:gd name="connsiteX1075" fmla="*/ 167167 w 609772"/>
                  <a:gd name="connsiteY1075" fmla="*/ 556783 h 697852"/>
                  <a:gd name="connsiteX1076" fmla="*/ 166903 w 609772"/>
                  <a:gd name="connsiteY1076" fmla="*/ 557665 h 697852"/>
                  <a:gd name="connsiteX1077" fmla="*/ 167167 w 609772"/>
                  <a:gd name="connsiteY1077" fmla="*/ 558194 h 697852"/>
                  <a:gd name="connsiteX1078" fmla="*/ 166638 w 609772"/>
                  <a:gd name="connsiteY1078" fmla="*/ 558811 h 697852"/>
                  <a:gd name="connsiteX1079" fmla="*/ 167520 w 609772"/>
                  <a:gd name="connsiteY1079" fmla="*/ 559957 h 697852"/>
                  <a:gd name="connsiteX1080" fmla="*/ 167785 w 609772"/>
                  <a:gd name="connsiteY1080" fmla="*/ 560839 h 697852"/>
                  <a:gd name="connsiteX1081" fmla="*/ 168137 w 609772"/>
                  <a:gd name="connsiteY1081" fmla="*/ 561104 h 697852"/>
                  <a:gd name="connsiteX1082" fmla="*/ 167520 w 609772"/>
                  <a:gd name="connsiteY1082" fmla="*/ 561985 h 697852"/>
                  <a:gd name="connsiteX1083" fmla="*/ 167255 w 609772"/>
                  <a:gd name="connsiteY1083" fmla="*/ 561985 h 697852"/>
                  <a:gd name="connsiteX1084" fmla="*/ 167520 w 609772"/>
                  <a:gd name="connsiteY1084" fmla="*/ 562514 h 697852"/>
                  <a:gd name="connsiteX1085" fmla="*/ 167255 w 609772"/>
                  <a:gd name="connsiteY1085" fmla="*/ 562867 h 697852"/>
                  <a:gd name="connsiteX1086" fmla="*/ 167872 w 609772"/>
                  <a:gd name="connsiteY1086" fmla="*/ 563749 h 697852"/>
                  <a:gd name="connsiteX1087" fmla="*/ 168225 w 609772"/>
                  <a:gd name="connsiteY1087" fmla="*/ 564013 h 697852"/>
                  <a:gd name="connsiteX1088" fmla="*/ 168225 w 609772"/>
                  <a:gd name="connsiteY1088" fmla="*/ 565159 h 697852"/>
                  <a:gd name="connsiteX1089" fmla="*/ 169636 w 609772"/>
                  <a:gd name="connsiteY1089" fmla="*/ 567804 h 697852"/>
                  <a:gd name="connsiteX1090" fmla="*/ 169636 w 609772"/>
                  <a:gd name="connsiteY1090" fmla="*/ 570714 h 697852"/>
                  <a:gd name="connsiteX1091" fmla="*/ 170253 w 609772"/>
                  <a:gd name="connsiteY1091" fmla="*/ 571596 h 697852"/>
                  <a:gd name="connsiteX1092" fmla="*/ 169989 w 609772"/>
                  <a:gd name="connsiteY1092" fmla="*/ 572477 h 697852"/>
                  <a:gd name="connsiteX1093" fmla="*/ 169459 w 609772"/>
                  <a:gd name="connsiteY1093" fmla="*/ 573976 h 697852"/>
                  <a:gd name="connsiteX1094" fmla="*/ 172105 w 609772"/>
                  <a:gd name="connsiteY1094" fmla="*/ 576357 h 697852"/>
                  <a:gd name="connsiteX1095" fmla="*/ 172722 w 609772"/>
                  <a:gd name="connsiteY1095" fmla="*/ 576357 h 697852"/>
                  <a:gd name="connsiteX1096" fmla="*/ 173604 w 609772"/>
                  <a:gd name="connsiteY1096" fmla="*/ 576357 h 697852"/>
                  <a:gd name="connsiteX1097" fmla="*/ 173868 w 609772"/>
                  <a:gd name="connsiteY1097" fmla="*/ 576621 h 697852"/>
                  <a:gd name="connsiteX1098" fmla="*/ 173604 w 609772"/>
                  <a:gd name="connsiteY1098" fmla="*/ 576886 h 697852"/>
                  <a:gd name="connsiteX1099" fmla="*/ 173604 w 609772"/>
                  <a:gd name="connsiteY1099" fmla="*/ 577150 h 697852"/>
                  <a:gd name="connsiteX1100" fmla="*/ 172986 w 609772"/>
                  <a:gd name="connsiteY1100" fmla="*/ 577415 h 697852"/>
                  <a:gd name="connsiteX1101" fmla="*/ 172457 w 609772"/>
                  <a:gd name="connsiteY1101" fmla="*/ 578561 h 697852"/>
                  <a:gd name="connsiteX1102" fmla="*/ 172457 w 609772"/>
                  <a:gd name="connsiteY1102" fmla="*/ 579707 h 697852"/>
                  <a:gd name="connsiteX1103" fmla="*/ 173339 w 609772"/>
                  <a:gd name="connsiteY1103" fmla="*/ 581470 h 697852"/>
                  <a:gd name="connsiteX1104" fmla="*/ 175984 w 609772"/>
                  <a:gd name="connsiteY1104" fmla="*/ 585262 h 697852"/>
                  <a:gd name="connsiteX1105" fmla="*/ 176866 w 609772"/>
                  <a:gd name="connsiteY1105" fmla="*/ 587025 h 697852"/>
                  <a:gd name="connsiteX1106" fmla="*/ 177747 w 609772"/>
                  <a:gd name="connsiteY1106" fmla="*/ 589670 h 697852"/>
                  <a:gd name="connsiteX1107" fmla="*/ 178100 w 609772"/>
                  <a:gd name="connsiteY1107" fmla="*/ 590816 h 697852"/>
                  <a:gd name="connsiteX1108" fmla="*/ 179511 w 609772"/>
                  <a:gd name="connsiteY1108" fmla="*/ 591698 h 697852"/>
                  <a:gd name="connsiteX1109" fmla="*/ 179511 w 609772"/>
                  <a:gd name="connsiteY1109" fmla="*/ 592580 h 697852"/>
                  <a:gd name="connsiteX1110" fmla="*/ 181274 w 609772"/>
                  <a:gd name="connsiteY1110" fmla="*/ 595225 h 697852"/>
                  <a:gd name="connsiteX1111" fmla="*/ 180393 w 609772"/>
                  <a:gd name="connsiteY1111" fmla="*/ 596106 h 697852"/>
                  <a:gd name="connsiteX1112" fmla="*/ 181274 w 609772"/>
                  <a:gd name="connsiteY1112" fmla="*/ 596988 h 697852"/>
                  <a:gd name="connsiteX1113" fmla="*/ 181274 w 609772"/>
                  <a:gd name="connsiteY1113" fmla="*/ 597870 h 697852"/>
                  <a:gd name="connsiteX1114" fmla="*/ 181803 w 609772"/>
                  <a:gd name="connsiteY1114" fmla="*/ 597605 h 697852"/>
                  <a:gd name="connsiteX1115" fmla="*/ 182949 w 609772"/>
                  <a:gd name="connsiteY1115" fmla="*/ 596988 h 697852"/>
                  <a:gd name="connsiteX1116" fmla="*/ 183214 w 609772"/>
                  <a:gd name="connsiteY1116" fmla="*/ 596988 h 697852"/>
                  <a:gd name="connsiteX1117" fmla="*/ 183831 w 609772"/>
                  <a:gd name="connsiteY1117" fmla="*/ 597605 h 697852"/>
                  <a:gd name="connsiteX1118" fmla="*/ 182949 w 609772"/>
                  <a:gd name="connsiteY1118" fmla="*/ 597870 h 697852"/>
                  <a:gd name="connsiteX1119" fmla="*/ 183214 w 609772"/>
                  <a:gd name="connsiteY1119" fmla="*/ 598134 h 697852"/>
                  <a:gd name="connsiteX1120" fmla="*/ 182685 w 609772"/>
                  <a:gd name="connsiteY1120" fmla="*/ 599016 h 697852"/>
                  <a:gd name="connsiteX1121" fmla="*/ 184448 w 609772"/>
                  <a:gd name="connsiteY1121" fmla="*/ 599281 h 697852"/>
                  <a:gd name="connsiteX1122" fmla="*/ 183919 w 609772"/>
                  <a:gd name="connsiteY1122" fmla="*/ 599545 h 697852"/>
                  <a:gd name="connsiteX1123" fmla="*/ 184184 w 609772"/>
                  <a:gd name="connsiteY1123" fmla="*/ 600427 h 697852"/>
                  <a:gd name="connsiteX1124" fmla="*/ 184713 w 609772"/>
                  <a:gd name="connsiteY1124" fmla="*/ 600162 h 697852"/>
                  <a:gd name="connsiteX1125" fmla="*/ 184713 w 609772"/>
                  <a:gd name="connsiteY1125" fmla="*/ 600779 h 697852"/>
                  <a:gd name="connsiteX1126" fmla="*/ 184713 w 609772"/>
                  <a:gd name="connsiteY1126" fmla="*/ 601926 h 697852"/>
                  <a:gd name="connsiteX1127" fmla="*/ 186476 w 609772"/>
                  <a:gd name="connsiteY1127" fmla="*/ 603953 h 697852"/>
                  <a:gd name="connsiteX1128" fmla="*/ 188239 w 609772"/>
                  <a:gd name="connsiteY1128" fmla="*/ 605364 h 697852"/>
                  <a:gd name="connsiteX1129" fmla="*/ 190885 w 609772"/>
                  <a:gd name="connsiteY1129" fmla="*/ 609420 h 697852"/>
                  <a:gd name="connsiteX1130" fmla="*/ 192031 w 609772"/>
                  <a:gd name="connsiteY1130" fmla="*/ 610919 h 697852"/>
                  <a:gd name="connsiteX1131" fmla="*/ 192031 w 609772"/>
                  <a:gd name="connsiteY1131" fmla="*/ 611800 h 697852"/>
                  <a:gd name="connsiteX1132" fmla="*/ 194323 w 609772"/>
                  <a:gd name="connsiteY1132" fmla="*/ 613564 h 697852"/>
                  <a:gd name="connsiteX1133" fmla="*/ 194323 w 609772"/>
                  <a:gd name="connsiteY1133" fmla="*/ 614445 h 697852"/>
                  <a:gd name="connsiteX1134" fmla="*/ 194059 w 609772"/>
                  <a:gd name="connsiteY1134" fmla="*/ 618237 h 697852"/>
                  <a:gd name="connsiteX1135" fmla="*/ 195822 w 609772"/>
                  <a:gd name="connsiteY1135" fmla="*/ 620882 h 697852"/>
                  <a:gd name="connsiteX1136" fmla="*/ 198202 w 609772"/>
                  <a:gd name="connsiteY1136" fmla="*/ 624673 h 697852"/>
                  <a:gd name="connsiteX1137" fmla="*/ 198467 w 609772"/>
                  <a:gd name="connsiteY1137" fmla="*/ 625555 h 697852"/>
                  <a:gd name="connsiteX1138" fmla="*/ 199349 w 609772"/>
                  <a:gd name="connsiteY1138" fmla="*/ 626436 h 697852"/>
                  <a:gd name="connsiteX1139" fmla="*/ 200231 w 609772"/>
                  <a:gd name="connsiteY1139" fmla="*/ 627935 h 697852"/>
                  <a:gd name="connsiteX1140" fmla="*/ 199349 w 609772"/>
                  <a:gd name="connsiteY1140" fmla="*/ 628200 h 697852"/>
                  <a:gd name="connsiteX1141" fmla="*/ 199613 w 609772"/>
                  <a:gd name="connsiteY1141" fmla="*/ 629081 h 697852"/>
                  <a:gd name="connsiteX1142" fmla="*/ 202258 w 609772"/>
                  <a:gd name="connsiteY1142" fmla="*/ 631462 h 697852"/>
                  <a:gd name="connsiteX1143" fmla="*/ 201906 w 609772"/>
                  <a:gd name="connsiteY1143" fmla="*/ 633754 h 697852"/>
                  <a:gd name="connsiteX1144" fmla="*/ 203052 w 609772"/>
                  <a:gd name="connsiteY1144" fmla="*/ 635253 h 697852"/>
                  <a:gd name="connsiteX1145" fmla="*/ 203934 w 609772"/>
                  <a:gd name="connsiteY1145" fmla="*/ 637281 h 697852"/>
                  <a:gd name="connsiteX1146" fmla="*/ 203934 w 609772"/>
                  <a:gd name="connsiteY1146" fmla="*/ 638163 h 697852"/>
                  <a:gd name="connsiteX1147" fmla="*/ 203581 w 609772"/>
                  <a:gd name="connsiteY1147" fmla="*/ 641954 h 697852"/>
                  <a:gd name="connsiteX1148" fmla="*/ 204727 w 609772"/>
                  <a:gd name="connsiteY1148" fmla="*/ 642571 h 697852"/>
                  <a:gd name="connsiteX1149" fmla="*/ 205256 w 609772"/>
                  <a:gd name="connsiteY1149" fmla="*/ 642571 h 697852"/>
                  <a:gd name="connsiteX1150" fmla="*/ 206402 w 609772"/>
                  <a:gd name="connsiteY1150" fmla="*/ 641954 h 697852"/>
                  <a:gd name="connsiteX1151" fmla="*/ 206667 w 609772"/>
                  <a:gd name="connsiteY1151" fmla="*/ 642218 h 697852"/>
                  <a:gd name="connsiteX1152" fmla="*/ 207284 w 609772"/>
                  <a:gd name="connsiteY1152" fmla="*/ 643365 h 697852"/>
                  <a:gd name="connsiteX1153" fmla="*/ 205520 w 609772"/>
                  <a:gd name="connsiteY1153" fmla="*/ 643629 h 697852"/>
                  <a:gd name="connsiteX1154" fmla="*/ 204639 w 609772"/>
                  <a:gd name="connsiteY1154" fmla="*/ 644775 h 697852"/>
                  <a:gd name="connsiteX1155" fmla="*/ 205520 w 609772"/>
                  <a:gd name="connsiteY1155" fmla="*/ 645922 h 697852"/>
                  <a:gd name="connsiteX1156" fmla="*/ 206667 w 609772"/>
                  <a:gd name="connsiteY1156" fmla="*/ 645657 h 697852"/>
                  <a:gd name="connsiteX1157" fmla="*/ 206402 w 609772"/>
                  <a:gd name="connsiteY1157" fmla="*/ 644511 h 697852"/>
                  <a:gd name="connsiteX1158" fmla="*/ 207284 w 609772"/>
                  <a:gd name="connsiteY1158" fmla="*/ 644511 h 697852"/>
                  <a:gd name="connsiteX1159" fmla="*/ 207901 w 609772"/>
                  <a:gd name="connsiteY1159" fmla="*/ 644511 h 697852"/>
                  <a:gd name="connsiteX1160" fmla="*/ 208165 w 609772"/>
                  <a:gd name="connsiteY1160" fmla="*/ 645128 h 697852"/>
                  <a:gd name="connsiteX1161" fmla="*/ 207901 w 609772"/>
                  <a:gd name="connsiteY1161" fmla="*/ 645745 h 697852"/>
                  <a:gd name="connsiteX1162" fmla="*/ 208518 w 609772"/>
                  <a:gd name="connsiteY1162" fmla="*/ 646362 h 697852"/>
                  <a:gd name="connsiteX1163" fmla="*/ 207901 w 609772"/>
                  <a:gd name="connsiteY1163" fmla="*/ 648126 h 697852"/>
                  <a:gd name="connsiteX1164" fmla="*/ 209047 w 609772"/>
                  <a:gd name="connsiteY1164" fmla="*/ 649360 h 697852"/>
                  <a:gd name="connsiteX1165" fmla="*/ 208783 w 609772"/>
                  <a:gd name="connsiteY1165" fmla="*/ 649008 h 697852"/>
                  <a:gd name="connsiteX1166" fmla="*/ 209929 w 609772"/>
                  <a:gd name="connsiteY1166" fmla="*/ 650154 h 697852"/>
                  <a:gd name="connsiteX1167" fmla="*/ 210810 w 609772"/>
                  <a:gd name="connsiteY1167" fmla="*/ 652799 h 697852"/>
                  <a:gd name="connsiteX1168" fmla="*/ 210810 w 609772"/>
                  <a:gd name="connsiteY1168" fmla="*/ 653681 h 697852"/>
                  <a:gd name="connsiteX1169" fmla="*/ 211339 w 609772"/>
                  <a:gd name="connsiteY1169" fmla="*/ 654297 h 697852"/>
                  <a:gd name="connsiteX1170" fmla="*/ 210810 w 609772"/>
                  <a:gd name="connsiteY1170" fmla="*/ 654562 h 697852"/>
                  <a:gd name="connsiteX1171" fmla="*/ 210194 w 609772"/>
                  <a:gd name="connsiteY1171" fmla="*/ 654297 h 697852"/>
                  <a:gd name="connsiteX1172" fmla="*/ 210458 w 609772"/>
                  <a:gd name="connsiteY1172" fmla="*/ 652270 h 697852"/>
                  <a:gd name="connsiteX1173" fmla="*/ 209576 w 609772"/>
                  <a:gd name="connsiteY1173" fmla="*/ 651653 h 697852"/>
                  <a:gd name="connsiteX1174" fmla="*/ 208430 w 609772"/>
                  <a:gd name="connsiteY1174" fmla="*/ 650771 h 697852"/>
                  <a:gd name="connsiteX1175" fmla="*/ 208959 w 609772"/>
                  <a:gd name="connsiteY1175" fmla="*/ 651653 h 697852"/>
                  <a:gd name="connsiteX1176" fmla="*/ 209576 w 609772"/>
                  <a:gd name="connsiteY1176" fmla="*/ 652270 h 697852"/>
                  <a:gd name="connsiteX1177" fmla="*/ 209576 w 609772"/>
                  <a:gd name="connsiteY1177" fmla="*/ 653152 h 697852"/>
                  <a:gd name="connsiteX1178" fmla="*/ 208959 w 609772"/>
                  <a:gd name="connsiteY1178" fmla="*/ 653769 h 697852"/>
                  <a:gd name="connsiteX1179" fmla="*/ 208430 w 609772"/>
                  <a:gd name="connsiteY1179" fmla="*/ 652005 h 697852"/>
                  <a:gd name="connsiteX1180" fmla="*/ 207813 w 609772"/>
                  <a:gd name="connsiteY1180" fmla="*/ 650859 h 697852"/>
                  <a:gd name="connsiteX1181" fmla="*/ 207813 w 609772"/>
                  <a:gd name="connsiteY1181" fmla="*/ 651476 h 697852"/>
                  <a:gd name="connsiteX1182" fmla="*/ 207196 w 609772"/>
                  <a:gd name="connsiteY1182" fmla="*/ 652093 h 697852"/>
                  <a:gd name="connsiteX1183" fmla="*/ 206314 w 609772"/>
                  <a:gd name="connsiteY1183" fmla="*/ 650947 h 697852"/>
                  <a:gd name="connsiteX1184" fmla="*/ 206578 w 609772"/>
                  <a:gd name="connsiteY1184" fmla="*/ 650330 h 697852"/>
                  <a:gd name="connsiteX1185" fmla="*/ 207460 w 609772"/>
                  <a:gd name="connsiteY1185" fmla="*/ 650330 h 697852"/>
                  <a:gd name="connsiteX1186" fmla="*/ 207460 w 609772"/>
                  <a:gd name="connsiteY1186" fmla="*/ 649184 h 697852"/>
                  <a:gd name="connsiteX1187" fmla="*/ 205697 w 609772"/>
                  <a:gd name="connsiteY1187" fmla="*/ 648919 h 697852"/>
                  <a:gd name="connsiteX1188" fmla="*/ 205080 w 609772"/>
                  <a:gd name="connsiteY1188" fmla="*/ 650418 h 697852"/>
                  <a:gd name="connsiteX1189" fmla="*/ 207725 w 609772"/>
                  <a:gd name="connsiteY1189" fmla="*/ 653945 h 697852"/>
                  <a:gd name="connsiteX1190" fmla="*/ 207725 w 609772"/>
                  <a:gd name="connsiteY1190" fmla="*/ 655973 h 697852"/>
                  <a:gd name="connsiteX1191" fmla="*/ 206490 w 609772"/>
                  <a:gd name="connsiteY1191" fmla="*/ 657119 h 697852"/>
                  <a:gd name="connsiteX1192" fmla="*/ 207107 w 609772"/>
                  <a:gd name="connsiteY1192" fmla="*/ 658882 h 697852"/>
                  <a:gd name="connsiteX1193" fmla="*/ 208606 w 609772"/>
                  <a:gd name="connsiteY1193" fmla="*/ 659499 h 697852"/>
                  <a:gd name="connsiteX1194" fmla="*/ 209488 w 609772"/>
                  <a:gd name="connsiteY1194" fmla="*/ 661527 h 697852"/>
                  <a:gd name="connsiteX1195" fmla="*/ 209488 w 609772"/>
                  <a:gd name="connsiteY1195" fmla="*/ 662145 h 697852"/>
                  <a:gd name="connsiteX1196" fmla="*/ 209488 w 609772"/>
                  <a:gd name="connsiteY1196" fmla="*/ 663026 h 697852"/>
                  <a:gd name="connsiteX1197" fmla="*/ 210105 w 609772"/>
                  <a:gd name="connsiteY1197" fmla="*/ 664173 h 697852"/>
                  <a:gd name="connsiteX1198" fmla="*/ 210987 w 609772"/>
                  <a:gd name="connsiteY1198" fmla="*/ 665054 h 697852"/>
                  <a:gd name="connsiteX1199" fmla="*/ 212750 w 609772"/>
                  <a:gd name="connsiteY1199" fmla="*/ 665054 h 697852"/>
                  <a:gd name="connsiteX1200" fmla="*/ 213632 w 609772"/>
                  <a:gd name="connsiteY1200" fmla="*/ 667082 h 697852"/>
                  <a:gd name="connsiteX1201" fmla="*/ 213897 w 609772"/>
                  <a:gd name="connsiteY1201" fmla="*/ 667347 h 697852"/>
                  <a:gd name="connsiteX1202" fmla="*/ 213897 w 609772"/>
                  <a:gd name="connsiteY1202" fmla="*/ 668845 h 697852"/>
                  <a:gd name="connsiteX1203" fmla="*/ 214514 w 609772"/>
                  <a:gd name="connsiteY1203" fmla="*/ 669462 h 697852"/>
                  <a:gd name="connsiteX1204" fmla="*/ 215043 w 609772"/>
                  <a:gd name="connsiteY1204" fmla="*/ 671226 h 697852"/>
                  <a:gd name="connsiteX1205" fmla="*/ 215660 w 609772"/>
                  <a:gd name="connsiteY1205" fmla="*/ 672108 h 697852"/>
                  <a:gd name="connsiteX1206" fmla="*/ 215307 w 609772"/>
                  <a:gd name="connsiteY1206" fmla="*/ 672989 h 697852"/>
                  <a:gd name="connsiteX1207" fmla="*/ 215660 w 609772"/>
                  <a:gd name="connsiteY1207" fmla="*/ 674135 h 697852"/>
                  <a:gd name="connsiteX1208" fmla="*/ 217159 w 609772"/>
                  <a:gd name="connsiteY1208" fmla="*/ 675017 h 697852"/>
                  <a:gd name="connsiteX1209" fmla="*/ 218569 w 609772"/>
                  <a:gd name="connsiteY1209" fmla="*/ 676163 h 697852"/>
                  <a:gd name="connsiteX1210" fmla="*/ 218834 w 609772"/>
                  <a:gd name="connsiteY1210" fmla="*/ 678456 h 697852"/>
                  <a:gd name="connsiteX1211" fmla="*/ 219451 w 609772"/>
                  <a:gd name="connsiteY1211" fmla="*/ 679073 h 697852"/>
                  <a:gd name="connsiteX1212" fmla="*/ 219715 w 609772"/>
                  <a:gd name="connsiteY1212" fmla="*/ 679690 h 697852"/>
                  <a:gd name="connsiteX1213" fmla="*/ 220333 w 609772"/>
                  <a:gd name="connsiteY1213" fmla="*/ 681189 h 697852"/>
                  <a:gd name="connsiteX1214" fmla="*/ 221215 w 609772"/>
                  <a:gd name="connsiteY1214" fmla="*/ 682688 h 697852"/>
                  <a:gd name="connsiteX1215" fmla="*/ 222096 w 609772"/>
                  <a:gd name="connsiteY1215" fmla="*/ 684716 h 697852"/>
                  <a:gd name="connsiteX1216" fmla="*/ 222360 w 609772"/>
                  <a:gd name="connsiteY1216" fmla="*/ 685597 h 697852"/>
                  <a:gd name="connsiteX1217" fmla="*/ 223860 w 609772"/>
                  <a:gd name="connsiteY1217" fmla="*/ 686215 h 697852"/>
                  <a:gd name="connsiteX1218" fmla="*/ 225623 w 609772"/>
                  <a:gd name="connsiteY1218" fmla="*/ 687096 h 697852"/>
                  <a:gd name="connsiteX1219" fmla="*/ 227034 w 609772"/>
                  <a:gd name="connsiteY1219" fmla="*/ 688242 h 697852"/>
                  <a:gd name="connsiteX1220" fmla="*/ 227651 w 609772"/>
                  <a:gd name="connsiteY1220" fmla="*/ 689389 h 697852"/>
                  <a:gd name="connsiteX1221" fmla="*/ 227915 w 609772"/>
                  <a:gd name="connsiteY1221" fmla="*/ 691417 h 697852"/>
                  <a:gd name="connsiteX1222" fmla="*/ 229943 w 609772"/>
                  <a:gd name="connsiteY1222" fmla="*/ 693180 h 697852"/>
                  <a:gd name="connsiteX1223" fmla="*/ 231707 w 609772"/>
                  <a:gd name="connsiteY1223" fmla="*/ 692915 h 697852"/>
                  <a:gd name="connsiteX1224" fmla="*/ 233734 w 609772"/>
                  <a:gd name="connsiteY1224" fmla="*/ 693533 h 697852"/>
                  <a:gd name="connsiteX1225" fmla="*/ 235498 w 609772"/>
                  <a:gd name="connsiteY1225" fmla="*/ 694943 h 697852"/>
                  <a:gd name="connsiteX1226" fmla="*/ 236908 w 609772"/>
                  <a:gd name="connsiteY1226" fmla="*/ 695825 h 697852"/>
                  <a:gd name="connsiteX1227" fmla="*/ 238407 w 609772"/>
                  <a:gd name="connsiteY1227" fmla="*/ 696442 h 697852"/>
                  <a:gd name="connsiteX1228" fmla="*/ 240435 w 609772"/>
                  <a:gd name="connsiteY1228" fmla="*/ 696971 h 697852"/>
                  <a:gd name="connsiteX1229" fmla="*/ 242198 w 609772"/>
                  <a:gd name="connsiteY1229" fmla="*/ 697853 h 697852"/>
                  <a:gd name="connsiteX1230" fmla="*/ 245108 w 609772"/>
                  <a:gd name="connsiteY1230" fmla="*/ 696706 h 697852"/>
                  <a:gd name="connsiteX1231" fmla="*/ 247136 w 609772"/>
                  <a:gd name="connsiteY1231" fmla="*/ 697324 h 697852"/>
                  <a:gd name="connsiteX1232" fmla="*/ 249428 w 609772"/>
                  <a:gd name="connsiteY1232" fmla="*/ 695032 h 697852"/>
                  <a:gd name="connsiteX1233" fmla="*/ 252074 w 609772"/>
                  <a:gd name="connsiteY1233" fmla="*/ 695296 h 697852"/>
                  <a:gd name="connsiteX1234" fmla="*/ 251192 w 609772"/>
                  <a:gd name="connsiteY1234" fmla="*/ 694150 h 697852"/>
                  <a:gd name="connsiteX1235" fmla="*/ 252955 w 609772"/>
                  <a:gd name="connsiteY1235" fmla="*/ 692122 h 697852"/>
                  <a:gd name="connsiteX1236" fmla="*/ 253837 w 609772"/>
                  <a:gd name="connsiteY1236" fmla="*/ 690094 h 697852"/>
                  <a:gd name="connsiteX1237" fmla="*/ 254719 w 609772"/>
                  <a:gd name="connsiteY1237" fmla="*/ 687713 h 697852"/>
                  <a:gd name="connsiteX1238" fmla="*/ 255071 w 609772"/>
                  <a:gd name="connsiteY1238" fmla="*/ 686303 h 697852"/>
                  <a:gd name="connsiteX1239" fmla="*/ 256217 w 609772"/>
                  <a:gd name="connsiteY1239" fmla="*/ 684539 h 697852"/>
                  <a:gd name="connsiteX1240" fmla="*/ 255336 w 609772"/>
                  <a:gd name="connsiteY1240" fmla="*/ 682776 h 697852"/>
                  <a:gd name="connsiteX1241" fmla="*/ 255336 w 609772"/>
                  <a:gd name="connsiteY1241" fmla="*/ 681894 h 697852"/>
                  <a:gd name="connsiteX1242" fmla="*/ 256482 w 609772"/>
                  <a:gd name="connsiteY1242" fmla="*/ 680484 h 697852"/>
                  <a:gd name="connsiteX1243" fmla="*/ 256217 w 609772"/>
                  <a:gd name="connsiteY1243" fmla="*/ 679602 h 697852"/>
                  <a:gd name="connsiteX1244" fmla="*/ 256835 w 609772"/>
                  <a:gd name="connsiteY1244" fmla="*/ 676957 h 697852"/>
                  <a:gd name="connsiteX1245" fmla="*/ 257452 w 609772"/>
                  <a:gd name="connsiteY1245" fmla="*/ 676957 h 697852"/>
                  <a:gd name="connsiteX1246" fmla="*/ 258862 w 609772"/>
                  <a:gd name="connsiteY1246" fmla="*/ 675194 h 697852"/>
                  <a:gd name="connsiteX1247" fmla="*/ 259479 w 609772"/>
                  <a:gd name="connsiteY1247" fmla="*/ 674929 h 697852"/>
                  <a:gd name="connsiteX1248" fmla="*/ 260626 w 609772"/>
                  <a:gd name="connsiteY1248" fmla="*/ 673783 h 697852"/>
                  <a:gd name="connsiteX1249" fmla="*/ 261155 w 609772"/>
                  <a:gd name="connsiteY1249" fmla="*/ 674400 h 697852"/>
                  <a:gd name="connsiteX1250" fmla="*/ 262918 w 609772"/>
                  <a:gd name="connsiteY1250" fmla="*/ 672637 h 697852"/>
                  <a:gd name="connsiteX1251" fmla="*/ 263800 w 609772"/>
                  <a:gd name="connsiteY1251" fmla="*/ 669991 h 697852"/>
                  <a:gd name="connsiteX1252" fmla="*/ 265211 w 609772"/>
                  <a:gd name="connsiteY1252" fmla="*/ 668845 h 697852"/>
                  <a:gd name="connsiteX1253" fmla="*/ 268473 w 609772"/>
                  <a:gd name="connsiteY1253" fmla="*/ 667964 h 697852"/>
                  <a:gd name="connsiteX1254" fmla="*/ 270501 w 609772"/>
                  <a:gd name="connsiteY1254" fmla="*/ 667964 h 697852"/>
                  <a:gd name="connsiteX1255" fmla="*/ 273057 w 609772"/>
                  <a:gd name="connsiteY1255" fmla="*/ 667082 h 697852"/>
                  <a:gd name="connsiteX1256" fmla="*/ 274821 w 609772"/>
                  <a:gd name="connsiteY1256" fmla="*/ 667082 h 697852"/>
                  <a:gd name="connsiteX1257" fmla="*/ 276232 w 609772"/>
                  <a:gd name="connsiteY1257" fmla="*/ 667964 h 697852"/>
                  <a:gd name="connsiteX1258" fmla="*/ 276232 w 609772"/>
                  <a:gd name="connsiteY1258" fmla="*/ 669110 h 697852"/>
                  <a:gd name="connsiteX1259" fmla="*/ 280640 w 609772"/>
                  <a:gd name="connsiteY1259" fmla="*/ 670609 h 697852"/>
                  <a:gd name="connsiteX1260" fmla="*/ 280375 w 609772"/>
                  <a:gd name="connsiteY1260" fmla="*/ 669462 h 697852"/>
                  <a:gd name="connsiteX1261" fmla="*/ 278083 w 609772"/>
                  <a:gd name="connsiteY1261" fmla="*/ 668581 h 697852"/>
                  <a:gd name="connsiteX1262" fmla="*/ 276584 w 609772"/>
                  <a:gd name="connsiteY1262" fmla="*/ 667082 h 697852"/>
                  <a:gd name="connsiteX1263" fmla="*/ 275967 w 609772"/>
                  <a:gd name="connsiteY1263" fmla="*/ 665319 h 697852"/>
                  <a:gd name="connsiteX1264" fmla="*/ 274556 w 609772"/>
                  <a:gd name="connsiteY1264" fmla="*/ 666200 h 697852"/>
                  <a:gd name="connsiteX1265" fmla="*/ 272528 w 609772"/>
                  <a:gd name="connsiteY1265" fmla="*/ 665319 h 697852"/>
                  <a:gd name="connsiteX1266" fmla="*/ 270501 w 609772"/>
                  <a:gd name="connsiteY1266" fmla="*/ 666200 h 697852"/>
                  <a:gd name="connsiteX1267" fmla="*/ 269883 w 609772"/>
                  <a:gd name="connsiteY1267" fmla="*/ 664173 h 697852"/>
                  <a:gd name="connsiteX1268" fmla="*/ 268737 w 609772"/>
                  <a:gd name="connsiteY1268" fmla="*/ 663291 h 697852"/>
                  <a:gd name="connsiteX1269" fmla="*/ 266709 w 609772"/>
                  <a:gd name="connsiteY1269" fmla="*/ 663555 h 697852"/>
                  <a:gd name="connsiteX1270" fmla="*/ 270236 w 609772"/>
                  <a:gd name="connsiteY1270" fmla="*/ 661792 h 697852"/>
                  <a:gd name="connsiteX1271" fmla="*/ 270589 w 609772"/>
                  <a:gd name="connsiteY1271" fmla="*/ 660381 h 697852"/>
                  <a:gd name="connsiteX1272" fmla="*/ 269972 w 609772"/>
                  <a:gd name="connsiteY1272" fmla="*/ 659499 h 697852"/>
                  <a:gd name="connsiteX1273" fmla="*/ 271383 w 609772"/>
                  <a:gd name="connsiteY1273" fmla="*/ 658089 h 697852"/>
                  <a:gd name="connsiteX1274" fmla="*/ 270765 w 609772"/>
                  <a:gd name="connsiteY1274" fmla="*/ 656590 h 697852"/>
                  <a:gd name="connsiteX1275" fmla="*/ 274027 w 609772"/>
                  <a:gd name="connsiteY1275" fmla="*/ 655708 h 697852"/>
                  <a:gd name="connsiteX1276" fmla="*/ 275526 w 609772"/>
                  <a:gd name="connsiteY1276" fmla="*/ 653681 h 697852"/>
                  <a:gd name="connsiteX1277" fmla="*/ 276055 w 609772"/>
                  <a:gd name="connsiteY1277" fmla="*/ 652799 h 697852"/>
                  <a:gd name="connsiteX1278" fmla="*/ 276055 w 609772"/>
                  <a:gd name="connsiteY1278" fmla="*/ 649272 h 697852"/>
                  <a:gd name="connsiteX1279" fmla="*/ 275791 w 609772"/>
                  <a:gd name="connsiteY1279" fmla="*/ 650418 h 697852"/>
                  <a:gd name="connsiteX1280" fmla="*/ 276320 w 609772"/>
                  <a:gd name="connsiteY1280" fmla="*/ 651300 h 697852"/>
                  <a:gd name="connsiteX1281" fmla="*/ 277466 w 609772"/>
                  <a:gd name="connsiteY1281" fmla="*/ 648126 h 697852"/>
                  <a:gd name="connsiteX1282" fmla="*/ 277819 w 609772"/>
                  <a:gd name="connsiteY1282" fmla="*/ 646980 h 697852"/>
                  <a:gd name="connsiteX1283" fmla="*/ 277201 w 609772"/>
                  <a:gd name="connsiteY1283" fmla="*/ 646098 h 697852"/>
                  <a:gd name="connsiteX1284" fmla="*/ 276584 w 609772"/>
                  <a:gd name="connsiteY1284" fmla="*/ 644952 h 697852"/>
                  <a:gd name="connsiteX1285" fmla="*/ 277201 w 609772"/>
                  <a:gd name="connsiteY1285" fmla="*/ 644335 h 697852"/>
                  <a:gd name="connsiteX1286" fmla="*/ 278700 w 609772"/>
                  <a:gd name="connsiteY1286" fmla="*/ 642924 h 697852"/>
                  <a:gd name="connsiteX1287" fmla="*/ 279582 w 609772"/>
                  <a:gd name="connsiteY1287" fmla="*/ 642924 h 697852"/>
                  <a:gd name="connsiteX1288" fmla="*/ 281610 w 609772"/>
                  <a:gd name="connsiteY1288" fmla="*/ 642042 h 697852"/>
                  <a:gd name="connsiteX1289" fmla="*/ 280728 w 609772"/>
                  <a:gd name="connsiteY1289" fmla="*/ 641425 h 697852"/>
                  <a:gd name="connsiteX1290" fmla="*/ 281345 w 609772"/>
                  <a:gd name="connsiteY1290" fmla="*/ 640543 h 697852"/>
                  <a:gd name="connsiteX1291" fmla="*/ 281610 w 609772"/>
                  <a:gd name="connsiteY1291" fmla="*/ 641425 h 697852"/>
                  <a:gd name="connsiteX1292" fmla="*/ 283638 w 609772"/>
                  <a:gd name="connsiteY1292" fmla="*/ 640808 h 697852"/>
                  <a:gd name="connsiteX1293" fmla="*/ 284255 w 609772"/>
                  <a:gd name="connsiteY1293" fmla="*/ 641425 h 697852"/>
                  <a:gd name="connsiteX1294" fmla="*/ 285401 w 609772"/>
                  <a:gd name="connsiteY1294" fmla="*/ 642307 h 697852"/>
                  <a:gd name="connsiteX1295" fmla="*/ 286900 w 609772"/>
                  <a:gd name="connsiteY1295" fmla="*/ 641425 h 697852"/>
                  <a:gd name="connsiteX1296" fmla="*/ 288046 w 609772"/>
                  <a:gd name="connsiteY1296" fmla="*/ 640543 h 697852"/>
                  <a:gd name="connsiteX1297" fmla="*/ 287782 w 609772"/>
                  <a:gd name="connsiteY1297" fmla="*/ 638780 h 697852"/>
                  <a:gd name="connsiteX1298" fmla="*/ 288399 w 609772"/>
                  <a:gd name="connsiteY1298" fmla="*/ 635606 h 697852"/>
                  <a:gd name="connsiteX1299" fmla="*/ 290427 w 609772"/>
                  <a:gd name="connsiteY1299" fmla="*/ 637634 h 697852"/>
                  <a:gd name="connsiteX1300" fmla="*/ 289280 w 609772"/>
                  <a:gd name="connsiteY1300" fmla="*/ 637017 h 697852"/>
                  <a:gd name="connsiteX1301" fmla="*/ 289280 w 609772"/>
                  <a:gd name="connsiteY1301" fmla="*/ 635870 h 697852"/>
                  <a:gd name="connsiteX1302" fmla="*/ 288663 w 609772"/>
                  <a:gd name="connsiteY1302" fmla="*/ 632696 h 697852"/>
                  <a:gd name="connsiteX1303" fmla="*/ 288928 w 609772"/>
                  <a:gd name="connsiteY1303" fmla="*/ 631550 h 697852"/>
                  <a:gd name="connsiteX1304" fmla="*/ 290162 w 609772"/>
                  <a:gd name="connsiteY1304" fmla="*/ 631550 h 697852"/>
                  <a:gd name="connsiteX1305" fmla="*/ 288663 w 609772"/>
                  <a:gd name="connsiteY1305" fmla="*/ 629170 h 697852"/>
                  <a:gd name="connsiteX1306" fmla="*/ 288663 w 609772"/>
                  <a:gd name="connsiteY1306" fmla="*/ 628552 h 697852"/>
                  <a:gd name="connsiteX1307" fmla="*/ 288663 w 609772"/>
                  <a:gd name="connsiteY1307" fmla="*/ 626525 h 697852"/>
                  <a:gd name="connsiteX1308" fmla="*/ 288928 w 609772"/>
                  <a:gd name="connsiteY1308" fmla="*/ 624497 h 697852"/>
                  <a:gd name="connsiteX1309" fmla="*/ 289192 w 609772"/>
                  <a:gd name="connsiteY1309" fmla="*/ 622469 h 697852"/>
                  <a:gd name="connsiteX1310" fmla="*/ 289192 w 609772"/>
                  <a:gd name="connsiteY1310" fmla="*/ 622204 h 697852"/>
                  <a:gd name="connsiteX1311" fmla="*/ 286900 w 609772"/>
                  <a:gd name="connsiteY1311" fmla="*/ 621058 h 697852"/>
                  <a:gd name="connsiteX1312" fmla="*/ 286900 w 609772"/>
                  <a:gd name="connsiteY1312" fmla="*/ 619030 h 697852"/>
                  <a:gd name="connsiteX1313" fmla="*/ 287517 w 609772"/>
                  <a:gd name="connsiteY1313" fmla="*/ 616121 h 697852"/>
                  <a:gd name="connsiteX1314" fmla="*/ 286635 w 609772"/>
                  <a:gd name="connsiteY1314" fmla="*/ 614093 h 697852"/>
                  <a:gd name="connsiteX1315" fmla="*/ 286635 w 609772"/>
                  <a:gd name="connsiteY1315" fmla="*/ 613211 h 697852"/>
                  <a:gd name="connsiteX1316" fmla="*/ 286018 w 609772"/>
                  <a:gd name="connsiteY1316" fmla="*/ 610566 h 697852"/>
                  <a:gd name="connsiteX1317" fmla="*/ 286900 w 609772"/>
                  <a:gd name="connsiteY1317" fmla="*/ 608803 h 697852"/>
                  <a:gd name="connsiteX1318" fmla="*/ 286900 w 609772"/>
                  <a:gd name="connsiteY1318" fmla="*/ 607921 h 697852"/>
                  <a:gd name="connsiteX1319" fmla="*/ 286282 w 609772"/>
                  <a:gd name="connsiteY1319" fmla="*/ 606158 h 697852"/>
                  <a:gd name="connsiteX1320" fmla="*/ 285666 w 609772"/>
                  <a:gd name="connsiteY1320" fmla="*/ 605541 h 697852"/>
                  <a:gd name="connsiteX1321" fmla="*/ 285049 w 609772"/>
                  <a:gd name="connsiteY1321" fmla="*/ 605276 h 697852"/>
                  <a:gd name="connsiteX1322" fmla="*/ 284784 w 609772"/>
                  <a:gd name="connsiteY1322" fmla="*/ 603248 h 697852"/>
                  <a:gd name="connsiteX1323" fmla="*/ 285049 w 609772"/>
                  <a:gd name="connsiteY1323" fmla="*/ 599457 h 697852"/>
                  <a:gd name="connsiteX1324" fmla="*/ 285666 w 609772"/>
                  <a:gd name="connsiteY1324" fmla="*/ 598575 h 697852"/>
                  <a:gd name="connsiteX1325" fmla="*/ 286282 w 609772"/>
                  <a:gd name="connsiteY1325" fmla="*/ 597429 h 697852"/>
                  <a:gd name="connsiteX1326" fmla="*/ 287164 w 609772"/>
                  <a:gd name="connsiteY1326" fmla="*/ 596283 h 697852"/>
                  <a:gd name="connsiteX1327" fmla="*/ 288046 w 609772"/>
                  <a:gd name="connsiteY1327" fmla="*/ 594784 h 697852"/>
                  <a:gd name="connsiteX1328" fmla="*/ 288311 w 609772"/>
                  <a:gd name="connsiteY1328" fmla="*/ 592756 h 697852"/>
                  <a:gd name="connsiteX1329" fmla="*/ 288311 w 609772"/>
                  <a:gd name="connsiteY1329" fmla="*/ 590111 h 697852"/>
                  <a:gd name="connsiteX1330" fmla="*/ 288840 w 609772"/>
                  <a:gd name="connsiteY1330" fmla="*/ 589847 h 697852"/>
                  <a:gd name="connsiteX1331" fmla="*/ 290338 w 609772"/>
                  <a:gd name="connsiteY1331" fmla="*/ 587819 h 697852"/>
                  <a:gd name="connsiteX1332" fmla="*/ 288840 w 609772"/>
                  <a:gd name="connsiteY1332" fmla="*/ 583763 h 697852"/>
                  <a:gd name="connsiteX1333" fmla="*/ 289721 w 609772"/>
                  <a:gd name="connsiteY1333" fmla="*/ 579707 h 697852"/>
                  <a:gd name="connsiteX1334" fmla="*/ 288840 w 609772"/>
                  <a:gd name="connsiteY1334" fmla="*/ 577679 h 697852"/>
                  <a:gd name="connsiteX1335" fmla="*/ 290074 w 609772"/>
                  <a:gd name="connsiteY1335" fmla="*/ 574417 h 697852"/>
                  <a:gd name="connsiteX1336" fmla="*/ 291220 w 609772"/>
                  <a:gd name="connsiteY1336" fmla="*/ 573271 h 697852"/>
                  <a:gd name="connsiteX1337" fmla="*/ 291220 w 609772"/>
                  <a:gd name="connsiteY1337" fmla="*/ 571508 h 697852"/>
                  <a:gd name="connsiteX1338" fmla="*/ 290338 w 609772"/>
                  <a:gd name="connsiteY1338" fmla="*/ 570361 h 697852"/>
                  <a:gd name="connsiteX1339" fmla="*/ 290956 w 609772"/>
                  <a:gd name="connsiteY1339" fmla="*/ 569480 h 697852"/>
                  <a:gd name="connsiteX1340" fmla="*/ 291308 w 609772"/>
                  <a:gd name="connsiteY1340" fmla="*/ 568333 h 697852"/>
                  <a:gd name="connsiteX1341" fmla="*/ 290956 w 609772"/>
                  <a:gd name="connsiteY1341" fmla="*/ 567716 h 697852"/>
                  <a:gd name="connsiteX1342" fmla="*/ 290691 w 609772"/>
                  <a:gd name="connsiteY1342" fmla="*/ 565953 h 697852"/>
                  <a:gd name="connsiteX1343" fmla="*/ 291308 w 609772"/>
                  <a:gd name="connsiteY1343" fmla="*/ 565071 h 697852"/>
                  <a:gd name="connsiteX1344" fmla="*/ 290691 w 609772"/>
                  <a:gd name="connsiteY1344" fmla="*/ 564454 h 697852"/>
                  <a:gd name="connsiteX1345" fmla="*/ 289809 w 609772"/>
                  <a:gd name="connsiteY1345" fmla="*/ 563572 h 697852"/>
                  <a:gd name="connsiteX1346" fmla="*/ 288663 w 609772"/>
                  <a:gd name="connsiteY1346" fmla="*/ 563220 h 697852"/>
                  <a:gd name="connsiteX1347" fmla="*/ 288046 w 609772"/>
                  <a:gd name="connsiteY1347" fmla="*/ 562955 h 697852"/>
                  <a:gd name="connsiteX1348" fmla="*/ 288311 w 609772"/>
                  <a:gd name="connsiteY1348" fmla="*/ 562073 h 697852"/>
                  <a:gd name="connsiteX1349" fmla="*/ 287164 w 609772"/>
                  <a:gd name="connsiteY1349" fmla="*/ 562073 h 697852"/>
                  <a:gd name="connsiteX1350" fmla="*/ 285666 w 609772"/>
                  <a:gd name="connsiteY1350" fmla="*/ 560575 h 697852"/>
                  <a:gd name="connsiteX1351" fmla="*/ 283902 w 609772"/>
                  <a:gd name="connsiteY1351" fmla="*/ 558811 h 697852"/>
                  <a:gd name="connsiteX1352" fmla="*/ 284520 w 609772"/>
                  <a:gd name="connsiteY1352" fmla="*/ 558547 h 697852"/>
                  <a:gd name="connsiteX1353" fmla="*/ 284784 w 609772"/>
                  <a:gd name="connsiteY1353" fmla="*/ 557048 h 697852"/>
                  <a:gd name="connsiteX1354" fmla="*/ 285401 w 609772"/>
                  <a:gd name="connsiteY1354" fmla="*/ 556431 h 697852"/>
                  <a:gd name="connsiteX1355" fmla="*/ 285401 w 609772"/>
                  <a:gd name="connsiteY1355" fmla="*/ 557048 h 697852"/>
                  <a:gd name="connsiteX1356" fmla="*/ 285666 w 609772"/>
                  <a:gd name="connsiteY1356" fmla="*/ 558811 h 697852"/>
                  <a:gd name="connsiteX1357" fmla="*/ 286282 w 609772"/>
                  <a:gd name="connsiteY1357" fmla="*/ 558282 h 697852"/>
                  <a:gd name="connsiteX1358" fmla="*/ 286547 w 609772"/>
                  <a:gd name="connsiteY1358" fmla="*/ 555108 h 697852"/>
                  <a:gd name="connsiteX1359" fmla="*/ 286900 w 609772"/>
                  <a:gd name="connsiteY1359" fmla="*/ 557136 h 697852"/>
                  <a:gd name="connsiteX1360" fmla="*/ 288046 w 609772"/>
                  <a:gd name="connsiteY1360" fmla="*/ 558899 h 697852"/>
                  <a:gd name="connsiteX1361" fmla="*/ 288928 w 609772"/>
                  <a:gd name="connsiteY1361" fmla="*/ 560663 h 697852"/>
                  <a:gd name="connsiteX1362" fmla="*/ 288928 w 609772"/>
                  <a:gd name="connsiteY1362" fmla="*/ 562162 h 697852"/>
                  <a:gd name="connsiteX1363" fmla="*/ 290427 w 609772"/>
                  <a:gd name="connsiteY1363" fmla="*/ 562779 h 697852"/>
                  <a:gd name="connsiteX1364" fmla="*/ 287782 w 609772"/>
                  <a:gd name="connsiteY1364" fmla="*/ 556695 h 697852"/>
                  <a:gd name="connsiteX1365" fmla="*/ 287782 w 609772"/>
                  <a:gd name="connsiteY1365" fmla="*/ 555196 h 697852"/>
                  <a:gd name="connsiteX1366" fmla="*/ 288399 w 609772"/>
                  <a:gd name="connsiteY1366" fmla="*/ 554932 h 697852"/>
                  <a:gd name="connsiteX1367" fmla="*/ 288399 w 609772"/>
                  <a:gd name="connsiteY1367" fmla="*/ 553433 h 697852"/>
                  <a:gd name="connsiteX1368" fmla="*/ 288399 w 609772"/>
                  <a:gd name="connsiteY1368" fmla="*/ 550523 h 697852"/>
                  <a:gd name="connsiteX1369" fmla="*/ 286018 w 609772"/>
                  <a:gd name="connsiteY1369" fmla="*/ 548760 h 697852"/>
                  <a:gd name="connsiteX1370" fmla="*/ 284608 w 609772"/>
                  <a:gd name="connsiteY1370" fmla="*/ 545851 h 697852"/>
                  <a:gd name="connsiteX1371" fmla="*/ 284608 w 609772"/>
                  <a:gd name="connsiteY1371" fmla="*/ 544352 h 697852"/>
                  <a:gd name="connsiteX1372" fmla="*/ 283726 w 609772"/>
                  <a:gd name="connsiteY1372" fmla="*/ 544352 h 697852"/>
                  <a:gd name="connsiteX1373" fmla="*/ 282580 w 609772"/>
                  <a:gd name="connsiteY1373" fmla="*/ 544352 h 697852"/>
                  <a:gd name="connsiteX1374" fmla="*/ 283726 w 609772"/>
                  <a:gd name="connsiteY1374" fmla="*/ 543205 h 697852"/>
                  <a:gd name="connsiteX1375" fmla="*/ 285753 w 609772"/>
                  <a:gd name="connsiteY1375" fmla="*/ 542324 h 697852"/>
                  <a:gd name="connsiteX1376" fmla="*/ 285489 w 609772"/>
                  <a:gd name="connsiteY1376" fmla="*/ 540560 h 697852"/>
                  <a:gd name="connsiteX1377" fmla="*/ 286988 w 609772"/>
                  <a:gd name="connsiteY1377" fmla="*/ 538533 h 697852"/>
                  <a:gd name="connsiteX1378" fmla="*/ 285225 w 609772"/>
                  <a:gd name="connsiteY1378" fmla="*/ 536152 h 697852"/>
                  <a:gd name="connsiteX1379" fmla="*/ 285842 w 609772"/>
                  <a:gd name="connsiteY1379" fmla="*/ 535270 h 697852"/>
                  <a:gd name="connsiteX1380" fmla="*/ 284960 w 609772"/>
                  <a:gd name="connsiteY1380" fmla="*/ 534389 h 697852"/>
                  <a:gd name="connsiteX1381" fmla="*/ 284960 w 609772"/>
                  <a:gd name="connsiteY1381" fmla="*/ 533771 h 697852"/>
                  <a:gd name="connsiteX1382" fmla="*/ 284696 w 609772"/>
                  <a:gd name="connsiteY1382" fmla="*/ 532008 h 697852"/>
                  <a:gd name="connsiteX1383" fmla="*/ 283197 w 609772"/>
                  <a:gd name="connsiteY1383" fmla="*/ 531391 h 697852"/>
                  <a:gd name="connsiteX1384" fmla="*/ 283197 w 609772"/>
                  <a:gd name="connsiteY1384" fmla="*/ 529363 h 697852"/>
                  <a:gd name="connsiteX1385" fmla="*/ 282315 w 609772"/>
                  <a:gd name="connsiteY1385" fmla="*/ 527600 h 697852"/>
                  <a:gd name="connsiteX1386" fmla="*/ 280287 w 609772"/>
                  <a:gd name="connsiteY1386" fmla="*/ 525836 h 697852"/>
                  <a:gd name="connsiteX1387" fmla="*/ 280904 w 609772"/>
                  <a:gd name="connsiteY1387" fmla="*/ 522045 h 697852"/>
                  <a:gd name="connsiteX1388" fmla="*/ 281522 w 609772"/>
                  <a:gd name="connsiteY1388" fmla="*/ 519400 h 697852"/>
                  <a:gd name="connsiteX1389" fmla="*/ 281522 w 609772"/>
                  <a:gd name="connsiteY1389" fmla="*/ 518783 h 697852"/>
                  <a:gd name="connsiteX1390" fmla="*/ 281169 w 609772"/>
                  <a:gd name="connsiteY1390" fmla="*/ 515873 h 697852"/>
                  <a:gd name="connsiteX1391" fmla="*/ 281786 w 609772"/>
                  <a:gd name="connsiteY1391" fmla="*/ 513228 h 697852"/>
                  <a:gd name="connsiteX1392" fmla="*/ 282933 w 609772"/>
                  <a:gd name="connsiteY1392" fmla="*/ 511465 h 697852"/>
                  <a:gd name="connsiteX1393" fmla="*/ 284078 w 609772"/>
                  <a:gd name="connsiteY1393" fmla="*/ 506527 h 697852"/>
                  <a:gd name="connsiteX1394" fmla="*/ 286459 w 609772"/>
                  <a:gd name="connsiteY1394" fmla="*/ 504764 h 697852"/>
                  <a:gd name="connsiteX1395" fmla="*/ 289633 w 609772"/>
                  <a:gd name="connsiteY1395" fmla="*/ 503618 h 697852"/>
                  <a:gd name="connsiteX1396" fmla="*/ 289898 w 609772"/>
                  <a:gd name="connsiteY1396" fmla="*/ 502119 h 697852"/>
                  <a:gd name="connsiteX1397" fmla="*/ 290779 w 609772"/>
                  <a:gd name="connsiteY1397" fmla="*/ 502119 h 697852"/>
                  <a:gd name="connsiteX1398" fmla="*/ 293072 w 609772"/>
                  <a:gd name="connsiteY1398" fmla="*/ 502119 h 697852"/>
                  <a:gd name="connsiteX1399" fmla="*/ 293689 w 609772"/>
                  <a:gd name="connsiteY1399" fmla="*/ 501854 h 697852"/>
                  <a:gd name="connsiteX1400" fmla="*/ 294835 w 609772"/>
                  <a:gd name="connsiteY1400" fmla="*/ 502119 h 697852"/>
                  <a:gd name="connsiteX1401" fmla="*/ 294835 w 609772"/>
                  <a:gd name="connsiteY1401" fmla="*/ 503618 h 697852"/>
                  <a:gd name="connsiteX1402" fmla="*/ 293425 w 609772"/>
                  <a:gd name="connsiteY1402" fmla="*/ 505381 h 697852"/>
                  <a:gd name="connsiteX1403" fmla="*/ 294041 w 609772"/>
                  <a:gd name="connsiteY1403" fmla="*/ 505998 h 697852"/>
                  <a:gd name="connsiteX1404" fmla="*/ 295188 w 609772"/>
                  <a:gd name="connsiteY1404" fmla="*/ 505998 h 697852"/>
                  <a:gd name="connsiteX1405" fmla="*/ 297216 w 609772"/>
                  <a:gd name="connsiteY1405" fmla="*/ 503618 h 697852"/>
                  <a:gd name="connsiteX1406" fmla="*/ 296687 w 609772"/>
                  <a:gd name="connsiteY1406" fmla="*/ 501325 h 697852"/>
                  <a:gd name="connsiteX1407" fmla="*/ 298715 w 609772"/>
                  <a:gd name="connsiteY1407" fmla="*/ 499298 h 697852"/>
                  <a:gd name="connsiteX1408" fmla="*/ 297833 w 609772"/>
                  <a:gd name="connsiteY1408" fmla="*/ 501061 h 697852"/>
                  <a:gd name="connsiteX1409" fmla="*/ 298097 w 609772"/>
                  <a:gd name="connsiteY1409" fmla="*/ 502207 h 697852"/>
                  <a:gd name="connsiteX1410" fmla="*/ 298097 w 609772"/>
                  <a:gd name="connsiteY1410" fmla="*/ 505117 h 697852"/>
                  <a:gd name="connsiteX1411" fmla="*/ 300390 w 609772"/>
                  <a:gd name="connsiteY1411" fmla="*/ 504852 h 697852"/>
                  <a:gd name="connsiteX1412" fmla="*/ 301536 w 609772"/>
                  <a:gd name="connsiteY1412" fmla="*/ 503971 h 697852"/>
                  <a:gd name="connsiteX1413" fmla="*/ 300037 w 609772"/>
                  <a:gd name="connsiteY1413" fmla="*/ 502207 h 697852"/>
                  <a:gd name="connsiteX1414" fmla="*/ 302682 w 609772"/>
                  <a:gd name="connsiteY1414" fmla="*/ 500179 h 697852"/>
                  <a:gd name="connsiteX1415" fmla="*/ 302329 w 609772"/>
                  <a:gd name="connsiteY1415" fmla="*/ 497887 h 697852"/>
                  <a:gd name="connsiteX1416" fmla="*/ 303211 w 609772"/>
                  <a:gd name="connsiteY1416" fmla="*/ 494096 h 697852"/>
                  <a:gd name="connsiteX1417" fmla="*/ 304622 w 609772"/>
                  <a:gd name="connsiteY1417" fmla="*/ 493214 h 697852"/>
                  <a:gd name="connsiteX1418" fmla="*/ 302858 w 609772"/>
                  <a:gd name="connsiteY1418" fmla="*/ 491186 h 697852"/>
                  <a:gd name="connsiteX1419" fmla="*/ 304269 w 609772"/>
                  <a:gd name="connsiteY1419" fmla="*/ 489423 h 697852"/>
                  <a:gd name="connsiteX1420" fmla="*/ 306033 w 609772"/>
                  <a:gd name="connsiteY1420" fmla="*/ 489158 h 697852"/>
                  <a:gd name="connsiteX1421" fmla="*/ 307531 w 609772"/>
                  <a:gd name="connsiteY1421" fmla="*/ 489423 h 697852"/>
                  <a:gd name="connsiteX1422" fmla="*/ 306650 w 609772"/>
                  <a:gd name="connsiteY1422" fmla="*/ 490569 h 697852"/>
                  <a:gd name="connsiteX1423" fmla="*/ 308413 w 609772"/>
                  <a:gd name="connsiteY1423" fmla="*/ 490304 h 697852"/>
                  <a:gd name="connsiteX1424" fmla="*/ 310176 w 609772"/>
                  <a:gd name="connsiteY1424" fmla="*/ 490304 h 697852"/>
                  <a:gd name="connsiteX1425" fmla="*/ 309559 w 609772"/>
                  <a:gd name="connsiteY1425" fmla="*/ 489423 h 697852"/>
                  <a:gd name="connsiteX1426" fmla="*/ 310441 w 609772"/>
                  <a:gd name="connsiteY1426" fmla="*/ 489687 h 697852"/>
                  <a:gd name="connsiteX1427" fmla="*/ 311587 w 609772"/>
                  <a:gd name="connsiteY1427" fmla="*/ 490304 h 697852"/>
                  <a:gd name="connsiteX1428" fmla="*/ 313615 w 609772"/>
                  <a:gd name="connsiteY1428" fmla="*/ 490569 h 697852"/>
                  <a:gd name="connsiteX1429" fmla="*/ 313615 w 609772"/>
                  <a:gd name="connsiteY1429" fmla="*/ 491186 h 697852"/>
                  <a:gd name="connsiteX1430" fmla="*/ 316260 w 609772"/>
                  <a:gd name="connsiteY1430" fmla="*/ 489423 h 697852"/>
                  <a:gd name="connsiteX1431" fmla="*/ 318905 w 609772"/>
                  <a:gd name="connsiteY1431" fmla="*/ 489423 h 697852"/>
                  <a:gd name="connsiteX1432" fmla="*/ 319170 w 609772"/>
                  <a:gd name="connsiteY1432" fmla="*/ 488277 h 697852"/>
                  <a:gd name="connsiteX1433" fmla="*/ 320580 w 609772"/>
                  <a:gd name="connsiteY1433" fmla="*/ 487748 h 697852"/>
                  <a:gd name="connsiteX1434" fmla="*/ 322079 w 609772"/>
                  <a:gd name="connsiteY1434" fmla="*/ 487748 h 697852"/>
                  <a:gd name="connsiteX1435" fmla="*/ 323225 w 609772"/>
                  <a:gd name="connsiteY1435" fmla="*/ 486866 h 697852"/>
                  <a:gd name="connsiteX1436" fmla="*/ 322608 w 609772"/>
                  <a:gd name="connsiteY1436" fmla="*/ 485102 h 697852"/>
                  <a:gd name="connsiteX1437" fmla="*/ 324019 w 609772"/>
                  <a:gd name="connsiteY1437" fmla="*/ 484750 h 697852"/>
                  <a:gd name="connsiteX1438" fmla="*/ 324636 w 609772"/>
                  <a:gd name="connsiteY1438" fmla="*/ 485367 h 697852"/>
                  <a:gd name="connsiteX1439" fmla="*/ 324900 w 609772"/>
                  <a:gd name="connsiteY1439" fmla="*/ 484750 h 697852"/>
                  <a:gd name="connsiteX1440" fmla="*/ 326929 w 609772"/>
                  <a:gd name="connsiteY1440" fmla="*/ 483339 h 697852"/>
                  <a:gd name="connsiteX1441" fmla="*/ 328692 w 609772"/>
                  <a:gd name="connsiteY1441" fmla="*/ 480430 h 697852"/>
                  <a:gd name="connsiteX1442" fmla="*/ 328427 w 609772"/>
                  <a:gd name="connsiteY1442" fmla="*/ 479019 h 697852"/>
                  <a:gd name="connsiteX1443" fmla="*/ 329309 w 609772"/>
                  <a:gd name="connsiteY1443" fmla="*/ 478137 h 697852"/>
                  <a:gd name="connsiteX1444" fmla="*/ 329309 w 609772"/>
                  <a:gd name="connsiteY1444" fmla="*/ 475492 h 697852"/>
                  <a:gd name="connsiteX1445" fmla="*/ 329044 w 609772"/>
                  <a:gd name="connsiteY1445" fmla="*/ 473200 h 697852"/>
                  <a:gd name="connsiteX1446" fmla="*/ 327017 w 609772"/>
                  <a:gd name="connsiteY1446" fmla="*/ 473464 h 697852"/>
                  <a:gd name="connsiteX1447" fmla="*/ 326135 w 609772"/>
                  <a:gd name="connsiteY1447" fmla="*/ 474875 h 697852"/>
                  <a:gd name="connsiteX1448" fmla="*/ 327546 w 609772"/>
                  <a:gd name="connsiteY1448" fmla="*/ 477255 h 697852"/>
                  <a:gd name="connsiteX1449" fmla="*/ 326135 w 609772"/>
                  <a:gd name="connsiteY1449" fmla="*/ 478137 h 697852"/>
                  <a:gd name="connsiteX1450" fmla="*/ 325253 w 609772"/>
                  <a:gd name="connsiteY1450" fmla="*/ 477520 h 697852"/>
                  <a:gd name="connsiteX1451" fmla="*/ 324371 w 609772"/>
                  <a:gd name="connsiteY1451" fmla="*/ 477255 h 697852"/>
                  <a:gd name="connsiteX1452" fmla="*/ 324107 w 609772"/>
                  <a:gd name="connsiteY1452" fmla="*/ 475757 h 697852"/>
                  <a:gd name="connsiteX1453" fmla="*/ 324107 w 609772"/>
                  <a:gd name="connsiteY1453" fmla="*/ 474875 h 697852"/>
                  <a:gd name="connsiteX1454" fmla="*/ 325871 w 609772"/>
                  <a:gd name="connsiteY1454" fmla="*/ 472230 h 697852"/>
                  <a:gd name="connsiteX1455" fmla="*/ 328515 w 609772"/>
                  <a:gd name="connsiteY1455" fmla="*/ 468439 h 697852"/>
                  <a:gd name="connsiteX1456" fmla="*/ 330279 w 609772"/>
                  <a:gd name="connsiteY1456" fmla="*/ 467292 h 697852"/>
                  <a:gd name="connsiteX1457" fmla="*/ 334334 w 609772"/>
                  <a:gd name="connsiteY1457" fmla="*/ 464118 h 697852"/>
                  <a:gd name="connsiteX1458" fmla="*/ 336098 w 609772"/>
                  <a:gd name="connsiteY1458" fmla="*/ 463854 h 697852"/>
                  <a:gd name="connsiteX1459" fmla="*/ 337244 w 609772"/>
                  <a:gd name="connsiteY1459" fmla="*/ 463854 h 697852"/>
                  <a:gd name="connsiteX1460" fmla="*/ 339008 w 609772"/>
                  <a:gd name="connsiteY1460" fmla="*/ 462972 h 697852"/>
                  <a:gd name="connsiteX1461" fmla="*/ 338655 w 609772"/>
                  <a:gd name="connsiteY1461" fmla="*/ 461209 h 697852"/>
                  <a:gd name="connsiteX1462" fmla="*/ 341917 w 609772"/>
                  <a:gd name="connsiteY1462" fmla="*/ 460063 h 697852"/>
                  <a:gd name="connsiteX1463" fmla="*/ 342799 w 609772"/>
                  <a:gd name="connsiteY1463" fmla="*/ 458564 h 697852"/>
                  <a:gd name="connsiteX1464" fmla="*/ 342534 w 609772"/>
                  <a:gd name="connsiteY1464" fmla="*/ 457682 h 697852"/>
                  <a:gd name="connsiteX1465" fmla="*/ 343416 w 609772"/>
                  <a:gd name="connsiteY1465" fmla="*/ 457153 h 697852"/>
                  <a:gd name="connsiteX1466" fmla="*/ 343416 w 609772"/>
                  <a:gd name="connsiteY1466" fmla="*/ 455742 h 697852"/>
                  <a:gd name="connsiteX1467" fmla="*/ 344562 w 609772"/>
                  <a:gd name="connsiteY1467" fmla="*/ 454861 h 697852"/>
                  <a:gd name="connsiteX1468" fmla="*/ 346326 w 609772"/>
                  <a:gd name="connsiteY1468" fmla="*/ 454861 h 697852"/>
                  <a:gd name="connsiteX1469" fmla="*/ 347824 w 609772"/>
                  <a:gd name="connsiteY1469" fmla="*/ 450805 h 697852"/>
                  <a:gd name="connsiteX1470" fmla="*/ 347824 w 609772"/>
                  <a:gd name="connsiteY1470" fmla="*/ 450188 h 697852"/>
                  <a:gd name="connsiteX1471" fmla="*/ 348706 w 609772"/>
                  <a:gd name="connsiteY1471" fmla="*/ 449571 h 697852"/>
                  <a:gd name="connsiteX1472" fmla="*/ 349852 w 609772"/>
                  <a:gd name="connsiteY1472" fmla="*/ 450188 h 697852"/>
                  <a:gd name="connsiteX1473" fmla="*/ 350469 w 609772"/>
                  <a:gd name="connsiteY1473" fmla="*/ 447807 h 697852"/>
                  <a:gd name="connsiteX1474" fmla="*/ 352497 w 609772"/>
                  <a:gd name="connsiteY1474" fmla="*/ 444898 h 697852"/>
                  <a:gd name="connsiteX1475" fmla="*/ 354260 w 609772"/>
                  <a:gd name="connsiteY1475" fmla="*/ 444016 h 697852"/>
                  <a:gd name="connsiteX1476" fmla="*/ 355759 w 609772"/>
                  <a:gd name="connsiteY1476" fmla="*/ 442605 h 697852"/>
                  <a:gd name="connsiteX1477" fmla="*/ 358052 w 609772"/>
                  <a:gd name="connsiteY1477" fmla="*/ 442605 h 697852"/>
                  <a:gd name="connsiteX1478" fmla="*/ 358934 w 609772"/>
                  <a:gd name="connsiteY1478" fmla="*/ 442341 h 697852"/>
                  <a:gd name="connsiteX1479" fmla="*/ 360697 w 609772"/>
                  <a:gd name="connsiteY1479" fmla="*/ 440577 h 697852"/>
                  <a:gd name="connsiteX1480" fmla="*/ 360697 w 609772"/>
                  <a:gd name="connsiteY1480" fmla="*/ 439696 h 697852"/>
                  <a:gd name="connsiteX1481" fmla="*/ 363606 w 609772"/>
                  <a:gd name="connsiteY1481" fmla="*/ 437403 h 697852"/>
                  <a:gd name="connsiteX1482" fmla="*/ 363871 w 609772"/>
                  <a:gd name="connsiteY1482" fmla="*/ 435376 h 697852"/>
                  <a:gd name="connsiteX1483" fmla="*/ 363254 w 609772"/>
                  <a:gd name="connsiteY1483" fmla="*/ 435376 h 697852"/>
                  <a:gd name="connsiteX1484" fmla="*/ 362989 w 609772"/>
                  <a:gd name="connsiteY1484" fmla="*/ 434229 h 697852"/>
                  <a:gd name="connsiteX1485" fmla="*/ 363871 w 609772"/>
                  <a:gd name="connsiteY1485" fmla="*/ 434229 h 697852"/>
                  <a:gd name="connsiteX1486" fmla="*/ 366516 w 609772"/>
                  <a:gd name="connsiteY1486" fmla="*/ 431320 h 697852"/>
                  <a:gd name="connsiteX1487" fmla="*/ 366516 w 609772"/>
                  <a:gd name="connsiteY1487" fmla="*/ 430703 h 697852"/>
                  <a:gd name="connsiteX1488" fmla="*/ 367397 w 609772"/>
                  <a:gd name="connsiteY1488" fmla="*/ 428939 h 697852"/>
                  <a:gd name="connsiteX1489" fmla="*/ 370042 w 609772"/>
                  <a:gd name="connsiteY1489" fmla="*/ 426294 h 697852"/>
                  <a:gd name="connsiteX1490" fmla="*/ 371542 w 609772"/>
                  <a:gd name="connsiteY1490" fmla="*/ 423649 h 697852"/>
                  <a:gd name="connsiteX1491" fmla="*/ 372159 w 609772"/>
                  <a:gd name="connsiteY1491" fmla="*/ 421357 h 697852"/>
                  <a:gd name="connsiteX1492" fmla="*/ 371277 w 609772"/>
                  <a:gd name="connsiteY1492" fmla="*/ 421357 h 697852"/>
                  <a:gd name="connsiteX1493" fmla="*/ 370660 w 609772"/>
                  <a:gd name="connsiteY1493" fmla="*/ 421092 h 697852"/>
                  <a:gd name="connsiteX1494" fmla="*/ 370924 w 609772"/>
                  <a:gd name="connsiteY1494" fmla="*/ 419593 h 697852"/>
                  <a:gd name="connsiteX1495" fmla="*/ 371542 w 609772"/>
                  <a:gd name="connsiteY1495" fmla="*/ 419593 h 697852"/>
                  <a:gd name="connsiteX1496" fmla="*/ 372159 w 609772"/>
                  <a:gd name="connsiteY1496" fmla="*/ 420211 h 697852"/>
                  <a:gd name="connsiteX1497" fmla="*/ 372423 w 609772"/>
                  <a:gd name="connsiteY1497" fmla="*/ 419593 h 697852"/>
                  <a:gd name="connsiteX1498" fmla="*/ 373834 w 609772"/>
                  <a:gd name="connsiteY1498" fmla="*/ 417830 h 697852"/>
                  <a:gd name="connsiteX1499" fmla="*/ 376743 w 609772"/>
                  <a:gd name="connsiteY1499" fmla="*/ 415185 h 697852"/>
                  <a:gd name="connsiteX1500" fmla="*/ 377890 w 609772"/>
                  <a:gd name="connsiteY1500" fmla="*/ 413422 h 697852"/>
                  <a:gd name="connsiteX1501" fmla="*/ 377625 w 609772"/>
                  <a:gd name="connsiteY1501" fmla="*/ 412275 h 697852"/>
                  <a:gd name="connsiteX1502" fmla="*/ 379036 w 609772"/>
                  <a:gd name="connsiteY1502" fmla="*/ 410776 h 697852"/>
                  <a:gd name="connsiteX1503" fmla="*/ 383709 w 609772"/>
                  <a:gd name="connsiteY1503" fmla="*/ 409013 h 697852"/>
                  <a:gd name="connsiteX1504" fmla="*/ 386354 w 609772"/>
                  <a:gd name="connsiteY1504" fmla="*/ 409278 h 697852"/>
                  <a:gd name="connsiteX1505" fmla="*/ 388646 w 609772"/>
                  <a:gd name="connsiteY1505" fmla="*/ 408132 h 697852"/>
                  <a:gd name="connsiteX1506" fmla="*/ 387500 w 609772"/>
                  <a:gd name="connsiteY1506" fmla="*/ 406985 h 697852"/>
                  <a:gd name="connsiteX1507" fmla="*/ 384590 w 609772"/>
                  <a:gd name="connsiteY1507" fmla="*/ 407250 h 697852"/>
                  <a:gd name="connsiteX1508" fmla="*/ 383973 w 609772"/>
                  <a:gd name="connsiteY1508" fmla="*/ 407867 h 697852"/>
                  <a:gd name="connsiteX1509" fmla="*/ 383092 w 609772"/>
                  <a:gd name="connsiteY1509" fmla="*/ 408132 h 697852"/>
                  <a:gd name="connsiteX1510" fmla="*/ 383356 w 609772"/>
                  <a:gd name="connsiteY1510" fmla="*/ 407250 h 697852"/>
                  <a:gd name="connsiteX1511" fmla="*/ 383621 w 609772"/>
                  <a:gd name="connsiteY1511" fmla="*/ 406985 h 697852"/>
                  <a:gd name="connsiteX1512" fmla="*/ 383621 w 609772"/>
                  <a:gd name="connsiteY1512" fmla="*/ 406721 h 697852"/>
                  <a:gd name="connsiteX1513" fmla="*/ 383092 w 609772"/>
                  <a:gd name="connsiteY1513" fmla="*/ 406456 h 697852"/>
                  <a:gd name="connsiteX1514" fmla="*/ 382474 w 609772"/>
                  <a:gd name="connsiteY1514" fmla="*/ 406985 h 697852"/>
                  <a:gd name="connsiteX1515" fmla="*/ 381328 w 609772"/>
                  <a:gd name="connsiteY1515" fmla="*/ 406721 h 697852"/>
                  <a:gd name="connsiteX1516" fmla="*/ 380711 w 609772"/>
                  <a:gd name="connsiteY1516" fmla="*/ 406985 h 697852"/>
                  <a:gd name="connsiteX1517" fmla="*/ 381063 w 609772"/>
                  <a:gd name="connsiteY1517" fmla="*/ 407867 h 697852"/>
                  <a:gd name="connsiteX1518" fmla="*/ 380711 w 609772"/>
                  <a:gd name="connsiteY1518" fmla="*/ 408484 h 697852"/>
                  <a:gd name="connsiteX1519" fmla="*/ 381063 w 609772"/>
                  <a:gd name="connsiteY1519" fmla="*/ 409101 h 697852"/>
                  <a:gd name="connsiteX1520" fmla="*/ 380447 w 609772"/>
                  <a:gd name="connsiteY1520" fmla="*/ 409366 h 697852"/>
                  <a:gd name="connsiteX1521" fmla="*/ 380182 w 609772"/>
                  <a:gd name="connsiteY1521" fmla="*/ 409101 h 697852"/>
                  <a:gd name="connsiteX1522" fmla="*/ 379301 w 609772"/>
                  <a:gd name="connsiteY1522" fmla="*/ 409366 h 697852"/>
                  <a:gd name="connsiteX1523" fmla="*/ 378154 w 609772"/>
                  <a:gd name="connsiteY1523" fmla="*/ 409630 h 697852"/>
                  <a:gd name="connsiteX1524" fmla="*/ 377890 w 609772"/>
                  <a:gd name="connsiteY1524" fmla="*/ 410247 h 697852"/>
                  <a:gd name="connsiteX1525" fmla="*/ 377008 w 609772"/>
                  <a:gd name="connsiteY1525" fmla="*/ 410247 h 697852"/>
                  <a:gd name="connsiteX1526" fmla="*/ 377272 w 609772"/>
                  <a:gd name="connsiteY1526" fmla="*/ 409630 h 697852"/>
                  <a:gd name="connsiteX1527" fmla="*/ 376126 w 609772"/>
                  <a:gd name="connsiteY1527" fmla="*/ 409101 h 697852"/>
                  <a:gd name="connsiteX1528" fmla="*/ 377008 w 609772"/>
                  <a:gd name="connsiteY1528" fmla="*/ 407955 h 697852"/>
                  <a:gd name="connsiteX1529" fmla="*/ 380534 w 609772"/>
                  <a:gd name="connsiteY1529" fmla="*/ 406192 h 697852"/>
                  <a:gd name="connsiteX1530" fmla="*/ 380534 w 609772"/>
                  <a:gd name="connsiteY1530" fmla="*/ 405310 h 697852"/>
                  <a:gd name="connsiteX1531" fmla="*/ 380270 w 609772"/>
                  <a:gd name="connsiteY1531" fmla="*/ 404164 h 697852"/>
                  <a:gd name="connsiteX1532" fmla="*/ 383444 w 609772"/>
                  <a:gd name="connsiteY1532" fmla="*/ 403547 h 697852"/>
                  <a:gd name="connsiteX1533" fmla="*/ 383180 w 609772"/>
                  <a:gd name="connsiteY1533" fmla="*/ 402400 h 697852"/>
                  <a:gd name="connsiteX1534" fmla="*/ 384679 w 609772"/>
                  <a:gd name="connsiteY1534" fmla="*/ 400902 h 697852"/>
                  <a:gd name="connsiteX1535" fmla="*/ 387853 w 609772"/>
                  <a:gd name="connsiteY1535" fmla="*/ 401519 h 697852"/>
                  <a:gd name="connsiteX1536" fmla="*/ 388206 w 609772"/>
                  <a:gd name="connsiteY1536" fmla="*/ 402400 h 697852"/>
                  <a:gd name="connsiteX1537" fmla="*/ 388206 w 609772"/>
                  <a:gd name="connsiteY1537" fmla="*/ 403547 h 697852"/>
                  <a:gd name="connsiteX1538" fmla="*/ 387059 w 609772"/>
                  <a:gd name="connsiteY1538" fmla="*/ 403811 h 697852"/>
                  <a:gd name="connsiteX1539" fmla="*/ 387941 w 609772"/>
                  <a:gd name="connsiteY1539" fmla="*/ 404428 h 697852"/>
                  <a:gd name="connsiteX1540" fmla="*/ 387059 w 609772"/>
                  <a:gd name="connsiteY1540" fmla="*/ 405310 h 697852"/>
                  <a:gd name="connsiteX1541" fmla="*/ 385913 w 609772"/>
                  <a:gd name="connsiteY1541" fmla="*/ 405046 h 697852"/>
                  <a:gd name="connsiteX1542" fmla="*/ 384767 w 609772"/>
                  <a:gd name="connsiteY1542" fmla="*/ 405310 h 697852"/>
                  <a:gd name="connsiteX1543" fmla="*/ 385648 w 609772"/>
                  <a:gd name="connsiteY1543" fmla="*/ 406192 h 697852"/>
                  <a:gd name="connsiteX1544" fmla="*/ 387412 w 609772"/>
                  <a:gd name="connsiteY1544" fmla="*/ 406192 h 697852"/>
                  <a:gd name="connsiteX1545" fmla="*/ 388558 w 609772"/>
                  <a:gd name="connsiteY1545" fmla="*/ 404428 h 697852"/>
                  <a:gd name="connsiteX1546" fmla="*/ 389969 w 609772"/>
                  <a:gd name="connsiteY1546" fmla="*/ 405310 h 697852"/>
                  <a:gd name="connsiteX1547" fmla="*/ 390322 w 609772"/>
                  <a:gd name="connsiteY1547" fmla="*/ 405046 h 697852"/>
                  <a:gd name="connsiteX1548" fmla="*/ 391203 w 609772"/>
                  <a:gd name="connsiteY1548" fmla="*/ 403899 h 697852"/>
                  <a:gd name="connsiteX1549" fmla="*/ 395611 w 609772"/>
                  <a:gd name="connsiteY1549" fmla="*/ 402489 h 697852"/>
                  <a:gd name="connsiteX1550" fmla="*/ 397375 w 609772"/>
                  <a:gd name="connsiteY1550" fmla="*/ 401607 h 697852"/>
                  <a:gd name="connsiteX1551" fmla="*/ 398521 w 609772"/>
                  <a:gd name="connsiteY1551" fmla="*/ 401607 h 697852"/>
                  <a:gd name="connsiteX1552" fmla="*/ 402930 w 609772"/>
                  <a:gd name="connsiteY1552" fmla="*/ 400990 h 697852"/>
                  <a:gd name="connsiteX1553" fmla="*/ 404076 w 609772"/>
                  <a:gd name="connsiteY1553" fmla="*/ 399844 h 697852"/>
                  <a:gd name="connsiteX1554" fmla="*/ 403811 w 609772"/>
                  <a:gd name="connsiteY1554" fmla="*/ 399226 h 697852"/>
                  <a:gd name="connsiteX1555" fmla="*/ 403547 w 609772"/>
                  <a:gd name="connsiteY1555" fmla="*/ 399226 h 697852"/>
                  <a:gd name="connsiteX1556" fmla="*/ 402665 w 609772"/>
                  <a:gd name="connsiteY1556" fmla="*/ 398080 h 697852"/>
                  <a:gd name="connsiteX1557" fmla="*/ 401783 w 609772"/>
                  <a:gd name="connsiteY1557" fmla="*/ 398080 h 697852"/>
                  <a:gd name="connsiteX1558" fmla="*/ 400637 w 609772"/>
                  <a:gd name="connsiteY1558" fmla="*/ 396934 h 697852"/>
                  <a:gd name="connsiteX1559" fmla="*/ 399227 w 609772"/>
                  <a:gd name="connsiteY1559" fmla="*/ 396317 h 697852"/>
                  <a:gd name="connsiteX1560" fmla="*/ 399227 w 609772"/>
                  <a:gd name="connsiteY1560" fmla="*/ 395171 h 697852"/>
                  <a:gd name="connsiteX1561" fmla="*/ 400108 w 609772"/>
                  <a:gd name="connsiteY1561" fmla="*/ 394554 h 697852"/>
                  <a:gd name="connsiteX1562" fmla="*/ 400637 w 609772"/>
                  <a:gd name="connsiteY1562" fmla="*/ 396317 h 697852"/>
                  <a:gd name="connsiteX1563" fmla="*/ 401783 w 609772"/>
                  <a:gd name="connsiteY1563" fmla="*/ 396934 h 697852"/>
                  <a:gd name="connsiteX1564" fmla="*/ 402401 w 609772"/>
                  <a:gd name="connsiteY1564" fmla="*/ 396934 h 697852"/>
                  <a:gd name="connsiteX1565" fmla="*/ 404164 w 609772"/>
                  <a:gd name="connsiteY1565" fmla="*/ 398697 h 697852"/>
                  <a:gd name="connsiteX1566" fmla="*/ 405310 w 609772"/>
                  <a:gd name="connsiteY1566" fmla="*/ 398697 h 697852"/>
                  <a:gd name="connsiteX1567" fmla="*/ 405575 w 609772"/>
                  <a:gd name="connsiteY1567" fmla="*/ 398080 h 697852"/>
                  <a:gd name="connsiteX1568" fmla="*/ 406721 w 609772"/>
                  <a:gd name="connsiteY1568" fmla="*/ 396317 h 697852"/>
                  <a:gd name="connsiteX1569" fmla="*/ 406456 w 609772"/>
                  <a:gd name="connsiteY1569" fmla="*/ 393143 h 697852"/>
                  <a:gd name="connsiteX1570" fmla="*/ 407073 w 609772"/>
                  <a:gd name="connsiteY1570" fmla="*/ 390498 h 697852"/>
                  <a:gd name="connsiteX1571" fmla="*/ 410248 w 609772"/>
                  <a:gd name="connsiteY1571" fmla="*/ 391908 h 697852"/>
                  <a:gd name="connsiteX1572" fmla="*/ 411393 w 609772"/>
                  <a:gd name="connsiteY1572" fmla="*/ 391291 h 697852"/>
                  <a:gd name="connsiteX1573" fmla="*/ 411658 w 609772"/>
                  <a:gd name="connsiteY1573" fmla="*/ 390410 h 697852"/>
                  <a:gd name="connsiteX1574" fmla="*/ 410777 w 609772"/>
                  <a:gd name="connsiteY1574" fmla="*/ 390674 h 697852"/>
                  <a:gd name="connsiteX1575" fmla="*/ 411922 w 609772"/>
                  <a:gd name="connsiteY1575" fmla="*/ 389792 h 697852"/>
                  <a:gd name="connsiteX1576" fmla="*/ 412187 w 609772"/>
                  <a:gd name="connsiteY1576" fmla="*/ 388646 h 697852"/>
                  <a:gd name="connsiteX1577" fmla="*/ 411570 w 609772"/>
                  <a:gd name="connsiteY1577" fmla="*/ 387765 h 697852"/>
                  <a:gd name="connsiteX1578" fmla="*/ 411306 w 609772"/>
                  <a:gd name="connsiteY1578" fmla="*/ 388382 h 697852"/>
                  <a:gd name="connsiteX1579" fmla="*/ 410688 w 609772"/>
                  <a:gd name="connsiteY1579" fmla="*/ 388646 h 697852"/>
                  <a:gd name="connsiteX1580" fmla="*/ 410424 w 609772"/>
                  <a:gd name="connsiteY1580" fmla="*/ 388029 h 697852"/>
                  <a:gd name="connsiteX1581" fmla="*/ 410424 w 609772"/>
                  <a:gd name="connsiteY1581" fmla="*/ 386883 h 697852"/>
                  <a:gd name="connsiteX1582" fmla="*/ 411306 w 609772"/>
                  <a:gd name="connsiteY1582" fmla="*/ 386266 h 697852"/>
                  <a:gd name="connsiteX1583" fmla="*/ 413598 w 609772"/>
                  <a:gd name="connsiteY1583" fmla="*/ 385649 h 697852"/>
                  <a:gd name="connsiteX1584" fmla="*/ 412716 w 609772"/>
                  <a:gd name="connsiteY1584" fmla="*/ 383621 h 697852"/>
                  <a:gd name="connsiteX1585" fmla="*/ 418271 w 609772"/>
                  <a:gd name="connsiteY1585" fmla="*/ 383092 h 697852"/>
                  <a:gd name="connsiteX1586" fmla="*/ 417389 w 609772"/>
                  <a:gd name="connsiteY1586" fmla="*/ 381328 h 697852"/>
                  <a:gd name="connsiteX1587" fmla="*/ 415978 w 609772"/>
                  <a:gd name="connsiteY1587" fmla="*/ 381593 h 697852"/>
                  <a:gd name="connsiteX1588" fmla="*/ 413598 w 609772"/>
                  <a:gd name="connsiteY1588" fmla="*/ 381328 h 697852"/>
                  <a:gd name="connsiteX1589" fmla="*/ 413598 w 609772"/>
                  <a:gd name="connsiteY1589" fmla="*/ 380711 h 697852"/>
                  <a:gd name="connsiteX1590" fmla="*/ 413862 w 609772"/>
                  <a:gd name="connsiteY1590" fmla="*/ 380182 h 697852"/>
                  <a:gd name="connsiteX1591" fmla="*/ 413598 w 609772"/>
                  <a:gd name="connsiteY1591" fmla="*/ 379565 h 697852"/>
                  <a:gd name="connsiteX1592" fmla="*/ 412452 w 609772"/>
                  <a:gd name="connsiteY1592" fmla="*/ 378683 h 697852"/>
                  <a:gd name="connsiteX1593" fmla="*/ 413333 w 609772"/>
                  <a:gd name="connsiteY1593" fmla="*/ 378683 h 697852"/>
                  <a:gd name="connsiteX1594" fmla="*/ 413333 w 609772"/>
                  <a:gd name="connsiteY1594" fmla="*/ 378066 h 697852"/>
                  <a:gd name="connsiteX1595" fmla="*/ 412716 w 609772"/>
                  <a:gd name="connsiteY1595" fmla="*/ 374275 h 697852"/>
                  <a:gd name="connsiteX1596" fmla="*/ 411570 w 609772"/>
                  <a:gd name="connsiteY1596" fmla="*/ 374010 h 697852"/>
                  <a:gd name="connsiteX1597" fmla="*/ 411922 w 609772"/>
                  <a:gd name="connsiteY1597" fmla="*/ 371101 h 697852"/>
                  <a:gd name="connsiteX1598" fmla="*/ 409013 w 609772"/>
                  <a:gd name="connsiteY1598" fmla="*/ 368720 h 697852"/>
                  <a:gd name="connsiteX1599" fmla="*/ 408748 w 609772"/>
                  <a:gd name="connsiteY1599" fmla="*/ 367839 h 697852"/>
                  <a:gd name="connsiteX1600" fmla="*/ 410777 w 609772"/>
                  <a:gd name="connsiteY1600" fmla="*/ 366692 h 697852"/>
                  <a:gd name="connsiteX1601" fmla="*/ 411393 w 609772"/>
                  <a:gd name="connsiteY1601" fmla="*/ 363166 h 697852"/>
                  <a:gd name="connsiteX1602" fmla="*/ 414920 w 609772"/>
                  <a:gd name="connsiteY1602" fmla="*/ 361402 h 697852"/>
                  <a:gd name="connsiteX1603" fmla="*/ 417830 w 609772"/>
                  <a:gd name="connsiteY1603" fmla="*/ 359639 h 697852"/>
                  <a:gd name="connsiteX1604" fmla="*/ 421621 w 609772"/>
                  <a:gd name="connsiteY1604" fmla="*/ 358757 h 697852"/>
                  <a:gd name="connsiteX1605" fmla="*/ 422503 w 609772"/>
                  <a:gd name="connsiteY1605" fmla="*/ 358493 h 697852"/>
                  <a:gd name="connsiteX1606" fmla="*/ 425412 w 609772"/>
                  <a:gd name="connsiteY1606" fmla="*/ 356994 h 697852"/>
                  <a:gd name="connsiteX1607" fmla="*/ 426911 w 609772"/>
                  <a:gd name="connsiteY1607" fmla="*/ 356994 h 697852"/>
                  <a:gd name="connsiteX1608" fmla="*/ 429821 w 609772"/>
                  <a:gd name="connsiteY1608" fmla="*/ 355848 h 697852"/>
                  <a:gd name="connsiteX1609" fmla="*/ 431320 w 609772"/>
                  <a:gd name="connsiteY1609" fmla="*/ 354084 h 697852"/>
                  <a:gd name="connsiteX1610" fmla="*/ 431055 w 609772"/>
                  <a:gd name="connsiteY1610" fmla="*/ 353203 h 697852"/>
                  <a:gd name="connsiteX1611" fmla="*/ 433083 w 609772"/>
                  <a:gd name="connsiteY1611" fmla="*/ 351439 h 697852"/>
                  <a:gd name="connsiteX1612" fmla="*/ 434229 w 609772"/>
                  <a:gd name="connsiteY1612" fmla="*/ 348530 h 697852"/>
                  <a:gd name="connsiteX1613" fmla="*/ 433965 w 609772"/>
                  <a:gd name="connsiteY1613" fmla="*/ 347384 h 697852"/>
                  <a:gd name="connsiteX1614" fmla="*/ 435464 w 609772"/>
                  <a:gd name="connsiteY1614" fmla="*/ 347384 h 697852"/>
                  <a:gd name="connsiteX1615" fmla="*/ 435728 w 609772"/>
                  <a:gd name="connsiteY1615" fmla="*/ 345973 h 697852"/>
                  <a:gd name="connsiteX1616" fmla="*/ 435464 w 609772"/>
                  <a:gd name="connsiteY1616" fmla="*/ 345091 h 697852"/>
                  <a:gd name="connsiteX1617" fmla="*/ 434582 w 609772"/>
                  <a:gd name="connsiteY1617" fmla="*/ 344209 h 697852"/>
                  <a:gd name="connsiteX1618" fmla="*/ 433436 w 609772"/>
                  <a:gd name="connsiteY1618" fmla="*/ 343945 h 697852"/>
                  <a:gd name="connsiteX1619" fmla="*/ 432025 w 609772"/>
                  <a:gd name="connsiteY1619" fmla="*/ 343328 h 697852"/>
                  <a:gd name="connsiteX1620" fmla="*/ 430879 w 609772"/>
                  <a:gd name="connsiteY1620" fmla="*/ 341300 h 697852"/>
                  <a:gd name="connsiteX1621" fmla="*/ 430262 w 609772"/>
                  <a:gd name="connsiteY1621" fmla="*/ 339889 h 697852"/>
                  <a:gd name="connsiteX1622" fmla="*/ 429380 w 609772"/>
                  <a:gd name="connsiteY1622" fmla="*/ 339007 h 697852"/>
                  <a:gd name="connsiteX1623" fmla="*/ 430526 w 609772"/>
                  <a:gd name="connsiteY1623" fmla="*/ 338390 h 697852"/>
                  <a:gd name="connsiteX1624" fmla="*/ 431673 w 609772"/>
                  <a:gd name="connsiteY1624" fmla="*/ 340154 h 697852"/>
                  <a:gd name="connsiteX1625" fmla="*/ 432554 w 609772"/>
                  <a:gd name="connsiteY1625" fmla="*/ 342799 h 697852"/>
                  <a:gd name="connsiteX1626" fmla="*/ 433436 w 609772"/>
                  <a:gd name="connsiteY1626" fmla="*/ 343063 h 697852"/>
                  <a:gd name="connsiteX1627" fmla="*/ 434935 w 609772"/>
                  <a:gd name="connsiteY1627" fmla="*/ 342446 h 697852"/>
                  <a:gd name="connsiteX1628" fmla="*/ 434935 w 609772"/>
                  <a:gd name="connsiteY1628" fmla="*/ 343063 h 697852"/>
                  <a:gd name="connsiteX1629" fmla="*/ 435199 w 609772"/>
                  <a:gd name="connsiteY1629" fmla="*/ 343680 h 697852"/>
                  <a:gd name="connsiteX1630" fmla="*/ 436610 w 609772"/>
                  <a:gd name="connsiteY1630" fmla="*/ 344298 h 697852"/>
                  <a:gd name="connsiteX1631" fmla="*/ 436874 w 609772"/>
                  <a:gd name="connsiteY1631" fmla="*/ 346061 h 697852"/>
                  <a:gd name="connsiteX1632" fmla="*/ 435993 w 609772"/>
                  <a:gd name="connsiteY1632" fmla="*/ 348706 h 697852"/>
                  <a:gd name="connsiteX1633" fmla="*/ 435993 w 609772"/>
                  <a:gd name="connsiteY1633" fmla="*/ 349588 h 697852"/>
                  <a:gd name="connsiteX1634" fmla="*/ 436874 w 609772"/>
                  <a:gd name="connsiteY1634" fmla="*/ 350205 h 697852"/>
                  <a:gd name="connsiteX1635" fmla="*/ 436257 w 609772"/>
                  <a:gd name="connsiteY1635" fmla="*/ 351351 h 697852"/>
                  <a:gd name="connsiteX1636" fmla="*/ 438020 w 609772"/>
                  <a:gd name="connsiteY1636" fmla="*/ 353379 h 697852"/>
                  <a:gd name="connsiteX1637" fmla="*/ 438285 w 609772"/>
                  <a:gd name="connsiteY1637" fmla="*/ 355407 h 697852"/>
                  <a:gd name="connsiteX1638" fmla="*/ 438549 w 609772"/>
                  <a:gd name="connsiteY1638" fmla="*/ 356906 h 697852"/>
                  <a:gd name="connsiteX1639" fmla="*/ 437668 w 609772"/>
                  <a:gd name="connsiteY1639" fmla="*/ 358405 h 697852"/>
                  <a:gd name="connsiteX1640" fmla="*/ 438285 w 609772"/>
                  <a:gd name="connsiteY1640" fmla="*/ 358669 h 697852"/>
                  <a:gd name="connsiteX1641" fmla="*/ 438902 w 609772"/>
                  <a:gd name="connsiteY1641" fmla="*/ 358052 h 697852"/>
                  <a:gd name="connsiteX1642" fmla="*/ 439519 w 609772"/>
                  <a:gd name="connsiteY1642" fmla="*/ 358669 h 697852"/>
                  <a:gd name="connsiteX1643" fmla="*/ 439784 w 609772"/>
                  <a:gd name="connsiteY1643" fmla="*/ 358052 h 697852"/>
                  <a:gd name="connsiteX1644" fmla="*/ 439519 w 609772"/>
                  <a:gd name="connsiteY1644" fmla="*/ 356906 h 697852"/>
                  <a:gd name="connsiteX1645" fmla="*/ 439167 w 609772"/>
                  <a:gd name="connsiteY1645" fmla="*/ 355759 h 697852"/>
                  <a:gd name="connsiteX1646" fmla="*/ 439784 w 609772"/>
                  <a:gd name="connsiteY1646" fmla="*/ 355759 h 697852"/>
                  <a:gd name="connsiteX1647" fmla="*/ 439784 w 609772"/>
                  <a:gd name="connsiteY1647" fmla="*/ 354878 h 697852"/>
                  <a:gd name="connsiteX1648" fmla="*/ 440665 w 609772"/>
                  <a:gd name="connsiteY1648" fmla="*/ 354878 h 697852"/>
                  <a:gd name="connsiteX1649" fmla="*/ 440401 w 609772"/>
                  <a:gd name="connsiteY1649" fmla="*/ 356024 h 697852"/>
                  <a:gd name="connsiteX1650" fmla="*/ 440930 w 609772"/>
                  <a:gd name="connsiteY1650" fmla="*/ 357170 h 697852"/>
                  <a:gd name="connsiteX1651" fmla="*/ 440930 w 609772"/>
                  <a:gd name="connsiteY1651" fmla="*/ 356906 h 697852"/>
                  <a:gd name="connsiteX1652" fmla="*/ 441283 w 609772"/>
                  <a:gd name="connsiteY1652" fmla="*/ 356288 h 697852"/>
                  <a:gd name="connsiteX1653" fmla="*/ 441283 w 609772"/>
                  <a:gd name="connsiteY1653" fmla="*/ 355407 h 697852"/>
                  <a:gd name="connsiteX1654" fmla="*/ 441547 w 609772"/>
                  <a:gd name="connsiteY1654" fmla="*/ 356906 h 697852"/>
                  <a:gd name="connsiteX1655" fmla="*/ 441547 w 609772"/>
                  <a:gd name="connsiteY1655" fmla="*/ 356024 h 697852"/>
                  <a:gd name="connsiteX1656" fmla="*/ 441812 w 609772"/>
                  <a:gd name="connsiteY1656" fmla="*/ 358052 h 697852"/>
                  <a:gd name="connsiteX1657" fmla="*/ 442694 w 609772"/>
                  <a:gd name="connsiteY1657" fmla="*/ 359198 h 697852"/>
                  <a:gd name="connsiteX1658" fmla="*/ 443575 w 609772"/>
                  <a:gd name="connsiteY1658" fmla="*/ 357699 h 697852"/>
                  <a:gd name="connsiteX1659" fmla="*/ 443840 w 609772"/>
                  <a:gd name="connsiteY1659" fmla="*/ 356817 h 697852"/>
                  <a:gd name="connsiteX1660" fmla="*/ 443311 w 609772"/>
                  <a:gd name="connsiteY1660" fmla="*/ 355671 h 697852"/>
                  <a:gd name="connsiteX1661" fmla="*/ 442076 w 609772"/>
                  <a:gd name="connsiteY1661" fmla="*/ 354172 h 697852"/>
                  <a:gd name="connsiteX1662" fmla="*/ 441194 w 609772"/>
                  <a:gd name="connsiteY1662" fmla="*/ 350646 h 697852"/>
                  <a:gd name="connsiteX1663" fmla="*/ 441812 w 609772"/>
                  <a:gd name="connsiteY1663" fmla="*/ 349499 h 697852"/>
                  <a:gd name="connsiteX1664" fmla="*/ 441194 w 609772"/>
                  <a:gd name="connsiteY1664" fmla="*/ 348618 h 697852"/>
                  <a:gd name="connsiteX1665" fmla="*/ 443223 w 609772"/>
                  <a:gd name="connsiteY1665" fmla="*/ 348618 h 697852"/>
                  <a:gd name="connsiteX1666" fmla="*/ 443487 w 609772"/>
                  <a:gd name="connsiteY1666" fmla="*/ 349764 h 697852"/>
                  <a:gd name="connsiteX1667" fmla="*/ 442870 w 609772"/>
                  <a:gd name="connsiteY1667" fmla="*/ 350646 h 697852"/>
                  <a:gd name="connsiteX1668" fmla="*/ 443223 w 609772"/>
                  <a:gd name="connsiteY1668" fmla="*/ 352145 h 697852"/>
                  <a:gd name="connsiteX1669" fmla="*/ 443223 w 609772"/>
                  <a:gd name="connsiteY1669" fmla="*/ 354437 h 697852"/>
                  <a:gd name="connsiteX1670" fmla="*/ 444369 w 609772"/>
                  <a:gd name="connsiteY1670" fmla="*/ 354701 h 697852"/>
                  <a:gd name="connsiteX1671" fmla="*/ 444633 w 609772"/>
                  <a:gd name="connsiteY1671" fmla="*/ 356729 h 697852"/>
                  <a:gd name="connsiteX1672" fmla="*/ 444898 w 609772"/>
                  <a:gd name="connsiteY1672" fmla="*/ 358493 h 697852"/>
                  <a:gd name="connsiteX1673" fmla="*/ 444281 w 609772"/>
                  <a:gd name="connsiteY1673" fmla="*/ 359639 h 697852"/>
                  <a:gd name="connsiteX1674" fmla="*/ 444545 w 609772"/>
                  <a:gd name="connsiteY1674" fmla="*/ 360521 h 697852"/>
                  <a:gd name="connsiteX1675" fmla="*/ 445691 w 609772"/>
                  <a:gd name="connsiteY1675" fmla="*/ 359903 h 697852"/>
                  <a:gd name="connsiteX1676" fmla="*/ 444810 w 609772"/>
                  <a:gd name="connsiteY1676" fmla="*/ 359639 h 697852"/>
                  <a:gd name="connsiteX1677" fmla="*/ 445691 w 609772"/>
                  <a:gd name="connsiteY1677" fmla="*/ 359022 h 697852"/>
                  <a:gd name="connsiteX1678" fmla="*/ 446573 w 609772"/>
                  <a:gd name="connsiteY1678" fmla="*/ 359639 h 697852"/>
                  <a:gd name="connsiteX1679" fmla="*/ 446573 w 609772"/>
                  <a:gd name="connsiteY1679" fmla="*/ 358757 h 697852"/>
                  <a:gd name="connsiteX1680" fmla="*/ 446220 w 609772"/>
                  <a:gd name="connsiteY1680" fmla="*/ 357875 h 697852"/>
                  <a:gd name="connsiteX1681" fmla="*/ 445956 w 609772"/>
                  <a:gd name="connsiteY1681" fmla="*/ 355848 h 697852"/>
                  <a:gd name="connsiteX1682" fmla="*/ 446837 w 609772"/>
                  <a:gd name="connsiteY1682" fmla="*/ 355583 h 697852"/>
                  <a:gd name="connsiteX1683" fmla="*/ 447455 w 609772"/>
                  <a:gd name="connsiteY1683" fmla="*/ 354701 h 697852"/>
                  <a:gd name="connsiteX1684" fmla="*/ 447190 w 609772"/>
                  <a:gd name="connsiteY1684" fmla="*/ 354084 h 697852"/>
                  <a:gd name="connsiteX1685" fmla="*/ 445691 w 609772"/>
                  <a:gd name="connsiteY1685" fmla="*/ 354084 h 697852"/>
                  <a:gd name="connsiteX1686" fmla="*/ 445074 w 609772"/>
                  <a:gd name="connsiteY1686" fmla="*/ 352321 h 697852"/>
                  <a:gd name="connsiteX1687" fmla="*/ 445074 w 609772"/>
                  <a:gd name="connsiteY1687" fmla="*/ 349411 h 697852"/>
                  <a:gd name="connsiteX1688" fmla="*/ 444810 w 609772"/>
                  <a:gd name="connsiteY1688" fmla="*/ 348530 h 697852"/>
                  <a:gd name="connsiteX1689" fmla="*/ 444810 w 609772"/>
                  <a:gd name="connsiteY1689" fmla="*/ 346502 h 697852"/>
                  <a:gd name="connsiteX1690" fmla="*/ 443928 w 609772"/>
                  <a:gd name="connsiteY1690" fmla="*/ 345091 h 697852"/>
                  <a:gd name="connsiteX1691" fmla="*/ 444810 w 609772"/>
                  <a:gd name="connsiteY1691" fmla="*/ 344209 h 697852"/>
                  <a:gd name="connsiteX1692" fmla="*/ 444545 w 609772"/>
                  <a:gd name="connsiteY1692" fmla="*/ 345356 h 697852"/>
                  <a:gd name="connsiteX1693" fmla="*/ 445956 w 609772"/>
                  <a:gd name="connsiteY1693" fmla="*/ 345620 h 697852"/>
                  <a:gd name="connsiteX1694" fmla="*/ 446220 w 609772"/>
                  <a:gd name="connsiteY1694" fmla="*/ 347384 h 697852"/>
                  <a:gd name="connsiteX1695" fmla="*/ 445691 w 609772"/>
                  <a:gd name="connsiteY1695" fmla="*/ 348530 h 697852"/>
                  <a:gd name="connsiteX1696" fmla="*/ 446573 w 609772"/>
                  <a:gd name="connsiteY1696" fmla="*/ 349411 h 697852"/>
                  <a:gd name="connsiteX1697" fmla="*/ 447984 w 609772"/>
                  <a:gd name="connsiteY1697" fmla="*/ 347384 h 697852"/>
                  <a:gd name="connsiteX1698" fmla="*/ 446573 w 609772"/>
                  <a:gd name="connsiteY1698" fmla="*/ 345973 h 697852"/>
                  <a:gd name="connsiteX1699" fmla="*/ 447719 w 609772"/>
                  <a:gd name="connsiteY1699" fmla="*/ 345091 h 697852"/>
                  <a:gd name="connsiteX1700" fmla="*/ 448865 w 609772"/>
                  <a:gd name="connsiteY1700" fmla="*/ 345973 h 697852"/>
                  <a:gd name="connsiteX1701" fmla="*/ 448248 w 609772"/>
                  <a:gd name="connsiteY1701" fmla="*/ 346590 h 697852"/>
                  <a:gd name="connsiteX1702" fmla="*/ 449394 w 609772"/>
                  <a:gd name="connsiteY1702" fmla="*/ 347472 h 697852"/>
                  <a:gd name="connsiteX1703" fmla="*/ 449394 w 609772"/>
                  <a:gd name="connsiteY1703" fmla="*/ 348089 h 697852"/>
                  <a:gd name="connsiteX1704" fmla="*/ 448248 w 609772"/>
                  <a:gd name="connsiteY1704" fmla="*/ 349499 h 697852"/>
                  <a:gd name="connsiteX1705" fmla="*/ 448513 w 609772"/>
                  <a:gd name="connsiteY1705" fmla="*/ 351263 h 697852"/>
                  <a:gd name="connsiteX1706" fmla="*/ 448513 w 609772"/>
                  <a:gd name="connsiteY1706" fmla="*/ 351527 h 697852"/>
                  <a:gd name="connsiteX1707" fmla="*/ 447366 w 609772"/>
                  <a:gd name="connsiteY1707" fmla="*/ 355936 h 697852"/>
                  <a:gd name="connsiteX1708" fmla="*/ 449394 w 609772"/>
                  <a:gd name="connsiteY1708" fmla="*/ 357964 h 697852"/>
                  <a:gd name="connsiteX1709" fmla="*/ 449394 w 609772"/>
                  <a:gd name="connsiteY1709" fmla="*/ 358581 h 697852"/>
                  <a:gd name="connsiteX1710" fmla="*/ 449747 w 609772"/>
                  <a:gd name="connsiteY1710" fmla="*/ 359727 h 697852"/>
                  <a:gd name="connsiteX1711" fmla="*/ 450893 w 609772"/>
                  <a:gd name="connsiteY1711" fmla="*/ 358845 h 697852"/>
                  <a:gd name="connsiteX1712" fmla="*/ 450893 w 609772"/>
                  <a:gd name="connsiteY1712" fmla="*/ 358581 h 697852"/>
                  <a:gd name="connsiteX1713" fmla="*/ 450893 w 609772"/>
                  <a:gd name="connsiteY1713" fmla="*/ 357964 h 697852"/>
                  <a:gd name="connsiteX1714" fmla="*/ 450628 w 609772"/>
                  <a:gd name="connsiteY1714" fmla="*/ 357082 h 697852"/>
                  <a:gd name="connsiteX1715" fmla="*/ 450628 w 609772"/>
                  <a:gd name="connsiteY1715" fmla="*/ 356817 h 697852"/>
                  <a:gd name="connsiteX1716" fmla="*/ 450628 w 609772"/>
                  <a:gd name="connsiteY1716" fmla="*/ 357082 h 697852"/>
                  <a:gd name="connsiteX1717" fmla="*/ 450893 w 609772"/>
                  <a:gd name="connsiteY1717" fmla="*/ 357964 h 697852"/>
                  <a:gd name="connsiteX1718" fmla="*/ 450628 w 609772"/>
                  <a:gd name="connsiteY1718" fmla="*/ 356817 h 697852"/>
                  <a:gd name="connsiteX1719" fmla="*/ 451510 w 609772"/>
                  <a:gd name="connsiteY1719" fmla="*/ 355936 h 697852"/>
                  <a:gd name="connsiteX1720" fmla="*/ 452392 w 609772"/>
                  <a:gd name="connsiteY1720" fmla="*/ 355936 h 697852"/>
                  <a:gd name="connsiteX1721" fmla="*/ 452392 w 609772"/>
                  <a:gd name="connsiteY1721" fmla="*/ 357082 h 697852"/>
                  <a:gd name="connsiteX1722" fmla="*/ 453891 w 609772"/>
                  <a:gd name="connsiteY1722" fmla="*/ 357964 h 697852"/>
                  <a:gd name="connsiteX1723" fmla="*/ 455390 w 609772"/>
                  <a:gd name="connsiteY1723" fmla="*/ 358581 h 697852"/>
                  <a:gd name="connsiteX1724" fmla="*/ 455919 w 609772"/>
                  <a:gd name="connsiteY1724" fmla="*/ 357964 h 697852"/>
                  <a:gd name="connsiteX1725" fmla="*/ 456536 w 609772"/>
                  <a:gd name="connsiteY1725" fmla="*/ 358581 h 697852"/>
                  <a:gd name="connsiteX1726" fmla="*/ 457682 w 609772"/>
                  <a:gd name="connsiteY1726" fmla="*/ 357964 h 697852"/>
                  <a:gd name="connsiteX1727" fmla="*/ 457682 w 609772"/>
                  <a:gd name="connsiteY1727" fmla="*/ 356817 h 697852"/>
                  <a:gd name="connsiteX1728" fmla="*/ 455919 w 609772"/>
                  <a:gd name="connsiteY1728" fmla="*/ 354172 h 697852"/>
                  <a:gd name="connsiteX1729" fmla="*/ 455390 w 609772"/>
                  <a:gd name="connsiteY1729" fmla="*/ 351263 h 697852"/>
                  <a:gd name="connsiteX1730" fmla="*/ 452744 w 609772"/>
                  <a:gd name="connsiteY1730" fmla="*/ 350998 h 697852"/>
                  <a:gd name="connsiteX1731" fmla="*/ 451334 w 609772"/>
                  <a:gd name="connsiteY1731" fmla="*/ 349499 h 697852"/>
                  <a:gd name="connsiteX1732" fmla="*/ 452744 w 609772"/>
                  <a:gd name="connsiteY1732" fmla="*/ 348618 h 697852"/>
                  <a:gd name="connsiteX1733" fmla="*/ 452744 w 609772"/>
                  <a:gd name="connsiteY1733" fmla="*/ 349499 h 697852"/>
                  <a:gd name="connsiteX1734" fmla="*/ 454508 w 609772"/>
                  <a:gd name="connsiteY1734" fmla="*/ 350117 h 697852"/>
                  <a:gd name="connsiteX1735" fmla="*/ 455125 w 609772"/>
                  <a:gd name="connsiteY1735" fmla="*/ 347472 h 697852"/>
                  <a:gd name="connsiteX1736" fmla="*/ 453979 w 609772"/>
                  <a:gd name="connsiteY1736" fmla="*/ 343416 h 697852"/>
                  <a:gd name="connsiteX1737" fmla="*/ 453097 w 609772"/>
                  <a:gd name="connsiteY1737" fmla="*/ 340506 h 697852"/>
                  <a:gd name="connsiteX1738" fmla="*/ 453097 w 609772"/>
                  <a:gd name="connsiteY1738" fmla="*/ 336098 h 697852"/>
                  <a:gd name="connsiteX1739" fmla="*/ 452480 w 609772"/>
                  <a:gd name="connsiteY1739" fmla="*/ 333188 h 697852"/>
                  <a:gd name="connsiteX1740" fmla="*/ 450717 w 609772"/>
                  <a:gd name="connsiteY1740" fmla="*/ 329133 h 697852"/>
                  <a:gd name="connsiteX1741" fmla="*/ 451863 w 609772"/>
                  <a:gd name="connsiteY1741" fmla="*/ 327105 h 697852"/>
                  <a:gd name="connsiteX1742" fmla="*/ 449218 w 609772"/>
                  <a:gd name="connsiteY1742" fmla="*/ 323578 h 697852"/>
                  <a:gd name="connsiteX1743" fmla="*/ 449482 w 609772"/>
                  <a:gd name="connsiteY1743" fmla="*/ 321550 h 697852"/>
                  <a:gd name="connsiteX1744" fmla="*/ 448336 w 609772"/>
                  <a:gd name="connsiteY1744" fmla="*/ 317494 h 697852"/>
                  <a:gd name="connsiteX1745" fmla="*/ 443928 w 609772"/>
                  <a:gd name="connsiteY1745" fmla="*/ 317759 h 697852"/>
                  <a:gd name="connsiteX1746" fmla="*/ 443134 w 609772"/>
                  <a:gd name="connsiteY1746" fmla="*/ 314849 h 697852"/>
                  <a:gd name="connsiteX1747" fmla="*/ 445162 w 609772"/>
                  <a:gd name="connsiteY1747" fmla="*/ 314585 h 697852"/>
                  <a:gd name="connsiteX1748" fmla="*/ 444016 w 609772"/>
                  <a:gd name="connsiteY1748" fmla="*/ 312292 h 697852"/>
                  <a:gd name="connsiteX1749" fmla="*/ 445162 w 609772"/>
                  <a:gd name="connsiteY1749" fmla="*/ 309912 h 697852"/>
                  <a:gd name="connsiteX1750" fmla="*/ 441107 w 609772"/>
                  <a:gd name="connsiteY1750" fmla="*/ 310176 h 697852"/>
                  <a:gd name="connsiteX1751" fmla="*/ 439343 w 609772"/>
                  <a:gd name="connsiteY1751" fmla="*/ 307884 h 697852"/>
                  <a:gd name="connsiteX1752" fmla="*/ 438197 w 609772"/>
                  <a:gd name="connsiteY1752" fmla="*/ 306385 h 697852"/>
                  <a:gd name="connsiteX1753" fmla="*/ 437932 w 609772"/>
                  <a:gd name="connsiteY1753" fmla="*/ 304974 h 697852"/>
                  <a:gd name="connsiteX1754" fmla="*/ 438197 w 609772"/>
                  <a:gd name="connsiteY1754" fmla="*/ 303211 h 697852"/>
                  <a:gd name="connsiteX1755" fmla="*/ 440489 w 609772"/>
                  <a:gd name="connsiteY1755" fmla="*/ 302947 h 697852"/>
                  <a:gd name="connsiteX1756" fmla="*/ 442517 w 609772"/>
                  <a:gd name="connsiteY1756" fmla="*/ 301800 h 697852"/>
                  <a:gd name="connsiteX1757" fmla="*/ 442517 w 609772"/>
                  <a:gd name="connsiteY1757" fmla="*/ 299155 h 697852"/>
                  <a:gd name="connsiteX1758" fmla="*/ 443134 w 609772"/>
                  <a:gd name="connsiteY1758" fmla="*/ 296510 h 697852"/>
                  <a:gd name="connsiteX1759" fmla="*/ 442252 w 609772"/>
                  <a:gd name="connsiteY1759" fmla="*/ 295011 h 697852"/>
                  <a:gd name="connsiteX1760" fmla="*/ 440489 w 609772"/>
                  <a:gd name="connsiteY1760" fmla="*/ 295011 h 697852"/>
                  <a:gd name="connsiteX1761" fmla="*/ 441371 w 609772"/>
                  <a:gd name="connsiteY1761" fmla="*/ 293601 h 697852"/>
                  <a:gd name="connsiteX1762" fmla="*/ 439872 w 609772"/>
                  <a:gd name="connsiteY1762" fmla="*/ 291573 h 697852"/>
                  <a:gd name="connsiteX1763" fmla="*/ 437844 w 609772"/>
                  <a:gd name="connsiteY1763" fmla="*/ 290691 h 697852"/>
                  <a:gd name="connsiteX1764" fmla="*/ 433789 w 609772"/>
                  <a:gd name="connsiteY1764" fmla="*/ 290691 h 697852"/>
                  <a:gd name="connsiteX1765" fmla="*/ 426823 w 609772"/>
                  <a:gd name="connsiteY1765" fmla="*/ 286636 h 697852"/>
                  <a:gd name="connsiteX1766" fmla="*/ 425941 w 609772"/>
                  <a:gd name="connsiteY1766" fmla="*/ 285754 h 697852"/>
                  <a:gd name="connsiteX1767" fmla="*/ 426470 w 609772"/>
                  <a:gd name="connsiteY1767" fmla="*/ 284608 h 697852"/>
                  <a:gd name="connsiteX1768" fmla="*/ 426470 w 609772"/>
                  <a:gd name="connsiteY1768" fmla="*/ 281698 h 697852"/>
                  <a:gd name="connsiteX1769" fmla="*/ 425324 w 609772"/>
                  <a:gd name="connsiteY1769" fmla="*/ 279318 h 697852"/>
                  <a:gd name="connsiteX1770" fmla="*/ 426206 w 609772"/>
                  <a:gd name="connsiteY1770" fmla="*/ 277819 h 697852"/>
                  <a:gd name="connsiteX1771" fmla="*/ 425324 w 609772"/>
                  <a:gd name="connsiteY1771" fmla="*/ 276055 h 697852"/>
                  <a:gd name="connsiteX1772" fmla="*/ 428498 w 609772"/>
                  <a:gd name="connsiteY1772" fmla="*/ 275174 h 697852"/>
                  <a:gd name="connsiteX1773" fmla="*/ 428498 w 609772"/>
                  <a:gd name="connsiteY1773" fmla="*/ 277554 h 697852"/>
                  <a:gd name="connsiteX1774" fmla="*/ 430526 w 609772"/>
                  <a:gd name="connsiteY1774" fmla="*/ 277554 h 697852"/>
                  <a:gd name="connsiteX1775" fmla="*/ 431144 w 609772"/>
                  <a:gd name="connsiteY1775" fmla="*/ 274380 h 697852"/>
                  <a:gd name="connsiteX1776" fmla="*/ 430262 w 609772"/>
                  <a:gd name="connsiteY1776" fmla="*/ 272617 h 697852"/>
                  <a:gd name="connsiteX1777" fmla="*/ 429644 w 609772"/>
                  <a:gd name="connsiteY1777" fmla="*/ 269443 h 697852"/>
                  <a:gd name="connsiteX1778" fmla="*/ 432554 w 609772"/>
                  <a:gd name="connsiteY1778" fmla="*/ 269443 h 697852"/>
                  <a:gd name="connsiteX1779" fmla="*/ 433700 w 609772"/>
                  <a:gd name="connsiteY1779" fmla="*/ 268296 h 697852"/>
                  <a:gd name="connsiteX1780" fmla="*/ 435728 w 609772"/>
                  <a:gd name="connsiteY1780" fmla="*/ 269795 h 697852"/>
                  <a:gd name="connsiteX1781" fmla="*/ 438285 w 609772"/>
                  <a:gd name="connsiteY1781" fmla="*/ 269531 h 697852"/>
                  <a:gd name="connsiteX1782" fmla="*/ 439519 w 609772"/>
                  <a:gd name="connsiteY1782" fmla="*/ 269795 h 697852"/>
                  <a:gd name="connsiteX1783" fmla="*/ 443046 w 609772"/>
                  <a:gd name="connsiteY1783" fmla="*/ 269531 h 697852"/>
                  <a:gd name="connsiteX1784" fmla="*/ 442165 w 609772"/>
                  <a:gd name="connsiteY1784" fmla="*/ 267767 h 697852"/>
                  <a:gd name="connsiteX1785" fmla="*/ 442517 w 609772"/>
                  <a:gd name="connsiteY1785" fmla="*/ 266886 h 697852"/>
                  <a:gd name="connsiteX1786" fmla="*/ 443928 w 609772"/>
                  <a:gd name="connsiteY1786" fmla="*/ 266268 h 697852"/>
                  <a:gd name="connsiteX1787" fmla="*/ 441636 w 609772"/>
                  <a:gd name="connsiteY1787" fmla="*/ 265122 h 697852"/>
                  <a:gd name="connsiteX1788" fmla="*/ 438726 w 609772"/>
                  <a:gd name="connsiteY1788" fmla="*/ 263976 h 697852"/>
                  <a:gd name="connsiteX1789" fmla="*/ 438373 w 609772"/>
                  <a:gd name="connsiteY1789" fmla="*/ 262565 h 697852"/>
                  <a:gd name="connsiteX1790" fmla="*/ 435816 w 609772"/>
                  <a:gd name="connsiteY1790" fmla="*/ 262830 h 697852"/>
                  <a:gd name="connsiteX1791" fmla="*/ 435552 w 609772"/>
                  <a:gd name="connsiteY1791" fmla="*/ 263976 h 697852"/>
                  <a:gd name="connsiteX1792" fmla="*/ 432642 w 609772"/>
                  <a:gd name="connsiteY1792" fmla="*/ 263712 h 697852"/>
                  <a:gd name="connsiteX1793" fmla="*/ 430262 w 609772"/>
                  <a:gd name="connsiteY1793" fmla="*/ 263447 h 697852"/>
                  <a:gd name="connsiteX1794" fmla="*/ 429644 w 609772"/>
                  <a:gd name="connsiteY1794" fmla="*/ 260538 h 697852"/>
                  <a:gd name="connsiteX1795" fmla="*/ 420034 w 609772"/>
                  <a:gd name="connsiteY1795" fmla="*/ 255247 h 697852"/>
                  <a:gd name="connsiteX1796" fmla="*/ 418888 w 609772"/>
                  <a:gd name="connsiteY1796" fmla="*/ 252602 h 697852"/>
                  <a:gd name="connsiteX1797" fmla="*/ 419152 w 609772"/>
                  <a:gd name="connsiteY1797" fmla="*/ 251985 h 697852"/>
                  <a:gd name="connsiteX1798" fmla="*/ 419770 w 609772"/>
                  <a:gd name="connsiteY1798" fmla="*/ 251104 h 697852"/>
                  <a:gd name="connsiteX1799" fmla="*/ 419152 w 609772"/>
                  <a:gd name="connsiteY1799" fmla="*/ 248459 h 697852"/>
                  <a:gd name="connsiteX1800" fmla="*/ 420034 w 609772"/>
                  <a:gd name="connsiteY1800" fmla="*/ 246960 h 697852"/>
                  <a:gd name="connsiteX1801" fmla="*/ 423296 w 609772"/>
                  <a:gd name="connsiteY1801" fmla="*/ 242551 h 697852"/>
                  <a:gd name="connsiteX1802" fmla="*/ 423032 w 609772"/>
                  <a:gd name="connsiteY1802" fmla="*/ 239377 h 697852"/>
                  <a:gd name="connsiteX1803" fmla="*/ 422679 w 609772"/>
                  <a:gd name="connsiteY1803" fmla="*/ 238496 h 697852"/>
                  <a:gd name="connsiteX1804" fmla="*/ 423032 w 609772"/>
                  <a:gd name="connsiteY1804" fmla="*/ 237349 h 697852"/>
                  <a:gd name="connsiteX1805" fmla="*/ 423561 w 609772"/>
                  <a:gd name="connsiteY1805" fmla="*/ 236203 h 697852"/>
                  <a:gd name="connsiteX1806" fmla="*/ 427969 w 609772"/>
                  <a:gd name="connsiteY1806" fmla="*/ 239730 h 697852"/>
                  <a:gd name="connsiteX1807" fmla="*/ 432907 w 609772"/>
                  <a:gd name="connsiteY1807" fmla="*/ 241758 h 697852"/>
                  <a:gd name="connsiteX1808" fmla="*/ 436962 w 609772"/>
                  <a:gd name="connsiteY1808" fmla="*/ 251368 h 697852"/>
                  <a:gd name="connsiteX1809" fmla="*/ 437491 w 609772"/>
                  <a:gd name="connsiteY1809" fmla="*/ 245549 h 697852"/>
                  <a:gd name="connsiteX1810" fmla="*/ 442165 w 609772"/>
                  <a:gd name="connsiteY1810" fmla="*/ 248194 h 697852"/>
                  <a:gd name="connsiteX1811" fmla="*/ 442781 w 609772"/>
                  <a:gd name="connsiteY1811" fmla="*/ 248459 h 697852"/>
                  <a:gd name="connsiteX1812" fmla="*/ 445691 w 609772"/>
                  <a:gd name="connsiteY1812" fmla="*/ 249340 h 697852"/>
                  <a:gd name="connsiteX1813" fmla="*/ 446220 w 609772"/>
                  <a:gd name="connsiteY1813" fmla="*/ 248459 h 697852"/>
                  <a:gd name="connsiteX1814" fmla="*/ 447719 w 609772"/>
                  <a:gd name="connsiteY1814" fmla="*/ 249076 h 697852"/>
                  <a:gd name="connsiteX1815" fmla="*/ 449747 w 609772"/>
                  <a:gd name="connsiteY1815" fmla="*/ 249076 h 697852"/>
                  <a:gd name="connsiteX1816" fmla="*/ 449394 w 609772"/>
                  <a:gd name="connsiteY1816" fmla="*/ 246695 h 697852"/>
                  <a:gd name="connsiteX1817" fmla="*/ 452039 w 609772"/>
                  <a:gd name="connsiteY1817" fmla="*/ 243521 h 697852"/>
                  <a:gd name="connsiteX1818" fmla="*/ 452921 w 609772"/>
                  <a:gd name="connsiteY1818" fmla="*/ 244050 h 697852"/>
                  <a:gd name="connsiteX1819" fmla="*/ 453186 w 609772"/>
                  <a:gd name="connsiteY1819" fmla="*/ 246431 h 697852"/>
                  <a:gd name="connsiteX1820" fmla="*/ 454684 w 609772"/>
                  <a:gd name="connsiteY1820" fmla="*/ 246695 h 697852"/>
                  <a:gd name="connsiteX1821" fmla="*/ 456448 w 609772"/>
                  <a:gd name="connsiteY1821" fmla="*/ 249340 h 697852"/>
                  <a:gd name="connsiteX1822" fmla="*/ 456183 w 609772"/>
                  <a:gd name="connsiteY1822" fmla="*/ 253396 h 697852"/>
                  <a:gd name="connsiteX1823" fmla="*/ 458211 w 609772"/>
                  <a:gd name="connsiteY1823" fmla="*/ 257804 h 697852"/>
                  <a:gd name="connsiteX1824" fmla="*/ 458828 w 609772"/>
                  <a:gd name="connsiteY1824" fmla="*/ 260714 h 697852"/>
                  <a:gd name="connsiteX1825" fmla="*/ 459445 w 609772"/>
                  <a:gd name="connsiteY1825" fmla="*/ 265122 h 697852"/>
                  <a:gd name="connsiteX1826" fmla="*/ 460592 w 609772"/>
                  <a:gd name="connsiteY1826" fmla="*/ 267767 h 697852"/>
                  <a:gd name="connsiteX1827" fmla="*/ 462090 w 609772"/>
                  <a:gd name="connsiteY1827" fmla="*/ 266886 h 697852"/>
                  <a:gd name="connsiteX1828" fmla="*/ 462707 w 609772"/>
                  <a:gd name="connsiteY1828" fmla="*/ 265475 h 697852"/>
                  <a:gd name="connsiteX1829" fmla="*/ 463854 w 609772"/>
                  <a:gd name="connsiteY1829" fmla="*/ 266621 h 697852"/>
                  <a:gd name="connsiteX1830" fmla="*/ 466411 w 609772"/>
                  <a:gd name="connsiteY1830" fmla="*/ 266886 h 697852"/>
                  <a:gd name="connsiteX1831" fmla="*/ 468791 w 609772"/>
                  <a:gd name="connsiteY1831" fmla="*/ 267767 h 697852"/>
                  <a:gd name="connsiteX1832" fmla="*/ 471172 w 609772"/>
                  <a:gd name="connsiteY1832" fmla="*/ 266886 h 697852"/>
                  <a:gd name="connsiteX1833" fmla="*/ 472935 w 609772"/>
                  <a:gd name="connsiteY1833" fmla="*/ 268032 h 697852"/>
                  <a:gd name="connsiteX1834" fmla="*/ 474963 w 609772"/>
                  <a:gd name="connsiteY1834" fmla="*/ 268032 h 697852"/>
                  <a:gd name="connsiteX1835" fmla="*/ 476726 w 609772"/>
                  <a:gd name="connsiteY1835" fmla="*/ 268296 h 697852"/>
                  <a:gd name="connsiteX1836" fmla="*/ 479900 w 609772"/>
                  <a:gd name="connsiteY1836" fmla="*/ 267679 h 697852"/>
                  <a:gd name="connsiteX1837" fmla="*/ 481399 w 609772"/>
                  <a:gd name="connsiteY1837" fmla="*/ 268825 h 697852"/>
                  <a:gd name="connsiteX1838" fmla="*/ 482898 w 609772"/>
                  <a:gd name="connsiteY1838" fmla="*/ 268825 h 697852"/>
                  <a:gd name="connsiteX1839" fmla="*/ 486072 w 609772"/>
                  <a:gd name="connsiteY1839" fmla="*/ 267327 h 697852"/>
                  <a:gd name="connsiteX1840" fmla="*/ 487219 w 609772"/>
                  <a:gd name="connsiteY1840" fmla="*/ 267327 h 697852"/>
                  <a:gd name="connsiteX1841" fmla="*/ 490745 w 609772"/>
                  <a:gd name="connsiteY1841" fmla="*/ 267327 h 697852"/>
                  <a:gd name="connsiteX1842" fmla="*/ 492156 w 609772"/>
                  <a:gd name="connsiteY1842" fmla="*/ 269090 h 697852"/>
                  <a:gd name="connsiteX1843" fmla="*/ 493037 w 609772"/>
                  <a:gd name="connsiteY1843" fmla="*/ 269090 h 697852"/>
                  <a:gd name="connsiteX1844" fmla="*/ 495330 w 609772"/>
                  <a:gd name="connsiteY1844" fmla="*/ 269707 h 697852"/>
                  <a:gd name="connsiteX1845" fmla="*/ 496476 w 609772"/>
                  <a:gd name="connsiteY1845" fmla="*/ 268825 h 697852"/>
                  <a:gd name="connsiteX1846" fmla="*/ 497358 w 609772"/>
                  <a:gd name="connsiteY1846" fmla="*/ 269707 h 697852"/>
                  <a:gd name="connsiteX1847" fmla="*/ 498857 w 609772"/>
                  <a:gd name="connsiteY1847" fmla="*/ 269707 h 697852"/>
                  <a:gd name="connsiteX1848" fmla="*/ 498504 w 609772"/>
                  <a:gd name="connsiteY1848" fmla="*/ 269090 h 697852"/>
                  <a:gd name="connsiteX1849" fmla="*/ 502295 w 609772"/>
                  <a:gd name="connsiteY1849" fmla="*/ 268825 h 697852"/>
                  <a:gd name="connsiteX1850" fmla="*/ 504058 w 609772"/>
                  <a:gd name="connsiteY1850" fmla="*/ 269090 h 697852"/>
                  <a:gd name="connsiteX1851" fmla="*/ 505205 w 609772"/>
                  <a:gd name="connsiteY1851" fmla="*/ 268825 h 697852"/>
                  <a:gd name="connsiteX1852" fmla="*/ 506968 w 609772"/>
                  <a:gd name="connsiteY1852" fmla="*/ 268825 h 697852"/>
                  <a:gd name="connsiteX1853" fmla="*/ 509878 w 609772"/>
                  <a:gd name="connsiteY1853" fmla="*/ 270236 h 697852"/>
                  <a:gd name="connsiteX1854" fmla="*/ 512523 w 609772"/>
                  <a:gd name="connsiteY1854" fmla="*/ 272264 h 697852"/>
                  <a:gd name="connsiteX1855" fmla="*/ 515168 w 609772"/>
                  <a:gd name="connsiteY1855" fmla="*/ 273410 h 697852"/>
                  <a:gd name="connsiteX1856" fmla="*/ 515433 w 609772"/>
                  <a:gd name="connsiteY1856" fmla="*/ 275174 h 697852"/>
                  <a:gd name="connsiteX1857" fmla="*/ 518342 w 609772"/>
                  <a:gd name="connsiteY1857" fmla="*/ 275174 h 697852"/>
                  <a:gd name="connsiteX1858" fmla="*/ 519488 w 609772"/>
                  <a:gd name="connsiteY1858" fmla="*/ 276672 h 697852"/>
                  <a:gd name="connsiteX1859" fmla="*/ 519753 w 609772"/>
                  <a:gd name="connsiteY1859" fmla="*/ 278700 h 697852"/>
                  <a:gd name="connsiteX1860" fmla="*/ 516843 w 609772"/>
                  <a:gd name="connsiteY1860" fmla="*/ 278965 h 697852"/>
                  <a:gd name="connsiteX1861" fmla="*/ 514815 w 609772"/>
                  <a:gd name="connsiteY1861" fmla="*/ 277554 h 697852"/>
                  <a:gd name="connsiteX1862" fmla="*/ 512523 w 609772"/>
                  <a:gd name="connsiteY1862" fmla="*/ 277819 h 697852"/>
                  <a:gd name="connsiteX1863" fmla="*/ 512258 w 609772"/>
                  <a:gd name="connsiteY1863" fmla="*/ 278083 h 697852"/>
                  <a:gd name="connsiteX1864" fmla="*/ 512523 w 609772"/>
                  <a:gd name="connsiteY1864" fmla="*/ 278965 h 697852"/>
                  <a:gd name="connsiteX1865" fmla="*/ 514022 w 609772"/>
                  <a:gd name="connsiteY1865" fmla="*/ 279229 h 697852"/>
                  <a:gd name="connsiteX1866" fmla="*/ 515520 w 609772"/>
                  <a:gd name="connsiteY1866" fmla="*/ 279229 h 697852"/>
                  <a:gd name="connsiteX1867" fmla="*/ 513493 w 609772"/>
                  <a:gd name="connsiteY1867" fmla="*/ 280993 h 697852"/>
                  <a:gd name="connsiteX1868" fmla="*/ 513757 w 609772"/>
                  <a:gd name="connsiteY1868" fmla="*/ 283285 h 697852"/>
                  <a:gd name="connsiteX1869" fmla="*/ 514286 w 609772"/>
                  <a:gd name="connsiteY1869" fmla="*/ 286459 h 697852"/>
                  <a:gd name="connsiteX1870" fmla="*/ 513140 w 609772"/>
                  <a:gd name="connsiteY1870" fmla="*/ 287076 h 697852"/>
                  <a:gd name="connsiteX1871" fmla="*/ 512258 w 609772"/>
                  <a:gd name="connsiteY1871" fmla="*/ 287341 h 697852"/>
                  <a:gd name="connsiteX1872" fmla="*/ 511994 w 609772"/>
                  <a:gd name="connsiteY1872" fmla="*/ 288487 h 697852"/>
                  <a:gd name="connsiteX1873" fmla="*/ 512611 w 609772"/>
                  <a:gd name="connsiteY1873" fmla="*/ 290515 h 697852"/>
                  <a:gd name="connsiteX1874" fmla="*/ 511994 w 609772"/>
                  <a:gd name="connsiteY1874" fmla="*/ 292807 h 697852"/>
                  <a:gd name="connsiteX1875" fmla="*/ 511112 w 609772"/>
                  <a:gd name="connsiteY1875" fmla="*/ 293072 h 697852"/>
                  <a:gd name="connsiteX1876" fmla="*/ 509966 w 609772"/>
                  <a:gd name="connsiteY1876" fmla="*/ 292190 h 697852"/>
                  <a:gd name="connsiteX1877" fmla="*/ 509701 w 609772"/>
                  <a:gd name="connsiteY1877" fmla="*/ 290427 h 697852"/>
                  <a:gd name="connsiteX1878" fmla="*/ 508203 w 609772"/>
                  <a:gd name="connsiteY1878" fmla="*/ 290427 h 697852"/>
                  <a:gd name="connsiteX1879" fmla="*/ 508467 w 609772"/>
                  <a:gd name="connsiteY1879" fmla="*/ 292190 h 697852"/>
                  <a:gd name="connsiteX1880" fmla="*/ 508203 w 609772"/>
                  <a:gd name="connsiteY1880" fmla="*/ 293072 h 697852"/>
                  <a:gd name="connsiteX1881" fmla="*/ 505293 w 609772"/>
                  <a:gd name="connsiteY1881" fmla="*/ 290427 h 697852"/>
                  <a:gd name="connsiteX1882" fmla="*/ 505910 w 609772"/>
                  <a:gd name="connsiteY1882" fmla="*/ 293953 h 697852"/>
                  <a:gd name="connsiteX1883" fmla="*/ 503354 w 609772"/>
                  <a:gd name="connsiteY1883" fmla="*/ 293424 h 697852"/>
                  <a:gd name="connsiteX1884" fmla="*/ 501325 w 609772"/>
                  <a:gd name="connsiteY1884" fmla="*/ 292807 h 697852"/>
                  <a:gd name="connsiteX1885" fmla="*/ 500444 w 609772"/>
                  <a:gd name="connsiteY1885" fmla="*/ 293953 h 697852"/>
                  <a:gd name="connsiteX1886" fmla="*/ 501590 w 609772"/>
                  <a:gd name="connsiteY1886" fmla="*/ 295364 h 697852"/>
                  <a:gd name="connsiteX1887" fmla="*/ 501854 w 609772"/>
                  <a:gd name="connsiteY1887" fmla="*/ 295981 h 697852"/>
                  <a:gd name="connsiteX1888" fmla="*/ 499209 w 609772"/>
                  <a:gd name="connsiteY1888" fmla="*/ 297745 h 697852"/>
                  <a:gd name="connsiteX1889" fmla="*/ 498328 w 609772"/>
                  <a:gd name="connsiteY1889" fmla="*/ 300037 h 697852"/>
                  <a:gd name="connsiteX1890" fmla="*/ 498945 w 609772"/>
                  <a:gd name="connsiteY1890" fmla="*/ 302682 h 697852"/>
                  <a:gd name="connsiteX1891" fmla="*/ 496564 w 609772"/>
                  <a:gd name="connsiteY1891" fmla="*/ 304710 h 697852"/>
                  <a:gd name="connsiteX1892" fmla="*/ 495947 w 609772"/>
                  <a:gd name="connsiteY1892" fmla="*/ 305856 h 697852"/>
                  <a:gd name="connsiteX1893" fmla="*/ 496829 w 609772"/>
                  <a:gd name="connsiteY1893" fmla="*/ 309030 h 697852"/>
                  <a:gd name="connsiteX1894" fmla="*/ 498592 w 609772"/>
                  <a:gd name="connsiteY1894" fmla="*/ 312821 h 697852"/>
                  <a:gd name="connsiteX1895" fmla="*/ 498592 w 609772"/>
                  <a:gd name="connsiteY1895" fmla="*/ 314320 h 697852"/>
                  <a:gd name="connsiteX1896" fmla="*/ 499209 w 609772"/>
                  <a:gd name="connsiteY1896" fmla="*/ 318112 h 697852"/>
                  <a:gd name="connsiteX1897" fmla="*/ 500091 w 609772"/>
                  <a:gd name="connsiteY1897" fmla="*/ 320757 h 697852"/>
                  <a:gd name="connsiteX1898" fmla="*/ 502119 w 609772"/>
                  <a:gd name="connsiteY1898" fmla="*/ 321021 h 697852"/>
                  <a:gd name="connsiteX1899" fmla="*/ 502736 w 609772"/>
                  <a:gd name="connsiteY1899" fmla="*/ 317230 h 697852"/>
                  <a:gd name="connsiteX1900" fmla="*/ 503618 w 609772"/>
                  <a:gd name="connsiteY1900" fmla="*/ 318376 h 697852"/>
                  <a:gd name="connsiteX1901" fmla="*/ 505029 w 609772"/>
                  <a:gd name="connsiteY1901" fmla="*/ 319522 h 697852"/>
                  <a:gd name="connsiteX1902" fmla="*/ 506174 w 609772"/>
                  <a:gd name="connsiteY1902" fmla="*/ 322432 h 697852"/>
                  <a:gd name="connsiteX1903" fmla="*/ 509084 w 609772"/>
                  <a:gd name="connsiteY1903" fmla="*/ 322432 h 697852"/>
                  <a:gd name="connsiteX1904" fmla="*/ 510848 w 609772"/>
                  <a:gd name="connsiteY1904" fmla="*/ 321286 h 697852"/>
                  <a:gd name="connsiteX1905" fmla="*/ 510848 w 609772"/>
                  <a:gd name="connsiteY1905" fmla="*/ 318376 h 697852"/>
                  <a:gd name="connsiteX1906" fmla="*/ 509701 w 609772"/>
                  <a:gd name="connsiteY1906" fmla="*/ 315202 h 697852"/>
                  <a:gd name="connsiteX1907" fmla="*/ 509701 w 609772"/>
                  <a:gd name="connsiteY1907" fmla="*/ 312557 h 697852"/>
                  <a:gd name="connsiteX1908" fmla="*/ 511200 w 609772"/>
                  <a:gd name="connsiteY1908" fmla="*/ 309912 h 697852"/>
                  <a:gd name="connsiteX1909" fmla="*/ 512699 w 609772"/>
                  <a:gd name="connsiteY1909" fmla="*/ 309647 h 697852"/>
                  <a:gd name="connsiteX1910" fmla="*/ 514462 w 609772"/>
                  <a:gd name="connsiteY1910" fmla="*/ 309030 h 697852"/>
                  <a:gd name="connsiteX1911" fmla="*/ 514727 w 609772"/>
                  <a:gd name="connsiteY1911" fmla="*/ 307002 h 697852"/>
                  <a:gd name="connsiteX1912" fmla="*/ 514462 w 609772"/>
                  <a:gd name="connsiteY1912" fmla="*/ 304710 h 697852"/>
                  <a:gd name="connsiteX1913" fmla="*/ 513316 w 609772"/>
                  <a:gd name="connsiteY1913" fmla="*/ 302065 h 697852"/>
                  <a:gd name="connsiteX1914" fmla="*/ 516491 w 609772"/>
                  <a:gd name="connsiteY1914" fmla="*/ 302947 h 697852"/>
                  <a:gd name="connsiteX1915" fmla="*/ 518871 w 609772"/>
                  <a:gd name="connsiteY1915" fmla="*/ 302065 h 697852"/>
                  <a:gd name="connsiteX1916" fmla="*/ 519488 w 609772"/>
                  <a:gd name="connsiteY1916" fmla="*/ 304710 h 697852"/>
                  <a:gd name="connsiteX1917" fmla="*/ 520370 w 609772"/>
                  <a:gd name="connsiteY1917" fmla="*/ 307355 h 697852"/>
                  <a:gd name="connsiteX1918" fmla="*/ 520370 w 609772"/>
                  <a:gd name="connsiteY1918" fmla="*/ 312910 h 697852"/>
                  <a:gd name="connsiteX1919" fmla="*/ 521869 w 609772"/>
                  <a:gd name="connsiteY1919" fmla="*/ 314673 h 697852"/>
                  <a:gd name="connsiteX1920" fmla="*/ 522133 w 609772"/>
                  <a:gd name="connsiteY1920" fmla="*/ 316701 h 697852"/>
                  <a:gd name="connsiteX1921" fmla="*/ 523015 w 609772"/>
                  <a:gd name="connsiteY1921" fmla="*/ 321109 h 697852"/>
                  <a:gd name="connsiteX1922" fmla="*/ 523632 w 609772"/>
                  <a:gd name="connsiteY1922" fmla="*/ 325165 h 697852"/>
                  <a:gd name="connsiteX1923" fmla="*/ 525396 w 609772"/>
                  <a:gd name="connsiteY1923" fmla="*/ 325782 h 697852"/>
                  <a:gd name="connsiteX1924" fmla="*/ 527423 w 609772"/>
                  <a:gd name="connsiteY1924" fmla="*/ 327546 h 697852"/>
                  <a:gd name="connsiteX1925" fmla="*/ 528305 w 609772"/>
                  <a:gd name="connsiteY1925" fmla="*/ 330455 h 697852"/>
                  <a:gd name="connsiteX1926" fmla="*/ 529716 w 609772"/>
                  <a:gd name="connsiteY1926" fmla="*/ 336891 h 697852"/>
                  <a:gd name="connsiteX1927" fmla="*/ 530862 w 609772"/>
                  <a:gd name="connsiteY1927" fmla="*/ 341829 h 697852"/>
                  <a:gd name="connsiteX1928" fmla="*/ 531743 w 609772"/>
                  <a:gd name="connsiteY1928" fmla="*/ 345356 h 697852"/>
                  <a:gd name="connsiteX1929" fmla="*/ 532361 w 609772"/>
                  <a:gd name="connsiteY1929" fmla="*/ 348882 h 697852"/>
                  <a:gd name="connsiteX1930" fmla="*/ 533507 w 609772"/>
                  <a:gd name="connsiteY1930" fmla="*/ 346502 h 697852"/>
                  <a:gd name="connsiteX1931" fmla="*/ 535006 w 609772"/>
                  <a:gd name="connsiteY1931" fmla="*/ 346502 h 697852"/>
                  <a:gd name="connsiteX1932" fmla="*/ 534741 w 609772"/>
                  <a:gd name="connsiteY1932" fmla="*/ 344474 h 697852"/>
                  <a:gd name="connsiteX1933" fmla="*/ 536769 w 609772"/>
                  <a:gd name="connsiteY1933" fmla="*/ 345973 h 697852"/>
                  <a:gd name="connsiteX1934" fmla="*/ 539679 w 609772"/>
                  <a:gd name="connsiteY1934" fmla="*/ 347384 h 697852"/>
                  <a:gd name="connsiteX1935" fmla="*/ 542588 w 609772"/>
                  <a:gd name="connsiteY1935" fmla="*/ 345620 h 697852"/>
                  <a:gd name="connsiteX1936" fmla="*/ 541971 w 609772"/>
                  <a:gd name="connsiteY1936" fmla="*/ 343328 h 697852"/>
                  <a:gd name="connsiteX1937" fmla="*/ 543999 w 609772"/>
                  <a:gd name="connsiteY1937" fmla="*/ 343063 h 697852"/>
                  <a:gd name="connsiteX1938" fmla="*/ 543734 w 609772"/>
                  <a:gd name="connsiteY1938" fmla="*/ 341300 h 697852"/>
                  <a:gd name="connsiteX1939" fmla="*/ 542588 w 609772"/>
                  <a:gd name="connsiteY1939" fmla="*/ 336891 h 697852"/>
                  <a:gd name="connsiteX1940" fmla="*/ 539943 w 609772"/>
                  <a:gd name="connsiteY1940" fmla="*/ 338655 h 697852"/>
                  <a:gd name="connsiteX1941" fmla="*/ 540208 w 609772"/>
                  <a:gd name="connsiteY1941" fmla="*/ 336010 h 697852"/>
                  <a:gd name="connsiteX1942" fmla="*/ 542236 w 609772"/>
                  <a:gd name="connsiteY1942" fmla="*/ 333100 h 697852"/>
                  <a:gd name="connsiteX1943" fmla="*/ 540825 w 609772"/>
                  <a:gd name="connsiteY1943" fmla="*/ 325782 h 697852"/>
                  <a:gd name="connsiteX1944" fmla="*/ 540825 w 609772"/>
                  <a:gd name="connsiteY1944" fmla="*/ 324019 h 697852"/>
                  <a:gd name="connsiteX1945" fmla="*/ 539679 w 609772"/>
                  <a:gd name="connsiteY1945" fmla="*/ 323137 h 697852"/>
                  <a:gd name="connsiteX1946" fmla="*/ 539150 w 609772"/>
                  <a:gd name="connsiteY1946" fmla="*/ 321109 h 697852"/>
                  <a:gd name="connsiteX1947" fmla="*/ 540031 w 609772"/>
                  <a:gd name="connsiteY1947" fmla="*/ 320492 h 697852"/>
                  <a:gd name="connsiteX1948" fmla="*/ 541178 w 609772"/>
                  <a:gd name="connsiteY1948" fmla="*/ 320492 h 697852"/>
                  <a:gd name="connsiteX1949" fmla="*/ 544352 w 609772"/>
                  <a:gd name="connsiteY1949" fmla="*/ 323137 h 697852"/>
                  <a:gd name="connsiteX1950" fmla="*/ 544969 w 609772"/>
                  <a:gd name="connsiteY1950" fmla="*/ 321109 h 697852"/>
                  <a:gd name="connsiteX1951" fmla="*/ 545234 w 609772"/>
                  <a:gd name="connsiteY1951" fmla="*/ 320228 h 697852"/>
                  <a:gd name="connsiteX1952" fmla="*/ 544969 w 609772"/>
                  <a:gd name="connsiteY1952" fmla="*/ 318464 h 697852"/>
                  <a:gd name="connsiteX1953" fmla="*/ 544352 w 609772"/>
                  <a:gd name="connsiteY1953" fmla="*/ 317054 h 697852"/>
                  <a:gd name="connsiteX1954" fmla="*/ 544352 w 609772"/>
                  <a:gd name="connsiteY1954" fmla="*/ 313262 h 697852"/>
                  <a:gd name="connsiteX1955" fmla="*/ 543823 w 609772"/>
                  <a:gd name="connsiteY1955" fmla="*/ 310353 h 697852"/>
                  <a:gd name="connsiteX1956" fmla="*/ 543823 w 609772"/>
                  <a:gd name="connsiteY1956" fmla="*/ 307179 h 697852"/>
                  <a:gd name="connsiteX1957" fmla="*/ 543205 w 609772"/>
                  <a:gd name="connsiteY1957" fmla="*/ 304886 h 697852"/>
                  <a:gd name="connsiteX1958" fmla="*/ 542588 w 609772"/>
                  <a:gd name="connsiteY1958" fmla="*/ 302241 h 697852"/>
                  <a:gd name="connsiteX1959" fmla="*/ 542324 w 609772"/>
                  <a:gd name="connsiteY1959" fmla="*/ 300213 h 697852"/>
                  <a:gd name="connsiteX1960" fmla="*/ 540296 w 609772"/>
                  <a:gd name="connsiteY1960" fmla="*/ 297921 h 697852"/>
                  <a:gd name="connsiteX1961" fmla="*/ 539414 w 609772"/>
                  <a:gd name="connsiteY1961" fmla="*/ 295011 h 697852"/>
                  <a:gd name="connsiteX1962" fmla="*/ 541178 w 609772"/>
                  <a:gd name="connsiteY1962" fmla="*/ 294747 h 697852"/>
                  <a:gd name="connsiteX1963" fmla="*/ 542941 w 609772"/>
                  <a:gd name="connsiteY1963" fmla="*/ 295893 h 697852"/>
                  <a:gd name="connsiteX1964" fmla="*/ 543558 w 609772"/>
                  <a:gd name="connsiteY1964" fmla="*/ 297039 h 697852"/>
                  <a:gd name="connsiteX1965" fmla="*/ 544705 w 609772"/>
                  <a:gd name="connsiteY1965" fmla="*/ 297921 h 697852"/>
                  <a:gd name="connsiteX1966" fmla="*/ 546203 w 609772"/>
                  <a:gd name="connsiteY1966" fmla="*/ 298803 h 697852"/>
                  <a:gd name="connsiteX1967" fmla="*/ 548496 w 609772"/>
                  <a:gd name="connsiteY1967" fmla="*/ 299949 h 697852"/>
                  <a:gd name="connsiteX1968" fmla="*/ 549113 w 609772"/>
                  <a:gd name="connsiteY1968" fmla="*/ 299949 h 697852"/>
                  <a:gd name="connsiteX1969" fmla="*/ 551405 w 609772"/>
                  <a:gd name="connsiteY1969" fmla="*/ 300213 h 697852"/>
                  <a:gd name="connsiteX1970" fmla="*/ 555461 w 609772"/>
                  <a:gd name="connsiteY1970" fmla="*/ 300478 h 697852"/>
                  <a:gd name="connsiteX1971" fmla="*/ 558723 w 609772"/>
                  <a:gd name="connsiteY1971" fmla="*/ 301889 h 697852"/>
                  <a:gd name="connsiteX1972" fmla="*/ 560486 w 609772"/>
                  <a:gd name="connsiteY1972" fmla="*/ 301889 h 697852"/>
                  <a:gd name="connsiteX1973" fmla="*/ 561104 w 609772"/>
                  <a:gd name="connsiteY1973" fmla="*/ 300125 h 697852"/>
                  <a:gd name="connsiteX1974" fmla="*/ 560222 w 609772"/>
                  <a:gd name="connsiteY1974" fmla="*/ 297833 h 697852"/>
                  <a:gd name="connsiteX1975" fmla="*/ 560839 w 609772"/>
                  <a:gd name="connsiteY1975" fmla="*/ 294923 h 697852"/>
                  <a:gd name="connsiteX1976" fmla="*/ 560222 w 609772"/>
                  <a:gd name="connsiteY1976" fmla="*/ 292014 h 697852"/>
                  <a:gd name="connsiteX1977" fmla="*/ 560486 w 609772"/>
                  <a:gd name="connsiteY1977" fmla="*/ 289369 h 697852"/>
                  <a:gd name="connsiteX1978" fmla="*/ 560839 w 609772"/>
                  <a:gd name="connsiteY1978" fmla="*/ 287958 h 697852"/>
                  <a:gd name="connsiteX1979" fmla="*/ 561985 w 609772"/>
                  <a:gd name="connsiteY1979" fmla="*/ 287076 h 697852"/>
                  <a:gd name="connsiteX1980" fmla="*/ 561985 w 609772"/>
                  <a:gd name="connsiteY1980" fmla="*/ 284167 h 697852"/>
                  <a:gd name="connsiteX1981" fmla="*/ 562867 w 609772"/>
                  <a:gd name="connsiteY1981" fmla="*/ 283021 h 697852"/>
                  <a:gd name="connsiteX1982" fmla="*/ 562602 w 609772"/>
                  <a:gd name="connsiteY1982" fmla="*/ 280375 h 697852"/>
                  <a:gd name="connsiteX1983" fmla="*/ 564895 w 609772"/>
                  <a:gd name="connsiteY1983" fmla="*/ 279229 h 697852"/>
                  <a:gd name="connsiteX1984" fmla="*/ 564013 w 609772"/>
                  <a:gd name="connsiteY1984" fmla="*/ 276320 h 697852"/>
                  <a:gd name="connsiteX1985" fmla="*/ 564895 w 609772"/>
                  <a:gd name="connsiteY1985" fmla="*/ 275703 h 697852"/>
                  <a:gd name="connsiteX1986" fmla="*/ 566923 w 609772"/>
                  <a:gd name="connsiteY1986" fmla="*/ 273675 h 697852"/>
                  <a:gd name="connsiteX1987" fmla="*/ 566041 w 609772"/>
                  <a:gd name="connsiteY1987" fmla="*/ 269619 h 697852"/>
                  <a:gd name="connsiteX1988" fmla="*/ 562602 w 609772"/>
                  <a:gd name="connsiteY1988" fmla="*/ 268737 h 697852"/>
                  <a:gd name="connsiteX1989" fmla="*/ 561721 w 609772"/>
                  <a:gd name="connsiteY1989" fmla="*/ 264946 h 697852"/>
                  <a:gd name="connsiteX1990" fmla="*/ 563220 w 609772"/>
                  <a:gd name="connsiteY1990" fmla="*/ 264682 h 697852"/>
                  <a:gd name="connsiteX1991" fmla="*/ 562338 w 609772"/>
                  <a:gd name="connsiteY1991" fmla="*/ 262036 h 697852"/>
                  <a:gd name="connsiteX1992" fmla="*/ 565512 w 609772"/>
                  <a:gd name="connsiteY1992" fmla="*/ 260890 h 697852"/>
                  <a:gd name="connsiteX1993" fmla="*/ 565512 w 609772"/>
                  <a:gd name="connsiteY1993" fmla="*/ 258862 h 697852"/>
                  <a:gd name="connsiteX1994" fmla="*/ 567540 w 609772"/>
                  <a:gd name="connsiteY1994" fmla="*/ 257981 h 697852"/>
                  <a:gd name="connsiteX1995" fmla="*/ 568421 w 609772"/>
                  <a:gd name="connsiteY1995" fmla="*/ 255336 h 697852"/>
                  <a:gd name="connsiteX1996" fmla="*/ 570185 w 609772"/>
                  <a:gd name="connsiteY1996" fmla="*/ 254718 h 697852"/>
                  <a:gd name="connsiteX1997" fmla="*/ 569303 w 609772"/>
                  <a:gd name="connsiteY1997" fmla="*/ 250663 h 697852"/>
                  <a:gd name="connsiteX1998" fmla="*/ 570802 w 609772"/>
                  <a:gd name="connsiteY1998" fmla="*/ 248018 h 697852"/>
                  <a:gd name="connsiteX1999" fmla="*/ 569303 w 609772"/>
                  <a:gd name="connsiteY1999" fmla="*/ 243962 h 697852"/>
                  <a:gd name="connsiteX2000" fmla="*/ 569921 w 609772"/>
                  <a:gd name="connsiteY2000" fmla="*/ 243433 h 697852"/>
                  <a:gd name="connsiteX2001" fmla="*/ 567892 w 609772"/>
                  <a:gd name="connsiteY2001" fmla="*/ 243433 h 697852"/>
                  <a:gd name="connsiteX2002" fmla="*/ 567276 w 609772"/>
                  <a:gd name="connsiteY2002" fmla="*/ 240523 h 697852"/>
                  <a:gd name="connsiteX2003" fmla="*/ 568157 w 609772"/>
                  <a:gd name="connsiteY2003" fmla="*/ 238496 h 697852"/>
                  <a:gd name="connsiteX2004" fmla="*/ 566394 w 609772"/>
                  <a:gd name="connsiteY2004" fmla="*/ 236732 h 697852"/>
                  <a:gd name="connsiteX2005" fmla="*/ 568421 w 609772"/>
                  <a:gd name="connsiteY2005" fmla="*/ 234087 h 697852"/>
                  <a:gd name="connsiteX2006" fmla="*/ 568157 w 609772"/>
                  <a:gd name="connsiteY2006" fmla="*/ 233205 h 697852"/>
                  <a:gd name="connsiteX2007" fmla="*/ 569921 w 609772"/>
                  <a:gd name="connsiteY2007" fmla="*/ 233205 h 697852"/>
                  <a:gd name="connsiteX2008" fmla="*/ 572830 w 609772"/>
                  <a:gd name="connsiteY2008" fmla="*/ 230913 h 697852"/>
                  <a:gd name="connsiteX2009" fmla="*/ 573976 w 609772"/>
                  <a:gd name="connsiteY2009" fmla="*/ 228532 h 697852"/>
                  <a:gd name="connsiteX2010" fmla="*/ 576268 w 609772"/>
                  <a:gd name="connsiteY2010" fmla="*/ 228532 h 697852"/>
                  <a:gd name="connsiteX2011" fmla="*/ 577768 w 609772"/>
                  <a:gd name="connsiteY2011" fmla="*/ 226769 h 697852"/>
                  <a:gd name="connsiteX2012" fmla="*/ 578913 w 609772"/>
                  <a:gd name="connsiteY2012" fmla="*/ 226769 h 697852"/>
                  <a:gd name="connsiteX2013" fmla="*/ 578561 w 609772"/>
                  <a:gd name="connsiteY2013" fmla="*/ 224741 h 697852"/>
                  <a:gd name="connsiteX2014" fmla="*/ 582617 w 609772"/>
                  <a:gd name="connsiteY2014" fmla="*/ 222713 h 697852"/>
                  <a:gd name="connsiteX2015" fmla="*/ 584909 w 609772"/>
                  <a:gd name="connsiteY2015" fmla="*/ 219804 h 697852"/>
                  <a:gd name="connsiteX2016" fmla="*/ 586672 w 609772"/>
                  <a:gd name="connsiteY2016" fmla="*/ 216894 h 697852"/>
                  <a:gd name="connsiteX2017" fmla="*/ 590728 w 609772"/>
                  <a:gd name="connsiteY2017" fmla="*/ 216630 h 697852"/>
                  <a:gd name="connsiteX2018" fmla="*/ 593109 w 609772"/>
                  <a:gd name="connsiteY2018" fmla="*/ 216630 h 697852"/>
                  <a:gd name="connsiteX2019" fmla="*/ 595137 w 609772"/>
                  <a:gd name="connsiteY2019" fmla="*/ 215131 h 697852"/>
                  <a:gd name="connsiteX2020" fmla="*/ 597164 w 609772"/>
                  <a:gd name="connsiteY2020" fmla="*/ 215748 h 697852"/>
                  <a:gd name="connsiteX2021" fmla="*/ 598664 w 609772"/>
                  <a:gd name="connsiteY2021" fmla="*/ 215131 h 697852"/>
                  <a:gd name="connsiteX2022" fmla="*/ 600426 w 609772"/>
                  <a:gd name="connsiteY2022" fmla="*/ 217776 h 697852"/>
                  <a:gd name="connsiteX2023" fmla="*/ 599545 w 609772"/>
                  <a:gd name="connsiteY2023" fmla="*/ 218393 h 697852"/>
                  <a:gd name="connsiteX2024" fmla="*/ 603953 w 609772"/>
                  <a:gd name="connsiteY2024" fmla="*/ 219804 h 697852"/>
                  <a:gd name="connsiteX2025" fmla="*/ 608009 w 609772"/>
                  <a:gd name="connsiteY2025" fmla="*/ 220950 h 697852"/>
                  <a:gd name="connsiteX2026" fmla="*/ 609772 w 609772"/>
                  <a:gd name="connsiteY2026" fmla="*/ 220068 h 697852"/>
                  <a:gd name="connsiteX2027" fmla="*/ 607392 w 609772"/>
                  <a:gd name="connsiteY2027" fmla="*/ 218569 h 697852"/>
                  <a:gd name="connsiteX2028" fmla="*/ 605629 w 609772"/>
                  <a:gd name="connsiteY2028" fmla="*/ 216806 h 697852"/>
                  <a:gd name="connsiteX2029" fmla="*/ 603336 w 609772"/>
                  <a:gd name="connsiteY2029" fmla="*/ 215043 h 697852"/>
                  <a:gd name="connsiteX2030" fmla="*/ 602190 w 609772"/>
                  <a:gd name="connsiteY2030" fmla="*/ 213897 h 697852"/>
                  <a:gd name="connsiteX2031" fmla="*/ 600426 w 609772"/>
                  <a:gd name="connsiteY2031" fmla="*/ 212398 h 697852"/>
                  <a:gd name="connsiteX2032" fmla="*/ 599810 w 609772"/>
                  <a:gd name="connsiteY2032" fmla="*/ 210634 h 697852"/>
                  <a:gd name="connsiteX2033" fmla="*/ 600426 w 609772"/>
                  <a:gd name="connsiteY2033" fmla="*/ 208606 h 697852"/>
                  <a:gd name="connsiteX2034" fmla="*/ 601308 w 609772"/>
                  <a:gd name="connsiteY2034" fmla="*/ 207108 h 697852"/>
                  <a:gd name="connsiteX2035" fmla="*/ 601926 w 609772"/>
                  <a:gd name="connsiteY2035" fmla="*/ 206843 h 697852"/>
                  <a:gd name="connsiteX2036" fmla="*/ 602190 w 609772"/>
                  <a:gd name="connsiteY2036" fmla="*/ 206579 h 697852"/>
                  <a:gd name="connsiteX2037" fmla="*/ 602807 w 609772"/>
                  <a:gd name="connsiteY2037" fmla="*/ 205697 h 697852"/>
                  <a:gd name="connsiteX2038" fmla="*/ 603689 w 609772"/>
                  <a:gd name="connsiteY2038" fmla="*/ 203934 h 697852"/>
                  <a:gd name="connsiteX2039" fmla="*/ 603424 w 609772"/>
                  <a:gd name="connsiteY2039" fmla="*/ 203669 h 697852"/>
                  <a:gd name="connsiteX2040" fmla="*/ 604923 w 609772"/>
                  <a:gd name="connsiteY2040" fmla="*/ 201024 h 697852"/>
                  <a:gd name="connsiteX2041" fmla="*/ 606951 w 609772"/>
                  <a:gd name="connsiteY2041" fmla="*/ 201024 h 697852"/>
                  <a:gd name="connsiteX2042" fmla="*/ 605805 w 609772"/>
                  <a:gd name="connsiteY2042" fmla="*/ 198379 h 697852"/>
                  <a:gd name="connsiteX2043" fmla="*/ 606951 w 609772"/>
                  <a:gd name="connsiteY2043" fmla="*/ 195734 h 697852"/>
                  <a:gd name="connsiteX2044" fmla="*/ 606069 w 609772"/>
                  <a:gd name="connsiteY2044" fmla="*/ 192560 h 697852"/>
                  <a:gd name="connsiteX2045" fmla="*/ 604042 w 609772"/>
                  <a:gd name="connsiteY2045" fmla="*/ 191149 h 697852"/>
                  <a:gd name="connsiteX2046" fmla="*/ 601132 w 609772"/>
                  <a:gd name="connsiteY2046" fmla="*/ 190267 h 697852"/>
                  <a:gd name="connsiteX2047" fmla="*/ 599368 w 609772"/>
                  <a:gd name="connsiteY2047" fmla="*/ 190885 h 697852"/>
                  <a:gd name="connsiteX2048" fmla="*/ 596106 w 609772"/>
                  <a:gd name="connsiteY2048" fmla="*/ 190267 h 697852"/>
                  <a:gd name="connsiteX2049" fmla="*/ 595225 w 609772"/>
                  <a:gd name="connsiteY2049" fmla="*/ 190003 h 697852"/>
                  <a:gd name="connsiteX2050" fmla="*/ 593197 w 609772"/>
                  <a:gd name="connsiteY2050" fmla="*/ 190003 h 697852"/>
                  <a:gd name="connsiteX2051" fmla="*/ 591434 w 609772"/>
                  <a:gd name="connsiteY2051" fmla="*/ 187358 h 697852"/>
                  <a:gd name="connsiteX2052" fmla="*/ 589405 w 609772"/>
                  <a:gd name="connsiteY2052" fmla="*/ 186741 h 697852"/>
                  <a:gd name="connsiteX2053" fmla="*/ 584733 w 609772"/>
                  <a:gd name="connsiteY2053" fmla="*/ 187358 h 697852"/>
                  <a:gd name="connsiteX2054" fmla="*/ 583851 w 609772"/>
                  <a:gd name="connsiteY2054" fmla="*/ 190267 h 697852"/>
                  <a:gd name="connsiteX2055" fmla="*/ 583587 w 609772"/>
                  <a:gd name="connsiteY2055" fmla="*/ 189386 h 697852"/>
                  <a:gd name="connsiteX2056" fmla="*/ 580060 w 609772"/>
                  <a:gd name="connsiteY2056" fmla="*/ 187358 h 697852"/>
                  <a:gd name="connsiteX2057" fmla="*/ 582440 w 609772"/>
                  <a:gd name="connsiteY2057" fmla="*/ 185065 h 697852"/>
                  <a:gd name="connsiteX2058" fmla="*/ 582440 w 609772"/>
                  <a:gd name="connsiteY2058" fmla="*/ 184448 h 697852"/>
                  <a:gd name="connsiteX2059" fmla="*/ 582176 w 609772"/>
                  <a:gd name="connsiteY2059" fmla="*/ 183831 h 697852"/>
                  <a:gd name="connsiteX2060" fmla="*/ 583675 w 609772"/>
                  <a:gd name="connsiteY2060" fmla="*/ 182685 h 697852"/>
                  <a:gd name="connsiteX2061" fmla="*/ 587466 w 609772"/>
                  <a:gd name="connsiteY2061" fmla="*/ 178894 h 697852"/>
                  <a:gd name="connsiteX2062" fmla="*/ 581647 w 609772"/>
                  <a:gd name="connsiteY2062" fmla="*/ 174573 h 697852"/>
                  <a:gd name="connsiteX2063" fmla="*/ 583058 w 609772"/>
                  <a:gd name="connsiteY2063" fmla="*/ 172193 h 697852"/>
                  <a:gd name="connsiteX2064" fmla="*/ 580413 w 609772"/>
                  <a:gd name="connsiteY2064" fmla="*/ 173075 h 697852"/>
                  <a:gd name="connsiteX2065" fmla="*/ 579002 w 609772"/>
                  <a:gd name="connsiteY2065" fmla="*/ 174573 h 697852"/>
                  <a:gd name="connsiteX2066" fmla="*/ 577591 w 609772"/>
                  <a:gd name="connsiteY2066" fmla="*/ 176601 h 697852"/>
                  <a:gd name="connsiteX2067" fmla="*/ 574946 w 609772"/>
                  <a:gd name="connsiteY2067" fmla="*/ 173075 h 697852"/>
                  <a:gd name="connsiteX2068" fmla="*/ 576092 w 609772"/>
                  <a:gd name="connsiteY2068" fmla="*/ 170430 h 697852"/>
                  <a:gd name="connsiteX2069" fmla="*/ 579355 w 609772"/>
                  <a:gd name="connsiteY2069" fmla="*/ 169812 h 697852"/>
                  <a:gd name="connsiteX2070" fmla="*/ 578473 w 609772"/>
                  <a:gd name="connsiteY2070" fmla="*/ 167520 h 697852"/>
                  <a:gd name="connsiteX2071" fmla="*/ 578208 w 609772"/>
                  <a:gd name="connsiteY2071" fmla="*/ 166638 h 697852"/>
                  <a:gd name="connsiteX2072" fmla="*/ 574417 w 609772"/>
                  <a:gd name="connsiteY2072" fmla="*/ 168137 h 697852"/>
                  <a:gd name="connsiteX2073" fmla="*/ 571772 w 609772"/>
                  <a:gd name="connsiteY2073" fmla="*/ 164610 h 697852"/>
                  <a:gd name="connsiteX2074" fmla="*/ 570890 w 609772"/>
                  <a:gd name="connsiteY2074" fmla="*/ 162230 h 697852"/>
                  <a:gd name="connsiteX2075" fmla="*/ 569127 w 609772"/>
                  <a:gd name="connsiteY2075" fmla="*/ 163993 h 697852"/>
                  <a:gd name="connsiteX2076" fmla="*/ 565336 w 609772"/>
                  <a:gd name="connsiteY2076" fmla="*/ 166638 h 697852"/>
                  <a:gd name="connsiteX2077" fmla="*/ 561544 w 609772"/>
                  <a:gd name="connsiteY2077" fmla="*/ 167520 h 697852"/>
                  <a:gd name="connsiteX2078" fmla="*/ 562162 w 609772"/>
                  <a:gd name="connsiteY2078" fmla="*/ 170165 h 697852"/>
                  <a:gd name="connsiteX2079" fmla="*/ 559252 w 609772"/>
                  <a:gd name="connsiteY2079" fmla="*/ 173075 h 697852"/>
                  <a:gd name="connsiteX2080" fmla="*/ 554844 w 609772"/>
                  <a:gd name="connsiteY2080" fmla="*/ 172193 h 697852"/>
                  <a:gd name="connsiteX2081" fmla="*/ 550435 w 609772"/>
                  <a:gd name="connsiteY2081" fmla="*/ 170165 h 697852"/>
                  <a:gd name="connsiteX2082" fmla="*/ 546027 w 609772"/>
                  <a:gd name="connsiteY2082" fmla="*/ 168666 h 697852"/>
                  <a:gd name="connsiteX2083" fmla="*/ 545145 w 609772"/>
                  <a:gd name="connsiteY2083" fmla="*/ 167255 h 697852"/>
                  <a:gd name="connsiteX2084" fmla="*/ 541618 w 609772"/>
                  <a:gd name="connsiteY2084" fmla="*/ 164610 h 697852"/>
                  <a:gd name="connsiteX2085" fmla="*/ 539855 w 609772"/>
                  <a:gd name="connsiteY2085" fmla="*/ 167255 h 697852"/>
                  <a:gd name="connsiteX2086" fmla="*/ 536064 w 609772"/>
                  <a:gd name="connsiteY2086" fmla="*/ 169019 h 697852"/>
                  <a:gd name="connsiteX2087" fmla="*/ 535535 w 609772"/>
                  <a:gd name="connsiteY2087" fmla="*/ 169901 h 697852"/>
                  <a:gd name="connsiteX2088" fmla="*/ 533154 w 609772"/>
                  <a:gd name="connsiteY2088" fmla="*/ 172193 h 697852"/>
                  <a:gd name="connsiteX2089" fmla="*/ 531391 w 609772"/>
                  <a:gd name="connsiteY2089" fmla="*/ 175102 h 697852"/>
                  <a:gd name="connsiteX2090" fmla="*/ 531655 w 609772"/>
                  <a:gd name="connsiteY2090" fmla="*/ 176866 h 697852"/>
                  <a:gd name="connsiteX2091" fmla="*/ 529628 w 609772"/>
                  <a:gd name="connsiteY2091" fmla="*/ 178629 h 697852"/>
                  <a:gd name="connsiteX2092" fmla="*/ 526101 w 609772"/>
                  <a:gd name="connsiteY2092" fmla="*/ 180128 h 697852"/>
                  <a:gd name="connsiteX2093" fmla="*/ 515609 w 609772"/>
                  <a:gd name="connsiteY2093" fmla="*/ 182773 h 697852"/>
                  <a:gd name="connsiteX2094" fmla="*/ 509437 w 609772"/>
                  <a:gd name="connsiteY2094" fmla="*/ 189209 h 697852"/>
                  <a:gd name="connsiteX2095" fmla="*/ 500708 w 609772"/>
                  <a:gd name="connsiteY2095" fmla="*/ 198820 h 697852"/>
                  <a:gd name="connsiteX2096" fmla="*/ 488453 w 609772"/>
                  <a:gd name="connsiteY2096" fmla="*/ 199966 h 697852"/>
                  <a:gd name="connsiteX2097" fmla="*/ 489863 w 609772"/>
                  <a:gd name="connsiteY2097" fmla="*/ 201112 h 697852"/>
                  <a:gd name="connsiteX2098" fmla="*/ 489599 w 609772"/>
                  <a:gd name="connsiteY2098" fmla="*/ 204022 h 697852"/>
                  <a:gd name="connsiteX2099" fmla="*/ 488188 w 609772"/>
                  <a:gd name="connsiteY2099" fmla="*/ 206049 h 697852"/>
                  <a:gd name="connsiteX2100" fmla="*/ 488188 w 609772"/>
                  <a:gd name="connsiteY2100" fmla="*/ 207196 h 697852"/>
                  <a:gd name="connsiteX2101" fmla="*/ 488806 w 609772"/>
                  <a:gd name="connsiteY2101" fmla="*/ 209576 h 697852"/>
                  <a:gd name="connsiteX2102" fmla="*/ 491979 w 609772"/>
                  <a:gd name="connsiteY2102" fmla="*/ 211604 h 697852"/>
                  <a:gd name="connsiteX2103" fmla="*/ 492244 w 609772"/>
                  <a:gd name="connsiteY2103" fmla="*/ 212486 h 697852"/>
                  <a:gd name="connsiteX2104" fmla="*/ 497182 w 609772"/>
                  <a:gd name="connsiteY2104" fmla="*/ 210987 h 697852"/>
                  <a:gd name="connsiteX2105" fmla="*/ 499474 w 609772"/>
                  <a:gd name="connsiteY2105" fmla="*/ 215660 h 697852"/>
                  <a:gd name="connsiteX2106" fmla="*/ 497446 w 609772"/>
                  <a:gd name="connsiteY2106" fmla="*/ 218569 h 697852"/>
                  <a:gd name="connsiteX2107" fmla="*/ 497182 w 609772"/>
                  <a:gd name="connsiteY2107" fmla="*/ 220597 h 697852"/>
                  <a:gd name="connsiteX2108" fmla="*/ 498151 w 609772"/>
                  <a:gd name="connsiteY2108" fmla="*/ 222184 h 697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</a:cxnLst>
                <a:rect l="l" t="t" r="r" b="b"/>
                <a:pathLst>
                  <a:path w="609772" h="697852">
                    <a:moveTo>
                      <a:pt x="498151" y="222184"/>
                    </a:moveTo>
                    <a:lnTo>
                      <a:pt x="499033" y="224829"/>
                    </a:lnTo>
                    <a:lnTo>
                      <a:pt x="498151" y="225976"/>
                    </a:lnTo>
                    <a:lnTo>
                      <a:pt x="496388" y="226240"/>
                    </a:lnTo>
                    <a:lnTo>
                      <a:pt x="494624" y="225358"/>
                    </a:lnTo>
                    <a:lnTo>
                      <a:pt x="494624" y="226240"/>
                    </a:lnTo>
                    <a:lnTo>
                      <a:pt x="492861" y="225976"/>
                    </a:lnTo>
                    <a:lnTo>
                      <a:pt x="490216" y="227739"/>
                    </a:lnTo>
                    <a:lnTo>
                      <a:pt x="486425" y="227474"/>
                    </a:lnTo>
                    <a:lnTo>
                      <a:pt x="485279" y="225711"/>
                    </a:lnTo>
                    <a:lnTo>
                      <a:pt x="483868" y="225976"/>
                    </a:lnTo>
                    <a:lnTo>
                      <a:pt x="482987" y="227474"/>
                    </a:lnTo>
                    <a:lnTo>
                      <a:pt x="481487" y="228356"/>
                    </a:lnTo>
                    <a:lnTo>
                      <a:pt x="467733" y="228356"/>
                    </a:lnTo>
                    <a:lnTo>
                      <a:pt x="461297" y="225094"/>
                    </a:lnTo>
                    <a:lnTo>
                      <a:pt x="460151" y="225447"/>
                    </a:lnTo>
                    <a:lnTo>
                      <a:pt x="455742" y="228885"/>
                    </a:lnTo>
                    <a:lnTo>
                      <a:pt x="452568" y="229150"/>
                    </a:lnTo>
                    <a:lnTo>
                      <a:pt x="449041" y="230296"/>
                    </a:lnTo>
                    <a:lnTo>
                      <a:pt x="444369" y="229414"/>
                    </a:lnTo>
                    <a:lnTo>
                      <a:pt x="444633" y="228532"/>
                    </a:lnTo>
                    <a:lnTo>
                      <a:pt x="438814" y="226240"/>
                    </a:lnTo>
                    <a:lnTo>
                      <a:pt x="435640" y="227386"/>
                    </a:lnTo>
                    <a:lnTo>
                      <a:pt x="433260" y="226769"/>
                    </a:lnTo>
                    <a:lnTo>
                      <a:pt x="429204" y="222978"/>
                    </a:lnTo>
                    <a:lnTo>
                      <a:pt x="428057" y="223860"/>
                    </a:lnTo>
                    <a:lnTo>
                      <a:pt x="427705" y="220597"/>
                    </a:lnTo>
                    <a:lnTo>
                      <a:pt x="427088" y="220068"/>
                    </a:lnTo>
                    <a:lnTo>
                      <a:pt x="425324" y="218922"/>
                    </a:lnTo>
                    <a:lnTo>
                      <a:pt x="426559" y="216542"/>
                    </a:lnTo>
                    <a:lnTo>
                      <a:pt x="428586" y="215660"/>
                    </a:lnTo>
                    <a:lnTo>
                      <a:pt x="430350" y="210987"/>
                    </a:lnTo>
                    <a:lnTo>
                      <a:pt x="429733" y="206049"/>
                    </a:lnTo>
                    <a:lnTo>
                      <a:pt x="427969" y="202876"/>
                    </a:lnTo>
                    <a:lnTo>
                      <a:pt x="426823" y="201465"/>
                    </a:lnTo>
                    <a:lnTo>
                      <a:pt x="422767" y="201729"/>
                    </a:lnTo>
                    <a:lnTo>
                      <a:pt x="420123" y="202876"/>
                    </a:lnTo>
                    <a:lnTo>
                      <a:pt x="416596" y="211604"/>
                    </a:lnTo>
                    <a:lnTo>
                      <a:pt x="417213" y="213367"/>
                    </a:lnTo>
                    <a:lnTo>
                      <a:pt x="416067" y="219451"/>
                    </a:lnTo>
                    <a:lnTo>
                      <a:pt x="415538" y="222625"/>
                    </a:lnTo>
                    <a:lnTo>
                      <a:pt x="416948" y="224389"/>
                    </a:lnTo>
                    <a:lnTo>
                      <a:pt x="419241" y="227298"/>
                    </a:lnTo>
                    <a:lnTo>
                      <a:pt x="419505" y="232588"/>
                    </a:lnTo>
                    <a:lnTo>
                      <a:pt x="417477" y="238407"/>
                    </a:lnTo>
                    <a:lnTo>
                      <a:pt x="415185" y="239553"/>
                    </a:lnTo>
                    <a:lnTo>
                      <a:pt x="413422" y="237790"/>
                    </a:lnTo>
                    <a:lnTo>
                      <a:pt x="410512" y="238672"/>
                    </a:lnTo>
                    <a:lnTo>
                      <a:pt x="408748" y="239553"/>
                    </a:lnTo>
                    <a:lnTo>
                      <a:pt x="407867" y="238407"/>
                    </a:lnTo>
                    <a:lnTo>
                      <a:pt x="406721" y="239289"/>
                    </a:lnTo>
                    <a:lnTo>
                      <a:pt x="405575" y="238407"/>
                    </a:lnTo>
                    <a:lnTo>
                      <a:pt x="403547" y="237878"/>
                    </a:lnTo>
                    <a:lnTo>
                      <a:pt x="402401" y="238407"/>
                    </a:lnTo>
                    <a:lnTo>
                      <a:pt x="402136" y="239553"/>
                    </a:lnTo>
                    <a:lnTo>
                      <a:pt x="398962" y="239553"/>
                    </a:lnTo>
                    <a:lnTo>
                      <a:pt x="398609" y="238407"/>
                    </a:lnTo>
                    <a:lnTo>
                      <a:pt x="397198" y="238143"/>
                    </a:lnTo>
                    <a:lnTo>
                      <a:pt x="395435" y="239024"/>
                    </a:lnTo>
                    <a:lnTo>
                      <a:pt x="394818" y="234087"/>
                    </a:lnTo>
                    <a:lnTo>
                      <a:pt x="393407" y="235586"/>
                    </a:lnTo>
                    <a:lnTo>
                      <a:pt x="391380" y="235586"/>
                    </a:lnTo>
                    <a:lnTo>
                      <a:pt x="391644" y="236732"/>
                    </a:lnTo>
                    <a:lnTo>
                      <a:pt x="390762" y="237614"/>
                    </a:lnTo>
                    <a:lnTo>
                      <a:pt x="388735" y="237878"/>
                    </a:lnTo>
                    <a:lnTo>
                      <a:pt x="388735" y="237614"/>
                    </a:lnTo>
                    <a:lnTo>
                      <a:pt x="387853" y="238496"/>
                    </a:lnTo>
                    <a:lnTo>
                      <a:pt x="385825" y="236732"/>
                    </a:lnTo>
                    <a:lnTo>
                      <a:pt x="384326" y="235586"/>
                    </a:lnTo>
                    <a:lnTo>
                      <a:pt x="383444" y="236468"/>
                    </a:lnTo>
                    <a:lnTo>
                      <a:pt x="381152" y="234087"/>
                    </a:lnTo>
                    <a:lnTo>
                      <a:pt x="379124" y="234969"/>
                    </a:lnTo>
                    <a:lnTo>
                      <a:pt x="377714" y="232676"/>
                    </a:lnTo>
                    <a:lnTo>
                      <a:pt x="377361" y="233823"/>
                    </a:lnTo>
                    <a:lnTo>
                      <a:pt x="375068" y="233558"/>
                    </a:lnTo>
                    <a:lnTo>
                      <a:pt x="374804" y="233823"/>
                    </a:lnTo>
                    <a:lnTo>
                      <a:pt x="374187" y="236732"/>
                    </a:lnTo>
                    <a:lnTo>
                      <a:pt x="372159" y="232324"/>
                    </a:lnTo>
                    <a:lnTo>
                      <a:pt x="370660" y="232324"/>
                    </a:lnTo>
                    <a:lnTo>
                      <a:pt x="370660" y="233470"/>
                    </a:lnTo>
                    <a:lnTo>
                      <a:pt x="368015" y="234881"/>
                    </a:lnTo>
                    <a:lnTo>
                      <a:pt x="366869" y="232588"/>
                    </a:lnTo>
                    <a:lnTo>
                      <a:pt x="364841" y="234087"/>
                    </a:lnTo>
                    <a:lnTo>
                      <a:pt x="363077" y="230560"/>
                    </a:lnTo>
                    <a:lnTo>
                      <a:pt x="363342" y="228532"/>
                    </a:lnTo>
                    <a:lnTo>
                      <a:pt x="361579" y="228003"/>
                    </a:lnTo>
                    <a:lnTo>
                      <a:pt x="360432" y="228532"/>
                    </a:lnTo>
                    <a:lnTo>
                      <a:pt x="357258" y="228532"/>
                    </a:lnTo>
                    <a:lnTo>
                      <a:pt x="357523" y="229414"/>
                    </a:lnTo>
                    <a:lnTo>
                      <a:pt x="357787" y="230560"/>
                    </a:lnTo>
                    <a:lnTo>
                      <a:pt x="354260" y="229414"/>
                    </a:lnTo>
                    <a:lnTo>
                      <a:pt x="353996" y="227651"/>
                    </a:lnTo>
                    <a:lnTo>
                      <a:pt x="351968" y="226769"/>
                    </a:lnTo>
                    <a:lnTo>
                      <a:pt x="350205" y="226769"/>
                    </a:lnTo>
                    <a:lnTo>
                      <a:pt x="349059" y="227651"/>
                    </a:lnTo>
                    <a:lnTo>
                      <a:pt x="348706" y="226505"/>
                    </a:lnTo>
                    <a:lnTo>
                      <a:pt x="346942" y="225623"/>
                    </a:lnTo>
                    <a:lnTo>
                      <a:pt x="346678" y="225006"/>
                    </a:lnTo>
                    <a:lnTo>
                      <a:pt x="346678" y="224741"/>
                    </a:lnTo>
                    <a:lnTo>
                      <a:pt x="344915" y="222978"/>
                    </a:lnTo>
                    <a:lnTo>
                      <a:pt x="343504" y="223860"/>
                    </a:lnTo>
                    <a:lnTo>
                      <a:pt x="340242" y="222361"/>
                    </a:lnTo>
                    <a:lnTo>
                      <a:pt x="341476" y="219980"/>
                    </a:lnTo>
                    <a:lnTo>
                      <a:pt x="340595" y="217952"/>
                    </a:lnTo>
                    <a:lnTo>
                      <a:pt x="338567" y="216453"/>
                    </a:lnTo>
                    <a:lnTo>
                      <a:pt x="332747" y="214426"/>
                    </a:lnTo>
                    <a:lnTo>
                      <a:pt x="330102" y="212398"/>
                    </a:lnTo>
                    <a:lnTo>
                      <a:pt x="327722" y="212398"/>
                    </a:lnTo>
                    <a:lnTo>
                      <a:pt x="325165" y="212133"/>
                    </a:lnTo>
                    <a:lnTo>
                      <a:pt x="323402" y="212133"/>
                    </a:lnTo>
                    <a:lnTo>
                      <a:pt x="321638" y="213897"/>
                    </a:lnTo>
                    <a:lnTo>
                      <a:pt x="322520" y="214514"/>
                    </a:lnTo>
                    <a:lnTo>
                      <a:pt x="321638" y="215043"/>
                    </a:lnTo>
                    <a:lnTo>
                      <a:pt x="316348" y="212133"/>
                    </a:lnTo>
                    <a:lnTo>
                      <a:pt x="314320" y="212133"/>
                    </a:lnTo>
                    <a:lnTo>
                      <a:pt x="314585" y="213897"/>
                    </a:lnTo>
                    <a:lnTo>
                      <a:pt x="310794" y="215660"/>
                    </a:lnTo>
                    <a:lnTo>
                      <a:pt x="308413" y="215660"/>
                    </a:lnTo>
                    <a:lnTo>
                      <a:pt x="306385" y="212133"/>
                    </a:lnTo>
                    <a:lnTo>
                      <a:pt x="301448" y="212133"/>
                    </a:lnTo>
                    <a:lnTo>
                      <a:pt x="301448" y="211252"/>
                    </a:lnTo>
                    <a:lnTo>
                      <a:pt x="298186" y="211252"/>
                    </a:lnTo>
                    <a:lnTo>
                      <a:pt x="298186" y="210105"/>
                    </a:lnTo>
                    <a:lnTo>
                      <a:pt x="296158" y="206579"/>
                    </a:lnTo>
                    <a:lnTo>
                      <a:pt x="296158" y="205697"/>
                    </a:lnTo>
                    <a:lnTo>
                      <a:pt x="291485" y="206579"/>
                    </a:lnTo>
                    <a:lnTo>
                      <a:pt x="290074" y="206579"/>
                    </a:lnTo>
                    <a:lnTo>
                      <a:pt x="288311" y="205432"/>
                    </a:lnTo>
                    <a:lnTo>
                      <a:pt x="288046" y="204815"/>
                    </a:lnTo>
                    <a:lnTo>
                      <a:pt x="283991" y="202170"/>
                    </a:lnTo>
                    <a:lnTo>
                      <a:pt x="282491" y="201553"/>
                    </a:lnTo>
                    <a:lnTo>
                      <a:pt x="281962" y="201024"/>
                    </a:lnTo>
                    <a:lnTo>
                      <a:pt x="279317" y="201024"/>
                    </a:lnTo>
                    <a:lnTo>
                      <a:pt x="278965" y="202170"/>
                    </a:lnTo>
                    <a:lnTo>
                      <a:pt x="277819" y="202170"/>
                    </a:lnTo>
                    <a:lnTo>
                      <a:pt x="275174" y="200407"/>
                    </a:lnTo>
                    <a:lnTo>
                      <a:pt x="274292" y="200142"/>
                    </a:lnTo>
                    <a:lnTo>
                      <a:pt x="272528" y="199261"/>
                    </a:lnTo>
                    <a:lnTo>
                      <a:pt x="267856" y="195734"/>
                    </a:lnTo>
                    <a:lnTo>
                      <a:pt x="267238" y="195469"/>
                    </a:lnTo>
                    <a:lnTo>
                      <a:pt x="265475" y="194852"/>
                    </a:lnTo>
                    <a:lnTo>
                      <a:pt x="265475" y="195734"/>
                    </a:lnTo>
                    <a:lnTo>
                      <a:pt x="263711" y="195734"/>
                    </a:lnTo>
                    <a:lnTo>
                      <a:pt x="263447" y="195469"/>
                    </a:lnTo>
                    <a:lnTo>
                      <a:pt x="263447" y="194852"/>
                    </a:lnTo>
                    <a:lnTo>
                      <a:pt x="263182" y="193970"/>
                    </a:lnTo>
                    <a:lnTo>
                      <a:pt x="262036" y="191325"/>
                    </a:lnTo>
                    <a:lnTo>
                      <a:pt x="260890" y="189827"/>
                    </a:lnTo>
                    <a:lnTo>
                      <a:pt x="256482" y="189209"/>
                    </a:lnTo>
                    <a:lnTo>
                      <a:pt x="256482" y="188063"/>
                    </a:lnTo>
                    <a:lnTo>
                      <a:pt x="256217" y="187181"/>
                    </a:lnTo>
                    <a:lnTo>
                      <a:pt x="254190" y="187181"/>
                    </a:lnTo>
                    <a:lnTo>
                      <a:pt x="254190" y="186564"/>
                    </a:lnTo>
                    <a:lnTo>
                      <a:pt x="253925" y="186300"/>
                    </a:lnTo>
                    <a:lnTo>
                      <a:pt x="253043" y="186300"/>
                    </a:lnTo>
                    <a:lnTo>
                      <a:pt x="250663" y="185418"/>
                    </a:lnTo>
                    <a:lnTo>
                      <a:pt x="250663" y="184272"/>
                    </a:lnTo>
                    <a:lnTo>
                      <a:pt x="249516" y="183655"/>
                    </a:lnTo>
                    <a:lnTo>
                      <a:pt x="249252" y="182509"/>
                    </a:lnTo>
                    <a:lnTo>
                      <a:pt x="246078" y="182509"/>
                    </a:lnTo>
                    <a:lnTo>
                      <a:pt x="246078" y="181980"/>
                    </a:lnTo>
                    <a:lnTo>
                      <a:pt x="245549" y="182509"/>
                    </a:lnTo>
                    <a:lnTo>
                      <a:pt x="245813" y="183655"/>
                    </a:lnTo>
                    <a:lnTo>
                      <a:pt x="245813" y="184272"/>
                    </a:lnTo>
                    <a:lnTo>
                      <a:pt x="243169" y="182509"/>
                    </a:lnTo>
                    <a:lnTo>
                      <a:pt x="240876" y="182509"/>
                    </a:lnTo>
                    <a:lnTo>
                      <a:pt x="240611" y="181098"/>
                    </a:lnTo>
                    <a:lnTo>
                      <a:pt x="239113" y="180833"/>
                    </a:lnTo>
                    <a:lnTo>
                      <a:pt x="237349" y="179687"/>
                    </a:lnTo>
                    <a:lnTo>
                      <a:pt x="236203" y="178276"/>
                    </a:lnTo>
                    <a:lnTo>
                      <a:pt x="234704" y="177130"/>
                    </a:lnTo>
                    <a:lnTo>
                      <a:pt x="233205" y="175631"/>
                    </a:lnTo>
                    <a:lnTo>
                      <a:pt x="234087" y="175014"/>
                    </a:lnTo>
                    <a:lnTo>
                      <a:pt x="236732" y="173515"/>
                    </a:lnTo>
                    <a:lnTo>
                      <a:pt x="235586" y="172017"/>
                    </a:lnTo>
                    <a:lnTo>
                      <a:pt x="236203" y="170253"/>
                    </a:lnTo>
                    <a:lnTo>
                      <a:pt x="236203" y="168754"/>
                    </a:lnTo>
                    <a:lnTo>
                      <a:pt x="236203" y="165580"/>
                    </a:lnTo>
                    <a:lnTo>
                      <a:pt x="233823" y="162406"/>
                    </a:lnTo>
                    <a:lnTo>
                      <a:pt x="235850" y="160378"/>
                    </a:lnTo>
                    <a:lnTo>
                      <a:pt x="235586" y="159497"/>
                    </a:lnTo>
                    <a:lnTo>
                      <a:pt x="237878" y="157116"/>
                    </a:lnTo>
                    <a:lnTo>
                      <a:pt x="235850" y="154471"/>
                    </a:lnTo>
                    <a:lnTo>
                      <a:pt x="239289" y="152972"/>
                    </a:lnTo>
                    <a:lnTo>
                      <a:pt x="239289" y="150063"/>
                    </a:lnTo>
                    <a:lnTo>
                      <a:pt x="242198" y="149798"/>
                    </a:lnTo>
                    <a:lnTo>
                      <a:pt x="243609" y="149534"/>
                    </a:lnTo>
                    <a:lnTo>
                      <a:pt x="242992" y="147241"/>
                    </a:lnTo>
                    <a:lnTo>
                      <a:pt x="244491" y="145478"/>
                    </a:lnTo>
                    <a:lnTo>
                      <a:pt x="244227" y="144332"/>
                    </a:lnTo>
                    <a:lnTo>
                      <a:pt x="245108" y="143714"/>
                    </a:lnTo>
                    <a:lnTo>
                      <a:pt x="245461" y="144332"/>
                    </a:lnTo>
                    <a:lnTo>
                      <a:pt x="247753" y="142833"/>
                    </a:lnTo>
                    <a:lnTo>
                      <a:pt x="241053" y="138777"/>
                    </a:lnTo>
                    <a:lnTo>
                      <a:pt x="236908" y="137631"/>
                    </a:lnTo>
                    <a:lnTo>
                      <a:pt x="227915" y="135339"/>
                    </a:lnTo>
                    <a:lnTo>
                      <a:pt x="228532" y="133840"/>
                    </a:lnTo>
                    <a:lnTo>
                      <a:pt x="227034" y="131812"/>
                    </a:lnTo>
                    <a:lnTo>
                      <a:pt x="228180" y="131812"/>
                    </a:lnTo>
                    <a:lnTo>
                      <a:pt x="226416" y="128902"/>
                    </a:lnTo>
                    <a:lnTo>
                      <a:pt x="223242" y="128285"/>
                    </a:lnTo>
                    <a:lnTo>
                      <a:pt x="221479" y="126257"/>
                    </a:lnTo>
                    <a:lnTo>
                      <a:pt x="220862" y="126257"/>
                    </a:lnTo>
                    <a:lnTo>
                      <a:pt x="219451" y="124494"/>
                    </a:lnTo>
                    <a:lnTo>
                      <a:pt x="216189" y="124494"/>
                    </a:lnTo>
                    <a:lnTo>
                      <a:pt x="214161" y="124494"/>
                    </a:lnTo>
                    <a:lnTo>
                      <a:pt x="210899" y="124494"/>
                    </a:lnTo>
                    <a:lnTo>
                      <a:pt x="207989" y="122466"/>
                    </a:lnTo>
                    <a:lnTo>
                      <a:pt x="205697" y="120174"/>
                    </a:lnTo>
                    <a:lnTo>
                      <a:pt x="204551" y="119027"/>
                    </a:lnTo>
                    <a:lnTo>
                      <a:pt x="203052" y="116999"/>
                    </a:lnTo>
                    <a:lnTo>
                      <a:pt x="201289" y="114972"/>
                    </a:lnTo>
                    <a:lnTo>
                      <a:pt x="199260" y="112944"/>
                    </a:lnTo>
                    <a:lnTo>
                      <a:pt x="198731" y="116118"/>
                    </a:lnTo>
                    <a:lnTo>
                      <a:pt x="194059" y="116382"/>
                    </a:lnTo>
                    <a:lnTo>
                      <a:pt x="192912" y="112856"/>
                    </a:lnTo>
                    <a:lnTo>
                      <a:pt x="191766" y="111357"/>
                    </a:lnTo>
                    <a:lnTo>
                      <a:pt x="193794" y="108712"/>
                    </a:lnTo>
                    <a:lnTo>
                      <a:pt x="191766" y="106067"/>
                    </a:lnTo>
                    <a:lnTo>
                      <a:pt x="190003" y="105449"/>
                    </a:lnTo>
                    <a:lnTo>
                      <a:pt x="189650" y="99366"/>
                    </a:lnTo>
                    <a:lnTo>
                      <a:pt x="181186" y="93194"/>
                    </a:lnTo>
                    <a:lnTo>
                      <a:pt x="180304" y="90284"/>
                    </a:lnTo>
                    <a:lnTo>
                      <a:pt x="178806" y="83584"/>
                    </a:lnTo>
                    <a:lnTo>
                      <a:pt x="181451" y="83584"/>
                    </a:lnTo>
                    <a:lnTo>
                      <a:pt x="186123" y="83319"/>
                    </a:lnTo>
                    <a:lnTo>
                      <a:pt x="187270" y="87728"/>
                    </a:lnTo>
                    <a:lnTo>
                      <a:pt x="192560" y="90020"/>
                    </a:lnTo>
                    <a:lnTo>
                      <a:pt x="196086" y="87110"/>
                    </a:lnTo>
                    <a:lnTo>
                      <a:pt x="198996" y="87110"/>
                    </a:lnTo>
                    <a:lnTo>
                      <a:pt x="198467" y="85083"/>
                    </a:lnTo>
                    <a:lnTo>
                      <a:pt x="201112" y="81820"/>
                    </a:lnTo>
                    <a:lnTo>
                      <a:pt x="200848" y="80057"/>
                    </a:lnTo>
                    <a:lnTo>
                      <a:pt x="200495" y="78911"/>
                    </a:lnTo>
                    <a:lnTo>
                      <a:pt x="196175" y="74502"/>
                    </a:lnTo>
                    <a:lnTo>
                      <a:pt x="195028" y="69565"/>
                    </a:lnTo>
                    <a:lnTo>
                      <a:pt x="192736" y="69300"/>
                    </a:lnTo>
                    <a:lnTo>
                      <a:pt x="190356" y="68683"/>
                    </a:lnTo>
                    <a:lnTo>
                      <a:pt x="188592" y="68683"/>
                    </a:lnTo>
                    <a:lnTo>
                      <a:pt x="184536" y="63393"/>
                    </a:lnTo>
                    <a:lnTo>
                      <a:pt x="183038" y="58720"/>
                    </a:lnTo>
                    <a:lnTo>
                      <a:pt x="186300" y="58720"/>
                    </a:lnTo>
                    <a:lnTo>
                      <a:pt x="180745" y="49991"/>
                    </a:lnTo>
                    <a:lnTo>
                      <a:pt x="182244" y="48845"/>
                    </a:lnTo>
                    <a:lnTo>
                      <a:pt x="183743" y="49462"/>
                    </a:lnTo>
                    <a:lnTo>
                      <a:pt x="185771" y="48316"/>
                    </a:lnTo>
                    <a:lnTo>
                      <a:pt x="190443" y="48933"/>
                    </a:lnTo>
                    <a:lnTo>
                      <a:pt x="192472" y="47787"/>
                    </a:lnTo>
                    <a:lnTo>
                      <a:pt x="191854" y="43996"/>
                    </a:lnTo>
                    <a:lnTo>
                      <a:pt x="193618" y="43996"/>
                    </a:lnTo>
                    <a:lnTo>
                      <a:pt x="189210" y="39059"/>
                    </a:lnTo>
                    <a:lnTo>
                      <a:pt x="195910" y="39059"/>
                    </a:lnTo>
                    <a:lnTo>
                      <a:pt x="197673" y="37912"/>
                    </a:lnTo>
                    <a:lnTo>
                      <a:pt x="193618" y="37031"/>
                    </a:lnTo>
                    <a:lnTo>
                      <a:pt x="197144" y="34650"/>
                    </a:lnTo>
                    <a:lnTo>
                      <a:pt x="196527" y="32358"/>
                    </a:lnTo>
                    <a:lnTo>
                      <a:pt x="200583" y="32358"/>
                    </a:lnTo>
                    <a:lnTo>
                      <a:pt x="200583" y="30594"/>
                    </a:lnTo>
                    <a:lnTo>
                      <a:pt x="201200" y="27949"/>
                    </a:lnTo>
                    <a:lnTo>
                      <a:pt x="200936" y="26803"/>
                    </a:lnTo>
                    <a:lnTo>
                      <a:pt x="202082" y="11374"/>
                    </a:lnTo>
                    <a:lnTo>
                      <a:pt x="196527" y="9875"/>
                    </a:lnTo>
                    <a:lnTo>
                      <a:pt x="194499" y="13666"/>
                    </a:lnTo>
                    <a:lnTo>
                      <a:pt x="193618" y="15429"/>
                    </a:lnTo>
                    <a:lnTo>
                      <a:pt x="191854" y="9610"/>
                    </a:lnTo>
                    <a:lnTo>
                      <a:pt x="188328" y="9875"/>
                    </a:lnTo>
                    <a:lnTo>
                      <a:pt x="188063" y="8111"/>
                    </a:lnTo>
                    <a:lnTo>
                      <a:pt x="184889" y="8111"/>
                    </a:lnTo>
                    <a:lnTo>
                      <a:pt x="184272" y="6084"/>
                    </a:lnTo>
                    <a:lnTo>
                      <a:pt x="183743" y="4056"/>
                    </a:lnTo>
                    <a:lnTo>
                      <a:pt x="177042" y="1411"/>
                    </a:lnTo>
                    <a:lnTo>
                      <a:pt x="176777" y="0"/>
                    </a:lnTo>
                    <a:lnTo>
                      <a:pt x="164787" y="882"/>
                    </a:lnTo>
                    <a:lnTo>
                      <a:pt x="160996" y="5290"/>
                    </a:lnTo>
                    <a:lnTo>
                      <a:pt x="159585" y="5290"/>
                    </a:lnTo>
                    <a:lnTo>
                      <a:pt x="158438" y="6436"/>
                    </a:lnTo>
                    <a:lnTo>
                      <a:pt x="156940" y="7053"/>
                    </a:lnTo>
                    <a:lnTo>
                      <a:pt x="156058" y="7935"/>
                    </a:lnTo>
                    <a:lnTo>
                      <a:pt x="154030" y="10845"/>
                    </a:lnTo>
                    <a:lnTo>
                      <a:pt x="152002" y="9963"/>
                    </a:lnTo>
                    <a:lnTo>
                      <a:pt x="151121" y="10845"/>
                    </a:lnTo>
                    <a:lnTo>
                      <a:pt x="151385" y="11991"/>
                    </a:lnTo>
                    <a:lnTo>
                      <a:pt x="150768" y="12608"/>
                    </a:lnTo>
                    <a:lnTo>
                      <a:pt x="148476" y="11991"/>
                    </a:lnTo>
                    <a:lnTo>
                      <a:pt x="135338" y="28038"/>
                    </a:lnTo>
                    <a:lnTo>
                      <a:pt x="134457" y="29536"/>
                    </a:lnTo>
                    <a:lnTo>
                      <a:pt x="132958" y="30683"/>
                    </a:lnTo>
                    <a:lnTo>
                      <a:pt x="131195" y="30683"/>
                    </a:lnTo>
                    <a:lnTo>
                      <a:pt x="128021" y="30683"/>
                    </a:lnTo>
                    <a:lnTo>
                      <a:pt x="125640" y="30683"/>
                    </a:lnTo>
                    <a:lnTo>
                      <a:pt x="123612" y="31829"/>
                    </a:lnTo>
                    <a:lnTo>
                      <a:pt x="123347" y="33592"/>
                    </a:lnTo>
                    <a:lnTo>
                      <a:pt x="120174" y="32711"/>
                    </a:lnTo>
                    <a:lnTo>
                      <a:pt x="112326" y="36502"/>
                    </a:lnTo>
                    <a:lnTo>
                      <a:pt x="108800" y="39411"/>
                    </a:lnTo>
                    <a:lnTo>
                      <a:pt x="104127" y="36237"/>
                    </a:lnTo>
                    <a:lnTo>
                      <a:pt x="101217" y="33857"/>
                    </a:lnTo>
                    <a:lnTo>
                      <a:pt x="98572" y="32711"/>
                    </a:lnTo>
                    <a:lnTo>
                      <a:pt x="93371" y="32711"/>
                    </a:lnTo>
                    <a:lnTo>
                      <a:pt x="91607" y="31829"/>
                    </a:lnTo>
                    <a:lnTo>
                      <a:pt x="88697" y="32446"/>
                    </a:lnTo>
                    <a:lnTo>
                      <a:pt x="86052" y="30947"/>
                    </a:lnTo>
                    <a:lnTo>
                      <a:pt x="81644" y="29801"/>
                    </a:lnTo>
                    <a:lnTo>
                      <a:pt x="79616" y="29801"/>
                    </a:lnTo>
                    <a:lnTo>
                      <a:pt x="78470" y="30947"/>
                    </a:lnTo>
                    <a:lnTo>
                      <a:pt x="77588" y="32711"/>
                    </a:lnTo>
                    <a:lnTo>
                      <a:pt x="75825" y="32446"/>
                    </a:lnTo>
                    <a:lnTo>
                      <a:pt x="73180" y="34209"/>
                    </a:lnTo>
                    <a:lnTo>
                      <a:pt x="73444" y="35356"/>
                    </a:lnTo>
                    <a:lnTo>
                      <a:pt x="71681" y="40646"/>
                    </a:lnTo>
                    <a:lnTo>
                      <a:pt x="71681" y="42056"/>
                    </a:lnTo>
                    <a:lnTo>
                      <a:pt x="73444" y="40646"/>
                    </a:lnTo>
                    <a:lnTo>
                      <a:pt x="76354" y="40646"/>
                    </a:lnTo>
                    <a:lnTo>
                      <a:pt x="77500" y="41263"/>
                    </a:lnTo>
                    <a:lnTo>
                      <a:pt x="78646" y="44172"/>
                    </a:lnTo>
                    <a:lnTo>
                      <a:pt x="76266" y="47082"/>
                    </a:lnTo>
                    <a:lnTo>
                      <a:pt x="78294" y="48228"/>
                    </a:lnTo>
                    <a:lnTo>
                      <a:pt x="82614" y="48228"/>
                    </a:lnTo>
                    <a:lnTo>
                      <a:pt x="84641" y="49727"/>
                    </a:lnTo>
                    <a:lnTo>
                      <a:pt x="84641" y="50344"/>
                    </a:lnTo>
                    <a:lnTo>
                      <a:pt x="84112" y="52108"/>
                    </a:lnTo>
                    <a:lnTo>
                      <a:pt x="81115" y="54753"/>
                    </a:lnTo>
                    <a:lnTo>
                      <a:pt x="79969" y="55634"/>
                    </a:lnTo>
                    <a:lnTo>
                      <a:pt x="80586" y="58279"/>
                    </a:lnTo>
                    <a:lnTo>
                      <a:pt x="81996" y="59161"/>
                    </a:lnTo>
                    <a:lnTo>
                      <a:pt x="83760" y="59426"/>
                    </a:lnTo>
                    <a:lnTo>
                      <a:pt x="86405" y="63217"/>
                    </a:lnTo>
                    <a:lnTo>
                      <a:pt x="85523" y="66391"/>
                    </a:lnTo>
                    <a:lnTo>
                      <a:pt x="84641" y="67537"/>
                    </a:lnTo>
                    <a:lnTo>
                      <a:pt x="82878" y="67537"/>
                    </a:lnTo>
                    <a:lnTo>
                      <a:pt x="83143" y="69036"/>
                    </a:lnTo>
                    <a:lnTo>
                      <a:pt x="85435" y="69918"/>
                    </a:lnTo>
                    <a:lnTo>
                      <a:pt x="88962" y="73092"/>
                    </a:lnTo>
                    <a:lnTo>
                      <a:pt x="90108" y="73092"/>
                    </a:lnTo>
                    <a:lnTo>
                      <a:pt x="93547" y="79792"/>
                    </a:lnTo>
                    <a:lnTo>
                      <a:pt x="94429" y="79792"/>
                    </a:lnTo>
                    <a:lnTo>
                      <a:pt x="98484" y="79792"/>
                    </a:lnTo>
                    <a:lnTo>
                      <a:pt x="98131" y="77412"/>
                    </a:lnTo>
                    <a:lnTo>
                      <a:pt x="100776" y="77412"/>
                    </a:lnTo>
                    <a:lnTo>
                      <a:pt x="99630" y="79440"/>
                    </a:lnTo>
                    <a:lnTo>
                      <a:pt x="100512" y="83231"/>
                    </a:lnTo>
                    <a:lnTo>
                      <a:pt x="101658" y="87287"/>
                    </a:lnTo>
                    <a:lnTo>
                      <a:pt x="102540" y="87904"/>
                    </a:lnTo>
                    <a:lnTo>
                      <a:pt x="104832" y="87904"/>
                    </a:lnTo>
                    <a:lnTo>
                      <a:pt x="108624" y="87904"/>
                    </a:lnTo>
                    <a:lnTo>
                      <a:pt x="112415" y="89050"/>
                    </a:lnTo>
                    <a:lnTo>
                      <a:pt x="115677" y="90196"/>
                    </a:lnTo>
                    <a:lnTo>
                      <a:pt x="115942" y="91960"/>
                    </a:lnTo>
                    <a:lnTo>
                      <a:pt x="116823" y="95751"/>
                    </a:lnTo>
                    <a:lnTo>
                      <a:pt x="115413" y="95751"/>
                    </a:lnTo>
                    <a:lnTo>
                      <a:pt x="114266" y="97250"/>
                    </a:lnTo>
                    <a:lnTo>
                      <a:pt x="112767" y="97250"/>
                    </a:lnTo>
                    <a:lnTo>
                      <a:pt x="111357" y="97514"/>
                    </a:lnTo>
                    <a:lnTo>
                      <a:pt x="111357" y="97250"/>
                    </a:lnTo>
                    <a:lnTo>
                      <a:pt x="111357" y="97514"/>
                    </a:lnTo>
                    <a:lnTo>
                      <a:pt x="108447" y="98131"/>
                    </a:lnTo>
                    <a:lnTo>
                      <a:pt x="108447" y="99013"/>
                    </a:lnTo>
                    <a:lnTo>
                      <a:pt x="107918" y="100424"/>
                    </a:lnTo>
                    <a:lnTo>
                      <a:pt x="104744" y="101306"/>
                    </a:lnTo>
                    <a:lnTo>
                      <a:pt x="102099" y="103598"/>
                    </a:lnTo>
                    <a:lnTo>
                      <a:pt x="102363" y="104744"/>
                    </a:lnTo>
                    <a:lnTo>
                      <a:pt x="103863" y="108800"/>
                    </a:lnTo>
                    <a:lnTo>
                      <a:pt x="105890" y="111974"/>
                    </a:lnTo>
                    <a:lnTo>
                      <a:pt x="104744" y="116382"/>
                    </a:lnTo>
                    <a:lnTo>
                      <a:pt x="105626" y="120174"/>
                    </a:lnTo>
                    <a:lnTo>
                      <a:pt x="105979" y="121055"/>
                    </a:lnTo>
                    <a:lnTo>
                      <a:pt x="109505" y="121937"/>
                    </a:lnTo>
                    <a:lnTo>
                      <a:pt x="105979" y="121937"/>
                    </a:lnTo>
                    <a:lnTo>
                      <a:pt x="106596" y="124582"/>
                    </a:lnTo>
                    <a:lnTo>
                      <a:pt x="104568" y="124582"/>
                    </a:lnTo>
                    <a:lnTo>
                      <a:pt x="105185" y="127227"/>
                    </a:lnTo>
                    <a:lnTo>
                      <a:pt x="102540" y="127227"/>
                    </a:lnTo>
                    <a:lnTo>
                      <a:pt x="102804" y="128638"/>
                    </a:lnTo>
                    <a:lnTo>
                      <a:pt x="101041" y="131547"/>
                    </a:lnTo>
                    <a:lnTo>
                      <a:pt x="99542" y="133928"/>
                    </a:lnTo>
                    <a:lnTo>
                      <a:pt x="99807" y="135691"/>
                    </a:lnTo>
                    <a:lnTo>
                      <a:pt x="97779" y="135691"/>
                    </a:lnTo>
                    <a:lnTo>
                      <a:pt x="98131" y="137102"/>
                    </a:lnTo>
                    <a:lnTo>
                      <a:pt x="95487" y="139130"/>
                    </a:lnTo>
                    <a:lnTo>
                      <a:pt x="99542" y="143803"/>
                    </a:lnTo>
                    <a:lnTo>
                      <a:pt x="95487" y="147329"/>
                    </a:lnTo>
                    <a:lnTo>
                      <a:pt x="91078" y="149093"/>
                    </a:lnTo>
                    <a:lnTo>
                      <a:pt x="86405" y="150239"/>
                    </a:lnTo>
                    <a:lnTo>
                      <a:pt x="87022" y="159849"/>
                    </a:lnTo>
                    <a:lnTo>
                      <a:pt x="83495" y="172986"/>
                    </a:lnTo>
                    <a:lnTo>
                      <a:pt x="71857" y="179423"/>
                    </a:lnTo>
                    <a:lnTo>
                      <a:pt x="70358" y="182068"/>
                    </a:lnTo>
                    <a:lnTo>
                      <a:pt x="69741" y="189386"/>
                    </a:lnTo>
                    <a:lnTo>
                      <a:pt x="68859" y="191149"/>
                    </a:lnTo>
                    <a:lnTo>
                      <a:pt x="66215" y="192912"/>
                    </a:lnTo>
                    <a:lnTo>
                      <a:pt x="64980" y="195822"/>
                    </a:lnTo>
                    <a:lnTo>
                      <a:pt x="65597" y="199613"/>
                    </a:lnTo>
                    <a:lnTo>
                      <a:pt x="59161" y="201641"/>
                    </a:lnTo>
                    <a:lnTo>
                      <a:pt x="52989" y="201641"/>
                    </a:lnTo>
                    <a:lnTo>
                      <a:pt x="46024" y="205697"/>
                    </a:lnTo>
                    <a:lnTo>
                      <a:pt x="40734" y="205432"/>
                    </a:lnTo>
                    <a:lnTo>
                      <a:pt x="38970" y="200142"/>
                    </a:lnTo>
                    <a:lnTo>
                      <a:pt x="36678" y="198379"/>
                    </a:lnTo>
                    <a:lnTo>
                      <a:pt x="34915" y="197233"/>
                    </a:lnTo>
                    <a:lnTo>
                      <a:pt x="33680" y="197233"/>
                    </a:lnTo>
                    <a:lnTo>
                      <a:pt x="32534" y="198114"/>
                    </a:lnTo>
                    <a:lnTo>
                      <a:pt x="30242" y="200142"/>
                    </a:lnTo>
                    <a:lnTo>
                      <a:pt x="28214" y="202787"/>
                    </a:lnTo>
                    <a:lnTo>
                      <a:pt x="25922" y="207196"/>
                    </a:lnTo>
                    <a:lnTo>
                      <a:pt x="24775" y="212750"/>
                    </a:lnTo>
                    <a:lnTo>
                      <a:pt x="22130" y="215043"/>
                    </a:lnTo>
                    <a:lnTo>
                      <a:pt x="20984" y="216806"/>
                    </a:lnTo>
                    <a:lnTo>
                      <a:pt x="18427" y="219451"/>
                    </a:lnTo>
                    <a:lnTo>
                      <a:pt x="16399" y="223860"/>
                    </a:lnTo>
                    <a:lnTo>
                      <a:pt x="17545" y="228268"/>
                    </a:lnTo>
                    <a:lnTo>
                      <a:pt x="19838" y="230560"/>
                    </a:lnTo>
                    <a:lnTo>
                      <a:pt x="23365" y="232324"/>
                    </a:lnTo>
                    <a:lnTo>
                      <a:pt x="24511" y="234087"/>
                    </a:lnTo>
                    <a:lnTo>
                      <a:pt x="26539" y="234087"/>
                    </a:lnTo>
                    <a:lnTo>
                      <a:pt x="30594" y="234704"/>
                    </a:lnTo>
                    <a:lnTo>
                      <a:pt x="36149" y="234969"/>
                    </a:lnTo>
                    <a:lnTo>
                      <a:pt x="35532" y="241405"/>
                    </a:lnTo>
                    <a:lnTo>
                      <a:pt x="33504" y="249252"/>
                    </a:lnTo>
                    <a:lnTo>
                      <a:pt x="35532" y="251280"/>
                    </a:lnTo>
                    <a:lnTo>
                      <a:pt x="35885" y="253308"/>
                    </a:lnTo>
                    <a:lnTo>
                      <a:pt x="37912" y="255071"/>
                    </a:lnTo>
                    <a:lnTo>
                      <a:pt x="39676" y="256570"/>
                    </a:lnTo>
                    <a:lnTo>
                      <a:pt x="47875" y="256570"/>
                    </a:lnTo>
                    <a:lnTo>
                      <a:pt x="50256" y="266798"/>
                    </a:lnTo>
                    <a:lnTo>
                      <a:pt x="54311" y="269443"/>
                    </a:lnTo>
                    <a:lnTo>
                      <a:pt x="56957" y="275879"/>
                    </a:lnTo>
                    <a:lnTo>
                      <a:pt x="58720" y="277907"/>
                    </a:lnTo>
                    <a:lnTo>
                      <a:pt x="58985" y="279670"/>
                    </a:lnTo>
                    <a:lnTo>
                      <a:pt x="60131" y="281081"/>
                    </a:lnTo>
                    <a:lnTo>
                      <a:pt x="57750" y="283373"/>
                    </a:lnTo>
                    <a:lnTo>
                      <a:pt x="58367" y="287164"/>
                    </a:lnTo>
                    <a:lnTo>
                      <a:pt x="61012" y="287164"/>
                    </a:lnTo>
                    <a:lnTo>
                      <a:pt x="60748" y="288663"/>
                    </a:lnTo>
                    <a:lnTo>
                      <a:pt x="59337" y="289545"/>
                    </a:lnTo>
                    <a:lnTo>
                      <a:pt x="56428" y="290427"/>
                    </a:lnTo>
                    <a:lnTo>
                      <a:pt x="56957" y="292190"/>
                    </a:lnTo>
                    <a:lnTo>
                      <a:pt x="56075" y="292455"/>
                    </a:lnTo>
                    <a:lnTo>
                      <a:pt x="55193" y="293072"/>
                    </a:lnTo>
                    <a:lnTo>
                      <a:pt x="51931" y="293072"/>
                    </a:lnTo>
                    <a:lnTo>
                      <a:pt x="50168" y="292190"/>
                    </a:lnTo>
                    <a:lnTo>
                      <a:pt x="49551" y="287782"/>
                    </a:lnTo>
                    <a:lnTo>
                      <a:pt x="47258" y="287782"/>
                    </a:lnTo>
                    <a:lnTo>
                      <a:pt x="45495" y="288928"/>
                    </a:lnTo>
                    <a:lnTo>
                      <a:pt x="43203" y="289457"/>
                    </a:lnTo>
                    <a:lnTo>
                      <a:pt x="39147" y="290074"/>
                    </a:lnTo>
                    <a:lnTo>
                      <a:pt x="39764" y="294482"/>
                    </a:lnTo>
                    <a:lnTo>
                      <a:pt x="31917" y="294747"/>
                    </a:lnTo>
                    <a:lnTo>
                      <a:pt x="30153" y="292102"/>
                    </a:lnTo>
                    <a:lnTo>
                      <a:pt x="22307" y="292102"/>
                    </a:lnTo>
                    <a:lnTo>
                      <a:pt x="20808" y="292984"/>
                    </a:lnTo>
                    <a:lnTo>
                      <a:pt x="18515" y="292366"/>
                    </a:lnTo>
                    <a:lnTo>
                      <a:pt x="17281" y="292984"/>
                    </a:lnTo>
                    <a:lnTo>
                      <a:pt x="14371" y="289457"/>
                    </a:lnTo>
                    <a:lnTo>
                      <a:pt x="13490" y="290339"/>
                    </a:lnTo>
                    <a:lnTo>
                      <a:pt x="12873" y="294130"/>
                    </a:lnTo>
                    <a:lnTo>
                      <a:pt x="11991" y="289457"/>
                    </a:lnTo>
                    <a:lnTo>
                      <a:pt x="11374" y="289457"/>
                    </a:lnTo>
                    <a:lnTo>
                      <a:pt x="10492" y="290339"/>
                    </a:lnTo>
                    <a:lnTo>
                      <a:pt x="11374" y="299332"/>
                    </a:lnTo>
                    <a:lnTo>
                      <a:pt x="4673" y="299332"/>
                    </a:lnTo>
                    <a:lnTo>
                      <a:pt x="2645" y="300830"/>
                    </a:lnTo>
                    <a:lnTo>
                      <a:pt x="881" y="301360"/>
                    </a:lnTo>
                    <a:lnTo>
                      <a:pt x="1146" y="304269"/>
                    </a:lnTo>
                    <a:lnTo>
                      <a:pt x="1675" y="304534"/>
                    </a:lnTo>
                    <a:lnTo>
                      <a:pt x="1675" y="305856"/>
                    </a:lnTo>
                    <a:lnTo>
                      <a:pt x="2821" y="306121"/>
                    </a:lnTo>
                    <a:lnTo>
                      <a:pt x="1675" y="306738"/>
                    </a:lnTo>
                    <a:lnTo>
                      <a:pt x="1146" y="306121"/>
                    </a:lnTo>
                    <a:lnTo>
                      <a:pt x="881" y="307002"/>
                    </a:lnTo>
                    <a:lnTo>
                      <a:pt x="0" y="307619"/>
                    </a:lnTo>
                    <a:lnTo>
                      <a:pt x="352" y="307884"/>
                    </a:lnTo>
                    <a:lnTo>
                      <a:pt x="1499" y="308766"/>
                    </a:lnTo>
                    <a:lnTo>
                      <a:pt x="3262" y="308766"/>
                    </a:lnTo>
                    <a:lnTo>
                      <a:pt x="4761" y="307884"/>
                    </a:lnTo>
                    <a:lnTo>
                      <a:pt x="3615" y="307619"/>
                    </a:lnTo>
                    <a:lnTo>
                      <a:pt x="4761" y="307619"/>
                    </a:lnTo>
                    <a:lnTo>
                      <a:pt x="5026" y="306473"/>
                    </a:lnTo>
                    <a:lnTo>
                      <a:pt x="5643" y="306209"/>
                    </a:lnTo>
                    <a:lnTo>
                      <a:pt x="6260" y="305063"/>
                    </a:lnTo>
                    <a:lnTo>
                      <a:pt x="6877" y="304181"/>
                    </a:lnTo>
                    <a:lnTo>
                      <a:pt x="9169" y="304445"/>
                    </a:lnTo>
                    <a:lnTo>
                      <a:pt x="10316" y="302418"/>
                    </a:lnTo>
                    <a:lnTo>
                      <a:pt x="12079" y="302418"/>
                    </a:lnTo>
                    <a:lnTo>
                      <a:pt x="12079" y="302153"/>
                    </a:lnTo>
                    <a:lnTo>
                      <a:pt x="13578" y="301536"/>
                    </a:lnTo>
                    <a:lnTo>
                      <a:pt x="13578" y="302153"/>
                    </a:lnTo>
                    <a:lnTo>
                      <a:pt x="12079" y="303299"/>
                    </a:lnTo>
                    <a:lnTo>
                      <a:pt x="10669" y="303299"/>
                    </a:lnTo>
                    <a:lnTo>
                      <a:pt x="10669" y="304445"/>
                    </a:lnTo>
                    <a:lnTo>
                      <a:pt x="9169" y="305856"/>
                    </a:lnTo>
                    <a:lnTo>
                      <a:pt x="8023" y="306121"/>
                    </a:lnTo>
                    <a:lnTo>
                      <a:pt x="7759" y="307002"/>
                    </a:lnTo>
                    <a:lnTo>
                      <a:pt x="7759" y="307619"/>
                    </a:lnTo>
                    <a:lnTo>
                      <a:pt x="6613" y="307619"/>
                    </a:lnTo>
                    <a:lnTo>
                      <a:pt x="5995" y="308237"/>
                    </a:lnTo>
                    <a:lnTo>
                      <a:pt x="5378" y="310529"/>
                    </a:lnTo>
                    <a:lnTo>
                      <a:pt x="5378" y="311411"/>
                    </a:lnTo>
                    <a:lnTo>
                      <a:pt x="6877" y="310529"/>
                    </a:lnTo>
                    <a:lnTo>
                      <a:pt x="6877" y="309647"/>
                    </a:lnTo>
                    <a:lnTo>
                      <a:pt x="7494" y="310529"/>
                    </a:lnTo>
                    <a:lnTo>
                      <a:pt x="6877" y="311411"/>
                    </a:lnTo>
                    <a:lnTo>
                      <a:pt x="6877" y="312292"/>
                    </a:lnTo>
                    <a:lnTo>
                      <a:pt x="7142" y="313174"/>
                    </a:lnTo>
                    <a:lnTo>
                      <a:pt x="8288" y="312557"/>
                    </a:lnTo>
                    <a:lnTo>
                      <a:pt x="8905" y="312821"/>
                    </a:lnTo>
                    <a:lnTo>
                      <a:pt x="8288" y="313086"/>
                    </a:lnTo>
                    <a:lnTo>
                      <a:pt x="7759" y="313968"/>
                    </a:lnTo>
                    <a:lnTo>
                      <a:pt x="8905" y="314849"/>
                    </a:lnTo>
                    <a:lnTo>
                      <a:pt x="9787" y="314849"/>
                    </a:lnTo>
                    <a:lnTo>
                      <a:pt x="10051" y="315466"/>
                    </a:lnTo>
                    <a:lnTo>
                      <a:pt x="10404" y="316084"/>
                    </a:lnTo>
                    <a:lnTo>
                      <a:pt x="10051" y="316701"/>
                    </a:lnTo>
                    <a:lnTo>
                      <a:pt x="10669" y="317583"/>
                    </a:lnTo>
                    <a:lnTo>
                      <a:pt x="11198" y="316965"/>
                    </a:lnTo>
                    <a:lnTo>
                      <a:pt x="12079" y="317847"/>
                    </a:lnTo>
                    <a:lnTo>
                      <a:pt x="11198" y="318112"/>
                    </a:lnTo>
                    <a:lnTo>
                      <a:pt x="11815" y="318993"/>
                    </a:lnTo>
                    <a:lnTo>
                      <a:pt x="11815" y="319522"/>
                    </a:lnTo>
                    <a:lnTo>
                      <a:pt x="12696" y="319875"/>
                    </a:lnTo>
                    <a:lnTo>
                      <a:pt x="14724" y="320757"/>
                    </a:lnTo>
                    <a:lnTo>
                      <a:pt x="15253" y="321903"/>
                    </a:lnTo>
                    <a:lnTo>
                      <a:pt x="16399" y="322167"/>
                    </a:lnTo>
                    <a:lnTo>
                      <a:pt x="16399" y="323049"/>
                    </a:lnTo>
                    <a:lnTo>
                      <a:pt x="17281" y="323313"/>
                    </a:lnTo>
                    <a:lnTo>
                      <a:pt x="18515" y="324460"/>
                    </a:lnTo>
                    <a:lnTo>
                      <a:pt x="21425" y="324724"/>
                    </a:lnTo>
                    <a:lnTo>
                      <a:pt x="22924" y="326223"/>
                    </a:lnTo>
                    <a:lnTo>
                      <a:pt x="24687" y="326840"/>
                    </a:lnTo>
                    <a:lnTo>
                      <a:pt x="25833" y="327105"/>
                    </a:lnTo>
                    <a:lnTo>
                      <a:pt x="26715" y="327722"/>
                    </a:lnTo>
                    <a:lnTo>
                      <a:pt x="27861" y="327105"/>
                    </a:lnTo>
                    <a:lnTo>
                      <a:pt x="30771" y="328604"/>
                    </a:lnTo>
                    <a:lnTo>
                      <a:pt x="32798" y="328604"/>
                    </a:lnTo>
                    <a:lnTo>
                      <a:pt x="33151" y="329750"/>
                    </a:lnTo>
                    <a:lnTo>
                      <a:pt x="36061" y="329750"/>
                    </a:lnTo>
                    <a:lnTo>
                      <a:pt x="36943" y="328868"/>
                    </a:lnTo>
                    <a:lnTo>
                      <a:pt x="36943" y="328604"/>
                    </a:lnTo>
                    <a:lnTo>
                      <a:pt x="36943" y="327105"/>
                    </a:lnTo>
                    <a:lnTo>
                      <a:pt x="38353" y="327105"/>
                    </a:lnTo>
                    <a:lnTo>
                      <a:pt x="40381" y="325959"/>
                    </a:lnTo>
                    <a:lnTo>
                      <a:pt x="44437" y="326223"/>
                    </a:lnTo>
                    <a:lnTo>
                      <a:pt x="44172" y="325077"/>
                    </a:lnTo>
                    <a:lnTo>
                      <a:pt x="44701" y="324195"/>
                    </a:lnTo>
                    <a:lnTo>
                      <a:pt x="45319" y="323313"/>
                    </a:lnTo>
                    <a:lnTo>
                      <a:pt x="45583" y="323931"/>
                    </a:lnTo>
                    <a:lnTo>
                      <a:pt x="45054" y="325694"/>
                    </a:lnTo>
                    <a:lnTo>
                      <a:pt x="46200" y="324812"/>
                    </a:lnTo>
                    <a:lnTo>
                      <a:pt x="46200" y="324283"/>
                    </a:lnTo>
                    <a:lnTo>
                      <a:pt x="47082" y="324548"/>
                    </a:lnTo>
                    <a:lnTo>
                      <a:pt x="47082" y="324812"/>
                    </a:lnTo>
                    <a:lnTo>
                      <a:pt x="50344" y="324812"/>
                    </a:lnTo>
                    <a:lnTo>
                      <a:pt x="51226" y="323313"/>
                    </a:lnTo>
                    <a:lnTo>
                      <a:pt x="50080" y="322167"/>
                    </a:lnTo>
                    <a:lnTo>
                      <a:pt x="49815" y="321286"/>
                    </a:lnTo>
                    <a:lnTo>
                      <a:pt x="52107" y="320404"/>
                    </a:lnTo>
                    <a:lnTo>
                      <a:pt x="52989" y="321286"/>
                    </a:lnTo>
                    <a:lnTo>
                      <a:pt x="52989" y="322167"/>
                    </a:lnTo>
                    <a:lnTo>
                      <a:pt x="53254" y="323313"/>
                    </a:lnTo>
                    <a:lnTo>
                      <a:pt x="52636" y="324195"/>
                    </a:lnTo>
                    <a:lnTo>
                      <a:pt x="51138" y="324195"/>
                    </a:lnTo>
                    <a:lnTo>
                      <a:pt x="51138" y="324724"/>
                    </a:lnTo>
                    <a:lnTo>
                      <a:pt x="50256" y="325870"/>
                    </a:lnTo>
                    <a:lnTo>
                      <a:pt x="48493" y="327634"/>
                    </a:lnTo>
                    <a:lnTo>
                      <a:pt x="48493" y="328780"/>
                    </a:lnTo>
                    <a:lnTo>
                      <a:pt x="47611" y="329662"/>
                    </a:lnTo>
                    <a:lnTo>
                      <a:pt x="47611" y="330191"/>
                    </a:lnTo>
                    <a:lnTo>
                      <a:pt x="48228" y="332571"/>
                    </a:lnTo>
                    <a:lnTo>
                      <a:pt x="46200" y="335216"/>
                    </a:lnTo>
                    <a:lnTo>
                      <a:pt x="44437" y="335216"/>
                    </a:lnTo>
                    <a:lnTo>
                      <a:pt x="43555" y="335216"/>
                    </a:lnTo>
                    <a:lnTo>
                      <a:pt x="41528" y="335216"/>
                    </a:lnTo>
                    <a:lnTo>
                      <a:pt x="41528" y="335833"/>
                    </a:lnTo>
                    <a:lnTo>
                      <a:pt x="39499" y="336715"/>
                    </a:lnTo>
                    <a:lnTo>
                      <a:pt x="38089" y="338478"/>
                    </a:lnTo>
                    <a:lnTo>
                      <a:pt x="38089" y="337068"/>
                    </a:lnTo>
                    <a:lnTo>
                      <a:pt x="36590" y="338478"/>
                    </a:lnTo>
                    <a:lnTo>
                      <a:pt x="36325" y="339360"/>
                    </a:lnTo>
                    <a:lnTo>
                      <a:pt x="35179" y="339977"/>
                    </a:lnTo>
                    <a:lnTo>
                      <a:pt x="35179" y="339713"/>
                    </a:lnTo>
                    <a:lnTo>
                      <a:pt x="33945" y="338831"/>
                    </a:lnTo>
                    <a:lnTo>
                      <a:pt x="33680" y="337068"/>
                    </a:lnTo>
                    <a:lnTo>
                      <a:pt x="33151" y="337332"/>
                    </a:lnTo>
                    <a:lnTo>
                      <a:pt x="31653" y="337068"/>
                    </a:lnTo>
                    <a:lnTo>
                      <a:pt x="31917" y="337685"/>
                    </a:lnTo>
                    <a:lnTo>
                      <a:pt x="32798" y="338831"/>
                    </a:lnTo>
                    <a:lnTo>
                      <a:pt x="32182" y="340242"/>
                    </a:lnTo>
                    <a:lnTo>
                      <a:pt x="31035" y="340506"/>
                    </a:lnTo>
                    <a:lnTo>
                      <a:pt x="29272" y="340242"/>
                    </a:lnTo>
                    <a:lnTo>
                      <a:pt x="29536" y="341388"/>
                    </a:lnTo>
                    <a:lnTo>
                      <a:pt x="27508" y="342005"/>
                    </a:lnTo>
                    <a:lnTo>
                      <a:pt x="26362" y="340506"/>
                    </a:lnTo>
                    <a:lnTo>
                      <a:pt x="26098" y="339625"/>
                    </a:lnTo>
                    <a:lnTo>
                      <a:pt x="27244" y="338743"/>
                    </a:lnTo>
                    <a:lnTo>
                      <a:pt x="26980" y="338478"/>
                    </a:lnTo>
                    <a:lnTo>
                      <a:pt x="26098" y="338743"/>
                    </a:lnTo>
                    <a:lnTo>
                      <a:pt x="24070" y="338743"/>
                    </a:lnTo>
                    <a:lnTo>
                      <a:pt x="22924" y="338478"/>
                    </a:lnTo>
                    <a:lnTo>
                      <a:pt x="22924" y="337597"/>
                    </a:lnTo>
                    <a:lnTo>
                      <a:pt x="23806" y="336980"/>
                    </a:lnTo>
                    <a:lnTo>
                      <a:pt x="22307" y="336098"/>
                    </a:lnTo>
                    <a:lnTo>
                      <a:pt x="21425" y="336980"/>
                    </a:lnTo>
                    <a:lnTo>
                      <a:pt x="21161" y="339007"/>
                    </a:lnTo>
                    <a:lnTo>
                      <a:pt x="21777" y="340154"/>
                    </a:lnTo>
                    <a:lnTo>
                      <a:pt x="21513" y="341652"/>
                    </a:lnTo>
                    <a:lnTo>
                      <a:pt x="22395" y="344033"/>
                    </a:lnTo>
                    <a:lnTo>
                      <a:pt x="28214" y="348706"/>
                    </a:lnTo>
                    <a:lnTo>
                      <a:pt x="30859" y="351616"/>
                    </a:lnTo>
                    <a:lnTo>
                      <a:pt x="30594" y="351351"/>
                    </a:lnTo>
                    <a:lnTo>
                      <a:pt x="30859" y="352497"/>
                    </a:lnTo>
                    <a:lnTo>
                      <a:pt x="32622" y="354261"/>
                    </a:lnTo>
                    <a:lnTo>
                      <a:pt x="33769" y="354878"/>
                    </a:lnTo>
                    <a:lnTo>
                      <a:pt x="36149" y="357170"/>
                    </a:lnTo>
                    <a:lnTo>
                      <a:pt x="37295" y="358669"/>
                    </a:lnTo>
                    <a:lnTo>
                      <a:pt x="40822" y="361314"/>
                    </a:lnTo>
                    <a:lnTo>
                      <a:pt x="40822" y="361579"/>
                    </a:lnTo>
                    <a:lnTo>
                      <a:pt x="40822" y="362460"/>
                    </a:lnTo>
                    <a:lnTo>
                      <a:pt x="44878" y="365370"/>
                    </a:lnTo>
                    <a:lnTo>
                      <a:pt x="45142" y="366869"/>
                    </a:lnTo>
                    <a:lnTo>
                      <a:pt x="47523" y="368632"/>
                    </a:lnTo>
                    <a:lnTo>
                      <a:pt x="50432" y="371542"/>
                    </a:lnTo>
                    <a:lnTo>
                      <a:pt x="55370" y="375950"/>
                    </a:lnTo>
                    <a:lnTo>
                      <a:pt x="56251" y="375950"/>
                    </a:lnTo>
                    <a:lnTo>
                      <a:pt x="57398" y="377096"/>
                    </a:lnTo>
                    <a:lnTo>
                      <a:pt x="60660" y="378860"/>
                    </a:lnTo>
                    <a:lnTo>
                      <a:pt x="62688" y="379741"/>
                    </a:lnTo>
                    <a:lnTo>
                      <a:pt x="63834" y="380887"/>
                    </a:lnTo>
                    <a:lnTo>
                      <a:pt x="65333" y="380887"/>
                    </a:lnTo>
                    <a:lnTo>
                      <a:pt x="64804" y="381769"/>
                    </a:lnTo>
                    <a:lnTo>
                      <a:pt x="67449" y="382386"/>
                    </a:lnTo>
                    <a:lnTo>
                      <a:pt x="69477" y="380887"/>
                    </a:lnTo>
                    <a:lnTo>
                      <a:pt x="70975" y="380006"/>
                    </a:lnTo>
                    <a:lnTo>
                      <a:pt x="72386" y="378860"/>
                    </a:lnTo>
                    <a:lnTo>
                      <a:pt x="73885" y="379389"/>
                    </a:lnTo>
                    <a:lnTo>
                      <a:pt x="76795" y="377890"/>
                    </a:lnTo>
                    <a:lnTo>
                      <a:pt x="77941" y="377625"/>
                    </a:lnTo>
                    <a:lnTo>
                      <a:pt x="79704" y="376479"/>
                    </a:lnTo>
                    <a:lnTo>
                      <a:pt x="79704" y="375333"/>
                    </a:lnTo>
                    <a:lnTo>
                      <a:pt x="81203" y="374187"/>
                    </a:lnTo>
                    <a:lnTo>
                      <a:pt x="81203" y="374451"/>
                    </a:lnTo>
                    <a:lnTo>
                      <a:pt x="82350" y="375333"/>
                    </a:lnTo>
                    <a:lnTo>
                      <a:pt x="84112" y="372688"/>
                    </a:lnTo>
                    <a:lnTo>
                      <a:pt x="84730" y="373217"/>
                    </a:lnTo>
                    <a:lnTo>
                      <a:pt x="85612" y="372335"/>
                    </a:lnTo>
                    <a:lnTo>
                      <a:pt x="85612" y="371453"/>
                    </a:lnTo>
                    <a:lnTo>
                      <a:pt x="86758" y="370307"/>
                    </a:lnTo>
                    <a:lnTo>
                      <a:pt x="89050" y="369690"/>
                    </a:lnTo>
                    <a:lnTo>
                      <a:pt x="90813" y="369690"/>
                    </a:lnTo>
                    <a:lnTo>
                      <a:pt x="92312" y="369073"/>
                    </a:lnTo>
                    <a:lnTo>
                      <a:pt x="92577" y="367662"/>
                    </a:lnTo>
                    <a:lnTo>
                      <a:pt x="91695" y="366781"/>
                    </a:lnTo>
                    <a:lnTo>
                      <a:pt x="92842" y="364753"/>
                    </a:lnTo>
                    <a:lnTo>
                      <a:pt x="93987" y="362989"/>
                    </a:lnTo>
                    <a:lnTo>
                      <a:pt x="94605" y="361490"/>
                    </a:lnTo>
                    <a:lnTo>
                      <a:pt x="95751" y="360344"/>
                    </a:lnTo>
                    <a:lnTo>
                      <a:pt x="96015" y="358581"/>
                    </a:lnTo>
                    <a:lnTo>
                      <a:pt x="95487" y="357964"/>
                    </a:lnTo>
                    <a:lnTo>
                      <a:pt x="95487" y="356817"/>
                    </a:lnTo>
                    <a:lnTo>
                      <a:pt x="93458" y="355936"/>
                    </a:lnTo>
                    <a:lnTo>
                      <a:pt x="93987" y="355054"/>
                    </a:lnTo>
                    <a:lnTo>
                      <a:pt x="93106" y="354172"/>
                    </a:lnTo>
                    <a:lnTo>
                      <a:pt x="91960" y="354172"/>
                    </a:lnTo>
                    <a:lnTo>
                      <a:pt x="90196" y="354172"/>
                    </a:lnTo>
                    <a:lnTo>
                      <a:pt x="89315" y="355054"/>
                    </a:lnTo>
                    <a:lnTo>
                      <a:pt x="88433" y="354437"/>
                    </a:lnTo>
                    <a:lnTo>
                      <a:pt x="88962" y="354172"/>
                    </a:lnTo>
                    <a:lnTo>
                      <a:pt x="88080" y="352145"/>
                    </a:lnTo>
                    <a:lnTo>
                      <a:pt x="88697" y="351263"/>
                    </a:lnTo>
                    <a:lnTo>
                      <a:pt x="89579" y="352409"/>
                    </a:lnTo>
                    <a:lnTo>
                      <a:pt x="89579" y="351792"/>
                    </a:lnTo>
                    <a:lnTo>
                      <a:pt x="89579" y="350910"/>
                    </a:lnTo>
                    <a:lnTo>
                      <a:pt x="90196" y="350293"/>
                    </a:lnTo>
                    <a:lnTo>
                      <a:pt x="89932" y="351175"/>
                    </a:lnTo>
                    <a:lnTo>
                      <a:pt x="90813" y="351704"/>
                    </a:lnTo>
                    <a:lnTo>
                      <a:pt x="91431" y="352056"/>
                    </a:lnTo>
                    <a:lnTo>
                      <a:pt x="91695" y="351439"/>
                    </a:lnTo>
                    <a:lnTo>
                      <a:pt x="91960" y="350822"/>
                    </a:lnTo>
                    <a:lnTo>
                      <a:pt x="91342" y="350205"/>
                    </a:lnTo>
                    <a:lnTo>
                      <a:pt x="91960" y="350205"/>
                    </a:lnTo>
                    <a:lnTo>
                      <a:pt x="91695" y="349588"/>
                    </a:lnTo>
                    <a:lnTo>
                      <a:pt x="89667" y="349852"/>
                    </a:lnTo>
                    <a:lnTo>
                      <a:pt x="88786" y="349235"/>
                    </a:lnTo>
                    <a:lnTo>
                      <a:pt x="89932" y="349235"/>
                    </a:lnTo>
                    <a:lnTo>
                      <a:pt x="89667" y="348353"/>
                    </a:lnTo>
                    <a:lnTo>
                      <a:pt x="90284" y="348089"/>
                    </a:lnTo>
                    <a:lnTo>
                      <a:pt x="90637" y="347824"/>
                    </a:lnTo>
                    <a:lnTo>
                      <a:pt x="91519" y="348441"/>
                    </a:lnTo>
                    <a:lnTo>
                      <a:pt x="91783" y="347824"/>
                    </a:lnTo>
                    <a:lnTo>
                      <a:pt x="92048" y="348441"/>
                    </a:lnTo>
                    <a:lnTo>
                      <a:pt x="92312" y="347824"/>
                    </a:lnTo>
                    <a:lnTo>
                      <a:pt x="93458" y="347824"/>
                    </a:lnTo>
                    <a:lnTo>
                      <a:pt x="94340" y="346678"/>
                    </a:lnTo>
                    <a:lnTo>
                      <a:pt x="94693" y="345532"/>
                    </a:lnTo>
                    <a:lnTo>
                      <a:pt x="94076" y="344121"/>
                    </a:lnTo>
                    <a:lnTo>
                      <a:pt x="92312" y="343504"/>
                    </a:lnTo>
                    <a:lnTo>
                      <a:pt x="92577" y="342358"/>
                    </a:lnTo>
                    <a:lnTo>
                      <a:pt x="92312" y="341212"/>
                    </a:lnTo>
                    <a:lnTo>
                      <a:pt x="91695" y="342358"/>
                    </a:lnTo>
                    <a:lnTo>
                      <a:pt x="91166" y="340859"/>
                    </a:lnTo>
                    <a:lnTo>
                      <a:pt x="93194" y="339977"/>
                    </a:lnTo>
                    <a:lnTo>
                      <a:pt x="93194" y="340859"/>
                    </a:lnTo>
                    <a:lnTo>
                      <a:pt x="93194" y="342005"/>
                    </a:lnTo>
                    <a:lnTo>
                      <a:pt x="93458" y="342270"/>
                    </a:lnTo>
                    <a:lnTo>
                      <a:pt x="93723" y="341652"/>
                    </a:lnTo>
                    <a:lnTo>
                      <a:pt x="93723" y="341035"/>
                    </a:lnTo>
                    <a:lnTo>
                      <a:pt x="95222" y="339272"/>
                    </a:lnTo>
                    <a:lnTo>
                      <a:pt x="95839" y="339537"/>
                    </a:lnTo>
                    <a:lnTo>
                      <a:pt x="95222" y="340154"/>
                    </a:lnTo>
                    <a:lnTo>
                      <a:pt x="95487" y="342181"/>
                    </a:lnTo>
                    <a:lnTo>
                      <a:pt x="96368" y="341917"/>
                    </a:lnTo>
                    <a:lnTo>
                      <a:pt x="96897" y="341652"/>
                    </a:lnTo>
                    <a:lnTo>
                      <a:pt x="97162" y="342270"/>
                    </a:lnTo>
                    <a:lnTo>
                      <a:pt x="98308" y="342005"/>
                    </a:lnTo>
                    <a:lnTo>
                      <a:pt x="99718" y="341123"/>
                    </a:lnTo>
                    <a:lnTo>
                      <a:pt x="100865" y="341741"/>
                    </a:lnTo>
                    <a:lnTo>
                      <a:pt x="101482" y="341741"/>
                    </a:lnTo>
                    <a:lnTo>
                      <a:pt x="102981" y="342358"/>
                    </a:lnTo>
                    <a:lnTo>
                      <a:pt x="105008" y="341212"/>
                    </a:lnTo>
                    <a:lnTo>
                      <a:pt x="105626" y="341212"/>
                    </a:lnTo>
                    <a:lnTo>
                      <a:pt x="106243" y="340595"/>
                    </a:lnTo>
                    <a:lnTo>
                      <a:pt x="107125" y="341741"/>
                    </a:lnTo>
                    <a:lnTo>
                      <a:pt x="106508" y="342887"/>
                    </a:lnTo>
                    <a:lnTo>
                      <a:pt x="105361" y="342270"/>
                    </a:lnTo>
                    <a:lnTo>
                      <a:pt x="104744" y="342887"/>
                    </a:lnTo>
                    <a:lnTo>
                      <a:pt x="103245" y="343769"/>
                    </a:lnTo>
                    <a:lnTo>
                      <a:pt x="101746" y="343769"/>
                    </a:lnTo>
                    <a:lnTo>
                      <a:pt x="100865" y="342887"/>
                    </a:lnTo>
                    <a:lnTo>
                      <a:pt x="99983" y="343769"/>
                    </a:lnTo>
                    <a:lnTo>
                      <a:pt x="98837" y="344915"/>
                    </a:lnTo>
                    <a:lnTo>
                      <a:pt x="98484" y="348441"/>
                    </a:lnTo>
                    <a:lnTo>
                      <a:pt x="99366" y="349588"/>
                    </a:lnTo>
                    <a:lnTo>
                      <a:pt x="99366" y="350205"/>
                    </a:lnTo>
                    <a:lnTo>
                      <a:pt x="101658" y="348441"/>
                    </a:lnTo>
                    <a:lnTo>
                      <a:pt x="102275" y="347560"/>
                    </a:lnTo>
                    <a:lnTo>
                      <a:pt x="103421" y="347560"/>
                    </a:lnTo>
                    <a:lnTo>
                      <a:pt x="103774" y="348441"/>
                    </a:lnTo>
                    <a:lnTo>
                      <a:pt x="102363" y="348441"/>
                    </a:lnTo>
                    <a:lnTo>
                      <a:pt x="102363" y="349323"/>
                    </a:lnTo>
                    <a:lnTo>
                      <a:pt x="101746" y="349323"/>
                    </a:lnTo>
                    <a:lnTo>
                      <a:pt x="100865" y="351351"/>
                    </a:lnTo>
                    <a:lnTo>
                      <a:pt x="99983" y="353996"/>
                    </a:lnTo>
                    <a:lnTo>
                      <a:pt x="99983" y="355759"/>
                    </a:lnTo>
                    <a:lnTo>
                      <a:pt x="100336" y="356641"/>
                    </a:lnTo>
                    <a:lnTo>
                      <a:pt x="101482" y="355759"/>
                    </a:lnTo>
                    <a:lnTo>
                      <a:pt x="102628" y="356641"/>
                    </a:lnTo>
                    <a:lnTo>
                      <a:pt x="103245" y="356641"/>
                    </a:lnTo>
                    <a:lnTo>
                      <a:pt x="104744" y="356641"/>
                    </a:lnTo>
                    <a:lnTo>
                      <a:pt x="106508" y="356641"/>
                    </a:lnTo>
                    <a:lnTo>
                      <a:pt x="107125" y="356641"/>
                    </a:lnTo>
                    <a:lnTo>
                      <a:pt x="109770" y="355142"/>
                    </a:lnTo>
                    <a:lnTo>
                      <a:pt x="113032" y="353996"/>
                    </a:lnTo>
                    <a:lnTo>
                      <a:pt x="113296" y="354613"/>
                    </a:lnTo>
                    <a:lnTo>
                      <a:pt x="111533" y="356112"/>
                    </a:lnTo>
                    <a:lnTo>
                      <a:pt x="109152" y="357523"/>
                    </a:lnTo>
                    <a:lnTo>
                      <a:pt x="108271" y="356906"/>
                    </a:lnTo>
                    <a:lnTo>
                      <a:pt x="107389" y="357787"/>
                    </a:lnTo>
                    <a:lnTo>
                      <a:pt x="105097" y="358669"/>
                    </a:lnTo>
                    <a:lnTo>
                      <a:pt x="103598" y="359551"/>
                    </a:lnTo>
                    <a:lnTo>
                      <a:pt x="103333" y="361314"/>
                    </a:lnTo>
                    <a:lnTo>
                      <a:pt x="102452" y="362813"/>
                    </a:lnTo>
                    <a:lnTo>
                      <a:pt x="103333" y="362548"/>
                    </a:lnTo>
                    <a:lnTo>
                      <a:pt x="103950" y="361402"/>
                    </a:lnTo>
                    <a:lnTo>
                      <a:pt x="104832" y="361402"/>
                    </a:lnTo>
                    <a:lnTo>
                      <a:pt x="104832" y="362019"/>
                    </a:lnTo>
                    <a:lnTo>
                      <a:pt x="103950" y="362284"/>
                    </a:lnTo>
                    <a:lnTo>
                      <a:pt x="103598" y="363166"/>
                    </a:lnTo>
                    <a:lnTo>
                      <a:pt x="102716" y="363430"/>
                    </a:lnTo>
                    <a:lnTo>
                      <a:pt x="102452" y="364047"/>
                    </a:lnTo>
                    <a:lnTo>
                      <a:pt x="103598" y="364047"/>
                    </a:lnTo>
                    <a:lnTo>
                      <a:pt x="102452" y="364664"/>
                    </a:lnTo>
                    <a:lnTo>
                      <a:pt x="102716" y="367045"/>
                    </a:lnTo>
                    <a:lnTo>
                      <a:pt x="104744" y="368191"/>
                    </a:lnTo>
                    <a:lnTo>
                      <a:pt x="104215" y="369602"/>
                    </a:lnTo>
                    <a:lnTo>
                      <a:pt x="103598" y="370219"/>
                    </a:lnTo>
                    <a:lnTo>
                      <a:pt x="104215" y="370836"/>
                    </a:lnTo>
                    <a:lnTo>
                      <a:pt x="105097" y="369690"/>
                    </a:lnTo>
                    <a:lnTo>
                      <a:pt x="105361" y="369073"/>
                    </a:lnTo>
                    <a:lnTo>
                      <a:pt x="105890" y="369690"/>
                    </a:lnTo>
                    <a:lnTo>
                      <a:pt x="105361" y="370307"/>
                    </a:lnTo>
                    <a:lnTo>
                      <a:pt x="105361" y="371189"/>
                    </a:lnTo>
                    <a:lnTo>
                      <a:pt x="106243" y="370924"/>
                    </a:lnTo>
                    <a:lnTo>
                      <a:pt x="106243" y="370307"/>
                    </a:lnTo>
                    <a:lnTo>
                      <a:pt x="108006" y="370307"/>
                    </a:lnTo>
                    <a:lnTo>
                      <a:pt x="108359" y="369690"/>
                    </a:lnTo>
                    <a:lnTo>
                      <a:pt x="108624" y="370307"/>
                    </a:lnTo>
                    <a:lnTo>
                      <a:pt x="108359" y="371189"/>
                    </a:lnTo>
                    <a:lnTo>
                      <a:pt x="108006" y="371718"/>
                    </a:lnTo>
                    <a:lnTo>
                      <a:pt x="106596" y="372335"/>
                    </a:lnTo>
                    <a:lnTo>
                      <a:pt x="107213" y="372864"/>
                    </a:lnTo>
                    <a:lnTo>
                      <a:pt x="108359" y="372600"/>
                    </a:lnTo>
                    <a:lnTo>
                      <a:pt x="108888" y="372600"/>
                    </a:lnTo>
                    <a:lnTo>
                      <a:pt x="109152" y="374099"/>
                    </a:lnTo>
                    <a:lnTo>
                      <a:pt x="110034" y="374099"/>
                    </a:lnTo>
                    <a:lnTo>
                      <a:pt x="109770" y="374980"/>
                    </a:lnTo>
                    <a:lnTo>
                      <a:pt x="109152" y="375245"/>
                    </a:lnTo>
                    <a:lnTo>
                      <a:pt x="110299" y="375862"/>
                    </a:lnTo>
                    <a:lnTo>
                      <a:pt x="109417" y="376479"/>
                    </a:lnTo>
                    <a:lnTo>
                      <a:pt x="109417" y="377096"/>
                    </a:lnTo>
                    <a:lnTo>
                      <a:pt x="109417" y="377978"/>
                    </a:lnTo>
                    <a:lnTo>
                      <a:pt x="110563" y="377096"/>
                    </a:lnTo>
                    <a:lnTo>
                      <a:pt x="111180" y="377096"/>
                    </a:lnTo>
                    <a:lnTo>
                      <a:pt x="111797" y="377625"/>
                    </a:lnTo>
                    <a:lnTo>
                      <a:pt x="111180" y="378242"/>
                    </a:lnTo>
                    <a:lnTo>
                      <a:pt x="109152" y="379124"/>
                    </a:lnTo>
                    <a:lnTo>
                      <a:pt x="110034" y="379124"/>
                    </a:lnTo>
                    <a:lnTo>
                      <a:pt x="110916" y="380006"/>
                    </a:lnTo>
                    <a:lnTo>
                      <a:pt x="110916" y="380887"/>
                    </a:lnTo>
                    <a:lnTo>
                      <a:pt x="111533" y="381505"/>
                    </a:lnTo>
                    <a:lnTo>
                      <a:pt x="111268" y="382651"/>
                    </a:lnTo>
                    <a:lnTo>
                      <a:pt x="111533" y="385825"/>
                    </a:lnTo>
                    <a:lnTo>
                      <a:pt x="110651" y="386971"/>
                    </a:lnTo>
                    <a:lnTo>
                      <a:pt x="110916" y="388734"/>
                    </a:lnTo>
                    <a:lnTo>
                      <a:pt x="110034" y="389616"/>
                    </a:lnTo>
                    <a:lnTo>
                      <a:pt x="108535" y="388734"/>
                    </a:lnTo>
                    <a:lnTo>
                      <a:pt x="108535" y="390762"/>
                    </a:lnTo>
                    <a:lnTo>
                      <a:pt x="108800" y="392526"/>
                    </a:lnTo>
                    <a:lnTo>
                      <a:pt x="109681" y="394289"/>
                    </a:lnTo>
                    <a:lnTo>
                      <a:pt x="107654" y="396317"/>
                    </a:lnTo>
                    <a:lnTo>
                      <a:pt x="107918" y="396934"/>
                    </a:lnTo>
                    <a:lnTo>
                      <a:pt x="107918" y="398697"/>
                    </a:lnTo>
                    <a:lnTo>
                      <a:pt x="108271" y="399844"/>
                    </a:lnTo>
                    <a:lnTo>
                      <a:pt x="108271" y="401607"/>
                    </a:lnTo>
                    <a:lnTo>
                      <a:pt x="107654" y="402489"/>
                    </a:lnTo>
                    <a:lnTo>
                      <a:pt x="108535" y="403635"/>
                    </a:lnTo>
                    <a:lnTo>
                      <a:pt x="109152" y="403899"/>
                    </a:lnTo>
                    <a:lnTo>
                      <a:pt x="110034" y="403635"/>
                    </a:lnTo>
                    <a:lnTo>
                      <a:pt x="110034" y="404517"/>
                    </a:lnTo>
                    <a:lnTo>
                      <a:pt x="109152" y="404781"/>
                    </a:lnTo>
                    <a:lnTo>
                      <a:pt x="110299" y="406280"/>
                    </a:lnTo>
                    <a:lnTo>
                      <a:pt x="108800" y="406280"/>
                    </a:lnTo>
                    <a:lnTo>
                      <a:pt x="108271" y="406544"/>
                    </a:lnTo>
                    <a:lnTo>
                      <a:pt x="109152" y="407073"/>
                    </a:lnTo>
                    <a:lnTo>
                      <a:pt x="109152" y="407955"/>
                    </a:lnTo>
                    <a:lnTo>
                      <a:pt x="110034" y="409718"/>
                    </a:lnTo>
                    <a:lnTo>
                      <a:pt x="110651" y="409718"/>
                    </a:lnTo>
                    <a:lnTo>
                      <a:pt x="111533" y="409718"/>
                    </a:lnTo>
                    <a:lnTo>
                      <a:pt x="112415" y="409983"/>
                    </a:lnTo>
                    <a:lnTo>
                      <a:pt x="113296" y="409718"/>
                    </a:lnTo>
                    <a:lnTo>
                      <a:pt x="113913" y="410336"/>
                    </a:lnTo>
                    <a:lnTo>
                      <a:pt x="113649" y="410953"/>
                    </a:lnTo>
                    <a:lnTo>
                      <a:pt x="111357" y="413598"/>
                    </a:lnTo>
                    <a:lnTo>
                      <a:pt x="114266" y="414127"/>
                    </a:lnTo>
                    <a:lnTo>
                      <a:pt x="114884" y="415273"/>
                    </a:lnTo>
                    <a:lnTo>
                      <a:pt x="115148" y="415890"/>
                    </a:lnTo>
                    <a:lnTo>
                      <a:pt x="116911" y="415273"/>
                    </a:lnTo>
                    <a:lnTo>
                      <a:pt x="118058" y="415890"/>
                    </a:lnTo>
                    <a:lnTo>
                      <a:pt x="118322" y="417036"/>
                    </a:lnTo>
                    <a:lnTo>
                      <a:pt x="118939" y="417036"/>
                    </a:lnTo>
                    <a:lnTo>
                      <a:pt x="118322" y="417918"/>
                    </a:lnTo>
                    <a:lnTo>
                      <a:pt x="118322" y="418183"/>
                    </a:lnTo>
                    <a:lnTo>
                      <a:pt x="117176" y="417918"/>
                    </a:lnTo>
                    <a:lnTo>
                      <a:pt x="117176" y="416419"/>
                    </a:lnTo>
                    <a:lnTo>
                      <a:pt x="115148" y="417301"/>
                    </a:lnTo>
                    <a:lnTo>
                      <a:pt x="114002" y="415273"/>
                    </a:lnTo>
                    <a:lnTo>
                      <a:pt x="113384" y="415890"/>
                    </a:lnTo>
                    <a:lnTo>
                      <a:pt x="113120" y="415273"/>
                    </a:lnTo>
                    <a:lnTo>
                      <a:pt x="112855" y="416684"/>
                    </a:lnTo>
                    <a:lnTo>
                      <a:pt x="113473" y="418183"/>
                    </a:lnTo>
                    <a:lnTo>
                      <a:pt x="113737" y="418183"/>
                    </a:lnTo>
                    <a:lnTo>
                      <a:pt x="113737" y="419064"/>
                    </a:lnTo>
                    <a:lnTo>
                      <a:pt x="113737" y="419682"/>
                    </a:lnTo>
                    <a:lnTo>
                      <a:pt x="114354" y="419064"/>
                    </a:lnTo>
                    <a:lnTo>
                      <a:pt x="113737" y="421709"/>
                    </a:lnTo>
                    <a:lnTo>
                      <a:pt x="114619" y="422591"/>
                    </a:lnTo>
                    <a:lnTo>
                      <a:pt x="114884" y="423473"/>
                    </a:lnTo>
                    <a:lnTo>
                      <a:pt x="114002" y="423473"/>
                    </a:lnTo>
                    <a:lnTo>
                      <a:pt x="114884" y="423737"/>
                    </a:lnTo>
                    <a:lnTo>
                      <a:pt x="115148" y="425501"/>
                    </a:lnTo>
                    <a:lnTo>
                      <a:pt x="114884" y="423737"/>
                    </a:lnTo>
                    <a:lnTo>
                      <a:pt x="115148" y="424354"/>
                    </a:lnTo>
                    <a:lnTo>
                      <a:pt x="115765" y="423737"/>
                    </a:lnTo>
                    <a:lnTo>
                      <a:pt x="115765" y="422591"/>
                    </a:lnTo>
                    <a:lnTo>
                      <a:pt x="116911" y="422327"/>
                    </a:lnTo>
                    <a:lnTo>
                      <a:pt x="116911" y="421445"/>
                    </a:lnTo>
                    <a:lnTo>
                      <a:pt x="116911" y="420828"/>
                    </a:lnTo>
                    <a:lnTo>
                      <a:pt x="117440" y="419682"/>
                    </a:lnTo>
                    <a:lnTo>
                      <a:pt x="118322" y="420563"/>
                    </a:lnTo>
                    <a:lnTo>
                      <a:pt x="117793" y="421445"/>
                    </a:lnTo>
                    <a:lnTo>
                      <a:pt x="117793" y="423473"/>
                    </a:lnTo>
                    <a:lnTo>
                      <a:pt x="118939" y="422591"/>
                    </a:lnTo>
                    <a:lnTo>
                      <a:pt x="118939" y="423473"/>
                    </a:lnTo>
                    <a:lnTo>
                      <a:pt x="118058" y="424090"/>
                    </a:lnTo>
                    <a:lnTo>
                      <a:pt x="118058" y="425236"/>
                    </a:lnTo>
                    <a:lnTo>
                      <a:pt x="117440" y="424354"/>
                    </a:lnTo>
                    <a:lnTo>
                      <a:pt x="117440" y="424972"/>
                    </a:lnTo>
                    <a:lnTo>
                      <a:pt x="117176" y="425589"/>
                    </a:lnTo>
                    <a:lnTo>
                      <a:pt x="116029" y="425589"/>
                    </a:lnTo>
                    <a:lnTo>
                      <a:pt x="115413" y="426470"/>
                    </a:lnTo>
                    <a:lnTo>
                      <a:pt x="116294" y="427088"/>
                    </a:lnTo>
                    <a:lnTo>
                      <a:pt x="118322" y="426470"/>
                    </a:lnTo>
                    <a:lnTo>
                      <a:pt x="118322" y="427088"/>
                    </a:lnTo>
                    <a:lnTo>
                      <a:pt x="118322" y="427705"/>
                    </a:lnTo>
                    <a:lnTo>
                      <a:pt x="118322" y="428234"/>
                    </a:lnTo>
                    <a:lnTo>
                      <a:pt x="118675" y="429997"/>
                    </a:lnTo>
                    <a:lnTo>
                      <a:pt x="118058" y="431143"/>
                    </a:lnTo>
                    <a:lnTo>
                      <a:pt x="117176" y="429116"/>
                    </a:lnTo>
                    <a:lnTo>
                      <a:pt x="116294" y="429116"/>
                    </a:lnTo>
                    <a:lnTo>
                      <a:pt x="116294" y="428234"/>
                    </a:lnTo>
                    <a:lnTo>
                      <a:pt x="115413" y="428234"/>
                    </a:lnTo>
                    <a:lnTo>
                      <a:pt x="115677" y="431496"/>
                    </a:lnTo>
                    <a:lnTo>
                      <a:pt x="116823" y="432642"/>
                    </a:lnTo>
                    <a:lnTo>
                      <a:pt x="117088" y="434141"/>
                    </a:lnTo>
                    <a:lnTo>
                      <a:pt x="119733" y="434141"/>
                    </a:lnTo>
                    <a:lnTo>
                      <a:pt x="119733" y="435552"/>
                    </a:lnTo>
                    <a:lnTo>
                      <a:pt x="119733" y="436433"/>
                    </a:lnTo>
                    <a:lnTo>
                      <a:pt x="118851" y="437580"/>
                    </a:lnTo>
                    <a:lnTo>
                      <a:pt x="117969" y="435287"/>
                    </a:lnTo>
                    <a:lnTo>
                      <a:pt x="116823" y="434406"/>
                    </a:lnTo>
                    <a:lnTo>
                      <a:pt x="116206" y="436698"/>
                    </a:lnTo>
                    <a:lnTo>
                      <a:pt x="117352" y="438197"/>
                    </a:lnTo>
                    <a:lnTo>
                      <a:pt x="117352" y="439079"/>
                    </a:lnTo>
                    <a:lnTo>
                      <a:pt x="117352" y="439960"/>
                    </a:lnTo>
                    <a:lnTo>
                      <a:pt x="119733" y="439960"/>
                    </a:lnTo>
                    <a:lnTo>
                      <a:pt x="119733" y="440842"/>
                    </a:lnTo>
                    <a:lnTo>
                      <a:pt x="120350" y="440842"/>
                    </a:lnTo>
                    <a:lnTo>
                      <a:pt x="120967" y="440577"/>
                    </a:lnTo>
                    <a:lnTo>
                      <a:pt x="120967" y="441195"/>
                    </a:lnTo>
                    <a:lnTo>
                      <a:pt x="120967" y="442076"/>
                    </a:lnTo>
                    <a:lnTo>
                      <a:pt x="122113" y="442694"/>
                    </a:lnTo>
                    <a:lnTo>
                      <a:pt x="121496" y="443311"/>
                    </a:lnTo>
                    <a:lnTo>
                      <a:pt x="120967" y="443046"/>
                    </a:lnTo>
                    <a:lnTo>
                      <a:pt x="120085" y="442782"/>
                    </a:lnTo>
                    <a:lnTo>
                      <a:pt x="119204" y="442782"/>
                    </a:lnTo>
                    <a:lnTo>
                      <a:pt x="119821" y="442165"/>
                    </a:lnTo>
                    <a:lnTo>
                      <a:pt x="119204" y="442165"/>
                    </a:lnTo>
                    <a:lnTo>
                      <a:pt x="118587" y="442429"/>
                    </a:lnTo>
                    <a:lnTo>
                      <a:pt x="119204" y="443575"/>
                    </a:lnTo>
                    <a:lnTo>
                      <a:pt x="120085" y="443840"/>
                    </a:lnTo>
                    <a:lnTo>
                      <a:pt x="120350" y="445603"/>
                    </a:lnTo>
                    <a:lnTo>
                      <a:pt x="120350" y="446485"/>
                    </a:lnTo>
                    <a:lnTo>
                      <a:pt x="120350" y="446749"/>
                    </a:lnTo>
                    <a:lnTo>
                      <a:pt x="120967" y="447366"/>
                    </a:lnTo>
                    <a:lnTo>
                      <a:pt x="120350" y="448248"/>
                    </a:lnTo>
                    <a:lnTo>
                      <a:pt x="120614" y="448513"/>
                    </a:lnTo>
                    <a:lnTo>
                      <a:pt x="121496" y="448513"/>
                    </a:lnTo>
                    <a:lnTo>
                      <a:pt x="122378" y="449394"/>
                    </a:lnTo>
                    <a:lnTo>
                      <a:pt x="121761" y="450540"/>
                    </a:lnTo>
                    <a:lnTo>
                      <a:pt x="124053" y="453715"/>
                    </a:lnTo>
                    <a:lnTo>
                      <a:pt x="124317" y="456360"/>
                    </a:lnTo>
                    <a:lnTo>
                      <a:pt x="124317" y="457506"/>
                    </a:lnTo>
                    <a:lnTo>
                      <a:pt x="124582" y="458387"/>
                    </a:lnTo>
                    <a:lnTo>
                      <a:pt x="124846" y="459005"/>
                    </a:lnTo>
                    <a:lnTo>
                      <a:pt x="124582" y="459269"/>
                    </a:lnTo>
                    <a:lnTo>
                      <a:pt x="124582" y="459798"/>
                    </a:lnTo>
                    <a:lnTo>
                      <a:pt x="125728" y="461826"/>
                    </a:lnTo>
                    <a:lnTo>
                      <a:pt x="125992" y="462708"/>
                    </a:lnTo>
                    <a:lnTo>
                      <a:pt x="125992" y="463589"/>
                    </a:lnTo>
                    <a:lnTo>
                      <a:pt x="125992" y="463854"/>
                    </a:lnTo>
                    <a:lnTo>
                      <a:pt x="126345" y="465617"/>
                    </a:lnTo>
                    <a:lnTo>
                      <a:pt x="126610" y="467645"/>
                    </a:lnTo>
                    <a:lnTo>
                      <a:pt x="126610" y="468174"/>
                    </a:lnTo>
                    <a:lnTo>
                      <a:pt x="126610" y="469056"/>
                    </a:lnTo>
                    <a:lnTo>
                      <a:pt x="128902" y="470819"/>
                    </a:lnTo>
                    <a:lnTo>
                      <a:pt x="128638" y="471701"/>
                    </a:lnTo>
                    <a:lnTo>
                      <a:pt x="127492" y="471965"/>
                    </a:lnTo>
                    <a:lnTo>
                      <a:pt x="126874" y="473112"/>
                    </a:lnTo>
                    <a:lnTo>
                      <a:pt x="127756" y="473993"/>
                    </a:lnTo>
                    <a:lnTo>
                      <a:pt x="128638" y="474258"/>
                    </a:lnTo>
                    <a:lnTo>
                      <a:pt x="129167" y="475404"/>
                    </a:lnTo>
                    <a:lnTo>
                      <a:pt x="129431" y="476903"/>
                    </a:lnTo>
                    <a:lnTo>
                      <a:pt x="129431" y="478049"/>
                    </a:lnTo>
                    <a:lnTo>
                      <a:pt x="130048" y="478931"/>
                    </a:lnTo>
                    <a:lnTo>
                      <a:pt x="129784" y="480077"/>
                    </a:lnTo>
                    <a:lnTo>
                      <a:pt x="130930" y="480694"/>
                    </a:lnTo>
                    <a:lnTo>
                      <a:pt x="131547" y="481311"/>
                    </a:lnTo>
                    <a:lnTo>
                      <a:pt x="130930" y="482457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1724" y="484485"/>
                    </a:lnTo>
                    <a:lnTo>
                      <a:pt x="130225" y="484838"/>
                    </a:lnTo>
                    <a:lnTo>
                      <a:pt x="130489" y="485102"/>
                    </a:lnTo>
                    <a:lnTo>
                      <a:pt x="130754" y="485984"/>
                    </a:lnTo>
                    <a:lnTo>
                      <a:pt x="131371" y="485367"/>
                    </a:lnTo>
                    <a:lnTo>
                      <a:pt x="132253" y="485984"/>
                    </a:lnTo>
                    <a:lnTo>
                      <a:pt x="131371" y="488012"/>
                    </a:lnTo>
                    <a:lnTo>
                      <a:pt x="131371" y="489158"/>
                    </a:lnTo>
                    <a:lnTo>
                      <a:pt x="132517" y="490040"/>
                    </a:lnTo>
                    <a:lnTo>
                      <a:pt x="133046" y="489775"/>
                    </a:lnTo>
                    <a:lnTo>
                      <a:pt x="133928" y="492949"/>
                    </a:lnTo>
                    <a:lnTo>
                      <a:pt x="133311" y="493214"/>
                    </a:lnTo>
                    <a:lnTo>
                      <a:pt x="133046" y="494625"/>
                    </a:lnTo>
                    <a:lnTo>
                      <a:pt x="133928" y="493743"/>
                    </a:lnTo>
                    <a:lnTo>
                      <a:pt x="134809" y="494889"/>
                    </a:lnTo>
                    <a:lnTo>
                      <a:pt x="135074" y="496300"/>
                    </a:lnTo>
                    <a:lnTo>
                      <a:pt x="134192" y="497446"/>
                    </a:lnTo>
                    <a:lnTo>
                      <a:pt x="135338" y="498328"/>
                    </a:lnTo>
                    <a:lnTo>
                      <a:pt x="135691" y="499827"/>
                    </a:lnTo>
                    <a:lnTo>
                      <a:pt x="136838" y="500973"/>
                    </a:lnTo>
                    <a:lnTo>
                      <a:pt x="137719" y="501854"/>
                    </a:lnTo>
                    <a:lnTo>
                      <a:pt x="138865" y="502119"/>
                    </a:lnTo>
                    <a:lnTo>
                      <a:pt x="139130" y="504411"/>
                    </a:lnTo>
                    <a:lnTo>
                      <a:pt x="139130" y="505028"/>
                    </a:lnTo>
                    <a:lnTo>
                      <a:pt x="141158" y="506175"/>
                    </a:lnTo>
                    <a:lnTo>
                      <a:pt x="142039" y="505910"/>
                    </a:lnTo>
                    <a:lnTo>
                      <a:pt x="143450" y="507674"/>
                    </a:lnTo>
                    <a:lnTo>
                      <a:pt x="141422" y="508291"/>
                    </a:lnTo>
                    <a:lnTo>
                      <a:pt x="143185" y="507145"/>
                    </a:lnTo>
                    <a:lnTo>
                      <a:pt x="142921" y="506880"/>
                    </a:lnTo>
                    <a:lnTo>
                      <a:pt x="143185" y="507145"/>
                    </a:lnTo>
                    <a:lnTo>
                      <a:pt x="141422" y="508291"/>
                    </a:lnTo>
                    <a:lnTo>
                      <a:pt x="141687" y="509437"/>
                    </a:lnTo>
                    <a:lnTo>
                      <a:pt x="143450" y="510319"/>
                    </a:lnTo>
                    <a:lnTo>
                      <a:pt x="145213" y="510054"/>
                    </a:lnTo>
                    <a:lnTo>
                      <a:pt x="145213" y="511200"/>
                    </a:lnTo>
                    <a:lnTo>
                      <a:pt x="144332" y="511200"/>
                    </a:lnTo>
                    <a:lnTo>
                      <a:pt x="143450" y="511729"/>
                    </a:lnTo>
                    <a:lnTo>
                      <a:pt x="144596" y="511994"/>
                    </a:lnTo>
                    <a:lnTo>
                      <a:pt x="146359" y="511994"/>
                    </a:lnTo>
                    <a:lnTo>
                      <a:pt x="147506" y="513493"/>
                    </a:lnTo>
                    <a:lnTo>
                      <a:pt x="146359" y="512964"/>
                    </a:lnTo>
                    <a:lnTo>
                      <a:pt x="144596" y="513493"/>
                    </a:lnTo>
                    <a:lnTo>
                      <a:pt x="143714" y="514374"/>
                    </a:lnTo>
                    <a:lnTo>
                      <a:pt x="144596" y="514374"/>
                    </a:lnTo>
                    <a:lnTo>
                      <a:pt x="145478" y="514374"/>
                    </a:lnTo>
                    <a:lnTo>
                      <a:pt x="146888" y="515256"/>
                    </a:lnTo>
                    <a:lnTo>
                      <a:pt x="147153" y="517284"/>
                    </a:lnTo>
                    <a:lnTo>
                      <a:pt x="147770" y="518695"/>
                    </a:lnTo>
                    <a:lnTo>
                      <a:pt x="147153" y="520105"/>
                    </a:lnTo>
                    <a:lnTo>
                      <a:pt x="147770" y="520370"/>
                    </a:lnTo>
                    <a:lnTo>
                      <a:pt x="147506" y="520987"/>
                    </a:lnTo>
                    <a:lnTo>
                      <a:pt x="147506" y="521604"/>
                    </a:lnTo>
                    <a:lnTo>
                      <a:pt x="147506" y="522486"/>
                    </a:lnTo>
                    <a:lnTo>
                      <a:pt x="148388" y="522221"/>
                    </a:lnTo>
                    <a:lnTo>
                      <a:pt x="149269" y="523368"/>
                    </a:lnTo>
                    <a:lnTo>
                      <a:pt x="149534" y="524249"/>
                    </a:lnTo>
                    <a:lnTo>
                      <a:pt x="150151" y="524514"/>
                    </a:lnTo>
                    <a:lnTo>
                      <a:pt x="150415" y="525395"/>
                    </a:lnTo>
                    <a:lnTo>
                      <a:pt x="151561" y="526013"/>
                    </a:lnTo>
                    <a:lnTo>
                      <a:pt x="152179" y="526277"/>
                    </a:lnTo>
                    <a:lnTo>
                      <a:pt x="153060" y="526277"/>
                    </a:lnTo>
                    <a:lnTo>
                      <a:pt x="154206" y="526013"/>
                    </a:lnTo>
                    <a:lnTo>
                      <a:pt x="154824" y="527159"/>
                    </a:lnTo>
                    <a:lnTo>
                      <a:pt x="154206" y="527423"/>
                    </a:lnTo>
                    <a:lnTo>
                      <a:pt x="151914" y="527159"/>
                    </a:lnTo>
                    <a:lnTo>
                      <a:pt x="151650" y="527423"/>
                    </a:lnTo>
                    <a:lnTo>
                      <a:pt x="151914" y="528305"/>
                    </a:lnTo>
                    <a:lnTo>
                      <a:pt x="153060" y="528922"/>
                    </a:lnTo>
                    <a:lnTo>
                      <a:pt x="153060" y="529804"/>
                    </a:lnTo>
                    <a:lnTo>
                      <a:pt x="154471" y="530068"/>
                    </a:lnTo>
                    <a:lnTo>
                      <a:pt x="155088" y="530068"/>
                    </a:lnTo>
                    <a:lnTo>
                      <a:pt x="156234" y="530950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499" y="533948"/>
                    </a:lnTo>
                    <a:lnTo>
                      <a:pt x="156234" y="534212"/>
                    </a:lnTo>
                    <a:lnTo>
                      <a:pt x="156499" y="534477"/>
                    </a:lnTo>
                    <a:lnTo>
                      <a:pt x="157998" y="533860"/>
                    </a:lnTo>
                    <a:lnTo>
                      <a:pt x="157998" y="534477"/>
                    </a:lnTo>
                    <a:lnTo>
                      <a:pt x="158262" y="534741"/>
                    </a:lnTo>
                    <a:lnTo>
                      <a:pt x="159144" y="535006"/>
                    </a:lnTo>
                    <a:lnTo>
                      <a:pt x="159144" y="535535"/>
                    </a:lnTo>
                    <a:lnTo>
                      <a:pt x="159144" y="536416"/>
                    </a:lnTo>
                    <a:lnTo>
                      <a:pt x="158791" y="536152"/>
                    </a:lnTo>
                    <a:lnTo>
                      <a:pt x="158527" y="535887"/>
                    </a:lnTo>
                    <a:lnTo>
                      <a:pt x="158262" y="535623"/>
                    </a:lnTo>
                    <a:lnTo>
                      <a:pt x="157998" y="536240"/>
                    </a:lnTo>
                    <a:lnTo>
                      <a:pt x="158880" y="538268"/>
                    </a:lnTo>
                    <a:lnTo>
                      <a:pt x="159497" y="540296"/>
                    </a:lnTo>
                    <a:lnTo>
                      <a:pt x="160378" y="541442"/>
                    </a:lnTo>
                    <a:lnTo>
                      <a:pt x="160378" y="542588"/>
                    </a:lnTo>
                    <a:lnTo>
                      <a:pt x="160378" y="543734"/>
                    </a:lnTo>
                    <a:lnTo>
                      <a:pt x="162142" y="547261"/>
                    </a:lnTo>
                    <a:lnTo>
                      <a:pt x="161877" y="548143"/>
                    </a:lnTo>
                    <a:lnTo>
                      <a:pt x="162494" y="548672"/>
                    </a:lnTo>
                    <a:lnTo>
                      <a:pt x="163376" y="549818"/>
                    </a:lnTo>
                    <a:lnTo>
                      <a:pt x="164258" y="552463"/>
                    </a:lnTo>
                    <a:lnTo>
                      <a:pt x="166021" y="555373"/>
                    </a:lnTo>
                    <a:lnTo>
                      <a:pt x="166903" y="555637"/>
                    </a:lnTo>
                    <a:lnTo>
                      <a:pt x="167520" y="554755"/>
                    </a:lnTo>
                    <a:lnTo>
                      <a:pt x="167785" y="555284"/>
                    </a:lnTo>
                    <a:lnTo>
                      <a:pt x="167520" y="555902"/>
                    </a:lnTo>
                    <a:lnTo>
                      <a:pt x="167785" y="556166"/>
                    </a:lnTo>
                    <a:lnTo>
                      <a:pt x="167167" y="556783"/>
                    </a:lnTo>
                    <a:lnTo>
                      <a:pt x="166903" y="557665"/>
                    </a:lnTo>
                    <a:lnTo>
                      <a:pt x="167167" y="558194"/>
                    </a:lnTo>
                    <a:lnTo>
                      <a:pt x="166638" y="558811"/>
                    </a:lnTo>
                    <a:lnTo>
                      <a:pt x="167520" y="559957"/>
                    </a:lnTo>
                    <a:lnTo>
                      <a:pt x="167785" y="560839"/>
                    </a:lnTo>
                    <a:lnTo>
                      <a:pt x="168137" y="561104"/>
                    </a:lnTo>
                    <a:lnTo>
                      <a:pt x="167520" y="561985"/>
                    </a:lnTo>
                    <a:lnTo>
                      <a:pt x="167255" y="561985"/>
                    </a:lnTo>
                    <a:lnTo>
                      <a:pt x="167520" y="562514"/>
                    </a:lnTo>
                    <a:lnTo>
                      <a:pt x="167255" y="562867"/>
                    </a:lnTo>
                    <a:lnTo>
                      <a:pt x="167872" y="563749"/>
                    </a:lnTo>
                    <a:lnTo>
                      <a:pt x="168225" y="564013"/>
                    </a:lnTo>
                    <a:lnTo>
                      <a:pt x="168225" y="565159"/>
                    </a:lnTo>
                    <a:lnTo>
                      <a:pt x="169636" y="567804"/>
                    </a:lnTo>
                    <a:lnTo>
                      <a:pt x="169636" y="570714"/>
                    </a:lnTo>
                    <a:lnTo>
                      <a:pt x="170253" y="571596"/>
                    </a:lnTo>
                    <a:lnTo>
                      <a:pt x="169989" y="572477"/>
                    </a:lnTo>
                    <a:lnTo>
                      <a:pt x="169459" y="573976"/>
                    </a:lnTo>
                    <a:lnTo>
                      <a:pt x="172105" y="576357"/>
                    </a:lnTo>
                    <a:lnTo>
                      <a:pt x="172722" y="576357"/>
                    </a:lnTo>
                    <a:lnTo>
                      <a:pt x="173604" y="576357"/>
                    </a:lnTo>
                    <a:lnTo>
                      <a:pt x="173868" y="576621"/>
                    </a:lnTo>
                    <a:lnTo>
                      <a:pt x="173604" y="576886"/>
                    </a:lnTo>
                    <a:lnTo>
                      <a:pt x="173604" y="577150"/>
                    </a:lnTo>
                    <a:lnTo>
                      <a:pt x="172986" y="577415"/>
                    </a:lnTo>
                    <a:lnTo>
                      <a:pt x="172457" y="578561"/>
                    </a:lnTo>
                    <a:lnTo>
                      <a:pt x="172457" y="579707"/>
                    </a:lnTo>
                    <a:lnTo>
                      <a:pt x="173339" y="581470"/>
                    </a:lnTo>
                    <a:lnTo>
                      <a:pt x="175984" y="585262"/>
                    </a:lnTo>
                    <a:lnTo>
                      <a:pt x="176866" y="587025"/>
                    </a:lnTo>
                    <a:lnTo>
                      <a:pt x="177747" y="589670"/>
                    </a:lnTo>
                    <a:lnTo>
                      <a:pt x="178100" y="590816"/>
                    </a:lnTo>
                    <a:lnTo>
                      <a:pt x="179511" y="591698"/>
                    </a:lnTo>
                    <a:lnTo>
                      <a:pt x="179511" y="592580"/>
                    </a:lnTo>
                    <a:lnTo>
                      <a:pt x="181274" y="595225"/>
                    </a:lnTo>
                    <a:lnTo>
                      <a:pt x="180393" y="596106"/>
                    </a:lnTo>
                    <a:lnTo>
                      <a:pt x="181274" y="596988"/>
                    </a:lnTo>
                    <a:lnTo>
                      <a:pt x="181274" y="597870"/>
                    </a:lnTo>
                    <a:lnTo>
                      <a:pt x="181803" y="597605"/>
                    </a:lnTo>
                    <a:lnTo>
                      <a:pt x="182949" y="596988"/>
                    </a:lnTo>
                    <a:lnTo>
                      <a:pt x="183214" y="596988"/>
                    </a:lnTo>
                    <a:lnTo>
                      <a:pt x="183831" y="597605"/>
                    </a:lnTo>
                    <a:lnTo>
                      <a:pt x="182949" y="597870"/>
                    </a:lnTo>
                    <a:lnTo>
                      <a:pt x="183214" y="598134"/>
                    </a:lnTo>
                    <a:lnTo>
                      <a:pt x="182685" y="599016"/>
                    </a:lnTo>
                    <a:lnTo>
                      <a:pt x="184448" y="599281"/>
                    </a:lnTo>
                    <a:lnTo>
                      <a:pt x="183919" y="599545"/>
                    </a:lnTo>
                    <a:lnTo>
                      <a:pt x="184184" y="600427"/>
                    </a:lnTo>
                    <a:lnTo>
                      <a:pt x="184713" y="600162"/>
                    </a:lnTo>
                    <a:lnTo>
                      <a:pt x="184713" y="600779"/>
                    </a:lnTo>
                    <a:lnTo>
                      <a:pt x="184713" y="601926"/>
                    </a:lnTo>
                    <a:lnTo>
                      <a:pt x="186476" y="603953"/>
                    </a:lnTo>
                    <a:lnTo>
                      <a:pt x="188239" y="605364"/>
                    </a:lnTo>
                    <a:lnTo>
                      <a:pt x="190885" y="609420"/>
                    </a:lnTo>
                    <a:lnTo>
                      <a:pt x="192031" y="610919"/>
                    </a:lnTo>
                    <a:lnTo>
                      <a:pt x="192031" y="611800"/>
                    </a:lnTo>
                    <a:lnTo>
                      <a:pt x="194323" y="613564"/>
                    </a:lnTo>
                    <a:lnTo>
                      <a:pt x="194323" y="614445"/>
                    </a:lnTo>
                    <a:lnTo>
                      <a:pt x="194059" y="618237"/>
                    </a:lnTo>
                    <a:lnTo>
                      <a:pt x="195822" y="620882"/>
                    </a:lnTo>
                    <a:lnTo>
                      <a:pt x="198202" y="624673"/>
                    </a:lnTo>
                    <a:lnTo>
                      <a:pt x="198467" y="625555"/>
                    </a:lnTo>
                    <a:lnTo>
                      <a:pt x="199349" y="626436"/>
                    </a:lnTo>
                    <a:lnTo>
                      <a:pt x="200231" y="627935"/>
                    </a:lnTo>
                    <a:lnTo>
                      <a:pt x="199349" y="628200"/>
                    </a:lnTo>
                    <a:lnTo>
                      <a:pt x="199613" y="629081"/>
                    </a:lnTo>
                    <a:lnTo>
                      <a:pt x="202258" y="631462"/>
                    </a:lnTo>
                    <a:lnTo>
                      <a:pt x="201906" y="633754"/>
                    </a:lnTo>
                    <a:lnTo>
                      <a:pt x="203052" y="635253"/>
                    </a:lnTo>
                    <a:lnTo>
                      <a:pt x="203934" y="637281"/>
                    </a:lnTo>
                    <a:lnTo>
                      <a:pt x="203934" y="638163"/>
                    </a:lnTo>
                    <a:lnTo>
                      <a:pt x="203581" y="641954"/>
                    </a:lnTo>
                    <a:lnTo>
                      <a:pt x="204727" y="642571"/>
                    </a:lnTo>
                    <a:lnTo>
                      <a:pt x="205256" y="642571"/>
                    </a:lnTo>
                    <a:lnTo>
                      <a:pt x="206402" y="641954"/>
                    </a:lnTo>
                    <a:lnTo>
                      <a:pt x="206667" y="642218"/>
                    </a:lnTo>
                    <a:lnTo>
                      <a:pt x="207284" y="643365"/>
                    </a:lnTo>
                    <a:lnTo>
                      <a:pt x="205520" y="643629"/>
                    </a:lnTo>
                    <a:lnTo>
                      <a:pt x="204639" y="644775"/>
                    </a:lnTo>
                    <a:lnTo>
                      <a:pt x="205520" y="645922"/>
                    </a:lnTo>
                    <a:lnTo>
                      <a:pt x="206667" y="645657"/>
                    </a:lnTo>
                    <a:lnTo>
                      <a:pt x="206402" y="644511"/>
                    </a:lnTo>
                    <a:lnTo>
                      <a:pt x="207284" y="644511"/>
                    </a:lnTo>
                    <a:lnTo>
                      <a:pt x="207901" y="644511"/>
                    </a:lnTo>
                    <a:lnTo>
                      <a:pt x="208165" y="645128"/>
                    </a:lnTo>
                    <a:lnTo>
                      <a:pt x="207901" y="645745"/>
                    </a:lnTo>
                    <a:lnTo>
                      <a:pt x="208518" y="646362"/>
                    </a:lnTo>
                    <a:lnTo>
                      <a:pt x="207901" y="648126"/>
                    </a:lnTo>
                    <a:lnTo>
                      <a:pt x="209047" y="649360"/>
                    </a:lnTo>
                    <a:lnTo>
                      <a:pt x="208783" y="649008"/>
                    </a:lnTo>
                    <a:lnTo>
                      <a:pt x="209929" y="650154"/>
                    </a:lnTo>
                    <a:lnTo>
                      <a:pt x="210810" y="652799"/>
                    </a:lnTo>
                    <a:lnTo>
                      <a:pt x="210810" y="653681"/>
                    </a:lnTo>
                    <a:lnTo>
                      <a:pt x="211339" y="654297"/>
                    </a:lnTo>
                    <a:lnTo>
                      <a:pt x="210810" y="654562"/>
                    </a:lnTo>
                    <a:lnTo>
                      <a:pt x="210194" y="654297"/>
                    </a:lnTo>
                    <a:lnTo>
                      <a:pt x="210458" y="652270"/>
                    </a:lnTo>
                    <a:lnTo>
                      <a:pt x="209576" y="651653"/>
                    </a:lnTo>
                    <a:lnTo>
                      <a:pt x="208430" y="650771"/>
                    </a:lnTo>
                    <a:lnTo>
                      <a:pt x="208959" y="651653"/>
                    </a:lnTo>
                    <a:lnTo>
                      <a:pt x="209576" y="652270"/>
                    </a:lnTo>
                    <a:lnTo>
                      <a:pt x="209576" y="653152"/>
                    </a:lnTo>
                    <a:lnTo>
                      <a:pt x="208959" y="653769"/>
                    </a:lnTo>
                    <a:lnTo>
                      <a:pt x="208430" y="652005"/>
                    </a:lnTo>
                    <a:lnTo>
                      <a:pt x="207813" y="650859"/>
                    </a:lnTo>
                    <a:lnTo>
                      <a:pt x="207813" y="651476"/>
                    </a:lnTo>
                    <a:lnTo>
                      <a:pt x="207196" y="652093"/>
                    </a:lnTo>
                    <a:lnTo>
                      <a:pt x="206314" y="650947"/>
                    </a:lnTo>
                    <a:lnTo>
                      <a:pt x="206578" y="650330"/>
                    </a:lnTo>
                    <a:lnTo>
                      <a:pt x="207460" y="650330"/>
                    </a:lnTo>
                    <a:lnTo>
                      <a:pt x="207460" y="649184"/>
                    </a:lnTo>
                    <a:lnTo>
                      <a:pt x="205697" y="648919"/>
                    </a:lnTo>
                    <a:lnTo>
                      <a:pt x="205080" y="650418"/>
                    </a:lnTo>
                    <a:lnTo>
                      <a:pt x="207725" y="653945"/>
                    </a:lnTo>
                    <a:lnTo>
                      <a:pt x="207725" y="655973"/>
                    </a:lnTo>
                    <a:lnTo>
                      <a:pt x="206490" y="657119"/>
                    </a:lnTo>
                    <a:lnTo>
                      <a:pt x="207107" y="658882"/>
                    </a:lnTo>
                    <a:lnTo>
                      <a:pt x="208606" y="659499"/>
                    </a:lnTo>
                    <a:lnTo>
                      <a:pt x="209488" y="661527"/>
                    </a:lnTo>
                    <a:lnTo>
                      <a:pt x="209488" y="662145"/>
                    </a:lnTo>
                    <a:lnTo>
                      <a:pt x="209488" y="663026"/>
                    </a:lnTo>
                    <a:lnTo>
                      <a:pt x="210105" y="664173"/>
                    </a:lnTo>
                    <a:lnTo>
                      <a:pt x="210987" y="665054"/>
                    </a:lnTo>
                    <a:lnTo>
                      <a:pt x="212750" y="665054"/>
                    </a:lnTo>
                    <a:lnTo>
                      <a:pt x="213632" y="667082"/>
                    </a:lnTo>
                    <a:lnTo>
                      <a:pt x="213897" y="667347"/>
                    </a:lnTo>
                    <a:lnTo>
                      <a:pt x="213897" y="668845"/>
                    </a:lnTo>
                    <a:lnTo>
                      <a:pt x="214514" y="669462"/>
                    </a:lnTo>
                    <a:lnTo>
                      <a:pt x="215043" y="671226"/>
                    </a:lnTo>
                    <a:lnTo>
                      <a:pt x="215660" y="672108"/>
                    </a:lnTo>
                    <a:lnTo>
                      <a:pt x="215307" y="672989"/>
                    </a:lnTo>
                    <a:lnTo>
                      <a:pt x="215660" y="674135"/>
                    </a:lnTo>
                    <a:lnTo>
                      <a:pt x="217159" y="675017"/>
                    </a:lnTo>
                    <a:lnTo>
                      <a:pt x="218569" y="676163"/>
                    </a:lnTo>
                    <a:lnTo>
                      <a:pt x="218834" y="678456"/>
                    </a:lnTo>
                    <a:lnTo>
                      <a:pt x="219451" y="679073"/>
                    </a:lnTo>
                    <a:lnTo>
                      <a:pt x="219715" y="679690"/>
                    </a:lnTo>
                    <a:lnTo>
                      <a:pt x="220333" y="681189"/>
                    </a:lnTo>
                    <a:lnTo>
                      <a:pt x="221215" y="682688"/>
                    </a:lnTo>
                    <a:lnTo>
                      <a:pt x="222096" y="684716"/>
                    </a:lnTo>
                    <a:lnTo>
                      <a:pt x="222360" y="685597"/>
                    </a:lnTo>
                    <a:lnTo>
                      <a:pt x="223860" y="686215"/>
                    </a:lnTo>
                    <a:lnTo>
                      <a:pt x="225623" y="687096"/>
                    </a:lnTo>
                    <a:lnTo>
                      <a:pt x="227034" y="688242"/>
                    </a:lnTo>
                    <a:lnTo>
                      <a:pt x="227651" y="689389"/>
                    </a:lnTo>
                    <a:lnTo>
                      <a:pt x="227915" y="691417"/>
                    </a:lnTo>
                    <a:lnTo>
                      <a:pt x="229943" y="693180"/>
                    </a:lnTo>
                    <a:lnTo>
                      <a:pt x="231707" y="692915"/>
                    </a:lnTo>
                    <a:lnTo>
                      <a:pt x="233734" y="693533"/>
                    </a:lnTo>
                    <a:lnTo>
                      <a:pt x="235498" y="694943"/>
                    </a:lnTo>
                    <a:lnTo>
                      <a:pt x="236908" y="695825"/>
                    </a:lnTo>
                    <a:lnTo>
                      <a:pt x="238407" y="696442"/>
                    </a:lnTo>
                    <a:lnTo>
                      <a:pt x="240435" y="696971"/>
                    </a:lnTo>
                    <a:lnTo>
                      <a:pt x="242198" y="697853"/>
                    </a:lnTo>
                    <a:lnTo>
                      <a:pt x="245108" y="696706"/>
                    </a:lnTo>
                    <a:lnTo>
                      <a:pt x="247136" y="697324"/>
                    </a:lnTo>
                    <a:lnTo>
                      <a:pt x="249428" y="695032"/>
                    </a:lnTo>
                    <a:lnTo>
                      <a:pt x="252074" y="695296"/>
                    </a:lnTo>
                    <a:lnTo>
                      <a:pt x="251192" y="694150"/>
                    </a:lnTo>
                    <a:lnTo>
                      <a:pt x="252955" y="692122"/>
                    </a:lnTo>
                    <a:lnTo>
                      <a:pt x="253837" y="690094"/>
                    </a:lnTo>
                    <a:lnTo>
                      <a:pt x="254719" y="687713"/>
                    </a:lnTo>
                    <a:lnTo>
                      <a:pt x="255071" y="686303"/>
                    </a:lnTo>
                    <a:lnTo>
                      <a:pt x="256217" y="684539"/>
                    </a:lnTo>
                    <a:lnTo>
                      <a:pt x="255336" y="682776"/>
                    </a:lnTo>
                    <a:lnTo>
                      <a:pt x="255336" y="681894"/>
                    </a:lnTo>
                    <a:lnTo>
                      <a:pt x="256482" y="680484"/>
                    </a:lnTo>
                    <a:lnTo>
                      <a:pt x="256217" y="679602"/>
                    </a:lnTo>
                    <a:lnTo>
                      <a:pt x="256835" y="676957"/>
                    </a:lnTo>
                    <a:lnTo>
                      <a:pt x="257452" y="676957"/>
                    </a:lnTo>
                    <a:lnTo>
                      <a:pt x="258862" y="675194"/>
                    </a:lnTo>
                    <a:lnTo>
                      <a:pt x="259479" y="674929"/>
                    </a:lnTo>
                    <a:lnTo>
                      <a:pt x="260626" y="673783"/>
                    </a:lnTo>
                    <a:lnTo>
                      <a:pt x="261155" y="674400"/>
                    </a:lnTo>
                    <a:lnTo>
                      <a:pt x="262918" y="672637"/>
                    </a:lnTo>
                    <a:lnTo>
                      <a:pt x="263800" y="669991"/>
                    </a:lnTo>
                    <a:lnTo>
                      <a:pt x="265211" y="668845"/>
                    </a:lnTo>
                    <a:lnTo>
                      <a:pt x="268473" y="667964"/>
                    </a:lnTo>
                    <a:lnTo>
                      <a:pt x="270501" y="667964"/>
                    </a:lnTo>
                    <a:lnTo>
                      <a:pt x="273057" y="667082"/>
                    </a:lnTo>
                    <a:lnTo>
                      <a:pt x="274821" y="667082"/>
                    </a:lnTo>
                    <a:lnTo>
                      <a:pt x="276232" y="667964"/>
                    </a:lnTo>
                    <a:lnTo>
                      <a:pt x="276232" y="669110"/>
                    </a:lnTo>
                    <a:lnTo>
                      <a:pt x="280640" y="670609"/>
                    </a:lnTo>
                    <a:lnTo>
                      <a:pt x="280375" y="669462"/>
                    </a:lnTo>
                    <a:lnTo>
                      <a:pt x="278083" y="668581"/>
                    </a:lnTo>
                    <a:lnTo>
                      <a:pt x="276584" y="667082"/>
                    </a:lnTo>
                    <a:lnTo>
                      <a:pt x="275967" y="665319"/>
                    </a:lnTo>
                    <a:lnTo>
                      <a:pt x="274556" y="666200"/>
                    </a:lnTo>
                    <a:lnTo>
                      <a:pt x="272528" y="665319"/>
                    </a:lnTo>
                    <a:lnTo>
                      <a:pt x="270501" y="666200"/>
                    </a:lnTo>
                    <a:lnTo>
                      <a:pt x="269883" y="664173"/>
                    </a:lnTo>
                    <a:lnTo>
                      <a:pt x="268737" y="663291"/>
                    </a:lnTo>
                    <a:lnTo>
                      <a:pt x="266709" y="663555"/>
                    </a:lnTo>
                    <a:lnTo>
                      <a:pt x="270236" y="661792"/>
                    </a:lnTo>
                    <a:lnTo>
                      <a:pt x="270589" y="660381"/>
                    </a:lnTo>
                    <a:lnTo>
                      <a:pt x="269972" y="659499"/>
                    </a:lnTo>
                    <a:lnTo>
                      <a:pt x="271383" y="658089"/>
                    </a:lnTo>
                    <a:lnTo>
                      <a:pt x="270765" y="656590"/>
                    </a:lnTo>
                    <a:lnTo>
                      <a:pt x="274027" y="655708"/>
                    </a:lnTo>
                    <a:lnTo>
                      <a:pt x="275526" y="653681"/>
                    </a:lnTo>
                    <a:lnTo>
                      <a:pt x="276055" y="652799"/>
                    </a:lnTo>
                    <a:lnTo>
                      <a:pt x="276055" y="649272"/>
                    </a:lnTo>
                    <a:lnTo>
                      <a:pt x="275791" y="650418"/>
                    </a:lnTo>
                    <a:lnTo>
                      <a:pt x="276320" y="651300"/>
                    </a:lnTo>
                    <a:lnTo>
                      <a:pt x="277466" y="648126"/>
                    </a:lnTo>
                    <a:lnTo>
                      <a:pt x="277819" y="646980"/>
                    </a:lnTo>
                    <a:lnTo>
                      <a:pt x="277201" y="646098"/>
                    </a:lnTo>
                    <a:lnTo>
                      <a:pt x="276584" y="644952"/>
                    </a:lnTo>
                    <a:lnTo>
                      <a:pt x="277201" y="644335"/>
                    </a:lnTo>
                    <a:lnTo>
                      <a:pt x="278700" y="642924"/>
                    </a:lnTo>
                    <a:lnTo>
                      <a:pt x="279582" y="642924"/>
                    </a:lnTo>
                    <a:lnTo>
                      <a:pt x="281610" y="642042"/>
                    </a:lnTo>
                    <a:lnTo>
                      <a:pt x="280728" y="641425"/>
                    </a:lnTo>
                    <a:lnTo>
                      <a:pt x="281345" y="640543"/>
                    </a:lnTo>
                    <a:lnTo>
                      <a:pt x="281610" y="641425"/>
                    </a:lnTo>
                    <a:lnTo>
                      <a:pt x="283638" y="640808"/>
                    </a:lnTo>
                    <a:lnTo>
                      <a:pt x="284255" y="641425"/>
                    </a:lnTo>
                    <a:lnTo>
                      <a:pt x="285401" y="642307"/>
                    </a:lnTo>
                    <a:lnTo>
                      <a:pt x="286900" y="641425"/>
                    </a:lnTo>
                    <a:lnTo>
                      <a:pt x="288046" y="640543"/>
                    </a:lnTo>
                    <a:lnTo>
                      <a:pt x="287782" y="638780"/>
                    </a:lnTo>
                    <a:lnTo>
                      <a:pt x="288399" y="635606"/>
                    </a:lnTo>
                    <a:lnTo>
                      <a:pt x="290427" y="637634"/>
                    </a:lnTo>
                    <a:lnTo>
                      <a:pt x="289280" y="637017"/>
                    </a:lnTo>
                    <a:lnTo>
                      <a:pt x="289280" y="635870"/>
                    </a:lnTo>
                    <a:lnTo>
                      <a:pt x="288663" y="632696"/>
                    </a:lnTo>
                    <a:lnTo>
                      <a:pt x="288928" y="631550"/>
                    </a:lnTo>
                    <a:lnTo>
                      <a:pt x="290162" y="631550"/>
                    </a:lnTo>
                    <a:lnTo>
                      <a:pt x="288663" y="629170"/>
                    </a:lnTo>
                    <a:lnTo>
                      <a:pt x="288663" y="628552"/>
                    </a:lnTo>
                    <a:lnTo>
                      <a:pt x="288663" y="626525"/>
                    </a:lnTo>
                    <a:lnTo>
                      <a:pt x="288928" y="624497"/>
                    </a:lnTo>
                    <a:lnTo>
                      <a:pt x="289192" y="622469"/>
                    </a:lnTo>
                    <a:lnTo>
                      <a:pt x="289192" y="622204"/>
                    </a:lnTo>
                    <a:lnTo>
                      <a:pt x="286900" y="621058"/>
                    </a:lnTo>
                    <a:lnTo>
                      <a:pt x="286900" y="619030"/>
                    </a:lnTo>
                    <a:lnTo>
                      <a:pt x="287517" y="616121"/>
                    </a:lnTo>
                    <a:lnTo>
                      <a:pt x="286635" y="614093"/>
                    </a:lnTo>
                    <a:lnTo>
                      <a:pt x="286635" y="613211"/>
                    </a:lnTo>
                    <a:lnTo>
                      <a:pt x="286018" y="610566"/>
                    </a:lnTo>
                    <a:lnTo>
                      <a:pt x="286900" y="608803"/>
                    </a:lnTo>
                    <a:lnTo>
                      <a:pt x="286900" y="607921"/>
                    </a:lnTo>
                    <a:lnTo>
                      <a:pt x="286282" y="606158"/>
                    </a:lnTo>
                    <a:lnTo>
                      <a:pt x="285666" y="605541"/>
                    </a:lnTo>
                    <a:lnTo>
                      <a:pt x="285049" y="605276"/>
                    </a:lnTo>
                    <a:lnTo>
                      <a:pt x="284784" y="603248"/>
                    </a:lnTo>
                    <a:lnTo>
                      <a:pt x="285049" y="599457"/>
                    </a:lnTo>
                    <a:lnTo>
                      <a:pt x="285666" y="598575"/>
                    </a:lnTo>
                    <a:lnTo>
                      <a:pt x="286282" y="597429"/>
                    </a:lnTo>
                    <a:lnTo>
                      <a:pt x="287164" y="596283"/>
                    </a:lnTo>
                    <a:lnTo>
                      <a:pt x="288046" y="594784"/>
                    </a:lnTo>
                    <a:lnTo>
                      <a:pt x="288311" y="592756"/>
                    </a:lnTo>
                    <a:lnTo>
                      <a:pt x="288311" y="590111"/>
                    </a:lnTo>
                    <a:lnTo>
                      <a:pt x="288840" y="589847"/>
                    </a:lnTo>
                    <a:lnTo>
                      <a:pt x="290338" y="587819"/>
                    </a:lnTo>
                    <a:lnTo>
                      <a:pt x="288840" y="583763"/>
                    </a:lnTo>
                    <a:lnTo>
                      <a:pt x="289721" y="579707"/>
                    </a:lnTo>
                    <a:lnTo>
                      <a:pt x="288840" y="577679"/>
                    </a:lnTo>
                    <a:lnTo>
                      <a:pt x="290074" y="574417"/>
                    </a:lnTo>
                    <a:lnTo>
                      <a:pt x="291220" y="573271"/>
                    </a:lnTo>
                    <a:lnTo>
                      <a:pt x="291220" y="571508"/>
                    </a:lnTo>
                    <a:lnTo>
                      <a:pt x="290338" y="570361"/>
                    </a:lnTo>
                    <a:lnTo>
                      <a:pt x="290956" y="569480"/>
                    </a:lnTo>
                    <a:lnTo>
                      <a:pt x="291308" y="568333"/>
                    </a:lnTo>
                    <a:lnTo>
                      <a:pt x="290956" y="567716"/>
                    </a:lnTo>
                    <a:lnTo>
                      <a:pt x="290691" y="565953"/>
                    </a:lnTo>
                    <a:lnTo>
                      <a:pt x="291308" y="565071"/>
                    </a:lnTo>
                    <a:lnTo>
                      <a:pt x="290691" y="564454"/>
                    </a:lnTo>
                    <a:lnTo>
                      <a:pt x="289809" y="563572"/>
                    </a:lnTo>
                    <a:lnTo>
                      <a:pt x="288663" y="563220"/>
                    </a:lnTo>
                    <a:lnTo>
                      <a:pt x="288046" y="562955"/>
                    </a:lnTo>
                    <a:lnTo>
                      <a:pt x="288311" y="562073"/>
                    </a:lnTo>
                    <a:lnTo>
                      <a:pt x="287164" y="562073"/>
                    </a:lnTo>
                    <a:lnTo>
                      <a:pt x="285666" y="560575"/>
                    </a:lnTo>
                    <a:lnTo>
                      <a:pt x="283902" y="558811"/>
                    </a:lnTo>
                    <a:lnTo>
                      <a:pt x="284520" y="558547"/>
                    </a:lnTo>
                    <a:lnTo>
                      <a:pt x="284784" y="557048"/>
                    </a:lnTo>
                    <a:lnTo>
                      <a:pt x="285401" y="556431"/>
                    </a:lnTo>
                    <a:lnTo>
                      <a:pt x="285401" y="557048"/>
                    </a:lnTo>
                    <a:lnTo>
                      <a:pt x="285666" y="558811"/>
                    </a:lnTo>
                    <a:lnTo>
                      <a:pt x="286282" y="558282"/>
                    </a:lnTo>
                    <a:lnTo>
                      <a:pt x="286547" y="555108"/>
                    </a:lnTo>
                    <a:lnTo>
                      <a:pt x="286900" y="557136"/>
                    </a:lnTo>
                    <a:lnTo>
                      <a:pt x="288046" y="558899"/>
                    </a:lnTo>
                    <a:lnTo>
                      <a:pt x="288928" y="560663"/>
                    </a:lnTo>
                    <a:lnTo>
                      <a:pt x="288928" y="562162"/>
                    </a:lnTo>
                    <a:lnTo>
                      <a:pt x="290427" y="562779"/>
                    </a:lnTo>
                    <a:lnTo>
                      <a:pt x="287782" y="556695"/>
                    </a:lnTo>
                    <a:lnTo>
                      <a:pt x="287782" y="555196"/>
                    </a:lnTo>
                    <a:lnTo>
                      <a:pt x="288399" y="554932"/>
                    </a:lnTo>
                    <a:lnTo>
                      <a:pt x="288399" y="553433"/>
                    </a:lnTo>
                    <a:lnTo>
                      <a:pt x="288399" y="550523"/>
                    </a:lnTo>
                    <a:lnTo>
                      <a:pt x="286018" y="548760"/>
                    </a:lnTo>
                    <a:lnTo>
                      <a:pt x="284608" y="545851"/>
                    </a:lnTo>
                    <a:lnTo>
                      <a:pt x="284608" y="544352"/>
                    </a:lnTo>
                    <a:lnTo>
                      <a:pt x="283726" y="544352"/>
                    </a:lnTo>
                    <a:lnTo>
                      <a:pt x="282580" y="544352"/>
                    </a:lnTo>
                    <a:lnTo>
                      <a:pt x="283726" y="543205"/>
                    </a:lnTo>
                    <a:lnTo>
                      <a:pt x="285753" y="542324"/>
                    </a:lnTo>
                    <a:lnTo>
                      <a:pt x="285489" y="540560"/>
                    </a:lnTo>
                    <a:lnTo>
                      <a:pt x="286988" y="538533"/>
                    </a:lnTo>
                    <a:lnTo>
                      <a:pt x="285225" y="536152"/>
                    </a:lnTo>
                    <a:lnTo>
                      <a:pt x="285842" y="535270"/>
                    </a:lnTo>
                    <a:lnTo>
                      <a:pt x="284960" y="534389"/>
                    </a:lnTo>
                    <a:lnTo>
                      <a:pt x="284960" y="533771"/>
                    </a:lnTo>
                    <a:lnTo>
                      <a:pt x="284696" y="532008"/>
                    </a:lnTo>
                    <a:lnTo>
                      <a:pt x="283197" y="531391"/>
                    </a:lnTo>
                    <a:lnTo>
                      <a:pt x="283197" y="529363"/>
                    </a:lnTo>
                    <a:lnTo>
                      <a:pt x="282315" y="527600"/>
                    </a:lnTo>
                    <a:lnTo>
                      <a:pt x="280287" y="525836"/>
                    </a:lnTo>
                    <a:lnTo>
                      <a:pt x="280904" y="522045"/>
                    </a:lnTo>
                    <a:lnTo>
                      <a:pt x="281522" y="519400"/>
                    </a:lnTo>
                    <a:lnTo>
                      <a:pt x="281522" y="518783"/>
                    </a:lnTo>
                    <a:lnTo>
                      <a:pt x="281169" y="515873"/>
                    </a:lnTo>
                    <a:lnTo>
                      <a:pt x="281786" y="513228"/>
                    </a:lnTo>
                    <a:lnTo>
                      <a:pt x="282933" y="511465"/>
                    </a:lnTo>
                    <a:lnTo>
                      <a:pt x="284078" y="506527"/>
                    </a:lnTo>
                    <a:lnTo>
                      <a:pt x="286459" y="504764"/>
                    </a:lnTo>
                    <a:lnTo>
                      <a:pt x="289633" y="503618"/>
                    </a:lnTo>
                    <a:lnTo>
                      <a:pt x="289898" y="502119"/>
                    </a:lnTo>
                    <a:lnTo>
                      <a:pt x="290779" y="502119"/>
                    </a:lnTo>
                    <a:lnTo>
                      <a:pt x="293072" y="502119"/>
                    </a:lnTo>
                    <a:lnTo>
                      <a:pt x="293689" y="501854"/>
                    </a:lnTo>
                    <a:lnTo>
                      <a:pt x="294835" y="502119"/>
                    </a:lnTo>
                    <a:lnTo>
                      <a:pt x="294835" y="503618"/>
                    </a:lnTo>
                    <a:lnTo>
                      <a:pt x="293425" y="505381"/>
                    </a:lnTo>
                    <a:lnTo>
                      <a:pt x="294041" y="505998"/>
                    </a:lnTo>
                    <a:lnTo>
                      <a:pt x="295188" y="505998"/>
                    </a:lnTo>
                    <a:lnTo>
                      <a:pt x="297216" y="503618"/>
                    </a:lnTo>
                    <a:lnTo>
                      <a:pt x="296687" y="501325"/>
                    </a:lnTo>
                    <a:lnTo>
                      <a:pt x="298715" y="499298"/>
                    </a:lnTo>
                    <a:lnTo>
                      <a:pt x="297833" y="501061"/>
                    </a:lnTo>
                    <a:lnTo>
                      <a:pt x="298097" y="502207"/>
                    </a:lnTo>
                    <a:lnTo>
                      <a:pt x="298097" y="505117"/>
                    </a:lnTo>
                    <a:lnTo>
                      <a:pt x="300390" y="504852"/>
                    </a:lnTo>
                    <a:lnTo>
                      <a:pt x="301536" y="503971"/>
                    </a:lnTo>
                    <a:lnTo>
                      <a:pt x="300037" y="502207"/>
                    </a:lnTo>
                    <a:lnTo>
                      <a:pt x="302682" y="500179"/>
                    </a:lnTo>
                    <a:lnTo>
                      <a:pt x="302329" y="497887"/>
                    </a:lnTo>
                    <a:lnTo>
                      <a:pt x="303211" y="494096"/>
                    </a:lnTo>
                    <a:lnTo>
                      <a:pt x="304622" y="493214"/>
                    </a:lnTo>
                    <a:lnTo>
                      <a:pt x="302858" y="491186"/>
                    </a:lnTo>
                    <a:lnTo>
                      <a:pt x="304269" y="489423"/>
                    </a:lnTo>
                    <a:lnTo>
                      <a:pt x="306033" y="489158"/>
                    </a:lnTo>
                    <a:lnTo>
                      <a:pt x="307531" y="489423"/>
                    </a:lnTo>
                    <a:lnTo>
                      <a:pt x="306650" y="490569"/>
                    </a:lnTo>
                    <a:lnTo>
                      <a:pt x="308413" y="490304"/>
                    </a:lnTo>
                    <a:lnTo>
                      <a:pt x="310176" y="490304"/>
                    </a:lnTo>
                    <a:lnTo>
                      <a:pt x="309559" y="489423"/>
                    </a:lnTo>
                    <a:lnTo>
                      <a:pt x="310441" y="489687"/>
                    </a:lnTo>
                    <a:lnTo>
                      <a:pt x="311587" y="490304"/>
                    </a:lnTo>
                    <a:lnTo>
                      <a:pt x="313615" y="490569"/>
                    </a:lnTo>
                    <a:lnTo>
                      <a:pt x="313615" y="491186"/>
                    </a:lnTo>
                    <a:lnTo>
                      <a:pt x="316260" y="489423"/>
                    </a:lnTo>
                    <a:lnTo>
                      <a:pt x="318905" y="489423"/>
                    </a:lnTo>
                    <a:lnTo>
                      <a:pt x="319170" y="488277"/>
                    </a:lnTo>
                    <a:lnTo>
                      <a:pt x="320580" y="487748"/>
                    </a:lnTo>
                    <a:lnTo>
                      <a:pt x="322079" y="487748"/>
                    </a:lnTo>
                    <a:lnTo>
                      <a:pt x="323225" y="486866"/>
                    </a:lnTo>
                    <a:lnTo>
                      <a:pt x="322608" y="485102"/>
                    </a:lnTo>
                    <a:lnTo>
                      <a:pt x="324019" y="484750"/>
                    </a:lnTo>
                    <a:lnTo>
                      <a:pt x="324636" y="485367"/>
                    </a:lnTo>
                    <a:lnTo>
                      <a:pt x="324900" y="484750"/>
                    </a:lnTo>
                    <a:lnTo>
                      <a:pt x="326929" y="483339"/>
                    </a:lnTo>
                    <a:lnTo>
                      <a:pt x="328692" y="480430"/>
                    </a:lnTo>
                    <a:lnTo>
                      <a:pt x="328427" y="479019"/>
                    </a:lnTo>
                    <a:lnTo>
                      <a:pt x="329309" y="478137"/>
                    </a:lnTo>
                    <a:lnTo>
                      <a:pt x="329309" y="475492"/>
                    </a:lnTo>
                    <a:lnTo>
                      <a:pt x="329044" y="473200"/>
                    </a:lnTo>
                    <a:lnTo>
                      <a:pt x="327017" y="473464"/>
                    </a:lnTo>
                    <a:lnTo>
                      <a:pt x="326135" y="474875"/>
                    </a:lnTo>
                    <a:lnTo>
                      <a:pt x="327546" y="477255"/>
                    </a:lnTo>
                    <a:lnTo>
                      <a:pt x="326135" y="478137"/>
                    </a:lnTo>
                    <a:lnTo>
                      <a:pt x="325253" y="477520"/>
                    </a:lnTo>
                    <a:lnTo>
                      <a:pt x="324371" y="477255"/>
                    </a:lnTo>
                    <a:lnTo>
                      <a:pt x="324107" y="475757"/>
                    </a:lnTo>
                    <a:lnTo>
                      <a:pt x="324107" y="474875"/>
                    </a:lnTo>
                    <a:lnTo>
                      <a:pt x="325871" y="472230"/>
                    </a:lnTo>
                    <a:lnTo>
                      <a:pt x="328515" y="468439"/>
                    </a:lnTo>
                    <a:lnTo>
                      <a:pt x="330279" y="467292"/>
                    </a:lnTo>
                    <a:lnTo>
                      <a:pt x="334334" y="464118"/>
                    </a:lnTo>
                    <a:lnTo>
                      <a:pt x="336098" y="463854"/>
                    </a:lnTo>
                    <a:lnTo>
                      <a:pt x="337244" y="463854"/>
                    </a:lnTo>
                    <a:lnTo>
                      <a:pt x="339008" y="462972"/>
                    </a:lnTo>
                    <a:lnTo>
                      <a:pt x="338655" y="461209"/>
                    </a:lnTo>
                    <a:lnTo>
                      <a:pt x="341917" y="460063"/>
                    </a:lnTo>
                    <a:lnTo>
                      <a:pt x="342799" y="458564"/>
                    </a:lnTo>
                    <a:lnTo>
                      <a:pt x="342534" y="457682"/>
                    </a:lnTo>
                    <a:lnTo>
                      <a:pt x="343416" y="457153"/>
                    </a:lnTo>
                    <a:lnTo>
                      <a:pt x="343416" y="455742"/>
                    </a:lnTo>
                    <a:lnTo>
                      <a:pt x="344562" y="454861"/>
                    </a:lnTo>
                    <a:lnTo>
                      <a:pt x="346326" y="454861"/>
                    </a:lnTo>
                    <a:lnTo>
                      <a:pt x="347824" y="450805"/>
                    </a:lnTo>
                    <a:lnTo>
                      <a:pt x="347824" y="450188"/>
                    </a:lnTo>
                    <a:lnTo>
                      <a:pt x="348706" y="449571"/>
                    </a:lnTo>
                    <a:lnTo>
                      <a:pt x="349852" y="450188"/>
                    </a:lnTo>
                    <a:lnTo>
                      <a:pt x="350469" y="447807"/>
                    </a:lnTo>
                    <a:lnTo>
                      <a:pt x="352497" y="444898"/>
                    </a:lnTo>
                    <a:lnTo>
                      <a:pt x="354260" y="444016"/>
                    </a:lnTo>
                    <a:lnTo>
                      <a:pt x="355759" y="442605"/>
                    </a:lnTo>
                    <a:lnTo>
                      <a:pt x="358052" y="442605"/>
                    </a:lnTo>
                    <a:lnTo>
                      <a:pt x="358934" y="442341"/>
                    </a:lnTo>
                    <a:lnTo>
                      <a:pt x="360697" y="440577"/>
                    </a:lnTo>
                    <a:lnTo>
                      <a:pt x="360697" y="439696"/>
                    </a:lnTo>
                    <a:lnTo>
                      <a:pt x="363606" y="437403"/>
                    </a:lnTo>
                    <a:lnTo>
                      <a:pt x="363871" y="435376"/>
                    </a:lnTo>
                    <a:lnTo>
                      <a:pt x="363254" y="435376"/>
                    </a:lnTo>
                    <a:lnTo>
                      <a:pt x="362989" y="434229"/>
                    </a:lnTo>
                    <a:lnTo>
                      <a:pt x="363871" y="434229"/>
                    </a:lnTo>
                    <a:lnTo>
                      <a:pt x="366516" y="431320"/>
                    </a:lnTo>
                    <a:lnTo>
                      <a:pt x="366516" y="430703"/>
                    </a:lnTo>
                    <a:lnTo>
                      <a:pt x="367397" y="428939"/>
                    </a:lnTo>
                    <a:lnTo>
                      <a:pt x="370042" y="426294"/>
                    </a:lnTo>
                    <a:lnTo>
                      <a:pt x="371542" y="423649"/>
                    </a:lnTo>
                    <a:lnTo>
                      <a:pt x="372159" y="421357"/>
                    </a:lnTo>
                    <a:lnTo>
                      <a:pt x="371277" y="421357"/>
                    </a:lnTo>
                    <a:lnTo>
                      <a:pt x="370660" y="421092"/>
                    </a:lnTo>
                    <a:lnTo>
                      <a:pt x="370924" y="419593"/>
                    </a:lnTo>
                    <a:lnTo>
                      <a:pt x="371542" y="419593"/>
                    </a:lnTo>
                    <a:lnTo>
                      <a:pt x="372159" y="420211"/>
                    </a:lnTo>
                    <a:lnTo>
                      <a:pt x="372423" y="419593"/>
                    </a:lnTo>
                    <a:lnTo>
                      <a:pt x="373834" y="417830"/>
                    </a:lnTo>
                    <a:lnTo>
                      <a:pt x="376743" y="415185"/>
                    </a:lnTo>
                    <a:lnTo>
                      <a:pt x="377890" y="413422"/>
                    </a:lnTo>
                    <a:lnTo>
                      <a:pt x="377625" y="412275"/>
                    </a:lnTo>
                    <a:lnTo>
                      <a:pt x="379036" y="410776"/>
                    </a:lnTo>
                    <a:lnTo>
                      <a:pt x="383709" y="409013"/>
                    </a:lnTo>
                    <a:lnTo>
                      <a:pt x="386354" y="409278"/>
                    </a:lnTo>
                    <a:lnTo>
                      <a:pt x="388646" y="408132"/>
                    </a:lnTo>
                    <a:lnTo>
                      <a:pt x="387500" y="406985"/>
                    </a:lnTo>
                    <a:lnTo>
                      <a:pt x="384590" y="407250"/>
                    </a:lnTo>
                    <a:lnTo>
                      <a:pt x="383973" y="407867"/>
                    </a:lnTo>
                    <a:lnTo>
                      <a:pt x="383092" y="408132"/>
                    </a:lnTo>
                    <a:lnTo>
                      <a:pt x="383356" y="407250"/>
                    </a:lnTo>
                    <a:lnTo>
                      <a:pt x="383621" y="406985"/>
                    </a:lnTo>
                    <a:lnTo>
                      <a:pt x="383621" y="406721"/>
                    </a:lnTo>
                    <a:lnTo>
                      <a:pt x="383092" y="406456"/>
                    </a:lnTo>
                    <a:lnTo>
                      <a:pt x="382474" y="406985"/>
                    </a:lnTo>
                    <a:lnTo>
                      <a:pt x="381328" y="406721"/>
                    </a:lnTo>
                    <a:lnTo>
                      <a:pt x="380711" y="406985"/>
                    </a:lnTo>
                    <a:lnTo>
                      <a:pt x="381063" y="407867"/>
                    </a:lnTo>
                    <a:lnTo>
                      <a:pt x="380711" y="408484"/>
                    </a:lnTo>
                    <a:lnTo>
                      <a:pt x="381063" y="409101"/>
                    </a:lnTo>
                    <a:lnTo>
                      <a:pt x="380447" y="409366"/>
                    </a:lnTo>
                    <a:lnTo>
                      <a:pt x="380182" y="409101"/>
                    </a:lnTo>
                    <a:lnTo>
                      <a:pt x="379301" y="409366"/>
                    </a:lnTo>
                    <a:lnTo>
                      <a:pt x="378154" y="409630"/>
                    </a:lnTo>
                    <a:lnTo>
                      <a:pt x="377890" y="410247"/>
                    </a:lnTo>
                    <a:lnTo>
                      <a:pt x="377008" y="410247"/>
                    </a:lnTo>
                    <a:lnTo>
                      <a:pt x="377272" y="409630"/>
                    </a:lnTo>
                    <a:lnTo>
                      <a:pt x="376126" y="409101"/>
                    </a:lnTo>
                    <a:lnTo>
                      <a:pt x="377008" y="407955"/>
                    </a:lnTo>
                    <a:lnTo>
                      <a:pt x="380534" y="406192"/>
                    </a:lnTo>
                    <a:lnTo>
                      <a:pt x="380534" y="405310"/>
                    </a:lnTo>
                    <a:lnTo>
                      <a:pt x="380270" y="404164"/>
                    </a:lnTo>
                    <a:lnTo>
                      <a:pt x="383444" y="403547"/>
                    </a:lnTo>
                    <a:lnTo>
                      <a:pt x="383180" y="402400"/>
                    </a:lnTo>
                    <a:lnTo>
                      <a:pt x="384679" y="400902"/>
                    </a:lnTo>
                    <a:lnTo>
                      <a:pt x="387853" y="401519"/>
                    </a:lnTo>
                    <a:lnTo>
                      <a:pt x="388206" y="402400"/>
                    </a:lnTo>
                    <a:lnTo>
                      <a:pt x="388206" y="403547"/>
                    </a:lnTo>
                    <a:lnTo>
                      <a:pt x="387059" y="403811"/>
                    </a:lnTo>
                    <a:lnTo>
                      <a:pt x="387941" y="404428"/>
                    </a:lnTo>
                    <a:lnTo>
                      <a:pt x="387059" y="405310"/>
                    </a:lnTo>
                    <a:lnTo>
                      <a:pt x="385913" y="405046"/>
                    </a:lnTo>
                    <a:lnTo>
                      <a:pt x="384767" y="405310"/>
                    </a:lnTo>
                    <a:lnTo>
                      <a:pt x="385648" y="406192"/>
                    </a:lnTo>
                    <a:lnTo>
                      <a:pt x="387412" y="406192"/>
                    </a:lnTo>
                    <a:lnTo>
                      <a:pt x="388558" y="404428"/>
                    </a:lnTo>
                    <a:lnTo>
                      <a:pt x="389969" y="405310"/>
                    </a:lnTo>
                    <a:lnTo>
                      <a:pt x="390322" y="405046"/>
                    </a:lnTo>
                    <a:lnTo>
                      <a:pt x="391203" y="403899"/>
                    </a:lnTo>
                    <a:lnTo>
                      <a:pt x="395611" y="402489"/>
                    </a:lnTo>
                    <a:lnTo>
                      <a:pt x="397375" y="401607"/>
                    </a:lnTo>
                    <a:lnTo>
                      <a:pt x="398521" y="401607"/>
                    </a:lnTo>
                    <a:lnTo>
                      <a:pt x="402930" y="400990"/>
                    </a:lnTo>
                    <a:lnTo>
                      <a:pt x="404076" y="399844"/>
                    </a:lnTo>
                    <a:lnTo>
                      <a:pt x="403811" y="399226"/>
                    </a:lnTo>
                    <a:lnTo>
                      <a:pt x="403547" y="399226"/>
                    </a:lnTo>
                    <a:lnTo>
                      <a:pt x="402665" y="398080"/>
                    </a:lnTo>
                    <a:lnTo>
                      <a:pt x="401783" y="398080"/>
                    </a:lnTo>
                    <a:lnTo>
                      <a:pt x="400637" y="396934"/>
                    </a:lnTo>
                    <a:lnTo>
                      <a:pt x="399227" y="396317"/>
                    </a:lnTo>
                    <a:lnTo>
                      <a:pt x="399227" y="395171"/>
                    </a:lnTo>
                    <a:lnTo>
                      <a:pt x="400108" y="394554"/>
                    </a:lnTo>
                    <a:lnTo>
                      <a:pt x="400637" y="396317"/>
                    </a:lnTo>
                    <a:lnTo>
                      <a:pt x="401783" y="396934"/>
                    </a:lnTo>
                    <a:lnTo>
                      <a:pt x="402401" y="396934"/>
                    </a:lnTo>
                    <a:lnTo>
                      <a:pt x="404164" y="398697"/>
                    </a:lnTo>
                    <a:lnTo>
                      <a:pt x="405310" y="398697"/>
                    </a:lnTo>
                    <a:lnTo>
                      <a:pt x="405575" y="398080"/>
                    </a:lnTo>
                    <a:lnTo>
                      <a:pt x="406721" y="396317"/>
                    </a:lnTo>
                    <a:lnTo>
                      <a:pt x="406456" y="393143"/>
                    </a:lnTo>
                    <a:lnTo>
                      <a:pt x="407073" y="390498"/>
                    </a:lnTo>
                    <a:lnTo>
                      <a:pt x="410248" y="391908"/>
                    </a:lnTo>
                    <a:lnTo>
                      <a:pt x="411393" y="391291"/>
                    </a:lnTo>
                    <a:lnTo>
                      <a:pt x="411658" y="390410"/>
                    </a:lnTo>
                    <a:lnTo>
                      <a:pt x="410777" y="390674"/>
                    </a:lnTo>
                    <a:lnTo>
                      <a:pt x="411922" y="389792"/>
                    </a:lnTo>
                    <a:lnTo>
                      <a:pt x="412187" y="388646"/>
                    </a:lnTo>
                    <a:lnTo>
                      <a:pt x="411570" y="387765"/>
                    </a:lnTo>
                    <a:lnTo>
                      <a:pt x="411306" y="388382"/>
                    </a:lnTo>
                    <a:lnTo>
                      <a:pt x="410688" y="388646"/>
                    </a:lnTo>
                    <a:lnTo>
                      <a:pt x="410424" y="388029"/>
                    </a:lnTo>
                    <a:lnTo>
                      <a:pt x="410424" y="386883"/>
                    </a:lnTo>
                    <a:lnTo>
                      <a:pt x="411306" y="386266"/>
                    </a:lnTo>
                    <a:lnTo>
                      <a:pt x="413598" y="385649"/>
                    </a:lnTo>
                    <a:lnTo>
                      <a:pt x="412716" y="383621"/>
                    </a:lnTo>
                    <a:lnTo>
                      <a:pt x="418271" y="383092"/>
                    </a:lnTo>
                    <a:lnTo>
                      <a:pt x="417389" y="381328"/>
                    </a:lnTo>
                    <a:lnTo>
                      <a:pt x="415978" y="381593"/>
                    </a:lnTo>
                    <a:lnTo>
                      <a:pt x="413598" y="381328"/>
                    </a:lnTo>
                    <a:lnTo>
                      <a:pt x="413598" y="380711"/>
                    </a:lnTo>
                    <a:lnTo>
                      <a:pt x="413862" y="380182"/>
                    </a:lnTo>
                    <a:lnTo>
                      <a:pt x="413598" y="379565"/>
                    </a:lnTo>
                    <a:lnTo>
                      <a:pt x="412452" y="378683"/>
                    </a:lnTo>
                    <a:lnTo>
                      <a:pt x="413333" y="378683"/>
                    </a:lnTo>
                    <a:lnTo>
                      <a:pt x="413333" y="378066"/>
                    </a:lnTo>
                    <a:lnTo>
                      <a:pt x="412716" y="374275"/>
                    </a:lnTo>
                    <a:lnTo>
                      <a:pt x="411570" y="374010"/>
                    </a:lnTo>
                    <a:lnTo>
                      <a:pt x="411922" y="371101"/>
                    </a:lnTo>
                    <a:lnTo>
                      <a:pt x="409013" y="368720"/>
                    </a:lnTo>
                    <a:lnTo>
                      <a:pt x="408748" y="367839"/>
                    </a:lnTo>
                    <a:lnTo>
                      <a:pt x="410777" y="366692"/>
                    </a:lnTo>
                    <a:lnTo>
                      <a:pt x="411393" y="363166"/>
                    </a:lnTo>
                    <a:lnTo>
                      <a:pt x="414920" y="361402"/>
                    </a:lnTo>
                    <a:lnTo>
                      <a:pt x="417830" y="359639"/>
                    </a:lnTo>
                    <a:lnTo>
                      <a:pt x="421621" y="358757"/>
                    </a:lnTo>
                    <a:lnTo>
                      <a:pt x="422503" y="358493"/>
                    </a:lnTo>
                    <a:lnTo>
                      <a:pt x="425412" y="356994"/>
                    </a:lnTo>
                    <a:lnTo>
                      <a:pt x="426911" y="356994"/>
                    </a:lnTo>
                    <a:lnTo>
                      <a:pt x="429821" y="355848"/>
                    </a:lnTo>
                    <a:lnTo>
                      <a:pt x="431320" y="354084"/>
                    </a:lnTo>
                    <a:lnTo>
                      <a:pt x="431055" y="353203"/>
                    </a:lnTo>
                    <a:lnTo>
                      <a:pt x="433083" y="351439"/>
                    </a:lnTo>
                    <a:lnTo>
                      <a:pt x="434229" y="348530"/>
                    </a:lnTo>
                    <a:lnTo>
                      <a:pt x="433965" y="347384"/>
                    </a:lnTo>
                    <a:lnTo>
                      <a:pt x="435464" y="347384"/>
                    </a:lnTo>
                    <a:lnTo>
                      <a:pt x="435728" y="345973"/>
                    </a:lnTo>
                    <a:lnTo>
                      <a:pt x="435464" y="345091"/>
                    </a:lnTo>
                    <a:lnTo>
                      <a:pt x="434582" y="344209"/>
                    </a:lnTo>
                    <a:lnTo>
                      <a:pt x="433436" y="343945"/>
                    </a:lnTo>
                    <a:lnTo>
                      <a:pt x="432025" y="343328"/>
                    </a:lnTo>
                    <a:lnTo>
                      <a:pt x="430879" y="341300"/>
                    </a:lnTo>
                    <a:lnTo>
                      <a:pt x="430262" y="339889"/>
                    </a:lnTo>
                    <a:lnTo>
                      <a:pt x="429380" y="339007"/>
                    </a:lnTo>
                    <a:lnTo>
                      <a:pt x="430526" y="338390"/>
                    </a:lnTo>
                    <a:lnTo>
                      <a:pt x="431673" y="340154"/>
                    </a:lnTo>
                    <a:lnTo>
                      <a:pt x="432554" y="342799"/>
                    </a:lnTo>
                    <a:lnTo>
                      <a:pt x="433436" y="343063"/>
                    </a:lnTo>
                    <a:lnTo>
                      <a:pt x="434935" y="342446"/>
                    </a:lnTo>
                    <a:lnTo>
                      <a:pt x="434935" y="343063"/>
                    </a:lnTo>
                    <a:lnTo>
                      <a:pt x="435199" y="343680"/>
                    </a:lnTo>
                    <a:lnTo>
                      <a:pt x="436610" y="344298"/>
                    </a:lnTo>
                    <a:lnTo>
                      <a:pt x="436874" y="346061"/>
                    </a:lnTo>
                    <a:lnTo>
                      <a:pt x="435993" y="348706"/>
                    </a:lnTo>
                    <a:lnTo>
                      <a:pt x="435993" y="349588"/>
                    </a:lnTo>
                    <a:lnTo>
                      <a:pt x="436874" y="350205"/>
                    </a:lnTo>
                    <a:lnTo>
                      <a:pt x="436257" y="351351"/>
                    </a:lnTo>
                    <a:lnTo>
                      <a:pt x="438020" y="353379"/>
                    </a:lnTo>
                    <a:lnTo>
                      <a:pt x="438285" y="355407"/>
                    </a:lnTo>
                    <a:lnTo>
                      <a:pt x="438549" y="356906"/>
                    </a:lnTo>
                    <a:lnTo>
                      <a:pt x="437668" y="358405"/>
                    </a:lnTo>
                    <a:lnTo>
                      <a:pt x="438285" y="358669"/>
                    </a:lnTo>
                    <a:lnTo>
                      <a:pt x="438902" y="358052"/>
                    </a:lnTo>
                    <a:lnTo>
                      <a:pt x="439519" y="358669"/>
                    </a:lnTo>
                    <a:lnTo>
                      <a:pt x="439784" y="358052"/>
                    </a:lnTo>
                    <a:lnTo>
                      <a:pt x="439519" y="356906"/>
                    </a:lnTo>
                    <a:lnTo>
                      <a:pt x="439167" y="355759"/>
                    </a:lnTo>
                    <a:lnTo>
                      <a:pt x="439784" y="355759"/>
                    </a:lnTo>
                    <a:lnTo>
                      <a:pt x="439784" y="354878"/>
                    </a:lnTo>
                    <a:lnTo>
                      <a:pt x="440665" y="354878"/>
                    </a:lnTo>
                    <a:lnTo>
                      <a:pt x="440401" y="356024"/>
                    </a:lnTo>
                    <a:lnTo>
                      <a:pt x="440930" y="357170"/>
                    </a:lnTo>
                    <a:lnTo>
                      <a:pt x="440930" y="356906"/>
                    </a:lnTo>
                    <a:lnTo>
                      <a:pt x="441283" y="356288"/>
                    </a:lnTo>
                    <a:lnTo>
                      <a:pt x="441283" y="355407"/>
                    </a:lnTo>
                    <a:lnTo>
                      <a:pt x="441547" y="356906"/>
                    </a:lnTo>
                    <a:lnTo>
                      <a:pt x="441547" y="356024"/>
                    </a:lnTo>
                    <a:lnTo>
                      <a:pt x="441812" y="358052"/>
                    </a:lnTo>
                    <a:lnTo>
                      <a:pt x="442694" y="359198"/>
                    </a:lnTo>
                    <a:lnTo>
                      <a:pt x="443575" y="357699"/>
                    </a:lnTo>
                    <a:lnTo>
                      <a:pt x="443840" y="356817"/>
                    </a:lnTo>
                    <a:lnTo>
                      <a:pt x="443311" y="355671"/>
                    </a:lnTo>
                    <a:lnTo>
                      <a:pt x="442076" y="354172"/>
                    </a:lnTo>
                    <a:lnTo>
                      <a:pt x="441194" y="350646"/>
                    </a:lnTo>
                    <a:lnTo>
                      <a:pt x="441812" y="349499"/>
                    </a:lnTo>
                    <a:lnTo>
                      <a:pt x="441194" y="348618"/>
                    </a:lnTo>
                    <a:lnTo>
                      <a:pt x="443223" y="348618"/>
                    </a:lnTo>
                    <a:lnTo>
                      <a:pt x="443487" y="349764"/>
                    </a:lnTo>
                    <a:lnTo>
                      <a:pt x="442870" y="350646"/>
                    </a:lnTo>
                    <a:lnTo>
                      <a:pt x="443223" y="352145"/>
                    </a:lnTo>
                    <a:lnTo>
                      <a:pt x="443223" y="354437"/>
                    </a:lnTo>
                    <a:lnTo>
                      <a:pt x="444369" y="354701"/>
                    </a:lnTo>
                    <a:lnTo>
                      <a:pt x="444633" y="356729"/>
                    </a:lnTo>
                    <a:lnTo>
                      <a:pt x="444898" y="358493"/>
                    </a:lnTo>
                    <a:lnTo>
                      <a:pt x="444281" y="359639"/>
                    </a:lnTo>
                    <a:lnTo>
                      <a:pt x="444545" y="360521"/>
                    </a:lnTo>
                    <a:lnTo>
                      <a:pt x="445691" y="359903"/>
                    </a:lnTo>
                    <a:lnTo>
                      <a:pt x="444810" y="359639"/>
                    </a:lnTo>
                    <a:lnTo>
                      <a:pt x="445691" y="359022"/>
                    </a:lnTo>
                    <a:lnTo>
                      <a:pt x="446573" y="359639"/>
                    </a:lnTo>
                    <a:lnTo>
                      <a:pt x="446573" y="358757"/>
                    </a:lnTo>
                    <a:lnTo>
                      <a:pt x="446220" y="357875"/>
                    </a:lnTo>
                    <a:lnTo>
                      <a:pt x="445956" y="355848"/>
                    </a:lnTo>
                    <a:lnTo>
                      <a:pt x="446837" y="355583"/>
                    </a:lnTo>
                    <a:lnTo>
                      <a:pt x="447455" y="354701"/>
                    </a:lnTo>
                    <a:lnTo>
                      <a:pt x="447190" y="354084"/>
                    </a:lnTo>
                    <a:lnTo>
                      <a:pt x="445691" y="354084"/>
                    </a:lnTo>
                    <a:lnTo>
                      <a:pt x="445074" y="352321"/>
                    </a:lnTo>
                    <a:lnTo>
                      <a:pt x="445074" y="349411"/>
                    </a:lnTo>
                    <a:lnTo>
                      <a:pt x="444810" y="348530"/>
                    </a:lnTo>
                    <a:lnTo>
                      <a:pt x="444810" y="346502"/>
                    </a:lnTo>
                    <a:lnTo>
                      <a:pt x="443928" y="345091"/>
                    </a:lnTo>
                    <a:lnTo>
                      <a:pt x="444810" y="344209"/>
                    </a:lnTo>
                    <a:lnTo>
                      <a:pt x="444545" y="345356"/>
                    </a:lnTo>
                    <a:lnTo>
                      <a:pt x="445956" y="345620"/>
                    </a:lnTo>
                    <a:lnTo>
                      <a:pt x="446220" y="347384"/>
                    </a:lnTo>
                    <a:lnTo>
                      <a:pt x="445691" y="348530"/>
                    </a:lnTo>
                    <a:lnTo>
                      <a:pt x="446573" y="349411"/>
                    </a:lnTo>
                    <a:lnTo>
                      <a:pt x="447984" y="347384"/>
                    </a:lnTo>
                    <a:lnTo>
                      <a:pt x="446573" y="345973"/>
                    </a:lnTo>
                    <a:lnTo>
                      <a:pt x="447719" y="345091"/>
                    </a:lnTo>
                    <a:lnTo>
                      <a:pt x="448865" y="345973"/>
                    </a:lnTo>
                    <a:lnTo>
                      <a:pt x="448248" y="346590"/>
                    </a:lnTo>
                    <a:lnTo>
                      <a:pt x="449394" y="347472"/>
                    </a:lnTo>
                    <a:lnTo>
                      <a:pt x="449394" y="348089"/>
                    </a:lnTo>
                    <a:lnTo>
                      <a:pt x="448248" y="349499"/>
                    </a:lnTo>
                    <a:lnTo>
                      <a:pt x="448513" y="351263"/>
                    </a:lnTo>
                    <a:lnTo>
                      <a:pt x="448513" y="351527"/>
                    </a:lnTo>
                    <a:lnTo>
                      <a:pt x="447366" y="355936"/>
                    </a:lnTo>
                    <a:lnTo>
                      <a:pt x="449394" y="357964"/>
                    </a:lnTo>
                    <a:lnTo>
                      <a:pt x="449394" y="358581"/>
                    </a:lnTo>
                    <a:lnTo>
                      <a:pt x="449747" y="359727"/>
                    </a:lnTo>
                    <a:lnTo>
                      <a:pt x="450893" y="358845"/>
                    </a:lnTo>
                    <a:lnTo>
                      <a:pt x="450893" y="358581"/>
                    </a:lnTo>
                    <a:lnTo>
                      <a:pt x="450893" y="357964"/>
                    </a:lnTo>
                    <a:lnTo>
                      <a:pt x="450628" y="357082"/>
                    </a:lnTo>
                    <a:lnTo>
                      <a:pt x="450628" y="356817"/>
                    </a:lnTo>
                    <a:lnTo>
                      <a:pt x="450628" y="357082"/>
                    </a:lnTo>
                    <a:lnTo>
                      <a:pt x="450893" y="357964"/>
                    </a:lnTo>
                    <a:lnTo>
                      <a:pt x="450628" y="356817"/>
                    </a:lnTo>
                    <a:lnTo>
                      <a:pt x="451510" y="355936"/>
                    </a:lnTo>
                    <a:lnTo>
                      <a:pt x="452392" y="355936"/>
                    </a:lnTo>
                    <a:lnTo>
                      <a:pt x="452392" y="357082"/>
                    </a:lnTo>
                    <a:lnTo>
                      <a:pt x="453891" y="357964"/>
                    </a:lnTo>
                    <a:lnTo>
                      <a:pt x="455390" y="358581"/>
                    </a:lnTo>
                    <a:lnTo>
                      <a:pt x="455919" y="357964"/>
                    </a:lnTo>
                    <a:lnTo>
                      <a:pt x="456536" y="358581"/>
                    </a:lnTo>
                    <a:lnTo>
                      <a:pt x="457682" y="357964"/>
                    </a:lnTo>
                    <a:lnTo>
                      <a:pt x="457682" y="356817"/>
                    </a:lnTo>
                    <a:lnTo>
                      <a:pt x="455919" y="354172"/>
                    </a:lnTo>
                    <a:lnTo>
                      <a:pt x="455390" y="351263"/>
                    </a:lnTo>
                    <a:lnTo>
                      <a:pt x="452744" y="350998"/>
                    </a:lnTo>
                    <a:lnTo>
                      <a:pt x="451334" y="349499"/>
                    </a:lnTo>
                    <a:lnTo>
                      <a:pt x="452744" y="348618"/>
                    </a:lnTo>
                    <a:lnTo>
                      <a:pt x="452744" y="349499"/>
                    </a:lnTo>
                    <a:lnTo>
                      <a:pt x="454508" y="350117"/>
                    </a:lnTo>
                    <a:lnTo>
                      <a:pt x="455125" y="347472"/>
                    </a:lnTo>
                    <a:lnTo>
                      <a:pt x="453979" y="343416"/>
                    </a:lnTo>
                    <a:lnTo>
                      <a:pt x="453097" y="340506"/>
                    </a:lnTo>
                    <a:lnTo>
                      <a:pt x="453097" y="336098"/>
                    </a:lnTo>
                    <a:lnTo>
                      <a:pt x="452480" y="333188"/>
                    </a:lnTo>
                    <a:lnTo>
                      <a:pt x="450717" y="329133"/>
                    </a:lnTo>
                    <a:lnTo>
                      <a:pt x="451863" y="327105"/>
                    </a:lnTo>
                    <a:lnTo>
                      <a:pt x="449218" y="323578"/>
                    </a:lnTo>
                    <a:lnTo>
                      <a:pt x="449482" y="321550"/>
                    </a:lnTo>
                    <a:lnTo>
                      <a:pt x="448336" y="317494"/>
                    </a:lnTo>
                    <a:lnTo>
                      <a:pt x="443928" y="317759"/>
                    </a:lnTo>
                    <a:lnTo>
                      <a:pt x="443134" y="314849"/>
                    </a:lnTo>
                    <a:lnTo>
                      <a:pt x="445162" y="314585"/>
                    </a:lnTo>
                    <a:lnTo>
                      <a:pt x="444016" y="312292"/>
                    </a:lnTo>
                    <a:lnTo>
                      <a:pt x="445162" y="309912"/>
                    </a:lnTo>
                    <a:lnTo>
                      <a:pt x="441107" y="310176"/>
                    </a:lnTo>
                    <a:lnTo>
                      <a:pt x="439343" y="307884"/>
                    </a:lnTo>
                    <a:lnTo>
                      <a:pt x="438197" y="306385"/>
                    </a:lnTo>
                    <a:lnTo>
                      <a:pt x="437932" y="304974"/>
                    </a:lnTo>
                    <a:lnTo>
                      <a:pt x="438197" y="303211"/>
                    </a:lnTo>
                    <a:lnTo>
                      <a:pt x="440489" y="302947"/>
                    </a:lnTo>
                    <a:lnTo>
                      <a:pt x="442517" y="301800"/>
                    </a:lnTo>
                    <a:lnTo>
                      <a:pt x="442517" y="299155"/>
                    </a:lnTo>
                    <a:lnTo>
                      <a:pt x="443134" y="296510"/>
                    </a:lnTo>
                    <a:lnTo>
                      <a:pt x="442252" y="295011"/>
                    </a:lnTo>
                    <a:lnTo>
                      <a:pt x="440489" y="295011"/>
                    </a:lnTo>
                    <a:lnTo>
                      <a:pt x="441371" y="293601"/>
                    </a:lnTo>
                    <a:lnTo>
                      <a:pt x="439872" y="291573"/>
                    </a:lnTo>
                    <a:lnTo>
                      <a:pt x="437844" y="290691"/>
                    </a:lnTo>
                    <a:lnTo>
                      <a:pt x="433789" y="290691"/>
                    </a:lnTo>
                    <a:lnTo>
                      <a:pt x="426823" y="286636"/>
                    </a:lnTo>
                    <a:lnTo>
                      <a:pt x="425941" y="285754"/>
                    </a:lnTo>
                    <a:lnTo>
                      <a:pt x="426470" y="284608"/>
                    </a:lnTo>
                    <a:lnTo>
                      <a:pt x="426470" y="281698"/>
                    </a:lnTo>
                    <a:lnTo>
                      <a:pt x="425324" y="279318"/>
                    </a:lnTo>
                    <a:lnTo>
                      <a:pt x="426206" y="277819"/>
                    </a:lnTo>
                    <a:lnTo>
                      <a:pt x="425324" y="276055"/>
                    </a:lnTo>
                    <a:lnTo>
                      <a:pt x="428498" y="275174"/>
                    </a:lnTo>
                    <a:lnTo>
                      <a:pt x="428498" y="277554"/>
                    </a:lnTo>
                    <a:lnTo>
                      <a:pt x="430526" y="277554"/>
                    </a:lnTo>
                    <a:lnTo>
                      <a:pt x="431144" y="274380"/>
                    </a:lnTo>
                    <a:lnTo>
                      <a:pt x="430262" y="272617"/>
                    </a:lnTo>
                    <a:lnTo>
                      <a:pt x="429644" y="269443"/>
                    </a:lnTo>
                    <a:lnTo>
                      <a:pt x="432554" y="269443"/>
                    </a:lnTo>
                    <a:lnTo>
                      <a:pt x="433700" y="268296"/>
                    </a:lnTo>
                    <a:lnTo>
                      <a:pt x="435728" y="269795"/>
                    </a:lnTo>
                    <a:lnTo>
                      <a:pt x="438285" y="269531"/>
                    </a:lnTo>
                    <a:lnTo>
                      <a:pt x="439519" y="269795"/>
                    </a:lnTo>
                    <a:lnTo>
                      <a:pt x="443046" y="269531"/>
                    </a:lnTo>
                    <a:lnTo>
                      <a:pt x="442165" y="267767"/>
                    </a:lnTo>
                    <a:lnTo>
                      <a:pt x="442517" y="266886"/>
                    </a:lnTo>
                    <a:lnTo>
                      <a:pt x="443928" y="266268"/>
                    </a:lnTo>
                    <a:lnTo>
                      <a:pt x="441636" y="265122"/>
                    </a:lnTo>
                    <a:lnTo>
                      <a:pt x="438726" y="263976"/>
                    </a:lnTo>
                    <a:lnTo>
                      <a:pt x="438373" y="262565"/>
                    </a:lnTo>
                    <a:lnTo>
                      <a:pt x="435816" y="262830"/>
                    </a:lnTo>
                    <a:lnTo>
                      <a:pt x="435552" y="263976"/>
                    </a:lnTo>
                    <a:lnTo>
                      <a:pt x="432642" y="263712"/>
                    </a:lnTo>
                    <a:lnTo>
                      <a:pt x="430262" y="263447"/>
                    </a:lnTo>
                    <a:lnTo>
                      <a:pt x="429644" y="260538"/>
                    </a:lnTo>
                    <a:lnTo>
                      <a:pt x="420034" y="255247"/>
                    </a:lnTo>
                    <a:lnTo>
                      <a:pt x="418888" y="252602"/>
                    </a:lnTo>
                    <a:lnTo>
                      <a:pt x="419152" y="251985"/>
                    </a:lnTo>
                    <a:lnTo>
                      <a:pt x="419770" y="251104"/>
                    </a:lnTo>
                    <a:lnTo>
                      <a:pt x="419152" y="248459"/>
                    </a:lnTo>
                    <a:lnTo>
                      <a:pt x="420034" y="246960"/>
                    </a:lnTo>
                    <a:lnTo>
                      <a:pt x="423296" y="242551"/>
                    </a:lnTo>
                    <a:lnTo>
                      <a:pt x="423032" y="239377"/>
                    </a:lnTo>
                    <a:lnTo>
                      <a:pt x="422679" y="238496"/>
                    </a:lnTo>
                    <a:lnTo>
                      <a:pt x="423032" y="237349"/>
                    </a:lnTo>
                    <a:lnTo>
                      <a:pt x="423561" y="236203"/>
                    </a:lnTo>
                    <a:lnTo>
                      <a:pt x="427969" y="239730"/>
                    </a:lnTo>
                    <a:lnTo>
                      <a:pt x="432907" y="241758"/>
                    </a:lnTo>
                    <a:lnTo>
                      <a:pt x="436962" y="251368"/>
                    </a:lnTo>
                    <a:lnTo>
                      <a:pt x="437491" y="245549"/>
                    </a:lnTo>
                    <a:lnTo>
                      <a:pt x="442165" y="248194"/>
                    </a:lnTo>
                    <a:lnTo>
                      <a:pt x="442781" y="248459"/>
                    </a:lnTo>
                    <a:lnTo>
                      <a:pt x="445691" y="249340"/>
                    </a:lnTo>
                    <a:lnTo>
                      <a:pt x="446220" y="248459"/>
                    </a:lnTo>
                    <a:lnTo>
                      <a:pt x="447719" y="249076"/>
                    </a:lnTo>
                    <a:lnTo>
                      <a:pt x="449747" y="249076"/>
                    </a:lnTo>
                    <a:lnTo>
                      <a:pt x="449394" y="246695"/>
                    </a:lnTo>
                    <a:lnTo>
                      <a:pt x="452039" y="243521"/>
                    </a:lnTo>
                    <a:lnTo>
                      <a:pt x="452921" y="244050"/>
                    </a:lnTo>
                    <a:lnTo>
                      <a:pt x="453186" y="246431"/>
                    </a:lnTo>
                    <a:lnTo>
                      <a:pt x="454684" y="246695"/>
                    </a:lnTo>
                    <a:lnTo>
                      <a:pt x="456448" y="249340"/>
                    </a:lnTo>
                    <a:lnTo>
                      <a:pt x="456183" y="253396"/>
                    </a:lnTo>
                    <a:lnTo>
                      <a:pt x="458211" y="257804"/>
                    </a:lnTo>
                    <a:lnTo>
                      <a:pt x="458828" y="260714"/>
                    </a:lnTo>
                    <a:lnTo>
                      <a:pt x="459445" y="265122"/>
                    </a:lnTo>
                    <a:lnTo>
                      <a:pt x="460592" y="267767"/>
                    </a:lnTo>
                    <a:lnTo>
                      <a:pt x="462090" y="266886"/>
                    </a:lnTo>
                    <a:lnTo>
                      <a:pt x="462707" y="265475"/>
                    </a:lnTo>
                    <a:lnTo>
                      <a:pt x="463854" y="266621"/>
                    </a:lnTo>
                    <a:lnTo>
                      <a:pt x="466411" y="266886"/>
                    </a:lnTo>
                    <a:lnTo>
                      <a:pt x="468791" y="267767"/>
                    </a:lnTo>
                    <a:lnTo>
                      <a:pt x="471172" y="266886"/>
                    </a:lnTo>
                    <a:lnTo>
                      <a:pt x="472935" y="268032"/>
                    </a:lnTo>
                    <a:lnTo>
                      <a:pt x="474963" y="268032"/>
                    </a:lnTo>
                    <a:lnTo>
                      <a:pt x="476726" y="268296"/>
                    </a:lnTo>
                    <a:lnTo>
                      <a:pt x="479900" y="267679"/>
                    </a:lnTo>
                    <a:lnTo>
                      <a:pt x="481399" y="268825"/>
                    </a:lnTo>
                    <a:lnTo>
                      <a:pt x="482898" y="268825"/>
                    </a:lnTo>
                    <a:lnTo>
                      <a:pt x="486072" y="267327"/>
                    </a:lnTo>
                    <a:lnTo>
                      <a:pt x="487219" y="267327"/>
                    </a:lnTo>
                    <a:lnTo>
                      <a:pt x="490745" y="267327"/>
                    </a:lnTo>
                    <a:lnTo>
                      <a:pt x="492156" y="269090"/>
                    </a:lnTo>
                    <a:lnTo>
                      <a:pt x="493037" y="269090"/>
                    </a:lnTo>
                    <a:lnTo>
                      <a:pt x="495330" y="269707"/>
                    </a:lnTo>
                    <a:lnTo>
                      <a:pt x="496476" y="268825"/>
                    </a:lnTo>
                    <a:lnTo>
                      <a:pt x="497358" y="269707"/>
                    </a:lnTo>
                    <a:lnTo>
                      <a:pt x="498857" y="269707"/>
                    </a:lnTo>
                    <a:lnTo>
                      <a:pt x="498504" y="269090"/>
                    </a:lnTo>
                    <a:lnTo>
                      <a:pt x="502295" y="268825"/>
                    </a:lnTo>
                    <a:lnTo>
                      <a:pt x="504058" y="269090"/>
                    </a:lnTo>
                    <a:lnTo>
                      <a:pt x="505205" y="268825"/>
                    </a:lnTo>
                    <a:lnTo>
                      <a:pt x="506968" y="268825"/>
                    </a:lnTo>
                    <a:lnTo>
                      <a:pt x="509878" y="270236"/>
                    </a:lnTo>
                    <a:lnTo>
                      <a:pt x="512523" y="272264"/>
                    </a:lnTo>
                    <a:lnTo>
                      <a:pt x="515168" y="273410"/>
                    </a:lnTo>
                    <a:lnTo>
                      <a:pt x="515433" y="275174"/>
                    </a:lnTo>
                    <a:lnTo>
                      <a:pt x="518342" y="275174"/>
                    </a:lnTo>
                    <a:lnTo>
                      <a:pt x="519488" y="276672"/>
                    </a:lnTo>
                    <a:lnTo>
                      <a:pt x="519753" y="278700"/>
                    </a:lnTo>
                    <a:lnTo>
                      <a:pt x="516843" y="278965"/>
                    </a:lnTo>
                    <a:lnTo>
                      <a:pt x="514815" y="277554"/>
                    </a:lnTo>
                    <a:lnTo>
                      <a:pt x="512523" y="277819"/>
                    </a:lnTo>
                    <a:lnTo>
                      <a:pt x="512258" y="278083"/>
                    </a:lnTo>
                    <a:lnTo>
                      <a:pt x="512523" y="278965"/>
                    </a:lnTo>
                    <a:lnTo>
                      <a:pt x="514022" y="279229"/>
                    </a:lnTo>
                    <a:lnTo>
                      <a:pt x="515520" y="279229"/>
                    </a:lnTo>
                    <a:lnTo>
                      <a:pt x="513493" y="280993"/>
                    </a:lnTo>
                    <a:lnTo>
                      <a:pt x="513757" y="283285"/>
                    </a:lnTo>
                    <a:lnTo>
                      <a:pt x="514286" y="286459"/>
                    </a:lnTo>
                    <a:lnTo>
                      <a:pt x="513140" y="287076"/>
                    </a:lnTo>
                    <a:lnTo>
                      <a:pt x="512258" y="287341"/>
                    </a:lnTo>
                    <a:lnTo>
                      <a:pt x="511994" y="288487"/>
                    </a:lnTo>
                    <a:lnTo>
                      <a:pt x="512611" y="290515"/>
                    </a:lnTo>
                    <a:lnTo>
                      <a:pt x="511994" y="292807"/>
                    </a:lnTo>
                    <a:lnTo>
                      <a:pt x="511112" y="293072"/>
                    </a:lnTo>
                    <a:lnTo>
                      <a:pt x="509966" y="292190"/>
                    </a:lnTo>
                    <a:lnTo>
                      <a:pt x="509701" y="290427"/>
                    </a:lnTo>
                    <a:lnTo>
                      <a:pt x="508203" y="290427"/>
                    </a:lnTo>
                    <a:lnTo>
                      <a:pt x="508467" y="292190"/>
                    </a:lnTo>
                    <a:lnTo>
                      <a:pt x="508203" y="293072"/>
                    </a:lnTo>
                    <a:lnTo>
                      <a:pt x="505293" y="290427"/>
                    </a:lnTo>
                    <a:lnTo>
                      <a:pt x="505910" y="293953"/>
                    </a:lnTo>
                    <a:lnTo>
                      <a:pt x="503354" y="293424"/>
                    </a:lnTo>
                    <a:lnTo>
                      <a:pt x="501325" y="292807"/>
                    </a:lnTo>
                    <a:lnTo>
                      <a:pt x="500444" y="293953"/>
                    </a:lnTo>
                    <a:lnTo>
                      <a:pt x="501590" y="295364"/>
                    </a:lnTo>
                    <a:lnTo>
                      <a:pt x="501854" y="295981"/>
                    </a:lnTo>
                    <a:lnTo>
                      <a:pt x="499209" y="297745"/>
                    </a:lnTo>
                    <a:lnTo>
                      <a:pt x="498328" y="300037"/>
                    </a:lnTo>
                    <a:lnTo>
                      <a:pt x="498945" y="302682"/>
                    </a:lnTo>
                    <a:lnTo>
                      <a:pt x="496564" y="304710"/>
                    </a:lnTo>
                    <a:lnTo>
                      <a:pt x="495947" y="305856"/>
                    </a:lnTo>
                    <a:lnTo>
                      <a:pt x="496829" y="309030"/>
                    </a:lnTo>
                    <a:lnTo>
                      <a:pt x="498592" y="312821"/>
                    </a:lnTo>
                    <a:lnTo>
                      <a:pt x="498592" y="314320"/>
                    </a:lnTo>
                    <a:lnTo>
                      <a:pt x="499209" y="318112"/>
                    </a:lnTo>
                    <a:lnTo>
                      <a:pt x="500091" y="320757"/>
                    </a:lnTo>
                    <a:lnTo>
                      <a:pt x="502119" y="321021"/>
                    </a:lnTo>
                    <a:lnTo>
                      <a:pt x="502736" y="317230"/>
                    </a:lnTo>
                    <a:lnTo>
                      <a:pt x="503618" y="318376"/>
                    </a:lnTo>
                    <a:lnTo>
                      <a:pt x="505029" y="319522"/>
                    </a:lnTo>
                    <a:lnTo>
                      <a:pt x="506174" y="322432"/>
                    </a:lnTo>
                    <a:lnTo>
                      <a:pt x="509084" y="322432"/>
                    </a:lnTo>
                    <a:lnTo>
                      <a:pt x="510848" y="321286"/>
                    </a:lnTo>
                    <a:lnTo>
                      <a:pt x="510848" y="318376"/>
                    </a:lnTo>
                    <a:lnTo>
                      <a:pt x="509701" y="315202"/>
                    </a:lnTo>
                    <a:lnTo>
                      <a:pt x="509701" y="312557"/>
                    </a:lnTo>
                    <a:lnTo>
                      <a:pt x="511200" y="309912"/>
                    </a:lnTo>
                    <a:lnTo>
                      <a:pt x="512699" y="309647"/>
                    </a:lnTo>
                    <a:lnTo>
                      <a:pt x="514462" y="309030"/>
                    </a:lnTo>
                    <a:lnTo>
                      <a:pt x="514727" y="307002"/>
                    </a:lnTo>
                    <a:lnTo>
                      <a:pt x="514462" y="304710"/>
                    </a:lnTo>
                    <a:lnTo>
                      <a:pt x="513316" y="302065"/>
                    </a:lnTo>
                    <a:lnTo>
                      <a:pt x="516491" y="302947"/>
                    </a:lnTo>
                    <a:lnTo>
                      <a:pt x="518871" y="302065"/>
                    </a:lnTo>
                    <a:lnTo>
                      <a:pt x="519488" y="304710"/>
                    </a:lnTo>
                    <a:lnTo>
                      <a:pt x="520370" y="307355"/>
                    </a:lnTo>
                    <a:lnTo>
                      <a:pt x="520370" y="312910"/>
                    </a:lnTo>
                    <a:lnTo>
                      <a:pt x="521869" y="314673"/>
                    </a:lnTo>
                    <a:lnTo>
                      <a:pt x="522133" y="316701"/>
                    </a:lnTo>
                    <a:lnTo>
                      <a:pt x="523015" y="321109"/>
                    </a:lnTo>
                    <a:lnTo>
                      <a:pt x="523632" y="325165"/>
                    </a:lnTo>
                    <a:lnTo>
                      <a:pt x="525396" y="325782"/>
                    </a:lnTo>
                    <a:lnTo>
                      <a:pt x="527423" y="327546"/>
                    </a:lnTo>
                    <a:lnTo>
                      <a:pt x="528305" y="330455"/>
                    </a:lnTo>
                    <a:lnTo>
                      <a:pt x="529716" y="336891"/>
                    </a:lnTo>
                    <a:lnTo>
                      <a:pt x="530862" y="341829"/>
                    </a:lnTo>
                    <a:lnTo>
                      <a:pt x="531743" y="345356"/>
                    </a:lnTo>
                    <a:lnTo>
                      <a:pt x="532361" y="348882"/>
                    </a:lnTo>
                    <a:lnTo>
                      <a:pt x="533507" y="346502"/>
                    </a:lnTo>
                    <a:lnTo>
                      <a:pt x="535006" y="346502"/>
                    </a:lnTo>
                    <a:lnTo>
                      <a:pt x="534741" y="344474"/>
                    </a:lnTo>
                    <a:lnTo>
                      <a:pt x="536769" y="345973"/>
                    </a:lnTo>
                    <a:lnTo>
                      <a:pt x="539679" y="347384"/>
                    </a:lnTo>
                    <a:lnTo>
                      <a:pt x="542588" y="345620"/>
                    </a:lnTo>
                    <a:lnTo>
                      <a:pt x="541971" y="343328"/>
                    </a:lnTo>
                    <a:lnTo>
                      <a:pt x="543999" y="343063"/>
                    </a:lnTo>
                    <a:lnTo>
                      <a:pt x="543734" y="341300"/>
                    </a:lnTo>
                    <a:lnTo>
                      <a:pt x="542588" y="336891"/>
                    </a:lnTo>
                    <a:lnTo>
                      <a:pt x="539943" y="338655"/>
                    </a:lnTo>
                    <a:lnTo>
                      <a:pt x="540208" y="336010"/>
                    </a:lnTo>
                    <a:lnTo>
                      <a:pt x="542236" y="333100"/>
                    </a:lnTo>
                    <a:lnTo>
                      <a:pt x="540825" y="325782"/>
                    </a:lnTo>
                    <a:lnTo>
                      <a:pt x="540825" y="324019"/>
                    </a:lnTo>
                    <a:lnTo>
                      <a:pt x="539679" y="323137"/>
                    </a:lnTo>
                    <a:lnTo>
                      <a:pt x="539150" y="321109"/>
                    </a:lnTo>
                    <a:lnTo>
                      <a:pt x="540031" y="320492"/>
                    </a:lnTo>
                    <a:lnTo>
                      <a:pt x="541178" y="320492"/>
                    </a:lnTo>
                    <a:lnTo>
                      <a:pt x="544352" y="323137"/>
                    </a:lnTo>
                    <a:lnTo>
                      <a:pt x="544969" y="321109"/>
                    </a:lnTo>
                    <a:lnTo>
                      <a:pt x="545234" y="320228"/>
                    </a:lnTo>
                    <a:lnTo>
                      <a:pt x="544969" y="318464"/>
                    </a:lnTo>
                    <a:lnTo>
                      <a:pt x="544352" y="317054"/>
                    </a:lnTo>
                    <a:lnTo>
                      <a:pt x="544352" y="313262"/>
                    </a:lnTo>
                    <a:lnTo>
                      <a:pt x="543823" y="310353"/>
                    </a:lnTo>
                    <a:lnTo>
                      <a:pt x="543823" y="307179"/>
                    </a:lnTo>
                    <a:lnTo>
                      <a:pt x="543205" y="304886"/>
                    </a:lnTo>
                    <a:lnTo>
                      <a:pt x="542588" y="302241"/>
                    </a:lnTo>
                    <a:lnTo>
                      <a:pt x="542324" y="300213"/>
                    </a:lnTo>
                    <a:lnTo>
                      <a:pt x="540296" y="297921"/>
                    </a:lnTo>
                    <a:lnTo>
                      <a:pt x="539414" y="295011"/>
                    </a:lnTo>
                    <a:lnTo>
                      <a:pt x="541178" y="294747"/>
                    </a:lnTo>
                    <a:lnTo>
                      <a:pt x="542941" y="295893"/>
                    </a:lnTo>
                    <a:lnTo>
                      <a:pt x="543558" y="297039"/>
                    </a:lnTo>
                    <a:lnTo>
                      <a:pt x="544705" y="297921"/>
                    </a:lnTo>
                    <a:lnTo>
                      <a:pt x="546203" y="298803"/>
                    </a:lnTo>
                    <a:lnTo>
                      <a:pt x="548496" y="299949"/>
                    </a:lnTo>
                    <a:lnTo>
                      <a:pt x="549113" y="299949"/>
                    </a:lnTo>
                    <a:lnTo>
                      <a:pt x="551405" y="300213"/>
                    </a:lnTo>
                    <a:lnTo>
                      <a:pt x="555461" y="300478"/>
                    </a:lnTo>
                    <a:lnTo>
                      <a:pt x="558723" y="301889"/>
                    </a:lnTo>
                    <a:lnTo>
                      <a:pt x="560486" y="301889"/>
                    </a:lnTo>
                    <a:lnTo>
                      <a:pt x="561104" y="300125"/>
                    </a:lnTo>
                    <a:lnTo>
                      <a:pt x="560222" y="297833"/>
                    </a:lnTo>
                    <a:lnTo>
                      <a:pt x="560839" y="294923"/>
                    </a:lnTo>
                    <a:lnTo>
                      <a:pt x="560222" y="292014"/>
                    </a:lnTo>
                    <a:lnTo>
                      <a:pt x="560486" y="289369"/>
                    </a:lnTo>
                    <a:lnTo>
                      <a:pt x="560839" y="287958"/>
                    </a:lnTo>
                    <a:lnTo>
                      <a:pt x="561985" y="287076"/>
                    </a:lnTo>
                    <a:lnTo>
                      <a:pt x="561985" y="284167"/>
                    </a:lnTo>
                    <a:lnTo>
                      <a:pt x="562867" y="283021"/>
                    </a:lnTo>
                    <a:lnTo>
                      <a:pt x="562602" y="280375"/>
                    </a:lnTo>
                    <a:lnTo>
                      <a:pt x="564895" y="279229"/>
                    </a:lnTo>
                    <a:lnTo>
                      <a:pt x="564013" y="276320"/>
                    </a:lnTo>
                    <a:lnTo>
                      <a:pt x="564895" y="275703"/>
                    </a:lnTo>
                    <a:lnTo>
                      <a:pt x="566923" y="273675"/>
                    </a:lnTo>
                    <a:lnTo>
                      <a:pt x="566041" y="269619"/>
                    </a:lnTo>
                    <a:lnTo>
                      <a:pt x="562602" y="268737"/>
                    </a:lnTo>
                    <a:lnTo>
                      <a:pt x="561721" y="264946"/>
                    </a:lnTo>
                    <a:lnTo>
                      <a:pt x="563220" y="264682"/>
                    </a:lnTo>
                    <a:lnTo>
                      <a:pt x="562338" y="262036"/>
                    </a:lnTo>
                    <a:lnTo>
                      <a:pt x="565512" y="260890"/>
                    </a:lnTo>
                    <a:lnTo>
                      <a:pt x="565512" y="258862"/>
                    </a:lnTo>
                    <a:lnTo>
                      <a:pt x="567540" y="257981"/>
                    </a:lnTo>
                    <a:lnTo>
                      <a:pt x="568421" y="255336"/>
                    </a:lnTo>
                    <a:lnTo>
                      <a:pt x="570185" y="254718"/>
                    </a:lnTo>
                    <a:lnTo>
                      <a:pt x="569303" y="250663"/>
                    </a:lnTo>
                    <a:lnTo>
                      <a:pt x="570802" y="248018"/>
                    </a:lnTo>
                    <a:lnTo>
                      <a:pt x="569303" y="243962"/>
                    </a:lnTo>
                    <a:lnTo>
                      <a:pt x="569921" y="243433"/>
                    </a:lnTo>
                    <a:lnTo>
                      <a:pt x="567892" y="243433"/>
                    </a:lnTo>
                    <a:lnTo>
                      <a:pt x="567276" y="240523"/>
                    </a:lnTo>
                    <a:lnTo>
                      <a:pt x="568157" y="238496"/>
                    </a:lnTo>
                    <a:lnTo>
                      <a:pt x="566394" y="236732"/>
                    </a:lnTo>
                    <a:lnTo>
                      <a:pt x="568421" y="234087"/>
                    </a:lnTo>
                    <a:lnTo>
                      <a:pt x="568157" y="233205"/>
                    </a:lnTo>
                    <a:lnTo>
                      <a:pt x="569921" y="233205"/>
                    </a:lnTo>
                    <a:lnTo>
                      <a:pt x="572830" y="230913"/>
                    </a:lnTo>
                    <a:lnTo>
                      <a:pt x="573976" y="228532"/>
                    </a:lnTo>
                    <a:lnTo>
                      <a:pt x="576268" y="228532"/>
                    </a:lnTo>
                    <a:lnTo>
                      <a:pt x="577768" y="226769"/>
                    </a:lnTo>
                    <a:lnTo>
                      <a:pt x="578913" y="226769"/>
                    </a:lnTo>
                    <a:lnTo>
                      <a:pt x="578561" y="224741"/>
                    </a:lnTo>
                    <a:lnTo>
                      <a:pt x="582617" y="222713"/>
                    </a:lnTo>
                    <a:lnTo>
                      <a:pt x="584909" y="219804"/>
                    </a:lnTo>
                    <a:lnTo>
                      <a:pt x="586672" y="216894"/>
                    </a:lnTo>
                    <a:lnTo>
                      <a:pt x="590728" y="216630"/>
                    </a:lnTo>
                    <a:lnTo>
                      <a:pt x="593109" y="216630"/>
                    </a:lnTo>
                    <a:lnTo>
                      <a:pt x="595137" y="215131"/>
                    </a:lnTo>
                    <a:lnTo>
                      <a:pt x="597164" y="215748"/>
                    </a:lnTo>
                    <a:lnTo>
                      <a:pt x="598664" y="215131"/>
                    </a:lnTo>
                    <a:lnTo>
                      <a:pt x="600426" y="217776"/>
                    </a:lnTo>
                    <a:lnTo>
                      <a:pt x="599545" y="218393"/>
                    </a:lnTo>
                    <a:lnTo>
                      <a:pt x="603953" y="219804"/>
                    </a:lnTo>
                    <a:lnTo>
                      <a:pt x="608009" y="220950"/>
                    </a:lnTo>
                    <a:lnTo>
                      <a:pt x="609772" y="220068"/>
                    </a:lnTo>
                    <a:lnTo>
                      <a:pt x="607392" y="218569"/>
                    </a:lnTo>
                    <a:lnTo>
                      <a:pt x="605629" y="216806"/>
                    </a:lnTo>
                    <a:lnTo>
                      <a:pt x="603336" y="215043"/>
                    </a:lnTo>
                    <a:lnTo>
                      <a:pt x="602190" y="213897"/>
                    </a:lnTo>
                    <a:lnTo>
                      <a:pt x="600426" y="212398"/>
                    </a:lnTo>
                    <a:lnTo>
                      <a:pt x="599810" y="210634"/>
                    </a:lnTo>
                    <a:lnTo>
                      <a:pt x="600426" y="208606"/>
                    </a:lnTo>
                    <a:lnTo>
                      <a:pt x="601308" y="207108"/>
                    </a:lnTo>
                    <a:lnTo>
                      <a:pt x="601926" y="206843"/>
                    </a:lnTo>
                    <a:lnTo>
                      <a:pt x="602190" y="206579"/>
                    </a:lnTo>
                    <a:lnTo>
                      <a:pt x="602807" y="205697"/>
                    </a:lnTo>
                    <a:lnTo>
                      <a:pt x="603689" y="203934"/>
                    </a:lnTo>
                    <a:lnTo>
                      <a:pt x="603424" y="203669"/>
                    </a:lnTo>
                    <a:lnTo>
                      <a:pt x="604923" y="201024"/>
                    </a:lnTo>
                    <a:lnTo>
                      <a:pt x="606951" y="201024"/>
                    </a:lnTo>
                    <a:lnTo>
                      <a:pt x="605805" y="198379"/>
                    </a:lnTo>
                    <a:lnTo>
                      <a:pt x="606951" y="195734"/>
                    </a:lnTo>
                    <a:lnTo>
                      <a:pt x="606069" y="192560"/>
                    </a:lnTo>
                    <a:lnTo>
                      <a:pt x="604042" y="191149"/>
                    </a:lnTo>
                    <a:lnTo>
                      <a:pt x="601132" y="190267"/>
                    </a:lnTo>
                    <a:lnTo>
                      <a:pt x="599368" y="190885"/>
                    </a:lnTo>
                    <a:lnTo>
                      <a:pt x="596106" y="190267"/>
                    </a:lnTo>
                    <a:lnTo>
                      <a:pt x="595225" y="190003"/>
                    </a:lnTo>
                    <a:lnTo>
                      <a:pt x="593197" y="190003"/>
                    </a:lnTo>
                    <a:lnTo>
                      <a:pt x="591434" y="187358"/>
                    </a:lnTo>
                    <a:lnTo>
                      <a:pt x="589405" y="186741"/>
                    </a:lnTo>
                    <a:lnTo>
                      <a:pt x="584733" y="187358"/>
                    </a:lnTo>
                    <a:lnTo>
                      <a:pt x="583851" y="190267"/>
                    </a:lnTo>
                    <a:lnTo>
                      <a:pt x="583587" y="189386"/>
                    </a:lnTo>
                    <a:lnTo>
                      <a:pt x="580060" y="187358"/>
                    </a:lnTo>
                    <a:lnTo>
                      <a:pt x="582440" y="185065"/>
                    </a:lnTo>
                    <a:lnTo>
                      <a:pt x="582440" y="184448"/>
                    </a:lnTo>
                    <a:lnTo>
                      <a:pt x="582176" y="183831"/>
                    </a:lnTo>
                    <a:lnTo>
                      <a:pt x="583675" y="182685"/>
                    </a:lnTo>
                    <a:lnTo>
                      <a:pt x="587466" y="178894"/>
                    </a:lnTo>
                    <a:lnTo>
                      <a:pt x="581647" y="174573"/>
                    </a:lnTo>
                    <a:lnTo>
                      <a:pt x="583058" y="172193"/>
                    </a:lnTo>
                    <a:lnTo>
                      <a:pt x="580413" y="173075"/>
                    </a:lnTo>
                    <a:lnTo>
                      <a:pt x="579002" y="174573"/>
                    </a:lnTo>
                    <a:lnTo>
                      <a:pt x="577591" y="176601"/>
                    </a:lnTo>
                    <a:lnTo>
                      <a:pt x="574946" y="173075"/>
                    </a:lnTo>
                    <a:lnTo>
                      <a:pt x="576092" y="170430"/>
                    </a:lnTo>
                    <a:lnTo>
                      <a:pt x="579355" y="169812"/>
                    </a:lnTo>
                    <a:lnTo>
                      <a:pt x="578473" y="167520"/>
                    </a:lnTo>
                    <a:lnTo>
                      <a:pt x="578208" y="166638"/>
                    </a:lnTo>
                    <a:lnTo>
                      <a:pt x="574417" y="168137"/>
                    </a:lnTo>
                    <a:lnTo>
                      <a:pt x="571772" y="164610"/>
                    </a:lnTo>
                    <a:lnTo>
                      <a:pt x="570890" y="162230"/>
                    </a:lnTo>
                    <a:lnTo>
                      <a:pt x="569127" y="163993"/>
                    </a:lnTo>
                    <a:lnTo>
                      <a:pt x="565336" y="166638"/>
                    </a:lnTo>
                    <a:lnTo>
                      <a:pt x="561544" y="167520"/>
                    </a:lnTo>
                    <a:lnTo>
                      <a:pt x="562162" y="170165"/>
                    </a:lnTo>
                    <a:lnTo>
                      <a:pt x="559252" y="173075"/>
                    </a:lnTo>
                    <a:lnTo>
                      <a:pt x="554844" y="172193"/>
                    </a:lnTo>
                    <a:lnTo>
                      <a:pt x="550435" y="170165"/>
                    </a:lnTo>
                    <a:lnTo>
                      <a:pt x="546027" y="168666"/>
                    </a:lnTo>
                    <a:lnTo>
                      <a:pt x="545145" y="167255"/>
                    </a:lnTo>
                    <a:lnTo>
                      <a:pt x="541618" y="164610"/>
                    </a:lnTo>
                    <a:lnTo>
                      <a:pt x="539855" y="167255"/>
                    </a:lnTo>
                    <a:lnTo>
                      <a:pt x="536064" y="169019"/>
                    </a:lnTo>
                    <a:lnTo>
                      <a:pt x="535535" y="169901"/>
                    </a:lnTo>
                    <a:lnTo>
                      <a:pt x="533154" y="172193"/>
                    </a:lnTo>
                    <a:lnTo>
                      <a:pt x="531391" y="175102"/>
                    </a:lnTo>
                    <a:lnTo>
                      <a:pt x="531655" y="176866"/>
                    </a:lnTo>
                    <a:lnTo>
                      <a:pt x="529628" y="178629"/>
                    </a:lnTo>
                    <a:lnTo>
                      <a:pt x="526101" y="180128"/>
                    </a:lnTo>
                    <a:lnTo>
                      <a:pt x="515609" y="182773"/>
                    </a:lnTo>
                    <a:lnTo>
                      <a:pt x="509437" y="189209"/>
                    </a:lnTo>
                    <a:lnTo>
                      <a:pt x="500708" y="198820"/>
                    </a:lnTo>
                    <a:lnTo>
                      <a:pt x="488453" y="199966"/>
                    </a:lnTo>
                    <a:lnTo>
                      <a:pt x="489863" y="201112"/>
                    </a:lnTo>
                    <a:lnTo>
                      <a:pt x="489599" y="204022"/>
                    </a:lnTo>
                    <a:lnTo>
                      <a:pt x="488188" y="206049"/>
                    </a:lnTo>
                    <a:lnTo>
                      <a:pt x="488188" y="207196"/>
                    </a:lnTo>
                    <a:lnTo>
                      <a:pt x="488806" y="209576"/>
                    </a:lnTo>
                    <a:lnTo>
                      <a:pt x="491979" y="211604"/>
                    </a:lnTo>
                    <a:lnTo>
                      <a:pt x="492244" y="212486"/>
                    </a:lnTo>
                    <a:lnTo>
                      <a:pt x="497182" y="210987"/>
                    </a:lnTo>
                    <a:lnTo>
                      <a:pt x="499474" y="215660"/>
                    </a:lnTo>
                    <a:lnTo>
                      <a:pt x="497446" y="218569"/>
                    </a:lnTo>
                    <a:lnTo>
                      <a:pt x="497182" y="220597"/>
                    </a:lnTo>
                    <a:lnTo>
                      <a:pt x="498151" y="22218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3" name="Freihandform: Form 1972">
                <a:extLst>
                  <a:ext uri="{FF2B5EF4-FFF2-40B4-BE49-F238E27FC236}">
                    <a16:creationId xmlns:a16="http://schemas.microsoft.com/office/drawing/2014/main" id="{6B9B7814-AFEF-2DB0-4178-DF9A1644B7C9}"/>
                  </a:ext>
                </a:extLst>
              </p:cNvPr>
              <p:cNvSpPr/>
              <p:nvPr/>
            </p:nvSpPr>
            <p:spPr>
              <a:xfrm>
                <a:off x="5956997" y="3443283"/>
                <a:ext cx="73532" cy="39940"/>
              </a:xfrm>
              <a:custGeom>
                <a:avLst/>
                <a:gdLst>
                  <a:gd name="connsiteX0" fmla="*/ 0 w 73532"/>
                  <a:gd name="connsiteY0" fmla="*/ 28567 h 39940"/>
                  <a:gd name="connsiteX1" fmla="*/ 1234 w 73532"/>
                  <a:gd name="connsiteY1" fmla="*/ 26274 h 39940"/>
                  <a:gd name="connsiteX2" fmla="*/ 3262 w 73532"/>
                  <a:gd name="connsiteY2" fmla="*/ 25393 h 39940"/>
                  <a:gd name="connsiteX3" fmla="*/ 3526 w 73532"/>
                  <a:gd name="connsiteY3" fmla="*/ 24511 h 39940"/>
                  <a:gd name="connsiteX4" fmla="*/ 4937 w 73532"/>
                  <a:gd name="connsiteY4" fmla="*/ 20720 h 39940"/>
                  <a:gd name="connsiteX5" fmla="*/ 8200 w 73532"/>
                  <a:gd name="connsiteY5" fmla="*/ 18427 h 39940"/>
                  <a:gd name="connsiteX6" fmla="*/ 10227 w 73532"/>
                  <a:gd name="connsiteY6" fmla="*/ 12873 h 39940"/>
                  <a:gd name="connsiteX7" fmla="*/ 13137 w 73532"/>
                  <a:gd name="connsiteY7" fmla="*/ 11109 h 39940"/>
                  <a:gd name="connsiteX8" fmla="*/ 18074 w 73532"/>
                  <a:gd name="connsiteY8" fmla="*/ 4408 h 39940"/>
                  <a:gd name="connsiteX9" fmla="*/ 27156 w 73532"/>
                  <a:gd name="connsiteY9" fmla="*/ 0 h 39940"/>
                  <a:gd name="connsiteX10" fmla="*/ 35003 w 73532"/>
                  <a:gd name="connsiteY10" fmla="*/ 1499 h 39940"/>
                  <a:gd name="connsiteX11" fmla="*/ 35885 w 73532"/>
                  <a:gd name="connsiteY11" fmla="*/ 2028 h 39940"/>
                  <a:gd name="connsiteX12" fmla="*/ 35620 w 73532"/>
                  <a:gd name="connsiteY12" fmla="*/ 5819 h 39940"/>
                  <a:gd name="connsiteX13" fmla="*/ 46729 w 73532"/>
                  <a:gd name="connsiteY13" fmla="*/ 6701 h 39940"/>
                  <a:gd name="connsiteX14" fmla="*/ 49639 w 73532"/>
                  <a:gd name="connsiteY14" fmla="*/ 8464 h 39940"/>
                  <a:gd name="connsiteX15" fmla="*/ 51314 w 73532"/>
                  <a:gd name="connsiteY15" fmla="*/ 8729 h 39940"/>
                  <a:gd name="connsiteX16" fmla="*/ 55987 w 73532"/>
                  <a:gd name="connsiteY16" fmla="*/ 5555 h 39940"/>
                  <a:gd name="connsiteX17" fmla="*/ 56604 w 73532"/>
                  <a:gd name="connsiteY17" fmla="*/ 6701 h 39940"/>
                  <a:gd name="connsiteX18" fmla="*/ 62423 w 73532"/>
                  <a:gd name="connsiteY18" fmla="*/ 9610 h 39940"/>
                  <a:gd name="connsiteX19" fmla="*/ 63922 w 73532"/>
                  <a:gd name="connsiteY19" fmla="*/ 10845 h 39940"/>
                  <a:gd name="connsiteX20" fmla="*/ 63569 w 73532"/>
                  <a:gd name="connsiteY20" fmla="*/ 13754 h 39940"/>
                  <a:gd name="connsiteX21" fmla="*/ 62159 w 73532"/>
                  <a:gd name="connsiteY21" fmla="*/ 15782 h 39940"/>
                  <a:gd name="connsiteX22" fmla="*/ 62159 w 73532"/>
                  <a:gd name="connsiteY22" fmla="*/ 16928 h 39940"/>
                  <a:gd name="connsiteX23" fmla="*/ 62776 w 73532"/>
                  <a:gd name="connsiteY23" fmla="*/ 19309 h 39940"/>
                  <a:gd name="connsiteX24" fmla="*/ 65950 w 73532"/>
                  <a:gd name="connsiteY24" fmla="*/ 21337 h 39940"/>
                  <a:gd name="connsiteX25" fmla="*/ 66215 w 73532"/>
                  <a:gd name="connsiteY25" fmla="*/ 22218 h 39940"/>
                  <a:gd name="connsiteX26" fmla="*/ 71240 w 73532"/>
                  <a:gd name="connsiteY26" fmla="*/ 20720 h 39940"/>
                  <a:gd name="connsiteX27" fmla="*/ 73532 w 73532"/>
                  <a:gd name="connsiteY27" fmla="*/ 25393 h 39940"/>
                  <a:gd name="connsiteX28" fmla="*/ 71504 w 73532"/>
                  <a:gd name="connsiteY28" fmla="*/ 28302 h 39940"/>
                  <a:gd name="connsiteX29" fmla="*/ 71240 w 73532"/>
                  <a:gd name="connsiteY29" fmla="*/ 30330 h 39940"/>
                  <a:gd name="connsiteX30" fmla="*/ 72651 w 73532"/>
                  <a:gd name="connsiteY30" fmla="*/ 31829 h 39940"/>
                  <a:gd name="connsiteX31" fmla="*/ 73532 w 73532"/>
                  <a:gd name="connsiteY31" fmla="*/ 34386 h 39940"/>
                  <a:gd name="connsiteX32" fmla="*/ 72651 w 73532"/>
                  <a:gd name="connsiteY32" fmla="*/ 35620 h 39940"/>
                  <a:gd name="connsiteX33" fmla="*/ 70887 w 73532"/>
                  <a:gd name="connsiteY33" fmla="*/ 35885 h 39940"/>
                  <a:gd name="connsiteX34" fmla="*/ 69124 w 73532"/>
                  <a:gd name="connsiteY34" fmla="*/ 35003 h 39940"/>
                  <a:gd name="connsiteX35" fmla="*/ 69124 w 73532"/>
                  <a:gd name="connsiteY35" fmla="*/ 35885 h 39940"/>
                  <a:gd name="connsiteX36" fmla="*/ 67361 w 73532"/>
                  <a:gd name="connsiteY36" fmla="*/ 35620 h 39940"/>
                  <a:gd name="connsiteX37" fmla="*/ 64804 w 73532"/>
                  <a:gd name="connsiteY37" fmla="*/ 37383 h 39940"/>
                  <a:gd name="connsiteX38" fmla="*/ 61012 w 73532"/>
                  <a:gd name="connsiteY38" fmla="*/ 37031 h 39940"/>
                  <a:gd name="connsiteX39" fmla="*/ 59778 w 73532"/>
                  <a:gd name="connsiteY39" fmla="*/ 35356 h 39940"/>
                  <a:gd name="connsiteX40" fmla="*/ 58367 w 73532"/>
                  <a:gd name="connsiteY40" fmla="*/ 35620 h 39940"/>
                  <a:gd name="connsiteX41" fmla="*/ 57486 w 73532"/>
                  <a:gd name="connsiteY41" fmla="*/ 37031 h 39940"/>
                  <a:gd name="connsiteX42" fmla="*/ 55987 w 73532"/>
                  <a:gd name="connsiteY42" fmla="*/ 37912 h 39940"/>
                  <a:gd name="connsiteX43" fmla="*/ 42321 w 73532"/>
                  <a:gd name="connsiteY43" fmla="*/ 37912 h 39940"/>
                  <a:gd name="connsiteX44" fmla="*/ 35885 w 73532"/>
                  <a:gd name="connsiteY44" fmla="*/ 34738 h 39940"/>
                  <a:gd name="connsiteX45" fmla="*/ 34738 w 73532"/>
                  <a:gd name="connsiteY45" fmla="*/ 35003 h 39940"/>
                  <a:gd name="connsiteX46" fmla="*/ 30330 w 73532"/>
                  <a:gd name="connsiteY46" fmla="*/ 38530 h 39940"/>
                  <a:gd name="connsiteX47" fmla="*/ 27156 w 73532"/>
                  <a:gd name="connsiteY47" fmla="*/ 38794 h 39940"/>
                  <a:gd name="connsiteX48" fmla="*/ 23629 w 73532"/>
                  <a:gd name="connsiteY48" fmla="*/ 39940 h 39940"/>
                  <a:gd name="connsiteX49" fmla="*/ 18956 w 73532"/>
                  <a:gd name="connsiteY49" fmla="*/ 39147 h 39940"/>
                  <a:gd name="connsiteX50" fmla="*/ 19309 w 73532"/>
                  <a:gd name="connsiteY50" fmla="*/ 38177 h 39940"/>
                  <a:gd name="connsiteX51" fmla="*/ 13402 w 73532"/>
                  <a:gd name="connsiteY51" fmla="*/ 35885 h 39940"/>
                  <a:gd name="connsiteX52" fmla="*/ 10227 w 73532"/>
                  <a:gd name="connsiteY52" fmla="*/ 37031 h 39940"/>
                  <a:gd name="connsiteX53" fmla="*/ 7847 w 73532"/>
                  <a:gd name="connsiteY53" fmla="*/ 36502 h 39940"/>
                  <a:gd name="connsiteX54" fmla="*/ 3791 w 73532"/>
                  <a:gd name="connsiteY54" fmla="*/ 32711 h 39940"/>
                  <a:gd name="connsiteX55" fmla="*/ 2645 w 73532"/>
                  <a:gd name="connsiteY55" fmla="*/ 33592 h 39940"/>
                  <a:gd name="connsiteX56" fmla="*/ 2381 w 73532"/>
                  <a:gd name="connsiteY56" fmla="*/ 30594 h 39940"/>
                  <a:gd name="connsiteX57" fmla="*/ 1763 w 73532"/>
                  <a:gd name="connsiteY57" fmla="*/ 29801 h 39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73532" h="39940">
                    <a:moveTo>
                      <a:pt x="0" y="28567"/>
                    </a:moveTo>
                    <a:lnTo>
                      <a:pt x="1234" y="26274"/>
                    </a:lnTo>
                    <a:lnTo>
                      <a:pt x="3262" y="25393"/>
                    </a:lnTo>
                    <a:lnTo>
                      <a:pt x="3526" y="24511"/>
                    </a:lnTo>
                    <a:lnTo>
                      <a:pt x="4937" y="20720"/>
                    </a:lnTo>
                    <a:lnTo>
                      <a:pt x="8200" y="18427"/>
                    </a:lnTo>
                    <a:lnTo>
                      <a:pt x="10227" y="12873"/>
                    </a:lnTo>
                    <a:lnTo>
                      <a:pt x="13137" y="11109"/>
                    </a:lnTo>
                    <a:lnTo>
                      <a:pt x="18074" y="4408"/>
                    </a:lnTo>
                    <a:lnTo>
                      <a:pt x="27156" y="0"/>
                    </a:lnTo>
                    <a:lnTo>
                      <a:pt x="35003" y="1499"/>
                    </a:lnTo>
                    <a:lnTo>
                      <a:pt x="35885" y="2028"/>
                    </a:lnTo>
                    <a:lnTo>
                      <a:pt x="35620" y="5819"/>
                    </a:lnTo>
                    <a:lnTo>
                      <a:pt x="46729" y="6701"/>
                    </a:lnTo>
                    <a:lnTo>
                      <a:pt x="49639" y="8464"/>
                    </a:lnTo>
                    <a:lnTo>
                      <a:pt x="51314" y="8729"/>
                    </a:lnTo>
                    <a:lnTo>
                      <a:pt x="55987" y="5555"/>
                    </a:lnTo>
                    <a:lnTo>
                      <a:pt x="56604" y="6701"/>
                    </a:lnTo>
                    <a:lnTo>
                      <a:pt x="62423" y="9610"/>
                    </a:lnTo>
                    <a:lnTo>
                      <a:pt x="63922" y="10845"/>
                    </a:lnTo>
                    <a:lnTo>
                      <a:pt x="63569" y="13754"/>
                    </a:lnTo>
                    <a:lnTo>
                      <a:pt x="62159" y="15782"/>
                    </a:lnTo>
                    <a:lnTo>
                      <a:pt x="62159" y="16928"/>
                    </a:lnTo>
                    <a:lnTo>
                      <a:pt x="62776" y="19309"/>
                    </a:lnTo>
                    <a:lnTo>
                      <a:pt x="65950" y="21337"/>
                    </a:lnTo>
                    <a:lnTo>
                      <a:pt x="66215" y="22218"/>
                    </a:lnTo>
                    <a:lnTo>
                      <a:pt x="71240" y="20720"/>
                    </a:lnTo>
                    <a:lnTo>
                      <a:pt x="73532" y="25393"/>
                    </a:lnTo>
                    <a:lnTo>
                      <a:pt x="71504" y="28302"/>
                    </a:lnTo>
                    <a:lnTo>
                      <a:pt x="71240" y="30330"/>
                    </a:lnTo>
                    <a:lnTo>
                      <a:pt x="72651" y="31829"/>
                    </a:lnTo>
                    <a:lnTo>
                      <a:pt x="73532" y="34386"/>
                    </a:lnTo>
                    <a:lnTo>
                      <a:pt x="72651" y="35620"/>
                    </a:lnTo>
                    <a:lnTo>
                      <a:pt x="70887" y="35885"/>
                    </a:lnTo>
                    <a:lnTo>
                      <a:pt x="69124" y="35003"/>
                    </a:lnTo>
                    <a:lnTo>
                      <a:pt x="69124" y="35885"/>
                    </a:lnTo>
                    <a:lnTo>
                      <a:pt x="67361" y="35620"/>
                    </a:lnTo>
                    <a:lnTo>
                      <a:pt x="64804" y="37383"/>
                    </a:lnTo>
                    <a:lnTo>
                      <a:pt x="61012" y="37031"/>
                    </a:lnTo>
                    <a:lnTo>
                      <a:pt x="59778" y="35356"/>
                    </a:lnTo>
                    <a:lnTo>
                      <a:pt x="58367" y="35620"/>
                    </a:lnTo>
                    <a:lnTo>
                      <a:pt x="57486" y="37031"/>
                    </a:lnTo>
                    <a:lnTo>
                      <a:pt x="55987" y="37912"/>
                    </a:lnTo>
                    <a:lnTo>
                      <a:pt x="42321" y="37912"/>
                    </a:lnTo>
                    <a:lnTo>
                      <a:pt x="35885" y="34738"/>
                    </a:lnTo>
                    <a:lnTo>
                      <a:pt x="34738" y="35003"/>
                    </a:lnTo>
                    <a:lnTo>
                      <a:pt x="30330" y="38530"/>
                    </a:lnTo>
                    <a:lnTo>
                      <a:pt x="27156" y="38794"/>
                    </a:lnTo>
                    <a:lnTo>
                      <a:pt x="23629" y="39940"/>
                    </a:lnTo>
                    <a:lnTo>
                      <a:pt x="18956" y="39147"/>
                    </a:lnTo>
                    <a:lnTo>
                      <a:pt x="19309" y="38177"/>
                    </a:lnTo>
                    <a:lnTo>
                      <a:pt x="13402" y="35885"/>
                    </a:lnTo>
                    <a:lnTo>
                      <a:pt x="10227" y="37031"/>
                    </a:lnTo>
                    <a:lnTo>
                      <a:pt x="7847" y="36502"/>
                    </a:lnTo>
                    <a:lnTo>
                      <a:pt x="3791" y="32711"/>
                    </a:lnTo>
                    <a:lnTo>
                      <a:pt x="2645" y="33592"/>
                    </a:lnTo>
                    <a:lnTo>
                      <a:pt x="2381" y="30594"/>
                    </a:lnTo>
                    <a:lnTo>
                      <a:pt x="1763" y="29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4" name="Freihandform: Form 1973">
                <a:extLst>
                  <a:ext uri="{FF2B5EF4-FFF2-40B4-BE49-F238E27FC236}">
                    <a16:creationId xmlns:a16="http://schemas.microsoft.com/office/drawing/2014/main" id="{5B170117-5A35-9CD8-138C-9753014783CA}"/>
                  </a:ext>
                </a:extLst>
              </p:cNvPr>
              <p:cNvSpPr/>
              <p:nvPr/>
            </p:nvSpPr>
            <p:spPr>
              <a:xfrm>
                <a:off x="5950296" y="3489130"/>
                <a:ext cx="117528" cy="143714"/>
              </a:xfrm>
              <a:custGeom>
                <a:avLst/>
                <a:gdLst>
                  <a:gd name="connsiteX0" fmla="*/ 112591 w 117528"/>
                  <a:gd name="connsiteY0" fmla="*/ 109329 h 143714"/>
                  <a:gd name="connsiteX1" fmla="*/ 111709 w 117528"/>
                  <a:gd name="connsiteY1" fmla="*/ 105802 h 143714"/>
                  <a:gd name="connsiteX2" fmla="*/ 110563 w 117528"/>
                  <a:gd name="connsiteY2" fmla="*/ 100865 h 143714"/>
                  <a:gd name="connsiteX3" fmla="*/ 109064 w 117528"/>
                  <a:gd name="connsiteY3" fmla="*/ 94428 h 143714"/>
                  <a:gd name="connsiteX4" fmla="*/ 108183 w 117528"/>
                  <a:gd name="connsiteY4" fmla="*/ 91519 h 143714"/>
                  <a:gd name="connsiteX5" fmla="*/ 106155 w 117528"/>
                  <a:gd name="connsiteY5" fmla="*/ 89755 h 143714"/>
                  <a:gd name="connsiteX6" fmla="*/ 104392 w 117528"/>
                  <a:gd name="connsiteY6" fmla="*/ 89226 h 143714"/>
                  <a:gd name="connsiteX7" fmla="*/ 103863 w 117528"/>
                  <a:gd name="connsiteY7" fmla="*/ 85082 h 143714"/>
                  <a:gd name="connsiteX8" fmla="*/ 102981 w 117528"/>
                  <a:gd name="connsiteY8" fmla="*/ 80762 h 143714"/>
                  <a:gd name="connsiteX9" fmla="*/ 102716 w 117528"/>
                  <a:gd name="connsiteY9" fmla="*/ 78734 h 143714"/>
                  <a:gd name="connsiteX10" fmla="*/ 101217 w 117528"/>
                  <a:gd name="connsiteY10" fmla="*/ 76971 h 143714"/>
                  <a:gd name="connsiteX11" fmla="*/ 101217 w 117528"/>
                  <a:gd name="connsiteY11" fmla="*/ 71416 h 143714"/>
                  <a:gd name="connsiteX12" fmla="*/ 100336 w 117528"/>
                  <a:gd name="connsiteY12" fmla="*/ 68771 h 143714"/>
                  <a:gd name="connsiteX13" fmla="*/ 99807 w 117528"/>
                  <a:gd name="connsiteY13" fmla="*/ 66126 h 143714"/>
                  <a:gd name="connsiteX14" fmla="*/ 97426 w 117528"/>
                  <a:gd name="connsiteY14" fmla="*/ 67008 h 143714"/>
                  <a:gd name="connsiteX15" fmla="*/ 94252 w 117528"/>
                  <a:gd name="connsiteY15" fmla="*/ 66126 h 143714"/>
                  <a:gd name="connsiteX16" fmla="*/ 95398 w 117528"/>
                  <a:gd name="connsiteY16" fmla="*/ 68771 h 143714"/>
                  <a:gd name="connsiteX17" fmla="*/ 95662 w 117528"/>
                  <a:gd name="connsiteY17" fmla="*/ 71152 h 143714"/>
                  <a:gd name="connsiteX18" fmla="*/ 95398 w 117528"/>
                  <a:gd name="connsiteY18" fmla="*/ 73180 h 143714"/>
                  <a:gd name="connsiteX19" fmla="*/ 93635 w 117528"/>
                  <a:gd name="connsiteY19" fmla="*/ 73797 h 143714"/>
                  <a:gd name="connsiteX20" fmla="*/ 92136 w 117528"/>
                  <a:gd name="connsiteY20" fmla="*/ 74061 h 143714"/>
                  <a:gd name="connsiteX21" fmla="*/ 90725 w 117528"/>
                  <a:gd name="connsiteY21" fmla="*/ 76706 h 143714"/>
                  <a:gd name="connsiteX22" fmla="*/ 90725 w 117528"/>
                  <a:gd name="connsiteY22" fmla="*/ 79263 h 143714"/>
                  <a:gd name="connsiteX23" fmla="*/ 91871 w 117528"/>
                  <a:gd name="connsiteY23" fmla="*/ 82526 h 143714"/>
                  <a:gd name="connsiteX24" fmla="*/ 91871 w 117528"/>
                  <a:gd name="connsiteY24" fmla="*/ 85435 h 143714"/>
                  <a:gd name="connsiteX25" fmla="*/ 90108 w 117528"/>
                  <a:gd name="connsiteY25" fmla="*/ 86581 h 143714"/>
                  <a:gd name="connsiteX26" fmla="*/ 87199 w 117528"/>
                  <a:gd name="connsiteY26" fmla="*/ 86581 h 143714"/>
                  <a:gd name="connsiteX27" fmla="*/ 86052 w 117528"/>
                  <a:gd name="connsiteY27" fmla="*/ 83672 h 143714"/>
                  <a:gd name="connsiteX28" fmla="*/ 84641 w 117528"/>
                  <a:gd name="connsiteY28" fmla="*/ 82526 h 143714"/>
                  <a:gd name="connsiteX29" fmla="*/ 83760 w 117528"/>
                  <a:gd name="connsiteY29" fmla="*/ 81291 h 143714"/>
                  <a:gd name="connsiteX30" fmla="*/ 83143 w 117528"/>
                  <a:gd name="connsiteY30" fmla="*/ 85082 h 143714"/>
                  <a:gd name="connsiteX31" fmla="*/ 81115 w 117528"/>
                  <a:gd name="connsiteY31" fmla="*/ 84818 h 143714"/>
                  <a:gd name="connsiteX32" fmla="*/ 80233 w 117528"/>
                  <a:gd name="connsiteY32" fmla="*/ 82173 h 143714"/>
                  <a:gd name="connsiteX33" fmla="*/ 79616 w 117528"/>
                  <a:gd name="connsiteY33" fmla="*/ 78382 h 143714"/>
                  <a:gd name="connsiteX34" fmla="*/ 79616 w 117528"/>
                  <a:gd name="connsiteY34" fmla="*/ 76971 h 143714"/>
                  <a:gd name="connsiteX35" fmla="*/ 77941 w 117528"/>
                  <a:gd name="connsiteY35" fmla="*/ 73180 h 143714"/>
                  <a:gd name="connsiteX36" fmla="*/ 76971 w 117528"/>
                  <a:gd name="connsiteY36" fmla="*/ 69917 h 143714"/>
                  <a:gd name="connsiteX37" fmla="*/ 77588 w 117528"/>
                  <a:gd name="connsiteY37" fmla="*/ 68771 h 143714"/>
                  <a:gd name="connsiteX38" fmla="*/ 79969 w 117528"/>
                  <a:gd name="connsiteY38" fmla="*/ 66743 h 143714"/>
                  <a:gd name="connsiteX39" fmla="*/ 79352 w 117528"/>
                  <a:gd name="connsiteY39" fmla="*/ 64098 h 143714"/>
                  <a:gd name="connsiteX40" fmla="*/ 80233 w 117528"/>
                  <a:gd name="connsiteY40" fmla="*/ 61806 h 143714"/>
                  <a:gd name="connsiteX41" fmla="*/ 82878 w 117528"/>
                  <a:gd name="connsiteY41" fmla="*/ 60043 h 143714"/>
                  <a:gd name="connsiteX42" fmla="*/ 82525 w 117528"/>
                  <a:gd name="connsiteY42" fmla="*/ 59425 h 143714"/>
                  <a:gd name="connsiteX43" fmla="*/ 81379 w 117528"/>
                  <a:gd name="connsiteY43" fmla="*/ 58015 h 143714"/>
                  <a:gd name="connsiteX44" fmla="*/ 82261 w 117528"/>
                  <a:gd name="connsiteY44" fmla="*/ 56869 h 143714"/>
                  <a:gd name="connsiteX45" fmla="*/ 84289 w 117528"/>
                  <a:gd name="connsiteY45" fmla="*/ 57398 h 143714"/>
                  <a:gd name="connsiteX46" fmla="*/ 86934 w 117528"/>
                  <a:gd name="connsiteY46" fmla="*/ 58015 h 143714"/>
                  <a:gd name="connsiteX47" fmla="*/ 86317 w 117528"/>
                  <a:gd name="connsiteY47" fmla="*/ 54488 h 143714"/>
                  <a:gd name="connsiteX48" fmla="*/ 89226 w 117528"/>
                  <a:gd name="connsiteY48" fmla="*/ 57133 h 143714"/>
                  <a:gd name="connsiteX49" fmla="*/ 89579 w 117528"/>
                  <a:gd name="connsiteY49" fmla="*/ 56251 h 143714"/>
                  <a:gd name="connsiteX50" fmla="*/ 89226 w 117528"/>
                  <a:gd name="connsiteY50" fmla="*/ 54488 h 143714"/>
                  <a:gd name="connsiteX51" fmla="*/ 90725 w 117528"/>
                  <a:gd name="connsiteY51" fmla="*/ 54488 h 143714"/>
                  <a:gd name="connsiteX52" fmla="*/ 90990 w 117528"/>
                  <a:gd name="connsiteY52" fmla="*/ 56251 h 143714"/>
                  <a:gd name="connsiteX53" fmla="*/ 92136 w 117528"/>
                  <a:gd name="connsiteY53" fmla="*/ 57133 h 143714"/>
                  <a:gd name="connsiteX54" fmla="*/ 93018 w 117528"/>
                  <a:gd name="connsiteY54" fmla="*/ 56869 h 143714"/>
                  <a:gd name="connsiteX55" fmla="*/ 93635 w 117528"/>
                  <a:gd name="connsiteY55" fmla="*/ 54488 h 143714"/>
                  <a:gd name="connsiteX56" fmla="*/ 93018 w 117528"/>
                  <a:gd name="connsiteY56" fmla="*/ 52460 h 143714"/>
                  <a:gd name="connsiteX57" fmla="*/ 93371 w 117528"/>
                  <a:gd name="connsiteY57" fmla="*/ 51314 h 143714"/>
                  <a:gd name="connsiteX58" fmla="*/ 94252 w 117528"/>
                  <a:gd name="connsiteY58" fmla="*/ 50961 h 143714"/>
                  <a:gd name="connsiteX59" fmla="*/ 95398 w 117528"/>
                  <a:gd name="connsiteY59" fmla="*/ 50432 h 143714"/>
                  <a:gd name="connsiteX60" fmla="*/ 94781 w 117528"/>
                  <a:gd name="connsiteY60" fmla="*/ 47170 h 143714"/>
                  <a:gd name="connsiteX61" fmla="*/ 94516 w 117528"/>
                  <a:gd name="connsiteY61" fmla="*/ 44878 h 143714"/>
                  <a:gd name="connsiteX62" fmla="*/ 96544 w 117528"/>
                  <a:gd name="connsiteY62" fmla="*/ 43114 h 143714"/>
                  <a:gd name="connsiteX63" fmla="*/ 95133 w 117528"/>
                  <a:gd name="connsiteY63" fmla="*/ 43114 h 143714"/>
                  <a:gd name="connsiteX64" fmla="*/ 93635 w 117528"/>
                  <a:gd name="connsiteY64" fmla="*/ 42850 h 143714"/>
                  <a:gd name="connsiteX65" fmla="*/ 93371 w 117528"/>
                  <a:gd name="connsiteY65" fmla="*/ 41968 h 143714"/>
                  <a:gd name="connsiteX66" fmla="*/ 93635 w 117528"/>
                  <a:gd name="connsiteY66" fmla="*/ 41704 h 143714"/>
                  <a:gd name="connsiteX67" fmla="*/ 95927 w 117528"/>
                  <a:gd name="connsiteY67" fmla="*/ 41351 h 143714"/>
                  <a:gd name="connsiteX68" fmla="*/ 98043 w 117528"/>
                  <a:gd name="connsiteY68" fmla="*/ 42850 h 143714"/>
                  <a:gd name="connsiteX69" fmla="*/ 100953 w 117528"/>
                  <a:gd name="connsiteY69" fmla="*/ 42497 h 143714"/>
                  <a:gd name="connsiteX70" fmla="*/ 100600 w 117528"/>
                  <a:gd name="connsiteY70" fmla="*/ 40469 h 143714"/>
                  <a:gd name="connsiteX71" fmla="*/ 99454 w 117528"/>
                  <a:gd name="connsiteY71" fmla="*/ 39059 h 143714"/>
                  <a:gd name="connsiteX72" fmla="*/ 96544 w 117528"/>
                  <a:gd name="connsiteY72" fmla="*/ 39059 h 143714"/>
                  <a:gd name="connsiteX73" fmla="*/ 96280 w 117528"/>
                  <a:gd name="connsiteY73" fmla="*/ 37295 h 143714"/>
                  <a:gd name="connsiteX74" fmla="*/ 93635 w 117528"/>
                  <a:gd name="connsiteY74" fmla="*/ 36149 h 143714"/>
                  <a:gd name="connsiteX75" fmla="*/ 90990 w 117528"/>
                  <a:gd name="connsiteY75" fmla="*/ 34121 h 143714"/>
                  <a:gd name="connsiteX76" fmla="*/ 88080 w 117528"/>
                  <a:gd name="connsiteY76" fmla="*/ 32622 h 143714"/>
                  <a:gd name="connsiteX77" fmla="*/ 86317 w 117528"/>
                  <a:gd name="connsiteY77" fmla="*/ 32622 h 143714"/>
                  <a:gd name="connsiteX78" fmla="*/ 85170 w 117528"/>
                  <a:gd name="connsiteY78" fmla="*/ 32887 h 143714"/>
                  <a:gd name="connsiteX79" fmla="*/ 83407 w 117528"/>
                  <a:gd name="connsiteY79" fmla="*/ 32622 h 143714"/>
                  <a:gd name="connsiteX80" fmla="*/ 79616 w 117528"/>
                  <a:gd name="connsiteY80" fmla="*/ 32887 h 143714"/>
                  <a:gd name="connsiteX81" fmla="*/ 79969 w 117528"/>
                  <a:gd name="connsiteY81" fmla="*/ 33504 h 143714"/>
                  <a:gd name="connsiteX82" fmla="*/ 78470 w 117528"/>
                  <a:gd name="connsiteY82" fmla="*/ 33504 h 143714"/>
                  <a:gd name="connsiteX83" fmla="*/ 77588 w 117528"/>
                  <a:gd name="connsiteY83" fmla="*/ 32622 h 143714"/>
                  <a:gd name="connsiteX84" fmla="*/ 76442 w 117528"/>
                  <a:gd name="connsiteY84" fmla="*/ 33504 h 143714"/>
                  <a:gd name="connsiteX85" fmla="*/ 74062 w 117528"/>
                  <a:gd name="connsiteY85" fmla="*/ 32887 h 143714"/>
                  <a:gd name="connsiteX86" fmla="*/ 73180 w 117528"/>
                  <a:gd name="connsiteY86" fmla="*/ 32887 h 143714"/>
                  <a:gd name="connsiteX87" fmla="*/ 71769 w 117528"/>
                  <a:gd name="connsiteY87" fmla="*/ 31123 h 143714"/>
                  <a:gd name="connsiteX88" fmla="*/ 68242 w 117528"/>
                  <a:gd name="connsiteY88" fmla="*/ 31123 h 143714"/>
                  <a:gd name="connsiteX89" fmla="*/ 67096 w 117528"/>
                  <a:gd name="connsiteY89" fmla="*/ 31123 h 143714"/>
                  <a:gd name="connsiteX90" fmla="*/ 63922 w 117528"/>
                  <a:gd name="connsiteY90" fmla="*/ 32622 h 143714"/>
                  <a:gd name="connsiteX91" fmla="*/ 62423 w 117528"/>
                  <a:gd name="connsiteY91" fmla="*/ 32622 h 143714"/>
                  <a:gd name="connsiteX92" fmla="*/ 61012 w 117528"/>
                  <a:gd name="connsiteY92" fmla="*/ 31476 h 143714"/>
                  <a:gd name="connsiteX93" fmla="*/ 57750 w 117528"/>
                  <a:gd name="connsiteY93" fmla="*/ 32005 h 143714"/>
                  <a:gd name="connsiteX94" fmla="*/ 55987 w 117528"/>
                  <a:gd name="connsiteY94" fmla="*/ 31741 h 143714"/>
                  <a:gd name="connsiteX95" fmla="*/ 53959 w 117528"/>
                  <a:gd name="connsiteY95" fmla="*/ 31741 h 143714"/>
                  <a:gd name="connsiteX96" fmla="*/ 52196 w 117528"/>
                  <a:gd name="connsiteY96" fmla="*/ 30594 h 143714"/>
                  <a:gd name="connsiteX97" fmla="*/ 49903 w 117528"/>
                  <a:gd name="connsiteY97" fmla="*/ 31476 h 143714"/>
                  <a:gd name="connsiteX98" fmla="*/ 47523 w 117528"/>
                  <a:gd name="connsiteY98" fmla="*/ 30594 h 143714"/>
                  <a:gd name="connsiteX99" fmla="*/ 44966 w 117528"/>
                  <a:gd name="connsiteY99" fmla="*/ 30330 h 143714"/>
                  <a:gd name="connsiteX100" fmla="*/ 43732 w 117528"/>
                  <a:gd name="connsiteY100" fmla="*/ 29095 h 143714"/>
                  <a:gd name="connsiteX101" fmla="*/ 43203 w 117528"/>
                  <a:gd name="connsiteY101" fmla="*/ 30594 h 143714"/>
                  <a:gd name="connsiteX102" fmla="*/ 41703 w 117528"/>
                  <a:gd name="connsiteY102" fmla="*/ 31476 h 143714"/>
                  <a:gd name="connsiteX103" fmla="*/ 40557 w 117528"/>
                  <a:gd name="connsiteY103" fmla="*/ 28831 h 143714"/>
                  <a:gd name="connsiteX104" fmla="*/ 40028 w 117528"/>
                  <a:gd name="connsiteY104" fmla="*/ 24423 h 143714"/>
                  <a:gd name="connsiteX105" fmla="*/ 39411 w 117528"/>
                  <a:gd name="connsiteY105" fmla="*/ 21513 h 143714"/>
                  <a:gd name="connsiteX106" fmla="*/ 37295 w 117528"/>
                  <a:gd name="connsiteY106" fmla="*/ 17193 h 143714"/>
                  <a:gd name="connsiteX107" fmla="*/ 37648 w 117528"/>
                  <a:gd name="connsiteY107" fmla="*/ 13049 h 143714"/>
                  <a:gd name="connsiteX108" fmla="*/ 35885 w 117528"/>
                  <a:gd name="connsiteY108" fmla="*/ 10492 h 143714"/>
                  <a:gd name="connsiteX109" fmla="*/ 34386 w 117528"/>
                  <a:gd name="connsiteY109" fmla="*/ 10139 h 143714"/>
                  <a:gd name="connsiteX110" fmla="*/ 34121 w 117528"/>
                  <a:gd name="connsiteY110" fmla="*/ 7847 h 143714"/>
                  <a:gd name="connsiteX111" fmla="*/ 33240 w 117528"/>
                  <a:gd name="connsiteY111" fmla="*/ 7230 h 143714"/>
                  <a:gd name="connsiteX112" fmla="*/ 30594 w 117528"/>
                  <a:gd name="connsiteY112" fmla="*/ 10492 h 143714"/>
                  <a:gd name="connsiteX113" fmla="*/ 30947 w 117528"/>
                  <a:gd name="connsiteY113" fmla="*/ 12784 h 143714"/>
                  <a:gd name="connsiteX114" fmla="*/ 28919 w 117528"/>
                  <a:gd name="connsiteY114" fmla="*/ 12784 h 143714"/>
                  <a:gd name="connsiteX115" fmla="*/ 27420 w 117528"/>
                  <a:gd name="connsiteY115" fmla="*/ 12167 h 143714"/>
                  <a:gd name="connsiteX116" fmla="*/ 26803 w 117528"/>
                  <a:gd name="connsiteY116" fmla="*/ 13049 h 143714"/>
                  <a:gd name="connsiteX117" fmla="*/ 23982 w 117528"/>
                  <a:gd name="connsiteY117" fmla="*/ 12167 h 143714"/>
                  <a:gd name="connsiteX118" fmla="*/ 23365 w 117528"/>
                  <a:gd name="connsiteY118" fmla="*/ 11903 h 143714"/>
                  <a:gd name="connsiteX119" fmla="*/ 18692 w 117528"/>
                  <a:gd name="connsiteY119" fmla="*/ 9258 h 143714"/>
                  <a:gd name="connsiteX120" fmla="*/ 18074 w 117528"/>
                  <a:gd name="connsiteY120" fmla="*/ 15077 h 143714"/>
                  <a:gd name="connsiteX121" fmla="*/ 14019 w 117528"/>
                  <a:gd name="connsiteY121" fmla="*/ 5466 h 143714"/>
                  <a:gd name="connsiteX122" fmla="*/ 9082 w 117528"/>
                  <a:gd name="connsiteY122" fmla="*/ 3439 h 143714"/>
                  <a:gd name="connsiteX123" fmla="*/ 4673 w 117528"/>
                  <a:gd name="connsiteY123" fmla="*/ 0 h 143714"/>
                  <a:gd name="connsiteX124" fmla="*/ 4144 w 117528"/>
                  <a:gd name="connsiteY124" fmla="*/ 1146 h 143714"/>
                  <a:gd name="connsiteX125" fmla="*/ 3791 w 117528"/>
                  <a:gd name="connsiteY125" fmla="*/ 2292 h 143714"/>
                  <a:gd name="connsiteX126" fmla="*/ 4144 w 117528"/>
                  <a:gd name="connsiteY126" fmla="*/ 3174 h 143714"/>
                  <a:gd name="connsiteX127" fmla="*/ 4408 w 117528"/>
                  <a:gd name="connsiteY127" fmla="*/ 6348 h 143714"/>
                  <a:gd name="connsiteX128" fmla="*/ 1146 w 117528"/>
                  <a:gd name="connsiteY128" fmla="*/ 10757 h 143714"/>
                  <a:gd name="connsiteX129" fmla="*/ 265 w 117528"/>
                  <a:gd name="connsiteY129" fmla="*/ 12167 h 143714"/>
                  <a:gd name="connsiteX130" fmla="*/ 881 w 117528"/>
                  <a:gd name="connsiteY130" fmla="*/ 14812 h 143714"/>
                  <a:gd name="connsiteX131" fmla="*/ 265 w 117528"/>
                  <a:gd name="connsiteY131" fmla="*/ 15694 h 143714"/>
                  <a:gd name="connsiteX132" fmla="*/ 0 w 117528"/>
                  <a:gd name="connsiteY132" fmla="*/ 16311 h 143714"/>
                  <a:gd name="connsiteX133" fmla="*/ 1146 w 117528"/>
                  <a:gd name="connsiteY133" fmla="*/ 18868 h 143714"/>
                  <a:gd name="connsiteX134" fmla="*/ 10756 w 117528"/>
                  <a:gd name="connsiteY134" fmla="*/ 24158 h 143714"/>
                  <a:gd name="connsiteX135" fmla="*/ 11374 w 117528"/>
                  <a:gd name="connsiteY135" fmla="*/ 27068 h 143714"/>
                  <a:gd name="connsiteX136" fmla="*/ 13754 w 117528"/>
                  <a:gd name="connsiteY136" fmla="*/ 27420 h 143714"/>
                  <a:gd name="connsiteX137" fmla="*/ 16664 w 117528"/>
                  <a:gd name="connsiteY137" fmla="*/ 27685 h 143714"/>
                  <a:gd name="connsiteX138" fmla="*/ 16928 w 117528"/>
                  <a:gd name="connsiteY138" fmla="*/ 26539 h 143714"/>
                  <a:gd name="connsiteX139" fmla="*/ 19485 w 117528"/>
                  <a:gd name="connsiteY139" fmla="*/ 26186 h 143714"/>
                  <a:gd name="connsiteX140" fmla="*/ 19838 w 117528"/>
                  <a:gd name="connsiteY140" fmla="*/ 27685 h 143714"/>
                  <a:gd name="connsiteX141" fmla="*/ 22748 w 117528"/>
                  <a:gd name="connsiteY141" fmla="*/ 28831 h 143714"/>
                  <a:gd name="connsiteX142" fmla="*/ 25128 w 117528"/>
                  <a:gd name="connsiteY142" fmla="*/ 29977 h 143714"/>
                  <a:gd name="connsiteX143" fmla="*/ 23629 w 117528"/>
                  <a:gd name="connsiteY143" fmla="*/ 30594 h 143714"/>
                  <a:gd name="connsiteX144" fmla="*/ 23365 w 117528"/>
                  <a:gd name="connsiteY144" fmla="*/ 31476 h 143714"/>
                  <a:gd name="connsiteX145" fmla="*/ 24246 w 117528"/>
                  <a:gd name="connsiteY145" fmla="*/ 33239 h 143714"/>
                  <a:gd name="connsiteX146" fmla="*/ 20719 w 117528"/>
                  <a:gd name="connsiteY146" fmla="*/ 33504 h 143714"/>
                  <a:gd name="connsiteX147" fmla="*/ 19485 w 117528"/>
                  <a:gd name="connsiteY147" fmla="*/ 33239 h 143714"/>
                  <a:gd name="connsiteX148" fmla="*/ 16928 w 117528"/>
                  <a:gd name="connsiteY148" fmla="*/ 33504 h 143714"/>
                  <a:gd name="connsiteX149" fmla="*/ 14900 w 117528"/>
                  <a:gd name="connsiteY149" fmla="*/ 32005 h 143714"/>
                  <a:gd name="connsiteX150" fmla="*/ 13754 w 117528"/>
                  <a:gd name="connsiteY150" fmla="*/ 33239 h 143714"/>
                  <a:gd name="connsiteX151" fmla="*/ 10756 w 117528"/>
                  <a:gd name="connsiteY151" fmla="*/ 33239 h 143714"/>
                  <a:gd name="connsiteX152" fmla="*/ 11374 w 117528"/>
                  <a:gd name="connsiteY152" fmla="*/ 36413 h 143714"/>
                  <a:gd name="connsiteX153" fmla="*/ 12256 w 117528"/>
                  <a:gd name="connsiteY153" fmla="*/ 38177 h 143714"/>
                  <a:gd name="connsiteX154" fmla="*/ 11638 w 117528"/>
                  <a:gd name="connsiteY154" fmla="*/ 41351 h 143714"/>
                  <a:gd name="connsiteX155" fmla="*/ 9611 w 117528"/>
                  <a:gd name="connsiteY155" fmla="*/ 41351 h 143714"/>
                  <a:gd name="connsiteX156" fmla="*/ 9611 w 117528"/>
                  <a:gd name="connsiteY156" fmla="*/ 39059 h 143714"/>
                  <a:gd name="connsiteX157" fmla="*/ 6436 w 117528"/>
                  <a:gd name="connsiteY157" fmla="*/ 39940 h 143714"/>
                  <a:gd name="connsiteX158" fmla="*/ 7318 w 117528"/>
                  <a:gd name="connsiteY158" fmla="*/ 41704 h 143714"/>
                  <a:gd name="connsiteX159" fmla="*/ 6436 w 117528"/>
                  <a:gd name="connsiteY159" fmla="*/ 43114 h 143714"/>
                  <a:gd name="connsiteX160" fmla="*/ 7582 w 117528"/>
                  <a:gd name="connsiteY160" fmla="*/ 45495 h 143714"/>
                  <a:gd name="connsiteX161" fmla="*/ 7582 w 117528"/>
                  <a:gd name="connsiteY161" fmla="*/ 48404 h 143714"/>
                  <a:gd name="connsiteX162" fmla="*/ 7053 w 117528"/>
                  <a:gd name="connsiteY162" fmla="*/ 49551 h 143714"/>
                  <a:gd name="connsiteX163" fmla="*/ 7935 w 117528"/>
                  <a:gd name="connsiteY163" fmla="*/ 50432 h 143714"/>
                  <a:gd name="connsiteX164" fmla="*/ 14900 w 117528"/>
                  <a:gd name="connsiteY164" fmla="*/ 54488 h 143714"/>
                  <a:gd name="connsiteX165" fmla="*/ 18956 w 117528"/>
                  <a:gd name="connsiteY165" fmla="*/ 54488 h 143714"/>
                  <a:gd name="connsiteX166" fmla="*/ 20984 w 117528"/>
                  <a:gd name="connsiteY166" fmla="*/ 55370 h 143714"/>
                  <a:gd name="connsiteX167" fmla="*/ 22483 w 117528"/>
                  <a:gd name="connsiteY167" fmla="*/ 57398 h 143714"/>
                  <a:gd name="connsiteX168" fmla="*/ 21601 w 117528"/>
                  <a:gd name="connsiteY168" fmla="*/ 58896 h 143714"/>
                  <a:gd name="connsiteX169" fmla="*/ 23365 w 117528"/>
                  <a:gd name="connsiteY169" fmla="*/ 58896 h 143714"/>
                  <a:gd name="connsiteX170" fmla="*/ 24246 w 117528"/>
                  <a:gd name="connsiteY170" fmla="*/ 60307 h 143714"/>
                  <a:gd name="connsiteX171" fmla="*/ 23629 w 117528"/>
                  <a:gd name="connsiteY171" fmla="*/ 62952 h 143714"/>
                  <a:gd name="connsiteX172" fmla="*/ 23629 w 117528"/>
                  <a:gd name="connsiteY172" fmla="*/ 65597 h 143714"/>
                  <a:gd name="connsiteX173" fmla="*/ 21601 w 117528"/>
                  <a:gd name="connsiteY173" fmla="*/ 66743 h 143714"/>
                  <a:gd name="connsiteX174" fmla="*/ 19221 w 117528"/>
                  <a:gd name="connsiteY174" fmla="*/ 67008 h 143714"/>
                  <a:gd name="connsiteX175" fmla="*/ 18956 w 117528"/>
                  <a:gd name="connsiteY175" fmla="*/ 68771 h 143714"/>
                  <a:gd name="connsiteX176" fmla="*/ 19221 w 117528"/>
                  <a:gd name="connsiteY176" fmla="*/ 70270 h 143714"/>
                  <a:gd name="connsiteX177" fmla="*/ 20455 w 117528"/>
                  <a:gd name="connsiteY177" fmla="*/ 71681 h 143714"/>
                  <a:gd name="connsiteX178" fmla="*/ 22219 w 117528"/>
                  <a:gd name="connsiteY178" fmla="*/ 74061 h 143714"/>
                  <a:gd name="connsiteX179" fmla="*/ 26274 w 117528"/>
                  <a:gd name="connsiteY179" fmla="*/ 73797 h 143714"/>
                  <a:gd name="connsiteX180" fmla="*/ 25128 w 117528"/>
                  <a:gd name="connsiteY180" fmla="*/ 76089 h 143714"/>
                  <a:gd name="connsiteX181" fmla="*/ 26274 w 117528"/>
                  <a:gd name="connsiteY181" fmla="*/ 78382 h 143714"/>
                  <a:gd name="connsiteX182" fmla="*/ 24246 w 117528"/>
                  <a:gd name="connsiteY182" fmla="*/ 78734 h 143714"/>
                  <a:gd name="connsiteX183" fmla="*/ 25128 w 117528"/>
                  <a:gd name="connsiteY183" fmla="*/ 81644 h 143714"/>
                  <a:gd name="connsiteX184" fmla="*/ 29448 w 117528"/>
                  <a:gd name="connsiteY184" fmla="*/ 81291 h 143714"/>
                  <a:gd name="connsiteX185" fmla="*/ 30594 w 117528"/>
                  <a:gd name="connsiteY185" fmla="*/ 85435 h 143714"/>
                  <a:gd name="connsiteX186" fmla="*/ 30330 w 117528"/>
                  <a:gd name="connsiteY186" fmla="*/ 87463 h 143714"/>
                  <a:gd name="connsiteX187" fmla="*/ 32975 w 117528"/>
                  <a:gd name="connsiteY187" fmla="*/ 90990 h 143714"/>
                  <a:gd name="connsiteX188" fmla="*/ 31829 w 117528"/>
                  <a:gd name="connsiteY188" fmla="*/ 93018 h 143714"/>
                  <a:gd name="connsiteX189" fmla="*/ 33592 w 117528"/>
                  <a:gd name="connsiteY189" fmla="*/ 97073 h 143714"/>
                  <a:gd name="connsiteX190" fmla="*/ 34121 w 117528"/>
                  <a:gd name="connsiteY190" fmla="*/ 99983 h 143714"/>
                  <a:gd name="connsiteX191" fmla="*/ 34121 w 117528"/>
                  <a:gd name="connsiteY191" fmla="*/ 104391 h 143714"/>
                  <a:gd name="connsiteX192" fmla="*/ 35003 w 117528"/>
                  <a:gd name="connsiteY192" fmla="*/ 107301 h 143714"/>
                  <a:gd name="connsiteX193" fmla="*/ 36766 w 117528"/>
                  <a:gd name="connsiteY193" fmla="*/ 108711 h 143714"/>
                  <a:gd name="connsiteX194" fmla="*/ 37295 w 117528"/>
                  <a:gd name="connsiteY194" fmla="*/ 109946 h 143714"/>
                  <a:gd name="connsiteX195" fmla="*/ 37912 w 117528"/>
                  <a:gd name="connsiteY195" fmla="*/ 111357 h 143714"/>
                  <a:gd name="connsiteX196" fmla="*/ 38530 w 117528"/>
                  <a:gd name="connsiteY196" fmla="*/ 113120 h 143714"/>
                  <a:gd name="connsiteX197" fmla="*/ 38177 w 117528"/>
                  <a:gd name="connsiteY197" fmla="*/ 114266 h 143714"/>
                  <a:gd name="connsiteX198" fmla="*/ 38530 w 117528"/>
                  <a:gd name="connsiteY198" fmla="*/ 116294 h 143714"/>
                  <a:gd name="connsiteX199" fmla="*/ 38530 w 117528"/>
                  <a:gd name="connsiteY199" fmla="*/ 117176 h 143714"/>
                  <a:gd name="connsiteX200" fmla="*/ 40028 w 117528"/>
                  <a:gd name="connsiteY200" fmla="*/ 118057 h 143714"/>
                  <a:gd name="connsiteX201" fmla="*/ 40557 w 117528"/>
                  <a:gd name="connsiteY201" fmla="*/ 117176 h 143714"/>
                  <a:gd name="connsiteX202" fmla="*/ 41968 w 117528"/>
                  <a:gd name="connsiteY202" fmla="*/ 119821 h 143714"/>
                  <a:gd name="connsiteX203" fmla="*/ 41968 w 117528"/>
                  <a:gd name="connsiteY203" fmla="*/ 121849 h 143714"/>
                  <a:gd name="connsiteX204" fmla="*/ 42321 w 117528"/>
                  <a:gd name="connsiteY204" fmla="*/ 121849 h 143714"/>
                  <a:gd name="connsiteX205" fmla="*/ 43203 w 117528"/>
                  <a:gd name="connsiteY205" fmla="*/ 121584 h 143714"/>
                  <a:gd name="connsiteX206" fmla="*/ 43467 w 117528"/>
                  <a:gd name="connsiteY206" fmla="*/ 120967 h 143714"/>
                  <a:gd name="connsiteX207" fmla="*/ 42850 w 117528"/>
                  <a:gd name="connsiteY207" fmla="*/ 120702 h 143714"/>
                  <a:gd name="connsiteX208" fmla="*/ 43203 w 117528"/>
                  <a:gd name="connsiteY208" fmla="*/ 119204 h 143714"/>
                  <a:gd name="connsiteX209" fmla="*/ 42321 w 117528"/>
                  <a:gd name="connsiteY209" fmla="*/ 117176 h 143714"/>
                  <a:gd name="connsiteX210" fmla="*/ 43732 w 117528"/>
                  <a:gd name="connsiteY210" fmla="*/ 117176 h 143714"/>
                  <a:gd name="connsiteX211" fmla="*/ 43467 w 117528"/>
                  <a:gd name="connsiteY211" fmla="*/ 115501 h 143714"/>
                  <a:gd name="connsiteX212" fmla="*/ 42850 w 117528"/>
                  <a:gd name="connsiteY212" fmla="*/ 114619 h 143714"/>
                  <a:gd name="connsiteX213" fmla="*/ 43203 w 117528"/>
                  <a:gd name="connsiteY213" fmla="*/ 113385 h 143714"/>
                  <a:gd name="connsiteX214" fmla="*/ 44349 w 117528"/>
                  <a:gd name="connsiteY214" fmla="*/ 115148 h 143714"/>
                  <a:gd name="connsiteX215" fmla="*/ 44613 w 117528"/>
                  <a:gd name="connsiteY215" fmla="*/ 115501 h 143714"/>
                  <a:gd name="connsiteX216" fmla="*/ 44349 w 117528"/>
                  <a:gd name="connsiteY216" fmla="*/ 116294 h 143714"/>
                  <a:gd name="connsiteX217" fmla="*/ 44613 w 117528"/>
                  <a:gd name="connsiteY217" fmla="*/ 118057 h 143714"/>
                  <a:gd name="connsiteX218" fmla="*/ 44613 w 117528"/>
                  <a:gd name="connsiteY218" fmla="*/ 119204 h 143714"/>
                  <a:gd name="connsiteX219" fmla="*/ 45230 w 117528"/>
                  <a:gd name="connsiteY219" fmla="*/ 119821 h 143714"/>
                  <a:gd name="connsiteX220" fmla="*/ 45848 w 117528"/>
                  <a:gd name="connsiteY220" fmla="*/ 119821 h 143714"/>
                  <a:gd name="connsiteX221" fmla="*/ 46906 w 117528"/>
                  <a:gd name="connsiteY221" fmla="*/ 118057 h 143714"/>
                  <a:gd name="connsiteX222" fmla="*/ 46641 w 117528"/>
                  <a:gd name="connsiteY222" fmla="*/ 116294 h 143714"/>
                  <a:gd name="connsiteX223" fmla="*/ 46641 w 117528"/>
                  <a:gd name="connsiteY223" fmla="*/ 115501 h 143714"/>
                  <a:gd name="connsiteX224" fmla="*/ 47523 w 117528"/>
                  <a:gd name="connsiteY224" fmla="*/ 115148 h 143714"/>
                  <a:gd name="connsiteX225" fmla="*/ 47523 w 117528"/>
                  <a:gd name="connsiteY225" fmla="*/ 114266 h 143714"/>
                  <a:gd name="connsiteX226" fmla="*/ 46906 w 117528"/>
                  <a:gd name="connsiteY226" fmla="*/ 113385 h 143714"/>
                  <a:gd name="connsiteX227" fmla="*/ 45848 w 117528"/>
                  <a:gd name="connsiteY227" fmla="*/ 112855 h 143714"/>
                  <a:gd name="connsiteX228" fmla="*/ 46112 w 117528"/>
                  <a:gd name="connsiteY228" fmla="*/ 111974 h 143714"/>
                  <a:gd name="connsiteX229" fmla="*/ 46112 w 117528"/>
                  <a:gd name="connsiteY229" fmla="*/ 111357 h 143714"/>
                  <a:gd name="connsiteX230" fmla="*/ 46906 w 117528"/>
                  <a:gd name="connsiteY230" fmla="*/ 111357 h 143714"/>
                  <a:gd name="connsiteX231" fmla="*/ 46906 w 117528"/>
                  <a:gd name="connsiteY231" fmla="*/ 110828 h 143714"/>
                  <a:gd name="connsiteX232" fmla="*/ 46112 w 117528"/>
                  <a:gd name="connsiteY232" fmla="*/ 109593 h 143714"/>
                  <a:gd name="connsiteX233" fmla="*/ 45848 w 117528"/>
                  <a:gd name="connsiteY233" fmla="*/ 109946 h 143714"/>
                  <a:gd name="connsiteX234" fmla="*/ 45848 w 117528"/>
                  <a:gd name="connsiteY234" fmla="*/ 109593 h 143714"/>
                  <a:gd name="connsiteX235" fmla="*/ 45230 w 117528"/>
                  <a:gd name="connsiteY235" fmla="*/ 108711 h 143714"/>
                  <a:gd name="connsiteX236" fmla="*/ 44966 w 117528"/>
                  <a:gd name="connsiteY236" fmla="*/ 108447 h 143714"/>
                  <a:gd name="connsiteX237" fmla="*/ 44966 w 117528"/>
                  <a:gd name="connsiteY237" fmla="*/ 107918 h 143714"/>
                  <a:gd name="connsiteX238" fmla="*/ 45230 w 117528"/>
                  <a:gd name="connsiteY238" fmla="*/ 107036 h 143714"/>
                  <a:gd name="connsiteX239" fmla="*/ 45230 w 117528"/>
                  <a:gd name="connsiteY239" fmla="*/ 105802 h 143714"/>
                  <a:gd name="connsiteX240" fmla="*/ 45495 w 117528"/>
                  <a:gd name="connsiteY240" fmla="*/ 105802 h 143714"/>
                  <a:gd name="connsiteX241" fmla="*/ 45495 w 117528"/>
                  <a:gd name="connsiteY241" fmla="*/ 108183 h 143714"/>
                  <a:gd name="connsiteX242" fmla="*/ 46906 w 117528"/>
                  <a:gd name="connsiteY242" fmla="*/ 110828 h 143714"/>
                  <a:gd name="connsiteX243" fmla="*/ 46906 w 117528"/>
                  <a:gd name="connsiteY243" fmla="*/ 111974 h 143714"/>
                  <a:gd name="connsiteX244" fmla="*/ 47258 w 117528"/>
                  <a:gd name="connsiteY244" fmla="*/ 113385 h 143714"/>
                  <a:gd name="connsiteX245" fmla="*/ 47523 w 117528"/>
                  <a:gd name="connsiteY245" fmla="*/ 109593 h 143714"/>
                  <a:gd name="connsiteX246" fmla="*/ 46377 w 117528"/>
                  <a:gd name="connsiteY246" fmla="*/ 107918 h 143714"/>
                  <a:gd name="connsiteX247" fmla="*/ 46906 w 117528"/>
                  <a:gd name="connsiteY247" fmla="*/ 107036 h 143714"/>
                  <a:gd name="connsiteX248" fmla="*/ 46906 w 117528"/>
                  <a:gd name="connsiteY248" fmla="*/ 105802 h 143714"/>
                  <a:gd name="connsiteX249" fmla="*/ 47258 w 117528"/>
                  <a:gd name="connsiteY249" fmla="*/ 104920 h 143714"/>
                  <a:gd name="connsiteX250" fmla="*/ 48140 w 117528"/>
                  <a:gd name="connsiteY250" fmla="*/ 104039 h 143714"/>
                  <a:gd name="connsiteX251" fmla="*/ 48404 w 117528"/>
                  <a:gd name="connsiteY251" fmla="*/ 104920 h 143714"/>
                  <a:gd name="connsiteX252" fmla="*/ 48404 w 117528"/>
                  <a:gd name="connsiteY252" fmla="*/ 105802 h 143714"/>
                  <a:gd name="connsiteX253" fmla="*/ 47875 w 117528"/>
                  <a:gd name="connsiteY253" fmla="*/ 107036 h 143714"/>
                  <a:gd name="connsiteX254" fmla="*/ 47258 w 117528"/>
                  <a:gd name="connsiteY254" fmla="*/ 107918 h 143714"/>
                  <a:gd name="connsiteX255" fmla="*/ 48140 w 117528"/>
                  <a:gd name="connsiteY255" fmla="*/ 108447 h 143714"/>
                  <a:gd name="connsiteX256" fmla="*/ 48140 w 117528"/>
                  <a:gd name="connsiteY256" fmla="*/ 110210 h 143714"/>
                  <a:gd name="connsiteX257" fmla="*/ 48757 w 117528"/>
                  <a:gd name="connsiteY257" fmla="*/ 111357 h 143714"/>
                  <a:gd name="connsiteX258" fmla="*/ 48140 w 117528"/>
                  <a:gd name="connsiteY258" fmla="*/ 112855 h 143714"/>
                  <a:gd name="connsiteX259" fmla="*/ 47258 w 117528"/>
                  <a:gd name="connsiteY259" fmla="*/ 113385 h 143714"/>
                  <a:gd name="connsiteX260" fmla="*/ 48140 w 117528"/>
                  <a:gd name="connsiteY260" fmla="*/ 113737 h 143714"/>
                  <a:gd name="connsiteX261" fmla="*/ 48404 w 117528"/>
                  <a:gd name="connsiteY261" fmla="*/ 115501 h 143714"/>
                  <a:gd name="connsiteX262" fmla="*/ 48404 w 117528"/>
                  <a:gd name="connsiteY262" fmla="*/ 116647 h 143714"/>
                  <a:gd name="connsiteX263" fmla="*/ 47875 w 117528"/>
                  <a:gd name="connsiteY263" fmla="*/ 117176 h 143714"/>
                  <a:gd name="connsiteX264" fmla="*/ 47523 w 117528"/>
                  <a:gd name="connsiteY264" fmla="*/ 118939 h 143714"/>
                  <a:gd name="connsiteX265" fmla="*/ 48140 w 117528"/>
                  <a:gd name="connsiteY265" fmla="*/ 119821 h 143714"/>
                  <a:gd name="connsiteX266" fmla="*/ 49022 w 117528"/>
                  <a:gd name="connsiteY266" fmla="*/ 119821 h 143714"/>
                  <a:gd name="connsiteX267" fmla="*/ 49551 w 117528"/>
                  <a:gd name="connsiteY267" fmla="*/ 119821 h 143714"/>
                  <a:gd name="connsiteX268" fmla="*/ 48757 w 117528"/>
                  <a:gd name="connsiteY268" fmla="*/ 119204 h 143714"/>
                  <a:gd name="connsiteX269" fmla="*/ 49286 w 117528"/>
                  <a:gd name="connsiteY269" fmla="*/ 118057 h 143714"/>
                  <a:gd name="connsiteX270" fmla="*/ 50432 w 117528"/>
                  <a:gd name="connsiteY270" fmla="*/ 118675 h 143714"/>
                  <a:gd name="connsiteX271" fmla="*/ 51667 w 117528"/>
                  <a:gd name="connsiteY271" fmla="*/ 118057 h 143714"/>
                  <a:gd name="connsiteX272" fmla="*/ 51049 w 117528"/>
                  <a:gd name="connsiteY272" fmla="*/ 117176 h 143714"/>
                  <a:gd name="connsiteX273" fmla="*/ 49903 w 117528"/>
                  <a:gd name="connsiteY273" fmla="*/ 116294 h 143714"/>
                  <a:gd name="connsiteX274" fmla="*/ 49903 w 117528"/>
                  <a:gd name="connsiteY274" fmla="*/ 114266 h 143714"/>
                  <a:gd name="connsiteX275" fmla="*/ 50432 w 117528"/>
                  <a:gd name="connsiteY275" fmla="*/ 115148 h 143714"/>
                  <a:gd name="connsiteX276" fmla="*/ 50168 w 117528"/>
                  <a:gd name="connsiteY276" fmla="*/ 116294 h 143714"/>
                  <a:gd name="connsiteX277" fmla="*/ 51314 w 117528"/>
                  <a:gd name="connsiteY277" fmla="*/ 116294 h 143714"/>
                  <a:gd name="connsiteX278" fmla="*/ 52196 w 117528"/>
                  <a:gd name="connsiteY278" fmla="*/ 117176 h 143714"/>
                  <a:gd name="connsiteX279" fmla="*/ 52196 w 117528"/>
                  <a:gd name="connsiteY279" fmla="*/ 116294 h 143714"/>
                  <a:gd name="connsiteX280" fmla="*/ 52813 w 117528"/>
                  <a:gd name="connsiteY280" fmla="*/ 116294 h 143714"/>
                  <a:gd name="connsiteX281" fmla="*/ 53959 w 117528"/>
                  <a:gd name="connsiteY281" fmla="*/ 116294 h 143714"/>
                  <a:gd name="connsiteX282" fmla="*/ 53695 w 117528"/>
                  <a:gd name="connsiteY282" fmla="*/ 115501 h 143714"/>
                  <a:gd name="connsiteX283" fmla="*/ 54576 w 117528"/>
                  <a:gd name="connsiteY283" fmla="*/ 115765 h 143714"/>
                  <a:gd name="connsiteX284" fmla="*/ 55105 w 117528"/>
                  <a:gd name="connsiteY284" fmla="*/ 115501 h 143714"/>
                  <a:gd name="connsiteX285" fmla="*/ 55105 w 117528"/>
                  <a:gd name="connsiteY285" fmla="*/ 114266 h 143714"/>
                  <a:gd name="connsiteX286" fmla="*/ 54840 w 117528"/>
                  <a:gd name="connsiteY286" fmla="*/ 113385 h 143714"/>
                  <a:gd name="connsiteX287" fmla="*/ 54224 w 117528"/>
                  <a:gd name="connsiteY287" fmla="*/ 113385 h 143714"/>
                  <a:gd name="connsiteX288" fmla="*/ 53959 w 117528"/>
                  <a:gd name="connsiteY288" fmla="*/ 111974 h 143714"/>
                  <a:gd name="connsiteX289" fmla="*/ 53078 w 117528"/>
                  <a:gd name="connsiteY289" fmla="*/ 111709 h 143714"/>
                  <a:gd name="connsiteX290" fmla="*/ 52196 w 117528"/>
                  <a:gd name="connsiteY290" fmla="*/ 111709 h 143714"/>
                  <a:gd name="connsiteX291" fmla="*/ 52549 w 117528"/>
                  <a:gd name="connsiteY291" fmla="*/ 110828 h 143714"/>
                  <a:gd name="connsiteX292" fmla="*/ 53430 w 117528"/>
                  <a:gd name="connsiteY292" fmla="*/ 110475 h 143714"/>
                  <a:gd name="connsiteX293" fmla="*/ 53695 w 117528"/>
                  <a:gd name="connsiteY293" fmla="*/ 110828 h 143714"/>
                  <a:gd name="connsiteX294" fmla="*/ 53430 w 117528"/>
                  <a:gd name="connsiteY294" fmla="*/ 108183 h 143714"/>
                  <a:gd name="connsiteX295" fmla="*/ 52549 w 117528"/>
                  <a:gd name="connsiteY295" fmla="*/ 105802 h 143714"/>
                  <a:gd name="connsiteX296" fmla="*/ 53430 w 117528"/>
                  <a:gd name="connsiteY296" fmla="*/ 104039 h 143714"/>
                  <a:gd name="connsiteX297" fmla="*/ 52549 w 117528"/>
                  <a:gd name="connsiteY297" fmla="*/ 103245 h 143714"/>
                  <a:gd name="connsiteX298" fmla="*/ 52549 w 117528"/>
                  <a:gd name="connsiteY298" fmla="*/ 102363 h 143714"/>
                  <a:gd name="connsiteX299" fmla="*/ 53430 w 117528"/>
                  <a:gd name="connsiteY299" fmla="*/ 103510 h 143714"/>
                  <a:gd name="connsiteX300" fmla="*/ 54840 w 117528"/>
                  <a:gd name="connsiteY300" fmla="*/ 102363 h 143714"/>
                  <a:gd name="connsiteX301" fmla="*/ 55370 w 117528"/>
                  <a:gd name="connsiteY301" fmla="*/ 100865 h 143714"/>
                  <a:gd name="connsiteX302" fmla="*/ 55370 w 117528"/>
                  <a:gd name="connsiteY302" fmla="*/ 101482 h 143714"/>
                  <a:gd name="connsiteX303" fmla="*/ 53959 w 117528"/>
                  <a:gd name="connsiteY303" fmla="*/ 103510 h 143714"/>
                  <a:gd name="connsiteX304" fmla="*/ 54224 w 117528"/>
                  <a:gd name="connsiteY304" fmla="*/ 104920 h 143714"/>
                  <a:gd name="connsiteX305" fmla="*/ 53695 w 117528"/>
                  <a:gd name="connsiteY305" fmla="*/ 105802 h 143714"/>
                  <a:gd name="connsiteX306" fmla="*/ 53959 w 117528"/>
                  <a:gd name="connsiteY306" fmla="*/ 108183 h 143714"/>
                  <a:gd name="connsiteX307" fmla="*/ 55105 w 117528"/>
                  <a:gd name="connsiteY307" fmla="*/ 109593 h 143714"/>
                  <a:gd name="connsiteX308" fmla="*/ 55370 w 117528"/>
                  <a:gd name="connsiteY308" fmla="*/ 110828 h 143714"/>
                  <a:gd name="connsiteX309" fmla="*/ 55370 w 117528"/>
                  <a:gd name="connsiteY309" fmla="*/ 111974 h 143714"/>
                  <a:gd name="connsiteX310" fmla="*/ 56340 w 117528"/>
                  <a:gd name="connsiteY310" fmla="*/ 112503 h 143714"/>
                  <a:gd name="connsiteX311" fmla="*/ 57133 w 117528"/>
                  <a:gd name="connsiteY311" fmla="*/ 112503 h 143714"/>
                  <a:gd name="connsiteX312" fmla="*/ 56869 w 117528"/>
                  <a:gd name="connsiteY312" fmla="*/ 111357 h 143714"/>
                  <a:gd name="connsiteX313" fmla="*/ 57750 w 117528"/>
                  <a:gd name="connsiteY313" fmla="*/ 112503 h 143714"/>
                  <a:gd name="connsiteX314" fmla="*/ 58632 w 117528"/>
                  <a:gd name="connsiteY314" fmla="*/ 112503 h 143714"/>
                  <a:gd name="connsiteX315" fmla="*/ 58367 w 117528"/>
                  <a:gd name="connsiteY315" fmla="*/ 111357 h 143714"/>
                  <a:gd name="connsiteX316" fmla="*/ 58632 w 117528"/>
                  <a:gd name="connsiteY316" fmla="*/ 110828 h 143714"/>
                  <a:gd name="connsiteX317" fmla="*/ 59249 w 117528"/>
                  <a:gd name="connsiteY317" fmla="*/ 111092 h 143714"/>
                  <a:gd name="connsiteX318" fmla="*/ 60131 w 117528"/>
                  <a:gd name="connsiteY318" fmla="*/ 110828 h 143714"/>
                  <a:gd name="connsiteX319" fmla="*/ 59778 w 117528"/>
                  <a:gd name="connsiteY319" fmla="*/ 111357 h 143714"/>
                  <a:gd name="connsiteX320" fmla="*/ 58632 w 117528"/>
                  <a:gd name="connsiteY320" fmla="*/ 111974 h 143714"/>
                  <a:gd name="connsiteX321" fmla="*/ 58632 w 117528"/>
                  <a:gd name="connsiteY321" fmla="*/ 113385 h 143714"/>
                  <a:gd name="connsiteX322" fmla="*/ 58015 w 117528"/>
                  <a:gd name="connsiteY322" fmla="*/ 113737 h 143714"/>
                  <a:gd name="connsiteX323" fmla="*/ 58896 w 117528"/>
                  <a:gd name="connsiteY323" fmla="*/ 115501 h 143714"/>
                  <a:gd name="connsiteX324" fmla="*/ 58367 w 117528"/>
                  <a:gd name="connsiteY324" fmla="*/ 116294 h 143714"/>
                  <a:gd name="connsiteX325" fmla="*/ 58896 w 117528"/>
                  <a:gd name="connsiteY325" fmla="*/ 116294 h 143714"/>
                  <a:gd name="connsiteX326" fmla="*/ 59778 w 117528"/>
                  <a:gd name="connsiteY326" fmla="*/ 115148 h 143714"/>
                  <a:gd name="connsiteX327" fmla="*/ 60660 w 117528"/>
                  <a:gd name="connsiteY327" fmla="*/ 115148 h 143714"/>
                  <a:gd name="connsiteX328" fmla="*/ 60660 w 117528"/>
                  <a:gd name="connsiteY328" fmla="*/ 115765 h 143714"/>
                  <a:gd name="connsiteX329" fmla="*/ 60131 w 117528"/>
                  <a:gd name="connsiteY329" fmla="*/ 116294 h 143714"/>
                  <a:gd name="connsiteX330" fmla="*/ 59514 w 117528"/>
                  <a:gd name="connsiteY330" fmla="*/ 116294 h 143714"/>
                  <a:gd name="connsiteX331" fmla="*/ 59249 w 117528"/>
                  <a:gd name="connsiteY331" fmla="*/ 117793 h 143714"/>
                  <a:gd name="connsiteX332" fmla="*/ 59778 w 117528"/>
                  <a:gd name="connsiteY332" fmla="*/ 118675 h 143714"/>
                  <a:gd name="connsiteX333" fmla="*/ 61012 w 117528"/>
                  <a:gd name="connsiteY333" fmla="*/ 118675 h 143714"/>
                  <a:gd name="connsiteX334" fmla="*/ 61894 w 117528"/>
                  <a:gd name="connsiteY334" fmla="*/ 118057 h 143714"/>
                  <a:gd name="connsiteX335" fmla="*/ 62688 w 117528"/>
                  <a:gd name="connsiteY335" fmla="*/ 118057 h 143714"/>
                  <a:gd name="connsiteX336" fmla="*/ 63305 w 117528"/>
                  <a:gd name="connsiteY336" fmla="*/ 117176 h 143714"/>
                  <a:gd name="connsiteX337" fmla="*/ 63305 w 117528"/>
                  <a:gd name="connsiteY337" fmla="*/ 116294 h 143714"/>
                  <a:gd name="connsiteX338" fmla="*/ 62423 w 117528"/>
                  <a:gd name="connsiteY338" fmla="*/ 115501 h 143714"/>
                  <a:gd name="connsiteX339" fmla="*/ 62688 w 117528"/>
                  <a:gd name="connsiteY339" fmla="*/ 114619 h 143714"/>
                  <a:gd name="connsiteX340" fmla="*/ 63570 w 117528"/>
                  <a:gd name="connsiteY340" fmla="*/ 114266 h 143714"/>
                  <a:gd name="connsiteX341" fmla="*/ 64187 w 117528"/>
                  <a:gd name="connsiteY341" fmla="*/ 112503 h 143714"/>
                  <a:gd name="connsiteX342" fmla="*/ 63922 w 117528"/>
                  <a:gd name="connsiteY342" fmla="*/ 111709 h 143714"/>
                  <a:gd name="connsiteX343" fmla="*/ 64716 w 117528"/>
                  <a:gd name="connsiteY343" fmla="*/ 110828 h 143714"/>
                  <a:gd name="connsiteX344" fmla="*/ 66215 w 117528"/>
                  <a:gd name="connsiteY344" fmla="*/ 110828 h 143714"/>
                  <a:gd name="connsiteX345" fmla="*/ 67361 w 117528"/>
                  <a:gd name="connsiteY345" fmla="*/ 109946 h 143714"/>
                  <a:gd name="connsiteX346" fmla="*/ 67361 w 117528"/>
                  <a:gd name="connsiteY346" fmla="*/ 108183 h 143714"/>
                  <a:gd name="connsiteX347" fmla="*/ 68859 w 117528"/>
                  <a:gd name="connsiteY347" fmla="*/ 107036 h 143714"/>
                  <a:gd name="connsiteX348" fmla="*/ 69124 w 117528"/>
                  <a:gd name="connsiteY348" fmla="*/ 105802 h 143714"/>
                  <a:gd name="connsiteX349" fmla="*/ 69124 w 117528"/>
                  <a:gd name="connsiteY349" fmla="*/ 103510 h 143714"/>
                  <a:gd name="connsiteX350" fmla="*/ 68859 w 117528"/>
                  <a:gd name="connsiteY350" fmla="*/ 101482 h 143714"/>
                  <a:gd name="connsiteX351" fmla="*/ 68507 w 117528"/>
                  <a:gd name="connsiteY351" fmla="*/ 100865 h 143714"/>
                  <a:gd name="connsiteX352" fmla="*/ 67713 w 117528"/>
                  <a:gd name="connsiteY352" fmla="*/ 99101 h 143714"/>
                  <a:gd name="connsiteX353" fmla="*/ 65950 w 117528"/>
                  <a:gd name="connsiteY353" fmla="*/ 97955 h 143714"/>
                  <a:gd name="connsiteX354" fmla="*/ 64716 w 117528"/>
                  <a:gd name="connsiteY354" fmla="*/ 94428 h 143714"/>
                  <a:gd name="connsiteX355" fmla="*/ 64451 w 117528"/>
                  <a:gd name="connsiteY355" fmla="*/ 93635 h 143714"/>
                  <a:gd name="connsiteX356" fmla="*/ 63922 w 117528"/>
                  <a:gd name="connsiteY356" fmla="*/ 93018 h 143714"/>
                  <a:gd name="connsiteX357" fmla="*/ 63570 w 117528"/>
                  <a:gd name="connsiteY357" fmla="*/ 92665 h 143714"/>
                  <a:gd name="connsiteX358" fmla="*/ 62688 w 117528"/>
                  <a:gd name="connsiteY358" fmla="*/ 91519 h 143714"/>
                  <a:gd name="connsiteX359" fmla="*/ 64187 w 117528"/>
                  <a:gd name="connsiteY359" fmla="*/ 92400 h 143714"/>
                  <a:gd name="connsiteX360" fmla="*/ 65950 w 117528"/>
                  <a:gd name="connsiteY360" fmla="*/ 92400 h 143714"/>
                  <a:gd name="connsiteX361" fmla="*/ 67096 w 117528"/>
                  <a:gd name="connsiteY361" fmla="*/ 91519 h 143714"/>
                  <a:gd name="connsiteX362" fmla="*/ 67978 w 117528"/>
                  <a:gd name="connsiteY362" fmla="*/ 89755 h 143714"/>
                  <a:gd name="connsiteX363" fmla="*/ 67096 w 117528"/>
                  <a:gd name="connsiteY363" fmla="*/ 89226 h 143714"/>
                  <a:gd name="connsiteX364" fmla="*/ 65333 w 117528"/>
                  <a:gd name="connsiteY364" fmla="*/ 89226 h 143714"/>
                  <a:gd name="connsiteX365" fmla="*/ 65333 w 117528"/>
                  <a:gd name="connsiteY365" fmla="*/ 88609 h 143714"/>
                  <a:gd name="connsiteX366" fmla="*/ 62159 w 117528"/>
                  <a:gd name="connsiteY366" fmla="*/ 87199 h 143714"/>
                  <a:gd name="connsiteX367" fmla="*/ 62688 w 117528"/>
                  <a:gd name="connsiteY367" fmla="*/ 86846 h 143714"/>
                  <a:gd name="connsiteX368" fmla="*/ 63041 w 117528"/>
                  <a:gd name="connsiteY368" fmla="*/ 85082 h 143714"/>
                  <a:gd name="connsiteX369" fmla="*/ 64451 w 117528"/>
                  <a:gd name="connsiteY369" fmla="*/ 84818 h 143714"/>
                  <a:gd name="connsiteX370" fmla="*/ 64716 w 117528"/>
                  <a:gd name="connsiteY370" fmla="*/ 84289 h 143714"/>
                  <a:gd name="connsiteX371" fmla="*/ 63922 w 117528"/>
                  <a:gd name="connsiteY371" fmla="*/ 83055 h 143714"/>
                  <a:gd name="connsiteX372" fmla="*/ 64187 w 117528"/>
                  <a:gd name="connsiteY372" fmla="*/ 81291 h 143714"/>
                  <a:gd name="connsiteX373" fmla="*/ 63922 w 117528"/>
                  <a:gd name="connsiteY373" fmla="*/ 79881 h 143714"/>
                  <a:gd name="connsiteX374" fmla="*/ 63922 w 117528"/>
                  <a:gd name="connsiteY374" fmla="*/ 79616 h 143714"/>
                  <a:gd name="connsiteX375" fmla="*/ 62159 w 117528"/>
                  <a:gd name="connsiteY375" fmla="*/ 79616 h 143714"/>
                  <a:gd name="connsiteX376" fmla="*/ 59249 w 117528"/>
                  <a:gd name="connsiteY376" fmla="*/ 77235 h 143714"/>
                  <a:gd name="connsiteX377" fmla="*/ 59249 w 117528"/>
                  <a:gd name="connsiteY377" fmla="*/ 78117 h 143714"/>
                  <a:gd name="connsiteX378" fmla="*/ 55987 w 117528"/>
                  <a:gd name="connsiteY378" fmla="*/ 76089 h 143714"/>
                  <a:gd name="connsiteX379" fmla="*/ 56340 w 117528"/>
                  <a:gd name="connsiteY379" fmla="*/ 78117 h 143714"/>
                  <a:gd name="connsiteX380" fmla="*/ 55722 w 117528"/>
                  <a:gd name="connsiteY380" fmla="*/ 76971 h 143714"/>
                  <a:gd name="connsiteX381" fmla="*/ 54576 w 117528"/>
                  <a:gd name="connsiteY381" fmla="*/ 74326 h 143714"/>
                  <a:gd name="connsiteX382" fmla="*/ 53695 w 117528"/>
                  <a:gd name="connsiteY382" fmla="*/ 73180 h 143714"/>
                  <a:gd name="connsiteX383" fmla="*/ 52549 w 117528"/>
                  <a:gd name="connsiteY383" fmla="*/ 72563 h 143714"/>
                  <a:gd name="connsiteX384" fmla="*/ 51931 w 117528"/>
                  <a:gd name="connsiteY384" fmla="*/ 73180 h 143714"/>
                  <a:gd name="connsiteX385" fmla="*/ 49286 w 117528"/>
                  <a:gd name="connsiteY385" fmla="*/ 72034 h 143714"/>
                  <a:gd name="connsiteX386" fmla="*/ 47258 w 117528"/>
                  <a:gd name="connsiteY386" fmla="*/ 70270 h 143714"/>
                  <a:gd name="connsiteX387" fmla="*/ 45848 w 117528"/>
                  <a:gd name="connsiteY387" fmla="*/ 68771 h 143714"/>
                  <a:gd name="connsiteX388" fmla="*/ 44613 w 117528"/>
                  <a:gd name="connsiteY388" fmla="*/ 68771 h 143714"/>
                  <a:gd name="connsiteX389" fmla="*/ 42585 w 117528"/>
                  <a:gd name="connsiteY389" fmla="*/ 68242 h 143714"/>
                  <a:gd name="connsiteX390" fmla="*/ 40028 w 117528"/>
                  <a:gd name="connsiteY390" fmla="*/ 68242 h 143714"/>
                  <a:gd name="connsiteX391" fmla="*/ 38177 w 117528"/>
                  <a:gd name="connsiteY391" fmla="*/ 66126 h 143714"/>
                  <a:gd name="connsiteX392" fmla="*/ 36766 w 117528"/>
                  <a:gd name="connsiteY392" fmla="*/ 65862 h 143714"/>
                  <a:gd name="connsiteX393" fmla="*/ 34738 w 117528"/>
                  <a:gd name="connsiteY393" fmla="*/ 65862 h 143714"/>
                  <a:gd name="connsiteX394" fmla="*/ 34121 w 117528"/>
                  <a:gd name="connsiteY394" fmla="*/ 65245 h 143714"/>
                  <a:gd name="connsiteX395" fmla="*/ 33857 w 117528"/>
                  <a:gd name="connsiteY395" fmla="*/ 64098 h 143714"/>
                  <a:gd name="connsiteX396" fmla="*/ 35885 w 117528"/>
                  <a:gd name="connsiteY396" fmla="*/ 64098 h 143714"/>
                  <a:gd name="connsiteX397" fmla="*/ 39411 w 117528"/>
                  <a:gd name="connsiteY397" fmla="*/ 65862 h 143714"/>
                  <a:gd name="connsiteX398" fmla="*/ 42585 w 117528"/>
                  <a:gd name="connsiteY398" fmla="*/ 67625 h 143714"/>
                  <a:gd name="connsiteX399" fmla="*/ 43732 w 117528"/>
                  <a:gd name="connsiteY399" fmla="*/ 67625 h 143714"/>
                  <a:gd name="connsiteX400" fmla="*/ 44349 w 117528"/>
                  <a:gd name="connsiteY400" fmla="*/ 67008 h 143714"/>
                  <a:gd name="connsiteX401" fmla="*/ 44084 w 117528"/>
                  <a:gd name="connsiteY401" fmla="*/ 65245 h 143714"/>
                  <a:gd name="connsiteX402" fmla="*/ 43203 w 117528"/>
                  <a:gd name="connsiteY402" fmla="*/ 64451 h 143714"/>
                  <a:gd name="connsiteX403" fmla="*/ 43203 w 117528"/>
                  <a:gd name="connsiteY403" fmla="*/ 64098 h 143714"/>
                  <a:gd name="connsiteX404" fmla="*/ 42850 w 117528"/>
                  <a:gd name="connsiteY404" fmla="*/ 62688 h 143714"/>
                  <a:gd name="connsiteX405" fmla="*/ 44349 w 117528"/>
                  <a:gd name="connsiteY405" fmla="*/ 63217 h 143714"/>
                  <a:gd name="connsiteX406" fmla="*/ 43732 w 117528"/>
                  <a:gd name="connsiteY406" fmla="*/ 64098 h 143714"/>
                  <a:gd name="connsiteX407" fmla="*/ 45230 w 117528"/>
                  <a:gd name="connsiteY407" fmla="*/ 65245 h 143714"/>
                  <a:gd name="connsiteX408" fmla="*/ 45848 w 117528"/>
                  <a:gd name="connsiteY408" fmla="*/ 67625 h 143714"/>
                  <a:gd name="connsiteX409" fmla="*/ 47875 w 117528"/>
                  <a:gd name="connsiteY409" fmla="*/ 69653 h 143714"/>
                  <a:gd name="connsiteX410" fmla="*/ 50432 w 117528"/>
                  <a:gd name="connsiteY410" fmla="*/ 70270 h 143714"/>
                  <a:gd name="connsiteX411" fmla="*/ 53695 w 117528"/>
                  <a:gd name="connsiteY411" fmla="*/ 71681 h 143714"/>
                  <a:gd name="connsiteX412" fmla="*/ 55370 w 117528"/>
                  <a:gd name="connsiteY412" fmla="*/ 74326 h 143714"/>
                  <a:gd name="connsiteX413" fmla="*/ 58015 w 117528"/>
                  <a:gd name="connsiteY413" fmla="*/ 76089 h 143714"/>
                  <a:gd name="connsiteX414" fmla="*/ 63570 w 117528"/>
                  <a:gd name="connsiteY414" fmla="*/ 78117 h 143714"/>
                  <a:gd name="connsiteX415" fmla="*/ 63570 w 117528"/>
                  <a:gd name="connsiteY415" fmla="*/ 76971 h 143714"/>
                  <a:gd name="connsiteX416" fmla="*/ 64187 w 117528"/>
                  <a:gd name="connsiteY416" fmla="*/ 76089 h 143714"/>
                  <a:gd name="connsiteX417" fmla="*/ 63922 w 117528"/>
                  <a:gd name="connsiteY417" fmla="*/ 74326 h 143714"/>
                  <a:gd name="connsiteX418" fmla="*/ 63041 w 117528"/>
                  <a:gd name="connsiteY418" fmla="*/ 73797 h 143714"/>
                  <a:gd name="connsiteX419" fmla="*/ 61277 w 117528"/>
                  <a:gd name="connsiteY419" fmla="*/ 73180 h 143714"/>
                  <a:gd name="connsiteX420" fmla="*/ 62159 w 117528"/>
                  <a:gd name="connsiteY420" fmla="*/ 72563 h 143714"/>
                  <a:gd name="connsiteX421" fmla="*/ 63570 w 117528"/>
                  <a:gd name="connsiteY421" fmla="*/ 73180 h 143714"/>
                  <a:gd name="connsiteX422" fmla="*/ 64451 w 117528"/>
                  <a:gd name="connsiteY422" fmla="*/ 74326 h 143714"/>
                  <a:gd name="connsiteX423" fmla="*/ 65597 w 117528"/>
                  <a:gd name="connsiteY423" fmla="*/ 74326 h 143714"/>
                  <a:gd name="connsiteX424" fmla="*/ 64716 w 117528"/>
                  <a:gd name="connsiteY424" fmla="*/ 76089 h 143714"/>
                  <a:gd name="connsiteX425" fmla="*/ 65068 w 117528"/>
                  <a:gd name="connsiteY425" fmla="*/ 78117 h 143714"/>
                  <a:gd name="connsiteX426" fmla="*/ 65333 w 117528"/>
                  <a:gd name="connsiteY426" fmla="*/ 79616 h 143714"/>
                  <a:gd name="connsiteX427" fmla="*/ 66215 w 117528"/>
                  <a:gd name="connsiteY427" fmla="*/ 79616 h 143714"/>
                  <a:gd name="connsiteX428" fmla="*/ 66479 w 117528"/>
                  <a:gd name="connsiteY428" fmla="*/ 81291 h 143714"/>
                  <a:gd name="connsiteX429" fmla="*/ 65950 w 117528"/>
                  <a:gd name="connsiteY429" fmla="*/ 84289 h 143714"/>
                  <a:gd name="connsiteX430" fmla="*/ 65333 w 117528"/>
                  <a:gd name="connsiteY430" fmla="*/ 85082 h 143714"/>
                  <a:gd name="connsiteX431" fmla="*/ 66832 w 117528"/>
                  <a:gd name="connsiteY431" fmla="*/ 87199 h 143714"/>
                  <a:gd name="connsiteX432" fmla="*/ 68507 w 117528"/>
                  <a:gd name="connsiteY432" fmla="*/ 88609 h 143714"/>
                  <a:gd name="connsiteX433" fmla="*/ 69124 w 117528"/>
                  <a:gd name="connsiteY433" fmla="*/ 89755 h 143714"/>
                  <a:gd name="connsiteX434" fmla="*/ 70270 w 117528"/>
                  <a:gd name="connsiteY434" fmla="*/ 89755 h 143714"/>
                  <a:gd name="connsiteX435" fmla="*/ 70887 w 117528"/>
                  <a:gd name="connsiteY435" fmla="*/ 89755 h 143714"/>
                  <a:gd name="connsiteX436" fmla="*/ 70270 w 117528"/>
                  <a:gd name="connsiteY436" fmla="*/ 89226 h 143714"/>
                  <a:gd name="connsiteX437" fmla="*/ 71769 w 117528"/>
                  <a:gd name="connsiteY437" fmla="*/ 89755 h 143714"/>
                  <a:gd name="connsiteX438" fmla="*/ 74326 w 117528"/>
                  <a:gd name="connsiteY438" fmla="*/ 90990 h 143714"/>
                  <a:gd name="connsiteX439" fmla="*/ 76971 w 117528"/>
                  <a:gd name="connsiteY439" fmla="*/ 92400 h 143714"/>
                  <a:gd name="connsiteX440" fmla="*/ 78205 w 117528"/>
                  <a:gd name="connsiteY440" fmla="*/ 92400 h 143714"/>
                  <a:gd name="connsiteX441" fmla="*/ 78205 w 117528"/>
                  <a:gd name="connsiteY441" fmla="*/ 91519 h 143714"/>
                  <a:gd name="connsiteX442" fmla="*/ 79087 w 117528"/>
                  <a:gd name="connsiteY442" fmla="*/ 92400 h 143714"/>
                  <a:gd name="connsiteX443" fmla="*/ 81379 w 117528"/>
                  <a:gd name="connsiteY443" fmla="*/ 92665 h 143714"/>
                  <a:gd name="connsiteX444" fmla="*/ 81996 w 117528"/>
                  <a:gd name="connsiteY444" fmla="*/ 92400 h 143714"/>
                  <a:gd name="connsiteX445" fmla="*/ 83143 w 117528"/>
                  <a:gd name="connsiteY445" fmla="*/ 92400 h 143714"/>
                  <a:gd name="connsiteX446" fmla="*/ 83143 w 117528"/>
                  <a:gd name="connsiteY446" fmla="*/ 92665 h 143714"/>
                  <a:gd name="connsiteX447" fmla="*/ 82878 w 117528"/>
                  <a:gd name="connsiteY447" fmla="*/ 91519 h 143714"/>
                  <a:gd name="connsiteX448" fmla="*/ 82525 w 117528"/>
                  <a:gd name="connsiteY448" fmla="*/ 89755 h 143714"/>
                  <a:gd name="connsiteX449" fmla="*/ 82878 w 117528"/>
                  <a:gd name="connsiteY449" fmla="*/ 91519 h 143714"/>
                  <a:gd name="connsiteX450" fmla="*/ 84641 w 117528"/>
                  <a:gd name="connsiteY450" fmla="*/ 93635 h 143714"/>
                  <a:gd name="connsiteX451" fmla="*/ 85435 w 117528"/>
                  <a:gd name="connsiteY451" fmla="*/ 91519 h 143714"/>
                  <a:gd name="connsiteX452" fmla="*/ 85170 w 117528"/>
                  <a:gd name="connsiteY452" fmla="*/ 89755 h 143714"/>
                  <a:gd name="connsiteX453" fmla="*/ 85788 w 117528"/>
                  <a:gd name="connsiteY453" fmla="*/ 89755 h 143714"/>
                  <a:gd name="connsiteX454" fmla="*/ 85170 w 117528"/>
                  <a:gd name="connsiteY454" fmla="*/ 89755 h 143714"/>
                  <a:gd name="connsiteX455" fmla="*/ 86052 w 117528"/>
                  <a:gd name="connsiteY455" fmla="*/ 90990 h 143714"/>
                  <a:gd name="connsiteX456" fmla="*/ 85170 w 117528"/>
                  <a:gd name="connsiteY456" fmla="*/ 92665 h 143714"/>
                  <a:gd name="connsiteX457" fmla="*/ 85435 w 117528"/>
                  <a:gd name="connsiteY457" fmla="*/ 92665 h 143714"/>
                  <a:gd name="connsiteX458" fmla="*/ 88962 w 117528"/>
                  <a:gd name="connsiteY458" fmla="*/ 95927 h 143714"/>
                  <a:gd name="connsiteX459" fmla="*/ 89226 w 117528"/>
                  <a:gd name="connsiteY459" fmla="*/ 97955 h 143714"/>
                  <a:gd name="connsiteX460" fmla="*/ 92136 w 117528"/>
                  <a:gd name="connsiteY460" fmla="*/ 100865 h 143714"/>
                  <a:gd name="connsiteX461" fmla="*/ 93371 w 117528"/>
                  <a:gd name="connsiteY461" fmla="*/ 103510 h 143714"/>
                  <a:gd name="connsiteX462" fmla="*/ 94516 w 117528"/>
                  <a:gd name="connsiteY462" fmla="*/ 107036 h 143714"/>
                  <a:gd name="connsiteX463" fmla="*/ 95133 w 117528"/>
                  <a:gd name="connsiteY463" fmla="*/ 107036 h 143714"/>
                  <a:gd name="connsiteX464" fmla="*/ 95133 w 117528"/>
                  <a:gd name="connsiteY464" fmla="*/ 105802 h 143714"/>
                  <a:gd name="connsiteX465" fmla="*/ 95133 w 117528"/>
                  <a:gd name="connsiteY465" fmla="*/ 107036 h 143714"/>
                  <a:gd name="connsiteX466" fmla="*/ 95398 w 117528"/>
                  <a:gd name="connsiteY466" fmla="*/ 108183 h 143714"/>
                  <a:gd name="connsiteX467" fmla="*/ 95662 w 117528"/>
                  <a:gd name="connsiteY467" fmla="*/ 109593 h 143714"/>
                  <a:gd name="connsiteX468" fmla="*/ 96544 w 117528"/>
                  <a:gd name="connsiteY468" fmla="*/ 109593 h 143714"/>
                  <a:gd name="connsiteX469" fmla="*/ 98572 w 117528"/>
                  <a:gd name="connsiteY469" fmla="*/ 113737 h 143714"/>
                  <a:gd name="connsiteX470" fmla="*/ 98925 w 117528"/>
                  <a:gd name="connsiteY470" fmla="*/ 116294 h 143714"/>
                  <a:gd name="connsiteX471" fmla="*/ 99189 w 117528"/>
                  <a:gd name="connsiteY471" fmla="*/ 118057 h 143714"/>
                  <a:gd name="connsiteX472" fmla="*/ 100071 w 117528"/>
                  <a:gd name="connsiteY472" fmla="*/ 118057 h 143714"/>
                  <a:gd name="connsiteX473" fmla="*/ 100600 w 117528"/>
                  <a:gd name="connsiteY473" fmla="*/ 118057 h 143714"/>
                  <a:gd name="connsiteX474" fmla="*/ 100953 w 117528"/>
                  <a:gd name="connsiteY474" fmla="*/ 120702 h 143714"/>
                  <a:gd name="connsiteX475" fmla="*/ 101482 w 117528"/>
                  <a:gd name="connsiteY475" fmla="*/ 121849 h 143714"/>
                  <a:gd name="connsiteX476" fmla="*/ 102099 w 117528"/>
                  <a:gd name="connsiteY476" fmla="*/ 120967 h 143714"/>
                  <a:gd name="connsiteX477" fmla="*/ 102099 w 117528"/>
                  <a:gd name="connsiteY477" fmla="*/ 121849 h 143714"/>
                  <a:gd name="connsiteX478" fmla="*/ 102363 w 117528"/>
                  <a:gd name="connsiteY478" fmla="*/ 122730 h 143714"/>
                  <a:gd name="connsiteX479" fmla="*/ 102363 w 117528"/>
                  <a:gd name="connsiteY479" fmla="*/ 123612 h 143714"/>
                  <a:gd name="connsiteX480" fmla="*/ 102716 w 117528"/>
                  <a:gd name="connsiteY480" fmla="*/ 125111 h 143714"/>
                  <a:gd name="connsiteX481" fmla="*/ 101834 w 117528"/>
                  <a:gd name="connsiteY481" fmla="*/ 126874 h 143714"/>
                  <a:gd name="connsiteX482" fmla="*/ 104127 w 117528"/>
                  <a:gd name="connsiteY482" fmla="*/ 129696 h 143714"/>
                  <a:gd name="connsiteX483" fmla="*/ 104744 w 117528"/>
                  <a:gd name="connsiteY483" fmla="*/ 133575 h 143714"/>
                  <a:gd name="connsiteX484" fmla="*/ 108183 w 117528"/>
                  <a:gd name="connsiteY484" fmla="*/ 136485 h 143714"/>
                  <a:gd name="connsiteX485" fmla="*/ 108535 w 117528"/>
                  <a:gd name="connsiteY485" fmla="*/ 139041 h 143714"/>
                  <a:gd name="connsiteX486" fmla="*/ 111445 w 117528"/>
                  <a:gd name="connsiteY486" fmla="*/ 143714 h 143714"/>
                  <a:gd name="connsiteX487" fmla="*/ 112326 w 117528"/>
                  <a:gd name="connsiteY487" fmla="*/ 143714 h 143714"/>
                  <a:gd name="connsiteX488" fmla="*/ 112062 w 117528"/>
                  <a:gd name="connsiteY488" fmla="*/ 142568 h 143714"/>
                  <a:gd name="connsiteX489" fmla="*/ 110563 w 117528"/>
                  <a:gd name="connsiteY489" fmla="*/ 140805 h 143714"/>
                  <a:gd name="connsiteX490" fmla="*/ 109681 w 117528"/>
                  <a:gd name="connsiteY490" fmla="*/ 139659 h 143714"/>
                  <a:gd name="connsiteX491" fmla="*/ 109064 w 117528"/>
                  <a:gd name="connsiteY491" fmla="*/ 135250 h 143714"/>
                  <a:gd name="connsiteX492" fmla="*/ 107918 w 117528"/>
                  <a:gd name="connsiteY492" fmla="*/ 134721 h 143714"/>
                  <a:gd name="connsiteX493" fmla="*/ 107654 w 117528"/>
                  <a:gd name="connsiteY493" fmla="*/ 133575 h 143714"/>
                  <a:gd name="connsiteX494" fmla="*/ 108535 w 117528"/>
                  <a:gd name="connsiteY494" fmla="*/ 133575 h 143714"/>
                  <a:gd name="connsiteX495" fmla="*/ 108183 w 117528"/>
                  <a:gd name="connsiteY495" fmla="*/ 132341 h 143714"/>
                  <a:gd name="connsiteX496" fmla="*/ 108183 w 117528"/>
                  <a:gd name="connsiteY496" fmla="*/ 131812 h 143714"/>
                  <a:gd name="connsiteX497" fmla="*/ 107918 w 117528"/>
                  <a:gd name="connsiteY497" fmla="*/ 129696 h 143714"/>
                  <a:gd name="connsiteX498" fmla="*/ 107654 w 117528"/>
                  <a:gd name="connsiteY498" fmla="*/ 129167 h 143714"/>
                  <a:gd name="connsiteX499" fmla="*/ 107918 w 117528"/>
                  <a:gd name="connsiteY499" fmla="*/ 128549 h 143714"/>
                  <a:gd name="connsiteX500" fmla="*/ 107918 w 117528"/>
                  <a:gd name="connsiteY500" fmla="*/ 127139 h 143714"/>
                  <a:gd name="connsiteX501" fmla="*/ 109064 w 117528"/>
                  <a:gd name="connsiteY501" fmla="*/ 127139 h 143714"/>
                  <a:gd name="connsiteX502" fmla="*/ 110563 w 117528"/>
                  <a:gd name="connsiteY502" fmla="*/ 126257 h 143714"/>
                  <a:gd name="connsiteX503" fmla="*/ 110828 w 117528"/>
                  <a:gd name="connsiteY503" fmla="*/ 126874 h 143714"/>
                  <a:gd name="connsiteX504" fmla="*/ 111709 w 117528"/>
                  <a:gd name="connsiteY504" fmla="*/ 128549 h 143714"/>
                  <a:gd name="connsiteX505" fmla="*/ 113208 w 117528"/>
                  <a:gd name="connsiteY505" fmla="*/ 128549 h 143714"/>
                  <a:gd name="connsiteX506" fmla="*/ 114971 w 117528"/>
                  <a:gd name="connsiteY506" fmla="*/ 128020 h 143714"/>
                  <a:gd name="connsiteX507" fmla="*/ 115853 w 117528"/>
                  <a:gd name="connsiteY507" fmla="*/ 129696 h 143714"/>
                  <a:gd name="connsiteX508" fmla="*/ 115853 w 117528"/>
                  <a:gd name="connsiteY508" fmla="*/ 130930 h 143714"/>
                  <a:gd name="connsiteX509" fmla="*/ 117529 w 117528"/>
                  <a:gd name="connsiteY509" fmla="*/ 129696 h 143714"/>
                  <a:gd name="connsiteX510" fmla="*/ 115853 w 117528"/>
                  <a:gd name="connsiteY510" fmla="*/ 126257 h 143714"/>
                  <a:gd name="connsiteX511" fmla="*/ 114619 w 117528"/>
                  <a:gd name="connsiteY511" fmla="*/ 121849 h 143714"/>
                  <a:gd name="connsiteX512" fmla="*/ 114090 w 117528"/>
                  <a:gd name="connsiteY512" fmla="*/ 118057 h 143714"/>
                  <a:gd name="connsiteX513" fmla="*/ 113208 w 117528"/>
                  <a:gd name="connsiteY513" fmla="*/ 112855 h 143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</a:cxnLst>
                <a:rect l="l" t="t" r="r" b="b"/>
                <a:pathLst>
                  <a:path w="117528" h="143714">
                    <a:moveTo>
                      <a:pt x="112591" y="109329"/>
                    </a:moveTo>
                    <a:lnTo>
                      <a:pt x="111709" y="105802"/>
                    </a:lnTo>
                    <a:lnTo>
                      <a:pt x="110563" y="100865"/>
                    </a:lnTo>
                    <a:lnTo>
                      <a:pt x="109064" y="94428"/>
                    </a:lnTo>
                    <a:lnTo>
                      <a:pt x="108183" y="91519"/>
                    </a:lnTo>
                    <a:lnTo>
                      <a:pt x="106155" y="89755"/>
                    </a:lnTo>
                    <a:lnTo>
                      <a:pt x="104392" y="89226"/>
                    </a:lnTo>
                    <a:lnTo>
                      <a:pt x="103863" y="85082"/>
                    </a:lnTo>
                    <a:lnTo>
                      <a:pt x="102981" y="80762"/>
                    </a:lnTo>
                    <a:lnTo>
                      <a:pt x="102716" y="78734"/>
                    </a:lnTo>
                    <a:lnTo>
                      <a:pt x="101217" y="76971"/>
                    </a:lnTo>
                    <a:lnTo>
                      <a:pt x="101217" y="71416"/>
                    </a:lnTo>
                    <a:lnTo>
                      <a:pt x="100336" y="68771"/>
                    </a:lnTo>
                    <a:lnTo>
                      <a:pt x="99807" y="66126"/>
                    </a:lnTo>
                    <a:lnTo>
                      <a:pt x="97426" y="67008"/>
                    </a:lnTo>
                    <a:lnTo>
                      <a:pt x="94252" y="66126"/>
                    </a:lnTo>
                    <a:lnTo>
                      <a:pt x="95398" y="68771"/>
                    </a:lnTo>
                    <a:lnTo>
                      <a:pt x="95662" y="71152"/>
                    </a:lnTo>
                    <a:lnTo>
                      <a:pt x="95398" y="73180"/>
                    </a:lnTo>
                    <a:lnTo>
                      <a:pt x="93635" y="73797"/>
                    </a:lnTo>
                    <a:lnTo>
                      <a:pt x="92136" y="74061"/>
                    </a:lnTo>
                    <a:lnTo>
                      <a:pt x="90725" y="76706"/>
                    </a:lnTo>
                    <a:lnTo>
                      <a:pt x="90725" y="79263"/>
                    </a:lnTo>
                    <a:lnTo>
                      <a:pt x="91871" y="82526"/>
                    </a:lnTo>
                    <a:lnTo>
                      <a:pt x="91871" y="85435"/>
                    </a:lnTo>
                    <a:lnTo>
                      <a:pt x="90108" y="86581"/>
                    </a:lnTo>
                    <a:lnTo>
                      <a:pt x="87199" y="86581"/>
                    </a:lnTo>
                    <a:lnTo>
                      <a:pt x="86052" y="83672"/>
                    </a:lnTo>
                    <a:lnTo>
                      <a:pt x="84641" y="82526"/>
                    </a:lnTo>
                    <a:lnTo>
                      <a:pt x="83760" y="81291"/>
                    </a:lnTo>
                    <a:lnTo>
                      <a:pt x="83143" y="85082"/>
                    </a:lnTo>
                    <a:lnTo>
                      <a:pt x="81115" y="84818"/>
                    </a:lnTo>
                    <a:lnTo>
                      <a:pt x="80233" y="82173"/>
                    </a:lnTo>
                    <a:lnTo>
                      <a:pt x="79616" y="78382"/>
                    </a:lnTo>
                    <a:lnTo>
                      <a:pt x="79616" y="76971"/>
                    </a:lnTo>
                    <a:lnTo>
                      <a:pt x="77941" y="73180"/>
                    </a:lnTo>
                    <a:lnTo>
                      <a:pt x="76971" y="69917"/>
                    </a:lnTo>
                    <a:lnTo>
                      <a:pt x="77588" y="68771"/>
                    </a:lnTo>
                    <a:lnTo>
                      <a:pt x="79969" y="66743"/>
                    </a:lnTo>
                    <a:lnTo>
                      <a:pt x="79352" y="64098"/>
                    </a:lnTo>
                    <a:lnTo>
                      <a:pt x="80233" y="61806"/>
                    </a:lnTo>
                    <a:lnTo>
                      <a:pt x="82878" y="60043"/>
                    </a:lnTo>
                    <a:lnTo>
                      <a:pt x="82525" y="59425"/>
                    </a:lnTo>
                    <a:lnTo>
                      <a:pt x="81379" y="58015"/>
                    </a:lnTo>
                    <a:lnTo>
                      <a:pt x="82261" y="56869"/>
                    </a:lnTo>
                    <a:lnTo>
                      <a:pt x="84289" y="57398"/>
                    </a:lnTo>
                    <a:lnTo>
                      <a:pt x="86934" y="58015"/>
                    </a:lnTo>
                    <a:lnTo>
                      <a:pt x="86317" y="54488"/>
                    </a:lnTo>
                    <a:lnTo>
                      <a:pt x="89226" y="57133"/>
                    </a:lnTo>
                    <a:lnTo>
                      <a:pt x="89579" y="56251"/>
                    </a:lnTo>
                    <a:lnTo>
                      <a:pt x="89226" y="54488"/>
                    </a:lnTo>
                    <a:lnTo>
                      <a:pt x="90725" y="54488"/>
                    </a:lnTo>
                    <a:lnTo>
                      <a:pt x="90990" y="56251"/>
                    </a:lnTo>
                    <a:lnTo>
                      <a:pt x="92136" y="57133"/>
                    </a:lnTo>
                    <a:lnTo>
                      <a:pt x="93018" y="56869"/>
                    </a:lnTo>
                    <a:lnTo>
                      <a:pt x="93635" y="54488"/>
                    </a:lnTo>
                    <a:lnTo>
                      <a:pt x="93018" y="52460"/>
                    </a:lnTo>
                    <a:lnTo>
                      <a:pt x="93371" y="51314"/>
                    </a:lnTo>
                    <a:lnTo>
                      <a:pt x="94252" y="50961"/>
                    </a:lnTo>
                    <a:lnTo>
                      <a:pt x="95398" y="50432"/>
                    </a:lnTo>
                    <a:lnTo>
                      <a:pt x="94781" y="47170"/>
                    </a:lnTo>
                    <a:lnTo>
                      <a:pt x="94516" y="44878"/>
                    </a:lnTo>
                    <a:lnTo>
                      <a:pt x="96544" y="43114"/>
                    </a:lnTo>
                    <a:lnTo>
                      <a:pt x="95133" y="43114"/>
                    </a:lnTo>
                    <a:lnTo>
                      <a:pt x="93635" y="42850"/>
                    </a:lnTo>
                    <a:lnTo>
                      <a:pt x="93371" y="41968"/>
                    </a:lnTo>
                    <a:lnTo>
                      <a:pt x="93635" y="41704"/>
                    </a:lnTo>
                    <a:lnTo>
                      <a:pt x="95927" y="41351"/>
                    </a:lnTo>
                    <a:lnTo>
                      <a:pt x="98043" y="42850"/>
                    </a:lnTo>
                    <a:lnTo>
                      <a:pt x="100953" y="42497"/>
                    </a:lnTo>
                    <a:lnTo>
                      <a:pt x="100600" y="40469"/>
                    </a:lnTo>
                    <a:lnTo>
                      <a:pt x="99454" y="39059"/>
                    </a:lnTo>
                    <a:lnTo>
                      <a:pt x="96544" y="39059"/>
                    </a:lnTo>
                    <a:lnTo>
                      <a:pt x="96280" y="37295"/>
                    </a:lnTo>
                    <a:lnTo>
                      <a:pt x="93635" y="36149"/>
                    </a:lnTo>
                    <a:lnTo>
                      <a:pt x="90990" y="34121"/>
                    </a:lnTo>
                    <a:lnTo>
                      <a:pt x="88080" y="32622"/>
                    </a:lnTo>
                    <a:lnTo>
                      <a:pt x="86317" y="32622"/>
                    </a:lnTo>
                    <a:lnTo>
                      <a:pt x="85170" y="32887"/>
                    </a:lnTo>
                    <a:lnTo>
                      <a:pt x="83407" y="32622"/>
                    </a:lnTo>
                    <a:lnTo>
                      <a:pt x="79616" y="32887"/>
                    </a:lnTo>
                    <a:lnTo>
                      <a:pt x="79969" y="33504"/>
                    </a:lnTo>
                    <a:lnTo>
                      <a:pt x="78470" y="33504"/>
                    </a:lnTo>
                    <a:lnTo>
                      <a:pt x="77588" y="32622"/>
                    </a:lnTo>
                    <a:lnTo>
                      <a:pt x="76442" y="33504"/>
                    </a:lnTo>
                    <a:lnTo>
                      <a:pt x="74062" y="32887"/>
                    </a:lnTo>
                    <a:lnTo>
                      <a:pt x="73180" y="32887"/>
                    </a:lnTo>
                    <a:lnTo>
                      <a:pt x="71769" y="31123"/>
                    </a:lnTo>
                    <a:lnTo>
                      <a:pt x="68242" y="31123"/>
                    </a:lnTo>
                    <a:lnTo>
                      <a:pt x="67096" y="31123"/>
                    </a:lnTo>
                    <a:lnTo>
                      <a:pt x="63922" y="32622"/>
                    </a:lnTo>
                    <a:lnTo>
                      <a:pt x="62423" y="32622"/>
                    </a:lnTo>
                    <a:lnTo>
                      <a:pt x="61012" y="31476"/>
                    </a:lnTo>
                    <a:lnTo>
                      <a:pt x="57750" y="32005"/>
                    </a:lnTo>
                    <a:lnTo>
                      <a:pt x="55987" y="31741"/>
                    </a:lnTo>
                    <a:lnTo>
                      <a:pt x="53959" y="31741"/>
                    </a:lnTo>
                    <a:lnTo>
                      <a:pt x="52196" y="30594"/>
                    </a:lnTo>
                    <a:lnTo>
                      <a:pt x="49903" y="31476"/>
                    </a:lnTo>
                    <a:lnTo>
                      <a:pt x="47523" y="30594"/>
                    </a:lnTo>
                    <a:lnTo>
                      <a:pt x="44966" y="30330"/>
                    </a:lnTo>
                    <a:lnTo>
                      <a:pt x="43732" y="29095"/>
                    </a:lnTo>
                    <a:lnTo>
                      <a:pt x="43203" y="30594"/>
                    </a:lnTo>
                    <a:lnTo>
                      <a:pt x="41703" y="31476"/>
                    </a:lnTo>
                    <a:lnTo>
                      <a:pt x="40557" y="28831"/>
                    </a:lnTo>
                    <a:lnTo>
                      <a:pt x="40028" y="24423"/>
                    </a:lnTo>
                    <a:lnTo>
                      <a:pt x="39411" y="21513"/>
                    </a:lnTo>
                    <a:lnTo>
                      <a:pt x="37295" y="17193"/>
                    </a:lnTo>
                    <a:lnTo>
                      <a:pt x="37648" y="13049"/>
                    </a:lnTo>
                    <a:lnTo>
                      <a:pt x="35885" y="10492"/>
                    </a:lnTo>
                    <a:lnTo>
                      <a:pt x="34386" y="10139"/>
                    </a:lnTo>
                    <a:lnTo>
                      <a:pt x="34121" y="7847"/>
                    </a:lnTo>
                    <a:lnTo>
                      <a:pt x="33240" y="7230"/>
                    </a:lnTo>
                    <a:lnTo>
                      <a:pt x="30594" y="10492"/>
                    </a:lnTo>
                    <a:lnTo>
                      <a:pt x="30947" y="12784"/>
                    </a:lnTo>
                    <a:lnTo>
                      <a:pt x="28919" y="12784"/>
                    </a:lnTo>
                    <a:lnTo>
                      <a:pt x="27420" y="12167"/>
                    </a:lnTo>
                    <a:lnTo>
                      <a:pt x="26803" y="13049"/>
                    </a:lnTo>
                    <a:lnTo>
                      <a:pt x="23982" y="12167"/>
                    </a:lnTo>
                    <a:lnTo>
                      <a:pt x="23365" y="11903"/>
                    </a:lnTo>
                    <a:lnTo>
                      <a:pt x="18692" y="9258"/>
                    </a:lnTo>
                    <a:lnTo>
                      <a:pt x="18074" y="15077"/>
                    </a:lnTo>
                    <a:lnTo>
                      <a:pt x="14019" y="5466"/>
                    </a:lnTo>
                    <a:lnTo>
                      <a:pt x="9082" y="3439"/>
                    </a:lnTo>
                    <a:lnTo>
                      <a:pt x="4673" y="0"/>
                    </a:lnTo>
                    <a:lnTo>
                      <a:pt x="4144" y="1146"/>
                    </a:lnTo>
                    <a:lnTo>
                      <a:pt x="3791" y="2292"/>
                    </a:lnTo>
                    <a:lnTo>
                      <a:pt x="4144" y="3174"/>
                    </a:lnTo>
                    <a:lnTo>
                      <a:pt x="4408" y="6348"/>
                    </a:lnTo>
                    <a:lnTo>
                      <a:pt x="1146" y="10757"/>
                    </a:lnTo>
                    <a:lnTo>
                      <a:pt x="265" y="12167"/>
                    </a:lnTo>
                    <a:lnTo>
                      <a:pt x="881" y="14812"/>
                    </a:lnTo>
                    <a:lnTo>
                      <a:pt x="265" y="15694"/>
                    </a:lnTo>
                    <a:lnTo>
                      <a:pt x="0" y="16311"/>
                    </a:lnTo>
                    <a:lnTo>
                      <a:pt x="1146" y="18868"/>
                    </a:lnTo>
                    <a:lnTo>
                      <a:pt x="10756" y="24158"/>
                    </a:lnTo>
                    <a:lnTo>
                      <a:pt x="11374" y="27068"/>
                    </a:lnTo>
                    <a:lnTo>
                      <a:pt x="13754" y="27420"/>
                    </a:lnTo>
                    <a:lnTo>
                      <a:pt x="16664" y="27685"/>
                    </a:lnTo>
                    <a:lnTo>
                      <a:pt x="16928" y="26539"/>
                    </a:lnTo>
                    <a:lnTo>
                      <a:pt x="19485" y="26186"/>
                    </a:lnTo>
                    <a:lnTo>
                      <a:pt x="19838" y="27685"/>
                    </a:lnTo>
                    <a:lnTo>
                      <a:pt x="22748" y="28831"/>
                    </a:lnTo>
                    <a:lnTo>
                      <a:pt x="25128" y="29977"/>
                    </a:lnTo>
                    <a:lnTo>
                      <a:pt x="23629" y="30594"/>
                    </a:lnTo>
                    <a:lnTo>
                      <a:pt x="23365" y="31476"/>
                    </a:lnTo>
                    <a:lnTo>
                      <a:pt x="24246" y="33239"/>
                    </a:lnTo>
                    <a:lnTo>
                      <a:pt x="20719" y="33504"/>
                    </a:lnTo>
                    <a:lnTo>
                      <a:pt x="19485" y="33239"/>
                    </a:lnTo>
                    <a:lnTo>
                      <a:pt x="16928" y="33504"/>
                    </a:lnTo>
                    <a:lnTo>
                      <a:pt x="14900" y="32005"/>
                    </a:lnTo>
                    <a:lnTo>
                      <a:pt x="13754" y="33239"/>
                    </a:lnTo>
                    <a:lnTo>
                      <a:pt x="10756" y="33239"/>
                    </a:lnTo>
                    <a:lnTo>
                      <a:pt x="11374" y="36413"/>
                    </a:lnTo>
                    <a:lnTo>
                      <a:pt x="12256" y="38177"/>
                    </a:lnTo>
                    <a:lnTo>
                      <a:pt x="11638" y="41351"/>
                    </a:lnTo>
                    <a:lnTo>
                      <a:pt x="9611" y="41351"/>
                    </a:lnTo>
                    <a:lnTo>
                      <a:pt x="9611" y="39059"/>
                    </a:lnTo>
                    <a:lnTo>
                      <a:pt x="6436" y="39940"/>
                    </a:lnTo>
                    <a:lnTo>
                      <a:pt x="7318" y="41704"/>
                    </a:lnTo>
                    <a:lnTo>
                      <a:pt x="6436" y="43114"/>
                    </a:lnTo>
                    <a:lnTo>
                      <a:pt x="7582" y="45495"/>
                    </a:lnTo>
                    <a:lnTo>
                      <a:pt x="7582" y="48404"/>
                    </a:lnTo>
                    <a:lnTo>
                      <a:pt x="7053" y="49551"/>
                    </a:lnTo>
                    <a:lnTo>
                      <a:pt x="7935" y="50432"/>
                    </a:lnTo>
                    <a:lnTo>
                      <a:pt x="14900" y="54488"/>
                    </a:lnTo>
                    <a:lnTo>
                      <a:pt x="18956" y="54488"/>
                    </a:lnTo>
                    <a:lnTo>
                      <a:pt x="20984" y="55370"/>
                    </a:lnTo>
                    <a:lnTo>
                      <a:pt x="22483" y="57398"/>
                    </a:lnTo>
                    <a:lnTo>
                      <a:pt x="21601" y="58896"/>
                    </a:lnTo>
                    <a:lnTo>
                      <a:pt x="23365" y="58896"/>
                    </a:lnTo>
                    <a:lnTo>
                      <a:pt x="24246" y="60307"/>
                    </a:lnTo>
                    <a:lnTo>
                      <a:pt x="23629" y="62952"/>
                    </a:lnTo>
                    <a:lnTo>
                      <a:pt x="23629" y="65597"/>
                    </a:lnTo>
                    <a:lnTo>
                      <a:pt x="21601" y="66743"/>
                    </a:lnTo>
                    <a:lnTo>
                      <a:pt x="19221" y="67008"/>
                    </a:lnTo>
                    <a:lnTo>
                      <a:pt x="18956" y="68771"/>
                    </a:lnTo>
                    <a:lnTo>
                      <a:pt x="19221" y="70270"/>
                    </a:lnTo>
                    <a:lnTo>
                      <a:pt x="20455" y="71681"/>
                    </a:lnTo>
                    <a:lnTo>
                      <a:pt x="22219" y="74061"/>
                    </a:lnTo>
                    <a:lnTo>
                      <a:pt x="26274" y="73797"/>
                    </a:lnTo>
                    <a:lnTo>
                      <a:pt x="25128" y="76089"/>
                    </a:lnTo>
                    <a:lnTo>
                      <a:pt x="26274" y="78382"/>
                    </a:lnTo>
                    <a:lnTo>
                      <a:pt x="24246" y="78734"/>
                    </a:lnTo>
                    <a:lnTo>
                      <a:pt x="25128" y="81644"/>
                    </a:lnTo>
                    <a:lnTo>
                      <a:pt x="29448" y="81291"/>
                    </a:lnTo>
                    <a:lnTo>
                      <a:pt x="30594" y="85435"/>
                    </a:lnTo>
                    <a:lnTo>
                      <a:pt x="30330" y="87463"/>
                    </a:lnTo>
                    <a:lnTo>
                      <a:pt x="32975" y="90990"/>
                    </a:lnTo>
                    <a:lnTo>
                      <a:pt x="31829" y="93018"/>
                    </a:lnTo>
                    <a:lnTo>
                      <a:pt x="33592" y="97073"/>
                    </a:lnTo>
                    <a:lnTo>
                      <a:pt x="34121" y="99983"/>
                    </a:lnTo>
                    <a:lnTo>
                      <a:pt x="34121" y="104391"/>
                    </a:lnTo>
                    <a:lnTo>
                      <a:pt x="35003" y="107301"/>
                    </a:lnTo>
                    <a:lnTo>
                      <a:pt x="36766" y="108711"/>
                    </a:lnTo>
                    <a:lnTo>
                      <a:pt x="37295" y="109946"/>
                    </a:lnTo>
                    <a:lnTo>
                      <a:pt x="37912" y="111357"/>
                    </a:lnTo>
                    <a:lnTo>
                      <a:pt x="38530" y="113120"/>
                    </a:lnTo>
                    <a:lnTo>
                      <a:pt x="38177" y="114266"/>
                    </a:lnTo>
                    <a:lnTo>
                      <a:pt x="38530" y="116294"/>
                    </a:lnTo>
                    <a:lnTo>
                      <a:pt x="38530" y="117176"/>
                    </a:lnTo>
                    <a:lnTo>
                      <a:pt x="40028" y="118057"/>
                    </a:lnTo>
                    <a:lnTo>
                      <a:pt x="40557" y="117176"/>
                    </a:lnTo>
                    <a:lnTo>
                      <a:pt x="41968" y="119821"/>
                    </a:lnTo>
                    <a:lnTo>
                      <a:pt x="41968" y="121849"/>
                    </a:lnTo>
                    <a:lnTo>
                      <a:pt x="42321" y="121849"/>
                    </a:lnTo>
                    <a:lnTo>
                      <a:pt x="43203" y="121584"/>
                    </a:lnTo>
                    <a:lnTo>
                      <a:pt x="43467" y="120967"/>
                    </a:lnTo>
                    <a:lnTo>
                      <a:pt x="42850" y="120702"/>
                    </a:lnTo>
                    <a:lnTo>
                      <a:pt x="43203" y="119204"/>
                    </a:lnTo>
                    <a:lnTo>
                      <a:pt x="42321" y="117176"/>
                    </a:lnTo>
                    <a:lnTo>
                      <a:pt x="43732" y="117176"/>
                    </a:lnTo>
                    <a:lnTo>
                      <a:pt x="43467" y="115501"/>
                    </a:lnTo>
                    <a:lnTo>
                      <a:pt x="42850" y="114619"/>
                    </a:lnTo>
                    <a:lnTo>
                      <a:pt x="43203" y="113385"/>
                    </a:lnTo>
                    <a:lnTo>
                      <a:pt x="44349" y="115148"/>
                    </a:lnTo>
                    <a:lnTo>
                      <a:pt x="44613" y="115501"/>
                    </a:lnTo>
                    <a:lnTo>
                      <a:pt x="44349" y="116294"/>
                    </a:lnTo>
                    <a:lnTo>
                      <a:pt x="44613" y="118057"/>
                    </a:lnTo>
                    <a:lnTo>
                      <a:pt x="44613" y="119204"/>
                    </a:lnTo>
                    <a:lnTo>
                      <a:pt x="45230" y="119821"/>
                    </a:lnTo>
                    <a:lnTo>
                      <a:pt x="45848" y="119821"/>
                    </a:lnTo>
                    <a:lnTo>
                      <a:pt x="46906" y="118057"/>
                    </a:lnTo>
                    <a:lnTo>
                      <a:pt x="46641" y="116294"/>
                    </a:lnTo>
                    <a:lnTo>
                      <a:pt x="46641" y="115501"/>
                    </a:lnTo>
                    <a:lnTo>
                      <a:pt x="47523" y="115148"/>
                    </a:lnTo>
                    <a:lnTo>
                      <a:pt x="47523" y="114266"/>
                    </a:lnTo>
                    <a:lnTo>
                      <a:pt x="46906" y="113385"/>
                    </a:lnTo>
                    <a:lnTo>
                      <a:pt x="45848" y="112855"/>
                    </a:lnTo>
                    <a:lnTo>
                      <a:pt x="46112" y="111974"/>
                    </a:lnTo>
                    <a:lnTo>
                      <a:pt x="46112" y="111357"/>
                    </a:lnTo>
                    <a:lnTo>
                      <a:pt x="46906" y="111357"/>
                    </a:lnTo>
                    <a:lnTo>
                      <a:pt x="46906" y="110828"/>
                    </a:lnTo>
                    <a:lnTo>
                      <a:pt x="46112" y="109593"/>
                    </a:lnTo>
                    <a:lnTo>
                      <a:pt x="45848" y="109946"/>
                    </a:lnTo>
                    <a:lnTo>
                      <a:pt x="45848" y="109593"/>
                    </a:lnTo>
                    <a:lnTo>
                      <a:pt x="45230" y="108711"/>
                    </a:lnTo>
                    <a:lnTo>
                      <a:pt x="44966" y="108447"/>
                    </a:lnTo>
                    <a:lnTo>
                      <a:pt x="44966" y="107918"/>
                    </a:lnTo>
                    <a:lnTo>
                      <a:pt x="45230" y="107036"/>
                    </a:lnTo>
                    <a:lnTo>
                      <a:pt x="45230" y="105802"/>
                    </a:lnTo>
                    <a:lnTo>
                      <a:pt x="45495" y="105802"/>
                    </a:lnTo>
                    <a:lnTo>
                      <a:pt x="45495" y="108183"/>
                    </a:lnTo>
                    <a:lnTo>
                      <a:pt x="46906" y="110828"/>
                    </a:lnTo>
                    <a:lnTo>
                      <a:pt x="46906" y="111974"/>
                    </a:lnTo>
                    <a:lnTo>
                      <a:pt x="47258" y="113385"/>
                    </a:lnTo>
                    <a:lnTo>
                      <a:pt x="47523" y="109593"/>
                    </a:lnTo>
                    <a:lnTo>
                      <a:pt x="46377" y="107918"/>
                    </a:lnTo>
                    <a:lnTo>
                      <a:pt x="46906" y="107036"/>
                    </a:lnTo>
                    <a:lnTo>
                      <a:pt x="46906" y="105802"/>
                    </a:lnTo>
                    <a:lnTo>
                      <a:pt x="47258" y="104920"/>
                    </a:lnTo>
                    <a:lnTo>
                      <a:pt x="48140" y="104039"/>
                    </a:lnTo>
                    <a:lnTo>
                      <a:pt x="48404" y="104920"/>
                    </a:lnTo>
                    <a:lnTo>
                      <a:pt x="48404" y="105802"/>
                    </a:lnTo>
                    <a:lnTo>
                      <a:pt x="47875" y="107036"/>
                    </a:lnTo>
                    <a:lnTo>
                      <a:pt x="47258" y="107918"/>
                    </a:lnTo>
                    <a:lnTo>
                      <a:pt x="48140" y="108447"/>
                    </a:lnTo>
                    <a:lnTo>
                      <a:pt x="48140" y="110210"/>
                    </a:lnTo>
                    <a:lnTo>
                      <a:pt x="48757" y="111357"/>
                    </a:lnTo>
                    <a:lnTo>
                      <a:pt x="48140" y="112855"/>
                    </a:lnTo>
                    <a:lnTo>
                      <a:pt x="47258" y="113385"/>
                    </a:lnTo>
                    <a:lnTo>
                      <a:pt x="48140" y="113737"/>
                    </a:lnTo>
                    <a:lnTo>
                      <a:pt x="48404" y="115501"/>
                    </a:lnTo>
                    <a:lnTo>
                      <a:pt x="48404" y="116647"/>
                    </a:lnTo>
                    <a:lnTo>
                      <a:pt x="47875" y="117176"/>
                    </a:lnTo>
                    <a:lnTo>
                      <a:pt x="47523" y="118939"/>
                    </a:lnTo>
                    <a:lnTo>
                      <a:pt x="48140" y="119821"/>
                    </a:lnTo>
                    <a:lnTo>
                      <a:pt x="49022" y="119821"/>
                    </a:lnTo>
                    <a:lnTo>
                      <a:pt x="49551" y="119821"/>
                    </a:lnTo>
                    <a:lnTo>
                      <a:pt x="48757" y="119204"/>
                    </a:lnTo>
                    <a:lnTo>
                      <a:pt x="49286" y="118057"/>
                    </a:lnTo>
                    <a:lnTo>
                      <a:pt x="50432" y="118675"/>
                    </a:lnTo>
                    <a:lnTo>
                      <a:pt x="51667" y="118057"/>
                    </a:lnTo>
                    <a:lnTo>
                      <a:pt x="51049" y="117176"/>
                    </a:lnTo>
                    <a:lnTo>
                      <a:pt x="49903" y="116294"/>
                    </a:lnTo>
                    <a:lnTo>
                      <a:pt x="49903" y="114266"/>
                    </a:lnTo>
                    <a:lnTo>
                      <a:pt x="50432" y="115148"/>
                    </a:lnTo>
                    <a:lnTo>
                      <a:pt x="50168" y="116294"/>
                    </a:lnTo>
                    <a:lnTo>
                      <a:pt x="51314" y="116294"/>
                    </a:lnTo>
                    <a:lnTo>
                      <a:pt x="52196" y="117176"/>
                    </a:lnTo>
                    <a:lnTo>
                      <a:pt x="52196" y="116294"/>
                    </a:lnTo>
                    <a:lnTo>
                      <a:pt x="52813" y="116294"/>
                    </a:lnTo>
                    <a:lnTo>
                      <a:pt x="53959" y="116294"/>
                    </a:lnTo>
                    <a:lnTo>
                      <a:pt x="53695" y="115501"/>
                    </a:lnTo>
                    <a:lnTo>
                      <a:pt x="54576" y="115765"/>
                    </a:lnTo>
                    <a:lnTo>
                      <a:pt x="55105" y="115501"/>
                    </a:lnTo>
                    <a:lnTo>
                      <a:pt x="55105" y="114266"/>
                    </a:lnTo>
                    <a:lnTo>
                      <a:pt x="54840" y="113385"/>
                    </a:lnTo>
                    <a:lnTo>
                      <a:pt x="54224" y="113385"/>
                    </a:lnTo>
                    <a:lnTo>
                      <a:pt x="53959" y="111974"/>
                    </a:lnTo>
                    <a:lnTo>
                      <a:pt x="53078" y="111709"/>
                    </a:lnTo>
                    <a:lnTo>
                      <a:pt x="52196" y="111709"/>
                    </a:lnTo>
                    <a:lnTo>
                      <a:pt x="52549" y="110828"/>
                    </a:lnTo>
                    <a:lnTo>
                      <a:pt x="53430" y="110475"/>
                    </a:lnTo>
                    <a:lnTo>
                      <a:pt x="53695" y="110828"/>
                    </a:lnTo>
                    <a:lnTo>
                      <a:pt x="53430" y="108183"/>
                    </a:lnTo>
                    <a:lnTo>
                      <a:pt x="52549" y="105802"/>
                    </a:lnTo>
                    <a:lnTo>
                      <a:pt x="53430" y="104039"/>
                    </a:lnTo>
                    <a:lnTo>
                      <a:pt x="52549" y="103245"/>
                    </a:lnTo>
                    <a:lnTo>
                      <a:pt x="52549" y="102363"/>
                    </a:lnTo>
                    <a:lnTo>
                      <a:pt x="53430" y="103510"/>
                    </a:lnTo>
                    <a:lnTo>
                      <a:pt x="54840" y="102363"/>
                    </a:lnTo>
                    <a:lnTo>
                      <a:pt x="55370" y="100865"/>
                    </a:lnTo>
                    <a:lnTo>
                      <a:pt x="55370" y="101482"/>
                    </a:lnTo>
                    <a:lnTo>
                      <a:pt x="53959" y="103510"/>
                    </a:lnTo>
                    <a:lnTo>
                      <a:pt x="54224" y="104920"/>
                    </a:lnTo>
                    <a:lnTo>
                      <a:pt x="53695" y="105802"/>
                    </a:lnTo>
                    <a:lnTo>
                      <a:pt x="53959" y="108183"/>
                    </a:lnTo>
                    <a:lnTo>
                      <a:pt x="55105" y="109593"/>
                    </a:lnTo>
                    <a:lnTo>
                      <a:pt x="55370" y="110828"/>
                    </a:lnTo>
                    <a:lnTo>
                      <a:pt x="55370" y="111974"/>
                    </a:lnTo>
                    <a:lnTo>
                      <a:pt x="56340" y="112503"/>
                    </a:lnTo>
                    <a:lnTo>
                      <a:pt x="57133" y="112503"/>
                    </a:lnTo>
                    <a:lnTo>
                      <a:pt x="56869" y="111357"/>
                    </a:lnTo>
                    <a:lnTo>
                      <a:pt x="57750" y="112503"/>
                    </a:lnTo>
                    <a:lnTo>
                      <a:pt x="58632" y="112503"/>
                    </a:lnTo>
                    <a:lnTo>
                      <a:pt x="58367" y="111357"/>
                    </a:lnTo>
                    <a:lnTo>
                      <a:pt x="58632" y="110828"/>
                    </a:lnTo>
                    <a:lnTo>
                      <a:pt x="59249" y="111092"/>
                    </a:lnTo>
                    <a:lnTo>
                      <a:pt x="60131" y="110828"/>
                    </a:lnTo>
                    <a:lnTo>
                      <a:pt x="59778" y="111357"/>
                    </a:lnTo>
                    <a:lnTo>
                      <a:pt x="58632" y="111974"/>
                    </a:lnTo>
                    <a:lnTo>
                      <a:pt x="58632" y="113385"/>
                    </a:lnTo>
                    <a:lnTo>
                      <a:pt x="58015" y="113737"/>
                    </a:lnTo>
                    <a:lnTo>
                      <a:pt x="58896" y="115501"/>
                    </a:lnTo>
                    <a:lnTo>
                      <a:pt x="58367" y="116294"/>
                    </a:lnTo>
                    <a:lnTo>
                      <a:pt x="58896" y="116294"/>
                    </a:lnTo>
                    <a:lnTo>
                      <a:pt x="59778" y="115148"/>
                    </a:lnTo>
                    <a:lnTo>
                      <a:pt x="60660" y="115148"/>
                    </a:lnTo>
                    <a:lnTo>
                      <a:pt x="60660" y="115765"/>
                    </a:lnTo>
                    <a:lnTo>
                      <a:pt x="60131" y="116294"/>
                    </a:lnTo>
                    <a:lnTo>
                      <a:pt x="59514" y="116294"/>
                    </a:lnTo>
                    <a:lnTo>
                      <a:pt x="59249" y="117793"/>
                    </a:lnTo>
                    <a:lnTo>
                      <a:pt x="59778" y="118675"/>
                    </a:lnTo>
                    <a:lnTo>
                      <a:pt x="61012" y="118675"/>
                    </a:lnTo>
                    <a:lnTo>
                      <a:pt x="61894" y="118057"/>
                    </a:lnTo>
                    <a:lnTo>
                      <a:pt x="62688" y="118057"/>
                    </a:lnTo>
                    <a:lnTo>
                      <a:pt x="63305" y="117176"/>
                    </a:lnTo>
                    <a:lnTo>
                      <a:pt x="63305" y="116294"/>
                    </a:lnTo>
                    <a:lnTo>
                      <a:pt x="62423" y="115501"/>
                    </a:lnTo>
                    <a:lnTo>
                      <a:pt x="62688" y="114619"/>
                    </a:lnTo>
                    <a:lnTo>
                      <a:pt x="63570" y="114266"/>
                    </a:lnTo>
                    <a:lnTo>
                      <a:pt x="64187" y="112503"/>
                    </a:lnTo>
                    <a:lnTo>
                      <a:pt x="63922" y="111709"/>
                    </a:lnTo>
                    <a:lnTo>
                      <a:pt x="64716" y="110828"/>
                    </a:lnTo>
                    <a:lnTo>
                      <a:pt x="66215" y="110828"/>
                    </a:lnTo>
                    <a:lnTo>
                      <a:pt x="67361" y="109946"/>
                    </a:lnTo>
                    <a:lnTo>
                      <a:pt x="67361" y="108183"/>
                    </a:lnTo>
                    <a:lnTo>
                      <a:pt x="68859" y="107036"/>
                    </a:lnTo>
                    <a:lnTo>
                      <a:pt x="69124" y="105802"/>
                    </a:lnTo>
                    <a:lnTo>
                      <a:pt x="69124" y="103510"/>
                    </a:lnTo>
                    <a:lnTo>
                      <a:pt x="68859" y="101482"/>
                    </a:lnTo>
                    <a:lnTo>
                      <a:pt x="68507" y="100865"/>
                    </a:lnTo>
                    <a:lnTo>
                      <a:pt x="67713" y="99101"/>
                    </a:lnTo>
                    <a:lnTo>
                      <a:pt x="65950" y="97955"/>
                    </a:lnTo>
                    <a:lnTo>
                      <a:pt x="64716" y="94428"/>
                    </a:lnTo>
                    <a:lnTo>
                      <a:pt x="64451" y="93635"/>
                    </a:lnTo>
                    <a:lnTo>
                      <a:pt x="63922" y="93018"/>
                    </a:lnTo>
                    <a:lnTo>
                      <a:pt x="63570" y="92665"/>
                    </a:lnTo>
                    <a:lnTo>
                      <a:pt x="62688" y="91519"/>
                    </a:lnTo>
                    <a:lnTo>
                      <a:pt x="64187" y="92400"/>
                    </a:lnTo>
                    <a:lnTo>
                      <a:pt x="65950" y="92400"/>
                    </a:lnTo>
                    <a:lnTo>
                      <a:pt x="67096" y="91519"/>
                    </a:lnTo>
                    <a:lnTo>
                      <a:pt x="67978" y="89755"/>
                    </a:lnTo>
                    <a:lnTo>
                      <a:pt x="67096" y="89226"/>
                    </a:lnTo>
                    <a:lnTo>
                      <a:pt x="65333" y="89226"/>
                    </a:lnTo>
                    <a:lnTo>
                      <a:pt x="65333" y="88609"/>
                    </a:lnTo>
                    <a:lnTo>
                      <a:pt x="62159" y="87199"/>
                    </a:lnTo>
                    <a:lnTo>
                      <a:pt x="62688" y="86846"/>
                    </a:lnTo>
                    <a:lnTo>
                      <a:pt x="63041" y="85082"/>
                    </a:lnTo>
                    <a:lnTo>
                      <a:pt x="64451" y="84818"/>
                    </a:lnTo>
                    <a:lnTo>
                      <a:pt x="64716" y="84289"/>
                    </a:lnTo>
                    <a:lnTo>
                      <a:pt x="63922" y="83055"/>
                    </a:lnTo>
                    <a:lnTo>
                      <a:pt x="64187" y="81291"/>
                    </a:lnTo>
                    <a:lnTo>
                      <a:pt x="63922" y="79881"/>
                    </a:lnTo>
                    <a:lnTo>
                      <a:pt x="63922" y="79616"/>
                    </a:lnTo>
                    <a:lnTo>
                      <a:pt x="62159" y="79616"/>
                    </a:lnTo>
                    <a:lnTo>
                      <a:pt x="59249" y="77235"/>
                    </a:lnTo>
                    <a:lnTo>
                      <a:pt x="59249" y="78117"/>
                    </a:lnTo>
                    <a:lnTo>
                      <a:pt x="55987" y="76089"/>
                    </a:lnTo>
                    <a:lnTo>
                      <a:pt x="56340" y="78117"/>
                    </a:lnTo>
                    <a:lnTo>
                      <a:pt x="55722" y="76971"/>
                    </a:lnTo>
                    <a:lnTo>
                      <a:pt x="54576" y="74326"/>
                    </a:lnTo>
                    <a:lnTo>
                      <a:pt x="53695" y="73180"/>
                    </a:lnTo>
                    <a:lnTo>
                      <a:pt x="52549" y="72563"/>
                    </a:lnTo>
                    <a:lnTo>
                      <a:pt x="51931" y="73180"/>
                    </a:lnTo>
                    <a:lnTo>
                      <a:pt x="49286" y="72034"/>
                    </a:lnTo>
                    <a:lnTo>
                      <a:pt x="47258" y="70270"/>
                    </a:lnTo>
                    <a:lnTo>
                      <a:pt x="45848" y="68771"/>
                    </a:lnTo>
                    <a:lnTo>
                      <a:pt x="44613" y="68771"/>
                    </a:lnTo>
                    <a:lnTo>
                      <a:pt x="42585" y="68242"/>
                    </a:lnTo>
                    <a:lnTo>
                      <a:pt x="40028" y="68242"/>
                    </a:lnTo>
                    <a:lnTo>
                      <a:pt x="38177" y="66126"/>
                    </a:lnTo>
                    <a:lnTo>
                      <a:pt x="36766" y="65862"/>
                    </a:lnTo>
                    <a:lnTo>
                      <a:pt x="34738" y="65862"/>
                    </a:lnTo>
                    <a:lnTo>
                      <a:pt x="34121" y="65245"/>
                    </a:lnTo>
                    <a:lnTo>
                      <a:pt x="33857" y="64098"/>
                    </a:lnTo>
                    <a:lnTo>
                      <a:pt x="35885" y="64098"/>
                    </a:lnTo>
                    <a:lnTo>
                      <a:pt x="39411" y="65862"/>
                    </a:lnTo>
                    <a:lnTo>
                      <a:pt x="42585" y="67625"/>
                    </a:lnTo>
                    <a:lnTo>
                      <a:pt x="43732" y="67625"/>
                    </a:lnTo>
                    <a:lnTo>
                      <a:pt x="44349" y="67008"/>
                    </a:lnTo>
                    <a:lnTo>
                      <a:pt x="44084" y="65245"/>
                    </a:lnTo>
                    <a:lnTo>
                      <a:pt x="43203" y="64451"/>
                    </a:lnTo>
                    <a:lnTo>
                      <a:pt x="43203" y="64098"/>
                    </a:lnTo>
                    <a:lnTo>
                      <a:pt x="42850" y="62688"/>
                    </a:lnTo>
                    <a:lnTo>
                      <a:pt x="44349" y="63217"/>
                    </a:lnTo>
                    <a:lnTo>
                      <a:pt x="43732" y="64098"/>
                    </a:lnTo>
                    <a:lnTo>
                      <a:pt x="45230" y="65245"/>
                    </a:lnTo>
                    <a:lnTo>
                      <a:pt x="45848" y="67625"/>
                    </a:lnTo>
                    <a:lnTo>
                      <a:pt x="47875" y="69653"/>
                    </a:lnTo>
                    <a:lnTo>
                      <a:pt x="50432" y="70270"/>
                    </a:lnTo>
                    <a:lnTo>
                      <a:pt x="53695" y="71681"/>
                    </a:lnTo>
                    <a:lnTo>
                      <a:pt x="55370" y="74326"/>
                    </a:lnTo>
                    <a:lnTo>
                      <a:pt x="58015" y="76089"/>
                    </a:lnTo>
                    <a:lnTo>
                      <a:pt x="63570" y="78117"/>
                    </a:lnTo>
                    <a:lnTo>
                      <a:pt x="63570" y="76971"/>
                    </a:lnTo>
                    <a:lnTo>
                      <a:pt x="64187" y="76089"/>
                    </a:lnTo>
                    <a:lnTo>
                      <a:pt x="63922" y="74326"/>
                    </a:lnTo>
                    <a:lnTo>
                      <a:pt x="63041" y="73797"/>
                    </a:lnTo>
                    <a:lnTo>
                      <a:pt x="61277" y="73180"/>
                    </a:lnTo>
                    <a:lnTo>
                      <a:pt x="62159" y="72563"/>
                    </a:lnTo>
                    <a:lnTo>
                      <a:pt x="63570" y="73180"/>
                    </a:lnTo>
                    <a:lnTo>
                      <a:pt x="64451" y="74326"/>
                    </a:lnTo>
                    <a:lnTo>
                      <a:pt x="65597" y="74326"/>
                    </a:lnTo>
                    <a:lnTo>
                      <a:pt x="64716" y="76089"/>
                    </a:lnTo>
                    <a:lnTo>
                      <a:pt x="65068" y="78117"/>
                    </a:lnTo>
                    <a:lnTo>
                      <a:pt x="65333" y="79616"/>
                    </a:lnTo>
                    <a:lnTo>
                      <a:pt x="66215" y="79616"/>
                    </a:lnTo>
                    <a:lnTo>
                      <a:pt x="66479" y="81291"/>
                    </a:lnTo>
                    <a:lnTo>
                      <a:pt x="65950" y="84289"/>
                    </a:lnTo>
                    <a:lnTo>
                      <a:pt x="65333" y="85082"/>
                    </a:lnTo>
                    <a:lnTo>
                      <a:pt x="66832" y="87199"/>
                    </a:lnTo>
                    <a:lnTo>
                      <a:pt x="68507" y="88609"/>
                    </a:lnTo>
                    <a:lnTo>
                      <a:pt x="69124" y="89755"/>
                    </a:lnTo>
                    <a:lnTo>
                      <a:pt x="70270" y="89755"/>
                    </a:lnTo>
                    <a:lnTo>
                      <a:pt x="70887" y="89755"/>
                    </a:lnTo>
                    <a:lnTo>
                      <a:pt x="70270" y="89226"/>
                    </a:lnTo>
                    <a:lnTo>
                      <a:pt x="71769" y="89755"/>
                    </a:lnTo>
                    <a:lnTo>
                      <a:pt x="74326" y="90990"/>
                    </a:lnTo>
                    <a:lnTo>
                      <a:pt x="76971" y="92400"/>
                    </a:lnTo>
                    <a:lnTo>
                      <a:pt x="78205" y="92400"/>
                    </a:lnTo>
                    <a:lnTo>
                      <a:pt x="78205" y="91519"/>
                    </a:lnTo>
                    <a:lnTo>
                      <a:pt x="79087" y="92400"/>
                    </a:lnTo>
                    <a:lnTo>
                      <a:pt x="81379" y="92665"/>
                    </a:lnTo>
                    <a:lnTo>
                      <a:pt x="81996" y="92400"/>
                    </a:lnTo>
                    <a:lnTo>
                      <a:pt x="83143" y="92400"/>
                    </a:lnTo>
                    <a:lnTo>
                      <a:pt x="83143" y="92665"/>
                    </a:lnTo>
                    <a:lnTo>
                      <a:pt x="82878" y="91519"/>
                    </a:lnTo>
                    <a:lnTo>
                      <a:pt x="82525" y="89755"/>
                    </a:lnTo>
                    <a:lnTo>
                      <a:pt x="82878" y="91519"/>
                    </a:lnTo>
                    <a:lnTo>
                      <a:pt x="84641" y="93635"/>
                    </a:lnTo>
                    <a:lnTo>
                      <a:pt x="85435" y="91519"/>
                    </a:lnTo>
                    <a:lnTo>
                      <a:pt x="85170" y="89755"/>
                    </a:lnTo>
                    <a:lnTo>
                      <a:pt x="85788" y="89755"/>
                    </a:lnTo>
                    <a:lnTo>
                      <a:pt x="85170" y="89755"/>
                    </a:lnTo>
                    <a:lnTo>
                      <a:pt x="86052" y="90990"/>
                    </a:lnTo>
                    <a:lnTo>
                      <a:pt x="85170" y="92665"/>
                    </a:lnTo>
                    <a:lnTo>
                      <a:pt x="85435" y="92665"/>
                    </a:lnTo>
                    <a:lnTo>
                      <a:pt x="88962" y="95927"/>
                    </a:lnTo>
                    <a:lnTo>
                      <a:pt x="89226" y="97955"/>
                    </a:lnTo>
                    <a:lnTo>
                      <a:pt x="92136" y="100865"/>
                    </a:lnTo>
                    <a:lnTo>
                      <a:pt x="93371" y="103510"/>
                    </a:lnTo>
                    <a:lnTo>
                      <a:pt x="94516" y="107036"/>
                    </a:lnTo>
                    <a:lnTo>
                      <a:pt x="95133" y="107036"/>
                    </a:lnTo>
                    <a:lnTo>
                      <a:pt x="95133" y="105802"/>
                    </a:lnTo>
                    <a:lnTo>
                      <a:pt x="95133" y="107036"/>
                    </a:lnTo>
                    <a:lnTo>
                      <a:pt x="95398" y="108183"/>
                    </a:lnTo>
                    <a:lnTo>
                      <a:pt x="95662" y="109593"/>
                    </a:lnTo>
                    <a:lnTo>
                      <a:pt x="96544" y="109593"/>
                    </a:lnTo>
                    <a:lnTo>
                      <a:pt x="98572" y="113737"/>
                    </a:lnTo>
                    <a:lnTo>
                      <a:pt x="98925" y="116294"/>
                    </a:lnTo>
                    <a:lnTo>
                      <a:pt x="99189" y="118057"/>
                    </a:lnTo>
                    <a:lnTo>
                      <a:pt x="100071" y="118057"/>
                    </a:lnTo>
                    <a:lnTo>
                      <a:pt x="100600" y="118057"/>
                    </a:lnTo>
                    <a:lnTo>
                      <a:pt x="100953" y="120702"/>
                    </a:lnTo>
                    <a:lnTo>
                      <a:pt x="101482" y="121849"/>
                    </a:lnTo>
                    <a:lnTo>
                      <a:pt x="102099" y="120967"/>
                    </a:lnTo>
                    <a:lnTo>
                      <a:pt x="102099" y="121849"/>
                    </a:lnTo>
                    <a:lnTo>
                      <a:pt x="102363" y="122730"/>
                    </a:lnTo>
                    <a:lnTo>
                      <a:pt x="102363" y="123612"/>
                    </a:lnTo>
                    <a:lnTo>
                      <a:pt x="102716" y="125111"/>
                    </a:lnTo>
                    <a:lnTo>
                      <a:pt x="101834" y="126874"/>
                    </a:lnTo>
                    <a:lnTo>
                      <a:pt x="104127" y="129696"/>
                    </a:lnTo>
                    <a:lnTo>
                      <a:pt x="104744" y="133575"/>
                    </a:lnTo>
                    <a:lnTo>
                      <a:pt x="108183" y="136485"/>
                    </a:lnTo>
                    <a:lnTo>
                      <a:pt x="108535" y="139041"/>
                    </a:lnTo>
                    <a:lnTo>
                      <a:pt x="111445" y="143714"/>
                    </a:lnTo>
                    <a:lnTo>
                      <a:pt x="112326" y="143714"/>
                    </a:lnTo>
                    <a:lnTo>
                      <a:pt x="112062" y="142568"/>
                    </a:lnTo>
                    <a:lnTo>
                      <a:pt x="110563" y="140805"/>
                    </a:lnTo>
                    <a:lnTo>
                      <a:pt x="109681" y="139659"/>
                    </a:lnTo>
                    <a:lnTo>
                      <a:pt x="109064" y="135250"/>
                    </a:lnTo>
                    <a:lnTo>
                      <a:pt x="107918" y="134721"/>
                    </a:lnTo>
                    <a:lnTo>
                      <a:pt x="107654" y="133575"/>
                    </a:lnTo>
                    <a:lnTo>
                      <a:pt x="108535" y="133575"/>
                    </a:lnTo>
                    <a:lnTo>
                      <a:pt x="108183" y="132341"/>
                    </a:lnTo>
                    <a:lnTo>
                      <a:pt x="108183" y="131812"/>
                    </a:lnTo>
                    <a:lnTo>
                      <a:pt x="107918" y="129696"/>
                    </a:lnTo>
                    <a:lnTo>
                      <a:pt x="107654" y="129167"/>
                    </a:lnTo>
                    <a:lnTo>
                      <a:pt x="107918" y="128549"/>
                    </a:lnTo>
                    <a:lnTo>
                      <a:pt x="107918" y="127139"/>
                    </a:lnTo>
                    <a:lnTo>
                      <a:pt x="109064" y="127139"/>
                    </a:lnTo>
                    <a:lnTo>
                      <a:pt x="110563" y="126257"/>
                    </a:lnTo>
                    <a:lnTo>
                      <a:pt x="110828" y="126874"/>
                    </a:lnTo>
                    <a:lnTo>
                      <a:pt x="111709" y="128549"/>
                    </a:lnTo>
                    <a:lnTo>
                      <a:pt x="113208" y="128549"/>
                    </a:lnTo>
                    <a:lnTo>
                      <a:pt x="114971" y="128020"/>
                    </a:lnTo>
                    <a:lnTo>
                      <a:pt x="115853" y="129696"/>
                    </a:lnTo>
                    <a:lnTo>
                      <a:pt x="115853" y="130930"/>
                    </a:lnTo>
                    <a:lnTo>
                      <a:pt x="117529" y="129696"/>
                    </a:lnTo>
                    <a:lnTo>
                      <a:pt x="115853" y="126257"/>
                    </a:lnTo>
                    <a:lnTo>
                      <a:pt x="114619" y="121849"/>
                    </a:lnTo>
                    <a:lnTo>
                      <a:pt x="114090" y="118057"/>
                    </a:lnTo>
                    <a:lnTo>
                      <a:pt x="113208" y="1128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5" name="Freihandform: Form 1974">
                <a:extLst>
                  <a:ext uri="{FF2B5EF4-FFF2-40B4-BE49-F238E27FC236}">
                    <a16:creationId xmlns:a16="http://schemas.microsoft.com/office/drawing/2014/main" id="{62DE8AD7-BD08-C8F7-9835-B56E19220F38}"/>
                  </a:ext>
                </a:extLst>
              </p:cNvPr>
              <p:cNvSpPr/>
              <p:nvPr/>
            </p:nvSpPr>
            <p:spPr>
              <a:xfrm>
                <a:off x="6088896" y="3850709"/>
                <a:ext cx="5202" cy="17810"/>
              </a:xfrm>
              <a:custGeom>
                <a:avLst/>
                <a:gdLst>
                  <a:gd name="connsiteX0" fmla="*/ 4673 w 5202"/>
                  <a:gd name="connsiteY0" fmla="*/ 1234 h 17810"/>
                  <a:gd name="connsiteX1" fmla="*/ 4321 w 5202"/>
                  <a:gd name="connsiteY1" fmla="*/ 3791 h 17810"/>
                  <a:gd name="connsiteX2" fmla="*/ 4673 w 5202"/>
                  <a:gd name="connsiteY2" fmla="*/ 5290 h 17810"/>
                  <a:gd name="connsiteX3" fmla="*/ 3792 w 5202"/>
                  <a:gd name="connsiteY3" fmla="*/ 7053 h 17810"/>
                  <a:gd name="connsiteX4" fmla="*/ 4056 w 5202"/>
                  <a:gd name="connsiteY4" fmla="*/ 8817 h 17810"/>
                  <a:gd name="connsiteX5" fmla="*/ 4321 w 5202"/>
                  <a:gd name="connsiteY5" fmla="*/ 7318 h 17810"/>
                  <a:gd name="connsiteX6" fmla="*/ 4938 w 5202"/>
                  <a:gd name="connsiteY6" fmla="*/ 7053 h 17810"/>
                  <a:gd name="connsiteX7" fmla="*/ 5202 w 5202"/>
                  <a:gd name="connsiteY7" fmla="*/ 7935 h 17810"/>
                  <a:gd name="connsiteX8" fmla="*/ 4673 w 5202"/>
                  <a:gd name="connsiteY8" fmla="*/ 12873 h 17810"/>
                  <a:gd name="connsiteX9" fmla="*/ 2557 w 5202"/>
                  <a:gd name="connsiteY9" fmla="*/ 14371 h 17810"/>
                  <a:gd name="connsiteX10" fmla="*/ 2910 w 5202"/>
                  <a:gd name="connsiteY10" fmla="*/ 15165 h 17810"/>
                  <a:gd name="connsiteX11" fmla="*/ 4056 w 5202"/>
                  <a:gd name="connsiteY11" fmla="*/ 13490 h 17810"/>
                  <a:gd name="connsiteX12" fmla="*/ 4321 w 5202"/>
                  <a:gd name="connsiteY12" fmla="*/ 14371 h 17810"/>
                  <a:gd name="connsiteX13" fmla="*/ 3792 w 5202"/>
                  <a:gd name="connsiteY13" fmla="*/ 17810 h 17810"/>
                  <a:gd name="connsiteX14" fmla="*/ 2557 w 5202"/>
                  <a:gd name="connsiteY14" fmla="*/ 17546 h 17810"/>
                  <a:gd name="connsiteX15" fmla="*/ 1411 w 5202"/>
                  <a:gd name="connsiteY15" fmla="*/ 15165 h 17810"/>
                  <a:gd name="connsiteX16" fmla="*/ 2028 w 5202"/>
                  <a:gd name="connsiteY16" fmla="*/ 14636 h 17810"/>
                  <a:gd name="connsiteX17" fmla="*/ 265 w 5202"/>
                  <a:gd name="connsiteY17" fmla="*/ 12873 h 17810"/>
                  <a:gd name="connsiteX18" fmla="*/ 0 w 5202"/>
                  <a:gd name="connsiteY18" fmla="*/ 7935 h 17810"/>
                  <a:gd name="connsiteX19" fmla="*/ 265 w 5202"/>
                  <a:gd name="connsiteY19" fmla="*/ 7318 h 17810"/>
                  <a:gd name="connsiteX20" fmla="*/ 1146 w 5202"/>
                  <a:gd name="connsiteY20" fmla="*/ 9081 h 17810"/>
                  <a:gd name="connsiteX21" fmla="*/ 1675 w 5202"/>
                  <a:gd name="connsiteY21" fmla="*/ 7053 h 17810"/>
                  <a:gd name="connsiteX22" fmla="*/ 2028 w 5202"/>
                  <a:gd name="connsiteY22" fmla="*/ 2381 h 17810"/>
                  <a:gd name="connsiteX23" fmla="*/ 3439 w 5202"/>
                  <a:gd name="connsiteY23" fmla="*/ 0 h 17810"/>
                  <a:gd name="connsiteX24" fmla="*/ 3792 w 5202"/>
                  <a:gd name="connsiteY24" fmla="*/ 1499 h 17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202" h="17810">
                    <a:moveTo>
                      <a:pt x="4673" y="1234"/>
                    </a:moveTo>
                    <a:lnTo>
                      <a:pt x="4321" y="3791"/>
                    </a:lnTo>
                    <a:lnTo>
                      <a:pt x="4673" y="5290"/>
                    </a:lnTo>
                    <a:lnTo>
                      <a:pt x="3792" y="7053"/>
                    </a:lnTo>
                    <a:lnTo>
                      <a:pt x="4056" y="8817"/>
                    </a:lnTo>
                    <a:lnTo>
                      <a:pt x="4321" y="7318"/>
                    </a:lnTo>
                    <a:lnTo>
                      <a:pt x="4938" y="7053"/>
                    </a:lnTo>
                    <a:lnTo>
                      <a:pt x="5202" y="7935"/>
                    </a:lnTo>
                    <a:lnTo>
                      <a:pt x="4673" y="12873"/>
                    </a:lnTo>
                    <a:lnTo>
                      <a:pt x="2557" y="14371"/>
                    </a:lnTo>
                    <a:lnTo>
                      <a:pt x="2910" y="15165"/>
                    </a:lnTo>
                    <a:lnTo>
                      <a:pt x="4056" y="13490"/>
                    </a:lnTo>
                    <a:lnTo>
                      <a:pt x="4321" y="14371"/>
                    </a:lnTo>
                    <a:lnTo>
                      <a:pt x="3792" y="17810"/>
                    </a:lnTo>
                    <a:lnTo>
                      <a:pt x="2557" y="17546"/>
                    </a:lnTo>
                    <a:lnTo>
                      <a:pt x="1411" y="15165"/>
                    </a:lnTo>
                    <a:lnTo>
                      <a:pt x="2028" y="14636"/>
                    </a:lnTo>
                    <a:lnTo>
                      <a:pt x="265" y="12873"/>
                    </a:lnTo>
                    <a:lnTo>
                      <a:pt x="0" y="7935"/>
                    </a:lnTo>
                    <a:lnTo>
                      <a:pt x="265" y="7318"/>
                    </a:lnTo>
                    <a:lnTo>
                      <a:pt x="1146" y="9081"/>
                    </a:lnTo>
                    <a:lnTo>
                      <a:pt x="1675" y="7053"/>
                    </a:lnTo>
                    <a:lnTo>
                      <a:pt x="2028" y="2381"/>
                    </a:lnTo>
                    <a:lnTo>
                      <a:pt x="3439" y="0"/>
                    </a:lnTo>
                    <a:lnTo>
                      <a:pt x="379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6" name="Freihandform: Form 1975">
                <a:extLst>
                  <a:ext uri="{FF2B5EF4-FFF2-40B4-BE49-F238E27FC236}">
                    <a16:creationId xmlns:a16="http://schemas.microsoft.com/office/drawing/2014/main" id="{30CF5D3F-A1D0-515F-F3DE-81620425159B}"/>
                  </a:ext>
                </a:extLst>
              </p:cNvPr>
              <p:cNvSpPr/>
              <p:nvPr/>
            </p:nvSpPr>
            <p:spPr>
              <a:xfrm>
                <a:off x="6112790" y="3973263"/>
                <a:ext cx="6083" cy="11902"/>
              </a:xfrm>
              <a:custGeom>
                <a:avLst/>
                <a:gdLst>
                  <a:gd name="connsiteX0" fmla="*/ 4056 w 6083"/>
                  <a:gd name="connsiteY0" fmla="*/ 11903 h 11902"/>
                  <a:gd name="connsiteX1" fmla="*/ 3527 w 6083"/>
                  <a:gd name="connsiteY1" fmla="*/ 11638 h 11902"/>
                  <a:gd name="connsiteX2" fmla="*/ 2645 w 6083"/>
                  <a:gd name="connsiteY2" fmla="*/ 7847 h 11902"/>
                  <a:gd name="connsiteX3" fmla="*/ 882 w 6083"/>
                  <a:gd name="connsiteY3" fmla="*/ 5202 h 11902"/>
                  <a:gd name="connsiteX4" fmla="*/ 0 w 6083"/>
                  <a:gd name="connsiteY4" fmla="*/ 5555 h 11902"/>
                  <a:gd name="connsiteX5" fmla="*/ 529 w 6083"/>
                  <a:gd name="connsiteY5" fmla="*/ 1411 h 11902"/>
                  <a:gd name="connsiteX6" fmla="*/ 3527 w 6083"/>
                  <a:gd name="connsiteY6" fmla="*/ 0 h 11902"/>
                  <a:gd name="connsiteX7" fmla="*/ 4937 w 6083"/>
                  <a:gd name="connsiteY7" fmla="*/ 1411 h 11902"/>
                  <a:gd name="connsiteX8" fmla="*/ 6084 w 6083"/>
                  <a:gd name="connsiteY8" fmla="*/ 6965 h 11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83" h="11902">
                    <a:moveTo>
                      <a:pt x="4056" y="11903"/>
                    </a:moveTo>
                    <a:lnTo>
                      <a:pt x="3527" y="11638"/>
                    </a:lnTo>
                    <a:lnTo>
                      <a:pt x="2645" y="7847"/>
                    </a:lnTo>
                    <a:lnTo>
                      <a:pt x="882" y="5202"/>
                    </a:lnTo>
                    <a:lnTo>
                      <a:pt x="0" y="5555"/>
                    </a:lnTo>
                    <a:lnTo>
                      <a:pt x="529" y="1411"/>
                    </a:lnTo>
                    <a:lnTo>
                      <a:pt x="3527" y="0"/>
                    </a:lnTo>
                    <a:lnTo>
                      <a:pt x="4937" y="1411"/>
                    </a:lnTo>
                    <a:lnTo>
                      <a:pt x="6084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7" name="Freihandform: Form 1976">
                <a:extLst>
                  <a:ext uri="{FF2B5EF4-FFF2-40B4-BE49-F238E27FC236}">
                    <a16:creationId xmlns:a16="http://schemas.microsoft.com/office/drawing/2014/main" id="{D10552DB-F313-F287-B92F-D4758739492C}"/>
                  </a:ext>
                </a:extLst>
              </p:cNvPr>
              <p:cNvSpPr/>
              <p:nvPr/>
            </p:nvSpPr>
            <p:spPr>
              <a:xfrm>
                <a:off x="6084488" y="3883419"/>
                <a:ext cx="4673" cy="9345"/>
              </a:xfrm>
              <a:custGeom>
                <a:avLst/>
                <a:gdLst>
                  <a:gd name="connsiteX0" fmla="*/ 3174 w 4673"/>
                  <a:gd name="connsiteY0" fmla="*/ 9346 h 9345"/>
                  <a:gd name="connsiteX1" fmla="*/ 265 w 4673"/>
                  <a:gd name="connsiteY1" fmla="*/ 9081 h 9345"/>
                  <a:gd name="connsiteX2" fmla="*/ 0 w 4673"/>
                  <a:gd name="connsiteY2" fmla="*/ 2909 h 9345"/>
                  <a:gd name="connsiteX3" fmla="*/ 2910 w 4673"/>
                  <a:gd name="connsiteY3" fmla="*/ 0 h 9345"/>
                  <a:gd name="connsiteX4" fmla="*/ 3792 w 4673"/>
                  <a:gd name="connsiteY4" fmla="*/ 617 h 9345"/>
                  <a:gd name="connsiteX5" fmla="*/ 4673 w 4673"/>
                  <a:gd name="connsiteY5" fmla="*/ 2909 h 9345"/>
                  <a:gd name="connsiteX6" fmla="*/ 4408 w 4673"/>
                  <a:gd name="connsiteY6" fmla="*/ 5819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3" h="9345">
                    <a:moveTo>
                      <a:pt x="3174" y="9346"/>
                    </a:moveTo>
                    <a:lnTo>
                      <a:pt x="265" y="9081"/>
                    </a:lnTo>
                    <a:lnTo>
                      <a:pt x="0" y="2909"/>
                    </a:lnTo>
                    <a:lnTo>
                      <a:pt x="2910" y="0"/>
                    </a:lnTo>
                    <a:lnTo>
                      <a:pt x="3792" y="617"/>
                    </a:lnTo>
                    <a:lnTo>
                      <a:pt x="4673" y="2909"/>
                    </a:lnTo>
                    <a:lnTo>
                      <a:pt x="4408" y="581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8" name="Freihandform: Form 1977">
                <a:extLst>
                  <a:ext uri="{FF2B5EF4-FFF2-40B4-BE49-F238E27FC236}">
                    <a16:creationId xmlns:a16="http://schemas.microsoft.com/office/drawing/2014/main" id="{0DF2CC5F-344C-64F6-F1B7-FE818B898A63}"/>
                  </a:ext>
                </a:extLst>
              </p:cNvPr>
              <p:cNvSpPr/>
              <p:nvPr/>
            </p:nvSpPr>
            <p:spPr>
              <a:xfrm>
                <a:off x="6092335" y="3817822"/>
                <a:ext cx="8199" cy="31211"/>
              </a:xfrm>
              <a:custGeom>
                <a:avLst/>
                <a:gdLst>
                  <a:gd name="connsiteX0" fmla="*/ 3527 w 8199"/>
                  <a:gd name="connsiteY0" fmla="*/ 16311 h 31211"/>
                  <a:gd name="connsiteX1" fmla="*/ 5290 w 8199"/>
                  <a:gd name="connsiteY1" fmla="*/ 17457 h 31211"/>
                  <a:gd name="connsiteX2" fmla="*/ 6172 w 8199"/>
                  <a:gd name="connsiteY2" fmla="*/ 25304 h 31211"/>
                  <a:gd name="connsiteX3" fmla="*/ 4937 w 8199"/>
                  <a:gd name="connsiteY3" fmla="*/ 28302 h 31211"/>
                  <a:gd name="connsiteX4" fmla="*/ 3262 w 8199"/>
                  <a:gd name="connsiteY4" fmla="*/ 27949 h 31211"/>
                  <a:gd name="connsiteX5" fmla="*/ 3262 w 8199"/>
                  <a:gd name="connsiteY5" fmla="*/ 29095 h 31211"/>
                  <a:gd name="connsiteX6" fmla="*/ 4408 w 8199"/>
                  <a:gd name="connsiteY6" fmla="*/ 30330 h 31211"/>
                  <a:gd name="connsiteX7" fmla="*/ 4144 w 8199"/>
                  <a:gd name="connsiteY7" fmla="*/ 31212 h 31211"/>
                  <a:gd name="connsiteX8" fmla="*/ 1763 w 8199"/>
                  <a:gd name="connsiteY8" fmla="*/ 31212 h 31211"/>
                  <a:gd name="connsiteX9" fmla="*/ 617 w 8199"/>
                  <a:gd name="connsiteY9" fmla="*/ 30859 h 31211"/>
                  <a:gd name="connsiteX10" fmla="*/ 0 w 8199"/>
                  <a:gd name="connsiteY10" fmla="*/ 28566 h 31211"/>
                  <a:gd name="connsiteX11" fmla="*/ 0 w 8199"/>
                  <a:gd name="connsiteY11" fmla="*/ 23894 h 31211"/>
                  <a:gd name="connsiteX12" fmla="*/ 1499 w 8199"/>
                  <a:gd name="connsiteY12" fmla="*/ 22395 h 31211"/>
                  <a:gd name="connsiteX13" fmla="*/ 617 w 8199"/>
                  <a:gd name="connsiteY13" fmla="*/ 19221 h 31211"/>
                  <a:gd name="connsiteX14" fmla="*/ 1763 w 8199"/>
                  <a:gd name="connsiteY14" fmla="*/ 16576 h 31211"/>
                  <a:gd name="connsiteX15" fmla="*/ 2645 w 8199"/>
                  <a:gd name="connsiteY15" fmla="*/ 14548 h 31211"/>
                  <a:gd name="connsiteX16" fmla="*/ 2645 w 8199"/>
                  <a:gd name="connsiteY16" fmla="*/ 11021 h 31211"/>
                  <a:gd name="connsiteX17" fmla="*/ 3791 w 8199"/>
                  <a:gd name="connsiteY17" fmla="*/ 2910 h 31211"/>
                  <a:gd name="connsiteX18" fmla="*/ 7318 w 8199"/>
                  <a:gd name="connsiteY18" fmla="*/ 0 h 31211"/>
                  <a:gd name="connsiteX19" fmla="*/ 7582 w 8199"/>
                  <a:gd name="connsiteY19" fmla="*/ 1146 h 31211"/>
                  <a:gd name="connsiteX20" fmla="*/ 7318 w 8199"/>
                  <a:gd name="connsiteY20" fmla="*/ 5202 h 31211"/>
                  <a:gd name="connsiteX21" fmla="*/ 6437 w 8199"/>
                  <a:gd name="connsiteY21" fmla="*/ 6084 h 31211"/>
                  <a:gd name="connsiteX22" fmla="*/ 8200 w 8199"/>
                  <a:gd name="connsiteY22" fmla="*/ 7582 h 31211"/>
                  <a:gd name="connsiteX23" fmla="*/ 6172 w 8199"/>
                  <a:gd name="connsiteY23" fmla="*/ 13401 h 31211"/>
                  <a:gd name="connsiteX24" fmla="*/ 4937 w 8199"/>
                  <a:gd name="connsiteY24" fmla="*/ 12255 h 31211"/>
                  <a:gd name="connsiteX25" fmla="*/ 4673 w 8199"/>
                  <a:gd name="connsiteY25" fmla="*/ 13666 h 31211"/>
                  <a:gd name="connsiteX26" fmla="*/ 5555 w 8199"/>
                  <a:gd name="connsiteY26" fmla="*/ 14812 h 31211"/>
                  <a:gd name="connsiteX27" fmla="*/ 4673 w 8199"/>
                  <a:gd name="connsiteY27" fmla="*/ 14548 h 31211"/>
                  <a:gd name="connsiteX28" fmla="*/ 3791 w 8199"/>
                  <a:gd name="connsiteY28" fmla="*/ 15694 h 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199" h="31211">
                    <a:moveTo>
                      <a:pt x="3527" y="16311"/>
                    </a:moveTo>
                    <a:lnTo>
                      <a:pt x="5290" y="17457"/>
                    </a:lnTo>
                    <a:lnTo>
                      <a:pt x="6172" y="25304"/>
                    </a:lnTo>
                    <a:lnTo>
                      <a:pt x="4937" y="28302"/>
                    </a:lnTo>
                    <a:lnTo>
                      <a:pt x="3262" y="27949"/>
                    </a:lnTo>
                    <a:lnTo>
                      <a:pt x="3262" y="29095"/>
                    </a:lnTo>
                    <a:lnTo>
                      <a:pt x="4408" y="30330"/>
                    </a:lnTo>
                    <a:lnTo>
                      <a:pt x="4144" y="31212"/>
                    </a:lnTo>
                    <a:lnTo>
                      <a:pt x="1763" y="31212"/>
                    </a:lnTo>
                    <a:lnTo>
                      <a:pt x="617" y="30859"/>
                    </a:lnTo>
                    <a:lnTo>
                      <a:pt x="0" y="28566"/>
                    </a:lnTo>
                    <a:lnTo>
                      <a:pt x="0" y="23894"/>
                    </a:lnTo>
                    <a:lnTo>
                      <a:pt x="1499" y="22395"/>
                    </a:lnTo>
                    <a:lnTo>
                      <a:pt x="617" y="19221"/>
                    </a:lnTo>
                    <a:lnTo>
                      <a:pt x="1763" y="16576"/>
                    </a:lnTo>
                    <a:lnTo>
                      <a:pt x="2645" y="14548"/>
                    </a:lnTo>
                    <a:lnTo>
                      <a:pt x="2645" y="11021"/>
                    </a:lnTo>
                    <a:lnTo>
                      <a:pt x="3791" y="2910"/>
                    </a:lnTo>
                    <a:lnTo>
                      <a:pt x="7318" y="0"/>
                    </a:lnTo>
                    <a:lnTo>
                      <a:pt x="7582" y="1146"/>
                    </a:lnTo>
                    <a:lnTo>
                      <a:pt x="7318" y="5202"/>
                    </a:lnTo>
                    <a:lnTo>
                      <a:pt x="6437" y="6084"/>
                    </a:lnTo>
                    <a:lnTo>
                      <a:pt x="8200" y="7582"/>
                    </a:lnTo>
                    <a:lnTo>
                      <a:pt x="6172" y="13401"/>
                    </a:lnTo>
                    <a:lnTo>
                      <a:pt x="4937" y="12255"/>
                    </a:lnTo>
                    <a:lnTo>
                      <a:pt x="4673" y="13666"/>
                    </a:lnTo>
                    <a:lnTo>
                      <a:pt x="5555" y="14812"/>
                    </a:lnTo>
                    <a:lnTo>
                      <a:pt x="4673" y="14548"/>
                    </a:lnTo>
                    <a:lnTo>
                      <a:pt x="3791" y="1569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9" name="Freihandform: Form 1978">
                <a:extLst>
                  <a:ext uri="{FF2B5EF4-FFF2-40B4-BE49-F238E27FC236}">
                    <a16:creationId xmlns:a16="http://schemas.microsoft.com/office/drawing/2014/main" id="{BE4F4CEC-7F96-EA04-B8A9-834E7F94E6FA}"/>
                  </a:ext>
                </a:extLst>
              </p:cNvPr>
              <p:cNvSpPr/>
              <p:nvPr/>
            </p:nvSpPr>
            <p:spPr>
              <a:xfrm>
                <a:off x="6175742" y="4075626"/>
                <a:ext cx="17192" cy="14283"/>
              </a:xfrm>
              <a:custGeom>
                <a:avLst/>
                <a:gdLst>
                  <a:gd name="connsiteX0" fmla="*/ 14018 w 17192"/>
                  <a:gd name="connsiteY0" fmla="*/ 14283 h 14283"/>
                  <a:gd name="connsiteX1" fmla="*/ 8200 w 17192"/>
                  <a:gd name="connsiteY1" fmla="*/ 9081 h 14283"/>
                  <a:gd name="connsiteX2" fmla="*/ 6172 w 17192"/>
                  <a:gd name="connsiteY2" fmla="*/ 8200 h 14283"/>
                  <a:gd name="connsiteX3" fmla="*/ 4144 w 17192"/>
                  <a:gd name="connsiteY3" fmla="*/ 7847 h 14283"/>
                  <a:gd name="connsiteX4" fmla="*/ 2645 w 17192"/>
                  <a:gd name="connsiteY4" fmla="*/ 6965 h 14283"/>
                  <a:gd name="connsiteX5" fmla="*/ 881 w 17192"/>
                  <a:gd name="connsiteY5" fmla="*/ 4408 h 14283"/>
                  <a:gd name="connsiteX6" fmla="*/ 0 w 17192"/>
                  <a:gd name="connsiteY6" fmla="*/ 3791 h 14283"/>
                  <a:gd name="connsiteX7" fmla="*/ 0 w 17192"/>
                  <a:gd name="connsiteY7" fmla="*/ 2910 h 14283"/>
                  <a:gd name="connsiteX8" fmla="*/ 2116 w 17192"/>
                  <a:gd name="connsiteY8" fmla="*/ 0 h 14283"/>
                  <a:gd name="connsiteX9" fmla="*/ 4673 w 17192"/>
                  <a:gd name="connsiteY9" fmla="*/ 1411 h 14283"/>
                  <a:gd name="connsiteX10" fmla="*/ 5026 w 17192"/>
                  <a:gd name="connsiteY10" fmla="*/ 2292 h 14283"/>
                  <a:gd name="connsiteX11" fmla="*/ 9346 w 17192"/>
                  <a:gd name="connsiteY11" fmla="*/ 4673 h 14283"/>
                  <a:gd name="connsiteX12" fmla="*/ 8729 w 17192"/>
                  <a:gd name="connsiteY12" fmla="*/ 6965 h 14283"/>
                  <a:gd name="connsiteX13" fmla="*/ 10227 w 17192"/>
                  <a:gd name="connsiteY13" fmla="*/ 6084 h 14283"/>
                  <a:gd name="connsiteX14" fmla="*/ 14900 w 17192"/>
                  <a:gd name="connsiteY14" fmla="*/ 11374 h 14283"/>
                  <a:gd name="connsiteX15" fmla="*/ 16047 w 17192"/>
                  <a:gd name="connsiteY15" fmla="*/ 10492 h 14283"/>
                  <a:gd name="connsiteX16" fmla="*/ 17193 w 17192"/>
                  <a:gd name="connsiteY16" fmla="*/ 13666 h 14283"/>
                  <a:gd name="connsiteX17" fmla="*/ 16664 w 17192"/>
                  <a:gd name="connsiteY17" fmla="*/ 14283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192" h="14283">
                    <a:moveTo>
                      <a:pt x="14018" y="14283"/>
                    </a:moveTo>
                    <a:lnTo>
                      <a:pt x="8200" y="9081"/>
                    </a:lnTo>
                    <a:lnTo>
                      <a:pt x="6172" y="8200"/>
                    </a:lnTo>
                    <a:lnTo>
                      <a:pt x="4144" y="7847"/>
                    </a:lnTo>
                    <a:lnTo>
                      <a:pt x="2645" y="6965"/>
                    </a:lnTo>
                    <a:lnTo>
                      <a:pt x="881" y="4408"/>
                    </a:lnTo>
                    <a:lnTo>
                      <a:pt x="0" y="3791"/>
                    </a:lnTo>
                    <a:lnTo>
                      <a:pt x="0" y="2910"/>
                    </a:lnTo>
                    <a:lnTo>
                      <a:pt x="2116" y="0"/>
                    </a:lnTo>
                    <a:lnTo>
                      <a:pt x="4673" y="1411"/>
                    </a:lnTo>
                    <a:lnTo>
                      <a:pt x="5026" y="2292"/>
                    </a:lnTo>
                    <a:lnTo>
                      <a:pt x="9346" y="4673"/>
                    </a:lnTo>
                    <a:lnTo>
                      <a:pt x="8729" y="6965"/>
                    </a:lnTo>
                    <a:lnTo>
                      <a:pt x="10227" y="6084"/>
                    </a:lnTo>
                    <a:lnTo>
                      <a:pt x="14900" y="11374"/>
                    </a:lnTo>
                    <a:lnTo>
                      <a:pt x="16047" y="10492"/>
                    </a:lnTo>
                    <a:lnTo>
                      <a:pt x="17193" y="13666"/>
                    </a:lnTo>
                    <a:lnTo>
                      <a:pt x="16664" y="142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0" name="Freihandform: Form 1979">
                <a:extLst>
                  <a:ext uri="{FF2B5EF4-FFF2-40B4-BE49-F238E27FC236}">
                    <a16:creationId xmlns:a16="http://schemas.microsoft.com/office/drawing/2014/main" id="{65F5792B-9619-4D5C-57A9-8F68B283D10F}"/>
                  </a:ext>
                </a:extLst>
              </p:cNvPr>
              <p:cNvSpPr/>
              <p:nvPr/>
            </p:nvSpPr>
            <p:spPr>
              <a:xfrm>
                <a:off x="6205543" y="4110012"/>
                <a:ext cx="19220" cy="24246"/>
              </a:xfrm>
              <a:custGeom>
                <a:avLst/>
                <a:gdLst>
                  <a:gd name="connsiteX0" fmla="*/ 16576 w 19220"/>
                  <a:gd name="connsiteY0" fmla="*/ 24246 h 24246"/>
                  <a:gd name="connsiteX1" fmla="*/ 14283 w 19220"/>
                  <a:gd name="connsiteY1" fmla="*/ 23629 h 24246"/>
                  <a:gd name="connsiteX2" fmla="*/ 12256 w 19220"/>
                  <a:gd name="connsiteY2" fmla="*/ 17546 h 24246"/>
                  <a:gd name="connsiteX3" fmla="*/ 9346 w 19220"/>
                  <a:gd name="connsiteY3" fmla="*/ 14636 h 24246"/>
                  <a:gd name="connsiteX4" fmla="*/ 7230 w 19220"/>
                  <a:gd name="connsiteY4" fmla="*/ 14636 h 24246"/>
                  <a:gd name="connsiteX5" fmla="*/ 7582 w 19220"/>
                  <a:gd name="connsiteY5" fmla="*/ 13137 h 24246"/>
                  <a:gd name="connsiteX6" fmla="*/ 3791 w 19220"/>
                  <a:gd name="connsiteY6" fmla="*/ 6436 h 24246"/>
                  <a:gd name="connsiteX7" fmla="*/ 0 w 19220"/>
                  <a:gd name="connsiteY7" fmla="*/ 3527 h 24246"/>
                  <a:gd name="connsiteX8" fmla="*/ 264 w 19220"/>
                  <a:gd name="connsiteY8" fmla="*/ 2645 h 24246"/>
                  <a:gd name="connsiteX9" fmla="*/ 4055 w 19220"/>
                  <a:gd name="connsiteY9" fmla="*/ 2910 h 24246"/>
                  <a:gd name="connsiteX10" fmla="*/ 6084 w 19220"/>
                  <a:gd name="connsiteY10" fmla="*/ 1146 h 24246"/>
                  <a:gd name="connsiteX11" fmla="*/ 6084 w 19220"/>
                  <a:gd name="connsiteY11" fmla="*/ 0 h 24246"/>
                  <a:gd name="connsiteX12" fmla="*/ 9346 w 19220"/>
                  <a:gd name="connsiteY12" fmla="*/ 1499 h 24246"/>
                  <a:gd name="connsiteX13" fmla="*/ 13666 w 19220"/>
                  <a:gd name="connsiteY13" fmla="*/ 8464 h 24246"/>
                  <a:gd name="connsiteX14" fmla="*/ 18339 w 19220"/>
                  <a:gd name="connsiteY14" fmla="*/ 11991 h 24246"/>
                  <a:gd name="connsiteX15" fmla="*/ 19221 w 19220"/>
                  <a:gd name="connsiteY15" fmla="*/ 13754 h 24246"/>
                  <a:gd name="connsiteX16" fmla="*/ 18692 w 19220"/>
                  <a:gd name="connsiteY16" fmla="*/ 14900 h 24246"/>
                  <a:gd name="connsiteX17" fmla="*/ 18074 w 19220"/>
                  <a:gd name="connsiteY17" fmla="*/ 19838 h 24246"/>
                  <a:gd name="connsiteX18" fmla="*/ 18074 w 19220"/>
                  <a:gd name="connsiteY18" fmla="*/ 21866 h 24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220" h="24246">
                    <a:moveTo>
                      <a:pt x="16576" y="24246"/>
                    </a:moveTo>
                    <a:lnTo>
                      <a:pt x="14283" y="23629"/>
                    </a:lnTo>
                    <a:lnTo>
                      <a:pt x="12256" y="17546"/>
                    </a:lnTo>
                    <a:lnTo>
                      <a:pt x="9346" y="14636"/>
                    </a:lnTo>
                    <a:lnTo>
                      <a:pt x="7230" y="14636"/>
                    </a:lnTo>
                    <a:lnTo>
                      <a:pt x="7582" y="13137"/>
                    </a:lnTo>
                    <a:lnTo>
                      <a:pt x="3791" y="6436"/>
                    </a:lnTo>
                    <a:lnTo>
                      <a:pt x="0" y="3527"/>
                    </a:lnTo>
                    <a:lnTo>
                      <a:pt x="264" y="2645"/>
                    </a:lnTo>
                    <a:lnTo>
                      <a:pt x="4055" y="2910"/>
                    </a:lnTo>
                    <a:lnTo>
                      <a:pt x="6084" y="1146"/>
                    </a:lnTo>
                    <a:lnTo>
                      <a:pt x="6084" y="0"/>
                    </a:lnTo>
                    <a:lnTo>
                      <a:pt x="9346" y="1499"/>
                    </a:lnTo>
                    <a:lnTo>
                      <a:pt x="13666" y="8464"/>
                    </a:lnTo>
                    <a:lnTo>
                      <a:pt x="18339" y="11991"/>
                    </a:lnTo>
                    <a:lnTo>
                      <a:pt x="19221" y="13754"/>
                    </a:lnTo>
                    <a:lnTo>
                      <a:pt x="18692" y="14900"/>
                    </a:lnTo>
                    <a:lnTo>
                      <a:pt x="18074" y="19838"/>
                    </a:lnTo>
                    <a:lnTo>
                      <a:pt x="18074" y="218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1" name="Freihandform: Form 1980">
                <a:extLst>
                  <a:ext uri="{FF2B5EF4-FFF2-40B4-BE49-F238E27FC236}">
                    <a16:creationId xmlns:a16="http://schemas.microsoft.com/office/drawing/2014/main" id="{29300DB8-F080-8841-40E2-4A9D336F48A7}"/>
                  </a:ext>
                </a:extLst>
              </p:cNvPr>
              <p:cNvSpPr/>
              <p:nvPr/>
            </p:nvSpPr>
            <p:spPr>
              <a:xfrm>
                <a:off x="6233228" y="4156653"/>
                <a:ext cx="5554" cy="8199"/>
              </a:xfrm>
              <a:custGeom>
                <a:avLst/>
                <a:gdLst>
                  <a:gd name="connsiteX0" fmla="*/ 3526 w 5554"/>
                  <a:gd name="connsiteY0" fmla="*/ 8200 h 8199"/>
                  <a:gd name="connsiteX1" fmla="*/ 264 w 5554"/>
                  <a:gd name="connsiteY1" fmla="*/ 6789 h 8199"/>
                  <a:gd name="connsiteX2" fmla="*/ 1763 w 5554"/>
                  <a:gd name="connsiteY2" fmla="*/ 5290 h 8199"/>
                  <a:gd name="connsiteX3" fmla="*/ 264 w 5554"/>
                  <a:gd name="connsiteY3" fmla="*/ 2645 h 8199"/>
                  <a:gd name="connsiteX4" fmla="*/ 0 w 5554"/>
                  <a:gd name="connsiteY4" fmla="*/ 617 h 8199"/>
                  <a:gd name="connsiteX5" fmla="*/ 3526 w 5554"/>
                  <a:gd name="connsiteY5" fmla="*/ 0 h 8199"/>
                  <a:gd name="connsiteX6" fmla="*/ 4055 w 5554"/>
                  <a:gd name="connsiteY6" fmla="*/ 0 h 8199"/>
                  <a:gd name="connsiteX7" fmla="*/ 5554 w 5554"/>
                  <a:gd name="connsiteY7" fmla="*/ 3879 h 8199"/>
                  <a:gd name="connsiteX8" fmla="*/ 5202 w 5554"/>
                  <a:gd name="connsiteY8" fmla="*/ 5290 h 8199"/>
                  <a:gd name="connsiteX9" fmla="*/ 5202 w 5554"/>
                  <a:gd name="connsiteY9" fmla="*/ 7318 h 8199"/>
                  <a:gd name="connsiteX10" fmla="*/ 4408 w 5554"/>
                  <a:gd name="connsiteY10" fmla="*/ 7671 h 8199"/>
                  <a:gd name="connsiteX11" fmla="*/ 4408 w 5554"/>
                  <a:gd name="connsiteY11" fmla="*/ 6789 h 8199"/>
                  <a:gd name="connsiteX12" fmla="*/ 3526 w 5554"/>
                  <a:gd name="connsiteY12" fmla="*/ 705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554" h="8199">
                    <a:moveTo>
                      <a:pt x="3526" y="8200"/>
                    </a:moveTo>
                    <a:lnTo>
                      <a:pt x="264" y="6789"/>
                    </a:lnTo>
                    <a:lnTo>
                      <a:pt x="1763" y="5290"/>
                    </a:lnTo>
                    <a:lnTo>
                      <a:pt x="264" y="2645"/>
                    </a:lnTo>
                    <a:lnTo>
                      <a:pt x="0" y="617"/>
                    </a:lnTo>
                    <a:lnTo>
                      <a:pt x="3526" y="0"/>
                    </a:lnTo>
                    <a:lnTo>
                      <a:pt x="4055" y="0"/>
                    </a:lnTo>
                    <a:lnTo>
                      <a:pt x="5554" y="3879"/>
                    </a:lnTo>
                    <a:lnTo>
                      <a:pt x="5202" y="5290"/>
                    </a:lnTo>
                    <a:lnTo>
                      <a:pt x="5202" y="7318"/>
                    </a:lnTo>
                    <a:lnTo>
                      <a:pt x="4408" y="7671"/>
                    </a:lnTo>
                    <a:lnTo>
                      <a:pt x="4408" y="6789"/>
                    </a:lnTo>
                    <a:lnTo>
                      <a:pt x="3526" y="705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2" name="Freihandform: Form 1981">
                <a:extLst>
                  <a:ext uri="{FF2B5EF4-FFF2-40B4-BE49-F238E27FC236}">
                    <a16:creationId xmlns:a16="http://schemas.microsoft.com/office/drawing/2014/main" id="{0A994DCA-C042-E06A-5D55-BE132F76F506}"/>
                  </a:ext>
                </a:extLst>
              </p:cNvPr>
              <p:cNvSpPr/>
              <p:nvPr/>
            </p:nvSpPr>
            <p:spPr>
              <a:xfrm>
                <a:off x="6239664" y="4172700"/>
                <a:ext cx="15164" cy="21601"/>
              </a:xfrm>
              <a:custGeom>
                <a:avLst/>
                <a:gdLst>
                  <a:gd name="connsiteX0" fmla="*/ 11374 w 15164"/>
                  <a:gd name="connsiteY0" fmla="*/ 21601 h 21601"/>
                  <a:gd name="connsiteX1" fmla="*/ 6436 w 15164"/>
                  <a:gd name="connsiteY1" fmla="*/ 18427 h 21601"/>
                  <a:gd name="connsiteX2" fmla="*/ 881 w 15164"/>
                  <a:gd name="connsiteY2" fmla="*/ 8464 h 21601"/>
                  <a:gd name="connsiteX3" fmla="*/ 0 w 15164"/>
                  <a:gd name="connsiteY3" fmla="*/ 6436 h 21601"/>
                  <a:gd name="connsiteX4" fmla="*/ 1410 w 15164"/>
                  <a:gd name="connsiteY4" fmla="*/ 1234 h 21601"/>
                  <a:gd name="connsiteX5" fmla="*/ 2292 w 15164"/>
                  <a:gd name="connsiteY5" fmla="*/ 353 h 21601"/>
                  <a:gd name="connsiteX6" fmla="*/ 5819 w 15164"/>
                  <a:gd name="connsiteY6" fmla="*/ 0 h 21601"/>
                  <a:gd name="connsiteX7" fmla="*/ 7318 w 15164"/>
                  <a:gd name="connsiteY7" fmla="*/ 353 h 21601"/>
                  <a:gd name="connsiteX8" fmla="*/ 7582 w 15164"/>
                  <a:gd name="connsiteY8" fmla="*/ 1763 h 21601"/>
                  <a:gd name="connsiteX9" fmla="*/ 7318 w 15164"/>
                  <a:gd name="connsiteY9" fmla="*/ 3262 h 21601"/>
                  <a:gd name="connsiteX10" fmla="*/ 10227 w 15164"/>
                  <a:gd name="connsiteY10" fmla="*/ 7671 h 21601"/>
                  <a:gd name="connsiteX11" fmla="*/ 11374 w 15164"/>
                  <a:gd name="connsiteY11" fmla="*/ 10845 h 21601"/>
                  <a:gd name="connsiteX12" fmla="*/ 12520 w 15164"/>
                  <a:gd name="connsiteY12" fmla="*/ 11726 h 21601"/>
                  <a:gd name="connsiteX13" fmla="*/ 12520 w 15164"/>
                  <a:gd name="connsiteY13" fmla="*/ 12873 h 21601"/>
                  <a:gd name="connsiteX14" fmla="*/ 11638 w 15164"/>
                  <a:gd name="connsiteY14" fmla="*/ 12608 h 21601"/>
                  <a:gd name="connsiteX15" fmla="*/ 15165 w 15164"/>
                  <a:gd name="connsiteY15" fmla="*/ 18427 h 21601"/>
                  <a:gd name="connsiteX16" fmla="*/ 15165 w 15164"/>
                  <a:gd name="connsiteY16" fmla="*/ 19838 h 21601"/>
                  <a:gd name="connsiteX17" fmla="*/ 14018 w 15164"/>
                  <a:gd name="connsiteY17" fmla="*/ 16928 h 21601"/>
                  <a:gd name="connsiteX18" fmla="*/ 13666 w 15164"/>
                  <a:gd name="connsiteY18" fmla="*/ 17810 h 21601"/>
                  <a:gd name="connsiteX19" fmla="*/ 14547 w 15164"/>
                  <a:gd name="connsiteY19" fmla="*/ 20455 h 21601"/>
                  <a:gd name="connsiteX20" fmla="*/ 13137 w 15164"/>
                  <a:gd name="connsiteY20" fmla="*/ 20720 h 21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5164" h="21601">
                    <a:moveTo>
                      <a:pt x="11374" y="21601"/>
                    </a:moveTo>
                    <a:lnTo>
                      <a:pt x="6436" y="18427"/>
                    </a:lnTo>
                    <a:lnTo>
                      <a:pt x="881" y="8464"/>
                    </a:lnTo>
                    <a:lnTo>
                      <a:pt x="0" y="6436"/>
                    </a:lnTo>
                    <a:lnTo>
                      <a:pt x="1410" y="1234"/>
                    </a:lnTo>
                    <a:lnTo>
                      <a:pt x="2292" y="353"/>
                    </a:lnTo>
                    <a:lnTo>
                      <a:pt x="5819" y="0"/>
                    </a:lnTo>
                    <a:lnTo>
                      <a:pt x="7318" y="353"/>
                    </a:lnTo>
                    <a:lnTo>
                      <a:pt x="7582" y="1763"/>
                    </a:lnTo>
                    <a:lnTo>
                      <a:pt x="7318" y="3262"/>
                    </a:lnTo>
                    <a:lnTo>
                      <a:pt x="10227" y="7671"/>
                    </a:lnTo>
                    <a:lnTo>
                      <a:pt x="11374" y="10845"/>
                    </a:lnTo>
                    <a:lnTo>
                      <a:pt x="12520" y="11726"/>
                    </a:lnTo>
                    <a:lnTo>
                      <a:pt x="12520" y="12873"/>
                    </a:lnTo>
                    <a:lnTo>
                      <a:pt x="11638" y="12608"/>
                    </a:lnTo>
                    <a:lnTo>
                      <a:pt x="15165" y="18427"/>
                    </a:lnTo>
                    <a:lnTo>
                      <a:pt x="15165" y="19838"/>
                    </a:lnTo>
                    <a:lnTo>
                      <a:pt x="14018" y="16928"/>
                    </a:lnTo>
                    <a:lnTo>
                      <a:pt x="13666" y="17810"/>
                    </a:lnTo>
                    <a:lnTo>
                      <a:pt x="14547" y="20455"/>
                    </a:lnTo>
                    <a:lnTo>
                      <a:pt x="13137" y="207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3" name="Freihandform: Form 1982">
                <a:extLst>
                  <a:ext uri="{FF2B5EF4-FFF2-40B4-BE49-F238E27FC236}">
                    <a16:creationId xmlns:a16="http://schemas.microsoft.com/office/drawing/2014/main" id="{75EE43AA-0EA6-87BF-FEC9-14C37743E799}"/>
                  </a:ext>
                </a:extLst>
              </p:cNvPr>
              <p:cNvSpPr/>
              <p:nvPr/>
            </p:nvSpPr>
            <p:spPr>
              <a:xfrm>
                <a:off x="6271405" y="4217666"/>
                <a:ext cx="6789" cy="13137"/>
              </a:xfrm>
              <a:custGeom>
                <a:avLst/>
                <a:gdLst>
                  <a:gd name="connsiteX0" fmla="*/ 5908 w 6789"/>
                  <a:gd name="connsiteY0" fmla="*/ 13137 h 13137"/>
                  <a:gd name="connsiteX1" fmla="*/ 3527 w 6789"/>
                  <a:gd name="connsiteY1" fmla="*/ 9610 h 13137"/>
                  <a:gd name="connsiteX2" fmla="*/ 3527 w 6789"/>
                  <a:gd name="connsiteY2" fmla="*/ 8464 h 13137"/>
                  <a:gd name="connsiteX3" fmla="*/ 617 w 6789"/>
                  <a:gd name="connsiteY3" fmla="*/ 5202 h 13137"/>
                  <a:gd name="connsiteX4" fmla="*/ 0 w 6789"/>
                  <a:gd name="connsiteY4" fmla="*/ 617 h 13137"/>
                  <a:gd name="connsiteX5" fmla="*/ 882 w 6789"/>
                  <a:gd name="connsiteY5" fmla="*/ 0 h 13137"/>
                  <a:gd name="connsiteX6" fmla="*/ 1763 w 6789"/>
                  <a:gd name="connsiteY6" fmla="*/ 264 h 13137"/>
                  <a:gd name="connsiteX7" fmla="*/ 6437 w 6789"/>
                  <a:gd name="connsiteY7" fmla="*/ 6965 h 13137"/>
                  <a:gd name="connsiteX8" fmla="*/ 6789 w 6789"/>
                  <a:gd name="connsiteY8" fmla="*/ 8200 h 13137"/>
                  <a:gd name="connsiteX9" fmla="*/ 5026 w 6789"/>
                  <a:gd name="connsiteY9" fmla="*/ 9610 h 13137"/>
                  <a:gd name="connsiteX10" fmla="*/ 6789 w 6789"/>
                  <a:gd name="connsiteY10" fmla="*/ 13137 h 13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789" h="13137">
                    <a:moveTo>
                      <a:pt x="5908" y="13137"/>
                    </a:moveTo>
                    <a:lnTo>
                      <a:pt x="3527" y="9610"/>
                    </a:lnTo>
                    <a:lnTo>
                      <a:pt x="3527" y="8464"/>
                    </a:lnTo>
                    <a:lnTo>
                      <a:pt x="617" y="5202"/>
                    </a:lnTo>
                    <a:lnTo>
                      <a:pt x="0" y="617"/>
                    </a:lnTo>
                    <a:lnTo>
                      <a:pt x="882" y="0"/>
                    </a:lnTo>
                    <a:lnTo>
                      <a:pt x="1763" y="264"/>
                    </a:lnTo>
                    <a:lnTo>
                      <a:pt x="6437" y="6965"/>
                    </a:lnTo>
                    <a:lnTo>
                      <a:pt x="6789" y="8200"/>
                    </a:lnTo>
                    <a:lnTo>
                      <a:pt x="5026" y="9610"/>
                    </a:lnTo>
                    <a:lnTo>
                      <a:pt x="6789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4" name="Freihandform: Form 1983">
                <a:extLst>
                  <a:ext uri="{FF2B5EF4-FFF2-40B4-BE49-F238E27FC236}">
                    <a16:creationId xmlns:a16="http://schemas.microsoft.com/office/drawing/2014/main" id="{1976D3BA-771E-F107-B820-EDD6C5D58CD4}"/>
                  </a:ext>
                </a:extLst>
              </p:cNvPr>
              <p:cNvSpPr/>
              <p:nvPr/>
            </p:nvSpPr>
            <p:spPr>
              <a:xfrm>
                <a:off x="6257122" y="4198092"/>
                <a:ext cx="7318" cy="8816"/>
              </a:xfrm>
              <a:custGeom>
                <a:avLst/>
                <a:gdLst>
                  <a:gd name="connsiteX0" fmla="*/ 7318 w 7318"/>
                  <a:gd name="connsiteY0" fmla="*/ 8817 h 8816"/>
                  <a:gd name="connsiteX1" fmla="*/ 882 w 7318"/>
                  <a:gd name="connsiteY1" fmla="*/ 5025 h 8816"/>
                  <a:gd name="connsiteX2" fmla="*/ 0 w 7318"/>
                  <a:gd name="connsiteY2" fmla="*/ 3262 h 8816"/>
                  <a:gd name="connsiteX3" fmla="*/ 353 w 7318"/>
                  <a:gd name="connsiteY3" fmla="*/ 881 h 8816"/>
                  <a:gd name="connsiteX4" fmla="*/ 1763 w 7318"/>
                  <a:gd name="connsiteY4" fmla="*/ 0 h 8816"/>
                  <a:gd name="connsiteX5" fmla="*/ 3262 w 7318"/>
                  <a:gd name="connsiteY5" fmla="*/ 1234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318" h="8816">
                    <a:moveTo>
                      <a:pt x="7318" y="8817"/>
                    </a:moveTo>
                    <a:lnTo>
                      <a:pt x="882" y="5025"/>
                    </a:lnTo>
                    <a:lnTo>
                      <a:pt x="0" y="3262"/>
                    </a:lnTo>
                    <a:lnTo>
                      <a:pt x="353" y="881"/>
                    </a:lnTo>
                    <a:lnTo>
                      <a:pt x="1763" y="0"/>
                    </a:lnTo>
                    <a:lnTo>
                      <a:pt x="3262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5" name="Freihandform: Form 1984">
                <a:extLst>
                  <a:ext uri="{FF2B5EF4-FFF2-40B4-BE49-F238E27FC236}">
                    <a16:creationId xmlns:a16="http://schemas.microsoft.com/office/drawing/2014/main" id="{6C068305-497B-1D68-BF75-937E90E8098A}"/>
                  </a:ext>
                </a:extLst>
              </p:cNvPr>
              <p:cNvSpPr/>
              <p:nvPr/>
            </p:nvSpPr>
            <p:spPr>
              <a:xfrm>
                <a:off x="6268231" y="4207702"/>
                <a:ext cx="5289" cy="8816"/>
              </a:xfrm>
              <a:custGeom>
                <a:avLst/>
                <a:gdLst>
                  <a:gd name="connsiteX0" fmla="*/ 1499 w 5289"/>
                  <a:gd name="connsiteY0" fmla="*/ 8817 h 8816"/>
                  <a:gd name="connsiteX1" fmla="*/ 1146 w 5289"/>
                  <a:gd name="connsiteY1" fmla="*/ 8200 h 8816"/>
                  <a:gd name="connsiteX2" fmla="*/ 0 w 5289"/>
                  <a:gd name="connsiteY2" fmla="*/ 882 h 8816"/>
                  <a:gd name="connsiteX3" fmla="*/ 265 w 5289"/>
                  <a:gd name="connsiteY3" fmla="*/ 0 h 8816"/>
                  <a:gd name="connsiteX4" fmla="*/ 1763 w 5289"/>
                  <a:gd name="connsiteY4" fmla="*/ 882 h 8816"/>
                  <a:gd name="connsiteX5" fmla="*/ 4937 w 5289"/>
                  <a:gd name="connsiteY5" fmla="*/ 4408 h 8816"/>
                  <a:gd name="connsiteX6" fmla="*/ 5290 w 5289"/>
                  <a:gd name="connsiteY6" fmla="*/ 6789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89" h="8816">
                    <a:moveTo>
                      <a:pt x="1499" y="8817"/>
                    </a:moveTo>
                    <a:lnTo>
                      <a:pt x="1146" y="8200"/>
                    </a:lnTo>
                    <a:lnTo>
                      <a:pt x="0" y="882"/>
                    </a:lnTo>
                    <a:lnTo>
                      <a:pt x="265" y="0"/>
                    </a:lnTo>
                    <a:lnTo>
                      <a:pt x="1763" y="882"/>
                    </a:lnTo>
                    <a:lnTo>
                      <a:pt x="4937" y="4408"/>
                    </a:lnTo>
                    <a:lnTo>
                      <a:pt x="5290" y="678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6" name="Freihandform: Form 1985">
                <a:extLst>
                  <a:ext uri="{FF2B5EF4-FFF2-40B4-BE49-F238E27FC236}">
                    <a16:creationId xmlns:a16="http://schemas.microsoft.com/office/drawing/2014/main" id="{5482BCB2-4D08-EC9D-00A6-C84C23796E2B}"/>
                  </a:ext>
                </a:extLst>
              </p:cNvPr>
              <p:cNvSpPr/>
              <p:nvPr/>
            </p:nvSpPr>
            <p:spPr>
              <a:xfrm>
                <a:off x="6311963" y="4283880"/>
                <a:ext cx="6700" cy="5554"/>
              </a:xfrm>
              <a:custGeom>
                <a:avLst/>
                <a:gdLst>
                  <a:gd name="connsiteX0" fmla="*/ 3791 w 6700"/>
                  <a:gd name="connsiteY0" fmla="*/ 5555 h 5554"/>
                  <a:gd name="connsiteX1" fmla="*/ 0 w 6700"/>
                  <a:gd name="connsiteY1" fmla="*/ 1411 h 5554"/>
                  <a:gd name="connsiteX2" fmla="*/ 1499 w 6700"/>
                  <a:gd name="connsiteY2" fmla="*/ 0 h 5554"/>
                  <a:gd name="connsiteX3" fmla="*/ 6171 w 6700"/>
                  <a:gd name="connsiteY3" fmla="*/ 2381 h 5554"/>
                  <a:gd name="connsiteX4" fmla="*/ 6701 w 6700"/>
                  <a:gd name="connsiteY4" fmla="*/ 3174 h 5554"/>
                  <a:gd name="connsiteX5" fmla="*/ 6171 w 6700"/>
                  <a:gd name="connsiteY5" fmla="*/ 5202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00" h="5554">
                    <a:moveTo>
                      <a:pt x="3791" y="5555"/>
                    </a:moveTo>
                    <a:lnTo>
                      <a:pt x="0" y="1411"/>
                    </a:lnTo>
                    <a:lnTo>
                      <a:pt x="1499" y="0"/>
                    </a:lnTo>
                    <a:lnTo>
                      <a:pt x="6171" y="2381"/>
                    </a:lnTo>
                    <a:lnTo>
                      <a:pt x="6701" y="3174"/>
                    </a:lnTo>
                    <a:lnTo>
                      <a:pt x="6171" y="520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7" name="Freihandform: Form 1986">
                <a:extLst>
                  <a:ext uri="{FF2B5EF4-FFF2-40B4-BE49-F238E27FC236}">
                    <a16:creationId xmlns:a16="http://schemas.microsoft.com/office/drawing/2014/main" id="{3F877F4D-89A5-AB72-AA3A-4339099AE075}"/>
                  </a:ext>
                </a:extLst>
              </p:cNvPr>
              <p:cNvSpPr/>
              <p:nvPr/>
            </p:nvSpPr>
            <p:spPr>
              <a:xfrm>
                <a:off x="6433018" y="4213874"/>
                <a:ext cx="16928" cy="16928"/>
              </a:xfrm>
              <a:custGeom>
                <a:avLst/>
                <a:gdLst>
                  <a:gd name="connsiteX0" fmla="*/ 9611 w 16928"/>
                  <a:gd name="connsiteY0" fmla="*/ 16928 h 16928"/>
                  <a:gd name="connsiteX1" fmla="*/ 7053 w 16928"/>
                  <a:gd name="connsiteY1" fmla="*/ 12256 h 16928"/>
                  <a:gd name="connsiteX2" fmla="*/ 5819 w 16928"/>
                  <a:gd name="connsiteY2" fmla="*/ 12520 h 16928"/>
                  <a:gd name="connsiteX3" fmla="*/ 6436 w 16928"/>
                  <a:gd name="connsiteY3" fmla="*/ 13402 h 16928"/>
                  <a:gd name="connsiteX4" fmla="*/ 6172 w 16928"/>
                  <a:gd name="connsiteY4" fmla="*/ 14548 h 16928"/>
                  <a:gd name="connsiteX5" fmla="*/ 2381 w 16928"/>
                  <a:gd name="connsiteY5" fmla="*/ 16311 h 16928"/>
                  <a:gd name="connsiteX6" fmla="*/ 1234 w 16928"/>
                  <a:gd name="connsiteY6" fmla="*/ 16047 h 16928"/>
                  <a:gd name="connsiteX7" fmla="*/ 1499 w 16928"/>
                  <a:gd name="connsiteY7" fmla="*/ 8729 h 16928"/>
                  <a:gd name="connsiteX8" fmla="*/ 0 w 16928"/>
                  <a:gd name="connsiteY8" fmla="*/ 8993 h 16928"/>
                  <a:gd name="connsiteX9" fmla="*/ 0 w 16928"/>
                  <a:gd name="connsiteY9" fmla="*/ 8464 h 16928"/>
                  <a:gd name="connsiteX10" fmla="*/ 1234 w 16928"/>
                  <a:gd name="connsiteY10" fmla="*/ 7583 h 16928"/>
                  <a:gd name="connsiteX11" fmla="*/ 2910 w 16928"/>
                  <a:gd name="connsiteY11" fmla="*/ 4056 h 16928"/>
                  <a:gd name="connsiteX12" fmla="*/ 2028 w 16928"/>
                  <a:gd name="connsiteY12" fmla="*/ 617 h 16928"/>
                  <a:gd name="connsiteX13" fmla="*/ 3527 w 16928"/>
                  <a:gd name="connsiteY13" fmla="*/ 0 h 16928"/>
                  <a:gd name="connsiteX14" fmla="*/ 9611 w 16928"/>
                  <a:gd name="connsiteY14" fmla="*/ 264 h 16928"/>
                  <a:gd name="connsiteX15" fmla="*/ 10492 w 16928"/>
                  <a:gd name="connsiteY15" fmla="*/ 2028 h 16928"/>
                  <a:gd name="connsiteX16" fmla="*/ 11109 w 16928"/>
                  <a:gd name="connsiteY16" fmla="*/ 882 h 16928"/>
                  <a:gd name="connsiteX17" fmla="*/ 12873 w 16928"/>
                  <a:gd name="connsiteY17" fmla="*/ 2028 h 16928"/>
                  <a:gd name="connsiteX18" fmla="*/ 15518 w 16928"/>
                  <a:gd name="connsiteY18" fmla="*/ 4673 h 16928"/>
                  <a:gd name="connsiteX19" fmla="*/ 16311 w 16928"/>
                  <a:gd name="connsiteY19" fmla="*/ 6965 h 16928"/>
                  <a:gd name="connsiteX20" fmla="*/ 16928 w 16928"/>
                  <a:gd name="connsiteY20" fmla="*/ 11109 h 16928"/>
                  <a:gd name="connsiteX21" fmla="*/ 14283 w 16928"/>
                  <a:gd name="connsiteY21" fmla="*/ 14019 h 16928"/>
                  <a:gd name="connsiteX22" fmla="*/ 11638 w 16928"/>
                  <a:gd name="connsiteY22" fmla="*/ 14900 h 16928"/>
                  <a:gd name="connsiteX23" fmla="*/ 11374 w 16928"/>
                  <a:gd name="connsiteY23" fmla="*/ 16311 h 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928" h="16928">
                    <a:moveTo>
                      <a:pt x="9611" y="16928"/>
                    </a:moveTo>
                    <a:lnTo>
                      <a:pt x="7053" y="12256"/>
                    </a:lnTo>
                    <a:lnTo>
                      <a:pt x="5819" y="12520"/>
                    </a:lnTo>
                    <a:lnTo>
                      <a:pt x="6436" y="13402"/>
                    </a:lnTo>
                    <a:lnTo>
                      <a:pt x="6172" y="14548"/>
                    </a:lnTo>
                    <a:lnTo>
                      <a:pt x="2381" y="16311"/>
                    </a:lnTo>
                    <a:lnTo>
                      <a:pt x="1234" y="16047"/>
                    </a:lnTo>
                    <a:lnTo>
                      <a:pt x="1499" y="8729"/>
                    </a:lnTo>
                    <a:lnTo>
                      <a:pt x="0" y="8993"/>
                    </a:lnTo>
                    <a:lnTo>
                      <a:pt x="0" y="8464"/>
                    </a:lnTo>
                    <a:lnTo>
                      <a:pt x="1234" y="7583"/>
                    </a:lnTo>
                    <a:lnTo>
                      <a:pt x="2910" y="4056"/>
                    </a:lnTo>
                    <a:lnTo>
                      <a:pt x="2028" y="617"/>
                    </a:lnTo>
                    <a:lnTo>
                      <a:pt x="3527" y="0"/>
                    </a:lnTo>
                    <a:lnTo>
                      <a:pt x="9611" y="264"/>
                    </a:lnTo>
                    <a:lnTo>
                      <a:pt x="10492" y="2028"/>
                    </a:lnTo>
                    <a:lnTo>
                      <a:pt x="11109" y="882"/>
                    </a:lnTo>
                    <a:lnTo>
                      <a:pt x="12873" y="2028"/>
                    </a:lnTo>
                    <a:lnTo>
                      <a:pt x="15518" y="4673"/>
                    </a:lnTo>
                    <a:lnTo>
                      <a:pt x="16311" y="6965"/>
                    </a:lnTo>
                    <a:lnTo>
                      <a:pt x="16928" y="11109"/>
                    </a:lnTo>
                    <a:lnTo>
                      <a:pt x="14283" y="14019"/>
                    </a:lnTo>
                    <a:lnTo>
                      <a:pt x="11638" y="14900"/>
                    </a:lnTo>
                    <a:lnTo>
                      <a:pt x="11374" y="163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8" name="Freihandform: Form 1987">
                <a:extLst>
                  <a:ext uri="{FF2B5EF4-FFF2-40B4-BE49-F238E27FC236}">
                    <a16:creationId xmlns:a16="http://schemas.microsoft.com/office/drawing/2014/main" id="{1172E3F6-C0ED-721E-C7C2-570628FB34D3}"/>
                  </a:ext>
                </a:extLst>
              </p:cNvPr>
              <p:cNvSpPr/>
              <p:nvPr/>
            </p:nvSpPr>
            <p:spPr>
              <a:xfrm>
                <a:off x="6366803" y="4147043"/>
                <a:ext cx="12608" cy="8816"/>
              </a:xfrm>
              <a:custGeom>
                <a:avLst/>
                <a:gdLst>
                  <a:gd name="connsiteX0" fmla="*/ 10845 w 12608"/>
                  <a:gd name="connsiteY0" fmla="*/ 8817 h 8816"/>
                  <a:gd name="connsiteX1" fmla="*/ 7318 w 12608"/>
                  <a:gd name="connsiteY1" fmla="*/ 7053 h 8816"/>
                  <a:gd name="connsiteX2" fmla="*/ 6701 w 12608"/>
                  <a:gd name="connsiteY2" fmla="*/ 5819 h 8816"/>
                  <a:gd name="connsiteX3" fmla="*/ 5290 w 12608"/>
                  <a:gd name="connsiteY3" fmla="*/ 5819 h 8816"/>
                  <a:gd name="connsiteX4" fmla="*/ 2381 w 12608"/>
                  <a:gd name="connsiteY4" fmla="*/ 7318 h 8816"/>
                  <a:gd name="connsiteX5" fmla="*/ 0 w 12608"/>
                  <a:gd name="connsiteY5" fmla="*/ 6172 h 8816"/>
                  <a:gd name="connsiteX6" fmla="*/ 0 w 12608"/>
                  <a:gd name="connsiteY6" fmla="*/ 5290 h 8816"/>
                  <a:gd name="connsiteX7" fmla="*/ 1499 w 12608"/>
                  <a:gd name="connsiteY7" fmla="*/ 3527 h 8816"/>
                  <a:gd name="connsiteX8" fmla="*/ 2910 w 12608"/>
                  <a:gd name="connsiteY8" fmla="*/ 0 h 8816"/>
                  <a:gd name="connsiteX9" fmla="*/ 3791 w 12608"/>
                  <a:gd name="connsiteY9" fmla="*/ 617 h 8816"/>
                  <a:gd name="connsiteX10" fmla="*/ 5290 w 12608"/>
                  <a:gd name="connsiteY10" fmla="*/ 2028 h 8816"/>
                  <a:gd name="connsiteX11" fmla="*/ 6172 w 12608"/>
                  <a:gd name="connsiteY11" fmla="*/ 3527 h 8816"/>
                  <a:gd name="connsiteX12" fmla="*/ 6966 w 12608"/>
                  <a:gd name="connsiteY12" fmla="*/ 5290 h 8816"/>
                  <a:gd name="connsiteX13" fmla="*/ 8464 w 12608"/>
                  <a:gd name="connsiteY13" fmla="*/ 5290 h 8816"/>
                  <a:gd name="connsiteX14" fmla="*/ 8729 w 12608"/>
                  <a:gd name="connsiteY14" fmla="*/ 3791 h 8816"/>
                  <a:gd name="connsiteX15" fmla="*/ 12608 w 12608"/>
                  <a:gd name="connsiteY15" fmla="*/ 7582 h 8816"/>
                  <a:gd name="connsiteX16" fmla="*/ 11991 w 12608"/>
                  <a:gd name="connsiteY16" fmla="*/ 7582 h 8816"/>
                  <a:gd name="connsiteX17" fmla="*/ 10492 w 12608"/>
                  <a:gd name="connsiteY17" fmla="*/ 7582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608" h="8816">
                    <a:moveTo>
                      <a:pt x="10845" y="8817"/>
                    </a:moveTo>
                    <a:lnTo>
                      <a:pt x="7318" y="7053"/>
                    </a:lnTo>
                    <a:lnTo>
                      <a:pt x="6701" y="5819"/>
                    </a:lnTo>
                    <a:lnTo>
                      <a:pt x="5290" y="5819"/>
                    </a:lnTo>
                    <a:lnTo>
                      <a:pt x="2381" y="7318"/>
                    </a:lnTo>
                    <a:lnTo>
                      <a:pt x="0" y="6172"/>
                    </a:lnTo>
                    <a:lnTo>
                      <a:pt x="0" y="5290"/>
                    </a:lnTo>
                    <a:lnTo>
                      <a:pt x="1499" y="3527"/>
                    </a:lnTo>
                    <a:lnTo>
                      <a:pt x="2910" y="0"/>
                    </a:lnTo>
                    <a:lnTo>
                      <a:pt x="3791" y="617"/>
                    </a:lnTo>
                    <a:lnTo>
                      <a:pt x="5290" y="2028"/>
                    </a:lnTo>
                    <a:lnTo>
                      <a:pt x="6172" y="3527"/>
                    </a:lnTo>
                    <a:lnTo>
                      <a:pt x="6966" y="5290"/>
                    </a:lnTo>
                    <a:lnTo>
                      <a:pt x="8464" y="5290"/>
                    </a:lnTo>
                    <a:lnTo>
                      <a:pt x="8729" y="3791"/>
                    </a:lnTo>
                    <a:lnTo>
                      <a:pt x="12608" y="7582"/>
                    </a:lnTo>
                    <a:lnTo>
                      <a:pt x="11991" y="7582"/>
                    </a:lnTo>
                    <a:lnTo>
                      <a:pt x="10492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9" name="Freihandform: Form 1988">
                <a:extLst>
                  <a:ext uri="{FF2B5EF4-FFF2-40B4-BE49-F238E27FC236}">
                    <a16:creationId xmlns:a16="http://schemas.microsoft.com/office/drawing/2014/main" id="{EAFC0911-E2CB-6208-118A-C812564FFEF5}"/>
                  </a:ext>
                </a:extLst>
              </p:cNvPr>
              <p:cNvSpPr/>
              <p:nvPr/>
            </p:nvSpPr>
            <p:spPr>
              <a:xfrm>
                <a:off x="6362748" y="4156124"/>
                <a:ext cx="7582" cy="7847"/>
              </a:xfrm>
              <a:custGeom>
                <a:avLst/>
                <a:gdLst>
                  <a:gd name="connsiteX0" fmla="*/ 2292 w 7582"/>
                  <a:gd name="connsiteY0" fmla="*/ 7847 h 7847"/>
                  <a:gd name="connsiteX1" fmla="*/ 1763 w 7582"/>
                  <a:gd name="connsiteY1" fmla="*/ 4673 h 7847"/>
                  <a:gd name="connsiteX2" fmla="*/ 0 w 7582"/>
                  <a:gd name="connsiteY2" fmla="*/ 3174 h 7847"/>
                  <a:gd name="connsiteX3" fmla="*/ 1763 w 7582"/>
                  <a:gd name="connsiteY3" fmla="*/ 0 h 7847"/>
                  <a:gd name="connsiteX4" fmla="*/ 2028 w 7582"/>
                  <a:gd name="connsiteY4" fmla="*/ 2028 h 7847"/>
                  <a:gd name="connsiteX5" fmla="*/ 4320 w 7582"/>
                  <a:gd name="connsiteY5" fmla="*/ 0 h 7847"/>
                  <a:gd name="connsiteX6" fmla="*/ 5202 w 7582"/>
                  <a:gd name="connsiteY6" fmla="*/ 0 h 7847"/>
                  <a:gd name="connsiteX7" fmla="*/ 7318 w 7582"/>
                  <a:gd name="connsiteY7" fmla="*/ 2292 h 7847"/>
                  <a:gd name="connsiteX8" fmla="*/ 7582 w 7582"/>
                  <a:gd name="connsiteY8" fmla="*/ 3527 h 7847"/>
                  <a:gd name="connsiteX9" fmla="*/ 6436 w 7582"/>
                  <a:gd name="connsiteY9" fmla="*/ 4408 h 7847"/>
                  <a:gd name="connsiteX10" fmla="*/ 5554 w 7582"/>
                  <a:gd name="connsiteY10" fmla="*/ 6701 h 7847"/>
                  <a:gd name="connsiteX11" fmla="*/ 4937 w 7582"/>
                  <a:gd name="connsiteY11" fmla="*/ 6701 h 7847"/>
                  <a:gd name="connsiteX12" fmla="*/ 4055 w 7582"/>
                  <a:gd name="connsiteY12" fmla="*/ 5555 h 7847"/>
                  <a:gd name="connsiteX13" fmla="*/ 3174 w 7582"/>
                  <a:gd name="connsiteY13" fmla="*/ 6084 h 7847"/>
                  <a:gd name="connsiteX14" fmla="*/ 2909 w 7582"/>
                  <a:gd name="connsiteY14" fmla="*/ 7847 h 7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582" h="7847">
                    <a:moveTo>
                      <a:pt x="2292" y="7847"/>
                    </a:moveTo>
                    <a:lnTo>
                      <a:pt x="1763" y="4673"/>
                    </a:lnTo>
                    <a:lnTo>
                      <a:pt x="0" y="3174"/>
                    </a:lnTo>
                    <a:lnTo>
                      <a:pt x="1763" y="0"/>
                    </a:lnTo>
                    <a:lnTo>
                      <a:pt x="2028" y="2028"/>
                    </a:lnTo>
                    <a:lnTo>
                      <a:pt x="4320" y="0"/>
                    </a:lnTo>
                    <a:lnTo>
                      <a:pt x="5202" y="0"/>
                    </a:lnTo>
                    <a:lnTo>
                      <a:pt x="7318" y="2292"/>
                    </a:lnTo>
                    <a:lnTo>
                      <a:pt x="7582" y="3527"/>
                    </a:lnTo>
                    <a:lnTo>
                      <a:pt x="6436" y="4408"/>
                    </a:lnTo>
                    <a:lnTo>
                      <a:pt x="5554" y="6701"/>
                    </a:lnTo>
                    <a:lnTo>
                      <a:pt x="4937" y="6701"/>
                    </a:lnTo>
                    <a:lnTo>
                      <a:pt x="4055" y="5555"/>
                    </a:lnTo>
                    <a:lnTo>
                      <a:pt x="3174" y="6084"/>
                    </a:lnTo>
                    <a:lnTo>
                      <a:pt x="2909" y="784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0" name="Freihandform: Form 1989">
                <a:extLst>
                  <a:ext uri="{FF2B5EF4-FFF2-40B4-BE49-F238E27FC236}">
                    <a16:creationId xmlns:a16="http://schemas.microsoft.com/office/drawing/2014/main" id="{9FE6CDFF-5263-6BB6-D5D9-C6A6CCCA5600}"/>
                  </a:ext>
                </a:extLst>
              </p:cNvPr>
              <p:cNvSpPr/>
              <p:nvPr/>
            </p:nvSpPr>
            <p:spPr>
              <a:xfrm>
                <a:off x="6300060" y="4094847"/>
                <a:ext cx="8464" cy="9963"/>
              </a:xfrm>
              <a:custGeom>
                <a:avLst/>
                <a:gdLst>
                  <a:gd name="connsiteX0" fmla="*/ 3439 w 8464"/>
                  <a:gd name="connsiteY0" fmla="*/ 9963 h 9963"/>
                  <a:gd name="connsiteX1" fmla="*/ 1675 w 8464"/>
                  <a:gd name="connsiteY1" fmla="*/ 9346 h 9963"/>
                  <a:gd name="connsiteX2" fmla="*/ 0 w 8464"/>
                  <a:gd name="connsiteY2" fmla="*/ 5290 h 9963"/>
                  <a:gd name="connsiteX3" fmla="*/ 265 w 8464"/>
                  <a:gd name="connsiteY3" fmla="*/ 2381 h 9963"/>
                  <a:gd name="connsiteX4" fmla="*/ 1146 w 8464"/>
                  <a:gd name="connsiteY4" fmla="*/ 1499 h 9963"/>
                  <a:gd name="connsiteX5" fmla="*/ 5202 w 8464"/>
                  <a:gd name="connsiteY5" fmla="*/ 0 h 9963"/>
                  <a:gd name="connsiteX6" fmla="*/ 6701 w 8464"/>
                  <a:gd name="connsiteY6" fmla="*/ 617 h 9963"/>
                  <a:gd name="connsiteX7" fmla="*/ 8464 w 8464"/>
                  <a:gd name="connsiteY7" fmla="*/ 4408 h 9963"/>
                  <a:gd name="connsiteX8" fmla="*/ 7230 w 8464"/>
                  <a:gd name="connsiteY8" fmla="*/ 8200 h 9963"/>
                  <a:gd name="connsiteX9" fmla="*/ 5202 w 8464"/>
                  <a:gd name="connsiteY9" fmla="*/ 9963 h 9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4" h="9963">
                    <a:moveTo>
                      <a:pt x="3439" y="9963"/>
                    </a:moveTo>
                    <a:lnTo>
                      <a:pt x="1675" y="9346"/>
                    </a:lnTo>
                    <a:lnTo>
                      <a:pt x="0" y="5290"/>
                    </a:lnTo>
                    <a:lnTo>
                      <a:pt x="265" y="2381"/>
                    </a:lnTo>
                    <a:lnTo>
                      <a:pt x="1146" y="1499"/>
                    </a:lnTo>
                    <a:lnTo>
                      <a:pt x="5202" y="0"/>
                    </a:lnTo>
                    <a:lnTo>
                      <a:pt x="6701" y="617"/>
                    </a:lnTo>
                    <a:lnTo>
                      <a:pt x="8464" y="4408"/>
                    </a:lnTo>
                    <a:lnTo>
                      <a:pt x="7230" y="8200"/>
                    </a:lnTo>
                    <a:lnTo>
                      <a:pt x="5202" y="99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1" name="Freihandform: Form 1990">
                <a:extLst>
                  <a:ext uri="{FF2B5EF4-FFF2-40B4-BE49-F238E27FC236}">
                    <a16:creationId xmlns:a16="http://schemas.microsoft.com/office/drawing/2014/main" id="{7EAC0BD9-1290-BD60-398B-89077526B5C9}"/>
                  </a:ext>
                </a:extLst>
              </p:cNvPr>
              <p:cNvSpPr/>
              <p:nvPr/>
            </p:nvSpPr>
            <p:spPr>
              <a:xfrm>
                <a:off x="6314872" y="4107984"/>
                <a:ext cx="11109" cy="9081"/>
              </a:xfrm>
              <a:custGeom>
                <a:avLst/>
                <a:gdLst>
                  <a:gd name="connsiteX0" fmla="*/ 10845 w 11109"/>
                  <a:gd name="connsiteY0" fmla="*/ 9081 h 9081"/>
                  <a:gd name="connsiteX1" fmla="*/ 6701 w 11109"/>
                  <a:gd name="connsiteY1" fmla="*/ 4937 h 9081"/>
                  <a:gd name="connsiteX2" fmla="*/ 2910 w 11109"/>
                  <a:gd name="connsiteY2" fmla="*/ 4408 h 9081"/>
                  <a:gd name="connsiteX3" fmla="*/ 1763 w 11109"/>
                  <a:gd name="connsiteY3" fmla="*/ 3527 h 9081"/>
                  <a:gd name="connsiteX4" fmla="*/ 0 w 11109"/>
                  <a:gd name="connsiteY4" fmla="*/ 617 h 9081"/>
                  <a:gd name="connsiteX5" fmla="*/ 353 w 11109"/>
                  <a:gd name="connsiteY5" fmla="*/ 0 h 9081"/>
                  <a:gd name="connsiteX6" fmla="*/ 9699 w 11109"/>
                  <a:gd name="connsiteY6" fmla="*/ 2380 h 9081"/>
                  <a:gd name="connsiteX7" fmla="*/ 10492 w 11109"/>
                  <a:gd name="connsiteY7" fmla="*/ 2909 h 9081"/>
                  <a:gd name="connsiteX8" fmla="*/ 10845 w 11109"/>
                  <a:gd name="connsiteY8" fmla="*/ 4673 h 9081"/>
                  <a:gd name="connsiteX9" fmla="*/ 11109 w 11109"/>
                  <a:gd name="connsiteY9" fmla="*/ 8729 h 9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109" h="9081">
                    <a:moveTo>
                      <a:pt x="10845" y="9081"/>
                    </a:moveTo>
                    <a:lnTo>
                      <a:pt x="6701" y="4937"/>
                    </a:lnTo>
                    <a:lnTo>
                      <a:pt x="2910" y="4408"/>
                    </a:lnTo>
                    <a:lnTo>
                      <a:pt x="1763" y="3527"/>
                    </a:lnTo>
                    <a:lnTo>
                      <a:pt x="0" y="617"/>
                    </a:lnTo>
                    <a:lnTo>
                      <a:pt x="353" y="0"/>
                    </a:lnTo>
                    <a:lnTo>
                      <a:pt x="9699" y="2380"/>
                    </a:lnTo>
                    <a:lnTo>
                      <a:pt x="10492" y="2909"/>
                    </a:lnTo>
                    <a:lnTo>
                      <a:pt x="10845" y="4673"/>
                    </a:lnTo>
                    <a:lnTo>
                      <a:pt x="11109" y="87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2" name="Freihandform: Form 1991">
                <a:extLst>
                  <a:ext uri="{FF2B5EF4-FFF2-40B4-BE49-F238E27FC236}">
                    <a16:creationId xmlns:a16="http://schemas.microsoft.com/office/drawing/2014/main" id="{ED0A589C-7C26-B225-C858-60C146D61F04}"/>
                  </a:ext>
                </a:extLst>
              </p:cNvPr>
              <p:cNvSpPr/>
              <p:nvPr/>
            </p:nvSpPr>
            <p:spPr>
              <a:xfrm>
                <a:off x="6318399" y="4115566"/>
                <a:ext cx="10492" cy="12872"/>
              </a:xfrm>
              <a:custGeom>
                <a:avLst/>
                <a:gdLst>
                  <a:gd name="connsiteX0" fmla="*/ 8464 w 10492"/>
                  <a:gd name="connsiteY0" fmla="*/ 12873 h 12872"/>
                  <a:gd name="connsiteX1" fmla="*/ 5819 w 10492"/>
                  <a:gd name="connsiteY1" fmla="*/ 10228 h 12872"/>
                  <a:gd name="connsiteX2" fmla="*/ 4937 w 10492"/>
                  <a:gd name="connsiteY2" fmla="*/ 8464 h 12872"/>
                  <a:gd name="connsiteX3" fmla="*/ 4937 w 10492"/>
                  <a:gd name="connsiteY3" fmla="*/ 8200 h 12872"/>
                  <a:gd name="connsiteX4" fmla="*/ 5555 w 10492"/>
                  <a:gd name="connsiteY4" fmla="*/ 6436 h 12872"/>
                  <a:gd name="connsiteX5" fmla="*/ 3527 w 10492"/>
                  <a:gd name="connsiteY5" fmla="*/ 5290 h 12872"/>
                  <a:gd name="connsiteX6" fmla="*/ 265 w 10492"/>
                  <a:gd name="connsiteY6" fmla="*/ 2645 h 12872"/>
                  <a:gd name="connsiteX7" fmla="*/ 1763 w 10492"/>
                  <a:gd name="connsiteY7" fmla="*/ 3174 h 12872"/>
                  <a:gd name="connsiteX8" fmla="*/ 0 w 10492"/>
                  <a:gd name="connsiteY8" fmla="*/ 0 h 12872"/>
                  <a:gd name="connsiteX9" fmla="*/ 4673 w 10492"/>
                  <a:gd name="connsiteY9" fmla="*/ 1146 h 12872"/>
                  <a:gd name="connsiteX10" fmla="*/ 6172 w 10492"/>
                  <a:gd name="connsiteY10" fmla="*/ 882 h 12872"/>
                  <a:gd name="connsiteX11" fmla="*/ 8464 w 10492"/>
                  <a:gd name="connsiteY11" fmla="*/ 3527 h 12872"/>
                  <a:gd name="connsiteX12" fmla="*/ 9963 w 10492"/>
                  <a:gd name="connsiteY12" fmla="*/ 3527 h 12872"/>
                  <a:gd name="connsiteX13" fmla="*/ 10492 w 10492"/>
                  <a:gd name="connsiteY13" fmla="*/ 5819 h 12872"/>
                  <a:gd name="connsiteX14" fmla="*/ 9963 w 10492"/>
                  <a:gd name="connsiteY14" fmla="*/ 9346 h 12872"/>
                  <a:gd name="connsiteX15" fmla="*/ 10227 w 10492"/>
                  <a:gd name="connsiteY15" fmla="*/ 11638 h 12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492" h="12872">
                    <a:moveTo>
                      <a:pt x="8464" y="12873"/>
                    </a:moveTo>
                    <a:lnTo>
                      <a:pt x="5819" y="10228"/>
                    </a:lnTo>
                    <a:lnTo>
                      <a:pt x="4937" y="8464"/>
                    </a:lnTo>
                    <a:lnTo>
                      <a:pt x="4937" y="8200"/>
                    </a:lnTo>
                    <a:lnTo>
                      <a:pt x="5555" y="6436"/>
                    </a:lnTo>
                    <a:lnTo>
                      <a:pt x="3527" y="5290"/>
                    </a:lnTo>
                    <a:lnTo>
                      <a:pt x="265" y="2645"/>
                    </a:lnTo>
                    <a:lnTo>
                      <a:pt x="1763" y="3174"/>
                    </a:lnTo>
                    <a:lnTo>
                      <a:pt x="0" y="0"/>
                    </a:lnTo>
                    <a:lnTo>
                      <a:pt x="4673" y="1146"/>
                    </a:lnTo>
                    <a:lnTo>
                      <a:pt x="6172" y="882"/>
                    </a:lnTo>
                    <a:lnTo>
                      <a:pt x="8464" y="3527"/>
                    </a:lnTo>
                    <a:lnTo>
                      <a:pt x="9963" y="3527"/>
                    </a:lnTo>
                    <a:lnTo>
                      <a:pt x="10492" y="5819"/>
                    </a:lnTo>
                    <a:lnTo>
                      <a:pt x="9963" y="9346"/>
                    </a:lnTo>
                    <a:lnTo>
                      <a:pt x="10227" y="116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3" name="Freihandform: Form 1992">
                <a:extLst>
                  <a:ext uri="{FF2B5EF4-FFF2-40B4-BE49-F238E27FC236}">
                    <a16:creationId xmlns:a16="http://schemas.microsoft.com/office/drawing/2014/main" id="{61288941-A84C-67C6-36E0-D4921750D882}"/>
                  </a:ext>
                </a:extLst>
              </p:cNvPr>
              <p:cNvSpPr/>
              <p:nvPr/>
            </p:nvSpPr>
            <p:spPr>
              <a:xfrm>
                <a:off x="6348729" y="4111775"/>
                <a:ext cx="13137" cy="7935"/>
              </a:xfrm>
              <a:custGeom>
                <a:avLst/>
                <a:gdLst>
                  <a:gd name="connsiteX0" fmla="*/ 11991 w 13137"/>
                  <a:gd name="connsiteY0" fmla="*/ 1763 h 7935"/>
                  <a:gd name="connsiteX1" fmla="*/ 13137 w 13137"/>
                  <a:gd name="connsiteY1" fmla="*/ 2909 h 7935"/>
                  <a:gd name="connsiteX2" fmla="*/ 11991 w 13137"/>
                  <a:gd name="connsiteY2" fmla="*/ 3527 h 7935"/>
                  <a:gd name="connsiteX3" fmla="*/ 10845 w 13137"/>
                  <a:gd name="connsiteY3" fmla="*/ 3527 h 7935"/>
                  <a:gd name="connsiteX4" fmla="*/ 7847 w 13137"/>
                  <a:gd name="connsiteY4" fmla="*/ 6172 h 7935"/>
                  <a:gd name="connsiteX5" fmla="*/ 7847 w 13137"/>
                  <a:gd name="connsiteY5" fmla="*/ 7935 h 7935"/>
                  <a:gd name="connsiteX6" fmla="*/ 5555 w 13137"/>
                  <a:gd name="connsiteY6" fmla="*/ 7935 h 7935"/>
                  <a:gd name="connsiteX7" fmla="*/ 3791 w 13137"/>
                  <a:gd name="connsiteY7" fmla="*/ 4937 h 7935"/>
                  <a:gd name="connsiteX8" fmla="*/ 0 w 13137"/>
                  <a:gd name="connsiteY8" fmla="*/ 4937 h 7935"/>
                  <a:gd name="connsiteX9" fmla="*/ 0 w 13137"/>
                  <a:gd name="connsiteY9" fmla="*/ 3527 h 7935"/>
                  <a:gd name="connsiteX10" fmla="*/ 1146 w 13137"/>
                  <a:gd name="connsiteY10" fmla="*/ 2909 h 7935"/>
                  <a:gd name="connsiteX11" fmla="*/ 1146 w 13137"/>
                  <a:gd name="connsiteY11" fmla="*/ 617 h 7935"/>
                  <a:gd name="connsiteX12" fmla="*/ 2381 w 13137"/>
                  <a:gd name="connsiteY12" fmla="*/ 617 h 7935"/>
                  <a:gd name="connsiteX13" fmla="*/ 4673 w 13137"/>
                  <a:gd name="connsiteY13" fmla="*/ 617 h 7935"/>
                  <a:gd name="connsiteX14" fmla="*/ 6701 w 13137"/>
                  <a:gd name="connsiteY14" fmla="*/ 0 h 7935"/>
                  <a:gd name="connsiteX15" fmla="*/ 7847 w 13137"/>
                  <a:gd name="connsiteY15" fmla="*/ 617 h 7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137" h="7935">
                    <a:moveTo>
                      <a:pt x="11991" y="1763"/>
                    </a:moveTo>
                    <a:lnTo>
                      <a:pt x="13137" y="2909"/>
                    </a:lnTo>
                    <a:lnTo>
                      <a:pt x="11991" y="3527"/>
                    </a:lnTo>
                    <a:lnTo>
                      <a:pt x="10845" y="3527"/>
                    </a:lnTo>
                    <a:lnTo>
                      <a:pt x="7847" y="6172"/>
                    </a:lnTo>
                    <a:lnTo>
                      <a:pt x="7847" y="7935"/>
                    </a:lnTo>
                    <a:lnTo>
                      <a:pt x="5555" y="7935"/>
                    </a:lnTo>
                    <a:lnTo>
                      <a:pt x="3791" y="4937"/>
                    </a:lnTo>
                    <a:lnTo>
                      <a:pt x="0" y="4937"/>
                    </a:lnTo>
                    <a:lnTo>
                      <a:pt x="0" y="3527"/>
                    </a:lnTo>
                    <a:lnTo>
                      <a:pt x="1146" y="2909"/>
                    </a:lnTo>
                    <a:lnTo>
                      <a:pt x="1146" y="617"/>
                    </a:lnTo>
                    <a:lnTo>
                      <a:pt x="2381" y="617"/>
                    </a:lnTo>
                    <a:lnTo>
                      <a:pt x="4673" y="617"/>
                    </a:lnTo>
                    <a:lnTo>
                      <a:pt x="6701" y="0"/>
                    </a:lnTo>
                    <a:lnTo>
                      <a:pt x="784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4" name="Freihandform: Form 1993">
                <a:extLst>
                  <a:ext uri="{FF2B5EF4-FFF2-40B4-BE49-F238E27FC236}">
                    <a16:creationId xmlns:a16="http://schemas.microsoft.com/office/drawing/2014/main" id="{7A1A8DDB-B6B7-47B1-DDB5-D9F12D3921B2}"/>
                  </a:ext>
                </a:extLst>
              </p:cNvPr>
              <p:cNvSpPr/>
              <p:nvPr/>
            </p:nvSpPr>
            <p:spPr>
              <a:xfrm>
                <a:off x="6359838" y="4119710"/>
                <a:ext cx="9610" cy="9522"/>
              </a:xfrm>
              <a:custGeom>
                <a:avLst/>
                <a:gdLst>
                  <a:gd name="connsiteX0" fmla="*/ 8111 w 9610"/>
                  <a:gd name="connsiteY0" fmla="*/ 9522 h 9522"/>
                  <a:gd name="connsiteX1" fmla="*/ 5819 w 9610"/>
                  <a:gd name="connsiteY1" fmla="*/ 8993 h 9522"/>
                  <a:gd name="connsiteX2" fmla="*/ 4937 w 9610"/>
                  <a:gd name="connsiteY2" fmla="*/ 5466 h 9522"/>
                  <a:gd name="connsiteX3" fmla="*/ 5555 w 9610"/>
                  <a:gd name="connsiteY3" fmla="*/ 4585 h 9522"/>
                  <a:gd name="connsiteX4" fmla="*/ 4320 w 9610"/>
                  <a:gd name="connsiteY4" fmla="*/ 4056 h 9522"/>
                  <a:gd name="connsiteX5" fmla="*/ 2292 w 9610"/>
                  <a:gd name="connsiteY5" fmla="*/ 5202 h 9522"/>
                  <a:gd name="connsiteX6" fmla="*/ 617 w 9610"/>
                  <a:gd name="connsiteY6" fmla="*/ 5202 h 9522"/>
                  <a:gd name="connsiteX7" fmla="*/ 0 w 9610"/>
                  <a:gd name="connsiteY7" fmla="*/ 3439 h 9522"/>
                  <a:gd name="connsiteX8" fmla="*/ 3791 w 9610"/>
                  <a:gd name="connsiteY8" fmla="*/ 529 h 9522"/>
                  <a:gd name="connsiteX9" fmla="*/ 6436 w 9610"/>
                  <a:gd name="connsiteY9" fmla="*/ 1146 h 9522"/>
                  <a:gd name="connsiteX10" fmla="*/ 7582 w 9610"/>
                  <a:gd name="connsiteY10" fmla="*/ 0 h 9522"/>
                  <a:gd name="connsiteX11" fmla="*/ 9610 w 9610"/>
                  <a:gd name="connsiteY11" fmla="*/ 4937 h 9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610" h="9522">
                    <a:moveTo>
                      <a:pt x="8111" y="9522"/>
                    </a:moveTo>
                    <a:lnTo>
                      <a:pt x="5819" y="8993"/>
                    </a:lnTo>
                    <a:lnTo>
                      <a:pt x="4937" y="5466"/>
                    </a:lnTo>
                    <a:lnTo>
                      <a:pt x="5555" y="4585"/>
                    </a:lnTo>
                    <a:lnTo>
                      <a:pt x="4320" y="4056"/>
                    </a:lnTo>
                    <a:lnTo>
                      <a:pt x="2292" y="5202"/>
                    </a:lnTo>
                    <a:lnTo>
                      <a:pt x="617" y="5202"/>
                    </a:lnTo>
                    <a:lnTo>
                      <a:pt x="0" y="3439"/>
                    </a:lnTo>
                    <a:lnTo>
                      <a:pt x="3791" y="529"/>
                    </a:lnTo>
                    <a:lnTo>
                      <a:pt x="6436" y="1146"/>
                    </a:lnTo>
                    <a:lnTo>
                      <a:pt x="7582" y="0"/>
                    </a:lnTo>
                    <a:lnTo>
                      <a:pt x="9610" y="49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5" name="Freihandform: Form 1994">
                <a:extLst>
                  <a:ext uri="{FF2B5EF4-FFF2-40B4-BE49-F238E27FC236}">
                    <a16:creationId xmlns:a16="http://schemas.microsoft.com/office/drawing/2014/main" id="{9AF73ED0-F289-10A8-479B-9962592B177E}"/>
                  </a:ext>
                </a:extLst>
              </p:cNvPr>
              <p:cNvSpPr/>
              <p:nvPr/>
            </p:nvSpPr>
            <p:spPr>
              <a:xfrm>
                <a:off x="6339735" y="4119358"/>
                <a:ext cx="11638" cy="8199"/>
              </a:xfrm>
              <a:custGeom>
                <a:avLst/>
                <a:gdLst>
                  <a:gd name="connsiteX0" fmla="*/ 10757 w 11638"/>
                  <a:gd name="connsiteY0" fmla="*/ 8200 h 8199"/>
                  <a:gd name="connsiteX1" fmla="*/ 7583 w 11638"/>
                  <a:gd name="connsiteY1" fmla="*/ 6436 h 8199"/>
                  <a:gd name="connsiteX2" fmla="*/ 3174 w 11638"/>
                  <a:gd name="connsiteY2" fmla="*/ 3174 h 8199"/>
                  <a:gd name="connsiteX3" fmla="*/ 0 w 11638"/>
                  <a:gd name="connsiteY3" fmla="*/ 3791 h 8199"/>
                  <a:gd name="connsiteX4" fmla="*/ 265 w 11638"/>
                  <a:gd name="connsiteY4" fmla="*/ 2910 h 8199"/>
                  <a:gd name="connsiteX5" fmla="*/ 1675 w 11638"/>
                  <a:gd name="connsiteY5" fmla="*/ 353 h 8199"/>
                  <a:gd name="connsiteX6" fmla="*/ 3791 w 11638"/>
                  <a:gd name="connsiteY6" fmla="*/ 0 h 8199"/>
                  <a:gd name="connsiteX7" fmla="*/ 8112 w 11638"/>
                  <a:gd name="connsiteY7" fmla="*/ 2645 h 8199"/>
                  <a:gd name="connsiteX8" fmla="*/ 11638 w 11638"/>
                  <a:gd name="connsiteY8" fmla="*/ 6701 h 8199"/>
                  <a:gd name="connsiteX9" fmla="*/ 11638 w 11638"/>
                  <a:gd name="connsiteY9" fmla="*/ 758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638" h="8199">
                    <a:moveTo>
                      <a:pt x="10757" y="8200"/>
                    </a:moveTo>
                    <a:lnTo>
                      <a:pt x="7583" y="6436"/>
                    </a:lnTo>
                    <a:lnTo>
                      <a:pt x="3174" y="3174"/>
                    </a:lnTo>
                    <a:lnTo>
                      <a:pt x="0" y="3791"/>
                    </a:lnTo>
                    <a:lnTo>
                      <a:pt x="265" y="2910"/>
                    </a:lnTo>
                    <a:lnTo>
                      <a:pt x="1675" y="353"/>
                    </a:lnTo>
                    <a:lnTo>
                      <a:pt x="3791" y="0"/>
                    </a:lnTo>
                    <a:lnTo>
                      <a:pt x="8112" y="2645"/>
                    </a:lnTo>
                    <a:lnTo>
                      <a:pt x="11638" y="6701"/>
                    </a:lnTo>
                    <a:lnTo>
                      <a:pt x="11638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6" name="Freihandform: Form 1995">
                <a:extLst>
                  <a:ext uri="{FF2B5EF4-FFF2-40B4-BE49-F238E27FC236}">
                    <a16:creationId xmlns:a16="http://schemas.microsoft.com/office/drawing/2014/main" id="{D3E6E59A-36CB-85D0-E3D4-149F2560C3DB}"/>
                  </a:ext>
                </a:extLst>
              </p:cNvPr>
              <p:cNvSpPr/>
              <p:nvPr/>
            </p:nvSpPr>
            <p:spPr>
              <a:xfrm>
                <a:off x="6332418" y="4122267"/>
                <a:ext cx="13930" cy="10844"/>
              </a:xfrm>
              <a:custGeom>
                <a:avLst/>
                <a:gdLst>
                  <a:gd name="connsiteX0" fmla="*/ 13137 w 13930"/>
                  <a:gd name="connsiteY0" fmla="*/ 10845 h 10844"/>
                  <a:gd name="connsiteX1" fmla="*/ 10756 w 13930"/>
                  <a:gd name="connsiteY1" fmla="*/ 8464 h 10844"/>
                  <a:gd name="connsiteX2" fmla="*/ 6084 w 13930"/>
                  <a:gd name="connsiteY2" fmla="*/ 8200 h 10844"/>
                  <a:gd name="connsiteX3" fmla="*/ 3174 w 13930"/>
                  <a:gd name="connsiteY3" fmla="*/ 8729 h 10844"/>
                  <a:gd name="connsiteX4" fmla="*/ 0 w 13930"/>
                  <a:gd name="connsiteY4" fmla="*/ 6436 h 10844"/>
                  <a:gd name="connsiteX5" fmla="*/ 529 w 13930"/>
                  <a:gd name="connsiteY5" fmla="*/ 4937 h 10844"/>
                  <a:gd name="connsiteX6" fmla="*/ 2028 w 13930"/>
                  <a:gd name="connsiteY6" fmla="*/ 4673 h 10844"/>
                  <a:gd name="connsiteX7" fmla="*/ 1146 w 13930"/>
                  <a:gd name="connsiteY7" fmla="*/ 1146 h 10844"/>
                  <a:gd name="connsiteX8" fmla="*/ 1675 w 13930"/>
                  <a:gd name="connsiteY8" fmla="*/ 0 h 10844"/>
                  <a:gd name="connsiteX9" fmla="*/ 2909 w 13930"/>
                  <a:gd name="connsiteY9" fmla="*/ 0 h 10844"/>
                  <a:gd name="connsiteX10" fmla="*/ 4408 w 13930"/>
                  <a:gd name="connsiteY10" fmla="*/ 1763 h 10844"/>
                  <a:gd name="connsiteX11" fmla="*/ 4408 w 13930"/>
                  <a:gd name="connsiteY11" fmla="*/ 3262 h 10844"/>
                  <a:gd name="connsiteX12" fmla="*/ 5202 w 13930"/>
                  <a:gd name="connsiteY12" fmla="*/ 3527 h 10844"/>
                  <a:gd name="connsiteX13" fmla="*/ 7318 w 13930"/>
                  <a:gd name="connsiteY13" fmla="*/ 2909 h 10844"/>
                  <a:gd name="connsiteX14" fmla="*/ 13401 w 13930"/>
                  <a:gd name="connsiteY14" fmla="*/ 6965 h 10844"/>
                  <a:gd name="connsiteX15" fmla="*/ 13930 w 13930"/>
                  <a:gd name="connsiteY15" fmla="*/ 8464 h 10844"/>
                  <a:gd name="connsiteX16" fmla="*/ 13666 w 13930"/>
                  <a:gd name="connsiteY16" fmla="*/ 10228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930" h="10844">
                    <a:moveTo>
                      <a:pt x="13137" y="10845"/>
                    </a:moveTo>
                    <a:lnTo>
                      <a:pt x="10756" y="8464"/>
                    </a:lnTo>
                    <a:lnTo>
                      <a:pt x="6084" y="8200"/>
                    </a:lnTo>
                    <a:lnTo>
                      <a:pt x="3174" y="8729"/>
                    </a:lnTo>
                    <a:lnTo>
                      <a:pt x="0" y="6436"/>
                    </a:lnTo>
                    <a:lnTo>
                      <a:pt x="529" y="4937"/>
                    </a:lnTo>
                    <a:lnTo>
                      <a:pt x="2028" y="4673"/>
                    </a:lnTo>
                    <a:lnTo>
                      <a:pt x="1146" y="1146"/>
                    </a:lnTo>
                    <a:lnTo>
                      <a:pt x="1675" y="0"/>
                    </a:lnTo>
                    <a:lnTo>
                      <a:pt x="2909" y="0"/>
                    </a:lnTo>
                    <a:lnTo>
                      <a:pt x="4408" y="1763"/>
                    </a:lnTo>
                    <a:lnTo>
                      <a:pt x="4408" y="3262"/>
                    </a:lnTo>
                    <a:lnTo>
                      <a:pt x="5202" y="3527"/>
                    </a:lnTo>
                    <a:lnTo>
                      <a:pt x="7318" y="2909"/>
                    </a:lnTo>
                    <a:lnTo>
                      <a:pt x="13401" y="6965"/>
                    </a:lnTo>
                    <a:lnTo>
                      <a:pt x="13930" y="8464"/>
                    </a:lnTo>
                    <a:lnTo>
                      <a:pt x="13666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7" name="Freihandform: Form 1996">
                <a:extLst>
                  <a:ext uri="{FF2B5EF4-FFF2-40B4-BE49-F238E27FC236}">
                    <a16:creationId xmlns:a16="http://schemas.microsoft.com/office/drawing/2014/main" id="{3D05A7EB-5931-C5AC-3864-C99283D01817}"/>
                  </a:ext>
                </a:extLst>
              </p:cNvPr>
              <p:cNvSpPr/>
              <p:nvPr/>
            </p:nvSpPr>
            <p:spPr>
              <a:xfrm>
                <a:off x="6441746" y="4043533"/>
                <a:ext cx="9345" cy="14547"/>
              </a:xfrm>
              <a:custGeom>
                <a:avLst/>
                <a:gdLst>
                  <a:gd name="connsiteX0" fmla="*/ 4408 w 9345"/>
                  <a:gd name="connsiteY0" fmla="*/ 14548 h 14547"/>
                  <a:gd name="connsiteX1" fmla="*/ 2645 w 9345"/>
                  <a:gd name="connsiteY1" fmla="*/ 13401 h 14547"/>
                  <a:gd name="connsiteX2" fmla="*/ 4408 w 9345"/>
                  <a:gd name="connsiteY2" fmla="*/ 11109 h 14547"/>
                  <a:gd name="connsiteX3" fmla="*/ 5026 w 9345"/>
                  <a:gd name="connsiteY3" fmla="*/ 11109 h 14547"/>
                  <a:gd name="connsiteX4" fmla="*/ 6436 w 9345"/>
                  <a:gd name="connsiteY4" fmla="*/ 12520 h 14547"/>
                  <a:gd name="connsiteX5" fmla="*/ 5819 w 9345"/>
                  <a:gd name="connsiteY5" fmla="*/ 10492 h 14547"/>
                  <a:gd name="connsiteX6" fmla="*/ 1763 w 9345"/>
                  <a:gd name="connsiteY6" fmla="*/ 9610 h 14547"/>
                  <a:gd name="connsiteX7" fmla="*/ 0 w 9345"/>
                  <a:gd name="connsiteY7" fmla="*/ 5554 h 14547"/>
                  <a:gd name="connsiteX8" fmla="*/ 5026 w 9345"/>
                  <a:gd name="connsiteY8" fmla="*/ 0 h 14547"/>
                  <a:gd name="connsiteX9" fmla="*/ 5555 w 9345"/>
                  <a:gd name="connsiteY9" fmla="*/ 264 h 14547"/>
                  <a:gd name="connsiteX10" fmla="*/ 7318 w 9345"/>
                  <a:gd name="connsiteY10" fmla="*/ 4408 h 14547"/>
                  <a:gd name="connsiteX11" fmla="*/ 9082 w 9345"/>
                  <a:gd name="connsiteY11" fmla="*/ 6172 h 14547"/>
                  <a:gd name="connsiteX12" fmla="*/ 9082 w 9345"/>
                  <a:gd name="connsiteY12" fmla="*/ 7582 h 14547"/>
                  <a:gd name="connsiteX13" fmla="*/ 8200 w 9345"/>
                  <a:gd name="connsiteY13" fmla="*/ 8464 h 14547"/>
                  <a:gd name="connsiteX14" fmla="*/ 9346 w 9345"/>
                  <a:gd name="connsiteY14" fmla="*/ 8729 h 14547"/>
                  <a:gd name="connsiteX15" fmla="*/ 7582 w 9345"/>
                  <a:gd name="connsiteY15" fmla="*/ 13754 h 14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345" h="14547">
                    <a:moveTo>
                      <a:pt x="4408" y="14548"/>
                    </a:moveTo>
                    <a:lnTo>
                      <a:pt x="2645" y="13401"/>
                    </a:lnTo>
                    <a:lnTo>
                      <a:pt x="4408" y="11109"/>
                    </a:lnTo>
                    <a:lnTo>
                      <a:pt x="5026" y="11109"/>
                    </a:lnTo>
                    <a:lnTo>
                      <a:pt x="6436" y="12520"/>
                    </a:lnTo>
                    <a:lnTo>
                      <a:pt x="5819" y="10492"/>
                    </a:lnTo>
                    <a:lnTo>
                      <a:pt x="1763" y="9610"/>
                    </a:lnTo>
                    <a:lnTo>
                      <a:pt x="0" y="5554"/>
                    </a:lnTo>
                    <a:lnTo>
                      <a:pt x="5026" y="0"/>
                    </a:lnTo>
                    <a:lnTo>
                      <a:pt x="5555" y="264"/>
                    </a:lnTo>
                    <a:lnTo>
                      <a:pt x="7318" y="4408"/>
                    </a:lnTo>
                    <a:lnTo>
                      <a:pt x="9082" y="6172"/>
                    </a:lnTo>
                    <a:lnTo>
                      <a:pt x="9082" y="7582"/>
                    </a:lnTo>
                    <a:lnTo>
                      <a:pt x="8200" y="8464"/>
                    </a:lnTo>
                    <a:lnTo>
                      <a:pt x="9346" y="8729"/>
                    </a:lnTo>
                    <a:lnTo>
                      <a:pt x="7582" y="1375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8" name="Freihandform: Form 1997">
                <a:extLst>
                  <a:ext uri="{FF2B5EF4-FFF2-40B4-BE49-F238E27FC236}">
                    <a16:creationId xmlns:a16="http://schemas.microsoft.com/office/drawing/2014/main" id="{70C119EE-A40B-6308-B5A3-BED1807C5C44}"/>
                  </a:ext>
                </a:extLst>
              </p:cNvPr>
              <p:cNvSpPr/>
              <p:nvPr/>
            </p:nvSpPr>
            <p:spPr>
              <a:xfrm>
                <a:off x="6578143" y="4017259"/>
                <a:ext cx="27772" cy="30329"/>
              </a:xfrm>
              <a:custGeom>
                <a:avLst/>
                <a:gdLst>
                  <a:gd name="connsiteX0" fmla="*/ 20279 w 27772"/>
                  <a:gd name="connsiteY0" fmla="*/ 8729 h 30329"/>
                  <a:gd name="connsiteX1" fmla="*/ 19397 w 27772"/>
                  <a:gd name="connsiteY1" fmla="*/ 10228 h 30329"/>
                  <a:gd name="connsiteX2" fmla="*/ 16487 w 27772"/>
                  <a:gd name="connsiteY2" fmla="*/ 11109 h 30329"/>
                  <a:gd name="connsiteX3" fmla="*/ 14988 w 27772"/>
                  <a:gd name="connsiteY3" fmla="*/ 13137 h 30329"/>
                  <a:gd name="connsiteX4" fmla="*/ 16487 w 27772"/>
                  <a:gd name="connsiteY4" fmla="*/ 20102 h 30329"/>
                  <a:gd name="connsiteX5" fmla="*/ 17369 w 27772"/>
                  <a:gd name="connsiteY5" fmla="*/ 20102 h 30329"/>
                  <a:gd name="connsiteX6" fmla="*/ 17105 w 27772"/>
                  <a:gd name="connsiteY6" fmla="*/ 22130 h 30329"/>
                  <a:gd name="connsiteX7" fmla="*/ 15605 w 27772"/>
                  <a:gd name="connsiteY7" fmla="*/ 24158 h 30329"/>
                  <a:gd name="connsiteX8" fmla="*/ 16487 w 27772"/>
                  <a:gd name="connsiteY8" fmla="*/ 24158 h 30329"/>
                  <a:gd name="connsiteX9" fmla="*/ 15341 w 27772"/>
                  <a:gd name="connsiteY9" fmla="*/ 27685 h 30329"/>
                  <a:gd name="connsiteX10" fmla="*/ 12696 w 27772"/>
                  <a:gd name="connsiteY10" fmla="*/ 30330 h 30329"/>
                  <a:gd name="connsiteX11" fmla="*/ 11285 w 27772"/>
                  <a:gd name="connsiteY11" fmla="*/ 30330 h 30329"/>
                  <a:gd name="connsiteX12" fmla="*/ 7759 w 27772"/>
                  <a:gd name="connsiteY12" fmla="*/ 24246 h 30329"/>
                  <a:gd name="connsiteX13" fmla="*/ 5995 w 27772"/>
                  <a:gd name="connsiteY13" fmla="*/ 24511 h 30329"/>
                  <a:gd name="connsiteX14" fmla="*/ 4849 w 27772"/>
                  <a:gd name="connsiteY14" fmla="*/ 23894 h 30329"/>
                  <a:gd name="connsiteX15" fmla="*/ 5202 w 27772"/>
                  <a:gd name="connsiteY15" fmla="*/ 22395 h 30329"/>
                  <a:gd name="connsiteX16" fmla="*/ 3174 w 27772"/>
                  <a:gd name="connsiteY16" fmla="*/ 17722 h 30329"/>
                  <a:gd name="connsiteX17" fmla="*/ 0 w 27772"/>
                  <a:gd name="connsiteY17" fmla="*/ 16223 h 30329"/>
                  <a:gd name="connsiteX18" fmla="*/ 2028 w 27772"/>
                  <a:gd name="connsiteY18" fmla="*/ 15958 h 30329"/>
                  <a:gd name="connsiteX19" fmla="*/ 2557 w 27772"/>
                  <a:gd name="connsiteY19" fmla="*/ 15077 h 30329"/>
                  <a:gd name="connsiteX20" fmla="*/ 3791 w 27772"/>
                  <a:gd name="connsiteY20" fmla="*/ 15077 h 30329"/>
                  <a:gd name="connsiteX21" fmla="*/ 3791 w 27772"/>
                  <a:gd name="connsiteY21" fmla="*/ 13930 h 30329"/>
                  <a:gd name="connsiteX22" fmla="*/ 5290 w 27772"/>
                  <a:gd name="connsiteY22" fmla="*/ 13314 h 30329"/>
                  <a:gd name="connsiteX23" fmla="*/ 7053 w 27772"/>
                  <a:gd name="connsiteY23" fmla="*/ 11286 h 30329"/>
                  <a:gd name="connsiteX24" fmla="*/ 8200 w 27772"/>
                  <a:gd name="connsiteY24" fmla="*/ 9522 h 30329"/>
                  <a:gd name="connsiteX25" fmla="*/ 10845 w 27772"/>
                  <a:gd name="connsiteY25" fmla="*/ 10404 h 30329"/>
                  <a:gd name="connsiteX26" fmla="*/ 9963 w 27772"/>
                  <a:gd name="connsiteY26" fmla="*/ 9258 h 30329"/>
                  <a:gd name="connsiteX27" fmla="*/ 10845 w 27772"/>
                  <a:gd name="connsiteY27" fmla="*/ 7847 h 30329"/>
                  <a:gd name="connsiteX28" fmla="*/ 11991 w 27772"/>
                  <a:gd name="connsiteY28" fmla="*/ 3439 h 30329"/>
                  <a:gd name="connsiteX29" fmla="*/ 11991 w 27772"/>
                  <a:gd name="connsiteY29" fmla="*/ 2292 h 30329"/>
                  <a:gd name="connsiteX30" fmla="*/ 12608 w 27772"/>
                  <a:gd name="connsiteY30" fmla="*/ 2909 h 30329"/>
                  <a:gd name="connsiteX31" fmla="*/ 13225 w 27772"/>
                  <a:gd name="connsiteY31" fmla="*/ 2645 h 30329"/>
                  <a:gd name="connsiteX32" fmla="*/ 13225 w 27772"/>
                  <a:gd name="connsiteY32" fmla="*/ 2028 h 30329"/>
                  <a:gd name="connsiteX33" fmla="*/ 15253 w 27772"/>
                  <a:gd name="connsiteY33" fmla="*/ 1763 h 30329"/>
                  <a:gd name="connsiteX34" fmla="*/ 16752 w 27772"/>
                  <a:gd name="connsiteY34" fmla="*/ 0 h 30329"/>
                  <a:gd name="connsiteX35" fmla="*/ 18780 w 27772"/>
                  <a:gd name="connsiteY35" fmla="*/ 264 h 30329"/>
                  <a:gd name="connsiteX36" fmla="*/ 19661 w 27772"/>
                  <a:gd name="connsiteY36" fmla="*/ 2292 h 30329"/>
                  <a:gd name="connsiteX37" fmla="*/ 19926 w 27772"/>
                  <a:gd name="connsiteY37" fmla="*/ 4320 h 30329"/>
                  <a:gd name="connsiteX38" fmla="*/ 19926 w 27772"/>
                  <a:gd name="connsiteY38" fmla="*/ 5731 h 30329"/>
                  <a:gd name="connsiteX39" fmla="*/ 22571 w 27772"/>
                  <a:gd name="connsiteY39" fmla="*/ 5114 h 30329"/>
                  <a:gd name="connsiteX40" fmla="*/ 21954 w 27772"/>
                  <a:gd name="connsiteY40" fmla="*/ 5995 h 30329"/>
                  <a:gd name="connsiteX41" fmla="*/ 21072 w 27772"/>
                  <a:gd name="connsiteY41" fmla="*/ 7406 h 30329"/>
                  <a:gd name="connsiteX42" fmla="*/ 19661 w 27772"/>
                  <a:gd name="connsiteY42" fmla="*/ 8552 h 30329"/>
                  <a:gd name="connsiteX43" fmla="*/ 20279 w 27772"/>
                  <a:gd name="connsiteY43" fmla="*/ 8552 h 30329"/>
                  <a:gd name="connsiteX44" fmla="*/ 23188 w 27772"/>
                  <a:gd name="connsiteY44" fmla="*/ 8464 h 30329"/>
                  <a:gd name="connsiteX45" fmla="*/ 25216 w 27772"/>
                  <a:gd name="connsiteY45" fmla="*/ 12873 h 30329"/>
                  <a:gd name="connsiteX46" fmla="*/ 25745 w 27772"/>
                  <a:gd name="connsiteY46" fmla="*/ 17810 h 30329"/>
                  <a:gd name="connsiteX47" fmla="*/ 27773 w 27772"/>
                  <a:gd name="connsiteY47" fmla="*/ 22747 h 30329"/>
                  <a:gd name="connsiteX48" fmla="*/ 27155 w 27772"/>
                  <a:gd name="connsiteY48" fmla="*/ 23277 h 30329"/>
                  <a:gd name="connsiteX49" fmla="*/ 21866 w 27772"/>
                  <a:gd name="connsiteY49" fmla="*/ 21249 h 30329"/>
                  <a:gd name="connsiteX50" fmla="*/ 20455 w 27772"/>
                  <a:gd name="connsiteY50" fmla="*/ 14548 h 30329"/>
                  <a:gd name="connsiteX51" fmla="*/ 20455 w 27772"/>
                  <a:gd name="connsiteY51" fmla="*/ 10492 h 30329"/>
                  <a:gd name="connsiteX52" fmla="*/ 22835 w 27772"/>
                  <a:gd name="connsiteY52" fmla="*/ 9610 h 30329"/>
                  <a:gd name="connsiteX53" fmla="*/ 22218 w 27772"/>
                  <a:gd name="connsiteY53" fmla="*/ 8729 h 30329"/>
                  <a:gd name="connsiteX54" fmla="*/ 23188 w 27772"/>
                  <a:gd name="connsiteY54" fmla="*/ 8464 h 30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7772" h="30329">
                    <a:moveTo>
                      <a:pt x="20279" y="8729"/>
                    </a:moveTo>
                    <a:lnTo>
                      <a:pt x="19397" y="10228"/>
                    </a:lnTo>
                    <a:lnTo>
                      <a:pt x="16487" y="11109"/>
                    </a:lnTo>
                    <a:lnTo>
                      <a:pt x="14988" y="13137"/>
                    </a:lnTo>
                    <a:lnTo>
                      <a:pt x="16487" y="20102"/>
                    </a:lnTo>
                    <a:lnTo>
                      <a:pt x="17369" y="20102"/>
                    </a:lnTo>
                    <a:lnTo>
                      <a:pt x="17105" y="22130"/>
                    </a:lnTo>
                    <a:lnTo>
                      <a:pt x="15605" y="24158"/>
                    </a:lnTo>
                    <a:lnTo>
                      <a:pt x="16487" y="24158"/>
                    </a:lnTo>
                    <a:lnTo>
                      <a:pt x="15341" y="27685"/>
                    </a:lnTo>
                    <a:lnTo>
                      <a:pt x="12696" y="30330"/>
                    </a:lnTo>
                    <a:lnTo>
                      <a:pt x="11285" y="30330"/>
                    </a:lnTo>
                    <a:lnTo>
                      <a:pt x="7759" y="24246"/>
                    </a:lnTo>
                    <a:lnTo>
                      <a:pt x="5995" y="24511"/>
                    </a:lnTo>
                    <a:lnTo>
                      <a:pt x="4849" y="23894"/>
                    </a:lnTo>
                    <a:lnTo>
                      <a:pt x="5202" y="22395"/>
                    </a:lnTo>
                    <a:lnTo>
                      <a:pt x="3174" y="17722"/>
                    </a:lnTo>
                    <a:lnTo>
                      <a:pt x="0" y="16223"/>
                    </a:lnTo>
                    <a:lnTo>
                      <a:pt x="2028" y="15958"/>
                    </a:lnTo>
                    <a:lnTo>
                      <a:pt x="2557" y="15077"/>
                    </a:lnTo>
                    <a:lnTo>
                      <a:pt x="3791" y="15077"/>
                    </a:lnTo>
                    <a:lnTo>
                      <a:pt x="3791" y="13930"/>
                    </a:lnTo>
                    <a:lnTo>
                      <a:pt x="5290" y="13314"/>
                    </a:lnTo>
                    <a:lnTo>
                      <a:pt x="7053" y="11286"/>
                    </a:lnTo>
                    <a:lnTo>
                      <a:pt x="8200" y="9522"/>
                    </a:lnTo>
                    <a:lnTo>
                      <a:pt x="10845" y="10404"/>
                    </a:lnTo>
                    <a:lnTo>
                      <a:pt x="9963" y="9258"/>
                    </a:lnTo>
                    <a:lnTo>
                      <a:pt x="10845" y="7847"/>
                    </a:lnTo>
                    <a:lnTo>
                      <a:pt x="11991" y="3439"/>
                    </a:lnTo>
                    <a:lnTo>
                      <a:pt x="11991" y="2292"/>
                    </a:lnTo>
                    <a:lnTo>
                      <a:pt x="12608" y="2909"/>
                    </a:lnTo>
                    <a:lnTo>
                      <a:pt x="13225" y="2645"/>
                    </a:lnTo>
                    <a:lnTo>
                      <a:pt x="13225" y="2028"/>
                    </a:lnTo>
                    <a:lnTo>
                      <a:pt x="15253" y="1763"/>
                    </a:lnTo>
                    <a:lnTo>
                      <a:pt x="16752" y="0"/>
                    </a:lnTo>
                    <a:lnTo>
                      <a:pt x="18780" y="264"/>
                    </a:lnTo>
                    <a:lnTo>
                      <a:pt x="19661" y="2292"/>
                    </a:lnTo>
                    <a:lnTo>
                      <a:pt x="19926" y="4320"/>
                    </a:lnTo>
                    <a:lnTo>
                      <a:pt x="19926" y="5731"/>
                    </a:lnTo>
                    <a:lnTo>
                      <a:pt x="22571" y="5114"/>
                    </a:lnTo>
                    <a:lnTo>
                      <a:pt x="21954" y="5995"/>
                    </a:lnTo>
                    <a:lnTo>
                      <a:pt x="21072" y="7406"/>
                    </a:lnTo>
                    <a:lnTo>
                      <a:pt x="19661" y="8552"/>
                    </a:lnTo>
                    <a:lnTo>
                      <a:pt x="20279" y="8552"/>
                    </a:lnTo>
                    <a:close/>
                    <a:moveTo>
                      <a:pt x="23188" y="8464"/>
                    </a:moveTo>
                    <a:lnTo>
                      <a:pt x="25216" y="12873"/>
                    </a:lnTo>
                    <a:lnTo>
                      <a:pt x="25745" y="17810"/>
                    </a:lnTo>
                    <a:lnTo>
                      <a:pt x="27773" y="22747"/>
                    </a:lnTo>
                    <a:lnTo>
                      <a:pt x="27155" y="23277"/>
                    </a:lnTo>
                    <a:lnTo>
                      <a:pt x="21866" y="21249"/>
                    </a:lnTo>
                    <a:lnTo>
                      <a:pt x="20455" y="14548"/>
                    </a:lnTo>
                    <a:lnTo>
                      <a:pt x="20455" y="10492"/>
                    </a:lnTo>
                    <a:lnTo>
                      <a:pt x="22835" y="9610"/>
                    </a:lnTo>
                    <a:lnTo>
                      <a:pt x="22218" y="8729"/>
                    </a:lnTo>
                    <a:lnTo>
                      <a:pt x="23188" y="846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9" name="Freihandform: Form 1998">
                <a:extLst>
                  <a:ext uri="{FF2B5EF4-FFF2-40B4-BE49-F238E27FC236}">
                    <a16:creationId xmlns:a16="http://schemas.microsoft.com/office/drawing/2014/main" id="{E36560F6-97DF-87C1-CA8E-4838C008B31B}"/>
                  </a:ext>
                </a:extLst>
              </p:cNvPr>
              <p:cNvSpPr/>
              <p:nvPr/>
            </p:nvSpPr>
            <p:spPr>
              <a:xfrm>
                <a:off x="6646209" y="3515669"/>
                <a:ext cx="35884" cy="86845"/>
              </a:xfrm>
              <a:custGeom>
                <a:avLst/>
                <a:gdLst>
                  <a:gd name="connsiteX0" fmla="*/ 29537 w 35884"/>
                  <a:gd name="connsiteY0" fmla="*/ 86581 h 86845"/>
                  <a:gd name="connsiteX1" fmla="*/ 29184 w 35884"/>
                  <a:gd name="connsiteY1" fmla="*/ 86846 h 86845"/>
                  <a:gd name="connsiteX2" fmla="*/ 28302 w 35884"/>
                  <a:gd name="connsiteY2" fmla="*/ 86846 h 86845"/>
                  <a:gd name="connsiteX3" fmla="*/ 26891 w 35884"/>
                  <a:gd name="connsiteY3" fmla="*/ 86581 h 86845"/>
                  <a:gd name="connsiteX4" fmla="*/ 26274 w 35884"/>
                  <a:gd name="connsiteY4" fmla="*/ 85700 h 86845"/>
                  <a:gd name="connsiteX5" fmla="*/ 25745 w 35884"/>
                  <a:gd name="connsiteY5" fmla="*/ 85700 h 86845"/>
                  <a:gd name="connsiteX6" fmla="*/ 25128 w 35884"/>
                  <a:gd name="connsiteY6" fmla="*/ 86581 h 86845"/>
                  <a:gd name="connsiteX7" fmla="*/ 24511 w 35884"/>
                  <a:gd name="connsiteY7" fmla="*/ 86317 h 86845"/>
                  <a:gd name="connsiteX8" fmla="*/ 23982 w 35884"/>
                  <a:gd name="connsiteY8" fmla="*/ 85700 h 86845"/>
                  <a:gd name="connsiteX9" fmla="*/ 23982 w 35884"/>
                  <a:gd name="connsiteY9" fmla="*/ 84818 h 86845"/>
                  <a:gd name="connsiteX10" fmla="*/ 23365 w 35884"/>
                  <a:gd name="connsiteY10" fmla="*/ 84553 h 86845"/>
                  <a:gd name="connsiteX11" fmla="*/ 22748 w 35884"/>
                  <a:gd name="connsiteY11" fmla="*/ 83055 h 86845"/>
                  <a:gd name="connsiteX12" fmla="*/ 22483 w 35884"/>
                  <a:gd name="connsiteY12" fmla="*/ 82173 h 86845"/>
                  <a:gd name="connsiteX13" fmla="*/ 22748 w 35884"/>
                  <a:gd name="connsiteY13" fmla="*/ 81644 h 86845"/>
                  <a:gd name="connsiteX14" fmla="*/ 22219 w 35884"/>
                  <a:gd name="connsiteY14" fmla="*/ 79881 h 86845"/>
                  <a:gd name="connsiteX15" fmla="*/ 20720 w 35884"/>
                  <a:gd name="connsiteY15" fmla="*/ 78734 h 86845"/>
                  <a:gd name="connsiteX16" fmla="*/ 20720 w 35884"/>
                  <a:gd name="connsiteY16" fmla="*/ 78999 h 86845"/>
                  <a:gd name="connsiteX17" fmla="*/ 20190 w 35884"/>
                  <a:gd name="connsiteY17" fmla="*/ 78734 h 86845"/>
                  <a:gd name="connsiteX18" fmla="*/ 19838 w 35884"/>
                  <a:gd name="connsiteY18" fmla="*/ 77853 h 86845"/>
                  <a:gd name="connsiteX19" fmla="*/ 18692 w 35884"/>
                  <a:gd name="connsiteY19" fmla="*/ 76971 h 86845"/>
                  <a:gd name="connsiteX20" fmla="*/ 19045 w 35884"/>
                  <a:gd name="connsiteY20" fmla="*/ 76089 h 86845"/>
                  <a:gd name="connsiteX21" fmla="*/ 17810 w 35884"/>
                  <a:gd name="connsiteY21" fmla="*/ 75825 h 86845"/>
                  <a:gd name="connsiteX22" fmla="*/ 16664 w 35884"/>
                  <a:gd name="connsiteY22" fmla="*/ 75825 h 86845"/>
                  <a:gd name="connsiteX23" fmla="*/ 14900 w 35884"/>
                  <a:gd name="connsiteY23" fmla="*/ 75825 h 86845"/>
                  <a:gd name="connsiteX24" fmla="*/ 14019 w 35884"/>
                  <a:gd name="connsiteY24" fmla="*/ 75208 h 86845"/>
                  <a:gd name="connsiteX25" fmla="*/ 12873 w 35884"/>
                  <a:gd name="connsiteY25" fmla="*/ 75208 h 86845"/>
                  <a:gd name="connsiteX26" fmla="*/ 11462 w 35884"/>
                  <a:gd name="connsiteY26" fmla="*/ 74326 h 86845"/>
                  <a:gd name="connsiteX27" fmla="*/ 10492 w 35884"/>
                  <a:gd name="connsiteY27" fmla="*/ 74591 h 86845"/>
                  <a:gd name="connsiteX28" fmla="*/ 10228 w 35884"/>
                  <a:gd name="connsiteY28" fmla="*/ 74061 h 86845"/>
                  <a:gd name="connsiteX29" fmla="*/ 9699 w 35884"/>
                  <a:gd name="connsiteY29" fmla="*/ 74061 h 86845"/>
                  <a:gd name="connsiteX30" fmla="*/ 8464 w 35884"/>
                  <a:gd name="connsiteY30" fmla="*/ 72298 h 86845"/>
                  <a:gd name="connsiteX31" fmla="*/ 8200 w 35884"/>
                  <a:gd name="connsiteY31" fmla="*/ 71152 h 86845"/>
                  <a:gd name="connsiteX32" fmla="*/ 7671 w 35884"/>
                  <a:gd name="connsiteY32" fmla="*/ 70799 h 86845"/>
                  <a:gd name="connsiteX33" fmla="*/ 7053 w 35884"/>
                  <a:gd name="connsiteY33" fmla="*/ 69388 h 86845"/>
                  <a:gd name="connsiteX34" fmla="*/ 6789 w 35884"/>
                  <a:gd name="connsiteY34" fmla="*/ 68771 h 86845"/>
                  <a:gd name="connsiteX35" fmla="*/ 6789 w 35884"/>
                  <a:gd name="connsiteY35" fmla="*/ 67625 h 86845"/>
                  <a:gd name="connsiteX36" fmla="*/ 7935 w 35884"/>
                  <a:gd name="connsiteY36" fmla="*/ 69388 h 86845"/>
                  <a:gd name="connsiteX37" fmla="*/ 8200 w 35884"/>
                  <a:gd name="connsiteY37" fmla="*/ 69124 h 86845"/>
                  <a:gd name="connsiteX38" fmla="*/ 8200 w 35884"/>
                  <a:gd name="connsiteY38" fmla="*/ 68771 h 86845"/>
                  <a:gd name="connsiteX39" fmla="*/ 7671 w 35884"/>
                  <a:gd name="connsiteY39" fmla="*/ 68242 h 86845"/>
                  <a:gd name="connsiteX40" fmla="*/ 6789 w 35884"/>
                  <a:gd name="connsiteY40" fmla="*/ 67096 h 86845"/>
                  <a:gd name="connsiteX41" fmla="*/ 6172 w 35884"/>
                  <a:gd name="connsiteY41" fmla="*/ 66479 h 86845"/>
                  <a:gd name="connsiteX42" fmla="*/ 6172 w 35884"/>
                  <a:gd name="connsiteY42" fmla="*/ 64980 h 86845"/>
                  <a:gd name="connsiteX43" fmla="*/ 5555 w 35884"/>
                  <a:gd name="connsiteY43" fmla="*/ 63217 h 86845"/>
                  <a:gd name="connsiteX44" fmla="*/ 5026 w 35884"/>
                  <a:gd name="connsiteY44" fmla="*/ 62688 h 86845"/>
                  <a:gd name="connsiteX45" fmla="*/ 4408 w 35884"/>
                  <a:gd name="connsiteY45" fmla="*/ 63217 h 86845"/>
                  <a:gd name="connsiteX46" fmla="*/ 3879 w 35884"/>
                  <a:gd name="connsiteY46" fmla="*/ 64098 h 86845"/>
                  <a:gd name="connsiteX47" fmla="*/ 2998 w 35884"/>
                  <a:gd name="connsiteY47" fmla="*/ 63834 h 86845"/>
                  <a:gd name="connsiteX48" fmla="*/ 2116 w 35884"/>
                  <a:gd name="connsiteY48" fmla="*/ 62952 h 86845"/>
                  <a:gd name="connsiteX49" fmla="*/ 1763 w 35884"/>
                  <a:gd name="connsiteY49" fmla="*/ 62070 h 86845"/>
                  <a:gd name="connsiteX50" fmla="*/ 1763 w 35884"/>
                  <a:gd name="connsiteY50" fmla="*/ 61541 h 86845"/>
                  <a:gd name="connsiteX51" fmla="*/ 2998 w 35884"/>
                  <a:gd name="connsiteY51" fmla="*/ 61541 h 86845"/>
                  <a:gd name="connsiteX52" fmla="*/ 2645 w 35884"/>
                  <a:gd name="connsiteY52" fmla="*/ 59778 h 86845"/>
                  <a:gd name="connsiteX53" fmla="*/ 2645 w 35884"/>
                  <a:gd name="connsiteY53" fmla="*/ 58279 h 86845"/>
                  <a:gd name="connsiteX54" fmla="*/ 2645 w 35884"/>
                  <a:gd name="connsiteY54" fmla="*/ 56251 h 86845"/>
                  <a:gd name="connsiteX55" fmla="*/ 2116 w 35884"/>
                  <a:gd name="connsiteY55" fmla="*/ 55370 h 86845"/>
                  <a:gd name="connsiteX56" fmla="*/ 1499 w 35884"/>
                  <a:gd name="connsiteY56" fmla="*/ 55987 h 86845"/>
                  <a:gd name="connsiteX57" fmla="*/ 1234 w 35884"/>
                  <a:gd name="connsiteY57" fmla="*/ 56780 h 86845"/>
                  <a:gd name="connsiteX58" fmla="*/ 617 w 35884"/>
                  <a:gd name="connsiteY58" fmla="*/ 57398 h 86845"/>
                  <a:gd name="connsiteX59" fmla="*/ 617 w 35884"/>
                  <a:gd name="connsiteY59" fmla="*/ 57133 h 86845"/>
                  <a:gd name="connsiteX60" fmla="*/ 970 w 35884"/>
                  <a:gd name="connsiteY60" fmla="*/ 55370 h 86845"/>
                  <a:gd name="connsiteX61" fmla="*/ 1234 w 35884"/>
                  <a:gd name="connsiteY61" fmla="*/ 54488 h 86845"/>
                  <a:gd name="connsiteX62" fmla="*/ 1763 w 35884"/>
                  <a:gd name="connsiteY62" fmla="*/ 54488 h 86845"/>
                  <a:gd name="connsiteX63" fmla="*/ 2116 w 35884"/>
                  <a:gd name="connsiteY63" fmla="*/ 53959 h 86845"/>
                  <a:gd name="connsiteX64" fmla="*/ 1499 w 35884"/>
                  <a:gd name="connsiteY64" fmla="*/ 51843 h 86845"/>
                  <a:gd name="connsiteX65" fmla="*/ 970 w 35884"/>
                  <a:gd name="connsiteY65" fmla="*/ 51579 h 86845"/>
                  <a:gd name="connsiteX66" fmla="*/ 617 w 35884"/>
                  <a:gd name="connsiteY66" fmla="*/ 50168 h 86845"/>
                  <a:gd name="connsiteX67" fmla="*/ 0 w 35884"/>
                  <a:gd name="connsiteY67" fmla="*/ 48669 h 86845"/>
                  <a:gd name="connsiteX68" fmla="*/ 0 w 35884"/>
                  <a:gd name="connsiteY68" fmla="*/ 46906 h 86845"/>
                  <a:gd name="connsiteX69" fmla="*/ 617 w 35884"/>
                  <a:gd name="connsiteY69" fmla="*/ 47523 h 86845"/>
                  <a:gd name="connsiteX70" fmla="*/ 352 w 35884"/>
                  <a:gd name="connsiteY70" fmla="*/ 46024 h 86845"/>
                  <a:gd name="connsiteX71" fmla="*/ 352 w 35884"/>
                  <a:gd name="connsiteY71" fmla="*/ 44261 h 86845"/>
                  <a:gd name="connsiteX72" fmla="*/ 352 w 35884"/>
                  <a:gd name="connsiteY72" fmla="*/ 42233 h 86845"/>
                  <a:gd name="connsiteX73" fmla="*/ 1234 w 35884"/>
                  <a:gd name="connsiteY73" fmla="*/ 41086 h 86845"/>
                  <a:gd name="connsiteX74" fmla="*/ 1499 w 35884"/>
                  <a:gd name="connsiteY74" fmla="*/ 42233 h 86845"/>
                  <a:gd name="connsiteX75" fmla="*/ 2116 w 35884"/>
                  <a:gd name="connsiteY75" fmla="*/ 42497 h 86845"/>
                  <a:gd name="connsiteX76" fmla="*/ 2381 w 35884"/>
                  <a:gd name="connsiteY76" fmla="*/ 41968 h 86845"/>
                  <a:gd name="connsiteX77" fmla="*/ 2116 w 35884"/>
                  <a:gd name="connsiteY77" fmla="*/ 41086 h 86845"/>
                  <a:gd name="connsiteX78" fmla="*/ 1234 w 35884"/>
                  <a:gd name="connsiteY78" fmla="*/ 40205 h 86845"/>
                  <a:gd name="connsiteX79" fmla="*/ 970 w 35884"/>
                  <a:gd name="connsiteY79" fmla="*/ 37912 h 86845"/>
                  <a:gd name="connsiteX80" fmla="*/ 970 w 35884"/>
                  <a:gd name="connsiteY80" fmla="*/ 35796 h 86845"/>
                  <a:gd name="connsiteX81" fmla="*/ 1499 w 35884"/>
                  <a:gd name="connsiteY81" fmla="*/ 35003 h 86845"/>
                  <a:gd name="connsiteX82" fmla="*/ 1763 w 35884"/>
                  <a:gd name="connsiteY82" fmla="*/ 36149 h 86845"/>
                  <a:gd name="connsiteX83" fmla="*/ 2116 w 35884"/>
                  <a:gd name="connsiteY83" fmla="*/ 34650 h 86845"/>
                  <a:gd name="connsiteX84" fmla="*/ 2381 w 35884"/>
                  <a:gd name="connsiteY84" fmla="*/ 33504 h 86845"/>
                  <a:gd name="connsiteX85" fmla="*/ 2381 w 35884"/>
                  <a:gd name="connsiteY85" fmla="*/ 31476 h 86845"/>
                  <a:gd name="connsiteX86" fmla="*/ 2998 w 35884"/>
                  <a:gd name="connsiteY86" fmla="*/ 30330 h 86845"/>
                  <a:gd name="connsiteX87" fmla="*/ 2998 w 35884"/>
                  <a:gd name="connsiteY87" fmla="*/ 27068 h 86845"/>
                  <a:gd name="connsiteX88" fmla="*/ 3879 w 35884"/>
                  <a:gd name="connsiteY88" fmla="*/ 26539 h 86845"/>
                  <a:gd name="connsiteX89" fmla="*/ 4144 w 35884"/>
                  <a:gd name="connsiteY89" fmla="*/ 27685 h 86845"/>
                  <a:gd name="connsiteX90" fmla="*/ 4673 w 35884"/>
                  <a:gd name="connsiteY90" fmla="*/ 26803 h 86845"/>
                  <a:gd name="connsiteX91" fmla="*/ 5026 w 35884"/>
                  <a:gd name="connsiteY91" fmla="*/ 25657 h 86845"/>
                  <a:gd name="connsiteX92" fmla="*/ 5907 w 35884"/>
                  <a:gd name="connsiteY92" fmla="*/ 25393 h 86845"/>
                  <a:gd name="connsiteX93" fmla="*/ 6436 w 35884"/>
                  <a:gd name="connsiteY93" fmla="*/ 25657 h 86845"/>
                  <a:gd name="connsiteX94" fmla="*/ 7053 w 35884"/>
                  <a:gd name="connsiteY94" fmla="*/ 25040 h 86845"/>
                  <a:gd name="connsiteX95" fmla="*/ 7053 w 35884"/>
                  <a:gd name="connsiteY95" fmla="*/ 23629 h 86845"/>
                  <a:gd name="connsiteX96" fmla="*/ 8200 w 35884"/>
                  <a:gd name="connsiteY96" fmla="*/ 21249 h 86845"/>
                  <a:gd name="connsiteX97" fmla="*/ 8817 w 35884"/>
                  <a:gd name="connsiteY97" fmla="*/ 20367 h 86845"/>
                  <a:gd name="connsiteX98" fmla="*/ 8464 w 35884"/>
                  <a:gd name="connsiteY98" fmla="*/ 19838 h 86845"/>
                  <a:gd name="connsiteX99" fmla="*/ 9082 w 35884"/>
                  <a:gd name="connsiteY99" fmla="*/ 18604 h 86845"/>
                  <a:gd name="connsiteX100" fmla="*/ 9963 w 35884"/>
                  <a:gd name="connsiteY100" fmla="*/ 18339 h 86845"/>
                  <a:gd name="connsiteX101" fmla="*/ 11462 w 35884"/>
                  <a:gd name="connsiteY101" fmla="*/ 17193 h 86845"/>
                  <a:gd name="connsiteX102" fmla="*/ 11991 w 35884"/>
                  <a:gd name="connsiteY102" fmla="*/ 15429 h 86845"/>
                  <a:gd name="connsiteX103" fmla="*/ 12256 w 35884"/>
                  <a:gd name="connsiteY103" fmla="*/ 13931 h 86845"/>
                  <a:gd name="connsiteX104" fmla="*/ 12256 w 35884"/>
                  <a:gd name="connsiteY104" fmla="*/ 12520 h 86845"/>
                  <a:gd name="connsiteX105" fmla="*/ 11727 w 35884"/>
                  <a:gd name="connsiteY105" fmla="*/ 11638 h 86845"/>
                  <a:gd name="connsiteX106" fmla="*/ 11109 w 35884"/>
                  <a:gd name="connsiteY106" fmla="*/ 13666 h 86845"/>
                  <a:gd name="connsiteX107" fmla="*/ 10492 w 35884"/>
                  <a:gd name="connsiteY107" fmla="*/ 13931 h 86845"/>
                  <a:gd name="connsiteX108" fmla="*/ 10845 w 35884"/>
                  <a:gd name="connsiteY108" fmla="*/ 12167 h 86845"/>
                  <a:gd name="connsiteX109" fmla="*/ 11462 w 35884"/>
                  <a:gd name="connsiteY109" fmla="*/ 10757 h 86845"/>
                  <a:gd name="connsiteX110" fmla="*/ 11991 w 35884"/>
                  <a:gd name="connsiteY110" fmla="*/ 9875 h 86845"/>
                  <a:gd name="connsiteX111" fmla="*/ 13490 w 35884"/>
                  <a:gd name="connsiteY111" fmla="*/ 8729 h 86845"/>
                  <a:gd name="connsiteX112" fmla="*/ 13225 w 35884"/>
                  <a:gd name="connsiteY112" fmla="*/ 7847 h 86845"/>
                  <a:gd name="connsiteX113" fmla="*/ 13490 w 35884"/>
                  <a:gd name="connsiteY113" fmla="*/ 6965 h 86845"/>
                  <a:gd name="connsiteX114" fmla="*/ 13754 w 35884"/>
                  <a:gd name="connsiteY114" fmla="*/ 6348 h 86845"/>
                  <a:gd name="connsiteX115" fmla="*/ 14636 w 35884"/>
                  <a:gd name="connsiteY115" fmla="*/ 6084 h 86845"/>
                  <a:gd name="connsiteX116" fmla="*/ 14019 w 35884"/>
                  <a:gd name="connsiteY116" fmla="*/ 7582 h 86845"/>
                  <a:gd name="connsiteX117" fmla="*/ 14636 w 35884"/>
                  <a:gd name="connsiteY117" fmla="*/ 7230 h 86845"/>
                  <a:gd name="connsiteX118" fmla="*/ 14636 w 35884"/>
                  <a:gd name="connsiteY118" fmla="*/ 6701 h 86845"/>
                  <a:gd name="connsiteX119" fmla="*/ 15518 w 35884"/>
                  <a:gd name="connsiteY119" fmla="*/ 6084 h 86845"/>
                  <a:gd name="connsiteX120" fmla="*/ 16664 w 35884"/>
                  <a:gd name="connsiteY120" fmla="*/ 5819 h 86845"/>
                  <a:gd name="connsiteX121" fmla="*/ 18163 w 35884"/>
                  <a:gd name="connsiteY121" fmla="*/ 5466 h 86845"/>
                  <a:gd name="connsiteX122" fmla="*/ 19309 w 35884"/>
                  <a:gd name="connsiteY122" fmla="*/ 5466 h 86845"/>
                  <a:gd name="connsiteX123" fmla="*/ 20190 w 35884"/>
                  <a:gd name="connsiteY123" fmla="*/ 6084 h 86845"/>
                  <a:gd name="connsiteX124" fmla="*/ 20455 w 35884"/>
                  <a:gd name="connsiteY124" fmla="*/ 5202 h 86845"/>
                  <a:gd name="connsiteX125" fmla="*/ 21072 w 35884"/>
                  <a:gd name="connsiteY125" fmla="*/ 5202 h 86845"/>
                  <a:gd name="connsiteX126" fmla="*/ 21601 w 35884"/>
                  <a:gd name="connsiteY126" fmla="*/ 4585 h 86845"/>
                  <a:gd name="connsiteX127" fmla="*/ 20455 w 35884"/>
                  <a:gd name="connsiteY127" fmla="*/ 3439 h 86845"/>
                  <a:gd name="connsiteX128" fmla="*/ 20720 w 35884"/>
                  <a:gd name="connsiteY128" fmla="*/ 1675 h 86845"/>
                  <a:gd name="connsiteX129" fmla="*/ 21601 w 35884"/>
                  <a:gd name="connsiteY129" fmla="*/ 882 h 86845"/>
                  <a:gd name="connsiteX130" fmla="*/ 21954 w 35884"/>
                  <a:gd name="connsiteY130" fmla="*/ 264 h 86845"/>
                  <a:gd name="connsiteX131" fmla="*/ 23100 w 35884"/>
                  <a:gd name="connsiteY131" fmla="*/ 529 h 86845"/>
                  <a:gd name="connsiteX132" fmla="*/ 23717 w 35884"/>
                  <a:gd name="connsiteY132" fmla="*/ 0 h 86845"/>
                  <a:gd name="connsiteX133" fmla="*/ 24511 w 35884"/>
                  <a:gd name="connsiteY133" fmla="*/ 0 h 86845"/>
                  <a:gd name="connsiteX134" fmla="*/ 25745 w 35884"/>
                  <a:gd name="connsiteY134" fmla="*/ 882 h 86845"/>
                  <a:gd name="connsiteX135" fmla="*/ 24864 w 35884"/>
                  <a:gd name="connsiteY135" fmla="*/ 882 h 86845"/>
                  <a:gd name="connsiteX136" fmla="*/ 25745 w 35884"/>
                  <a:gd name="connsiteY136" fmla="*/ 1675 h 86845"/>
                  <a:gd name="connsiteX137" fmla="*/ 26891 w 35884"/>
                  <a:gd name="connsiteY137" fmla="*/ 2292 h 86845"/>
                  <a:gd name="connsiteX138" fmla="*/ 29184 w 35884"/>
                  <a:gd name="connsiteY138" fmla="*/ 2028 h 86845"/>
                  <a:gd name="connsiteX139" fmla="*/ 30418 w 35884"/>
                  <a:gd name="connsiteY139" fmla="*/ 882 h 86845"/>
                  <a:gd name="connsiteX140" fmla="*/ 31564 w 35884"/>
                  <a:gd name="connsiteY140" fmla="*/ 1146 h 86845"/>
                  <a:gd name="connsiteX141" fmla="*/ 32358 w 35884"/>
                  <a:gd name="connsiteY141" fmla="*/ 2292 h 86845"/>
                  <a:gd name="connsiteX142" fmla="*/ 33328 w 35884"/>
                  <a:gd name="connsiteY142" fmla="*/ 3174 h 86845"/>
                  <a:gd name="connsiteX143" fmla="*/ 33592 w 35884"/>
                  <a:gd name="connsiteY143" fmla="*/ 4585 h 86845"/>
                  <a:gd name="connsiteX144" fmla="*/ 35003 w 35884"/>
                  <a:gd name="connsiteY144" fmla="*/ 4320 h 86845"/>
                  <a:gd name="connsiteX145" fmla="*/ 35620 w 35884"/>
                  <a:gd name="connsiteY145" fmla="*/ 4320 h 86845"/>
                  <a:gd name="connsiteX146" fmla="*/ 35885 w 35884"/>
                  <a:gd name="connsiteY146" fmla="*/ 5466 h 86845"/>
                  <a:gd name="connsiteX147" fmla="*/ 35003 w 35884"/>
                  <a:gd name="connsiteY147" fmla="*/ 6701 h 86845"/>
                  <a:gd name="connsiteX148" fmla="*/ 33857 w 35884"/>
                  <a:gd name="connsiteY148" fmla="*/ 6701 h 86845"/>
                  <a:gd name="connsiteX149" fmla="*/ 32711 w 35884"/>
                  <a:gd name="connsiteY149" fmla="*/ 7582 h 86845"/>
                  <a:gd name="connsiteX150" fmla="*/ 32711 w 35884"/>
                  <a:gd name="connsiteY150" fmla="*/ 8729 h 86845"/>
                  <a:gd name="connsiteX151" fmla="*/ 32093 w 35884"/>
                  <a:gd name="connsiteY151" fmla="*/ 9875 h 86845"/>
                  <a:gd name="connsiteX152" fmla="*/ 32093 w 35884"/>
                  <a:gd name="connsiteY152" fmla="*/ 11903 h 86845"/>
                  <a:gd name="connsiteX153" fmla="*/ 33328 w 35884"/>
                  <a:gd name="connsiteY153" fmla="*/ 12167 h 86845"/>
                  <a:gd name="connsiteX154" fmla="*/ 33592 w 35884"/>
                  <a:gd name="connsiteY154" fmla="*/ 13402 h 86845"/>
                  <a:gd name="connsiteX155" fmla="*/ 34474 w 35884"/>
                  <a:gd name="connsiteY155" fmla="*/ 13666 h 86845"/>
                  <a:gd name="connsiteX156" fmla="*/ 35003 w 35884"/>
                  <a:gd name="connsiteY156" fmla="*/ 14812 h 86845"/>
                  <a:gd name="connsiteX157" fmla="*/ 33857 w 35884"/>
                  <a:gd name="connsiteY157" fmla="*/ 14812 h 86845"/>
                  <a:gd name="connsiteX158" fmla="*/ 33857 w 35884"/>
                  <a:gd name="connsiteY158" fmla="*/ 15429 h 86845"/>
                  <a:gd name="connsiteX159" fmla="*/ 34209 w 35884"/>
                  <a:gd name="connsiteY159" fmla="*/ 16928 h 86845"/>
                  <a:gd name="connsiteX160" fmla="*/ 34474 w 35884"/>
                  <a:gd name="connsiteY160" fmla="*/ 18075 h 86845"/>
                  <a:gd name="connsiteX161" fmla="*/ 35003 w 35884"/>
                  <a:gd name="connsiteY161" fmla="*/ 18075 h 86845"/>
                  <a:gd name="connsiteX162" fmla="*/ 35885 w 35884"/>
                  <a:gd name="connsiteY162" fmla="*/ 17722 h 86845"/>
                  <a:gd name="connsiteX163" fmla="*/ 35885 w 35884"/>
                  <a:gd name="connsiteY163" fmla="*/ 18604 h 86845"/>
                  <a:gd name="connsiteX164" fmla="*/ 35885 w 35884"/>
                  <a:gd name="connsiteY164" fmla="*/ 20102 h 86845"/>
                  <a:gd name="connsiteX165" fmla="*/ 35356 w 35884"/>
                  <a:gd name="connsiteY165" fmla="*/ 20631 h 86845"/>
                  <a:gd name="connsiteX166" fmla="*/ 34474 w 35884"/>
                  <a:gd name="connsiteY166" fmla="*/ 21513 h 86845"/>
                  <a:gd name="connsiteX167" fmla="*/ 33592 w 35884"/>
                  <a:gd name="connsiteY167" fmla="*/ 22747 h 86845"/>
                  <a:gd name="connsiteX168" fmla="*/ 33328 w 35884"/>
                  <a:gd name="connsiteY168" fmla="*/ 25393 h 86845"/>
                  <a:gd name="connsiteX169" fmla="*/ 33857 w 35884"/>
                  <a:gd name="connsiteY169" fmla="*/ 25657 h 86845"/>
                  <a:gd name="connsiteX170" fmla="*/ 33857 w 35884"/>
                  <a:gd name="connsiteY170" fmla="*/ 25922 h 86845"/>
                  <a:gd name="connsiteX171" fmla="*/ 33857 w 35884"/>
                  <a:gd name="connsiteY171" fmla="*/ 26803 h 86845"/>
                  <a:gd name="connsiteX172" fmla="*/ 32358 w 35884"/>
                  <a:gd name="connsiteY172" fmla="*/ 28214 h 86845"/>
                  <a:gd name="connsiteX173" fmla="*/ 32358 w 35884"/>
                  <a:gd name="connsiteY173" fmla="*/ 29096 h 86845"/>
                  <a:gd name="connsiteX174" fmla="*/ 32975 w 35884"/>
                  <a:gd name="connsiteY174" fmla="*/ 31476 h 86845"/>
                  <a:gd name="connsiteX175" fmla="*/ 32975 w 35884"/>
                  <a:gd name="connsiteY175" fmla="*/ 33240 h 86845"/>
                  <a:gd name="connsiteX176" fmla="*/ 32711 w 35884"/>
                  <a:gd name="connsiteY176" fmla="*/ 34386 h 86845"/>
                  <a:gd name="connsiteX177" fmla="*/ 32093 w 35884"/>
                  <a:gd name="connsiteY177" fmla="*/ 35003 h 86845"/>
                  <a:gd name="connsiteX178" fmla="*/ 31829 w 35884"/>
                  <a:gd name="connsiteY178" fmla="*/ 35532 h 86845"/>
                  <a:gd name="connsiteX179" fmla="*/ 31211 w 35884"/>
                  <a:gd name="connsiteY179" fmla="*/ 35796 h 86845"/>
                  <a:gd name="connsiteX180" fmla="*/ 31211 w 35884"/>
                  <a:gd name="connsiteY180" fmla="*/ 37031 h 86845"/>
                  <a:gd name="connsiteX181" fmla="*/ 30947 w 35884"/>
                  <a:gd name="connsiteY181" fmla="*/ 37912 h 86845"/>
                  <a:gd name="connsiteX182" fmla="*/ 31829 w 35884"/>
                  <a:gd name="connsiteY182" fmla="*/ 39323 h 86845"/>
                  <a:gd name="connsiteX183" fmla="*/ 31829 w 35884"/>
                  <a:gd name="connsiteY183" fmla="*/ 40822 h 86845"/>
                  <a:gd name="connsiteX184" fmla="*/ 32975 w 35884"/>
                  <a:gd name="connsiteY184" fmla="*/ 42233 h 86845"/>
                  <a:gd name="connsiteX185" fmla="*/ 32975 w 35884"/>
                  <a:gd name="connsiteY185" fmla="*/ 43114 h 86845"/>
                  <a:gd name="connsiteX186" fmla="*/ 32975 w 35884"/>
                  <a:gd name="connsiteY186" fmla="*/ 43379 h 86845"/>
                  <a:gd name="connsiteX187" fmla="*/ 32358 w 35884"/>
                  <a:gd name="connsiteY187" fmla="*/ 44613 h 86845"/>
                  <a:gd name="connsiteX188" fmla="*/ 32093 w 35884"/>
                  <a:gd name="connsiteY188" fmla="*/ 45759 h 86845"/>
                  <a:gd name="connsiteX189" fmla="*/ 32358 w 35884"/>
                  <a:gd name="connsiteY189" fmla="*/ 46906 h 86845"/>
                  <a:gd name="connsiteX190" fmla="*/ 33592 w 35884"/>
                  <a:gd name="connsiteY190" fmla="*/ 48404 h 86845"/>
                  <a:gd name="connsiteX191" fmla="*/ 33857 w 35884"/>
                  <a:gd name="connsiteY191" fmla="*/ 49815 h 86845"/>
                  <a:gd name="connsiteX192" fmla="*/ 34474 w 35884"/>
                  <a:gd name="connsiteY192" fmla="*/ 52196 h 86845"/>
                  <a:gd name="connsiteX193" fmla="*/ 33857 w 35884"/>
                  <a:gd name="connsiteY193" fmla="*/ 54488 h 86845"/>
                  <a:gd name="connsiteX194" fmla="*/ 34209 w 35884"/>
                  <a:gd name="connsiteY194" fmla="*/ 56516 h 86845"/>
                  <a:gd name="connsiteX195" fmla="*/ 33857 w 35884"/>
                  <a:gd name="connsiteY195" fmla="*/ 58544 h 86845"/>
                  <a:gd name="connsiteX196" fmla="*/ 33328 w 35884"/>
                  <a:gd name="connsiteY196" fmla="*/ 59778 h 86845"/>
                  <a:gd name="connsiteX197" fmla="*/ 31829 w 35884"/>
                  <a:gd name="connsiteY197" fmla="*/ 60660 h 86845"/>
                  <a:gd name="connsiteX198" fmla="*/ 31564 w 35884"/>
                  <a:gd name="connsiteY198" fmla="*/ 61189 h 86845"/>
                  <a:gd name="connsiteX199" fmla="*/ 31564 w 35884"/>
                  <a:gd name="connsiteY199" fmla="*/ 62070 h 86845"/>
                  <a:gd name="connsiteX200" fmla="*/ 30418 w 35884"/>
                  <a:gd name="connsiteY200" fmla="*/ 62952 h 86845"/>
                  <a:gd name="connsiteX201" fmla="*/ 29537 w 35884"/>
                  <a:gd name="connsiteY201" fmla="*/ 63569 h 86845"/>
                  <a:gd name="connsiteX202" fmla="*/ 29184 w 35884"/>
                  <a:gd name="connsiteY202" fmla="*/ 64098 h 86845"/>
                  <a:gd name="connsiteX203" fmla="*/ 30066 w 35884"/>
                  <a:gd name="connsiteY203" fmla="*/ 64098 h 86845"/>
                  <a:gd name="connsiteX204" fmla="*/ 29801 w 35884"/>
                  <a:gd name="connsiteY204" fmla="*/ 65333 h 86845"/>
                  <a:gd name="connsiteX205" fmla="*/ 28655 w 35884"/>
                  <a:gd name="connsiteY205" fmla="*/ 67361 h 86845"/>
                  <a:gd name="connsiteX206" fmla="*/ 27508 w 35884"/>
                  <a:gd name="connsiteY206" fmla="*/ 67361 h 86845"/>
                  <a:gd name="connsiteX207" fmla="*/ 26891 w 35884"/>
                  <a:gd name="connsiteY207" fmla="*/ 68242 h 86845"/>
                  <a:gd name="connsiteX208" fmla="*/ 26891 w 35884"/>
                  <a:gd name="connsiteY208" fmla="*/ 69124 h 86845"/>
                  <a:gd name="connsiteX209" fmla="*/ 27156 w 35884"/>
                  <a:gd name="connsiteY209" fmla="*/ 69917 h 86845"/>
                  <a:gd name="connsiteX210" fmla="*/ 27508 w 35884"/>
                  <a:gd name="connsiteY210" fmla="*/ 71152 h 86845"/>
                  <a:gd name="connsiteX211" fmla="*/ 26539 w 35884"/>
                  <a:gd name="connsiteY211" fmla="*/ 72034 h 86845"/>
                  <a:gd name="connsiteX212" fmla="*/ 26010 w 35884"/>
                  <a:gd name="connsiteY212" fmla="*/ 73444 h 86845"/>
                  <a:gd name="connsiteX213" fmla="*/ 25393 w 35884"/>
                  <a:gd name="connsiteY213" fmla="*/ 75472 h 86845"/>
                  <a:gd name="connsiteX214" fmla="*/ 25393 w 35884"/>
                  <a:gd name="connsiteY214" fmla="*/ 77500 h 86845"/>
                  <a:gd name="connsiteX215" fmla="*/ 26274 w 35884"/>
                  <a:gd name="connsiteY215" fmla="*/ 77500 h 86845"/>
                  <a:gd name="connsiteX216" fmla="*/ 26891 w 35884"/>
                  <a:gd name="connsiteY216" fmla="*/ 78117 h 86845"/>
                  <a:gd name="connsiteX217" fmla="*/ 26539 w 35884"/>
                  <a:gd name="connsiteY217" fmla="*/ 78999 h 86845"/>
                  <a:gd name="connsiteX218" fmla="*/ 26891 w 35884"/>
                  <a:gd name="connsiteY218" fmla="*/ 78999 h 86845"/>
                  <a:gd name="connsiteX219" fmla="*/ 27508 w 35884"/>
                  <a:gd name="connsiteY219" fmla="*/ 80145 h 86845"/>
                  <a:gd name="connsiteX220" fmla="*/ 28302 w 35884"/>
                  <a:gd name="connsiteY220" fmla="*/ 81027 h 86845"/>
                  <a:gd name="connsiteX221" fmla="*/ 28655 w 35884"/>
                  <a:gd name="connsiteY221" fmla="*/ 81908 h 86845"/>
                  <a:gd name="connsiteX222" fmla="*/ 28655 w 35884"/>
                  <a:gd name="connsiteY222" fmla="*/ 83407 h 86845"/>
                  <a:gd name="connsiteX223" fmla="*/ 28302 w 35884"/>
                  <a:gd name="connsiteY223" fmla="*/ 84289 h 86845"/>
                  <a:gd name="connsiteX224" fmla="*/ 27508 w 35884"/>
                  <a:gd name="connsiteY224" fmla="*/ 84553 h 86845"/>
                  <a:gd name="connsiteX225" fmla="*/ 27773 w 35884"/>
                  <a:gd name="connsiteY225" fmla="*/ 85082 h 86845"/>
                  <a:gd name="connsiteX226" fmla="*/ 28655 w 35884"/>
                  <a:gd name="connsiteY226" fmla="*/ 85435 h 86845"/>
                  <a:gd name="connsiteX227" fmla="*/ 29184 w 35884"/>
                  <a:gd name="connsiteY227" fmla="*/ 85435 h 86845"/>
                  <a:gd name="connsiteX228" fmla="*/ 29537 w 35884"/>
                  <a:gd name="connsiteY228" fmla="*/ 85700 h 86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35884" h="86845">
                    <a:moveTo>
                      <a:pt x="29537" y="86581"/>
                    </a:moveTo>
                    <a:lnTo>
                      <a:pt x="29184" y="86846"/>
                    </a:lnTo>
                    <a:lnTo>
                      <a:pt x="28302" y="86846"/>
                    </a:lnTo>
                    <a:lnTo>
                      <a:pt x="26891" y="86581"/>
                    </a:lnTo>
                    <a:lnTo>
                      <a:pt x="26274" y="85700"/>
                    </a:lnTo>
                    <a:lnTo>
                      <a:pt x="25745" y="85700"/>
                    </a:lnTo>
                    <a:lnTo>
                      <a:pt x="25128" y="86581"/>
                    </a:lnTo>
                    <a:lnTo>
                      <a:pt x="24511" y="86317"/>
                    </a:lnTo>
                    <a:lnTo>
                      <a:pt x="23982" y="85700"/>
                    </a:lnTo>
                    <a:lnTo>
                      <a:pt x="23982" y="84818"/>
                    </a:lnTo>
                    <a:lnTo>
                      <a:pt x="23365" y="84553"/>
                    </a:lnTo>
                    <a:lnTo>
                      <a:pt x="22748" y="83055"/>
                    </a:lnTo>
                    <a:lnTo>
                      <a:pt x="22483" y="82173"/>
                    </a:lnTo>
                    <a:lnTo>
                      <a:pt x="22748" y="81644"/>
                    </a:lnTo>
                    <a:lnTo>
                      <a:pt x="22219" y="79881"/>
                    </a:lnTo>
                    <a:lnTo>
                      <a:pt x="20720" y="78734"/>
                    </a:lnTo>
                    <a:lnTo>
                      <a:pt x="20720" y="78999"/>
                    </a:lnTo>
                    <a:lnTo>
                      <a:pt x="20190" y="78734"/>
                    </a:lnTo>
                    <a:lnTo>
                      <a:pt x="19838" y="77853"/>
                    </a:lnTo>
                    <a:lnTo>
                      <a:pt x="18692" y="76971"/>
                    </a:lnTo>
                    <a:lnTo>
                      <a:pt x="19045" y="76089"/>
                    </a:lnTo>
                    <a:lnTo>
                      <a:pt x="17810" y="75825"/>
                    </a:lnTo>
                    <a:lnTo>
                      <a:pt x="16664" y="75825"/>
                    </a:lnTo>
                    <a:lnTo>
                      <a:pt x="14900" y="75825"/>
                    </a:lnTo>
                    <a:lnTo>
                      <a:pt x="14019" y="75208"/>
                    </a:lnTo>
                    <a:lnTo>
                      <a:pt x="12873" y="75208"/>
                    </a:lnTo>
                    <a:lnTo>
                      <a:pt x="11462" y="74326"/>
                    </a:lnTo>
                    <a:lnTo>
                      <a:pt x="10492" y="74591"/>
                    </a:lnTo>
                    <a:lnTo>
                      <a:pt x="10228" y="74061"/>
                    </a:lnTo>
                    <a:lnTo>
                      <a:pt x="9699" y="74061"/>
                    </a:lnTo>
                    <a:lnTo>
                      <a:pt x="8464" y="72298"/>
                    </a:lnTo>
                    <a:lnTo>
                      <a:pt x="8200" y="71152"/>
                    </a:lnTo>
                    <a:lnTo>
                      <a:pt x="7671" y="70799"/>
                    </a:lnTo>
                    <a:lnTo>
                      <a:pt x="7053" y="69388"/>
                    </a:lnTo>
                    <a:lnTo>
                      <a:pt x="6789" y="68771"/>
                    </a:lnTo>
                    <a:lnTo>
                      <a:pt x="6789" y="67625"/>
                    </a:lnTo>
                    <a:lnTo>
                      <a:pt x="7935" y="69388"/>
                    </a:lnTo>
                    <a:lnTo>
                      <a:pt x="8200" y="69124"/>
                    </a:lnTo>
                    <a:lnTo>
                      <a:pt x="8200" y="68771"/>
                    </a:lnTo>
                    <a:lnTo>
                      <a:pt x="7671" y="68242"/>
                    </a:lnTo>
                    <a:lnTo>
                      <a:pt x="6789" y="67096"/>
                    </a:lnTo>
                    <a:lnTo>
                      <a:pt x="6172" y="66479"/>
                    </a:lnTo>
                    <a:lnTo>
                      <a:pt x="6172" y="64980"/>
                    </a:lnTo>
                    <a:lnTo>
                      <a:pt x="5555" y="63217"/>
                    </a:lnTo>
                    <a:lnTo>
                      <a:pt x="5026" y="62688"/>
                    </a:lnTo>
                    <a:lnTo>
                      <a:pt x="4408" y="63217"/>
                    </a:lnTo>
                    <a:lnTo>
                      <a:pt x="3879" y="64098"/>
                    </a:lnTo>
                    <a:lnTo>
                      <a:pt x="2998" y="63834"/>
                    </a:lnTo>
                    <a:lnTo>
                      <a:pt x="2116" y="62952"/>
                    </a:lnTo>
                    <a:lnTo>
                      <a:pt x="1763" y="62070"/>
                    </a:lnTo>
                    <a:lnTo>
                      <a:pt x="1763" y="61541"/>
                    </a:lnTo>
                    <a:lnTo>
                      <a:pt x="2998" y="61541"/>
                    </a:lnTo>
                    <a:lnTo>
                      <a:pt x="2645" y="59778"/>
                    </a:lnTo>
                    <a:lnTo>
                      <a:pt x="2645" y="58279"/>
                    </a:lnTo>
                    <a:lnTo>
                      <a:pt x="2645" y="56251"/>
                    </a:lnTo>
                    <a:lnTo>
                      <a:pt x="2116" y="55370"/>
                    </a:lnTo>
                    <a:lnTo>
                      <a:pt x="1499" y="55987"/>
                    </a:lnTo>
                    <a:lnTo>
                      <a:pt x="1234" y="56780"/>
                    </a:lnTo>
                    <a:lnTo>
                      <a:pt x="617" y="57398"/>
                    </a:lnTo>
                    <a:lnTo>
                      <a:pt x="617" y="57133"/>
                    </a:lnTo>
                    <a:lnTo>
                      <a:pt x="970" y="55370"/>
                    </a:lnTo>
                    <a:lnTo>
                      <a:pt x="1234" y="54488"/>
                    </a:lnTo>
                    <a:lnTo>
                      <a:pt x="1763" y="54488"/>
                    </a:lnTo>
                    <a:lnTo>
                      <a:pt x="2116" y="53959"/>
                    </a:lnTo>
                    <a:lnTo>
                      <a:pt x="1499" y="51843"/>
                    </a:lnTo>
                    <a:lnTo>
                      <a:pt x="970" y="51579"/>
                    </a:lnTo>
                    <a:lnTo>
                      <a:pt x="617" y="50168"/>
                    </a:lnTo>
                    <a:lnTo>
                      <a:pt x="0" y="48669"/>
                    </a:lnTo>
                    <a:lnTo>
                      <a:pt x="0" y="46906"/>
                    </a:lnTo>
                    <a:lnTo>
                      <a:pt x="617" y="47523"/>
                    </a:lnTo>
                    <a:lnTo>
                      <a:pt x="352" y="46024"/>
                    </a:lnTo>
                    <a:lnTo>
                      <a:pt x="352" y="44261"/>
                    </a:lnTo>
                    <a:lnTo>
                      <a:pt x="352" y="42233"/>
                    </a:lnTo>
                    <a:lnTo>
                      <a:pt x="1234" y="41086"/>
                    </a:lnTo>
                    <a:lnTo>
                      <a:pt x="1499" y="42233"/>
                    </a:lnTo>
                    <a:lnTo>
                      <a:pt x="2116" y="42497"/>
                    </a:lnTo>
                    <a:lnTo>
                      <a:pt x="2381" y="41968"/>
                    </a:lnTo>
                    <a:lnTo>
                      <a:pt x="2116" y="41086"/>
                    </a:lnTo>
                    <a:lnTo>
                      <a:pt x="1234" y="40205"/>
                    </a:lnTo>
                    <a:lnTo>
                      <a:pt x="970" y="37912"/>
                    </a:lnTo>
                    <a:lnTo>
                      <a:pt x="970" y="35796"/>
                    </a:lnTo>
                    <a:lnTo>
                      <a:pt x="1499" y="35003"/>
                    </a:lnTo>
                    <a:lnTo>
                      <a:pt x="1763" y="36149"/>
                    </a:lnTo>
                    <a:lnTo>
                      <a:pt x="2116" y="34650"/>
                    </a:lnTo>
                    <a:lnTo>
                      <a:pt x="2381" y="33504"/>
                    </a:lnTo>
                    <a:lnTo>
                      <a:pt x="2381" y="31476"/>
                    </a:lnTo>
                    <a:lnTo>
                      <a:pt x="2998" y="30330"/>
                    </a:lnTo>
                    <a:lnTo>
                      <a:pt x="2998" y="27068"/>
                    </a:lnTo>
                    <a:lnTo>
                      <a:pt x="3879" y="26539"/>
                    </a:lnTo>
                    <a:lnTo>
                      <a:pt x="4144" y="27685"/>
                    </a:lnTo>
                    <a:lnTo>
                      <a:pt x="4673" y="26803"/>
                    </a:lnTo>
                    <a:lnTo>
                      <a:pt x="5026" y="25657"/>
                    </a:lnTo>
                    <a:lnTo>
                      <a:pt x="5907" y="25393"/>
                    </a:lnTo>
                    <a:lnTo>
                      <a:pt x="6436" y="25657"/>
                    </a:lnTo>
                    <a:lnTo>
                      <a:pt x="7053" y="25040"/>
                    </a:lnTo>
                    <a:lnTo>
                      <a:pt x="7053" y="23629"/>
                    </a:lnTo>
                    <a:lnTo>
                      <a:pt x="8200" y="21249"/>
                    </a:lnTo>
                    <a:lnTo>
                      <a:pt x="8817" y="20367"/>
                    </a:lnTo>
                    <a:lnTo>
                      <a:pt x="8464" y="19838"/>
                    </a:lnTo>
                    <a:lnTo>
                      <a:pt x="9082" y="18604"/>
                    </a:lnTo>
                    <a:lnTo>
                      <a:pt x="9963" y="18339"/>
                    </a:lnTo>
                    <a:lnTo>
                      <a:pt x="11462" y="17193"/>
                    </a:lnTo>
                    <a:lnTo>
                      <a:pt x="11991" y="15429"/>
                    </a:lnTo>
                    <a:lnTo>
                      <a:pt x="12256" y="13931"/>
                    </a:lnTo>
                    <a:lnTo>
                      <a:pt x="12256" y="12520"/>
                    </a:lnTo>
                    <a:lnTo>
                      <a:pt x="11727" y="11638"/>
                    </a:lnTo>
                    <a:lnTo>
                      <a:pt x="11109" y="13666"/>
                    </a:lnTo>
                    <a:lnTo>
                      <a:pt x="10492" y="13931"/>
                    </a:lnTo>
                    <a:lnTo>
                      <a:pt x="10845" y="12167"/>
                    </a:lnTo>
                    <a:lnTo>
                      <a:pt x="11462" y="10757"/>
                    </a:lnTo>
                    <a:lnTo>
                      <a:pt x="11991" y="9875"/>
                    </a:lnTo>
                    <a:lnTo>
                      <a:pt x="13490" y="8729"/>
                    </a:lnTo>
                    <a:lnTo>
                      <a:pt x="13225" y="7847"/>
                    </a:lnTo>
                    <a:lnTo>
                      <a:pt x="13490" y="6965"/>
                    </a:lnTo>
                    <a:lnTo>
                      <a:pt x="13754" y="6348"/>
                    </a:lnTo>
                    <a:lnTo>
                      <a:pt x="14636" y="6084"/>
                    </a:lnTo>
                    <a:lnTo>
                      <a:pt x="14019" y="7582"/>
                    </a:lnTo>
                    <a:lnTo>
                      <a:pt x="14636" y="7230"/>
                    </a:lnTo>
                    <a:lnTo>
                      <a:pt x="14636" y="6701"/>
                    </a:lnTo>
                    <a:lnTo>
                      <a:pt x="15518" y="6084"/>
                    </a:lnTo>
                    <a:lnTo>
                      <a:pt x="16664" y="5819"/>
                    </a:lnTo>
                    <a:lnTo>
                      <a:pt x="18163" y="5466"/>
                    </a:lnTo>
                    <a:lnTo>
                      <a:pt x="19309" y="5466"/>
                    </a:lnTo>
                    <a:lnTo>
                      <a:pt x="20190" y="6084"/>
                    </a:lnTo>
                    <a:lnTo>
                      <a:pt x="20455" y="5202"/>
                    </a:lnTo>
                    <a:lnTo>
                      <a:pt x="21072" y="5202"/>
                    </a:lnTo>
                    <a:lnTo>
                      <a:pt x="21601" y="4585"/>
                    </a:lnTo>
                    <a:lnTo>
                      <a:pt x="20455" y="3439"/>
                    </a:lnTo>
                    <a:lnTo>
                      <a:pt x="20720" y="1675"/>
                    </a:lnTo>
                    <a:lnTo>
                      <a:pt x="21601" y="882"/>
                    </a:lnTo>
                    <a:lnTo>
                      <a:pt x="21954" y="264"/>
                    </a:lnTo>
                    <a:lnTo>
                      <a:pt x="23100" y="529"/>
                    </a:lnTo>
                    <a:lnTo>
                      <a:pt x="23717" y="0"/>
                    </a:lnTo>
                    <a:lnTo>
                      <a:pt x="24511" y="0"/>
                    </a:lnTo>
                    <a:lnTo>
                      <a:pt x="25745" y="882"/>
                    </a:lnTo>
                    <a:lnTo>
                      <a:pt x="24864" y="882"/>
                    </a:lnTo>
                    <a:lnTo>
                      <a:pt x="25745" y="1675"/>
                    </a:lnTo>
                    <a:lnTo>
                      <a:pt x="26891" y="2292"/>
                    </a:lnTo>
                    <a:lnTo>
                      <a:pt x="29184" y="2028"/>
                    </a:lnTo>
                    <a:lnTo>
                      <a:pt x="30418" y="882"/>
                    </a:lnTo>
                    <a:lnTo>
                      <a:pt x="31564" y="1146"/>
                    </a:lnTo>
                    <a:lnTo>
                      <a:pt x="32358" y="2292"/>
                    </a:lnTo>
                    <a:lnTo>
                      <a:pt x="33328" y="3174"/>
                    </a:lnTo>
                    <a:lnTo>
                      <a:pt x="33592" y="4585"/>
                    </a:lnTo>
                    <a:lnTo>
                      <a:pt x="35003" y="4320"/>
                    </a:lnTo>
                    <a:lnTo>
                      <a:pt x="35620" y="4320"/>
                    </a:lnTo>
                    <a:lnTo>
                      <a:pt x="35885" y="5466"/>
                    </a:lnTo>
                    <a:lnTo>
                      <a:pt x="35003" y="6701"/>
                    </a:lnTo>
                    <a:lnTo>
                      <a:pt x="33857" y="6701"/>
                    </a:lnTo>
                    <a:lnTo>
                      <a:pt x="32711" y="7582"/>
                    </a:lnTo>
                    <a:lnTo>
                      <a:pt x="32711" y="8729"/>
                    </a:lnTo>
                    <a:lnTo>
                      <a:pt x="32093" y="9875"/>
                    </a:lnTo>
                    <a:lnTo>
                      <a:pt x="32093" y="11903"/>
                    </a:lnTo>
                    <a:lnTo>
                      <a:pt x="33328" y="12167"/>
                    </a:lnTo>
                    <a:lnTo>
                      <a:pt x="33592" y="13402"/>
                    </a:lnTo>
                    <a:lnTo>
                      <a:pt x="34474" y="13666"/>
                    </a:lnTo>
                    <a:lnTo>
                      <a:pt x="35003" y="14812"/>
                    </a:lnTo>
                    <a:lnTo>
                      <a:pt x="33857" y="14812"/>
                    </a:lnTo>
                    <a:lnTo>
                      <a:pt x="33857" y="15429"/>
                    </a:lnTo>
                    <a:lnTo>
                      <a:pt x="34209" y="16928"/>
                    </a:lnTo>
                    <a:lnTo>
                      <a:pt x="34474" y="18075"/>
                    </a:lnTo>
                    <a:lnTo>
                      <a:pt x="35003" y="18075"/>
                    </a:lnTo>
                    <a:lnTo>
                      <a:pt x="35885" y="17722"/>
                    </a:lnTo>
                    <a:lnTo>
                      <a:pt x="35885" y="18604"/>
                    </a:lnTo>
                    <a:lnTo>
                      <a:pt x="35885" y="20102"/>
                    </a:lnTo>
                    <a:lnTo>
                      <a:pt x="35356" y="20631"/>
                    </a:lnTo>
                    <a:lnTo>
                      <a:pt x="34474" y="21513"/>
                    </a:lnTo>
                    <a:lnTo>
                      <a:pt x="33592" y="22747"/>
                    </a:lnTo>
                    <a:lnTo>
                      <a:pt x="33328" y="25393"/>
                    </a:lnTo>
                    <a:lnTo>
                      <a:pt x="33857" y="25657"/>
                    </a:lnTo>
                    <a:lnTo>
                      <a:pt x="33857" y="25922"/>
                    </a:lnTo>
                    <a:lnTo>
                      <a:pt x="33857" y="26803"/>
                    </a:lnTo>
                    <a:lnTo>
                      <a:pt x="32358" y="28214"/>
                    </a:lnTo>
                    <a:lnTo>
                      <a:pt x="32358" y="29096"/>
                    </a:lnTo>
                    <a:lnTo>
                      <a:pt x="32975" y="31476"/>
                    </a:lnTo>
                    <a:lnTo>
                      <a:pt x="32975" y="33240"/>
                    </a:lnTo>
                    <a:lnTo>
                      <a:pt x="32711" y="34386"/>
                    </a:lnTo>
                    <a:lnTo>
                      <a:pt x="32093" y="35003"/>
                    </a:lnTo>
                    <a:lnTo>
                      <a:pt x="31829" y="35532"/>
                    </a:lnTo>
                    <a:lnTo>
                      <a:pt x="31211" y="35796"/>
                    </a:lnTo>
                    <a:lnTo>
                      <a:pt x="31211" y="37031"/>
                    </a:lnTo>
                    <a:lnTo>
                      <a:pt x="30947" y="37912"/>
                    </a:lnTo>
                    <a:lnTo>
                      <a:pt x="31829" y="39323"/>
                    </a:lnTo>
                    <a:lnTo>
                      <a:pt x="31829" y="40822"/>
                    </a:lnTo>
                    <a:lnTo>
                      <a:pt x="32975" y="42233"/>
                    </a:lnTo>
                    <a:lnTo>
                      <a:pt x="32975" y="43114"/>
                    </a:lnTo>
                    <a:lnTo>
                      <a:pt x="32975" y="43379"/>
                    </a:lnTo>
                    <a:lnTo>
                      <a:pt x="32358" y="44613"/>
                    </a:lnTo>
                    <a:lnTo>
                      <a:pt x="32093" y="45759"/>
                    </a:lnTo>
                    <a:lnTo>
                      <a:pt x="32358" y="46906"/>
                    </a:lnTo>
                    <a:lnTo>
                      <a:pt x="33592" y="48404"/>
                    </a:lnTo>
                    <a:lnTo>
                      <a:pt x="33857" y="49815"/>
                    </a:lnTo>
                    <a:lnTo>
                      <a:pt x="34474" y="52196"/>
                    </a:lnTo>
                    <a:lnTo>
                      <a:pt x="33857" y="54488"/>
                    </a:lnTo>
                    <a:lnTo>
                      <a:pt x="34209" y="56516"/>
                    </a:lnTo>
                    <a:lnTo>
                      <a:pt x="33857" y="58544"/>
                    </a:lnTo>
                    <a:lnTo>
                      <a:pt x="33328" y="59778"/>
                    </a:lnTo>
                    <a:lnTo>
                      <a:pt x="31829" y="60660"/>
                    </a:lnTo>
                    <a:lnTo>
                      <a:pt x="31564" y="61189"/>
                    </a:lnTo>
                    <a:lnTo>
                      <a:pt x="31564" y="62070"/>
                    </a:lnTo>
                    <a:lnTo>
                      <a:pt x="30418" y="62952"/>
                    </a:lnTo>
                    <a:lnTo>
                      <a:pt x="29537" y="63569"/>
                    </a:lnTo>
                    <a:lnTo>
                      <a:pt x="29184" y="64098"/>
                    </a:lnTo>
                    <a:lnTo>
                      <a:pt x="30066" y="64098"/>
                    </a:lnTo>
                    <a:lnTo>
                      <a:pt x="29801" y="65333"/>
                    </a:lnTo>
                    <a:lnTo>
                      <a:pt x="28655" y="67361"/>
                    </a:lnTo>
                    <a:lnTo>
                      <a:pt x="27508" y="67361"/>
                    </a:lnTo>
                    <a:lnTo>
                      <a:pt x="26891" y="68242"/>
                    </a:lnTo>
                    <a:lnTo>
                      <a:pt x="26891" y="69124"/>
                    </a:lnTo>
                    <a:lnTo>
                      <a:pt x="27156" y="69917"/>
                    </a:lnTo>
                    <a:lnTo>
                      <a:pt x="27508" y="71152"/>
                    </a:lnTo>
                    <a:lnTo>
                      <a:pt x="26539" y="72034"/>
                    </a:lnTo>
                    <a:lnTo>
                      <a:pt x="26010" y="73444"/>
                    </a:lnTo>
                    <a:lnTo>
                      <a:pt x="25393" y="75472"/>
                    </a:lnTo>
                    <a:lnTo>
                      <a:pt x="25393" y="77500"/>
                    </a:lnTo>
                    <a:lnTo>
                      <a:pt x="26274" y="77500"/>
                    </a:lnTo>
                    <a:lnTo>
                      <a:pt x="26891" y="78117"/>
                    </a:lnTo>
                    <a:lnTo>
                      <a:pt x="26539" y="78999"/>
                    </a:lnTo>
                    <a:lnTo>
                      <a:pt x="26891" y="78999"/>
                    </a:lnTo>
                    <a:lnTo>
                      <a:pt x="27508" y="80145"/>
                    </a:lnTo>
                    <a:lnTo>
                      <a:pt x="28302" y="81027"/>
                    </a:lnTo>
                    <a:lnTo>
                      <a:pt x="28655" y="81908"/>
                    </a:lnTo>
                    <a:lnTo>
                      <a:pt x="28655" y="83407"/>
                    </a:lnTo>
                    <a:lnTo>
                      <a:pt x="28302" y="84289"/>
                    </a:lnTo>
                    <a:lnTo>
                      <a:pt x="27508" y="84553"/>
                    </a:lnTo>
                    <a:lnTo>
                      <a:pt x="27773" y="85082"/>
                    </a:lnTo>
                    <a:lnTo>
                      <a:pt x="28655" y="85435"/>
                    </a:lnTo>
                    <a:lnTo>
                      <a:pt x="29184" y="85435"/>
                    </a:lnTo>
                    <a:lnTo>
                      <a:pt x="29537" y="8570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0" name="Freihandform: Form 1999">
                <a:extLst>
                  <a:ext uri="{FF2B5EF4-FFF2-40B4-BE49-F238E27FC236}">
                    <a16:creationId xmlns:a16="http://schemas.microsoft.com/office/drawing/2014/main" id="{DF131B84-5FD5-0438-BF7A-29171DA165BA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1" name="Freihandform: Form 2000">
                <a:extLst>
                  <a:ext uri="{FF2B5EF4-FFF2-40B4-BE49-F238E27FC236}">
                    <a16:creationId xmlns:a16="http://schemas.microsoft.com/office/drawing/2014/main" id="{FB00E1DE-2619-9DDE-A10F-50722EE60CFF}"/>
                  </a:ext>
                </a:extLst>
              </p:cNvPr>
              <p:cNvSpPr/>
              <p:nvPr/>
            </p:nvSpPr>
            <p:spPr>
              <a:xfrm>
                <a:off x="6640831" y="3682131"/>
                <a:ext cx="208606" cy="339271"/>
              </a:xfrm>
              <a:custGeom>
                <a:avLst/>
                <a:gdLst>
                  <a:gd name="connsiteX0" fmla="*/ 39852 w 208606"/>
                  <a:gd name="connsiteY0" fmla="*/ 62423 h 339271"/>
                  <a:gd name="connsiteX1" fmla="*/ 42144 w 208606"/>
                  <a:gd name="connsiteY1" fmla="*/ 67978 h 339271"/>
                  <a:gd name="connsiteX2" fmla="*/ 44437 w 208606"/>
                  <a:gd name="connsiteY2" fmla="*/ 66214 h 339271"/>
                  <a:gd name="connsiteX3" fmla="*/ 47082 w 208606"/>
                  <a:gd name="connsiteY3" fmla="*/ 65333 h 339271"/>
                  <a:gd name="connsiteX4" fmla="*/ 46817 w 208606"/>
                  <a:gd name="connsiteY4" fmla="*/ 60395 h 339271"/>
                  <a:gd name="connsiteX5" fmla="*/ 45671 w 208606"/>
                  <a:gd name="connsiteY5" fmla="*/ 56340 h 339271"/>
                  <a:gd name="connsiteX6" fmla="*/ 44172 w 208606"/>
                  <a:gd name="connsiteY6" fmla="*/ 54312 h 339271"/>
                  <a:gd name="connsiteX7" fmla="*/ 43819 w 208606"/>
                  <a:gd name="connsiteY7" fmla="*/ 54312 h 339271"/>
                  <a:gd name="connsiteX8" fmla="*/ 43202 w 208606"/>
                  <a:gd name="connsiteY8" fmla="*/ 49639 h 339271"/>
                  <a:gd name="connsiteX9" fmla="*/ 43467 w 208606"/>
                  <a:gd name="connsiteY9" fmla="*/ 49903 h 339271"/>
                  <a:gd name="connsiteX10" fmla="*/ 43732 w 208606"/>
                  <a:gd name="connsiteY10" fmla="*/ 46729 h 339271"/>
                  <a:gd name="connsiteX11" fmla="*/ 45230 w 208606"/>
                  <a:gd name="connsiteY11" fmla="*/ 44966 h 339271"/>
                  <a:gd name="connsiteX12" fmla="*/ 45230 w 208606"/>
                  <a:gd name="connsiteY12" fmla="*/ 42938 h 339271"/>
                  <a:gd name="connsiteX13" fmla="*/ 45230 w 208606"/>
                  <a:gd name="connsiteY13" fmla="*/ 39764 h 339271"/>
                  <a:gd name="connsiteX14" fmla="*/ 42321 w 208606"/>
                  <a:gd name="connsiteY14" fmla="*/ 35973 h 339271"/>
                  <a:gd name="connsiteX15" fmla="*/ 42321 w 208606"/>
                  <a:gd name="connsiteY15" fmla="*/ 29536 h 339271"/>
                  <a:gd name="connsiteX16" fmla="*/ 42850 w 208606"/>
                  <a:gd name="connsiteY16" fmla="*/ 24863 h 339271"/>
                  <a:gd name="connsiteX17" fmla="*/ 41086 w 208606"/>
                  <a:gd name="connsiteY17" fmla="*/ 19926 h 339271"/>
                  <a:gd name="connsiteX18" fmla="*/ 43467 w 208606"/>
                  <a:gd name="connsiteY18" fmla="*/ 14636 h 339271"/>
                  <a:gd name="connsiteX19" fmla="*/ 44613 w 208606"/>
                  <a:gd name="connsiteY19" fmla="*/ 11109 h 339271"/>
                  <a:gd name="connsiteX20" fmla="*/ 42321 w 208606"/>
                  <a:gd name="connsiteY20" fmla="*/ 9610 h 339271"/>
                  <a:gd name="connsiteX21" fmla="*/ 42585 w 208606"/>
                  <a:gd name="connsiteY21" fmla="*/ 6084 h 339271"/>
                  <a:gd name="connsiteX22" fmla="*/ 44348 w 208606"/>
                  <a:gd name="connsiteY22" fmla="*/ 4056 h 339271"/>
                  <a:gd name="connsiteX23" fmla="*/ 48140 w 208606"/>
                  <a:gd name="connsiteY23" fmla="*/ 1763 h 339271"/>
                  <a:gd name="connsiteX24" fmla="*/ 51667 w 208606"/>
                  <a:gd name="connsiteY24" fmla="*/ 1763 h 339271"/>
                  <a:gd name="connsiteX25" fmla="*/ 57221 w 208606"/>
                  <a:gd name="connsiteY25" fmla="*/ 0 h 339271"/>
                  <a:gd name="connsiteX26" fmla="*/ 63040 w 208606"/>
                  <a:gd name="connsiteY26" fmla="*/ 1763 h 339271"/>
                  <a:gd name="connsiteX27" fmla="*/ 67096 w 208606"/>
                  <a:gd name="connsiteY27" fmla="*/ 5555 h 339271"/>
                  <a:gd name="connsiteX28" fmla="*/ 68859 w 208606"/>
                  <a:gd name="connsiteY28" fmla="*/ 10757 h 339271"/>
                  <a:gd name="connsiteX29" fmla="*/ 67713 w 208606"/>
                  <a:gd name="connsiteY29" fmla="*/ 6701 h 339271"/>
                  <a:gd name="connsiteX30" fmla="*/ 71240 w 208606"/>
                  <a:gd name="connsiteY30" fmla="*/ 5819 h 339271"/>
                  <a:gd name="connsiteX31" fmla="*/ 76795 w 208606"/>
                  <a:gd name="connsiteY31" fmla="*/ 4937 h 339271"/>
                  <a:gd name="connsiteX32" fmla="*/ 78294 w 208606"/>
                  <a:gd name="connsiteY32" fmla="*/ 3174 h 339271"/>
                  <a:gd name="connsiteX33" fmla="*/ 78558 w 208606"/>
                  <a:gd name="connsiteY33" fmla="*/ 0 h 339271"/>
                  <a:gd name="connsiteX34" fmla="*/ 82349 w 208606"/>
                  <a:gd name="connsiteY34" fmla="*/ 2910 h 339271"/>
                  <a:gd name="connsiteX35" fmla="*/ 81467 w 208606"/>
                  <a:gd name="connsiteY35" fmla="*/ 7847 h 339271"/>
                  <a:gd name="connsiteX36" fmla="*/ 80586 w 208606"/>
                  <a:gd name="connsiteY36" fmla="*/ 8464 h 339271"/>
                  <a:gd name="connsiteX37" fmla="*/ 79440 w 208606"/>
                  <a:gd name="connsiteY37" fmla="*/ 11109 h 339271"/>
                  <a:gd name="connsiteX38" fmla="*/ 80586 w 208606"/>
                  <a:gd name="connsiteY38" fmla="*/ 12873 h 339271"/>
                  <a:gd name="connsiteX39" fmla="*/ 78294 w 208606"/>
                  <a:gd name="connsiteY39" fmla="*/ 14636 h 339271"/>
                  <a:gd name="connsiteX40" fmla="*/ 80057 w 208606"/>
                  <a:gd name="connsiteY40" fmla="*/ 15782 h 339271"/>
                  <a:gd name="connsiteX41" fmla="*/ 80939 w 208606"/>
                  <a:gd name="connsiteY41" fmla="*/ 18427 h 339271"/>
                  <a:gd name="connsiteX42" fmla="*/ 82966 w 208606"/>
                  <a:gd name="connsiteY42" fmla="*/ 20455 h 339271"/>
                  <a:gd name="connsiteX43" fmla="*/ 81820 w 208606"/>
                  <a:gd name="connsiteY43" fmla="*/ 23982 h 339271"/>
                  <a:gd name="connsiteX44" fmla="*/ 84377 w 208606"/>
                  <a:gd name="connsiteY44" fmla="*/ 28919 h 339271"/>
                  <a:gd name="connsiteX45" fmla="*/ 88168 w 208606"/>
                  <a:gd name="connsiteY45" fmla="*/ 31212 h 339271"/>
                  <a:gd name="connsiteX46" fmla="*/ 89050 w 208606"/>
                  <a:gd name="connsiteY46" fmla="*/ 33592 h 339271"/>
                  <a:gd name="connsiteX47" fmla="*/ 91078 w 208606"/>
                  <a:gd name="connsiteY47" fmla="*/ 34738 h 339271"/>
                  <a:gd name="connsiteX48" fmla="*/ 92224 w 208606"/>
                  <a:gd name="connsiteY48" fmla="*/ 40822 h 339271"/>
                  <a:gd name="connsiteX49" fmla="*/ 90461 w 208606"/>
                  <a:gd name="connsiteY49" fmla="*/ 43467 h 339271"/>
                  <a:gd name="connsiteX50" fmla="*/ 88697 w 208606"/>
                  <a:gd name="connsiteY50" fmla="*/ 45495 h 339271"/>
                  <a:gd name="connsiteX51" fmla="*/ 87816 w 208606"/>
                  <a:gd name="connsiteY51" fmla="*/ 49903 h 339271"/>
                  <a:gd name="connsiteX52" fmla="*/ 86052 w 208606"/>
                  <a:gd name="connsiteY52" fmla="*/ 51314 h 339271"/>
                  <a:gd name="connsiteX53" fmla="*/ 88697 w 208606"/>
                  <a:gd name="connsiteY53" fmla="*/ 55722 h 339271"/>
                  <a:gd name="connsiteX54" fmla="*/ 87816 w 208606"/>
                  <a:gd name="connsiteY54" fmla="*/ 56869 h 339271"/>
                  <a:gd name="connsiteX55" fmla="*/ 88080 w 208606"/>
                  <a:gd name="connsiteY55" fmla="*/ 59778 h 339271"/>
                  <a:gd name="connsiteX56" fmla="*/ 87199 w 208606"/>
                  <a:gd name="connsiteY56" fmla="*/ 62688 h 339271"/>
                  <a:gd name="connsiteX57" fmla="*/ 79352 w 208606"/>
                  <a:gd name="connsiteY57" fmla="*/ 64451 h 339271"/>
                  <a:gd name="connsiteX58" fmla="*/ 84906 w 208606"/>
                  <a:gd name="connsiteY58" fmla="*/ 64187 h 339271"/>
                  <a:gd name="connsiteX59" fmla="*/ 78470 w 208606"/>
                  <a:gd name="connsiteY59" fmla="*/ 64716 h 339271"/>
                  <a:gd name="connsiteX60" fmla="*/ 74678 w 208606"/>
                  <a:gd name="connsiteY60" fmla="*/ 65333 h 339271"/>
                  <a:gd name="connsiteX61" fmla="*/ 73532 w 208606"/>
                  <a:gd name="connsiteY61" fmla="*/ 70270 h 339271"/>
                  <a:gd name="connsiteX62" fmla="*/ 74678 w 208606"/>
                  <a:gd name="connsiteY62" fmla="*/ 73797 h 339271"/>
                  <a:gd name="connsiteX63" fmla="*/ 73268 w 208606"/>
                  <a:gd name="connsiteY63" fmla="*/ 79352 h 339271"/>
                  <a:gd name="connsiteX64" fmla="*/ 71504 w 208606"/>
                  <a:gd name="connsiteY64" fmla="*/ 84024 h 339271"/>
                  <a:gd name="connsiteX65" fmla="*/ 75031 w 208606"/>
                  <a:gd name="connsiteY65" fmla="*/ 87816 h 339271"/>
                  <a:gd name="connsiteX66" fmla="*/ 79087 w 208606"/>
                  <a:gd name="connsiteY66" fmla="*/ 92224 h 339271"/>
                  <a:gd name="connsiteX67" fmla="*/ 81996 w 208606"/>
                  <a:gd name="connsiteY67" fmla="*/ 97426 h 339271"/>
                  <a:gd name="connsiteX68" fmla="*/ 81996 w 208606"/>
                  <a:gd name="connsiteY68" fmla="*/ 102716 h 339271"/>
                  <a:gd name="connsiteX69" fmla="*/ 81379 w 208606"/>
                  <a:gd name="connsiteY69" fmla="*/ 106243 h 339271"/>
                  <a:gd name="connsiteX70" fmla="*/ 82878 w 208606"/>
                  <a:gd name="connsiteY70" fmla="*/ 111180 h 339271"/>
                  <a:gd name="connsiteX71" fmla="*/ 87551 w 208606"/>
                  <a:gd name="connsiteY71" fmla="*/ 114707 h 339271"/>
                  <a:gd name="connsiteX72" fmla="*/ 93370 w 208606"/>
                  <a:gd name="connsiteY72" fmla="*/ 116735 h 339271"/>
                  <a:gd name="connsiteX73" fmla="*/ 93987 w 208606"/>
                  <a:gd name="connsiteY73" fmla="*/ 114090 h 339271"/>
                  <a:gd name="connsiteX74" fmla="*/ 93106 w 208606"/>
                  <a:gd name="connsiteY74" fmla="*/ 111797 h 339271"/>
                  <a:gd name="connsiteX75" fmla="*/ 93987 w 208606"/>
                  <a:gd name="connsiteY75" fmla="*/ 107389 h 339271"/>
                  <a:gd name="connsiteX76" fmla="*/ 96280 w 208606"/>
                  <a:gd name="connsiteY76" fmla="*/ 109417 h 339271"/>
                  <a:gd name="connsiteX77" fmla="*/ 98043 w 208606"/>
                  <a:gd name="connsiteY77" fmla="*/ 104744 h 339271"/>
                  <a:gd name="connsiteX78" fmla="*/ 102452 w 208606"/>
                  <a:gd name="connsiteY78" fmla="*/ 104479 h 339271"/>
                  <a:gd name="connsiteX79" fmla="*/ 107654 w 208606"/>
                  <a:gd name="connsiteY79" fmla="*/ 105361 h 339271"/>
                  <a:gd name="connsiteX80" fmla="*/ 111180 w 208606"/>
                  <a:gd name="connsiteY80" fmla="*/ 109417 h 339271"/>
                  <a:gd name="connsiteX81" fmla="*/ 112679 w 208606"/>
                  <a:gd name="connsiteY81" fmla="*/ 114090 h 339271"/>
                  <a:gd name="connsiteX82" fmla="*/ 114442 w 208606"/>
                  <a:gd name="connsiteY82" fmla="*/ 118498 h 339271"/>
                  <a:gd name="connsiteX83" fmla="*/ 117969 w 208606"/>
                  <a:gd name="connsiteY83" fmla="*/ 114707 h 339271"/>
                  <a:gd name="connsiteX84" fmla="*/ 115677 w 208606"/>
                  <a:gd name="connsiteY84" fmla="*/ 109770 h 339271"/>
                  <a:gd name="connsiteX85" fmla="*/ 120085 w 208606"/>
                  <a:gd name="connsiteY85" fmla="*/ 111268 h 339271"/>
                  <a:gd name="connsiteX86" fmla="*/ 124141 w 208606"/>
                  <a:gd name="connsiteY86" fmla="*/ 112415 h 339271"/>
                  <a:gd name="connsiteX87" fmla="*/ 128197 w 208606"/>
                  <a:gd name="connsiteY87" fmla="*/ 112944 h 339271"/>
                  <a:gd name="connsiteX88" fmla="*/ 129960 w 208606"/>
                  <a:gd name="connsiteY88" fmla="*/ 115853 h 339271"/>
                  <a:gd name="connsiteX89" fmla="*/ 127932 w 208606"/>
                  <a:gd name="connsiteY89" fmla="*/ 117264 h 339271"/>
                  <a:gd name="connsiteX90" fmla="*/ 123259 w 208606"/>
                  <a:gd name="connsiteY90" fmla="*/ 119027 h 339271"/>
                  <a:gd name="connsiteX91" fmla="*/ 129343 w 208606"/>
                  <a:gd name="connsiteY91" fmla="*/ 120173 h 339271"/>
                  <a:gd name="connsiteX92" fmla="*/ 130489 w 208606"/>
                  <a:gd name="connsiteY92" fmla="*/ 127139 h 339271"/>
                  <a:gd name="connsiteX93" fmla="*/ 129608 w 208606"/>
                  <a:gd name="connsiteY93" fmla="*/ 132076 h 339271"/>
                  <a:gd name="connsiteX94" fmla="*/ 133134 w 208606"/>
                  <a:gd name="connsiteY94" fmla="*/ 130665 h 339271"/>
                  <a:gd name="connsiteX95" fmla="*/ 137542 w 208606"/>
                  <a:gd name="connsiteY95" fmla="*/ 132693 h 339271"/>
                  <a:gd name="connsiteX96" fmla="*/ 139042 w 208606"/>
                  <a:gd name="connsiteY96" fmla="*/ 134721 h 339271"/>
                  <a:gd name="connsiteX97" fmla="*/ 139042 w 208606"/>
                  <a:gd name="connsiteY97" fmla="*/ 138512 h 339271"/>
                  <a:gd name="connsiteX98" fmla="*/ 139923 w 208606"/>
                  <a:gd name="connsiteY98" fmla="*/ 140011 h 339271"/>
                  <a:gd name="connsiteX99" fmla="*/ 139306 w 208606"/>
                  <a:gd name="connsiteY99" fmla="*/ 143185 h 339271"/>
                  <a:gd name="connsiteX100" fmla="*/ 140805 w 208606"/>
                  <a:gd name="connsiteY100" fmla="*/ 144684 h 339271"/>
                  <a:gd name="connsiteX101" fmla="*/ 141422 w 208606"/>
                  <a:gd name="connsiteY101" fmla="*/ 147065 h 339271"/>
                  <a:gd name="connsiteX102" fmla="*/ 140805 w 208606"/>
                  <a:gd name="connsiteY102" fmla="*/ 148828 h 339271"/>
                  <a:gd name="connsiteX103" fmla="*/ 138513 w 208606"/>
                  <a:gd name="connsiteY103" fmla="*/ 149093 h 339271"/>
                  <a:gd name="connsiteX104" fmla="*/ 137013 w 208606"/>
                  <a:gd name="connsiteY104" fmla="*/ 148828 h 339271"/>
                  <a:gd name="connsiteX105" fmla="*/ 134104 w 208606"/>
                  <a:gd name="connsiteY105" fmla="*/ 144155 h 339271"/>
                  <a:gd name="connsiteX106" fmla="*/ 132605 w 208606"/>
                  <a:gd name="connsiteY106" fmla="*/ 143538 h 339271"/>
                  <a:gd name="connsiteX107" fmla="*/ 130842 w 208606"/>
                  <a:gd name="connsiteY107" fmla="*/ 140629 h 339271"/>
                  <a:gd name="connsiteX108" fmla="*/ 127668 w 208606"/>
                  <a:gd name="connsiteY108" fmla="*/ 144155 h 339271"/>
                  <a:gd name="connsiteX109" fmla="*/ 128550 w 208606"/>
                  <a:gd name="connsiteY109" fmla="*/ 141246 h 339271"/>
                  <a:gd name="connsiteX110" fmla="*/ 125904 w 208606"/>
                  <a:gd name="connsiteY110" fmla="*/ 140100 h 339271"/>
                  <a:gd name="connsiteX111" fmla="*/ 122995 w 208606"/>
                  <a:gd name="connsiteY111" fmla="*/ 139218 h 339271"/>
                  <a:gd name="connsiteX112" fmla="*/ 119821 w 208606"/>
                  <a:gd name="connsiteY112" fmla="*/ 134280 h 339271"/>
                  <a:gd name="connsiteX113" fmla="*/ 119468 w 208606"/>
                  <a:gd name="connsiteY113" fmla="*/ 131371 h 339271"/>
                  <a:gd name="connsiteX114" fmla="*/ 119468 w 208606"/>
                  <a:gd name="connsiteY114" fmla="*/ 129079 h 339271"/>
                  <a:gd name="connsiteX115" fmla="*/ 117176 w 208606"/>
                  <a:gd name="connsiteY115" fmla="*/ 127932 h 339271"/>
                  <a:gd name="connsiteX116" fmla="*/ 115412 w 208606"/>
                  <a:gd name="connsiteY116" fmla="*/ 124758 h 339271"/>
                  <a:gd name="connsiteX117" fmla="*/ 113649 w 208606"/>
                  <a:gd name="connsiteY117" fmla="*/ 125023 h 339271"/>
                  <a:gd name="connsiteX118" fmla="*/ 110475 w 208606"/>
                  <a:gd name="connsiteY118" fmla="*/ 122730 h 339271"/>
                  <a:gd name="connsiteX119" fmla="*/ 108095 w 208606"/>
                  <a:gd name="connsiteY119" fmla="*/ 121849 h 339271"/>
                  <a:gd name="connsiteX120" fmla="*/ 108447 w 208606"/>
                  <a:gd name="connsiteY120" fmla="*/ 119468 h 339271"/>
                  <a:gd name="connsiteX121" fmla="*/ 104391 w 208606"/>
                  <a:gd name="connsiteY121" fmla="*/ 115941 h 339271"/>
                  <a:gd name="connsiteX122" fmla="*/ 98307 w 208606"/>
                  <a:gd name="connsiteY122" fmla="*/ 114795 h 339271"/>
                  <a:gd name="connsiteX123" fmla="*/ 100953 w 208606"/>
                  <a:gd name="connsiteY123" fmla="*/ 119468 h 339271"/>
                  <a:gd name="connsiteX124" fmla="*/ 102716 w 208606"/>
                  <a:gd name="connsiteY124" fmla="*/ 124141 h 339271"/>
                  <a:gd name="connsiteX125" fmla="*/ 105979 w 208606"/>
                  <a:gd name="connsiteY125" fmla="*/ 128550 h 339271"/>
                  <a:gd name="connsiteX126" fmla="*/ 105097 w 208606"/>
                  <a:gd name="connsiteY126" fmla="*/ 133487 h 339271"/>
                  <a:gd name="connsiteX127" fmla="*/ 101834 w 208606"/>
                  <a:gd name="connsiteY127" fmla="*/ 130048 h 339271"/>
                  <a:gd name="connsiteX128" fmla="*/ 99189 w 208606"/>
                  <a:gd name="connsiteY128" fmla="*/ 125375 h 339271"/>
                  <a:gd name="connsiteX129" fmla="*/ 94252 w 208606"/>
                  <a:gd name="connsiteY129" fmla="*/ 123612 h 339271"/>
                  <a:gd name="connsiteX130" fmla="*/ 90725 w 208606"/>
                  <a:gd name="connsiteY130" fmla="*/ 119556 h 339271"/>
                  <a:gd name="connsiteX131" fmla="*/ 85788 w 208606"/>
                  <a:gd name="connsiteY131" fmla="*/ 116911 h 339271"/>
                  <a:gd name="connsiteX132" fmla="*/ 81996 w 208606"/>
                  <a:gd name="connsiteY132" fmla="*/ 118057 h 339271"/>
                  <a:gd name="connsiteX133" fmla="*/ 77324 w 208606"/>
                  <a:gd name="connsiteY133" fmla="*/ 121232 h 339271"/>
                  <a:gd name="connsiteX134" fmla="*/ 75913 w 208606"/>
                  <a:gd name="connsiteY134" fmla="*/ 125640 h 339271"/>
                  <a:gd name="connsiteX135" fmla="*/ 69477 w 208606"/>
                  <a:gd name="connsiteY135" fmla="*/ 126522 h 339271"/>
                  <a:gd name="connsiteX136" fmla="*/ 67184 w 208606"/>
                  <a:gd name="connsiteY136" fmla="*/ 122730 h 339271"/>
                  <a:gd name="connsiteX137" fmla="*/ 66038 w 208606"/>
                  <a:gd name="connsiteY137" fmla="*/ 121584 h 339271"/>
                  <a:gd name="connsiteX138" fmla="*/ 61101 w 208606"/>
                  <a:gd name="connsiteY138" fmla="*/ 119821 h 339271"/>
                  <a:gd name="connsiteX139" fmla="*/ 60836 w 208606"/>
                  <a:gd name="connsiteY139" fmla="*/ 123612 h 339271"/>
                  <a:gd name="connsiteX140" fmla="*/ 58191 w 208606"/>
                  <a:gd name="connsiteY140" fmla="*/ 119556 h 339271"/>
                  <a:gd name="connsiteX141" fmla="*/ 58191 w 208606"/>
                  <a:gd name="connsiteY141" fmla="*/ 113737 h 339271"/>
                  <a:gd name="connsiteX142" fmla="*/ 61101 w 208606"/>
                  <a:gd name="connsiteY142" fmla="*/ 109681 h 339271"/>
                  <a:gd name="connsiteX143" fmla="*/ 64010 w 208606"/>
                  <a:gd name="connsiteY143" fmla="*/ 106155 h 339271"/>
                  <a:gd name="connsiteX144" fmla="*/ 64275 w 208606"/>
                  <a:gd name="connsiteY144" fmla="*/ 101217 h 339271"/>
                  <a:gd name="connsiteX145" fmla="*/ 59602 w 208606"/>
                  <a:gd name="connsiteY145" fmla="*/ 98572 h 339271"/>
                  <a:gd name="connsiteX146" fmla="*/ 54665 w 208606"/>
                  <a:gd name="connsiteY146" fmla="*/ 97691 h 339271"/>
                  <a:gd name="connsiteX147" fmla="*/ 56692 w 208606"/>
                  <a:gd name="connsiteY147" fmla="*/ 102981 h 339271"/>
                  <a:gd name="connsiteX148" fmla="*/ 55282 w 208606"/>
                  <a:gd name="connsiteY148" fmla="*/ 108183 h 339271"/>
                  <a:gd name="connsiteX149" fmla="*/ 51755 w 208606"/>
                  <a:gd name="connsiteY149" fmla="*/ 104656 h 339271"/>
                  <a:gd name="connsiteX150" fmla="*/ 48493 w 208606"/>
                  <a:gd name="connsiteY150" fmla="*/ 100600 h 339271"/>
                  <a:gd name="connsiteX151" fmla="*/ 47346 w 208606"/>
                  <a:gd name="connsiteY151" fmla="*/ 99101 h 339271"/>
                  <a:gd name="connsiteX152" fmla="*/ 44437 w 208606"/>
                  <a:gd name="connsiteY152" fmla="*/ 97073 h 339271"/>
                  <a:gd name="connsiteX153" fmla="*/ 42938 w 208606"/>
                  <a:gd name="connsiteY153" fmla="*/ 93018 h 339271"/>
                  <a:gd name="connsiteX154" fmla="*/ 41439 w 208606"/>
                  <a:gd name="connsiteY154" fmla="*/ 87728 h 339271"/>
                  <a:gd name="connsiteX155" fmla="*/ 38882 w 208606"/>
                  <a:gd name="connsiteY155" fmla="*/ 83055 h 339271"/>
                  <a:gd name="connsiteX156" fmla="*/ 38530 w 208606"/>
                  <a:gd name="connsiteY156" fmla="*/ 78382 h 339271"/>
                  <a:gd name="connsiteX157" fmla="*/ 37912 w 208606"/>
                  <a:gd name="connsiteY157" fmla="*/ 73444 h 339271"/>
                  <a:gd name="connsiteX158" fmla="*/ 34474 w 208606"/>
                  <a:gd name="connsiteY158" fmla="*/ 72034 h 339271"/>
                  <a:gd name="connsiteX159" fmla="*/ 34738 w 208606"/>
                  <a:gd name="connsiteY159" fmla="*/ 66743 h 339271"/>
                  <a:gd name="connsiteX160" fmla="*/ 33592 w 208606"/>
                  <a:gd name="connsiteY160" fmla="*/ 66126 h 339271"/>
                  <a:gd name="connsiteX161" fmla="*/ 33945 w 208606"/>
                  <a:gd name="connsiteY161" fmla="*/ 61189 h 339271"/>
                  <a:gd name="connsiteX162" fmla="*/ 35973 w 208606"/>
                  <a:gd name="connsiteY162" fmla="*/ 57398 h 339271"/>
                  <a:gd name="connsiteX163" fmla="*/ 38265 w 208606"/>
                  <a:gd name="connsiteY163" fmla="*/ 60307 h 339271"/>
                  <a:gd name="connsiteX164" fmla="*/ 37912 w 208606"/>
                  <a:gd name="connsiteY164" fmla="*/ 62952 h 339271"/>
                  <a:gd name="connsiteX165" fmla="*/ 39852 w 208606"/>
                  <a:gd name="connsiteY165" fmla="*/ 62423 h 339271"/>
                  <a:gd name="connsiteX166" fmla="*/ 101658 w 208606"/>
                  <a:gd name="connsiteY166" fmla="*/ 203052 h 339271"/>
                  <a:gd name="connsiteX167" fmla="*/ 98484 w 208606"/>
                  <a:gd name="connsiteY167" fmla="*/ 200142 h 339271"/>
                  <a:gd name="connsiteX168" fmla="*/ 96720 w 208606"/>
                  <a:gd name="connsiteY168" fmla="*/ 194852 h 339271"/>
                  <a:gd name="connsiteX169" fmla="*/ 98220 w 208606"/>
                  <a:gd name="connsiteY169" fmla="*/ 189033 h 339271"/>
                  <a:gd name="connsiteX170" fmla="*/ 97955 w 208606"/>
                  <a:gd name="connsiteY170" fmla="*/ 182949 h 339271"/>
                  <a:gd name="connsiteX171" fmla="*/ 98220 w 208606"/>
                  <a:gd name="connsiteY171" fmla="*/ 177747 h 339271"/>
                  <a:gd name="connsiteX172" fmla="*/ 97338 w 208606"/>
                  <a:gd name="connsiteY172" fmla="*/ 174221 h 339271"/>
                  <a:gd name="connsiteX173" fmla="*/ 92665 w 208606"/>
                  <a:gd name="connsiteY173" fmla="*/ 170958 h 339271"/>
                  <a:gd name="connsiteX174" fmla="*/ 95222 w 208606"/>
                  <a:gd name="connsiteY174" fmla="*/ 166903 h 339271"/>
                  <a:gd name="connsiteX175" fmla="*/ 100776 w 208606"/>
                  <a:gd name="connsiteY175" fmla="*/ 169195 h 339271"/>
                  <a:gd name="connsiteX176" fmla="*/ 105185 w 208606"/>
                  <a:gd name="connsiteY176" fmla="*/ 172722 h 339271"/>
                  <a:gd name="connsiteX177" fmla="*/ 108976 w 208606"/>
                  <a:gd name="connsiteY177" fmla="*/ 175367 h 339271"/>
                  <a:gd name="connsiteX178" fmla="*/ 113913 w 208606"/>
                  <a:gd name="connsiteY178" fmla="*/ 172457 h 339271"/>
                  <a:gd name="connsiteX179" fmla="*/ 116294 w 208606"/>
                  <a:gd name="connsiteY179" fmla="*/ 175984 h 339271"/>
                  <a:gd name="connsiteX180" fmla="*/ 118322 w 208606"/>
                  <a:gd name="connsiteY180" fmla="*/ 177747 h 339271"/>
                  <a:gd name="connsiteX181" fmla="*/ 120967 w 208606"/>
                  <a:gd name="connsiteY181" fmla="*/ 177130 h 339271"/>
                  <a:gd name="connsiteX182" fmla="*/ 123876 w 208606"/>
                  <a:gd name="connsiteY182" fmla="*/ 183831 h 339271"/>
                  <a:gd name="connsiteX183" fmla="*/ 119821 w 208606"/>
                  <a:gd name="connsiteY183" fmla="*/ 187622 h 339271"/>
                  <a:gd name="connsiteX184" fmla="*/ 114266 w 208606"/>
                  <a:gd name="connsiteY184" fmla="*/ 189650 h 339271"/>
                  <a:gd name="connsiteX185" fmla="*/ 112238 w 208606"/>
                  <a:gd name="connsiteY185" fmla="*/ 193706 h 339271"/>
                  <a:gd name="connsiteX186" fmla="*/ 108976 w 208606"/>
                  <a:gd name="connsiteY186" fmla="*/ 197497 h 339271"/>
                  <a:gd name="connsiteX187" fmla="*/ 103157 w 208606"/>
                  <a:gd name="connsiteY187" fmla="*/ 198996 h 339271"/>
                  <a:gd name="connsiteX188" fmla="*/ 99983 w 208606"/>
                  <a:gd name="connsiteY188" fmla="*/ 204286 h 339271"/>
                  <a:gd name="connsiteX189" fmla="*/ 101658 w 208606"/>
                  <a:gd name="connsiteY189" fmla="*/ 203052 h 339271"/>
                  <a:gd name="connsiteX190" fmla="*/ 55634 w 208606"/>
                  <a:gd name="connsiteY190" fmla="*/ 132429 h 339271"/>
                  <a:gd name="connsiteX191" fmla="*/ 58279 w 208606"/>
                  <a:gd name="connsiteY191" fmla="*/ 127756 h 339271"/>
                  <a:gd name="connsiteX192" fmla="*/ 62952 w 208606"/>
                  <a:gd name="connsiteY192" fmla="*/ 130136 h 339271"/>
                  <a:gd name="connsiteX193" fmla="*/ 69388 w 208606"/>
                  <a:gd name="connsiteY193" fmla="*/ 130136 h 339271"/>
                  <a:gd name="connsiteX194" fmla="*/ 74326 w 208606"/>
                  <a:gd name="connsiteY194" fmla="*/ 131018 h 339271"/>
                  <a:gd name="connsiteX195" fmla="*/ 78382 w 208606"/>
                  <a:gd name="connsiteY195" fmla="*/ 133928 h 339271"/>
                  <a:gd name="connsiteX196" fmla="*/ 81027 w 208606"/>
                  <a:gd name="connsiteY196" fmla="*/ 137454 h 339271"/>
                  <a:gd name="connsiteX197" fmla="*/ 81644 w 208606"/>
                  <a:gd name="connsiteY197" fmla="*/ 140364 h 339271"/>
                  <a:gd name="connsiteX198" fmla="*/ 83407 w 208606"/>
                  <a:gd name="connsiteY198" fmla="*/ 144420 h 339271"/>
                  <a:gd name="connsiteX199" fmla="*/ 85435 w 208606"/>
                  <a:gd name="connsiteY199" fmla="*/ 148828 h 339271"/>
                  <a:gd name="connsiteX200" fmla="*/ 83407 w 208606"/>
                  <a:gd name="connsiteY200" fmla="*/ 153766 h 339271"/>
                  <a:gd name="connsiteX201" fmla="*/ 81644 w 208606"/>
                  <a:gd name="connsiteY201" fmla="*/ 158439 h 339271"/>
                  <a:gd name="connsiteX202" fmla="*/ 79352 w 208606"/>
                  <a:gd name="connsiteY202" fmla="*/ 160819 h 339271"/>
                  <a:gd name="connsiteX203" fmla="*/ 75825 w 208606"/>
                  <a:gd name="connsiteY203" fmla="*/ 159673 h 339271"/>
                  <a:gd name="connsiteX204" fmla="*/ 72651 w 208606"/>
                  <a:gd name="connsiteY204" fmla="*/ 157645 h 339271"/>
                  <a:gd name="connsiteX205" fmla="*/ 71152 w 208606"/>
                  <a:gd name="connsiteY205" fmla="*/ 152708 h 339271"/>
                  <a:gd name="connsiteX206" fmla="*/ 67625 w 208606"/>
                  <a:gd name="connsiteY206" fmla="*/ 149534 h 339271"/>
                  <a:gd name="connsiteX207" fmla="*/ 67096 w 208606"/>
                  <a:gd name="connsiteY207" fmla="*/ 144596 h 339271"/>
                  <a:gd name="connsiteX208" fmla="*/ 65068 w 208606"/>
                  <a:gd name="connsiteY208" fmla="*/ 139923 h 339271"/>
                  <a:gd name="connsiteX209" fmla="*/ 60660 w 208606"/>
                  <a:gd name="connsiteY209" fmla="*/ 137895 h 339271"/>
                  <a:gd name="connsiteX210" fmla="*/ 58896 w 208606"/>
                  <a:gd name="connsiteY210" fmla="*/ 133487 h 339271"/>
                  <a:gd name="connsiteX211" fmla="*/ 55722 w 208606"/>
                  <a:gd name="connsiteY211" fmla="*/ 132870 h 339271"/>
                  <a:gd name="connsiteX212" fmla="*/ 55722 w 208606"/>
                  <a:gd name="connsiteY212" fmla="*/ 132429 h 339271"/>
                  <a:gd name="connsiteX213" fmla="*/ 136661 w 208606"/>
                  <a:gd name="connsiteY213" fmla="*/ 128373 h 339271"/>
                  <a:gd name="connsiteX214" fmla="*/ 132870 w 208606"/>
                  <a:gd name="connsiteY214" fmla="*/ 126610 h 339271"/>
                  <a:gd name="connsiteX215" fmla="*/ 133751 w 208606"/>
                  <a:gd name="connsiteY215" fmla="*/ 123083 h 339271"/>
                  <a:gd name="connsiteX216" fmla="*/ 133487 w 208606"/>
                  <a:gd name="connsiteY216" fmla="*/ 119027 h 339271"/>
                  <a:gd name="connsiteX217" fmla="*/ 133487 w 208606"/>
                  <a:gd name="connsiteY217" fmla="*/ 114972 h 339271"/>
                  <a:gd name="connsiteX218" fmla="*/ 135867 w 208606"/>
                  <a:gd name="connsiteY218" fmla="*/ 115236 h 339271"/>
                  <a:gd name="connsiteX219" fmla="*/ 138777 w 208606"/>
                  <a:gd name="connsiteY219" fmla="*/ 117528 h 339271"/>
                  <a:gd name="connsiteX220" fmla="*/ 139658 w 208606"/>
                  <a:gd name="connsiteY220" fmla="*/ 121320 h 339271"/>
                  <a:gd name="connsiteX221" fmla="*/ 140805 w 208606"/>
                  <a:gd name="connsiteY221" fmla="*/ 125728 h 339271"/>
                  <a:gd name="connsiteX222" fmla="*/ 136749 w 208606"/>
                  <a:gd name="connsiteY222" fmla="*/ 126610 h 339271"/>
                  <a:gd name="connsiteX223" fmla="*/ 136749 w 208606"/>
                  <a:gd name="connsiteY223" fmla="*/ 128373 h 339271"/>
                  <a:gd name="connsiteX224" fmla="*/ 148299 w 208606"/>
                  <a:gd name="connsiteY224" fmla="*/ 171223 h 339271"/>
                  <a:gd name="connsiteX225" fmla="*/ 145037 w 208606"/>
                  <a:gd name="connsiteY225" fmla="*/ 167167 h 339271"/>
                  <a:gd name="connsiteX226" fmla="*/ 148828 w 208606"/>
                  <a:gd name="connsiteY226" fmla="*/ 165668 h 339271"/>
                  <a:gd name="connsiteX227" fmla="*/ 151738 w 208606"/>
                  <a:gd name="connsiteY227" fmla="*/ 169460 h 339271"/>
                  <a:gd name="connsiteX228" fmla="*/ 148299 w 208606"/>
                  <a:gd name="connsiteY228" fmla="*/ 171223 h 339271"/>
                  <a:gd name="connsiteX229" fmla="*/ 86493 w 208606"/>
                  <a:gd name="connsiteY229" fmla="*/ 98572 h 339271"/>
                  <a:gd name="connsiteX230" fmla="*/ 85876 w 208606"/>
                  <a:gd name="connsiteY230" fmla="*/ 96544 h 339271"/>
                  <a:gd name="connsiteX231" fmla="*/ 85347 w 208606"/>
                  <a:gd name="connsiteY231" fmla="*/ 93899 h 339271"/>
                  <a:gd name="connsiteX232" fmla="*/ 82966 w 208606"/>
                  <a:gd name="connsiteY232" fmla="*/ 90373 h 339271"/>
                  <a:gd name="connsiteX233" fmla="*/ 84994 w 208606"/>
                  <a:gd name="connsiteY233" fmla="*/ 88080 h 339271"/>
                  <a:gd name="connsiteX234" fmla="*/ 87639 w 208606"/>
                  <a:gd name="connsiteY234" fmla="*/ 89491 h 339271"/>
                  <a:gd name="connsiteX235" fmla="*/ 86141 w 208606"/>
                  <a:gd name="connsiteY235" fmla="*/ 91519 h 339271"/>
                  <a:gd name="connsiteX236" fmla="*/ 88786 w 208606"/>
                  <a:gd name="connsiteY236" fmla="*/ 94428 h 339271"/>
                  <a:gd name="connsiteX237" fmla="*/ 87286 w 208606"/>
                  <a:gd name="connsiteY237" fmla="*/ 97955 h 339271"/>
                  <a:gd name="connsiteX238" fmla="*/ 86493 w 208606"/>
                  <a:gd name="connsiteY238" fmla="*/ 98572 h 339271"/>
                  <a:gd name="connsiteX239" fmla="*/ 108095 w 208606"/>
                  <a:gd name="connsiteY239" fmla="*/ 156323 h 339271"/>
                  <a:gd name="connsiteX240" fmla="*/ 105185 w 208606"/>
                  <a:gd name="connsiteY240" fmla="*/ 154559 h 339271"/>
                  <a:gd name="connsiteX241" fmla="*/ 102804 w 208606"/>
                  <a:gd name="connsiteY241" fmla="*/ 152267 h 339271"/>
                  <a:gd name="connsiteX242" fmla="*/ 105714 w 208606"/>
                  <a:gd name="connsiteY242" fmla="*/ 150503 h 339271"/>
                  <a:gd name="connsiteX243" fmla="*/ 108359 w 208606"/>
                  <a:gd name="connsiteY243" fmla="*/ 151385 h 339271"/>
                  <a:gd name="connsiteX244" fmla="*/ 108624 w 208606"/>
                  <a:gd name="connsiteY244" fmla="*/ 155176 h 339271"/>
                  <a:gd name="connsiteX245" fmla="*/ 108095 w 208606"/>
                  <a:gd name="connsiteY245" fmla="*/ 156323 h 339271"/>
                  <a:gd name="connsiteX246" fmla="*/ 92929 w 208606"/>
                  <a:gd name="connsiteY246" fmla="*/ 136573 h 339271"/>
                  <a:gd name="connsiteX247" fmla="*/ 89138 w 208606"/>
                  <a:gd name="connsiteY247" fmla="*/ 136308 h 339271"/>
                  <a:gd name="connsiteX248" fmla="*/ 89403 w 208606"/>
                  <a:gd name="connsiteY248" fmla="*/ 135427 h 339271"/>
                  <a:gd name="connsiteX249" fmla="*/ 89138 w 208606"/>
                  <a:gd name="connsiteY249" fmla="*/ 134280 h 339271"/>
                  <a:gd name="connsiteX250" fmla="*/ 88874 w 208606"/>
                  <a:gd name="connsiteY250" fmla="*/ 133134 h 339271"/>
                  <a:gd name="connsiteX251" fmla="*/ 89138 w 208606"/>
                  <a:gd name="connsiteY251" fmla="*/ 131635 h 339271"/>
                  <a:gd name="connsiteX252" fmla="*/ 91166 w 208606"/>
                  <a:gd name="connsiteY252" fmla="*/ 131371 h 339271"/>
                  <a:gd name="connsiteX253" fmla="*/ 92929 w 208606"/>
                  <a:gd name="connsiteY253" fmla="*/ 132253 h 339271"/>
                  <a:gd name="connsiteX254" fmla="*/ 93194 w 208606"/>
                  <a:gd name="connsiteY254" fmla="*/ 133663 h 339271"/>
                  <a:gd name="connsiteX255" fmla="*/ 95839 w 208606"/>
                  <a:gd name="connsiteY255" fmla="*/ 135162 h 339271"/>
                  <a:gd name="connsiteX256" fmla="*/ 92929 w 208606"/>
                  <a:gd name="connsiteY256" fmla="*/ 136573 h 339271"/>
                  <a:gd name="connsiteX257" fmla="*/ 58808 w 208606"/>
                  <a:gd name="connsiteY257" fmla="*/ 168313 h 339271"/>
                  <a:gd name="connsiteX258" fmla="*/ 55634 w 208606"/>
                  <a:gd name="connsiteY258" fmla="*/ 167432 h 339271"/>
                  <a:gd name="connsiteX259" fmla="*/ 54136 w 208606"/>
                  <a:gd name="connsiteY259" fmla="*/ 170958 h 339271"/>
                  <a:gd name="connsiteX260" fmla="*/ 52107 w 208606"/>
                  <a:gd name="connsiteY260" fmla="*/ 172105 h 339271"/>
                  <a:gd name="connsiteX261" fmla="*/ 51226 w 208606"/>
                  <a:gd name="connsiteY261" fmla="*/ 166815 h 339271"/>
                  <a:gd name="connsiteX262" fmla="*/ 49462 w 208606"/>
                  <a:gd name="connsiteY262" fmla="*/ 163640 h 339271"/>
                  <a:gd name="connsiteX263" fmla="*/ 48845 w 208606"/>
                  <a:gd name="connsiteY263" fmla="*/ 163023 h 339271"/>
                  <a:gd name="connsiteX264" fmla="*/ 49991 w 208606"/>
                  <a:gd name="connsiteY264" fmla="*/ 160731 h 339271"/>
                  <a:gd name="connsiteX265" fmla="*/ 52019 w 208606"/>
                  <a:gd name="connsiteY265" fmla="*/ 162230 h 339271"/>
                  <a:gd name="connsiteX266" fmla="*/ 54400 w 208606"/>
                  <a:gd name="connsiteY266" fmla="*/ 164522 h 339271"/>
                  <a:gd name="connsiteX267" fmla="*/ 56692 w 208606"/>
                  <a:gd name="connsiteY267" fmla="*/ 163640 h 339271"/>
                  <a:gd name="connsiteX268" fmla="*/ 58985 w 208606"/>
                  <a:gd name="connsiteY268" fmla="*/ 165668 h 339271"/>
                  <a:gd name="connsiteX269" fmla="*/ 58985 w 208606"/>
                  <a:gd name="connsiteY269" fmla="*/ 168049 h 339271"/>
                  <a:gd name="connsiteX270" fmla="*/ 58808 w 208606"/>
                  <a:gd name="connsiteY270" fmla="*/ 168313 h 339271"/>
                  <a:gd name="connsiteX271" fmla="*/ 95222 w 208606"/>
                  <a:gd name="connsiteY271" fmla="*/ 162230 h 339271"/>
                  <a:gd name="connsiteX272" fmla="*/ 93811 w 208606"/>
                  <a:gd name="connsiteY272" fmla="*/ 158968 h 339271"/>
                  <a:gd name="connsiteX273" fmla="*/ 93194 w 208606"/>
                  <a:gd name="connsiteY273" fmla="*/ 157821 h 339271"/>
                  <a:gd name="connsiteX274" fmla="*/ 93547 w 208606"/>
                  <a:gd name="connsiteY274" fmla="*/ 154030 h 339271"/>
                  <a:gd name="connsiteX275" fmla="*/ 93547 w 208606"/>
                  <a:gd name="connsiteY275" fmla="*/ 150239 h 339271"/>
                  <a:gd name="connsiteX276" fmla="*/ 95839 w 208606"/>
                  <a:gd name="connsiteY276" fmla="*/ 147065 h 339271"/>
                  <a:gd name="connsiteX277" fmla="*/ 96191 w 208606"/>
                  <a:gd name="connsiteY277" fmla="*/ 150856 h 339271"/>
                  <a:gd name="connsiteX278" fmla="*/ 95574 w 208606"/>
                  <a:gd name="connsiteY278" fmla="*/ 154912 h 339271"/>
                  <a:gd name="connsiteX279" fmla="*/ 95839 w 208606"/>
                  <a:gd name="connsiteY279" fmla="*/ 158968 h 339271"/>
                  <a:gd name="connsiteX280" fmla="*/ 95222 w 208606"/>
                  <a:gd name="connsiteY280" fmla="*/ 162230 h 339271"/>
                  <a:gd name="connsiteX281" fmla="*/ 97338 w 208606"/>
                  <a:gd name="connsiteY281" fmla="*/ 319699 h 339271"/>
                  <a:gd name="connsiteX282" fmla="*/ 94693 w 208606"/>
                  <a:gd name="connsiteY282" fmla="*/ 318552 h 339271"/>
                  <a:gd name="connsiteX283" fmla="*/ 91519 w 208606"/>
                  <a:gd name="connsiteY283" fmla="*/ 319170 h 339271"/>
                  <a:gd name="connsiteX284" fmla="*/ 88345 w 208606"/>
                  <a:gd name="connsiteY284" fmla="*/ 320051 h 339271"/>
                  <a:gd name="connsiteX285" fmla="*/ 86846 w 208606"/>
                  <a:gd name="connsiteY285" fmla="*/ 319170 h 339271"/>
                  <a:gd name="connsiteX286" fmla="*/ 86228 w 208606"/>
                  <a:gd name="connsiteY286" fmla="*/ 318552 h 339271"/>
                  <a:gd name="connsiteX287" fmla="*/ 84201 w 208606"/>
                  <a:gd name="connsiteY287" fmla="*/ 319699 h 339271"/>
                  <a:gd name="connsiteX288" fmla="*/ 82437 w 208606"/>
                  <a:gd name="connsiteY288" fmla="*/ 318200 h 339271"/>
                  <a:gd name="connsiteX289" fmla="*/ 85612 w 208606"/>
                  <a:gd name="connsiteY289" fmla="*/ 316172 h 339271"/>
                  <a:gd name="connsiteX290" fmla="*/ 86228 w 208606"/>
                  <a:gd name="connsiteY290" fmla="*/ 314144 h 339271"/>
                  <a:gd name="connsiteX291" fmla="*/ 91431 w 208606"/>
                  <a:gd name="connsiteY291" fmla="*/ 315290 h 339271"/>
                  <a:gd name="connsiteX292" fmla="*/ 94605 w 208606"/>
                  <a:gd name="connsiteY292" fmla="*/ 315907 h 339271"/>
                  <a:gd name="connsiteX293" fmla="*/ 98131 w 208606"/>
                  <a:gd name="connsiteY293" fmla="*/ 315907 h 339271"/>
                  <a:gd name="connsiteX294" fmla="*/ 99895 w 208606"/>
                  <a:gd name="connsiteY294" fmla="*/ 318200 h 339271"/>
                  <a:gd name="connsiteX295" fmla="*/ 97338 w 208606"/>
                  <a:gd name="connsiteY295" fmla="*/ 319699 h 339271"/>
                  <a:gd name="connsiteX296" fmla="*/ 107830 w 208606"/>
                  <a:gd name="connsiteY296" fmla="*/ 305680 h 339271"/>
                  <a:gd name="connsiteX297" fmla="*/ 103510 w 208606"/>
                  <a:gd name="connsiteY297" fmla="*/ 303035 h 339271"/>
                  <a:gd name="connsiteX298" fmla="*/ 102628 w 208606"/>
                  <a:gd name="connsiteY298" fmla="*/ 299861 h 339271"/>
                  <a:gd name="connsiteX299" fmla="*/ 105537 w 208606"/>
                  <a:gd name="connsiteY299" fmla="*/ 298362 h 339271"/>
                  <a:gd name="connsiteX300" fmla="*/ 110210 w 208606"/>
                  <a:gd name="connsiteY300" fmla="*/ 298979 h 339271"/>
                  <a:gd name="connsiteX301" fmla="*/ 112238 w 208606"/>
                  <a:gd name="connsiteY301" fmla="*/ 300390 h 339271"/>
                  <a:gd name="connsiteX302" fmla="*/ 111357 w 208606"/>
                  <a:gd name="connsiteY302" fmla="*/ 301007 h 339271"/>
                  <a:gd name="connsiteX303" fmla="*/ 111621 w 208606"/>
                  <a:gd name="connsiteY303" fmla="*/ 302770 h 339271"/>
                  <a:gd name="connsiteX304" fmla="*/ 111621 w 208606"/>
                  <a:gd name="connsiteY304" fmla="*/ 304269 h 339271"/>
                  <a:gd name="connsiteX305" fmla="*/ 111357 w 208606"/>
                  <a:gd name="connsiteY305" fmla="*/ 305768 h 339271"/>
                  <a:gd name="connsiteX306" fmla="*/ 107830 w 208606"/>
                  <a:gd name="connsiteY306" fmla="*/ 305768 h 339271"/>
                  <a:gd name="connsiteX307" fmla="*/ 40117 w 208606"/>
                  <a:gd name="connsiteY307" fmla="*/ 187534 h 339271"/>
                  <a:gd name="connsiteX308" fmla="*/ 42144 w 208606"/>
                  <a:gd name="connsiteY308" fmla="*/ 186917 h 339271"/>
                  <a:gd name="connsiteX309" fmla="*/ 40998 w 208606"/>
                  <a:gd name="connsiteY309" fmla="*/ 181098 h 339271"/>
                  <a:gd name="connsiteX310" fmla="*/ 42761 w 208606"/>
                  <a:gd name="connsiteY310" fmla="*/ 178453 h 339271"/>
                  <a:gd name="connsiteX311" fmla="*/ 44261 w 208606"/>
                  <a:gd name="connsiteY311" fmla="*/ 182509 h 339271"/>
                  <a:gd name="connsiteX312" fmla="*/ 45142 w 208606"/>
                  <a:gd name="connsiteY312" fmla="*/ 187181 h 339271"/>
                  <a:gd name="connsiteX313" fmla="*/ 43996 w 208606"/>
                  <a:gd name="connsiteY313" fmla="*/ 190973 h 339271"/>
                  <a:gd name="connsiteX314" fmla="*/ 46377 w 208606"/>
                  <a:gd name="connsiteY314" fmla="*/ 194147 h 339271"/>
                  <a:gd name="connsiteX315" fmla="*/ 43996 w 208606"/>
                  <a:gd name="connsiteY315" fmla="*/ 197673 h 339271"/>
                  <a:gd name="connsiteX316" fmla="*/ 46641 w 208606"/>
                  <a:gd name="connsiteY316" fmla="*/ 197056 h 339271"/>
                  <a:gd name="connsiteX317" fmla="*/ 48933 w 208606"/>
                  <a:gd name="connsiteY317" fmla="*/ 197938 h 339271"/>
                  <a:gd name="connsiteX318" fmla="*/ 49198 w 208606"/>
                  <a:gd name="connsiteY318" fmla="*/ 200230 h 339271"/>
                  <a:gd name="connsiteX319" fmla="*/ 51226 w 208606"/>
                  <a:gd name="connsiteY319" fmla="*/ 200848 h 339271"/>
                  <a:gd name="connsiteX320" fmla="*/ 54400 w 208606"/>
                  <a:gd name="connsiteY320" fmla="*/ 201465 h 339271"/>
                  <a:gd name="connsiteX321" fmla="*/ 52901 w 208606"/>
                  <a:gd name="connsiteY321" fmla="*/ 204110 h 339271"/>
                  <a:gd name="connsiteX322" fmla="*/ 50609 w 208606"/>
                  <a:gd name="connsiteY322" fmla="*/ 203228 h 339271"/>
                  <a:gd name="connsiteX323" fmla="*/ 50873 w 208606"/>
                  <a:gd name="connsiteY323" fmla="*/ 203228 h 339271"/>
                  <a:gd name="connsiteX324" fmla="*/ 50256 w 208606"/>
                  <a:gd name="connsiteY324" fmla="*/ 204110 h 339271"/>
                  <a:gd name="connsiteX325" fmla="*/ 48493 w 208606"/>
                  <a:gd name="connsiteY325" fmla="*/ 206402 h 339271"/>
                  <a:gd name="connsiteX326" fmla="*/ 48493 w 208606"/>
                  <a:gd name="connsiteY326" fmla="*/ 206138 h 339271"/>
                  <a:gd name="connsiteX327" fmla="*/ 46465 w 208606"/>
                  <a:gd name="connsiteY327" fmla="*/ 209047 h 339271"/>
                  <a:gd name="connsiteX328" fmla="*/ 45583 w 208606"/>
                  <a:gd name="connsiteY328" fmla="*/ 206402 h 339271"/>
                  <a:gd name="connsiteX329" fmla="*/ 42938 w 208606"/>
                  <a:gd name="connsiteY329" fmla="*/ 209047 h 339271"/>
                  <a:gd name="connsiteX330" fmla="*/ 43555 w 208606"/>
                  <a:gd name="connsiteY330" fmla="*/ 210811 h 339271"/>
                  <a:gd name="connsiteX331" fmla="*/ 38882 w 208606"/>
                  <a:gd name="connsiteY331" fmla="*/ 211428 h 339271"/>
                  <a:gd name="connsiteX332" fmla="*/ 39147 w 208606"/>
                  <a:gd name="connsiteY332" fmla="*/ 211428 h 339271"/>
                  <a:gd name="connsiteX333" fmla="*/ 37648 w 208606"/>
                  <a:gd name="connsiteY333" fmla="*/ 213191 h 339271"/>
                  <a:gd name="connsiteX334" fmla="*/ 32711 w 208606"/>
                  <a:gd name="connsiteY334" fmla="*/ 214337 h 339271"/>
                  <a:gd name="connsiteX335" fmla="*/ 30065 w 208606"/>
                  <a:gd name="connsiteY335" fmla="*/ 218129 h 339271"/>
                  <a:gd name="connsiteX336" fmla="*/ 29448 w 208606"/>
                  <a:gd name="connsiteY336" fmla="*/ 219892 h 339271"/>
                  <a:gd name="connsiteX337" fmla="*/ 33240 w 208606"/>
                  <a:gd name="connsiteY337" fmla="*/ 221655 h 339271"/>
                  <a:gd name="connsiteX338" fmla="*/ 31211 w 208606"/>
                  <a:gd name="connsiteY338" fmla="*/ 223419 h 339271"/>
                  <a:gd name="connsiteX339" fmla="*/ 29448 w 208606"/>
                  <a:gd name="connsiteY339" fmla="*/ 226945 h 339271"/>
                  <a:gd name="connsiteX340" fmla="*/ 28831 w 208606"/>
                  <a:gd name="connsiteY340" fmla="*/ 228709 h 339271"/>
                  <a:gd name="connsiteX341" fmla="*/ 24423 w 208606"/>
                  <a:gd name="connsiteY341" fmla="*/ 232500 h 339271"/>
                  <a:gd name="connsiteX342" fmla="*/ 20631 w 208606"/>
                  <a:gd name="connsiteY342" fmla="*/ 235674 h 339271"/>
                  <a:gd name="connsiteX343" fmla="*/ 17105 w 208606"/>
                  <a:gd name="connsiteY343" fmla="*/ 238583 h 339271"/>
                  <a:gd name="connsiteX344" fmla="*/ 16752 w 208606"/>
                  <a:gd name="connsiteY344" fmla="*/ 241229 h 339271"/>
                  <a:gd name="connsiteX345" fmla="*/ 15606 w 208606"/>
                  <a:gd name="connsiteY345" fmla="*/ 243521 h 339271"/>
                  <a:gd name="connsiteX346" fmla="*/ 12167 w 208606"/>
                  <a:gd name="connsiteY346" fmla="*/ 247312 h 339271"/>
                  <a:gd name="connsiteX347" fmla="*/ 7494 w 208606"/>
                  <a:gd name="connsiteY347" fmla="*/ 249076 h 339271"/>
                  <a:gd name="connsiteX348" fmla="*/ 6084 w 208606"/>
                  <a:gd name="connsiteY348" fmla="*/ 253748 h 339271"/>
                  <a:gd name="connsiteX349" fmla="*/ 2028 w 208606"/>
                  <a:gd name="connsiteY349" fmla="*/ 257275 h 339271"/>
                  <a:gd name="connsiteX350" fmla="*/ 0 w 208606"/>
                  <a:gd name="connsiteY350" fmla="*/ 255776 h 339271"/>
                  <a:gd name="connsiteX351" fmla="*/ 1763 w 208606"/>
                  <a:gd name="connsiteY351" fmla="*/ 250839 h 339271"/>
                  <a:gd name="connsiteX352" fmla="*/ 4673 w 208606"/>
                  <a:gd name="connsiteY352" fmla="*/ 246431 h 339271"/>
                  <a:gd name="connsiteX353" fmla="*/ 7582 w 208606"/>
                  <a:gd name="connsiteY353" fmla="*/ 242375 h 339271"/>
                  <a:gd name="connsiteX354" fmla="*/ 10492 w 208606"/>
                  <a:gd name="connsiteY354" fmla="*/ 238848 h 339271"/>
                  <a:gd name="connsiteX355" fmla="*/ 13137 w 208606"/>
                  <a:gd name="connsiteY355" fmla="*/ 234440 h 339271"/>
                  <a:gd name="connsiteX356" fmla="*/ 16928 w 208606"/>
                  <a:gd name="connsiteY356" fmla="*/ 234175 h 339271"/>
                  <a:gd name="connsiteX357" fmla="*/ 19838 w 208606"/>
                  <a:gd name="connsiteY357" fmla="*/ 229502 h 339271"/>
                  <a:gd name="connsiteX358" fmla="*/ 22219 w 208606"/>
                  <a:gd name="connsiteY358" fmla="*/ 224300 h 339271"/>
                  <a:gd name="connsiteX359" fmla="*/ 25128 w 208606"/>
                  <a:gd name="connsiteY359" fmla="*/ 220245 h 339271"/>
                  <a:gd name="connsiteX360" fmla="*/ 27773 w 208606"/>
                  <a:gd name="connsiteY360" fmla="*/ 215572 h 339271"/>
                  <a:gd name="connsiteX361" fmla="*/ 30682 w 208606"/>
                  <a:gd name="connsiteY361" fmla="*/ 213544 h 339271"/>
                  <a:gd name="connsiteX362" fmla="*/ 30947 w 208606"/>
                  <a:gd name="connsiteY362" fmla="*/ 209135 h 339271"/>
                  <a:gd name="connsiteX363" fmla="*/ 34738 w 208606"/>
                  <a:gd name="connsiteY363" fmla="*/ 205344 h 339271"/>
                  <a:gd name="connsiteX364" fmla="*/ 35885 w 208606"/>
                  <a:gd name="connsiteY364" fmla="*/ 202699 h 339271"/>
                  <a:gd name="connsiteX365" fmla="*/ 37912 w 208606"/>
                  <a:gd name="connsiteY365" fmla="*/ 203581 h 339271"/>
                  <a:gd name="connsiteX366" fmla="*/ 40205 w 208606"/>
                  <a:gd name="connsiteY366" fmla="*/ 198643 h 339271"/>
                  <a:gd name="connsiteX367" fmla="*/ 41615 w 208606"/>
                  <a:gd name="connsiteY367" fmla="*/ 196615 h 339271"/>
                  <a:gd name="connsiteX368" fmla="*/ 39588 w 208606"/>
                  <a:gd name="connsiteY368" fmla="*/ 194323 h 339271"/>
                  <a:gd name="connsiteX369" fmla="*/ 37560 w 208606"/>
                  <a:gd name="connsiteY369" fmla="*/ 189915 h 339271"/>
                  <a:gd name="connsiteX370" fmla="*/ 41086 w 208606"/>
                  <a:gd name="connsiteY370" fmla="*/ 193970 h 339271"/>
                  <a:gd name="connsiteX371" fmla="*/ 42850 w 208606"/>
                  <a:gd name="connsiteY371" fmla="*/ 192207 h 339271"/>
                  <a:gd name="connsiteX372" fmla="*/ 39676 w 208606"/>
                  <a:gd name="connsiteY372" fmla="*/ 189298 h 339271"/>
                  <a:gd name="connsiteX373" fmla="*/ 40117 w 208606"/>
                  <a:gd name="connsiteY373" fmla="*/ 187534 h 339271"/>
                  <a:gd name="connsiteX374" fmla="*/ 139571 w 208606"/>
                  <a:gd name="connsiteY374" fmla="*/ 169812 h 339271"/>
                  <a:gd name="connsiteX375" fmla="*/ 137278 w 208606"/>
                  <a:gd name="connsiteY375" fmla="*/ 169548 h 339271"/>
                  <a:gd name="connsiteX376" fmla="*/ 134986 w 208606"/>
                  <a:gd name="connsiteY376" fmla="*/ 166109 h 339271"/>
                  <a:gd name="connsiteX377" fmla="*/ 129784 w 208606"/>
                  <a:gd name="connsiteY377" fmla="*/ 163200 h 339271"/>
                  <a:gd name="connsiteX378" fmla="*/ 126874 w 208606"/>
                  <a:gd name="connsiteY378" fmla="*/ 162318 h 339271"/>
                  <a:gd name="connsiteX379" fmla="*/ 123347 w 208606"/>
                  <a:gd name="connsiteY379" fmla="*/ 164963 h 339271"/>
                  <a:gd name="connsiteX380" fmla="*/ 119556 w 208606"/>
                  <a:gd name="connsiteY380" fmla="*/ 165845 h 339271"/>
                  <a:gd name="connsiteX381" fmla="*/ 120438 w 208606"/>
                  <a:gd name="connsiteY381" fmla="*/ 162671 h 339271"/>
                  <a:gd name="connsiteX382" fmla="*/ 121849 w 208606"/>
                  <a:gd name="connsiteY382" fmla="*/ 160026 h 339271"/>
                  <a:gd name="connsiteX383" fmla="*/ 121232 w 208606"/>
                  <a:gd name="connsiteY383" fmla="*/ 155353 h 339271"/>
                  <a:gd name="connsiteX384" fmla="*/ 119468 w 208606"/>
                  <a:gd name="connsiteY384" fmla="*/ 153589 h 339271"/>
                  <a:gd name="connsiteX385" fmla="*/ 119468 w 208606"/>
                  <a:gd name="connsiteY385" fmla="*/ 149798 h 339271"/>
                  <a:gd name="connsiteX386" fmla="*/ 121496 w 208606"/>
                  <a:gd name="connsiteY386" fmla="*/ 152179 h 339271"/>
                  <a:gd name="connsiteX387" fmla="*/ 122907 w 208606"/>
                  <a:gd name="connsiteY387" fmla="*/ 152179 h 339271"/>
                  <a:gd name="connsiteX388" fmla="*/ 126433 w 208606"/>
                  <a:gd name="connsiteY388" fmla="*/ 153060 h 339271"/>
                  <a:gd name="connsiteX389" fmla="*/ 132870 w 208606"/>
                  <a:gd name="connsiteY389" fmla="*/ 154206 h 339271"/>
                  <a:gd name="connsiteX390" fmla="*/ 133751 w 208606"/>
                  <a:gd name="connsiteY390" fmla="*/ 157380 h 339271"/>
                  <a:gd name="connsiteX391" fmla="*/ 135779 w 208606"/>
                  <a:gd name="connsiteY391" fmla="*/ 159673 h 339271"/>
                  <a:gd name="connsiteX392" fmla="*/ 137542 w 208606"/>
                  <a:gd name="connsiteY392" fmla="*/ 163200 h 339271"/>
                  <a:gd name="connsiteX393" fmla="*/ 139306 w 208606"/>
                  <a:gd name="connsiteY393" fmla="*/ 165227 h 339271"/>
                  <a:gd name="connsiteX394" fmla="*/ 141334 w 208606"/>
                  <a:gd name="connsiteY394" fmla="*/ 168754 h 339271"/>
                  <a:gd name="connsiteX395" fmla="*/ 139571 w 208606"/>
                  <a:gd name="connsiteY395" fmla="*/ 169812 h 339271"/>
                  <a:gd name="connsiteX396" fmla="*/ 167343 w 208606"/>
                  <a:gd name="connsiteY396" fmla="*/ 212397 h 339271"/>
                  <a:gd name="connsiteX397" fmla="*/ 162054 w 208606"/>
                  <a:gd name="connsiteY397" fmla="*/ 210634 h 339271"/>
                  <a:gd name="connsiteX398" fmla="*/ 162054 w 208606"/>
                  <a:gd name="connsiteY398" fmla="*/ 205697 h 339271"/>
                  <a:gd name="connsiteX399" fmla="*/ 160290 w 208606"/>
                  <a:gd name="connsiteY399" fmla="*/ 201024 h 339271"/>
                  <a:gd name="connsiteX400" fmla="*/ 160819 w 208606"/>
                  <a:gd name="connsiteY400" fmla="*/ 195734 h 339271"/>
                  <a:gd name="connsiteX401" fmla="*/ 158527 w 208606"/>
                  <a:gd name="connsiteY401" fmla="*/ 191061 h 339271"/>
                  <a:gd name="connsiteX402" fmla="*/ 154735 w 208606"/>
                  <a:gd name="connsiteY402" fmla="*/ 190179 h 339271"/>
                  <a:gd name="connsiteX403" fmla="*/ 151826 w 208606"/>
                  <a:gd name="connsiteY403" fmla="*/ 191942 h 339271"/>
                  <a:gd name="connsiteX404" fmla="*/ 147417 w 208606"/>
                  <a:gd name="connsiteY404" fmla="*/ 188768 h 339271"/>
                  <a:gd name="connsiteX405" fmla="*/ 150327 w 208606"/>
                  <a:gd name="connsiteY405" fmla="*/ 182068 h 339271"/>
                  <a:gd name="connsiteX406" fmla="*/ 148035 w 208606"/>
                  <a:gd name="connsiteY406" fmla="*/ 177130 h 339271"/>
                  <a:gd name="connsiteX407" fmla="*/ 150679 w 208606"/>
                  <a:gd name="connsiteY407" fmla="*/ 175367 h 339271"/>
                  <a:gd name="connsiteX408" fmla="*/ 151297 w 208606"/>
                  <a:gd name="connsiteY408" fmla="*/ 178629 h 339271"/>
                  <a:gd name="connsiteX409" fmla="*/ 153677 w 208606"/>
                  <a:gd name="connsiteY409" fmla="*/ 178629 h 339271"/>
                  <a:gd name="connsiteX410" fmla="*/ 157204 w 208606"/>
                  <a:gd name="connsiteY410" fmla="*/ 181274 h 339271"/>
                  <a:gd name="connsiteX411" fmla="*/ 160731 w 208606"/>
                  <a:gd name="connsiteY411" fmla="*/ 177483 h 339271"/>
                  <a:gd name="connsiteX412" fmla="*/ 163023 w 208606"/>
                  <a:gd name="connsiteY412" fmla="*/ 181539 h 339271"/>
                  <a:gd name="connsiteX413" fmla="*/ 164787 w 208606"/>
                  <a:gd name="connsiteY413" fmla="*/ 185947 h 339271"/>
                  <a:gd name="connsiteX414" fmla="*/ 165051 w 208606"/>
                  <a:gd name="connsiteY414" fmla="*/ 191237 h 339271"/>
                  <a:gd name="connsiteX415" fmla="*/ 167079 w 208606"/>
                  <a:gd name="connsiteY415" fmla="*/ 195293 h 339271"/>
                  <a:gd name="connsiteX416" fmla="*/ 169724 w 208606"/>
                  <a:gd name="connsiteY416" fmla="*/ 199701 h 339271"/>
                  <a:gd name="connsiteX417" fmla="*/ 172017 w 208606"/>
                  <a:gd name="connsiteY417" fmla="*/ 204374 h 339271"/>
                  <a:gd name="connsiteX418" fmla="*/ 169372 w 208606"/>
                  <a:gd name="connsiteY418" fmla="*/ 207019 h 339271"/>
                  <a:gd name="connsiteX419" fmla="*/ 167608 w 208606"/>
                  <a:gd name="connsiteY419" fmla="*/ 205873 h 339271"/>
                  <a:gd name="connsiteX420" fmla="*/ 165316 w 208606"/>
                  <a:gd name="connsiteY420" fmla="*/ 205256 h 339271"/>
                  <a:gd name="connsiteX421" fmla="*/ 168490 w 208606"/>
                  <a:gd name="connsiteY421" fmla="*/ 209664 h 339271"/>
                  <a:gd name="connsiteX422" fmla="*/ 167608 w 208606"/>
                  <a:gd name="connsiteY422" fmla="*/ 210811 h 339271"/>
                  <a:gd name="connsiteX423" fmla="*/ 167343 w 208606"/>
                  <a:gd name="connsiteY423" fmla="*/ 212397 h 339271"/>
                  <a:gd name="connsiteX424" fmla="*/ 180393 w 208606"/>
                  <a:gd name="connsiteY424" fmla="*/ 187005 h 339271"/>
                  <a:gd name="connsiteX425" fmla="*/ 178012 w 208606"/>
                  <a:gd name="connsiteY425" fmla="*/ 186388 h 339271"/>
                  <a:gd name="connsiteX426" fmla="*/ 177395 w 208606"/>
                  <a:gd name="connsiteY426" fmla="*/ 185242 h 339271"/>
                  <a:gd name="connsiteX427" fmla="*/ 175367 w 208606"/>
                  <a:gd name="connsiteY427" fmla="*/ 186123 h 339271"/>
                  <a:gd name="connsiteX428" fmla="*/ 170694 w 208606"/>
                  <a:gd name="connsiteY428" fmla="*/ 185506 h 339271"/>
                  <a:gd name="connsiteX429" fmla="*/ 168666 w 208606"/>
                  <a:gd name="connsiteY429" fmla="*/ 184624 h 339271"/>
                  <a:gd name="connsiteX430" fmla="*/ 165492 w 208606"/>
                  <a:gd name="connsiteY430" fmla="*/ 182597 h 339271"/>
                  <a:gd name="connsiteX431" fmla="*/ 163729 w 208606"/>
                  <a:gd name="connsiteY431" fmla="*/ 179423 h 339271"/>
                  <a:gd name="connsiteX432" fmla="*/ 160202 w 208606"/>
                  <a:gd name="connsiteY432" fmla="*/ 177395 h 339271"/>
                  <a:gd name="connsiteX433" fmla="*/ 163112 w 208606"/>
                  <a:gd name="connsiteY433" fmla="*/ 173868 h 339271"/>
                  <a:gd name="connsiteX434" fmla="*/ 162847 w 208606"/>
                  <a:gd name="connsiteY434" fmla="*/ 170077 h 339271"/>
                  <a:gd name="connsiteX435" fmla="*/ 159673 w 208606"/>
                  <a:gd name="connsiteY435" fmla="*/ 169195 h 339271"/>
                  <a:gd name="connsiteX436" fmla="*/ 156146 w 208606"/>
                  <a:gd name="connsiteY436" fmla="*/ 166286 h 339271"/>
                  <a:gd name="connsiteX437" fmla="*/ 153854 w 208606"/>
                  <a:gd name="connsiteY437" fmla="*/ 163640 h 339271"/>
                  <a:gd name="connsiteX438" fmla="*/ 149446 w 208606"/>
                  <a:gd name="connsiteY438" fmla="*/ 161613 h 339271"/>
                  <a:gd name="connsiteX439" fmla="*/ 147153 w 208606"/>
                  <a:gd name="connsiteY439" fmla="*/ 157557 h 339271"/>
                  <a:gd name="connsiteX440" fmla="*/ 145390 w 208606"/>
                  <a:gd name="connsiteY440" fmla="*/ 153148 h 339271"/>
                  <a:gd name="connsiteX441" fmla="*/ 147770 w 208606"/>
                  <a:gd name="connsiteY441" fmla="*/ 151385 h 339271"/>
                  <a:gd name="connsiteX442" fmla="*/ 150063 w 208606"/>
                  <a:gd name="connsiteY442" fmla="*/ 153148 h 339271"/>
                  <a:gd name="connsiteX443" fmla="*/ 153237 w 208606"/>
                  <a:gd name="connsiteY443" fmla="*/ 152619 h 339271"/>
                  <a:gd name="connsiteX444" fmla="*/ 157909 w 208606"/>
                  <a:gd name="connsiteY444" fmla="*/ 151473 h 339271"/>
                  <a:gd name="connsiteX445" fmla="*/ 159056 w 208606"/>
                  <a:gd name="connsiteY445" fmla="*/ 152090 h 339271"/>
                  <a:gd name="connsiteX446" fmla="*/ 161701 w 208606"/>
                  <a:gd name="connsiteY446" fmla="*/ 149445 h 339271"/>
                  <a:gd name="connsiteX447" fmla="*/ 164610 w 208606"/>
                  <a:gd name="connsiteY447" fmla="*/ 151738 h 339271"/>
                  <a:gd name="connsiteX448" fmla="*/ 166109 w 208606"/>
                  <a:gd name="connsiteY448" fmla="*/ 150856 h 339271"/>
                  <a:gd name="connsiteX449" fmla="*/ 167608 w 208606"/>
                  <a:gd name="connsiteY449" fmla="*/ 155265 h 339271"/>
                  <a:gd name="connsiteX450" fmla="*/ 170782 w 208606"/>
                  <a:gd name="connsiteY450" fmla="*/ 156411 h 339271"/>
                  <a:gd name="connsiteX451" fmla="*/ 171399 w 208606"/>
                  <a:gd name="connsiteY451" fmla="*/ 159937 h 339271"/>
                  <a:gd name="connsiteX452" fmla="*/ 172546 w 208606"/>
                  <a:gd name="connsiteY452" fmla="*/ 163112 h 339271"/>
                  <a:gd name="connsiteX453" fmla="*/ 172810 w 208606"/>
                  <a:gd name="connsiteY453" fmla="*/ 167520 h 339271"/>
                  <a:gd name="connsiteX454" fmla="*/ 173692 w 208606"/>
                  <a:gd name="connsiteY454" fmla="*/ 171311 h 339271"/>
                  <a:gd name="connsiteX455" fmla="*/ 174309 w 208606"/>
                  <a:gd name="connsiteY455" fmla="*/ 175720 h 339271"/>
                  <a:gd name="connsiteX456" fmla="*/ 177571 w 208606"/>
                  <a:gd name="connsiteY456" fmla="*/ 179246 h 339271"/>
                  <a:gd name="connsiteX457" fmla="*/ 176160 w 208606"/>
                  <a:gd name="connsiteY457" fmla="*/ 183302 h 339271"/>
                  <a:gd name="connsiteX458" fmla="*/ 179334 w 208606"/>
                  <a:gd name="connsiteY458" fmla="*/ 183302 h 339271"/>
                  <a:gd name="connsiteX459" fmla="*/ 180833 w 208606"/>
                  <a:gd name="connsiteY459" fmla="*/ 187093 h 339271"/>
                  <a:gd name="connsiteX460" fmla="*/ 180393 w 208606"/>
                  <a:gd name="connsiteY460" fmla="*/ 187093 h 339271"/>
                  <a:gd name="connsiteX461" fmla="*/ 109241 w 208606"/>
                  <a:gd name="connsiteY461" fmla="*/ 268913 h 339271"/>
                  <a:gd name="connsiteX462" fmla="*/ 115060 w 208606"/>
                  <a:gd name="connsiteY462" fmla="*/ 266886 h 339271"/>
                  <a:gd name="connsiteX463" fmla="*/ 119468 w 208606"/>
                  <a:gd name="connsiteY463" fmla="*/ 264858 h 339271"/>
                  <a:gd name="connsiteX464" fmla="*/ 124405 w 208606"/>
                  <a:gd name="connsiteY464" fmla="*/ 261684 h 339271"/>
                  <a:gd name="connsiteX465" fmla="*/ 123259 w 208606"/>
                  <a:gd name="connsiteY465" fmla="*/ 256129 h 339271"/>
                  <a:gd name="connsiteX466" fmla="*/ 128197 w 208606"/>
                  <a:gd name="connsiteY466" fmla="*/ 253219 h 339271"/>
                  <a:gd name="connsiteX467" fmla="*/ 132870 w 208606"/>
                  <a:gd name="connsiteY467" fmla="*/ 249428 h 339271"/>
                  <a:gd name="connsiteX468" fmla="*/ 134898 w 208606"/>
                  <a:gd name="connsiteY468" fmla="*/ 249164 h 339271"/>
                  <a:gd name="connsiteX469" fmla="*/ 139571 w 208606"/>
                  <a:gd name="connsiteY469" fmla="*/ 248899 h 339271"/>
                  <a:gd name="connsiteX470" fmla="*/ 142833 w 208606"/>
                  <a:gd name="connsiteY470" fmla="*/ 254101 h 339271"/>
                  <a:gd name="connsiteX471" fmla="*/ 144243 w 208606"/>
                  <a:gd name="connsiteY471" fmla="*/ 259920 h 339271"/>
                  <a:gd name="connsiteX472" fmla="*/ 140187 w 208606"/>
                  <a:gd name="connsiteY472" fmla="*/ 264329 h 339271"/>
                  <a:gd name="connsiteX473" fmla="*/ 142833 w 208606"/>
                  <a:gd name="connsiteY473" fmla="*/ 263183 h 339271"/>
                  <a:gd name="connsiteX474" fmla="*/ 148652 w 208606"/>
                  <a:gd name="connsiteY474" fmla="*/ 259391 h 339271"/>
                  <a:gd name="connsiteX475" fmla="*/ 152443 w 208606"/>
                  <a:gd name="connsiteY475" fmla="*/ 255600 h 339271"/>
                  <a:gd name="connsiteX476" fmla="*/ 154206 w 208606"/>
                  <a:gd name="connsiteY476" fmla="*/ 251192 h 339271"/>
                  <a:gd name="connsiteX477" fmla="*/ 154471 w 208606"/>
                  <a:gd name="connsiteY477" fmla="*/ 252338 h 339271"/>
                  <a:gd name="connsiteX478" fmla="*/ 152708 w 208606"/>
                  <a:gd name="connsiteY478" fmla="*/ 249693 h 339271"/>
                  <a:gd name="connsiteX479" fmla="*/ 154118 w 208606"/>
                  <a:gd name="connsiteY479" fmla="*/ 248547 h 339271"/>
                  <a:gd name="connsiteX480" fmla="*/ 157292 w 208606"/>
                  <a:gd name="connsiteY480" fmla="*/ 247400 h 339271"/>
                  <a:gd name="connsiteX481" fmla="*/ 161701 w 208606"/>
                  <a:gd name="connsiteY481" fmla="*/ 249164 h 339271"/>
                  <a:gd name="connsiteX482" fmla="*/ 162229 w 208606"/>
                  <a:gd name="connsiteY482" fmla="*/ 250663 h 339271"/>
                  <a:gd name="connsiteX483" fmla="*/ 162494 w 208606"/>
                  <a:gd name="connsiteY483" fmla="*/ 248899 h 339271"/>
                  <a:gd name="connsiteX484" fmla="*/ 163376 w 208606"/>
                  <a:gd name="connsiteY484" fmla="*/ 248282 h 339271"/>
                  <a:gd name="connsiteX485" fmla="*/ 165139 w 208606"/>
                  <a:gd name="connsiteY485" fmla="*/ 242727 h 339271"/>
                  <a:gd name="connsiteX486" fmla="*/ 163729 w 208606"/>
                  <a:gd name="connsiteY486" fmla="*/ 245020 h 339271"/>
                  <a:gd name="connsiteX487" fmla="*/ 162583 w 208606"/>
                  <a:gd name="connsiteY487" fmla="*/ 243256 h 339271"/>
                  <a:gd name="connsiteX488" fmla="*/ 164081 w 208606"/>
                  <a:gd name="connsiteY488" fmla="*/ 240347 h 339271"/>
                  <a:gd name="connsiteX489" fmla="*/ 167255 w 208606"/>
                  <a:gd name="connsiteY489" fmla="*/ 237967 h 339271"/>
                  <a:gd name="connsiteX490" fmla="*/ 170430 w 208606"/>
                  <a:gd name="connsiteY490" fmla="*/ 238848 h 339271"/>
                  <a:gd name="connsiteX491" fmla="*/ 170430 w 208606"/>
                  <a:gd name="connsiteY491" fmla="*/ 238583 h 339271"/>
                  <a:gd name="connsiteX492" fmla="*/ 174485 w 208606"/>
                  <a:gd name="connsiteY492" fmla="*/ 239730 h 339271"/>
                  <a:gd name="connsiteX493" fmla="*/ 173868 w 208606"/>
                  <a:gd name="connsiteY493" fmla="*/ 239465 h 339271"/>
                  <a:gd name="connsiteX494" fmla="*/ 177924 w 208606"/>
                  <a:gd name="connsiteY494" fmla="*/ 237967 h 339271"/>
                  <a:gd name="connsiteX495" fmla="*/ 177306 w 208606"/>
                  <a:gd name="connsiteY495" fmla="*/ 239112 h 339271"/>
                  <a:gd name="connsiteX496" fmla="*/ 177924 w 208606"/>
                  <a:gd name="connsiteY496" fmla="*/ 237085 h 339271"/>
                  <a:gd name="connsiteX497" fmla="*/ 178805 w 208606"/>
                  <a:gd name="connsiteY497" fmla="*/ 235321 h 339271"/>
                  <a:gd name="connsiteX498" fmla="*/ 178541 w 208606"/>
                  <a:gd name="connsiteY498" fmla="*/ 230648 h 339271"/>
                  <a:gd name="connsiteX499" fmla="*/ 177924 w 208606"/>
                  <a:gd name="connsiteY499" fmla="*/ 230384 h 339271"/>
                  <a:gd name="connsiteX500" fmla="*/ 177042 w 208606"/>
                  <a:gd name="connsiteY500" fmla="*/ 226857 h 339271"/>
                  <a:gd name="connsiteX501" fmla="*/ 177306 w 208606"/>
                  <a:gd name="connsiteY501" fmla="*/ 227739 h 339271"/>
                  <a:gd name="connsiteX502" fmla="*/ 175543 w 208606"/>
                  <a:gd name="connsiteY502" fmla="*/ 225094 h 339271"/>
                  <a:gd name="connsiteX503" fmla="*/ 173515 w 208606"/>
                  <a:gd name="connsiteY503" fmla="*/ 219539 h 339271"/>
                  <a:gd name="connsiteX504" fmla="*/ 175279 w 208606"/>
                  <a:gd name="connsiteY504" fmla="*/ 217511 h 339271"/>
                  <a:gd name="connsiteX505" fmla="*/ 179687 w 208606"/>
                  <a:gd name="connsiteY505" fmla="*/ 217511 h 339271"/>
                  <a:gd name="connsiteX506" fmla="*/ 177659 w 208606"/>
                  <a:gd name="connsiteY506" fmla="*/ 216012 h 339271"/>
                  <a:gd name="connsiteX507" fmla="*/ 182597 w 208606"/>
                  <a:gd name="connsiteY507" fmla="*/ 218658 h 339271"/>
                  <a:gd name="connsiteX508" fmla="*/ 185242 w 208606"/>
                  <a:gd name="connsiteY508" fmla="*/ 222184 h 339271"/>
                  <a:gd name="connsiteX509" fmla="*/ 188151 w 208606"/>
                  <a:gd name="connsiteY509" fmla="*/ 225711 h 339271"/>
                  <a:gd name="connsiteX510" fmla="*/ 192824 w 208606"/>
                  <a:gd name="connsiteY510" fmla="*/ 224565 h 339271"/>
                  <a:gd name="connsiteX511" fmla="*/ 193088 w 208606"/>
                  <a:gd name="connsiteY511" fmla="*/ 230119 h 339271"/>
                  <a:gd name="connsiteX512" fmla="*/ 196263 w 208606"/>
                  <a:gd name="connsiteY512" fmla="*/ 235057 h 339271"/>
                  <a:gd name="connsiteX513" fmla="*/ 193353 w 208606"/>
                  <a:gd name="connsiteY513" fmla="*/ 239994 h 339271"/>
                  <a:gd name="connsiteX514" fmla="*/ 193970 w 208606"/>
                  <a:gd name="connsiteY514" fmla="*/ 244403 h 339271"/>
                  <a:gd name="connsiteX515" fmla="*/ 198908 w 208606"/>
                  <a:gd name="connsiteY515" fmla="*/ 245549 h 339271"/>
                  <a:gd name="connsiteX516" fmla="*/ 198908 w 208606"/>
                  <a:gd name="connsiteY516" fmla="*/ 249076 h 339271"/>
                  <a:gd name="connsiteX517" fmla="*/ 200407 w 208606"/>
                  <a:gd name="connsiteY517" fmla="*/ 251104 h 339271"/>
                  <a:gd name="connsiteX518" fmla="*/ 201024 w 208606"/>
                  <a:gd name="connsiteY518" fmla="*/ 256041 h 339271"/>
                  <a:gd name="connsiteX519" fmla="*/ 201024 w 208606"/>
                  <a:gd name="connsiteY519" fmla="*/ 261596 h 339271"/>
                  <a:gd name="connsiteX520" fmla="*/ 205697 w 208606"/>
                  <a:gd name="connsiteY520" fmla="*/ 265387 h 339271"/>
                  <a:gd name="connsiteX521" fmla="*/ 205961 w 208606"/>
                  <a:gd name="connsiteY521" fmla="*/ 271206 h 339271"/>
                  <a:gd name="connsiteX522" fmla="*/ 206843 w 208606"/>
                  <a:gd name="connsiteY522" fmla="*/ 276761 h 339271"/>
                  <a:gd name="connsiteX523" fmla="*/ 208606 w 208606"/>
                  <a:gd name="connsiteY523" fmla="*/ 281962 h 339271"/>
                  <a:gd name="connsiteX524" fmla="*/ 204286 w 208606"/>
                  <a:gd name="connsiteY524" fmla="*/ 286018 h 339271"/>
                  <a:gd name="connsiteX525" fmla="*/ 206314 w 208606"/>
                  <a:gd name="connsiteY525" fmla="*/ 288311 h 339271"/>
                  <a:gd name="connsiteX526" fmla="*/ 204551 w 208606"/>
                  <a:gd name="connsiteY526" fmla="*/ 289457 h 339271"/>
                  <a:gd name="connsiteX527" fmla="*/ 201641 w 208606"/>
                  <a:gd name="connsiteY527" fmla="*/ 292719 h 339271"/>
                  <a:gd name="connsiteX528" fmla="*/ 201024 w 208606"/>
                  <a:gd name="connsiteY528" fmla="*/ 298538 h 339271"/>
                  <a:gd name="connsiteX529" fmla="*/ 199878 w 208606"/>
                  <a:gd name="connsiteY529" fmla="*/ 301448 h 339271"/>
                  <a:gd name="connsiteX530" fmla="*/ 198731 w 208606"/>
                  <a:gd name="connsiteY530" fmla="*/ 299684 h 339271"/>
                  <a:gd name="connsiteX531" fmla="*/ 196968 w 208606"/>
                  <a:gd name="connsiteY531" fmla="*/ 298185 h 339271"/>
                  <a:gd name="connsiteX532" fmla="*/ 197850 w 208606"/>
                  <a:gd name="connsiteY532" fmla="*/ 294659 h 339271"/>
                  <a:gd name="connsiteX533" fmla="*/ 196351 w 208606"/>
                  <a:gd name="connsiteY533" fmla="*/ 293512 h 339271"/>
                  <a:gd name="connsiteX534" fmla="*/ 196086 w 208606"/>
                  <a:gd name="connsiteY534" fmla="*/ 293512 h 339271"/>
                  <a:gd name="connsiteX535" fmla="*/ 196086 w 208606"/>
                  <a:gd name="connsiteY535" fmla="*/ 290868 h 339271"/>
                  <a:gd name="connsiteX536" fmla="*/ 196086 w 208606"/>
                  <a:gd name="connsiteY536" fmla="*/ 290603 h 339271"/>
                  <a:gd name="connsiteX537" fmla="*/ 193177 w 208606"/>
                  <a:gd name="connsiteY537" fmla="*/ 287076 h 339271"/>
                  <a:gd name="connsiteX538" fmla="*/ 189650 w 208606"/>
                  <a:gd name="connsiteY538" fmla="*/ 285048 h 339271"/>
                  <a:gd name="connsiteX539" fmla="*/ 191414 w 208606"/>
                  <a:gd name="connsiteY539" fmla="*/ 281257 h 339271"/>
                  <a:gd name="connsiteX540" fmla="*/ 186476 w 208606"/>
                  <a:gd name="connsiteY540" fmla="*/ 284784 h 339271"/>
                  <a:gd name="connsiteX541" fmla="*/ 183567 w 208606"/>
                  <a:gd name="connsiteY541" fmla="*/ 285930 h 339271"/>
                  <a:gd name="connsiteX542" fmla="*/ 182156 w 208606"/>
                  <a:gd name="connsiteY542" fmla="*/ 291485 h 339271"/>
                  <a:gd name="connsiteX543" fmla="*/ 183567 w 208606"/>
                  <a:gd name="connsiteY543" fmla="*/ 296775 h 339271"/>
                  <a:gd name="connsiteX544" fmla="*/ 186212 w 208606"/>
                  <a:gd name="connsiteY544" fmla="*/ 297656 h 339271"/>
                  <a:gd name="connsiteX545" fmla="*/ 186829 w 208606"/>
                  <a:gd name="connsiteY545" fmla="*/ 300566 h 339271"/>
                  <a:gd name="connsiteX546" fmla="*/ 187975 w 208606"/>
                  <a:gd name="connsiteY546" fmla="*/ 300213 h 339271"/>
                  <a:gd name="connsiteX547" fmla="*/ 188857 w 208606"/>
                  <a:gd name="connsiteY547" fmla="*/ 303740 h 339271"/>
                  <a:gd name="connsiteX548" fmla="*/ 189121 w 208606"/>
                  <a:gd name="connsiteY548" fmla="*/ 305239 h 339271"/>
                  <a:gd name="connsiteX549" fmla="*/ 190620 w 208606"/>
                  <a:gd name="connsiteY549" fmla="*/ 306121 h 339271"/>
                  <a:gd name="connsiteX550" fmla="*/ 189121 w 208606"/>
                  <a:gd name="connsiteY550" fmla="*/ 309030 h 339271"/>
                  <a:gd name="connsiteX551" fmla="*/ 189121 w 208606"/>
                  <a:gd name="connsiteY551" fmla="*/ 310793 h 339271"/>
                  <a:gd name="connsiteX552" fmla="*/ 189739 w 208606"/>
                  <a:gd name="connsiteY552" fmla="*/ 311940 h 339271"/>
                  <a:gd name="connsiteX553" fmla="*/ 188857 w 208606"/>
                  <a:gd name="connsiteY553" fmla="*/ 313439 h 339271"/>
                  <a:gd name="connsiteX554" fmla="*/ 188592 w 208606"/>
                  <a:gd name="connsiteY554" fmla="*/ 318376 h 339271"/>
                  <a:gd name="connsiteX555" fmla="*/ 188592 w 208606"/>
                  <a:gd name="connsiteY555" fmla="*/ 317230 h 339271"/>
                  <a:gd name="connsiteX556" fmla="*/ 188592 w 208606"/>
                  <a:gd name="connsiteY556" fmla="*/ 321638 h 339271"/>
                  <a:gd name="connsiteX557" fmla="*/ 186212 w 208606"/>
                  <a:gd name="connsiteY557" fmla="*/ 322784 h 339271"/>
                  <a:gd name="connsiteX558" fmla="*/ 182685 w 208606"/>
                  <a:gd name="connsiteY558" fmla="*/ 322167 h 339271"/>
                  <a:gd name="connsiteX559" fmla="*/ 182949 w 208606"/>
                  <a:gd name="connsiteY559" fmla="*/ 320139 h 339271"/>
                  <a:gd name="connsiteX560" fmla="*/ 180657 w 208606"/>
                  <a:gd name="connsiteY560" fmla="*/ 315466 h 339271"/>
                  <a:gd name="connsiteX561" fmla="*/ 178893 w 208606"/>
                  <a:gd name="connsiteY561" fmla="*/ 318112 h 339271"/>
                  <a:gd name="connsiteX562" fmla="*/ 178276 w 208606"/>
                  <a:gd name="connsiteY562" fmla="*/ 313174 h 339271"/>
                  <a:gd name="connsiteX563" fmla="*/ 174750 w 208606"/>
                  <a:gd name="connsiteY563" fmla="*/ 316965 h 339271"/>
                  <a:gd name="connsiteX564" fmla="*/ 177659 w 208606"/>
                  <a:gd name="connsiteY564" fmla="*/ 320756 h 339271"/>
                  <a:gd name="connsiteX565" fmla="*/ 172986 w 208606"/>
                  <a:gd name="connsiteY565" fmla="*/ 319610 h 339271"/>
                  <a:gd name="connsiteX566" fmla="*/ 168313 w 208606"/>
                  <a:gd name="connsiteY566" fmla="*/ 317583 h 339271"/>
                  <a:gd name="connsiteX567" fmla="*/ 167696 w 208606"/>
                  <a:gd name="connsiteY567" fmla="*/ 317583 h 339271"/>
                  <a:gd name="connsiteX568" fmla="*/ 167079 w 208606"/>
                  <a:gd name="connsiteY568" fmla="*/ 316701 h 339271"/>
                  <a:gd name="connsiteX569" fmla="*/ 163905 w 208606"/>
                  <a:gd name="connsiteY569" fmla="*/ 315555 h 339271"/>
                  <a:gd name="connsiteX570" fmla="*/ 163288 w 208606"/>
                  <a:gd name="connsiteY570" fmla="*/ 314937 h 339271"/>
                  <a:gd name="connsiteX571" fmla="*/ 160996 w 208606"/>
                  <a:gd name="connsiteY571" fmla="*/ 312292 h 339271"/>
                  <a:gd name="connsiteX572" fmla="*/ 157469 w 208606"/>
                  <a:gd name="connsiteY572" fmla="*/ 310264 h 339271"/>
                  <a:gd name="connsiteX573" fmla="*/ 155088 w 208606"/>
                  <a:gd name="connsiteY573" fmla="*/ 308237 h 339271"/>
                  <a:gd name="connsiteX574" fmla="*/ 153325 w 208606"/>
                  <a:gd name="connsiteY574" fmla="*/ 305592 h 339271"/>
                  <a:gd name="connsiteX575" fmla="*/ 152443 w 208606"/>
                  <a:gd name="connsiteY575" fmla="*/ 300037 h 339271"/>
                  <a:gd name="connsiteX576" fmla="*/ 150063 w 208606"/>
                  <a:gd name="connsiteY576" fmla="*/ 295364 h 339271"/>
                  <a:gd name="connsiteX577" fmla="*/ 149446 w 208606"/>
                  <a:gd name="connsiteY577" fmla="*/ 289545 h 339271"/>
                  <a:gd name="connsiteX578" fmla="*/ 153237 w 208606"/>
                  <a:gd name="connsiteY578" fmla="*/ 284607 h 339271"/>
                  <a:gd name="connsiteX579" fmla="*/ 155000 w 208606"/>
                  <a:gd name="connsiteY579" fmla="*/ 280199 h 339271"/>
                  <a:gd name="connsiteX580" fmla="*/ 151208 w 208606"/>
                  <a:gd name="connsiteY580" fmla="*/ 276408 h 339271"/>
                  <a:gd name="connsiteX581" fmla="*/ 146536 w 208606"/>
                  <a:gd name="connsiteY581" fmla="*/ 272352 h 339271"/>
                  <a:gd name="connsiteX582" fmla="*/ 141246 w 208606"/>
                  <a:gd name="connsiteY582" fmla="*/ 270324 h 339271"/>
                  <a:gd name="connsiteX583" fmla="*/ 135427 w 208606"/>
                  <a:gd name="connsiteY583" fmla="*/ 270060 h 339271"/>
                  <a:gd name="connsiteX584" fmla="*/ 136044 w 208606"/>
                  <a:gd name="connsiteY584" fmla="*/ 275262 h 339271"/>
                  <a:gd name="connsiteX585" fmla="*/ 136044 w 208606"/>
                  <a:gd name="connsiteY585" fmla="*/ 279934 h 339271"/>
                  <a:gd name="connsiteX586" fmla="*/ 134280 w 208606"/>
                  <a:gd name="connsiteY586" fmla="*/ 281081 h 339271"/>
                  <a:gd name="connsiteX587" fmla="*/ 130489 w 208606"/>
                  <a:gd name="connsiteY587" fmla="*/ 280199 h 339271"/>
                  <a:gd name="connsiteX588" fmla="*/ 130489 w 208606"/>
                  <a:gd name="connsiteY588" fmla="*/ 276143 h 339271"/>
                  <a:gd name="connsiteX589" fmla="*/ 127315 w 208606"/>
                  <a:gd name="connsiteY589" fmla="*/ 275879 h 339271"/>
                  <a:gd name="connsiteX590" fmla="*/ 125023 w 208606"/>
                  <a:gd name="connsiteY590" fmla="*/ 279405 h 339271"/>
                  <a:gd name="connsiteX591" fmla="*/ 122378 w 208606"/>
                  <a:gd name="connsiteY591" fmla="*/ 280904 h 339271"/>
                  <a:gd name="connsiteX592" fmla="*/ 121849 w 208606"/>
                  <a:gd name="connsiteY592" fmla="*/ 275085 h 339271"/>
                  <a:gd name="connsiteX593" fmla="*/ 116911 w 208606"/>
                  <a:gd name="connsiteY593" fmla="*/ 274204 h 339271"/>
                  <a:gd name="connsiteX594" fmla="*/ 114002 w 208606"/>
                  <a:gd name="connsiteY594" fmla="*/ 279494 h 339271"/>
                  <a:gd name="connsiteX595" fmla="*/ 112591 w 208606"/>
                  <a:gd name="connsiteY595" fmla="*/ 282668 h 339271"/>
                  <a:gd name="connsiteX596" fmla="*/ 112062 w 208606"/>
                  <a:gd name="connsiteY596" fmla="*/ 286195 h 339271"/>
                  <a:gd name="connsiteX597" fmla="*/ 110563 w 208606"/>
                  <a:gd name="connsiteY597" fmla="*/ 290603 h 339271"/>
                  <a:gd name="connsiteX598" fmla="*/ 109064 w 208606"/>
                  <a:gd name="connsiteY598" fmla="*/ 295540 h 339271"/>
                  <a:gd name="connsiteX599" fmla="*/ 106419 w 208606"/>
                  <a:gd name="connsiteY599" fmla="*/ 293160 h 339271"/>
                  <a:gd name="connsiteX600" fmla="*/ 104039 w 208606"/>
                  <a:gd name="connsiteY600" fmla="*/ 290250 h 339271"/>
                  <a:gd name="connsiteX601" fmla="*/ 106066 w 208606"/>
                  <a:gd name="connsiteY601" fmla="*/ 285313 h 339271"/>
                  <a:gd name="connsiteX602" fmla="*/ 106948 w 208606"/>
                  <a:gd name="connsiteY602" fmla="*/ 279494 h 339271"/>
                  <a:gd name="connsiteX603" fmla="*/ 109858 w 208606"/>
                  <a:gd name="connsiteY603" fmla="*/ 274204 h 339271"/>
                  <a:gd name="connsiteX604" fmla="*/ 109241 w 208606"/>
                  <a:gd name="connsiteY604" fmla="*/ 268913 h 339271"/>
                  <a:gd name="connsiteX605" fmla="*/ 111268 w 208606"/>
                  <a:gd name="connsiteY605" fmla="*/ 203316 h 339271"/>
                  <a:gd name="connsiteX606" fmla="*/ 110122 w 208606"/>
                  <a:gd name="connsiteY606" fmla="*/ 199789 h 339271"/>
                  <a:gd name="connsiteX607" fmla="*/ 111621 w 208606"/>
                  <a:gd name="connsiteY607" fmla="*/ 195117 h 339271"/>
                  <a:gd name="connsiteX608" fmla="*/ 114531 w 208606"/>
                  <a:gd name="connsiteY608" fmla="*/ 196263 h 339271"/>
                  <a:gd name="connsiteX609" fmla="*/ 113913 w 208606"/>
                  <a:gd name="connsiteY609" fmla="*/ 200319 h 339271"/>
                  <a:gd name="connsiteX610" fmla="*/ 111268 w 208606"/>
                  <a:gd name="connsiteY610" fmla="*/ 203316 h 339271"/>
                  <a:gd name="connsiteX611" fmla="*/ 141598 w 208606"/>
                  <a:gd name="connsiteY611" fmla="*/ 226416 h 339271"/>
                  <a:gd name="connsiteX612" fmla="*/ 139218 w 208606"/>
                  <a:gd name="connsiteY612" fmla="*/ 221744 h 339271"/>
                  <a:gd name="connsiteX613" fmla="*/ 143009 w 208606"/>
                  <a:gd name="connsiteY613" fmla="*/ 218569 h 339271"/>
                  <a:gd name="connsiteX614" fmla="*/ 145301 w 208606"/>
                  <a:gd name="connsiteY614" fmla="*/ 213896 h 339271"/>
                  <a:gd name="connsiteX615" fmla="*/ 149975 w 208606"/>
                  <a:gd name="connsiteY615" fmla="*/ 212133 h 339271"/>
                  <a:gd name="connsiteX616" fmla="*/ 152355 w 208606"/>
                  <a:gd name="connsiteY616" fmla="*/ 213632 h 339271"/>
                  <a:gd name="connsiteX617" fmla="*/ 154912 w 208606"/>
                  <a:gd name="connsiteY617" fmla="*/ 217159 h 339271"/>
                  <a:gd name="connsiteX618" fmla="*/ 156675 w 208606"/>
                  <a:gd name="connsiteY618" fmla="*/ 220421 h 339271"/>
                  <a:gd name="connsiteX619" fmla="*/ 154912 w 208606"/>
                  <a:gd name="connsiteY619" fmla="*/ 219804 h 339271"/>
                  <a:gd name="connsiteX620" fmla="*/ 154647 w 208606"/>
                  <a:gd name="connsiteY620" fmla="*/ 221832 h 339271"/>
                  <a:gd name="connsiteX621" fmla="*/ 154030 w 208606"/>
                  <a:gd name="connsiteY621" fmla="*/ 222713 h 339271"/>
                  <a:gd name="connsiteX622" fmla="*/ 152884 w 208606"/>
                  <a:gd name="connsiteY622" fmla="*/ 222978 h 339271"/>
                  <a:gd name="connsiteX623" fmla="*/ 149710 w 208606"/>
                  <a:gd name="connsiteY623" fmla="*/ 226504 h 339271"/>
                  <a:gd name="connsiteX624" fmla="*/ 144155 w 208606"/>
                  <a:gd name="connsiteY624" fmla="*/ 227033 h 339271"/>
                  <a:gd name="connsiteX625" fmla="*/ 141598 w 208606"/>
                  <a:gd name="connsiteY625" fmla="*/ 226416 h 339271"/>
                  <a:gd name="connsiteX626" fmla="*/ 179599 w 208606"/>
                  <a:gd name="connsiteY626" fmla="*/ 212927 h 339271"/>
                  <a:gd name="connsiteX627" fmla="*/ 176954 w 208606"/>
                  <a:gd name="connsiteY627" fmla="*/ 209135 h 339271"/>
                  <a:gd name="connsiteX628" fmla="*/ 177218 w 208606"/>
                  <a:gd name="connsiteY628" fmla="*/ 205961 h 339271"/>
                  <a:gd name="connsiteX629" fmla="*/ 174309 w 208606"/>
                  <a:gd name="connsiteY629" fmla="*/ 203316 h 339271"/>
                  <a:gd name="connsiteX630" fmla="*/ 175191 w 208606"/>
                  <a:gd name="connsiteY630" fmla="*/ 199260 h 339271"/>
                  <a:gd name="connsiteX631" fmla="*/ 177571 w 208606"/>
                  <a:gd name="connsiteY631" fmla="*/ 200142 h 339271"/>
                  <a:gd name="connsiteX632" fmla="*/ 177306 w 208606"/>
                  <a:gd name="connsiteY632" fmla="*/ 197850 h 339271"/>
                  <a:gd name="connsiteX633" fmla="*/ 177924 w 208606"/>
                  <a:gd name="connsiteY633" fmla="*/ 202523 h 339271"/>
                  <a:gd name="connsiteX634" fmla="*/ 181451 w 208606"/>
                  <a:gd name="connsiteY634" fmla="*/ 208077 h 339271"/>
                  <a:gd name="connsiteX635" fmla="*/ 181803 w 208606"/>
                  <a:gd name="connsiteY635" fmla="*/ 210458 h 339271"/>
                  <a:gd name="connsiteX636" fmla="*/ 179599 w 208606"/>
                  <a:gd name="connsiteY636" fmla="*/ 212927 h 339271"/>
                  <a:gd name="connsiteX637" fmla="*/ 130225 w 208606"/>
                  <a:gd name="connsiteY637" fmla="*/ 226416 h 339271"/>
                  <a:gd name="connsiteX638" fmla="*/ 131106 w 208606"/>
                  <a:gd name="connsiteY638" fmla="*/ 219098 h 339271"/>
                  <a:gd name="connsiteX639" fmla="*/ 129960 w 208606"/>
                  <a:gd name="connsiteY639" fmla="*/ 216806 h 339271"/>
                  <a:gd name="connsiteX640" fmla="*/ 131106 w 208606"/>
                  <a:gd name="connsiteY640" fmla="*/ 217423 h 339271"/>
                  <a:gd name="connsiteX641" fmla="*/ 131988 w 208606"/>
                  <a:gd name="connsiteY641" fmla="*/ 213015 h 339271"/>
                  <a:gd name="connsiteX642" fmla="*/ 131371 w 208606"/>
                  <a:gd name="connsiteY642" fmla="*/ 207725 h 339271"/>
                  <a:gd name="connsiteX643" fmla="*/ 133134 w 208606"/>
                  <a:gd name="connsiteY643" fmla="*/ 207725 h 339271"/>
                  <a:gd name="connsiteX644" fmla="*/ 134545 w 208606"/>
                  <a:gd name="connsiteY644" fmla="*/ 205432 h 339271"/>
                  <a:gd name="connsiteX645" fmla="*/ 135162 w 208606"/>
                  <a:gd name="connsiteY645" fmla="*/ 201906 h 339271"/>
                  <a:gd name="connsiteX646" fmla="*/ 134898 w 208606"/>
                  <a:gd name="connsiteY646" fmla="*/ 198731 h 339271"/>
                  <a:gd name="connsiteX647" fmla="*/ 137190 w 208606"/>
                  <a:gd name="connsiteY647" fmla="*/ 196968 h 339271"/>
                  <a:gd name="connsiteX648" fmla="*/ 138071 w 208606"/>
                  <a:gd name="connsiteY648" fmla="*/ 189650 h 339271"/>
                  <a:gd name="connsiteX649" fmla="*/ 136309 w 208606"/>
                  <a:gd name="connsiteY649" fmla="*/ 186123 h 339271"/>
                  <a:gd name="connsiteX650" fmla="*/ 138600 w 208606"/>
                  <a:gd name="connsiteY650" fmla="*/ 184977 h 339271"/>
                  <a:gd name="connsiteX651" fmla="*/ 140100 w 208606"/>
                  <a:gd name="connsiteY651" fmla="*/ 182949 h 339271"/>
                  <a:gd name="connsiteX652" fmla="*/ 139482 w 208606"/>
                  <a:gd name="connsiteY652" fmla="*/ 185242 h 339271"/>
                  <a:gd name="connsiteX653" fmla="*/ 140629 w 208606"/>
                  <a:gd name="connsiteY653" fmla="*/ 186123 h 339271"/>
                  <a:gd name="connsiteX654" fmla="*/ 140364 w 208606"/>
                  <a:gd name="connsiteY654" fmla="*/ 188768 h 339271"/>
                  <a:gd name="connsiteX655" fmla="*/ 142745 w 208606"/>
                  <a:gd name="connsiteY655" fmla="*/ 191678 h 339271"/>
                  <a:gd name="connsiteX656" fmla="*/ 140981 w 208606"/>
                  <a:gd name="connsiteY656" fmla="*/ 193706 h 339271"/>
                  <a:gd name="connsiteX657" fmla="*/ 142745 w 208606"/>
                  <a:gd name="connsiteY657" fmla="*/ 196880 h 339271"/>
                  <a:gd name="connsiteX658" fmla="*/ 141598 w 208606"/>
                  <a:gd name="connsiteY658" fmla="*/ 198643 h 339271"/>
                  <a:gd name="connsiteX659" fmla="*/ 144772 w 208606"/>
                  <a:gd name="connsiteY659" fmla="*/ 199789 h 339271"/>
                  <a:gd name="connsiteX660" fmla="*/ 145919 w 208606"/>
                  <a:gd name="connsiteY660" fmla="*/ 203316 h 339271"/>
                  <a:gd name="connsiteX661" fmla="*/ 141863 w 208606"/>
                  <a:gd name="connsiteY661" fmla="*/ 206226 h 339271"/>
                  <a:gd name="connsiteX662" fmla="*/ 135691 w 208606"/>
                  <a:gd name="connsiteY662" fmla="*/ 208606 h 339271"/>
                  <a:gd name="connsiteX663" fmla="*/ 133046 w 208606"/>
                  <a:gd name="connsiteY663" fmla="*/ 216453 h 339271"/>
                  <a:gd name="connsiteX664" fmla="*/ 130754 w 208606"/>
                  <a:gd name="connsiteY664" fmla="*/ 226328 h 339271"/>
                  <a:gd name="connsiteX665" fmla="*/ 130225 w 208606"/>
                  <a:gd name="connsiteY665" fmla="*/ 226328 h 339271"/>
                  <a:gd name="connsiteX666" fmla="*/ 129696 w 208606"/>
                  <a:gd name="connsiteY666" fmla="*/ 238054 h 339271"/>
                  <a:gd name="connsiteX667" fmla="*/ 125640 w 208606"/>
                  <a:gd name="connsiteY667" fmla="*/ 238672 h 339271"/>
                  <a:gd name="connsiteX668" fmla="*/ 122466 w 208606"/>
                  <a:gd name="connsiteY668" fmla="*/ 237173 h 339271"/>
                  <a:gd name="connsiteX669" fmla="*/ 123347 w 208606"/>
                  <a:gd name="connsiteY669" fmla="*/ 233646 h 339271"/>
                  <a:gd name="connsiteX670" fmla="*/ 119556 w 208606"/>
                  <a:gd name="connsiteY670" fmla="*/ 232765 h 339271"/>
                  <a:gd name="connsiteX671" fmla="*/ 116647 w 208606"/>
                  <a:gd name="connsiteY671" fmla="*/ 230384 h 339271"/>
                  <a:gd name="connsiteX672" fmla="*/ 111709 w 208606"/>
                  <a:gd name="connsiteY672" fmla="*/ 224300 h 339271"/>
                  <a:gd name="connsiteX673" fmla="*/ 112855 w 208606"/>
                  <a:gd name="connsiteY673" fmla="*/ 216982 h 339271"/>
                  <a:gd name="connsiteX674" fmla="*/ 119821 w 208606"/>
                  <a:gd name="connsiteY674" fmla="*/ 214073 h 339271"/>
                  <a:gd name="connsiteX675" fmla="*/ 120085 w 208606"/>
                  <a:gd name="connsiteY675" fmla="*/ 206490 h 339271"/>
                  <a:gd name="connsiteX676" fmla="*/ 120085 w 208606"/>
                  <a:gd name="connsiteY676" fmla="*/ 200054 h 339271"/>
                  <a:gd name="connsiteX677" fmla="*/ 120703 w 208606"/>
                  <a:gd name="connsiteY677" fmla="*/ 192472 h 339271"/>
                  <a:gd name="connsiteX678" fmla="*/ 127668 w 208606"/>
                  <a:gd name="connsiteY678" fmla="*/ 190179 h 339271"/>
                  <a:gd name="connsiteX679" fmla="*/ 132958 w 208606"/>
                  <a:gd name="connsiteY679" fmla="*/ 194235 h 339271"/>
                  <a:gd name="connsiteX680" fmla="*/ 130930 w 208606"/>
                  <a:gd name="connsiteY680" fmla="*/ 201817 h 339271"/>
                  <a:gd name="connsiteX681" fmla="*/ 129784 w 208606"/>
                  <a:gd name="connsiteY681" fmla="*/ 209135 h 339271"/>
                  <a:gd name="connsiteX682" fmla="*/ 127756 w 208606"/>
                  <a:gd name="connsiteY682" fmla="*/ 216718 h 339271"/>
                  <a:gd name="connsiteX683" fmla="*/ 127756 w 208606"/>
                  <a:gd name="connsiteY683" fmla="*/ 223683 h 339271"/>
                  <a:gd name="connsiteX684" fmla="*/ 130666 w 208606"/>
                  <a:gd name="connsiteY684" fmla="*/ 228973 h 339271"/>
                  <a:gd name="connsiteX685" fmla="*/ 131812 w 208606"/>
                  <a:gd name="connsiteY685" fmla="*/ 231883 h 339271"/>
                  <a:gd name="connsiteX686" fmla="*/ 131195 w 208606"/>
                  <a:gd name="connsiteY686" fmla="*/ 236291 h 339271"/>
                  <a:gd name="connsiteX687" fmla="*/ 128285 w 208606"/>
                  <a:gd name="connsiteY687" fmla="*/ 239201 h 339271"/>
                  <a:gd name="connsiteX688" fmla="*/ 129696 w 208606"/>
                  <a:gd name="connsiteY688" fmla="*/ 238054 h 339271"/>
                  <a:gd name="connsiteX689" fmla="*/ 69565 w 208606"/>
                  <a:gd name="connsiteY689" fmla="*/ 339272 h 339271"/>
                  <a:gd name="connsiteX690" fmla="*/ 69829 w 208606"/>
                  <a:gd name="connsiteY690" fmla="*/ 334599 h 339271"/>
                  <a:gd name="connsiteX691" fmla="*/ 71593 w 208606"/>
                  <a:gd name="connsiteY691" fmla="*/ 332571 h 339271"/>
                  <a:gd name="connsiteX692" fmla="*/ 72739 w 208606"/>
                  <a:gd name="connsiteY692" fmla="*/ 333717 h 339271"/>
                  <a:gd name="connsiteX693" fmla="*/ 74502 w 208606"/>
                  <a:gd name="connsiteY693" fmla="*/ 330808 h 339271"/>
                  <a:gd name="connsiteX694" fmla="*/ 76530 w 208606"/>
                  <a:gd name="connsiteY694" fmla="*/ 329926 h 339271"/>
                  <a:gd name="connsiteX695" fmla="*/ 77676 w 208606"/>
                  <a:gd name="connsiteY695" fmla="*/ 333188 h 339271"/>
                  <a:gd name="connsiteX696" fmla="*/ 75649 w 208606"/>
                  <a:gd name="connsiteY696" fmla="*/ 335481 h 339271"/>
                  <a:gd name="connsiteX697" fmla="*/ 73003 w 208606"/>
                  <a:gd name="connsiteY697" fmla="*/ 336098 h 339271"/>
                  <a:gd name="connsiteX698" fmla="*/ 69829 w 208606"/>
                  <a:gd name="connsiteY698" fmla="*/ 339272 h 339271"/>
                  <a:gd name="connsiteX699" fmla="*/ 69565 w 208606"/>
                  <a:gd name="connsiteY699" fmla="*/ 339272 h 339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</a:cxnLst>
                <a:rect l="l" t="t" r="r" b="b"/>
                <a:pathLst>
                  <a:path w="208606" h="339271">
                    <a:moveTo>
                      <a:pt x="39852" y="62423"/>
                    </a:moveTo>
                    <a:lnTo>
                      <a:pt x="42144" y="67978"/>
                    </a:lnTo>
                    <a:lnTo>
                      <a:pt x="44437" y="66214"/>
                    </a:lnTo>
                    <a:lnTo>
                      <a:pt x="47082" y="65333"/>
                    </a:lnTo>
                    <a:lnTo>
                      <a:pt x="46817" y="60395"/>
                    </a:lnTo>
                    <a:lnTo>
                      <a:pt x="45671" y="56340"/>
                    </a:lnTo>
                    <a:lnTo>
                      <a:pt x="44172" y="54312"/>
                    </a:lnTo>
                    <a:lnTo>
                      <a:pt x="43819" y="54312"/>
                    </a:lnTo>
                    <a:lnTo>
                      <a:pt x="43202" y="49639"/>
                    </a:lnTo>
                    <a:lnTo>
                      <a:pt x="43467" y="49903"/>
                    </a:lnTo>
                    <a:lnTo>
                      <a:pt x="43732" y="46729"/>
                    </a:lnTo>
                    <a:lnTo>
                      <a:pt x="45230" y="44966"/>
                    </a:lnTo>
                    <a:lnTo>
                      <a:pt x="45230" y="42938"/>
                    </a:lnTo>
                    <a:lnTo>
                      <a:pt x="45230" y="39764"/>
                    </a:lnTo>
                    <a:lnTo>
                      <a:pt x="42321" y="35973"/>
                    </a:lnTo>
                    <a:lnTo>
                      <a:pt x="42321" y="29536"/>
                    </a:lnTo>
                    <a:lnTo>
                      <a:pt x="42850" y="24863"/>
                    </a:lnTo>
                    <a:lnTo>
                      <a:pt x="41086" y="19926"/>
                    </a:lnTo>
                    <a:lnTo>
                      <a:pt x="43467" y="14636"/>
                    </a:lnTo>
                    <a:lnTo>
                      <a:pt x="44613" y="11109"/>
                    </a:lnTo>
                    <a:lnTo>
                      <a:pt x="42321" y="9610"/>
                    </a:lnTo>
                    <a:lnTo>
                      <a:pt x="42585" y="6084"/>
                    </a:lnTo>
                    <a:lnTo>
                      <a:pt x="44348" y="4056"/>
                    </a:lnTo>
                    <a:lnTo>
                      <a:pt x="48140" y="1763"/>
                    </a:lnTo>
                    <a:lnTo>
                      <a:pt x="51667" y="1763"/>
                    </a:lnTo>
                    <a:lnTo>
                      <a:pt x="57221" y="0"/>
                    </a:lnTo>
                    <a:lnTo>
                      <a:pt x="63040" y="1763"/>
                    </a:lnTo>
                    <a:lnTo>
                      <a:pt x="67096" y="5555"/>
                    </a:lnTo>
                    <a:lnTo>
                      <a:pt x="68859" y="10757"/>
                    </a:lnTo>
                    <a:lnTo>
                      <a:pt x="67713" y="6701"/>
                    </a:lnTo>
                    <a:lnTo>
                      <a:pt x="71240" y="5819"/>
                    </a:lnTo>
                    <a:lnTo>
                      <a:pt x="76795" y="4937"/>
                    </a:lnTo>
                    <a:lnTo>
                      <a:pt x="78294" y="3174"/>
                    </a:lnTo>
                    <a:lnTo>
                      <a:pt x="78558" y="0"/>
                    </a:lnTo>
                    <a:lnTo>
                      <a:pt x="82349" y="2910"/>
                    </a:lnTo>
                    <a:lnTo>
                      <a:pt x="81467" y="7847"/>
                    </a:lnTo>
                    <a:lnTo>
                      <a:pt x="80586" y="8464"/>
                    </a:lnTo>
                    <a:lnTo>
                      <a:pt x="79440" y="11109"/>
                    </a:lnTo>
                    <a:lnTo>
                      <a:pt x="80586" y="12873"/>
                    </a:lnTo>
                    <a:lnTo>
                      <a:pt x="78294" y="14636"/>
                    </a:lnTo>
                    <a:lnTo>
                      <a:pt x="80057" y="15782"/>
                    </a:lnTo>
                    <a:lnTo>
                      <a:pt x="80939" y="18427"/>
                    </a:lnTo>
                    <a:lnTo>
                      <a:pt x="82966" y="20455"/>
                    </a:lnTo>
                    <a:lnTo>
                      <a:pt x="81820" y="23982"/>
                    </a:lnTo>
                    <a:lnTo>
                      <a:pt x="84377" y="28919"/>
                    </a:lnTo>
                    <a:lnTo>
                      <a:pt x="88168" y="31212"/>
                    </a:lnTo>
                    <a:lnTo>
                      <a:pt x="89050" y="33592"/>
                    </a:lnTo>
                    <a:lnTo>
                      <a:pt x="91078" y="34738"/>
                    </a:lnTo>
                    <a:lnTo>
                      <a:pt x="92224" y="40822"/>
                    </a:lnTo>
                    <a:lnTo>
                      <a:pt x="90461" y="43467"/>
                    </a:lnTo>
                    <a:lnTo>
                      <a:pt x="88697" y="45495"/>
                    </a:lnTo>
                    <a:lnTo>
                      <a:pt x="87816" y="49903"/>
                    </a:lnTo>
                    <a:lnTo>
                      <a:pt x="86052" y="51314"/>
                    </a:lnTo>
                    <a:lnTo>
                      <a:pt x="88697" y="55722"/>
                    </a:lnTo>
                    <a:lnTo>
                      <a:pt x="87816" y="56869"/>
                    </a:lnTo>
                    <a:lnTo>
                      <a:pt x="88080" y="59778"/>
                    </a:lnTo>
                    <a:lnTo>
                      <a:pt x="87199" y="62688"/>
                    </a:lnTo>
                    <a:lnTo>
                      <a:pt x="79352" y="64451"/>
                    </a:lnTo>
                    <a:lnTo>
                      <a:pt x="84906" y="64187"/>
                    </a:lnTo>
                    <a:lnTo>
                      <a:pt x="78470" y="64716"/>
                    </a:lnTo>
                    <a:lnTo>
                      <a:pt x="74678" y="65333"/>
                    </a:lnTo>
                    <a:lnTo>
                      <a:pt x="73532" y="70270"/>
                    </a:lnTo>
                    <a:lnTo>
                      <a:pt x="74678" y="73797"/>
                    </a:lnTo>
                    <a:lnTo>
                      <a:pt x="73268" y="79352"/>
                    </a:lnTo>
                    <a:lnTo>
                      <a:pt x="71504" y="84024"/>
                    </a:lnTo>
                    <a:lnTo>
                      <a:pt x="75031" y="87816"/>
                    </a:lnTo>
                    <a:lnTo>
                      <a:pt x="79087" y="92224"/>
                    </a:lnTo>
                    <a:lnTo>
                      <a:pt x="81996" y="97426"/>
                    </a:lnTo>
                    <a:lnTo>
                      <a:pt x="81996" y="102716"/>
                    </a:lnTo>
                    <a:lnTo>
                      <a:pt x="81379" y="106243"/>
                    </a:lnTo>
                    <a:lnTo>
                      <a:pt x="82878" y="111180"/>
                    </a:lnTo>
                    <a:lnTo>
                      <a:pt x="87551" y="114707"/>
                    </a:lnTo>
                    <a:lnTo>
                      <a:pt x="93370" y="116735"/>
                    </a:lnTo>
                    <a:lnTo>
                      <a:pt x="93987" y="114090"/>
                    </a:lnTo>
                    <a:lnTo>
                      <a:pt x="93106" y="111797"/>
                    </a:lnTo>
                    <a:lnTo>
                      <a:pt x="93987" y="107389"/>
                    </a:lnTo>
                    <a:lnTo>
                      <a:pt x="96280" y="109417"/>
                    </a:lnTo>
                    <a:lnTo>
                      <a:pt x="98043" y="104744"/>
                    </a:lnTo>
                    <a:lnTo>
                      <a:pt x="102452" y="104479"/>
                    </a:lnTo>
                    <a:lnTo>
                      <a:pt x="107654" y="105361"/>
                    </a:lnTo>
                    <a:lnTo>
                      <a:pt x="111180" y="109417"/>
                    </a:lnTo>
                    <a:lnTo>
                      <a:pt x="112679" y="114090"/>
                    </a:lnTo>
                    <a:lnTo>
                      <a:pt x="114442" y="118498"/>
                    </a:lnTo>
                    <a:lnTo>
                      <a:pt x="117969" y="114707"/>
                    </a:lnTo>
                    <a:lnTo>
                      <a:pt x="115677" y="109770"/>
                    </a:lnTo>
                    <a:lnTo>
                      <a:pt x="120085" y="111268"/>
                    </a:lnTo>
                    <a:lnTo>
                      <a:pt x="124141" y="112415"/>
                    </a:lnTo>
                    <a:lnTo>
                      <a:pt x="128197" y="112944"/>
                    </a:lnTo>
                    <a:lnTo>
                      <a:pt x="129960" y="115853"/>
                    </a:lnTo>
                    <a:lnTo>
                      <a:pt x="127932" y="117264"/>
                    </a:lnTo>
                    <a:lnTo>
                      <a:pt x="123259" y="119027"/>
                    </a:lnTo>
                    <a:lnTo>
                      <a:pt x="129343" y="120173"/>
                    </a:lnTo>
                    <a:lnTo>
                      <a:pt x="130489" y="127139"/>
                    </a:lnTo>
                    <a:lnTo>
                      <a:pt x="129608" y="132076"/>
                    </a:lnTo>
                    <a:lnTo>
                      <a:pt x="133134" y="130665"/>
                    </a:lnTo>
                    <a:lnTo>
                      <a:pt x="137542" y="132693"/>
                    </a:lnTo>
                    <a:lnTo>
                      <a:pt x="139042" y="134721"/>
                    </a:lnTo>
                    <a:lnTo>
                      <a:pt x="139042" y="138512"/>
                    </a:lnTo>
                    <a:lnTo>
                      <a:pt x="139923" y="140011"/>
                    </a:lnTo>
                    <a:lnTo>
                      <a:pt x="139306" y="143185"/>
                    </a:lnTo>
                    <a:lnTo>
                      <a:pt x="140805" y="144684"/>
                    </a:lnTo>
                    <a:lnTo>
                      <a:pt x="141422" y="147065"/>
                    </a:lnTo>
                    <a:lnTo>
                      <a:pt x="140805" y="148828"/>
                    </a:lnTo>
                    <a:lnTo>
                      <a:pt x="138513" y="149093"/>
                    </a:lnTo>
                    <a:lnTo>
                      <a:pt x="137013" y="148828"/>
                    </a:lnTo>
                    <a:lnTo>
                      <a:pt x="134104" y="144155"/>
                    </a:lnTo>
                    <a:lnTo>
                      <a:pt x="132605" y="143538"/>
                    </a:lnTo>
                    <a:lnTo>
                      <a:pt x="130842" y="140629"/>
                    </a:lnTo>
                    <a:lnTo>
                      <a:pt x="127668" y="144155"/>
                    </a:lnTo>
                    <a:lnTo>
                      <a:pt x="128550" y="141246"/>
                    </a:lnTo>
                    <a:lnTo>
                      <a:pt x="125904" y="140100"/>
                    </a:lnTo>
                    <a:lnTo>
                      <a:pt x="122995" y="139218"/>
                    </a:lnTo>
                    <a:lnTo>
                      <a:pt x="119821" y="134280"/>
                    </a:lnTo>
                    <a:lnTo>
                      <a:pt x="119468" y="131371"/>
                    </a:lnTo>
                    <a:lnTo>
                      <a:pt x="119468" y="129079"/>
                    </a:lnTo>
                    <a:lnTo>
                      <a:pt x="117176" y="127932"/>
                    </a:lnTo>
                    <a:lnTo>
                      <a:pt x="115412" y="124758"/>
                    </a:lnTo>
                    <a:lnTo>
                      <a:pt x="113649" y="125023"/>
                    </a:lnTo>
                    <a:lnTo>
                      <a:pt x="110475" y="122730"/>
                    </a:lnTo>
                    <a:lnTo>
                      <a:pt x="108095" y="121849"/>
                    </a:lnTo>
                    <a:lnTo>
                      <a:pt x="108447" y="119468"/>
                    </a:lnTo>
                    <a:lnTo>
                      <a:pt x="104391" y="115941"/>
                    </a:lnTo>
                    <a:lnTo>
                      <a:pt x="98307" y="114795"/>
                    </a:lnTo>
                    <a:lnTo>
                      <a:pt x="100953" y="119468"/>
                    </a:lnTo>
                    <a:lnTo>
                      <a:pt x="102716" y="124141"/>
                    </a:lnTo>
                    <a:lnTo>
                      <a:pt x="105979" y="128550"/>
                    </a:lnTo>
                    <a:lnTo>
                      <a:pt x="105097" y="133487"/>
                    </a:lnTo>
                    <a:lnTo>
                      <a:pt x="101834" y="130048"/>
                    </a:lnTo>
                    <a:lnTo>
                      <a:pt x="99189" y="125375"/>
                    </a:lnTo>
                    <a:lnTo>
                      <a:pt x="94252" y="123612"/>
                    </a:lnTo>
                    <a:lnTo>
                      <a:pt x="90725" y="119556"/>
                    </a:lnTo>
                    <a:lnTo>
                      <a:pt x="85788" y="116911"/>
                    </a:lnTo>
                    <a:lnTo>
                      <a:pt x="81996" y="118057"/>
                    </a:lnTo>
                    <a:lnTo>
                      <a:pt x="77324" y="121232"/>
                    </a:lnTo>
                    <a:lnTo>
                      <a:pt x="75913" y="125640"/>
                    </a:lnTo>
                    <a:lnTo>
                      <a:pt x="69477" y="126522"/>
                    </a:lnTo>
                    <a:lnTo>
                      <a:pt x="67184" y="122730"/>
                    </a:lnTo>
                    <a:lnTo>
                      <a:pt x="66038" y="121584"/>
                    </a:lnTo>
                    <a:lnTo>
                      <a:pt x="61101" y="119821"/>
                    </a:lnTo>
                    <a:lnTo>
                      <a:pt x="60836" y="123612"/>
                    </a:lnTo>
                    <a:lnTo>
                      <a:pt x="58191" y="119556"/>
                    </a:lnTo>
                    <a:lnTo>
                      <a:pt x="58191" y="113737"/>
                    </a:lnTo>
                    <a:lnTo>
                      <a:pt x="61101" y="109681"/>
                    </a:lnTo>
                    <a:lnTo>
                      <a:pt x="64010" y="106155"/>
                    </a:lnTo>
                    <a:lnTo>
                      <a:pt x="64275" y="101217"/>
                    </a:lnTo>
                    <a:lnTo>
                      <a:pt x="59602" y="98572"/>
                    </a:lnTo>
                    <a:lnTo>
                      <a:pt x="54665" y="97691"/>
                    </a:lnTo>
                    <a:lnTo>
                      <a:pt x="56692" y="102981"/>
                    </a:lnTo>
                    <a:lnTo>
                      <a:pt x="55282" y="108183"/>
                    </a:lnTo>
                    <a:lnTo>
                      <a:pt x="51755" y="104656"/>
                    </a:lnTo>
                    <a:lnTo>
                      <a:pt x="48493" y="100600"/>
                    </a:lnTo>
                    <a:lnTo>
                      <a:pt x="47346" y="99101"/>
                    </a:lnTo>
                    <a:lnTo>
                      <a:pt x="44437" y="97073"/>
                    </a:lnTo>
                    <a:lnTo>
                      <a:pt x="42938" y="93018"/>
                    </a:lnTo>
                    <a:lnTo>
                      <a:pt x="41439" y="87728"/>
                    </a:lnTo>
                    <a:lnTo>
                      <a:pt x="38882" y="83055"/>
                    </a:lnTo>
                    <a:lnTo>
                      <a:pt x="38530" y="78382"/>
                    </a:lnTo>
                    <a:lnTo>
                      <a:pt x="37912" y="73444"/>
                    </a:lnTo>
                    <a:lnTo>
                      <a:pt x="34474" y="72034"/>
                    </a:lnTo>
                    <a:lnTo>
                      <a:pt x="34738" y="66743"/>
                    </a:lnTo>
                    <a:lnTo>
                      <a:pt x="33592" y="66126"/>
                    </a:lnTo>
                    <a:lnTo>
                      <a:pt x="33945" y="61189"/>
                    </a:lnTo>
                    <a:lnTo>
                      <a:pt x="35973" y="57398"/>
                    </a:lnTo>
                    <a:lnTo>
                      <a:pt x="38265" y="60307"/>
                    </a:lnTo>
                    <a:lnTo>
                      <a:pt x="37912" y="62952"/>
                    </a:lnTo>
                    <a:lnTo>
                      <a:pt x="39852" y="62423"/>
                    </a:lnTo>
                    <a:close/>
                    <a:moveTo>
                      <a:pt x="101658" y="203052"/>
                    </a:moveTo>
                    <a:lnTo>
                      <a:pt x="98484" y="200142"/>
                    </a:lnTo>
                    <a:lnTo>
                      <a:pt x="96720" y="194852"/>
                    </a:lnTo>
                    <a:lnTo>
                      <a:pt x="98220" y="189033"/>
                    </a:lnTo>
                    <a:lnTo>
                      <a:pt x="97955" y="182949"/>
                    </a:lnTo>
                    <a:lnTo>
                      <a:pt x="98220" y="177747"/>
                    </a:lnTo>
                    <a:lnTo>
                      <a:pt x="97338" y="174221"/>
                    </a:lnTo>
                    <a:lnTo>
                      <a:pt x="92665" y="170958"/>
                    </a:lnTo>
                    <a:lnTo>
                      <a:pt x="95222" y="166903"/>
                    </a:lnTo>
                    <a:lnTo>
                      <a:pt x="100776" y="169195"/>
                    </a:lnTo>
                    <a:lnTo>
                      <a:pt x="105185" y="172722"/>
                    </a:lnTo>
                    <a:lnTo>
                      <a:pt x="108976" y="175367"/>
                    </a:lnTo>
                    <a:lnTo>
                      <a:pt x="113913" y="172457"/>
                    </a:lnTo>
                    <a:lnTo>
                      <a:pt x="116294" y="175984"/>
                    </a:lnTo>
                    <a:lnTo>
                      <a:pt x="118322" y="177747"/>
                    </a:lnTo>
                    <a:lnTo>
                      <a:pt x="120967" y="177130"/>
                    </a:lnTo>
                    <a:lnTo>
                      <a:pt x="123876" y="183831"/>
                    </a:lnTo>
                    <a:lnTo>
                      <a:pt x="119821" y="187622"/>
                    </a:lnTo>
                    <a:lnTo>
                      <a:pt x="114266" y="189650"/>
                    </a:lnTo>
                    <a:lnTo>
                      <a:pt x="112238" y="193706"/>
                    </a:lnTo>
                    <a:lnTo>
                      <a:pt x="108976" y="197497"/>
                    </a:lnTo>
                    <a:lnTo>
                      <a:pt x="103157" y="198996"/>
                    </a:lnTo>
                    <a:lnTo>
                      <a:pt x="99983" y="204286"/>
                    </a:lnTo>
                    <a:lnTo>
                      <a:pt x="101658" y="203052"/>
                    </a:lnTo>
                    <a:close/>
                    <a:moveTo>
                      <a:pt x="55634" y="132429"/>
                    </a:moveTo>
                    <a:lnTo>
                      <a:pt x="58279" y="127756"/>
                    </a:lnTo>
                    <a:lnTo>
                      <a:pt x="62952" y="130136"/>
                    </a:lnTo>
                    <a:lnTo>
                      <a:pt x="69388" y="130136"/>
                    </a:lnTo>
                    <a:lnTo>
                      <a:pt x="74326" y="131018"/>
                    </a:lnTo>
                    <a:lnTo>
                      <a:pt x="78382" y="133928"/>
                    </a:lnTo>
                    <a:lnTo>
                      <a:pt x="81027" y="137454"/>
                    </a:lnTo>
                    <a:lnTo>
                      <a:pt x="81644" y="140364"/>
                    </a:lnTo>
                    <a:lnTo>
                      <a:pt x="83407" y="144420"/>
                    </a:lnTo>
                    <a:lnTo>
                      <a:pt x="85435" y="148828"/>
                    </a:lnTo>
                    <a:lnTo>
                      <a:pt x="83407" y="153766"/>
                    </a:lnTo>
                    <a:lnTo>
                      <a:pt x="81644" y="158439"/>
                    </a:lnTo>
                    <a:lnTo>
                      <a:pt x="79352" y="160819"/>
                    </a:lnTo>
                    <a:lnTo>
                      <a:pt x="75825" y="159673"/>
                    </a:lnTo>
                    <a:lnTo>
                      <a:pt x="72651" y="157645"/>
                    </a:lnTo>
                    <a:lnTo>
                      <a:pt x="71152" y="152708"/>
                    </a:lnTo>
                    <a:lnTo>
                      <a:pt x="67625" y="149534"/>
                    </a:lnTo>
                    <a:lnTo>
                      <a:pt x="67096" y="144596"/>
                    </a:lnTo>
                    <a:lnTo>
                      <a:pt x="65068" y="139923"/>
                    </a:lnTo>
                    <a:lnTo>
                      <a:pt x="60660" y="137895"/>
                    </a:lnTo>
                    <a:lnTo>
                      <a:pt x="58896" y="133487"/>
                    </a:lnTo>
                    <a:lnTo>
                      <a:pt x="55722" y="132870"/>
                    </a:lnTo>
                    <a:lnTo>
                      <a:pt x="55722" y="132429"/>
                    </a:lnTo>
                    <a:close/>
                    <a:moveTo>
                      <a:pt x="136661" y="128373"/>
                    </a:moveTo>
                    <a:lnTo>
                      <a:pt x="132870" y="126610"/>
                    </a:lnTo>
                    <a:lnTo>
                      <a:pt x="133751" y="123083"/>
                    </a:lnTo>
                    <a:lnTo>
                      <a:pt x="133487" y="119027"/>
                    </a:lnTo>
                    <a:lnTo>
                      <a:pt x="133487" y="114972"/>
                    </a:lnTo>
                    <a:lnTo>
                      <a:pt x="135867" y="115236"/>
                    </a:lnTo>
                    <a:lnTo>
                      <a:pt x="138777" y="117528"/>
                    </a:lnTo>
                    <a:lnTo>
                      <a:pt x="139658" y="121320"/>
                    </a:lnTo>
                    <a:lnTo>
                      <a:pt x="140805" y="125728"/>
                    </a:lnTo>
                    <a:lnTo>
                      <a:pt x="136749" y="126610"/>
                    </a:lnTo>
                    <a:lnTo>
                      <a:pt x="136749" y="128373"/>
                    </a:lnTo>
                    <a:close/>
                    <a:moveTo>
                      <a:pt x="148299" y="171223"/>
                    </a:moveTo>
                    <a:lnTo>
                      <a:pt x="145037" y="167167"/>
                    </a:lnTo>
                    <a:lnTo>
                      <a:pt x="148828" y="165668"/>
                    </a:lnTo>
                    <a:lnTo>
                      <a:pt x="151738" y="169460"/>
                    </a:lnTo>
                    <a:lnTo>
                      <a:pt x="148299" y="171223"/>
                    </a:lnTo>
                    <a:close/>
                    <a:moveTo>
                      <a:pt x="86493" y="98572"/>
                    </a:moveTo>
                    <a:lnTo>
                      <a:pt x="85876" y="96544"/>
                    </a:lnTo>
                    <a:lnTo>
                      <a:pt x="85347" y="93899"/>
                    </a:lnTo>
                    <a:lnTo>
                      <a:pt x="82966" y="90373"/>
                    </a:lnTo>
                    <a:lnTo>
                      <a:pt x="84994" y="88080"/>
                    </a:lnTo>
                    <a:lnTo>
                      <a:pt x="87639" y="89491"/>
                    </a:lnTo>
                    <a:lnTo>
                      <a:pt x="86141" y="91519"/>
                    </a:lnTo>
                    <a:lnTo>
                      <a:pt x="88786" y="94428"/>
                    </a:lnTo>
                    <a:lnTo>
                      <a:pt x="87286" y="97955"/>
                    </a:lnTo>
                    <a:lnTo>
                      <a:pt x="86493" y="98572"/>
                    </a:lnTo>
                    <a:close/>
                    <a:moveTo>
                      <a:pt x="108095" y="156323"/>
                    </a:moveTo>
                    <a:lnTo>
                      <a:pt x="105185" y="154559"/>
                    </a:lnTo>
                    <a:lnTo>
                      <a:pt x="102804" y="152267"/>
                    </a:lnTo>
                    <a:lnTo>
                      <a:pt x="105714" y="150503"/>
                    </a:lnTo>
                    <a:lnTo>
                      <a:pt x="108359" y="151385"/>
                    </a:lnTo>
                    <a:lnTo>
                      <a:pt x="108624" y="155176"/>
                    </a:lnTo>
                    <a:lnTo>
                      <a:pt x="108095" y="156323"/>
                    </a:lnTo>
                    <a:close/>
                    <a:moveTo>
                      <a:pt x="92929" y="136573"/>
                    </a:moveTo>
                    <a:lnTo>
                      <a:pt x="89138" y="136308"/>
                    </a:lnTo>
                    <a:lnTo>
                      <a:pt x="89403" y="135427"/>
                    </a:lnTo>
                    <a:lnTo>
                      <a:pt x="89138" y="134280"/>
                    </a:lnTo>
                    <a:lnTo>
                      <a:pt x="88874" y="133134"/>
                    </a:lnTo>
                    <a:lnTo>
                      <a:pt x="89138" y="131635"/>
                    </a:lnTo>
                    <a:lnTo>
                      <a:pt x="91166" y="131371"/>
                    </a:lnTo>
                    <a:lnTo>
                      <a:pt x="92929" y="132253"/>
                    </a:lnTo>
                    <a:lnTo>
                      <a:pt x="93194" y="133663"/>
                    </a:lnTo>
                    <a:lnTo>
                      <a:pt x="95839" y="135162"/>
                    </a:lnTo>
                    <a:lnTo>
                      <a:pt x="92929" y="136573"/>
                    </a:lnTo>
                    <a:close/>
                    <a:moveTo>
                      <a:pt x="58808" y="168313"/>
                    </a:moveTo>
                    <a:lnTo>
                      <a:pt x="55634" y="167432"/>
                    </a:lnTo>
                    <a:lnTo>
                      <a:pt x="54136" y="170958"/>
                    </a:lnTo>
                    <a:lnTo>
                      <a:pt x="52107" y="172105"/>
                    </a:lnTo>
                    <a:lnTo>
                      <a:pt x="51226" y="166815"/>
                    </a:lnTo>
                    <a:lnTo>
                      <a:pt x="49462" y="163640"/>
                    </a:lnTo>
                    <a:lnTo>
                      <a:pt x="48845" y="163023"/>
                    </a:lnTo>
                    <a:lnTo>
                      <a:pt x="49991" y="160731"/>
                    </a:lnTo>
                    <a:lnTo>
                      <a:pt x="52019" y="162230"/>
                    </a:lnTo>
                    <a:lnTo>
                      <a:pt x="54400" y="164522"/>
                    </a:lnTo>
                    <a:lnTo>
                      <a:pt x="56692" y="163640"/>
                    </a:lnTo>
                    <a:lnTo>
                      <a:pt x="58985" y="165668"/>
                    </a:lnTo>
                    <a:lnTo>
                      <a:pt x="58985" y="168049"/>
                    </a:lnTo>
                    <a:lnTo>
                      <a:pt x="58808" y="168313"/>
                    </a:lnTo>
                    <a:close/>
                    <a:moveTo>
                      <a:pt x="95222" y="162230"/>
                    </a:moveTo>
                    <a:lnTo>
                      <a:pt x="93811" y="158968"/>
                    </a:lnTo>
                    <a:lnTo>
                      <a:pt x="93194" y="157821"/>
                    </a:lnTo>
                    <a:lnTo>
                      <a:pt x="93547" y="154030"/>
                    </a:lnTo>
                    <a:lnTo>
                      <a:pt x="93547" y="150239"/>
                    </a:lnTo>
                    <a:lnTo>
                      <a:pt x="95839" y="147065"/>
                    </a:lnTo>
                    <a:lnTo>
                      <a:pt x="96191" y="150856"/>
                    </a:lnTo>
                    <a:lnTo>
                      <a:pt x="95574" y="154912"/>
                    </a:lnTo>
                    <a:lnTo>
                      <a:pt x="95839" y="158968"/>
                    </a:lnTo>
                    <a:lnTo>
                      <a:pt x="95222" y="162230"/>
                    </a:lnTo>
                    <a:close/>
                    <a:moveTo>
                      <a:pt x="97338" y="319699"/>
                    </a:moveTo>
                    <a:lnTo>
                      <a:pt x="94693" y="318552"/>
                    </a:lnTo>
                    <a:lnTo>
                      <a:pt x="91519" y="319170"/>
                    </a:lnTo>
                    <a:lnTo>
                      <a:pt x="88345" y="320051"/>
                    </a:lnTo>
                    <a:lnTo>
                      <a:pt x="86846" y="319170"/>
                    </a:lnTo>
                    <a:lnTo>
                      <a:pt x="86228" y="318552"/>
                    </a:lnTo>
                    <a:lnTo>
                      <a:pt x="84201" y="319699"/>
                    </a:lnTo>
                    <a:lnTo>
                      <a:pt x="82437" y="318200"/>
                    </a:lnTo>
                    <a:lnTo>
                      <a:pt x="85612" y="316172"/>
                    </a:lnTo>
                    <a:lnTo>
                      <a:pt x="86228" y="314144"/>
                    </a:lnTo>
                    <a:lnTo>
                      <a:pt x="91431" y="315290"/>
                    </a:lnTo>
                    <a:lnTo>
                      <a:pt x="94605" y="315907"/>
                    </a:lnTo>
                    <a:lnTo>
                      <a:pt x="98131" y="315907"/>
                    </a:lnTo>
                    <a:lnTo>
                      <a:pt x="99895" y="318200"/>
                    </a:lnTo>
                    <a:lnTo>
                      <a:pt x="97338" y="319699"/>
                    </a:lnTo>
                    <a:close/>
                    <a:moveTo>
                      <a:pt x="107830" y="305680"/>
                    </a:moveTo>
                    <a:lnTo>
                      <a:pt x="103510" y="303035"/>
                    </a:lnTo>
                    <a:lnTo>
                      <a:pt x="102628" y="299861"/>
                    </a:lnTo>
                    <a:lnTo>
                      <a:pt x="105537" y="298362"/>
                    </a:lnTo>
                    <a:lnTo>
                      <a:pt x="110210" y="298979"/>
                    </a:lnTo>
                    <a:lnTo>
                      <a:pt x="112238" y="300390"/>
                    </a:lnTo>
                    <a:lnTo>
                      <a:pt x="111357" y="301007"/>
                    </a:lnTo>
                    <a:lnTo>
                      <a:pt x="111621" y="302770"/>
                    </a:lnTo>
                    <a:lnTo>
                      <a:pt x="111621" y="304269"/>
                    </a:lnTo>
                    <a:lnTo>
                      <a:pt x="111357" y="305768"/>
                    </a:lnTo>
                    <a:lnTo>
                      <a:pt x="107830" y="305768"/>
                    </a:lnTo>
                    <a:close/>
                    <a:moveTo>
                      <a:pt x="40117" y="187534"/>
                    </a:moveTo>
                    <a:lnTo>
                      <a:pt x="42144" y="186917"/>
                    </a:lnTo>
                    <a:lnTo>
                      <a:pt x="40998" y="181098"/>
                    </a:lnTo>
                    <a:lnTo>
                      <a:pt x="42761" y="178453"/>
                    </a:lnTo>
                    <a:lnTo>
                      <a:pt x="44261" y="182509"/>
                    </a:lnTo>
                    <a:lnTo>
                      <a:pt x="45142" y="187181"/>
                    </a:lnTo>
                    <a:lnTo>
                      <a:pt x="43996" y="190973"/>
                    </a:lnTo>
                    <a:lnTo>
                      <a:pt x="46377" y="194147"/>
                    </a:lnTo>
                    <a:lnTo>
                      <a:pt x="43996" y="197673"/>
                    </a:lnTo>
                    <a:lnTo>
                      <a:pt x="46641" y="197056"/>
                    </a:lnTo>
                    <a:lnTo>
                      <a:pt x="48933" y="197938"/>
                    </a:lnTo>
                    <a:lnTo>
                      <a:pt x="49198" y="200230"/>
                    </a:lnTo>
                    <a:lnTo>
                      <a:pt x="51226" y="200848"/>
                    </a:lnTo>
                    <a:lnTo>
                      <a:pt x="54400" y="201465"/>
                    </a:lnTo>
                    <a:lnTo>
                      <a:pt x="52901" y="204110"/>
                    </a:lnTo>
                    <a:lnTo>
                      <a:pt x="50609" y="203228"/>
                    </a:lnTo>
                    <a:lnTo>
                      <a:pt x="50873" y="203228"/>
                    </a:lnTo>
                    <a:lnTo>
                      <a:pt x="50256" y="204110"/>
                    </a:lnTo>
                    <a:lnTo>
                      <a:pt x="48493" y="206402"/>
                    </a:lnTo>
                    <a:lnTo>
                      <a:pt x="48493" y="206138"/>
                    </a:lnTo>
                    <a:lnTo>
                      <a:pt x="46465" y="209047"/>
                    </a:lnTo>
                    <a:lnTo>
                      <a:pt x="45583" y="206402"/>
                    </a:lnTo>
                    <a:lnTo>
                      <a:pt x="42938" y="209047"/>
                    </a:lnTo>
                    <a:lnTo>
                      <a:pt x="43555" y="210811"/>
                    </a:lnTo>
                    <a:lnTo>
                      <a:pt x="38882" y="211428"/>
                    </a:lnTo>
                    <a:lnTo>
                      <a:pt x="39147" y="211428"/>
                    </a:lnTo>
                    <a:lnTo>
                      <a:pt x="37648" y="213191"/>
                    </a:lnTo>
                    <a:lnTo>
                      <a:pt x="32711" y="214337"/>
                    </a:lnTo>
                    <a:lnTo>
                      <a:pt x="30065" y="218129"/>
                    </a:lnTo>
                    <a:lnTo>
                      <a:pt x="29448" y="219892"/>
                    </a:lnTo>
                    <a:lnTo>
                      <a:pt x="33240" y="221655"/>
                    </a:lnTo>
                    <a:lnTo>
                      <a:pt x="31211" y="223419"/>
                    </a:lnTo>
                    <a:lnTo>
                      <a:pt x="29448" y="226945"/>
                    </a:lnTo>
                    <a:lnTo>
                      <a:pt x="28831" y="228709"/>
                    </a:lnTo>
                    <a:lnTo>
                      <a:pt x="24423" y="232500"/>
                    </a:lnTo>
                    <a:lnTo>
                      <a:pt x="20631" y="235674"/>
                    </a:lnTo>
                    <a:lnTo>
                      <a:pt x="17105" y="238583"/>
                    </a:lnTo>
                    <a:lnTo>
                      <a:pt x="16752" y="241229"/>
                    </a:lnTo>
                    <a:lnTo>
                      <a:pt x="15606" y="243521"/>
                    </a:lnTo>
                    <a:lnTo>
                      <a:pt x="12167" y="247312"/>
                    </a:lnTo>
                    <a:lnTo>
                      <a:pt x="7494" y="249076"/>
                    </a:lnTo>
                    <a:lnTo>
                      <a:pt x="6084" y="253748"/>
                    </a:lnTo>
                    <a:lnTo>
                      <a:pt x="2028" y="257275"/>
                    </a:lnTo>
                    <a:lnTo>
                      <a:pt x="0" y="255776"/>
                    </a:lnTo>
                    <a:lnTo>
                      <a:pt x="1763" y="250839"/>
                    </a:lnTo>
                    <a:lnTo>
                      <a:pt x="4673" y="246431"/>
                    </a:lnTo>
                    <a:lnTo>
                      <a:pt x="7582" y="242375"/>
                    </a:lnTo>
                    <a:lnTo>
                      <a:pt x="10492" y="238848"/>
                    </a:lnTo>
                    <a:lnTo>
                      <a:pt x="13137" y="234440"/>
                    </a:lnTo>
                    <a:lnTo>
                      <a:pt x="16928" y="234175"/>
                    </a:lnTo>
                    <a:lnTo>
                      <a:pt x="19838" y="229502"/>
                    </a:lnTo>
                    <a:lnTo>
                      <a:pt x="22219" y="224300"/>
                    </a:lnTo>
                    <a:lnTo>
                      <a:pt x="25128" y="220245"/>
                    </a:lnTo>
                    <a:lnTo>
                      <a:pt x="27773" y="215572"/>
                    </a:lnTo>
                    <a:lnTo>
                      <a:pt x="30682" y="213544"/>
                    </a:lnTo>
                    <a:lnTo>
                      <a:pt x="30947" y="209135"/>
                    </a:lnTo>
                    <a:lnTo>
                      <a:pt x="34738" y="205344"/>
                    </a:lnTo>
                    <a:lnTo>
                      <a:pt x="35885" y="202699"/>
                    </a:lnTo>
                    <a:lnTo>
                      <a:pt x="37912" y="203581"/>
                    </a:lnTo>
                    <a:lnTo>
                      <a:pt x="40205" y="198643"/>
                    </a:lnTo>
                    <a:lnTo>
                      <a:pt x="41615" y="196615"/>
                    </a:lnTo>
                    <a:lnTo>
                      <a:pt x="39588" y="194323"/>
                    </a:lnTo>
                    <a:lnTo>
                      <a:pt x="37560" y="189915"/>
                    </a:lnTo>
                    <a:lnTo>
                      <a:pt x="41086" y="193970"/>
                    </a:lnTo>
                    <a:lnTo>
                      <a:pt x="42850" y="192207"/>
                    </a:lnTo>
                    <a:lnTo>
                      <a:pt x="39676" y="189298"/>
                    </a:lnTo>
                    <a:lnTo>
                      <a:pt x="40117" y="187534"/>
                    </a:lnTo>
                    <a:close/>
                    <a:moveTo>
                      <a:pt x="139571" y="169812"/>
                    </a:moveTo>
                    <a:lnTo>
                      <a:pt x="137278" y="169548"/>
                    </a:lnTo>
                    <a:lnTo>
                      <a:pt x="134986" y="166109"/>
                    </a:lnTo>
                    <a:lnTo>
                      <a:pt x="129784" y="163200"/>
                    </a:lnTo>
                    <a:lnTo>
                      <a:pt x="126874" y="162318"/>
                    </a:lnTo>
                    <a:lnTo>
                      <a:pt x="123347" y="164963"/>
                    </a:lnTo>
                    <a:lnTo>
                      <a:pt x="119556" y="165845"/>
                    </a:lnTo>
                    <a:lnTo>
                      <a:pt x="120438" y="162671"/>
                    </a:lnTo>
                    <a:lnTo>
                      <a:pt x="121849" y="160026"/>
                    </a:lnTo>
                    <a:lnTo>
                      <a:pt x="121232" y="155353"/>
                    </a:lnTo>
                    <a:lnTo>
                      <a:pt x="119468" y="153589"/>
                    </a:lnTo>
                    <a:lnTo>
                      <a:pt x="119468" y="149798"/>
                    </a:lnTo>
                    <a:lnTo>
                      <a:pt x="121496" y="152179"/>
                    </a:lnTo>
                    <a:lnTo>
                      <a:pt x="122907" y="152179"/>
                    </a:lnTo>
                    <a:lnTo>
                      <a:pt x="126433" y="153060"/>
                    </a:lnTo>
                    <a:lnTo>
                      <a:pt x="132870" y="154206"/>
                    </a:lnTo>
                    <a:lnTo>
                      <a:pt x="133751" y="157380"/>
                    </a:lnTo>
                    <a:lnTo>
                      <a:pt x="135779" y="159673"/>
                    </a:lnTo>
                    <a:lnTo>
                      <a:pt x="137542" y="163200"/>
                    </a:lnTo>
                    <a:lnTo>
                      <a:pt x="139306" y="165227"/>
                    </a:lnTo>
                    <a:lnTo>
                      <a:pt x="141334" y="168754"/>
                    </a:lnTo>
                    <a:lnTo>
                      <a:pt x="139571" y="169812"/>
                    </a:lnTo>
                    <a:close/>
                    <a:moveTo>
                      <a:pt x="167343" y="212397"/>
                    </a:moveTo>
                    <a:lnTo>
                      <a:pt x="162054" y="210634"/>
                    </a:lnTo>
                    <a:lnTo>
                      <a:pt x="162054" y="205697"/>
                    </a:lnTo>
                    <a:lnTo>
                      <a:pt x="160290" y="201024"/>
                    </a:lnTo>
                    <a:lnTo>
                      <a:pt x="160819" y="195734"/>
                    </a:lnTo>
                    <a:lnTo>
                      <a:pt x="158527" y="191061"/>
                    </a:lnTo>
                    <a:lnTo>
                      <a:pt x="154735" y="190179"/>
                    </a:lnTo>
                    <a:lnTo>
                      <a:pt x="151826" y="191942"/>
                    </a:lnTo>
                    <a:lnTo>
                      <a:pt x="147417" y="188768"/>
                    </a:lnTo>
                    <a:lnTo>
                      <a:pt x="150327" y="182068"/>
                    </a:lnTo>
                    <a:lnTo>
                      <a:pt x="148035" y="177130"/>
                    </a:lnTo>
                    <a:lnTo>
                      <a:pt x="150679" y="175367"/>
                    </a:lnTo>
                    <a:lnTo>
                      <a:pt x="151297" y="178629"/>
                    </a:lnTo>
                    <a:lnTo>
                      <a:pt x="153677" y="178629"/>
                    </a:lnTo>
                    <a:lnTo>
                      <a:pt x="157204" y="181274"/>
                    </a:lnTo>
                    <a:lnTo>
                      <a:pt x="160731" y="177483"/>
                    </a:lnTo>
                    <a:lnTo>
                      <a:pt x="163023" y="181539"/>
                    </a:lnTo>
                    <a:lnTo>
                      <a:pt x="164787" y="185947"/>
                    </a:lnTo>
                    <a:lnTo>
                      <a:pt x="165051" y="191237"/>
                    </a:lnTo>
                    <a:lnTo>
                      <a:pt x="167079" y="195293"/>
                    </a:lnTo>
                    <a:lnTo>
                      <a:pt x="169724" y="199701"/>
                    </a:lnTo>
                    <a:lnTo>
                      <a:pt x="172017" y="204374"/>
                    </a:lnTo>
                    <a:lnTo>
                      <a:pt x="169372" y="207019"/>
                    </a:lnTo>
                    <a:lnTo>
                      <a:pt x="167608" y="205873"/>
                    </a:lnTo>
                    <a:lnTo>
                      <a:pt x="165316" y="205256"/>
                    </a:lnTo>
                    <a:lnTo>
                      <a:pt x="168490" y="209664"/>
                    </a:lnTo>
                    <a:lnTo>
                      <a:pt x="167608" y="210811"/>
                    </a:lnTo>
                    <a:lnTo>
                      <a:pt x="167343" y="212397"/>
                    </a:lnTo>
                    <a:close/>
                    <a:moveTo>
                      <a:pt x="180393" y="187005"/>
                    </a:moveTo>
                    <a:lnTo>
                      <a:pt x="178012" y="186388"/>
                    </a:lnTo>
                    <a:lnTo>
                      <a:pt x="177395" y="185242"/>
                    </a:lnTo>
                    <a:lnTo>
                      <a:pt x="175367" y="186123"/>
                    </a:lnTo>
                    <a:lnTo>
                      <a:pt x="170694" y="185506"/>
                    </a:lnTo>
                    <a:lnTo>
                      <a:pt x="168666" y="184624"/>
                    </a:lnTo>
                    <a:lnTo>
                      <a:pt x="165492" y="182597"/>
                    </a:lnTo>
                    <a:lnTo>
                      <a:pt x="163729" y="179423"/>
                    </a:lnTo>
                    <a:lnTo>
                      <a:pt x="160202" y="177395"/>
                    </a:lnTo>
                    <a:lnTo>
                      <a:pt x="163112" y="173868"/>
                    </a:lnTo>
                    <a:lnTo>
                      <a:pt x="162847" y="170077"/>
                    </a:lnTo>
                    <a:lnTo>
                      <a:pt x="159673" y="169195"/>
                    </a:lnTo>
                    <a:lnTo>
                      <a:pt x="156146" y="166286"/>
                    </a:lnTo>
                    <a:lnTo>
                      <a:pt x="153854" y="163640"/>
                    </a:lnTo>
                    <a:lnTo>
                      <a:pt x="149446" y="161613"/>
                    </a:lnTo>
                    <a:lnTo>
                      <a:pt x="147153" y="157557"/>
                    </a:lnTo>
                    <a:lnTo>
                      <a:pt x="145390" y="153148"/>
                    </a:lnTo>
                    <a:lnTo>
                      <a:pt x="147770" y="151385"/>
                    </a:lnTo>
                    <a:lnTo>
                      <a:pt x="150063" y="153148"/>
                    </a:lnTo>
                    <a:lnTo>
                      <a:pt x="153237" y="152619"/>
                    </a:lnTo>
                    <a:lnTo>
                      <a:pt x="157909" y="151473"/>
                    </a:lnTo>
                    <a:lnTo>
                      <a:pt x="159056" y="152090"/>
                    </a:lnTo>
                    <a:lnTo>
                      <a:pt x="161701" y="149445"/>
                    </a:lnTo>
                    <a:lnTo>
                      <a:pt x="164610" y="151738"/>
                    </a:lnTo>
                    <a:lnTo>
                      <a:pt x="166109" y="150856"/>
                    </a:lnTo>
                    <a:lnTo>
                      <a:pt x="167608" y="155265"/>
                    </a:lnTo>
                    <a:lnTo>
                      <a:pt x="170782" y="156411"/>
                    </a:lnTo>
                    <a:lnTo>
                      <a:pt x="171399" y="159937"/>
                    </a:lnTo>
                    <a:lnTo>
                      <a:pt x="172546" y="163112"/>
                    </a:lnTo>
                    <a:lnTo>
                      <a:pt x="172810" y="167520"/>
                    </a:lnTo>
                    <a:lnTo>
                      <a:pt x="173692" y="171311"/>
                    </a:lnTo>
                    <a:lnTo>
                      <a:pt x="174309" y="175720"/>
                    </a:lnTo>
                    <a:lnTo>
                      <a:pt x="177571" y="179246"/>
                    </a:lnTo>
                    <a:lnTo>
                      <a:pt x="176160" y="183302"/>
                    </a:lnTo>
                    <a:lnTo>
                      <a:pt x="179334" y="183302"/>
                    </a:lnTo>
                    <a:lnTo>
                      <a:pt x="180833" y="187093"/>
                    </a:lnTo>
                    <a:lnTo>
                      <a:pt x="180393" y="187093"/>
                    </a:lnTo>
                    <a:close/>
                    <a:moveTo>
                      <a:pt x="109241" y="268913"/>
                    </a:moveTo>
                    <a:lnTo>
                      <a:pt x="115060" y="266886"/>
                    </a:lnTo>
                    <a:lnTo>
                      <a:pt x="119468" y="264858"/>
                    </a:lnTo>
                    <a:lnTo>
                      <a:pt x="124405" y="261684"/>
                    </a:lnTo>
                    <a:lnTo>
                      <a:pt x="123259" y="256129"/>
                    </a:lnTo>
                    <a:lnTo>
                      <a:pt x="128197" y="253219"/>
                    </a:lnTo>
                    <a:lnTo>
                      <a:pt x="132870" y="249428"/>
                    </a:lnTo>
                    <a:lnTo>
                      <a:pt x="134898" y="249164"/>
                    </a:lnTo>
                    <a:lnTo>
                      <a:pt x="139571" y="248899"/>
                    </a:lnTo>
                    <a:lnTo>
                      <a:pt x="142833" y="254101"/>
                    </a:lnTo>
                    <a:lnTo>
                      <a:pt x="144243" y="259920"/>
                    </a:lnTo>
                    <a:lnTo>
                      <a:pt x="140187" y="264329"/>
                    </a:lnTo>
                    <a:lnTo>
                      <a:pt x="142833" y="263183"/>
                    </a:lnTo>
                    <a:lnTo>
                      <a:pt x="148652" y="259391"/>
                    </a:lnTo>
                    <a:lnTo>
                      <a:pt x="152443" y="255600"/>
                    </a:lnTo>
                    <a:lnTo>
                      <a:pt x="154206" y="251192"/>
                    </a:lnTo>
                    <a:lnTo>
                      <a:pt x="154471" y="252338"/>
                    </a:lnTo>
                    <a:lnTo>
                      <a:pt x="152708" y="249693"/>
                    </a:lnTo>
                    <a:lnTo>
                      <a:pt x="154118" y="248547"/>
                    </a:lnTo>
                    <a:lnTo>
                      <a:pt x="157292" y="247400"/>
                    </a:lnTo>
                    <a:lnTo>
                      <a:pt x="161701" y="249164"/>
                    </a:lnTo>
                    <a:lnTo>
                      <a:pt x="162229" y="250663"/>
                    </a:lnTo>
                    <a:lnTo>
                      <a:pt x="162494" y="248899"/>
                    </a:lnTo>
                    <a:lnTo>
                      <a:pt x="163376" y="248282"/>
                    </a:lnTo>
                    <a:lnTo>
                      <a:pt x="165139" y="242727"/>
                    </a:lnTo>
                    <a:lnTo>
                      <a:pt x="163729" y="245020"/>
                    </a:lnTo>
                    <a:lnTo>
                      <a:pt x="162583" y="243256"/>
                    </a:lnTo>
                    <a:lnTo>
                      <a:pt x="164081" y="240347"/>
                    </a:lnTo>
                    <a:lnTo>
                      <a:pt x="167255" y="237967"/>
                    </a:lnTo>
                    <a:lnTo>
                      <a:pt x="170430" y="238848"/>
                    </a:lnTo>
                    <a:lnTo>
                      <a:pt x="170430" y="238583"/>
                    </a:lnTo>
                    <a:lnTo>
                      <a:pt x="174485" y="239730"/>
                    </a:lnTo>
                    <a:lnTo>
                      <a:pt x="173868" y="239465"/>
                    </a:lnTo>
                    <a:lnTo>
                      <a:pt x="177924" y="237967"/>
                    </a:lnTo>
                    <a:lnTo>
                      <a:pt x="177306" y="239112"/>
                    </a:lnTo>
                    <a:lnTo>
                      <a:pt x="177924" y="237085"/>
                    </a:lnTo>
                    <a:lnTo>
                      <a:pt x="178805" y="235321"/>
                    </a:lnTo>
                    <a:lnTo>
                      <a:pt x="178541" y="230648"/>
                    </a:lnTo>
                    <a:lnTo>
                      <a:pt x="177924" y="230384"/>
                    </a:lnTo>
                    <a:lnTo>
                      <a:pt x="177042" y="226857"/>
                    </a:lnTo>
                    <a:lnTo>
                      <a:pt x="177306" y="227739"/>
                    </a:lnTo>
                    <a:lnTo>
                      <a:pt x="175543" y="225094"/>
                    </a:lnTo>
                    <a:lnTo>
                      <a:pt x="173515" y="219539"/>
                    </a:lnTo>
                    <a:lnTo>
                      <a:pt x="175279" y="217511"/>
                    </a:lnTo>
                    <a:lnTo>
                      <a:pt x="179687" y="217511"/>
                    </a:lnTo>
                    <a:lnTo>
                      <a:pt x="177659" y="216012"/>
                    </a:lnTo>
                    <a:lnTo>
                      <a:pt x="182597" y="218658"/>
                    </a:lnTo>
                    <a:lnTo>
                      <a:pt x="185242" y="222184"/>
                    </a:lnTo>
                    <a:lnTo>
                      <a:pt x="188151" y="225711"/>
                    </a:lnTo>
                    <a:lnTo>
                      <a:pt x="192824" y="224565"/>
                    </a:lnTo>
                    <a:lnTo>
                      <a:pt x="193088" y="230119"/>
                    </a:lnTo>
                    <a:lnTo>
                      <a:pt x="196263" y="235057"/>
                    </a:lnTo>
                    <a:lnTo>
                      <a:pt x="193353" y="239994"/>
                    </a:lnTo>
                    <a:lnTo>
                      <a:pt x="193970" y="244403"/>
                    </a:lnTo>
                    <a:lnTo>
                      <a:pt x="198908" y="245549"/>
                    </a:lnTo>
                    <a:lnTo>
                      <a:pt x="198908" y="249076"/>
                    </a:lnTo>
                    <a:lnTo>
                      <a:pt x="200407" y="251104"/>
                    </a:lnTo>
                    <a:lnTo>
                      <a:pt x="201024" y="256041"/>
                    </a:lnTo>
                    <a:lnTo>
                      <a:pt x="201024" y="261596"/>
                    </a:lnTo>
                    <a:lnTo>
                      <a:pt x="205697" y="265387"/>
                    </a:lnTo>
                    <a:lnTo>
                      <a:pt x="205961" y="271206"/>
                    </a:lnTo>
                    <a:lnTo>
                      <a:pt x="206843" y="276761"/>
                    </a:lnTo>
                    <a:lnTo>
                      <a:pt x="208606" y="281962"/>
                    </a:lnTo>
                    <a:lnTo>
                      <a:pt x="204286" y="286018"/>
                    </a:lnTo>
                    <a:lnTo>
                      <a:pt x="206314" y="288311"/>
                    </a:lnTo>
                    <a:lnTo>
                      <a:pt x="204551" y="289457"/>
                    </a:lnTo>
                    <a:lnTo>
                      <a:pt x="201641" y="292719"/>
                    </a:lnTo>
                    <a:lnTo>
                      <a:pt x="201024" y="298538"/>
                    </a:lnTo>
                    <a:lnTo>
                      <a:pt x="199878" y="301448"/>
                    </a:lnTo>
                    <a:lnTo>
                      <a:pt x="198731" y="299684"/>
                    </a:lnTo>
                    <a:lnTo>
                      <a:pt x="196968" y="298185"/>
                    </a:lnTo>
                    <a:lnTo>
                      <a:pt x="197850" y="294659"/>
                    </a:lnTo>
                    <a:lnTo>
                      <a:pt x="196351" y="293512"/>
                    </a:lnTo>
                    <a:lnTo>
                      <a:pt x="196086" y="293512"/>
                    </a:lnTo>
                    <a:lnTo>
                      <a:pt x="196086" y="290868"/>
                    </a:lnTo>
                    <a:lnTo>
                      <a:pt x="196086" y="290603"/>
                    </a:lnTo>
                    <a:lnTo>
                      <a:pt x="193177" y="287076"/>
                    </a:lnTo>
                    <a:lnTo>
                      <a:pt x="189650" y="285048"/>
                    </a:lnTo>
                    <a:lnTo>
                      <a:pt x="191414" y="281257"/>
                    </a:lnTo>
                    <a:lnTo>
                      <a:pt x="186476" y="284784"/>
                    </a:lnTo>
                    <a:lnTo>
                      <a:pt x="183567" y="285930"/>
                    </a:lnTo>
                    <a:lnTo>
                      <a:pt x="182156" y="291485"/>
                    </a:lnTo>
                    <a:lnTo>
                      <a:pt x="183567" y="296775"/>
                    </a:lnTo>
                    <a:lnTo>
                      <a:pt x="186212" y="297656"/>
                    </a:lnTo>
                    <a:lnTo>
                      <a:pt x="186829" y="300566"/>
                    </a:lnTo>
                    <a:lnTo>
                      <a:pt x="187975" y="300213"/>
                    </a:lnTo>
                    <a:lnTo>
                      <a:pt x="188857" y="303740"/>
                    </a:lnTo>
                    <a:lnTo>
                      <a:pt x="189121" y="305239"/>
                    </a:lnTo>
                    <a:lnTo>
                      <a:pt x="190620" y="306121"/>
                    </a:lnTo>
                    <a:lnTo>
                      <a:pt x="189121" y="309030"/>
                    </a:lnTo>
                    <a:lnTo>
                      <a:pt x="189121" y="310793"/>
                    </a:lnTo>
                    <a:lnTo>
                      <a:pt x="189739" y="311940"/>
                    </a:lnTo>
                    <a:lnTo>
                      <a:pt x="188857" y="313439"/>
                    </a:lnTo>
                    <a:lnTo>
                      <a:pt x="188592" y="318376"/>
                    </a:lnTo>
                    <a:lnTo>
                      <a:pt x="188592" y="317230"/>
                    </a:lnTo>
                    <a:lnTo>
                      <a:pt x="188592" y="321638"/>
                    </a:lnTo>
                    <a:lnTo>
                      <a:pt x="186212" y="322784"/>
                    </a:lnTo>
                    <a:lnTo>
                      <a:pt x="182685" y="322167"/>
                    </a:lnTo>
                    <a:lnTo>
                      <a:pt x="182949" y="320139"/>
                    </a:lnTo>
                    <a:lnTo>
                      <a:pt x="180657" y="315466"/>
                    </a:lnTo>
                    <a:lnTo>
                      <a:pt x="178893" y="318112"/>
                    </a:lnTo>
                    <a:lnTo>
                      <a:pt x="178276" y="313174"/>
                    </a:lnTo>
                    <a:lnTo>
                      <a:pt x="174750" y="316965"/>
                    </a:lnTo>
                    <a:lnTo>
                      <a:pt x="177659" y="320756"/>
                    </a:lnTo>
                    <a:lnTo>
                      <a:pt x="172986" y="319610"/>
                    </a:lnTo>
                    <a:lnTo>
                      <a:pt x="168313" y="317583"/>
                    </a:lnTo>
                    <a:lnTo>
                      <a:pt x="167696" y="317583"/>
                    </a:lnTo>
                    <a:lnTo>
                      <a:pt x="167079" y="316701"/>
                    </a:lnTo>
                    <a:lnTo>
                      <a:pt x="163905" y="315555"/>
                    </a:lnTo>
                    <a:lnTo>
                      <a:pt x="163288" y="314937"/>
                    </a:lnTo>
                    <a:lnTo>
                      <a:pt x="160996" y="312292"/>
                    </a:lnTo>
                    <a:lnTo>
                      <a:pt x="157469" y="310264"/>
                    </a:lnTo>
                    <a:lnTo>
                      <a:pt x="155088" y="308237"/>
                    </a:lnTo>
                    <a:lnTo>
                      <a:pt x="153325" y="305592"/>
                    </a:lnTo>
                    <a:lnTo>
                      <a:pt x="152443" y="300037"/>
                    </a:lnTo>
                    <a:lnTo>
                      <a:pt x="150063" y="295364"/>
                    </a:lnTo>
                    <a:lnTo>
                      <a:pt x="149446" y="289545"/>
                    </a:lnTo>
                    <a:lnTo>
                      <a:pt x="153237" y="284607"/>
                    </a:lnTo>
                    <a:lnTo>
                      <a:pt x="155000" y="280199"/>
                    </a:lnTo>
                    <a:lnTo>
                      <a:pt x="151208" y="276408"/>
                    </a:lnTo>
                    <a:lnTo>
                      <a:pt x="146536" y="272352"/>
                    </a:lnTo>
                    <a:lnTo>
                      <a:pt x="141246" y="270324"/>
                    </a:lnTo>
                    <a:lnTo>
                      <a:pt x="135427" y="270060"/>
                    </a:lnTo>
                    <a:lnTo>
                      <a:pt x="136044" y="275262"/>
                    </a:lnTo>
                    <a:lnTo>
                      <a:pt x="136044" y="279934"/>
                    </a:lnTo>
                    <a:lnTo>
                      <a:pt x="134280" y="281081"/>
                    </a:lnTo>
                    <a:lnTo>
                      <a:pt x="130489" y="280199"/>
                    </a:lnTo>
                    <a:lnTo>
                      <a:pt x="130489" y="276143"/>
                    </a:lnTo>
                    <a:lnTo>
                      <a:pt x="127315" y="275879"/>
                    </a:lnTo>
                    <a:lnTo>
                      <a:pt x="125023" y="279405"/>
                    </a:lnTo>
                    <a:lnTo>
                      <a:pt x="122378" y="280904"/>
                    </a:lnTo>
                    <a:lnTo>
                      <a:pt x="121849" y="275085"/>
                    </a:lnTo>
                    <a:lnTo>
                      <a:pt x="116911" y="274204"/>
                    </a:lnTo>
                    <a:lnTo>
                      <a:pt x="114002" y="279494"/>
                    </a:lnTo>
                    <a:lnTo>
                      <a:pt x="112591" y="282668"/>
                    </a:lnTo>
                    <a:lnTo>
                      <a:pt x="112062" y="286195"/>
                    </a:lnTo>
                    <a:lnTo>
                      <a:pt x="110563" y="290603"/>
                    </a:lnTo>
                    <a:lnTo>
                      <a:pt x="109064" y="295540"/>
                    </a:lnTo>
                    <a:lnTo>
                      <a:pt x="106419" y="293160"/>
                    </a:lnTo>
                    <a:lnTo>
                      <a:pt x="104039" y="290250"/>
                    </a:lnTo>
                    <a:lnTo>
                      <a:pt x="106066" y="285313"/>
                    </a:lnTo>
                    <a:lnTo>
                      <a:pt x="106948" y="279494"/>
                    </a:lnTo>
                    <a:lnTo>
                      <a:pt x="109858" y="274204"/>
                    </a:lnTo>
                    <a:lnTo>
                      <a:pt x="109241" y="268913"/>
                    </a:lnTo>
                    <a:close/>
                    <a:moveTo>
                      <a:pt x="111268" y="203316"/>
                    </a:moveTo>
                    <a:lnTo>
                      <a:pt x="110122" y="199789"/>
                    </a:lnTo>
                    <a:lnTo>
                      <a:pt x="111621" y="195117"/>
                    </a:lnTo>
                    <a:lnTo>
                      <a:pt x="114531" y="196263"/>
                    </a:lnTo>
                    <a:lnTo>
                      <a:pt x="113913" y="200319"/>
                    </a:lnTo>
                    <a:lnTo>
                      <a:pt x="111268" y="203316"/>
                    </a:lnTo>
                    <a:close/>
                    <a:moveTo>
                      <a:pt x="141598" y="226416"/>
                    </a:moveTo>
                    <a:lnTo>
                      <a:pt x="139218" y="221744"/>
                    </a:lnTo>
                    <a:lnTo>
                      <a:pt x="143009" y="218569"/>
                    </a:lnTo>
                    <a:lnTo>
                      <a:pt x="145301" y="213896"/>
                    </a:lnTo>
                    <a:lnTo>
                      <a:pt x="149975" y="212133"/>
                    </a:lnTo>
                    <a:lnTo>
                      <a:pt x="152355" y="213632"/>
                    </a:lnTo>
                    <a:lnTo>
                      <a:pt x="154912" y="217159"/>
                    </a:lnTo>
                    <a:lnTo>
                      <a:pt x="156675" y="220421"/>
                    </a:lnTo>
                    <a:lnTo>
                      <a:pt x="154912" y="219804"/>
                    </a:lnTo>
                    <a:lnTo>
                      <a:pt x="154647" y="221832"/>
                    </a:lnTo>
                    <a:lnTo>
                      <a:pt x="154030" y="222713"/>
                    </a:lnTo>
                    <a:lnTo>
                      <a:pt x="152884" y="222978"/>
                    </a:lnTo>
                    <a:lnTo>
                      <a:pt x="149710" y="226504"/>
                    </a:lnTo>
                    <a:lnTo>
                      <a:pt x="144155" y="227033"/>
                    </a:lnTo>
                    <a:lnTo>
                      <a:pt x="141598" y="226416"/>
                    </a:lnTo>
                    <a:close/>
                    <a:moveTo>
                      <a:pt x="179599" y="212927"/>
                    </a:moveTo>
                    <a:lnTo>
                      <a:pt x="176954" y="209135"/>
                    </a:lnTo>
                    <a:lnTo>
                      <a:pt x="177218" y="205961"/>
                    </a:lnTo>
                    <a:lnTo>
                      <a:pt x="174309" y="203316"/>
                    </a:lnTo>
                    <a:lnTo>
                      <a:pt x="175191" y="199260"/>
                    </a:lnTo>
                    <a:lnTo>
                      <a:pt x="177571" y="200142"/>
                    </a:lnTo>
                    <a:lnTo>
                      <a:pt x="177306" y="197850"/>
                    </a:lnTo>
                    <a:lnTo>
                      <a:pt x="177924" y="202523"/>
                    </a:lnTo>
                    <a:lnTo>
                      <a:pt x="181451" y="208077"/>
                    </a:lnTo>
                    <a:lnTo>
                      <a:pt x="181803" y="210458"/>
                    </a:lnTo>
                    <a:lnTo>
                      <a:pt x="179599" y="212927"/>
                    </a:lnTo>
                    <a:close/>
                    <a:moveTo>
                      <a:pt x="130225" y="226416"/>
                    </a:moveTo>
                    <a:lnTo>
                      <a:pt x="131106" y="219098"/>
                    </a:lnTo>
                    <a:lnTo>
                      <a:pt x="129960" y="216806"/>
                    </a:lnTo>
                    <a:lnTo>
                      <a:pt x="131106" y="217423"/>
                    </a:lnTo>
                    <a:lnTo>
                      <a:pt x="131988" y="213015"/>
                    </a:lnTo>
                    <a:lnTo>
                      <a:pt x="131371" y="207725"/>
                    </a:lnTo>
                    <a:lnTo>
                      <a:pt x="133134" y="207725"/>
                    </a:lnTo>
                    <a:lnTo>
                      <a:pt x="134545" y="205432"/>
                    </a:lnTo>
                    <a:lnTo>
                      <a:pt x="135162" y="201906"/>
                    </a:lnTo>
                    <a:lnTo>
                      <a:pt x="134898" y="198731"/>
                    </a:lnTo>
                    <a:lnTo>
                      <a:pt x="137190" y="196968"/>
                    </a:lnTo>
                    <a:lnTo>
                      <a:pt x="138071" y="189650"/>
                    </a:lnTo>
                    <a:lnTo>
                      <a:pt x="136309" y="186123"/>
                    </a:lnTo>
                    <a:lnTo>
                      <a:pt x="138600" y="184977"/>
                    </a:lnTo>
                    <a:lnTo>
                      <a:pt x="140100" y="182949"/>
                    </a:lnTo>
                    <a:lnTo>
                      <a:pt x="139482" y="185242"/>
                    </a:lnTo>
                    <a:lnTo>
                      <a:pt x="140629" y="186123"/>
                    </a:lnTo>
                    <a:lnTo>
                      <a:pt x="140364" y="188768"/>
                    </a:lnTo>
                    <a:lnTo>
                      <a:pt x="142745" y="191678"/>
                    </a:lnTo>
                    <a:lnTo>
                      <a:pt x="140981" y="193706"/>
                    </a:lnTo>
                    <a:lnTo>
                      <a:pt x="142745" y="196880"/>
                    </a:lnTo>
                    <a:lnTo>
                      <a:pt x="141598" y="198643"/>
                    </a:lnTo>
                    <a:lnTo>
                      <a:pt x="144772" y="199789"/>
                    </a:lnTo>
                    <a:lnTo>
                      <a:pt x="145919" y="203316"/>
                    </a:lnTo>
                    <a:lnTo>
                      <a:pt x="141863" y="206226"/>
                    </a:lnTo>
                    <a:lnTo>
                      <a:pt x="135691" y="208606"/>
                    </a:lnTo>
                    <a:lnTo>
                      <a:pt x="133046" y="216453"/>
                    </a:lnTo>
                    <a:lnTo>
                      <a:pt x="130754" y="226328"/>
                    </a:lnTo>
                    <a:lnTo>
                      <a:pt x="130225" y="226328"/>
                    </a:lnTo>
                    <a:close/>
                    <a:moveTo>
                      <a:pt x="129696" y="238054"/>
                    </a:moveTo>
                    <a:lnTo>
                      <a:pt x="125640" y="238672"/>
                    </a:lnTo>
                    <a:lnTo>
                      <a:pt x="122466" y="237173"/>
                    </a:lnTo>
                    <a:lnTo>
                      <a:pt x="123347" y="233646"/>
                    </a:lnTo>
                    <a:lnTo>
                      <a:pt x="119556" y="232765"/>
                    </a:lnTo>
                    <a:lnTo>
                      <a:pt x="116647" y="230384"/>
                    </a:lnTo>
                    <a:lnTo>
                      <a:pt x="111709" y="224300"/>
                    </a:lnTo>
                    <a:lnTo>
                      <a:pt x="112855" y="216982"/>
                    </a:lnTo>
                    <a:lnTo>
                      <a:pt x="119821" y="214073"/>
                    </a:lnTo>
                    <a:lnTo>
                      <a:pt x="120085" y="206490"/>
                    </a:lnTo>
                    <a:lnTo>
                      <a:pt x="120085" y="200054"/>
                    </a:lnTo>
                    <a:lnTo>
                      <a:pt x="120703" y="192472"/>
                    </a:lnTo>
                    <a:lnTo>
                      <a:pt x="127668" y="190179"/>
                    </a:lnTo>
                    <a:lnTo>
                      <a:pt x="132958" y="194235"/>
                    </a:lnTo>
                    <a:lnTo>
                      <a:pt x="130930" y="201817"/>
                    </a:lnTo>
                    <a:lnTo>
                      <a:pt x="129784" y="209135"/>
                    </a:lnTo>
                    <a:lnTo>
                      <a:pt x="127756" y="216718"/>
                    </a:lnTo>
                    <a:lnTo>
                      <a:pt x="127756" y="223683"/>
                    </a:lnTo>
                    <a:lnTo>
                      <a:pt x="130666" y="228973"/>
                    </a:lnTo>
                    <a:lnTo>
                      <a:pt x="131812" y="231883"/>
                    </a:lnTo>
                    <a:lnTo>
                      <a:pt x="131195" y="236291"/>
                    </a:lnTo>
                    <a:lnTo>
                      <a:pt x="128285" y="239201"/>
                    </a:lnTo>
                    <a:lnTo>
                      <a:pt x="129696" y="238054"/>
                    </a:lnTo>
                    <a:close/>
                    <a:moveTo>
                      <a:pt x="69565" y="339272"/>
                    </a:moveTo>
                    <a:lnTo>
                      <a:pt x="69829" y="334599"/>
                    </a:lnTo>
                    <a:lnTo>
                      <a:pt x="71593" y="332571"/>
                    </a:lnTo>
                    <a:lnTo>
                      <a:pt x="72739" y="333717"/>
                    </a:lnTo>
                    <a:lnTo>
                      <a:pt x="74502" y="330808"/>
                    </a:lnTo>
                    <a:lnTo>
                      <a:pt x="76530" y="329926"/>
                    </a:lnTo>
                    <a:lnTo>
                      <a:pt x="77676" y="333188"/>
                    </a:lnTo>
                    <a:lnTo>
                      <a:pt x="75649" y="335481"/>
                    </a:lnTo>
                    <a:lnTo>
                      <a:pt x="73003" y="336098"/>
                    </a:lnTo>
                    <a:lnTo>
                      <a:pt x="69829" y="339272"/>
                    </a:lnTo>
                    <a:lnTo>
                      <a:pt x="69565" y="3392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2" name="Freihandform: Form 2001">
                <a:extLst>
                  <a:ext uri="{FF2B5EF4-FFF2-40B4-BE49-F238E27FC236}">
                    <a16:creationId xmlns:a16="http://schemas.microsoft.com/office/drawing/2014/main" id="{7B3ECDD8-296A-532B-081F-E555E432D7BD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3" name="Freihandform: Form 2002">
                <a:extLst>
                  <a:ext uri="{FF2B5EF4-FFF2-40B4-BE49-F238E27FC236}">
                    <a16:creationId xmlns:a16="http://schemas.microsoft.com/office/drawing/2014/main" id="{0144507D-57DE-04F2-FB5D-71AADEDD8BF6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4" name="Freihandform: Form 2003">
                <a:extLst>
                  <a:ext uri="{FF2B5EF4-FFF2-40B4-BE49-F238E27FC236}">
                    <a16:creationId xmlns:a16="http://schemas.microsoft.com/office/drawing/2014/main" id="{DB392126-A373-BAE9-FE70-1025FE1A87FE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5" name="Freihandform: Form 2004">
                <a:extLst>
                  <a:ext uri="{FF2B5EF4-FFF2-40B4-BE49-F238E27FC236}">
                    <a16:creationId xmlns:a16="http://schemas.microsoft.com/office/drawing/2014/main" id="{7E5107B7-E175-717E-0A1F-E0DEA1B9E97F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6" name="Freihandform: Form 2005">
                <a:extLst>
                  <a:ext uri="{FF2B5EF4-FFF2-40B4-BE49-F238E27FC236}">
                    <a16:creationId xmlns:a16="http://schemas.microsoft.com/office/drawing/2014/main" id="{5AC9494F-003A-43C7-247B-36CDB89867F5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7" name="Freihandform: Form 2006">
                <a:extLst>
                  <a:ext uri="{FF2B5EF4-FFF2-40B4-BE49-F238E27FC236}">
                    <a16:creationId xmlns:a16="http://schemas.microsoft.com/office/drawing/2014/main" id="{24EF174A-9B6E-E725-FDF1-286C1452D3E7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8" name="Freihandform: Form 2007">
                <a:extLst>
                  <a:ext uri="{FF2B5EF4-FFF2-40B4-BE49-F238E27FC236}">
                    <a16:creationId xmlns:a16="http://schemas.microsoft.com/office/drawing/2014/main" id="{24D1B2C6-568D-33A7-036F-0F32649F2F53}"/>
                  </a:ext>
                </a:extLst>
              </p:cNvPr>
              <p:cNvSpPr/>
              <p:nvPr/>
            </p:nvSpPr>
            <p:spPr>
              <a:xfrm>
                <a:off x="6761445" y="4258752"/>
                <a:ext cx="14019" cy="32093"/>
              </a:xfrm>
              <a:custGeom>
                <a:avLst/>
                <a:gdLst>
                  <a:gd name="connsiteX0" fmla="*/ 11727 w 14019"/>
                  <a:gd name="connsiteY0" fmla="*/ 9698 h 32093"/>
                  <a:gd name="connsiteX1" fmla="*/ 11991 w 14019"/>
                  <a:gd name="connsiteY1" fmla="*/ 7935 h 32093"/>
                  <a:gd name="connsiteX2" fmla="*/ 12608 w 14019"/>
                  <a:gd name="connsiteY2" fmla="*/ 7935 h 32093"/>
                  <a:gd name="connsiteX3" fmla="*/ 13402 w 14019"/>
                  <a:gd name="connsiteY3" fmla="*/ 10845 h 32093"/>
                  <a:gd name="connsiteX4" fmla="*/ 14019 w 14019"/>
                  <a:gd name="connsiteY4" fmla="*/ 10492 h 32093"/>
                  <a:gd name="connsiteX5" fmla="*/ 13754 w 14019"/>
                  <a:gd name="connsiteY5" fmla="*/ 5025 h 32093"/>
                  <a:gd name="connsiteX6" fmla="*/ 12608 w 14019"/>
                  <a:gd name="connsiteY6" fmla="*/ 2909 h 32093"/>
                  <a:gd name="connsiteX7" fmla="*/ 11109 w 14019"/>
                  <a:gd name="connsiteY7" fmla="*/ 1763 h 32093"/>
                  <a:gd name="connsiteX8" fmla="*/ 11109 w 14019"/>
                  <a:gd name="connsiteY8" fmla="*/ 617 h 32093"/>
                  <a:gd name="connsiteX9" fmla="*/ 9963 w 14019"/>
                  <a:gd name="connsiteY9" fmla="*/ 0 h 32093"/>
                  <a:gd name="connsiteX10" fmla="*/ 7847 w 14019"/>
                  <a:gd name="connsiteY10" fmla="*/ 1763 h 32093"/>
                  <a:gd name="connsiteX11" fmla="*/ 5555 w 14019"/>
                  <a:gd name="connsiteY11" fmla="*/ 14371 h 32093"/>
                  <a:gd name="connsiteX12" fmla="*/ 4144 w 14019"/>
                  <a:gd name="connsiteY12" fmla="*/ 15782 h 32093"/>
                  <a:gd name="connsiteX13" fmla="*/ 4937 w 14019"/>
                  <a:gd name="connsiteY13" fmla="*/ 16046 h 32093"/>
                  <a:gd name="connsiteX14" fmla="*/ 4144 w 14019"/>
                  <a:gd name="connsiteY14" fmla="*/ 20455 h 32093"/>
                  <a:gd name="connsiteX15" fmla="*/ 5290 w 14019"/>
                  <a:gd name="connsiteY15" fmla="*/ 19838 h 32093"/>
                  <a:gd name="connsiteX16" fmla="*/ 5290 w 14019"/>
                  <a:gd name="connsiteY16" fmla="*/ 20719 h 32093"/>
                  <a:gd name="connsiteX17" fmla="*/ 3527 w 14019"/>
                  <a:gd name="connsiteY17" fmla="*/ 21337 h 32093"/>
                  <a:gd name="connsiteX18" fmla="*/ 2028 w 14019"/>
                  <a:gd name="connsiteY18" fmla="*/ 24246 h 32093"/>
                  <a:gd name="connsiteX19" fmla="*/ 0 w 14019"/>
                  <a:gd name="connsiteY19" fmla="*/ 27508 h 32093"/>
                  <a:gd name="connsiteX20" fmla="*/ 2028 w 14019"/>
                  <a:gd name="connsiteY20" fmla="*/ 31829 h 32093"/>
                  <a:gd name="connsiteX21" fmla="*/ 3527 w 14019"/>
                  <a:gd name="connsiteY21" fmla="*/ 30682 h 32093"/>
                  <a:gd name="connsiteX22" fmla="*/ 3791 w 14019"/>
                  <a:gd name="connsiteY22" fmla="*/ 31829 h 32093"/>
                  <a:gd name="connsiteX23" fmla="*/ 4408 w 14019"/>
                  <a:gd name="connsiteY23" fmla="*/ 30947 h 32093"/>
                  <a:gd name="connsiteX24" fmla="*/ 4937 w 14019"/>
                  <a:gd name="connsiteY24" fmla="*/ 32093 h 32093"/>
                  <a:gd name="connsiteX25" fmla="*/ 5819 w 14019"/>
                  <a:gd name="connsiteY25" fmla="*/ 31564 h 32093"/>
                  <a:gd name="connsiteX26" fmla="*/ 7318 w 14019"/>
                  <a:gd name="connsiteY26" fmla="*/ 28655 h 32093"/>
                  <a:gd name="connsiteX27" fmla="*/ 7582 w 14019"/>
                  <a:gd name="connsiteY27" fmla="*/ 27508 h 32093"/>
                  <a:gd name="connsiteX28" fmla="*/ 6436 w 14019"/>
                  <a:gd name="connsiteY28" fmla="*/ 27508 h 32093"/>
                  <a:gd name="connsiteX29" fmla="*/ 6701 w 14019"/>
                  <a:gd name="connsiteY29" fmla="*/ 26274 h 32093"/>
                  <a:gd name="connsiteX30" fmla="*/ 9346 w 14019"/>
                  <a:gd name="connsiteY30" fmla="*/ 24511 h 32093"/>
                  <a:gd name="connsiteX31" fmla="*/ 10492 w 14019"/>
                  <a:gd name="connsiteY31" fmla="*/ 25392 h 32093"/>
                  <a:gd name="connsiteX32" fmla="*/ 12873 w 14019"/>
                  <a:gd name="connsiteY32" fmla="*/ 24246 h 32093"/>
                  <a:gd name="connsiteX33" fmla="*/ 14019 w 14019"/>
                  <a:gd name="connsiteY33" fmla="*/ 21954 h 32093"/>
                  <a:gd name="connsiteX34" fmla="*/ 11727 w 14019"/>
                  <a:gd name="connsiteY34" fmla="*/ 19573 h 32093"/>
                  <a:gd name="connsiteX35" fmla="*/ 9963 w 14019"/>
                  <a:gd name="connsiteY35" fmla="*/ 18427 h 32093"/>
                  <a:gd name="connsiteX36" fmla="*/ 9082 w 14019"/>
                  <a:gd name="connsiteY36" fmla="*/ 19838 h 32093"/>
                  <a:gd name="connsiteX37" fmla="*/ 10492 w 14019"/>
                  <a:gd name="connsiteY37" fmla="*/ 8817 h 3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4019" h="32093">
                    <a:moveTo>
                      <a:pt x="11727" y="9698"/>
                    </a:moveTo>
                    <a:lnTo>
                      <a:pt x="11991" y="7935"/>
                    </a:lnTo>
                    <a:lnTo>
                      <a:pt x="12608" y="7935"/>
                    </a:lnTo>
                    <a:lnTo>
                      <a:pt x="13402" y="10845"/>
                    </a:lnTo>
                    <a:lnTo>
                      <a:pt x="14019" y="10492"/>
                    </a:lnTo>
                    <a:lnTo>
                      <a:pt x="13754" y="5025"/>
                    </a:lnTo>
                    <a:lnTo>
                      <a:pt x="12608" y="2909"/>
                    </a:lnTo>
                    <a:lnTo>
                      <a:pt x="11109" y="1763"/>
                    </a:lnTo>
                    <a:lnTo>
                      <a:pt x="11109" y="617"/>
                    </a:lnTo>
                    <a:lnTo>
                      <a:pt x="9963" y="0"/>
                    </a:lnTo>
                    <a:lnTo>
                      <a:pt x="7847" y="1763"/>
                    </a:lnTo>
                    <a:lnTo>
                      <a:pt x="5555" y="14371"/>
                    </a:lnTo>
                    <a:lnTo>
                      <a:pt x="4144" y="15782"/>
                    </a:lnTo>
                    <a:lnTo>
                      <a:pt x="4937" y="16046"/>
                    </a:lnTo>
                    <a:lnTo>
                      <a:pt x="4144" y="20455"/>
                    </a:lnTo>
                    <a:lnTo>
                      <a:pt x="5290" y="19838"/>
                    </a:lnTo>
                    <a:lnTo>
                      <a:pt x="5290" y="20719"/>
                    </a:lnTo>
                    <a:lnTo>
                      <a:pt x="3527" y="21337"/>
                    </a:lnTo>
                    <a:lnTo>
                      <a:pt x="2028" y="24246"/>
                    </a:lnTo>
                    <a:lnTo>
                      <a:pt x="0" y="27508"/>
                    </a:lnTo>
                    <a:lnTo>
                      <a:pt x="2028" y="31829"/>
                    </a:lnTo>
                    <a:lnTo>
                      <a:pt x="3527" y="30682"/>
                    </a:lnTo>
                    <a:lnTo>
                      <a:pt x="3791" y="31829"/>
                    </a:lnTo>
                    <a:lnTo>
                      <a:pt x="4408" y="30947"/>
                    </a:lnTo>
                    <a:lnTo>
                      <a:pt x="4937" y="32093"/>
                    </a:lnTo>
                    <a:lnTo>
                      <a:pt x="5819" y="31564"/>
                    </a:lnTo>
                    <a:lnTo>
                      <a:pt x="7318" y="28655"/>
                    </a:lnTo>
                    <a:lnTo>
                      <a:pt x="7582" y="27508"/>
                    </a:lnTo>
                    <a:lnTo>
                      <a:pt x="6436" y="27508"/>
                    </a:lnTo>
                    <a:lnTo>
                      <a:pt x="6701" y="26274"/>
                    </a:lnTo>
                    <a:lnTo>
                      <a:pt x="9346" y="24511"/>
                    </a:lnTo>
                    <a:lnTo>
                      <a:pt x="10492" y="25392"/>
                    </a:lnTo>
                    <a:lnTo>
                      <a:pt x="12873" y="24246"/>
                    </a:lnTo>
                    <a:lnTo>
                      <a:pt x="14019" y="21954"/>
                    </a:lnTo>
                    <a:lnTo>
                      <a:pt x="11727" y="19573"/>
                    </a:lnTo>
                    <a:lnTo>
                      <a:pt x="9963" y="18427"/>
                    </a:lnTo>
                    <a:lnTo>
                      <a:pt x="9082" y="19838"/>
                    </a:lnTo>
                    <a:lnTo>
                      <a:pt x="10492" y="88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9" name="Freihandform: Form 2008">
                <a:extLst>
                  <a:ext uri="{FF2B5EF4-FFF2-40B4-BE49-F238E27FC236}">
                    <a16:creationId xmlns:a16="http://schemas.microsoft.com/office/drawing/2014/main" id="{5569B938-E4EB-1E1D-FA43-AF1B27D1CE6E}"/>
                  </a:ext>
                </a:extLst>
              </p:cNvPr>
              <p:cNvSpPr/>
              <p:nvPr/>
            </p:nvSpPr>
            <p:spPr>
              <a:xfrm>
                <a:off x="6843706" y="4225512"/>
                <a:ext cx="27420" cy="18956"/>
              </a:xfrm>
              <a:custGeom>
                <a:avLst/>
                <a:gdLst>
                  <a:gd name="connsiteX0" fmla="*/ 23012 w 27420"/>
                  <a:gd name="connsiteY0" fmla="*/ 6701 h 18956"/>
                  <a:gd name="connsiteX1" fmla="*/ 22747 w 27420"/>
                  <a:gd name="connsiteY1" fmla="*/ 5290 h 18956"/>
                  <a:gd name="connsiteX2" fmla="*/ 24246 w 27420"/>
                  <a:gd name="connsiteY2" fmla="*/ 5290 h 18956"/>
                  <a:gd name="connsiteX3" fmla="*/ 23893 w 27420"/>
                  <a:gd name="connsiteY3" fmla="*/ 3791 h 18956"/>
                  <a:gd name="connsiteX4" fmla="*/ 18074 w 27420"/>
                  <a:gd name="connsiteY4" fmla="*/ 617 h 18956"/>
                  <a:gd name="connsiteX5" fmla="*/ 15782 w 27420"/>
                  <a:gd name="connsiteY5" fmla="*/ 0 h 18956"/>
                  <a:gd name="connsiteX6" fmla="*/ 6172 w 27420"/>
                  <a:gd name="connsiteY6" fmla="*/ 1146 h 18956"/>
                  <a:gd name="connsiteX7" fmla="*/ 4673 w 27420"/>
                  <a:gd name="connsiteY7" fmla="*/ 2910 h 18956"/>
                  <a:gd name="connsiteX8" fmla="*/ 3791 w 27420"/>
                  <a:gd name="connsiteY8" fmla="*/ 2910 h 18956"/>
                  <a:gd name="connsiteX9" fmla="*/ 2645 w 27420"/>
                  <a:gd name="connsiteY9" fmla="*/ 1763 h 18956"/>
                  <a:gd name="connsiteX10" fmla="*/ 1499 w 27420"/>
                  <a:gd name="connsiteY10" fmla="*/ 1499 h 18956"/>
                  <a:gd name="connsiteX11" fmla="*/ 0 w 27420"/>
                  <a:gd name="connsiteY11" fmla="*/ 2910 h 18956"/>
                  <a:gd name="connsiteX12" fmla="*/ 352 w 27420"/>
                  <a:gd name="connsiteY12" fmla="*/ 7318 h 18956"/>
                  <a:gd name="connsiteX13" fmla="*/ 3791 w 27420"/>
                  <a:gd name="connsiteY13" fmla="*/ 13137 h 18956"/>
                  <a:gd name="connsiteX14" fmla="*/ 4937 w 27420"/>
                  <a:gd name="connsiteY14" fmla="*/ 13754 h 18956"/>
                  <a:gd name="connsiteX15" fmla="*/ 14900 w 27420"/>
                  <a:gd name="connsiteY15" fmla="*/ 18956 h 18956"/>
                  <a:gd name="connsiteX16" fmla="*/ 20102 w 27420"/>
                  <a:gd name="connsiteY16" fmla="*/ 17545 h 18956"/>
                  <a:gd name="connsiteX17" fmla="*/ 22483 w 27420"/>
                  <a:gd name="connsiteY17" fmla="*/ 15782 h 18956"/>
                  <a:gd name="connsiteX18" fmla="*/ 26539 w 27420"/>
                  <a:gd name="connsiteY18" fmla="*/ 14636 h 18956"/>
                  <a:gd name="connsiteX19" fmla="*/ 27155 w 27420"/>
                  <a:gd name="connsiteY19" fmla="*/ 13402 h 18956"/>
                  <a:gd name="connsiteX20" fmla="*/ 27420 w 27420"/>
                  <a:gd name="connsiteY20" fmla="*/ 7583 h 18956"/>
                  <a:gd name="connsiteX21" fmla="*/ 23893 w 27420"/>
                  <a:gd name="connsiteY21" fmla="*/ 7583 h 1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20" h="18956">
                    <a:moveTo>
                      <a:pt x="23012" y="6701"/>
                    </a:moveTo>
                    <a:lnTo>
                      <a:pt x="22747" y="5290"/>
                    </a:lnTo>
                    <a:lnTo>
                      <a:pt x="24246" y="5290"/>
                    </a:lnTo>
                    <a:lnTo>
                      <a:pt x="23893" y="3791"/>
                    </a:lnTo>
                    <a:lnTo>
                      <a:pt x="18074" y="617"/>
                    </a:lnTo>
                    <a:lnTo>
                      <a:pt x="15782" y="0"/>
                    </a:lnTo>
                    <a:lnTo>
                      <a:pt x="6172" y="1146"/>
                    </a:lnTo>
                    <a:lnTo>
                      <a:pt x="4673" y="2910"/>
                    </a:lnTo>
                    <a:lnTo>
                      <a:pt x="3791" y="2910"/>
                    </a:lnTo>
                    <a:lnTo>
                      <a:pt x="2645" y="1763"/>
                    </a:lnTo>
                    <a:lnTo>
                      <a:pt x="1499" y="1499"/>
                    </a:lnTo>
                    <a:lnTo>
                      <a:pt x="0" y="2910"/>
                    </a:lnTo>
                    <a:lnTo>
                      <a:pt x="352" y="7318"/>
                    </a:lnTo>
                    <a:lnTo>
                      <a:pt x="3791" y="13137"/>
                    </a:lnTo>
                    <a:lnTo>
                      <a:pt x="4937" y="13754"/>
                    </a:lnTo>
                    <a:lnTo>
                      <a:pt x="14900" y="18956"/>
                    </a:lnTo>
                    <a:lnTo>
                      <a:pt x="20102" y="17545"/>
                    </a:lnTo>
                    <a:lnTo>
                      <a:pt x="22483" y="15782"/>
                    </a:lnTo>
                    <a:lnTo>
                      <a:pt x="26539" y="14636"/>
                    </a:lnTo>
                    <a:lnTo>
                      <a:pt x="27155" y="13402"/>
                    </a:lnTo>
                    <a:lnTo>
                      <a:pt x="27420" y="7583"/>
                    </a:lnTo>
                    <a:lnTo>
                      <a:pt x="23893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0" name="Freihandform: Form 2009">
                <a:extLst>
                  <a:ext uri="{FF2B5EF4-FFF2-40B4-BE49-F238E27FC236}">
                    <a16:creationId xmlns:a16="http://schemas.microsoft.com/office/drawing/2014/main" id="{B9466459-CE93-4959-D3FA-753300671401}"/>
                  </a:ext>
                </a:extLst>
              </p:cNvPr>
              <p:cNvSpPr/>
              <p:nvPr/>
            </p:nvSpPr>
            <p:spPr>
              <a:xfrm>
                <a:off x="6881971" y="4219076"/>
                <a:ext cx="66479" cy="26274"/>
              </a:xfrm>
              <a:custGeom>
                <a:avLst/>
                <a:gdLst>
                  <a:gd name="connsiteX0" fmla="*/ 65862 w 66479"/>
                  <a:gd name="connsiteY0" fmla="*/ 26274 h 26274"/>
                  <a:gd name="connsiteX1" fmla="*/ 65333 w 66479"/>
                  <a:gd name="connsiteY1" fmla="*/ 25128 h 26274"/>
                  <a:gd name="connsiteX2" fmla="*/ 66479 w 66479"/>
                  <a:gd name="connsiteY2" fmla="*/ 20190 h 26274"/>
                  <a:gd name="connsiteX3" fmla="*/ 66215 w 66479"/>
                  <a:gd name="connsiteY3" fmla="*/ 19044 h 26274"/>
                  <a:gd name="connsiteX4" fmla="*/ 64980 w 66479"/>
                  <a:gd name="connsiteY4" fmla="*/ 17545 h 26274"/>
                  <a:gd name="connsiteX5" fmla="*/ 65333 w 66479"/>
                  <a:gd name="connsiteY5" fmla="*/ 16046 h 26274"/>
                  <a:gd name="connsiteX6" fmla="*/ 64099 w 66479"/>
                  <a:gd name="connsiteY6" fmla="*/ 14900 h 26274"/>
                  <a:gd name="connsiteX7" fmla="*/ 62071 w 66479"/>
                  <a:gd name="connsiteY7" fmla="*/ 15253 h 26274"/>
                  <a:gd name="connsiteX8" fmla="*/ 61542 w 66479"/>
                  <a:gd name="connsiteY8" fmla="*/ 14283 h 26274"/>
                  <a:gd name="connsiteX9" fmla="*/ 58544 w 66479"/>
                  <a:gd name="connsiteY9" fmla="*/ 12255 h 26274"/>
                  <a:gd name="connsiteX10" fmla="*/ 60396 w 66479"/>
                  <a:gd name="connsiteY10" fmla="*/ 8464 h 26274"/>
                  <a:gd name="connsiteX11" fmla="*/ 58280 w 66479"/>
                  <a:gd name="connsiteY11" fmla="*/ 7582 h 26274"/>
                  <a:gd name="connsiteX12" fmla="*/ 56251 w 66479"/>
                  <a:gd name="connsiteY12" fmla="*/ 5025 h 26274"/>
                  <a:gd name="connsiteX13" fmla="*/ 54488 w 66479"/>
                  <a:gd name="connsiteY13" fmla="*/ 4408 h 26274"/>
                  <a:gd name="connsiteX14" fmla="*/ 48404 w 66479"/>
                  <a:gd name="connsiteY14" fmla="*/ 2998 h 26274"/>
                  <a:gd name="connsiteX15" fmla="*/ 43732 w 66479"/>
                  <a:gd name="connsiteY15" fmla="*/ 617 h 26274"/>
                  <a:gd name="connsiteX16" fmla="*/ 39059 w 66479"/>
                  <a:gd name="connsiteY16" fmla="*/ 352 h 26274"/>
                  <a:gd name="connsiteX17" fmla="*/ 34033 w 66479"/>
                  <a:gd name="connsiteY17" fmla="*/ 0 h 26274"/>
                  <a:gd name="connsiteX18" fmla="*/ 29448 w 66479"/>
                  <a:gd name="connsiteY18" fmla="*/ 4144 h 26274"/>
                  <a:gd name="connsiteX19" fmla="*/ 27333 w 66479"/>
                  <a:gd name="connsiteY19" fmla="*/ 3262 h 26274"/>
                  <a:gd name="connsiteX20" fmla="*/ 27068 w 66479"/>
                  <a:gd name="connsiteY20" fmla="*/ 617 h 26274"/>
                  <a:gd name="connsiteX21" fmla="*/ 26539 w 66479"/>
                  <a:gd name="connsiteY21" fmla="*/ 0 h 26274"/>
                  <a:gd name="connsiteX22" fmla="*/ 22748 w 66479"/>
                  <a:gd name="connsiteY22" fmla="*/ 1763 h 26274"/>
                  <a:gd name="connsiteX23" fmla="*/ 20103 w 66479"/>
                  <a:gd name="connsiteY23" fmla="*/ 1499 h 26274"/>
                  <a:gd name="connsiteX24" fmla="*/ 15077 w 66479"/>
                  <a:gd name="connsiteY24" fmla="*/ 881 h 26274"/>
                  <a:gd name="connsiteX25" fmla="*/ 12256 w 66479"/>
                  <a:gd name="connsiteY25" fmla="*/ 2998 h 26274"/>
                  <a:gd name="connsiteX26" fmla="*/ 10140 w 66479"/>
                  <a:gd name="connsiteY26" fmla="*/ 3791 h 26274"/>
                  <a:gd name="connsiteX27" fmla="*/ 7583 w 66479"/>
                  <a:gd name="connsiteY27" fmla="*/ 1499 h 26274"/>
                  <a:gd name="connsiteX28" fmla="*/ 5202 w 66479"/>
                  <a:gd name="connsiteY28" fmla="*/ 4144 h 26274"/>
                  <a:gd name="connsiteX29" fmla="*/ 6348 w 66479"/>
                  <a:gd name="connsiteY29" fmla="*/ 4408 h 26274"/>
                  <a:gd name="connsiteX30" fmla="*/ 5819 w 66479"/>
                  <a:gd name="connsiteY30" fmla="*/ 6789 h 26274"/>
                  <a:gd name="connsiteX31" fmla="*/ 0 w 66479"/>
                  <a:gd name="connsiteY31" fmla="*/ 9081 h 26274"/>
                  <a:gd name="connsiteX32" fmla="*/ 882 w 66479"/>
                  <a:gd name="connsiteY32" fmla="*/ 10227 h 26274"/>
                  <a:gd name="connsiteX33" fmla="*/ 1675 w 66479"/>
                  <a:gd name="connsiteY33" fmla="*/ 18074 h 26274"/>
                  <a:gd name="connsiteX34" fmla="*/ 2028 w 66479"/>
                  <a:gd name="connsiteY34" fmla="*/ 18692 h 26274"/>
                  <a:gd name="connsiteX35" fmla="*/ 2292 w 66479"/>
                  <a:gd name="connsiteY35" fmla="*/ 16664 h 26274"/>
                  <a:gd name="connsiteX36" fmla="*/ 4673 w 66479"/>
                  <a:gd name="connsiteY36" fmla="*/ 13137 h 26274"/>
                  <a:gd name="connsiteX37" fmla="*/ 5466 w 66479"/>
                  <a:gd name="connsiteY37" fmla="*/ 8817 h 26274"/>
                  <a:gd name="connsiteX38" fmla="*/ 6966 w 66479"/>
                  <a:gd name="connsiteY38" fmla="*/ 6789 h 26274"/>
                  <a:gd name="connsiteX39" fmla="*/ 7847 w 66479"/>
                  <a:gd name="connsiteY39" fmla="*/ 6789 h 26274"/>
                  <a:gd name="connsiteX40" fmla="*/ 8112 w 66479"/>
                  <a:gd name="connsiteY40" fmla="*/ 7935 h 26274"/>
                  <a:gd name="connsiteX41" fmla="*/ 7583 w 66479"/>
                  <a:gd name="connsiteY41" fmla="*/ 9963 h 26274"/>
                  <a:gd name="connsiteX42" fmla="*/ 9875 w 66479"/>
                  <a:gd name="connsiteY42" fmla="*/ 10580 h 26274"/>
                  <a:gd name="connsiteX43" fmla="*/ 12785 w 66479"/>
                  <a:gd name="connsiteY43" fmla="*/ 15517 h 26274"/>
                  <a:gd name="connsiteX44" fmla="*/ 14283 w 66479"/>
                  <a:gd name="connsiteY44" fmla="*/ 16399 h 26274"/>
                  <a:gd name="connsiteX45" fmla="*/ 18074 w 66479"/>
                  <a:gd name="connsiteY45" fmla="*/ 15782 h 26274"/>
                  <a:gd name="connsiteX46" fmla="*/ 18868 w 66479"/>
                  <a:gd name="connsiteY46" fmla="*/ 15253 h 26274"/>
                  <a:gd name="connsiteX47" fmla="*/ 18339 w 66479"/>
                  <a:gd name="connsiteY47" fmla="*/ 14283 h 26274"/>
                  <a:gd name="connsiteX48" fmla="*/ 18868 w 66479"/>
                  <a:gd name="connsiteY48" fmla="*/ 13754 h 26274"/>
                  <a:gd name="connsiteX49" fmla="*/ 23012 w 66479"/>
                  <a:gd name="connsiteY49" fmla="*/ 10227 h 26274"/>
                  <a:gd name="connsiteX50" fmla="*/ 24423 w 66479"/>
                  <a:gd name="connsiteY50" fmla="*/ 10580 h 26274"/>
                  <a:gd name="connsiteX51" fmla="*/ 25040 w 66479"/>
                  <a:gd name="connsiteY51" fmla="*/ 11462 h 26274"/>
                  <a:gd name="connsiteX52" fmla="*/ 24158 w 66479"/>
                  <a:gd name="connsiteY52" fmla="*/ 12873 h 26274"/>
                  <a:gd name="connsiteX53" fmla="*/ 24158 w 66479"/>
                  <a:gd name="connsiteY53" fmla="*/ 13490 h 26274"/>
                  <a:gd name="connsiteX54" fmla="*/ 25304 w 66479"/>
                  <a:gd name="connsiteY54" fmla="*/ 13754 h 26274"/>
                  <a:gd name="connsiteX55" fmla="*/ 36414 w 66479"/>
                  <a:gd name="connsiteY55" fmla="*/ 16664 h 26274"/>
                  <a:gd name="connsiteX56" fmla="*/ 37560 w 66479"/>
                  <a:gd name="connsiteY56" fmla="*/ 16399 h 26274"/>
                  <a:gd name="connsiteX57" fmla="*/ 37912 w 66479"/>
                  <a:gd name="connsiteY57" fmla="*/ 15253 h 26274"/>
                  <a:gd name="connsiteX58" fmla="*/ 36414 w 66479"/>
                  <a:gd name="connsiteY58" fmla="*/ 13137 h 26274"/>
                  <a:gd name="connsiteX59" fmla="*/ 36678 w 66479"/>
                  <a:gd name="connsiteY59" fmla="*/ 12255 h 26274"/>
                  <a:gd name="connsiteX60" fmla="*/ 43732 w 66479"/>
                  <a:gd name="connsiteY60" fmla="*/ 13137 h 26274"/>
                  <a:gd name="connsiteX61" fmla="*/ 46641 w 66479"/>
                  <a:gd name="connsiteY61" fmla="*/ 14283 h 26274"/>
                  <a:gd name="connsiteX62" fmla="*/ 47170 w 66479"/>
                  <a:gd name="connsiteY62" fmla="*/ 16664 h 26274"/>
                  <a:gd name="connsiteX63" fmla="*/ 47523 w 66479"/>
                  <a:gd name="connsiteY63" fmla="*/ 19573 h 26274"/>
                  <a:gd name="connsiteX64" fmla="*/ 56251 w 66479"/>
                  <a:gd name="connsiteY64" fmla="*/ 20719 h 26274"/>
                  <a:gd name="connsiteX65" fmla="*/ 57750 w 66479"/>
                  <a:gd name="connsiteY65" fmla="*/ 23365 h 26274"/>
                  <a:gd name="connsiteX66" fmla="*/ 60660 w 66479"/>
                  <a:gd name="connsiteY66" fmla="*/ 25128 h 26274"/>
                  <a:gd name="connsiteX67" fmla="*/ 65333 w 66479"/>
                  <a:gd name="connsiteY67" fmla="*/ 26274 h 26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6479" h="26274">
                    <a:moveTo>
                      <a:pt x="65862" y="26274"/>
                    </a:moveTo>
                    <a:lnTo>
                      <a:pt x="65333" y="25128"/>
                    </a:lnTo>
                    <a:lnTo>
                      <a:pt x="66479" y="20190"/>
                    </a:lnTo>
                    <a:lnTo>
                      <a:pt x="66215" y="19044"/>
                    </a:lnTo>
                    <a:lnTo>
                      <a:pt x="64980" y="17545"/>
                    </a:lnTo>
                    <a:lnTo>
                      <a:pt x="65333" y="16046"/>
                    </a:lnTo>
                    <a:lnTo>
                      <a:pt x="64099" y="14900"/>
                    </a:lnTo>
                    <a:lnTo>
                      <a:pt x="62071" y="15253"/>
                    </a:lnTo>
                    <a:lnTo>
                      <a:pt x="61542" y="14283"/>
                    </a:lnTo>
                    <a:lnTo>
                      <a:pt x="58544" y="12255"/>
                    </a:lnTo>
                    <a:lnTo>
                      <a:pt x="60396" y="8464"/>
                    </a:lnTo>
                    <a:lnTo>
                      <a:pt x="58280" y="7582"/>
                    </a:lnTo>
                    <a:lnTo>
                      <a:pt x="56251" y="5025"/>
                    </a:lnTo>
                    <a:lnTo>
                      <a:pt x="54488" y="4408"/>
                    </a:lnTo>
                    <a:lnTo>
                      <a:pt x="48404" y="2998"/>
                    </a:lnTo>
                    <a:lnTo>
                      <a:pt x="43732" y="617"/>
                    </a:lnTo>
                    <a:lnTo>
                      <a:pt x="39059" y="352"/>
                    </a:lnTo>
                    <a:lnTo>
                      <a:pt x="34033" y="0"/>
                    </a:lnTo>
                    <a:lnTo>
                      <a:pt x="29448" y="4144"/>
                    </a:lnTo>
                    <a:lnTo>
                      <a:pt x="27333" y="3262"/>
                    </a:lnTo>
                    <a:lnTo>
                      <a:pt x="27068" y="617"/>
                    </a:lnTo>
                    <a:lnTo>
                      <a:pt x="26539" y="0"/>
                    </a:lnTo>
                    <a:lnTo>
                      <a:pt x="22748" y="1763"/>
                    </a:lnTo>
                    <a:lnTo>
                      <a:pt x="20103" y="1499"/>
                    </a:lnTo>
                    <a:lnTo>
                      <a:pt x="15077" y="881"/>
                    </a:lnTo>
                    <a:lnTo>
                      <a:pt x="12256" y="2998"/>
                    </a:lnTo>
                    <a:lnTo>
                      <a:pt x="10140" y="3791"/>
                    </a:lnTo>
                    <a:lnTo>
                      <a:pt x="7583" y="1499"/>
                    </a:lnTo>
                    <a:lnTo>
                      <a:pt x="5202" y="4144"/>
                    </a:lnTo>
                    <a:lnTo>
                      <a:pt x="6348" y="4408"/>
                    </a:lnTo>
                    <a:lnTo>
                      <a:pt x="5819" y="6789"/>
                    </a:lnTo>
                    <a:lnTo>
                      <a:pt x="0" y="9081"/>
                    </a:lnTo>
                    <a:lnTo>
                      <a:pt x="882" y="10227"/>
                    </a:lnTo>
                    <a:lnTo>
                      <a:pt x="1675" y="18074"/>
                    </a:lnTo>
                    <a:lnTo>
                      <a:pt x="2028" y="18692"/>
                    </a:lnTo>
                    <a:lnTo>
                      <a:pt x="2292" y="16664"/>
                    </a:lnTo>
                    <a:lnTo>
                      <a:pt x="4673" y="13137"/>
                    </a:lnTo>
                    <a:lnTo>
                      <a:pt x="5466" y="8817"/>
                    </a:lnTo>
                    <a:lnTo>
                      <a:pt x="6966" y="6789"/>
                    </a:lnTo>
                    <a:lnTo>
                      <a:pt x="7847" y="6789"/>
                    </a:lnTo>
                    <a:lnTo>
                      <a:pt x="8112" y="7935"/>
                    </a:lnTo>
                    <a:lnTo>
                      <a:pt x="7583" y="9963"/>
                    </a:lnTo>
                    <a:lnTo>
                      <a:pt x="9875" y="10580"/>
                    </a:lnTo>
                    <a:lnTo>
                      <a:pt x="12785" y="15517"/>
                    </a:lnTo>
                    <a:lnTo>
                      <a:pt x="14283" y="16399"/>
                    </a:lnTo>
                    <a:lnTo>
                      <a:pt x="18074" y="15782"/>
                    </a:lnTo>
                    <a:lnTo>
                      <a:pt x="18868" y="15253"/>
                    </a:lnTo>
                    <a:lnTo>
                      <a:pt x="18339" y="14283"/>
                    </a:lnTo>
                    <a:lnTo>
                      <a:pt x="18868" y="13754"/>
                    </a:lnTo>
                    <a:lnTo>
                      <a:pt x="23012" y="10227"/>
                    </a:lnTo>
                    <a:lnTo>
                      <a:pt x="24423" y="10580"/>
                    </a:lnTo>
                    <a:lnTo>
                      <a:pt x="25040" y="11462"/>
                    </a:lnTo>
                    <a:lnTo>
                      <a:pt x="24158" y="12873"/>
                    </a:lnTo>
                    <a:lnTo>
                      <a:pt x="24158" y="13490"/>
                    </a:lnTo>
                    <a:lnTo>
                      <a:pt x="25304" y="13754"/>
                    </a:lnTo>
                    <a:lnTo>
                      <a:pt x="36414" y="16664"/>
                    </a:lnTo>
                    <a:lnTo>
                      <a:pt x="37560" y="16399"/>
                    </a:lnTo>
                    <a:lnTo>
                      <a:pt x="37912" y="15253"/>
                    </a:lnTo>
                    <a:lnTo>
                      <a:pt x="36414" y="13137"/>
                    </a:lnTo>
                    <a:lnTo>
                      <a:pt x="36678" y="12255"/>
                    </a:lnTo>
                    <a:lnTo>
                      <a:pt x="43732" y="13137"/>
                    </a:lnTo>
                    <a:lnTo>
                      <a:pt x="46641" y="14283"/>
                    </a:lnTo>
                    <a:lnTo>
                      <a:pt x="47170" y="16664"/>
                    </a:lnTo>
                    <a:lnTo>
                      <a:pt x="47523" y="19573"/>
                    </a:lnTo>
                    <a:lnTo>
                      <a:pt x="56251" y="20719"/>
                    </a:lnTo>
                    <a:lnTo>
                      <a:pt x="57750" y="23365"/>
                    </a:lnTo>
                    <a:lnTo>
                      <a:pt x="60660" y="25128"/>
                    </a:lnTo>
                    <a:lnTo>
                      <a:pt x="65333" y="262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1" name="Freihandform: Form 2010">
                <a:extLst>
                  <a:ext uri="{FF2B5EF4-FFF2-40B4-BE49-F238E27FC236}">
                    <a16:creationId xmlns:a16="http://schemas.microsoft.com/office/drawing/2014/main" id="{77622A41-B719-C0F0-9A93-67D55EF5BDC4}"/>
                  </a:ext>
                </a:extLst>
              </p:cNvPr>
              <p:cNvSpPr/>
              <p:nvPr/>
            </p:nvSpPr>
            <p:spPr>
              <a:xfrm>
                <a:off x="6870597" y="4094318"/>
                <a:ext cx="32886" cy="76089"/>
              </a:xfrm>
              <a:custGeom>
                <a:avLst/>
                <a:gdLst>
                  <a:gd name="connsiteX0" fmla="*/ 264 w 32886"/>
                  <a:gd name="connsiteY0" fmla="*/ 28567 h 76089"/>
                  <a:gd name="connsiteX1" fmla="*/ 2028 w 32886"/>
                  <a:gd name="connsiteY1" fmla="*/ 27949 h 76089"/>
                  <a:gd name="connsiteX2" fmla="*/ 2292 w 32886"/>
                  <a:gd name="connsiteY2" fmla="*/ 32093 h 76089"/>
                  <a:gd name="connsiteX3" fmla="*/ 4056 w 32886"/>
                  <a:gd name="connsiteY3" fmla="*/ 32622 h 76089"/>
                  <a:gd name="connsiteX4" fmla="*/ 4937 w 32886"/>
                  <a:gd name="connsiteY4" fmla="*/ 33769 h 76089"/>
                  <a:gd name="connsiteX5" fmla="*/ 2557 w 32886"/>
                  <a:gd name="connsiteY5" fmla="*/ 39059 h 76089"/>
                  <a:gd name="connsiteX6" fmla="*/ 3791 w 32886"/>
                  <a:gd name="connsiteY6" fmla="*/ 43732 h 76089"/>
                  <a:gd name="connsiteX7" fmla="*/ 6965 w 32886"/>
                  <a:gd name="connsiteY7" fmla="*/ 45759 h 76089"/>
                  <a:gd name="connsiteX8" fmla="*/ 6965 w 32886"/>
                  <a:gd name="connsiteY8" fmla="*/ 46641 h 76089"/>
                  <a:gd name="connsiteX9" fmla="*/ 6084 w 32886"/>
                  <a:gd name="connsiteY9" fmla="*/ 50961 h 76089"/>
                  <a:gd name="connsiteX10" fmla="*/ 6701 w 32886"/>
                  <a:gd name="connsiteY10" fmla="*/ 52196 h 76089"/>
                  <a:gd name="connsiteX11" fmla="*/ 5819 w 32886"/>
                  <a:gd name="connsiteY11" fmla="*/ 59161 h 76089"/>
                  <a:gd name="connsiteX12" fmla="*/ 10140 w 32886"/>
                  <a:gd name="connsiteY12" fmla="*/ 63305 h 76089"/>
                  <a:gd name="connsiteX13" fmla="*/ 13931 w 32886"/>
                  <a:gd name="connsiteY13" fmla="*/ 71152 h 76089"/>
                  <a:gd name="connsiteX14" fmla="*/ 16047 w 32886"/>
                  <a:gd name="connsiteY14" fmla="*/ 72298 h 76089"/>
                  <a:gd name="connsiteX15" fmla="*/ 18956 w 32886"/>
                  <a:gd name="connsiteY15" fmla="*/ 74062 h 76089"/>
                  <a:gd name="connsiteX16" fmla="*/ 18074 w 32886"/>
                  <a:gd name="connsiteY16" fmla="*/ 74591 h 76089"/>
                  <a:gd name="connsiteX17" fmla="*/ 19221 w 32886"/>
                  <a:gd name="connsiteY17" fmla="*/ 75560 h 76089"/>
                  <a:gd name="connsiteX18" fmla="*/ 22748 w 32886"/>
                  <a:gd name="connsiteY18" fmla="*/ 76089 h 76089"/>
                  <a:gd name="connsiteX19" fmla="*/ 21866 w 32886"/>
                  <a:gd name="connsiteY19" fmla="*/ 75208 h 76089"/>
                  <a:gd name="connsiteX20" fmla="*/ 15165 w 32886"/>
                  <a:gd name="connsiteY20" fmla="*/ 66215 h 76089"/>
                  <a:gd name="connsiteX21" fmla="*/ 10756 w 32886"/>
                  <a:gd name="connsiteY21" fmla="*/ 54488 h 76089"/>
                  <a:gd name="connsiteX22" fmla="*/ 10492 w 32886"/>
                  <a:gd name="connsiteY22" fmla="*/ 51843 h 76089"/>
                  <a:gd name="connsiteX23" fmla="*/ 11374 w 32886"/>
                  <a:gd name="connsiteY23" fmla="*/ 50432 h 76089"/>
                  <a:gd name="connsiteX24" fmla="*/ 10492 w 32886"/>
                  <a:gd name="connsiteY24" fmla="*/ 46377 h 76089"/>
                  <a:gd name="connsiteX25" fmla="*/ 11374 w 32886"/>
                  <a:gd name="connsiteY25" fmla="*/ 42585 h 76089"/>
                  <a:gd name="connsiteX26" fmla="*/ 13049 w 32886"/>
                  <a:gd name="connsiteY26" fmla="*/ 42233 h 76089"/>
                  <a:gd name="connsiteX27" fmla="*/ 17722 w 32886"/>
                  <a:gd name="connsiteY27" fmla="*/ 43996 h 76089"/>
                  <a:gd name="connsiteX28" fmla="*/ 23277 w 32886"/>
                  <a:gd name="connsiteY28" fmla="*/ 43996 h 76089"/>
                  <a:gd name="connsiteX29" fmla="*/ 25040 w 32886"/>
                  <a:gd name="connsiteY29" fmla="*/ 46024 h 76089"/>
                  <a:gd name="connsiteX30" fmla="*/ 28831 w 32886"/>
                  <a:gd name="connsiteY30" fmla="*/ 46906 h 76089"/>
                  <a:gd name="connsiteX31" fmla="*/ 32887 w 32886"/>
                  <a:gd name="connsiteY31" fmla="*/ 48934 h 76089"/>
                  <a:gd name="connsiteX32" fmla="*/ 32005 w 32886"/>
                  <a:gd name="connsiteY32" fmla="*/ 47258 h 76089"/>
                  <a:gd name="connsiteX33" fmla="*/ 27949 w 32886"/>
                  <a:gd name="connsiteY33" fmla="*/ 45495 h 76089"/>
                  <a:gd name="connsiteX34" fmla="*/ 27949 w 32886"/>
                  <a:gd name="connsiteY34" fmla="*/ 40205 h 76089"/>
                  <a:gd name="connsiteX35" fmla="*/ 20631 w 32886"/>
                  <a:gd name="connsiteY35" fmla="*/ 37913 h 76089"/>
                  <a:gd name="connsiteX36" fmla="*/ 18339 w 32886"/>
                  <a:gd name="connsiteY36" fmla="*/ 35885 h 76089"/>
                  <a:gd name="connsiteX37" fmla="*/ 17722 w 32886"/>
                  <a:gd name="connsiteY37" fmla="*/ 34121 h 76089"/>
                  <a:gd name="connsiteX38" fmla="*/ 19838 w 32886"/>
                  <a:gd name="connsiteY38" fmla="*/ 31741 h 76089"/>
                  <a:gd name="connsiteX39" fmla="*/ 28566 w 32886"/>
                  <a:gd name="connsiteY39" fmla="*/ 27685 h 76089"/>
                  <a:gd name="connsiteX40" fmla="*/ 29448 w 32886"/>
                  <a:gd name="connsiteY40" fmla="*/ 20367 h 76089"/>
                  <a:gd name="connsiteX41" fmla="*/ 27949 w 32886"/>
                  <a:gd name="connsiteY41" fmla="*/ 17722 h 76089"/>
                  <a:gd name="connsiteX42" fmla="*/ 28302 w 32886"/>
                  <a:gd name="connsiteY42" fmla="*/ 16840 h 76089"/>
                  <a:gd name="connsiteX43" fmla="*/ 28566 w 32886"/>
                  <a:gd name="connsiteY43" fmla="*/ 15165 h 76089"/>
                  <a:gd name="connsiteX44" fmla="*/ 26803 w 32886"/>
                  <a:gd name="connsiteY44" fmla="*/ 15165 h 76089"/>
                  <a:gd name="connsiteX45" fmla="*/ 22130 w 32886"/>
                  <a:gd name="connsiteY45" fmla="*/ 16576 h 76089"/>
                  <a:gd name="connsiteX46" fmla="*/ 17193 w 32886"/>
                  <a:gd name="connsiteY46" fmla="*/ 20102 h 76089"/>
                  <a:gd name="connsiteX47" fmla="*/ 15165 w 32886"/>
                  <a:gd name="connsiteY47" fmla="*/ 23629 h 76089"/>
                  <a:gd name="connsiteX48" fmla="*/ 17193 w 32886"/>
                  <a:gd name="connsiteY48" fmla="*/ 24158 h 76089"/>
                  <a:gd name="connsiteX49" fmla="*/ 17193 w 32886"/>
                  <a:gd name="connsiteY49" fmla="*/ 25040 h 76089"/>
                  <a:gd name="connsiteX50" fmla="*/ 16311 w 32886"/>
                  <a:gd name="connsiteY50" fmla="*/ 26539 h 76089"/>
                  <a:gd name="connsiteX51" fmla="*/ 14548 w 32886"/>
                  <a:gd name="connsiteY51" fmla="*/ 26186 h 76089"/>
                  <a:gd name="connsiteX52" fmla="*/ 12520 w 32886"/>
                  <a:gd name="connsiteY52" fmla="*/ 27685 h 76089"/>
                  <a:gd name="connsiteX53" fmla="*/ 11374 w 32886"/>
                  <a:gd name="connsiteY53" fmla="*/ 32887 h 76089"/>
                  <a:gd name="connsiteX54" fmla="*/ 9610 w 32886"/>
                  <a:gd name="connsiteY54" fmla="*/ 34121 h 76089"/>
                  <a:gd name="connsiteX55" fmla="*/ 8376 w 32886"/>
                  <a:gd name="connsiteY55" fmla="*/ 34121 h 76089"/>
                  <a:gd name="connsiteX56" fmla="*/ 4937 w 32886"/>
                  <a:gd name="connsiteY56" fmla="*/ 31212 h 76089"/>
                  <a:gd name="connsiteX57" fmla="*/ 5555 w 32886"/>
                  <a:gd name="connsiteY57" fmla="*/ 28831 h 76089"/>
                  <a:gd name="connsiteX58" fmla="*/ 8111 w 32886"/>
                  <a:gd name="connsiteY58" fmla="*/ 27068 h 76089"/>
                  <a:gd name="connsiteX59" fmla="*/ 12520 w 32886"/>
                  <a:gd name="connsiteY59" fmla="*/ 22395 h 76089"/>
                  <a:gd name="connsiteX60" fmla="*/ 13402 w 32886"/>
                  <a:gd name="connsiteY60" fmla="*/ 18604 h 76089"/>
                  <a:gd name="connsiteX61" fmla="*/ 13931 w 32886"/>
                  <a:gd name="connsiteY61" fmla="*/ 16311 h 76089"/>
                  <a:gd name="connsiteX62" fmla="*/ 13049 w 32886"/>
                  <a:gd name="connsiteY62" fmla="*/ 13931 h 76089"/>
                  <a:gd name="connsiteX63" fmla="*/ 13402 w 32886"/>
                  <a:gd name="connsiteY63" fmla="*/ 12256 h 76089"/>
                  <a:gd name="connsiteX64" fmla="*/ 12785 w 32886"/>
                  <a:gd name="connsiteY64" fmla="*/ 10757 h 76089"/>
                  <a:gd name="connsiteX65" fmla="*/ 9875 w 32886"/>
                  <a:gd name="connsiteY65" fmla="*/ 8993 h 76089"/>
                  <a:gd name="connsiteX66" fmla="*/ 9875 w 32886"/>
                  <a:gd name="connsiteY66" fmla="*/ 6965 h 76089"/>
                  <a:gd name="connsiteX67" fmla="*/ 14195 w 32886"/>
                  <a:gd name="connsiteY67" fmla="*/ 1146 h 76089"/>
                  <a:gd name="connsiteX68" fmla="*/ 14195 w 32886"/>
                  <a:gd name="connsiteY68" fmla="*/ 0 h 76089"/>
                  <a:gd name="connsiteX69" fmla="*/ 11903 w 32886"/>
                  <a:gd name="connsiteY69" fmla="*/ 0 h 76089"/>
                  <a:gd name="connsiteX70" fmla="*/ 10140 w 32886"/>
                  <a:gd name="connsiteY70" fmla="*/ 2292 h 76089"/>
                  <a:gd name="connsiteX71" fmla="*/ 3791 w 32886"/>
                  <a:gd name="connsiteY71" fmla="*/ 11374 h 76089"/>
                  <a:gd name="connsiteX72" fmla="*/ 2910 w 32886"/>
                  <a:gd name="connsiteY72" fmla="*/ 18339 h 76089"/>
                  <a:gd name="connsiteX73" fmla="*/ 0 w 32886"/>
                  <a:gd name="connsiteY73" fmla="*/ 24158 h 76089"/>
                  <a:gd name="connsiteX74" fmla="*/ 529 w 32886"/>
                  <a:gd name="connsiteY74" fmla="*/ 26186 h 76089"/>
                  <a:gd name="connsiteX75" fmla="*/ 0 w 32886"/>
                  <a:gd name="connsiteY75" fmla="*/ 27421 h 7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32886" h="76089">
                    <a:moveTo>
                      <a:pt x="264" y="28567"/>
                    </a:moveTo>
                    <a:lnTo>
                      <a:pt x="2028" y="27949"/>
                    </a:lnTo>
                    <a:lnTo>
                      <a:pt x="2292" y="32093"/>
                    </a:lnTo>
                    <a:lnTo>
                      <a:pt x="4056" y="32622"/>
                    </a:lnTo>
                    <a:lnTo>
                      <a:pt x="4937" y="33769"/>
                    </a:lnTo>
                    <a:lnTo>
                      <a:pt x="2557" y="39059"/>
                    </a:lnTo>
                    <a:lnTo>
                      <a:pt x="3791" y="43732"/>
                    </a:lnTo>
                    <a:lnTo>
                      <a:pt x="6965" y="45759"/>
                    </a:lnTo>
                    <a:lnTo>
                      <a:pt x="6965" y="46641"/>
                    </a:lnTo>
                    <a:lnTo>
                      <a:pt x="6084" y="50961"/>
                    </a:lnTo>
                    <a:lnTo>
                      <a:pt x="6701" y="52196"/>
                    </a:lnTo>
                    <a:lnTo>
                      <a:pt x="5819" y="59161"/>
                    </a:lnTo>
                    <a:lnTo>
                      <a:pt x="10140" y="63305"/>
                    </a:lnTo>
                    <a:lnTo>
                      <a:pt x="13931" y="71152"/>
                    </a:lnTo>
                    <a:lnTo>
                      <a:pt x="16047" y="72298"/>
                    </a:lnTo>
                    <a:lnTo>
                      <a:pt x="18956" y="74062"/>
                    </a:lnTo>
                    <a:lnTo>
                      <a:pt x="18074" y="74591"/>
                    </a:lnTo>
                    <a:lnTo>
                      <a:pt x="19221" y="75560"/>
                    </a:lnTo>
                    <a:lnTo>
                      <a:pt x="22748" y="76089"/>
                    </a:lnTo>
                    <a:lnTo>
                      <a:pt x="21866" y="75208"/>
                    </a:lnTo>
                    <a:lnTo>
                      <a:pt x="15165" y="66215"/>
                    </a:lnTo>
                    <a:lnTo>
                      <a:pt x="10756" y="54488"/>
                    </a:lnTo>
                    <a:lnTo>
                      <a:pt x="10492" y="51843"/>
                    </a:lnTo>
                    <a:lnTo>
                      <a:pt x="11374" y="50432"/>
                    </a:lnTo>
                    <a:lnTo>
                      <a:pt x="10492" y="46377"/>
                    </a:lnTo>
                    <a:lnTo>
                      <a:pt x="11374" y="42585"/>
                    </a:lnTo>
                    <a:lnTo>
                      <a:pt x="13049" y="42233"/>
                    </a:lnTo>
                    <a:lnTo>
                      <a:pt x="17722" y="43996"/>
                    </a:lnTo>
                    <a:lnTo>
                      <a:pt x="23277" y="43996"/>
                    </a:lnTo>
                    <a:lnTo>
                      <a:pt x="25040" y="46024"/>
                    </a:lnTo>
                    <a:lnTo>
                      <a:pt x="28831" y="46906"/>
                    </a:lnTo>
                    <a:lnTo>
                      <a:pt x="32887" y="48934"/>
                    </a:lnTo>
                    <a:lnTo>
                      <a:pt x="32005" y="47258"/>
                    </a:lnTo>
                    <a:lnTo>
                      <a:pt x="27949" y="45495"/>
                    </a:lnTo>
                    <a:lnTo>
                      <a:pt x="27949" y="40205"/>
                    </a:lnTo>
                    <a:lnTo>
                      <a:pt x="20631" y="37913"/>
                    </a:lnTo>
                    <a:lnTo>
                      <a:pt x="18339" y="35885"/>
                    </a:lnTo>
                    <a:lnTo>
                      <a:pt x="17722" y="34121"/>
                    </a:lnTo>
                    <a:lnTo>
                      <a:pt x="19838" y="31741"/>
                    </a:lnTo>
                    <a:lnTo>
                      <a:pt x="28566" y="27685"/>
                    </a:lnTo>
                    <a:lnTo>
                      <a:pt x="29448" y="20367"/>
                    </a:lnTo>
                    <a:lnTo>
                      <a:pt x="27949" y="17722"/>
                    </a:lnTo>
                    <a:lnTo>
                      <a:pt x="28302" y="16840"/>
                    </a:lnTo>
                    <a:lnTo>
                      <a:pt x="28566" y="15165"/>
                    </a:lnTo>
                    <a:lnTo>
                      <a:pt x="26803" y="15165"/>
                    </a:lnTo>
                    <a:lnTo>
                      <a:pt x="22130" y="16576"/>
                    </a:lnTo>
                    <a:lnTo>
                      <a:pt x="17193" y="20102"/>
                    </a:lnTo>
                    <a:lnTo>
                      <a:pt x="15165" y="23629"/>
                    </a:lnTo>
                    <a:lnTo>
                      <a:pt x="17193" y="24158"/>
                    </a:lnTo>
                    <a:lnTo>
                      <a:pt x="17193" y="25040"/>
                    </a:lnTo>
                    <a:lnTo>
                      <a:pt x="16311" y="26539"/>
                    </a:lnTo>
                    <a:lnTo>
                      <a:pt x="14548" y="26186"/>
                    </a:lnTo>
                    <a:lnTo>
                      <a:pt x="12520" y="27685"/>
                    </a:lnTo>
                    <a:lnTo>
                      <a:pt x="11374" y="32887"/>
                    </a:lnTo>
                    <a:lnTo>
                      <a:pt x="9610" y="34121"/>
                    </a:lnTo>
                    <a:lnTo>
                      <a:pt x="8376" y="34121"/>
                    </a:lnTo>
                    <a:lnTo>
                      <a:pt x="4937" y="31212"/>
                    </a:lnTo>
                    <a:lnTo>
                      <a:pt x="5555" y="28831"/>
                    </a:lnTo>
                    <a:lnTo>
                      <a:pt x="8111" y="27068"/>
                    </a:lnTo>
                    <a:lnTo>
                      <a:pt x="12520" y="22395"/>
                    </a:lnTo>
                    <a:lnTo>
                      <a:pt x="13402" y="18604"/>
                    </a:lnTo>
                    <a:lnTo>
                      <a:pt x="13931" y="16311"/>
                    </a:lnTo>
                    <a:lnTo>
                      <a:pt x="13049" y="13931"/>
                    </a:lnTo>
                    <a:lnTo>
                      <a:pt x="13402" y="12256"/>
                    </a:lnTo>
                    <a:lnTo>
                      <a:pt x="12785" y="10757"/>
                    </a:lnTo>
                    <a:lnTo>
                      <a:pt x="9875" y="8993"/>
                    </a:lnTo>
                    <a:lnTo>
                      <a:pt x="9875" y="6965"/>
                    </a:lnTo>
                    <a:lnTo>
                      <a:pt x="14195" y="1146"/>
                    </a:lnTo>
                    <a:lnTo>
                      <a:pt x="14195" y="0"/>
                    </a:lnTo>
                    <a:lnTo>
                      <a:pt x="11903" y="0"/>
                    </a:lnTo>
                    <a:lnTo>
                      <a:pt x="10140" y="2292"/>
                    </a:lnTo>
                    <a:lnTo>
                      <a:pt x="3791" y="11374"/>
                    </a:lnTo>
                    <a:lnTo>
                      <a:pt x="2910" y="18339"/>
                    </a:lnTo>
                    <a:lnTo>
                      <a:pt x="0" y="24158"/>
                    </a:lnTo>
                    <a:lnTo>
                      <a:pt x="529" y="26186"/>
                    </a:lnTo>
                    <a:lnTo>
                      <a:pt x="0" y="2742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2" name="Freihandform: Form 2011">
                <a:extLst>
                  <a:ext uri="{FF2B5EF4-FFF2-40B4-BE49-F238E27FC236}">
                    <a16:creationId xmlns:a16="http://schemas.microsoft.com/office/drawing/2014/main" id="{4D79EECA-1C65-8C93-E1A6-99D36D5EBCB5}"/>
                  </a:ext>
                </a:extLst>
              </p:cNvPr>
              <p:cNvSpPr/>
              <p:nvPr/>
            </p:nvSpPr>
            <p:spPr>
              <a:xfrm>
                <a:off x="6772289" y="4251787"/>
                <a:ext cx="6700" cy="6436"/>
              </a:xfrm>
              <a:custGeom>
                <a:avLst/>
                <a:gdLst>
                  <a:gd name="connsiteX0" fmla="*/ 4320 w 6700"/>
                  <a:gd name="connsiteY0" fmla="*/ 6436 h 6436"/>
                  <a:gd name="connsiteX1" fmla="*/ 2557 w 6700"/>
                  <a:gd name="connsiteY1" fmla="*/ 6436 h 6436"/>
                  <a:gd name="connsiteX2" fmla="*/ 265 w 6700"/>
                  <a:gd name="connsiteY2" fmla="*/ 3174 h 6436"/>
                  <a:gd name="connsiteX3" fmla="*/ 0 w 6700"/>
                  <a:gd name="connsiteY3" fmla="*/ 1763 h 6436"/>
                  <a:gd name="connsiteX4" fmla="*/ 2028 w 6700"/>
                  <a:gd name="connsiteY4" fmla="*/ 0 h 6436"/>
                  <a:gd name="connsiteX5" fmla="*/ 3174 w 6700"/>
                  <a:gd name="connsiteY5" fmla="*/ 882 h 6436"/>
                  <a:gd name="connsiteX6" fmla="*/ 5202 w 6700"/>
                  <a:gd name="connsiteY6" fmla="*/ 264 h 6436"/>
                  <a:gd name="connsiteX7" fmla="*/ 6348 w 6700"/>
                  <a:gd name="connsiteY7" fmla="*/ 1763 h 6436"/>
                  <a:gd name="connsiteX8" fmla="*/ 6701 w 6700"/>
                  <a:gd name="connsiteY8" fmla="*/ 3174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00" h="6436">
                    <a:moveTo>
                      <a:pt x="4320" y="6436"/>
                    </a:moveTo>
                    <a:lnTo>
                      <a:pt x="2557" y="6436"/>
                    </a:lnTo>
                    <a:lnTo>
                      <a:pt x="265" y="3174"/>
                    </a:lnTo>
                    <a:lnTo>
                      <a:pt x="0" y="1763"/>
                    </a:lnTo>
                    <a:lnTo>
                      <a:pt x="2028" y="0"/>
                    </a:lnTo>
                    <a:lnTo>
                      <a:pt x="3174" y="882"/>
                    </a:lnTo>
                    <a:lnTo>
                      <a:pt x="5202" y="264"/>
                    </a:lnTo>
                    <a:lnTo>
                      <a:pt x="6348" y="1763"/>
                    </a:lnTo>
                    <a:lnTo>
                      <a:pt x="6701" y="31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3" name="Freihandform: Form 2012">
                <a:extLst>
                  <a:ext uri="{FF2B5EF4-FFF2-40B4-BE49-F238E27FC236}">
                    <a16:creationId xmlns:a16="http://schemas.microsoft.com/office/drawing/2014/main" id="{CED77F23-3C03-4B67-134D-4C7CF7792655}"/>
                  </a:ext>
                </a:extLst>
              </p:cNvPr>
              <p:cNvSpPr/>
              <p:nvPr/>
            </p:nvSpPr>
            <p:spPr>
              <a:xfrm>
                <a:off x="5357628" y="3222509"/>
                <a:ext cx="322255" cy="334863"/>
              </a:xfrm>
              <a:custGeom>
                <a:avLst/>
                <a:gdLst>
                  <a:gd name="connsiteX0" fmla="*/ 322255 w 322255"/>
                  <a:gd name="connsiteY0" fmla="*/ 42585 h 334863"/>
                  <a:gd name="connsiteX1" fmla="*/ 315025 w 322255"/>
                  <a:gd name="connsiteY1" fmla="*/ 42585 h 334863"/>
                  <a:gd name="connsiteX2" fmla="*/ 314143 w 322255"/>
                  <a:gd name="connsiteY2" fmla="*/ 43202 h 334863"/>
                  <a:gd name="connsiteX3" fmla="*/ 311763 w 322255"/>
                  <a:gd name="connsiteY3" fmla="*/ 41968 h 334863"/>
                  <a:gd name="connsiteX4" fmla="*/ 305415 w 322255"/>
                  <a:gd name="connsiteY4" fmla="*/ 40558 h 334863"/>
                  <a:gd name="connsiteX5" fmla="*/ 302153 w 322255"/>
                  <a:gd name="connsiteY5" fmla="*/ 40558 h 334863"/>
                  <a:gd name="connsiteX6" fmla="*/ 299508 w 322255"/>
                  <a:gd name="connsiteY6" fmla="*/ 39940 h 334863"/>
                  <a:gd name="connsiteX7" fmla="*/ 298626 w 322255"/>
                  <a:gd name="connsiteY7" fmla="*/ 37031 h 334863"/>
                  <a:gd name="connsiteX8" fmla="*/ 295452 w 322255"/>
                  <a:gd name="connsiteY8" fmla="*/ 36766 h 334863"/>
                  <a:gd name="connsiteX9" fmla="*/ 290779 w 322255"/>
                  <a:gd name="connsiteY9" fmla="*/ 31212 h 334863"/>
                  <a:gd name="connsiteX10" fmla="*/ 289633 w 322255"/>
                  <a:gd name="connsiteY10" fmla="*/ 32975 h 334863"/>
                  <a:gd name="connsiteX11" fmla="*/ 287605 w 322255"/>
                  <a:gd name="connsiteY11" fmla="*/ 34121 h 334863"/>
                  <a:gd name="connsiteX12" fmla="*/ 285577 w 322255"/>
                  <a:gd name="connsiteY12" fmla="*/ 34121 h 334863"/>
                  <a:gd name="connsiteX13" fmla="*/ 278524 w 322255"/>
                  <a:gd name="connsiteY13" fmla="*/ 26803 h 334863"/>
                  <a:gd name="connsiteX14" fmla="*/ 280022 w 322255"/>
                  <a:gd name="connsiteY14" fmla="*/ 24158 h 334863"/>
                  <a:gd name="connsiteX15" fmla="*/ 276496 w 322255"/>
                  <a:gd name="connsiteY15" fmla="*/ 16928 h 334863"/>
                  <a:gd name="connsiteX16" fmla="*/ 274468 w 322255"/>
                  <a:gd name="connsiteY16" fmla="*/ 15429 h 334863"/>
                  <a:gd name="connsiteX17" fmla="*/ 273851 w 322255"/>
                  <a:gd name="connsiteY17" fmla="*/ 13137 h 334863"/>
                  <a:gd name="connsiteX18" fmla="*/ 271559 w 322255"/>
                  <a:gd name="connsiteY18" fmla="*/ 11374 h 334863"/>
                  <a:gd name="connsiteX19" fmla="*/ 266885 w 322255"/>
                  <a:gd name="connsiteY19" fmla="*/ 10492 h 334863"/>
                  <a:gd name="connsiteX20" fmla="*/ 263359 w 322255"/>
                  <a:gd name="connsiteY20" fmla="*/ 11109 h 334863"/>
                  <a:gd name="connsiteX21" fmla="*/ 262477 w 322255"/>
                  <a:gd name="connsiteY21" fmla="*/ 8200 h 334863"/>
                  <a:gd name="connsiteX22" fmla="*/ 256922 w 322255"/>
                  <a:gd name="connsiteY22" fmla="*/ 4056 h 334863"/>
                  <a:gd name="connsiteX23" fmla="*/ 251721 w 322255"/>
                  <a:gd name="connsiteY23" fmla="*/ 0 h 334863"/>
                  <a:gd name="connsiteX24" fmla="*/ 251985 w 322255"/>
                  <a:gd name="connsiteY24" fmla="*/ 6965 h 334863"/>
                  <a:gd name="connsiteX25" fmla="*/ 245549 w 322255"/>
                  <a:gd name="connsiteY25" fmla="*/ 10757 h 334863"/>
                  <a:gd name="connsiteX26" fmla="*/ 240347 w 322255"/>
                  <a:gd name="connsiteY26" fmla="*/ 5555 h 334863"/>
                  <a:gd name="connsiteX27" fmla="*/ 238848 w 322255"/>
                  <a:gd name="connsiteY27" fmla="*/ 7582 h 334863"/>
                  <a:gd name="connsiteX28" fmla="*/ 234528 w 322255"/>
                  <a:gd name="connsiteY28" fmla="*/ 9610 h 334863"/>
                  <a:gd name="connsiteX29" fmla="*/ 225711 w 322255"/>
                  <a:gd name="connsiteY29" fmla="*/ 7582 h 334863"/>
                  <a:gd name="connsiteX30" fmla="*/ 220509 w 322255"/>
                  <a:gd name="connsiteY30" fmla="*/ 8464 h 334863"/>
                  <a:gd name="connsiteX31" fmla="*/ 219010 w 322255"/>
                  <a:gd name="connsiteY31" fmla="*/ 8464 h 334863"/>
                  <a:gd name="connsiteX32" fmla="*/ 215219 w 322255"/>
                  <a:gd name="connsiteY32" fmla="*/ 8200 h 334863"/>
                  <a:gd name="connsiteX33" fmla="*/ 213191 w 322255"/>
                  <a:gd name="connsiteY33" fmla="*/ 8464 h 334863"/>
                  <a:gd name="connsiteX34" fmla="*/ 211163 w 322255"/>
                  <a:gd name="connsiteY34" fmla="*/ 9081 h 334863"/>
                  <a:gd name="connsiteX35" fmla="*/ 198026 w 322255"/>
                  <a:gd name="connsiteY35" fmla="*/ 11991 h 334863"/>
                  <a:gd name="connsiteX36" fmla="*/ 198379 w 322255"/>
                  <a:gd name="connsiteY36" fmla="*/ 14019 h 334863"/>
                  <a:gd name="connsiteX37" fmla="*/ 195733 w 322255"/>
                  <a:gd name="connsiteY37" fmla="*/ 14019 h 334863"/>
                  <a:gd name="connsiteX38" fmla="*/ 196262 w 322255"/>
                  <a:gd name="connsiteY38" fmla="*/ 15782 h 334863"/>
                  <a:gd name="connsiteX39" fmla="*/ 190443 w 322255"/>
                  <a:gd name="connsiteY39" fmla="*/ 18692 h 334863"/>
                  <a:gd name="connsiteX40" fmla="*/ 190796 w 322255"/>
                  <a:gd name="connsiteY40" fmla="*/ 19838 h 334863"/>
                  <a:gd name="connsiteX41" fmla="*/ 187534 w 322255"/>
                  <a:gd name="connsiteY41" fmla="*/ 18692 h 334863"/>
                  <a:gd name="connsiteX42" fmla="*/ 187799 w 322255"/>
                  <a:gd name="connsiteY42" fmla="*/ 19838 h 334863"/>
                  <a:gd name="connsiteX43" fmla="*/ 186917 w 322255"/>
                  <a:gd name="connsiteY43" fmla="*/ 21337 h 334863"/>
                  <a:gd name="connsiteX44" fmla="*/ 188151 w 322255"/>
                  <a:gd name="connsiteY44" fmla="*/ 22747 h 334863"/>
                  <a:gd name="connsiteX45" fmla="*/ 184889 w 322255"/>
                  <a:gd name="connsiteY45" fmla="*/ 24775 h 334863"/>
                  <a:gd name="connsiteX46" fmla="*/ 183125 w 322255"/>
                  <a:gd name="connsiteY46" fmla="*/ 24775 h 334863"/>
                  <a:gd name="connsiteX47" fmla="*/ 182596 w 322255"/>
                  <a:gd name="connsiteY47" fmla="*/ 27420 h 334863"/>
                  <a:gd name="connsiteX48" fmla="*/ 181098 w 322255"/>
                  <a:gd name="connsiteY48" fmla="*/ 28567 h 334863"/>
                  <a:gd name="connsiteX49" fmla="*/ 184624 w 322255"/>
                  <a:gd name="connsiteY49" fmla="*/ 30330 h 334863"/>
                  <a:gd name="connsiteX50" fmla="*/ 186388 w 322255"/>
                  <a:gd name="connsiteY50" fmla="*/ 31212 h 334863"/>
                  <a:gd name="connsiteX51" fmla="*/ 190796 w 322255"/>
                  <a:gd name="connsiteY51" fmla="*/ 37031 h 334863"/>
                  <a:gd name="connsiteX52" fmla="*/ 189826 w 322255"/>
                  <a:gd name="connsiteY52" fmla="*/ 39676 h 334863"/>
                  <a:gd name="connsiteX53" fmla="*/ 193088 w 322255"/>
                  <a:gd name="connsiteY53" fmla="*/ 40558 h 334863"/>
                  <a:gd name="connsiteX54" fmla="*/ 193970 w 322255"/>
                  <a:gd name="connsiteY54" fmla="*/ 44349 h 334863"/>
                  <a:gd name="connsiteX55" fmla="*/ 193088 w 322255"/>
                  <a:gd name="connsiteY55" fmla="*/ 46112 h 334863"/>
                  <a:gd name="connsiteX56" fmla="*/ 194587 w 322255"/>
                  <a:gd name="connsiteY56" fmla="*/ 48669 h 334863"/>
                  <a:gd name="connsiteX57" fmla="*/ 195116 w 322255"/>
                  <a:gd name="connsiteY57" fmla="*/ 51049 h 334863"/>
                  <a:gd name="connsiteX58" fmla="*/ 194587 w 322255"/>
                  <a:gd name="connsiteY58" fmla="*/ 51931 h 334863"/>
                  <a:gd name="connsiteX59" fmla="*/ 193970 w 322255"/>
                  <a:gd name="connsiteY59" fmla="*/ 55987 h 334863"/>
                  <a:gd name="connsiteX60" fmla="*/ 191590 w 322255"/>
                  <a:gd name="connsiteY60" fmla="*/ 58632 h 334863"/>
                  <a:gd name="connsiteX61" fmla="*/ 188416 w 322255"/>
                  <a:gd name="connsiteY61" fmla="*/ 63305 h 334863"/>
                  <a:gd name="connsiteX62" fmla="*/ 188416 w 322255"/>
                  <a:gd name="connsiteY62" fmla="*/ 65333 h 334863"/>
                  <a:gd name="connsiteX63" fmla="*/ 186035 w 322255"/>
                  <a:gd name="connsiteY63" fmla="*/ 65950 h 334863"/>
                  <a:gd name="connsiteX64" fmla="*/ 189826 w 322255"/>
                  <a:gd name="connsiteY64" fmla="*/ 70270 h 334863"/>
                  <a:gd name="connsiteX65" fmla="*/ 191590 w 322255"/>
                  <a:gd name="connsiteY65" fmla="*/ 71152 h 334863"/>
                  <a:gd name="connsiteX66" fmla="*/ 191590 w 322255"/>
                  <a:gd name="connsiteY66" fmla="*/ 75560 h 334863"/>
                  <a:gd name="connsiteX67" fmla="*/ 192207 w 322255"/>
                  <a:gd name="connsiteY67" fmla="*/ 77588 h 334863"/>
                  <a:gd name="connsiteX68" fmla="*/ 185506 w 322255"/>
                  <a:gd name="connsiteY68" fmla="*/ 80762 h 334863"/>
                  <a:gd name="connsiteX69" fmla="*/ 167079 w 322255"/>
                  <a:gd name="connsiteY69" fmla="*/ 78734 h 334863"/>
                  <a:gd name="connsiteX70" fmla="*/ 165932 w 322255"/>
                  <a:gd name="connsiteY70" fmla="*/ 81379 h 334863"/>
                  <a:gd name="connsiteX71" fmla="*/ 170958 w 322255"/>
                  <a:gd name="connsiteY71" fmla="*/ 86052 h 334863"/>
                  <a:gd name="connsiteX72" fmla="*/ 173515 w 322255"/>
                  <a:gd name="connsiteY72" fmla="*/ 86052 h 334863"/>
                  <a:gd name="connsiteX73" fmla="*/ 176424 w 322255"/>
                  <a:gd name="connsiteY73" fmla="*/ 93018 h 334863"/>
                  <a:gd name="connsiteX74" fmla="*/ 178188 w 322255"/>
                  <a:gd name="connsiteY74" fmla="*/ 94164 h 334863"/>
                  <a:gd name="connsiteX75" fmla="*/ 180216 w 322255"/>
                  <a:gd name="connsiteY75" fmla="*/ 96809 h 334863"/>
                  <a:gd name="connsiteX76" fmla="*/ 176424 w 322255"/>
                  <a:gd name="connsiteY76" fmla="*/ 99718 h 334863"/>
                  <a:gd name="connsiteX77" fmla="*/ 172633 w 322255"/>
                  <a:gd name="connsiteY77" fmla="*/ 102981 h 334863"/>
                  <a:gd name="connsiteX78" fmla="*/ 168578 w 322255"/>
                  <a:gd name="connsiteY78" fmla="*/ 101482 h 334863"/>
                  <a:gd name="connsiteX79" fmla="*/ 163023 w 322255"/>
                  <a:gd name="connsiteY79" fmla="*/ 103510 h 334863"/>
                  <a:gd name="connsiteX80" fmla="*/ 165932 w 322255"/>
                  <a:gd name="connsiteY80" fmla="*/ 108535 h 334863"/>
                  <a:gd name="connsiteX81" fmla="*/ 162141 w 322255"/>
                  <a:gd name="connsiteY81" fmla="*/ 118410 h 334863"/>
                  <a:gd name="connsiteX82" fmla="*/ 163640 w 322255"/>
                  <a:gd name="connsiteY82" fmla="*/ 125728 h 334863"/>
                  <a:gd name="connsiteX83" fmla="*/ 166197 w 322255"/>
                  <a:gd name="connsiteY83" fmla="*/ 131283 h 334863"/>
                  <a:gd name="connsiteX84" fmla="*/ 164434 w 322255"/>
                  <a:gd name="connsiteY84" fmla="*/ 133311 h 334863"/>
                  <a:gd name="connsiteX85" fmla="*/ 161524 w 322255"/>
                  <a:gd name="connsiteY85" fmla="*/ 138513 h 334863"/>
                  <a:gd name="connsiteX86" fmla="*/ 156940 w 322255"/>
                  <a:gd name="connsiteY86" fmla="*/ 139747 h 334863"/>
                  <a:gd name="connsiteX87" fmla="*/ 152795 w 322255"/>
                  <a:gd name="connsiteY87" fmla="*/ 135074 h 334863"/>
                  <a:gd name="connsiteX88" fmla="*/ 152531 w 322255"/>
                  <a:gd name="connsiteY88" fmla="*/ 135074 h 334863"/>
                  <a:gd name="connsiteX89" fmla="*/ 151120 w 322255"/>
                  <a:gd name="connsiteY89" fmla="*/ 134192 h 334863"/>
                  <a:gd name="connsiteX90" fmla="*/ 150768 w 322255"/>
                  <a:gd name="connsiteY90" fmla="*/ 133575 h 334863"/>
                  <a:gd name="connsiteX91" fmla="*/ 148123 w 322255"/>
                  <a:gd name="connsiteY91" fmla="*/ 134192 h 334863"/>
                  <a:gd name="connsiteX92" fmla="*/ 151385 w 322255"/>
                  <a:gd name="connsiteY92" fmla="*/ 135339 h 334863"/>
                  <a:gd name="connsiteX93" fmla="*/ 150150 w 322255"/>
                  <a:gd name="connsiteY93" fmla="*/ 136220 h 334863"/>
                  <a:gd name="connsiteX94" fmla="*/ 146977 w 322255"/>
                  <a:gd name="connsiteY94" fmla="*/ 135339 h 334863"/>
                  <a:gd name="connsiteX95" fmla="*/ 144067 w 322255"/>
                  <a:gd name="connsiteY95" fmla="*/ 135074 h 334863"/>
                  <a:gd name="connsiteX96" fmla="*/ 142303 w 322255"/>
                  <a:gd name="connsiteY96" fmla="*/ 134192 h 334863"/>
                  <a:gd name="connsiteX97" fmla="*/ 141774 w 322255"/>
                  <a:gd name="connsiteY97" fmla="*/ 136485 h 334863"/>
                  <a:gd name="connsiteX98" fmla="*/ 140893 w 322255"/>
                  <a:gd name="connsiteY98" fmla="*/ 136749 h 334863"/>
                  <a:gd name="connsiteX99" fmla="*/ 139129 w 322255"/>
                  <a:gd name="connsiteY99" fmla="*/ 138513 h 334863"/>
                  <a:gd name="connsiteX100" fmla="*/ 136220 w 322255"/>
                  <a:gd name="connsiteY100" fmla="*/ 138513 h 334863"/>
                  <a:gd name="connsiteX101" fmla="*/ 136484 w 322255"/>
                  <a:gd name="connsiteY101" fmla="*/ 139747 h 334863"/>
                  <a:gd name="connsiteX102" fmla="*/ 132164 w 322255"/>
                  <a:gd name="connsiteY102" fmla="*/ 141775 h 334863"/>
                  <a:gd name="connsiteX103" fmla="*/ 134457 w 322255"/>
                  <a:gd name="connsiteY103" fmla="*/ 144949 h 334863"/>
                  <a:gd name="connsiteX104" fmla="*/ 135602 w 322255"/>
                  <a:gd name="connsiteY104" fmla="*/ 144949 h 334863"/>
                  <a:gd name="connsiteX105" fmla="*/ 136220 w 322255"/>
                  <a:gd name="connsiteY105" fmla="*/ 146712 h 334863"/>
                  <a:gd name="connsiteX106" fmla="*/ 127491 w 322255"/>
                  <a:gd name="connsiteY106" fmla="*/ 149005 h 334863"/>
                  <a:gd name="connsiteX107" fmla="*/ 120790 w 322255"/>
                  <a:gd name="connsiteY107" fmla="*/ 148476 h 334863"/>
                  <a:gd name="connsiteX108" fmla="*/ 122465 w 322255"/>
                  <a:gd name="connsiteY108" fmla="*/ 146977 h 334863"/>
                  <a:gd name="connsiteX109" fmla="*/ 117264 w 322255"/>
                  <a:gd name="connsiteY109" fmla="*/ 146977 h 334863"/>
                  <a:gd name="connsiteX110" fmla="*/ 114619 w 322255"/>
                  <a:gd name="connsiteY110" fmla="*/ 149005 h 334863"/>
                  <a:gd name="connsiteX111" fmla="*/ 113120 w 322255"/>
                  <a:gd name="connsiteY111" fmla="*/ 155176 h 334863"/>
                  <a:gd name="connsiteX112" fmla="*/ 110210 w 322255"/>
                  <a:gd name="connsiteY112" fmla="*/ 156058 h 334863"/>
                  <a:gd name="connsiteX113" fmla="*/ 109064 w 322255"/>
                  <a:gd name="connsiteY113" fmla="*/ 165933 h 334863"/>
                  <a:gd name="connsiteX114" fmla="*/ 110475 w 322255"/>
                  <a:gd name="connsiteY114" fmla="*/ 168842 h 334863"/>
                  <a:gd name="connsiteX115" fmla="*/ 111444 w 322255"/>
                  <a:gd name="connsiteY115" fmla="*/ 173515 h 334863"/>
                  <a:gd name="connsiteX116" fmla="*/ 109328 w 322255"/>
                  <a:gd name="connsiteY116" fmla="*/ 177924 h 334863"/>
                  <a:gd name="connsiteX117" fmla="*/ 112855 w 322255"/>
                  <a:gd name="connsiteY117" fmla="*/ 180569 h 334863"/>
                  <a:gd name="connsiteX118" fmla="*/ 110210 w 322255"/>
                  <a:gd name="connsiteY118" fmla="*/ 183478 h 334863"/>
                  <a:gd name="connsiteX119" fmla="*/ 87815 w 322255"/>
                  <a:gd name="connsiteY119" fmla="*/ 192824 h 334863"/>
                  <a:gd name="connsiteX120" fmla="*/ 83672 w 322255"/>
                  <a:gd name="connsiteY120" fmla="*/ 190444 h 334863"/>
                  <a:gd name="connsiteX121" fmla="*/ 78470 w 322255"/>
                  <a:gd name="connsiteY121" fmla="*/ 190179 h 334863"/>
                  <a:gd name="connsiteX122" fmla="*/ 71769 w 322255"/>
                  <a:gd name="connsiteY122" fmla="*/ 190708 h 334863"/>
                  <a:gd name="connsiteX123" fmla="*/ 69741 w 322255"/>
                  <a:gd name="connsiteY123" fmla="*/ 191943 h 334863"/>
                  <a:gd name="connsiteX124" fmla="*/ 67977 w 322255"/>
                  <a:gd name="connsiteY124" fmla="*/ 194499 h 334863"/>
                  <a:gd name="connsiteX125" fmla="*/ 55987 w 322255"/>
                  <a:gd name="connsiteY125" fmla="*/ 192207 h 334863"/>
                  <a:gd name="connsiteX126" fmla="*/ 32975 w 322255"/>
                  <a:gd name="connsiteY126" fmla="*/ 194235 h 334863"/>
                  <a:gd name="connsiteX127" fmla="*/ 0 w 322255"/>
                  <a:gd name="connsiteY127" fmla="*/ 182332 h 334863"/>
                  <a:gd name="connsiteX128" fmla="*/ 9875 w 322255"/>
                  <a:gd name="connsiteY128" fmla="*/ 194852 h 334863"/>
                  <a:gd name="connsiteX129" fmla="*/ 13401 w 322255"/>
                  <a:gd name="connsiteY129" fmla="*/ 195117 h 334863"/>
                  <a:gd name="connsiteX130" fmla="*/ 11991 w 322255"/>
                  <a:gd name="connsiteY130" fmla="*/ 199525 h 334863"/>
                  <a:gd name="connsiteX131" fmla="*/ 11991 w 322255"/>
                  <a:gd name="connsiteY131" fmla="*/ 200671 h 334863"/>
                  <a:gd name="connsiteX132" fmla="*/ 12520 w 322255"/>
                  <a:gd name="connsiteY132" fmla="*/ 200671 h 334863"/>
                  <a:gd name="connsiteX133" fmla="*/ 13930 w 322255"/>
                  <a:gd name="connsiteY133" fmla="*/ 202699 h 334863"/>
                  <a:gd name="connsiteX134" fmla="*/ 14283 w 322255"/>
                  <a:gd name="connsiteY134" fmla="*/ 204463 h 334863"/>
                  <a:gd name="connsiteX135" fmla="*/ 16046 w 322255"/>
                  <a:gd name="connsiteY135" fmla="*/ 205609 h 334863"/>
                  <a:gd name="connsiteX136" fmla="*/ 16046 w 322255"/>
                  <a:gd name="connsiteY136" fmla="*/ 207989 h 334863"/>
                  <a:gd name="connsiteX137" fmla="*/ 18692 w 322255"/>
                  <a:gd name="connsiteY137" fmla="*/ 209400 h 334863"/>
                  <a:gd name="connsiteX138" fmla="*/ 19838 w 322255"/>
                  <a:gd name="connsiteY138" fmla="*/ 211428 h 334863"/>
                  <a:gd name="connsiteX139" fmla="*/ 22483 w 322255"/>
                  <a:gd name="connsiteY139" fmla="*/ 213191 h 334863"/>
                  <a:gd name="connsiteX140" fmla="*/ 23364 w 322255"/>
                  <a:gd name="connsiteY140" fmla="*/ 214955 h 334863"/>
                  <a:gd name="connsiteX141" fmla="*/ 26538 w 322255"/>
                  <a:gd name="connsiteY141" fmla="*/ 216101 h 334863"/>
                  <a:gd name="connsiteX142" fmla="*/ 32358 w 322255"/>
                  <a:gd name="connsiteY142" fmla="*/ 217864 h 334863"/>
                  <a:gd name="connsiteX143" fmla="*/ 35884 w 322255"/>
                  <a:gd name="connsiteY143" fmla="*/ 217864 h 334863"/>
                  <a:gd name="connsiteX144" fmla="*/ 37030 w 322255"/>
                  <a:gd name="connsiteY144" fmla="*/ 220509 h 334863"/>
                  <a:gd name="connsiteX145" fmla="*/ 39676 w 322255"/>
                  <a:gd name="connsiteY145" fmla="*/ 221655 h 334863"/>
                  <a:gd name="connsiteX146" fmla="*/ 39676 w 322255"/>
                  <a:gd name="connsiteY146" fmla="*/ 222802 h 334863"/>
                  <a:gd name="connsiteX147" fmla="*/ 44613 w 322255"/>
                  <a:gd name="connsiteY147" fmla="*/ 222802 h 334863"/>
                  <a:gd name="connsiteX148" fmla="*/ 44613 w 322255"/>
                  <a:gd name="connsiteY148" fmla="*/ 223419 h 334863"/>
                  <a:gd name="connsiteX149" fmla="*/ 43731 w 322255"/>
                  <a:gd name="connsiteY149" fmla="*/ 228356 h 334863"/>
                  <a:gd name="connsiteX150" fmla="*/ 47787 w 322255"/>
                  <a:gd name="connsiteY150" fmla="*/ 235321 h 334863"/>
                  <a:gd name="connsiteX151" fmla="*/ 48669 w 322255"/>
                  <a:gd name="connsiteY151" fmla="*/ 242639 h 334863"/>
                  <a:gd name="connsiteX152" fmla="*/ 47787 w 322255"/>
                  <a:gd name="connsiteY152" fmla="*/ 245549 h 334863"/>
                  <a:gd name="connsiteX153" fmla="*/ 48669 w 322255"/>
                  <a:gd name="connsiteY153" fmla="*/ 246166 h 334863"/>
                  <a:gd name="connsiteX154" fmla="*/ 48140 w 322255"/>
                  <a:gd name="connsiteY154" fmla="*/ 247312 h 334863"/>
                  <a:gd name="connsiteX155" fmla="*/ 49551 w 322255"/>
                  <a:gd name="connsiteY155" fmla="*/ 248811 h 334863"/>
                  <a:gd name="connsiteX156" fmla="*/ 52196 w 322255"/>
                  <a:gd name="connsiteY156" fmla="*/ 248811 h 334863"/>
                  <a:gd name="connsiteX157" fmla="*/ 52460 w 322255"/>
                  <a:gd name="connsiteY157" fmla="*/ 248194 h 334863"/>
                  <a:gd name="connsiteX158" fmla="*/ 55722 w 322255"/>
                  <a:gd name="connsiteY158" fmla="*/ 246783 h 334863"/>
                  <a:gd name="connsiteX159" fmla="*/ 57397 w 322255"/>
                  <a:gd name="connsiteY159" fmla="*/ 247577 h 334863"/>
                  <a:gd name="connsiteX160" fmla="*/ 58279 w 322255"/>
                  <a:gd name="connsiteY160" fmla="*/ 248811 h 334863"/>
                  <a:gd name="connsiteX161" fmla="*/ 58632 w 322255"/>
                  <a:gd name="connsiteY161" fmla="*/ 248811 h 334863"/>
                  <a:gd name="connsiteX162" fmla="*/ 59514 w 322255"/>
                  <a:gd name="connsiteY162" fmla="*/ 251104 h 334863"/>
                  <a:gd name="connsiteX163" fmla="*/ 58632 w 322255"/>
                  <a:gd name="connsiteY163" fmla="*/ 251721 h 334863"/>
                  <a:gd name="connsiteX164" fmla="*/ 59514 w 322255"/>
                  <a:gd name="connsiteY164" fmla="*/ 258157 h 334863"/>
                  <a:gd name="connsiteX165" fmla="*/ 56251 w 322255"/>
                  <a:gd name="connsiteY165" fmla="*/ 258686 h 334863"/>
                  <a:gd name="connsiteX166" fmla="*/ 57397 w 322255"/>
                  <a:gd name="connsiteY166" fmla="*/ 261596 h 334863"/>
                  <a:gd name="connsiteX167" fmla="*/ 56868 w 322255"/>
                  <a:gd name="connsiteY167" fmla="*/ 263623 h 334863"/>
                  <a:gd name="connsiteX168" fmla="*/ 51578 w 322255"/>
                  <a:gd name="connsiteY168" fmla="*/ 263623 h 334863"/>
                  <a:gd name="connsiteX169" fmla="*/ 48669 w 322255"/>
                  <a:gd name="connsiteY169" fmla="*/ 264241 h 334863"/>
                  <a:gd name="connsiteX170" fmla="*/ 48669 w 322255"/>
                  <a:gd name="connsiteY170" fmla="*/ 264505 h 334863"/>
                  <a:gd name="connsiteX171" fmla="*/ 48140 w 322255"/>
                  <a:gd name="connsiteY171" fmla="*/ 264241 h 334863"/>
                  <a:gd name="connsiteX172" fmla="*/ 45759 w 322255"/>
                  <a:gd name="connsiteY172" fmla="*/ 264505 h 334863"/>
                  <a:gd name="connsiteX173" fmla="*/ 42850 w 322255"/>
                  <a:gd name="connsiteY173" fmla="*/ 265387 h 334863"/>
                  <a:gd name="connsiteX174" fmla="*/ 40557 w 322255"/>
                  <a:gd name="connsiteY174" fmla="*/ 265387 h 334863"/>
                  <a:gd name="connsiteX175" fmla="*/ 39323 w 322255"/>
                  <a:gd name="connsiteY175" fmla="*/ 267150 h 334863"/>
                  <a:gd name="connsiteX176" fmla="*/ 39323 w 322255"/>
                  <a:gd name="connsiteY176" fmla="*/ 268032 h 334863"/>
                  <a:gd name="connsiteX177" fmla="*/ 39676 w 322255"/>
                  <a:gd name="connsiteY177" fmla="*/ 268914 h 334863"/>
                  <a:gd name="connsiteX178" fmla="*/ 39676 w 322255"/>
                  <a:gd name="connsiteY178" fmla="*/ 270060 h 334863"/>
                  <a:gd name="connsiteX179" fmla="*/ 39940 w 322255"/>
                  <a:gd name="connsiteY179" fmla="*/ 271559 h 334863"/>
                  <a:gd name="connsiteX180" fmla="*/ 39940 w 322255"/>
                  <a:gd name="connsiteY180" fmla="*/ 271823 h 334863"/>
                  <a:gd name="connsiteX181" fmla="*/ 36678 w 322255"/>
                  <a:gd name="connsiteY181" fmla="*/ 271823 h 334863"/>
                  <a:gd name="connsiteX182" fmla="*/ 36149 w 322255"/>
                  <a:gd name="connsiteY182" fmla="*/ 271559 h 334863"/>
                  <a:gd name="connsiteX183" fmla="*/ 34121 w 322255"/>
                  <a:gd name="connsiteY183" fmla="*/ 270060 h 334863"/>
                  <a:gd name="connsiteX184" fmla="*/ 34385 w 322255"/>
                  <a:gd name="connsiteY184" fmla="*/ 271823 h 334863"/>
                  <a:gd name="connsiteX185" fmla="*/ 31476 w 322255"/>
                  <a:gd name="connsiteY185" fmla="*/ 272705 h 334863"/>
                  <a:gd name="connsiteX186" fmla="*/ 32093 w 322255"/>
                  <a:gd name="connsiteY186" fmla="*/ 277113 h 334863"/>
                  <a:gd name="connsiteX187" fmla="*/ 32358 w 322255"/>
                  <a:gd name="connsiteY187" fmla="*/ 278788 h 334863"/>
                  <a:gd name="connsiteX188" fmla="*/ 31740 w 322255"/>
                  <a:gd name="connsiteY188" fmla="*/ 279670 h 334863"/>
                  <a:gd name="connsiteX189" fmla="*/ 32622 w 322255"/>
                  <a:gd name="connsiteY189" fmla="*/ 281433 h 334863"/>
                  <a:gd name="connsiteX190" fmla="*/ 32622 w 322255"/>
                  <a:gd name="connsiteY190" fmla="*/ 282580 h 334863"/>
                  <a:gd name="connsiteX191" fmla="*/ 32093 w 322255"/>
                  <a:gd name="connsiteY191" fmla="*/ 283197 h 334863"/>
                  <a:gd name="connsiteX192" fmla="*/ 32975 w 322255"/>
                  <a:gd name="connsiteY192" fmla="*/ 284343 h 334863"/>
                  <a:gd name="connsiteX193" fmla="*/ 33239 w 322255"/>
                  <a:gd name="connsiteY193" fmla="*/ 285489 h 334863"/>
                  <a:gd name="connsiteX194" fmla="*/ 31740 w 322255"/>
                  <a:gd name="connsiteY194" fmla="*/ 286371 h 334863"/>
                  <a:gd name="connsiteX195" fmla="*/ 29713 w 322255"/>
                  <a:gd name="connsiteY195" fmla="*/ 286371 h 334863"/>
                  <a:gd name="connsiteX196" fmla="*/ 30065 w 322255"/>
                  <a:gd name="connsiteY196" fmla="*/ 291044 h 334863"/>
                  <a:gd name="connsiteX197" fmla="*/ 30594 w 322255"/>
                  <a:gd name="connsiteY197" fmla="*/ 296334 h 334863"/>
                  <a:gd name="connsiteX198" fmla="*/ 28566 w 322255"/>
                  <a:gd name="connsiteY198" fmla="*/ 298362 h 334863"/>
                  <a:gd name="connsiteX199" fmla="*/ 31740 w 322255"/>
                  <a:gd name="connsiteY199" fmla="*/ 298362 h 334863"/>
                  <a:gd name="connsiteX200" fmla="*/ 33504 w 322255"/>
                  <a:gd name="connsiteY200" fmla="*/ 299244 h 334863"/>
                  <a:gd name="connsiteX201" fmla="*/ 32093 w 322255"/>
                  <a:gd name="connsiteY201" fmla="*/ 302506 h 334863"/>
                  <a:gd name="connsiteX202" fmla="*/ 34121 w 322255"/>
                  <a:gd name="connsiteY202" fmla="*/ 303652 h 334863"/>
                  <a:gd name="connsiteX203" fmla="*/ 36678 w 322255"/>
                  <a:gd name="connsiteY203" fmla="*/ 301007 h 334863"/>
                  <a:gd name="connsiteX204" fmla="*/ 38530 w 322255"/>
                  <a:gd name="connsiteY204" fmla="*/ 302153 h 334863"/>
                  <a:gd name="connsiteX205" fmla="*/ 37912 w 322255"/>
                  <a:gd name="connsiteY205" fmla="*/ 299861 h 334863"/>
                  <a:gd name="connsiteX206" fmla="*/ 40205 w 322255"/>
                  <a:gd name="connsiteY206" fmla="*/ 298362 h 334863"/>
                  <a:gd name="connsiteX207" fmla="*/ 43467 w 322255"/>
                  <a:gd name="connsiteY207" fmla="*/ 298362 h 334863"/>
                  <a:gd name="connsiteX208" fmla="*/ 46641 w 322255"/>
                  <a:gd name="connsiteY208" fmla="*/ 299244 h 334863"/>
                  <a:gd name="connsiteX209" fmla="*/ 50167 w 322255"/>
                  <a:gd name="connsiteY209" fmla="*/ 297216 h 334863"/>
                  <a:gd name="connsiteX210" fmla="*/ 59514 w 322255"/>
                  <a:gd name="connsiteY210" fmla="*/ 298362 h 334863"/>
                  <a:gd name="connsiteX211" fmla="*/ 62688 w 322255"/>
                  <a:gd name="connsiteY211" fmla="*/ 296598 h 334863"/>
                  <a:gd name="connsiteX212" fmla="*/ 65597 w 322255"/>
                  <a:gd name="connsiteY212" fmla="*/ 297745 h 334863"/>
                  <a:gd name="connsiteX213" fmla="*/ 67977 w 322255"/>
                  <a:gd name="connsiteY213" fmla="*/ 296598 h 334863"/>
                  <a:gd name="connsiteX214" fmla="*/ 70887 w 322255"/>
                  <a:gd name="connsiteY214" fmla="*/ 294835 h 334863"/>
                  <a:gd name="connsiteX215" fmla="*/ 76971 w 322255"/>
                  <a:gd name="connsiteY215" fmla="*/ 295452 h 334863"/>
                  <a:gd name="connsiteX216" fmla="*/ 78999 w 322255"/>
                  <a:gd name="connsiteY216" fmla="*/ 295188 h 334863"/>
                  <a:gd name="connsiteX217" fmla="*/ 79263 w 322255"/>
                  <a:gd name="connsiteY217" fmla="*/ 293689 h 334863"/>
                  <a:gd name="connsiteX218" fmla="*/ 82261 w 322255"/>
                  <a:gd name="connsiteY218" fmla="*/ 292543 h 334863"/>
                  <a:gd name="connsiteX219" fmla="*/ 81908 w 322255"/>
                  <a:gd name="connsiteY219" fmla="*/ 294042 h 334863"/>
                  <a:gd name="connsiteX220" fmla="*/ 80762 w 322255"/>
                  <a:gd name="connsiteY220" fmla="*/ 295452 h 334863"/>
                  <a:gd name="connsiteX221" fmla="*/ 89843 w 322255"/>
                  <a:gd name="connsiteY221" fmla="*/ 298097 h 334863"/>
                  <a:gd name="connsiteX222" fmla="*/ 90637 w 322255"/>
                  <a:gd name="connsiteY222" fmla="*/ 301271 h 334863"/>
                  <a:gd name="connsiteX223" fmla="*/ 92753 w 322255"/>
                  <a:gd name="connsiteY223" fmla="*/ 300742 h 334863"/>
                  <a:gd name="connsiteX224" fmla="*/ 94516 w 322255"/>
                  <a:gd name="connsiteY224" fmla="*/ 299861 h 334863"/>
                  <a:gd name="connsiteX225" fmla="*/ 96191 w 322255"/>
                  <a:gd name="connsiteY225" fmla="*/ 298362 h 334863"/>
                  <a:gd name="connsiteX226" fmla="*/ 94516 w 322255"/>
                  <a:gd name="connsiteY226" fmla="*/ 296598 h 334863"/>
                  <a:gd name="connsiteX227" fmla="*/ 97073 w 322255"/>
                  <a:gd name="connsiteY227" fmla="*/ 296334 h 334863"/>
                  <a:gd name="connsiteX228" fmla="*/ 103510 w 322255"/>
                  <a:gd name="connsiteY228" fmla="*/ 296598 h 334863"/>
                  <a:gd name="connsiteX229" fmla="*/ 108535 w 322255"/>
                  <a:gd name="connsiteY229" fmla="*/ 294306 h 334863"/>
                  <a:gd name="connsiteX230" fmla="*/ 116382 w 322255"/>
                  <a:gd name="connsiteY230" fmla="*/ 295452 h 334863"/>
                  <a:gd name="connsiteX231" fmla="*/ 119292 w 322255"/>
                  <a:gd name="connsiteY231" fmla="*/ 293689 h 334863"/>
                  <a:gd name="connsiteX232" fmla="*/ 126610 w 322255"/>
                  <a:gd name="connsiteY232" fmla="*/ 292807 h 334863"/>
                  <a:gd name="connsiteX233" fmla="*/ 132693 w 322255"/>
                  <a:gd name="connsiteY233" fmla="*/ 293689 h 334863"/>
                  <a:gd name="connsiteX234" fmla="*/ 135602 w 322255"/>
                  <a:gd name="connsiteY234" fmla="*/ 294835 h 334863"/>
                  <a:gd name="connsiteX235" fmla="*/ 138865 w 322255"/>
                  <a:gd name="connsiteY235" fmla="*/ 298362 h 334863"/>
                  <a:gd name="connsiteX236" fmla="*/ 137366 w 322255"/>
                  <a:gd name="connsiteY236" fmla="*/ 305063 h 334863"/>
                  <a:gd name="connsiteX237" fmla="*/ 142921 w 322255"/>
                  <a:gd name="connsiteY237" fmla="*/ 307972 h 334863"/>
                  <a:gd name="connsiteX238" fmla="*/ 144948 w 322255"/>
                  <a:gd name="connsiteY238" fmla="*/ 309206 h 334863"/>
                  <a:gd name="connsiteX239" fmla="*/ 145213 w 322255"/>
                  <a:gd name="connsiteY239" fmla="*/ 306826 h 334863"/>
                  <a:gd name="connsiteX240" fmla="*/ 150150 w 322255"/>
                  <a:gd name="connsiteY240" fmla="*/ 308325 h 334863"/>
                  <a:gd name="connsiteX241" fmla="*/ 151120 w 322255"/>
                  <a:gd name="connsiteY241" fmla="*/ 310617 h 334863"/>
                  <a:gd name="connsiteX242" fmla="*/ 150503 w 322255"/>
                  <a:gd name="connsiteY242" fmla="*/ 313791 h 334863"/>
                  <a:gd name="connsiteX243" fmla="*/ 152531 w 322255"/>
                  <a:gd name="connsiteY243" fmla="*/ 314673 h 334863"/>
                  <a:gd name="connsiteX244" fmla="*/ 149621 w 322255"/>
                  <a:gd name="connsiteY244" fmla="*/ 315555 h 334863"/>
                  <a:gd name="connsiteX245" fmla="*/ 151120 w 322255"/>
                  <a:gd name="connsiteY245" fmla="*/ 317054 h 334863"/>
                  <a:gd name="connsiteX246" fmla="*/ 154295 w 322255"/>
                  <a:gd name="connsiteY246" fmla="*/ 319963 h 334863"/>
                  <a:gd name="connsiteX247" fmla="*/ 154559 w 322255"/>
                  <a:gd name="connsiteY247" fmla="*/ 322608 h 334863"/>
                  <a:gd name="connsiteX248" fmla="*/ 153413 w 322255"/>
                  <a:gd name="connsiteY248" fmla="*/ 325782 h 334863"/>
                  <a:gd name="connsiteX249" fmla="*/ 156940 w 322255"/>
                  <a:gd name="connsiteY249" fmla="*/ 325782 h 334863"/>
                  <a:gd name="connsiteX250" fmla="*/ 158350 w 322255"/>
                  <a:gd name="connsiteY250" fmla="*/ 329309 h 334863"/>
                  <a:gd name="connsiteX251" fmla="*/ 160466 w 322255"/>
                  <a:gd name="connsiteY251" fmla="*/ 331072 h 334863"/>
                  <a:gd name="connsiteX252" fmla="*/ 158615 w 322255"/>
                  <a:gd name="connsiteY252" fmla="*/ 331866 h 334863"/>
                  <a:gd name="connsiteX253" fmla="*/ 160731 w 322255"/>
                  <a:gd name="connsiteY253" fmla="*/ 332483 h 334863"/>
                  <a:gd name="connsiteX254" fmla="*/ 160466 w 322255"/>
                  <a:gd name="connsiteY254" fmla="*/ 331072 h 334863"/>
                  <a:gd name="connsiteX255" fmla="*/ 161877 w 322255"/>
                  <a:gd name="connsiteY255" fmla="*/ 332483 h 334863"/>
                  <a:gd name="connsiteX256" fmla="*/ 161877 w 322255"/>
                  <a:gd name="connsiteY256" fmla="*/ 331072 h 334863"/>
                  <a:gd name="connsiteX257" fmla="*/ 162141 w 322255"/>
                  <a:gd name="connsiteY257" fmla="*/ 333629 h 334863"/>
                  <a:gd name="connsiteX258" fmla="*/ 163905 w 322255"/>
                  <a:gd name="connsiteY258" fmla="*/ 334246 h 334863"/>
                  <a:gd name="connsiteX259" fmla="*/ 166814 w 322255"/>
                  <a:gd name="connsiteY259" fmla="*/ 332748 h 334863"/>
                  <a:gd name="connsiteX260" fmla="*/ 166550 w 322255"/>
                  <a:gd name="connsiteY260" fmla="*/ 331072 h 334863"/>
                  <a:gd name="connsiteX261" fmla="*/ 168842 w 322255"/>
                  <a:gd name="connsiteY261" fmla="*/ 332748 h 334863"/>
                  <a:gd name="connsiteX262" fmla="*/ 169724 w 322255"/>
                  <a:gd name="connsiteY262" fmla="*/ 331072 h 334863"/>
                  <a:gd name="connsiteX263" fmla="*/ 171752 w 322255"/>
                  <a:gd name="connsiteY263" fmla="*/ 331072 h 334863"/>
                  <a:gd name="connsiteX264" fmla="*/ 169988 w 322255"/>
                  <a:gd name="connsiteY264" fmla="*/ 334511 h 334863"/>
                  <a:gd name="connsiteX265" fmla="*/ 173251 w 322255"/>
                  <a:gd name="connsiteY265" fmla="*/ 333629 h 334863"/>
                  <a:gd name="connsiteX266" fmla="*/ 173515 w 322255"/>
                  <a:gd name="connsiteY266" fmla="*/ 331072 h 334863"/>
                  <a:gd name="connsiteX267" fmla="*/ 175278 w 322255"/>
                  <a:gd name="connsiteY267" fmla="*/ 334863 h 334863"/>
                  <a:gd name="connsiteX268" fmla="*/ 175014 w 322255"/>
                  <a:gd name="connsiteY268" fmla="*/ 331866 h 334863"/>
                  <a:gd name="connsiteX269" fmla="*/ 176777 w 322255"/>
                  <a:gd name="connsiteY269" fmla="*/ 331337 h 334863"/>
                  <a:gd name="connsiteX270" fmla="*/ 178805 w 322255"/>
                  <a:gd name="connsiteY270" fmla="*/ 329838 h 334863"/>
                  <a:gd name="connsiteX271" fmla="*/ 185506 w 322255"/>
                  <a:gd name="connsiteY271" fmla="*/ 329838 h 334863"/>
                  <a:gd name="connsiteX272" fmla="*/ 184624 w 322255"/>
                  <a:gd name="connsiteY272" fmla="*/ 320845 h 334863"/>
                  <a:gd name="connsiteX273" fmla="*/ 185506 w 322255"/>
                  <a:gd name="connsiteY273" fmla="*/ 319963 h 334863"/>
                  <a:gd name="connsiteX274" fmla="*/ 186035 w 322255"/>
                  <a:gd name="connsiteY274" fmla="*/ 319963 h 334863"/>
                  <a:gd name="connsiteX275" fmla="*/ 186917 w 322255"/>
                  <a:gd name="connsiteY275" fmla="*/ 324636 h 334863"/>
                  <a:gd name="connsiteX276" fmla="*/ 187534 w 322255"/>
                  <a:gd name="connsiteY276" fmla="*/ 320845 h 334863"/>
                  <a:gd name="connsiteX277" fmla="*/ 188416 w 322255"/>
                  <a:gd name="connsiteY277" fmla="*/ 319963 h 334863"/>
                  <a:gd name="connsiteX278" fmla="*/ 191325 w 322255"/>
                  <a:gd name="connsiteY278" fmla="*/ 323490 h 334863"/>
                  <a:gd name="connsiteX279" fmla="*/ 192471 w 322255"/>
                  <a:gd name="connsiteY279" fmla="*/ 322873 h 334863"/>
                  <a:gd name="connsiteX280" fmla="*/ 194852 w 322255"/>
                  <a:gd name="connsiteY280" fmla="*/ 323490 h 334863"/>
                  <a:gd name="connsiteX281" fmla="*/ 196262 w 322255"/>
                  <a:gd name="connsiteY281" fmla="*/ 322608 h 334863"/>
                  <a:gd name="connsiteX282" fmla="*/ 204198 w 322255"/>
                  <a:gd name="connsiteY282" fmla="*/ 322608 h 334863"/>
                  <a:gd name="connsiteX283" fmla="*/ 205873 w 322255"/>
                  <a:gd name="connsiteY283" fmla="*/ 325165 h 334863"/>
                  <a:gd name="connsiteX284" fmla="*/ 213808 w 322255"/>
                  <a:gd name="connsiteY284" fmla="*/ 324901 h 334863"/>
                  <a:gd name="connsiteX285" fmla="*/ 213191 w 322255"/>
                  <a:gd name="connsiteY285" fmla="*/ 320492 h 334863"/>
                  <a:gd name="connsiteX286" fmla="*/ 217246 w 322255"/>
                  <a:gd name="connsiteY286" fmla="*/ 319963 h 334863"/>
                  <a:gd name="connsiteX287" fmla="*/ 219627 w 322255"/>
                  <a:gd name="connsiteY287" fmla="*/ 319346 h 334863"/>
                  <a:gd name="connsiteX288" fmla="*/ 221391 w 322255"/>
                  <a:gd name="connsiteY288" fmla="*/ 318200 h 334863"/>
                  <a:gd name="connsiteX289" fmla="*/ 223683 w 322255"/>
                  <a:gd name="connsiteY289" fmla="*/ 318200 h 334863"/>
                  <a:gd name="connsiteX290" fmla="*/ 224300 w 322255"/>
                  <a:gd name="connsiteY290" fmla="*/ 322608 h 334863"/>
                  <a:gd name="connsiteX291" fmla="*/ 226063 w 322255"/>
                  <a:gd name="connsiteY291" fmla="*/ 323490 h 334863"/>
                  <a:gd name="connsiteX292" fmla="*/ 229238 w 322255"/>
                  <a:gd name="connsiteY292" fmla="*/ 323490 h 334863"/>
                  <a:gd name="connsiteX293" fmla="*/ 230119 w 322255"/>
                  <a:gd name="connsiteY293" fmla="*/ 322873 h 334863"/>
                  <a:gd name="connsiteX294" fmla="*/ 231001 w 322255"/>
                  <a:gd name="connsiteY294" fmla="*/ 322608 h 334863"/>
                  <a:gd name="connsiteX295" fmla="*/ 230472 w 322255"/>
                  <a:gd name="connsiteY295" fmla="*/ 320845 h 334863"/>
                  <a:gd name="connsiteX296" fmla="*/ 233293 w 322255"/>
                  <a:gd name="connsiteY296" fmla="*/ 319963 h 334863"/>
                  <a:gd name="connsiteX297" fmla="*/ 234792 w 322255"/>
                  <a:gd name="connsiteY297" fmla="*/ 319081 h 334863"/>
                  <a:gd name="connsiteX298" fmla="*/ 235057 w 322255"/>
                  <a:gd name="connsiteY298" fmla="*/ 317583 h 334863"/>
                  <a:gd name="connsiteX299" fmla="*/ 232412 w 322255"/>
                  <a:gd name="connsiteY299" fmla="*/ 317583 h 334863"/>
                  <a:gd name="connsiteX300" fmla="*/ 231883 w 322255"/>
                  <a:gd name="connsiteY300" fmla="*/ 313791 h 334863"/>
                  <a:gd name="connsiteX301" fmla="*/ 234175 w 322255"/>
                  <a:gd name="connsiteY301" fmla="*/ 311499 h 334863"/>
                  <a:gd name="connsiteX302" fmla="*/ 233029 w 322255"/>
                  <a:gd name="connsiteY302" fmla="*/ 310088 h 334863"/>
                  <a:gd name="connsiteX303" fmla="*/ 232764 w 322255"/>
                  <a:gd name="connsiteY303" fmla="*/ 308325 h 334863"/>
                  <a:gd name="connsiteX304" fmla="*/ 231001 w 322255"/>
                  <a:gd name="connsiteY304" fmla="*/ 306297 h 334863"/>
                  <a:gd name="connsiteX305" fmla="*/ 228356 w 322255"/>
                  <a:gd name="connsiteY305" fmla="*/ 299861 h 334863"/>
                  <a:gd name="connsiteX306" fmla="*/ 224300 w 322255"/>
                  <a:gd name="connsiteY306" fmla="*/ 297216 h 334863"/>
                  <a:gd name="connsiteX307" fmla="*/ 221920 w 322255"/>
                  <a:gd name="connsiteY307" fmla="*/ 286988 h 334863"/>
                  <a:gd name="connsiteX308" fmla="*/ 213808 w 322255"/>
                  <a:gd name="connsiteY308" fmla="*/ 286988 h 334863"/>
                  <a:gd name="connsiteX309" fmla="*/ 212045 w 322255"/>
                  <a:gd name="connsiteY309" fmla="*/ 285489 h 334863"/>
                  <a:gd name="connsiteX310" fmla="*/ 210017 w 322255"/>
                  <a:gd name="connsiteY310" fmla="*/ 283814 h 334863"/>
                  <a:gd name="connsiteX311" fmla="*/ 209664 w 322255"/>
                  <a:gd name="connsiteY311" fmla="*/ 281698 h 334863"/>
                  <a:gd name="connsiteX312" fmla="*/ 207636 w 322255"/>
                  <a:gd name="connsiteY312" fmla="*/ 279670 h 334863"/>
                  <a:gd name="connsiteX313" fmla="*/ 209664 w 322255"/>
                  <a:gd name="connsiteY313" fmla="*/ 271823 h 334863"/>
                  <a:gd name="connsiteX314" fmla="*/ 210281 w 322255"/>
                  <a:gd name="connsiteY314" fmla="*/ 265387 h 334863"/>
                  <a:gd name="connsiteX315" fmla="*/ 204727 w 322255"/>
                  <a:gd name="connsiteY315" fmla="*/ 265122 h 334863"/>
                  <a:gd name="connsiteX316" fmla="*/ 200671 w 322255"/>
                  <a:gd name="connsiteY316" fmla="*/ 264505 h 334863"/>
                  <a:gd name="connsiteX317" fmla="*/ 198643 w 322255"/>
                  <a:gd name="connsiteY317" fmla="*/ 264505 h 334863"/>
                  <a:gd name="connsiteX318" fmla="*/ 197409 w 322255"/>
                  <a:gd name="connsiteY318" fmla="*/ 262742 h 334863"/>
                  <a:gd name="connsiteX319" fmla="*/ 193970 w 322255"/>
                  <a:gd name="connsiteY319" fmla="*/ 261067 h 334863"/>
                  <a:gd name="connsiteX320" fmla="*/ 191590 w 322255"/>
                  <a:gd name="connsiteY320" fmla="*/ 258686 h 334863"/>
                  <a:gd name="connsiteX321" fmla="*/ 190443 w 322255"/>
                  <a:gd name="connsiteY321" fmla="*/ 254366 h 334863"/>
                  <a:gd name="connsiteX322" fmla="*/ 192471 w 322255"/>
                  <a:gd name="connsiteY322" fmla="*/ 249957 h 334863"/>
                  <a:gd name="connsiteX323" fmla="*/ 195116 w 322255"/>
                  <a:gd name="connsiteY323" fmla="*/ 247312 h 334863"/>
                  <a:gd name="connsiteX324" fmla="*/ 196262 w 322255"/>
                  <a:gd name="connsiteY324" fmla="*/ 245549 h 334863"/>
                  <a:gd name="connsiteX325" fmla="*/ 198908 w 322255"/>
                  <a:gd name="connsiteY325" fmla="*/ 243257 h 334863"/>
                  <a:gd name="connsiteX326" fmla="*/ 200054 w 322255"/>
                  <a:gd name="connsiteY326" fmla="*/ 237702 h 334863"/>
                  <a:gd name="connsiteX327" fmla="*/ 202434 w 322255"/>
                  <a:gd name="connsiteY327" fmla="*/ 233294 h 334863"/>
                  <a:gd name="connsiteX328" fmla="*/ 204462 w 322255"/>
                  <a:gd name="connsiteY328" fmla="*/ 230737 h 334863"/>
                  <a:gd name="connsiteX329" fmla="*/ 206754 w 322255"/>
                  <a:gd name="connsiteY329" fmla="*/ 228709 h 334863"/>
                  <a:gd name="connsiteX330" fmla="*/ 207901 w 322255"/>
                  <a:gd name="connsiteY330" fmla="*/ 227827 h 334863"/>
                  <a:gd name="connsiteX331" fmla="*/ 209135 w 322255"/>
                  <a:gd name="connsiteY331" fmla="*/ 227827 h 334863"/>
                  <a:gd name="connsiteX332" fmla="*/ 210899 w 322255"/>
                  <a:gd name="connsiteY332" fmla="*/ 228973 h 334863"/>
                  <a:gd name="connsiteX333" fmla="*/ 213191 w 322255"/>
                  <a:gd name="connsiteY333" fmla="*/ 230737 h 334863"/>
                  <a:gd name="connsiteX334" fmla="*/ 214954 w 322255"/>
                  <a:gd name="connsiteY334" fmla="*/ 235939 h 334863"/>
                  <a:gd name="connsiteX335" fmla="*/ 220244 w 322255"/>
                  <a:gd name="connsiteY335" fmla="*/ 236291 h 334863"/>
                  <a:gd name="connsiteX336" fmla="*/ 227210 w 322255"/>
                  <a:gd name="connsiteY336" fmla="*/ 232147 h 334863"/>
                  <a:gd name="connsiteX337" fmla="*/ 233293 w 322255"/>
                  <a:gd name="connsiteY337" fmla="*/ 232147 h 334863"/>
                  <a:gd name="connsiteX338" fmla="*/ 239729 w 322255"/>
                  <a:gd name="connsiteY338" fmla="*/ 230120 h 334863"/>
                  <a:gd name="connsiteX339" fmla="*/ 239113 w 322255"/>
                  <a:gd name="connsiteY339" fmla="*/ 226328 h 334863"/>
                  <a:gd name="connsiteX340" fmla="*/ 240347 w 322255"/>
                  <a:gd name="connsiteY340" fmla="*/ 223419 h 334863"/>
                  <a:gd name="connsiteX341" fmla="*/ 242992 w 322255"/>
                  <a:gd name="connsiteY341" fmla="*/ 221655 h 334863"/>
                  <a:gd name="connsiteX342" fmla="*/ 243785 w 322255"/>
                  <a:gd name="connsiteY342" fmla="*/ 219892 h 334863"/>
                  <a:gd name="connsiteX343" fmla="*/ 244402 w 322255"/>
                  <a:gd name="connsiteY343" fmla="*/ 212662 h 334863"/>
                  <a:gd name="connsiteX344" fmla="*/ 245901 w 322255"/>
                  <a:gd name="connsiteY344" fmla="*/ 210017 h 334863"/>
                  <a:gd name="connsiteX345" fmla="*/ 257539 w 322255"/>
                  <a:gd name="connsiteY345" fmla="*/ 203581 h 334863"/>
                  <a:gd name="connsiteX346" fmla="*/ 261066 w 322255"/>
                  <a:gd name="connsiteY346" fmla="*/ 190444 h 334863"/>
                  <a:gd name="connsiteX347" fmla="*/ 260449 w 322255"/>
                  <a:gd name="connsiteY347" fmla="*/ 180833 h 334863"/>
                  <a:gd name="connsiteX348" fmla="*/ 265122 w 322255"/>
                  <a:gd name="connsiteY348" fmla="*/ 179687 h 334863"/>
                  <a:gd name="connsiteX349" fmla="*/ 269530 w 322255"/>
                  <a:gd name="connsiteY349" fmla="*/ 177924 h 334863"/>
                  <a:gd name="connsiteX350" fmla="*/ 273586 w 322255"/>
                  <a:gd name="connsiteY350" fmla="*/ 174397 h 334863"/>
                  <a:gd name="connsiteX351" fmla="*/ 269530 w 322255"/>
                  <a:gd name="connsiteY351" fmla="*/ 169724 h 334863"/>
                  <a:gd name="connsiteX352" fmla="*/ 272176 w 322255"/>
                  <a:gd name="connsiteY352" fmla="*/ 167696 h 334863"/>
                  <a:gd name="connsiteX353" fmla="*/ 271823 w 322255"/>
                  <a:gd name="connsiteY353" fmla="*/ 166286 h 334863"/>
                  <a:gd name="connsiteX354" fmla="*/ 273851 w 322255"/>
                  <a:gd name="connsiteY354" fmla="*/ 166286 h 334863"/>
                  <a:gd name="connsiteX355" fmla="*/ 273586 w 322255"/>
                  <a:gd name="connsiteY355" fmla="*/ 164522 h 334863"/>
                  <a:gd name="connsiteX356" fmla="*/ 274997 w 322255"/>
                  <a:gd name="connsiteY356" fmla="*/ 162142 h 334863"/>
                  <a:gd name="connsiteX357" fmla="*/ 276760 w 322255"/>
                  <a:gd name="connsiteY357" fmla="*/ 159232 h 334863"/>
                  <a:gd name="connsiteX358" fmla="*/ 276496 w 322255"/>
                  <a:gd name="connsiteY358" fmla="*/ 157821 h 334863"/>
                  <a:gd name="connsiteX359" fmla="*/ 279141 w 322255"/>
                  <a:gd name="connsiteY359" fmla="*/ 157821 h 334863"/>
                  <a:gd name="connsiteX360" fmla="*/ 278524 w 322255"/>
                  <a:gd name="connsiteY360" fmla="*/ 155176 h 334863"/>
                  <a:gd name="connsiteX361" fmla="*/ 280551 w 322255"/>
                  <a:gd name="connsiteY361" fmla="*/ 155176 h 334863"/>
                  <a:gd name="connsiteX362" fmla="*/ 280022 w 322255"/>
                  <a:gd name="connsiteY362" fmla="*/ 152531 h 334863"/>
                  <a:gd name="connsiteX363" fmla="*/ 283461 w 322255"/>
                  <a:gd name="connsiteY363" fmla="*/ 152531 h 334863"/>
                  <a:gd name="connsiteX364" fmla="*/ 280022 w 322255"/>
                  <a:gd name="connsiteY364" fmla="*/ 151650 h 334863"/>
                  <a:gd name="connsiteX365" fmla="*/ 279670 w 322255"/>
                  <a:gd name="connsiteY365" fmla="*/ 150768 h 334863"/>
                  <a:gd name="connsiteX366" fmla="*/ 278788 w 322255"/>
                  <a:gd name="connsiteY366" fmla="*/ 146977 h 334863"/>
                  <a:gd name="connsiteX367" fmla="*/ 280022 w 322255"/>
                  <a:gd name="connsiteY367" fmla="*/ 142656 h 334863"/>
                  <a:gd name="connsiteX368" fmla="*/ 277995 w 322255"/>
                  <a:gd name="connsiteY368" fmla="*/ 139394 h 334863"/>
                  <a:gd name="connsiteX369" fmla="*/ 276496 w 322255"/>
                  <a:gd name="connsiteY369" fmla="*/ 135339 h 334863"/>
                  <a:gd name="connsiteX370" fmla="*/ 276231 w 322255"/>
                  <a:gd name="connsiteY370" fmla="*/ 134192 h 334863"/>
                  <a:gd name="connsiteX371" fmla="*/ 278788 w 322255"/>
                  <a:gd name="connsiteY371" fmla="*/ 131812 h 334863"/>
                  <a:gd name="connsiteX372" fmla="*/ 282051 w 322255"/>
                  <a:gd name="connsiteY372" fmla="*/ 130930 h 334863"/>
                  <a:gd name="connsiteX373" fmla="*/ 282580 w 322255"/>
                  <a:gd name="connsiteY373" fmla="*/ 129519 h 334863"/>
                  <a:gd name="connsiteX374" fmla="*/ 282580 w 322255"/>
                  <a:gd name="connsiteY374" fmla="*/ 128638 h 334863"/>
                  <a:gd name="connsiteX375" fmla="*/ 285577 w 322255"/>
                  <a:gd name="connsiteY375" fmla="*/ 128021 h 334863"/>
                  <a:gd name="connsiteX376" fmla="*/ 285577 w 322255"/>
                  <a:gd name="connsiteY376" fmla="*/ 127756 h 334863"/>
                  <a:gd name="connsiteX377" fmla="*/ 285577 w 322255"/>
                  <a:gd name="connsiteY377" fmla="*/ 128021 h 334863"/>
                  <a:gd name="connsiteX378" fmla="*/ 286988 w 322255"/>
                  <a:gd name="connsiteY378" fmla="*/ 127756 h 334863"/>
                  <a:gd name="connsiteX379" fmla="*/ 288487 w 322255"/>
                  <a:gd name="connsiteY379" fmla="*/ 127756 h 334863"/>
                  <a:gd name="connsiteX380" fmla="*/ 289633 w 322255"/>
                  <a:gd name="connsiteY380" fmla="*/ 126257 h 334863"/>
                  <a:gd name="connsiteX381" fmla="*/ 291043 w 322255"/>
                  <a:gd name="connsiteY381" fmla="*/ 126257 h 334863"/>
                  <a:gd name="connsiteX382" fmla="*/ 290162 w 322255"/>
                  <a:gd name="connsiteY382" fmla="*/ 122466 h 334863"/>
                  <a:gd name="connsiteX383" fmla="*/ 289897 w 322255"/>
                  <a:gd name="connsiteY383" fmla="*/ 120703 h 334863"/>
                  <a:gd name="connsiteX384" fmla="*/ 286723 w 322255"/>
                  <a:gd name="connsiteY384" fmla="*/ 119556 h 334863"/>
                  <a:gd name="connsiteX385" fmla="*/ 282932 w 322255"/>
                  <a:gd name="connsiteY385" fmla="*/ 118410 h 334863"/>
                  <a:gd name="connsiteX386" fmla="*/ 279141 w 322255"/>
                  <a:gd name="connsiteY386" fmla="*/ 118410 h 334863"/>
                  <a:gd name="connsiteX387" fmla="*/ 276760 w 322255"/>
                  <a:gd name="connsiteY387" fmla="*/ 118410 h 334863"/>
                  <a:gd name="connsiteX388" fmla="*/ 275879 w 322255"/>
                  <a:gd name="connsiteY388" fmla="*/ 117881 h 334863"/>
                  <a:gd name="connsiteX389" fmla="*/ 274732 w 322255"/>
                  <a:gd name="connsiteY389" fmla="*/ 113737 h 334863"/>
                  <a:gd name="connsiteX390" fmla="*/ 273851 w 322255"/>
                  <a:gd name="connsiteY390" fmla="*/ 109946 h 334863"/>
                  <a:gd name="connsiteX391" fmla="*/ 274997 w 322255"/>
                  <a:gd name="connsiteY391" fmla="*/ 107918 h 334863"/>
                  <a:gd name="connsiteX392" fmla="*/ 272440 w 322255"/>
                  <a:gd name="connsiteY392" fmla="*/ 107918 h 334863"/>
                  <a:gd name="connsiteX393" fmla="*/ 272705 w 322255"/>
                  <a:gd name="connsiteY393" fmla="*/ 110210 h 334863"/>
                  <a:gd name="connsiteX394" fmla="*/ 268649 w 322255"/>
                  <a:gd name="connsiteY394" fmla="*/ 110210 h 334863"/>
                  <a:gd name="connsiteX395" fmla="*/ 267767 w 322255"/>
                  <a:gd name="connsiteY395" fmla="*/ 110210 h 334863"/>
                  <a:gd name="connsiteX396" fmla="*/ 264240 w 322255"/>
                  <a:gd name="connsiteY396" fmla="*/ 103510 h 334863"/>
                  <a:gd name="connsiteX397" fmla="*/ 263094 w 322255"/>
                  <a:gd name="connsiteY397" fmla="*/ 103510 h 334863"/>
                  <a:gd name="connsiteX398" fmla="*/ 259567 w 322255"/>
                  <a:gd name="connsiteY398" fmla="*/ 100336 h 334863"/>
                  <a:gd name="connsiteX399" fmla="*/ 257275 w 322255"/>
                  <a:gd name="connsiteY399" fmla="*/ 99454 h 334863"/>
                  <a:gd name="connsiteX400" fmla="*/ 256922 w 322255"/>
                  <a:gd name="connsiteY400" fmla="*/ 97955 h 334863"/>
                  <a:gd name="connsiteX401" fmla="*/ 258686 w 322255"/>
                  <a:gd name="connsiteY401" fmla="*/ 97955 h 334863"/>
                  <a:gd name="connsiteX402" fmla="*/ 259567 w 322255"/>
                  <a:gd name="connsiteY402" fmla="*/ 96809 h 334863"/>
                  <a:gd name="connsiteX403" fmla="*/ 260449 w 322255"/>
                  <a:gd name="connsiteY403" fmla="*/ 93635 h 334863"/>
                  <a:gd name="connsiteX404" fmla="*/ 257804 w 322255"/>
                  <a:gd name="connsiteY404" fmla="*/ 89844 h 334863"/>
                  <a:gd name="connsiteX405" fmla="*/ 256041 w 322255"/>
                  <a:gd name="connsiteY405" fmla="*/ 89579 h 334863"/>
                  <a:gd name="connsiteX406" fmla="*/ 254630 w 322255"/>
                  <a:gd name="connsiteY406" fmla="*/ 88697 h 334863"/>
                  <a:gd name="connsiteX407" fmla="*/ 254013 w 322255"/>
                  <a:gd name="connsiteY407" fmla="*/ 86052 h 334863"/>
                  <a:gd name="connsiteX408" fmla="*/ 255159 w 322255"/>
                  <a:gd name="connsiteY408" fmla="*/ 85171 h 334863"/>
                  <a:gd name="connsiteX409" fmla="*/ 258157 w 322255"/>
                  <a:gd name="connsiteY409" fmla="*/ 82526 h 334863"/>
                  <a:gd name="connsiteX410" fmla="*/ 258686 w 322255"/>
                  <a:gd name="connsiteY410" fmla="*/ 80762 h 334863"/>
                  <a:gd name="connsiteX411" fmla="*/ 258686 w 322255"/>
                  <a:gd name="connsiteY411" fmla="*/ 80233 h 334863"/>
                  <a:gd name="connsiteX412" fmla="*/ 256658 w 322255"/>
                  <a:gd name="connsiteY412" fmla="*/ 78734 h 334863"/>
                  <a:gd name="connsiteX413" fmla="*/ 252338 w 322255"/>
                  <a:gd name="connsiteY413" fmla="*/ 78734 h 334863"/>
                  <a:gd name="connsiteX414" fmla="*/ 250221 w 322255"/>
                  <a:gd name="connsiteY414" fmla="*/ 77588 h 334863"/>
                  <a:gd name="connsiteX415" fmla="*/ 252602 w 322255"/>
                  <a:gd name="connsiteY415" fmla="*/ 74679 h 334863"/>
                  <a:gd name="connsiteX416" fmla="*/ 251456 w 322255"/>
                  <a:gd name="connsiteY416" fmla="*/ 71769 h 334863"/>
                  <a:gd name="connsiteX417" fmla="*/ 250221 w 322255"/>
                  <a:gd name="connsiteY417" fmla="*/ 71152 h 334863"/>
                  <a:gd name="connsiteX418" fmla="*/ 247312 w 322255"/>
                  <a:gd name="connsiteY418" fmla="*/ 71152 h 334863"/>
                  <a:gd name="connsiteX419" fmla="*/ 245549 w 322255"/>
                  <a:gd name="connsiteY419" fmla="*/ 72651 h 334863"/>
                  <a:gd name="connsiteX420" fmla="*/ 245549 w 322255"/>
                  <a:gd name="connsiteY420" fmla="*/ 71152 h 334863"/>
                  <a:gd name="connsiteX421" fmla="*/ 247312 w 322255"/>
                  <a:gd name="connsiteY421" fmla="*/ 65950 h 334863"/>
                  <a:gd name="connsiteX422" fmla="*/ 247047 w 322255"/>
                  <a:gd name="connsiteY422" fmla="*/ 64716 h 334863"/>
                  <a:gd name="connsiteX423" fmla="*/ 249692 w 322255"/>
                  <a:gd name="connsiteY423" fmla="*/ 63040 h 334863"/>
                  <a:gd name="connsiteX424" fmla="*/ 251456 w 322255"/>
                  <a:gd name="connsiteY424" fmla="*/ 63305 h 334863"/>
                  <a:gd name="connsiteX425" fmla="*/ 252338 w 322255"/>
                  <a:gd name="connsiteY425" fmla="*/ 61541 h 334863"/>
                  <a:gd name="connsiteX426" fmla="*/ 253396 w 322255"/>
                  <a:gd name="connsiteY426" fmla="*/ 60395 h 334863"/>
                  <a:gd name="connsiteX427" fmla="*/ 255512 w 322255"/>
                  <a:gd name="connsiteY427" fmla="*/ 60395 h 334863"/>
                  <a:gd name="connsiteX428" fmla="*/ 259920 w 322255"/>
                  <a:gd name="connsiteY428" fmla="*/ 61541 h 334863"/>
                  <a:gd name="connsiteX429" fmla="*/ 262477 w 322255"/>
                  <a:gd name="connsiteY429" fmla="*/ 63040 h 334863"/>
                  <a:gd name="connsiteX430" fmla="*/ 265387 w 322255"/>
                  <a:gd name="connsiteY430" fmla="*/ 62423 h 334863"/>
                  <a:gd name="connsiteX431" fmla="*/ 267150 w 322255"/>
                  <a:gd name="connsiteY431" fmla="*/ 63305 h 334863"/>
                  <a:gd name="connsiteX432" fmla="*/ 272440 w 322255"/>
                  <a:gd name="connsiteY432" fmla="*/ 63305 h 334863"/>
                  <a:gd name="connsiteX433" fmla="*/ 274997 w 322255"/>
                  <a:gd name="connsiteY433" fmla="*/ 64451 h 334863"/>
                  <a:gd name="connsiteX434" fmla="*/ 277995 w 322255"/>
                  <a:gd name="connsiteY434" fmla="*/ 66832 h 334863"/>
                  <a:gd name="connsiteX435" fmla="*/ 282580 w 322255"/>
                  <a:gd name="connsiteY435" fmla="*/ 70006 h 334863"/>
                  <a:gd name="connsiteX436" fmla="*/ 286106 w 322255"/>
                  <a:gd name="connsiteY436" fmla="*/ 67096 h 334863"/>
                  <a:gd name="connsiteX437" fmla="*/ 294041 w 322255"/>
                  <a:gd name="connsiteY437" fmla="*/ 63305 h 334863"/>
                  <a:gd name="connsiteX438" fmla="*/ 297215 w 322255"/>
                  <a:gd name="connsiteY438" fmla="*/ 64187 h 334863"/>
                  <a:gd name="connsiteX439" fmla="*/ 297480 w 322255"/>
                  <a:gd name="connsiteY439" fmla="*/ 62423 h 334863"/>
                  <a:gd name="connsiteX440" fmla="*/ 299508 w 322255"/>
                  <a:gd name="connsiteY440" fmla="*/ 61277 h 334863"/>
                  <a:gd name="connsiteX441" fmla="*/ 301888 w 322255"/>
                  <a:gd name="connsiteY441" fmla="*/ 61277 h 334863"/>
                  <a:gd name="connsiteX442" fmla="*/ 305062 w 322255"/>
                  <a:gd name="connsiteY442" fmla="*/ 61277 h 334863"/>
                  <a:gd name="connsiteX443" fmla="*/ 306826 w 322255"/>
                  <a:gd name="connsiteY443" fmla="*/ 61277 h 334863"/>
                  <a:gd name="connsiteX444" fmla="*/ 308325 w 322255"/>
                  <a:gd name="connsiteY444" fmla="*/ 60131 h 334863"/>
                  <a:gd name="connsiteX445" fmla="*/ 309206 w 322255"/>
                  <a:gd name="connsiteY445" fmla="*/ 58632 h 334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</a:cxnLst>
                <a:rect l="l" t="t" r="r" b="b"/>
                <a:pathLst>
                  <a:path w="322255" h="334863">
                    <a:moveTo>
                      <a:pt x="322255" y="42585"/>
                    </a:moveTo>
                    <a:lnTo>
                      <a:pt x="315025" y="42585"/>
                    </a:lnTo>
                    <a:lnTo>
                      <a:pt x="314143" y="43202"/>
                    </a:lnTo>
                    <a:lnTo>
                      <a:pt x="311763" y="41968"/>
                    </a:lnTo>
                    <a:lnTo>
                      <a:pt x="305415" y="40558"/>
                    </a:lnTo>
                    <a:lnTo>
                      <a:pt x="302153" y="40558"/>
                    </a:lnTo>
                    <a:lnTo>
                      <a:pt x="299508" y="39940"/>
                    </a:lnTo>
                    <a:lnTo>
                      <a:pt x="298626" y="37031"/>
                    </a:lnTo>
                    <a:lnTo>
                      <a:pt x="295452" y="36766"/>
                    </a:lnTo>
                    <a:lnTo>
                      <a:pt x="290779" y="31212"/>
                    </a:lnTo>
                    <a:lnTo>
                      <a:pt x="289633" y="32975"/>
                    </a:lnTo>
                    <a:lnTo>
                      <a:pt x="287605" y="34121"/>
                    </a:lnTo>
                    <a:lnTo>
                      <a:pt x="285577" y="34121"/>
                    </a:lnTo>
                    <a:lnTo>
                      <a:pt x="278524" y="26803"/>
                    </a:lnTo>
                    <a:lnTo>
                      <a:pt x="280022" y="24158"/>
                    </a:lnTo>
                    <a:lnTo>
                      <a:pt x="276496" y="16928"/>
                    </a:lnTo>
                    <a:lnTo>
                      <a:pt x="274468" y="15429"/>
                    </a:lnTo>
                    <a:lnTo>
                      <a:pt x="273851" y="13137"/>
                    </a:lnTo>
                    <a:lnTo>
                      <a:pt x="271559" y="11374"/>
                    </a:lnTo>
                    <a:lnTo>
                      <a:pt x="266885" y="10492"/>
                    </a:lnTo>
                    <a:lnTo>
                      <a:pt x="263359" y="11109"/>
                    </a:lnTo>
                    <a:lnTo>
                      <a:pt x="262477" y="8200"/>
                    </a:lnTo>
                    <a:lnTo>
                      <a:pt x="256922" y="4056"/>
                    </a:lnTo>
                    <a:lnTo>
                      <a:pt x="251721" y="0"/>
                    </a:lnTo>
                    <a:lnTo>
                      <a:pt x="251985" y="6965"/>
                    </a:lnTo>
                    <a:lnTo>
                      <a:pt x="245549" y="10757"/>
                    </a:lnTo>
                    <a:lnTo>
                      <a:pt x="240347" y="5555"/>
                    </a:lnTo>
                    <a:lnTo>
                      <a:pt x="238848" y="7582"/>
                    </a:lnTo>
                    <a:lnTo>
                      <a:pt x="234528" y="9610"/>
                    </a:lnTo>
                    <a:lnTo>
                      <a:pt x="225711" y="7582"/>
                    </a:lnTo>
                    <a:lnTo>
                      <a:pt x="220509" y="8464"/>
                    </a:lnTo>
                    <a:lnTo>
                      <a:pt x="219010" y="8464"/>
                    </a:lnTo>
                    <a:lnTo>
                      <a:pt x="215219" y="8200"/>
                    </a:lnTo>
                    <a:lnTo>
                      <a:pt x="213191" y="8464"/>
                    </a:lnTo>
                    <a:lnTo>
                      <a:pt x="211163" y="9081"/>
                    </a:lnTo>
                    <a:lnTo>
                      <a:pt x="198026" y="11991"/>
                    </a:lnTo>
                    <a:lnTo>
                      <a:pt x="198379" y="14019"/>
                    </a:lnTo>
                    <a:lnTo>
                      <a:pt x="195733" y="14019"/>
                    </a:lnTo>
                    <a:lnTo>
                      <a:pt x="196262" y="15782"/>
                    </a:lnTo>
                    <a:lnTo>
                      <a:pt x="190443" y="18692"/>
                    </a:lnTo>
                    <a:lnTo>
                      <a:pt x="190796" y="19838"/>
                    </a:lnTo>
                    <a:lnTo>
                      <a:pt x="187534" y="18692"/>
                    </a:lnTo>
                    <a:lnTo>
                      <a:pt x="187799" y="19838"/>
                    </a:lnTo>
                    <a:lnTo>
                      <a:pt x="186917" y="21337"/>
                    </a:lnTo>
                    <a:lnTo>
                      <a:pt x="188151" y="22747"/>
                    </a:lnTo>
                    <a:lnTo>
                      <a:pt x="184889" y="24775"/>
                    </a:lnTo>
                    <a:lnTo>
                      <a:pt x="183125" y="24775"/>
                    </a:lnTo>
                    <a:lnTo>
                      <a:pt x="182596" y="27420"/>
                    </a:lnTo>
                    <a:lnTo>
                      <a:pt x="181098" y="28567"/>
                    </a:lnTo>
                    <a:lnTo>
                      <a:pt x="184624" y="30330"/>
                    </a:lnTo>
                    <a:lnTo>
                      <a:pt x="186388" y="31212"/>
                    </a:lnTo>
                    <a:lnTo>
                      <a:pt x="190796" y="37031"/>
                    </a:lnTo>
                    <a:lnTo>
                      <a:pt x="189826" y="39676"/>
                    </a:lnTo>
                    <a:lnTo>
                      <a:pt x="193088" y="40558"/>
                    </a:lnTo>
                    <a:lnTo>
                      <a:pt x="193970" y="44349"/>
                    </a:lnTo>
                    <a:lnTo>
                      <a:pt x="193088" y="46112"/>
                    </a:lnTo>
                    <a:lnTo>
                      <a:pt x="194587" y="48669"/>
                    </a:lnTo>
                    <a:lnTo>
                      <a:pt x="195116" y="51049"/>
                    </a:lnTo>
                    <a:lnTo>
                      <a:pt x="194587" y="51931"/>
                    </a:lnTo>
                    <a:lnTo>
                      <a:pt x="193970" y="55987"/>
                    </a:lnTo>
                    <a:lnTo>
                      <a:pt x="191590" y="58632"/>
                    </a:lnTo>
                    <a:lnTo>
                      <a:pt x="188416" y="63305"/>
                    </a:lnTo>
                    <a:lnTo>
                      <a:pt x="188416" y="65333"/>
                    </a:lnTo>
                    <a:lnTo>
                      <a:pt x="186035" y="65950"/>
                    </a:lnTo>
                    <a:lnTo>
                      <a:pt x="189826" y="70270"/>
                    </a:lnTo>
                    <a:lnTo>
                      <a:pt x="191590" y="71152"/>
                    </a:lnTo>
                    <a:lnTo>
                      <a:pt x="191590" y="75560"/>
                    </a:lnTo>
                    <a:lnTo>
                      <a:pt x="192207" y="77588"/>
                    </a:lnTo>
                    <a:lnTo>
                      <a:pt x="185506" y="80762"/>
                    </a:lnTo>
                    <a:lnTo>
                      <a:pt x="167079" y="78734"/>
                    </a:lnTo>
                    <a:lnTo>
                      <a:pt x="165932" y="81379"/>
                    </a:lnTo>
                    <a:lnTo>
                      <a:pt x="170958" y="86052"/>
                    </a:lnTo>
                    <a:lnTo>
                      <a:pt x="173515" y="86052"/>
                    </a:lnTo>
                    <a:lnTo>
                      <a:pt x="176424" y="93018"/>
                    </a:lnTo>
                    <a:lnTo>
                      <a:pt x="178188" y="94164"/>
                    </a:lnTo>
                    <a:lnTo>
                      <a:pt x="180216" y="96809"/>
                    </a:lnTo>
                    <a:lnTo>
                      <a:pt x="176424" y="99718"/>
                    </a:lnTo>
                    <a:lnTo>
                      <a:pt x="172633" y="102981"/>
                    </a:lnTo>
                    <a:lnTo>
                      <a:pt x="168578" y="101482"/>
                    </a:lnTo>
                    <a:lnTo>
                      <a:pt x="163023" y="103510"/>
                    </a:lnTo>
                    <a:lnTo>
                      <a:pt x="165932" y="108535"/>
                    </a:lnTo>
                    <a:lnTo>
                      <a:pt x="162141" y="118410"/>
                    </a:lnTo>
                    <a:lnTo>
                      <a:pt x="163640" y="125728"/>
                    </a:lnTo>
                    <a:lnTo>
                      <a:pt x="166197" y="131283"/>
                    </a:lnTo>
                    <a:lnTo>
                      <a:pt x="164434" y="133311"/>
                    </a:lnTo>
                    <a:lnTo>
                      <a:pt x="161524" y="138513"/>
                    </a:lnTo>
                    <a:lnTo>
                      <a:pt x="156940" y="139747"/>
                    </a:lnTo>
                    <a:lnTo>
                      <a:pt x="152795" y="135074"/>
                    </a:lnTo>
                    <a:lnTo>
                      <a:pt x="152531" y="135074"/>
                    </a:lnTo>
                    <a:lnTo>
                      <a:pt x="151120" y="134192"/>
                    </a:lnTo>
                    <a:lnTo>
                      <a:pt x="150768" y="133575"/>
                    </a:lnTo>
                    <a:lnTo>
                      <a:pt x="148123" y="134192"/>
                    </a:lnTo>
                    <a:lnTo>
                      <a:pt x="151385" y="135339"/>
                    </a:lnTo>
                    <a:lnTo>
                      <a:pt x="150150" y="136220"/>
                    </a:lnTo>
                    <a:lnTo>
                      <a:pt x="146977" y="135339"/>
                    </a:lnTo>
                    <a:lnTo>
                      <a:pt x="144067" y="135074"/>
                    </a:lnTo>
                    <a:lnTo>
                      <a:pt x="142303" y="134192"/>
                    </a:lnTo>
                    <a:lnTo>
                      <a:pt x="141774" y="136485"/>
                    </a:lnTo>
                    <a:lnTo>
                      <a:pt x="140893" y="136749"/>
                    </a:lnTo>
                    <a:lnTo>
                      <a:pt x="139129" y="138513"/>
                    </a:lnTo>
                    <a:lnTo>
                      <a:pt x="136220" y="138513"/>
                    </a:lnTo>
                    <a:lnTo>
                      <a:pt x="136484" y="139747"/>
                    </a:lnTo>
                    <a:lnTo>
                      <a:pt x="132164" y="141775"/>
                    </a:lnTo>
                    <a:lnTo>
                      <a:pt x="134457" y="144949"/>
                    </a:lnTo>
                    <a:lnTo>
                      <a:pt x="135602" y="144949"/>
                    </a:lnTo>
                    <a:lnTo>
                      <a:pt x="136220" y="146712"/>
                    </a:lnTo>
                    <a:lnTo>
                      <a:pt x="127491" y="149005"/>
                    </a:lnTo>
                    <a:lnTo>
                      <a:pt x="120790" y="148476"/>
                    </a:lnTo>
                    <a:lnTo>
                      <a:pt x="122465" y="146977"/>
                    </a:lnTo>
                    <a:lnTo>
                      <a:pt x="117264" y="146977"/>
                    </a:lnTo>
                    <a:lnTo>
                      <a:pt x="114619" y="149005"/>
                    </a:lnTo>
                    <a:lnTo>
                      <a:pt x="113120" y="155176"/>
                    </a:lnTo>
                    <a:lnTo>
                      <a:pt x="110210" y="156058"/>
                    </a:lnTo>
                    <a:lnTo>
                      <a:pt x="109064" y="165933"/>
                    </a:lnTo>
                    <a:lnTo>
                      <a:pt x="110475" y="168842"/>
                    </a:lnTo>
                    <a:lnTo>
                      <a:pt x="111444" y="173515"/>
                    </a:lnTo>
                    <a:lnTo>
                      <a:pt x="109328" y="177924"/>
                    </a:lnTo>
                    <a:lnTo>
                      <a:pt x="112855" y="180569"/>
                    </a:lnTo>
                    <a:lnTo>
                      <a:pt x="110210" y="183478"/>
                    </a:lnTo>
                    <a:lnTo>
                      <a:pt x="87815" y="192824"/>
                    </a:lnTo>
                    <a:lnTo>
                      <a:pt x="83672" y="190444"/>
                    </a:lnTo>
                    <a:lnTo>
                      <a:pt x="78470" y="190179"/>
                    </a:lnTo>
                    <a:lnTo>
                      <a:pt x="71769" y="190708"/>
                    </a:lnTo>
                    <a:lnTo>
                      <a:pt x="69741" y="191943"/>
                    </a:lnTo>
                    <a:lnTo>
                      <a:pt x="67977" y="194499"/>
                    </a:lnTo>
                    <a:lnTo>
                      <a:pt x="55987" y="192207"/>
                    </a:lnTo>
                    <a:lnTo>
                      <a:pt x="32975" y="194235"/>
                    </a:lnTo>
                    <a:lnTo>
                      <a:pt x="0" y="182332"/>
                    </a:lnTo>
                    <a:lnTo>
                      <a:pt x="9875" y="194852"/>
                    </a:lnTo>
                    <a:lnTo>
                      <a:pt x="13401" y="195117"/>
                    </a:lnTo>
                    <a:lnTo>
                      <a:pt x="11991" y="199525"/>
                    </a:lnTo>
                    <a:lnTo>
                      <a:pt x="11991" y="200671"/>
                    </a:lnTo>
                    <a:lnTo>
                      <a:pt x="12520" y="200671"/>
                    </a:lnTo>
                    <a:lnTo>
                      <a:pt x="13930" y="202699"/>
                    </a:lnTo>
                    <a:lnTo>
                      <a:pt x="14283" y="204463"/>
                    </a:lnTo>
                    <a:lnTo>
                      <a:pt x="16046" y="205609"/>
                    </a:lnTo>
                    <a:lnTo>
                      <a:pt x="16046" y="207989"/>
                    </a:lnTo>
                    <a:lnTo>
                      <a:pt x="18692" y="209400"/>
                    </a:lnTo>
                    <a:lnTo>
                      <a:pt x="19838" y="211428"/>
                    </a:lnTo>
                    <a:lnTo>
                      <a:pt x="22483" y="213191"/>
                    </a:lnTo>
                    <a:lnTo>
                      <a:pt x="23364" y="214955"/>
                    </a:lnTo>
                    <a:lnTo>
                      <a:pt x="26538" y="216101"/>
                    </a:lnTo>
                    <a:lnTo>
                      <a:pt x="32358" y="217864"/>
                    </a:lnTo>
                    <a:lnTo>
                      <a:pt x="35884" y="217864"/>
                    </a:lnTo>
                    <a:lnTo>
                      <a:pt x="37030" y="220509"/>
                    </a:lnTo>
                    <a:lnTo>
                      <a:pt x="39676" y="221655"/>
                    </a:lnTo>
                    <a:lnTo>
                      <a:pt x="39676" y="222802"/>
                    </a:lnTo>
                    <a:lnTo>
                      <a:pt x="44613" y="222802"/>
                    </a:lnTo>
                    <a:lnTo>
                      <a:pt x="44613" y="223419"/>
                    </a:lnTo>
                    <a:lnTo>
                      <a:pt x="43731" y="228356"/>
                    </a:lnTo>
                    <a:lnTo>
                      <a:pt x="47787" y="235321"/>
                    </a:lnTo>
                    <a:lnTo>
                      <a:pt x="48669" y="242639"/>
                    </a:lnTo>
                    <a:lnTo>
                      <a:pt x="47787" y="245549"/>
                    </a:lnTo>
                    <a:lnTo>
                      <a:pt x="48669" y="246166"/>
                    </a:lnTo>
                    <a:lnTo>
                      <a:pt x="48140" y="247312"/>
                    </a:lnTo>
                    <a:lnTo>
                      <a:pt x="49551" y="248811"/>
                    </a:lnTo>
                    <a:lnTo>
                      <a:pt x="52196" y="248811"/>
                    </a:lnTo>
                    <a:lnTo>
                      <a:pt x="52460" y="248194"/>
                    </a:lnTo>
                    <a:lnTo>
                      <a:pt x="55722" y="246783"/>
                    </a:lnTo>
                    <a:lnTo>
                      <a:pt x="57397" y="247577"/>
                    </a:lnTo>
                    <a:lnTo>
                      <a:pt x="58279" y="248811"/>
                    </a:lnTo>
                    <a:lnTo>
                      <a:pt x="58632" y="248811"/>
                    </a:lnTo>
                    <a:lnTo>
                      <a:pt x="59514" y="251104"/>
                    </a:lnTo>
                    <a:lnTo>
                      <a:pt x="58632" y="251721"/>
                    </a:lnTo>
                    <a:lnTo>
                      <a:pt x="59514" y="258157"/>
                    </a:lnTo>
                    <a:lnTo>
                      <a:pt x="56251" y="258686"/>
                    </a:lnTo>
                    <a:lnTo>
                      <a:pt x="57397" y="261596"/>
                    </a:lnTo>
                    <a:lnTo>
                      <a:pt x="56868" y="263623"/>
                    </a:lnTo>
                    <a:lnTo>
                      <a:pt x="51578" y="263623"/>
                    </a:lnTo>
                    <a:lnTo>
                      <a:pt x="48669" y="264241"/>
                    </a:lnTo>
                    <a:lnTo>
                      <a:pt x="48669" y="264505"/>
                    </a:lnTo>
                    <a:lnTo>
                      <a:pt x="48140" y="264241"/>
                    </a:lnTo>
                    <a:lnTo>
                      <a:pt x="45759" y="264505"/>
                    </a:lnTo>
                    <a:lnTo>
                      <a:pt x="42850" y="265387"/>
                    </a:lnTo>
                    <a:lnTo>
                      <a:pt x="40557" y="265387"/>
                    </a:lnTo>
                    <a:lnTo>
                      <a:pt x="39323" y="267150"/>
                    </a:lnTo>
                    <a:lnTo>
                      <a:pt x="39323" y="268032"/>
                    </a:lnTo>
                    <a:lnTo>
                      <a:pt x="39676" y="268914"/>
                    </a:lnTo>
                    <a:lnTo>
                      <a:pt x="39676" y="270060"/>
                    </a:lnTo>
                    <a:lnTo>
                      <a:pt x="39940" y="271559"/>
                    </a:lnTo>
                    <a:lnTo>
                      <a:pt x="39940" y="271823"/>
                    </a:lnTo>
                    <a:lnTo>
                      <a:pt x="36678" y="271823"/>
                    </a:lnTo>
                    <a:lnTo>
                      <a:pt x="36149" y="271559"/>
                    </a:lnTo>
                    <a:lnTo>
                      <a:pt x="34121" y="270060"/>
                    </a:lnTo>
                    <a:lnTo>
                      <a:pt x="34385" y="271823"/>
                    </a:lnTo>
                    <a:lnTo>
                      <a:pt x="31476" y="272705"/>
                    </a:lnTo>
                    <a:lnTo>
                      <a:pt x="32093" y="277113"/>
                    </a:lnTo>
                    <a:lnTo>
                      <a:pt x="32358" y="278788"/>
                    </a:lnTo>
                    <a:lnTo>
                      <a:pt x="31740" y="279670"/>
                    </a:lnTo>
                    <a:lnTo>
                      <a:pt x="32622" y="281433"/>
                    </a:lnTo>
                    <a:lnTo>
                      <a:pt x="32622" y="282580"/>
                    </a:lnTo>
                    <a:lnTo>
                      <a:pt x="32093" y="283197"/>
                    </a:lnTo>
                    <a:lnTo>
                      <a:pt x="32975" y="284343"/>
                    </a:lnTo>
                    <a:lnTo>
                      <a:pt x="33239" y="285489"/>
                    </a:lnTo>
                    <a:lnTo>
                      <a:pt x="31740" y="286371"/>
                    </a:lnTo>
                    <a:lnTo>
                      <a:pt x="29713" y="286371"/>
                    </a:lnTo>
                    <a:lnTo>
                      <a:pt x="30065" y="291044"/>
                    </a:lnTo>
                    <a:lnTo>
                      <a:pt x="30594" y="296334"/>
                    </a:lnTo>
                    <a:lnTo>
                      <a:pt x="28566" y="298362"/>
                    </a:lnTo>
                    <a:lnTo>
                      <a:pt x="31740" y="298362"/>
                    </a:lnTo>
                    <a:lnTo>
                      <a:pt x="33504" y="299244"/>
                    </a:lnTo>
                    <a:lnTo>
                      <a:pt x="32093" y="302506"/>
                    </a:lnTo>
                    <a:lnTo>
                      <a:pt x="34121" y="303652"/>
                    </a:lnTo>
                    <a:lnTo>
                      <a:pt x="36678" y="301007"/>
                    </a:lnTo>
                    <a:lnTo>
                      <a:pt x="38530" y="302153"/>
                    </a:lnTo>
                    <a:lnTo>
                      <a:pt x="37912" y="299861"/>
                    </a:lnTo>
                    <a:lnTo>
                      <a:pt x="40205" y="298362"/>
                    </a:lnTo>
                    <a:lnTo>
                      <a:pt x="43467" y="298362"/>
                    </a:lnTo>
                    <a:lnTo>
                      <a:pt x="46641" y="299244"/>
                    </a:lnTo>
                    <a:lnTo>
                      <a:pt x="50167" y="297216"/>
                    </a:lnTo>
                    <a:lnTo>
                      <a:pt x="59514" y="298362"/>
                    </a:lnTo>
                    <a:lnTo>
                      <a:pt x="62688" y="296598"/>
                    </a:lnTo>
                    <a:lnTo>
                      <a:pt x="65597" y="297745"/>
                    </a:lnTo>
                    <a:lnTo>
                      <a:pt x="67977" y="296598"/>
                    </a:lnTo>
                    <a:lnTo>
                      <a:pt x="70887" y="294835"/>
                    </a:lnTo>
                    <a:lnTo>
                      <a:pt x="76971" y="295452"/>
                    </a:lnTo>
                    <a:lnTo>
                      <a:pt x="78999" y="295188"/>
                    </a:lnTo>
                    <a:lnTo>
                      <a:pt x="79263" y="293689"/>
                    </a:lnTo>
                    <a:lnTo>
                      <a:pt x="82261" y="292543"/>
                    </a:lnTo>
                    <a:lnTo>
                      <a:pt x="81908" y="294042"/>
                    </a:lnTo>
                    <a:lnTo>
                      <a:pt x="80762" y="295452"/>
                    </a:lnTo>
                    <a:lnTo>
                      <a:pt x="89843" y="298097"/>
                    </a:lnTo>
                    <a:lnTo>
                      <a:pt x="90637" y="301271"/>
                    </a:lnTo>
                    <a:lnTo>
                      <a:pt x="92753" y="300742"/>
                    </a:lnTo>
                    <a:lnTo>
                      <a:pt x="94516" y="299861"/>
                    </a:lnTo>
                    <a:lnTo>
                      <a:pt x="96191" y="298362"/>
                    </a:lnTo>
                    <a:lnTo>
                      <a:pt x="94516" y="296598"/>
                    </a:lnTo>
                    <a:lnTo>
                      <a:pt x="97073" y="296334"/>
                    </a:lnTo>
                    <a:lnTo>
                      <a:pt x="103510" y="296598"/>
                    </a:lnTo>
                    <a:lnTo>
                      <a:pt x="108535" y="294306"/>
                    </a:lnTo>
                    <a:lnTo>
                      <a:pt x="116382" y="295452"/>
                    </a:lnTo>
                    <a:lnTo>
                      <a:pt x="119292" y="293689"/>
                    </a:lnTo>
                    <a:lnTo>
                      <a:pt x="126610" y="292807"/>
                    </a:lnTo>
                    <a:lnTo>
                      <a:pt x="132693" y="293689"/>
                    </a:lnTo>
                    <a:lnTo>
                      <a:pt x="135602" y="294835"/>
                    </a:lnTo>
                    <a:lnTo>
                      <a:pt x="138865" y="298362"/>
                    </a:lnTo>
                    <a:lnTo>
                      <a:pt x="137366" y="305063"/>
                    </a:lnTo>
                    <a:lnTo>
                      <a:pt x="142921" y="307972"/>
                    </a:lnTo>
                    <a:lnTo>
                      <a:pt x="144948" y="309206"/>
                    </a:lnTo>
                    <a:lnTo>
                      <a:pt x="145213" y="306826"/>
                    </a:lnTo>
                    <a:lnTo>
                      <a:pt x="150150" y="308325"/>
                    </a:lnTo>
                    <a:lnTo>
                      <a:pt x="151120" y="310617"/>
                    </a:lnTo>
                    <a:lnTo>
                      <a:pt x="150503" y="313791"/>
                    </a:lnTo>
                    <a:lnTo>
                      <a:pt x="152531" y="314673"/>
                    </a:lnTo>
                    <a:lnTo>
                      <a:pt x="149621" y="315555"/>
                    </a:lnTo>
                    <a:lnTo>
                      <a:pt x="151120" y="317054"/>
                    </a:lnTo>
                    <a:lnTo>
                      <a:pt x="154295" y="319963"/>
                    </a:lnTo>
                    <a:lnTo>
                      <a:pt x="154559" y="322608"/>
                    </a:lnTo>
                    <a:lnTo>
                      <a:pt x="153413" y="325782"/>
                    </a:lnTo>
                    <a:lnTo>
                      <a:pt x="156940" y="325782"/>
                    </a:lnTo>
                    <a:lnTo>
                      <a:pt x="158350" y="329309"/>
                    </a:lnTo>
                    <a:lnTo>
                      <a:pt x="160466" y="331072"/>
                    </a:lnTo>
                    <a:lnTo>
                      <a:pt x="158615" y="331866"/>
                    </a:lnTo>
                    <a:lnTo>
                      <a:pt x="160731" y="332483"/>
                    </a:lnTo>
                    <a:lnTo>
                      <a:pt x="160466" y="331072"/>
                    </a:lnTo>
                    <a:lnTo>
                      <a:pt x="161877" y="332483"/>
                    </a:lnTo>
                    <a:lnTo>
                      <a:pt x="161877" y="331072"/>
                    </a:lnTo>
                    <a:lnTo>
                      <a:pt x="162141" y="333629"/>
                    </a:lnTo>
                    <a:lnTo>
                      <a:pt x="163905" y="334246"/>
                    </a:lnTo>
                    <a:lnTo>
                      <a:pt x="166814" y="332748"/>
                    </a:lnTo>
                    <a:lnTo>
                      <a:pt x="166550" y="331072"/>
                    </a:lnTo>
                    <a:lnTo>
                      <a:pt x="168842" y="332748"/>
                    </a:lnTo>
                    <a:lnTo>
                      <a:pt x="169724" y="331072"/>
                    </a:lnTo>
                    <a:lnTo>
                      <a:pt x="171752" y="331072"/>
                    </a:lnTo>
                    <a:lnTo>
                      <a:pt x="169988" y="334511"/>
                    </a:lnTo>
                    <a:lnTo>
                      <a:pt x="173251" y="333629"/>
                    </a:lnTo>
                    <a:lnTo>
                      <a:pt x="173515" y="331072"/>
                    </a:lnTo>
                    <a:lnTo>
                      <a:pt x="175278" y="334863"/>
                    </a:lnTo>
                    <a:lnTo>
                      <a:pt x="175014" y="331866"/>
                    </a:lnTo>
                    <a:lnTo>
                      <a:pt x="176777" y="331337"/>
                    </a:lnTo>
                    <a:lnTo>
                      <a:pt x="178805" y="329838"/>
                    </a:lnTo>
                    <a:lnTo>
                      <a:pt x="185506" y="329838"/>
                    </a:lnTo>
                    <a:lnTo>
                      <a:pt x="184624" y="320845"/>
                    </a:lnTo>
                    <a:lnTo>
                      <a:pt x="185506" y="319963"/>
                    </a:lnTo>
                    <a:lnTo>
                      <a:pt x="186035" y="319963"/>
                    </a:lnTo>
                    <a:lnTo>
                      <a:pt x="186917" y="324636"/>
                    </a:lnTo>
                    <a:lnTo>
                      <a:pt x="187534" y="320845"/>
                    </a:lnTo>
                    <a:lnTo>
                      <a:pt x="188416" y="319963"/>
                    </a:lnTo>
                    <a:lnTo>
                      <a:pt x="191325" y="323490"/>
                    </a:lnTo>
                    <a:lnTo>
                      <a:pt x="192471" y="322873"/>
                    </a:lnTo>
                    <a:lnTo>
                      <a:pt x="194852" y="323490"/>
                    </a:lnTo>
                    <a:lnTo>
                      <a:pt x="196262" y="322608"/>
                    </a:lnTo>
                    <a:lnTo>
                      <a:pt x="204198" y="322608"/>
                    </a:lnTo>
                    <a:lnTo>
                      <a:pt x="205873" y="325165"/>
                    </a:lnTo>
                    <a:lnTo>
                      <a:pt x="213808" y="324901"/>
                    </a:lnTo>
                    <a:lnTo>
                      <a:pt x="213191" y="320492"/>
                    </a:lnTo>
                    <a:lnTo>
                      <a:pt x="217246" y="319963"/>
                    </a:lnTo>
                    <a:lnTo>
                      <a:pt x="219627" y="319346"/>
                    </a:lnTo>
                    <a:lnTo>
                      <a:pt x="221391" y="318200"/>
                    </a:lnTo>
                    <a:lnTo>
                      <a:pt x="223683" y="318200"/>
                    </a:lnTo>
                    <a:lnTo>
                      <a:pt x="224300" y="322608"/>
                    </a:lnTo>
                    <a:lnTo>
                      <a:pt x="226063" y="323490"/>
                    </a:lnTo>
                    <a:lnTo>
                      <a:pt x="229238" y="323490"/>
                    </a:lnTo>
                    <a:lnTo>
                      <a:pt x="230119" y="322873"/>
                    </a:lnTo>
                    <a:lnTo>
                      <a:pt x="231001" y="322608"/>
                    </a:lnTo>
                    <a:lnTo>
                      <a:pt x="230472" y="320845"/>
                    </a:lnTo>
                    <a:lnTo>
                      <a:pt x="233293" y="319963"/>
                    </a:lnTo>
                    <a:lnTo>
                      <a:pt x="234792" y="319081"/>
                    </a:lnTo>
                    <a:lnTo>
                      <a:pt x="235057" y="317583"/>
                    </a:lnTo>
                    <a:lnTo>
                      <a:pt x="232412" y="317583"/>
                    </a:lnTo>
                    <a:lnTo>
                      <a:pt x="231883" y="313791"/>
                    </a:lnTo>
                    <a:lnTo>
                      <a:pt x="234175" y="311499"/>
                    </a:lnTo>
                    <a:lnTo>
                      <a:pt x="233029" y="310088"/>
                    </a:lnTo>
                    <a:lnTo>
                      <a:pt x="232764" y="308325"/>
                    </a:lnTo>
                    <a:lnTo>
                      <a:pt x="231001" y="306297"/>
                    </a:lnTo>
                    <a:lnTo>
                      <a:pt x="228356" y="299861"/>
                    </a:lnTo>
                    <a:lnTo>
                      <a:pt x="224300" y="297216"/>
                    </a:lnTo>
                    <a:lnTo>
                      <a:pt x="221920" y="286988"/>
                    </a:lnTo>
                    <a:lnTo>
                      <a:pt x="213808" y="286988"/>
                    </a:lnTo>
                    <a:lnTo>
                      <a:pt x="212045" y="285489"/>
                    </a:lnTo>
                    <a:lnTo>
                      <a:pt x="210017" y="283814"/>
                    </a:lnTo>
                    <a:lnTo>
                      <a:pt x="209664" y="281698"/>
                    </a:lnTo>
                    <a:lnTo>
                      <a:pt x="207636" y="279670"/>
                    </a:lnTo>
                    <a:lnTo>
                      <a:pt x="209664" y="271823"/>
                    </a:lnTo>
                    <a:lnTo>
                      <a:pt x="210281" y="265387"/>
                    </a:lnTo>
                    <a:lnTo>
                      <a:pt x="204727" y="265122"/>
                    </a:lnTo>
                    <a:lnTo>
                      <a:pt x="200671" y="264505"/>
                    </a:lnTo>
                    <a:lnTo>
                      <a:pt x="198643" y="264505"/>
                    </a:lnTo>
                    <a:lnTo>
                      <a:pt x="197409" y="262742"/>
                    </a:lnTo>
                    <a:lnTo>
                      <a:pt x="193970" y="261067"/>
                    </a:lnTo>
                    <a:lnTo>
                      <a:pt x="191590" y="258686"/>
                    </a:lnTo>
                    <a:lnTo>
                      <a:pt x="190443" y="254366"/>
                    </a:lnTo>
                    <a:lnTo>
                      <a:pt x="192471" y="249957"/>
                    </a:lnTo>
                    <a:lnTo>
                      <a:pt x="195116" y="247312"/>
                    </a:lnTo>
                    <a:lnTo>
                      <a:pt x="196262" y="245549"/>
                    </a:lnTo>
                    <a:lnTo>
                      <a:pt x="198908" y="243257"/>
                    </a:lnTo>
                    <a:lnTo>
                      <a:pt x="200054" y="237702"/>
                    </a:lnTo>
                    <a:lnTo>
                      <a:pt x="202434" y="233294"/>
                    </a:lnTo>
                    <a:lnTo>
                      <a:pt x="204462" y="230737"/>
                    </a:lnTo>
                    <a:lnTo>
                      <a:pt x="206754" y="228709"/>
                    </a:lnTo>
                    <a:lnTo>
                      <a:pt x="207901" y="227827"/>
                    </a:lnTo>
                    <a:lnTo>
                      <a:pt x="209135" y="227827"/>
                    </a:lnTo>
                    <a:lnTo>
                      <a:pt x="210899" y="228973"/>
                    </a:lnTo>
                    <a:lnTo>
                      <a:pt x="213191" y="230737"/>
                    </a:lnTo>
                    <a:lnTo>
                      <a:pt x="214954" y="235939"/>
                    </a:lnTo>
                    <a:lnTo>
                      <a:pt x="220244" y="236291"/>
                    </a:lnTo>
                    <a:lnTo>
                      <a:pt x="227210" y="232147"/>
                    </a:lnTo>
                    <a:lnTo>
                      <a:pt x="233293" y="232147"/>
                    </a:lnTo>
                    <a:lnTo>
                      <a:pt x="239729" y="230120"/>
                    </a:lnTo>
                    <a:lnTo>
                      <a:pt x="239113" y="226328"/>
                    </a:lnTo>
                    <a:lnTo>
                      <a:pt x="240347" y="223419"/>
                    </a:lnTo>
                    <a:lnTo>
                      <a:pt x="242992" y="221655"/>
                    </a:lnTo>
                    <a:lnTo>
                      <a:pt x="243785" y="219892"/>
                    </a:lnTo>
                    <a:lnTo>
                      <a:pt x="244402" y="212662"/>
                    </a:lnTo>
                    <a:lnTo>
                      <a:pt x="245901" y="210017"/>
                    </a:lnTo>
                    <a:lnTo>
                      <a:pt x="257539" y="203581"/>
                    </a:lnTo>
                    <a:lnTo>
                      <a:pt x="261066" y="190444"/>
                    </a:lnTo>
                    <a:lnTo>
                      <a:pt x="260449" y="180833"/>
                    </a:lnTo>
                    <a:lnTo>
                      <a:pt x="265122" y="179687"/>
                    </a:lnTo>
                    <a:lnTo>
                      <a:pt x="269530" y="177924"/>
                    </a:lnTo>
                    <a:lnTo>
                      <a:pt x="273586" y="174397"/>
                    </a:lnTo>
                    <a:lnTo>
                      <a:pt x="269530" y="169724"/>
                    </a:lnTo>
                    <a:lnTo>
                      <a:pt x="272176" y="167696"/>
                    </a:lnTo>
                    <a:lnTo>
                      <a:pt x="271823" y="166286"/>
                    </a:lnTo>
                    <a:lnTo>
                      <a:pt x="273851" y="166286"/>
                    </a:lnTo>
                    <a:lnTo>
                      <a:pt x="273586" y="164522"/>
                    </a:lnTo>
                    <a:lnTo>
                      <a:pt x="274997" y="162142"/>
                    </a:lnTo>
                    <a:lnTo>
                      <a:pt x="276760" y="159232"/>
                    </a:lnTo>
                    <a:lnTo>
                      <a:pt x="276496" y="157821"/>
                    </a:lnTo>
                    <a:lnTo>
                      <a:pt x="279141" y="157821"/>
                    </a:lnTo>
                    <a:lnTo>
                      <a:pt x="278524" y="155176"/>
                    </a:lnTo>
                    <a:lnTo>
                      <a:pt x="280551" y="155176"/>
                    </a:lnTo>
                    <a:lnTo>
                      <a:pt x="280022" y="152531"/>
                    </a:lnTo>
                    <a:lnTo>
                      <a:pt x="283461" y="152531"/>
                    </a:lnTo>
                    <a:lnTo>
                      <a:pt x="280022" y="151650"/>
                    </a:lnTo>
                    <a:lnTo>
                      <a:pt x="279670" y="150768"/>
                    </a:lnTo>
                    <a:lnTo>
                      <a:pt x="278788" y="146977"/>
                    </a:lnTo>
                    <a:lnTo>
                      <a:pt x="280022" y="142656"/>
                    </a:lnTo>
                    <a:lnTo>
                      <a:pt x="277995" y="139394"/>
                    </a:lnTo>
                    <a:lnTo>
                      <a:pt x="276496" y="135339"/>
                    </a:lnTo>
                    <a:lnTo>
                      <a:pt x="276231" y="134192"/>
                    </a:lnTo>
                    <a:lnTo>
                      <a:pt x="278788" y="131812"/>
                    </a:lnTo>
                    <a:lnTo>
                      <a:pt x="282051" y="130930"/>
                    </a:lnTo>
                    <a:lnTo>
                      <a:pt x="282580" y="129519"/>
                    </a:lnTo>
                    <a:lnTo>
                      <a:pt x="282580" y="128638"/>
                    </a:lnTo>
                    <a:lnTo>
                      <a:pt x="285577" y="128021"/>
                    </a:lnTo>
                    <a:lnTo>
                      <a:pt x="285577" y="127756"/>
                    </a:lnTo>
                    <a:lnTo>
                      <a:pt x="285577" y="128021"/>
                    </a:lnTo>
                    <a:lnTo>
                      <a:pt x="286988" y="127756"/>
                    </a:lnTo>
                    <a:lnTo>
                      <a:pt x="288487" y="127756"/>
                    </a:lnTo>
                    <a:lnTo>
                      <a:pt x="289633" y="126257"/>
                    </a:lnTo>
                    <a:lnTo>
                      <a:pt x="291043" y="126257"/>
                    </a:lnTo>
                    <a:lnTo>
                      <a:pt x="290162" y="122466"/>
                    </a:lnTo>
                    <a:lnTo>
                      <a:pt x="289897" y="120703"/>
                    </a:lnTo>
                    <a:lnTo>
                      <a:pt x="286723" y="119556"/>
                    </a:lnTo>
                    <a:lnTo>
                      <a:pt x="282932" y="118410"/>
                    </a:lnTo>
                    <a:lnTo>
                      <a:pt x="279141" y="118410"/>
                    </a:lnTo>
                    <a:lnTo>
                      <a:pt x="276760" y="118410"/>
                    </a:lnTo>
                    <a:lnTo>
                      <a:pt x="275879" y="117881"/>
                    </a:lnTo>
                    <a:lnTo>
                      <a:pt x="274732" y="113737"/>
                    </a:lnTo>
                    <a:lnTo>
                      <a:pt x="273851" y="109946"/>
                    </a:lnTo>
                    <a:lnTo>
                      <a:pt x="274997" y="107918"/>
                    </a:lnTo>
                    <a:lnTo>
                      <a:pt x="272440" y="107918"/>
                    </a:lnTo>
                    <a:lnTo>
                      <a:pt x="272705" y="110210"/>
                    </a:lnTo>
                    <a:lnTo>
                      <a:pt x="268649" y="110210"/>
                    </a:lnTo>
                    <a:lnTo>
                      <a:pt x="267767" y="110210"/>
                    </a:lnTo>
                    <a:lnTo>
                      <a:pt x="264240" y="103510"/>
                    </a:lnTo>
                    <a:lnTo>
                      <a:pt x="263094" y="103510"/>
                    </a:lnTo>
                    <a:lnTo>
                      <a:pt x="259567" y="100336"/>
                    </a:lnTo>
                    <a:lnTo>
                      <a:pt x="257275" y="99454"/>
                    </a:lnTo>
                    <a:lnTo>
                      <a:pt x="256922" y="97955"/>
                    </a:lnTo>
                    <a:lnTo>
                      <a:pt x="258686" y="97955"/>
                    </a:lnTo>
                    <a:lnTo>
                      <a:pt x="259567" y="96809"/>
                    </a:lnTo>
                    <a:lnTo>
                      <a:pt x="260449" y="93635"/>
                    </a:lnTo>
                    <a:lnTo>
                      <a:pt x="257804" y="89844"/>
                    </a:lnTo>
                    <a:lnTo>
                      <a:pt x="256041" y="89579"/>
                    </a:lnTo>
                    <a:lnTo>
                      <a:pt x="254630" y="88697"/>
                    </a:lnTo>
                    <a:lnTo>
                      <a:pt x="254013" y="86052"/>
                    </a:lnTo>
                    <a:lnTo>
                      <a:pt x="255159" y="85171"/>
                    </a:lnTo>
                    <a:lnTo>
                      <a:pt x="258157" y="82526"/>
                    </a:lnTo>
                    <a:lnTo>
                      <a:pt x="258686" y="80762"/>
                    </a:lnTo>
                    <a:lnTo>
                      <a:pt x="258686" y="80233"/>
                    </a:lnTo>
                    <a:lnTo>
                      <a:pt x="256658" y="78734"/>
                    </a:lnTo>
                    <a:lnTo>
                      <a:pt x="252338" y="78734"/>
                    </a:lnTo>
                    <a:lnTo>
                      <a:pt x="250221" y="77588"/>
                    </a:lnTo>
                    <a:lnTo>
                      <a:pt x="252602" y="74679"/>
                    </a:lnTo>
                    <a:lnTo>
                      <a:pt x="251456" y="71769"/>
                    </a:lnTo>
                    <a:lnTo>
                      <a:pt x="250221" y="71152"/>
                    </a:lnTo>
                    <a:lnTo>
                      <a:pt x="247312" y="71152"/>
                    </a:lnTo>
                    <a:lnTo>
                      <a:pt x="245549" y="72651"/>
                    </a:lnTo>
                    <a:lnTo>
                      <a:pt x="245549" y="71152"/>
                    </a:lnTo>
                    <a:lnTo>
                      <a:pt x="247312" y="65950"/>
                    </a:lnTo>
                    <a:lnTo>
                      <a:pt x="247047" y="64716"/>
                    </a:lnTo>
                    <a:lnTo>
                      <a:pt x="249692" y="63040"/>
                    </a:lnTo>
                    <a:lnTo>
                      <a:pt x="251456" y="63305"/>
                    </a:lnTo>
                    <a:lnTo>
                      <a:pt x="252338" y="61541"/>
                    </a:lnTo>
                    <a:lnTo>
                      <a:pt x="253396" y="60395"/>
                    </a:lnTo>
                    <a:lnTo>
                      <a:pt x="255512" y="60395"/>
                    </a:lnTo>
                    <a:lnTo>
                      <a:pt x="259920" y="61541"/>
                    </a:lnTo>
                    <a:lnTo>
                      <a:pt x="262477" y="63040"/>
                    </a:lnTo>
                    <a:lnTo>
                      <a:pt x="265387" y="62423"/>
                    </a:lnTo>
                    <a:lnTo>
                      <a:pt x="267150" y="63305"/>
                    </a:lnTo>
                    <a:lnTo>
                      <a:pt x="272440" y="63305"/>
                    </a:lnTo>
                    <a:lnTo>
                      <a:pt x="274997" y="64451"/>
                    </a:lnTo>
                    <a:lnTo>
                      <a:pt x="277995" y="66832"/>
                    </a:lnTo>
                    <a:lnTo>
                      <a:pt x="282580" y="70006"/>
                    </a:lnTo>
                    <a:lnTo>
                      <a:pt x="286106" y="67096"/>
                    </a:lnTo>
                    <a:lnTo>
                      <a:pt x="294041" y="63305"/>
                    </a:lnTo>
                    <a:lnTo>
                      <a:pt x="297215" y="64187"/>
                    </a:lnTo>
                    <a:lnTo>
                      <a:pt x="297480" y="62423"/>
                    </a:lnTo>
                    <a:lnTo>
                      <a:pt x="299508" y="61277"/>
                    </a:lnTo>
                    <a:lnTo>
                      <a:pt x="301888" y="61277"/>
                    </a:lnTo>
                    <a:lnTo>
                      <a:pt x="305062" y="61277"/>
                    </a:lnTo>
                    <a:lnTo>
                      <a:pt x="306826" y="61277"/>
                    </a:lnTo>
                    <a:lnTo>
                      <a:pt x="308325" y="60131"/>
                    </a:lnTo>
                    <a:lnTo>
                      <a:pt x="309206" y="5863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4" name="Freihandform: Form 2013">
                <a:extLst>
                  <a:ext uri="{FF2B5EF4-FFF2-40B4-BE49-F238E27FC236}">
                    <a16:creationId xmlns:a16="http://schemas.microsoft.com/office/drawing/2014/main" id="{01554257-5C02-C97A-2C56-976F3084352B}"/>
                  </a:ext>
                </a:extLst>
              </p:cNvPr>
              <p:cNvSpPr/>
              <p:nvPr/>
            </p:nvSpPr>
            <p:spPr>
              <a:xfrm>
                <a:off x="5754562" y="2859961"/>
                <a:ext cx="654032" cy="255776"/>
              </a:xfrm>
              <a:custGeom>
                <a:avLst/>
                <a:gdLst>
                  <a:gd name="connsiteX0" fmla="*/ 244491 w 654032"/>
                  <a:gd name="connsiteY0" fmla="*/ 224565 h 255776"/>
                  <a:gd name="connsiteX1" fmla="*/ 246166 w 654032"/>
                  <a:gd name="connsiteY1" fmla="*/ 227474 h 255776"/>
                  <a:gd name="connsiteX2" fmla="*/ 258775 w 654032"/>
                  <a:gd name="connsiteY2" fmla="*/ 228092 h 255776"/>
                  <a:gd name="connsiteX3" fmla="*/ 262566 w 654032"/>
                  <a:gd name="connsiteY3" fmla="*/ 228356 h 255776"/>
                  <a:gd name="connsiteX4" fmla="*/ 263447 w 654032"/>
                  <a:gd name="connsiteY4" fmla="*/ 226945 h 255776"/>
                  <a:gd name="connsiteX5" fmla="*/ 274468 w 654032"/>
                  <a:gd name="connsiteY5" fmla="*/ 228356 h 255776"/>
                  <a:gd name="connsiteX6" fmla="*/ 301624 w 654032"/>
                  <a:gd name="connsiteY6" fmla="*/ 230737 h 255776"/>
                  <a:gd name="connsiteX7" fmla="*/ 313880 w 654032"/>
                  <a:gd name="connsiteY7" fmla="*/ 227474 h 255776"/>
                  <a:gd name="connsiteX8" fmla="*/ 351527 w 654032"/>
                  <a:gd name="connsiteY8" fmla="*/ 231883 h 255776"/>
                  <a:gd name="connsiteX9" fmla="*/ 359374 w 654032"/>
                  <a:gd name="connsiteY9" fmla="*/ 239201 h 255776"/>
                  <a:gd name="connsiteX10" fmla="*/ 371013 w 654032"/>
                  <a:gd name="connsiteY10" fmla="*/ 241758 h 255776"/>
                  <a:gd name="connsiteX11" fmla="*/ 380623 w 654032"/>
                  <a:gd name="connsiteY11" fmla="*/ 242992 h 255776"/>
                  <a:gd name="connsiteX12" fmla="*/ 388558 w 654032"/>
                  <a:gd name="connsiteY12" fmla="*/ 246166 h 255776"/>
                  <a:gd name="connsiteX13" fmla="*/ 399932 w 654032"/>
                  <a:gd name="connsiteY13" fmla="*/ 249076 h 255776"/>
                  <a:gd name="connsiteX14" fmla="*/ 405222 w 654032"/>
                  <a:gd name="connsiteY14" fmla="*/ 249076 h 255776"/>
                  <a:gd name="connsiteX15" fmla="*/ 414480 w 654032"/>
                  <a:gd name="connsiteY15" fmla="*/ 247929 h 255776"/>
                  <a:gd name="connsiteX16" fmla="*/ 416243 w 654032"/>
                  <a:gd name="connsiteY16" fmla="*/ 252602 h 255776"/>
                  <a:gd name="connsiteX17" fmla="*/ 424972 w 654032"/>
                  <a:gd name="connsiteY17" fmla="*/ 255776 h 255776"/>
                  <a:gd name="connsiteX18" fmla="*/ 429115 w 654032"/>
                  <a:gd name="connsiteY18" fmla="*/ 250839 h 255776"/>
                  <a:gd name="connsiteX19" fmla="*/ 435199 w 654032"/>
                  <a:gd name="connsiteY19" fmla="*/ 245902 h 255776"/>
                  <a:gd name="connsiteX20" fmla="*/ 438991 w 654032"/>
                  <a:gd name="connsiteY20" fmla="*/ 243521 h 255776"/>
                  <a:gd name="connsiteX21" fmla="*/ 444545 w 654032"/>
                  <a:gd name="connsiteY21" fmla="*/ 241758 h 255776"/>
                  <a:gd name="connsiteX22" fmla="*/ 454773 w 654032"/>
                  <a:gd name="connsiteY22" fmla="*/ 237437 h 255776"/>
                  <a:gd name="connsiteX23" fmla="*/ 462620 w 654032"/>
                  <a:gd name="connsiteY23" fmla="*/ 234528 h 255776"/>
                  <a:gd name="connsiteX24" fmla="*/ 462355 w 654032"/>
                  <a:gd name="connsiteY24" fmla="*/ 233029 h 255776"/>
                  <a:gd name="connsiteX25" fmla="*/ 465882 w 654032"/>
                  <a:gd name="connsiteY25" fmla="*/ 232500 h 255776"/>
                  <a:gd name="connsiteX26" fmla="*/ 466146 w 654032"/>
                  <a:gd name="connsiteY26" fmla="*/ 233646 h 255776"/>
                  <a:gd name="connsiteX27" fmla="*/ 471084 w 654032"/>
                  <a:gd name="connsiteY27" fmla="*/ 233029 h 255776"/>
                  <a:gd name="connsiteX28" fmla="*/ 481576 w 654032"/>
                  <a:gd name="connsiteY28" fmla="*/ 231883 h 255776"/>
                  <a:gd name="connsiteX29" fmla="*/ 483339 w 654032"/>
                  <a:gd name="connsiteY29" fmla="*/ 233382 h 255776"/>
                  <a:gd name="connsiteX30" fmla="*/ 488012 w 654032"/>
                  <a:gd name="connsiteY30" fmla="*/ 233382 h 255776"/>
                  <a:gd name="connsiteX31" fmla="*/ 494096 w 654032"/>
                  <a:gd name="connsiteY31" fmla="*/ 233646 h 255776"/>
                  <a:gd name="connsiteX32" fmla="*/ 495595 w 654032"/>
                  <a:gd name="connsiteY32" fmla="*/ 232764 h 255776"/>
                  <a:gd name="connsiteX33" fmla="*/ 502296 w 654032"/>
                  <a:gd name="connsiteY33" fmla="*/ 232764 h 255776"/>
                  <a:gd name="connsiteX34" fmla="*/ 506704 w 654032"/>
                  <a:gd name="connsiteY34" fmla="*/ 232764 h 255776"/>
                  <a:gd name="connsiteX35" fmla="*/ 506087 w 654032"/>
                  <a:gd name="connsiteY35" fmla="*/ 231883 h 255776"/>
                  <a:gd name="connsiteX36" fmla="*/ 508114 w 654032"/>
                  <a:gd name="connsiteY36" fmla="*/ 230119 h 255776"/>
                  <a:gd name="connsiteX37" fmla="*/ 513405 w 654032"/>
                  <a:gd name="connsiteY37" fmla="*/ 227474 h 255776"/>
                  <a:gd name="connsiteX38" fmla="*/ 516579 w 654032"/>
                  <a:gd name="connsiteY38" fmla="*/ 227827 h 255776"/>
                  <a:gd name="connsiteX39" fmla="*/ 519753 w 654032"/>
                  <a:gd name="connsiteY39" fmla="*/ 224565 h 255776"/>
                  <a:gd name="connsiteX40" fmla="*/ 520722 w 654032"/>
                  <a:gd name="connsiteY40" fmla="*/ 223154 h 255776"/>
                  <a:gd name="connsiteX41" fmla="*/ 521251 w 654032"/>
                  <a:gd name="connsiteY41" fmla="*/ 219892 h 255776"/>
                  <a:gd name="connsiteX42" fmla="*/ 525925 w 654032"/>
                  <a:gd name="connsiteY42" fmla="*/ 207989 h 255776"/>
                  <a:gd name="connsiteX43" fmla="*/ 537915 w 654032"/>
                  <a:gd name="connsiteY43" fmla="*/ 199789 h 255776"/>
                  <a:gd name="connsiteX44" fmla="*/ 535799 w 654032"/>
                  <a:gd name="connsiteY44" fmla="*/ 196880 h 255776"/>
                  <a:gd name="connsiteX45" fmla="*/ 517725 w 654032"/>
                  <a:gd name="connsiteY45" fmla="*/ 184624 h 255776"/>
                  <a:gd name="connsiteX46" fmla="*/ 516579 w 654032"/>
                  <a:gd name="connsiteY46" fmla="*/ 182332 h 255776"/>
                  <a:gd name="connsiteX47" fmla="*/ 518959 w 654032"/>
                  <a:gd name="connsiteY47" fmla="*/ 170077 h 255776"/>
                  <a:gd name="connsiteX48" fmla="*/ 521251 w 654032"/>
                  <a:gd name="connsiteY48" fmla="*/ 167696 h 255776"/>
                  <a:gd name="connsiteX49" fmla="*/ 530597 w 654032"/>
                  <a:gd name="connsiteY49" fmla="*/ 167696 h 255776"/>
                  <a:gd name="connsiteX50" fmla="*/ 542236 w 654032"/>
                  <a:gd name="connsiteY50" fmla="*/ 174397 h 255776"/>
                  <a:gd name="connsiteX51" fmla="*/ 544616 w 654032"/>
                  <a:gd name="connsiteY51" fmla="*/ 175279 h 255776"/>
                  <a:gd name="connsiteX52" fmla="*/ 546909 w 654032"/>
                  <a:gd name="connsiteY52" fmla="*/ 175279 h 255776"/>
                  <a:gd name="connsiteX53" fmla="*/ 549818 w 654032"/>
                  <a:gd name="connsiteY53" fmla="*/ 174750 h 255776"/>
                  <a:gd name="connsiteX54" fmla="*/ 554491 w 654032"/>
                  <a:gd name="connsiteY54" fmla="*/ 174750 h 255776"/>
                  <a:gd name="connsiteX55" fmla="*/ 558018 w 654032"/>
                  <a:gd name="connsiteY55" fmla="*/ 175896 h 255776"/>
                  <a:gd name="connsiteX56" fmla="*/ 560310 w 654032"/>
                  <a:gd name="connsiteY56" fmla="*/ 172369 h 255776"/>
                  <a:gd name="connsiteX57" fmla="*/ 562073 w 654032"/>
                  <a:gd name="connsiteY57" fmla="*/ 171840 h 255776"/>
                  <a:gd name="connsiteX58" fmla="*/ 564718 w 654032"/>
                  <a:gd name="connsiteY58" fmla="*/ 171840 h 255776"/>
                  <a:gd name="connsiteX59" fmla="*/ 567364 w 654032"/>
                  <a:gd name="connsiteY59" fmla="*/ 168313 h 255776"/>
                  <a:gd name="connsiteX60" fmla="*/ 568510 w 654032"/>
                  <a:gd name="connsiteY60" fmla="*/ 165668 h 255776"/>
                  <a:gd name="connsiteX61" fmla="*/ 568774 w 654032"/>
                  <a:gd name="connsiteY61" fmla="*/ 160731 h 255776"/>
                  <a:gd name="connsiteX62" fmla="*/ 571419 w 654032"/>
                  <a:gd name="connsiteY62" fmla="*/ 159232 h 255776"/>
                  <a:gd name="connsiteX63" fmla="*/ 575828 w 654032"/>
                  <a:gd name="connsiteY63" fmla="*/ 160731 h 255776"/>
                  <a:gd name="connsiteX64" fmla="*/ 580501 w 654032"/>
                  <a:gd name="connsiteY64" fmla="*/ 160731 h 255776"/>
                  <a:gd name="connsiteX65" fmla="*/ 589847 w 654032"/>
                  <a:gd name="connsiteY65" fmla="*/ 159232 h 255776"/>
                  <a:gd name="connsiteX66" fmla="*/ 591257 w 654032"/>
                  <a:gd name="connsiteY66" fmla="*/ 156675 h 255776"/>
                  <a:gd name="connsiteX67" fmla="*/ 593285 w 654032"/>
                  <a:gd name="connsiteY67" fmla="*/ 154030 h 255776"/>
                  <a:gd name="connsiteX68" fmla="*/ 595666 w 654032"/>
                  <a:gd name="connsiteY68" fmla="*/ 154030 h 255776"/>
                  <a:gd name="connsiteX69" fmla="*/ 596548 w 654032"/>
                  <a:gd name="connsiteY69" fmla="*/ 150239 h 255776"/>
                  <a:gd name="connsiteX70" fmla="*/ 593285 w 654032"/>
                  <a:gd name="connsiteY70" fmla="*/ 147594 h 255776"/>
                  <a:gd name="connsiteX71" fmla="*/ 593902 w 654032"/>
                  <a:gd name="connsiteY71" fmla="*/ 145830 h 255776"/>
                  <a:gd name="connsiteX72" fmla="*/ 594784 w 654032"/>
                  <a:gd name="connsiteY72" fmla="*/ 142921 h 255776"/>
                  <a:gd name="connsiteX73" fmla="*/ 596195 w 654032"/>
                  <a:gd name="connsiteY73" fmla="*/ 140011 h 255776"/>
                  <a:gd name="connsiteX74" fmla="*/ 598575 w 654032"/>
                  <a:gd name="connsiteY74" fmla="*/ 138248 h 255776"/>
                  <a:gd name="connsiteX75" fmla="*/ 598223 w 654032"/>
                  <a:gd name="connsiteY75" fmla="*/ 135956 h 255776"/>
                  <a:gd name="connsiteX76" fmla="*/ 604659 w 654032"/>
                  <a:gd name="connsiteY76" fmla="*/ 136837 h 255776"/>
                  <a:gd name="connsiteX77" fmla="*/ 606951 w 654032"/>
                  <a:gd name="connsiteY77" fmla="*/ 133046 h 255776"/>
                  <a:gd name="connsiteX78" fmla="*/ 607569 w 654032"/>
                  <a:gd name="connsiteY78" fmla="*/ 131283 h 255776"/>
                  <a:gd name="connsiteX79" fmla="*/ 611095 w 654032"/>
                  <a:gd name="connsiteY79" fmla="*/ 130401 h 255776"/>
                  <a:gd name="connsiteX80" fmla="*/ 613123 w 654032"/>
                  <a:gd name="connsiteY80" fmla="*/ 133046 h 255776"/>
                  <a:gd name="connsiteX81" fmla="*/ 616385 w 654032"/>
                  <a:gd name="connsiteY81" fmla="*/ 132429 h 255776"/>
                  <a:gd name="connsiteX82" fmla="*/ 617179 w 654032"/>
                  <a:gd name="connsiteY82" fmla="*/ 131547 h 255776"/>
                  <a:gd name="connsiteX83" fmla="*/ 618942 w 654032"/>
                  <a:gd name="connsiteY83" fmla="*/ 128902 h 255776"/>
                  <a:gd name="connsiteX84" fmla="*/ 620441 w 654032"/>
                  <a:gd name="connsiteY84" fmla="*/ 128638 h 255776"/>
                  <a:gd name="connsiteX85" fmla="*/ 621940 w 654032"/>
                  <a:gd name="connsiteY85" fmla="*/ 126874 h 255776"/>
                  <a:gd name="connsiteX86" fmla="*/ 625643 w 654032"/>
                  <a:gd name="connsiteY86" fmla="*/ 127756 h 255776"/>
                  <a:gd name="connsiteX87" fmla="*/ 630051 w 654032"/>
                  <a:gd name="connsiteY87" fmla="*/ 127756 h 255776"/>
                  <a:gd name="connsiteX88" fmla="*/ 633843 w 654032"/>
                  <a:gd name="connsiteY88" fmla="*/ 126874 h 255776"/>
                  <a:gd name="connsiteX89" fmla="*/ 641778 w 654032"/>
                  <a:gd name="connsiteY89" fmla="*/ 128902 h 255776"/>
                  <a:gd name="connsiteX90" fmla="*/ 644070 w 654032"/>
                  <a:gd name="connsiteY90" fmla="*/ 130665 h 255776"/>
                  <a:gd name="connsiteX91" fmla="*/ 649007 w 654032"/>
                  <a:gd name="connsiteY91" fmla="*/ 130665 h 255776"/>
                  <a:gd name="connsiteX92" fmla="*/ 654033 w 654032"/>
                  <a:gd name="connsiteY92" fmla="*/ 128902 h 255776"/>
                  <a:gd name="connsiteX93" fmla="*/ 652534 w 654032"/>
                  <a:gd name="connsiteY93" fmla="*/ 126874 h 255776"/>
                  <a:gd name="connsiteX94" fmla="*/ 651036 w 654032"/>
                  <a:gd name="connsiteY94" fmla="*/ 124229 h 255776"/>
                  <a:gd name="connsiteX95" fmla="*/ 647244 w 654032"/>
                  <a:gd name="connsiteY95" fmla="*/ 120791 h 255776"/>
                  <a:gd name="connsiteX96" fmla="*/ 645833 w 654032"/>
                  <a:gd name="connsiteY96" fmla="*/ 118146 h 255776"/>
                  <a:gd name="connsiteX97" fmla="*/ 639397 w 654032"/>
                  <a:gd name="connsiteY97" fmla="*/ 114619 h 255776"/>
                  <a:gd name="connsiteX98" fmla="*/ 637281 w 654032"/>
                  <a:gd name="connsiteY98" fmla="*/ 114619 h 255776"/>
                  <a:gd name="connsiteX99" fmla="*/ 632079 w 654032"/>
                  <a:gd name="connsiteY99" fmla="*/ 110299 h 255776"/>
                  <a:gd name="connsiteX100" fmla="*/ 631550 w 654032"/>
                  <a:gd name="connsiteY100" fmla="*/ 109417 h 255776"/>
                  <a:gd name="connsiteX101" fmla="*/ 626878 w 654032"/>
                  <a:gd name="connsiteY101" fmla="*/ 108183 h 255776"/>
                  <a:gd name="connsiteX102" fmla="*/ 623086 w 654032"/>
                  <a:gd name="connsiteY102" fmla="*/ 104127 h 255776"/>
                  <a:gd name="connsiteX103" fmla="*/ 615503 w 654032"/>
                  <a:gd name="connsiteY103" fmla="*/ 100600 h 255776"/>
                  <a:gd name="connsiteX104" fmla="*/ 606951 w 654032"/>
                  <a:gd name="connsiteY104" fmla="*/ 97426 h 255776"/>
                  <a:gd name="connsiteX105" fmla="*/ 605011 w 654032"/>
                  <a:gd name="connsiteY105" fmla="*/ 96809 h 255776"/>
                  <a:gd name="connsiteX106" fmla="*/ 604394 w 654032"/>
                  <a:gd name="connsiteY106" fmla="*/ 97426 h 255776"/>
                  <a:gd name="connsiteX107" fmla="*/ 597958 w 654032"/>
                  <a:gd name="connsiteY107" fmla="*/ 97426 h 255776"/>
                  <a:gd name="connsiteX108" fmla="*/ 595666 w 654032"/>
                  <a:gd name="connsiteY108" fmla="*/ 97426 h 255776"/>
                  <a:gd name="connsiteX109" fmla="*/ 594519 w 654032"/>
                  <a:gd name="connsiteY109" fmla="*/ 96015 h 255776"/>
                  <a:gd name="connsiteX110" fmla="*/ 591522 w 654032"/>
                  <a:gd name="connsiteY110" fmla="*/ 105626 h 255776"/>
                  <a:gd name="connsiteX111" fmla="*/ 576710 w 654032"/>
                  <a:gd name="connsiteY111" fmla="*/ 99454 h 255776"/>
                  <a:gd name="connsiteX112" fmla="*/ 567011 w 654032"/>
                  <a:gd name="connsiteY112" fmla="*/ 100953 h 255776"/>
                  <a:gd name="connsiteX113" fmla="*/ 563837 w 654032"/>
                  <a:gd name="connsiteY113" fmla="*/ 102099 h 255776"/>
                  <a:gd name="connsiteX114" fmla="*/ 563837 w 654032"/>
                  <a:gd name="connsiteY114" fmla="*/ 105008 h 255776"/>
                  <a:gd name="connsiteX115" fmla="*/ 551846 w 654032"/>
                  <a:gd name="connsiteY115" fmla="*/ 99454 h 255776"/>
                  <a:gd name="connsiteX116" fmla="*/ 546027 w 654032"/>
                  <a:gd name="connsiteY116" fmla="*/ 91607 h 255776"/>
                  <a:gd name="connsiteX117" fmla="*/ 552463 w 654032"/>
                  <a:gd name="connsiteY117" fmla="*/ 90990 h 255776"/>
                  <a:gd name="connsiteX118" fmla="*/ 548672 w 654032"/>
                  <a:gd name="connsiteY118" fmla="*/ 84289 h 255776"/>
                  <a:gd name="connsiteX119" fmla="*/ 550083 w 654032"/>
                  <a:gd name="connsiteY119" fmla="*/ 77324 h 255776"/>
                  <a:gd name="connsiteX120" fmla="*/ 546909 w 654032"/>
                  <a:gd name="connsiteY120" fmla="*/ 75560 h 255776"/>
                  <a:gd name="connsiteX121" fmla="*/ 546909 w 654032"/>
                  <a:gd name="connsiteY121" fmla="*/ 53695 h 255776"/>
                  <a:gd name="connsiteX122" fmla="*/ 533507 w 654032"/>
                  <a:gd name="connsiteY122" fmla="*/ 47875 h 255776"/>
                  <a:gd name="connsiteX123" fmla="*/ 527071 w 654032"/>
                  <a:gd name="connsiteY123" fmla="*/ 51314 h 255776"/>
                  <a:gd name="connsiteX124" fmla="*/ 502913 w 654032"/>
                  <a:gd name="connsiteY124" fmla="*/ 46641 h 255776"/>
                  <a:gd name="connsiteX125" fmla="*/ 481576 w 654032"/>
                  <a:gd name="connsiteY125" fmla="*/ 47875 h 255776"/>
                  <a:gd name="connsiteX126" fmla="*/ 451246 w 654032"/>
                  <a:gd name="connsiteY126" fmla="*/ 64187 h 255776"/>
                  <a:gd name="connsiteX127" fmla="*/ 433171 w 654032"/>
                  <a:gd name="connsiteY127" fmla="*/ 66832 h 255776"/>
                  <a:gd name="connsiteX128" fmla="*/ 422944 w 654032"/>
                  <a:gd name="connsiteY128" fmla="*/ 69124 h 255776"/>
                  <a:gd name="connsiteX129" fmla="*/ 407779 w 654032"/>
                  <a:gd name="connsiteY129" fmla="*/ 64187 h 255776"/>
                  <a:gd name="connsiteX130" fmla="*/ 380359 w 654032"/>
                  <a:gd name="connsiteY130" fmla="*/ 57133 h 255776"/>
                  <a:gd name="connsiteX131" fmla="*/ 358228 w 654032"/>
                  <a:gd name="connsiteY131" fmla="*/ 51931 h 255776"/>
                  <a:gd name="connsiteX132" fmla="*/ 344474 w 654032"/>
                  <a:gd name="connsiteY132" fmla="*/ 40822 h 255776"/>
                  <a:gd name="connsiteX133" fmla="*/ 319434 w 654032"/>
                  <a:gd name="connsiteY133" fmla="*/ 37031 h 255776"/>
                  <a:gd name="connsiteX134" fmla="*/ 307443 w 654032"/>
                  <a:gd name="connsiteY134" fmla="*/ 35620 h 255776"/>
                  <a:gd name="connsiteX135" fmla="*/ 292278 w 654032"/>
                  <a:gd name="connsiteY135" fmla="*/ 34738 h 255776"/>
                  <a:gd name="connsiteX136" fmla="*/ 283550 w 654032"/>
                  <a:gd name="connsiteY136" fmla="*/ 40293 h 255776"/>
                  <a:gd name="connsiteX137" fmla="*/ 273939 w 654032"/>
                  <a:gd name="connsiteY137" fmla="*/ 35884 h 255776"/>
                  <a:gd name="connsiteX138" fmla="*/ 259656 w 654032"/>
                  <a:gd name="connsiteY138" fmla="*/ 34738 h 255776"/>
                  <a:gd name="connsiteX139" fmla="*/ 254630 w 654032"/>
                  <a:gd name="connsiteY139" fmla="*/ 28037 h 255776"/>
                  <a:gd name="connsiteX140" fmla="*/ 250574 w 654032"/>
                  <a:gd name="connsiteY140" fmla="*/ 24246 h 255776"/>
                  <a:gd name="connsiteX141" fmla="*/ 248282 w 654032"/>
                  <a:gd name="connsiteY141" fmla="*/ 17193 h 255776"/>
                  <a:gd name="connsiteX142" fmla="*/ 233029 w 654032"/>
                  <a:gd name="connsiteY142" fmla="*/ 12520 h 255776"/>
                  <a:gd name="connsiteX143" fmla="*/ 214161 w 654032"/>
                  <a:gd name="connsiteY143" fmla="*/ 7935 h 255776"/>
                  <a:gd name="connsiteX144" fmla="*/ 198379 w 654032"/>
                  <a:gd name="connsiteY144" fmla="*/ 6701 h 255776"/>
                  <a:gd name="connsiteX145" fmla="*/ 180569 w 654032"/>
                  <a:gd name="connsiteY145" fmla="*/ 9610 h 255776"/>
                  <a:gd name="connsiteX146" fmla="*/ 173868 w 654032"/>
                  <a:gd name="connsiteY146" fmla="*/ 5555 h 255776"/>
                  <a:gd name="connsiteX147" fmla="*/ 165669 w 654032"/>
                  <a:gd name="connsiteY147" fmla="*/ 0 h 255776"/>
                  <a:gd name="connsiteX148" fmla="*/ 168314 w 654032"/>
                  <a:gd name="connsiteY148" fmla="*/ 8729 h 255776"/>
                  <a:gd name="connsiteX149" fmla="*/ 168666 w 654032"/>
                  <a:gd name="connsiteY149" fmla="*/ 24246 h 255776"/>
                  <a:gd name="connsiteX150" fmla="*/ 178541 w 654032"/>
                  <a:gd name="connsiteY150" fmla="*/ 28566 h 255776"/>
                  <a:gd name="connsiteX151" fmla="*/ 178277 w 654032"/>
                  <a:gd name="connsiteY151" fmla="*/ 37383 h 255776"/>
                  <a:gd name="connsiteX152" fmla="*/ 184096 w 654032"/>
                  <a:gd name="connsiteY152" fmla="*/ 42056 h 255776"/>
                  <a:gd name="connsiteX153" fmla="*/ 182597 w 654032"/>
                  <a:gd name="connsiteY153" fmla="*/ 48404 h 255776"/>
                  <a:gd name="connsiteX154" fmla="*/ 175896 w 654032"/>
                  <a:gd name="connsiteY154" fmla="*/ 53342 h 255776"/>
                  <a:gd name="connsiteX155" fmla="*/ 168931 w 654032"/>
                  <a:gd name="connsiteY155" fmla="*/ 49022 h 255776"/>
                  <a:gd name="connsiteX156" fmla="*/ 157293 w 654032"/>
                  <a:gd name="connsiteY156" fmla="*/ 49286 h 255776"/>
                  <a:gd name="connsiteX157" fmla="*/ 140364 w 654032"/>
                  <a:gd name="connsiteY157" fmla="*/ 51314 h 255776"/>
                  <a:gd name="connsiteX158" fmla="*/ 130137 w 654032"/>
                  <a:gd name="connsiteY158" fmla="*/ 50168 h 255776"/>
                  <a:gd name="connsiteX159" fmla="*/ 113473 w 654032"/>
                  <a:gd name="connsiteY159" fmla="*/ 44349 h 255776"/>
                  <a:gd name="connsiteX160" fmla="*/ 98043 w 654032"/>
                  <a:gd name="connsiteY160" fmla="*/ 42321 h 255776"/>
                  <a:gd name="connsiteX161" fmla="*/ 91607 w 654032"/>
                  <a:gd name="connsiteY161" fmla="*/ 37031 h 255776"/>
                  <a:gd name="connsiteX162" fmla="*/ 71504 w 654032"/>
                  <a:gd name="connsiteY162" fmla="*/ 37031 h 255776"/>
                  <a:gd name="connsiteX163" fmla="*/ 61277 w 654032"/>
                  <a:gd name="connsiteY163" fmla="*/ 37648 h 255776"/>
                  <a:gd name="connsiteX164" fmla="*/ 51667 w 654032"/>
                  <a:gd name="connsiteY164" fmla="*/ 33592 h 255776"/>
                  <a:gd name="connsiteX165" fmla="*/ 46112 w 654032"/>
                  <a:gd name="connsiteY165" fmla="*/ 38530 h 255776"/>
                  <a:gd name="connsiteX166" fmla="*/ 37648 w 654032"/>
                  <a:gd name="connsiteY166" fmla="*/ 44349 h 255776"/>
                  <a:gd name="connsiteX167" fmla="*/ 27156 w 654032"/>
                  <a:gd name="connsiteY167" fmla="*/ 50168 h 255776"/>
                  <a:gd name="connsiteX168" fmla="*/ 26010 w 654032"/>
                  <a:gd name="connsiteY168" fmla="*/ 57486 h 255776"/>
                  <a:gd name="connsiteX169" fmla="*/ 12608 w 654032"/>
                  <a:gd name="connsiteY169" fmla="*/ 59514 h 255776"/>
                  <a:gd name="connsiteX170" fmla="*/ 2028 w 654032"/>
                  <a:gd name="connsiteY170" fmla="*/ 60660 h 255776"/>
                  <a:gd name="connsiteX171" fmla="*/ 0 w 654032"/>
                  <a:gd name="connsiteY171" fmla="*/ 70270 h 255776"/>
                  <a:gd name="connsiteX172" fmla="*/ 6701 w 654032"/>
                  <a:gd name="connsiteY172" fmla="*/ 78470 h 255776"/>
                  <a:gd name="connsiteX173" fmla="*/ 8464 w 654032"/>
                  <a:gd name="connsiteY173" fmla="*/ 79352 h 255776"/>
                  <a:gd name="connsiteX174" fmla="*/ 12608 w 654032"/>
                  <a:gd name="connsiteY174" fmla="*/ 81115 h 255776"/>
                  <a:gd name="connsiteX175" fmla="*/ 11374 w 654032"/>
                  <a:gd name="connsiteY175" fmla="*/ 84553 h 255776"/>
                  <a:gd name="connsiteX176" fmla="*/ 14019 w 654032"/>
                  <a:gd name="connsiteY176" fmla="*/ 84553 h 255776"/>
                  <a:gd name="connsiteX177" fmla="*/ 16311 w 654032"/>
                  <a:gd name="connsiteY177" fmla="*/ 86052 h 255776"/>
                  <a:gd name="connsiteX178" fmla="*/ 18692 w 654032"/>
                  <a:gd name="connsiteY178" fmla="*/ 85171 h 255776"/>
                  <a:gd name="connsiteX179" fmla="*/ 19838 w 654032"/>
                  <a:gd name="connsiteY179" fmla="*/ 87463 h 255776"/>
                  <a:gd name="connsiteX180" fmla="*/ 22483 w 654032"/>
                  <a:gd name="connsiteY180" fmla="*/ 88962 h 255776"/>
                  <a:gd name="connsiteX181" fmla="*/ 22483 w 654032"/>
                  <a:gd name="connsiteY181" fmla="*/ 87463 h 255776"/>
                  <a:gd name="connsiteX182" fmla="*/ 26275 w 654032"/>
                  <a:gd name="connsiteY182" fmla="*/ 89579 h 255776"/>
                  <a:gd name="connsiteX183" fmla="*/ 25393 w 654032"/>
                  <a:gd name="connsiteY183" fmla="*/ 90725 h 255776"/>
                  <a:gd name="connsiteX184" fmla="*/ 30947 w 654032"/>
                  <a:gd name="connsiteY184" fmla="*/ 93370 h 255776"/>
                  <a:gd name="connsiteX185" fmla="*/ 31829 w 654032"/>
                  <a:gd name="connsiteY185" fmla="*/ 95398 h 255776"/>
                  <a:gd name="connsiteX186" fmla="*/ 36149 w 654032"/>
                  <a:gd name="connsiteY186" fmla="*/ 99454 h 255776"/>
                  <a:gd name="connsiteX187" fmla="*/ 42321 w 654032"/>
                  <a:gd name="connsiteY187" fmla="*/ 98308 h 255776"/>
                  <a:gd name="connsiteX188" fmla="*/ 42321 w 654032"/>
                  <a:gd name="connsiteY188" fmla="*/ 97161 h 255776"/>
                  <a:gd name="connsiteX189" fmla="*/ 44084 w 654032"/>
                  <a:gd name="connsiteY189" fmla="*/ 96544 h 255776"/>
                  <a:gd name="connsiteX190" fmla="*/ 47875 w 654032"/>
                  <a:gd name="connsiteY190" fmla="*/ 97161 h 255776"/>
                  <a:gd name="connsiteX191" fmla="*/ 49022 w 654032"/>
                  <a:gd name="connsiteY191" fmla="*/ 98925 h 255776"/>
                  <a:gd name="connsiteX192" fmla="*/ 53430 w 654032"/>
                  <a:gd name="connsiteY192" fmla="*/ 101217 h 255776"/>
                  <a:gd name="connsiteX193" fmla="*/ 59249 w 654032"/>
                  <a:gd name="connsiteY193" fmla="*/ 100953 h 255776"/>
                  <a:gd name="connsiteX194" fmla="*/ 67096 w 654032"/>
                  <a:gd name="connsiteY194" fmla="*/ 106507 h 255776"/>
                  <a:gd name="connsiteX195" fmla="*/ 70623 w 654032"/>
                  <a:gd name="connsiteY195" fmla="*/ 110563 h 255776"/>
                  <a:gd name="connsiteX196" fmla="*/ 71769 w 654032"/>
                  <a:gd name="connsiteY196" fmla="*/ 110563 h 255776"/>
                  <a:gd name="connsiteX197" fmla="*/ 74414 w 654032"/>
                  <a:gd name="connsiteY197" fmla="*/ 116118 h 255776"/>
                  <a:gd name="connsiteX198" fmla="*/ 88168 w 654032"/>
                  <a:gd name="connsiteY198" fmla="*/ 125993 h 255776"/>
                  <a:gd name="connsiteX199" fmla="*/ 90461 w 654032"/>
                  <a:gd name="connsiteY199" fmla="*/ 127139 h 255776"/>
                  <a:gd name="connsiteX200" fmla="*/ 91342 w 654032"/>
                  <a:gd name="connsiteY200" fmla="*/ 130665 h 255776"/>
                  <a:gd name="connsiteX201" fmla="*/ 91871 w 654032"/>
                  <a:gd name="connsiteY201" fmla="*/ 134457 h 255776"/>
                  <a:gd name="connsiteX202" fmla="*/ 91871 w 654032"/>
                  <a:gd name="connsiteY202" fmla="*/ 138512 h 255776"/>
                  <a:gd name="connsiteX203" fmla="*/ 97426 w 654032"/>
                  <a:gd name="connsiteY203" fmla="*/ 146712 h 255776"/>
                  <a:gd name="connsiteX204" fmla="*/ 95134 w 654032"/>
                  <a:gd name="connsiteY204" fmla="*/ 156058 h 255776"/>
                  <a:gd name="connsiteX205" fmla="*/ 100071 w 654032"/>
                  <a:gd name="connsiteY205" fmla="*/ 162759 h 255776"/>
                  <a:gd name="connsiteX206" fmla="*/ 103598 w 654032"/>
                  <a:gd name="connsiteY206" fmla="*/ 165404 h 255776"/>
                  <a:gd name="connsiteX207" fmla="*/ 108800 w 654032"/>
                  <a:gd name="connsiteY207" fmla="*/ 165404 h 255776"/>
                  <a:gd name="connsiteX208" fmla="*/ 116735 w 654032"/>
                  <a:gd name="connsiteY208" fmla="*/ 167696 h 255776"/>
                  <a:gd name="connsiteX209" fmla="*/ 121056 w 654032"/>
                  <a:gd name="connsiteY209" fmla="*/ 167696 h 255776"/>
                  <a:gd name="connsiteX210" fmla="*/ 151738 w 654032"/>
                  <a:gd name="connsiteY210" fmla="*/ 170077 h 255776"/>
                  <a:gd name="connsiteX211" fmla="*/ 153413 w 654032"/>
                  <a:gd name="connsiteY211" fmla="*/ 170077 h 255776"/>
                  <a:gd name="connsiteX212" fmla="*/ 155441 w 654032"/>
                  <a:gd name="connsiteY212" fmla="*/ 170077 h 255776"/>
                  <a:gd name="connsiteX213" fmla="*/ 160996 w 654032"/>
                  <a:gd name="connsiteY213" fmla="*/ 171840 h 255776"/>
                  <a:gd name="connsiteX214" fmla="*/ 164787 w 654032"/>
                  <a:gd name="connsiteY214" fmla="*/ 173868 h 255776"/>
                  <a:gd name="connsiteX215" fmla="*/ 169460 w 654032"/>
                  <a:gd name="connsiteY215" fmla="*/ 177924 h 255776"/>
                  <a:gd name="connsiteX216" fmla="*/ 174750 w 654032"/>
                  <a:gd name="connsiteY216" fmla="*/ 177924 h 255776"/>
                  <a:gd name="connsiteX217" fmla="*/ 185859 w 654032"/>
                  <a:gd name="connsiteY217" fmla="*/ 183478 h 255776"/>
                  <a:gd name="connsiteX218" fmla="*/ 188416 w 654032"/>
                  <a:gd name="connsiteY218" fmla="*/ 186388 h 255776"/>
                  <a:gd name="connsiteX219" fmla="*/ 190444 w 654032"/>
                  <a:gd name="connsiteY219" fmla="*/ 186652 h 255776"/>
                  <a:gd name="connsiteX220" fmla="*/ 191678 w 654032"/>
                  <a:gd name="connsiteY220" fmla="*/ 186652 h 255776"/>
                  <a:gd name="connsiteX221" fmla="*/ 196880 w 654032"/>
                  <a:gd name="connsiteY221" fmla="*/ 188416 h 255776"/>
                  <a:gd name="connsiteX222" fmla="*/ 204462 w 654032"/>
                  <a:gd name="connsiteY222" fmla="*/ 188416 h 255776"/>
                  <a:gd name="connsiteX223" fmla="*/ 203316 w 654032"/>
                  <a:gd name="connsiteY223" fmla="*/ 190179 h 255776"/>
                  <a:gd name="connsiteX224" fmla="*/ 205697 w 654032"/>
                  <a:gd name="connsiteY224" fmla="*/ 194852 h 255776"/>
                  <a:gd name="connsiteX225" fmla="*/ 210017 w 654032"/>
                  <a:gd name="connsiteY225" fmla="*/ 195734 h 255776"/>
                  <a:gd name="connsiteX226" fmla="*/ 225182 w 654032"/>
                  <a:gd name="connsiteY226" fmla="*/ 211780 h 255776"/>
                  <a:gd name="connsiteX227" fmla="*/ 227210 w 654032"/>
                  <a:gd name="connsiteY227" fmla="*/ 215572 h 255776"/>
                  <a:gd name="connsiteX228" fmla="*/ 238937 w 654032"/>
                  <a:gd name="connsiteY228" fmla="*/ 222801 h 25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654032" h="255776">
                    <a:moveTo>
                      <a:pt x="244491" y="224565"/>
                    </a:moveTo>
                    <a:lnTo>
                      <a:pt x="246166" y="227474"/>
                    </a:lnTo>
                    <a:lnTo>
                      <a:pt x="258775" y="228092"/>
                    </a:lnTo>
                    <a:lnTo>
                      <a:pt x="262566" y="228356"/>
                    </a:lnTo>
                    <a:lnTo>
                      <a:pt x="263447" y="226945"/>
                    </a:lnTo>
                    <a:lnTo>
                      <a:pt x="274468" y="228356"/>
                    </a:lnTo>
                    <a:lnTo>
                      <a:pt x="301624" y="230737"/>
                    </a:lnTo>
                    <a:lnTo>
                      <a:pt x="313880" y="227474"/>
                    </a:lnTo>
                    <a:lnTo>
                      <a:pt x="351527" y="231883"/>
                    </a:lnTo>
                    <a:lnTo>
                      <a:pt x="359374" y="239201"/>
                    </a:lnTo>
                    <a:lnTo>
                      <a:pt x="371013" y="241758"/>
                    </a:lnTo>
                    <a:lnTo>
                      <a:pt x="380623" y="242992"/>
                    </a:lnTo>
                    <a:lnTo>
                      <a:pt x="388558" y="246166"/>
                    </a:lnTo>
                    <a:lnTo>
                      <a:pt x="399932" y="249076"/>
                    </a:lnTo>
                    <a:lnTo>
                      <a:pt x="405222" y="249076"/>
                    </a:lnTo>
                    <a:lnTo>
                      <a:pt x="414480" y="247929"/>
                    </a:lnTo>
                    <a:lnTo>
                      <a:pt x="416243" y="252602"/>
                    </a:lnTo>
                    <a:lnTo>
                      <a:pt x="424972" y="255776"/>
                    </a:lnTo>
                    <a:lnTo>
                      <a:pt x="429115" y="250839"/>
                    </a:lnTo>
                    <a:lnTo>
                      <a:pt x="435199" y="245902"/>
                    </a:lnTo>
                    <a:lnTo>
                      <a:pt x="438991" y="243521"/>
                    </a:lnTo>
                    <a:lnTo>
                      <a:pt x="444545" y="241758"/>
                    </a:lnTo>
                    <a:lnTo>
                      <a:pt x="454773" y="237437"/>
                    </a:lnTo>
                    <a:lnTo>
                      <a:pt x="462620" y="234528"/>
                    </a:lnTo>
                    <a:lnTo>
                      <a:pt x="462355" y="233029"/>
                    </a:lnTo>
                    <a:lnTo>
                      <a:pt x="465882" y="232500"/>
                    </a:lnTo>
                    <a:lnTo>
                      <a:pt x="466146" y="233646"/>
                    </a:lnTo>
                    <a:lnTo>
                      <a:pt x="471084" y="233029"/>
                    </a:lnTo>
                    <a:lnTo>
                      <a:pt x="481576" y="231883"/>
                    </a:lnTo>
                    <a:lnTo>
                      <a:pt x="483339" y="233382"/>
                    </a:lnTo>
                    <a:lnTo>
                      <a:pt x="488012" y="233382"/>
                    </a:lnTo>
                    <a:lnTo>
                      <a:pt x="494096" y="233646"/>
                    </a:lnTo>
                    <a:lnTo>
                      <a:pt x="495595" y="232764"/>
                    </a:lnTo>
                    <a:lnTo>
                      <a:pt x="502296" y="232764"/>
                    </a:lnTo>
                    <a:lnTo>
                      <a:pt x="506704" y="232764"/>
                    </a:lnTo>
                    <a:lnTo>
                      <a:pt x="506087" y="231883"/>
                    </a:lnTo>
                    <a:lnTo>
                      <a:pt x="508114" y="230119"/>
                    </a:lnTo>
                    <a:lnTo>
                      <a:pt x="513405" y="227474"/>
                    </a:lnTo>
                    <a:lnTo>
                      <a:pt x="516579" y="227827"/>
                    </a:lnTo>
                    <a:lnTo>
                      <a:pt x="519753" y="224565"/>
                    </a:lnTo>
                    <a:lnTo>
                      <a:pt x="520722" y="223154"/>
                    </a:lnTo>
                    <a:lnTo>
                      <a:pt x="521251" y="219892"/>
                    </a:lnTo>
                    <a:lnTo>
                      <a:pt x="525925" y="207989"/>
                    </a:lnTo>
                    <a:lnTo>
                      <a:pt x="537915" y="199789"/>
                    </a:lnTo>
                    <a:lnTo>
                      <a:pt x="535799" y="196880"/>
                    </a:lnTo>
                    <a:lnTo>
                      <a:pt x="517725" y="184624"/>
                    </a:lnTo>
                    <a:lnTo>
                      <a:pt x="516579" y="182332"/>
                    </a:lnTo>
                    <a:lnTo>
                      <a:pt x="518959" y="170077"/>
                    </a:lnTo>
                    <a:lnTo>
                      <a:pt x="521251" y="167696"/>
                    </a:lnTo>
                    <a:lnTo>
                      <a:pt x="530597" y="167696"/>
                    </a:lnTo>
                    <a:lnTo>
                      <a:pt x="542236" y="174397"/>
                    </a:lnTo>
                    <a:lnTo>
                      <a:pt x="544616" y="175279"/>
                    </a:lnTo>
                    <a:lnTo>
                      <a:pt x="546909" y="175279"/>
                    </a:lnTo>
                    <a:lnTo>
                      <a:pt x="549818" y="174750"/>
                    </a:lnTo>
                    <a:lnTo>
                      <a:pt x="554491" y="174750"/>
                    </a:lnTo>
                    <a:lnTo>
                      <a:pt x="558018" y="175896"/>
                    </a:lnTo>
                    <a:lnTo>
                      <a:pt x="560310" y="172369"/>
                    </a:lnTo>
                    <a:lnTo>
                      <a:pt x="562073" y="171840"/>
                    </a:lnTo>
                    <a:lnTo>
                      <a:pt x="564718" y="171840"/>
                    </a:lnTo>
                    <a:lnTo>
                      <a:pt x="567364" y="168313"/>
                    </a:lnTo>
                    <a:lnTo>
                      <a:pt x="568510" y="165668"/>
                    </a:lnTo>
                    <a:lnTo>
                      <a:pt x="568774" y="160731"/>
                    </a:lnTo>
                    <a:lnTo>
                      <a:pt x="571419" y="159232"/>
                    </a:lnTo>
                    <a:lnTo>
                      <a:pt x="575828" y="160731"/>
                    </a:lnTo>
                    <a:lnTo>
                      <a:pt x="580501" y="160731"/>
                    </a:lnTo>
                    <a:lnTo>
                      <a:pt x="589847" y="159232"/>
                    </a:lnTo>
                    <a:lnTo>
                      <a:pt x="591257" y="156675"/>
                    </a:lnTo>
                    <a:lnTo>
                      <a:pt x="593285" y="154030"/>
                    </a:lnTo>
                    <a:lnTo>
                      <a:pt x="595666" y="154030"/>
                    </a:lnTo>
                    <a:lnTo>
                      <a:pt x="596548" y="150239"/>
                    </a:lnTo>
                    <a:lnTo>
                      <a:pt x="593285" y="147594"/>
                    </a:lnTo>
                    <a:lnTo>
                      <a:pt x="593902" y="145830"/>
                    </a:lnTo>
                    <a:lnTo>
                      <a:pt x="594784" y="142921"/>
                    </a:lnTo>
                    <a:lnTo>
                      <a:pt x="596195" y="140011"/>
                    </a:lnTo>
                    <a:lnTo>
                      <a:pt x="598575" y="138248"/>
                    </a:lnTo>
                    <a:lnTo>
                      <a:pt x="598223" y="135956"/>
                    </a:lnTo>
                    <a:lnTo>
                      <a:pt x="604659" y="136837"/>
                    </a:lnTo>
                    <a:lnTo>
                      <a:pt x="606951" y="133046"/>
                    </a:lnTo>
                    <a:lnTo>
                      <a:pt x="607569" y="131283"/>
                    </a:lnTo>
                    <a:lnTo>
                      <a:pt x="611095" y="130401"/>
                    </a:lnTo>
                    <a:lnTo>
                      <a:pt x="613123" y="133046"/>
                    </a:lnTo>
                    <a:lnTo>
                      <a:pt x="616385" y="132429"/>
                    </a:lnTo>
                    <a:lnTo>
                      <a:pt x="617179" y="131547"/>
                    </a:lnTo>
                    <a:lnTo>
                      <a:pt x="618942" y="128902"/>
                    </a:lnTo>
                    <a:lnTo>
                      <a:pt x="620441" y="128638"/>
                    </a:lnTo>
                    <a:lnTo>
                      <a:pt x="621940" y="126874"/>
                    </a:lnTo>
                    <a:lnTo>
                      <a:pt x="625643" y="127756"/>
                    </a:lnTo>
                    <a:lnTo>
                      <a:pt x="630051" y="127756"/>
                    </a:lnTo>
                    <a:lnTo>
                      <a:pt x="633843" y="126874"/>
                    </a:lnTo>
                    <a:lnTo>
                      <a:pt x="641778" y="128902"/>
                    </a:lnTo>
                    <a:lnTo>
                      <a:pt x="644070" y="130665"/>
                    </a:lnTo>
                    <a:lnTo>
                      <a:pt x="649007" y="130665"/>
                    </a:lnTo>
                    <a:lnTo>
                      <a:pt x="654033" y="128902"/>
                    </a:lnTo>
                    <a:lnTo>
                      <a:pt x="652534" y="126874"/>
                    </a:lnTo>
                    <a:lnTo>
                      <a:pt x="651036" y="124229"/>
                    </a:lnTo>
                    <a:lnTo>
                      <a:pt x="647244" y="120791"/>
                    </a:lnTo>
                    <a:lnTo>
                      <a:pt x="645833" y="118146"/>
                    </a:lnTo>
                    <a:lnTo>
                      <a:pt x="639397" y="114619"/>
                    </a:lnTo>
                    <a:lnTo>
                      <a:pt x="637281" y="114619"/>
                    </a:lnTo>
                    <a:lnTo>
                      <a:pt x="632079" y="110299"/>
                    </a:lnTo>
                    <a:lnTo>
                      <a:pt x="631550" y="109417"/>
                    </a:lnTo>
                    <a:lnTo>
                      <a:pt x="626878" y="108183"/>
                    </a:lnTo>
                    <a:lnTo>
                      <a:pt x="623086" y="104127"/>
                    </a:lnTo>
                    <a:lnTo>
                      <a:pt x="615503" y="100600"/>
                    </a:lnTo>
                    <a:lnTo>
                      <a:pt x="606951" y="97426"/>
                    </a:lnTo>
                    <a:lnTo>
                      <a:pt x="605011" y="96809"/>
                    </a:lnTo>
                    <a:lnTo>
                      <a:pt x="604394" y="97426"/>
                    </a:lnTo>
                    <a:lnTo>
                      <a:pt x="597958" y="97426"/>
                    </a:lnTo>
                    <a:lnTo>
                      <a:pt x="595666" y="97426"/>
                    </a:lnTo>
                    <a:lnTo>
                      <a:pt x="594519" y="96015"/>
                    </a:lnTo>
                    <a:lnTo>
                      <a:pt x="591522" y="105626"/>
                    </a:lnTo>
                    <a:lnTo>
                      <a:pt x="576710" y="99454"/>
                    </a:lnTo>
                    <a:lnTo>
                      <a:pt x="567011" y="100953"/>
                    </a:lnTo>
                    <a:lnTo>
                      <a:pt x="563837" y="102099"/>
                    </a:lnTo>
                    <a:lnTo>
                      <a:pt x="563837" y="105008"/>
                    </a:lnTo>
                    <a:lnTo>
                      <a:pt x="551846" y="99454"/>
                    </a:lnTo>
                    <a:lnTo>
                      <a:pt x="546027" y="91607"/>
                    </a:lnTo>
                    <a:lnTo>
                      <a:pt x="552463" y="90990"/>
                    </a:lnTo>
                    <a:lnTo>
                      <a:pt x="548672" y="84289"/>
                    </a:lnTo>
                    <a:lnTo>
                      <a:pt x="550083" y="77324"/>
                    </a:lnTo>
                    <a:lnTo>
                      <a:pt x="546909" y="75560"/>
                    </a:lnTo>
                    <a:lnTo>
                      <a:pt x="546909" y="53695"/>
                    </a:lnTo>
                    <a:lnTo>
                      <a:pt x="533507" y="47875"/>
                    </a:lnTo>
                    <a:lnTo>
                      <a:pt x="527071" y="51314"/>
                    </a:lnTo>
                    <a:lnTo>
                      <a:pt x="502913" y="46641"/>
                    </a:lnTo>
                    <a:lnTo>
                      <a:pt x="481576" y="47875"/>
                    </a:lnTo>
                    <a:lnTo>
                      <a:pt x="451246" y="64187"/>
                    </a:lnTo>
                    <a:lnTo>
                      <a:pt x="433171" y="66832"/>
                    </a:lnTo>
                    <a:lnTo>
                      <a:pt x="422944" y="69124"/>
                    </a:lnTo>
                    <a:lnTo>
                      <a:pt x="407779" y="64187"/>
                    </a:lnTo>
                    <a:lnTo>
                      <a:pt x="380359" y="57133"/>
                    </a:lnTo>
                    <a:lnTo>
                      <a:pt x="358228" y="51931"/>
                    </a:lnTo>
                    <a:lnTo>
                      <a:pt x="344474" y="40822"/>
                    </a:lnTo>
                    <a:lnTo>
                      <a:pt x="319434" y="37031"/>
                    </a:lnTo>
                    <a:lnTo>
                      <a:pt x="307443" y="35620"/>
                    </a:lnTo>
                    <a:lnTo>
                      <a:pt x="292278" y="34738"/>
                    </a:lnTo>
                    <a:lnTo>
                      <a:pt x="283550" y="40293"/>
                    </a:lnTo>
                    <a:lnTo>
                      <a:pt x="273939" y="35884"/>
                    </a:lnTo>
                    <a:lnTo>
                      <a:pt x="259656" y="34738"/>
                    </a:lnTo>
                    <a:lnTo>
                      <a:pt x="254630" y="28037"/>
                    </a:lnTo>
                    <a:lnTo>
                      <a:pt x="250574" y="24246"/>
                    </a:lnTo>
                    <a:lnTo>
                      <a:pt x="248282" y="17193"/>
                    </a:lnTo>
                    <a:lnTo>
                      <a:pt x="233029" y="12520"/>
                    </a:lnTo>
                    <a:lnTo>
                      <a:pt x="214161" y="7935"/>
                    </a:lnTo>
                    <a:lnTo>
                      <a:pt x="198379" y="6701"/>
                    </a:lnTo>
                    <a:lnTo>
                      <a:pt x="180569" y="9610"/>
                    </a:lnTo>
                    <a:lnTo>
                      <a:pt x="173868" y="5555"/>
                    </a:lnTo>
                    <a:lnTo>
                      <a:pt x="165669" y="0"/>
                    </a:lnTo>
                    <a:lnTo>
                      <a:pt x="168314" y="8729"/>
                    </a:lnTo>
                    <a:lnTo>
                      <a:pt x="168666" y="24246"/>
                    </a:lnTo>
                    <a:lnTo>
                      <a:pt x="178541" y="28566"/>
                    </a:lnTo>
                    <a:lnTo>
                      <a:pt x="178277" y="37383"/>
                    </a:lnTo>
                    <a:lnTo>
                      <a:pt x="184096" y="42056"/>
                    </a:lnTo>
                    <a:lnTo>
                      <a:pt x="182597" y="48404"/>
                    </a:lnTo>
                    <a:lnTo>
                      <a:pt x="175896" y="53342"/>
                    </a:lnTo>
                    <a:lnTo>
                      <a:pt x="168931" y="49022"/>
                    </a:lnTo>
                    <a:lnTo>
                      <a:pt x="157293" y="49286"/>
                    </a:lnTo>
                    <a:lnTo>
                      <a:pt x="140364" y="51314"/>
                    </a:lnTo>
                    <a:lnTo>
                      <a:pt x="130137" y="50168"/>
                    </a:lnTo>
                    <a:lnTo>
                      <a:pt x="113473" y="44349"/>
                    </a:lnTo>
                    <a:lnTo>
                      <a:pt x="98043" y="42321"/>
                    </a:lnTo>
                    <a:lnTo>
                      <a:pt x="91607" y="37031"/>
                    </a:lnTo>
                    <a:lnTo>
                      <a:pt x="71504" y="37031"/>
                    </a:lnTo>
                    <a:lnTo>
                      <a:pt x="61277" y="37648"/>
                    </a:lnTo>
                    <a:lnTo>
                      <a:pt x="51667" y="33592"/>
                    </a:lnTo>
                    <a:lnTo>
                      <a:pt x="46112" y="38530"/>
                    </a:lnTo>
                    <a:lnTo>
                      <a:pt x="37648" y="44349"/>
                    </a:lnTo>
                    <a:lnTo>
                      <a:pt x="27156" y="50168"/>
                    </a:lnTo>
                    <a:lnTo>
                      <a:pt x="26010" y="57486"/>
                    </a:lnTo>
                    <a:lnTo>
                      <a:pt x="12608" y="59514"/>
                    </a:lnTo>
                    <a:lnTo>
                      <a:pt x="2028" y="60660"/>
                    </a:lnTo>
                    <a:lnTo>
                      <a:pt x="0" y="70270"/>
                    </a:lnTo>
                    <a:lnTo>
                      <a:pt x="6701" y="78470"/>
                    </a:lnTo>
                    <a:lnTo>
                      <a:pt x="8464" y="79352"/>
                    </a:lnTo>
                    <a:lnTo>
                      <a:pt x="12608" y="81115"/>
                    </a:lnTo>
                    <a:lnTo>
                      <a:pt x="11374" y="84553"/>
                    </a:lnTo>
                    <a:lnTo>
                      <a:pt x="14019" y="84553"/>
                    </a:lnTo>
                    <a:lnTo>
                      <a:pt x="16311" y="86052"/>
                    </a:lnTo>
                    <a:lnTo>
                      <a:pt x="18692" y="85171"/>
                    </a:lnTo>
                    <a:lnTo>
                      <a:pt x="19838" y="87463"/>
                    </a:lnTo>
                    <a:lnTo>
                      <a:pt x="22483" y="88962"/>
                    </a:lnTo>
                    <a:lnTo>
                      <a:pt x="22483" y="87463"/>
                    </a:lnTo>
                    <a:lnTo>
                      <a:pt x="26275" y="89579"/>
                    </a:lnTo>
                    <a:lnTo>
                      <a:pt x="25393" y="90725"/>
                    </a:lnTo>
                    <a:lnTo>
                      <a:pt x="30947" y="93370"/>
                    </a:lnTo>
                    <a:lnTo>
                      <a:pt x="31829" y="95398"/>
                    </a:lnTo>
                    <a:lnTo>
                      <a:pt x="36149" y="99454"/>
                    </a:lnTo>
                    <a:lnTo>
                      <a:pt x="42321" y="98308"/>
                    </a:lnTo>
                    <a:lnTo>
                      <a:pt x="42321" y="97161"/>
                    </a:lnTo>
                    <a:lnTo>
                      <a:pt x="44084" y="96544"/>
                    </a:lnTo>
                    <a:lnTo>
                      <a:pt x="47875" y="97161"/>
                    </a:lnTo>
                    <a:lnTo>
                      <a:pt x="49022" y="98925"/>
                    </a:lnTo>
                    <a:lnTo>
                      <a:pt x="53430" y="101217"/>
                    </a:lnTo>
                    <a:lnTo>
                      <a:pt x="59249" y="100953"/>
                    </a:lnTo>
                    <a:lnTo>
                      <a:pt x="67096" y="106507"/>
                    </a:lnTo>
                    <a:lnTo>
                      <a:pt x="70623" y="110563"/>
                    </a:lnTo>
                    <a:lnTo>
                      <a:pt x="71769" y="110563"/>
                    </a:lnTo>
                    <a:lnTo>
                      <a:pt x="74414" y="116118"/>
                    </a:lnTo>
                    <a:lnTo>
                      <a:pt x="88168" y="125993"/>
                    </a:lnTo>
                    <a:lnTo>
                      <a:pt x="90461" y="127139"/>
                    </a:lnTo>
                    <a:lnTo>
                      <a:pt x="91342" y="130665"/>
                    </a:lnTo>
                    <a:lnTo>
                      <a:pt x="91871" y="134457"/>
                    </a:lnTo>
                    <a:lnTo>
                      <a:pt x="91871" y="138512"/>
                    </a:lnTo>
                    <a:lnTo>
                      <a:pt x="97426" y="146712"/>
                    </a:lnTo>
                    <a:lnTo>
                      <a:pt x="95134" y="156058"/>
                    </a:lnTo>
                    <a:lnTo>
                      <a:pt x="100071" y="162759"/>
                    </a:lnTo>
                    <a:lnTo>
                      <a:pt x="103598" y="165404"/>
                    </a:lnTo>
                    <a:lnTo>
                      <a:pt x="108800" y="165404"/>
                    </a:lnTo>
                    <a:lnTo>
                      <a:pt x="116735" y="167696"/>
                    </a:lnTo>
                    <a:lnTo>
                      <a:pt x="121056" y="167696"/>
                    </a:lnTo>
                    <a:lnTo>
                      <a:pt x="151738" y="170077"/>
                    </a:lnTo>
                    <a:lnTo>
                      <a:pt x="153413" y="170077"/>
                    </a:lnTo>
                    <a:lnTo>
                      <a:pt x="155441" y="170077"/>
                    </a:lnTo>
                    <a:lnTo>
                      <a:pt x="160996" y="171840"/>
                    </a:lnTo>
                    <a:lnTo>
                      <a:pt x="164787" y="173868"/>
                    </a:lnTo>
                    <a:lnTo>
                      <a:pt x="169460" y="177924"/>
                    </a:lnTo>
                    <a:lnTo>
                      <a:pt x="174750" y="177924"/>
                    </a:lnTo>
                    <a:lnTo>
                      <a:pt x="185859" y="183478"/>
                    </a:lnTo>
                    <a:lnTo>
                      <a:pt x="188416" y="186388"/>
                    </a:lnTo>
                    <a:lnTo>
                      <a:pt x="190444" y="186652"/>
                    </a:lnTo>
                    <a:lnTo>
                      <a:pt x="191678" y="186652"/>
                    </a:lnTo>
                    <a:lnTo>
                      <a:pt x="196880" y="188416"/>
                    </a:lnTo>
                    <a:lnTo>
                      <a:pt x="204462" y="188416"/>
                    </a:lnTo>
                    <a:lnTo>
                      <a:pt x="203316" y="190179"/>
                    </a:lnTo>
                    <a:lnTo>
                      <a:pt x="205697" y="194852"/>
                    </a:lnTo>
                    <a:lnTo>
                      <a:pt x="210017" y="195734"/>
                    </a:lnTo>
                    <a:lnTo>
                      <a:pt x="225182" y="211780"/>
                    </a:lnTo>
                    <a:lnTo>
                      <a:pt x="227210" y="215572"/>
                    </a:lnTo>
                    <a:lnTo>
                      <a:pt x="238937" y="222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49" name="Grafik 9">
              <a:extLst>
                <a:ext uri="{FF2B5EF4-FFF2-40B4-BE49-F238E27FC236}">
                  <a16:creationId xmlns:a16="http://schemas.microsoft.com/office/drawing/2014/main" id="{D237BD29-11DE-91F2-54D0-86C4062D983F}"/>
                </a:ext>
              </a:extLst>
            </p:cNvPr>
            <p:cNvGrpSpPr/>
            <p:nvPr/>
          </p:nvGrpSpPr>
          <p:grpSpPr>
            <a:xfrm>
              <a:off x="4428951" y="2238726"/>
              <a:ext cx="2874112" cy="1178282"/>
              <a:chOff x="4428951" y="2238726"/>
              <a:chExt cx="2874112" cy="1178282"/>
            </a:xfrm>
            <a:solidFill>
              <a:schemeClr val="accent6"/>
            </a:solidFill>
          </p:grpSpPr>
          <p:grpSp>
            <p:nvGrpSpPr>
              <p:cNvPr id="1871" name="Grafik 9">
                <a:extLst>
                  <a:ext uri="{FF2B5EF4-FFF2-40B4-BE49-F238E27FC236}">
                    <a16:creationId xmlns:a16="http://schemas.microsoft.com/office/drawing/2014/main" id="{B9804034-F4FF-D94E-9340-2DF710F00DC1}"/>
                  </a:ext>
                </a:extLst>
              </p:cNvPr>
              <p:cNvGrpSpPr/>
              <p:nvPr/>
            </p:nvGrpSpPr>
            <p:grpSpPr>
              <a:xfrm>
                <a:off x="4846869" y="2238726"/>
                <a:ext cx="2196362" cy="820759"/>
                <a:chOff x="4846869" y="2238726"/>
                <a:chExt cx="2196362" cy="820759"/>
              </a:xfrm>
              <a:grpFill/>
            </p:grpSpPr>
            <p:sp>
              <p:nvSpPr>
                <p:cNvPr id="1916" name="Freihandform: Form 1915">
                  <a:extLst>
                    <a:ext uri="{FF2B5EF4-FFF2-40B4-BE49-F238E27FC236}">
                      <a16:creationId xmlns:a16="http://schemas.microsoft.com/office/drawing/2014/main" id="{3CE80650-9787-BAB5-77CD-785B29E0D536}"/>
                    </a:ext>
                  </a:extLst>
                </p:cNvPr>
                <p:cNvSpPr/>
                <p:nvPr/>
              </p:nvSpPr>
              <p:spPr>
                <a:xfrm>
                  <a:off x="5454172" y="2327688"/>
                  <a:ext cx="17192" cy="2909"/>
                </a:xfrm>
                <a:custGeom>
                  <a:avLst/>
                  <a:gdLst>
                    <a:gd name="connsiteX0" fmla="*/ 9611 w 17192"/>
                    <a:gd name="connsiteY0" fmla="*/ 2910 h 2909"/>
                    <a:gd name="connsiteX1" fmla="*/ 14283 w 17192"/>
                    <a:gd name="connsiteY1" fmla="*/ 1763 h 2909"/>
                    <a:gd name="connsiteX2" fmla="*/ 17193 w 17192"/>
                    <a:gd name="connsiteY2" fmla="*/ 1499 h 2909"/>
                    <a:gd name="connsiteX3" fmla="*/ 12256 w 17192"/>
                    <a:gd name="connsiteY3" fmla="*/ 0 h 2909"/>
                    <a:gd name="connsiteX4" fmla="*/ 7847 w 17192"/>
                    <a:gd name="connsiteY4" fmla="*/ 0 h 2909"/>
                    <a:gd name="connsiteX5" fmla="*/ 0 w 17192"/>
                    <a:gd name="connsiteY5" fmla="*/ 264 h 2909"/>
                    <a:gd name="connsiteX6" fmla="*/ 1763 w 17192"/>
                    <a:gd name="connsiteY6" fmla="*/ 1499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192" h="2909">
                      <a:moveTo>
                        <a:pt x="9611" y="2910"/>
                      </a:moveTo>
                      <a:lnTo>
                        <a:pt x="14283" y="1763"/>
                      </a:lnTo>
                      <a:lnTo>
                        <a:pt x="17193" y="1499"/>
                      </a:lnTo>
                      <a:lnTo>
                        <a:pt x="12256" y="0"/>
                      </a:lnTo>
                      <a:lnTo>
                        <a:pt x="7847" y="0"/>
                      </a:lnTo>
                      <a:lnTo>
                        <a:pt x="0" y="264"/>
                      </a:lnTo>
                      <a:lnTo>
                        <a:pt x="1763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7" name="Freihandform: Form 1916">
                  <a:extLst>
                    <a:ext uri="{FF2B5EF4-FFF2-40B4-BE49-F238E27FC236}">
                      <a16:creationId xmlns:a16="http://schemas.microsoft.com/office/drawing/2014/main" id="{9C625301-A6BC-1B48-EA37-8F9045B2B4CE}"/>
                    </a:ext>
                  </a:extLst>
                </p:cNvPr>
                <p:cNvSpPr/>
                <p:nvPr/>
              </p:nvSpPr>
              <p:spPr>
                <a:xfrm>
                  <a:off x="5444562" y="2310760"/>
                  <a:ext cx="14283" cy="3791"/>
                </a:xfrm>
                <a:custGeom>
                  <a:avLst/>
                  <a:gdLst>
                    <a:gd name="connsiteX0" fmla="*/ 8464 w 14283"/>
                    <a:gd name="connsiteY0" fmla="*/ 0 h 3791"/>
                    <a:gd name="connsiteX1" fmla="*/ 0 w 14283"/>
                    <a:gd name="connsiteY1" fmla="*/ 3791 h 3791"/>
                    <a:gd name="connsiteX2" fmla="*/ 6701 w 14283"/>
                    <a:gd name="connsiteY2" fmla="*/ 3791 h 3791"/>
                    <a:gd name="connsiteX3" fmla="*/ 13137 w 14283"/>
                    <a:gd name="connsiteY3" fmla="*/ 2381 h 3791"/>
                    <a:gd name="connsiteX4" fmla="*/ 14283 w 14283"/>
                    <a:gd name="connsiteY4" fmla="*/ 2381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3" h="3791">
                      <a:moveTo>
                        <a:pt x="8464" y="0"/>
                      </a:moveTo>
                      <a:lnTo>
                        <a:pt x="0" y="3791"/>
                      </a:lnTo>
                      <a:lnTo>
                        <a:pt x="6701" y="3791"/>
                      </a:lnTo>
                      <a:lnTo>
                        <a:pt x="13137" y="2381"/>
                      </a:lnTo>
                      <a:lnTo>
                        <a:pt x="14283" y="238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8" name="Freihandform: Form 1917">
                  <a:extLst>
                    <a:ext uri="{FF2B5EF4-FFF2-40B4-BE49-F238E27FC236}">
                      <a16:creationId xmlns:a16="http://schemas.microsoft.com/office/drawing/2014/main" id="{D0CB163C-5586-A4FF-1D2E-2ABD27B04B31}"/>
                    </a:ext>
                  </a:extLst>
                </p:cNvPr>
                <p:cNvSpPr/>
                <p:nvPr/>
              </p:nvSpPr>
              <p:spPr>
                <a:xfrm>
                  <a:off x="5343344" y="2255919"/>
                  <a:ext cx="127403" cy="26891"/>
                </a:xfrm>
                <a:custGeom>
                  <a:avLst/>
                  <a:gdLst>
                    <a:gd name="connsiteX0" fmla="*/ 55105 w 127403"/>
                    <a:gd name="connsiteY0" fmla="*/ 353 h 26891"/>
                    <a:gd name="connsiteX1" fmla="*/ 43996 w 127403"/>
                    <a:gd name="connsiteY1" fmla="*/ 1763 h 26891"/>
                    <a:gd name="connsiteX2" fmla="*/ 28831 w 127403"/>
                    <a:gd name="connsiteY2" fmla="*/ 2910 h 26891"/>
                    <a:gd name="connsiteX3" fmla="*/ 22748 w 127403"/>
                    <a:gd name="connsiteY3" fmla="*/ 3791 h 26891"/>
                    <a:gd name="connsiteX4" fmla="*/ 23277 w 127403"/>
                    <a:gd name="connsiteY4" fmla="*/ 4408 h 26891"/>
                    <a:gd name="connsiteX5" fmla="*/ 13138 w 127403"/>
                    <a:gd name="connsiteY5" fmla="*/ 4408 h 26891"/>
                    <a:gd name="connsiteX6" fmla="*/ 12785 w 127403"/>
                    <a:gd name="connsiteY6" fmla="*/ 7935 h 26891"/>
                    <a:gd name="connsiteX7" fmla="*/ 5202 w 127403"/>
                    <a:gd name="connsiteY7" fmla="*/ 12873 h 26891"/>
                    <a:gd name="connsiteX8" fmla="*/ 0 w 127403"/>
                    <a:gd name="connsiteY8" fmla="*/ 12873 h 26891"/>
                    <a:gd name="connsiteX9" fmla="*/ 5555 w 127403"/>
                    <a:gd name="connsiteY9" fmla="*/ 16928 h 26891"/>
                    <a:gd name="connsiteX10" fmla="*/ 8464 w 127403"/>
                    <a:gd name="connsiteY10" fmla="*/ 13754 h 26891"/>
                    <a:gd name="connsiteX11" fmla="*/ 15165 w 127403"/>
                    <a:gd name="connsiteY11" fmla="*/ 11991 h 26891"/>
                    <a:gd name="connsiteX12" fmla="*/ 18956 w 127403"/>
                    <a:gd name="connsiteY12" fmla="*/ 14900 h 26891"/>
                    <a:gd name="connsiteX13" fmla="*/ 28831 w 127403"/>
                    <a:gd name="connsiteY13" fmla="*/ 14900 h 26891"/>
                    <a:gd name="connsiteX14" fmla="*/ 33240 w 127403"/>
                    <a:gd name="connsiteY14" fmla="*/ 18074 h 26891"/>
                    <a:gd name="connsiteX15" fmla="*/ 37296 w 127403"/>
                    <a:gd name="connsiteY15" fmla="*/ 18074 h 26891"/>
                    <a:gd name="connsiteX16" fmla="*/ 43732 w 127403"/>
                    <a:gd name="connsiteY16" fmla="*/ 18074 h 26891"/>
                    <a:gd name="connsiteX17" fmla="*/ 50962 w 127403"/>
                    <a:gd name="connsiteY17" fmla="*/ 20720 h 26891"/>
                    <a:gd name="connsiteX18" fmla="*/ 58897 w 127403"/>
                    <a:gd name="connsiteY18" fmla="*/ 21337 h 26891"/>
                    <a:gd name="connsiteX19" fmla="*/ 63217 w 127403"/>
                    <a:gd name="connsiteY19" fmla="*/ 19573 h 26891"/>
                    <a:gd name="connsiteX20" fmla="*/ 63834 w 127403"/>
                    <a:gd name="connsiteY20" fmla="*/ 23982 h 26891"/>
                    <a:gd name="connsiteX21" fmla="*/ 71152 w 127403"/>
                    <a:gd name="connsiteY21" fmla="*/ 23982 h 26891"/>
                    <a:gd name="connsiteX22" fmla="*/ 77236 w 127403"/>
                    <a:gd name="connsiteY22" fmla="*/ 23100 h 26891"/>
                    <a:gd name="connsiteX23" fmla="*/ 81909 w 127403"/>
                    <a:gd name="connsiteY23" fmla="*/ 21866 h 26891"/>
                    <a:gd name="connsiteX24" fmla="*/ 86846 w 127403"/>
                    <a:gd name="connsiteY24" fmla="*/ 26539 h 26891"/>
                    <a:gd name="connsiteX25" fmla="*/ 93547 w 127403"/>
                    <a:gd name="connsiteY25" fmla="*/ 26010 h 26891"/>
                    <a:gd name="connsiteX26" fmla="*/ 107654 w 127403"/>
                    <a:gd name="connsiteY26" fmla="*/ 26274 h 26891"/>
                    <a:gd name="connsiteX27" fmla="*/ 114002 w 127403"/>
                    <a:gd name="connsiteY27" fmla="*/ 26891 h 26891"/>
                    <a:gd name="connsiteX28" fmla="*/ 117264 w 127403"/>
                    <a:gd name="connsiteY28" fmla="*/ 25128 h 26891"/>
                    <a:gd name="connsiteX29" fmla="*/ 121056 w 127403"/>
                    <a:gd name="connsiteY29" fmla="*/ 26539 h 26891"/>
                    <a:gd name="connsiteX30" fmla="*/ 123348 w 127403"/>
                    <a:gd name="connsiteY30" fmla="*/ 25657 h 26891"/>
                    <a:gd name="connsiteX31" fmla="*/ 127403 w 127403"/>
                    <a:gd name="connsiteY31" fmla="*/ 23100 h 26891"/>
                    <a:gd name="connsiteX32" fmla="*/ 124229 w 127403"/>
                    <a:gd name="connsiteY32" fmla="*/ 18956 h 26891"/>
                    <a:gd name="connsiteX33" fmla="*/ 121937 w 127403"/>
                    <a:gd name="connsiteY33" fmla="*/ 18427 h 26891"/>
                    <a:gd name="connsiteX34" fmla="*/ 118940 w 127403"/>
                    <a:gd name="connsiteY34" fmla="*/ 17810 h 26891"/>
                    <a:gd name="connsiteX35" fmla="*/ 117264 w 127403"/>
                    <a:gd name="connsiteY35" fmla="*/ 17193 h 26891"/>
                    <a:gd name="connsiteX36" fmla="*/ 115501 w 127403"/>
                    <a:gd name="connsiteY36" fmla="*/ 16047 h 26891"/>
                    <a:gd name="connsiteX37" fmla="*/ 116911 w 127403"/>
                    <a:gd name="connsiteY37" fmla="*/ 14283 h 26891"/>
                    <a:gd name="connsiteX38" fmla="*/ 117529 w 127403"/>
                    <a:gd name="connsiteY38" fmla="*/ 12873 h 26891"/>
                    <a:gd name="connsiteX39" fmla="*/ 117793 w 127403"/>
                    <a:gd name="connsiteY39" fmla="*/ 10845 h 26891"/>
                    <a:gd name="connsiteX40" fmla="*/ 118146 w 127403"/>
                    <a:gd name="connsiteY40" fmla="*/ 9081 h 26891"/>
                    <a:gd name="connsiteX41" fmla="*/ 116911 w 127403"/>
                    <a:gd name="connsiteY41" fmla="*/ 8729 h 26891"/>
                    <a:gd name="connsiteX42" fmla="*/ 115148 w 127403"/>
                    <a:gd name="connsiteY42" fmla="*/ 8200 h 26891"/>
                    <a:gd name="connsiteX43" fmla="*/ 115148 w 127403"/>
                    <a:gd name="connsiteY43" fmla="*/ 7582 h 26891"/>
                    <a:gd name="connsiteX44" fmla="*/ 114619 w 127403"/>
                    <a:gd name="connsiteY44" fmla="*/ 8729 h 26891"/>
                    <a:gd name="connsiteX45" fmla="*/ 112239 w 127403"/>
                    <a:gd name="connsiteY45" fmla="*/ 7935 h 26891"/>
                    <a:gd name="connsiteX46" fmla="*/ 110828 w 127403"/>
                    <a:gd name="connsiteY46" fmla="*/ 7318 h 26891"/>
                    <a:gd name="connsiteX47" fmla="*/ 109681 w 127403"/>
                    <a:gd name="connsiteY47" fmla="*/ 5290 h 26891"/>
                    <a:gd name="connsiteX48" fmla="*/ 108800 w 127403"/>
                    <a:gd name="connsiteY48" fmla="*/ 4144 h 26891"/>
                    <a:gd name="connsiteX49" fmla="*/ 109329 w 127403"/>
                    <a:gd name="connsiteY49" fmla="*/ 3262 h 26891"/>
                    <a:gd name="connsiteX50" fmla="*/ 105890 w 127403"/>
                    <a:gd name="connsiteY50" fmla="*/ 3262 h 26891"/>
                    <a:gd name="connsiteX51" fmla="*/ 104392 w 127403"/>
                    <a:gd name="connsiteY51" fmla="*/ 2910 h 26891"/>
                    <a:gd name="connsiteX52" fmla="*/ 102893 w 127403"/>
                    <a:gd name="connsiteY52" fmla="*/ 4408 h 26891"/>
                    <a:gd name="connsiteX53" fmla="*/ 98837 w 127403"/>
                    <a:gd name="connsiteY53" fmla="*/ 3527 h 26891"/>
                    <a:gd name="connsiteX54" fmla="*/ 96192 w 127403"/>
                    <a:gd name="connsiteY54" fmla="*/ 8464 h 26891"/>
                    <a:gd name="connsiteX55" fmla="*/ 93547 w 127403"/>
                    <a:gd name="connsiteY55" fmla="*/ 8729 h 26891"/>
                    <a:gd name="connsiteX56" fmla="*/ 93282 w 127403"/>
                    <a:gd name="connsiteY56" fmla="*/ 7935 h 26891"/>
                    <a:gd name="connsiteX57" fmla="*/ 88345 w 127403"/>
                    <a:gd name="connsiteY57" fmla="*/ 6701 h 26891"/>
                    <a:gd name="connsiteX58" fmla="*/ 78735 w 127403"/>
                    <a:gd name="connsiteY58" fmla="*/ 3527 h 26891"/>
                    <a:gd name="connsiteX59" fmla="*/ 82790 w 127403"/>
                    <a:gd name="connsiteY59" fmla="*/ 6172 h 26891"/>
                    <a:gd name="connsiteX60" fmla="*/ 71417 w 127403"/>
                    <a:gd name="connsiteY60" fmla="*/ 7935 h 26891"/>
                    <a:gd name="connsiteX61" fmla="*/ 69653 w 127403"/>
                    <a:gd name="connsiteY61" fmla="*/ 7582 h 26891"/>
                    <a:gd name="connsiteX62" fmla="*/ 77589 w 127403"/>
                    <a:gd name="connsiteY62" fmla="*/ 5026 h 26891"/>
                    <a:gd name="connsiteX63" fmla="*/ 75825 w 127403"/>
                    <a:gd name="connsiteY63" fmla="*/ 882 h 26891"/>
                    <a:gd name="connsiteX64" fmla="*/ 71152 w 127403"/>
                    <a:gd name="connsiteY64" fmla="*/ 0 h 26891"/>
                    <a:gd name="connsiteX65" fmla="*/ 62952 w 127403"/>
                    <a:gd name="connsiteY65" fmla="*/ 1763 h 26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127403" h="26891">
                      <a:moveTo>
                        <a:pt x="55105" y="353"/>
                      </a:moveTo>
                      <a:lnTo>
                        <a:pt x="43996" y="1763"/>
                      </a:lnTo>
                      <a:lnTo>
                        <a:pt x="28831" y="2910"/>
                      </a:lnTo>
                      <a:lnTo>
                        <a:pt x="22748" y="3791"/>
                      </a:lnTo>
                      <a:lnTo>
                        <a:pt x="23277" y="4408"/>
                      </a:lnTo>
                      <a:lnTo>
                        <a:pt x="13138" y="4408"/>
                      </a:lnTo>
                      <a:lnTo>
                        <a:pt x="12785" y="7935"/>
                      </a:lnTo>
                      <a:lnTo>
                        <a:pt x="5202" y="12873"/>
                      </a:lnTo>
                      <a:lnTo>
                        <a:pt x="0" y="12873"/>
                      </a:lnTo>
                      <a:lnTo>
                        <a:pt x="5555" y="16928"/>
                      </a:lnTo>
                      <a:lnTo>
                        <a:pt x="8464" y="13754"/>
                      </a:lnTo>
                      <a:lnTo>
                        <a:pt x="15165" y="11991"/>
                      </a:lnTo>
                      <a:lnTo>
                        <a:pt x="18956" y="14900"/>
                      </a:lnTo>
                      <a:lnTo>
                        <a:pt x="28831" y="14900"/>
                      </a:lnTo>
                      <a:lnTo>
                        <a:pt x="33240" y="18074"/>
                      </a:lnTo>
                      <a:lnTo>
                        <a:pt x="37296" y="18074"/>
                      </a:lnTo>
                      <a:lnTo>
                        <a:pt x="43732" y="18074"/>
                      </a:lnTo>
                      <a:lnTo>
                        <a:pt x="50962" y="20720"/>
                      </a:lnTo>
                      <a:lnTo>
                        <a:pt x="58897" y="21337"/>
                      </a:lnTo>
                      <a:lnTo>
                        <a:pt x="63217" y="19573"/>
                      </a:lnTo>
                      <a:lnTo>
                        <a:pt x="63834" y="23982"/>
                      </a:lnTo>
                      <a:lnTo>
                        <a:pt x="71152" y="23982"/>
                      </a:lnTo>
                      <a:lnTo>
                        <a:pt x="77236" y="23100"/>
                      </a:lnTo>
                      <a:lnTo>
                        <a:pt x="81909" y="21866"/>
                      </a:lnTo>
                      <a:lnTo>
                        <a:pt x="86846" y="26539"/>
                      </a:lnTo>
                      <a:lnTo>
                        <a:pt x="93547" y="26010"/>
                      </a:lnTo>
                      <a:lnTo>
                        <a:pt x="107654" y="26274"/>
                      </a:lnTo>
                      <a:lnTo>
                        <a:pt x="114002" y="26891"/>
                      </a:lnTo>
                      <a:lnTo>
                        <a:pt x="117264" y="25128"/>
                      </a:lnTo>
                      <a:lnTo>
                        <a:pt x="121056" y="26539"/>
                      </a:lnTo>
                      <a:lnTo>
                        <a:pt x="123348" y="25657"/>
                      </a:lnTo>
                      <a:lnTo>
                        <a:pt x="127403" y="23100"/>
                      </a:lnTo>
                      <a:lnTo>
                        <a:pt x="124229" y="18956"/>
                      </a:lnTo>
                      <a:lnTo>
                        <a:pt x="121937" y="18427"/>
                      </a:lnTo>
                      <a:lnTo>
                        <a:pt x="118940" y="17810"/>
                      </a:lnTo>
                      <a:lnTo>
                        <a:pt x="117264" y="17193"/>
                      </a:lnTo>
                      <a:lnTo>
                        <a:pt x="115501" y="16047"/>
                      </a:lnTo>
                      <a:lnTo>
                        <a:pt x="116911" y="14283"/>
                      </a:lnTo>
                      <a:lnTo>
                        <a:pt x="117529" y="12873"/>
                      </a:lnTo>
                      <a:lnTo>
                        <a:pt x="117793" y="10845"/>
                      </a:lnTo>
                      <a:lnTo>
                        <a:pt x="118146" y="9081"/>
                      </a:lnTo>
                      <a:lnTo>
                        <a:pt x="116911" y="8729"/>
                      </a:lnTo>
                      <a:lnTo>
                        <a:pt x="115148" y="8200"/>
                      </a:lnTo>
                      <a:lnTo>
                        <a:pt x="115148" y="7582"/>
                      </a:lnTo>
                      <a:lnTo>
                        <a:pt x="114619" y="8729"/>
                      </a:lnTo>
                      <a:lnTo>
                        <a:pt x="112239" y="7935"/>
                      </a:lnTo>
                      <a:lnTo>
                        <a:pt x="110828" y="7318"/>
                      </a:lnTo>
                      <a:lnTo>
                        <a:pt x="109681" y="5290"/>
                      </a:lnTo>
                      <a:lnTo>
                        <a:pt x="108800" y="4144"/>
                      </a:lnTo>
                      <a:lnTo>
                        <a:pt x="109329" y="3262"/>
                      </a:lnTo>
                      <a:lnTo>
                        <a:pt x="105890" y="3262"/>
                      </a:lnTo>
                      <a:lnTo>
                        <a:pt x="104392" y="2910"/>
                      </a:lnTo>
                      <a:lnTo>
                        <a:pt x="102893" y="4408"/>
                      </a:lnTo>
                      <a:lnTo>
                        <a:pt x="98837" y="3527"/>
                      </a:lnTo>
                      <a:lnTo>
                        <a:pt x="96192" y="8464"/>
                      </a:lnTo>
                      <a:lnTo>
                        <a:pt x="93547" y="8729"/>
                      </a:lnTo>
                      <a:lnTo>
                        <a:pt x="93282" y="7935"/>
                      </a:lnTo>
                      <a:lnTo>
                        <a:pt x="88345" y="6701"/>
                      </a:lnTo>
                      <a:lnTo>
                        <a:pt x="78735" y="3527"/>
                      </a:lnTo>
                      <a:lnTo>
                        <a:pt x="82790" y="6172"/>
                      </a:lnTo>
                      <a:lnTo>
                        <a:pt x="71417" y="7935"/>
                      </a:lnTo>
                      <a:lnTo>
                        <a:pt x="69653" y="7582"/>
                      </a:lnTo>
                      <a:lnTo>
                        <a:pt x="77589" y="5026"/>
                      </a:lnTo>
                      <a:lnTo>
                        <a:pt x="75825" y="882"/>
                      </a:lnTo>
                      <a:lnTo>
                        <a:pt x="71152" y="0"/>
                      </a:lnTo>
                      <a:lnTo>
                        <a:pt x="62952" y="176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9" name="Freihandform: Form 1918">
                  <a:extLst>
                    <a:ext uri="{FF2B5EF4-FFF2-40B4-BE49-F238E27FC236}">
                      <a16:creationId xmlns:a16="http://schemas.microsoft.com/office/drawing/2014/main" id="{976B128C-666A-E12B-96E5-6DCA774C5538}"/>
                    </a:ext>
                  </a:extLst>
                </p:cNvPr>
                <p:cNvSpPr/>
                <p:nvPr/>
              </p:nvSpPr>
              <p:spPr>
                <a:xfrm>
                  <a:off x="5269812" y="2391522"/>
                  <a:ext cx="8464" cy="7053"/>
                </a:xfrm>
                <a:custGeom>
                  <a:avLst/>
                  <a:gdLst>
                    <a:gd name="connsiteX0" fmla="*/ 8464 w 8464"/>
                    <a:gd name="connsiteY0" fmla="*/ 7053 h 7053"/>
                    <a:gd name="connsiteX1" fmla="*/ 7582 w 8464"/>
                    <a:gd name="connsiteY1" fmla="*/ 3262 h 7053"/>
                    <a:gd name="connsiteX2" fmla="*/ 2292 w 8464"/>
                    <a:gd name="connsiteY2" fmla="*/ 0 h 7053"/>
                    <a:gd name="connsiteX3" fmla="*/ 0 w 8464"/>
                    <a:gd name="connsiteY3" fmla="*/ 2998 h 7053"/>
                    <a:gd name="connsiteX4" fmla="*/ 3174 w 8464"/>
                    <a:gd name="connsiteY4" fmla="*/ 5026 h 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64" h="7053">
                      <a:moveTo>
                        <a:pt x="8464" y="7053"/>
                      </a:moveTo>
                      <a:lnTo>
                        <a:pt x="7582" y="3262"/>
                      </a:lnTo>
                      <a:lnTo>
                        <a:pt x="2292" y="0"/>
                      </a:lnTo>
                      <a:lnTo>
                        <a:pt x="0" y="2998"/>
                      </a:lnTo>
                      <a:lnTo>
                        <a:pt x="3174" y="502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0" name="Freihandform: Form 1919">
                  <a:extLst>
                    <a:ext uri="{FF2B5EF4-FFF2-40B4-BE49-F238E27FC236}">
                      <a16:creationId xmlns:a16="http://schemas.microsoft.com/office/drawing/2014/main" id="{433479B9-E65A-45F1-B1E9-E572BF38C81D}"/>
                    </a:ext>
                  </a:extLst>
                </p:cNvPr>
                <p:cNvSpPr/>
                <p:nvPr/>
              </p:nvSpPr>
              <p:spPr>
                <a:xfrm>
                  <a:off x="5129272" y="2381030"/>
                  <a:ext cx="23893" cy="9963"/>
                </a:xfrm>
                <a:custGeom>
                  <a:avLst/>
                  <a:gdLst>
                    <a:gd name="connsiteX0" fmla="*/ 7230 w 23893"/>
                    <a:gd name="connsiteY0" fmla="*/ 9963 h 9963"/>
                    <a:gd name="connsiteX1" fmla="*/ 21513 w 23893"/>
                    <a:gd name="connsiteY1" fmla="*/ 6436 h 9963"/>
                    <a:gd name="connsiteX2" fmla="*/ 23894 w 23893"/>
                    <a:gd name="connsiteY2" fmla="*/ 882 h 9963"/>
                    <a:gd name="connsiteX3" fmla="*/ 6965 w 23893"/>
                    <a:gd name="connsiteY3" fmla="*/ 1763 h 9963"/>
                    <a:gd name="connsiteX4" fmla="*/ 0 w 23893"/>
                    <a:gd name="connsiteY4" fmla="*/ 0 h 9963"/>
                    <a:gd name="connsiteX5" fmla="*/ 1410 w 23893"/>
                    <a:gd name="connsiteY5" fmla="*/ 6172 h 9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3893" h="9963">
                      <a:moveTo>
                        <a:pt x="7230" y="9963"/>
                      </a:moveTo>
                      <a:lnTo>
                        <a:pt x="21513" y="6436"/>
                      </a:lnTo>
                      <a:lnTo>
                        <a:pt x="23894" y="882"/>
                      </a:lnTo>
                      <a:lnTo>
                        <a:pt x="6965" y="1763"/>
                      </a:lnTo>
                      <a:lnTo>
                        <a:pt x="0" y="0"/>
                      </a:lnTo>
                      <a:lnTo>
                        <a:pt x="1410" y="617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1" name="Freihandform: Form 1920">
                  <a:extLst>
                    <a:ext uri="{FF2B5EF4-FFF2-40B4-BE49-F238E27FC236}">
                      <a16:creationId xmlns:a16="http://schemas.microsoft.com/office/drawing/2014/main" id="{2C06ADFA-3BFD-E726-272A-5793791C42EB}"/>
                    </a:ext>
                  </a:extLst>
                </p:cNvPr>
                <p:cNvSpPr/>
                <p:nvPr/>
              </p:nvSpPr>
              <p:spPr>
                <a:xfrm>
                  <a:off x="5245918" y="2398311"/>
                  <a:ext cx="20102" cy="8111"/>
                </a:xfrm>
                <a:custGeom>
                  <a:avLst/>
                  <a:gdLst>
                    <a:gd name="connsiteX0" fmla="*/ 4937 w 20102"/>
                    <a:gd name="connsiteY0" fmla="*/ 6084 h 8111"/>
                    <a:gd name="connsiteX1" fmla="*/ 8112 w 20102"/>
                    <a:gd name="connsiteY1" fmla="*/ 6348 h 8111"/>
                    <a:gd name="connsiteX2" fmla="*/ 20103 w 20102"/>
                    <a:gd name="connsiteY2" fmla="*/ 8112 h 8111"/>
                    <a:gd name="connsiteX3" fmla="*/ 13666 w 20102"/>
                    <a:gd name="connsiteY3" fmla="*/ 4320 h 8111"/>
                    <a:gd name="connsiteX4" fmla="*/ 14019 w 20102"/>
                    <a:gd name="connsiteY4" fmla="*/ 2028 h 8111"/>
                    <a:gd name="connsiteX5" fmla="*/ 8729 w 20102"/>
                    <a:gd name="connsiteY5" fmla="*/ 1675 h 8111"/>
                    <a:gd name="connsiteX6" fmla="*/ 6084 w 20102"/>
                    <a:gd name="connsiteY6" fmla="*/ 1411 h 8111"/>
                    <a:gd name="connsiteX7" fmla="*/ 4056 w 20102"/>
                    <a:gd name="connsiteY7" fmla="*/ 1675 h 8111"/>
                    <a:gd name="connsiteX8" fmla="*/ 2910 w 20102"/>
                    <a:gd name="connsiteY8" fmla="*/ 0 h 8111"/>
                    <a:gd name="connsiteX9" fmla="*/ 1763 w 20102"/>
                    <a:gd name="connsiteY9" fmla="*/ 1411 h 8111"/>
                    <a:gd name="connsiteX10" fmla="*/ 0 w 20102"/>
                    <a:gd name="connsiteY10" fmla="*/ 3174 h 8111"/>
                    <a:gd name="connsiteX11" fmla="*/ 2028 w 20102"/>
                    <a:gd name="connsiteY11" fmla="*/ 4673 h 81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102" h="8111">
                      <a:moveTo>
                        <a:pt x="4937" y="6084"/>
                      </a:moveTo>
                      <a:lnTo>
                        <a:pt x="8112" y="6348"/>
                      </a:lnTo>
                      <a:lnTo>
                        <a:pt x="20103" y="8112"/>
                      </a:lnTo>
                      <a:lnTo>
                        <a:pt x="13666" y="4320"/>
                      </a:lnTo>
                      <a:lnTo>
                        <a:pt x="14019" y="2028"/>
                      </a:lnTo>
                      <a:lnTo>
                        <a:pt x="8729" y="1675"/>
                      </a:lnTo>
                      <a:lnTo>
                        <a:pt x="6084" y="1411"/>
                      </a:lnTo>
                      <a:lnTo>
                        <a:pt x="4056" y="1675"/>
                      </a:lnTo>
                      <a:lnTo>
                        <a:pt x="2910" y="0"/>
                      </a:lnTo>
                      <a:lnTo>
                        <a:pt x="1763" y="1411"/>
                      </a:lnTo>
                      <a:lnTo>
                        <a:pt x="0" y="3174"/>
                      </a:lnTo>
                      <a:lnTo>
                        <a:pt x="2028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2" name="Freihandform: Form 1921">
                  <a:extLst>
                    <a:ext uri="{FF2B5EF4-FFF2-40B4-BE49-F238E27FC236}">
                      <a16:creationId xmlns:a16="http://schemas.microsoft.com/office/drawing/2014/main" id="{17C0276F-585D-5980-2D02-50273E3C146F}"/>
                    </a:ext>
                  </a:extLst>
                </p:cNvPr>
                <p:cNvSpPr/>
                <p:nvPr/>
              </p:nvSpPr>
              <p:spPr>
                <a:xfrm>
                  <a:off x="5319098" y="2259181"/>
                  <a:ext cx="35003" cy="7229"/>
                </a:xfrm>
                <a:custGeom>
                  <a:avLst/>
                  <a:gdLst>
                    <a:gd name="connsiteX0" fmla="*/ 882 w 35003"/>
                    <a:gd name="connsiteY0" fmla="*/ 1146 h 7229"/>
                    <a:gd name="connsiteX1" fmla="*/ 617 w 35003"/>
                    <a:gd name="connsiteY1" fmla="*/ 2910 h 7229"/>
                    <a:gd name="connsiteX2" fmla="*/ 17546 w 35003"/>
                    <a:gd name="connsiteY2" fmla="*/ 4937 h 7229"/>
                    <a:gd name="connsiteX3" fmla="*/ 12520 w 35003"/>
                    <a:gd name="connsiteY3" fmla="*/ 5819 h 7229"/>
                    <a:gd name="connsiteX4" fmla="*/ 15782 w 35003"/>
                    <a:gd name="connsiteY4" fmla="*/ 7230 h 7229"/>
                    <a:gd name="connsiteX5" fmla="*/ 29801 w 35003"/>
                    <a:gd name="connsiteY5" fmla="*/ 5819 h 7229"/>
                    <a:gd name="connsiteX6" fmla="*/ 35003 w 35003"/>
                    <a:gd name="connsiteY6" fmla="*/ 2557 h 7229"/>
                    <a:gd name="connsiteX7" fmla="*/ 16047 w 35003"/>
                    <a:gd name="connsiteY7" fmla="*/ 1146 h 7229"/>
                    <a:gd name="connsiteX8" fmla="*/ 2381 w 35003"/>
                    <a:gd name="connsiteY8" fmla="*/ 0 h 7229"/>
                    <a:gd name="connsiteX9" fmla="*/ 0 w 35003"/>
                    <a:gd name="connsiteY9" fmla="*/ 264 h 7229"/>
                    <a:gd name="connsiteX10" fmla="*/ 1499 w 35003"/>
                    <a:gd name="connsiteY10" fmla="*/ 1146 h 7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5003" h="7229">
                      <a:moveTo>
                        <a:pt x="882" y="1146"/>
                      </a:moveTo>
                      <a:lnTo>
                        <a:pt x="617" y="2910"/>
                      </a:lnTo>
                      <a:lnTo>
                        <a:pt x="17546" y="4937"/>
                      </a:lnTo>
                      <a:lnTo>
                        <a:pt x="12520" y="5819"/>
                      </a:lnTo>
                      <a:lnTo>
                        <a:pt x="15782" y="7230"/>
                      </a:lnTo>
                      <a:lnTo>
                        <a:pt x="29801" y="5819"/>
                      </a:lnTo>
                      <a:lnTo>
                        <a:pt x="35003" y="2557"/>
                      </a:lnTo>
                      <a:lnTo>
                        <a:pt x="16047" y="1146"/>
                      </a:lnTo>
                      <a:lnTo>
                        <a:pt x="2381" y="0"/>
                      </a:lnTo>
                      <a:lnTo>
                        <a:pt x="0" y="264"/>
                      </a:lnTo>
                      <a:lnTo>
                        <a:pt x="1499" y="114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3" name="Freihandform: Form 1922">
                  <a:extLst>
                    <a:ext uri="{FF2B5EF4-FFF2-40B4-BE49-F238E27FC236}">
                      <a16:creationId xmlns:a16="http://schemas.microsoft.com/office/drawing/2014/main" id="{6E9EB22B-6B0B-070F-1C61-5FD737EA605B}"/>
                    </a:ext>
                  </a:extLst>
                </p:cNvPr>
                <p:cNvSpPr/>
                <p:nvPr/>
              </p:nvSpPr>
              <p:spPr>
                <a:xfrm>
                  <a:off x="5323242" y="2238726"/>
                  <a:ext cx="84553" cy="18956"/>
                </a:xfrm>
                <a:custGeom>
                  <a:avLst/>
                  <a:gdLst>
                    <a:gd name="connsiteX0" fmla="*/ 28214 w 84553"/>
                    <a:gd name="connsiteY0" fmla="*/ 18692 h 18956"/>
                    <a:gd name="connsiteX1" fmla="*/ 46377 w 84553"/>
                    <a:gd name="connsiteY1" fmla="*/ 18956 h 18956"/>
                    <a:gd name="connsiteX2" fmla="*/ 64715 w 84553"/>
                    <a:gd name="connsiteY2" fmla="*/ 15782 h 18956"/>
                    <a:gd name="connsiteX3" fmla="*/ 84553 w 84553"/>
                    <a:gd name="connsiteY3" fmla="*/ 15429 h 18956"/>
                    <a:gd name="connsiteX4" fmla="*/ 78734 w 84553"/>
                    <a:gd name="connsiteY4" fmla="*/ 13137 h 18956"/>
                    <a:gd name="connsiteX5" fmla="*/ 78117 w 84553"/>
                    <a:gd name="connsiteY5" fmla="*/ 9610 h 18956"/>
                    <a:gd name="connsiteX6" fmla="*/ 77236 w 84553"/>
                    <a:gd name="connsiteY6" fmla="*/ 8200 h 18956"/>
                    <a:gd name="connsiteX7" fmla="*/ 65862 w 84553"/>
                    <a:gd name="connsiteY7" fmla="*/ 6172 h 18956"/>
                    <a:gd name="connsiteX8" fmla="*/ 56516 w 84553"/>
                    <a:gd name="connsiteY8" fmla="*/ 1763 h 18956"/>
                    <a:gd name="connsiteX9" fmla="*/ 51578 w 84553"/>
                    <a:gd name="connsiteY9" fmla="*/ 6436 h 18956"/>
                    <a:gd name="connsiteX10" fmla="*/ 50697 w 84553"/>
                    <a:gd name="connsiteY10" fmla="*/ 2381 h 18956"/>
                    <a:gd name="connsiteX11" fmla="*/ 42850 w 84553"/>
                    <a:gd name="connsiteY11" fmla="*/ 2910 h 18956"/>
                    <a:gd name="connsiteX12" fmla="*/ 36766 w 84553"/>
                    <a:gd name="connsiteY12" fmla="*/ 0 h 18956"/>
                    <a:gd name="connsiteX13" fmla="*/ 31476 w 84553"/>
                    <a:gd name="connsiteY13" fmla="*/ 2028 h 18956"/>
                    <a:gd name="connsiteX14" fmla="*/ 31476 w 84553"/>
                    <a:gd name="connsiteY14" fmla="*/ 3527 h 18956"/>
                    <a:gd name="connsiteX15" fmla="*/ 15694 w 84553"/>
                    <a:gd name="connsiteY15" fmla="*/ 4673 h 18956"/>
                    <a:gd name="connsiteX16" fmla="*/ 7847 w 84553"/>
                    <a:gd name="connsiteY16" fmla="*/ 7582 h 18956"/>
                    <a:gd name="connsiteX17" fmla="*/ 12167 w 84553"/>
                    <a:gd name="connsiteY17" fmla="*/ 9610 h 18956"/>
                    <a:gd name="connsiteX18" fmla="*/ 2028 w 84553"/>
                    <a:gd name="connsiteY18" fmla="*/ 11374 h 18956"/>
                    <a:gd name="connsiteX19" fmla="*/ 0 w 84553"/>
                    <a:gd name="connsiteY19" fmla="*/ 14283 h 18956"/>
                    <a:gd name="connsiteX20" fmla="*/ 12167 w 84553"/>
                    <a:gd name="connsiteY20" fmla="*/ 15429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4553" h="18956">
                      <a:moveTo>
                        <a:pt x="28214" y="18692"/>
                      </a:moveTo>
                      <a:lnTo>
                        <a:pt x="46377" y="18956"/>
                      </a:lnTo>
                      <a:lnTo>
                        <a:pt x="64715" y="15782"/>
                      </a:lnTo>
                      <a:lnTo>
                        <a:pt x="84553" y="15429"/>
                      </a:lnTo>
                      <a:lnTo>
                        <a:pt x="78734" y="13137"/>
                      </a:lnTo>
                      <a:lnTo>
                        <a:pt x="78117" y="9610"/>
                      </a:lnTo>
                      <a:lnTo>
                        <a:pt x="77236" y="8200"/>
                      </a:lnTo>
                      <a:lnTo>
                        <a:pt x="65862" y="6172"/>
                      </a:lnTo>
                      <a:lnTo>
                        <a:pt x="56516" y="1763"/>
                      </a:lnTo>
                      <a:lnTo>
                        <a:pt x="51578" y="6436"/>
                      </a:lnTo>
                      <a:lnTo>
                        <a:pt x="50697" y="2381"/>
                      </a:lnTo>
                      <a:lnTo>
                        <a:pt x="42850" y="2910"/>
                      </a:lnTo>
                      <a:lnTo>
                        <a:pt x="36766" y="0"/>
                      </a:lnTo>
                      <a:lnTo>
                        <a:pt x="31476" y="2028"/>
                      </a:lnTo>
                      <a:lnTo>
                        <a:pt x="31476" y="3527"/>
                      </a:lnTo>
                      <a:lnTo>
                        <a:pt x="15694" y="4673"/>
                      </a:lnTo>
                      <a:lnTo>
                        <a:pt x="7847" y="7582"/>
                      </a:lnTo>
                      <a:lnTo>
                        <a:pt x="12167" y="9610"/>
                      </a:lnTo>
                      <a:lnTo>
                        <a:pt x="2028" y="11374"/>
                      </a:lnTo>
                      <a:lnTo>
                        <a:pt x="0" y="14283"/>
                      </a:lnTo>
                      <a:lnTo>
                        <a:pt x="12167" y="15429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4" name="Freihandform: Form 1923">
                  <a:extLst>
                    <a:ext uri="{FF2B5EF4-FFF2-40B4-BE49-F238E27FC236}">
                      <a16:creationId xmlns:a16="http://schemas.microsoft.com/office/drawing/2014/main" id="{E03B33E2-E282-4FA5-EFEC-867753643AF2}"/>
                    </a:ext>
                  </a:extLst>
                </p:cNvPr>
                <p:cNvSpPr/>
                <p:nvPr/>
              </p:nvSpPr>
              <p:spPr>
                <a:xfrm>
                  <a:off x="6066678" y="2332978"/>
                  <a:ext cx="17192" cy="10756"/>
                </a:xfrm>
                <a:custGeom>
                  <a:avLst/>
                  <a:gdLst>
                    <a:gd name="connsiteX0" fmla="*/ 7847 w 17192"/>
                    <a:gd name="connsiteY0" fmla="*/ 7847 h 10756"/>
                    <a:gd name="connsiteX1" fmla="*/ 10845 w 17192"/>
                    <a:gd name="connsiteY1" fmla="*/ 10757 h 10756"/>
                    <a:gd name="connsiteX2" fmla="*/ 14283 w 17192"/>
                    <a:gd name="connsiteY2" fmla="*/ 10757 h 10756"/>
                    <a:gd name="connsiteX3" fmla="*/ 16928 w 17192"/>
                    <a:gd name="connsiteY3" fmla="*/ 9610 h 10756"/>
                    <a:gd name="connsiteX4" fmla="*/ 17193 w 17192"/>
                    <a:gd name="connsiteY4" fmla="*/ 4937 h 10756"/>
                    <a:gd name="connsiteX5" fmla="*/ 9081 w 17192"/>
                    <a:gd name="connsiteY5" fmla="*/ 4937 h 10756"/>
                    <a:gd name="connsiteX6" fmla="*/ 8200 w 17192"/>
                    <a:gd name="connsiteY6" fmla="*/ 882 h 10756"/>
                    <a:gd name="connsiteX7" fmla="*/ 2645 w 17192"/>
                    <a:gd name="connsiteY7" fmla="*/ 0 h 10756"/>
                    <a:gd name="connsiteX8" fmla="*/ 0 w 17192"/>
                    <a:gd name="connsiteY8" fmla="*/ 1675 h 10756"/>
                    <a:gd name="connsiteX9" fmla="*/ 4937 w 17192"/>
                    <a:gd name="connsiteY9" fmla="*/ 4056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7192" h="10756">
                      <a:moveTo>
                        <a:pt x="7847" y="7847"/>
                      </a:moveTo>
                      <a:lnTo>
                        <a:pt x="10845" y="10757"/>
                      </a:lnTo>
                      <a:lnTo>
                        <a:pt x="14283" y="10757"/>
                      </a:lnTo>
                      <a:lnTo>
                        <a:pt x="16928" y="9610"/>
                      </a:lnTo>
                      <a:lnTo>
                        <a:pt x="17193" y="4937"/>
                      </a:lnTo>
                      <a:lnTo>
                        <a:pt x="9081" y="4937"/>
                      </a:lnTo>
                      <a:lnTo>
                        <a:pt x="8200" y="882"/>
                      </a:lnTo>
                      <a:lnTo>
                        <a:pt x="2645" y="0"/>
                      </a:lnTo>
                      <a:lnTo>
                        <a:pt x="0" y="1675"/>
                      </a:lnTo>
                      <a:lnTo>
                        <a:pt x="4937" y="405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5" name="Freihandform: Form 1924">
                  <a:extLst>
                    <a:ext uri="{FF2B5EF4-FFF2-40B4-BE49-F238E27FC236}">
                      <a16:creationId xmlns:a16="http://schemas.microsoft.com/office/drawing/2014/main" id="{75CDF163-B64D-B255-F7A7-C82D1857E9BE}"/>
                    </a:ext>
                  </a:extLst>
                </p:cNvPr>
                <p:cNvSpPr/>
                <p:nvPr/>
              </p:nvSpPr>
              <p:spPr>
                <a:xfrm>
                  <a:off x="6230583" y="2312259"/>
                  <a:ext cx="16928" cy="6700"/>
                </a:xfrm>
                <a:custGeom>
                  <a:avLst/>
                  <a:gdLst>
                    <a:gd name="connsiteX0" fmla="*/ 11109 w 16928"/>
                    <a:gd name="connsiteY0" fmla="*/ 6701 h 6700"/>
                    <a:gd name="connsiteX1" fmla="*/ 13402 w 16928"/>
                    <a:gd name="connsiteY1" fmla="*/ 6084 h 6700"/>
                    <a:gd name="connsiteX2" fmla="*/ 15782 w 16928"/>
                    <a:gd name="connsiteY2" fmla="*/ 5202 h 6700"/>
                    <a:gd name="connsiteX3" fmla="*/ 16929 w 16928"/>
                    <a:gd name="connsiteY3" fmla="*/ 3174 h 6700"/>
                    <a:gd name="connsiteX4" fmla="*/ 13402 w 16928"/>
                    <a:gd name="connsiteY4" fmla="*/ 2910 h 6700"/>
                    <a:gd name="connsiteX5" fmla="*/ 10845 w 16928"/>
                    <a:gd name="connsiteY5" fmla="*/ 0 h 6700"/>
                    <a:gd name="connsiteX6" fmla="*/ 4144 w 16928"/>
                    <a:gd name="connsiteY6" fmla="*/ 882 h 6700"/>
                    <a:gd name="connsiteX7" fmla="*/ 0 w 16928"/>
                    <a:gd name="connsiteY7" fmla="*/ 2910 h 6700"/>
                    <a:gd name="connsiteX8" fmla="*/ 5555 w 16928"/>
                    <a:gd name="connsiteY8" fmla="*/ 5555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928" h="6700">
                      <a:moveTo>
                        <a:pt x="11109" y="6701"/>
                      </a:moveTo>
                      <a:lnTo>
                        <a:pt x="13402" y="6084"/>
                      </a:lnTo>
                      <a:lnTo>
                        <a:pt x="15782" y="5202"/>
                      </a:lnTo>
                      <a:lnTo>
                        <a:pt x="16929" y="3174"/>
                      </a:lnTo>
                      <a:lnTo>
                        <a:pt x="13402" y="2910"/>
                      </a:lnTo>
                      <a:lnTo>
                        <a:pt x="10845" y="0"/>
                      </a:lnTo>
                      <a:lnTo>
                        <a:pt x="4144" y="882"/>
                      </a:lnTo>
                      <a:lnTo>
                        <a:pt x="0" y="2910"/>
                      </a:lnTo>
                      <a:lnTo>
                        <a:pt x="5555" y="555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6" name="Freihandform: Form 1925">
                  <a:extLst>
                    <a:ext uri="{FF2B5EF4-FFF2-40B4-BE49-F238E27FC236}">
                      <a16:creationId xmlns:a16="http://schemas.microsoft.com/office/drawing/2014/main" id="{34F2D87D-6BC2-D0E3-9B51-91429C8FA608}"/>
                    </a:ext>
                  </a:extLst>
                </p:cNvPr>
                <p:cNvSpPr/>
                <p:nvPr/>
              </p:nvSpPr>
              <p:spPr>
                <a:xfrm>
                  <a:off x="6212773" y="2401485"/>
                  <a:ext cx="11109" cy="5819"/>
                </a:xfrm>
                <a:custGeom>
                  <a:avLst/>
                  <a:gdLst>
                    <a:gd name="connsiteX0" fmla="*/ 11109 w 11109"/>
                    <a:gd name="connsiteY0" fmla="*/ 2910 h 5819"/>
                    <a:gd name="connsiteX1" fmla="*/ 7053 w 11109"/>
                    <a:gd name="connsiteY1" fmla="*/ 2292 h 5819"/>
                    <a:gd name="connsiteX2" fmla="*/ 5907 w 11109"/>
                    <a:gd name="connsiteY2" fmla="*/ 0 h 5819"/>
                    <a:gd name="connsiteX3" fmla="*/ 5026 w 11109"/>
                    <a:gd name="connsiteY3" fmla="*/ 1499 h 5819"/>
                    <a:gd name="connsiteX4" fmla="*/ 3526 w 11109"/>
                    <a:gd name="connsiteY4" fmla="*/ 2292 h 5819"/>
                    <a:gd name="connsiteX5" fmla="*/ 0 w 11109"/>
                    <a:gd name="connsiteY5" fmla="*/ 2028 h 5819"/>
                    <a:gd name="connsiteX6" fmla="*/ 0 w 11109"/>
                    <a:gd name="connsiteY6" fmla="*/ 3527 h 5819"/>
                    <a:gd name="connsiteX7" fmla="*/ 2645 w 11109"/>
                    <a:gd name="connsiteY7" fmla="*/ 4673 h 5819"/>
                    <a:gd name="connsiteX8" fmla="*/ 9963 w 11109"/>
                    <a:gd name="connsiteY8" fmla="*/ 5819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109" h="5819">
                      <a:moveTo>
                        <a:pt x="11109" y="2910"/>
                      </a:moveTo>
                      <a:lnTo>
                        <a:pt x="7053" y="2292"/>
                      </a:lnTo>
                      <a:lnTo>
                        <a:pt x="5907" y="0"/>
                      </a:lnTo>
                      <a:lnTo>
                        <a:pt x="5026" y="1499"/>
                      </a:lnTo>
                      <a:lnTo>
                        <a:pt x="3526" y="2292"/>
                      </a:lnTo>
                      <a:lnTo>
                        <a:pt x="0" y="2028"/>
                      </a:lnTo>
                      <a:lnTo>
                        <a:pt x="0" y="3527"/>
                      </a:lnTo>
                      <a:lnTo>
                        <a:pt x="2645" y="4673"/>
                      </a:lnTo>
                      <a:lnTo>
                        <a:pt x="9963" y="581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7" name="Freihandform: Form 1926">
                  <a:extLst>
                    <a:ext uri="{FF2B5EF4-FFF2-40B4-BE49-F238E27FC236}">
                      <a16:creationId xmlns:a16="http://schemas.microsoft.com/office/drawing/2014/main" id="{E63B2732-CD7B-5BA8-1699-F55CF6DF5F00}"/>
                    </a:ext>
                  </a:extLst>
                </p:cNvPr>
                <p:cNvSpPr/>
                <p:nvPr/>
              </p:nvSpPr>
              <p:spPr>
                <a:xfrm>
                  <a:off x="6199724" y="2370273"/>
                  <a:ext cx="59161" cy="16928"/>
                </a:xfrm>
                <a:custGeom>
                  <a:avLst/>
                  <a:gdLst>
                    <a:gd name="connsiteX0" fmla="*/ 19838 w 59161"/>
                    <a:gd name="connsiteY0" fmla="*/ 0 h 16928"/>
                    <a:gd name="connsiteX1" fmla="*/ 16311 w 59161"/>
                    <a:gd name="connsiteY1" fmla="*/ 2645 h 16928"/>
                    <a:gd name="connsiteX2" fmla="*/ 15429 w 59161"/>
                    <a:gd name="connsiteY2" fmla="*/ 0 h 16928"/>
                    <a:gd name="connsiteX3" fmla="*/ 11374 w 59161"/>
                    <a:gd name="connsiteY3" fmla="*/ 2645 h 16928"/>
                    <a:gd name="connsiteX4" fmla="*/ 9611 w 59161"/>
                    <a:gd name="connsiteY4" fmla="*/ 2645 h 16928"/>
                    <a:gd name="connsiteX5" fmla="*/ 3439 w 59161"/>
                    <a:gd name="connsiteY5" fmla="*/ 4673 h 16928"/>
                    <a:gd name="connsiteX6" fmla="*/ 3439 w 59161"/>
                    <a:gd name="connsiteY6" fmla="*/ 6436 h 16928"/>
                    <a:gd name="connsiteX7" fmla="*/ 4585 w 59161"/>
                    <a:gd name="connsiteY7" fmla="*/ 9610 h 16928"/>
                    <a:gd name="connsiteX8" fmla="*/ 0 w 59161"/>
                    <a:gd name="connsiteY8" fmla="*/ 11991 h 16928"/>
                    <a:gd name="connsiteX9" fmla="*/ 1763 w 59161"/>
                    <a:gd name="connsiteY9" fmla="*/ 11638 h 16928"/>
                    <a:gd name="connsiteX10" fmla="*/ 4937 w 59161"/>
                    <a:gd name="connsiteY10" fmla="*/ 11638 h 16928"/>
                    <a:gd name="connsiteX11" fmla="*/ 6966 w 59161"/>
                    <a:gd name="connsiteY11" fmla="*/ 13137 h 16928"/>
                    <a:gd name="connsiteX12" fmla="*/ 17193 w 59161"/>
                    <a:gd name="connsiteY12" fmla="*/ 12255 h 16928"/>
                    <a:gd name="connsiteX13" fmla="*/ 26539 w 59161"/>
                    <a:gd name="connsiteY13" fmla="*/ 14283 h 16928"/>
                    <a:gd name="connsiteX14" fmla="*/ 27950 w 59161"/>
                    <a:gd name="connsiteY14" fmla="*/ 14283 h 16928"/>
                    <a:gd name="connsiteX15" fmla="*/ 30330 w 59161"/>
                    <a:gd name="connsiteY15" fmla="*/ 15165 h 16928"/>
                    <a:gd name="connsiteX16" fmla="*/ 30595 w 59161"/>
                    <a:gd name="connsiteY16" fmla="*/ 16928 h 16928"/>
                    <a:gd name="connsiteX17" fmla="*/ 35885 w 59161"/>
                    <a:gd name="connsiteY17" fmla="*/ 16047 h 16928"/>
                    <a:gd name="connsiteX18" fmla="*/ 35885 w 59161"/>
                    <a:gd name="connsiteY18" fmla="*/ 15429 h 16928"/>
                    <a:gd name="connsiteX19" fmla="*/ 41968 w 59161"/>
                    <a:gd name="connsiteY19" fmla="*/ 16047 h 16928"/>
                    <a:gd name="connsiteX20" fmla="*/ 47523 w 59161"/>
                    <a:gd name="connsiteY20" fmla="*/ 15782 h 16928"/>
                    <a:gd name="connsiteX21" fmla="*/ 50168 w 59161"/>
                    <a:gd name="connsiteY21" fmla="*/ 15429 h 16928"/>
                    <a:gd name="connsiteX22" fmla="*/ 56251 w 59161"/>
                    <a:gd name="connsiteY22" fmla="*/ 16928 h 16928"/>
                    <a:gd name="connsiteX23" fmla="*/ 59161 w 59161"/>
                    <a:gd name="connsiteY23" fmla="*/ 16047 h 16928"/>
                    <a:gd name="connsiteX24" fmla="*/ 57133 w 59161"/>
                    <a:gd name="connsiteY24" fmla="*/ 13402 h 16928"/>
                    <a:gd name="connsiteX25" fmla="*/ 56251 w 59161"/>
                    <a:gd name="connsiteY25" fmla="*/ 8729 h 16928"/>
                    <a:gd name="connsiteX26" fmla="*/ 51314 w 59161"/>
                    <a:gd name="connsiteY26" fmla="*/ 8200 h 16928"/>
                    <a:gd name="connsiteX27" fmla="*/ 46377 w 59161"/>
                    <a:gd name="connsiteY27" fmla="*/ 6701 h 16928"/>
                    <a:gd name="connsiteX28" fmla="*/ 39323 w 59161"/>
                    <a:gd name="connsiteY28" fmla="*/ 5555 h 16928"/>
                    <a:gd name="connsiteX29" fmla="*/ 35885 w 59161"/>
                    <a:gd name="connsiteY29" fmla="*/ 4056 h 16928"/>
                    <a:gd name="connsiteX30" fmla="*/ 32622 w 59161"/>
                    <a:gd name="connsiteY30" fmla="*/ 7847 h 16928"/>
                    <a:gd name="connsiteX31" fmla="*/ 29448 w 59161"/>
                    <a:gd name="connsiteY31" fmla="*/ 4056 h 16928"/>
                    <a:gd name="connsiteX32" fmla="*/ 22130 w 59161"/>
                    <a:gd name="connsiteY32" fmla="*/ 2028 h 16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59161" h="16928">
                      <a:moveTo>
                        <a:pt x="19838" y="0"/>
                      </a:moveTo>
                      <a:lnTo>
                        <a:pt x="16311" y="2645"/>
                      </a:lnTo>
                      <a:lnTo>
                        <a:pt x="15429" y="0"/>
                      </a:lnTo>
                      <a:lnTo>
                        <a:pt x="11374" y="2645"/>
                      </a:lnTo>
                      <a:lnTo>
                        <a:pt x="9611" y="2645"/>
                      </a:lnTo>
                      <a:lnTo>
                        <a:pt x="3439" y="4673"/>
                      </a:lnTo>
                      <a:lnTo>
                        <a:pt x="3439" y="6436"/>
                      </a:lnTo>
                      <a:lnTo>
                        <a:pt x="4585" y="9610"/>
                      </a:lnTo>
                      <a:lnTo>
                        <a:pt x="0" y="11991"/>
                      </a:lnTo>
                      <a:lnTo>
                        <a:pt x="1763" y="11638"/>
                      </a:lnTo>
                      <a:lnTo>
                        <a:pt x="4937" y="11638"/>
                      </a:lnTo>
                      <a:lnTo>
                        <a:pt x="6966" y="13137"/>
                      </a:lnTo>
                      <a:lnTo>
                        <a:pt x="17193" y="12255"/>
                      </a:lnTo>
                      <a:lnTo>
                        <a:pt x="26539" y="14283"/>
                      </a:lnTo>
                      <a:lnTo>
                        <a:pt x="27950" y="14283"/>
                      </a:lnTo>
                      <a:lnTo>
                        <a:pt x="30330" y="15165"/>
                      </a:lnTo>
                      <a:lnTo>
                        <a:pt x="30595" y="16928"/>
                      </a:lnTo>
                      <a:lnTo>
                        <a:pt x="35885" y="16047"/>
                      </a:lnTo>
                      <a:lnTo>
                        <a:pt x="35885" y="15429"/>
                      </a:lnTo>
                      <a:lnTo>
                        <a:pt x="41968" y="16047"/>
                      </a:lnTo>
                      <a:lnTo>
                        <a:pt x="47523" y="15782"/>
                      </a:lnTo>
                      <a:lnTo>
                        <a:pt x="50168" y="15429"/>
                      </a:lnTo>
                      <a:lnTo>
                        <a:pt x="56251" y="16928"/>
                      </a:lnTo>
                      <a:lnTo>
                        <a:pt x="59161" y="16047"/>
                      </a:lnTo>
                      <a:lnTo>
                        <a:pt x="57133" y="13402"/>
                      </a:lnTo>
                      <a:lnTo>
                        <a:pt x="56251" y="8729"/>
                      </a:lnTo>
                      <a:lnTo>
                        <a:pt x="51314" y="8200"/>
                      </a:lnTo>
                      <a:lnTo>
                        <a:pt x="46377" y="6701"/>
                      </a:lnTo>
                      <a:lnTo>
                        <a:pt x="39323" y="5555"/>
                      </a:lnTo>
                      <a:lnTo>
                        <a:pt x="35885" y="4056"/>
                      </a:lnTo>
                      <a:lnTo>
                        <a:pt x="32622" y="7847"/>
                      </a:lnTo>
                      <a:lnTo>
                        <a:pt x="29448" y="4056"/>
                      </a:lnTo>
                      <a:lnTo>
                        <a:pt x="22130" y="202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8" name="Freihandform: Form 1927">
                  <a:extLst>
                    <a:ext uri="{FF2B5EF4-FFF2-40B4-BE49-F238E27FC236}">
                      <a16:creationId xmlns:a16="http://schemas.microsoft.com/office/drawing/2014/main" id="{CB61A02F-7D71-0A81-DAB6-9D86D67042AB}"/>
                    </a:ext>
                  </a:extLst>
                </p:cNvPr>
                <p:cNvSpPr/>
                <p:nvPr/>
              </p:nvSpPr>
              <p:spPr>
                <a:xfrm>
                  <a:off x="6189232" y="2418413"/>
                  <a:ext cx="15429" cy="4055"/>
                </a:xfrm>
                <a:custGeom>
                  <a:avLst/>
                  <a:gdLst>
                    <a:gd name="connsiteX0" fmla="*/ 6701 w 15429"/>
                    <a:gd name="connsiteY0" fmla="*/ 4056 h 4055"/>
                    <a:gd name="connsiteX1" fmla="*/ 15429 w 15429"/>
                    <a:gd name="connsiteY1" fmla="*/ 2028 h 4055"/>
                    <a:gd name="connsiteX2" fmla="*/ 11021 w 15429"/>
                    <a:gd name="connsiteY2" fmla="*/ 882 h 4055"/>
                    <a:gd name="connsiteX3" fmla="*/ 9875 w 15429"/>
                    <a:gd name="connsiteY3" fmla="*/ 264 h 4055"/>
                    <a:gd name="connsiteX4" fmla="*/ 6348 w 15429"/>
                    <a:gd name="connsiteY4" fmla="*/ 0 h 4055"/>
                    <a:gd name="connsiteX5" fmla="*/ 4673 w 15429"/>
                    <a:gd name="connsiteY5" fmla="*/ 1146 h 4055"/>
                    <a:gd name="connsiteX6" fmla="*/ 0 w 15429"/>
                    <a:gd name="connsiteY6" fmla="*/ 617 h 4055"/>
                    <a:gd name="connsiteX7" fmla="*/ 1146 w 15429"/>
                    <a:gd name="connsiteY7" fmla="*/ 1411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429" h="4055">
                      <a:moveTo>
                        <a:pt x="6701" y="4056"/>
                      </a:moveTo>
                      <a:lnTo>
                        <a:pt x="15429" y="2028"/>
                      </a:lnTo>
                      <a:lnTo>
                        <a:pt x="11021" y="882"/>
                      </a:lnTo>
                      <a:lnTo>
                        <a:pt x="9875" y="264"/>
                      </a:lnTo>
                      <a:lnTo>
                        <a:pt x="6348" y="0"/>
                      </a:lnTo>
                      <a:lnTo>
                        <a:pt x="4673" y="1146"/>
                      </a:lnTo>
                      <a:lnTo>
                        <a:pt x="0" y="617"/>
                      </a:lnTo>
                      <a:lnTo>
                        <a:pt x="1146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9" name="Freihandform: Form 1928">
                  <a:extLst>
                    <a:ext uri="{FF2B5EF4-FFF2-40B4-BE49-F238E27FC236}">
                      <a16:creationId xmlns:a16="http://schemas.microsoft.com/office/drawing/2014/main" id="{03501FD5-39C3-7ED1-A2CC-C774148615DD}"/>
                    </a:ext>
                  </a:extLst>
                </p:cNvPr>
                <p:cNvSpPr/>
                <p:nvPr/>
              </p:nvSpPr>
              <p:spPr>
                <a:xfrm>
                  <a:off x="6207836" y="2420706"/>
                  <a:ext cx="14635" cy="4143"/>
                </a:xfrm>
                <a:custGeom>
                  <a:avLst/>
                  <a:gdLst>
                    <a:gd name="connsiteX0" fmla="*/ 1499 w 14635"/>
                    <a:gd name="connsiteY0" fmla="*/ 1763 h 4143"/>
                    <a:gd name="connsiteX1" fmla="*/ 9346 w 14635"/>
                    <a:gd name="connsiteY1" fmla="*/ 4144 h 4143"/>
                    <a:gd name="connsiteX2" fmla="*/ 14636 w 14635"/>
                    <a:gd name="connsiteY2" fmla="*/ 1234 h 4143"/>
                    <a:gd name="connsiteX3" fmla="*/ 6171 w 14635"/>
                    <a:gd name="connsiteY3" fmla="*/ 0 h 4143"/>
                    <a:gd name="connsiteX4" fmla="*/ 0 w 14635"/>
                    <a:gd name="connsiteY4" fmla="*/ 617 h 4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35" h="4143">
                      <a:moveTo>
                        <a:pt x="1499" y="1763"/>
                      </a:moveTo>
                      <a:lnTo>
                        <a:pt x="9346" y="4144"/>
                      </a:lnTo>
                      <a:lnTo>
                        <a:pt x="14636" y="1234"/>
                      </a:lnTo>
                      <a:lnTo>
                        <a:pt x="6171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0" name="Freihandform: Form 1929">
                  <a:extLst>
                    <a:ext uri="{FF2B5EF4-FFF2-40B4-BE49-F238E27FC236}">
                      <a16:creationId xmlns:a16="http://schemas.microsoft.com/office/drawing/2014/main" id="{BBDA61B1-EEE2-1130-CD75-AAB7BB67AC20}"/>
                    </a:ext>
                  </a:extLst>
                </p:cNvPr>
                <p:cNvSpPr/>
                <p:nvPr/>
              </p:nvSpPr>
              <p:spPr>
                <a:xfrm>
                  <a:off x="6231729" y="2338180"/>
                  <a:ext cx="88433" cy="18691"/>
                </a:xfrm>
                <a:custGeom>
                  <a:avLst/>
                  <a:gdLst>
                    <a:gd name="connsiteX0" fmla="*/ 9963 w 88433"/>
                    <a:gd name="connsiteY0" fmla="*/ 0 h 18691"/>
                    <a:gd name="connsiteX1" fmla="*/ 6701 w 88433"/>
                    <a:gd name="connsiteY1" fmla="*/ 1499 h 18691"/>
                    <a:gd name="connsiteX2" fmla="*/ 2116 w 88433"/>
                    <a:gd name="connsiteY2" fmla="*/ 1499 h 18691"/>
                    <a:gd name="connsiteX3" fmla="*/ 0 w 88433"/>
                    <a:gd name="connsiteY3" fmla="*/ 3262 h 18691"/>
                    <a:gd name="connsiteX4" fmla="*/ 6437 w 88433"/>
                    <a:gd name="connsiteY4" fmla="*/ 6436 h 18691"/>
                    <a:gd name="connsiteX5" fmla="*/ 12256 w 88433"/>
                    <a:gd name="connsiteY5" fmla="*/ 6701 h 18691"/>
                    <a:gd name="connsiteX6" fmla="*/ 16400 w 88433"/>
                    <a:gd name="connsiteY6" fmla="*/ 10228 h 18691"/>
                    <a:gd name="connsiteX7" fmla="*/ 28919 w 88433"/>
                    <a:gd name="connsiteY7" fmla="*/ 11109 h 18691"/>
                    <a:gd name="connsiteX8" fmla="*/ 31300 w 88433"/>
                    <a:gd name="connsiteY8" fmla="*/ 12873 h 18691"/>
                    <a:gd name="connsiteX9" fmla="*/ 35356 w 88433"/>
                    <a:gd name="connsiteY9" fmla="*/ 14900 h 18691"/>
                    <a:gd name="connsiteX10" fmla="*/ 40558 w 88433"/>
                    <a:gd name="connsiteY10" fmla="*/ 12873 h 18691"/>
                    <a:gd name="connsiteX11" fmla="*/ 46465 w 88433"/>
                    <a:gd name="connsiteY11" fmla="*/ 15165 h 18691"/>
                    <a:gd name="connsiteX12" fmla="*/ 50785 w 88433"/>
                    <a:gd name="connsiteY12" fmla="*/ 17546 h 18691"/>
                    <a:gd name="connsiteX13" fmla="*/ 60131 w 88433"/>
                    <a:gd name="connsiteY13" fmla="*/ 18692 h 18691"/>
                    <a:gd name="connsiteX14" fmla="*/ 69213 w 88433"/>
                    <a:gd name="connsiteY14" fmla="*/ 17810 h 18691"/>
                    <a:gd name="connsiteX15" fmla="*/ 75560 w 88433"/>
                    <a:gd name="connsiteY15" fmla="*/ 15429 h 18691"/>
                    <a:gd name="connsiteX16" fmla="*/ 83496 w 88433"/>
                    <a:gd name="connsiteY16" fmla="*/ 16664 h 18691"/>
                    <a:gd name="connsiteX17" fmla="*/ 88433 w 88433"/>
                    <a:gd name="connsiteY17" fmla="*/ 12520 h 18691"/>
                    <a:gd name="connsiteX18" fmla="*/ 88433 w 88433"/>
                    <a:gd name="connsiteY18" fmla="*/ 8464 h 18691"/>
                    <a:gd name="connsiteX19" fmla="*/ 82526 w 88433"/>
                    <a:gd name="connsiteY19" fmla="*/ 9081 h 18691"/>
                    <a:gd name="connsiteX20" fmla="*/ 77676 w 88433"/>
                    <a:gd name="connsiteY20" fmla="*/ 7318 h 18691"/>
                    <a:gd name="connsiteX21" fmla="*/ 70888 w 88433"/>
                    <a:gd name="connsiteY21" fmla="*/ 7582 h 18691"/>
                    <a:gd name="connsiteX22" fmla="*/ 66832 w 88433"/>
                    <a:gd name="connsiteY22" fmla="*/ 4937 h 18691"/>
                    <a:gd name="connsiteX23" fmla="*/ 58632 w 88433"/>
                    <a:gd name="connsiteY23" fmla="*/ 4144 h 18691"/>
                    <a:gd name="connsiteX24" fmla="*/ 56340 w 88433"/>
                    <a:gd name="connsiteY24" fmla="*/ 8464 h 18691"/>
                    <a:gd name="connsiteX25" fmla="*/ 54576 w 88433"/>
                    <a:gd name="connsiteY25" fmla="*/ 4937 h 18691"/>
                    <a:gd name="connsiteX26" fmla="*/ 51050 w 88433"/>
                    <a:gd name="connsiteY26" fmla="*/ 7318 h 18691"/>
                    <a:gd name="connsiteX27" fmla="*/ 46729 w 88433"/>
                    <a:gd name="connsiteY27" fmla="*/ 7847 h 18691"/>
                    <a:gd name="connsiteX28" fmla="*/ 43203 w 88433"/>
                    <a:gd name="connsiteY28" fmla="*/ 4144 h 18691"/>
                    <a:gd name="connsiteX29" fmla="*/ 42056 w 88433"/>
                    <a:gd name="connsiteY29" fmla="*/ 1499 h 18691"/>
                    <a:gd name="connsiteX30" fmla="*/ 31300 w 88433"/>
                    <a:gd name="connsiteY30" fmla="*/ 2381 h 18691"/>
                    <a:gd name="connsiteX31" fmla="*/ 24864 w 88433"/>
                    <a:gd name="connsiteY31" fmla="*/ 3791 h 18691"/>
                    <a:gd name="connsiteX32" fmla="*/ 22836 w 88433"/>
                    <a:gd name="connsiteY32" fmla="*/ 6172 h 18691"/>
                    <a:gd name="connsiteX33" fmla="*/ 19309 w 88433"/>
                    <a:gd name="connsiteY33" fmla="*/ 3791 h 18691"/>
                    <a:gd name="connsiteX34" fmla="*/ 15253 w 88433"/>
                    <a:gd name="connsiteY34" fmla="*/ 4144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88433" h="18691">
                      <a:moveTo>
                        <a:pt x="9963" y="0"/>
                      </a:moveTo>
                      <a:lnTo>
                        <a:pt x="6701" y="1499"/>
                      </a:lnTo>
                      <a:lnTo>
                        <a:pt x="2116" y="1499"/>
                      </a:lnTo>
                      <a:lnTo>
                        <a:pt x="0" y="3262"/>
                      </a:lnTo>
                      <a:lnTo>
                        <a:pt x="6437" y="6436"/>
                      </a:lnTo>
                      <a:lnTo>
                        <a:pt x="12256" y="6701"/>
                      </a:lnTo>
                      <a:lnTo>
                        <a:pt x="16400" y="10228"/>
                      </a:lnTo>
                      <a:lnTo>
                        <a:pt x="28919" y="11109"/>
                      </a:lnTo>
                      <a:lnTo>
                        <a:pt x="31300" y="12873"/>
                      </a:lnTo>
                      <a:lnTo>
                        <a:pt x="35356" y="14900"/>
                      </a:lnTo>
                      <a:lnTo>
                        <a:pt x="40558" y="12873"/>
                      </a:lnTo>
                      <a:lnTo>
                        <a:pt x="46465" y="15165"/>
                      </a:lnTo>
                      <a:lnTo>
                        <a:pt x="50785" y="17546"/>
                      </a:lnTo>
                      <a:lnTo>
                        <a:pt x="60131" y="18692"/>
                      </a:lnTo>
                      <a:lnTo>
                        <a:pt x="69213" y="17810"/>
                      </a:lnTo>
                      <a:lnTo>
                        <a:pt x="75560" y="15429"/>
                      </a:lnTo>
                      <a:lnTo>
                        <a:pt x="83496" y="16664"/>
                      </a:lnTo>
                      <a:lnTo>
                        <a:pt x="88433" y="12520"/>
                      </a:lnTo>
                      <a:lnTo>
                        <a:pt x="88433" y="8464"/>
                      </a:lnTo>
                      <a:lnTo>
                        <a:pt x="82526" y="9081"/>
                      </a:lnTo>
                      <a:lnTo>
                        <a:pt x="77676" y="7318"/>
                      </a:lnTo>
                      <a:lnTo>
                        <a:pt x="70888" y="7582"/>
                      </a:lnTo>
                      <a:lnTo>
                        <a:pt x="66832" y="4937"/>
                      </a:lnTo>
                      <a:lnTo>
                        <a:pt x="58632" y="4144"/>
                      </a:lnTo>
                      <a:lnTo>
                        <a:pt x="56340" y="8464"/>
                      </a:lnTo>
                      <a:lnTo>
                        <a:pt x="54576" y="4937"/>
                      </a:lnTo>
                      <a:lnTo>
                        <a:pt x="51050" y="7318"/>
                      </a:lnTo>
                      <a:lnTo>
                        <a:pt x="46729" y="7847"/>
                      </a:lnTo>
                      <a:lnTo>
                        <a:pt x="43203" y="4144"/>
                      </a:lnTo>
                      <a:lnTo>
                        <a:pt x="42056" y="1499"/>
                      </a:lnTo>
                      <a:lnTo>
                        <a:pt x="31300" y="2381"/>
                      </a:lnTo>
                      <a:lnTo>
                        <a:pt x="24864" y="3791"/>
                      </a:lnTo>
                      <a:lnTo>
                        <a:pt x="22836" y="6172"/>
                      </a:lnTo>
                      <a:lnTo>
                        <a:pt x="19309" y="3791"/>
                      </a:lnTo>
                      <a:lnTo>
                        <a:pt x="15253" y="4144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1" name="Freihandform: Form 1930">
                  <a:extLst>
                    <a:ext uri="{FF2B5EF4-FFF2-40B4-BE49-F238E27FC236}">
                      <a16:creationId xmlns:a16="http://schemas.microsoft.com/office/drawing/2014/main" id="{C3BA03B8-8AD5-362C-C2CA-99F716AA1BF4}"/>
                    </a:ext>
                  </a:extLst>
                </p:cNvPr>
                <p:cNvSpPr/>
                <p:nvPr/>
              </p:nvSpPr>
              <p:spPr>
                <a:xfrm>
                  <a:off x="6867952" y="2421058"/>
                  <a:ext cx="60395" cy="18956"/>
                </a:xfrm>
                <a:custGeom>
                  <a:avLst/>
                  <a:gdLst>
                    <a:gd name="connsiteX0" fmla="*/ 5555 w 60395"/>
                    <a:gd name="connsiteY0" fmla="*/ 16576 h 18956"/>
                    <a:gd name="connsiteX1" fmla="*/ 10227 w 60395"/>
                    <a:gd name="connsiteY1" fmla="*/ 15429 h 18956"/>
                    <a:gd name="connsiteX2" fmla="*/ 11638 w 60395"/>
                    <a:gd name="connsiteY2" fmla="*/ 18604 h 18956"/>
                    <a:gd name="connsiteX3" fmla="*/ 14900 w 60395"/>
                    <a:gd name="connsiteY3" fmla="*/ 18956 h 18956"/>
                    <a:gd name="connsiteX4" fmla="*/ 14900 w 60395"/>
                    <a:gd name="connsiteY4" fmla="*/ 13931 h 18956"/>
                    <a:gd name="connsiteX5" fmla="*/ 17457 w 60395"/>
                    <a:gd name="connsiteY5" fmla="*/ 15694 h 18956"/>
                    <a:gd name="connsiteX6" fmla="*/ 20719 w 60395"/>
                    <a:gd name="connsiteY6" fmla="*/ 16047 h 18956"/>
                    <a:gd name="connsiteX7" fmla="*/ 25393 w 60395"/>
                    <a:gd name="connsiteY7" fmla="*/ 14283 h 18956"/>
                    <a:gd name="connsiteX8" fmla="*/ 29095 w 60395"/>
                    <a:gd name="connsiteY8" fmla="*/ 17457 h 18956"/>
                    <a:gd name="connsiteX9" fmla="*/ 32093 w 60395"/>
                    <a:gd name="connsiteY9" fmla="*/ 14812 h 18956"/>
                    <a:gd name="connsiteX10" fmla="*/ 38441 w 60395"/>
                    <a:gd name="connsiteY10" fmla="*/ 17193 h 18956"/>
                    <a:gd name="connsiteX11" fmla="*/ 44260 w 60395"/>
                    <a:gd name="connsiteY11" fmla="*/ 16840 h 18956"/>
                    <a:gd name="connsiteX12" fmla="*/ 49551 w 60395"/>
                    <a:gd name="connsiteY12" fmla="*/ 16840 h 18956"/>
                    <a:gd name="connsiteX13" fmla="*/ 51314 w 60395"/>
                    <a:gd name="connsiteY13" fmla="*/ 13931 h 18956"/>
                    <a:gd name="connsiteX14" fmla="*/ 56516 w 60395"/>
                    <a:gd name="connsiteY14" fmla="*/ 14812 h 18956"/>
                    <a:gd name="connsiteX15" fmla="*/ 57133 w 60395"/>
                    <a:gd name="connsiteY15" fmla="*/ 12520 h 18956"/>
                    <a:gd name="connsiteX16" fmla="*/ 60395 w 60395"/>
                    <a:gd name="connsiteY16" fmla="*/ 10757 h 18956"/>
                    <a:gd name="connsiteX17" fmla="*/ 59778 w 60395"/>
                    <a:gd name="connsiteY17" fmla="*/ 4937 h 18956"/>
                    <a:gd name="connsiteX18" fmla="*/ 57750 w 60395"/>
                    <a:gd name="connsiteY18" fmla="*/ 7847 h 18956"/>
                    <a:gd name="connsiteX19" fmla="*/ 52196 w 60395"/>
                    <a:gd name="connsiteY19" fmla="*/ 6965 h 18956"/>
                    <a:gd name="connsiteX20" fmla="*/ 45142 w 60395"/>
                    <a:gd name="connsiteY20" fmla="*/ 4320 h 18956"/>
                    <a:gd name="connsiteX21" fmla="*/ 41351 w 60395"/>
                    <a:gd name="connsiteY21" fmla="*/ 882 h 18956"/>
                    <a:gd name="connsiteX22" fmla="*/ 34121 w 60395"/>
                    <a:gd name="connsiteY22" fmla="*/ 1146 h 18956"/>
                    <a:gd name="connsiteX23" fmla="*/ 28831 w 60395"/>
                    <a:gd name="connsiteY23" fmla="*/ 1411 h 18956"/>
                    <a:gd name="connsiteX24" fmla="*/ 21248 w 60395"/>
                    <a:gd name="connsiteY24" fmla="*/ 2028 h 18956"/>
                    <a:gd name="connsiteX25" fmla="*/ 12255 w 60395"/>
                    <a:gd name="connsiteY25" fmla="*/ 1411 h 18956"/>
                    <a:gd name="connsiteX26" fmla="*/ 6965 w 60395"/>
                    <a:gd name="connsiteY26" fmla="*/ 0 h 18956"/>
                    <a:gd name="connsiteX27" fmla="*/ 4408 w 60395"/>
                    <a:gd name="connsiteY27" fmla="*/ 1675 h 18956"/>
                    <a:gd name="connsiteX28" fmla="*/ 2028 w 60395"/>
                    <a:gd name="connsiteY28" fmla="*/ 1411 h 18956"/>
                    <a:gd name="connsiteX29" fmla="*/ 4673 w 60395"/>
                    <a:gd name="connsiteY29" fmla="*/ 4320 h 18956"/>
                    <a:gd name="connsiteX30" fmla="*/ 264 w 60395"/>
                    <a:gd name="connsiteY30" fmla="*/ 5819 h 18956"/>
                    <a:gd name="connsiteX31" fmla="*/ 264 w 60395"/>
                    <a:gd name="connsiteY31" fmla="*/ 9258 h 18956"/>
                    <a:gd name="connsiteX32" fmla="*/ 0 w 60395"/>
                    <a:gd name="connsiteY32" fmla="*/ 13931 h 18956"/>
                    <a:gd name="connsiteX33" fmla="*/ 5555 w 60395"/>
                    <a:gd name="connsiteY33" fmla="*/ 12167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60395" h="18956">
                      <a:moveTo>
                        <a:pt x="5555" y="16576"/>
                      </a:moveTo>
                      <a:lnTo>
                        <a:pt x="10227" y="15429"/>
                      </a:lnTo>
                      <a:lnTo>
                        <a:pt x="11638" y="18604"/>
                      </a:lnTo>
                      <a:lnTo>
                        <a:pt x="14900" y="18956"/>
                      </a:lnTo>
                      <a:lnTo>
                        <a:pt x="14900" y="13931"/>
                      </a:lnTo>
                      <a:lnTo>
                        <a:pt x="17457" y="15694"/>
                      </a:lnTo>
                      <a:lnTo>
                        <a:pt x="20719" y="16047"/>
                      </a:lnTo>
                      <a:lnTo>
                        <a:pt x="25393" y="14283"/>
                      </a:lnTo>
                      <a:lnTo>
                        <a:pt x="29095" y="17457"/>
                      </a:lnTo>
                      <a:lnTo>
                        <a:pt x="32093" y="14812"/>
                      </a:lnTo>
                      <a:lnTo>
                        <a:pt x="38441" y="17193"/>
                      </a:lnTo>
                      <a:lnTo>
                        <a:pt x="44260" y="16840"/>
                      </a:lnTo>
                      <a:lnTo>
                        <a:pt x="49551" y="16840"/>
                      </a:lnTo>
                      <a:lnTo>
                        <a:pt x="51314" y="13931"/>
                      </a:lnTo>
                      <a:lnTo>
                        <a:pt x="56516" y="14812"/>
                      </a:lnTo>
                      <a:lnTo>
                        <a:pt x="57133" y="12520"/>
                      </a:lnTo>
                      <a:lnTo>
                        <a:pt x="60395" y="10757"/>
                      </a:lnTo>
                      <a:lnTo>
                        <a:pt x="59778" y="4937"/>
                      </a:lnTo>
                      <a:lnTo>
                        <a:pt x="57750" y="7847"/>
                      </a:lnTo>
                      <a:lnTo>
                        <a:pt x="52196" y="6965"/>
                      </a:lnTo>
                      <a:lnTo>
                        <a:pt x="45142" y="4320"/>
                      </a:lnTo>
                      <a:lnTo>
                        <a:pt x="41351" y="882"/>
                      </a:lnTo>
                      <a:lnTo>
                        <a:pt x="34121" y="1146"/>
                      </a:lnTo>
                      <a:lnTo>
                        <a:pt x="28831" y="1411"/>
                      </a:lnTo>
                      <a:lnTo>
                        <a:pt x="21248" y="2028"/>
                      </a:lnTo>
                      <a:lnTo>
                        <a:pt x="12255" y="1411"/>
                      </a:lnTo>
                      <a:lnTo>
                        <a:pt x="6965" y="0"/>
                      </a:lnTo>
                      <a:lnTo>
                        <a:pt x="4408" y="1675"/>
                      </a:lnTo>
                      <a:lnTo>
                        <a:pt x="2028" y="1411"/>
                      </a:lnTo>
                      <a:lnTo>
                        <a:pt x="4673" y="4320"/>
                      </a:lnTo>
                      <a:lnTo>
                        <a:pt x="264" y="5819"/>
                      </a:lnTo>
                      <a:lnTo>
                        <a:pt x="264" y="9258"/>
                      </a:lnTo>
                      <a:lnTo>
                        <a:pt x="0" y="13931"/>
                      </a:lnTo>
                      <a:lnTo>
                        <a:pt x="5555" y="1216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2" name="Freihandform: Form 1931">
                  <a:extLst>
                    <a:ext uri="{FF2B5EF4-FFF2-40B4-BE49-F238E27FC236}">
                      <a16:creationId xmlns:a16="http://schemas.microsoft.com/office/drawing/2014/main" id="{FE011904-D8AC-BADF-0608-27E3BE0FEDF1}"/>
                    </a:ext>
                  </a:extLst>
                </p:cNvPr>
                <p:cNvSpPr/>
                <p:nvPr/>
              </p:nvSpPr>
              <p:spPr>
                <a:xfrm>
                  <a:off x="6735788" y="2453152"/>
                  <a:ext cx="30946" cy="10756"/>
                </a:xfrm>
                <a:custGeom>
                  <a:avLst/>
                  <a:gdLst>
                    <a:gd name="connsiteX0" fmla="*/ 11109 w 30946"/>
                    <a:gd name="connsiteY0" fmla="*/ 7847 h 10756"/>
                    <a:gd name="connsiteX1" fmla="*/ 25128 w 30946"/>
                    <a:gd name="connsiteY1" fmla="*/ 10757 h 10756"/>
                    <a:gd name="connsiteX2" fmla="*/ 29184 w 30946"/>
                    <a:gd name="connsiteY2" fmla="*/ 8993 h 10756"/>
                    <a:gd name="connsiteX3" fmla="*/ 30947 w 30946"/>
                    <a:gd name="connsiteY3" fmla="*/ 4585 h 10756"/>
                    <a:gd name="connsiteX4" fmla="*/ 23893 w 30946"/>
                    <a:gd name="connsiteY4" fmla="*/ 3174 h 10756"/>
                    <a:gd name="connsiteX5" fmla="*/ 17192 w 30946"/>
                    <a:gd name="connsiteY5" fmla="*/ 529 h 10756"/>
                    <a:gd name="connsiteX6" fmla="*/ 11374 w 30946"/>
                    <a:gd name="connsiteY6" fmla="*/ 3439 h 10756"/>
                    <a:gd name="connsiteX7" fmla="*/ 3526 w 30946"/>
                    <a:gd name="connsiteY7" fmla="*/ 0 h 10756"/>
                    <a:gd name="connsiteX8" fmla="*/ 0 w 30946"/>
                    <a:gd name="connsiteY8" fmla="*/ 2292 h 10756"/>
                    <a:gd name="connsiteX9" fmla="*/ 4673 w 30946"/>
                    <a:gd name="connsiteY9" fmla="*/ 6965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946" h="10756">
                      <a:moveTo>
                        <a:pt x="11109" y="7847"/>
                      </a:moveTo>
                      <a:lnTo>
                        <a:pt x="25128" y="10757"/>
                      </a:lnTo>
                      <a:lnTo>
                        <a:pt x="29184" y="8993"/>
                      </a:lnTo>
                      <a:lnTo>
                        <a:pt x="30947" y="4585"/>
                      </a:lnTo>
                      <a:lnTo>
                        <a:pt x="23893" y="3174"/>
                      </a:lnTo>
                      <a:lnTo>
                        <a:pt x="17192" y="529"/>
                      </a:lnTo>
                      <a:lnTo>
                        <a:pt x="11374" y="3439"/>
                      </a:lnTo>
                      <a:lnTo>
                        <a:pt x="3526" y="0"/>
                      </a:lnTo>
                      <a:lnTo>
                        <a:pt x="0" y="2292"/>
                      </a:lnTo>
                      <a:lnTo>
                        <a:pt x="4673" y="696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3" name="Freihandform: Form 1932">
                  <a:extLst>
                    <a:ext uri="{FF2B5EF4-FFF2-40B4-BE49-F238E27FC236}">
                      <a16:creationId xmlns:a16="http://schemas.microsoft.com/office/drawing/2014/main" id="{BF614A5E-C1D3-CCDE-A0EB-C5D55409F490}"/>
                    </a:ext>
                  </a:extLst>
                </p:cNvPr>
                <p:cNvSpPr/>
                <p:nvPr/>
              </p:nvSpPr>
              <p:spPr>
                <a:xfrm>
                  <a:off x="5746451" y="2358018"/>
                  <a:ext cx="25039" cy="11109"/>
                </a:xfrm>
                <a:custGeom>
                  <a:avLst/>
                  <a:gdLst>
                    <a:gd name="connsiteX0" fmla="*/ 5819 w 25039"/>
                    <a:gd name="connsiteY0" fmla="*/ 0 h 11109"/>
                    <a:gd name="connsiteX1" fmla="*/ 2910 w 25039"/>
                    <a:gd name="connsiteY1" fmla="*/ 1146 h 11109"/>
                    <a:gd name="connsiteX2" fmla="*/ 1763 w 25039"/>
                    <a:gd name="connsiteY2" fmla="*/ 617 h 11109"/>
                    <a:gd name="connsiteX3" fmla="*/ 529 w 25039"/>
                    <a:gd name="connsiteY3" fmla="*/ 2381 h 11109"/>
                    <a:gd name="connsiteX4" fmla="*/ 0 w 25039"/>
                    <a:gd name="connsiteY4" fmla="*/ 6965 h 11109"/>
                    <a:gd name="connsiteX5" fmla="*/ 1146 w 25039"/>
                    <a:gd name="connsiteY5" fmla="*/ 6965 h 11109"/>
                    <a:gd name="connsiteX6" fmla="*/ 2557 w 25039"/>
                    <a:gd name="connsiteY6" fmla="*/ 8200 h 11109"/>
                    <a:gd name="connsiteX7" fmla="*/ 4056 w 25039"/>
                    <a:gd name="connsiteY7" fmla="*/ 11109 h 11109"/>
                    <a:gd name="connsiteX8" fmla="*/ 7847 w 25039"/>
                    <a:gd name="connsiteY8" fmla="*/ 10492 h 11109"/>
                    <a:gd name="connsiteX9" fmla="*/ 10492 w 25039"/>
                    <a:gd name="connsiteY9" fmla="*/ 9963 h 11109"/>
                    <a:gd name="connsiteX10" fmla="*/ 17722 w 25039"/>
                    <a:gd name="connsiteY10" fmla="*/ 10228 h 11109"/>
                    <a:gd name="connsiteX11" fmla="*/ 25040 w 25039"/>
                    <a:gd name="connsiteY11" fmla="*/ 9346 h 11109"/>
                    <a:gd name="connsiteX12" fmla="*/ 22748 w 25039"/>
                    <a:gd name="connsiteY12" fmla="*/ 4056 h 11109"/>
                    <a:gd name="connsiteX13" fmla="*/ 21601 w 25039"/>
                    <a:gd name="connsiteY13" fmla="*/ 2381 h 11109"/>
                    <a:gd name="connsiteX14" fmla="*/ 19838 w 25039"/>
                    <a:gd name="connsiteY14" fmla="*/ 1499 h 11109"/>
                    <a:gd name="connsiteX15" fmla="*/ 15694 w 25039"/>
                    <a:gd name="connsiteY15" fmla="*/ 1763 h 11109"/>
                    <a:gd name="connsiteX16" fmla="*/ 15165 w 25039"/>
                    <a:gd name="connsiteY16" fmla="*/ 2381 h 11109"/>
                    <a:gd name="connsiteX17" fmla="*/ 10492 w 25039"/>
                    <a:gd name="connsiteY17" fmla="*/ 3262 h 11109"/>
                    <a:gd name="connsiteX18" fmla="*/ 8111 w 25039"/>
                    <a:gd name="connsiteY18" fmla="*/ 3262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5039" h="11109">
                      <a:moveTo>
                        <a:pt x="5819" y="0"/>
                      </a:moveTo>
                      <a:lnTo>
                        <a:pt x="2910" y="1146"/>
                      </a:lnTo>
                      <a:lnTo>
                        <a:pt x="1763" y="617"/>
                      </a:lnTo>
                      <a:lnTo>
                        <a:pt x="529" y="2381"/>
                      </a:lnTo>
                      <a:lnTo>
                        <a:pt x="0" y="6965"/>
                      </a:lnTo>
                      <a:lnTo>
                        <a:pt x="1146" y="6965"/>
                      </a:lnTo>
                      <a:lnTo>
                        <a:pt x="2557" y="8200"/>
                      </a:lnTo>
                      <a:lnTo>
                        <a:pt x="4056" y="11109"/>
                      </a:lnTo>
                      <a:lnTo>
                        <a:pt x="7847" y="10492"/>
                      </a:lnTo>
                      <a:lnTo>
                        <a:pt x="10492" y="9963"/>
                      </a:lnTo>
                      <a:lnTo>
                        <a:pt x="17722" y="10228"/>
                      </a:lnTo>
                      <a:lnTo>
                        <a:pt x="25040" y="9346"/>
                      </a:lnTo>
                      <a:lnTo>
                        <a:pt x="22748" y="4056"/>
                      </a:lnTo>
                      <a:lnTo>
                        <a:pt x="21601" y="2381"/>
                      </a:lnTo>
                      <a:lnTo>
                        <a:pt x="19838" y="1499"/>
                      </a:lnTo>
                      <a:lnTo>
                        <a:pt x="15694" y="1763"/>
                      </a:lnTo>
                      <a:lnTo>
                        <a:pt x="15165" y="2381"/>
                      </a:lnTo>
                      <a:lnTo>
                        <a:pt x="10492" y="3262"/>
                      </a:lnTo>
                      <a:lnTo>
                        <a:pt x="8111" y="326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4" name="Freihandform: Form 1933">
                  <a:extLst>
                    <a:ext uri="{FF2B5EF4-FFF2-40B4-BE49-F238E27FC236}">
                      <a16:creationId xmlns:a16="http://schemas.microsoft.com/office/drawing/2014/main" id="{957F23CD-59A8-F31A-A97D-C18BC1C0B47B}"/>
                    </a:ext>
                  </a:extLst>
                </p:cNvPr>
                <p:cNvSpPr/>
                <p:nvPr/>
              </p:nvSpPr>
              <p:spPr>
                <a:xfrm>
                  <a:off x="5580165" y="2290040"/>
                  <a:ext cx="16575" cy="5290"/>
                </a:xfrm>
                <a:custGeom>
                  <a:avLst/>
                  <a:gdLst>
                    <a:gd name="connsiteX0" fmla="*/ 5202 w 16575"/>
                    <a:gd name="connsiteY0" fmla="*/ 5290 h 5290"/>
                    <a:gd name="connsiteX1" fmla="*/ 7582 w 16575"/>
                    <a:gd name="connsiteY1" fmla="*/ 3791 h 5290"/>
                    <a:gd name="connsiteX2" fmla="*/ 11638 w 16575"/>
                    <a:gd name="connsiteY2" fmla="*/ 5290 h 5290"/>
                    <a:gd name="connsiteX3" fmla="*/ 15782 w 16575"/>
                    <a:gd name="connsiteY3" fmla="*/ 4144 h 5290"/>
                    <a:gd name="connsiteX4" fmla="*/ 16576 w 16575"/>
                    <a:gd name="connsiteY4" fmla="*/ 1763 h 5290"/>
                    <a:gd name="connsiteX5" fmla="*/ 11109 w 16575"/>
                    <a:gd name="connsiteY5" fmla="*/ 882 h 5290"/>
                    <a:gd name="connsiteX6" fmla="*/ 8729 w 16575"/>
                    <a:gd name="connsiteY6" fmla="*/ 0 h 5290"/>
                    <a:gd name="connsiteX7" fmla="*/ 5819 w 16575"/>
                    <a:gd name="connsiteY7" fmla="*/ 2381 h 5290"/>
                    <a:gd name="connsiteX8" fmla="*/ 2645 w 16575"/>
                    <a:gd name="connsiteY8" fmla="*/ 1499 h 5290"/>
                    <a:gd name="connsiteX9" fmla="*/ 2380 w 16575"/>
                    <a:gd name="connsiteY9" fmla="*/ 2910 h 5290"/>
                    <a:gd name="connsiteX10" fmla="*/ 0 w 16575"/>
                    <a:gd name="connsiteY10" fmla="*/ 4144 h 5290"/>
                    <a:gd name="connsiteX11" fmla="*/ 2645 w 16575"/>
                    <a:gd name="connsiteY11" fmla="*/ 5026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575" h="5290">
                      <a:moveTo>
                        <a:pt x="5202" y="5290"/>
                      </a:moveTo>
                      <a:lnTo>
                        <a:pt x="7582" y="3791"/>
                      </a:lnTo>
                      <a:lnTo>
                        <a:pt x="11638" y="5290"/>
                      </a:lnTo>
                      <a:lnTo>
                        <a:pt x="15782" y="4144"/>
                      </a:lnTo>
                      <a:lnTo>
                        <a:pt x="16576" y="1763"/>
                      </a:lnTo>
                      <a:lnTo>
                        <a:pt x="11109" y="882"/>
                      </a:lnTo>
                      <a:lnTo>
                        <a:pt x="8729" y="0"/>
                      </a:lnTo>
                      <a:lnTo>
                        <a:pt x="5819" y="2381"/>
                      </a:lnTo>
                      <a:lnTo>
                        <a:pt x="2645" y="1499"/>
                      </a:lnTo>
                      <a:lnTo>
                        <a:pt x="2380" y="2910"/>
                      </a:lnTo>
                      <a:lnTo>
                        <a:pt x="0" y="4144"/>
                      </a:lnTo>
                      <a:lnTo>
                        <a:pt x="2645" y="502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5" name="Freihandform: Form 1934">
                  <a:extLst>
                    <a:ext uri="{FF2B5EF4-FFF2-40B4-BE49-F238E27FC236}">
                      <a16:creationId xmlns:a16="http://schemas.microsoft.com/office/drawing/2014/main" id="{FFCC0FB3-8B88-A899-AC6D-7C8FD56EF3D1}"/>
                    </a:ext>
                  </a:extLst>
                </p:cNvPr>
                <p:cNvSpPr/>
                <p:nvPr/>
              </p:nvSpPr>
              <p:spPr>
                <a:xfrm>
                  <a:off x="5535816" y="2278666"/>
                  <a:ext cx="882" cy="617"/>
                </a:xfrm>
                <a:custGeom>
                  <a:avLst/>
                  <a:gdLst>
                    <a:gd name="connsiteX0" fmla="*/ 882 w 882"/>
                    <a:gd name="connsiteY0" fmla="*/ 0 h 617"/>
                    <a:gd name="connsiteX1" fmla="*/ 794 w 882"/>
                    <a:gd name="connsiteY1" fmla="*/ 0 h 617"/>
                    <a:gd name="connsiteX2" fmla="*/ 0 w 882"/>
                    <a:gd name="connsiteY2" fmla="*/ 617 h 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2" h="617">
                      <a:moveTo>
                        <a:pt x="882" y="0"/>
                      </a:moveTo>
                      <a:lnTo>
                        <a:pt x="794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6" name="Freihandform: Form 1935">
                  <a:extLst>
                    <a:ext uri="{FF2B5EF4-FFF2-40B4-BE49-F238E27FC236}">
                      <a16:creationId xmlns:a16="http://schemas.microsoft.com/office/drawing/2014/main" id="{7C8651F5-FB64-DF30-3F73-BA809E234A66}"/>
                    </a:ext>
                  </a:extLst>
                </p:cNvPr>
                <p:cNvSpPr/>
                <p:nvPr/>
              </p:nvSpPr>
              <p:spPr>
                <a:xfrm>
                  <a:off x="6090571" y="2327688"/>
                  <a:ext cx="121055" cy="30594"/>
                </a:xfrm>
                <a:custGeom>
                  <a:avLst/>
                  <a:gdLst>
                    <a:gd name="connsiteX0" fmla="*/ 3792 w 121055"/>
                    <a:gd name="connsiteY0" fmla="*/ 11109 h 30594"/>
                    <a:gd name="connsiteX1" fmla="*/ 9346 w 121055"/>
                    <a:gd name="connsiteY1" fmla="*/ 10845 h 30594"/>
                    <a:gd name="connsiteX2" fmla="*/ 9082 w 121055"/>
                    <a:gd name="connsiteY2" fmla="*/ 14019 h 30594"/>
                    <a:gd name="connsiteX3" fmla="*/ 13138 w 121055"/>
                    <a:gd name="connsiteY3" fmla="*/ 15429 h 30594"/>
                    <a:gd name="connsiteX4" fmla="*/ 40029 w 121055"/>
                    <a:gd name="connsiteY4" fmla="*/ 17545 h 30594"/>
                    <a:gd name="connsiteX5" fmla="*/ 12256 w 121055"/>
                    <a:gd name="connsiteY5" fmla="*/ 17193 h 30594"/>
                    <a:gd name="connsiteX6" fmla="*/ 16929 w 121055"/>
                    <a:gd name="connsiteY6" fmla="*/ 20984 h 30594"/>
                    <a:gd name="connsiteX7" fmla="*/ 24246 w 121055"/>
                    <a:gd name="connsiteY7" fmla="*/ 21337 h 30594"/>
                    <a:gd name="connsiteX8" fmla="*/ 24511 w 121055"/>
                    <a:gd name="connsiteY8" fmla="*/ 21337 h 30594"/>
                    <a:gd name="connsiteX9" fmla="*/ 26010 w 121055"/>
                    <a:gd name="connsiteY9" fmla="*/ 23365 h 30594"/>
                    <a:gd name="connsiteX10" fmla="*/ 29537 w 121055"/>
                    <a:gd name="connsiteY10" fmla="*/ 23012 h 30594"/>
                    <a:gd name="connsiteX11" fmla="*/ 36238 w 121055"/>
                    <a:gd name="connsiteY11" fmla="*/ 22483 h 30594"/>
                    <a:gd name="connsiteX12" fmla="*/ 37031 w 121055"/>
                    <a:gd name="connsiteY12" fmla="*/ 25392 h 30594"/>
                    <a:gd name="connsiteX13" fmla="*/ 35356 w 121055"/>
                    <a:gd name="connsiteY13" fmla="*/ 25128 h 30594"/>
                    <a:gd name="connsiteX14" fmla="*/ 44613 w 121055"/>
                    <a:gd name="connsiteY14" fmla="*/ 28302 h 30594"/>
                    <a:gd name="connsiteX15" fmla="*/ 49375 w 121055"/>
                    <a:gd name="connsiteY15" fmla="*/ 29801 h 30594"/>
                    <a:gd name="connsiteX16" fmla="*/ 48757 w 121055"/>
                    <a:gd name="connsiteY16" fmla="*/ 29184 h 30594"/>
                    <a:gd name="connsiteX17" fmla="*/ 53960 w 121055"/>
                    <a:gd name="connsiteY17" fmla="*/ 29801 h 30594"/>
                    <a:gd name="connsiteX18" fmla="*/ 55458 w 121055"/>
                    <a:gd name="connsiteY18" fmla="*/ 29801 h 30594"/>
                    <a:gd name="connsiteX19" fmla="*/ 59867 w 121055"/>
                    <a:gd name="connsiteY19" fmla="*/ 29448 h 30594"/>
                    <a:gd name="connsiteX20" fmla="*/ 62688 w 121055"/>
                    <a:gd name="connsiteY20" fmla="*/ 30594 h 30594"/>
                    <a:gd name="connsiteX21" fmla="*/ 67097 w 121055"/>
                    <a:gd name="connsiteY21" fmla="*/ 30594 h 30594"/>
                    <a:gd name="connsiteX22" fmla="*/ 60131 w 121055"/>
                    <a:gd name="connsiteY22" fmla="*/ 24511 h 30594"/>
                    <a:gd name="connsiteX23" fmla="*/ 71769 w 121055"/>
                    <a:gd name="connsiteY23" fmla="*/ 27685 h 30594"/>
                    <a:gd name="connsiteX24" fmla="*/ 76178 w 121055"/>
                    <a:gd name="connsiteY24" fmla="*/ 25657 h 30594"/>
                    <a:gd name="connsiteX25" fmla="*/ 79705 w 121055"/>
                    <a:gd name="connsiteY25" fmla="*/ 26539 h 30594"/>
                    <a:gd name="connsiteX26" fmla="*/ 86317 w 121055"/>
                    <a:gd name="connsiteY26" fmla="*/ 25657 h 30594"/>
                    <a:gd name="connsiteX27" fmla="*/ 96544 w 121055"/>
                    <a:gd name="connsiteY27" fmla="*/ 24775 h 30594"/>
                    <a:gd name="connsiteX28" fmla="*/ 100336 w 121055"/>
                    <a:gd name="connsiteY28" fmla="*/ 26274 h 30594"/>
                    <a:gd name="connsiteX29" fmla="*/ 102716 w 121055"/>
                    <a:gd name="connsiteY29" fmla="*/ 25657 h 30594"/>
                    <a:gd name="connsiteX30" fmla="*/ 121056 w 121055"/>
                    <a:gd name="connsiteY30" fmla="*/ 26539 h 30594"/>
                    <a:gd name="connsiteX31" fmla="*/ 120791 w 121055"/>
                    <a:gd name="connsiteY31" fmla="*/ 23012 h 30594"/>
                    <a:gd name="connsiteX32" fmla="*/ 118498 w 121055"/>
                    <a:gd name="connsiteY32" fmla="*/ 23894 h 30594"/>
                    <a:gd name="connsiteX33" fmla="*/ 111798 w 121055"/>
                    <a:gd name="connsiteY33" fmla="*/ 23894 h 30594"/>
                    <a:gd name="connsiteX34" fmla="*/ 103334 w 121055"/>
                    <a:gd name="connsiteY34" fmla="*/ 23365 h 30594"/>
                    <a:gd name="connsiteX35" fmla="*/ 97779 w 121055"/>
                    <a:gd name="connsiteY35" fmla="*/ 21337 h 30594"/>
                    <a:gd name="connsiteX36" fmla="*/ 88962 w 121055"/>
                    <a:gd name="connsiteY36" fmla="*/ 17810 h 30594"/>
                    <a:gd name="connsiteX37" fmla="*/ 84377 w 121055"/>
                    <a:gd name="connsiteY37" fmla="*/ 11374 h 30594"/>
                    <a:gd name="connsiteX38" fmla="*/ 65686 w 121055"/>
                    <a:gd name="connsiteY38" fmla="*/ 6965 h 30594"/>
                    <a:gd name="connsiteX39" fmla="*/ 51402 w 121055"/>
                    <a:gd name="connsiteY39" fmla="*/ 4408 h 30594"/>
                    <a:gd name="connsiteX40" fmla="*/ 51667 w 121055"/>
                    <a:gd name="connsiteY40" fmla="*/ 5819 h 30594"/>
                    <a:gd name="connsiteX41" fmla="*/ 49375 w 121055"/>
                    <a:gd name="connsiteY41" fmla="*/ 6965 h 30594"/>
                    <a:gd name="connsiteX42" fmla="*/ 55193 w 121055"/>
                    <a:gd name="connsiteY42" fmla="*/ 13137 h 30594"/>
                    <a:gd name="connsiteX43" fmla="*/ 46730 w 121055"/>
                    <a:gd name="connsiteY43" fmla="*/ 5555 h 30594"/>
                    <a:gd name="connsiteX44" fmla="*/ 46730 w 121055"/>
                    <a:gd name="connsiteY44" fmla="*/ 5819 h 30594"/>
                    <a:gd name="connsiteX45" fmla="*/ 45230 w 121055"/>
                    <a:gd name="connsiteY45" fmla="*/ 4056 h 30594"/>
                    <a:gd name="connsiteX46" fmla="*/ 40910 w 121055"/>
                    <a:gd name="connsiteY46" fmla="*/ 4937 h 30594"/>
                    <a:gd name="connsiteX47" fmla="*/ 32975 w 121055"/>
                    <a:gd name="connsiteY47" fmla="*/ 5555 h 30594"/>
                    <a:gd name="connsiteX48" fmla="*/ 27685 w 121055"/>
                    <a:gd name="connsiteY48" fmla="*/ 1499 h 30594"/>
                    <a:gd name="connsiteX49" fmla="*/ 23982 w 121055"/>
                    <a:gd name="connsiteY49" fmla="*/ 1499 h 30594"/>
                    <a:gd name="connsiteX50" fmla="*/ 19838 w 121055"/>
                    <a:gd name="connsiteY50" fmla="*/ 2292 h 30594"/>
                    <a:gd name="connsiteX51" fmla="*/ 15782 w 121055"/>
                    <a:gd name="connsiteY51" fmla="*/ 882 h 30594"/>
                    <a:gd name="connsiteX52" fmla="*/ 10492 w 121055"/>
                    <a:gd name="connsiteY52" fmla="*/ 2292 h 30594"/>
                    <a:gd name="connsiteX53" fmla="*/ 7935 w 121055"/>
                    <a:gd name="connsiteY53" fmla="*/ 0 h 30594"/>
                    <a:gd name="connsiteX54" fmla="*/ 2381 w 121055"/>
                    <a:gd name="connsiteY54" fmla="*/ 264 h 30594"/>
                    <a:gd name="connsiteX55" fmla="*/ 5026 w 121055"/>
                    <a:gd name="connsiteY55" fmla="*/ 5290 h 30594"/>
                    <a:gd name="connsiteX56" fmla="*/ 0 w 121055"/>
                    <a:gd name="connsiteY56" fmla="*/ 6965 h 30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121055" h="30594">
                      <a:moveTo>
                        <a:pt x="3792" y="11109"/>
                      </a:moveTo>
                      <a:lnTo>
                        <a:pt x="9346" y="10845"/>
                      </a:lnTo>
                      <a:lnTo>
                        <a:pt x="9082" y="14019"/>
                      </a:lnTo>
                      <a:lnTo>
                        <a:pt x="13138" y="15429"/>
                      </a:lnTo>
                      <a:lnTo>
                        <a:pt x="40029" y="17545"/>
                      </a:lnTo>
                      <a:lnTo>
                        <a:pt x="12256" y="17193"/>
                      </a:lnTo>
                      <a:lnTo>
                        <a:pt x="16929" y="20984"/>
                      </a:lnTo>
                      <a:lnTo>
                        <a:pt x="24246" y="21337"/>
                      </a:lnTo>
                      <a:lnTo>
                        <a:pt x="24511" y="21337"/>
                      </a:lnTo>
                      <a:lnTo>
                        <a:pt x="26010" y="23365"/>
                      </a:lnTo>
                      <a:lnTo>
                        <a:pt x="29537" y="23012"/>
                      </a:lnTo>
                      <a:lnTo>
                        <a:pt x="36238" y="22483"/>
                      </a:lnTo>
                      <a:lnTo>
                        <a:pt x="37031" y="25392"/>
                      </a:lnTo>
                      <a:lnTo>
                        <a:pt x="35356" y="25128"/>
                      </a:lnTo>
                      <a:lnTo>
                        <a:pt x="44613" y="28302"/>
                      </a:lnTo>
                      <a:lnTo>
                        <a:pt x="49375" y="29801"/>
                      </a:lnTo>
                      <a:lnTo>
                        <a:pt x="48757" y="29184"/>
                      </a:lnTo>
                      <a:lnTo>
                        <a:pt x="53960" y="29801"/>
                      </a:lnTo>
                      <a:lnTo>
                        <a:pt x="55458" y="29801"/>
                      </a:lnTo>
                      <a:lnTo>
                        <a:pt x="59867" y="29448"/>
                      </a:lnTo>
                      <a:lnTo>
                        <a:pt x="62688" y="30594"/>
                      </a:lnTo>
                      <a:lnTo>
                        <a:pt x="67097" y="30594"/>
                      </a:lnTo>
                      <a:lnTo>
                        <a:pt x="60131" y="24511"/>
                      </a:lnTo>
                      <a:lnTo>
                        <a:pt x="71769" y="27685"/>
                      </a:lnTo>
                      <a:lnTo>
                        <a:pt x="76178" y="25657"/>
                      </a:lnTo>
                      <a:lnTo>
                        <a:pt x="79705" y="26539"/>
                      </a:lnTo>
                      <a:lnTo>
                        <a:pt x="86317" y="25657"/>
                      </a:lnTo>
                      <a:lnTo>
                        <a:pt x="96544" y="24775"/>
                      </a:lnTo>
                      <a:lnTo>
                        <a:pt x="100336" y="26274"/>
                      </a:lnTo>
                      <a:lnTo>
                        <a:pt x="102716" y="25657"/>
                      </a:lnTo>
                      <a:lnTo>
                        <a:pt x="121056" y="26539"/>
                      </a:lnTo>
                      <a:lnTo>
                        <a:pt x="120791" y="23012"/>
                      </a:lnTo>
                      <a:lnTo>
                        <a:pt x="118498" y="23894"/>
                      </a:lnTo>
                      <a:lnTo>
                        <a:pt x="111798" y="23894"/>
                      </a:lnTo>
                      <a:lnTo>
                        <a:pt x="103334" y="23365"/>
                      </a:lnTo>
                      <a:lnTo>
                        <a:pt x="97779" y="21337"/>
                      </a:lnTo>
                      <a:lnTo>
                        <a:pt x="88962" y="17810"/>
                      </a:lnTo>
                      <a:lnTo>
                        <a:pt x="84377" y="11374"/>
                      </a:lnTo>
                      <a:lnTo>
                        <a:pt x="65686" y="6965"/>
                      </a:lnTo>
                      <a:lnTo>
                        <a:pt x="51402" y="4408"/>
                      </a:lnTo>
                      <a:lnTo>
                        <a:pt x="51667" y="5819"/>
                      </a:lnTo>
                      <a:lnTo>
                        <a:pt x="49375" y="6965"/>
                      </a:lnTo>
                      <a:lnTo>
                        <a:pt x="55193" y="13137"/>
                      </a:lnTo>
                      <a:lnTo>
                        <a:pt x="46730" y="5555"/>
                      </a:lnTo>
                      <a:lnTo>
                        <a:pt x="46730" y="5819"/>
                      </a:lnTo>
                      <a:lnTo>
                        <a:pt x="45230" y="4056"/>
                      </a:lnTo>
                      <a:lnTo>
                        <a:pt x="40910" y="4937"/>
                      </a:lnTo>
                      <a:lnTo>
                        <a:pt x="32975" y="5555"/>
                      </a:lnTo>
                      <a:lnTo>
                        <a:pt x="27685" y="1499"/>
                      </a:lnTo>
                      <a:lnTo>
                        <a:pt x="23982" y="1499"/>
                      </a:lnTo>
                      <a:lnTo>
                        <a:pt x="19838" y="2292"/>
                      </a:lnTo>
                      <a:lnTo>
                        <a:pt x="15782" y="882"/>
                      </a:lnTo>
                      <a:lnTo>
                        <a:pt x="10492" y="2292"/>
                      </a:lnTo>
                      <a:lnTo>
                        <a:pt x="7935" y="0"/>
                      </a:lnTo>
                      <a:lnTo>
                        <a:pt x="2381" y="264"/>
                      </a:lnTo>
                      <a:lnTo>
                        <a:pt x="5026" y="5290"/>
                      </a:lnTo>
                      <a:lnTo>
                        <a:pt x="0" y="6965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7" name="Freihandform: Form 1936">
                  <a:extLst>
                    <a:ext uri="{FF2B5EF4-FFF2-40B4-BE49-F238E27FC236}">
                      <a16:creationId xmlns:a16="http://schemas.microsoft.com/office/drawing/2014/main" id="{DD17D2D0-8796-FDBA-F7F5-828787E307BC}"/>
                    </a:ext>
                  </a:extLst>
                </p:cNvPr>
                <p:cNvSpPr/>
                <p:nvPr/>
              </p:nvSpPr>
              <p:spPr>
                <a:xfrm>
                  <a:off x="6141974" y="2328834"/>
                  <a:ext cx="81026" cy="21601"/>
                </a:xfrm>
                <a:custGeom>
                  <a:avLst/>
                  <a:gdLst>
                    <a:gd name="connsiteX0" fmla="*/ 38441 w 81026"/>
                    <a:gd name="connsiteY0" fmla="*/ 9346 h 21601"/>
                    <a:gd name="connsiteX1" fmla="*/ 39323 w 81026"/>
                    <a:gd name="connsiteY1" fmla="*/ 14636 h 21601"/>
                    <a:gd name="connsiteX2" fmla="*/ 45495 w 81026"/>
                    <a:gd name="connsiteY2" fmla="*/ 16399 h 21601"/>
                    <a:gd name="connsiteX3" fmla="*/ 50962 w 81026"/>
                    <a:gd name="connsiteY3" fmla="*/ 18075 h 21601"/>
                    <a:gd name="connsiteX4" fmla="*/ 71417 w 81026"/>
                    <a:gd name="connsiteY4" fmla="*/ 20984 h 21601"/>
                    <a:gd name="connsiteX5" fmla="*/ 74062 w 81026"/>
                    <a:gd name="connsiteY5" fmla="*/ 21601 h 21601"/>
                    <a:gd name="connsiteX6" fmla="*/ 79616 w 81026"/>
                    <a:gd name="connsiteY6" fmla="*/ 17810 h 21601"/>
                    <a:gd name="connsiteX7" fmla="*/ 81027 w 81026"/>
                    <a:gd name="connsiteY7" fmla="*/ 14900 h 21601"/>
                    <a:gd name="connsiteX8" fmla="*/ 71417 w 81026"/>
                    <a:gd name="connsiteY8" fmla="*/ 15782 h 21601"/>
                    <a:gd name="connsiteX9" fmla="*/ 71152 w 81026"/>
                    <a:gd name="connsiteY9" fmla="*/ 14283 h 21601"/>
                    <a:gd name="connsiteX10" fmla="*/ 76707 w 81026"/>
                    <a:gd name="connsiteY10" fmla="*/ 13754 h 21601"/>
                    <a:gd name="connsiteX11" fmla="*/ 78734 w 81026"/>
                    <a:gd name="connsiteY11" fmla="*/ 12255 h 21601"/>
                    <a:gd name="connsiteX12" fmla="*/ 73444 w 81026"/>
                    <a:gd name="connsiteY12" fmla="*/ 9963 h 21601"/>
                    <a:gd name="connsiteX13" fmla="*/ 64716 w 81026"/>
                    <a:gd name="connsiteY13" fmla="*/ 7053 h 21601"/>
                    <a:gd name="connsiteX14" fmla="*/ 60396 w 81026"/>
                    <a:gd name="connsiteY14" fmla="*/ 9081 h 21601"/>
                    <a:gd name="connsiteX15" fmla="*/ 53959 w 81026"/>
                    <a:gd name="connsiteY15" fmla="*/ 6701 h 21601"/>
                    <a:gd name="connsiteX16" fmla="*/ 52460 w 81026"/>
                    <a:gd name="connsiteY16" fmla="*/ 3791 h 21601"/>
                    <a:gd name="connsiteX17" fmla="*/ 46024 w 81026"/>
                    <a:gd name="connsiteY17" fmla="*/ 5555 h 21601"/>
                    <a:gd name="connsiteX18" fmla="*/ 37295 w 81026"/>
                    <a:gd name="connsiteY18" fmla="*/ 4673 h 21601"/>
                    <a:gd name="connsiteX19" fmla="*/ 33769 w 81026"/>
                    <a:gd name="connsiteY19" fmla="*/ 2910 h 21601"/>
                    <a:gd name="connsiteX20" fmla="*/ 23629 w 81026"/>
                    <a:gd name="connsiteY20" fmla="*/ 3262 h 21601"/>
                    <a:gd name="connsiteX21" fmla="*/ 21249 w 81026"/>
                    <a:gd name="connsiteY21" fmla="*/ 0 h 21601"/>
                    <a:gd name="connsiteX22" fmla="*/ 13931 w 81026"/>
                    <a:gd name="connsiteY22" fmla="*/ 0 h 21601"/>
                    <a:gd name="connsiteX23" fmla="*/ 4673 w 81026"/>
                    <a:gd name="connsiteY23" fmla="*/ 0 h 21601"/>
                    <a:gd name="connsiteX24" fmla="*/ 0 w 81026"/>
                    <a:gd name="connsiteY24" fmla="*/ 1499 h 21601"/>
                    <a:gd name="connsiteX25" fmla="*/ 31124 w 81026"/>
                    <a:gd name="connsiteY25" fmla="*/ 8200 h 21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1026" h="21601">
                      <a:moveTo>
                        <a:pt x="38441" y="9346"/>
                      </a:moveTo>
                      <a:lnTo>
                        <a:pt x="39323" y="14636"/>
                      </a:lnTo>
                      <a:lnTo>
                        <a:pt x="45495" y="16399"/>
                      </a:lnTo>
                      <a:lnTo>
                        <a:pt x="50962" y="18075"/>
                      </a:lnTo>
                      <a:lnTo>
                        <a:pt x="71417" y="20984"/>
                      </a:lnTo>
                      <a:lnTo>
                        <a:pt x="74062" y="21601"/>
                      </a:lnTo>
                      <a:lnTo>
                        <a:pt x="79616" y="17810"/>
                      </a:lnTo>
                      <a:lnTo>
                        <a:pt x="81027" y="14900"/>
                      </a:lnTo>
                      <a:lnTo>
                        <a:pt x="71417" y="15782"/>
                      </a:lnTo>
                      <a:lnTo>
                        <a:pt x="71152" y="14283"/>
                      </a:lnTo>
                      <a:lnTo>
                        <a:pt x="76707" y="13754"/>
                      </a:lnTo>
                      <a:lnTo>
                        <a:pt x="78734" y="12255"/>
                      </a:lnTo>
                      <a:lnTo>
                        <a:pt x="73444" y="9963"/>
                      </a:lnTo>
                      <a:lnTo>
                        <a:pt x="64716" y="7053"/>
                      </a:lnTo>
                      <a:lnTo>
                        <a:pt x="60396" y="9081"/>
                      </a:lnTo>
                      <a:lnTo>
                        <a:pt x="53959" y="6701"/>
                      </a:lnTo>
                      <a:lnTo>
                        <a:pt x="52460" y="3791"/>
                      </a:lnTo>
                      <a:lnTo>
                        <a:pt x="46024" y="5555"/>
                      </a:lnTo>
                      <a:lnTo>
                        <a:pt x="37295" y="4673"/>
                      </a:lnTo>
                      <a:lnTo>
                        <a:pt x="33769" y="2910"/>
                      </a:lnTo>
                      <a:lnTo>
                        <a:pt x="23629" y="3262"/>
                      </a:lnTo>
                      <a:lnTo>
                        <a:pt x="21249" y="0"/>
                      </a:lnTo>
                      <a:lnTo>
                        <a:pt x="13931" y="0"/>
                      </a:lnTo>
                      <a:lnTo>
                        <a:pt x="4673" y="0"/>
                      </a:lnTo>
                      <a:lnTo>
                        <a:pt x="0" y="1499"/>
                      </a:lnTo>
                      <a:lnTo>
                        <a:pt x="31124" y="820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8" name="Freihandform: Form 1937">
                  <a:extLst>
                    <a:ext uri="{FF2B5EF4-FFF2-40B4-BE49-F238E27FC236}">
                      <a16:creationId xmlns:a16="http://schemas.microsoft.com/office/drawing/2014/main" id="{3271C773-9ECC-B0CF-2FE7-3D4FB7B7266E}"/>
                    </a:ext>
                  </a:extLst>
                </p:cNvPr>
                <p:cNvSpPr/>
                <p:nvPr/>
              </p:nvSpPr>
              <p:spPr>
                <a:xfrm>
                  <a:off x="6110409" y="2364454"/>
                  <a:ext cx="19573" cy="8728"/>
                </a:xfrm>
                <a:custGeom>
                  <a:avLst/>
                  <a:gdLst>
                    <a:gd name="connsiteX0" fmla="*/ 9346 w 19573"/>
                    <a:gd name="connsiteY0" fmla="*/ 2028 h 8728"/>
                    <a:gd name="connsiteX1" fmla="*/ 0 w 19573"/>
                    <a:gd name="connsiteY1" fmla="*/ 0 h 8728"/>
                    <a:gd name="connsiteX2" fmla="*/ 882 w 19573"/>
                    <a:gd name="connsiteY2" fmla="*/ 4937 h 8728"/>
                    <a:gd name="connsiteX3" fmla="*/ 7847 w 19573"/>
                    <a:gd name="connsiteY3" fmla="*/ 5202 h 8728"/>
                    <a:gd name="connsiteX4" fmla="*/ 11991 w 19573"/>
                    <a:gd name="connsiteY4" fmla="*/ 8729 h 8728"/>
                    <a:gd name="connsiteX5" fmla="*/ 19574 w 19573"/>
                    <a:gd name="connsiteY5" fmla="*/ 7318 h 8728"/>
                    <a:gd name="connsiteX6" fmla="*/ 15518 w 19573"/>
                    <a:gd name="connsiteY6" fmla="*/ 2292 h 8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573" h="8728">
                      <a:moveTo>
                        <a:pt x="9346" y="2028"/>
                      </a:moveTo>
                      <a:lnTo>
                        <a:pt x="0" y="0"/>
                      </a:lnTo>
                      <a:lnTo>
                        <a:pt x="882" y="4937"/>
                      </a:lnTo>
                      <a:lnTo>
                        <a:pt x="7847" y="5202"/>
                      </a:lnTo>
                      <a:lnTo>
                        <a:pt x="11991" y="8729"/>
                      </a:lnTo>
                      <a:lnTo>
                        <a:pt x="19574" y="7318"/>
                      </a:lnTo>
                      <a:lnTo>
                        <a:pt x="15518" y="229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9" name="Freihandform: Form 1938">
                  <a:extLst>
                    <a:ext uri="{FF2B5EF4-FFF2-40B4-BE49-F238E27FC236}">
                      <a16:creationId xmlns:a16="http://schemas.microsoft.com/office/drawing/2014/main" id="{88FB13E0-30F9-129B-7038-B523102CEC8D}"/>
                    </a:ext>
                  </a:extLst>
                </p:cNvPr>
                <p:cNvSpPr/>
                <p:nvPr/>
              </p:nvSpPr>
              <p:spPr>
                <a:xfrm>
                  <a:off x="6181650" y="2363837"/>
                  <a:ext cx="16840" cy="6700"/>
                </a:xfrm>
                <a:custGeom>
                  <a:avLst/>
                  <a:gdLst>
                    <a:gd name="connsiteX0" fmla="*/ 15694 w 16840"/>
                    <a:gd name="connsiteY0" fmla="*/ 5290 h 6700"/>
                    <a:gd name="connsiteX1" fmla="*/ 16840 w 16840"/>
                    <a:gd name="connsiteY1" fmla="*/ 3262 h 6700"/>
                    <a:gd name="connsiteX2" fmla="*/ 13402 w 16840"/>
                    <a:gd name="connsiteY2" fmla="*/ 2910 h 6700"/>
                    <a:gd name="connsiteX3" fmla="*/ 10757 w 16840"/>
                    <a:gd name="connsiteY3" fmla="*/ 0 h 6700"/>
                    <a:gd name="connsiteX4" fmla="*/ 8111 w 16840"/>
                    <a:gd name="connsiteY4" fmla="*/ 353 h 6700"/>
                    <a:gd name="connsiteX5" fmla="*/ 4056 w 16840"/>
                    <a:gd name="connsiteY5" fmla="*/ 882 h 6700"/>
                    <a:gd name="connsiteX6" fmla="*/ 3791 w 16840"/>
                    <a:gd name="connsiteY6" fmla="*/ 617 h 6700"/>
                    <a:gd name="connsiteX7" fmla="*/ 0 w 16840"/>
                    <a:gd name="connsiteY7" fmla="*/ 2910 h 6700"/>
                    <a:gd name="connsiteX8" fmla="*/ 5466 w 16840"/>
                    <a:gd name="connsiteY8" fmla="*/ 5555 h 6700"/>
                    <a:gd name="connsiteX9" fmla="*/ 11021 w 16840"/>
                    <a:gd name="connsiteY9" fmla="*/ 6701 h 6700"/>
                    <a:gd name="connsiteX10" fmla="*/ 13402 w 16840"/>
                    <a:gd name="connsiteY10" fmla="*/ 6436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840" h="6700">
                      <a:moveTo>
                        <a:pt x="15694" y="5290"/>
                      </a:moveTo>
                      <a:lnTo>
                        <a:pt x="16840" y="3262"/>
                      </a:lnTo>
                      <a:lnTo>
                        <a:pt x="13402" y="2910"/>
                      </a:lnTo>
                      <a:lnTo>
                        <a:pt x="10757" y="0"/>
                      </a:lnTo>
                      <a:lnTo>
                        <a:pt x="8111" y="353"/>
                      </a:lnTo>
                      <a:lnTo>
                        <a:pt x="4056" y="882"/>
                      </a:lnTo>
                      <a:lnTo>
                        <a:pt x="3791" y="617"/>
                      </a:lnTo>
                      <a:lnTo>
                        <a:pt x="0" y="2910"/>
                      </a:lnTo>
                      <a:lnTo>
                        <a:pt x="5466" y="5555"/>
                      </a:lnTo>
                      <a:lnTo>
                        <a:pt x="11021" y="6701"/>
                      </a:lnTo>
                      <a:lnTo>
                        <a:pt x="13402" y="643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0" name="Freihandform: Form 1939">
                  <a:extLst>
                    <a:ext uri="{FF2B5EF4-FFF2-40B4-BE49-F238E27FC236}">
                      <a16:creationId xmlns:a16="http://schemas.microsoft.com/office/drawing/2014/main" id="{AA59B3BD-C7C7-663D-DFEA-909BB4A2F213}"/>
                    </a:ext>
                  </a:extLst>
                </p:cNvPr>
                <p:cNvSpPr/>
                <p:nvPr/>
              </p:nvSpPr>
              <p:spPr>
                <a:xfrm>
                  <a:off x="5479212" y="2267293"/>
                  <a:ext cx="81467" cy="30065"/>
                </a:xfrm>
                <a:custGeom>
                  <a:avLst/>
                  <a:gdLst>
                    <a:gd name="connsiteX0" fmla="*/ 5290 w 81467"/>
                    <a:gd name="connsiteY0" fmla="*/ 22218 h 30065"/>
                    <a:gd name="connsiteX1" fmla="*/ 3262 w 81467"/>
                    <a:gd name="connsiteY1" fmla="*/ 22218 h 30065"/>
                    <a:gd name="connsiteX2" fmla="*/ 2381 w 81467"/>
                    <a:gd name="connsiteY2" fmla="*/ 23982 h 30065"/>
                    <a:gd name="connsiteX3" fmla="*/ 0 w 81467"/>
                    <a:gd name="connsiteY3" fmla="*/ 23100 h 30065"/>
                    <a:gd name="connsiteX4" fmla="*/ 3526 w 81467"/>
                    <a:gd name="connsiteY4" fmla="*/ 26274 h 30065"/>
                    <a:gd name="connsiteX5" fmla="*/ 7053 w 81467"/>
                    <a:gd name="connsiteY5" fmla="*/ 28302 h 30065"/>
                    <a:gd name="connsiteX6" fmla="*/ 9963 w 81467"/>
                    <a:gd name="connsiteY6" fmla="*/ 29448 h 30065"/>
                    <a:gd name="connsiteX7" fmla="*/ 11991 w 81467"/>
                    <a:gd name="connsiteY7" fmla="*/ 29448 h 30065"/>
                    <a:gd name="connsiteX8" fmla="*/ 16399 w 81467"/>
                    <a:gd name="connsiteY8" fmla="*/ 27773 h 30065"/>
                    <a:gd name="connsiteX9" fmla="*/ 20455 w 81467"/>
                    <a:gd name="connsiteY9" fmla="*/ 30065 h 30065"/>
                    <a:gd name="connsiteX10" fmla="*/ 23629 w 81467"/>
                    <a:gd name="connsiteY10" fmla="*/ 29448 h 30065"/>
                    <a:gd name="connsiteX11" fmla="*/ 27420 w 81467"/>
                    <a:gd name="connsiteY11" fmla="*/ 29184 h 30065"/>
                    <a:gd name="connsiteX12" fmla="*/ 26539 w 81467"/>
                    <a:gd name="connsiteY12" fmla="*/ 28038 h 30065"/>
                    <a:gd name="connsiteX13" fmla="*/ 28037 w 81467"/>
                    <a:gd name="connsiteY13" fmla="*/ 27773 h 30065"/>
                    <a:gd name="connsiteX14" fmla="*/ 29801 w 81467"/>
                    <a:gd name="connsiteY14" fmla="*/ 25128 h 30065"/>
                    <a:gd name="connsiteX15" fmla="*/ 32975 w 81467"/>
                    <a:gd name="connsiteY15" fmla="*/ 26274 h 30065"/>
                    <a:gd name="connsiteX16" fmla="*/ 35620 w 81467"/>
                    <a:gd name="connsiteY16" fmla="*/ 27156 h 30065"/>
                    <a:gd name="connsiteX17" fmla="*/ 37648 w 81467"/>
                    <a:gd name="connsiteY17" fmla="*/ 27156 h 30065"/>
                    <a:gd name="connsiteX18" fmla="*/ 37648 w 81467"/>
                    <a:gd name="connsiteY18" fmla="*/ 26539 h 30065"/>
                    <a:gd name="connsiteX19" fmla="*/ 41174 w 81467"/>
                    <a:gd name="connsiteY19" fmla="*/ 26274 h 30065"/>
                    <a:gd name="connsiteX20" fmla="*/ 46641 w 81467"/>
                    <a:gd name="connsiteY20" fmla="*/ 25128 h 30065"/>
                    <a:gd name="connsiteX21" fmla="*/ 51667 w 81467"/>
                    <a:gd name="connsiteY21" fmla="*/ 25128 h 30065"/>
                    <a:gd name="connsiteX22" fmla="*/ 55722 w 81467"/>
                    <a:gd name="connsiteY22" fmla="*/ 23982 h 30065"/>
                    <a:gd name="connsiteX23" fmla="*/ 59249 w 81467"/>
                    <a:gd name="connsiteY23" fmla="*/ 22483 h 30065"/>
                    <a:gd name="connsiteX24" fmla="*/ 61541 w 81467"/>
                    <a:gd name="connsiteY24" fmla="*/ 24775 h 30065"/>
                    <a:gd name="connsiteX25" fmla="*/ 65333 w 81467"/>
                    <a:gd name="connsiteY25" fmla="*/ 22747 h 30065"/>
                    <a:gd name="connsiteX26" fmla="*/ 67448 w 81467"/>
                    <a:gd name="connsiteY26" fmla="*/ 22483 h 30065"/>
                    <a:gd name="connsiteX27" fmla="*/ 70006 w 81467"/>
                    <a:gd name="connsiteY27" fmla="*/ 22218 h 30065"/>
                    <a:gd name="connsiteX28" fmla="*/ 72651 w 81467"/>
                    <a:gd name="connsiteY28" fmla="*/ 23100 h 30065"/>
                    <a:gd name="connsiteX29" fmla="*/ 77324 w 81467"/>
                    <a:gd name="connsiteY29" fmla="*/ 22483 h 30065"/>
                    <a:gd name="connsiteX30" fmla="*/ 79969 w 81467"/>
                    <a:gd name="connsiteY30" fmla="*/ 20191 h 30065"/>
                    <a:gd name="connsiteX31" fmla="*/ 81467 w 81467"/>
                    <a:gd name="connsiteY31" fmla="*/ 17810 h 30065"/>
                    <a:gd name="connsiteX32" fmla="*/ 79616 w 81467"/>
                    <a:gd name="connsiteY32" fmla="*/ 16399 h 30065"/>
                    <a:gd name="connsiteX33" fmla="*/ 77059 w 81467"/>
                    <a:gd name="connsiteY33" fmla="*/ 16047 h 30065"/>
                    <a:gd name="connsiteX34" fmla="*/ 75825 w 81467"/>
                    <a:gd name="connsiteY34" fmla="*/ 13137 h 30065"/>
                    <a:gd name="connsiteX35" fmla="*/ 66832 w 81467"/>
                    <a:gd name="connsiteY35" fmla="*/ 12255 h 30065"/>
                    <a:gd name="connsiteX36" fmla="*/ 62423 w 81467"/>
                    <a:gd name="connsiteY36" fmla="*/ 13402 h 30065"/>
                    <a:gd name="connsiteX37" fmla="*/ 58985 w 81467"/>
                    <a:gd name="connsiteY37" fmla="*/ 10228 h 30065"/>
                    <a:gd name="connsiteX38" fmla="*/ 57398 w 81467"/>
                    <a:gd name="connsiteY38" fmla="*/ 11374 h 30065"/>
                    <a:gd name="connsiteX39" fmla="*/ 57486 w 81467"/>
                    <a:gd name="connsiteY39" fmla="*/ 11374 h 30065"/>
                    <a:gd name="connsiteX40" fmla="*/ 56604 w 81467"/>
                    <a:gd name="connsiteY40" fmla="*/ 11991 h 30065"/>
                    <a:gd name="connsiteX41" fmla="*/ 57398 w 81467"/>
                    <a:gd name="connsiteY41" fmla="*/ 11374 h 30065"/>
                    <a:gd name="connsiteX42" fmla="*/ 54576 w 81467"/>
                    <a:gd name="connsiteY42" fmla="*/ 11726 h 30065"/>
                    <a:gd name="connsiteX43" fmla="*/ 53959 w 81467"/>
                    <a:gd name="connsiteY43" fmla="*/ 13754 h 30065"/>
                    <a:gd name="connsiteX44" fmla="*/ 49022 w 81467"/>
                    <a:gd name="connsiteY44" fmla="*/ 10845 h 30065"/>
                    <a:gd name="connsiteX45" fmla="*/ 46641 w 81467"/>
                    <a:gd name="connsiteY45" fmla="*/ 10492 h 30065"/>
                    <a:gd name="connsiteX46" fmla="*/ 44613 w 81467"/>
                    <a:gd name="connsiteY46" fmla="*/ 7582 h 30065"/>
                    <a:gd name="connsiteX47" fmla="*/ 40293 w 81467"/>
                    <a:gd name="connsiteY47" fmla="*/ 8464 h 30065"/>
                    <a:gd name="connsiteX48" fmla="*/ 41174 w 81467"/>
                    <a:gd name="connsiteY48" fmla="*/ 8200 h 30065"/>
                    <a:gd name="connsiteX49" fmla="*/ 38530 w 81467"/>
                    <a:gd name="connsiteY49" fmla="*/ 7053 h 30065"/>
                    <a:gd name="connsiteX50" fmla="*/ 36502 w 81467"/>
                    <a:gd name="connsiteY50" fmla="*/ 7935 h 30065"/>
                    <a:gd name="connsiteX51" fmla="*/ 32711 w 81467"/>
                    <a:gd name="connsiteY51" fmla="*/ 10228 h 30065"/>
                    <a:gd name="connsiteX52" fmla="*/ 28037 w 81467"/>
                    <a:gd name="connsiteY52" fmla="*/ 8817 h 30065"/>
                    <a:gd name="connsiteX53" fmla="*/ 26274 w 81467"/>
                    <a:gd name="connsiteY53" fmla="*/ 4673 h 30065"/>
                    <a:gd name="connsiteX54" fmla="*/ 25128 w 81467"/>
                    <a:gd name="connsiteY54" fmla="*/ 0 h 30065"/>
                    <a:gd name="connsiteX55" fmla="*/ 20719 w 81467"/>
                    <a:gd name="connsiteY55" fmla="*/ 1499 h 30065"/>
                    <a:gd name="connsiteX56" fmla="*/ 20455 w 81467"/>
                    <a:gd name="connsiteY56" fmla="*/ 5290 h 30065"/>
                    <a:gd name="connsiteX57" fmla="*/ 17810 w 81467"/>
                    <a:gd name="connsiteY57" fmla="*/ 8200 h 30065"/>
                    <a:gd name="connsiteX58" fmla="*/ 14018 w 81467"/>
                    <a:gd name="connsiteY58" fmla="*/ 6701 h 30065"/>
                    <a:gd name="connsiteX59" fmla="*/ 10227 w 81467"/>
                    <a:gd name="connsiteY59" fmla="*/ 2910 h 30065"/>
                    <a:gd name="connsiteX60" fmla="*/ 2381 w 81467"/>
                    <a:gd name="connsiteY60" fmla="*/ 4144 h 30065"/>
                    <a:gd name="connsiteX61" fmla="*/ 4408 w 81467"/>
                    <a:gd name="connsiteY61" fmla="*/ 8817 h 30065"/>
                    <a:gd name="connsiteX62" fmla="*/ 2645 w 81467"/>
                    <a:gd name="connsiteY62" fmla="*/ 9963 h 30065"/>
                    <a:gd name="connsiteX63" fmla="*/ 8729 w 81467"/>
                    <a:gd name="connsiteY63" fmla="*/ 10845 h 30065"/>
                    <a:gd name="connsiteX64" fmla="*/ 5290 w 81467"/>
                    <a:gd name="connsiteY64" fmla="*/ 13137 h 30065"/>
                    <a:gd name="connsiteX65" fmla="*/ 2381 w 81467"/>
                    <a:gd name="connsiteY65" fmla="*/ 13402 h 30065"/>
                    <a:gd name="connsiteX66" fmla="*/ 2116 w 81467"/>
                    <a:gd name="connsiteY66" fmla="*/ 14019 h 30065"/>
                    <a:gd name="connsiteX67" fmla="*/ 1499 w 81467"/>
                    <a:gd name="connsiteY67" fmla="*/ 15782 h 30065"/>
                    <a:gd name="connsiteX68" fmla="*/ 2910 w 81467"/>
                    <a:gd name="connsiteY68" fmla="*/ 17546 h 30065"/>
                    <a:gd name="connsiteX69" fmla="*/ 2910 w 81467"/>
                    <a:gd name="connsiteY69" fmla="*/ 18956 h 30065"/>
                    <a:gd name="connsiteX70" fmla="*/ 6172 w 81467"/>
                    <a:gd name="connsiteY70" fmla="*/ 21337 h 30065"/>
                    <a:gd name="connsiteX71" fmla="*/ 6172 w 81467"/>
                    <a:gd name="connsiteY71" fmla="*/ 22218 h 30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81467" h="30065">
                      <a:moveTo>
                        <a:pt x="5290" y="22218"/>
                      </a:moveTo>
                      <a:lnTo>
                        <a:pt x="3262" y="22218"/>
                      </a:lnTo>
                      <a:lnTo>
                        <a:pt x="2381" y="23982"/>
                      </a:lnTo>
                      <a:lnTo>
                        <a:pt x="0" y="23100"/>
                      </a:lnTo>
                      <a:lnTo>
                        <a:pt x="3526" y="26274"/>
                      </a:lnTo>
                      <a:lnTo>
                        <a:pt x="7053" y="28302"/>
                      </a:lnTo>
                      <a:lnTo>
                        <a:pt x="9963" y="29448"/>
                      </a:lnTo>
                      <a:lnTo>
                        <a:pt x="11991" y="29448"/>
                      </a:lnTo>
                      <a:lnTo>
                        <a:pt x="16399" y="27773"/>
                      </a:lnTo>
                      <a:lnTo>
                        <a:pt x="20455" y="30065"/>
                      </a:lnTo>
                      <a:lnTo>
                        <a:pt x="23629" y="29448"/>
                      </a:lnTo>
                      <a:lnTo>
                        <a:pt x="27420" y="29184"/>
                      </a:lnTo>
                      <a:lnTo>
                        <a:pt x="26539" y="28038"/>
                      </a:lnTo>
                      <a:lnTo>
                        <a:pt x="28037" y="27773"/>
                      </a:lnTo>
                      <a:lnTo>
                        <a:pt x="29801" y="25128"/>
                      </a:lnTo>
                      <a:lnTo>
                        <a:pt x="32975" y="26274"/>
                      </a:lnTo>
                      <a:lnTo>
                        <a:pt x="35620" y="27156"/>
                      </a:lnTo>
                      <a:lnTo>
                        <a:pt x="37648" y="27156"/>
                      </a:lnTo>
                      <a:lnTo>
                        <a:pt x="37648" y="26539"/>
                      </a:lnTo>
                      <a:lnTo>
                        <a:pt x="41174" y="26274"/>
                      </a:lnTo>
                      <a:lnTo>
                        <a:pt x="46641" y="25128"/>
                      </a:lnTo>
                      <a:lnTo>
                        <a:pt x="51667" y="25128"/>
                      </a:lnTo>
                      <a:lnTo>
                        <a:pt x="55722" y="23982"/>
                      </a:lnTo>
                      <a:lnTo>
                        <a:pt x="59249" y="22483"/>
                      </a:lnTo>
                      <a:lnTo>
                        <a:pt x="61541" y="24775"/>
                      </a:lnTo>
                      <a:lnTo>
                        <a:pt x="65333" y="22747"/>
                      </a:lnTo>
                      <a:lnTo>
                        <a:pt x="67448" y="22483"/>
                      </a:lnTo>
                      <a:lnTo>
                        <a:pt x="70006" y="22218"/>
                      </a:lnTo>
                      <a:lnTo>
                        <a:pt x="72651" y="23100"/>
                      </a:lnTo>
                      <a:lnTo>
                        <a:pt x="77324" y="22483"/>
                      </a:lnTo>
                      <a:lnTo>
                        <a:pt x="79969" y="20191"/>
                      </a:lnTo>
                      <a:lnTo>
                        <a:pt x="81467" y="17810"/>
                      </a:lnTo>
                      <a:lnTo>
                        <a:pt x="79616" y="16399"/>
                      </a:lnTo>
                      <a:lnTo>
                        <a:pt x="77059" y="16047"/>
                      </a:lnTo>
                      <a:lnTo>
                        <a:pt x="75825" y="13137"/>
                      </a:lnTo>
                      <a:lnTo>
                        <a:pt x="66832" y="12255"/>
                      </a:lnTo>
                      <a:lnTo>
                        <a:pt x="62423" y="13402"/>
                      </a:lnTo>
                      <a:lnTo>
                        <a:pt x="58985" y="10228"/>
                      </a:lnTo>
                      <a:lnTo>
                        <a:pt x="57398" y="11374"/>
                      </a:lnTo>
                      <a:lnTo>
                        <a:pt x="57486" y="11374"/>
                      </a:lnTo>
                      <a:lnTo>
                        <a:pt x="56604" y="11991"/>
                      </a:lnTo>
                      <a:lnTo>
                        <a:pt x="57398" y="11374"/>
                      </a:lnTo>
                      <a:lnTo>
                        <a:pt x="54576" y="11726"/>
                      </a:lnTo>
                      <a:lnTo>
                        <a:pt x="53959" y="13754"/>
                      </a:lnTo>
                      <a:lnTo>
                        <a:pt x="49022" y="10845"/>
                      </a:lnTo>
                      <a:lnTo>
                        <a:pt x="46641" y="10492"/>
                      </a:lnTo>
                      <a:lnTo>
                        <a:pt x="44613" y="7582"/>
                      </a:lnTo>
                      <a:lnTo>
                        <a:pt x="40293" y="8464"/>
                      </a:lnTo>
                      <a:lnTo>
                        <a:pt x="41174" y="8200"/>
                      </a:lnTo>
                      <a:lnTo>
                        <a:pt x="38530" y="7053"/>
                      </a:lnTo>
                      <a:lnTo>
                        <a:pt x="36502" y="7935"/>
                      </a:lnTo>
                      <a:lnTo>
                        <a:pt x="32711" y="10228"/>
                      </a:lnTo>
                      <a:lnTo>
                        <a:pt x="28037" y="8817"/>
                      </a:lnTo>
                      <a:lnTo>
                        <a:pt x="26274" y="4673"/>
                      </a:lnTo>
                      <a:lnTo>
                        <a:pt x="25128" y="0"/>
                      </a:lnTo>
                      <a:lnTo>
                        <a:pt x="20719" y="1499"/>
                      </a:lnTo>
                      <a:lnTo>
                        <a:pt x="20455" y="5290"/>
                      </a:lnTo>
                      <a:lnTo>
                        <a:pt x="17810" y="8200"/>
                      </a:lnTo>
                      <a:lnTo>
                        <a:pt x="14018" y="6701"/>
                      </a:lnTo>
                      <a:lnTo>
                        <a:pt x="10227" y="2910"/>
                      </a:lnTo>
                      <a:lnTo>
                        <a:pt x="2381" y="4144"/>
                      </a:lnTo>
                      <a:lnTo>
                        <a:pt x="4408" y="8817"/>
                      </a:lnTo>
                      <a:lnTo>
                        <a:pt x="2645" y="9963"/>
                      </a:lnTo>
                      <a:lnTo>
                        <a:pt x="8729" y="10845"/>
                      </a:lnTo>
                      <a:lnTo>
                        <a:pt x="5290" y="13137"/>
                      </a:lnTo>
                      <a:lnTo>
                        <a:pt x="2381" y="13402"/>
                      </a:lnTo>
                      <a:lnTo>
                        <a:pt x="2116" y="14019"/>
                      </a:lnTo>
                      <a:lnTo>
                        <a:pt x="1499" y="15782"/>
                      </a:lnTo>
                      <a:lnTo>
                        <a:pt x="2910" y="17546"/>
                      </a:lnTo>
                      <a:lnTo>
                        <a:pt x="2910" y="18956"/>
                      </a:lnTo>
                      <a:lnTo>
                        <a:pt x="6172" y="21337"/>
                      </a:lnTo>
                      <a:lnTo>
                        <a:pt x="6172" y="2221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1" name="Freihandform: Form 1940">
                  <a:extLst>
                    <a:ext uri="{FF2B5EF4-FFF2-40B4-BE49-F238E27FC236}">
                      <a16:creationId xmlns:a16="http://schemas.microsoft.com/office/drawing/2014/main" id="{2FC3BB6D-79D0-E4BD-72E8-BEBD2A6E11F8}"/>
                    </a:ext>
                  </a:extLst>
                </p:cNvPr>
                <p:cNvSpPr/>
                <p:nvPr/>
              </p:nvSpPr>
              <p:spPr>
                <a:xfrm>
                  <a:off x="7012284" y="2487273"/>
                  <a:ext cx="1763" cy="176"/>
                </a:xfrm>
                <a:custGeom>
                  <a:avLst/>
                  <a:gdLst>
                    <a:gd name="connsiteX0" fmla="*/ 0 w 1763"/>
                    <a:gd name="connsiteY0" fmla="*/ 0 h 176"/>
                    <a:gd name="connsiteX1" fmla="*/ 1234 w 1763"/>
                    <a:gd name="connsiteY1" fmla="*/ 176 h 176"/>
                    <a:gd name="connsiteX2" fmla="*/ 1763 w 1763"/>
                    <a:gd name="connsiteY2" fmla="*/ 0 h 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63" h="176">
                      <a:moveTo>
                        <a:pt x="0" y="0"/>
                      </a:moveTo>
                      <a:lnTo>
                        <a:pt x="1234" y="17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2" name="Freihandform: Form 1941">
                  <a:extLst>
                    <a:ext uri="{FF2B5EF4-FFF2-40B4-BE49-F238E27FC236}">
                      <a16:creationId xmlns:a16="http://schemas.microsoft.com/office/drawing/2014/main" id="{209FBAFB-ED58-2177-113C-65258EB51452}"/>
                    </a:ext>
                  </a:extLst>
                </p:cNvPr>
                <p:cNvSpPr/>
                <p:nvPr/>
              </p:nvSpPr>
              <p:spPr>
                <a:xfrm>
                  <a:off x="5907446" y="2388612"/>
                  <a:ext cx="1675" cy="2116"/>
                </a:xfrm>
                <a:custGeom>
                  <a:avLst/>
                  <a:gdLst>
                    <a:gd name="connsiteX0" fmla="*/ 0 w 1675"/>
                    <a:gd name="connsiteY0" fmla="*/ 2116 h 2116"/>
                    <a:gd name="connsiteX1" fmla="*/ 1675 w 1675"/>
                    <a:gd name="connsiteY1" fmla="*/ 0 h 2116"/>
                    <a:gd name="connsiteX2" fmla="*/ 1410 w 1675"/>
                    <a:gd name="connsiteY2" fmla="*/ 0 h 2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75" h="2116">
                      <a:moveTo>
                        <a:pt x="0" y="2116"/>
                      </a:moveTo>
                      <a:lnTo>
                        <a:pt x="1675" y="0"/>
                      </a:lnTo>
                      <a:lnTo>
                        <a:pt x="141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3" name="Freihandform: Form 1942">
                  <a:extLst>
                    <a:ext uri="{FF2B5EF4-FFF2-40B4-BE49-F238E27FC236}">
                      <a16:creationId xmlns:a16="http://schemas.microsoft.com/office/drawing/2014/main" id="{3BB0FB8C-EB81-DA44-E452-F2B3CF3C8BC8}"/>
                    </a:ext>
                  </a:extLst>
                </p:cNvPr>
                <p:cNvSpPr/>
                <p:nvPr/>
              </p:nvSpPr>
              <p:spPr>
                <a:xfrm>
                  <a:off x="6813640" y="2456326"/>
                  <a:ext cx="2380" cy="264"/>
                </a:xfrm>
                <a:custGeom>
                  <a:avLst/>
                  <a:gdLst>
                    <a:gd name="connsiteX0" fmla="*/ 2381 w 2380"/>
                    <a:gd name="connsiteY0" fmla="*/ 264 h 264"/>
                    <a:gd name="connsiteX1" fmla="*/ 705 w 2380"/>
                    <a:gd name="connsiteY1" fmla="*/ 0 h 264"/>
                    <a:gd name="connsiteX2" fmla="*/ 0 w 2380"/>
                    <a:gd name="connsiteY2" fmla="*/ 0 h 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0" h="264">
                      <a:moveTo>
                        <a:pt x="2381" y="264"/>
                      </a:moveTo>
                      <a:lnTo>
                        <a:pt x="70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4" name="Freihandform: Form 1943">
                  <a:extLst>
                    <a:ext uri="{FF2B5EF4-FFF2-40B4-BE49-F238E27FC236}">
                      <a16:creationId xmlns:a16="http://schemas.microsoft.com/office/drawing/2014/main" id="{7DEB8CC3-FA67-95CD-131B-8EB086834827}"/>
                    </a:ext>
                  </a:extLst>
                </p:cNvPr>
                <p:cNvSpPr/>
                <p:nvPr/>
              </p:nvSpPr>
              <p:spPr>
                <a:xfrm>
                  <a:off x="5714181" y="2388877"/>
                  <a:ext cx="441" cy="1851"/>
                </a:xfrm>
                <a:custGeom>
                  <a:avLst/>
                  <a:gdLst>
                    <a:gd name="connsiteX0" fmla="*/ 441 w 441"/>
                    <a:gd name="connsiteY0" fmla="*/ 88 h 1851"/>
                    <a:gd name="connsiteX1" fmla="*/ 0 w 441"/>
                    <a:gd name="connsiteY1" fmla="*/ 0 h 1851"/>
                    <a:gd name="connsiteX2" fmla="*/ 441 w 441"/>
                    <a:gd name="connsiteY2" fmla="*/ 1852 h 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41" h="1851">
                      <a:moveTo>
                        <a:pt x="441" y="88"/>
                      </a:moveTo>
                      <a:lnTo>
                        <a:pt x="0" y="0"/>
                      </a:lnTo>
                      <a:lnTo>
                        <a:pt x="441" y="1852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5" name="Freihandform: Form 1944">
                  <a:extLst>
                    <a:ext uri="{FF2B5EF4-FFF2-40B4-BE49-F238E27FC236}">
                      <a16:creationId xmlns:a16="http://schemas.microsoft.com/office/drawing/2014/main" id="{0F48D1FC-D4B1-F011-B93C-B0DDCA431A59}"/>
                    </a:ext>
                  </a:extLst>
                </p:cNvPr>
                <p:cNvSpPr/>
                <p:nvPr/>
              </p:nvSpPr>
              <p:spPr>
                <a:xfrm>
                  <a:off x="6977017" y="2694645"/>
                  <a:ext cx="18691" cy="13666"/>
                </a:xfrm>
                <a:custGeom>
                  <a:avLst/>
                  <a:gdLst>
                    <a:gd name="connsiteX0" fmla="*/ 13401 w 18691"/>
                    <a:gd name="connsiteY0" fmla="*/ 7847 h 13666"/>
                    <a:gd name="connsiteX1" fmla="*/ 15782 w 18691"/>
                    <a:gd name="connsiteY1" fmla="*/ 8464 h 13666"/>
                    <a:gd name="connsiteX2" fmla="*/ 18692 w 18691"/>
                    <a:gd name="connsiteY2" fmla="*/ 6965 h 13666"/>
                    <a:gd name="connsiteX3" fmla="*/ 16047 w 18691"/>
                    <a:gd name="connsiteY3" fmla="*/ 5819 h 13666"/>
                    <a:gd name="connsiteX4" fmla="*/ 14283 w 18691"/>
                    <a:gd name="connsiteY4" fmla="*/ 4320 h 13666"/>
                    <a:gd name="connsiteX5" fmla="*/ 12872 w 18691"/>
                    <a:gd name="connsiteY5" fmla="*/ 2557 h 13666"/>
                    <a:gd name="connsiteX6" fmla="*/ 10845 w 18691"/>
                    <a:gd name="connsiteY6" fmla="*/ 3439 h 13666"/>
                    <a:gd name="connsiteX7" fmla="*/ 8200 w 18691"/>
                    <a:gd name="connsiteY7" fmla="*/ 2557 h 13666"/>
                    <a:gd name="connsiteX8" fmla="*/ 6701 w 18691"/>
                    <a:gd name="connsiteY8" fmla="*/ 0 h 13666"/>
                    <a:gd name="connsiteX9" fmla="*/ 5819 w 18691"/>
                    <a:gd name="connsiteY9" fmla="*/ 1411 h 13666"/>
                    <a:gd name="connsiteX10" fmla="*/ 4937 w 18691"/>
                    <a:gd name="connsiteY10" fmla="*/ 4937 h 13666"/>
                    <a:gd name="connsiteX11" fmla="*/ 0 w 18691"/>
                    <a:gd name="connsiteY11" fmla="*/ 5202 h 13666"/>
                    <a:gd name="connsiteX12" fmla="*/ 2292 w 18691"/>
                    <a:gd name="connsiteY12" fmla="*/ 7847 h 13666"/>
                    <a:gd name="connsiteX13" fmla="*/ 2028 w 18691"/>
                    <a:gd name="connsiteY13" fmla="*/ 8993 h 13666"/>
                    <a:gd name="connsiteX14" fmla="*/ 2645 w 18691"/>
                    <a:gd name="connsiteY14" fmla="*/ 10139 h 13666"/>
                    <a:gd name="connsiteX15" fmla="*/ 5290 w 18691"/>
                    <a:gd name="connsiteY15" fmla="*/ 13666 h 13666"/>
                    <a:gd name="connsiteX16" fmla="*/ 7582 w 18691"/>
                    <a:gd name="connsiteY16" fmla="*/ 12520 h 13666"/>
                    <a:gd name="connsiteX17" fmla="*/ 10492 w 18691"/>
                    <a:gd name="connsiteY17" fmla="*/ 12520 h 13666"/>
                    <a:gd name="connsiteX18" fmla="*/ 9875 w 18691"/>
                    <a:gd name="connsiteY18" fmla="*/ 9610 h 13666"/>
                    <a:gd name="connsiteX19" fmla="*/ 10227 w 18691"/>
                    <a:gd name="connsiteY19" fmla="*/ 7847 h 13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691" h="13666">
                      <a:moveTo>
                        <a:pt x="13401" y="7847"/>
                      </a:moveTo>
                      <a:lnTo>
                        <a:pt x="15782" y="8464"/>
                      </a:lnTo>
                      <a:lnTo>
                        <a:pt x="18692" y="6965"/>
                      </a:lnTo>
                      <a:lnTo>
                        <a:pt x="16047" y="5819"/>
                      </a:lnTo>
                      <a:lnTo>
                        <a:pt x="14283" y="4320"/>
                      </a:lnTo>
                      <a:lnTo>
                        <a:pt x="12872" y="2557"/>
                      </a:lnTo>
                      <a:lnTo>
                        <a:pt x="10845" y="3439"/>
                      </a:lnTo>
                      <a:lnTo>
                        <a:pt x="8200" y="2557"/>
                      </a:lnTo>
                      <a:lnTo>
                        <a:pt x="6701" y="0"/>
                      </a:lnTo>
                      <a:lnTo>
                        <a:pt x="5819" y="1411"/>
                      </a:lnTo>
                      <a:lnTo>
                        <a:pt x="4937" y="4937"/>
                      </a:lnTo>
                      <a:lnTo>
                        <a:pt x="0" y="5202"/>
                      </a:lnTo>
                      <a:lnTo>
                        <a:pt x="2292" y="7847"/>
                      </a:lnTo>
                      <a:lnTo>
                        <a:pt x="2028" y="8993"/>
                      </a:lnTo>
                      <a:lnTo>
                        <a:pt x="2645" y="10139"/>
                      </a:lnTo>
                      <a:lnTo>
                        <a:pt x="5290" y="13666"/>
                      </a:lnTo>
                      <a:lnTo>
                        <a:pt x="7582" y="12520"/>
                      </a:lnTo>
                      <a:lnTo>
                        <a:pt x="10492" y="12520"/>
                      </a:lnTo>
                      <a:lnTo>
                        <a:pt x="9875" y="9610"/>
                      </a:lnTo>
                      <a:lnTo>
                        <a:pt x="10227" y="784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6" name="Freihandform: Form 1945">
                  <a:extLst>
                    <a:ext uri="{FF2B5EF4-FFF2-40B4-BE49-F238E27FC236}">
                      <a16:creationId xmlns:a16="http://schemas.microsoft.com/office/drawing/2014/main" id="{22BC181C-1244-3C89-1117-AD9AB5F4D300}"/>
                    </a:ext>
                  </a:extLst>
                </p:cNvPr>
                <p:cNvSpPr/>
                <p:nvPr/>
              </p:nvSpPr>
              <p:spPr>
                <a:xfrm>
                  <a:off x="6588811" y="2789690"/>
                  <a:ext cx="14812" cy="11109"/>
                </a:xfrm>
                <a:custGeom>
                  <a:avLst/>
                  <a:gdLst>
                    <a:gd name="connsiteX0" fmla="*/ 13931 w 14812"/>
                    <a:gd name="connsiteY0" fmla="*/ 2028 h 11109"/>
                    <a:gd name="connsiteX1" fmla="*/ 14812 w 14812"/>
                    <a:gd name="connsiteY1" fmla="*/ 1499 h 11109"/>
                    <a:gd name="connsiteX2" fmla="*/ 12256 w 14812"/>
                    <a:gd name="connsiteY2" fmla="*/ 1146 h 11109"/>
                    <a:gd name="connsiteX3" fmla="*/ 10140 w 14812"/>
                    <a:gd name="connsiteY3" fmla="*/ 264 h 11109"/>
                    <a:gd name="connsiteX4" fmla="*/ 7583 w 14812"/>
                    <a:gd name="connsiteY4" fmla="*/ 882 h 11109"/>
                    <a:gd name="connsiteX5" fmla="*/ 5555 w 14812"/>
                    <a:gd name="connsiteY5" fmla="*/ 0 h 11109"/>
                    <a:gd name="connsiteX6" fmla="*/ 4056 w 14812"/>
                    <a:gd name="connsiteY6" fmla="*/ 529 h 11109"/>
                    <a:gd name="connsiteX7" fmla="*/ 1763 w 14812"/>
                    <a:gd name="connsiteY7" fmla="*/ 264 h 11109"/>
                    <a:gd name="connsiteX8" fmla="*/ 1146 w 14812"/>
                    <a:gd name="connsiteY8" fmla="*/ 3174 h 11109"/>
                    <a:gd name="connsiteX9" fmla="*/ 0 w 14812"/>
                    <a:gd name="connsiteY9" fmla="*/ 4937 h 11109"/>
                    <a:gd name="connsiteX10" fmla="*/ 2028 w 14812"/>
                    <a:gd name="connsiteY10" fmla="*/ 6965 h 11109"/>
                    <a:gd name="connsiteX11" fmla="*/ 4056 w 14812"/>
                    <a:gd name="connsiteY11" fmla="*/ 9346 h 11109"/>
                    <a:gd name="connsiteX12" fmla="*/ 4056 w 14812"/>
                    <a:gd name="connsiteY12" fmla="*/ 11109 h 11109"/>
                    <a:gd name="connsiteX13" fmla="*/ 5819 w 14812"/>
                    <a:gd name="connsiteY13" fmla="*/ 11109 h 11109"/>
                    <a:gd name="connsiteX14" fmla="*/ 8112 w 14812"/>
                    <a:gd name="connsiteY14" fmla="*/ 10492 h 11109"/>
                    <a:gd name="connsiteX15" fmla="*/ 9611 w 14812"/>
                    <a:gd name="connsiteY15" fmla="*/ 7582 h 11109"/>
                    <a:gd name="connsiteX16" fmla="*/ 11903 w 14812"/>
                    <a:gd name="connsiteY16" fmla="*/ 7582 h 11109"/>
                    <a:gd name="connsiteX17" fmla="*/ 13402 w 14812"/>
                    <a:gd name="connsiteY17" fmla="*/ 5202 h 11109"/>
                    <a:gd name="connsiteX18" fmla="*/ 14812 w 14812"/>
                    <a:gd name="connsiteY18" fmla="*/ 3791 h 11109"/>
                    <a:gd name="connsiteX19" fmla="*/ 12785 w 14812"/>
                    <a:gd name="connsiteY19" fmla="*/ 2292 h 11109"/>
                    <a:gd name="connsiteX20" fmla="*/ 13402 w 14812"/>
                    <a:gd name="connsiteY20" fmla="*/ 2028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4812" h="11109">
                      <a:moveTo>
                        <a:pt x="13931" y="2028"/>
                      </a:moveTo>
                      <a:lnTo>
                        <a:pt x="14812" y="1499"/>
                      </a:lnTo>
                      <a:lnTo>
                        <a:pt x="12256" y="1146"/>
                      </a:lnTo>
                      <a:lnTo>
                        <a:pt x="10140" y="264"/>
                      </a:lnTo>
                      <a:lnTo>
                        <a:pt x="7583" y="882"/>
                      </a:lnTo>
                      <a:lnTo>
                        <a:pt x="5555" y="0"/>
                      </a:lnTo>
                      <a:lnTo>
                        <a:pt x="4056" y="529"/>
                      </a:lnTo>
                      <a:lnTo>
                        <a:pt x="1763" y="264"/>
                      </a:lnTo>
                      <a:lnTo>
                        <a:pt x="1146" y="3174"/>
                      </a:lnTo>
                      <a:lnTo>
                        <a:pt x="0" y="4937"/>
                      </a:lnTo>
                      <a:lnTo>
                        <a:pt x="2028" y="6965"/>
                      </a:lnTo>
                      <a:lnTo>
                        <a:pt x="4056" y="9346"/>
                      </a:lnTo>
                      <a:lnTo>
                        <a:pt x="4056" y="11109"/>
                      </a:lnTo>
                      <a:lnTo>
                        <a:pt x="5819" y="11109"/>
                      </a:lnTo>
                      <a:lnTo>
                        <a:pt x="8112" y="10492"/>
                      </a:lnTo>
                      <a:lnTo>
                        <a:pt x="9611" y="7582"/>
                      </a:lnTo>
                      <a:lnTo>
                        <a:pt x="11903" y="7582"/>
                      </a:lnTo>
                      <a:lnTo>
                        <a:pt x="13402" y="5202"/>
                      </a:lnTo>
                      <a:lnTo>
                        <a:pt x="14812" y="3791"/>
                      </a:lnTo>
                      <a:lnTo>
                        <a:pt x="12785" y="2292"/>
                      </a:lnTo>
                      <a:lnTo>
                        <a:pt x="13402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7" name="Freihandform: Form 1946">
                  <a:extLst>
                    <a:ext uri="{FF2B5EF4-FFF2-40B4-BE49-F238E27FC236}">
                      <a16:creationId xmlns:a16="http://schemas.microsoft.com/office/drawing/2014/main" id="{4D42A22E-EFAE-C048-48B7-FCD109CBE960}"/>
                    </a:ext>
                  </a:extLst>
                </p:cNvPr>
                <p:cNvSpPr/>
                <p:nvPr/>
              </p:nvSpPr>
              <p:spPr>
                <a:xfrm>
                  <a:off x="7033885" y="2894964"/>
                  <a:ext cx="9345" cy="17192"/>
                </a:xfrm>
                <a:custGeom>
                  <a:avLst/>
                  <a:gdLst>
                    <a:gd name="connsiteX0" fmla="*/ 5290 w 9345"/>
                    <a:gd name="connsiteY0" fmla="*/ 6701 h 17192"/>
                    <a:gd name="connsiteX1" fmla="*/ 8993 w 9345"/>
                    <a:gd name="connsiteY1" fmla="*/ 3527 h 17192"/>
                    <a:gd name="connsiteX2" fmla="*/ 7847 w 9345"/>
                    <a:gd name="connsiteY2" fmla="*/ 2028 h 17192"/>
                    <a:gd name="connsiteX3" fmla="*/ 6436 w 9345"/>
                    <a:gd name="connsiteY3" fmla="*/ 0 h 17192"/>
                    <a:gd name="connsiteX4" fmla="*/ 3526 w 9345"/>
                    <a:gd name="connsiteY4" fmla="*/ 617 h 17192"/>
                    <a:gd name="connsiteX5" fmla="*/ 0 w 9345"/>
                    <a:gd name="connsiteY5" fmla="*/ 3174 h 17192"/>
                    <a:gd name="connsiteX6" fmla="*/ 0 w 9345"/>
                    <a:gd name="connsiteY6" fmla="*/ 6172 h 17192"/>
                    <a:gd name="connsiteX7" fmla="*/ 1499 w 9345"/>
                    <a:gd name="connsiteY7" fmla="*/ 8729 h 17192"/>
                    <a:gd name="connsiteX8" fmla="*/ 2645 w 9345"/>
                    <a:gd name="connsiteY8" fmla="*/ 13137 h 17192"/>
                    <a:gd name="connsiteX9" fmla="*/ 4937 w 9345"/>
                    <a:gd name="connsiteY9" fmla="*/ 17193 h 17192"/>
                    <a:gd name="connsiteX10" fmla="*/ 8200 w 9345"/>
                    <a:gd name="connsiteY10" fmla="*/ 15165 h 17192"/>
                    <a:gd name="connsiteX11" fmla="*/ 9346 w 9345"/>
                    <a:gd name="connsiteY11" fmla="*/ 12873 h 17192"/>
                    <a:gd name="connsiteX12" fmla="*/ 6700 w 9345"/>
                    <a:gd name="connsiteY12" fmla="*/ 8729 h 1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345" h="17192">
                      <a:moveTo>
                        <a:pt x="5290" y="6701"/>
                      </a:moveTo>
                      <a:lnTo>
                        <a:pt x="8993" y="3527"/>
                      </a:lnTo>
                      <a:lnTo>
                        <a:pt x="7847" y="2028"/>
                      </a:lnTo>
                      <a:lnTo>
                        <a:pt x="6436" y="0"/>
                      </a:lnTo>
                      <a:lnTo>
                        <a:pt x="3526" y="617"/>
                      </a:lnTo>
                      <a:lnTo>
                        <a:pt x="0" y="3174"/>
                      </a:lnTo>
                      <a:lnTo>
                        <a:pt x="0" y="6172"/>
                      </a:lnTo>
                      <a:lnTo>
                        <a:pt x="1499" y="8729"/>
                      </a:lnTo>
                      <a:lnTo>
                        <a:pt x="2645" y="13137"/>
                      </a:lnTo>
                      <a:lnTo>
                        <a:pt x="4937" y="17193"/>
                      </a:lnTo>
                      <a:lnTo>
                        <a:pt x="8200" y="15165"/>
                      </a:lnTo>
                      <a:lnTo>
                        <a:pt x="9346" y="12873"/>
                      </a:lnTo>
                      <a:lnTo>
                        <a:pt x="6700" y="872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8" name="Freihandform: Form 1947">
                  <a:extLst>
                    <a:ext uri="{FF2B5EF4-FFF2-40B4-BE49-F238E27FC236}">
                      <a16:creationId xmlns:a16="http://schemas.microsoft.com/office/drawing/2014/main" id="{9E445A72-0868-390A-6AD0-EA43D4E198A2}"/>
                    </a:ext>
                  </a:extLst>
                </p:cNvPr>
                <p:cNvSpPr/>
                <p:nvPr/>
              </p:nvSpPr>
              <p:spPr>
                <a:xfrm>
                  <a:off x="6975518" y="3016636"/>
                  <a:ext cx="28654" cy="31740"/>
                </a:xfrm>
                <a:custGeom>
                  <a:avLst/>
                  <a:gdLst>
                    <a:gd name="connsiteX0" fmla="*/ 17545 w 28654"/>
                    <a:gd name="connsiteY0" fmla="*/ 6701 h 31740"/>
                    <a:gd name="connsiteX1" fmla="*/ 16046 w 28654"/>
                    <a:gd name="connsiteY1" fmla="*/ 9610 h 31740"/>
                    <a:gd name="connsiteX2" fmla="*/ 9346 w 28654"/>
                    <a:gd name="connsiteY2" fmla="*/ 10139 h 31740"/>
                    <a:gd name="connsiteX3" fmla="*/ 6789 w 28654"/>
                    <a:gd name="connsiteY3" fmla="*/ 11638 h 31740"/>
                    <a:gd name="connsiteX4" fmla="*/ 4408 w 28654"/>
                    <a:gd name="connsiteY4" fmla="*/ 16311 h 31740"/>
                    <a:gd name="connsiteX5" fmla="*/ 3791 w 28654"/>
                    <a:gd name="connsiteY5" fmla="*/ 21249 h 31740"/>
                    <a:gd name="connsiteX6" fmla="*/ 0 w 28654"/>
                    <a:gd name="connsiteY6" fmla="*/ 25657 h 31740"/>
                    <a:gd name="connsiteX7" fmla="*/ 1499 w 28654"/>
                    <a:gd name="connsiteY7" fmla="*/ 31741 h 31740"/>
                    <a:gd name="connsiteX8" fmla="*/ 5290 w 28654"/>
                    <a:gd name="connsiteY8" fmla="*/ 29713 h 31740"/>
                    <a:gd name="connsiteX9" fmla="*/ 5290 w 28654"/>
                    <a:gd name="connsiteY9" fmla="*/ 25040 h 31740"/>
                    <a:gd name="connsiteX10" fmla="*/ 8200 w 28654"/>
                    <a:gd name="connsiteY10" fmla="*/ 23276 h 31740"/>
                    <a:gd name="connsiteX11" fmla="*/ 14371 w 28654"/>
                    <a:gd name="connsiteY11" fmla="*/ 24423 h 31740"/>
                    <a:gd name="connsiteX12" fmla="*/ 15782 w 28654"/>
                    <a:gd name="connsiteY12" fmla="*/ 21249 h 31740"/>
                    <a:gd name="connsiteX13" fmla="*/ 17545 w 28654"/>
                    <a:gd name="connsiteY13" fmla="*/ 18604 h 31740"/>
                    <a:gd name="connsiteX14" fmla="*/ 19308 w 28654"/>
                    <a:gd name="connsiteY14" fmla="*/ 12785 h 31740"/>
                    <a:gd name="connsiteX15" fmla="*/ 22218 w 28654"/>
                    <a:gd name="connsiteY15" fmla="*/ 12255 h 31740"/>
                    <a:gd name="connsiteX16" fmla="*/ 24511 w 28654"/>
                    <a:gd name="connsiteY16" fmla="*/ 10492 h 31740"/>
                    <a:gd name="connsiteX17" fmla="*/ 27420 w 28654"/>
                    <a:gd name="connsiteY17" fmla="*/ 5202 h 31740"/>
                    <a:gd name="connsiteX18" fmla="*/ 28655 w 28654"/>
                    <a:gd name="connsiteY18" fmla="*/ 0 h 31740"/>
                    <a:gd name="connsiteX19" fmla="*/ 23982 w 28654"/>
                    <a:gd name="connsiteY19" fmla="*/ 2557 h 31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8654" h="31740">
                      <a:moveTo>
                        <a:pt x="17545" y="6701"/>
                      </a:moveTo>
                      <a:lnTo>
                        <a:pt x="16046" y="9610"/>
                      </a:lnTo>
                      <a:lnTo>
                        <a:pt x="9346" y="10139"/>
                      </a:lnTo>
                      <a:lnTo>
                        <a:pt x="6789" y="11638"/>
                      </a:lnTo>
                      <a:lnTo>
                        <a:pt x="4408" y="16311"/>
                      </a:lnTo>
                      <a:lnTo>
                        <a:pt x="3791" y="21249"/>
                      </a:lnTo>
                      <a:lnTo>
                        <a:pt x="0" y="25657"/>
                      </a:lnTo>
                      <a:lnTo>
                        <a:pt x="1499" y="31741"/>
                      </a:lnTo>
                      <a:lnTo>
                        <a:pt x="5290" y="29713"/>
                      </a:lnTo>
                      <a:lnTo>
                        <a:pt x="5290" y="25040"/>
                      </a:lnTo>
                      <a:lnTo>
                        <a:pt x="8200" y="23276"/>
                      </a:lnTo>
                      <a:lnTo>
                        <a:pt x="14371" y="24423"/>
                      </a:lnTo>
                      <a:lnTo>
                        <a:pt x="15782" y="21249"/>
                      </a:lnTo>
                      <a:lnTo>
                        <a:pt x="17545" y="18604"/>
                      </a:lnTo>
                      <a:lnTo>
                        <a:pt x="19308" y="12785"/>
                      </a:lnTo>
                      <a:lnTo>
                        <a:pt x="22218" y="12255"/>
                      </a:lnTo>
                      <a:lnTo>
                        <a:pt x="24511" y="10492"/>
                      </a:lnTo>
                      <a:lnTo>
                        <a:pt x="27420" y="5202"/>
                      </a:lnTo>
                      <a:lnTo>
                        <a:pt x="28655" y="0"/>
                      </a:lnTo>
                      <a:lnTo>
                        <a:pt x="23982" y="255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9" name="Freihandform: Form 1948">
                  <a:extLst>
                    <a:ext uri="{FF2B5EF4-FFF2-40B4-BE49-F238E27FC236}">
                      <a16:creationId xmlns:a16="http://schemas.microsoft.com/office/drawing/2014/main" id="{B8DB51A5-B9BB-A811-9E01-CDD23651D2D5}"/>
                    </a:ext>
                  </a:extLst>
                </p:cNvPr>
                <p:cNvSpPr/>
                <p:nvPr/>
              </p:nvSpPr>
              <p:spPr>
                <a:xfrm>
                  <a:off x="7030094" y="2908101"/>
                  <a:ext cx="6436" cy="7317"/>
                </a:xfrm>
                <a:custGeom>
                  <a:avLst/>
                  <a:gdLst>
                    <a:gd name="connsiteX0" fmla="*/ 6437 w 6436"/>
                    <a:gd name="connsiteY0" fmla="*/ 3791 h 7317"/>
                    <a:gd name="connsiteX1" fmla="*/ 882 w 6436"/>
                    <a:gd name="connsiteY1" fmla="*/ 0 h 7317"/>
                    <a:gd name="connsiteX2" fmla="*/ 0 w 6436"/>
                    <a:gd name="connsiteY2" fmla="*/ 0 h 7317"/>
                    <a:gd name="connsiteX3" fmla="*/ 2910 w 6436"/>
                    <a:gd name="connsiteY3" fmla="*/ 4408 h 7317"/>
                    <a:gd name="connsiteX4" fmla="*/ 1763 w 6436"/>
                    <a:gd name="connsiteY4" fmla="*/ 7318 h 7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36" h="7317">
                      <a:moveTo>
                        <a:pt x="6437" y="3791"/>
                      </a:moveTo>
                      <a:lnTo>
                        <a:pt x="882" y="0"/>
                      </a:lnTo>
                      <a:lnTo>
                        <a:pt x="0" y="0"/>
                      </a:lnTo>
                      <a:lnTo>
                        <a:pt x="2910" y="4408"/>
                      </a:lnTo>
                      <a:lnTo>
                        <a:pt x="1763" y="731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0" name="Freihandform: Form 1949">
                  <a:extLst>
                    <a:ext uri="{FF2B5EF4-FFF2-40B4-BE49-F238E27FC236}">
                      <a16:creationId xmlns:a16="http://schemas.microsoft.com/office/drawing/2014/main" id="{77EB6011-9A3A-BB6D-7830-C94A0CBC55AC}"/>
                    </a:ext>
                  </a:extLst>
                </p:cNvPr>
                <p:cNvSpPr/>
                <p:nvPr/>
              </p:nvSpPr>
              <p:spPr>
                <a:xfrm>
                  <a:off x="7006729" y="3002882"/>
                  <a:ext cx="13754" cy="18339"/>
                </a:xfrm>
                <a:custGeom>
                  <a:avLst/>
                  <a:gdLst>
                    <a:gd name="connsiteX0" fmla="*/ 9698 w 13754"/>
                    <a:gd name="connsiteY0" fmla="*/ 0 h 18339"/>
                    <a:gd name="connsiteX1" fmla="*/ 8817 w 13754"/>
                    <a:gd name="connsiteY1" fmla="*/ 7318 h 18339"/>
                    <a:gd name="connsiteX2" fmla="*/ 6436 w 13754"/>
                    <a:gd name="connsiteY2" fmla="*/ 8464 h 18339"/>
                    <a:gd name="connsiteX3" fmla="*/ 4408 w 13754"/>
                    <a:gd name="connsiteY3" fmla="*/ 9963 h 18339"/>
                    <a:gd name="connsiteX4" fmla="*/ 1234 w 13754"/>
                    <a:gd name="connsiteY4" fmla="*/ 9081 h 18339"/>
                    <a:gd name="connsiteX5" fmla="*/ 352 w 13754"/>
                    <a:gd name="connsiteY5" fmla="*/ 10757 h 18339"/>
                    <a:gd name="connsiteX6" fmla="*/ 352 w 13754"/>
                    <a:gd name="connsiteY6" fmla="*/ 12873 h 18339"/>
                    <a:gd name="connsiteX7" fmla="*/ 617 w 13754"/>
                    <a:gd name="connsiteY7" fmla="*/ 14548 h 18339"/>
                    <a:gd name="connsiteX8" fmla="*/ 0 w 13754"/>
                    <a:gd name="connsiteY8" fmla="*/ 18075 h 18339"/>
                    <a:gd name="connsiteX9" fmla="*/ 1763 w 13754"/>
                    <a:gd name="connsiteY9" fmla="*/ 18339 h 18339"/>
                    <a:gd name="connsiteX10" fmla="*/ 3262 w 13754"/>
                    <a:gd name="connsiteY10" fmla="*/ 16928 h 18339"/>
                    <a:gd name="connsiteX11" fmla="*/ 5290 w 13754"/>
                    <a:gd name="connsiteY11" fmla="*/ 16664 h 18339"/>
                    <a:gd name="connsiteX12" fmla="*/ 5907 w 13754"/>
                    <a:gd name="connsiteY12" fmla="*/ 14283 h 18339"/>
                    <a:gd name="connsiteX13" fmla="*/ 8817 w 13754"/>
                    <a:gd name="connsiteY13" fmla="*/ 14548 h 18339"/>
                    <a:gd name="connsiteX14" fmla="*/ 10580 w 13754"/>
                    <a:gd name="connsiteY14" fmla="*/ 13402 h 18339"/>
                    <a:gd name="connsiteX15" fmla="*/ 11727 w 13754"/>
                    <a:gd name="connsiteY15" fmla="*/ 11109 h 18339"/>
                    <a:gd name="connsiteX16" fmla="*/ 10845 w 13754"/>
                    <a:gd name="connsiteY16" fmla="*/ 8729 h 18339"/>
                    <a:gd name="connsiteX17" fmla="*/ 11727 w 13754"/>
                    <a:gd name="connsiteY17" fmla="*/ 6172 h 18339"/>
                    <a:gd name="connsiteX18" fmla="*/ 11462 w 13754"/>
                    <a:gd name="connsiteY18" fmla="*/ 2381 h 18339"/>
                    <a:gd name="connsiteX19" fmla="*/ 13754 w 13754"/>
                    <a:gd name="connsiteY19" fmla="*/ 1146 h 183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3754" h="18339">
                      <a:moveTo>
                        <a:pt x="9698" y="0"/>
                      </a:moveTo>
                      <a:lnTo>
                        <a:pt x="8817" y="7318"/>
                      </a:lnTo>
                      <a:lnTo>
                        <a:pt x="6436" y="8464"/>
                      </a:lnTo>
                      <a:lnTo>
                        <a:pt x="4408" y="9963"/>
                      </a:lnTo>
                      <a:lnTo>
                        <a:pt x="1234" y="9081"/>
                      </a:lnTo>
                      <a:lnTo>
                        <a:pt x="352" y="10757"/>
                      </a:lnTo>
                      <a:lnTo>
                        <a:pt x="352" y="12873"/>
                      </a:lnTo>
                      <a:lnTo>
                        <a:pt x="617" y="14548"/>
                      </a:lnTo>
                      <a:lnTo>
                        <a:pt x="0" y="18075"/>
                      </a:lnTo>
                      <a:lnTo>
                        <a:pt x="1763" y="18339"/>
                      </a:lnTo>
                      <a:lnTo>
                        <a:pt x="3262" y="16928"/>
                      </a:lnTo>
                      <a:lnTo>
                        <a:pt x="5290" y="16664"/>
                      </a:lnTo>
                      <a:lnTo>
                        <a:pt x="5907" y="14283"/>
                      </a:lnTo>
                      <a:lnTo>
                        <a:pt x="8817" y="14548"/>
                      </a:lnTo>
                      <a:lnTo>
                        <a:pt x="10580" y="13402"/>
                      </a:lnTo>
                      <a:lnTo>
                        <a:pt x="11727" y="11109"/>
                      </a:lnTo>
                      <a:lnTo>
                        <a:pt x="10845" y="8729"/>
                      </a:lnTo>
                      <a:lnTo>
                        <a:pt x="11727" y="6172"/>
                      </a:lnTo>
                      <a:lnTo>
                        <a:pt x="11462" y="2381"/>
                      </a:lnTo>
                      <a:lnTo>
                        <a:pt x="1375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1" name="Freihandform: Form 1950">
                  <a:extLst>
                    <a:ext uri="{FF2B5EF4-FFF2-40B4-BE49-F238E27FC236}">
                      <a16:creationId xmlns:a16="http://schemas.microsoft.com/office/drawing/2014/main" id="{9C35AE5B-44EC-1F40-D8DF-06A124B38524}"/>
                    </a:ext>
                  </a:extLst>
                </p:cNvPr>
                <p:cNvSpPr/>
                <p:nvPr/>
              </p:nvSpPr>
              <p:spPr>
                <a:xfrm>
                  <a:off x="7034767" y="2928556"/>
                  <a:ext cx="4408" cy="3791"/>
                </a:xfrm>
                <a:custGeom>
                  <a:avLst/>
                  <a:gdLst>
                    <a:gd name="connsiteX0" fmla="*/ 0 w 4408"/>
                    <a:gd name="connsiteY0" fmla="*/ 0 h 3791"/>
                    <a:gd name="connsiteX1" fmla="*/ 1499 w 4408"/>
                    <a:gd name="connsiteY1" fmla="*/ 3791 h 3791"/>
                    <a:gd name="connsiteX2" fmla="*/ 4056 w 4408"/>
                    <a:gd name="connsiteY2" fmla="*/ 2910 h 3791"/>
                    <a:gd name="connsiteX3" fmla="*/ 4408 w 4408"/>
                    <a:gd name="connsiteY3" fmla="*/ 1146 h 3791"/>
                    <a:gd name="connsiteX4" fmla="*/ 1763 w 4408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08" h="3791">
                      <a:moveTo>
                        <a:pt x="0" y="0"/>
                      </a:moveTo>
                      <a:lnTo>
                        <a:pt x="1499" y="3791"/>
                      </a:lnTo>
                      <a:lnTo>
                        <a:pt x="4056" y="2910"/>
                      </a:lnTo>
                      <a:lnTo>
                        <a:pt x="4408" y="114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2" name="Freihandform: Form 1951">
                  <a:extLst>
                    <a:ext uri="{FF2B5EF4-FFF2-40B4-BE49-F238E27FC236}">
                      <a16:creationId xmlns:a16="http://schemas.microsoft.com/office/drawing/2014/main" id="{0A6AC19A-EE3D-C88A-C723-A1837054EA92}"/>
                    </a:ext>
                  </a:extLst>
                </p:cNvPr>
                <p:cNvSpPr/>
                <p:nvPr/>
              </p:nvSpPr>
              <p:spPr>
                <a:xfrm>
                  <a:off x="7030358" y="2975814"/>
                  <a:ext cx="3791" cy="4055"/>
                </a:xfrm>
                <a:custGeom>
                  <a:avLst/>
                  <a:gdLst>
                    <a:gd name="connsiteX0" fmla="*/ 352 w 3791"/>
                    <a:gd name="connsiteY0" fmla="*/ 0 h 4055"/>
                    <a:gd name="connsiteX1" fmla="*/ 0 w 3791"/>
                    <a:gd name="connsiteY1" fmla="*/ 4056 h 4055"/>
                    <a:gd name="connsiteX2" fmla="*/ 3791 w 3791"/>
                    <a:gd name="connsiteY2" fmla="*/ 3174 h 4055"/>
                    <a:gd name="connsiteX3" fmla="*/ 1234 w 3791"/>
                    <a:gd name="connsiteY3" fmla="*/ 0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91" h="4055">
                      <a:moveTo>
                        <a:pt x="352" y="0"/>
                      </a:moveTo>
                      <a:lnTo>
                        <a:pt x="0" y="4056"/>
                      </a:lnTo>
                      <a:lnTo>
                        <a:pt x="3791" y="3174"/>
                      </a:lnTo>
                      <a:lnTo>
                        <a:pt x="1234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3" name="Freihandform: Form 1952">
                  <a:extLst>
                    <a:ext uri="{FF2B5EF4-FFF2-40B4-BE49-F238E27FC236}">
                      <a16:creationId xmlns:a16="http://schemas.microsoft.com/office/drawing/2014/main" id="{5448C00A-26BB-A703-B0AC-033FF175BA30}"/>
                    </a:ext>
                  </a:extLst>
                </p:cNvPr>
                <p:cNvSpPr/>
                <p:nvPr/>
              </p:nvSpPr>
              <p:spPr>
                <a:xfrm>
                  <a:off x="6721504" y="2844531"/>
                  <a:ext cx="617" cy="1146"/>
                </a:xfrm>
                <a:custGeom>
                  <a:avLst/>
                  <a:gdLst>
                    <a:gd name="connsiteX0" fmla="*/ 617 w 617"/>
                    <a:gd name="connsiteY0" fmla="*/ 0 h 1146"/>
                    <a:gd name="connsiteX1" fmla="*/ 0 w 617"/>
                    <a:gd name="connsiteY1" fmla="*/ 1146 h 1146"/>
                    <a:gd name="connsiteX2" fmla="*/ 265 w 617"/>
                    <a:gd name="connsiteY2" fmla="*/ 1146 h 11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7" h="1146">
                      <a:moveTo>
                        <a:pt x="617" y="0"/>
                      </a:moveTo>
                      <a:lnTo>
                        <a:pt x="0" y="1146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4" name="Freihandform: Form 1953">
                  <a:extLst>
                    <a:ext uri="{FF2B5EF4-FFF2-40B4-BE49-F238E27FC236}">
                      <a16:creationId xmlns:a16="http://schemas.microsoft.com/office/drawing/2014/main" id="{C69A2C19-40C4-6B64-EF5B-3173928DFFBF}"/>
                    </a:ext>
                  </a:extLst>
                </p:cNvPr>
                <p:cNvSpPr/>
                <p:nvPr/>
              </p:nvSpPr>
              <p:spPr>
                <a:xfrm>
                  <a:off x="6699903" y="2808029"/>
                  <a:ext cx="181185" cy="206842"/>
                </a:xfrm>
                <a:custGeom>
                  <a:avLst/>
                  <a:gdLst>
                    <a:gd name="connsiteX0" fmla="*/ 179687 w 181185"/>
                    <a:gd name="connsiteY0" fmla="*/ 195998 h 206842"/>
                    <a:gd name="connsiteX1" fmla="*/ 177395 w 181185"/>
                    <a:gd name="connsiteY1" fmla="*/ 194235 h 206842"/>
                    <a:gd name="connsiteX2" fmla="*/ 176777 w 181185"/>
                    <a:gd name="connsiteY2" fmla="*/ 191678 h 206842"/>
                    <a:gd name="connsiteX3" fmla="*/ 174750 w 181185"/>
                    <a:gd name="connsiteY3" fmla="*/ 188768 h 206842"/>
                    <a:gd name="connsiteX4" fmla="*/ 172104 w 181185"/>
                    <a:gd name="connsiteY4" fmla="*/ 187534 h 206842"/>
                    <a:gd name="connsiteX5" fmla="*/ 170958 w 181185"/>
                    <a:gd name="connsiteY5" fmla="*/ 184624 h 206842"/>
                    <a:gd name="connsiteX6" fmla="*/ 168930 w 181185"/>
                    <a:gd name="connsiteY6" fmla="*/ 182332 h 206842"/>
                    <a:gd name="connsiteX7" fmla="*/ 166550 w 181185"/>
                    <a:gd name="connsiteY7" fmla="*/ 180304 h 206842"/>
                    <a:gd name="connsiteX8" fmla="*/ 164787 w 181185"/>
                    <a:gd name="connsiteY8" fmla="*/ 181450 h 206842"/>
                    <a:gd name="connsiteX9" fmla="*/ 162229 w 181185"/>
                    <a:gd name="connsiteY9" fmla="*/ 180569 h 206842"/>
                    <a:gd name="connsiteX10" fmla="*/ 161612 w 181185"/>
                    <a:gd name="connsiteY10" fmla="*/ 181715 h 206842"/>
                    <a:gd name="connsiteX11" fmla="*/ 157821 w 181185"/>
                    <a:gd name="connsiteY11" fmla="*/ 180833 h 206842"/>
                    <a:gd name="connsiteX12" fmla="*/ 156675 w 181185"/>
                    <a:gd name="connsiteY12" fmla="*/ 179070 h 206842"/>
                    <a:gd name="connsiteX13" fmla="*/ 153766 w 181185"/>
                    <a:gd name="connsiteY13" fmla="*/ 178541 h 206842"/>
                    <a:gd name="connsiteX14" fmla="*/ 155793 w 181185"/>
                    <a:gd name="connsiteY14" fmla="*/ 175631 h 206842"/>
                    <a:gd name="connsiteX15" fmla="*/ 152619 w 181185"/>
                    <a:gd name="connsiteY15" fmla="*/ 174397 h 206842"/>
                    <a:gd name="connsiteX16" fmla="*/ 150239 w 181185"/>
                    <a:gd name="connsiteY16" fmla="*/ 170958 h 206842"/>
                    <a:gd name="connsiteX17" fmla="*/ 148211 w 181185"/>
                    <a:gd name="connsiteY17" fmla="*/ 169460 h 206842"/>
                    <a:gd name="connsiteX18" fmla="*/ 145301 w 181185"/>
                    <a:gd name="connsiteY18" fmla="*/ 170341 h 206842"/>
                    <a:gd name="connsiteX19" fmla="*/ 142656 w 181185"/>
                    <a:gd name="connsiteY19" fmla="*/ 166903 h 206842"/>
                    <a:gd name="connsiteX20" fmla="*/ 141510 w 181185"/>
                    <a:gd name="connsiteY20" fmla="*/ 165404 h 206842"/>
                    <a:gd name="connsiteX21" fmla="*/ 140276 w 181185"/>
                    <a:gd name="connsiteY21" fmla="*/ 163376 h 206842"/>
                    <a:gd name="connsiteX22" fmla="*/ 139747 w 181185"/>
                    <a:gd name="connsiteY22" fmla="*/ 158439 h 206842"/>
                    <a:gd name="connsiteX23" fmla="*/ 136837 w 181185"/>
                    <a:gd name="connsiteY23" fmla="*/ 159320 h 206842"/>
                    <a:gd name="connsiteX24" fmla="*/ 135074 w 181185"/>
                    <a:gd name="connsiteY24" fmla="*/ 159585 h 206842"/>
                    <a:gd name="connsiteX25" fmla="*/ 134457 w 181185"/>
                    <a:gd name="connsiteY25" fmla="*/ 157821 h 206842"/>
                    <a:gd name="connsiteX26" fmla="*/ 131900 w 181185"/>
                    <a:gd name="connsiteY26" fmla="*/ 159849 h 206842"/>
                    <a:gd name="connsiteX27" fmla="*/ 131900 w 181185"/>
                    <a:gd name="connsiteY27" fmla="*/ 162759 h 206842"/>
                    <a:gd name="connsiteX28" fmla="*/ 130137 w 181185"/>
                    <a:gd name="connsiteY28" fmla="*/ 163640 h 206842"/>
                    <a:gd name="connsiteX29" fmla="*/ 128990 w 181185"/>
                    <a:gd name="connsiteY29" fmla="*/ 163023 h 206842"/>
                    <a:gd name="connsiteX30" fmla="*/ 128108 w 181185"/>
                    <a:gd name="connsiteY30" fmla="*/ 160731 h 206842"/>
                    <a:gd name="connsiteX31" fmla="*/ 127139 w 181185"/>
                    <a:gd name="connsiteY31" fmla="*/ 157204 h 206842"/>
                    <a:gd name="connsiteX32" fmla="*/ 128373 w 181185"/>
                    <a:gd name="connsiteY32" fmla="*/ 153148 h 206842"/>
                    <a:gd name="connsiteX33" fmla="*/ 128373 w 181185"/>
                    <a:gd name="connsiteY33" fmla="*/ 150856 h 206842"/>
                    <a:gd name="connsiteX34" fmla="*/ 131282 w 181185"/>
                    <a:gd name="connsiteY34" fmla="*/ 149974 h 206842"/>
                    <a:gd name="connsiteX35" fmla="*/ 128108 w 181185"/>
                    <a:gd name="connsiteY35" fmla="*/ 148476 h 206842"/>
                    <a:gd name="connsiteX36" fmla="*/ 126345 w 181185"/>
                    <a:gd name="connsiteY36" fmla="*/ 146448 h 206842"/>
                    <a:gd name="connsiteX37" fmla="*/ 124582 w 181185"/>
                    <a:gd name="connsiteY37" fmla="*/ 144684 h 206842"/>
                    <a:gd name="connsiteX38" fmla="*/ 125463 w 181185"/>
                    <a:gd name="connsiteY38" fmla="*/ 140893 h 206842"/>
                    <a:gd name="connsiteX39" fmla="*/ 123083 w 181185"/>
                    <a:gd name="connsiteY39" fmla="*/ 140364 h 206842"/>
                    <a:gd name="connsiteX40" fmla="*/ 122818 w 181185"/>
                    <a:gd name="connsiteY40" fmla="*/ 137102 h 206842"/>
                    <a:gd name="connsiteX41" fmla="*/ 123083 w 181185"/>
                    <a:gd name="connsiteY41" fmla="*/ 135074 h 206842"/>
                    <a:gd name="connsiteX42" fmla="*/ 121320 w 181185"/>
                    <a:gd name="connsiteY42" fmla="*/ 134809 h 206842"/>
                    <a:gd name="connsiteX43" fmla="*/ 119909 w 181185"/>
                    <a:gd name="connsiteY43" fmla="*/ 133311 h 206842"/>
                    <a:gd name="connsiteX44" fmla="*/ 115500 w 181185"/>
                    <a:gd name="connsiteY44" fmla="*/ 130136 h 206842"/>
                    <a:gd name="connsiteX45" fmla="*/ 117881 w 181185"/>
                    <a:gd name="connsiteY45" fmla="*/ 128638 h 206842"/>
                    <a:gd name="connsiteX46" fmla="*/ 116735 w 181185"/>
                    <a:gd name="connsiteY46" fmla="*/ 125111 h 206842"/>
                    <a:gd name="connsiteX47" fmla="*/ 118763 w 181185"/>
                    <a:gd name="connsiteY47" fmla="*/ 125993 h 206842"/>
                    <a:gd name="connsiteX48" fmla="*/ 122554 w 181185"/>
                    <a:gd name="connsiteY48" fmla="*/ 124846 h 206842"/>
                    <a:gd name="connsiteX49" fmla="*/ 125111 w 181185"/>
                    <a:gd name="connsiteY49" fmla="*/ 126345 h 206842"/>
                    <a:gd name="connsiteX50" fmla="*/ 128990 w 181185"/>
                    <a:gd name="connsiteY50" fmla="*/ 125993 h 206842"/>
                    <a:gd name="connsiteX51" fmla="*/ 130930 w 181185"/>
                    <a:gd name="connsiteY51" fmla="*/ 128109 h 206842"/>
                    <a:gd name="connsiteX52" fmla="*/ 133046 w 181185"/>
                    <a:gd name="connsiteY52" fmla="*/ 126874 h 206842"/>
                    <a:gd name="connsiteX53" fmla="*/ 134809 w 181185"/>
                    <a:gd name="connsiteY53" fmla="*/ 128373 h 206842"/>
                    <a:gd name="connsiteX54" fmla="*/ 140276 w 181185"/>
                    <a:gd name="connsiteY54" fmla="*/ 129784 h 206842"/>
                    <a:gd name="connsiteX55" fmla="*/ 141510 w 181185"/>
                    <a:gd name="connsiteY55" fmla="*/ 131283 h 206842"/>
                    <a:gd name="connsiteX56" fmla="*/ 146712 w 181185"/>
                    <a:gd name="connsiteY56" fmla="*/ 134192 h 206842"/>
                    <a:gd name="connsiteX57" fmla="*/ 150503 w 181185"/>
                    <a:gd name="connsiteY57" fmla="*/ 136220 h 206842"/>
                    <a:gd name="connsiteX58" fmla="*/ 153148 w 181185"/>
                    <a:gd name="connsiteY58" fmla="*/ 137102 h 206842"/>
                    <a:gd name="connsiteX59" fmla="*/ 154912 w 181185"/>
                    <a:gd name="connsiteY59" fmla="*/ 139394 h 206842"/>
                    <a:gd name="connsiteX60" fmla="*/ 156940 w 181185"/>
                    <a:gd name="connsiteY60" fmla="*/ 139394 h 206842"/>
                    <a:gd name="connsiteX61" fmla="*/ 158086 w 181185"/>
                    <a:gd name="connsiteY61" fmla="*/ 140364 h 206842"/>
                    <a:gd name="connsiteX62" fmla="*/ 157557 w 181185"/>
                    <a:gd name="connsiteY62" fmla="*/ 137983 h 206842"/>
                    <a:gd name="connsiteX63" fmla="*/ 157204 w 181185"/>
                    <a:gd name="connsiteY63" fmla="*/ 134809 h 206842"/>
                    <a:gd name="connsiteX64" fmla="*/ 155793 w 181185"/>
                    <a:gd name="connsiteY64" fmla="*/ 135338 h 206842"/>
                    <a:gd name="connsiteX65" fmla="*/ 152619 w 181185"/>
                    <a:gd name="connsiteY65" fmla="*/ 135074 h 206842"/>
                    <a:gd name="connsiteX66" fmla="*/ 149975 w 181185"/>
                    <a:gd name="connsiteY66" fmla="*/ 133311 h 206842"/>
                    <a:gd name="connsiteX67" fmla="*/ 147329 w 181185"/>
                    <a:gd name="connsiteY67" fmla="*/ 132693 h 206842"/>
                    <a:gd name="connsiteX68" fmla="*/ 146712 w 181185"/>
                    <a:gd name="connsiteY68" fmla="*/ 130136 h 206842"/>
                    <a:gd name="connsiteX69" fmla="*/ 144684 w 181185"/>
                    <a:gd name="connsiteY69" fmla="*/ 128902 h 206842"/>
                    <a:gd name="connsiteX70" fmla="*/ 138600 w 181185"/>
                    <a:gd name="connsiteY70" fmla="*/ 126610 h 206842"/>
                    <a:gd name="connsiteX71" fmla="*/ 138248 w 181185"/>
                    <a:gd name="connsiteY71" fmla="*/ 123700 h 206842"/>
                    <a:gd name="connsiteX72" fmla="*/ 138600 w 181185"/>
                    <a:gd name="connsiteY72" fmla="*/ 121320 h 206842"/>
                    <a:gd name="connsiteX73" fmla="*/ 135338 w 181185"/>
                    <a:gd name="connsiteY73" fmla="*/ 120791 h 206842"/>
                    <a:gd name="connsiteX74" fmla="*/ 133575 w 181185"/>
                    <a:gd name="connsiteY74" fmla="*/ 117528 h 206842"/>
                    <a:gd name="connsiteX75" fmla="*/ 125728 w 181185"/>
                    <a:gd name="connsiteY75" fmla="*/ 114619 h 206842"/>
                    <a:gd name="connsiteX76" fmla="*/ 126874 w 181185"/>
                    <a:gd name="connsiteY76" fmla="*/ 109064 h 206842"/>
                    <a:gd name="connsiteX77" fmla="*/ 119556 w 181185"/>
                    <a:gd name="connsiteY77" fmla="*/ 106507 h 206842"/>
                    <a:gd name="connsiteX78" fmla="*/ 116735 w 181185"/>
                    <a:gd name="connsiteY78" fmla="*/ 102981 h 206842"/>
                    <a:gd name="connsiteX79" fmla="*/ 115236 w 181185"/>
                    <a:gd name="connsiteY79" fmla="*/ 101570 h 206842"/>
                    <a:gd name="connsiteX80" fmla="*/ 113473 w 181185"/>
                    <a:gd name="connsiteY80" fmla="*/ 100688 h 206842"/>
                    <a:gd name="connsiteX81" fmla="*/ 110828 w 181185"/>
                    <a:gd name="connsiteY81" fmla="*/ 100336 h 206842"/>
                    <a:gd name="connsiteX82" fmla="*/ 109064 w 181185"/>
                    <a:gd name="connsiteY82" fmla="*/ 99189 h 206842"/>
                    <a:gd name="connsiteX83" fmla="*/ 109681 w 181185"/>
                    <a:gd name="connsiteY83" fmla="*/ 97779 h 206842"/>
                    <a:gd name="connsiteX84" fmla="*/ 108270 w 181185"/>
                    <a:gd name="connsiteY84" fmla="*/ 95134 h 206842"/>
                    <a:gd name="connsiteX85" fmla="*/ 106507 w 181185"/>
                    <a:gd name="connsiteY85" fmla="*/ 91871 h 206842"/>
                    <a:gd name="connsiteX86" fmla="*/ 104391 w 181185"/>
                    <a:gd name="connsiteY86" fmla="*/ 90990 h 206842"/>
                    <a:gd name="connsiteX87" fmla="*/ 100688 w 181185"/>
                    <a:gd name="connsiteY87" fmla="*/ 88962 h 206842"/>
                    <a:gd name="connsiteX88" fmla="*/ 97161 w 181185"/>
                    <a:gd name="connsiteY88" fmla="*/ 86669 h 206842"/>
                    <a:gd name="connsiteX89" fmla="*/ 95133 w 181185"/>
                    <a:gd name="connsiteY89" fmla="*/ 83760 h 206842"/>
                    <a:gd name="connsiteX90" fmla="*/ 94252 w 181185"/>
                    <a:gd name="connsiteY90" fmla="*/ 80850 h 206842"/>
                    <a:gd name="connsiteX91" fmla="*/ 92489 w 181185"/>
                    <a:gd name="connsiteY91" fmla="*/ 79616 h 206842"/>
                    <a:gd name="connsiteX92" fmla="*/ 90196 w 181185"/>
                    <a:gd name="connsiteY92" fmla="*/ 78470 h 206842"/>
                    <a:gd name="connsiteX93" fmla="*/ 86052 w 181185"/>
                    <a:gd name="connsiteY93" fmla="*/ 77588 h 206842"/>
                    <a:gd name="connsiteX94" fmla="*/ 83143 w 181185"/>
                    <a:gd name="connsiteY94" fmla="*/ 77059 h 206842"/>
                    <a:gd name="connsiteX95" fmla="*/ 82614 w 181185"/>
                    <a:gd name="connsiteY95" fmla="*/ 74679 h 206842"/>
                    <a:gd name="connsiteX96" fmla="*/ 82614 w 181185"/>
                    <a:gd name="connsiteY96" fmla="*/ 72651 h 206842"/>
                    <a:gd name="connsiteX97" fmla="*/ 79616 w 181185"/>
                    <a:gd name="connsiteY97" fmla="*/ 71240 h 206842"/>
                    <a:gd name="connsiteX98" fmla="*/ 76442 w 181185"/>
                    <a:gd name="connsiteY98" fmla="*/ 69124 h 206842"/>
                    <a:gd name="connsiteX99" fmla="*/ 76089 w 181185"/>
                    <a:gd name="connsiteY99" fmla="*/ 67096 h 206842"/>
                    <a:gd name="connsiteX100" fmla="*/ 74149 w 181185"/>
                    <a:gd name="connsiteY100" fmla="*/ 64187 h 206842"/>
                    <a:gd name="connsiteX101" fmla="*/ 71769 w 181185"/>
                    <a:gd name="connsiteY101" fmla="*/ 63658 h 206842"/>
                    <a:gd name="connsiteX102" fmla="*/ 68242 w 181185"/>
                    <a:gd name="connsiteY102" fmla="*/ 61541 h 206842"/>
                    <a:gd name="connsiteX103" fmla="*/ 65685 w 181185"/>
                    <a:gd name="connsiteY103" fmla="*/ 61013 h 206842"/>
                    <a:gd name="connsiteX104" fmla="*/ 63040 w 181185"/>
                    <a:gd name="connsiteY104" fmla="*/ 58367 h 206842"/>
                    <a:gd name="connsiteX105" fmla="*/ 61894 w 181185"/>
                    <a:gd name="connsiteY105" fmla="*/ 56075 h 206842"/>
                    <a:gd name="connsiteX106" fmla="*/ 60395 w 181185"/>
                    <a:gd name="connsiteY106" fmla="*/ 53695 h 206842"/>
                    <a:gd name="connsiteX107" fmla="*/ 57750 w 181185"/>
                    <a:gd name="connsiteY107" fmla="*/ 50520 h 206842"/>
                    <a:gd name="connsiteX108" fmla="*/ 57221 w 181185"/>
                    <a:gd name="connsiteY108" fmla="*/ 48757 h 206842"/>
                    <a:gd name="connsiteX109" fmla="*/ 60395 w 181185"/>
                    <a:gd name="connsiteY109" fmla="*/ 52196 h 206842"/>
                    <a:gd name="connsiteX110" fmla="*/ 61012 w 181185"/>
                    <a:gd name="connsiteY110" fmla="*/ 51931 h 206842"/>
                    <a:gd name="connsiteX111" fmla="*/ 59778 w 181185"/>
                    <a:gd name="connsiteY111" fmla="*/ 50168 h 206842"/>
                    <a:gd name="connsiteX112" fmla="*/ 58896 w 181185"/>
                    <a:gd name="connsiteY112" fmla="*/ 48140 h 206842"/>
                    <a:gd name="connsiteX113" fmla="*/ 56956 w 181185"/>
                    <a:gd name="connsiteY113" fmla="*/ 47258 h 206842"/>
                    <a:gd name="connsiteX114" fmla="*/ 56956 w 181185"/>
                    <a:gd name="connsiteY114" fmla="*/ 44349 h 206842"/>
                    <a:gd name="connsiteX115" fmla="*/ 55722 w 181185"/>
                    <a:gd name="connsiteY115" fmla="*/ 42938 h 206842"/>
                    <a:gd name="connsiteX116" fmla="*/ 54311 w 181185"/>
                    <a:gd name="connsiteY116" fmla="*/ 41704 h 206842"/>
                    <a:gd name="connsiteX117" fmla="*/ 51049 w 181185"/>
                    <a:gd name="connsiteY117" fmla="*/ 39147 h 206842"/>
                    <a:gd name="connsiteX118" fmla="*/ 48757 w 181185"/>
                    <a:gd name="connsiteY118" fmla="*/ 37383 h 206842"/>
                    <a:gd name="connsiteX119" fmla="*/ 46377 w 181185"/>
                    <a:gd name="connsiteY119" fmla="*/ 35620 h 206842"/>
                    <a:gd name="connsiteX120" fmla="*/ 45495 w 181185"/>
                    <a:gd name="connsiteY120" fmla="*/ 32710 h 206842"/>
                    <a:gd name="connsiteX121" fmla="*/ 42321 w 181185"/>
                    <a:gd name="connsiteY121" fmla="*/ 30065 h 206842"/>
                    <a:gd name="connsiteX122" fmla="*/ 39676 w 181185"/>
                    <a:gd name="connsiteY122" fmla="*/ 27773 h 206842"/>
                    <a:gd name="connsiteX123" fmla="*/ 38794 w 181185"/>
                    <a:gd name="connsiteY123" fmla="*/ 26891 h 206842"/>
                    <a:gd name="connsiteX124" fmla="*/ 35885 w 181185"/>
                    <a:gd name="connsiteY124" fmla="*/ 24775 h 206842"/>
                    <a:gd name="connsiteX125" fmla="*/ 31829 w 181185"/>
                    <a:gd name="connsiteY125" fmla="*/ 23982 h 206842"/>
                    <a:gd name="connsiteX126" fmla="*/ 31829 w 181185"/>
                    <a:gd name="connsiteY126" fmla="*/ 22483 h 206842"/>
                    <a:gd name="connsiteX127" fmla="*/ 30682 w 181185"/>
                    <a:gd name="connsiteY127" fmla="*/ 20719 h 206842"/>
                    <a:gd name="connsiteX128" fmla="*/ 28655 w 181185"/>
                    <a:gd name="connsiteY128" fmla="*/ 20191 h 206842"/>
                    <a:gd name="connsiteX129" fmla="*/ 26803 w 181185"/>
                    <a:gd name="connsiteY129" fmla="*/ 18074 h 206842"/>
                    <a:gd name="connsiteX130" fmla="*/ 26009 w 181185"/>
                    <a:gd name="connsiteY130" fmla="*/ 16928 h 206842"/>
                    <a:gd name="connsiteX131" fmla="*/ 24246 w 181185"/>
                    <a:gd name="connsiteY131" fmla="*/ 16399 h 206842"/>
                    <a:gd name="connsiteX132" fmla="*/ 23629 w 181185"/>
                    <a:gd name="connsiteY132" fmla="*/ 14636 h 206842"/>
                    <a:gd name="connsiteX133" fmla="*/ 19309 w 181185"/>
                    <a:gd name="connsiteY133" fmla="*/ 13490 h 206842"/>
                    <a:gd name="connsiteX134" fmla="*/ 17810 w 181185"/>
                    <a:gd name="connsiteY134" fmla="*/ 12255 h 206842"/>
                    <a:gd name="connsiteX135" fmla="*/ 16928 w 181185"/>
                    <a:gd name="connsiteY135" fmla="*/ 11109 h 206842"/>
                    <a:gd name="connsiteX136" fmla="*/ 17281 w 181185"/>
                    <a:gd name="connsiteY136" fmla="*/ 10227 h 206842"/>
                    <a:gd name="connsiteX137" fmla="*/ 18074 w 181185"/>
                    <a:gd name="connsiteY137" fmla="*/ 9346 h 206842"/>
                    <a:gd name="connsiteX138" fmla="*/ 18339 w 181185"/>
                    <a:gd name="connsiteY138" fmla="*/ 8200 h 206842"/>
                    <a:gd name="connsiteX139" fmla="*/ 16663 w 181185"/>
                    <a:gd name="connsiteY139" fmla="*/ 7935 h 206842"/>
                    <a:gd name="connsiteX140" fmla="*/ 15429 w 181185"/>
                    <a:gd name="connsiteY140" fmla="*/ 5907 h 206842"/>
                    <a:gd name="connsiteX141" fmla="*/ 14283 w 181185"/>
                    <a:gd name="connsiteY141" fmla="*/ 4144 h 206842"/>
                    <a:gd name="connsiteX142" fmla="*/ 12520 w 181185"/>
                    <a:gd name="connsiteY142" fmla="*/ 2645 h 206842"/>
                    <a:gd name="connsiteX143" fmla="*/ 11726 w 181185"/>
                    <a:gd name="connsiteY143" fmla="*/ 4673 h 206842"/>
                    <a:gd name="connsiteX144" fmla="*/ 10492 w 181185"/>
                    <a:gd name="connsiteY144" fmla="*/ 4408 h 206842"/>
                    <a:gd name="connsiteX145" fmla="*/ 8200 w 181185"/>
                    <a:gd name="connsiteY145" fmla="*/ 5026 h 206842"/>
                    <a:gd name="connsiteX146" fmla="*/ 7318 w 181185"/>
                    <a:gd name="connsiteY146" fmla="*/ 2645 h 206842"/>
                    <a:gd name="connsiteX147" fmla="*/ 5819 w 181185"/>
                    <a:gd name="connsiteY147" fmla="*/ 2645 h 206842"/>
                    <a:gd name="connsiteX148" fmla="*/ 3526 w 181185"/>
                    <a:gd name="connsiteY148" fmla="*/ 2380 h 206842"/>
                    <a:gd name="connsiteX149" fmla="*/ 4408 w 181185"/>
                    <a:gd name="connsiteY149" fmla="*/ 882 h 206842"/>
                    <a:gd name="connsiteX150" fmla="*/ 3526 w 181185"/>
                    <a:gd name="connsiteY150" fmla="*/ 0 h 206842"/>
                    <a:gd name="connsiteX151" fmla="*/ 2028 w 181185"/>
                    <a:gd name="connsiteY151" fmla="*/ 2116 h 206842"/>
                    <a:gd name="connsiteX152" fmla="*/ 1499 w 181185"/>
                    <a:gd name="connsiteY152" fmla="*/ 2909 h 206842"/>
                    <a:gd name="connsiteX153" fmla="*/ 0 w 181185"/>
                    <a:gd name="connsiteY153" fmla="*/ 3527 h 206842"/>
                    <a:gd name="connsiteX154" fmla="*/ 0 w 181185"/>
                    <a:gd name="connsiteY154" fmla="*/ 5290 h 206842"/>
                    <a:gd name="connsiteX155" fmla="*/ 2909 w 181185"/>
                    <a:gd name="connsiteY155" fmla="*/ 5026 h 206842"/>
                    <a:gd name="connsiteX156" fmla="*/ 2645 w 181185"/>
                    <a:gd name="connsiteY156" fmla="*/ 7582 h 206842"/>
                    <a:gd name="connsiteX157" fmla="*/ 4673 w 181185"/>
                    <a:gd name="connsiteY157" fmla="*/ 8200 h 206842"/>
                    <a:gd name="connsiteX158" fmla="*/ 5819 w 181185"/>
                    <a:gd name="connsiteY158" fmla="*/ 6172 h 206842"/>
                    <a:gd name="connsiteX159" fmla="*/ 7582 w 181185"/>
                    <a:gd name="connsiteY159" fmla="*/ 7582 h 206842"/>
                    <a:gd name="connsiteX160" fmla="*/ 7935 w 181185"/>
                    <a:gd name="connsiteY160" fmla="*/ 10227 h 206842"/>
                    <a:gd name="connsiteX161" fmla="*/ 8729 w 181185"/>
                    <a:gd name="connsiteY161" fmla="*/ 9698 h 206842"/>
                    <a:gd name="connsiteX162" fmla="*/ 11374 w 181185"/>
                    <a:gd name="connsiteY162" fmla="*/ 10492 h 206842"/>
                    <a:gd name="connsiteX163" fmla="*/ 12872 w 181185"/>
                    <a:gd name="connsiteY163" fmla="*/ 10845 h 206842"/>
                    <a:gd name="connsiteX164" fmla="*/ 13754 w 181185"/>
                    <a:gd name="connsiteY164" fmla="*/ 13754 h 206842"/>
                    <a:gd name="connsiteX165" fmla="*/ 15429 w 181185"/>
                    <a:gd name="connsiteY165" fmla="*/ 17281 h 206842"/>
                    <a:gd name="connsiteX166" fmla="*/ 16928 w 181185"/>
                    <a:gd name="connsiteY166" fmla="*/ 20455 h 206842"/>
                    <a:gd name="connsiteX167" fmla="*/ 17810 w 181185"/>
                    <a:gd name="connsiteY167" fmla="*/ 21954 h 206842"/>
                    <a:gd name="connsiteX168" fmla="*/ 17281 w 181185"/>
                    <a:gd name="connsiteY168" fmla="*/ 23100 h 206842"/>
                    <a:gd name="connsiteX169" fmla="*/ 15782 w 181185"/>
                    <a:gd name="connsiteY169" fmla="*/ 23365 h 206842"/>
                    <a:gd name="connsiteX170" fmla="*/ 14900 w 181185"/>
                    <a:gd name="connsiteY170" fmla="*/ 22747 h 206842"/>
                    <a:gd name="connsiteX171" fmla="*/ 12255 w 181185"/>
                    <a:gd name="connsiteY171" fmla="*/ 20719 h 206842"/>
                    <a:gd name="connsiteX172" fmla="*/ 13137 w 181185"/>
                    <a:gd name="connsiteY172" fmla="*/ 21601 h 206842"/>
                    <a:gd name="connsiteX173" fmla="*/ 10492 w 181185"/>
                    <a:gd name="connsiteY173" fmla="*/ 23100 h 206842"/>
                    <a:gd name="connsiteX174" fmla="*/ 9081 w 181185"/>
                    <a:gd name="connsiteY174" fmla="*/ 22218 h 206842"/>
                    <a:gd name="connsiteX175" fmla="*/ 7582 w 181185"/>
                    <a:gd name="connsiteY175" fmla="*/ 22747 h 206842"/>
                    <a:gd name="connsiteX176" fmla="*/ 8200 w 181185"/>
                    <a:gd name="connsiteY176" fmla="*/ 24511 h 206842"/>
                    <a:gd name="connsiteX177" fmla="*/ 7582 w 181185"/>
                    <a:gd name="connsiteY177" fmla="*/ 26010 h 206842"/>
                    <a:gd name="connsiteX178" fmla="*/ 8729 w 181185"/>
                    <a:gd name="connsiteY178" fmla="*/ 27156 h 206842"/>
                    <a:gd name="connsiteX179" fmla="*/ 10845 w 181185"/>
                    <a:gd name="connsiteY179" fmla="*/ 29448 h 206842"/>
                    <a:gd name="connsiteX180" fmla="*/ 12520 w 181185"/>
                    <a:gd name="connsiteY180" fmla="*/ 30065 h 206842"/>
                    <a:gd name="connsiteX181" fmla="*/ 13754 w 181185"/>
                    <a:gd name="connsiteY181" fmla="*/ 30330 h 206842"/>
                    <a:gd name="connsiteX182" fmla="*/ 15165 w 181185"/>
                    <a:gd name="connsiteY182" fmla="*/ 31212 h 206842"/>
                    <a:gd name="connsiteX183" fmla="*/ 17281 w 181185"/>
                    <a:gd name="connsiteY183" fmla="*/ 32710 h 206842"/>
                    <a:gd name="connsiteX184" fmla="*/ 17545 w 181185"/>
                    <a:gd name="connsiteY184" fmla="*/ 34474 h 206842"/>
                    <a:gd name="connsiteX185" fmla="*/ 18956 w 181185"/>
                    <a:gd name="connsiteY185" fmla="*/ 35620 h 206842"/>
                    <a:gd name="connsiteX186" fmla="*/ 20190 w 181185"/>
                    <a:gd name="connsiteY186" fmla="*/ 36237 h 206842"/>
                    <a:gd name="connsiteX187" fmla="*/ 20190 w 181185"/>
                    <a:gd name="connsiteY187" fmla="*/ 37383 h 206842"/>
                    <a:gd name="connsiteX188" fmla="*/ 21601 w 181185"/>
                    <a:gd name="connsiteY188" fmla="*/ 37648 h 206842"/>
                    <a:gd name="connsiteX189" fmla="*/ 22218 w 181185"/>
                    <a:gd name="connsiteY189" fmla="*/ 36502 h 206842"/>
                    <a:gd name="connsiteX190" fmla="*/ 21866 w 181185"/>
                    <a:gd name="connsiteY190" fmla="*/ 37648 h 206842"/>
                    <a:gd name="connsiteX191" fmla="*/ 21601 w 181185"/>
                    <a:gd name="connsiteY191" fmla="*/ 37648 h 206842"/>
                    <a:gd name="connsiteX192" fmla="*/ 20984 w 181185"/>
                    <a:gd name="connsiteY192" fmla="*/ 38794 h 206842"/>
                    <a:gd name="connsiteX193" fmla="*/ 22483 w 181185"/>
                    <a:gd name="connsiteY193" fmla="*/ 40557 h 206842"/>
                    <a:gd name="connsiteX194" fmla="*/ 22747 w 181185"/>
                    <a:gd name="connsiteY194" fmla="*/ 41175 h 206842"/>
                    <a:gd name="connsiteX195" fmla="*/ 23629 w 181185"/>
                    <a:gd name="connsiteY195" fmla="*/ 42321 h 206842"/>
                    <a:gd name="connsiteX196" fmla="*/ 24775 w 181185"/>
                    <a:gd name="connsiteY196" fmla="*/ 42585 h 206842"/>
                    <a:gd name="connsiteX197" fmla="*/ 25657 w 181185"/>
                    <a:gd name="connsiteY197" fmla="*/ 44349 h 206842"/>
                    <a:gd name="connsiteX198" fmla="*/ 25393 w 181185"/>
                    <a:gd name="connsiteY198" fmla="*/ 46112 h 206842"/>
                    <a:gd name="connsiteX199" fmla="*/ 28037 w 181185"/>
                    <a:gd name="connsiteY199" fmla="*/ 46994 h 206842"/>
                    <a:gd name="connsiteX200" fmla="*/ 29448 w 181185"/>
                    <a:gd name="connsiteY200" fmla="*/ 48404 h 206842"/>
                    <a:gd name="connsiteX201" fmla="*/ 30682 w 181185"/>
                    <a:gd name="connsiteY201" fmla="*/ 50785 h 206842"/>
                    <a:gd name="connsiteX202" fmla="*/ 39411 w 181185"/>
                    <a:gd name="connsiteY202" fmla="*/ 60131 h 206842"/>
                    <a:gd name="connsiteX203" fmla="*/ 41439 w 181185"/>
                    <a:gd name="connsiteY203" fmla="*/ 61277 h 206842"/>
                    <a:gd name="connsiteX204" fmla="*/ 37030 w 181185"/>
                    <a:gd name="connsiteY204" fmla="*/ 62423 h 206842"/>
                    <a:gd name="connsiteX205" fmla="*/ 40822 w 181185"/>
                    <a:gd name="connsiteY205" fmla="*/ 64451 h 206842"/>
                    <a:gd name="connsiteX206" fmla="*/ 45847 w 181185"/>
                    <a:gd name="connsiteY206" fmla="*/ 66567 h 206842"/>
                    <a:gd name="connsiteX207" fmla="*/ 45847 w 181185"/>
                    <a:gd name="connsiteY207" fmla="*/ 69477 h 206842"/>
                    <a:gd name="connsiteX208" fmla="*/ 48404 w 181185"/>
                    <a:gd name="connsiteY208" fmla="*/ 70358 h 206842"/>
                    <a:gd name="connsiteX209" fmla="*/ 52548 w 181185"/>
                    <a:gd name="connsiteY209" fmla="*/ 70887 h 206842"/>
                    <a:gd name="connsiteX210" fmla="*/ 53959 w 181185"/>
                    <a:gd name="connsiteY210" fmla="*/ 72034 h 206842"/>
                    <a:gd name="connsiteX211" fmla="*/ 53077 w 181185"/>
                    <a:gd name="connsiteY211" fmla="*/ 73797 h 206842"/>
                    <a:gd name="connsiteX212" fmla="*/ 53694 w 181185"/>
                    <a:gd name="connsiteY212" fmla="*/ 75296 h 206842"/>
                    <a:gd name="connsiteX213" fmla="*/ 55458 w 181185"/>
                    <a:gd name="connsiteY213" fmla="*/ 76706 h 206842"/>
                    <a:gd name="connsiteX214" fmla="*/ 57485 w 181185"/>
                    <a:gd name="connsiteY214" fmla="*/ 77059 h 206842"/>
                    <a:gd name="connsiteX215" fmla="*/ 59514 w 181185"/>
                    <a:gd name="connsiteY215" fmla="*/ 77588 h 206842"/>
                    <a:gd name="connsiteX216" fmla="*/ 60395 w 181185"/>
                    <a:gd name="connsiteY216" fmla="*/ 79087 h 206842"/>
                    <a:gd name="connsiteX217" fmla="*/ 61894 w 181185"/>
                    <a:gd name="connsiteY217" fmla="*/ 80233 h 206842"/>
                    <a:gd name="connsiteX218" fmla="*/ 62423 w 181185"/>
                    <a:gd name="connsiteY218" fmla="*/ 82526 h 206842"/>
                    <a:gd name="connsiteX219" fmla="*/ 63569 w 181185"/>
                    <a:gd name="connsiteY219" fmla="*/ 84906 h 206842"/>
                    <a:gd name="connsiteX220" fmla="*/ 65685 w 181185"/>
                    <a:gd name="connsiteY220" fmla="*/ 86669 h 206842"/>
                    <a:gd name="connsiteX221" fmla="*/ 65068 w 181185"/>
                    <a:gd name="connsiteY221" fmla="*/ 88433 h 206842"/>
                    <a:gd name="connsiteX222" fmla="*/ 67096 w 181185"/>
                    <a:gd name="connsiteY222" fmla="*/ 88697 h 206842"/>
                    <a:gd name="connsiteX223" fmla="*/ 69124 w 181185"/>
                    <a:gd name="connsiteY223" fmla="*/ 88433 h 206842"/>
                    <a:gd name="connsiteX224" fmla="*/ 69124 w 181185"/>
                    <a:gd name="connsiteY224" fmla="*/ 90108 h 206842"/>
                    <a:gd name="connsiteX225" fmla="*/ 68242 w 181185"/>
                    <a:gd name="connsiteY225" fmla="*/ 91607 h 206842"/>
                    <a:gd name="connsiteX226" fmla="*/ 67977 w 181185"/>
                    <a:gd name="connsiteY226" fmla="*/ 93370 h 206842"/>
                    <a:gd name="connsiteX227" fmla="*/ 68595 w 181185"/>
                    <a:gd name="connsiteY227" fmla="*/ 94781 h 206842"/>
                    <a:gd name="connsiteX228" fmla="*/ 70623 w 181185"/>
                    <a:gd name="connsiteY228" fmla="*/ 94781 h 206842"/>
                    <a:gd name="connsiteX229" fmla="*/ 71152 w 181185"/>
                    <a:gd name="connsiteY229" fmla="*/ 95663 h 206842"/>
                    <a:gd name="connsiteX230" fmla="*/ 72651 w 181185"/>
                    <a:gd name="connsiteY230" fmla="*/ 96544 h 206842"/>
                    <a:gd name="connsiteX231" fmla="*/ 73797 w 181185"/>
                    <a:gd name="connsiteY231" fmla="*/ 98308 h 206842"/>
                    <a:gd name="connsiteX232" fmla="*/ 74414 w 181185"/>
                    <a:gd name="connsiteY232" fmla="*/ 99807 h 206842"/>
                    <a:gd name="connsiteX233" fmla="*/ 77323 w 181185"/>
                    <a:gd name="connsiteY233" fmla="*/ 100688 h 206842"/>
                    <a:gd name="connsiteX234" fmla="*/ 77323 w 181185"/>
                    <a:gd name="connsiteY234" fmla="*/ 102363 h 206842"/>
                    <a:gd name="connsiteX235" fmla="*/ 79616 w 181185"/>
                    <a:gd name="connsiteY235" fmla="*/ 103245 h 206842"/>
                    <a:gd name="connsiteX236" fmla="*/ 80233 w 181185"/>
                    <a:gd name="connsiteY236" fmla="*/ 105273 h 206842"/>
                    <a:gd name="connsiteX237" fmla="*/ 83760 w 181185"/>
                    <a:gd name="connsiteY237" fmla="*/ 106507 h 206842"/>
                    <a:gd name="connsiteX238" fmla="*/ 84024 w 181185"/>
                    <a:gd name="connsiteY238" fmla="*/ 108535 h 206842"/>
                    <a:gd name="connsiteX239" fmla="*/ 84906 w 181185"/>
                    <a:gd name="connsiteY239" fmla="*/ 110563 h 206842"/>
                    <a:gd name="connsiteX240" fmla="*/ 86317 w 181185"/>
                    <a:gd name="connsiteY240" fmla="*/ 112591 h 206842"/>
                    <a:gd name="connsiteX241" fmla="*/ 86052 w 181185"/>
                    <a:gd name="connsiteY241" fmla="*/ 114354 h 206842"/>
                    <a:gd name="connsiteX242" fmla="*/ 88962 w 181185"/>
                    <a:gd name="connsiteY242" fmla="*/ 113737 h 206842"/>
                    <a:gd name="connsiteX243" fmla="*/ 88344 w 181185"/>
                    <a:gd name="connsiteY243" fmla="*/ 114972 h 206842"/>
                    <a:gd name="connsiteX244" fmla="*/ 86934 w 181185"/>
                    <a:gd name="connsiteY244" fmla="*/ 115853 h 206842"/>
                    <a:gd name="connsiteX245" fmla="*/ 88344 w 181185"/>
                    <a:gd name="connsiteY245" fmla="*/ 116735 h 206842"/>
                    <a:gd name="connsiteX246" fmla="*/ 90990 w 181185"/>
                    <a:gd name="connsiteY246" fmla="*/ 117528 h 206842"/>
                    <a:gd name="connsiteX247" fmla="*/ 91342 w 181185"/>
                    <a:gd name="connsiteY247" fmla="*/ 119909 h 206842"/>
                    <a:gd name="connsiteX248" fmla="*/ 93106 w 181185"/>
                    <a:gd name="connsiteY248" fmla="*/ 120526 h 206842"/>
                    <a:gd name="connsiteX249" fmla="*/ 90990 w 181185"/>
                    <a:gd name="connsiteY249" fmla="*/ 122554 h 206842"/>
                    <a:gd name="connsiteX250" fmla="*/ 92753 w 181185"/>
                    <a:gd name="connsiteY250" fmla="*/ 122554 h 206842"/>
                    <a:gd name="connsiteX251" fmla="*/ 94516 w 181185"/>
                    <a:gd name="connsiteY251" fmla="*/ 123436 h 206842"/>
                    <a:gd name="connsiteX252" fmla="*/ 94252 w 181185"/>
                    <a:gd name="connsiteY252" fmla="*/ 125111 h 206842"/>
                    <a:gd name="connsiteX253" fmla="*/ 94252 w 181185"/>
                    <a:gd name="connsiteY253" fmla="*/ 126610 h 206842"/>
                    <a:gd name="connsiteX254" fmla="*/ 93899 w 181185"/>
                    <a:gd name="connsiteY254" fmla="*/ 127756 h 206842"/>
                    <a:gd name="connsiteX255" fmla="*/ 94516 w 181185"/>
                    <a:gd name="connsiteY255" fmla="*/ 129255 h 206842"/>
                    <a:gd name="connsiteX256" fmla="*/ 95398 w 181185"/>
                    <a:gd name="connsiteY256" fmla="*/ 128638 h 206842"/>
                    <a:gd name="connsiteX257" fmla="*/ 97161 w 181185"/>
                    <a:gd name="connsiteY257" fmla="*/ 128902 h 206842"/>
                    <a:gd name="connsiteX258" fmla="*/ 97161 w 181185"/>
                    <a:gd name="connsiteY258" fmla="*/ 131283 h 206842"/>
                    <a:gd name="connsiteX259" fmla="*/ 98043 w 181185"/>
                    <a:gd name="connsiteY259" fmla="*/ 132164 h 206842"/>
                    <a:gd name="connsiteX260" fmla="*/ 100336 w 181185"/>
                    <a:gd name="connsiteY260" fmla="*/ 134457 h 206842"/>
                    <a:gd name="connsiteX261" fmla="*/ 100688 w 181185"/>
                    <a:gd name="connsiteY261" fmla="*/ 137366 h 206842"/>
                    <a:gd name="connsiteX262" fmla="*/ 102716 w 181185"/>
                    <a:gd name="connsiteY262" fmla="*/ 137983 h 206842"/>
                    <a:gd name="connsiteX263" fmla="*/ 102981 w 181185"/>
                    <a:gd name="connsiteY263" fmla="*/ 139747 h 206842"/>
                    <a:gd name="connsiteX264" fmla="*/ 103862 w 181185"/>
                    <a:gd name="connsiteY264" fmla="*/ 140629 h 206842"/>
                    <a:gd name="connsiteX265" fmla="*/ 104744 w 181185"/>
                    <a:gd name="connsiteY265" fmla="*/ 140629 h 206842"/>
                    <a:gd name="connsiteX266" fmla="*/ 105626 w 181185"/>
                    <a:gd name="connsiteY266" fmla="*/ 141158 h 206842"/>
                    <a:gd name="connsiteX267" fmla="*/ 105890 w 181185"/>
                    <a:gd name="connsiteY267" fmla="*/ 143538 h 206842"/>
                    <a:gd name="connsiteX268" fmla="*/ 109946 w 181185"/>
                    <a:gd name="connsiteY268" fmla="*/ 142392 h 206842"/>
                    <a:gd name="connsiteX269" fmla="*/ 110299 w 181185"/>
                    <a:gd name="connsiteY269" fmla="*/ 143274 h 206842"/>
                    <a:gd name="connsiteX270" fmla="*/ 110563 w 181185"/>
                    <a:gd name="connsiteY270" fmla="*/ 144420 h 206842"/>
                    <a:gd name="connsiteX271" fmla="*/ 111444 w 181185"/>
                    <a:gd name="connsiteY271" fmla="*/ 145566 h 206842"/>
                    <a:gd name="connsiteX272" fmla="*/ 112855 w 181185"/>
                    <a:gd name="connsiteY272" fmla="*/ 146448 h 206842"/>
                    <a:gd name="connsiteX273" fmla="*/ 115500 w 181185"/>
                    <a:gd name="connsiteY273" fmla="*/ 148211 h 206842"/>
                    <a:gd name="connsiteX274" fmla="*/ 113737 w 181185"/>
                    <a:gd name="connsiteY274" fmla="*/ 151385 h 206842"/>
                    <a:gd name="connsiteX275" fmla="*/ 117264 w 181185"/>
                    <a:gd name="connsiteY275" fmla="*/ 152531 h 206842"/>
                    <a:gd name="connsiteX276" fmla="*/ 116118 w 181185"/>
                    <a:gd name="connsiteY276" fmla="*/ 154647 h 206842"/>
                    <a:gd name="connsiteX277" fmla="*/ 118410 w 181185"/>
                    <a:gd name="connsiteY277" fmla="*/ 154030 h 206842"/>
                    <a:gd name="connsiteX278" fmla="*/ 119027 w 181185"/>
                    <a:gd name="connsiteY278" fmla="*/ 153148 h 206842"/>
                    <a:gd name="connsiteX279" fmla="*/ 119292 w 181185"/>
                    <a:gd name="connsiteY279" fmla="*/ 154647 h 206842"/>
                    <a:gd name="connsiteX280" fmla="*/ 119909 w 181185"/>
                    <a:gd name="connsiteY280" fmla="*/ 158086 h 206842"/>
                    <a:gd name="connsiteX281" fmla="*/ 121936 w 181185"/>
                    <a:gd name="connsiteY281" fmla="*/ 158968 h 206842"/>
                    <a:gd name="connsiteX282" fmla="*/ 123700 w 181185"/>
                    <a:gd name="connsiteY282" fmla="*/ 162230 h 206842"/>
                    <a:gd name="connsiteX283" fmla="*/ 123083 w 181185"/>
                    <a:gd name="connsiteY283" fmla="*/ 164787 h 206842"/>
                    <a:gd name="connsiteX284" fmla="*/ 123965 w 181185"/>
                    <a:gd name="connsiteY284" fmla="*/ 167432 h 206842"/>
                    <a:gd name="connsiteX285" fmla="*/ 126610 w 181185"/>
                    <a:gd name="connsiteY285" fmla="*/ 169460 h 206842"/>
                    <a:gd name="connsiteX286" fmla="*/ 128108 w 181185"/>
                    <a:gd name="connsiteY286" fmla="*/ 171487 h 206842"/>
                    <a:gd name="connsiteX287" fmla="*/ 129255 w 181185"/>
                    <a:gd name="connsiteY287" fmla="*/ 173251 h 206842"/>
                    <a:gd name="connsiteX288" fmla="*/ 131282 w 181185"/>
                    <a:gd name="connsiteY288" fmla="*/ 175279 h 206842"/>
                    <a:gd name="connsiteX289" fmla="*/ 132429 w 181185"/>
                    <a:gd name="connsiteY289" fmla="*/ 177659 h 206842"/>
                    <a:gd name="connsiteX290" fmla="*/ 134192 w 181185"/>
                    <a:gd name="connsiteY290" fmla="*/ 178276 h 206842"/>
                    <a:gd name="connsiteX291" fmla="*/ 134457 w 181185"/>
                    <a:gd name="connsiteY291" fmla="*/ 180833 h 206842"/>
                    <a:gd name="connsiteX292" fmla="*/ 137719 w 181185"/>
                    <a:gd name="connsiteY292" fmla="*/ 182068 h 206842"/>
                    <a:gd name="connsiteX293" fmla="*/ 136837 w 181185"/>
                    <a:gd name="connsiteY293" fmla="*/ 183478 h 206842"/>
                    <a:gd name="connsiteX294" fmla="*/ 138865 w 181185"/>
                    <a:gd name="connsiteY294" fmla="*/ 185506 h 206842"/>
                    <a:gd name="connsiteX295" fmla="*/ 137983 w 181185"/>
                    <a:gd name="connsiteY295" fmla="*/ 186123 h 206842"/>
                    <a:gd name="connsiteX296" fmla="*/ 139747 w 181185"/>
                    <a:gd name="connsiteY296" fmla="*/ 189298 h 206842"/>
                    <a:gd name="connsiteX297" fmla="*/ 139129 w 181185"/>
                    <a:gd name="connsiteY297" fmla="*/ 190444 h 206842"/>
                    <a:gd name="connsiteX298" fmla="*/ 141158 w 181185"/>
                    <a:gd name="connsiteY298" fmla="*/ 192207 h 206842"/>
                    <a:gd name="connsiteX299" fmla="*/ 143274 w 181185"/>
                    <a:gd name="connsiteY299" fmla="*/ 193441 h 206842"/>
                    <a:gd name="connsiteX300" fmla="*/ 145830 w 181185"/>
                    <a:gd name="connsiteY300" fmla="*/ 196880 h 206842"/>
                    <a:gd name="connsiteX301" fmla="*/ 149092 w 181185"/>
                    <a:gd name="connsiteY301" fmla="*/ 198026 h 206842"/>
                    <a:gd name="connsiteX302" fmla="*/ 148740 w 181185"/>
                    <a:gd name="connsiteY302" fmla="*/ 200142 h 206842"/>
                    <a:gd name="connsiteX303" fmla="*/ 150768 w 181185"/>
                    <a:gd name="connsiteY303" fmla="*/ 201288 h 206842"/>
                    <a:gd name="connsiteX304" fmla="*/ 151385 w 181185"/>
                    <a:gd name="connsiteY304" fmla="*/ 202170 h 206842"/>
                    <a:gd name="connsiteX305" fmla="*/ 152002 w 181185"/>
                    <a:gd name="connsiteY305" fmla="*/ 203581 h 206842"/>
                    <a:gd name="connsiteX306" fmla="*/ 154647 w 181185"/>
                    <a:gd name="connsiteY306" fmla="*/ 203933 h 206842"/>
                    <a:gd name="connsiteX307" fmla="*/ 154030 w 181185"/>
                    <a:gd name="connsiteY307" fmla="*/ 206226 h 206842"/>
                    <a:gd name="connsiteX308" fmla="*/ 155176 w 181185"/>
                    <a:gd name="connsiteY308" fmla="*/ 206843 h 206842"/>
                    <a:gd name="connsiteX309" fmla="*/ 156411 w 181185"/>
                    <a:gd name="connsiteY309" fmla="*/ 204815 h 206842"/>
                    <a:gd name="connsiteX310" fmla="*/ 156058 w 181185"/>
                    <a:gd name="connsiteY310" fmla="*/ 199789 h 206842"/>
                    <a:gd name="connsiteX311" fmla="*/ 154647 w 181185"/>
                    <a:gd name="connsiteY311" fmla="*/ 196880 h 206842"/>
                    <a:gd name="connsiteX312" fmla="*/ 153413 w 181185"/>
                    <a:gd name="connsiteY312" fmla="*/ 192207 h 206842"/>
                    <a:gd name="connsiteX313" fmla="*/ 154295 w 181185"/>
                    <a:gd name="connsiteY313" fmla="*/ 189650 h 206842"/>
                    <a:gd name="connsiteX314" fmla="*/ 156058 w 181185"/>
                    <a:gd name="connsiteY314" fmla="*/ 189298 h 206842"/>
                    <a:gd name="connsiteX315" fmla="*/ 158967 w 181185"/>
                    <a:gd name="connsiteY315" fmla="*/ 188416 h 206842"/>
                    <a:gd name="connsiteX316" fmla="*/ 163112 w 181185"/>
                    <a:gd name="connsiteY316" fmla="*/ 190179 h 206842"/>
                    <a:gd name="connsiteX317" fmla="*/ 166021 w 181185"/>
                    <a:gd name="connsiteY317" fmla="*/ 190444 h 206842"/>
                    <a:gd name="connsiteX318" fmla="*/ 167167 w 181185"/>
                    <a:gd name="connsiteY318" fmla="*/ 192207 h 206842"/>
                    <a:gd name="connsiteX319" fmla="*/ 169459 w 181185"/>
                    <a:gd name="connsiteY319" fmla="*/ 192824 h 206842"/>
                    <a:gd name="connsiteX320" fmla="*/ 171487 w 181185"/>
                    <a:gd name="connsiteY320" fmla="*/ 193089 h 206842"/>
                    <a:gd name="connsiteX321" fmla="*/ 171840 w 181185"/>
                    <a:gd name="connsiteY321" fmla="*/ 194852 h 206842"/>
                    <a:gd name="connsiteX322" fmla="*/ 173604 w 181185"/>
                    <a:gd name="connsiteY322" fmla="*/ 196615 h 206842"/>
                    <a:gd name="connsiteX323" fmla="*/ 174750 w 181185"/>
                    <a:gd name="connsiteY323" fmla="*/ 198643 h 206842"/>
                    <a:gd name="connsiteX324" fmla="*/ 177924 w 181185"/>
                    <a:gd name="connsiteY324" fmla="*/ 200142 h 206842"/>
                    <a:gd name="connsiteX325" fmla="*/ 179951 w 181185"/>
                    <a:gd name="connsiteY325" fmla="*/ 201553 h 206842"/>
                    <a:gd name="connsiteX326" fmla="*/ 181186 w 181185"/>
                    <a:gd name="connsiteY326" fmla="*/ 200407 h 206842"/>
                    <a:gd name="connsiteX327" fmla="*/ 179951 w 181185"/>
                    <a:gd name="connsiteY327" fmla="*/ 198379 h 206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</a:cxnLst>
                  <a:rect l="l" t="t" r="r" b="b"/>
                  <a:pathLst>
                    <a:path w="181185" h="206842">
                      <a:moveTo>
                        <a:pt x="179687" y="195998"/>
                      </a:moveTo>
                      <a:lnTo>
                        <a:pt x="177395" y="194235"/>
                      </a:lnTo>
                      <a:lnTo>
                        <a:pt x="176777" y="191678"/>
                      </a:lnTo>
                      <a:lnTo>
                        <a:pt x="174750" y="188768"/>
                      </a:lnTo>
                      <a:lnTo>
                        <a:pt x="172104" y="187534"/>
                      </a:lnTo>
                      <a:lnTo>
                        <a:pt x="170958" y="184624"/>
                      </a:lnTo>
                      <a:lnTo>
                        <a:pt x="168930" y="182332"/>
                      </a:lnTo>
                      <a:lnTo>
                        <a:pt x="166550" y="180304"/>
                      </a:lnTo>
                      <a:lnTo>
                        <a:pt x="164787" y="181450"/>
                      </a:lnTo>
                      <a:lnTo>
                        <a:pt x="162229" y="180569"/>
                      </a:lnTo>
                      <a:lnTo>
                        <a:pt x="161612" y="181715"/>
                      </a:lnTo>
                      <a:lnTo>
                        <a:pt x="157821" y="180833"/>
                      </a:lnTo>
                      <a:lnTo>
                        <a:pt x="156675" y="179070"/>
                      </a:lnTo>
                      <a:lnTo>
                        <a:pt x="153766" y="178541"/>
                      </a:lnTo>
                      <a:lnTo>
                        <a:pt x="155793" y="175631"/>
                      </a:lnTo>
                      <a:lnTo>
                        <a:pt x="152619" y="174397"/>
                      </a:lnTo>
                      <a:lnTo>
                        <a:pt x="150239" y="170958"/>
                      </a:lnTo>
                      <a:lnTo>
                        <a:pt x="148211" y="169460"/>
                      </a:lnTo>
                      <a:lnTo>
                        <a:pt x="145301" y="170341"/>
                      </a:lnTo>
                      <a:lnTo>
                        <a:pt x="142656" y="166903"/>
                      </a:lnTo>
                      <a:lnTo>
                        <a:pt x="141510" y="165404"/>
                      </a:lnTo>
                      <a:lnTo>
                        <a:pt x="140276" y="163376"/>
                      </a:lnTo>
                      <a:lnTo>
                        <a:pt x="139747" y="158439"/>
                      </a:lnTo>
                      <a:lnTo>
                        <a:pt x="136837" y="159320"/>
                      </a:lnTo>
                      <a:lnTo>
                        <a:pt x="135074" y="159585"/>
                      </a:lnTo>
                      <a:lnTo>
                        <a:pt x="134457" y="157821"/>
                      </a:lnTo>
                      <a:lnTo>
                        <a:pt x="131900" y="159849"/>
                      </a:lnTo>
                      <a:lnTo>
                        <a:pt x="131900" y="162759"/>
                      </a:lnTo>
                      <a:lnTo>
                        <a:pt x="130137" y="163640"/>
                      </a:lnTo>
                      <a:lnTo>
                        <a:pt x="128990" y="163023"/>
                      </a:lnTo>
                      <a:lnTo>
                        <a:pt x="128108" y="160731"/>
                      </a:lnTo>
                      <a:lnTo>
                        <a:pt x="127139" y="157204"/>
                      </a:lnTo>
                      <a:lnTo>
                        <a:pt x="128373" y="153148"/>
                      </a:lnTo>
                      <a:lnTo>
                        <a:pt x="128373" y="150856"/>
                      </a:lnTo>
                      <a:lnTo>
                        <a:pt x="131282" y="149974"/>
                      </a:lnTo>
                      <a:lnTo>
                        <a:pt x="128108" y="148476"/>
                      </a:lnTo>
                      <a:lnTo>
                        <a:pt x="126345" y="146448"/>
                      </a:lnTo>
                      <a:lnTo>
                        <a:pt x="124582" y="144684"/>
                      </a:lnTo>
                      <a:lnTo>
                        <a:pt x="125463" y="140893"/>
                      </a:lnTo>
                      <a:lnTo>
                        <a:pt x="123083" y="140364"/>
                      </a:lnTo>
                      <a:lnTo>
                        <a:pt x="122818" y="137102"/>
                      </a:lnTo>
                      <a:lnTo>
                        <a:pt x="123083" y="135074"/>
                      </a:lnTo>
                      <a:lnTo>
                        <a:pt x="121320" y="134809"/>
                      </a:lnTo>
                      <a:lnTo>
                        <a:pt x="119909" y="133311"/>
                      </a:lnTo>
                      <a:lnTo>
                        <a:pt x="115500" y="130136"/>
                      </a:lnTo>
                      <a:lnTo>
                        <a:pt x="117881" y="128638"/>
                      </a:lnTo>
                      <a:lnTo>
                        <a:pt x="116735" y="125111"/>
                      </a:lnTo>
                      <a:lnTo>
                        <a:pt x="118763" y="125993"/>
                      </a:lnTo>
                      <a:lnTo>
                        <a:pt x="122554" y="124846"/>
                      </a:lnTo>
                      <a:lnTo>
                        <a:pt x="125111" y="126345"/>
                      </a:lnTo>
                      <a:lnTo>
                        <a:pt x="128990" y="125993"/>
                      </a:lnTo>
                      <a:lnTo>
                        <a:pt x="130930" y="128109"/>
                      </a:lnTo>
                      <a:lnTo>
                        <a:pt x="133046" y="126874"/>
                      </a:lnTo>
                      <a:lnTo>
                        <a:pt x="134809" y="128373"/>
                      </a:lnTo>
                      <a:lnTo>
                        <a:pt x="140276" y="129784"/>
                      </a:lnTo>
                      <a:lnTo>
                        <a:pt x="141510" y="131283"/>
                      </a:lnTo>
                      <a:lnTo>
                        <a:pt x="146712" y="134192"/>
                      </a:lnTo>
                      <a:lnTo>
                        <a:pt x="150503" y="136220"/>
                      </a:lnTo>
                      <a:lnTo>
                        <a:pt x="153148" y="137102"/>
                      </a:lnTo>
                      <a:lnTo>
                        <a:pt x="154912" y="139394"/>
                      </a:lnTo>
                      <a:lnTo>
                        <a:pt x="156940" y="139394"/>
                      </a:lnTo>
                      <a:lnTo>
                        <a:pt x="158086" y="140364"/>
                      </a:lnTo>
                      <a:lnTo>
                        <a:pt x="157557" y="137983"/>
                      </a:lnTo>
                      <a:lnTo>
                        <a:pt x="157204" y="134809"/>
                      </a:lnTo>
                      <a:lnTo>
                        <a:pt x="155793" y="135338"/>
                      </a:lnTo>
                      <a:lnTo>
                        <a:pt x="152619" y="135074"/>
                      </a:lnTo>
                      <a:lnTo>
                        <a:pt x="149975" y="133311"/>
                      </a:lnTo>
                      <a:lnTo>
                        <a:pt x="147329" y="132693"/>
                      </a:lnTo>
                      <a:lnTo>
                        <a:pt x="146712" y="130136"/>
                      </a:lnTo>
                      <a:lnTo>
                        <a:pt x="144684" y="128902"/>
                      </a:lnTo>
                      <a:lnTo>
                        <a:pt x="138600" y="126610"/>
                      </a:lnTo>
                      <a:lnTo>
                        <a:pt x="138248" y="123700"/>
                      </a:lnTo>
                      <a:lnTo>
                        <a:pt x="138600" y="121320"/>
                      </a:lnTo>
                      <a:lnTo>
                        <a:pt x="135338" y="120791"/>
                      </a:lnTo>
                      <a:lnTo>
                        <a:pt x="133575" y="117528"/>
                      </a:lnTo>
                      <a:lnTo>
                        <a:pt x="125728" y="114619"/>
                      </a:lnTo>
                      <a:lnTo>
                        <a:pt x="126874" y="109064"/>
                      </a:lnTo>
                      <a:lnTo>
                        <a:pt x="119556" y="106507"/>
                      </a:lnTo>
                      <a:lnTo>
                        <a:pt x="116735" y="102981"/>
                      </a:lnTo>
                      <a:lnTo>
                        <a:pt x="115236" y="101570"/>
                      </a:lnTo>
                      <a:lnTo>
                        <a:pt x="113473" y="100688"/>
                      </a:lnTo>
                      <a:lnTo>
                        <a:pt x="110828" y="100336"/>
                      </a:lnTo>
                      <a:lnTo>
                        <a:pt x="109064" y="99189"/>
                      </a:lnTo>
                      <a:lnTo>
                        <a:pt x="109681" y="97779"/>
                      </a:lnTo>
                      <a:lnTo>
                        <a:pt x="108270" y="95134"/>
                      </a:lnTo>
                      <a:lnTo>
                        <a:pt x="106507" y="91871"/>
                      </a:lnTo>
                      <a:lnTo>
                        <a:pt x="104391" y="90990"/>
                      </a:lnTo>
                      <a:lnTo>
                        <a:pt x="100688" y="88962"/>
                      </a:lnTo>
                      <a:lnTo>
                        <a:pt x="97161" y="86669"/>
                      </a:lnTo>
                      <a:lnTo>
                        <a:pt x="95133" y="83760"/>
                      </a:lnTo>
                      <a:lnTo>
                        <a:pt x="94252" y="80850"/>
                      </a:lnTo>
                      <a:lnTo>
                        <a:pt x="92489" y="79616"/>
                      </a:lnTo>
                      <a:lnTo>
                        <a:pt x="90196" y="78470"/>
                      </a:lnTo>
                      <a:lnTo>
                        <a:pt x="86052" y="77588"/>
                      </a:lnTo>
                      <a:lnTo>
                        <a:pt x="83143" y="77059"/>
                      </a:lnTo>
                      <a:lnTo>
                        <a:pt x="82614" y="74679"/>
                      </a:lnTo>
                      <a:lnTo>
                        <a:pt x="82614" y="72651"/>
                      </a:lnTo>
                      <a:lnTo>
                        <a:pt x="79616" y="71240"/>
                      </a:lnTo>
                      <a:lnTo>
                        <a:pt x="76442" y="69124"/>
                      </a:lnTo>
                      <a:lnTo>
                        <a:pt x="76089" y="67096"/>
                      </a:lnTo>
                      <a:lnTo>
                        <a:pt x="74149" y="64187"/>
                      </a:lnTo>
                      <a:lnTo>
                        <a:pt x="71769" y="63658"/>
                      </a:lnTo>
                      <a:lnTo>
                        <a:pt x="68242" y="61541"/>
                      </a:lnTo>
                      <a:lnTo>
                        <a:pt x="65685" y="61013"/>
                      </a:lnTo>
                      <a:lnTo>
                        <a:pt x="63040" y="58367"/>
                      </a:lnTo>
                      <a:lnTo>
                        <a:pt x="61894" y="56075"/>
                      </a:lnTo>
                      <a:lnTo>
                        <a:pt x="60395" y="53695"/>
                      </a:lnTo>
                      <a:lnTo>
                        <a:pt x="57750" y="50520"/>
                      </a:lnTo>
                      <a:lnTo>
                        <a:pt x="57221" y="48757"/>
                      </a:lnTo>
                      <a:lnTo>
                        <a:pt x="60395" y="52196"/>
                      </a:lnTo>
                      <a:lnTo>
                        <a:pt x="61012" y="51931"/>
                      </a:lnTo>
                      <a:lnTo>
                        <a:pt x="59778" y="50168"/>
                      </a:lnTo>
                      <a:lnTo>
                        <a:pt x="58896" y="48140"/>
                      </a:lnTo>
                      <a:lnTo>
                        <a:pt x="56956" y="47258"/>
                      </a:lnTo>
                      <a:lnTo>
                        <a:pt x="56956" y="44349"/>
                      </a:lnTo>
                      <a:lnTo>
                        <a:pt x="55722" y="42938"/>
                      </a:lnTo>
                      <a:lnTo>
                        <a:pt x="54311" y="41704"/>
                      </a:lnTo>
                      <a:lnTo>
                        <a:pt x="51049" y="39147"/>
                      </a:lnTo>
                      <a:lnTo>
                        <a:pt x="48757" y="37383"/>
                      </a:lnTo>
                      <a:lnTo>
                        <a:pt x="46377" y="35620"/>
                      </a:lnTo>
                      <a:lnTo>
                        <a:pt x="45495" y="32710"/>
                      </a:lnTo>
                      <a:lnTo>
                        <a:pt x="42321" y="30065"/>
                      </a:lnTo>
                      <a:lnTo>
                        <a:pt x="39676" y="27773"/>
                      </a:lnTo>
                      <a:lnTo>
                        <a:pt x="38794" y="26891"/>
                      </a:lnTo>
                      <a:lnTo>
                        <a:pt x="35885" y="24775"/>
                      </a:lnTo>
                      <a:lnTo>
                        <a:pt x="31829" y="23982"/>
                      </a:lnTo>
                      <a:lnTo>
                        <a:pt x="31829" y="22483"/>
                      </a:lnTo>
                      <a:lnTo>
                        <a:pt x="30682" y="20719"/>
                      </a:lnTo>
                      <a:lnTo>
                        <a:pt x="28655" y="20191"/>
                      </a:lnTo>
                      <a:lnTo>
                        <a:pt x="26803" y="18074"/>
                      </a:lnTo>
                      <a:lnTo>
                        <a:pt x="26009" y="16928"/>
                      </a:lnTo>
                      <a:lnTo>
                        <a:pt x="24246" y="16399"/>
                      </a:lnTo>
                      <a:lnTo>
                        <a:pt x="23629" y="14636"/>
                      </a:lnTo>
                      <a:lnTo>
                        <a:pt x="19309" y="13490"/>
                      </a:lnTo>
                      <a:lnTo>
                        <a:pt x="17810" y="12255"/>
                      </a:lnTo>
                      <a:lnTo>
                        <a:pt x="16928" y="11109"/>
                      </a:lnTo>
                      <a:lnTo>
                        <a:pt x="17281" y="10227"/>
                      </a:lnTo>
                      <a:lnTo>
                        <a:pt x="18074" y="9346"/>
                      </a:lnTo>
                      <a:lnTo>
                        <a:pt x="18339" y="8200"/>
                      </a:lnTo>
                      <a:lnTo>
                        <a:pt x="16663" y="7935"/>
                      </a:lnTo>
                      <a:lnTo>
                        <a:pt x="15429" y="5907"/>
                      </a:lnTo>
                      <a:lnTo>
                        <a:pt x="14283" y="4144"/>
                      </a:lnTo>
                      <a:lnTo>
                        <a:pt x="12520" y="2645"/>
                      </a:lnTo>
                      <a:lnTo>
                        <a:pt x="11726" y="4673"/>
                      </a:lnTo>
                      <a:lnTo>
                        <a:pt x="10492" y="4408"/>
                      </a:lnTo>
                      <a:lnTo>
                        <a:pt x="8200" y="5026"/>
                      </a:lnTo>
                      <a:lnTo>
                        <a:pt x="7318" y="2645"/>
                      </a:lnTo>
                      <a:lnTo>
                        <a:pt x="5819" y="2645"/>
                      </a:lnTo>
                      <a:lnTo>
                        <a:pt x="3526" y="2380"/>
                      </a:lnTo>
                      <a:lnTo>
                        <a:pt x="4408" y="882"/>
                      </a:lnTo>
                      <a:lnTo>
                        <a:pt x="3526" y="0"/>
                      </a:lnTo>
                      <a:lnTo>
                        <a:pt x="2028" y="2116"/>
                      </a:lnTo>
                      <a:lnTo>
                        <a:pt x="1499" y="2909"/>
                      </a:lnTo>
                      <a:lnTo>
                        <a:pt x="0" y="3527"/>
                      </a:lnTo>
                      <a:lnTo>
                        <a:pt x="0" y="5290"/>
                      </a:lnTo>
                      <a:lnTo>
                        <a:pt x="2909" y="5026"/>
                      </a:lnTo>
                      <a:lnTo>
                        <a:pt x="2645" y="7582"/>
                      </a:lnTo>
                      <a:lnTo>
                        <a:pt x="4673" y="8200"/>
                      </a:lnTo>
                      <a:lnTo>
                        <a:pt x="5819" y="6172"/>
                      </a:lnTo>
                      <a:lnTo>
                        <a:pt x="7582" y="7582"/>
                      </a:lnTo>
                      <a:lnTo>
                        <a:pt x="7935" y="10227"/>
                      </a:lnTo>
                      <a:lnTo>
                        <a:pt x="8729" y="9698"/>
                      </a:lnTo>
                      <a:lnTo>
                        <a:pt x="11374" y="10492"/>
                      </a:lnTo>
                      <a:lnTo>
                        <a:pt x="12872" y="10845"/>
                      </a:lnTo>
                      <a:lnTo>
                        <a:pt x="13754" y="13754"/>
                      </a:lnTo>
                      <a:lnTo>
                        <a:pt x="15429" y="17281"/>
                      </a:lnTo>
                      <a:lnTo>
                        <a:pt x="16928" y="20455"/>
                      </a:lnTo>
                      <a:lnTo>
                        <a:pt x="17810" y="21954"/>
                      </a:lnTo>
                      <a:lnTo>
                        <a:pt x="17281" y="23100"/>
                      </a:lnTo>
                      <a:lnTo>
                        <a:pt x="15782" y="23365"/>
                      </a:lnTo>
                      <a:lnTo>
                        <a:pt x="14900" y="22747"/>
                      </a:lnTo>
                      <a:lnTo>
                        <a:pt x="12255" y="20719"/>
                      </a:lnTo>
                      <a:lnTo>
                        <a:pt x="13137" y="21601"/>
                      </a:lnTo>
                      <a:lnTo>
                        <a:pt x="10492" y="23100"/>
                      </a:lnTo>
                      <a:lnTo>
                        <a:pt x="9081" y="22218"/>
                      </a:lnTo>
                      <a:lnTo>
                        <a:pt x="7582" y="22747"/>
                      </a:lnTo>
                      <a:lnTo>
                        <a:pt x="8200" y="24511"/>
                      </a:lnTo>
                      <a:lnTo>
                        <a:pt x="7582" y="26010"/>
                      </a:lnTo>
                      <a:lnTo>
                        <a:pt x="8729" y="27156"/>
                      </a:lnTo>
                      <a:lnTo>
                        <a:pt x="10845" y="29448"/>
                      </a:lnTo>
                      <a:lnTo>
                        <a:pt x="12520" y="30065"/>
                      </a:lnTo>
                      <a:lnTo>
                        <a:pt x="13754" y="30330"/>
                      </a:lnTo>
                      <a:lnTo>
                        <a:pt x="15165" y="31212"/>
                      </a:lnTo>
                      <a:lnTo>
                        <a:pt x="17281" y="32710"/>
                      </a:lnTo>
                      <a:lnTo>
                        <a:pt x="17545" y="34474"/>
                      </a:lnTo>
                      <a:lnTo>
                        <a:pt x="18956" y="35620"/>
                      </a:lnTo>
                      <a:lnTo>
                        <a:pt x="20190" y="36237"/>
                      </a:lnTo>
                      <a:lnTo>
                        <a:pt x="20190" y="37383"/>
                      </a:lnTo>
                      <a:lnTo>
                        <a:pt x="21601" y="37648"/>
                      </a:lnTo>
                      <a:lnTo>
                        <a:pt x="22218" y="36502"/>
                      </a:lnTo>
                      <a:lnTo>
                        <a:pt x="21866" y="37648"/>
                      </a:lnTo>
                      <a:lnTo>
                        <a:pt x="21601" y="37648"/>
                      </a:lnTo>
                      <a:lnTo>
                        <a:pt x="20984" y="38794"/>
                      </a:lnTo>
                      <a:lnTo>
                        <a:pt x="22483" y="40557"/>
                      </a:lnTo>
                      <a:lnTo>
                        <a:pt x="22747" y="41175"/>
                      </a:lnTo>
                      <a:lnTo>
                        <a:pt x="23629" y="42321"/>
                      </a:lnTo>
                      <a:lnTo>
                        <a:pt x="24775" y="42585"/>
                      </a:lnTo>
                      <a:lnTo>
                        <a:pt x="25657" y="44349"/>
                      </a:lnTo>
                      <a:lnTo>
                        <a:pt x="25393" y="46112"/>
                      </a:lnTo>
                      <a:lnTo>
                        <a:pt x="28037" y="46994"/>
                      </a:lnTo>
                      <a:lnTo>
                        <a:pt x="29448" y="48404"/>
                      </a:lnTo>
                      <a:lnTo>
                        <a:pt x="30682" y="50785"/>
                      </a:lnTo>
                      <a:lnTo>
                        <a:pt x="39411" y="60131"/>
                      </a:lnTo>
                      <a:lnTo>
                        <a:pt x="41439" y="61277"/>
                      </a:lnTo>
                      <a:lnTo>
                        <a:pt x="37030" y="62423"/>
                      </a:lnTo>
                      <a:lnTo>
                        <a:pt x="40822" y="64451"/>
                      </a:lnTo>
                      <a:lnTo>
                        <a:pt x="45847" y="66567"/>
                      </a:lnTo>
                      <a:lnTo>
                        <a:pt x="45847" y="69477"/>
                      </a:lnTo>
                      <a:lnTo>
                        <a:pt x="48404" y="70358"/>
                      </a:lnTo>
                      <a:lnTo>
                        <a:pt x="52548" y="70887"/>
                      </a:lnTo>
                      <a:lnTo>
                        <a:pt x="53959" y="72034"/>
                      </a:lnTo>
                      <a:lnTo>
                        <a:pt x="53077" y="73797"/>
                      </a:lnTo>
                      <a:lnTo>
                        <a:pt x="53694" y="75296"/>
                      </a:lnTo>
                      <a:lnTo>
                        <a:pt x="55458" y="76706"/>
                      </a:lnTo>
                      <a:lnTo>
                        <a:pt x="57485" y="77059"/>
                      </a:lnTo>
                      <a:lnTo>
                        <a:pt x="59514" y="77588"/>
                      </a:lnTo>
                      <a:lnTo>
                        <a:pt x="60395" y="79087"/>
                      </a:lnTo>
                      <a:lnTo>
                        <a:pt x="61894" y="80233"/>
                      </a:lnTo>
                      <a:lnTo>
                        <a:pt x="62423" y="82526"/>
                      </a:lnTo>
                      <a:lnTo>
                        <a:pt x="63569" y="84906"/>
                      </a:lnTo>
                      <a:lnTo>
                        <a:pt x="65685" y="86669"/>
                      </a:lnTo>
                      <a:lnTo>
                        <a:pt x="65068" y="88433"/>
                      </a:lnTo>
                      <a:lnTo>
                        <a:pt x="67096" y="88697"/>
                      </a:lnTo>
                      <a:lnTo>
                        <a:pt x="69124" y="88433"/>
                      </a:lnTo>
                      <a:lnTo>
                        <a:pt x="69124" y="90108"/>
                      </a:lnTo>
                      <a:lnTo>
                        <a:pt x="68242" y="91607"/>
                      </a:lnTo>
                      <a:lnTo>
                        <a:pt x="67977" y="93370"/>
                      </a:lnTo>
                      <a:lnTo>
                        <a:pt x="68595" y="94781"/>
                      </a:lnTo>
                      <a:lnTo>
                        <a:pt x="70623" y="94781"/>
                      </a:lnTo>
                      <a:lnTo>
                        <a:pt x="71152" y="95663"/>
                      </a:lnTo>
                      <a:lnTo>
                        <a:pt x="72651" y="96544"/>
                      </a:lnTo>
                      <a:lnTo>
                        <a:pt x="73797" y="98308"/>
                      </a:lnTo>
                      <a:lnTo>
                        <a:pt x="74414" y="99807"/>
                      </a:lnTo>
                      <a:lnTo>
                        <a:pt x="77323" y="100688"/>
                      </a:lnTo>
                      <a:lnTo>
                        <a:pt x="77323" y="102363"/>
                      </a:lnTo>
                      <a:lnTo>
                        <a:pt x="79616" y="103245"/>
                      </a:lnTo>
                      <a:lnTo>
                        <a:pt x="80233" y="105273"/>
                      </a:lnTo>
                      <a:lnTo>
                        <a:pt x="83760" y="106507"/>
                      </a:lnTo>
                      <a:lnTo>
                        <a:pt x="84024" y="108535"/>
                      </a:lnTo>
                      <a:lnTo>
                        <a:pt x="84906" y="110563"/>
                      </a:lnTo>
                      <a:lnTo>
                        <a:pt x="86317" y="112591"/>
                      </a:lnTo>
                      <a:lnTo>
                        <a:pt x="86052" y="114354"/>
                      </a:lnTo>
                      <a:lnTo>
                        <a:pt x="88962" y="113737"/>
                      </a:lnTo>
                      <a:lnTo>
                        <a:pt x="88344" y="114972"/>
                      </a:lnTo>
                      <a:lnTo>
                        <a:pt x="86934" y="115853"/>
                      </a:lnTo>
                      <a:lnTo>
                        <a:pt x="88344" y="116735"/>
                      </a:lnTo>
                      <a:lnTo>
                        <a:pt x="90990" y="117528"/>
                      </a:lnTo>
                      <a:lnTo>
                        <a:pt x="91342" y="119909"/>
                      </a:lnTo>
                      <a:lnTo>
                        <a:pt x="93106" y="120526"/>
                      </a:lnTo>
                      <a:lnTo>
                        <a:pt x="90990" y="122554"/>
                      </a:lnTo>
                      <a:lnTo>
                        <a:pt x="92753" y="122554"/>
                      </a:lnTo>
                      <a:lnTo>
                        <a:pt x="94516" y="123436"/>
                      </a:lnTo>
                      <a:lnTo>
                        <a:pt x="94252" y="125111"/>
                      </a:lnTo>
                      <a:lnTo>
                        <a:pt x="94252" y="126610"/>
                      </a:lnTo>
                      <a:lnTo>
                        <a:pt x="93899" y="127756"/>
                      </a:lnTo>
                      <a:lnTo>
                        <a:pt x="94516" y="129255"/>
                      </a:lnTo>
                      <a:lnTo>
                        <a:pt x="95398" y="128638"/>
                      </a:lnTo>
                      <a:lnTo>
                        <a:pt x="97161" y="128902"/>
                      </a:lnTo>
                      <a:lnTo>
                        <a:pt x="97161" y="131283"/>
                      </a:lnTo>
                      <a:lnTo>
                        <a:pt x="98043" y="132164"/>
                      </a:lnTo>
                      <a:lnTo>
                        <a:pt x="100336" y="134457"/>
                      </a:lnTo>
                      <a:lnTo>
                        <a:pt x="100688" y="137366"/>
                      </a:lnTo>
                      <a:lnTo>
                        <a:pt x="102716" y="137983"/>
                      </a:lnTo>
                      <a:lnTo>
                        <a:pt x="102981" y="139747"/>
                      </a:lnTo>
                      <a:lnTo>
                        <a:pt x="103862" y="140629"/>
                      </a:lnTo>
                      <a:lnTo>
                        <a:pt x="104744" y="140629"/>
                      </a:lnTo>
                      <a:lnTo>
                        <a:pt x="105626" y="141158"/>
                      </a:lnTo>
                      <a:lnTo>
                        <a:pt x="105890" y="143538"/>
                      </a:lnTo>
                      <a:lnTo>
                        <a:pt x="109946" y="142392"/>
                      </a:lnTo>
                      <a:lnTo>
                        <a:pt x="110299" y="143274"/>
                      </a:lnTo>
                      <a:lnTo>
                        <a:pt x="110563" y="144420"/>
                      </a:lnTo>
                      <a:lnTo>
                        <a:pt x="111444" y="145566"/>
                      </a:lnTo>
                      <a:lnTo>
                        <a:pt x="112855" y="146448"/>
                      </a:lnTo>
                      <a:lnTo>
                        <a:pt x="115500" y="148211"/>
                      </a:lnTo>
                      <a:lnTo>
                        <a:pt x="113737" y="151385"/>
                      </a:lnTo>
                      <a:lnTo>
                        <a:pt x="117264" y="152531"/>
                      </a:lnTo>
                      <a:lnTo>
                        <a:pt x="116118" y="154647"/>
                      </a:lnTo>
                      <a:lnTo>
                        <a:pt x="118410" y="154030"/>
                      </a:lnTo>
                      <a:lnTo>
                        <a:pt x="119027" y="153148"/>
                      </a:lnTo>
                      <a:lnTo>
                        <a:pt x="119292" y="154647"/>
                      </a:lnTo>
                      <a:lnTo>
                        <a:pt x="119909" y="158086"/>
                      </a:lnTo>
                      <a:lnTo>
                        <a:pt x="121936" y="158968"/>
                      </a:lnTo>
                      <a:lnTo>
                        <a:pt x="123700" y="162230"/>
                      </a:lnTo>
                      <a:lnTo>
                        <a:pt x="123083" y="164787"/>
                      </a:lnTo>
                      <a:lnTo>
                        <a:pt x="123965" y="167432"/>
                      </a:lnTo>
                      <a:lnTo>
                        <a:pt x="126610" y="169460"/>
                      </a:lnTo>
                      <a:lnTo>
                        <a:pt x="128108" y="171487"/>
                      </a:lnTo>
                      <a:lnTo>
                        <a:pt x="129255" y="173251"/>
                      </a:lnTo>
                      <a:lnTo>
                        <a:pt x="131282" y="175279"/>
                      </a:lnTo>
                      <a:lnTo>
                        <a:pt x="132429" y="177659"/>
                      </a:lnTo>
                      <a:lnTo>
                        <a:pt x="134192" y="178276"/>
                      </a:lnTo>
                      <a:lnTo>
                        <a:pt x="134457" y="180833"/>
                      </a:lnTo>
                      <a:lnTo>
                        <a:pt x="137719" y="182068"/>
                      </a:lnTo>
                      <a:lnTo>
                        <a:pt x="136837" y="183478"/>
                      </a:lnTo>
                      <a:lnTo>
                        <a:pt x="138865" y="185506"/>
                      </a:lnTo>
                      <a:lnTo>
                        <a:pt x="137983" y="186123"/>
                      </a:lnTo>
                      <a:lnTo>
                        <a:pt x="139747" y="189298"/>
                      </a:lnTo>
                      <a:lnTo>
                        <a:pt x="139129" y="190444"/>
                      </a:lnTo>
                      <a:lnTo>
                        <a:pt x="141158" y="192207"/>
                      </a:lnTo>
                      <a:lnTo>
                        <a:pt x="143274" y="193441"/>
                      </a:lnTo>
                      <a:lnTo>
                        <a:pt x="145830" y="196880"/>
                      </a:lnTo>
                      <a:lnTo>
                        <a:pt x="149092" y="198026"/>
                      </a:lnTo>
                      <a:lnTo>
                        <a:pt x="148740" y="200142"/>
                      </a:lnTo>
                      <a:lnTo>
                        <a:pt x="150768" y="201288"/>
                      </a:lnTo>
                      <a:lnTo>
                        <a:pt x="151385" y="202170"/>
                      </a:lnTo>
                      <a:lnTo>
                        <a:pt x="152002" y="203581"/>
                      </a:lnTo>
                      <a:lnTo>
                        <a:pt x="154647" y="203933"/>
                      </a:lnTo>
                      <a:lnTo>
                        <a:pt x="154030" y="206226"/>
                      </a:lnTo>
                      <a:lnTo>
                        <a:pt x="155176" y="206843"/>
                      </a:lnTo>
                      <a:lnTo>
                        <a:pt x="156411" y="204815"/>
                      </a:lnTo>
                      <a:lnTo>
                        <a:pt x="156058" y="199789"/>
                      </a:lnTo>
                      <a:lnTo>
                        <a:pt x="154647" y="196880"/>
                      </a:lnTo>
                      <a:lnTo>
                        <a:pt x="153413" y="192207"/>
                      </a:lnTo>
                      <a:lnTo>
                        <a:pt x="154295" y="189650"/>
                      </a:lnTo>
                      <a:lnTo>
                        <a:pt x="156058" y="189298"/>
                      </a:lnTo>
                      <a:lnTo>
                        <a:pt x="158967" y="188416"/>
                      </a:lnTo>
                      <a:lnTo>
                        <a:pt x="163112" y="190179"/>
                      </a:lnTo>
                      <a:lnTo>
                        <a:pt x="166021" y="190444"/>
                      </a:lnTo>
                      <a:lnTo>
                        <a:pt x="167167" y="192207"/>
                      </a:lnTo>
                      <a:lnTo>
                        <a:pt x="169459" y="192824"/>
                      </a:lnTo>
                      <a:lnTo>
                        <a:pt x="171487" y="193089"/>
                      </a:lnTo>
                      <a:lnTo>
                        <a:pt x="171840" y="194852"/>
                      </a:lnTo>
                      <a:lnTo>
                        <a:pt x="173604" y="196615"/>
                      </a:lnTo>
                      <a:lnTo>
                        <a:pt x="174750" y="198643"/>
                      </a:lnTo>
                      <a:lnTo>
                        <a:pt x="177924" y="200142"/>
                      </a:lnTo>
                      <a:lnTo>
                        <a:pt x="179951" y="201553"/>
                      </a:lnTo>
                      <a:lnTo>
                        <a:pt x="181186" y="200407"/>
                      </a:lnTo>
                      <a:lnTo>
                        <a:pt x="179951" y="19837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5" name="Freihandform: Form 1954">
                  <a:extLst>
                    <a:ext uri="{FF2B5EF4-FFF2-40B4-BE49-F238E27FC236}">
                      <a16:creationId xmlns:a16="http://schemas.microsoft.com/office/drawing/2014/main" id="{03E2D069-1CD3-9974-BFCA-919532C4A6F7}"/>
                    </a:ext>
                  </a:extLst>
                </p:cNvPr>
                <p:cNvSpPr/>
                <p:nvPr/>
              </p:nvSpPr>
              <p:spPr>
                <a:xfrm>
                  <a:off x="6957179" y="3043704"/>
                  <a:ext cx="15164" cy="15782"/>
                </a:xfrm>
                <a:custGeom>
                  <a:avLst/>
                  <a:gdLst>
                    <a:gd name="connsiteX0" fmla="*/ 11374 w 15164"/>
                    <a:gd name="connsiteY0" fmla="*/ 3262 h 15782"/>
                    <a:gd name="connsiteX1" fmla="*/ 10227 w 15164"/>
                    <a:gd name="connsiteY1" fmla="*/ 2645 h 15782"/>
                    <a:gd name="connsiteX2" fmla="*/ 9081 w 15164"/>
                    <a:gd name="connsiteY2" fmla="*/ 5290 h 15782"/>
                    <a:gd name="connsiteX3" fmla="*/ 6084 w 15164"/>
                    <a:gd name="connsiteY3" fmla="*/ 5819 h 15782"/>
                    <a:gd name="connsiteX4" fmla="*/ 4408 w 15164"/>
                    <a:gd name="connsiteY4" fmla="*/ 6172 h 15782"/>
                    <a:gd name="connsiteX5" fmla="*/ 4408 w 15164"/>
                    <a:gd name="connsiteY5" fmla="*/ 8729 h 15782"/>
                    <a:gd name="connsiteX6" fmla="*/ 3791 w 15164"/>
                    <a:gd name="connsiteY6" fmla="*/ 10845 h 15782"/>
                    <a:gd name="connsiteX7" fmla="*/ 0 w 15164"/>
                    <a:gd name="connsiteY7" fmla="*/ 11991 h 15782"/>
                    <a:gd name="connsiteX8" fmla="*/ 881 w 15164"/>
                    <a:gd name="connsiteY8" fmla="*/ 15782 h 15782"/>
                    <a:gd name="connsiteX9" fmla="*/ 4408 w 15164"/>
                    <a:gd name="connsiteY9" fmla="*/ 15518 h 15782"/>
                    <a:gd name="connsiteX10" fmla="*/ 6701 w 15164"/>
                    <a:gd name="connsiteY10" fmla="*/ 11991 h 15782"/>
                    <a:gd name="connsiteX11" fmla="*/ 8200 w 15164"/>
                    <a:gd name="connsiteY11" fmla="*/ 11638 h 15782"/>
                    <a:gd name="connsiteX12" fmla="*/ 9875 w 15164"/>
                    <a:gd name="connsiteY12" fmla="*/ 11109 h 15782"/>
                    <a:gd name="connsiteX13" fmla="*/ 10756 w 15164"/>
                    <a:gd name="connsiteY13" fmla="*/ 8729 h 15782"/>
                    <a:gd name="connsiteX14" fmla="*/ 12256 w 15164"/>
                    <a:gd name="connsiteY14" fmla="*/ 8729 h 15782"/>
                    <a:gd name="connsiteX15" fmla="*/ 14636 w 15164"/>
                    <a:gd name="connsiteY15" fmla="*/ 9081 h 15782"/>
                    <a:gd name="connsiteX16" fmla="*/ 15165 w 15164"/>
                    <a:gd name="connsiteY16" fmla="*/ 5290 h 15782"/>
                    <a:gd name="connsiteX17" fmla="*/ 14900 w 15164"/>
                    <a:gd name="connsiteY17" fmla="*/ 0 h 15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5164" h="15782">
                      <a:moveTo>
                        <a:pt x="11374" y="3262"/>
                      </a:moveTo>
                      <a:lnTo>
                        <a:pt x="10227" y="2645"/>
                      </a:lnTo>
                      <a:lnTo>
                        <a:pt x="9081" y="5290"/>
                      </a:lnTo>
                      <a:lnTo>
                        <a:pt x="6084" y="5819"/>
                      </a:lnTo>
                      <a:lnTo>
                        <a:pt x="4408" y="6172"/>
                      </a:lnTo>
                      <a:lnTo>
                        <a:pt x="4408" y="8729"/>
                      </a:lnTo>
                      <a:lnTo>
                        <a:pt x="3791" y="10845"/>
                      </a:lnTo>
                      <a:lnTo>
                        <a:pt x="0" y="11991"/>
                      </a:lnTo>
                      <a:lnTo>
                        <a:pt x="881" y="15782"/>
                      </a:lnTo>
                      <a:lnTo>
                        <a:pt x="4408" y="15518"/>
                      </a:lnTo>
                      <a:lnTo>
                        <a:pt x="6701" y="11991"/>
                      </a:lnTo>
                      <a:lnTo>
                        <a:pt x="8200" y="11638"/>
                      </a:lnTo>
                      <a:lnTo>
                        <a:pt x="9875" y="11109"/>
                      </a:lnTo>
                      <a:lnTo>
                        <a:pt x="10756" y="8729"/>
                      </a:lnTo>
                      <a:lnTo>
                        <a:pt x="12256" y="8729"/>
                      </a:lnTo>
                      <a:lnTo>
                        <a:pt x="14636" y="9081"/>
                      </a:lnTo>
                      <a:lnTo>
                        <a:pt x="15165" y="5290"/>
                      </a:lnTo>
                      <a:lnTo>
                        <a:pt x="1490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6" name="Freihandform: Form 1955">
                  <a:extLst>
                    <a:ext uri="{FF2B5EF4-FFF2-40B4-BE49-F238E27FC236}">
                      <a16:creationId xmlns:a16="http://schemas.microsoft.com/office/drawing/2014/main" id="{2F0E868A-DC2F-3A80-AAE7-E02BBFD95D75}"/>
                    </a:ext>
                  </a:extLst>
                </p:cNvPr>
                <p:cNvSpPr/>
                <p:nvPr/>
              </p:nvSpPr>
              <p:spPr>
                <a:xfrm>
                  <a:off x="4846869" y="2518749"/>
                  <a:ext cx="881" cy="2909"/>
                </a:xfrm>
                <a:custGeom>
                  <a:avLst/>
                  <a:gdLst>
                    <a:gd name="connsiteX0" fmla="*/ 0 w 881"/>
                    <a:gd name="connsiteY0" fmla="*/ 2910 h 2909"/>
                    <a:gd name="connsiteX1" fmla="*/ 0 w 881"/>
                    <a:gd name="connsiteY1" fmla="*/ 2910 h 2909"/>
                    <a:gd name="connsiteX2" fmla="*/ 882 w 881"/>
                    <a:gd name="connsiteY2" fmla="*/ 0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1" h="2909">
                      <a:moveTo>
                        <a:pt x="0" y="2910"/>
                      </a:moveTo>
                      <a:lnTo>
                        <a:pt x="0" y="2910"/>
                      </a:lnTo>
                      <a:lnTo>
                        <a:pt x="882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72" name="Freihandform: Form 1871">
                <a:extLst>
                  <a:ext uri="{FF2B5EF4-FFF2-40B4-BE49-F238E27FC236}">
                    <a16:creationId xmlns:a16="http://schemas.microsoft.com/office/drawing/2014/main" id="{B00128F1-69C6-9522-C7F2-7EDF527C4CA8}"/>
                  </a:ext>
                </a:extLst>
              </p:cNvPr>
              <p:cNvSpPr/>
              <p:nvPr/>
            </p:nvSpPr>
            <p:spPr>
              <a:xfrm>
                <a:off x="4525142" y="2298593"/>
                <a:ext cx="2708532" cy="820230"/>
              </a:xfrm>
              <a:custGeom>
                <a:avLst/>
                <a:gdLst>
                  <a:gd name="connsiteX0" fmla="*/ 2699804 w 2708532"/>
                  <a:gd name="connsiteY0" fmla="*/ 274645 h 820230"/>
                  <a:gd name="connsiteX1" fmla="*/ 2699275 w 2708532"/>
                  <a:gd name="connsiteY1" fmla="*/ 272352 h 820230"/>
                  <a:gd name="connsiteX2" fmla="*/ 2696894 w 2708532"/>
                  <a:gd name="connsiteY2" fmla="*/ 271206 h 820230"/>
                  <a:gd name="connsiteX3" fmla="*/ 2695748 w 2708532"/>
                  <a:gd name="connsiteY3" fmla="*/ 269443 h 820230"/>
                  <a:gd name="connsiteX4" fmla="*/ 2693985 w 2708532"/>
                  <a:gd name="connsiteY4" fmla="*/ 269443 h 820230"/>
                  <a:gd name="connsiteX5" fmla="*/ 2691957 w 2708532"/>
                  <a:gd name="connsiteY5" fmla="*/ 267679 h 820230"/>
                  <a:gd name="connsiteX6" fmla="*/ 2691693 w 2708532"/>
                  <a:gd name="connsiteY6" fmla="*/ 263623 h 820230"/>
                  <a:gd name="connsiteX7" fmla="*/ 2689665 w 2708532"/>
                  <a:gd name="connsiteY7" fmla="*/ 263006 h 820230"/>
                  <a:gd name="connsiteX8" fmla="*/ 2687901 w 2708532"/>
                  <a:gd name="connsiteY8" fmla="*/ 261860 h 820230"/>
                  <a:gd name="connsiteX9" fmla="*/ 2686138 w 2708532"/>
                  <a:gd name="connsiteY9" fmla="*/ 260978 h 820230"/>
                  <a:gd name="connsiteX10" fmla="*/ 2681818 w 2708532"/>
                  <a:gd name="connsiteY10" fmla="*/ 258333 h 820230"/>
                  <a:gd name="connsiteX11" fmla="*/ 2682082 w 2708532"/>
                  <a:gd name="connsiteY11" fmla="*/ 254807 h 820230"/>
                  <a:gd name="connsiteX12" fmla="*/ 2684375 w 2708532"/>
                  <a:gd name="connsiteY12" fmla="*/ 253308 h 820230"/>
                  <a:gd name="connsiteX13" fmla="*/ 2687549 w 2708532"/>
                  <a:gd name="connsiteY13" fmla="*/ 256217 h 820230"/>
                  <a:gd name="connsiteX14" fmla="*/ 2690458 w 2708532"/>
                  <a:gd name="connsiteY14" fmla="*/ 256746 h 820230"/>
                  <a:gd name="connsiteX15" fmla="*/ 2694250 w 2708532"/>
                  <a:gd name="connsiteY15" fmla="*/ 257011 h 820230"/>
                  <a:gd name="connsiteX16" fmla="*/ 2694779 w 2708532"/>
                  <a:gd name="connsiteY16" fmla="*/ 254366 h 820230"/>
                  <a:gd name="connsiteX17" fmla="*/ 2697688 w 2708532"/>
                  <a:gd name="connsiteY17" fmla="*/ 253484 h 820230"/>
                  <a:gd name="connsiteX18" fmla="*/ 2696806 w 2708532"/>
                  <a:gd name="connsiteY18" fmla="*/ 250310 h 820230"/>
                  <a:gd name="connsiteX19" fmla="*/ 2693632 w 2708532"/>
                  <a:gd name="connsiteY19" fmla="*/ 249164 h 820230"/>
                  <a:gd name="connsiteX20" fmla="*/ 2693368 w 2708532"/>
                  <a:gd name="connsiteY20" fmla="*/ 245637 h 820230"/>
                  <a:gd name="connsiteX21" fmla="*/ 2694250 w 2708532"/>
                  <a:gd name="connsiteY21" fmla="*/ 240347 h 820230"/>
                  <a:gd name="connsiteX22" fmla="*/ 2693103 w 2708532"/>
                  <a:gd name="connsiteY22" fmla="*/ 238936 h 820230"/>
                  <a:gd name="connsiteX23" fmla="*/ 2688695 w 2708532"/>
                  <a:gd name="connsiteY23" fmla="*/ 238672 h 820230"/>
                  <a:gd name="connsiteX24" fmla="*/ 2684022 w 2708532"/>
                  <a:gd name="connsiteY24" fmla="*/ 237261 h 820230"/>
                  <a:gd name="connsiteX25" fmla="*/ 2681113 w 2708532"/>
                  <a:gd name="connsiteY25" fmla="*/ 237261 h 820230"/>
                  <a:gd name="connsiteX26" fmla="*/ 2679966 w 2708532"/>
                  <a:gd name="connsiteY26" fmla="*/ 235762 h 820230"/>
                  <a:gd name="connsiteX27" fmla="*/ 2679084 w 2708532"/>
                  <a:gd name="connsiteY27" fmla="*/ 236908 h 820230"/>
                  <a:gd name="connsiteX28" fmla="*/ 2675293 w 2708532"/>
                  <a:gd name="connsiteY28" fmla="*/ 237790 h 820230"/>
                  <a:gd name="connsiteX29" fmla="*/ 2672384 w 2708532"/>
                  <a:gd name="connsiteY29" fmla="*/ 235762 h 820230"/>
                  <a:gd name="connsiteX30" fmla="*/ 2672119 w 2708532"/>
                  <a:gd name="connsiteY30" fmla="*/ 235145 h 820230"/>
                  <a:gd name="connsiteX31" fmla="*/ 2669209 w 2708532"/>
                  <a:gd name="connsiteY31" fmla="*/ 234881 h 820230"/>
                  <a:gd name="connsiteX32" fmla="*/ 2664889 w 2708532"/>
                  <a:gd name="connsiteY32" fmla="*/ 235145 h 820230"/>
                  <a:gd name="connsiteX33" fmla="*/ 2660217 w 2708532"/>
                  <a:gd name="connsiteY33" fmla="*/ 233999 h 820230"/>
                  <a:gd name="connsiteX34" fmla="*/ 2660217 w 2708532"/>
                  <a:gd name="connsiteY34" fmla="*/ 232236 h 820230"/>
                  <a:gd name="connsiteX35" fmla="*/ 2656161 w 2708532"/>
                  <a:gd name="connsiteY35" fmla="*/ 231971 h 820230"/>
                  <a:gd name="connsiteX36" fmla="*/ 2656161 w 2708532"/>
                  <a:gd name="connsiteY36" fmla="*/ 229943 h 820230"/>
                  <a:gd name="connsiteX37" fmla="*/ 2655544 w 2708532"/>
                  <a:gd name="connsiteY37" fmla="*/ 228797 h 820230"/>
                  <a:gd name="connsiteX38" fmla="*/ 2650871 w 2708532"/>
                  <a:gd name="connsiteY38" fmla="*/ 229414 h 820230"/>
                  <a:gd name="connsiteX39" fmla="*/ 2648490 w 2708532"/>
                  <a:gd name="connsiteY39" fmla="*/ 227386 h 820230"/>
                  <a:gd name="connsiteX40" fmla="*/ 2648490 w 2708532"/>
                  <a:gd name="connsiteY40" fmla="*/ 225887 h 820230"/>
                  <a:gd name="connsiteX41" fmla="*/ 2644082 w 2708532"/>
                  <a:gd name="connsiteY41" fmla="*/ 226416 h 820230"/>
                  <a:gd name="connsiteX42" fmla="*/ 2640820 w 2708532"/>
                  <a:gd name="connsiteY42" fmla="*/ 226416 h 820230"/>
                  <a:gd name="connsiteX43" fmla="*/ 2639321 w 2708532"/>
                  <a:gd name="connsiteY43" fmla="*/ 224389 h 820230"/>
                  <a:gd name="connsiteX44" fmla="*/ 2639056 w 2708532"/>
                  <a:gd name="connsiteY44" fmla="*/ 223507 h 820230"/>
                  <a:gd name="connsiteX45" fmla="*/ 2633501 w 2708532"/>
                  <a:gd name="connsiteY45" fmla="*/ 222978 h 820230"/>
                  <a:gd name="connsiteX46" fmla="*/ 2631474 w 2708532"/>
                  <a:gd name="connsiteY46" fmla="*/ 222625 h 820230"/>
                  <a:gd name="connsiteX47" fmla="*/ 2630592 w 2708532"/>
                  <a:gd name="connsiteY47" fmla="*/ 220862 h 820230"/>
                  <a:gd name="connsiteX48" fmla="*/ 2627418 w 2708532"/>
                  <a:gd name="connsiteY48" fmla="*/ 220245 h 820230"/>
                  <a:gd name="connsiteX49" fmla="*/ 2621334 w 2708532"/>
                  <a:gd name="connsiteY49" fmla="*/ 219980 h 820230"/>
                  <a:gd name="connsiteX50" fmla="*/ 2620805 w 2708532"/>
                  <a:gd name="connsiteY50" fmla="*/ 220862 h 820230"/>
                  <a:gd name="connsiteX51" fmla="*/ 2618777 w 2708532"/>
                  <a:gd name="connsiteY51" fmla="*/ 219098 h 820230"/>
                  <a:gd name="connsiteX52" fmla="*/ 2614722 w 2708532"/>
                  <a:gd name="connsiteY52" fmla="*/ 219716 h 820230"/>
                  <a:gd name="connsiteX53" fmla="*/ 2612341 w 2708532"/>
                  <a:gd name="connsiteY53" fmla="*/ 222361 h 820230"/>
                  <a:gd name="connsiteX54" fmla="*/ 2608814 w 2708532"/>
                  <a:gd name="connsiteY54" fmla="*/ 221215 h 820230"/>
                  <a:gd name="connsiteX55" fmla="*/ 2606434 w 2708532"/>
                  <a:gd name="connsiteY55" fmla="*/ 219716 h 820230"/>
                  <a:gd name="connsiteX56" fmla="*/ 2603524 w 2708532"/>
                  <a:gd name="connsiteY56" fmla="*/ 219716 h 820230"/>
                  <a:gd name="connsiteX57" fmla="*/ 2600615 w 2708532"/>
                  <a:gd name="connsiteY57" fmla="*/ 220597 h 820230"/>
                  <a:gd name="connsiteX58" fmla="*/ 2600350 w 2708532"/>
                  <a:gd name="connsiteY58" fmla="*/ 217952 h 820230"/>
                  <a:gd name="connsiteX59" fmla="*/ 2598322 w 2708532"/>
                  <a:gd name="connsiteY59" fmla="*/ 217952 h 820230"/>
                  <a:gd name="connsiteX60" fmla="*/ 2596030 w 2708532"/>
                  <a:gd name="connsiteY60" fmla="*/ 218569 h 820230"/>
                  <a:gd name="connsiteX61" fmla="*/ 2591974 w 2708532"/>
                  <a:gd name="connsiteY61" fmla="*/ 217423 h 820230"/>
                  <a:gd name="connsiteX62" fmla="*/ 2589594 w 2708532"/>
                  <a:gd name="connsiteY62" fmla="*/ 216542 h 820230"/>
                  <a:gd name="connsiteX63" fmla="*/ 2587301 w 2708532"/>
                  <a:gd name="connsiteY63" fmla="*/ 215660 h 820230"/>
                  <a:gd name="connsiteX64" fmla="*/ 2585803 w 2708532"/>
                  <a:gd name="connsiteY64" fmla="*/ 215131 h 820230"/>
                  <a:gd name="connsiteX65" fmla="*/ 2582893 w 2708532"/>
                  <a:gd name="connsiteY65" fmla="*/ 215660 h 820230"/>
                  <a:gd name="connsiteX66" fmla="*/ 2585274 w 2708532"/>
                  <a:gd name="connsiteY66" fmla="*/ 217423 h 820230"/>
                  <a:gd name="connsiteX67" fmla="*/ 2587037 w 2708532"/>
                  <a:gd name="connsiteY67" fmla="*/ 218305 h 820230"/>
                  <a:gd name="connsiteX68" fmla="*/ 2588183 w 2708532"/>
                  <a:gd name="connsiteY68" fmla="*/ 220068 h 820230"/>
                  <a:gd name="connsiteX69" fmla="*/ 2587919 w 2708532"/>
                  <a:gd name="connsiteY69" fmla="*/ 219187 h 820230"/>
                  <a:gd name="connsiteX70" fmla="*/ 2589065 w 2708532"/>
                  <a:gd name="connsiteY70" fmla="*/ 221832 h 820230"/>
                  <a:gd name="connsiteX71" fmla="*/ 2591092 w 2708532"/>
                  <a:gd name="connsiteY71" fmla="*/ 222096 h 820230"/>
                  <a:gd name="connsiteX72" fmla="*/ 2593385 w 2708532"/>
                  <a:gd name="connsiteY72" fmla="*/ 221479 h 820230"/>
                  <a:gd name="connsiteX73" fmla="*/ 2594002 w 2708532"/>
                  <a:gd name="connsiteY73" fmla="*/ 221215 h 820230"/>
                  <a:gd name="connsiteX74" fmla="*/ 2594266 w 2708532"/>
                  <a:gd name="connsiteY74" fmla="*/ 222096 h 820230"/>
                  <a:gd name="connsiteX75" fmla="*/ 2596912 w 2708532"/>
                  <a:gd name="connsiteY75" fmla="*/ 222978 h 820230"/>
                  <a:gd name="connsiteX76" fmla="*/ 2598675 w 2708532"/>
                  <a:gd name="connsiteY76" fmla="*/ 225623 h 820230"/>
                  <a:gd name="connsiteX77" fmla="*/ 2599292 w 2708532"/>
                  <a:gd name="connsiteY77" fmla="*/ 226769 h 820230"/>
                  <a:gd name="connsiteX78" fmla="*/ 2600791 w 2708532"/>
                  <a:gd name="connsiteY78" fmla="*/ 227386 h 820230"/>
                  <a:gd name="connsiteX79" fmla="*/ 2603083 w 2708532"/>
                  <a:gd name="connsiteY79" fmla="*/ 227915 h 820230"/>
                  <a:gd name="connsiteX80" fmla="*/ 2603700 w 2708532"/>
                  <a:gd name="connsiteY80" fmla="*/ 230208 h 820230"/>
                  <a:gd name="connsiteX81" fmla="*/ 2602554 w 2708532"/>
                  <a:gd name="connsiteY81" fmla="*/ 231706 h 820230"/>
                  <a:gd name="connsiteX82" fmla="*/ 2600527 w 2708532"/>
                  <a:gd name="connsiteY82" fmla="*/ 231442 h 820230"/>
                  <a:gd name="connsiteX83" fmla="*/ 2599380 w 2708532"/>
                  <a:gd name="connsiteY83" fmla="*/ 231178 h 820230"/>
                  <a:gd name="connsiteX84" fmla="*/ 2597617 w 2708532"/>
                  <a:gd name="connsiteY84" fmla="*/ 229414 h 820230"/>
                  <a:gd name="connsiteX85" fmla="*/ 2595854 w 2708532"/>
                  <a:gd name="connsiteY85" fmla="*/ 230913 h 820230"/>
                  <a:gd name="connsiteX86" fmla="*/ 2594090 w 2708532"/>
                  <a:gd name="connsiteY86" fmla="*/ 229150 h 820230"/>
                  <a:gd name="connsiteX87" fmla="*/ 2593473 w 2708532"/>
                  <a:gd name="connsiteY87" fmla="*/ 226769 h 820230"/>
                  <a:gd name="connsiteX88" fmla="*/ 2590299 w 2708532"/>
                  <a:gd name="connsiteY88" fmla="*/ 226152 h 820230"/>
                  <a:gd name="connsiteX89" fmla="*/ 2586243 w 2708532"/>
                  <a:gd name="connsiteY89" fmla="*/ 225887 h 820230"/>
                  <a:gd name="connsiteX90" fmla="*/ 2585626 w 2708532"/>
                  <a:gd name="connsiteY90" fmla="*/ 221479 h 820230"/>
                  <a:gd name="connsiteX91" fmla="*/ 2583598 w 2708532"/>
                  <a:gd name="connsiteY91" fmla="*/ 221479 h 820230"/>
                  <a:gd name="connsiteX92" fmla="*/ 2580953 w 2708532"/>
                  <a:gd name="connsiteY92" fmla="*/ 220862 h 820230"/>
                  <a:gd name="connsiteX93" fmla="*/ 2578661 w 2708532"/>
                  <a:gd name="connsiteY93" fmla="*/ 219363 h 820230"/>
                  <a:gd name="connsiteX94" fmla="*/ 2576368 w 2708532"/>
                  <a:gd name="connsiteY94" fmla="*/ 217864 h 820230"/>
                  <a:gd name="connsiteX95" fmla="*/ 2575222 w 2708532"/>
                  <a:gd name="connsiteY95" fmla="*/ 214690 h 820230"/>
                  <a:gd name="connsiteX96" fmla="*/ 2572930 w 2708532"/>
                  <a:gd name="connsiteY96" fmla="*/ 214426 h 820230"/>
                  <a:gd name="connsiteX97" fmla="*/ 2567375 w 2708532"/>
                  <a:gd name="connsiteY97" fmla="*/ 213808 h 820230"/>
                  <a:gd name="connsiteX98" fmla="*/ 2561820 w 2708532"/>
                  <a:gd name="connsiteY98" fmla="*/ 212045 h 820230"/>
                  <a:gd name="connsiteX99" fmla="*/ 2546303 w 2708532"/>
                  <a:gd name="connsiteY99" fmla="*/ 204198 h 820230"/>
                  <a:gd name="connsiteX100" fmla="*/ 2538720 w 2708532"/>
                  <a:gd name="connsiteY100" fmla="*/ 204198 h 820230"/>
                  <a:gd name="connsiteX101" fmla="*/ 2536957 w 2708532"/>
                  <a:gd name="connsiteY101" fmla="*/ 202435 h 820230"/>
                  <a:gd name="connsiteX102" fmla="*/ 2535194 w 2708532"/>
                  <a:gd name="connsiteY102" fmla="*/ 203581 h 820230"/>
                  <a:gd name="connsiteX103" fmla="*/ 2527611 w 2708532"/>
                  <a:gd name="connsiteY103" fmla="*/ 202964 h 820230"/>
                  <a:gd name="connsiteX104" fmla="*/ 2525583 w 2708532"/>
                  <a:gd name="connsiteY104" fmla="*/ 201465 h 820230"/>
                  <a:gd name="connsiteX105" fmla="*/ 2524702 w 2708532"/>
                  <a:gd name="connsiteY105" fmla="*/ 201465 h 820230"/>
                  <a:gd name="connsiteX106" fmla="*/ 2523556 w 2708532"/>
                  <a:gd name="connsiteY106" fmla="*/ 197938 h 820230"/>
                  <a:gd name="connsiteX107" fmla="*/ 2522938 w 2708532"/>
                  <a:gd name="connsiteY107" fmla="*/ 199437 h 820230"/>
                  <a:gd name="connsiteX108" fmla="*/ 2520029 w 2708532"/>
                  <a:gd name="connsiteY108" fmla="*/ 200054 h 820230"/>
                  <a:gd name="connsiteX109" fmla="*/ 2519147 w 2708532"/>
                  <a:gd name="connsiteY109" fmla="*/ 198555 h 820230"/>
                  <a:gd name="connsiteX110" fmla="*/ 2518530 w 2708532"/>
                  <a:gd name="connsiteY110" fmla="*/ 196527 h 820230"/>
                  <a:gd name="connsiteX111" fmla="*/ 2516149 w 2708532"/>
                  <a:gd name="connsiteY111" fmla="*/ 196792 h 820230"/>
                  <a:gd name="connsiteX112" fmla="*/ 2512094 w 2708532"/>
                  <a:gd name="connsiteY112" fmla="*/ 194499 h 820230"/>
                  <a:gd name="connsiteX113" fmla="*/ 2507773 w 2708532"/>
                  <a:gd name="connsiteY113" fmla="*/ 195381 h 820230"/>
                  <a:gd name="connsiteX114" fmla="*/ 2502483 w 2708532"/>
                  <a:gd name="connsiteY114" fmla="*/ 195117 h 820230"/>
                  <a:gd name="connsiteX115" fmla="*/ 2500720 w 2708532"/>
                  <a:gd name="connsiteY115" fmla="*/ 193353 h 820230"/>
                  <a:gd name="connsiteX116" fmla="*/ 2498692 w 2708532"/>
                  <a:gd name="connsiteY116" fmla="*/ 191854 h 820230"/>
                  <a:gd name="connsiteX117" fmla="*/ 2494901 w 2708532"/>
                  <a:gd name="connsiteY117" fmla="*/ 190708 h 820230"/>
                  <a:gd name="connsiteX118" fmla="*/ 2492609 w 2708532"/>
                  <a:gd name="connsiteY118" fmla="*/ 189827 h 820230"/>
                  <a:gd name="connsiteX119" fmla="*/ 2492873 w 2708532"/>
                  <a:gd name="connsiteY119" fmla="*/ 189209 h 820230"/>
                  <a:gd name="connsiteX120" fmla="*/ 2488464 w 2708532"/>
                  <a:gd name="connsiteY120" fmla="*/ 188504 h 820230"/>
                  <a:gd name="connsiteX121" fmla="*/ 2486437 w 2708532"/>
                  <a:gd name="connsiteY121" fmla="*/ 189209 h 820230"/>
                  <a:gd name="connsiteX122" fmla="*/ 2481764 w 2708532"/>
                  <a:gd name="connsiteY122" fmla="*/ 189209 h 820230"/>
                  <a:gd name="connsiteX123" fmla="*/ 2472682 w 2708532"/>
                  <a:gd name="connsiteY123" fmla="*/ 188063 h 820230"/>
                  <a:gd name="connsiteX124" fmla="*/ 2472418 w 2708532"/>
                  <a:gd name="connsiteY124" fmla="*/ 186300 h 820230"/>
                  <a:gd name="connsiteX125" fmla="*/ 2472418 w 2708532"/>
                  <a:gd name="connsiteY125" fmla="*/ 185683 h 820230"/>
                  <a:gd name="connsiteX126" fmla="*/ 2465717 w 2708532"/>
                  <a:gd name="connsiteY126" fmla="*/ 185065 h 820230"/>
                  <a:gd name="connsiteX127" fmla="*/ 2464571 w 2708532"/>
                  <a:gd name="connsiteY127" fmla="*/ 183567 h 820230"/>
                  <a:gd name="connsiteX128" fmla="*/ 2458752 w 2708532"/>
                  <a:gd name="connsiteY128" fmla="*/ 181803 h 820230"/>
                  <a:gd name="connsiteX129" fmla="*/ 2454960 w 2708532"/>
                  <a:gd name="connsiteY129" fmla="*/ 179158 h 820230"/>
                  <a:gd name="connsiteX130" fmla="*/ 2451434 w 2708532"/>
                  <a:gd name="connsiteY130" fmla="*/ 180304 h 820230"/>
                  <a:gd name="connsiteX131" fmla="*/ 2443587 w 2708532"/>
                  <a:gd name="connsiteY131" fmla="*/ 177395 h 820230"/>
                  <a:gd name="connsiteX132" fmla="*/ 2442970 w 2708532"/>
                  <a:gd name="connsiteY132" fmla="*/ 178894 h 820230"/>
                  <a:gd name="connsiteX133" fmla="*/ 2438032 w 2708532"/>
                  <a:gd name="connsiteY133" fmla="*/ 176866 h 820230"/>
                  <a:gd name="connsiteX134" fmla="*/ 2432213 w 2708532"/>
                  <a:gd name="connsiteY134" fmla="*/ 174838 h 820230"/>
                  <a:gd name="connsiteX135" fmla="*/ 2424366 w 2708532"/>
                  <a:gd name="connsiteY135" fmla="*/ 175720 h 820230"/>
                  <a:gd name="connsiteX136" fmla="*/ 2423484 w 2708532"/>
                  <a:gd name="connsiteY136" fmla="*/ 174221 h 820230"/>
                  <a:gd name="connsiteX137" fmla="*/ 2424366 w 2708532"/>
                  <a:gd name="connsiteY137" fmla="*/ 172810 h 820230"/>
                  <a:gd name="connsiteX138" fmla="*/ 2420310 w 2708532"/>
                  <a:gd name="connsiteY138" fmla="*/ 173956 h 820230"/>
                  <a:gd name="connsiteX139" fmla="*/ 2420310 w 2708532"/>
                  <a:gd name="connsiteY139" fmla="*/ 172193 h 820230"/>
                  <a:gd name="connsiteX140" fmla="*/ 2416519 w 2708532"/>
                  <a:gd name="connsiteY140" fmla="*/ 171047 h 820230"/>
                  <a:gd name="connsiteX141" fmla="*/ 2410965 w 2708532"/>
                  <a:gd name="connsiteY141" fmla="*/ 170430 h 820230"/>
                  <a:gd name="connsiteX142" fmla="*/ 2401090 w 2708532"/>
                  <a:gd name="connsiteY142" fmla="*/ 168137 h 820230"/>
                  <a:gd name="connsiteX143" fmla="*/ 2397299 w 2708532"/>
                  <a:gd name="connsiteY143" fmla="*/ 167255 h 820230"/>
                  <a:gd name="connsiteX144" fmla="*/ 2393507 w 2708532"/>
                  <a:gd name="connsiteY144" fmla="*/ 166109 h 820230"/>
                  <a:gd name="connsiteX145" fmla="*/ 2384779 w 2708532"/>
                  <a:gd name="connsiteY145" fmla="*/ 166109 h 820230"/>
                  <a:gd name="connsiteX146" fmla="*/ 2376050 w 2708532"/>
                  <a:gd name="connsiteY146" fmla="*/ 164699 h 820230"/>
                  <a:gd name="connsiteX147" fmla="*/ 2369085 w 2708532"/>
                  <a:gd name="connsiteY147" fmla="*/ 167873 h 820230"/>
                  <a:gd name="connsiteX148" fmla="*/ 2368467 w 2708532"/>
                  <a:gd name="connsiteY148" fmla="*/ 165580 h 820230"/>
                  <a:gd name="connsiteX149" fmla="*/ 2375433 w 2708532"/>
                  <a:gd name="connsiteY149" fmla="*/ 163200 h 820230"/>
                  <a:gd name="connsiteX150" fmla="*/ 2366969 w 2708532"/>
                  <a:gd name="connsiteY150" fmla="*/ 160907 h 820230"/>
                  <a:gd name="connsiteX151" fmla="*/ 2363177 w 2708532"/>
                  <a:gd name="connsiteY151" fmla="*/ 162671 h 820230"/>
                  <a:gd name="connsiteX152" fmla="*/ 2360797 w 2708532"/>
                  <a:gd name="connsiteY152" fmla="*/ 162671 h 820230"/>
                  <a:gd name="connsiteX153" fmla="*/ 2357358 w 2708532"/>
                  <a:gd name="connsiteY153" fmla="*/ 160026 h 820230"/>
                  <a:gd name="connsiteX154" fmla="*/ 2355330 w 2708532"/>
                  <a:gd name="connsiteY154" fmla="*/ 160290 h 820230"/>
                  <a:gd name="connsiteX155" fmla="*/ 2351274 w 2708532"/>
                  <a:gd name="connsiteY155" fmla="*/ 159673 h 820230"/>
                  <a:gd name="connsiteX156" fmla="*/ 2347748 w 2708532"/>
                  <a:gd name="connsiteY156" fmla="*/ 159408 h 820230"/>
                  <a:gd name="connsiteX157" fmla="*/ 2343075 w 2708532"/>
                  <a:gd name="connsiteY157" fmla="*/ 159673 h 820230"/>
                  <a:gd name="connsiteX158" fmla="*/ 2340782 w 2708532"/>
                  <a:gd name="connsiteY158" fmla="*/ 158174 h 820230"/>
                  <a:gd name="connsiteX159" fmla="*/ 2340518 w 2708532"/>
                  <a:gd name="connsiteY159" fmla="*/ 156411 h 820230"/>
                  <a:gd name="connsiteX160" fmla="*/ 2337873 w 2708532"/>
                  <a:gd name="connsiteY160" fmla="*/ 157028 h 820230"/>
                  <a:gd name="connsiteX161" fmla="*/ 2335845 w 2708532"/>
                  <a:gd name="connsiteY161" fmla="*/ 156411 h 820230"/>
                  <a:gd name="connsiteX162" fmla="*/ 2334346 w 2708532"/>
                  <a:gd name="connsiteY162" fmla="*/ 159056 h 820230"/>
                  <a:gd name="connsiteX163" fmla="*/ 2332318 w 2708532"/>
                  <a:gd name="connsiteY163" fmla="*/ 161701 h 820230"/>
                  <a:gd name="connsiteX164" fmla="*/ 2332318 w 2708532"/>
                  <a:gd name="connsiteY164" fmla="*/ 168137 h 820230"/>
                  <a:gd name="connsiteX165" fmla="*/ 2328527 w 2708532"/>
                  <a:gd name="connsiteY165" fmla="*/ 164346 h 820230"/>
                  <a:gd name="connsiteX166" fmla="*/ 2329674 w 2708532"/>
                  <a:gd name="connsiteY166" fmla="*/ 170782 h 820230"/>
                  <a:gd name="connsiteX167" fmla="*/ 2327910 w 2708532"/>
                  <a:gd name="connsiteY167" fmla="*/ 171399 h 820230"/>
                  <a:gd name="connsiteX168" fmla="*/ 2326411 w 2708532"/>
                  <a:gd name="connsiteY168" fmla="*/ 172898 h 820230"/>
                  <a:gd name="connsiteX169" fmla="*/ 2327028 w 2708532"/>
                  <a:gd name="connsiteY169" fmla="*/ 175543 h 820230"/>
                  <a:gd name="connsiteX170" fmla="*/ 2327028 w 2708532"/>
                  <a:gd name="connsiteY170" fmla="*/ 178188 h 820230"/>
                  <a:gd name="connsiteX171" fmla="*/ 2331172 w 2708532"/>
                  <a:gd name="connsiteY171" fmla="*/ 181980 h 820230"/>
                  <a:gd name="connsiteX172" fmla="*/ 2327910 w 2708532"/>
                  <a:gd name="connsiteY172" fmla="*/ 182244 h 820230"/>
                  <a:gd name="connsiteX173" fmla="*/ 2323854 w 2708532"/>
                  <a:gd name="connsiteY173" fmla="*/ 179070 h 820230"/>
                  <a:gd name="connsiteX174" fmla="*/ 2323854 w 2708532"/>
                  <a:gd name="connsiteY174" fmla="*/ 175896 h 820230"/>
                  <a:gd name="connsiteX175" fmla="*/ 2323854 w 2708532"/>
                  <a:gd name="connsiteY175" fmla="*/ 164787 h 820230"/>
                  <a:gd name="connsiteX176" fmla="*/ 2322444 w 2708532"/>
                  <a:gd name="connsiteY176" fmla="*/ 160995 h 820230"/>
                  <a:gd name="connsiteX177" fmla="*/ 2318035 w 2708532"/>
                  <a:gd name="connsiteY177" fmla="*/ 158086 h 820230"/>
                  <a:gd name="connsiteX178" fmla="*/ 2315390 w 2708532"/>
                  <a:gd name="connsiteY178" fmla="*/ 159585 h 820230"/>
                  <a:gd name="connsiteX179" fmla="*/ 2313098 w 2708532"/>
                  <a:gd name="connsiteY179" fmla="*/ 160202 h 820230"/>
                  <a:gd name="connsiteX180" fmla="*/ 2309571 w 2708532"/>
                  <a:gd name="connsiteY180" fmla="*/ 159320 h 820230"/>
                  <a:gd name="connsiteX181" fmla="*/ 2306044 w 2708532"/>
                  <a:gd name="connsiteY181" fmla="*/ 157028 h 820230"/>
                  <a:gd name="connsiteX182" fmla="*/ 2300225 w 2708532"/>
                  <a:gd name="connsiteY182" fmla="*/ 157292 h 820230"/>
                  <a:gd name="connsiteX183" fmla="*/ 2297580 w 2708532"/>
                  <a:gd name="connsiteY183" fmla="*/ 155794 h 820230"/>
                  <a:gd name="connsiteX184" fmla="*/ 2295552 w 2708532"/>
                  <a:gd name="connsiteY184" fmla="*/ 157557 h 820230"/>
                  <a:gd name="connsiteX185" fmla="*/ 2289469 w 2708532"/>
                  <a:gd name="connsiteY185" fmla="*/ 157557 h 820230"/>
                  <a:gd name="connsiteX186" fmla="*/ 2291143 w 2708532"/>
                  <a:gd name="connsiteY186" fmla="*/ 157821 h 820230"/>
                  <a:gd name="connsiteX187" fmla="*/ 2288852 w 2708532"/>
                  <a:gd name="connsiteY187" fmla="*/ 157557 h 820230"/>
                  <a:gd name="connsiteX188" fmla="*/ 2289556 w 2708532"/>
                  <a:gd name="connsiteY188" fmla="*/ 157557 h 820230"/>
                  <a:gd name="connsiteX189" fmla="*/ 2284531 w 2708532"/>
                  <a:gd name="connsiteY189" fmla="*/ 156675 h 820230"/>
                  <a:gd name="connsiteX190" fmla="*/ 2280475 w 2708532"/>
                  <a:gd name="connsiteY190" fmla="*/ 156675 h 820230"/>
                  <a:gd name="connsiteX191" fmla="*/ 2278712 w 2708532"/>
                  <a:gd name="connsiteY191" fmla="*/ 153766 h 820230"/>
                  <a:gd name="connsiteX192" fmla="*/ 2275802 w 2708532"/>
                  <a:gd name="connsiteY192" fmla="*/ 156146 h 820230"/>
                  <a:gd name="connsiteX193" fmla="*/ 2273157 w 2708532"/>
                  <a:gd name="connsiteY193" fmla="*/ 156146 h 820230"/>
                  <a:gd name="connsiteX194" fmla="*/ 2271394 w 2708532"/>
                  <a:gd name="connsiteY194" fmla="*/ 152090 h 820230"/>
                  <a:gd name="connsiteX195" fmla="*/ 2267250 w 2708532"/>
                  <a:gd name="connsiteY195" fmla="*/ 154118 h 820230"/>
                  <a:gd name="connsiteX196" fmla="*/ 2261167 w 2708532"/>
                  <a:gd name="connsiteY196" fmla="*/ 154383 h 820230"/>
                  <a:gd name="connsiteX197" fmla="*/ 2256493 w 2708532"/>
                  <a:gd name="connsiteY197" fmla="*/ 153501 h 820230"/>
                  <a:gd name="connsiteX198" fmla="*/ 2253848 w 2708532"/>
                  <a:gd name="connsiteY198" fmla="*/ 153501 h 820230"/>
                  <a:gd name="connsiteX199" fmla="*/ 2249793 w 2708532"/>
                  <a:gd name="connsiteY199" fmla="*/ 153237 h 820230"/>
                  <a:gd name="connsiteX200" fmla="*/ 2249793 w 2708532"/>
                  <a:gd name="connsiteY200" fmla="*/ 155882 h 820230"/>
                  <a:gd name="connsiteX201" fmla="*/ 2252173 w 2708532"/>
                  <a:gd name="connsiteY201" fmla="*/ 157645 h 820230"/>
                  <a:gd name="connsiteX202" fmla="*/ 2251909 w 2708532"/>
                  <a:gd name="connsiteY202" fmla="*/ 158791 h 820230"/>
                  <a:gd name="connsiteX203" fmla="*/ 2253319 w 2708532"/>
                  <a:gd name="connsiteY203" fmla="*/ 160290 h 820230"/>
                  <a:gd name="connsiteX204" fmla="*/ 2256846 w 2708532"/>
                  <a:gd name="connsiteY204" fmla="*/ 159144 h 820230"/>
                  <a:gd name="connsiteX205" fmla="*/ 2257111 w 2708532"/>
                  <a:gd name="connsiteY205" fmla="*/ 161524 h 820230"/>
                  <a:gd name="connsiteX206" fmla="*/ 2257728 w 2708532"/>
                  <a:gd name="connsiteY206" fmla="*/ 162671 h 820230"/>
                  <a:gd name="connsiteX207" fmla="*/ 2258345 w 2708532"/>
                  <a:gd name="connsiteY207" fmla="*/ 166726 h 820230"/>
                  <a:gd name="connsiteX208" fmla="*/ 2261519 w 2708532"/>
                  <a:gd name="connsiteY208" fmla="*/ 165580 h 820230"/>
                  <a:gd name="connsiteX209" fmla="*/ 2265310 w 2708532"/>
                  <a:gd name="connsiteY209" fmla="*/ 166197 h 820230"/>
                  <a:gd name="connsiteX210" fmla="*/ 2269101 w 2708532"/>
                  <a:gd name="connsiteY210" fmla="*/ 168225 h 820230"/>
                  <a:gd name="connsiteX211" fmla="*/ 2271747 w 2708532"/>
                  <a:gd name="connsiteY211" fmla="*/ 168842 h 820230"/>
                  <a:gd name="connsiteX212" fmla="*/ 2274656 w 2708532"/>
                  <a:gd name="connsiteY212" fmla="*/ 170606 h 820230"/>
                  <a:gd name="connsiteX213" fmla="*/ 2280211 w 2708532"/>
                  <a:gd name="connsiteY213" fmla="*/ 172898 h 820230"/>
                  <a:gd name="connsiteX214" fmla="*/ 2284884 w 2708532"/>
                  <a:gd name="connsiteY214" fmla="*/ 177307 h 820230"/>
                  <a:gd name="connsiteX215" fmla="*/ 2286383 w 2708532"/>
                  <a:gd name="connsiteY215" fmla="*/ 180216 h 820230"/>
                  <a:gd name="connsiteX216" fmla="*/ 2281445 w 2708532"/>
                  <a:gd name="connsiteY216" fmla="*/ 179687 h 820230"/>
                  <a:gd name="connsiteX217" fmla="*/ 2274127 w 2708532"/>
                  <a:gd name="connsiteY217" fmla="*/ 180216 h 820230"/>
                  <a:gd name="connsiteX218" fmla="*/ 2268308 w 2708532"/>
                  <a:gd name="connsiteY218" fmla="*/ 178188 h 820230"/>
                  <a:gd name="connsiteX219" fmla="*/ 2265398 w 2708532"/>
                  <a:gd name="connsiteY219" fmla="*/ 176160 h 820230"/>
                  <a:gd name="connsiteX220" fmla="*/ 2264517 w 2708532"/>
                  <a:gd name="connsiteY220" fmla="*/ 175014 h 820230"/>
                  <a:gd name="connsiteX221" fmla="*/ 2255788 w 2708532"/>
                  <a:gd name="connsiteY221" fmla="*/ 176513 h 820230"/>
                  <a:gd name="connsiteX222" fmla="*/ 2254906 w 2708532"/>
                  <a:gd name="connsiteY222" fmla="*/ 173868 h 820230"/>
                  <a:gd name="connsiteX223" fmla="*/ 2254377 w 2708532"/>
                  <a:gd name="connsiteY223" fmla="*/ 172369 h 820230"/>
                  <a:gd name="connsiteX224" fmla="*/ 2246530 w 2708532"/>
                  <a:gd name="connsiteY224" fmla="*/ 171752 h 820230"/>
                  <a:gd name="connsiteX225" fmla="*/ 2235157 w 2708532"/>
                  <a:gd name="connsiteY225" fmla="*/ 173251 h 820230"/>
                  <a:gd name="connsiteX226" fmla="*/ 2234628 w 2708532"/>
                  <a:gd name="connsiteY226" fmla="*/ 171223 h 820230"/>
                  <a:gd name="connsiteX227" fmla="*/ 2234628 w 2708532"/>
                  <a:gd name="connsiteY227" fmla="*/ 169724 h 820230"/>
                  <a:gd name="connsiteX228" fmla="*/ 2233482 w 2708532"/>
                  <a:gd name="connsiteY228" fmla="*/ 168578 h 820230"/>
                  <a:gd name="connsiteX229" fmla="*/ 2227927 w 2708532"/>
                  <a:gd name="connsiteY229" fmla="*/ 169989 h 820230"/>
                  <a:gd name="connsiteX230" fmla="*/ 2225899 w 2708532"/>
                  <a:gd name="connsiteY230" fmla="*/ 169724 h 820230"/>
                  <a:gd name="connsiteX231" fmla="*/ 2220433 w 2708532"/>
                  <a:gd name="connsiteY231" fmla="*/ 169724 h 820230"/>
                  <a:gd name="connsiteX232" fmla="*/ 2216024 w 2708532"/>
                  <a:gd name="connsiteY232" fmla="*/ 169460 h 820230"/>
                  <a:gd name="connsiteX233" fmla="*/ 2214261 w 2708532"/>
                  <a:gd name="connsiteY233" fmla="*/ 169195 h 820230"/>
                  <a:gd name="connsiteX234" fmla="*/ 2209852 w 2708532"/>
                  <a:gd name="connsiteY234" fmla="*/ 168313 h 820230"/>
                  <a:gd name="connsiteX235" fmla="*/ 2206326 w 2708532"/>
                  <a:gd name="connsiteY235" fmla="*/ 171576 h 820230"/>
                  <a:gd name="connsiteX236" fmla="*/ 2210734 w 2708532"/>
                  <a:gd name="connsiteY236" fmla="*/ 166903 h 820230"/>
                  <a:gd name="connsiteX237" fmla="*/ 2211351 w 2708532"/>
                  <a:gd name="connsiteY237" fmla="*/ 166021 h 820230"/>
                  <a:gd name="connsiteX238" fmla="*/ 2207296 w 2708532"/>
                  <a:gd name="connsiteY238" fmla="*/ 166550 h 820230"/>
                  <a:gd name="connsiteX239" fmla="*/ 2205003 w 2708532"/>
                  <a:gd name="connsiteY239" fmla="*/ 166550 h 820230"/>
                  <a:gd name="connsiteX240" fmla="*/ 2204121 w 2708532"/>
                  <a:gd name="connsiteY240" fmla="*/ 164787 h 820230"/>
                  <a:gd name="connsiteX241" fmla="*/ 2203240 w 2708532"/>
                  <a:gd name="connsiteY241" fmla="*/ 165404 h 820230"/>
                  <a:gd name="connsiteX242" fmla="*/ 2202358 w 2708532"/>
                  <a:gd name="connsiteY242" fmla="*/ 166550 h 820230"/>
                  <a:gd name="connsiteX243" fmla="*/ 2201829 w 2708532"/>
                  <a:gd name="connsiteY243" fmla="*/ 166286 h 820230"/>
                  <a:gd name="connsiteX244" fmla="*/ 2200066 w 2708532"/>
                  <a:gd name="connsiteY244" fmla="*/ 168313 h 820230"/>
                  <a:gd name="connsiteX245" fmla="*/ 2200330 w 2708532"/>
                  <a:gd name="connsiteY245" fmla="*/ 172105 h 820230"/>
                  <a:gd name="connsiteX246" fmla="*/ 2202358 w 2708532"/>
                  <a:gd name="connsiteY246" fmla="*/ 174750 h 820230"/>
                  <a:gd name="connsiteX247" fmla="*/ 2199449 w 2708532"/>
                  <a:gd name="connsiteY247" fmla="*/ 174485 h 820230"/>
                  <a:gd name="connsiteX248" fmla="*/ 2197156 w 2708532"/>
                  <a:gd name="connsiteY248" fmla="*/ 175102 h 820230"/>
                  <a:gd name="connsiteX249" fmla="*/ 2194864 w 2708532"/>
                  <a:gd name="connsiteY249" fmla="*/ 173604 h 820230"/>
                  <a:gd name="connsiteX250" fmla="*/ 2194864 w 2708532"/>
                  <a:gd name="connsiteY250" fmla="*/ 170077 h 820230"/>
                  <a:gd name="connsiteX251" fmla="*/ 2193100 w 2708532"/>
                  <a:gd name="connsiteY251" fmla="*/ 170077 h 820230"/>
                  <a:gd name="connsiteX252" fmla="*/ 2193629 w 2708532"/>
                  <a:gd name="connsiteY252" fmla="*/ 166550 h 820230"/>
                  <a:gd name="connsiteX253" fmla="*/ 2194864 w 2708532"/>
                  <a:gd name="connsiteY253" fmla="*/ 164522 h 820230"/>
                  <a:gd name="connsiteX254" fmla="*/ 2194600 w 2708532"/>
                  <a:gd name="connsiteY254" fmla="*/ 163376 h 820230"/>
                  <a:gd name="connsiteX255" fmla="*/ 2195128 w 2708532"/>
                  <a:gd name="connsiteY255" fmla="*/ 162759 h 820230"/>
                  <a:gd name="connsiteX256" fmla="*/ 2193365 w 2708532"/>
                  <a:gd name="connsiteY256" fmla="*/ 163640 h 820230"/>
                  <a:gd name="connsiteX257" fmla="*/ 2189838 w 2708532"/>
                  <a:gd name="connsiteY257" fmla="*/ 163640 h 820230"/>
                  <a:gd name="connsiteX258" fmla="*/ 2188075 w 2708532"/>
                  <a:gd name="connsiteY258" fmla="*/ 162759 h 820230"/>
                  <a:gd name="connsiteX259" fmla="*/ 2186312 w 2708532"/>
                  <a:gd name="connsiteY259" fmla="*/ 165404 h 820230"/>
                  <a:gd name="connsiteX260" fmla="*/ 2184548 w 2708532"/>
                  <a:gd name="connsiteY260" fmla="*/ 163376 h 820230"/>
                  <a:gd name="connsiteX261" fmla="*/ 2181374 w 2708532"/>
                  <a:gd name="connsiteY261" fmla="*/ 163112 h 820230"/>
                  <a:gd name="connsiteX262" fmla="*/ 2178465 w 2708532"/>
                  <a:gd name="connsiteY262" fmla="*/ 163376 h 820230"/>
                  <a:gd name="connsiteX263" fmla="*/ 2177583 w 2708532"/>
                  <a:gd name="connsiteY263" fmla="*/ 164522 h 820230"/>
                  <a:gd name="connsiteX264" fmla="*/ 2175026 w 2708532"/>
                  <a:gd name="connsiteY264" fmla="*/ 164787 h 820230"/>
                  <a:gd name="connsiteX265" fmla="*/ 2170970 w 2708532"/>
                  <a:gd name="connsiteY265" fmla="*/ 165668 h 820230"/>
                  <a:gd name="connsiteX266" fmla="*/ 2169736 w 2708532"/>
                  <a:gd name="connsiteY266" fmla="*/ 164522 h 820230"/>
                  <a:gd name="connsiteX267" fmla="*/ 2166826 w 2708532"/>
                  <a:gd name="connsiteY267" fmla="*/ 163023 h 820230"/>
                  <a:gd name="connsiteX268" fmla="*/ 2164181 w 2708532"/>
                  <a:gd name="connsiteY268" fmla="*/ 161524 h 820230"/>
                  <a:gd name="connsiteX269" fmla="*/ 2164181 w 2708532"/>
                  <a:gd name="connsiteY269" fmla="*/ 160643 h 820230"/>
                  <a:gd name="connsiteX270" fmla="*/ 2162418 w 2708532"/>
                  <a:gd name="connsiteY270" fmla="*/ 163023 h 820230"/>
                  <a:gd name="connsiteX271" fmla="*/ 2158891 w 2708532"/>
                  <a:gd name="connsiteY271" fmla="*/ 159849 h 820230"/>
                  <a:gd name="connsiteX272" fmla="*/ 2155629 w 2708532"/>
                  <a:gd name="connsiteY272" fmla="*/ 161348 h 820230"/>
                  <a:gd name="connsiteX273" fmla="*/ 2155364 w 2708532"/>
                  <a:gd name="connsiteY273" fmla="*/ 160731 h 820230"/>
                  <a:gd name="connsiteX274" fmla="*/ 2152720 w 2708532"/>
                  <a:gd name="connsiteY274" fmla="*/ 158968 h 820230"/>
                  <a:gd name="connsiteX275" fmla="*/ 2149810 w 2708532"/>
                  <a:gd name="connsiteY275" fmla="*/ 159232 h 820230"/>
                  <a:gd name="connsiteX276" fmla="*/ 2145137 w 2708532"/>
                  <a:gd name="connsiteY276" fmla="*/ 159497 h 820230"/>
                  <a:gd name="connsiteX277" fmla="*/ 2144255 w 2708532"/>
                  <a:gd name="connsiteY277" fmla="*/ 160114 h 820230"/>
                  <a:gd name="connsiteX278" fmla="*/ 2141610 w 2708532"/>
                  <a:gd name="connsiteY278" fmla="*/ 160995 h 820230"/>
                  <a:gd name="connsiteX279" fmla="*/ 2137819 w 2708532"/>
                  <a:gd name="connsiteY279" fmla="*/ 160466 h 820230"/>
                  <a:gd name="connsiteX280" fmla="*/ 2134292 w 2708532"/>
                  <a:gd name="connsiteY280" fmla="*/ 161877 h 820230"/>
                  <a:gd name="connsiteX281" fmla="*/ 2132529 w 2708532"/>
                  <a:gd name="connsiteY281" fmla="*/ 160466 h 820230"/>
                  <a:gd name="connsiteX282" fmla="*/ 2129619 w 2708532"/>
                  <a:gd name="connsiteY282" fmla="*/ 160995 h 820230"/>
                  <a:gd name="connsiteX283" fmla="*/ 2127591 w 2708532"/>
                  <a:gd name="connsiteY283" fmla="*/ 160466 h 820230"/>
                  <a:gd name="connsiteX284" fmla="*/ 2123183 w 2708532"/>
                  <a:gd name="connsiteY284" fmla="*/ 160995 h 820230"/>
                  <a:gd name="connsiteX285" fmla="*/ 2119656 w 2708532"/>
                  <a:gd name="connsiteY285" fmla="*/ 161613 h 820230"/>
                  <a:gd name="connsiteX286" fmla="*/ 2115865 w 2708532"/>
                  <a:gd name="connsiteY286" fmla="*/ 162759 h 820230"/>
                  <a:gd name="connsiteX287" fmla="*/ 2108547 w 2708532"/>
                  <a:gd name="connsiteY287" fmla="*/ 160731 h 820230"/>
                  <a:gd name="connsiteX288" fmla="*/ 2102111 w 2708532"/>
                  <a:gd name="connsiteY288" fmla="*/ 161877 h 820230"/>
                  <a:gd name="connsiteX289" fmla="*/ 2098319 w 2708532"/>
                  <a:gd name="connsiteY289" fmla="*/ 161348 h 820230"/>
                  <a:gd name="connsiteX290" fmla="*/ 2096909 w 2708532"/>
                  <a:gd name="connsiteY290" fmla="*/ 161613 h 820230"/>
                  <a:gd name="connsiteX291" fmla="*/ 2094264 w 2708532"/>
                  <a:gd name="connsiteY291" fmla="*/ 158968 h 820230"/>
                  <a:gd name="connsiteX292" fmla="*/ 2092765 w 2708532"/>
                  <a:gd name="connsiteY292" fmla="*/ 158703 h 820230"/>
                  <a:gd name="connsiteX293" fmla="*/ 2090120 w 2708532"/>
                  <a:gd name="connsiteY293" fmla="*/ 158086 h 820230"/>
                  <a:gd name="connsiteX294" fmla="*/ 2087739 w 2708532"/>
                  <a:gd name="connsiteY294" fmla="*/ 160995 h 820230"/>
                  <a:gd name="connsiteX295" fmla="*/ 2088356 w 2708532"/>
                  <a:gd name="connsiteY295" fmla="*/ 167696 h 820230"/>
                  <a:gd name="connsiteX296" fmla="*/ 2086064 w 2708532"/>
                  <a:gd name="connsiteY296" fmla="*/ 169460 h 820230"/>
                  <a:gd name="connsiteX297" fmla="*/ 2083772 w 2708532"/>
                  <a:gd name="connsiteY297" fmla="*/ 168842 h 820230"/>
                  <a:gd name="connsiteX298" fmla="*/ 2086064 w 2708532"/>
                  <a:gd name="connsiteY298" fmla="*/ 167079 h 820230"/>
                  <a:gd name="connsiteX299" fmla="*/ 2085535 w 2708532"/>
                  <a:gd name="connsiteY299" fmla="*/ 163905 h 820230"/>
                  <a:gd name="connsiteX300" fmla="*/ 2085799 w 2708532"/>
                  <a:gd name="connsiteY300" fmla="*/ 158615 h 820230"/>
                  <a:gd name="connsiteX301" fmla="*/ 2084653 w 2708532"/>
                  <a:gd name="connsiteY301" fmla="*/ 158615 h 820230"/>
                  <a:gd name="connsiteX302" fmla="*/ 2083772 w 2708532"/>
                  <a:gd name="connsiteY302" fmla="*/ 156852 h 820230"/>
                  <a:gd name="connsiteX303" fmla="*/ 2082008 w 2708532"/>
                  <a:gd name="connsiteY303" fmla="*/ 155353 h 820230"/>
                  <a:gd name="connsiteX304" fmla="*/ 2081127 w 2708532"/>
                  <a:gd name="connsiteY304" fmla="*/ 153060 h 820230"/>
                  <a:gd name="connsiteX305" fmla="*/ 2081127 w 2708532"/>
                  <a:gd name="connsiteY305" fmla="*/ 151561 h 820230"/>
                  <a:gd name="connsiteX306" fmla="*/ 2078217 w 2708532"/>
                  <a:gd name="connsiteY306" fmla="*/ 149798 h 820230"/>
                  <a:gd name="connsiteX307" fmla="*/ 2074690 w 2708532"/>
                  <a:gd name="connsiteY307" fmla="*/ 146889 h 820230"/>
                  <a:gd name="connsiteX308" fmla="*/ 2074690 w 2708532"/>
                  <a:gd name="connsiteY308" fmla="*/ 143979 h 820230"/>
                  <a:gd name="connsiteX309" fmla="*/ 2073191 w 2708532"/>
                  <a:gd name="connsiteY309" fmla="*/ 139923 h 820230"/>
                  <a:gd name="connsiteX310" fmla="*/ 2065609 w 2708532"/>
                  <a:gd name="connsiteY310" fmla="*/ 139306 h 820230"/>
                  <a:gd name="connsiteX311" fmla="*/ 2059172 w 2708532"/>
                  <a:gd name="connsiteY311" fmla="*/ 143362 h 820230"/>
                  <a:gd name="connsiteX312" fmla="*/ 2052736 w 2708532"/>
                  <a:gd name="connsiteY312" fmla="*/ 140717 h 820230"/>
                  <a:gd name="connsiteX313" fmla="*/ 2052384 w 2708532"/>
                  <a:gd name="connsiteY313" fmla="*/ 138072 h 820230"/>
                  <a:gd name="connsiteX314" fmla="*/ 2050091 w 2708532"/>
                  <a:gd name="connsiteY314" fmla="*/ 137807 h 820230"/>
                  <a:gd name="connsiteX315" fmla="*/ 2046300 w 2708532"/>
                  <a:gd name="connsiteY315" fmla="*/ 136661 h 820230"/>
                  <a:gd name="connsiteX316" fmla="*/ 2048328 w 2708532"/>
                  <a:gd name="connsiteY316" fmla="*/ 135515 h 820230"/>
                  <a:gd name="connsiteX317" fmla="*/ 2049827 w 2708532"/>
                  <a:gd name="connsiteY317" fmla="*/ 134369 h 820230"/>
                  <a:gd name="connsiteX318" fmla="*/ 2046035 w 2708532"/>
                  <a:gd name="connsiteY318" fmla="*/ 134104 h 820230"/>
                  <a:gd name="connsiteX319" fmla="*/ 2041627 w 2708532"/>
                  <a:gd name="connsiteY319" fmla="*/ 134369 h 820230"/>
                  <a:gd name="connsiteX320" fmla="*/ 2038453 w 2708532"/>
                  <a:gd name="connsiteY320" fmla="*/ 133751 h 820230"/>
                  <a:gd name="connsiteX321" fmla="*/ 2036161 w 2708532"/>
                  <a:gd name="connsiteY321" fmla="*/ 132605 h 820230"/>
                  <a:gd name="connsiteX322" fmla="*/ 2032898 w 2708532"/>
                  <a:gd name="connsiteY322" fmla="*/ 140188 h 820230"/>
                  <a:gd name="connsiteX323" fmla="*/ 2029372 w 2708532"/>
                  <a:gd name="connsiteY323" fmla="*/ 142480 h 820230"/>
                  <a:gd name="connsiteX324" fmla="*/ 2024964 w 2708532"/>
                  <a:gd name="connsiteY324" fmla="*/ 145125 h 820230"/>
                  <a:gd name="connsiteX325" fmla="*/ 2022583 w 2708532"/>
                  <a:gd name="connsiteY325" fmla="*/ 142216 h 820230"/>
                  <a:gd name="connsiteX326" fmla="*/ 2022847 w 2708532"/>
                  <a:gd name="connsiteY326" fmla="*/ 139306 h 820230"/>
                  <a:gd name="connsiteX327" fmla="*/ 2022583 w 2708532"/>
                  <a:gd name="connsiteY327" fmla="*/ 137278 h 820230"/>
                  <a:gd name="connsiteX328" fmla="*/ 2022583 w 2708532"/>
                  <a:gd name="connsiteY328" fmla="*/ 135779 h 820230"/>
                  <a:gd name="connsiteX329" fmla="*/ 2023200 w 2708532"/>
                  <a:gd name="connsiteY329" fmla="*/ 133751 h 820230"/>
                  <a:gd name="connsiteX330" fmla="*/ 2023817 w 2708532"/>
                  <a:gd name="connsiteY330" fmla="*/ 131371 h 820230"/>
                  <a:gd name="connsiteX331" fmla="*/ 2021525 w 2708532"/>
                  <a:gd name="connsiteY331" fmla="*/ 131106 h 820230"/>
                  <a:gd name="connsiteX332" fmla="*/ 2018880 w 2708532"/>
                  <a:gd name="connsiteY332" fmla="*/ 132253 h 820230"/>
                  <a:gd name="connsiteX333" fmla="*/ 2016234 w 2708532"/>
                  <a:gd name="connsiteY333" fmla="*/ 131635 h 820230"/>
                  <a:gd name="connsiteX334" fmla="*/ 2013678 w 2708532"/>
                  <a:gd name="connsiteY334" fmla="*/ 131635 h 820230"/>
                  <a:gd name="connsiteX335" fmla="*/ 2011033 w 2708532"/>
                  <a:gd name="connsiteY335" fmla="*/ 131371 h 820230"/>
                  <a:gd name="connsiteX336" fmla="*/ 2009887 w 2708532"/>
                  <a:gd name="connsiteY336" fmla="*/ 131106 h 820230"/>
                  <a:gd name="connsiteX337" fmla="*/ 2008740 w 2708532"/>
                  <a:gd name="connsiteY337" fmla="*/ 131106 h 820230"/>
                  <a:gd name="connsiteX338" fmla="*/ 2009358 w 2708532"/>
                  <a:gd name="connsiteY338" fmla="*/ 129607 h 820230"/>
                  <a:gd name="connsiteX339" fmla="*/ 2004684 w 2708532"/>
                  <a:gd name="connsiteY339" fmla="*/ 131371 h 820230"/>
                  <a:gd name="connsiteX340" fmla="*/ 2002921 w 2708532"/>
                  <a:gd name="connsiteY340" fmla="*/ 130225 h 820230"/>
                  <a:gd name="connsiteX341" fmla="*/ 2001158 w 2708532"/>
                  <a:gd name="connsiteY341" fmla="*/ 129343 h 820230"/>
                  <a:gd name="connsiteX342" fmla="*/ 2000541 w 2708532"/>
                  <a:gd name="connsiteY342" fmla="*/ 130489 h 820230"/>
                  <a:gd name="connsiteX343" fmla="*/ 1998160 w 2708532"/>
                  <a:gd name="connsiteY343" fmla="*/ 131371 h 820230"/>
                  <a:gd name="connsiteX344" fmla="*/ 1995779 w 2708532"/>
                  <a:gd name="connsiteY344" fmla="*/ 131371 h 820230"/>
                  <a:gd name="connsiteX345" fmla="*/ 1994016 w 2708532"/>
                  <a:gd name="connsiteY345" fmla="*/ 130754 h 820230"/>
                  <a:gd name="connsiteX346" fmla="*/ 1994634 w 2708532"/>
                  <a:gd name="connsiteY346" fmla="*/ 129607 h 820230"/>
                  <a:gd name="connsiteX347" fmla="*/ 1990842 w 2708532"/>
                  <a:gd name="connsiteY347" fmla="*/ 131106 h 820230"/>
                  <a:gd name="connsiteX348" fmla="*/ 1988197 w 2708532"/>
                  <a:gd name="connsiteY348" fmla="*/ 130225 h 820230"/>
                  <a:gd name="connsiteX349" fmla="*/ 1987933 w 2708532"/>
                  <a:gd name="connsiteY349" fmla="*/ 128726 h 820230"/>
                  <a:gd name="connsiteX350" fmla="*/ 1985023 w 2708532"/>
                  <a:gd name="connsiteY350" fmla="*/ 128726 h 820230"/>
                  <a:gd name="connsiteX351" fmla="*/ 1983260 w 2708532"/>
                  <a:gd name="connsiteY351" fmla="*/ 130225 h 820230"/>
                  <a:gd name="connsiteX352" fmla="*/ 1981144 w 2708532"/>
                  <a:gd name="connsiteY352" fmla="*/ 130489 h 820230"/>
                  <a:gd name="connsiteX353" fmla="*/ 1980262 w 2708532"/>
                  <a:gd name="connsiteY353" fmla="*/ 128197 h 820230"/>
                  <a:gd name="connsiteX354" fmla="*/ 1979380 w 2708532"/>
                  <a:gd name="connsiteY354" fmla="*/ 130225 h 820230"/>
                  <a:gd name="connsiteX355" fmla="*/ 1976471 w 2708532"/>
                  <a:gd name="connsiteY355" fmla="*/ 129607 h 820230"/>
                  <a:gd name="connsiteX356" fmla="*/ 1976735 w 2708532"/>
                  <a:gd name="connsiteY356" fmla="*/ 131635 h 820230"/>
                  <a:gd name="connsiteX357" fmla="*/ 1973825 w 2708532"/>
                  <a:gd name="connsiteY357" fmla="*/ 132253 h 820230"/>
                  <a:gd name="connsiteX358" fmla="*/ 1970916 w 2708532"/>
                  <a:gd name="connsiteY358" fmla="*/ 131635 h 820230"/>
                  <a:gd name="connsiteX359" fmla="*/ 1969505 w 2708532"/>
                  <a:gd name="connsiteY359" fmla="*/ 131635 h 820230"/>
                  <a:gd name="connsiteX360" fmla="*/ 1967478 w 2708532"/>
                  <a:gd name="connsiteY360" fmla="*/ 130754 h 820230"/>
                  <a:gd name="connsiteX361" fmla="*/ 1964833 w 2708532"/>
                  <a:gd name="connsiteY361" fmla="*/ 131900 h 820230"/>
                  <a:gd name="connsiteX362" fmla="*/ 1964215 w 2708532"/>
                  <a:gd name="connsiteY362" fmla="*/ 131900 h 820230"/>
                  <a:gd name="connsiteX363" fmla="*/ 1961306 w 2708532"/>
                  <a:gd name="connsiteY363" fmla="*/ 132164 h 820230"/>
                  <a:gd name="connsiteX364" fmla="*/ 1958661 w 2708532"/>
                  <a:gd name="connsiteY364" fmla="*/ 133311 h 820230"/>
                  <a:gd name="connsiteX365" fmla="*/ 1958308 w 2708532"/>
                  <a:gd name="connsiteY365" fmla="*/ 134457 h 820230"/>
                  <a:gd name="connsiteX366" fmla="*/ 1956016 w 2708532"/>
                  <a:gd name="connsiteY366" fmla="*/ 134457 h 820230"/>
                  <a:gd name="connsiteX367" fmla="*/ 1954252 w 2708532"/>
                  <a:gd name="connsiteY367" fmla="*/ 134457 h 820230"/>
                  <a:gd name="connsiteX368" fmla="*/ 1951607 w 2708532"/>
                  <a:gd name="connsiteY368" fmla="*/ 134457 h 820230"/>
                  <a:gd name="connsiteX369" fmla="*/ 1947199 w 2708532"/>
                  <a:gd name="connsiteY369" fmla="*/ 131812 h 820230"/>
                  <a:gd name="connsiteX370" fmla="*/ 1948080 w 2708532"/>
                  <a:gd name="connsiteY370" fmla="*/ 134457 h 820230"/>
                  <a:gd name="connsiteX371" fmla="*/ 1944289 w 2708532"/>
                  <a:gd name="connsiteY371" fmla="*/ 135074 h 820230"/>
                  <a:gd name="connsiteX372" fmla="*/ 1940498 w 2708532"/>
                  <a:gd name="connsiteY372" fmla="*/ 134192 h 820230"/>
                  <a:gd name="connsiteX373" fmla="*/ 1937059 w 2708532"/>
                  <a:gd name="connsiteY373" fmla="*/ 135603 h 820230"/>
                  <a:gd name="connsiteX374" fmla="*/ 1934679 w 2708532"/>
                  <a:gd name="connsiteY374" fmla="*/ 133222 h 820230"/>
                  <a:gd name="connsiteX375" fmla="*/ 1934150 w 2708532"/>
                  <a:gd name="connsiteY375" fmla="*/ 131459 h 820230"/>
                  <a:gd name="connsiteX376" fmla="*/ 1930623 w 2708532"/>
                  <a:gd name="connsiteY376" fmla="*/ 131195 h 820230"/>
                  <a:gd name="connsiteX377" fmla="*/ 1929212 w 2708532"/>
                  <a:gd name="connsiteY377" fmla="*/ 129167 h 820230"/>
                  <a:gd name="connsiteX378" fmla="*/ 1924540 w 2708532"/>
                  <a:gd name="connsiteY378" fmla="*/ 129167 h 820230"/>
                  <a:gd name="connsiteX379" fmla="*/ 1922159 w 2708532"/>
                  <a:gd name="connsiteY379" fmla="*/ 127756 h 820230"/>
                  <a:gd name="connsiteX380" fmla="*/ 1922159 w 2708532"/>
                  <a:gd name="connsiteY380" fmla="*/ 126257 h 820230"/>
                  <a:gd name="connsiteX381" fmla="*/ 1918632 w 2708532"/>
                  <a:gd name="connsiteY381" fmla="*/ 125375 h 820230"/>
                  <a:gd name="connsiteX382" fmla="*/ 1913959 w 2708532"/>
                  <a:gd name="connsiteY382" fmla="*/ 126257 h 820230"/>
                  <a:gd name="connsiteX383" fmla="*/ 1913078 w 2708532"/>
                  <a:gd name="connsiteY383" fmla="*/ 122730 h 820230"/>
                  <a:gd name="connsiteX384" fmla="*/ 1910785 w 2708532"/>
                  <a:gd name="connsiteY384" fmla="*/ 124494 h 820230"/>
                  <a:gd name="connsiteX385" fmla="*/ 1908757 w 2708532"/>
                  <a:gd name="connsiteY385" fmla="*/ 125640 h 820230"/>
                  <a:gd name="connsiteX386" fmla="*/ 1906465 w 2708532"/>
                  <a:gd name="connsiteY386" fmla="*/ 125640 h 820230"/>
                  <a:gd name="connsiteX387" fmla="*/ 1904702 w 2708532"/>
                  <a:gd name="connsiteY387" fmla="*/ 122995 h 820230"/>
                  <a:gd name="connsiteX388" fmla="*/ 1902938 w 2708532"/>
                  <a:gd name="connsiteY388" fmla="*/ 124494 h 820230"/>
                  <a:gd name="connsiteX389" fmla="*/ 1900911 w 2708532"/>
                  <a:gd name="connsiteY389" fmla="*/ 125111 h 820230"/>
                  <a:gd name="connsiteX390" fmla="*/ 1898001 w 2708532"/>
                  <a:gd name="connsiteY390" fmla="*/ 126257 h 820230"/>
                  <a:gd name="connsiteX391" fmla="*/ 1897648 w 2708532"/>
                  <a:gd name="connsiteY391" fmla="*/ 121055 h 820230"/>
                  <a:gd name="connsiteX392" fmla="*/ 1895003 w 2708532"/>
                  <a:gd name="connsiteY392" fmla="*/ 121937 h 820230"/>
                  <a:gd name="connsiteX393" fmla="*/ 1894121 w 2708532"/>
                  <a:gd name="connsiteY393" fmla="*/ 123348 h 820230"/>
                  <a:gd name="connsiteX394" fmla="*/ 1887421 w 2708532"/>
                  <a:gd name="connsiteY394" fmla="*/ 122466 h 820230"/>
                  <a:gd name="connsiteX395" fmla="*/ 1886803 w 2708532"/>
                  <a:gd name="connsiteY395" fmla="*/ 119556 h 820230"/>
                  <a:gd name="connsiteX396" fmla="*/ 1883277 w 2708532"/>
                  <a:gd name="connsiteY396" fmla="*/ 121055 h 820230"/>
                  <a:gd name="connsiteX397" fmla="*/ 1881249 w 2708532"/>
                  <a:gd name="connsiteY397" fmla="*/ 119292 h 820230"/>
                  <a:gd name="connsiteX398" fmla="*/ 1880631 w 2708532"/>
                  <a:gd name="connsiteY398" fmla="*/ 117528 h 820230"/>
                  <a:gd name="connsiteX399" fmla="*/ 1873666 w 2708532"/>
                  <a:gd name="connsiteY399" fmla="*/ 116382 h 820230"/>
                  <a:gd name="connsiteX400" fmla="*/ 1873402 w 2708532"/>
                  <a:gd name="connsiteY400" fmla="*/ 114090 h 820230"/>
                  <a:gd name="connsiteX401" fmla="*/ 1873137 w 2708532"/>
                  <a:gd name="connsiteY401" fmla="*/ 112679 h 820230"/>
                  <a:gd name="connsiteX402" fmla="*/ 1871374 w 2708532"/>
                  <a:gd name="connsiteY402" fmla="*/ 111180 h 820230"/>
                  <a:gd name="connsiteX403" fmla="*/ 1867583 w 2708532"/>
                  <a:gd name="connsiteY403" fmla="*/ 110299 h 820230"/>
                  <a:gd name="connsiteX404" fmla="*/ 1866701 w 2708532"/>
                  <a:gd name="connsiteY404" fmla="*/ 109152 h 820230"/>
                  <a:gd name="connsiteX405" fmla="*/ 1862028 w 2708532"/>
                  <a:gd name="connsiteY405" fmla="*/ 108271 h 820230"/>
                  <a:gd name="connsiteX406" fmla="*/ 1859383 w 2708532"/>
                  <a:gd name="connsiteY406" fmla="*/ 109417 h 820230"/>
                  <a:gd name="connsiteX407" fmla="*/ 1856473 w 2708532"/>
                  <a:gd name="connsiteY407" fmla="*/ 107389 h 820230"/>
                  <a:gd name="connsiteX408" fmla="*/ 1855856 w 2708532"/>
                  <a:gd name="connsiteY408" fmla="*/ 105626 h 820230"/>
                  <a:gd name="connsiteX409" fmla="*/ 1853828 w 2708532"/>
                  <a:gd name="connsiteY409" fmla="*/ 105890 h 820230"/>
                  <a:gd name="connsiteX410" fmla="*/ 1852330 w 2708532"/>
                  <a:gd name="connsiteY410" fmla="*/ 108535 h 820230"/>
                  <a:gd name="connsiteX411" fmla="*/ 1851184 w 2708532"/>
                  <a:gd name="connsiteY411" fmla="*/ 105626 h 820230"/>
                  <a:gd name="connsiteX412" fmla="*/ 1847833 w 2708532"/>
                  <a:gd name="connsiteY412" fmla="*/ 105185 h 820230"/>
                  <a:gd name="connsiteX413" fmla="*/ 1844923 w 2708532"/>
                  <a:gd name="connsiteY413" fmla="*/ 104920 h 820230"/>
                  <a:gd name="connsiteX414" fmla="*/ 1842631 w 2708532"/>
                  <a:gd name="connsiteY414" fmla="*/ 104920 h 820230"/>
                  <a:gd name="connsiteX415" fmla="*/ 1838222 w 2708532"/>
                  <a:gd name="connsiteY415" fmla="*/ 104303 h 820230"/>
                  <a:gd name="connsiteX416" fmla="*/ 1837606 w 2708532"/>
                  <a:gd name="connsiteY416" fmla="*/ 104303 h 820230"/>
                  <a:gd name="connsiteX417" fmla="*/ 1835313 w 2708532"/>
                  <a:gd name="connsiteY417" fmla="*/ 104920 h 820230"/>
                  <a:gd name="connsiteX418" fmla="*/ 1829494 w 2708532"/>
                  <a:gd name="connsiteY418" fmla="*/ 104920 h 820230"/>
                  <a:gd name="connsiteX419" fmla="*/ 1827995 w 2708532"/>
                  <a:gd name="connsiteY419" fmla="*/ 104656 h 820230"/>
                  <a:gd name="connsiteX420" fmla="*/ 1825967 w 2708532"/>
                  <a:gd name="connsiteY420" fmla="*/ 104039 h 820230"/>
                  <a:gd name="connsiteX421" fmla="*/ 1820677 w 2708532"/>
                  <a:gd name="connsiteY421" fmla="*/ 103422 h 820230"/>
                  <a:gd name="connsiteX422" fmla="*/ 1817503 w 2708532"/>
                  <a:gd name="connsiteY422" fmla="*/ 105538 h 820230"/>
                  <a:gd name="connsiteX423" fmla="*/ 1816886 w 2708532"/>
                  <a:gd name="connsiteY423" fmla="*/ 109946 h 820230"/>
                  <a:gd name="connsiteX424" fmla="*/ 1816622 w 2708532"/>
                  <a:gd name="connsiteY424" fmla="*/ 111974 h 820230"/>
                  <a:gd name="connsiteX425" fmla="*/ 1816622 w 2708532"/>
                  <a:gd name="connsiteY425" fmla="*/ 113120 h 820230"/>
                  <a:gd name="connsiteX426" fmla="*/ 1816622 w 2708532"/>
                  <a:gd name="connsiteY426" fmla="*/ 115148 h 820230"/>
                  <a:gd name="connsiteX427" fmla="*/ 1814858 w 2708532"/>
                  <a:gd name="connsiteY427" fmla="*/ 116294 h 820230"/>
                  <a:gd name="connsiteX428" fmla="*/ 1812477 w 2708532"/>
                  <a:gd name="connsiteY428" fmla="*/ 117440 h 820230"/>
                  <a:gd name="connsiteX429" fmla="*/ 1804630 w 2708532"/>
                  <a:gd name="connsiteY429" fmla="*/ 117440 h 820230"/>
                  <a:gd name="connsiteX430" fmla="*/ 1801985 w 2708532"/>
                  <a:gd name="connsiteY430" fmla="*/ 116294 h 820230"/>
                  <a:gd name="connsiteX431" fmla="*/ 1804013 w 2708532"/>
                  <a:gd name="connsiteY431" fmla="*/ 114531 h 820230"/>
                  <a:gd name="connsiteX432" fmla="*/ 1807276 w 2708532"/>
                  <a:gd name="connsiteY432" fmla="*/ 113385 h 820230"/>
                  <a:gd name="connsiteX433" fmla="*/ 1808951 w 2708532"/>
                  <a:gd name="connsiteY433" fmla="*/ 111974 h 820230"/>
                  <a:gd name="connsiteX434" fmla="*/ 1811596 w 2708532"/>
                  <a:gd name="connsiteY434" fmla="*/ 114002 h 820230"/>
                  <a:gd name="connsiteX435" fmla="*/ 1813624 w 2708532"/>
                  <a:gd name="connsiteY435" fmla="*/ 111974 h 820230"/>
                  <a:gd name="connsiteX436" fmla="*/ 1813359 w 2708532"/>
                  <a:gd name="connsiteY436" fmla="*/ 108183 h 820230"/>
                  <a:gd name="connsiteX437" fmla="*/ 1813624 w 2708532"/>
                  <a:gd name="connsiteY437" fmla="*/ 106155 h 820230"/>
                  <a:gd name="connsiteX438" fmla="*/ 1811596 w 2708532"/>
                  <a:gd name="connsiteY438" fmla="*/ 103862 h 820230"/>
                  <a:gd name="connsiteX439" fmla="*/ 1809568 w 2708532"/>
                  <a:gd name="connsiteY439" fmla="*/ 102716 h 820230"/>
                  <a:gd name="connsiteX440" fmla="*/ 1807276 w 2708532"/>
                  <a:gd name="connsiteY440" fmla="*/ 101835 h 820230"/>
                  <a:gd name="connsiteX441" fmla="*/ 1801104 w 2708532"/>
                  <a:gd name="connsiteY441" fmla="*/ 102452 h 820230"/>
                  <a:gd name="connsiteX442" fmla="*/ 1799340 w 2708532"/>
                  <a:gd name="connsiteY442" fmla="*/ 101570 h 820230"/>
                  <a:gd name="connsiteX443" fmla="*/ 1798194 w 2708532"/>
                  <a:gd name="connsiteY443" fmla="*/ 99807 h 820230"/>
                  <a:gd name="connsiteX444" fmla="*/ 1795902 w 2708532"/>
                  <a:gd name="connsiteY444" fmla="*/ 101305 h 820230"/>
                  <a:gd name="connsiteX445" fmla="*/ 1794491 w 2708532"/>
                  <a:gd name="connsiteY445" fmla="*/ 102804 h 820230"/>
                  <a:gd name="connsiteX446" fmla="*/ 1790964 w 2708532"/>
                  <a:gd name="connsiteY446" fmla="*/ 101041 h 820230"/>
                  <a:gd name="connsiteX447" fmla="*/ 1786909 w 2708532"/>
                  <a:gd name="connsiteY447" fmla="*/ 102187 h 820230"/>
                  <a:gd name="connsiteX448" fmla="*/ 1786644 w 2708532"/>
                  <a:gd name="connsiteY448" fmla="*/ 100688 h 820230"/>
                  <a:gd name="connsiteX449" fmla="*/ 1781090 w 2708532"/>
                  <a:gd name="connsiteY449" fmla="*/ 100424 h 820230"/>
                  <a:gd name="connsiteX450" fmla="*/ 1778445 w 2708532"/>
                  <a:gd name="connsiteY450" fmla="*/ 98925 h 820230"/>
                  <a:gd name="connsiteX451" fmla="*/ 1775800 w 2708532"/>
                  <a:gd name="connsiteY451" fmla="*/ 99542 h 820230"/>
                  <a:gd name="connsiteX452" fmla="*/ 1770862 w 2708532"/>
                  <a:gd name="connsiteY452" fmla="*/ 99542 h 820230"/>
                  <a:gd name="connsiteX453" fmla="*/ 1768482 w 2708532"/>
                  <a:gd name="connsiteY453" fmla="*/ 99807 h 820230"/>
                  <a:gd name="connsiteX454" fmla="*/ 1768217 w 2708532"/>
                  <a:gd name="connsiteY454" fmla="*/ 96897 h 820230"/>
                  <a:gd name="connsiteX455" fmla="*/ 1762663 w 2708532"/>
                  <a:gd name="connsiteY455" fmla="*/ 97514 h 820230"/>
                  <a:gd name="connsiteX456" fmla="*/ 1759753 w 2708532"/>
                  <a:gd name="connsiteY456" fmla="*/ 97250 h 820230"/>
                  <a:gd name="connsiteX457" fmla="*/ 1756491 w 2708532"/>
                  <a:gd name="connsiteY457" fmla="*/ 96633 h 820230"/>
                  <a:gd name="connsiteX458" fmla="*/ 1752435 w 2708532"/>
                  <a:gd name="connsiteY458" fmla="*/ 99542 h 820230"/>
                  <a:gd name="connsiteX459" fmla="*/ 1749525 w 2708532"/>
                  <a:gd name="connsiteY459" fmla="*/ 96015 h 820230"/>
                  <a:gd name="connsiteX460" fmla="*/ 1743441 w 2708532"/>
                  <a:gd name="connsiteY460" fmla="*/ 96897 h 820230"/>
                  <a:gd name="connsiteX461" fmla="*/ 1741943 w 2708532"/>
                  <a:gd name="connsiteY461" fmla="*/ 96633 h 820230"/>
                  <a:gd name="connsiteX462" fmla="*/ 1739915 w 2708532"/>
                  <a:gd name="connsiteY462" fmla="*/ 98660 h 820230"/>
                  <a:gd name="connsiteX463" fmla="*/ 1735859 w 2708532"/>
                  <a:gd name="connsiteY463" fmla="*/ 96015 h 820230"/>
                  <a:gd name="connsiteX464" fmla="*/ 1734978 w 2708532"/>
                  <a:gd name="connsiteY464" fmla="*/ 98043 h 820230"/>
                  <a:gd name="connsiteX465" fmla="*/ 1733214 w 2708532"/>
                  <a:gd name="connsiteY465" fmla="*/ 99542 h 820230"/>
                  <a:gd name="connsiteX466" fmla="*/ 1728806 w 2708532"/>
                  <a:gd name="connsiteY466" fmla="*/ 97779 h 820230"/>
                  <a:gd name="connsiteX467" fmla="*/ 1725632 w 2708532"/>
                  <a:gd name="connsiteY467" fmla="*/ 97514 h 820230"/>
                  <a:gd name="connsiteX468" fmla="*/ 1724133 w 2708532"/>
                  <a:gd name="connsiteY468" fmla="*/ 96897 h 820230"/>
                  <a:gd name="connsiteX469" fmla="*/ 1721841 w 2708532"/>
                  <a:gd name="connsiteY469" fmla="*/ 96015 h 820230"/>
                  <a:gd name="connsiteX470" fmla="*/ 1720959 w 2708532"/>
                  <a:gd name="connsiteY470" fmla="*/ 93988 h 820230"/>
                  <a:gd name="connsiteX471" fmla="*/ 1719460 w 2708532"/>
                  <a:gd name="connsiteY471" fmla="*/ 94252 h 820230"/>
                  <a:gd name="connsiteX472" fmla="*/ 1715933 w 2708532"/>
                  <a:gd name="connsiteY472" fmla="*/ 94517 h 820230"/>
                  <a:gd name="connsiteX473" fmla="*/ 1710378 w 2708532"/>
                  <a:gd name="connsiteY473" fmla="*/ 93899 h 820230"/>
                  <a:gd name="connsiteX474" fmla="*/ 1708351 w 2708532"/>
                  <a:gd name="connsiteY474" fmla="*/ 93635 h 820230"/>
                  <a:gd name="connsiteX475" fmla="*/ 1704824 w 2708532"/>
                  <a:gd name="connsiteY475" fmla="*/ 95663 h 820230"/>
                  <a:gd name="connsiteX476" fmla="*/ 1704559 w 2708532"/>
                  <a:gd name="connsiteY476" fmla="*/ 93899 h 820230"/>
                  <a:gd name="connsiteX477" fmla="*/ 1700151 w 2708532"/>
                  <a:gd name="connsiteY477" fmla="*/ 93282 h 820230"/>
                  <a:gd name="connsiteX478" fmla="*/ 1702179 w 2708532"/>
                  <a:gd name="connsiteY478" fmla="*/ 95310 h 820230"/>
                  <a:gd name="connsiteX479" fmla="*/ 1705441 w 2708532"/>
                  <a:gd name="connsiteY479" fmla="*/ 97955 h 820230"/>
                  <a:gd name="connsiteX480" fmla="*/ 1707822 w 2708532"/>
                  <a:gd name="connsiteY480" fmla="*/ 99101 h 820230"/>
                  <a:gd name="connsiteX481" fmla="*/ 1708968 w 2708532"/>
                  <a:gd name="connsiteY481" fmla="*/ 100247 h 820230"/>
                  <a:gd name="connsiteX482" fmla="*/ 1708086 w 2708532"/>
                  <a:gd name="connsiteY482" fmla="*/ 102011 h 820230"/>
                  <a:gd name="connsiteX483" fmla="*/ 1710114 w 2708532"/>
                  <a:gd name="connsiteY483" fmla="*/ 106948 h 820230"/>
                  <a:gd name="connsiteX484" fmla="*/ 1706323 w 2708532"/>
                  <a:gd name="connsiteY484" fmla="*/ 103422 h 820230"/>
                  <a:gd name="connsiteX485" fmla="*/ 1705706 w 2708532"/>
                  <a:gd name="connsiteY485" fmla="*/ 102275 h 820230"/>
                  <a:gd name="connsiteX486" fmla="*/ 1704295 w 2708532"/>
                  <a:gd name="connsiteY486" fmla="*/ 101394 h 820230"/>
                  <a:gd name="connsiteX487" fmla="*/ 1702267 w 2708532"/>
                  <a:gd name="connsiteY487" fmla="*/ 101394 h 820230"/>
                  <a:gd name="connsiteX488" fmla="*/ 1703149 w 2708532"/>
                  <a:gd name="connsiteY488" fmla="*/ 99101 h 820230"/>
                  <a:gd name="connsiteX489" fmla="*/ 1700857 w 2708532"/>
                  <a:gd name="connsiteY489" fmla="*/ 99630 h 820230"/>
                  <a:gd name="connsiteX490" fmla="*/ 1699975 w 2708532"/>
                  <a:gd name="connsiteY490" fmla="*/ 101129 h 820230"/>
                  <a:gd name="connsiteX491" fmla="*/ 1697594 w 2708532"/>
                  <a:gd name="connsiteY491" fmla="*/ 101129 h 820230"/>
                  <a:gd name="connsiteX492" fmla="*/ 1697065 w 2708532"/>
                  <a:gd name="connsiteY492" fmla="*/ 103774 h 820230"/>
                  <a:gd name="connsiteX493" fmla="*/ 1699710 w 2708532"/>
                  <a:gd name="connsiteY493" fmla="*/ 104920 h 820230"/>
                  <a:gd name="connsiteX494" fmla="*/ 1699710 w 2708532"/>
                  <a:gd name="connsiteY494" fmla="*/ 106684 h 820230"/>
                  <a:gd name="connsiteX495" fmla="*/ 1701474 w 2708532"/>
                  <a:gd name="connsiteY495" fmla="*/ 107301 h 820230"/>
                  <a:gd name="connsiteX496" fmla="*/ 1701474 w 2708532"/>
                  <a:gd name="connsiteY496" fmla="*/ 109064 h 820230"/>
                  <a:gd name="connsiteX497" fmla="*/ 1699181 w 2708532"/>
                  <a:gd name="connsiteY497" fmla="*/ 109946 h 820230"/>
                  <a:gd name="connsiteX498" fmla="*/ 1696536 w 2708532"/>
                  <a:gd name="connsiteY498" fmla="*/ 110210 h 820230"/>
                  <a:gd name="connsiteX499" fmla="*/ 1702355 w 2708532"/>
                  <a:gd name="connsiteY499" fmla="*/ 110828 h 820230"/>
                  <a:gd name="connsiteX500" fmla="*/ 1704119 w 2708532"/>
                  <a:gd name="connsiteY500" fmla="*/ 110828 h 820230"/>
                  <a:gd name="connsiteX501" fmla="*/ 1705529 w 2708532"/>
                  <a:gd name="connsiteY501" fmla="*/ 108535 h 820230"/>
                  <a:gd name="connsiteX502" fmla="*/ 1707028 w 2708532"/>
                  <a:gd name="connsiteY502" fmla="*/ 111180 h 820230"/>
                  <a:gd name="connsiteX503" fmla="*/ 1708791 w 2708532"/>
                  <a:gd name="connsiteY503" fmla="*/ 112679 h 820230"/>
                  <a:gd name="connsiteX504" fmla="*/ 1708262 w 2708532"/>
                  <a:gd name="connsiteY504" fmla="*/ 113825 h 820230"/>
                  <a:gd name="connsiteX505" fmla="*/ 1712583 w 2708532"/>
                  <a:gd name="connsiteY505" fmla="*/ 114707 h 820230"/>
                  <a:gd name="connsiteX506" fmla="*/ 1713465 w 2708532"/>
                  <a:gd name="connsiteY506" fmla="*/ 114443 h 820230"/>
                  <a:gd name="connsiteX507" fmla="*/ 1715228 w 2708532"/>
                  <a:gd name="connsiteY507" fmla="*/ 116470 h 820230"/>
                  <a:gd name="connsiteX508" fmla="*/ 1714611 w 2708532"/>
                  <a:gd name="connsiteY508" fmla="*/ 118763 h 820230"/>
                  <a:gd name="connsiteX509" fmla="*/ 1716638 w 2708532"/>
                  <a:gd name="connsiteY509" fmla="*/ 119909 h 820230"/>
                  <a:gd name="connsiteX510" fmla="*/ 1718666 w 2708532"/>
                  <a:gd name="connsiteY510" fmla="*/ 121672 h 820230"/>
                  <a:gd name="connsiteX511" fmla="*/ 1715228 w 2708532"/>
                  <a:gd name="connsiteY511" fmla="*/ 121672 h 820230"/>
                  <a:gd name="connsiteX512" fmla="*/ 1712054 w 2708532"/>
                  <a:gd name="connsiteY512" fmla="*/ 121055 h 820230"/>
                  <a:gd name="connsiteX513" fmla="*/ 1709673 w 2708532"/>
                  <a:gd name="connsiteY513" fmla="*/ 120173 h 820230"/>
                  <a:gd name="connsiteX514" fmla="*/ 1706146 w 2708532"/>
                  <a:gd name="connsiteY514" fmla="*/ 120173 h 820230"/>
                  <a:gd name="connsiteX515" fmla="*/ 1703501 w 2708532"/>
                  <a:gd name="connsiteY515" fmla="*/ 117881 h 820230"/>
                  <a:gd name="connsiteX516" fmla="*/ 1701738 w 2708532"/>
                  <a:gd name="connsiteY516" fmla="*/ 116735 h 820230"/>
                  <a:gd name="connsiteX517" fmla="*/ 1700857 w 2708532"/>
                  <a:gd name="connsiteY517" fmla="*/ 118498 h 820230"/>
                  <a:gd name="connsiteX518" fmla="*/ 1699710 w 2708532"/>
                  <a:gd name="connsiteY518" fmla="*/ 122025 h 820230"/>
                  <a:gd name="connsiteX519" fmla="*/ 1699446 w 2708532"/>
                  <a:gd name="connsiteY519" fmla="*/ 126962 h 820230"/>
                  <a:gd name="connsiteX520" fmla="*/ 1697947 w 2708532"/>
                  <a:gd name="connsiteY520" fmla="*/ 129343 h 820230"/>
                  <a:gd name="connsiteX521" fmla="*/ 1694420 w 2708532"/>
                  <a:gd name="connsiteY521" fmla="*/ 126962 h 820230"/>
                  <a:gd name="connsiteX522" fmla="*/ 1686573 w 2708532"/>
                  <a:gd name="connsiteY522" fmla="*/ 127580 h 820230"/>
                  <a:gd name="connsiteX523" fmla="*/ 1686220 w 2708532"/>
                  <a:gd name="connsiteY523" fmla="*/ 127315 h 820230"/>
                  <a:gd name="connsiteX524" fmla="*/ 1681548 w 2708532"/>
                  <a:gd name="connsiteY524" fmla="*/ 125287 h 820230"/>
                  <a:gd name="connsiteX525" fmla="*/ 1680048 w 2708532"/>
                  <a:gd name="connsiteY525" fmla="*/ 126169 h 820230"/>
                  <a:gd name="connsiteX526" fmla="*/ 1679784 w 2708532"/>
                  <a:gd name="connsiteY526" fmla="*/ 125023 h 820230"/>
                  <a:gd name="connsiteX527" fmla="*/ 1678021 w 2708532"/>
                  <a:gd name="connsiteY527" fmla="*/ 125640 h 820230"/>
                  <a:gd name="connsiteX528" fmla="*/ 1668940 w 2708532"/>
                  <a:gd name="connsiteY528" fmla="*/ 125640 h 820230"/>
                  <a:gd name="connsiteX529" fmla="*/ 1665148 w 2708532"/>
                  <a:gd name="connsiteY529" fmla="*/ 124141 h 820230"/>
                  <a:gd name="connsiteX530" fmla="*/ 1661886 w 2708532"/>
                  <a:gd name="connsiteY530" fmla="*/ 122642 h 820230"/>
                  <a:gd name="connsiteX531" fmla="*/ 1660739 w 2708532"/>
                  <a:gd name="connsiteY531" fmla="*/ 119997 h 820230"/>
                  <a:gd name="connsiteX532" fmla="*/ 1657566 w 2708532"/>
                  <a:gd name="connsiteY532" fmla="*/ 120262 h 820230"/>
                  <a:gd name="connsiteX533" fmla="*/ 1655185 w 2708532"/>
                  <a:gd name="connsiteY533" fmla="*/ 121143 h 820230"/>
                  <a:gd name="connsiteX534" fmla="*/ 1656684 w 2708532"/>
                  <a:gd name="connsiteY534" fmla="*/ 123524 h 820230"/>
                  <a:gd name="connsiteX535" fmla="*/ 1660211 w 2708532"/>
                  <a:gd name="connsiteY535" fmla="*/ 126433 h 820230"/>
                  <a:gd name="connsiteX536" fmla="*/ 1663385 w 2708532"/>
                  <a:gd name="connsiteY536" fmla="*/ 128461 h 820230"/>
                  <a:gd name="connsiteX537" fmla="*/ 1666030 w 2708532"/>
                  <a:gd name="connsiteY537" fmla="*/ 128726 h 820230"/>
                  <a:gd name="connsiteX538" fmla="*/ 1667440 w 2708532"/>
                  <a:gd name="connsiteY538" fmla="*/ 131106 h 820230"/>
                  <a:gd name="connsiteX539" fmla="*/ 1662503 w 2708532"/>
                  <a:gd name="connsiteY539" fmla="*/ 129960 h 820230"/>
                  <a:gd name="connsiteX540" fmla="*/ 1659594 w 2708532"/>
                  <a:gd name="connsiteY540" fmla="*/ 129079 h 820230"/>
                  <a:gd name="connsiteX541" fmla="*/ 1657830 w 2708532"/>
                  <a:gd name="connsiteY541" fmla="*/ 128550 h 820230"/>
                  <a:gd name="connsiteX542" fmla="*/ 1654039 w 2708532"/>
                  <a:gd name="connsiteY542" fmla="*/ 127668 h 820230"/>
                  <a:gd name="connsiteX543" fmla="*/ 1652011 w 2708532"/>
                  <a:gd name="connsiteY543" fmla="*/ 127051 h 820230"/>
                  <a:gd name="connsiteX544" fmla="*/ 1650865 w 2708532"/>
                  <a:gd name="connsiteY544" fmla="*/ 122642 h 820230"/>
                  <a:gd name="connsiteX545" fmla="*/ 1649718 w 2708532"/>
                  <a:gd name="connsiteY545" fmla="*/ 123259 h 820230"/>
                  <a:gd name="connsiteX546" fmla="*/ 1646192 w 2708532"/>
                  <a:gd name="connsiteY546" fmla="*/ 125287 h 820230"/>
                  <a:gd name="connsiteX547" fmla="*/ 1642401 w 2708532"/>
                  <a:gd name="connsiteY547" fmla="*/ 125552 h 820230"/>
                  <a:gd name="connsiteX548" fmla="*/ 1640373 w 2708532"/>
                  <a:gd name="connsiteY548" fmla="*/ 124053 h 820230"/>
                  <a:gd name="connsiteX549" fmla="*/ 1638610 w 2708532"/>
                  <a:gd name="connsiteY549" fmla="*/ 125199 h 820230"/>
                  <a:gd name="connsiteX550" fmla="*/ 1632790 w 2708532"/>
                  <a:gd name="connsiteY550" fmla="*/ 124582 h 820230"/>
                  <a:gd name="connsiteX551" fmla="*/ 1630145 w 2708532"/>
                  <a:gd name="connsiteY551" fmla="*/ 125199 h 820230"/>
                  <a:gd name="connsiteX552" fmla="*/ 1629881 w 2708532"/>
                  <a:gd name="connsiteY552" fmla="*/ 122819 h 820230"/>
                  <a:gd name="connsiteX553" fmla="*/ 1628118 w 2708532"/>
                  <a:gd name="connsiteY553" fmla="*/ 121320 h 820230"/>
                  <a:gd name="connsiteX554" fmla="*/ 1625825 w 2708532"/>
                  <a:gd name="connsiteY554" fmla="*/ 122819 h 820230"/>
                  <a:gd name="connsiteX555" fmla="*/ 1621152 w 2708532"/>
                  <a:gd name="connsiteY555" fmla="*/ 122290 h 820230"/>
                  <a:gd name="connsiteX556" fmla="*/ 1620271 w 2708532"/>
                  <a:gd name="connsiteY556" fmla="*/ 119909 h 820230"/>
                  <a:gd name="connsiteX557" fmla="*/ 1617978 w 2708532"/>
                  <a:gd name="connsiteY557" fmla="*/ 120526 h 820230"/>
                  <a:gd name="connsiteX558" fmla="*/ 1614804 w 2708532"/>
                  <a:gd name="connsiteY558" fmla="*/ 119027 h 820230"/>
                  <a:gd name="connsiteX559" fmla="*/ 1609867 w 2708532"/>
                  <a:gd name="connsiteY559" fmla="*/ 116647 h 820230"/>
                  <a:gd name="connsiteX560" fmla="*/ 1604929 w 2708532"/>
                  <a:gd name="connsiteY560" fmla="*/ 115148 h 820230"/>
                  <a:gd name="connsiteX561" fmla="*/ 1602901 w 2708532"/>
                  <a:gd name="connsiteY561" fmla="*/ 114266 h 820230"/>
                  <a:gd name="connsiteX562" fmla="*/ 1600256 w 2708532"/>
                  <a:gd name="connsiteY562" fmla="*/ 114266 h 820230"/>
                  <a:gd name="connsiteX563" fmla="*/ 1600256 w 2708532"/>
                  <a:gd name="connsiteY563" fmla="*/ 118057 h 820230"/>
                  <a:gd name="connsiteX564" fmla="*/ 1602020 w 2708532"/>
                  <a:gd name="connsiteY564" fmla="*/ 118057 h 820230"/>
                  <a:gd name="connsiteX565" fmla="*/ 1604665 w 2708532"/>
                  <a:gd name="connsiteY565" fmla="*/ 119556 h 820230"/>
                  <a:gd name="connsiteX566" fmla="*/ 1604400 w 2708532"/>
                  <a:gd name="connsiteY566" fmla="*/ 121849 h 820230"/>
                  <a:gd name="connsiteX567" fmla="*/ 1605547 w 2708532"/>
                  <a:gd name="connsiteY567" fmla="*/ 125375 h 820230"/>
                  <a:gd name="connsiteX568" fmla="*/ 1609955 w 2708532"/>
                  <a:gd name="connsiteY568" fmla="*/ 128550 h 820230"/>
                  <a:gd name="connsiteX569" fmla="*/ 1611101 w 2708532"/>
                  <a:gd name="connsiteY569" fmla="*/ 130313 h 820230"/>
                  <a:gd name="connsiteX570" fmla="*/ 1610219 w 2708532"/>
                  <a:gd name="connsiteY570" fmla="*/ 132958 h 820230"/>
                  <a:gd name="connsiteX571" fmla="*/ 1609955 w 2708532"/>
                  <a:gd name="connsiteY571" fmla="*/ 133840 h 820230"/>
                  <a:gd name="connsiteX572" fmla="*/ 1610572 w 2708532"/>
                  <a:gd name="connsiteY572" fmla="*/ 135868 h 820230"/>
                  <a:gd name="connsiteX573" fmla="*/ 1610925 w 2708532"/>
                  <a:gd name="connsiteY573" fmla="*/ 139130 h 820230"/>
                  <a:gd name="connsiteX574" fmla="*/ 1607398 w 2708532"/>
                  <a:gd name="connsiteY574" fmla="*/ 139747 h 820230"/>
                  <a:gd name="connsiteX575" fmla="*/ 1607134 w 2708532"/>
                  <a:gd name="connsiteY575" fmla="*/ 137455 h 820230"/>
                  <a:gd name="connsiteX576" fmla="*/ 1603871 w 2708532"/>
                  <a:gd name="connsiteY576" fmla="*/ 136837 h 820230"/>
                  <a:gd name="connsiteX577" fmla="*/ 1602989 w 2708532"/>
                  <a:gd name="connsiteY577" fmla="*/ 135956 h 820230"/>
                  <a:gd name="connsiteX578" fmla="*/ 1596288 w 2708532"/>
                  <a:gd name="connsiteY578" fmla="*/ 135074 h 820230"/>
                  <a:gd name="connsiteX579" fmla="*/ 1592497 w 2708532"/>
                  <a:gd name="connsiteY579" fmla="*/ 135956 h 820230"/>
                  <a:gd name="connsiteX580" fmla="*/ 1585796 w 2708532"/>
                  <a:gd name="connsiteY580" fmla="*/ 135074 h 820230"/>
                  <a:gd name="connsiteX581" fmla="*/ 1585796 w 2708532"/>
                  <a:gd name="connsiteY581" fmla="*/ 133928 h 820230"/>
                  <a:gd name="connsiteX582" fmla="*/ 1586061 w 2708532"/>
                  <a:gd name="connsiteY582" fmla="*/ 131018 h 820230"/>
                  <a:gd name="connsiteX583" fmla="*/ 1584298 w 2708532"/>
                  <a:gd name="connsiteY583" fmla="*/ 132782 h 820230"/>
                  <a:gd name="connsiteX584" fmla="*/ 1580506 w 2708532"/>
                  <a:gd name="connsiteY584" fmla="*/ 130754 h 820230"/>
                  <a:gd name="connsiteX585" fmla="*/ 1578743 w 2708532"/>
                  <a:gd name="connsiteY585" fmla="*/ 128461 h 820230"/>
                  <a:gd name="connsiteX586" fmla="*/ 1575217 w 2708532"/>
                  <a:gd name="connsiteY586" fmla="*/ 129960 h 820230"/>
                  <a:gd name="connsiteX587" fmla="*/ 1573806 w 2708532"/>
                  <a:gd name="connsiteY587" fmla="*/ 127580 h 820230"/>
                  <a:gd name="connsiteX588" fmla="*/ 1571513 w 2708532"/>
                  <a:gd name="connsiteY588" fmla="*/ 125816 h 820230"/>
                  <a:gd name="connsiteX589" fmla="*/ 1567722 w 2708532"/>
                  <a:gd name="connsiteY589" fmla="*/ 127580 h 820230"/>
                  <a:gd name="connsiteX590" fmla="*/ 1565694 w 2708532"/>
                  <a:gd name="connsiteY590" fmla="*/ 125287 h 820230"/>
                  <a:gd name="connsiteX591" fmla="*/ 1565429 w 2708532"/>
                  <a:gd name="connsiteY591" fmla="*/ 123788 h 820230"/>
                  <a:gd name="connsiteX592" fmla="*/ 1561638 w 2708532"/>
                  <a:gd name="connsiteY592" fmla="*/ 123171 h 820230"/>
                  <a:gd name="connsiteX593" fmla="*/ 1557583 w 2708532"/>
                  <a:gd name="connsiteY593" fmla="*/ 122290 h 820230"/>
                  <a:gd name="connsiteX594" fmla="*/ 1557583 w 2708532"/>
                  <a:gd name="connsiteY594" fmla="*/ 119644 h 820230"/>
                  <a:gd name="connsiteX595" fmla="*/ 1553792 w 2708532"/>
                  <a:gd name="connsiteY595" fmla="*/ 116118 h 820230"/>
                  <a:gd name="connsiteX596" fmla="*/ 1549471 w 2708532"/>
                  <a:gd name="connsiteY596" fmla="*/ 113208 h 820230"/>
                  <a:gd name="connsiteX597" fmla="*/ 1547443 w 2708532"/>
                  <a:gd name="connsiteY597" fmla="*/ 112062 h 820230"/>
                  <a:gd name="connsiteX598" fmla="*/ 1546826 w 2708532"/>
                  <a:gd name="connsiteY598" fmla="*/ 111798 h 820230"/>
                  <a:gd name="connsiteX599" fmla="*/ 1545680 w 2708532"/>
                  <a:gd name="connsiteY599" fmla="*/ 109152 h 820230"/>
                  <a:gd name="connsiteX600" fmla="*/ 1547179 w 2708532"/>
                  <a:gd name="connsiteY600" fmla="*/ 108271 h 820230"/>
                  <a:gd name="connsiteX601" fmla="*/ 1547179 w 2708532"/>
                  <a:gd name="connsiteY601" fmla="*/ 106507 h 820230"/>
                  <a:gd name="connsiteX602" fmla="*/ 1543387 w 2708532"/>
                  <a:gd name="connsiteY602" fmla="*/ 105626 h 820230"/>
                  <a:gd name="connsiteX603" fmla="*/ 1537216 w 2708532"/>
                  <a:gd name="connsiteY603" fmla="*/ 103862 h 820230"/>
                  <a:gd name="connsiteX604" fmla="*/ 1531132 w 2708532"/>
                  <a:gd name="connsiteY604" fmla="*/ 101482 h 820230"/>
                  <a:gd name="connsiteX605" fmla="*/ 1530250 w 2708532"/>
                  <a:gd name="connsiteY605" fmla="*/ 99718 h 820230"/>
                  <a:gd name="connsiteX606" fmla="*/ 1530250 w 2708532"/>
                  <a:gd name="connsiteY606" fmla="*/ 98837 h 820230"/>
                  <a:gd name="connsiteX607" fmla="*/ 1527341 w 2708532"/>
                  <a:gd name="connsiteY607" fmla="*/ 95927 h 820230"/>
                  <a:gd name="connsiteX608" fmla="*/ 1526988 w 2708532"/>
                  <a:gd name="connsiteY608" fmla="*/ 94164 h 820230"/>
                  <a:gd name="connsiteX609" fmla="*/ 1523814 w 2708532"/>
                  <a:gd name="connsiteY609" fmla="*/ 92400 h 820230"/>
                  <a:gd name="connsiteX610" fmla="*/ 1522933 w 2708532"/>
                  <a:gd name="connsiteY610" fmla="*/ 89491 h 820230"/>
                  <a:gd name="connsiteX611" fmla="*/ 1520287 w 2708532"/>
                  <a:gd name="connsiteY611" fmla="*/ 90637 h 820230"/>
                  <a:gd name="connsiteX612" fmla="*/ 1518260 w 2708532"/>
                  <a:gd name="connsiteY612" fmla="*/ 91254 h 820230"/>
                  <a:gd name="connsiteX613" fmla="*/ 1516496 w 2708532"/>
                  <a:gd name="connsiteY613" fmla="*/ 89755 h 820230"/>
                  <a:gd name="connsiteX614" fmla="*/ 1514468 w 2708532"/>
                  <a:gd name="connsiteY614" fmla="*/ 88609 h 820230"/>
                  <a:gd name="connsiteX615" fmla="*/ 1510677 w 2708532"/>
                  <a:gd name="connsiteY615" fmla="*/ 87992 h 820230"/>
                  <a:gd name="connsiteX616" fmla="*/ 1510677 w 2708532"/>
                  <a:gd name="connsiteY616" fmla="*/ 85964 h 820230"/>
                  <a:gd name="connsiteX617" fmla="*/ 1508297 w 2708532"/>
                  <a:gd name="connsiteY617" fmla="*/ 86229 h 820230"/>
                  <a:gd name="connsiteX618" fmla="*/ 1502478 w 2708532"/>
                  <a:gd name="connsiteY618" fmla="*/ 85964 h 820230"/>
                  <a:gd name="connsiteX619" fmla="*/ 1496041 w 2708532"/>
                  <a:gd name="connsiteY619" fmla="*/ 85700 h 820230"/>
                  <a:gd name="connsiteX620" fmla="*/ 1494542 w 2708532"/>
                  <a:gd name="connsiteY620" fmla="*/ 83936 h 820230"/>
                  <a:gd name="connsiteX621" fmla="*/ 1495160 w 2708532"/>
                  <a:gd name="connsiteY621" fmla="*/ 82790 h 820230"/>
                  <a:gd name="connsiteX622" fmla="*/ 1491986 w 2708532"/>
                  <a:gd name="connsiteY622" fmla="*/ 83055 h 820230"/>
                  <a:gd name="connsiteX623" fmla="*/ 1490839 w 2708532"/>
                  <a:gd name="connsiteY623" fmla="*/ 80762 h 820230"/>
                  <a:gd name="connsiteX624" fmla="*/ 1489693 w 2708532"/>
                  <a:gd name="connsiteY624" fmla="*/ 80145 h 820230"/>
                  <a:gd name="connsiteX625" fmla="*/ 1487665 w 2708532"/>
                  <a:gd name="connsiteY625" fmla="*/ 80762 h 820230"/>
                  <a:gd name="connsiteX626" fmla="*/ 1486519 w 2708532"/>
                  <a:gd name="connsiteY626" fmla="*/ 80762 h 820230"/>
                  <a:gd name="connsiteX627" fmla="*/ 1482463 w 2708532"/>
                  <a:gd name="connsiteY627" fmla="*/ 80145 h 820230"/>
                  <a:gd name="connsiteX628" fmla="*/ 1479818 w 2708532"/>
                  <a:gd name="connsiteY628" fmla="*/ 81908 h 820230"/>
                  <a:gd name="connsiteX629" fmla="*/ 1477173 w 2708532"/>
                  <a:gd name="connsiteY629" fmla="*/ 79881 h 820230"/>
                  <a:gd name="connsiteX630" fmla="*/ 1475410 w 2708532"/>
                  <a:gd name="connsiteY630" fmla="*/ 80762 h 820230"/>
                  <a:gd name="connsiteX631" fmla="*/ 1474793 w 2708532"/>
                  <a:gd name="connsiteY631" fmla="*/ 82173 h 820230"/>
                  <a:gd name="connsiteX632" fmla="*/ 1472148 w 2708532"/>
                  <a:gd name="connsiteY632" fmla="*/ 81291 h 820230"/>
                  <a:gd name="connsiteX633" fmla="*/ 1471530 w 2708532"/>
                  <a:gd name="connsiteY633" fmla="*/ 83055 h 820230"/>
                  <a:gd name="connsiteX634" fmla="*/ 1469238 w 2708532"/>
                  <a:gd name="connsiteY634" fmla="*/ 85964 h 820230"/>
                  <a:gd name="connsiteX635" fmla="*/ 1467828 w 2708532"/>
                  <a:gd name="connsiteY635" fmla="*/ 83672 h 820230"/>
                  <a:gd name="connsiteX636" fmla="*/ 1466328 w 2708532"/>
                  <a:gd name="connsiteY636" fmla="*/ 82173 h 820230"/>
                  <a:gd name="connsiteX637" fmla="*/ 1467475 w 2708532"/>
                  <a:gd name="connsiteY637" fmla="*/ 81556 h 820230"/>
                  <a:gd name="connsiteX638" fmla="*/ 1462273 w 2708532"/>
                  <a:gd name="connsiteY638" fmla="*/ 81556 h 820230"/>
                  <a:gd name="connsiteX639" fmla="*/ 1462008 w 2708532"/>
                  <a:gd name="connsiteY639" fmla="*/ 79528 h 820230"/>
                  <a:gd name="connsiteX640" fmla="*/ 1460245 w 2708532"/>
                  <a:gd name="connsiteY640" fmla="*/ 80145 h 820230"/>
                  <a:gd name="connsiteX641" fmla="*/ 1459098 w 2708532"/>
                  <a:gd name="connsiteY641" fmla="*/ 80762 h 820230"/>
                  <a:gd name="connsiteX642" fmla="*/ 1455925 w 2708532"/>
                  <a:gd name="connsiteY642" fmla="*/ 79881 h 820230"/>
                  <a:gd name="connsiteX643" fmla="*/ 1453280 w 2708532"/>
                  <a:gd name="connsiteY643" fmla="*/ 79881 h 820230"/>
                  <a:gd name="connsiteX644" fmla="*/ 1451252 w 2708532"/>
                  <a:gd name="connsiteY644" fmla="*/ 79263 h 820230"/>
                  <a:gd name="connsiteX645" fmla="*/ 1448871 w 2708532"/>
                  <a:gd name="connsiteY645" fmla="*/ 79881 h 820230"/>
                  <a:gd name="connsiteX646" fmla="*/ 1447725 w 2708532"/>
                  <a:gd name="connsiteY646" fmla="*/ 79616 h 820230"/>
                  <a:gd name="connsiteX647" fmla="*/ 1443669 w 2708532"/>
                  <a:gd name="connsiteY647" fmla="*/ 79616 h 820230"/>
                  <a:gd name="connsiteX648" fmla="*/ 1443052 w 2708532"/>
                  <a:gd name="connsiteY648" fmla="*/ 78117 h 820230"/>
                  <a:gd name="connsiteX649" fmla="*/ 1441906 w 2708532"/>
                  <a:gd name="connsiteY649" fmla="*/ 76971 h 820230"/>
                  <a:gd name="connsiteX650" fmla="*/ 1436969 w 2708532"/>
                  <a:gd name="connsiteY650" fmla="*/ 77588 h 820230"/>
                  <a:gd name="connsiteX651" fmla="*/ 1435205 w 2708532"/>
                  <a:gd name="connsiteY651" fmla="*/ 76706 h 820230"/>
                  <a:gd name="connsiteX652" fmla="*/ 1430797 w 2708532"/>
                  <a:gd name="connsiteY652" fmla="*/ 75825 h 820230"/>
                  <a:gd name="connsiteX653" fmla="*/ 1430180 w 2708532"/>
                  <a:gd name="connsiteY653" fmla="*/ 74943 h 820230"/>
                  <a:gd name="connsiteX654" fmla="*/ 1428681 w 2708532"/>
                  <a:gd name="connsiteY654" fmla="*/ 73444 h 820230"/>
                  <a:gd name="connsiteX655" fmla="*/ 1426388 w 2708532"/>
                  <a:gd name="connsiteY655" fmla="*/ 73709 h 820230"/>
                  <a:gd name="connsiteX656" fmla="*/ 1425771 w 2708532"/>
                  <a:gd name="connsiteY656" fmla="*/ 72827 h 820230"/>
                  <a:gd name="connsiteX657" fmla="*/ 1423743 w 2708532"/>
                  <a:gd name="connsiteY657" fmla="*/ 73973 h 820230"/>
                  <a:gd name="connsiteX658" fmla="*/ 1424008 w 2708532"/>
                  <a:gd name="connsiteY658" fmla="*/ 74855 h 820230"/>
                  <a:gd name="connsiteX659" fmla="*/ 1422861 w 2708532"/>
                  <a:gd name="connsiteY659" fmla="*/ 76001 h 820230"/>
                  <a:gd name="connsiteX660" fmla="*/ 1419952 w 2708532"/>
                  <a:gd name="connsiteY660" fmla="*/ 77500 h 820230"/>
                  <a:gd name="connsiteX661" fmla="*/ 1418806 w 2708532"/>
                  <a:gd name="connsiteY661" fmla="*/ 76883 h 820230"/>
                  <a:gd name="connsiteX662" fmla="*/ 1417043 w 2708532"/>
                  <a:gd name="connsiteY662" fmla="*/ 76001 h 820230"/>
                  <a:gd name="connsiteX663" fmla="*/ 1415543 w 2708532"/>
                  <a:gd name="connsiteY663" fmla="*/ 77765 h 820230"/>
                  <a:gd name="connsiteX664" fmla="*/ 1416425 w 2708532"/>
                  <a:gd name="connsiteY664" fmla="*/ 79528 h 820230"/>
                  <a:gd name="connsiteX665" fmla="*/ 1416689 w 2708532"/>
                  <a:gd name="connsiteY665" fmla="*/ 81556 h 820230"/>
                  <a:gd name="connsiteX666" fmla="*/ 1418718 w 2708532"/>
                  <a:gd name="connsiteY666" fmla="*/ 84730 h 820230"/>
                  <a:gd name="connsiteX667" fmla="*/ 1420216 w 2708532"/>
                  <a:gd name="connsiteY667" fmla="*/ 86229 h 820230"/>
                  <a:gd name="connsiteX668" fmla="*/ 1423743 w 2708532"/>
                  <a:gd name="connsiteY668" fmla="*/ 87110 h 820230"/>
                  <a:gd name="connsiteX669" fmla="*/ 1427535 w 2708532"/>
                  <a:gd name="connsiteY669" fmla="*/ 87639 h 820230"/>
                  <a:gd name="connsiteX670" fmla="*/ 1428681 w 2708532"/>
                  <a:gd name="connsiteY670" fmla="*/ 89667 h 820230"/>
                  <a:gd name="connsiteX671" fmla="*/ 1428945 w 2708532"/>
                  <a:gd name="connsiteY671" fmla="*/ 91431 h 820230"/>
                  <a:gd name="connsiteX672" fmla="*/ 1428945 w 2708532"/>
                  <a:gd name="connsiteY672" fmla="*/ 93723 h 820230"/>
                  <a:gd name="connsiteX673" fmla="*/ 1426653 w 2708532"/>
                  <a:gd name="connsiteY673" fmla="*/ 91960 h 820230"/>
                  <a:gd name="connsiteX674" fmla="*/ 1425506 w 2708532"/>
                  <a:gd name="connsiteY674" fmla="*/ 91078 h 820230"/>
                  <a:gd name="connsiteX675" fmla="*/ 1422861 w 2708532"/>
                  <a:gd name="connsiteY675" fmla="*/ 91078 h 820230"/>
                  <a:gd name="connsiteX676" fmla="*/ 1419070 w 2708532"/>
                  <a:gd name="connsiteY676" fmla="*/ 91695 h 820230"/>
                  <a:gd name="connsiteX677" fmla="*/ 1418541 w 2708532"/>
                  <a:gd name="connsiteY677" fmla="*/ 92841 h 820230"/>
                  <a:gd name="connsiteX678" fmla="*/ 1416160 w 2708532"/>
                  <a:gd name="connsiteY678" fmla="*/ 91431 h 820230"/>
                  <a:gd name="connsiteX679" fmla="*/ 1412105 w 2708532"/>
                  <a:gd name="connsiteY679" fmla="*/ 91166 h 820230"/>
                  <a:gd name="connsiteX680" fmla="*/ 1409460 w 2708532"/>
                  <a:gd name="connsiteY680" fmla="*/ 90549 h 820230"/>
                  <a:gd name="connsiteX681" fmla="*/ 1408843 w 2708532"/>
                  <a:gd name="connsiteY681" fmla="*/ 87639 h 820230"/>
                  <a:gd name="connsiteX682" fmla="*/ 1406815 w 2708532"/>
                  <a:gd name="connsiteY682" fmla="*/ 92312 h 820230"/>
                  <a:gd name="connsiteX683" fmla="*/ 1404522 w 2708532"/>
                  <a:gd name="connsiteY683" fmla="*/ 93194 h 820230"/>
                  <a:gd name="connsiteX684" fmla="*/ 1400731 w 2708532"/>
                  <a:gd name="connsiteY684" fmla="*/ 92048 h 820230"/>
                  <a:gd name="connsiteX685" fmla="*/ 1396940 w 2708532"/>
                  <a:gd name="connsiteY685" fmla="*/ 93811 h 820230"/>
                  <a:gd name="connsiteX686" fmla="*/ 1395441 w 2708532"/>
                  <a:gd name="connsiteY686" fmla="*/ 90902 h 820230"/>
                  <a:gd name="connsiteX687" fmla="*/ 1389005 w 2708532"/>
                  <a:gd name="connsiteY687" fmla="*/ 89755 h 820230"/>
                  <a:gd name="connsiteX688" fmla="*/ 1388123 w 2708532"/>
                  <a:gd name="connsiteY688" fmla="*/ 91783 h 820230"/>
                  <a:gd name="connsiteX689" fmla="*/ 1386624 w 2708532"/>
                  <a:gd name="connsiteY689" fmla="*/ 89755 h 820230"/>
                  <a:gd name="connsiteX690" fmla="*/ 1384244 w 2708532"/>
                  <a:gd name="connsiteY690" fmla="*/ 90020 h 820230"/>
                  <a:gd name="connsiteX691" fmla="*/ 1382568 w 2708532"/>
                  <a:gd name="connsiteY691" fmla="*/ 92048 h 820230"/>
                  <a:gd name="connsiteX692" fmla="*/ 1383979 w 2708532"/>
                  <a:gd name="connsiteY692" fmla="*/ 90020 h 820230"/>
                  <a:gd name="connsiteX693" fmla="*/ 1384155 w 2708532"/>
                  <a:gd name="connsiteY693" fmla="*/ 90020 h 820230"/>
                  <a:gd name="connsiteX694" fmla="*/ 1386272 w 2708532"/>
                  <a:gd name="connsiteY694" fmla="*/ 87375 h 820230"/>
                  <a:gd name="connsiteX695" fmla="*/ 1380452 w 2708532"/>
                  <a:gd name="connsiteY695" fmla="*/ 87992 h 820230"/>
                  <a:gd name="connsiteX696" fmla="*/ 1377190 w 2708532"/>
                  <a:gd name="connsiteY696" fmla="*/ 90020 h 820230"/>
                  <a:gd name="connsiteX697" fmla="*/ 1373134 w 2708532"/>
                  <a:gd name="connsiteY697" fmla="*/ 88874 h 820230"/>
                  <a:gd name="connsiteX698" fmla="*/ 1371988 w 2708532"/>
                  <a:gd name="connsiteY698" fmla="*/ 90902 h 820230"/>
                  <a:gd name="connsiteX699" fmla="*/ 1370578 w 2708532"/>
                  <a:gd name="connsiteY699" fmla="*/ 92665 h 820230"/>
                  <a:gd name="connsiteX700" fmla="*/ 1367668 w 2708532"/>
                  <a:gd name="connsiteY700" fmla="*/ 93282 h 820230"/>
                  <a:gd name="connsiteX701" fmla="*/ 1366786 w 2708532"/>
                  <a:gd name="connsiteY701" fmla="*/ 91783 h 820230"/>
                  <a:gd name="connsiteX702" fmla="*/ 1364759 w 2708532"/>
                  <a:gd name="connsiteY702" fmla="*/ 90284 h 820230"/>
                  <a:gd name="connsiteX703" fmla="*/ 1360350 w 2708532"/>
                  <a:gd name="connsiteY703" fmla="*/ 90902 h 820230"/>
                  <a:gd name="connsiteX704" fmla="*/ 1360086 w 2708532"/>
                  <a:gd name="connsiteY704" fmla="*/ 88874 h 820230"/>
                  <a:gd name="connsiteX705" fmla="*/ 1359468 w 2708532"/>
                  <a:gd name="connsiteY705" fmla="*/ 87728 h 820230"/>
                  <a:gd name="connsiteX706" fmla="*/ 1357441 w 2708532"/>
                  <a:gd name="connsiteY706" fmla="*/ 88609 h 820230"/>
                  <a:gd name="connsiteX707" fmla="*/ 1354531 w 2708532"/>
                  <a:gd name="connsiteY707" fmla="*/ 87992 h 820230"/>
                  <a:gd name="connsiteX708" fmla="*/ 1351357 w 2708532"/>
                  <a:gd name="connsiteY708" fmla="*/ 87728 h 820230"/>
                  <a:gd name="connsiteX709" fmla="*/ 1352503 w 2708532"/>
                  <a:gd name="connsiteY709" fmla="*/ 87463 h 820230"/>
                  <a:gd name="connsiteX710" fmla="*/ 1350740 w 2708532"/>
                  <a:gd name="connsiteY710" fmla="*/ 85964 h 820230"/>
                  <a:gd name="connsiteX711" fmla="*/ 1351004 w 2708532"/>
                  <a:gd name="connsiteY711" fmla="*/ 83672 h 820230"/>
                  <a:gd name="connsiteX712" fmla="*/ 1352150 w 2708532"/>
                  <a:gd name="connsiteY712" fmla="*/ 82790 h 820230"/>
                  <a:gd name="connsiteX713" fmla="*/ 1354443 w 2708532"/>
                  <a:gd name="connsiteY713" fmla="*/ 82173 h 820230"/>
                  <a:gd name="connsiteX714" fmla="*/ 1356206 w 2708532"/>
                  <a:gd name="connsiteY714" fmla="*/ 82437 h 820230"/>
                  <a:gd name="connsiteX715" fmla="*/ 1356471 w 2708532"/>
                  <a:gd name="connsiteY715" fmla="*/ 81556 h 820230"/>
                  <a:gd name="connsiteX716" fmla="*/ 1353561 w 2708532"/>
                  <a:gd name="connsiteY716" fmla="*/ 80939 h 820230"/>
                  <a:gd name="connsiteX717" fmla="*/ 1350916 w 2708532"/>
                  <a:gd name="connsiteY717" fmla="*/ 80321 h 820230"/>
                  <a:gd name="connsiteX718" fmla="*/ 1348888 w 2708532"/>
                  <a:gd name="connsiteY718" fmla="*/ 79175 h 820230"/>
                  <a:gd name="connsiteX719" fmla="*/ 1345097 w 2708532"/>
                  <a:gd name="connsiteY719" fmla="*/ 79792 h 820230"/>
                  <a:gd name="connsiteX720" fmla="*/ 1342804 w 2708532"/>
                  <a:gd name="connsiteY720" fmla="*/ 79175 h 820230"/>
                  <a:gd name="connsiteX721" fmla="*/ 1341923 w 2708532"/>
                  <a:gd name="connsiteY721" fmla="*/ 78558 h 820230"/>
                  <a:gd name="connsiteX722" fmla="*/ 1337514 w 2708532"/>
                  <a:gd name="connsiteY722" fmla="*/ 79704 h 820230"/>
                  <a:gd name="connsiteX723" fmla="*/ 1338396 w 2708532"/>
                  <a:gd name="connsiteY723" fmla="*/ 82349 h 820230"/>
                  <a:gd name="connsiteX724" fmla="*/ 1335751 w 2708532"/>
                  <a:gd name="connsiteY724" fmla="*/ 81732 h 820230"/>
                  <a:gd name="connsiteX725" fmla="*/ 1332842 w 2708532"/>
                  <a:gd name="connsiteY725" fmla="*/ 83231 h 820230"/>
                  <a:gd name="connsiteX726" fmla="*/ 1330814 w 2708532"/>
                  <a:gd name="connsiteY726" fmla="*/ 83231 h 820230"/>
                  <a:gd name="connsiteX727" fmla="*/ 1329403 w 2708532"/>
                  <a:gd name="connsiteY727" fmla="*/ 81732 h 820230"/>
                  <a:gd name="connsiteX728" fmla="*/ 1328257 w 2708532"/>
                  <a:gd name="connsiteY728" fmla="*/ 80586 h 820230"/>
                  <a:gd name="connsiteX729" fmla="*/ 1331431 w 2708532"/>
                  <a:gd name="connsiteY729" fmla="*/ 85259 h 820230"/>
                  <a:gd name="connsiteX730" fmla="*/ 1327022 w 2708532"/>
                  <a:gd name="connsiteY730" fmla="*/ 84994 h 820230"/>
                  <a:gd name="connsiteX731" fmla="*/ 1322702 w 2708532"/>
                  <a:gd name="connsiteY731" fmla="*/ 83584 h 820230"/>
                  <a:gd name="connsiteX732" fmla="*/ 1321204 w 2708532"/>
                  <a:gd name="connsiteY732" fmla="*/ 83319 h 820230"/>
                  <a:gd name="connsiteX733" fmla="*/ 1319440 w 2708532"/>
                  <a:gd name="connsiteY733" fmla="*/ 84818 h 820230"/>
                  <a:gd name="connsiteX734" fmla="*/ 1319440 w 2708532"/>
                  <a:gd name="connsiteY734" fmla="*/ 83319 h 820230"/>
                  <a:gd name="connsiteX735" fmla="*/ 1317059 w 2708532"/>
                  <a:gd name="connsiteY735" fmla="*/ 82702 h 820230"/>
                  <a:gd name="connsiteX736" fmla="*/ 1314767 w 2708532"/>
                  <a:gd name="connsiteY736" fmla="*/ 84730 h 820230"/>
                  <a:gd name="connsiteX737" fmla="*/ 1313621 w 2708532"/>
                  <a:gd name="connsiteY737" fmla="*/ 82349 h 820230"/>
                  <a:gd name="connsiteX738" fmla="*/ 1313356 w 2708532"/>
                  <a:gd name="connsiteY738" fmla="*/ 81732 h 820230"/>
                  <a:gd name="connsiteX739" fmla="*/ 1310711 w 2708532"/>
                  <a:gd name="connsiteY739" fmla="*/ 83495 h 820230"/>
                  <a:gd name="connsiteX740" fmla="*/ 1308948 w 2708532"/>
                  <a:gd name="connsiteY740" fmla="*/ 81732 h 820230"/>
                  <a:gd name="connsiteX741" fmla="*/ 1306038 w 2708532"/>
                  <a:gd name="connsiteY741" fmla="*/ 82878 h 820230"/>
                  <a:gd name="connsiteX742" fmla="*/ 1304275 w 2708532"/>
                  <a:gd name="connsiteY742" fmla="*/ 83760 h 820230"/>
                  <a:gd name="connsiteX743" fmla="*/ 1308683 w 2708532"/>
                  <a:gd name="connsiteY743" fmla="*/ 79704 h 820230"/>
                  <a:gd name="connsiteX744" fmla="*/ 1304892 w 2708532"/>
                  <a:gd name="connsiteY744" fmla="*/ 80233 h 820230"/>
                  <a:gd name="connsiteX745" fmla="*/ 1302512 w 2708532"/>
                  <a:gd name="connsiteY745" fmla="*/ 81997 h 820230"/>
                  <a:gd name="connsiteX746" fmla="*/ 1300219 w 2708532"/>
                  <a:gd name="connsiteY746" fmla="*/ 80586 h 820230"/>
                  <a:gd name="connsiteX747" fmla="*/ 1298191 w 2708532"/>
                  <a:gd name="connsiteY747" fmla="*/ 79440 h 820230"/>
                  <a:gd name="connsiteX748" fmla="*/ 1300572 w 2708532"/>
                  <a:gd name="connsiteY748" fmla="*/ 83231 h 820230"/>
                  <a:gd name="connsiteX749" fmla="*/ 1295282 w 2708532"/>
                  <a:gd name="connsiteY749" fmla="*/ 80586 h 820230"/>
                  <a:gd name="connsiteX750" fmla="*/ 1292990 w 2708532"/>
                  <a:gd name="connsiteY750" fmla="*/ 81203 h 820230"/>
                  <a:gd name="connsiteX751" fmla="*/ 1293871 w 2708532"/>
                  <a:gd name="connsiteY751" fmla="*/ 78558 h 820230"/>
                  <a:gd name="connsiteX752" fmla="*/ 1288581 w 2708532"/>
                  <a:gd name="connsiteY752" fmla="*/ 81732 h 820230"/>
                  <a:gd name="connsiteX753" fmla="*/ 1283908 w 2708532"/>
                  <a:gd name="connsiteY753" fmla="*/ 82878 h 820230"/>
                  <a:gd name="connsiteX754" fmla="*/ 1283644 w 2708532"/>
                  <a:gd name="connsiteY754" fmla="*/ 80586 h 820230"/>
                  <a:gd name="connsiteX755" fmla="*/ 1282233 w 2708532"/>
                  <a:gd name="connsiteY755" fmla="*/ 82349 h 820230"/>
                  <a:gd name="connsiteX756" fmla="*/ 1277295 w 2708532"/>
                  <a:gd name="connsiteY756" fmla="*/ 83231 h 820230"/>
                  <a:gd name="connsiteX757" fmla="*/ 1277295 w 2708532"/>
                  <a:gd name="connsiteY757" fmla="*/ 84994 h 820230"/>
                  <a:gd name="connsiteX758" fmla="*/ 1277031 w 2708532"/>
                  <a:gd name="connsiteY758" fmla="*/ 86758 h 820230"/>
                  <a:gd name="connsiteX759" fmla="*/ 1274386 w 2708532"/>
                  <a:gd name="connsiteY759" fmla="*/ 85259 h 820230"/>
                  <a:gd name="connsiteX760" fmla="*/ 1273240 w 2708532"/>
                  <a:gd name="connsiteY760" fmla="*/ 82614 h 820230"/>
                  <a:gd name="connsiteX761" fmla="*/ 1272094 w 2708532"/>
                  <a:gd name="connsiteY761" fmla="*/ 84024 h 820230"/>
                  <a:gd name="connsiteX762" fmla="*/ 1270947 w 2708532"/>
                  <a:gd name="connsiteY762" fmla="*/ 82614 h 820230"/>
                  <a:gd name="connsiteX763" fmla="*/ 1269184 w 2708532"/>
                  <a:gd name="connsiteY763" fmla="*/ 84642 h 820230"/>
                  <a:gd name="connsiteX764" fmla="*/ 1266274 w 2708532"/>
                  <a:gd name="connsiteY764" fmla="*/ 84377 h 820230"/>
                  <a:gd name="connsiteX765" fmla="*/ 1266010 w 2708532"/>
                  <a:gd name="connsiteY765" fmla="*/ 82349 h 820230"/>
                  <a:gd name="connsiteX766" fmla="*/ 1265745 w 2708532"/>
                  <a:gd name="connsiteY766" fmla="*/ 80586 h 820230"/>
                  <a:gd name="connsiteX767" fmla="*/ 1264335 w 2708532"/>
                  <a:gd name="connsiteY767" fmla="*/ 79087 h 820230"/>
                  <a:gd name="connsiteX768" fmla="*/ 1262571 w 2708532"/>
                  <a:gd name="connsiteY768" fmla="*/ 77059 h 820230"/>
                  <a:gd name="connsiteX769" fmla="*/ 1260191 w 2708532"/>
                  <a:gd name="connsiteY769" fmla="*/ 77676 h 820230"/>
                  <a:gd name="connsiteX770" fmla="*/ 1259309 w 2708532"/>
                  <a:gd name="connsiteY770" fmla="*/ 76177 h 820230"/>
                  <a:gd name="connsiteX771" fmla="*/ 1257546 w 2708532"/>
                  <a:gd name="connsiteY771" fmla="*/ 76177 h 820230"/>
                  <a:gd name="connsiteX772" fmla="*/ 1256664 w 2708532"/>
                  <a:gd name="connsiteY772" fmla="*/ 74414 h 820230"/>
                  <a:gd name="connsiteX773" fmla="*/ 1255782 w 2708532"/>
                  <a:gd name="connsiteY773" fmla="*/ 73268 h 820230"/>
                  <a:gd name="connsiteX774" fmla="*/ 1252873 w 2708532"/>
                  <a:gd name="connsiteY774" fmla="*/ 73003 h 820230"/>
                  <a:gd name="connsiteX775" fmla="*/ 1251727 w 2708532"/>
                  <a:gd name="connsiteY775" fmla="*/ 73621 h 820230"/>
                  <a:gd name="connsiteX776" fmla="*/ 1251727 w 2708532"/>
                  <a:gd name="connsiteY776" fmla="*/ 74767 h 820230"/>
                  <a:gd name="connsiteX777" fmla="*/ 1249963 w 2708532"/>
                  <a:gd name="connsiteY777" fmla="*/ 77059 h 820230"/>
                  <a:gd name="connsiteX778" fmla="*/ 1250845 w 2708532"/>
                  <a:gd name="connsiteY778" fmla="*/ 79087 h 820230"/>
                  <a:gd name="connsiteX779" fmla="*/ 1250845 w 2708532"/>
                  <a:gd name="connsiteY779" fmla="*/ 81115 h 820230"/>
                  <a:gd name="connsiteX780" fmla="*/ 1248552 w 2708532"/>
                  <a:gd name="connsiteY780" fmla="*/ 79969 h 820230"/>
                  <a:gd name="connsiteX781" fmla="*/ 1248288 w 2708532"/>
                  <a:gd name="connsiteY781" fmla="*/ 78470 h 820230"/>
                  <a:gd name="connsiteX782" fmla="*/ 1248288 w 2708532"/>
                  <a:gd name="connsiteY782" fmla="*/ 77324 h 820230"/>
                  <a:gd name="connsiteX783" fmla="*/ 1247142 w 2708532"/>
                  <a:gd name="connsiteY783" fmla="*/ 78205 h 820230"/>
                  <a:gd name="connsiteX784" fmla="*/ 1242204 w 2708532"/>
                  <a:gd name="connsiteY784" fmla="*/ 79087 h 820230"/>
                  <a:gd name="connsiteX785" fmla="*/ 1241323 w 2708532"/>
                  <a:gd name="connsiteY785" fmla="*/ 78470 h 820230"/>
                  <a:gd name="connsiteX786" fmla="*/ 1237796 w 2708532"/>
                  <a:gd name="connsiteY786" fmla="*/ 80498 h 820230"/>
                  <a:gd name="connsiteX787" fmla="*/ 1236650 w 2708532"/>
                  <a:gd name="connsiteY787" fmla="*/ 79352 h 820230"/>
                  <a:gd name="connsiteX788" fmla="*/ 1233476 w 2708532"/>
                  <a:gd name="connsiteY788" fmla="*/ 79087 h 820230"/>
                  <a:gd name="connsiteX789" fmla="*/ 1231712 w 2708532"/>
                  <a:gd name="connsiteY789" fmla="*/ 79352 h 820230"/>
                  <a:gd name="connsiteX790" fmla="*/ 1230831 w 2708532"/>
                  <a:gd name="connsiteY790" fmla="*/ 78470 h 820230"/>
                  <a:gd name="connsiteX791" fmla="*/ 1228538 w 2708532"/>
                  <a:gd name="connsiteY791" fmla="*/ 78734 h 820230"/>
                  <a:gd name="connsiteX792" fmla="*/ 1226246 w 2708532"/>
                  <a:gd name="connsiteY792" fmla="*/ 74061 h 820230"/>
                  <a:gd name="connsiteX793" fmla="*/ 1223336 w 2708532"/>
                  <a:gd name="connsiteY793" fmla="*/ 71769 h 820230"/>
                  <a:gd name="connsiteX794" fmla="*/ 1222190 w 2708532"/>
                  <a:gd name="connsiteY794" fmla="*/ 70006 h 820230"/>
                  <a:gd name="connsiteX795" fmla="*/ 1216635 w 2708532"/>
                  <a:gd name="connsiteY795" fmla="*/ 73797 h 820230"/>
                  <a:gd name="connsiteX796" fmla="*/ 1213109 w 2708532"/>
                  <a:gd name="connsiteY796" fmla="*/ 72651 h 820230"/>
                  <a:gd name="connsiteX797" fmla="*/ 1213109 w 2708532"/>
                  <a:gd name="connsiteY797" fmla="*/ 71769 h 820230"/>
                  <a:gd name="connsiteX798" fmla="*/ 1207025 w 2708532"/>
                  <a:gd name="connsiteY798" fmla="*/ 73532 h 820230"/>
                  <a:gd name="connsiteX799" fmla="*/ 1203763 w 2708532"/>
                  <a:gd name="connsiteY799" fmla="*/ 72386 h 820230"/>
                  <a:gd name="connsiteX800" fmla="*/ 1202881 w 2708532"/>
                  <a:gd name="connsiteY800" fmla="*/ 75296 h 820230"/>
                  <a:gd name="connsiteX801" fmla="*/ 1200236 w 2708532"/>
                  <a:gd name="connsiteY801" fmla="*/ 73268 h 820230"/>
                  <a:gd name="connsiteX802" fmla="*/ 1199355 w 2708532"/>
                  <a:gd name="connsiteY802" fmla="*/ 77059 h 820230"/>
                  <a:gd name="connsiteX803" fmla="*/ 1201382 w 2708532"/>
                  <a:gd name="connsiteY803" fmla="*/ 78205 h 820230"/>
                  <a:gd name="connsiteX804" fmla="*/ 1206320 w 2708532"/>
                  <a:gd name="connsiteY804" fmla="*/ 78470 h 820230"/>
                  <a:gd name="connsiteX805" fmla="*/ 1212492 w 2708532"/>
                  <a:gd name="connsiteY805" fmla="*/ 78470 h 820230"/>
                  <a:gd name="connsiteX806" fmla="*/ 1216019 w 2708532"/>
                  <a:gd name="connsiteY806" fmla="*/ 79087 h 820230"/>
                  <a:gd name="connsiteX807" fmla="*/ 1215401 w 2708532"/>
                  <a:gd name="connsiteY807" fmla="*/ 82261 h 820230"/>
                  <a:gd name="connsiteX808" fmla="*/ 1213373 w 2708532"/>
                  <a:gd name="connsiteY808" fmla="*/ 84024 h 820230"/>
                  <a:gd name="connsiteX809" fmla="*/ 1210817 w 2708532"/>
                  <a:gd name="connsiteY809" fmla="*/ 85171 h 820230"/>
                  <a:gd name="connsiteX810" fmla="*/ 1211081 w 2708532"/>
                  <a:gd name="connsiteY810" fmla="*/ 82878 h 820230"/>
                  <a:gd name="connsiteX811" fmla="*/ 1206408 w 2708532"/>
                  <a:gd name="connsiteY811" fmla="*/ 83143 h 820230"/>
                  <a:gd name="connsiteX812" fmla="*/ 1203763 w 2708532"/>
                  <a:gd name="connsiteY812" fmla="*/ 84024 h 820230"/>
                  <a:gd name="connsiteX813" fmla="*/ 1203146 w 2708532"/>
                  <a:gd name="connsiteY813" fmla="*/ 85171 h 820230"/>
                  <a:gd name="connsiteX814" fmla="*/ 1202881 w 2708532"/>
                  <a:gd name="connsiteY814" fmla="*/ 86934 h 820230"/>
                  <a:gd name="connsiteX815" fmla="*/ 1197062 w 2708532"/>
                  <a:gd name="connsiteY815" fmla="*/ 88962 h 820230"/>
                  <a:gd name="connsiteX816" fmla="*/ 1196181 w 2708532"/>
                  <a:gd name="connsiteY816" fmla="*/ 88080 h 820230"/>
                  <a:gd name="connsiteX817" fmla="*/ 1191508 w 2708532"/>
                  <a:gd name="connsiteY817" fmla="*/ 87992 h 820230"/>
                  <a:gd name="connsiteX818" fmla="*/ 1188598 w 2708532"/>
                  <a:gd name="connsiteY818" fmla="*/ 88874 h 820230"/>
                  <a:gd name="connsiteX819" fmla="*/ 1188951 w 2708532"/>
                  <a:gd name="connsiteY819" fmla="*/ 90284 h 820230"/>
                  <a:gd name="connsiteX820" fmla="*/ 1189392 w 2708532"/>
                  <a:gd name="connsiteY820" fmla="*/ 90284 h 820230"/>
                  <a:gd name="connsiteX821" fmla="*/ 1189392 w 2708532"/>
                  <a:gd name="connsiteY821" fmla="*/ 92048 h 820230"/>
                  <a:gd name="connsiteX822" fmla="*/ 1188951 w 2708532"/>
                  <a:gd name="connsiteY822" fmla="*/ 90284 h 820230"/>
                  <a:gd name="connsiteX823" fmla="*/ 1183925 w 2708532"/>
                  <a:gd name="connsiteY823" fmla="*/ 90020 h 820230"/>
                  <a:gd name="connsiteX824" fmla="*/ 1182514 w 2708532"/>
                  <a:gd name="connsiteY824" fmla="*/ 92929 h 820230"/>
                  <a:gd name="connsiteX825" fmla="*/ 1177842 w 2708532"/>
                  <a:gd name="connsiteY825" fmla="*/ 93811 h 820230"/>
                  <a:gd name="connsiteX826" fmla="*/ 1176960 w 2708532"/>
                  <a:gd name="connsiteY826" fmla="*/ 91783 h 820230"/>
                  <a:gd name="connsiteX827" fmla="*/ 1174668 w 2708532"/>
                  <a:gd name="connsiteY827" fmla="*/ 91783 h 820230"/>
                  <a:gd name="connsiteX828" fmla="*/ 1174403 w 2708532"/>
                  <a:gd name="connsiteY828" fmla="*/ 90902 h 820230"/>
                  <a:gd name="connsiteX829" fmla="*/ 1172110 w 2708532"/>
                  <a:gd name="connsiteY829" fmla="*/ 91166 h 820230"/>
                  <a:gd name="connsiteX830" fmla="*/ 1168584 w 2708532"/>
                  <a:gd name="connsiteY830" fmla="*/ 90549 h 820230"/>
                  <a:gd name="connsiteX831" fmla="*/ 1167173 w 2708532"/>
                  <a:gd name="connsiteY831" fmla="*/ 91431 h 820230"/>
                  <a:gd name="connsiteX832" fmla="*/ 1163382 w 2708532"/>
                  <a:gd name="connsiteY832" fmla="*/ 92841 h 820230"/>
                  <a:gd name="connsiteX833" fmla="*/ 1163647 w 2708532"/>
                  <a:gd name="connsiteY833" fmla="*/ 96104 h 820230"/>
                  <a:gd name="connsiteX834" fmla="*/ 1160120 w 2708532"/>
                  <a:gd name="connsiteY834" fmla="*/ 96104 h 820230"/>
                  <a:gd name="connsiteX835" fmla="*/ 1161266 w 2708532"/>
                  <a:gd name="connsiteY835" fmla="*/ 98131 h 820230"/>
                  <a:gd name="connsiteX836" fmla="*/ 1158973 w 2708532"/>
                  <a:gd name="connsiteY836" fmla="*/ 99630 h 820230"/>
                  <a:gd name="connsiteX837" fmla="*/ 1155447 w 2708532"/>
                  <a:gd name="connsiteY837" fmla="*/ 99630 h 820230"/>
                  <a:gd name="connsiteX838" fmla="*/ 1157827 w 2708532"/>
                  <a:gd name="connsiteY838" fmla="*/ 94340 h 820230"/>
                  <a:gd name="connsiteX839" fmla="*/ 1159855 w 2708532"/>
                  <a:gd name="connsiteY839" fmla="*/ 92841 h 820230"/>
                  <a:gd name="connsiteX840" fmla="*/ 1161266 w 2708532"/>
                  <a:gd name="connsiteY840" fmla="*/ 91078 h 820230"/>
                  <a:gd name="connsiteX841" fmla="*/ 1162765 w 2708532"/>
                  <a:gd name="connsiteY841" fmla="*/ 88433 h 820230"/>
                  <a:gd name="connsiteX842" fmla="*/ 1165145 w 2708532"/>
                  <a:gd name="connsiteY842" fmla="*/ 87287 h 820230"/>
                  <a:gd name="connsiteX843" fmla="*/ 1165145 w 2708532"/>
                  <a:gd name="connsiteY843" fmla="*/ 85523 h 820230"/>
                  <a:gd name="connsiteX844" fmla="*/ 1165410 w 2708532"/>
                  <a:gd name="connsiteY844" fmla="*/ 83495 h 820230"/>
                  <a:gd name="connsiteX845" fmla="*/ 1167702 w 2708532"/>
                  <a:gd name="connsiteY845" fmla="*/ 82614 h 820230"/>
                  <a:gd name="connsiteX846" fmla="*/ 1169730 w 2708532"/>
                  <a:gd name="connsiteY846" fmla="*/ 80233 h 820230"/>
                  <a:gd name="connsiteX847" fmla="*/ 1173257 w 2708532"/>
                  <a:gd name="connsiteY847" fmla="*/ 81732 h 820230"/>
                  <a:gd name="connsiteX848" fmla="*/ 1173521 w 2708532"/>
                  <a:gd name="connsiteY848" fmla="*/ 79087 h 820230"/>
                  <a:gd name="connsiteX849" fmla="*/ 1175902 w 2708532"/>
                  <a:gd name="connsiteY849" fmla="*/ 77941 h 820230"/>
                  <a:gd name="connsiteX850" fmla="*/ 1178811 w 2708532"/>
                  <a:gd name="connsiteY850" fmla="*/ 77676 h 820230"/>
                  <a:gd name="connsiteX851" fmla="*/ 1181104 w 2708532"/>
                  <a:gd name="connsiteY851" fmla="*/ 80850 h 820230"/>
                  <a:gd name="connsiteX852" fmla="*/ 1182250 w 2708532"/>
                  <a:gd name="connsiteY852" fmla="*/ 79087 h 820230"/>
                  <a:gd name="connsiteX853" fmla="*/ 1185160 w 2708532"/>
                  <a:gd name="connsiteY853" fmla="*/ 78823 h 820230"/>
                  <a:gd name="connsiteX854" fmla="*/ 1185160 w 2708532"/>
                  <a:gd name="connsiteY854" fmla="*/ 77059 h 820230"/>
                  <a:gd name="connsiteX855" fmla="*/ 1188069 w 2708532"/>
                  <a:gd name="connsiteY855" fmla="*/ 76177 h 820230"/>
                  <a:gd name="connsiteX856" fmla="*/ 1187540 w 2708532"/>
                  <a:gd name="connsiteY856" fmla="*/ 74150 h 820230"/>
                  <a:gd name="connsiteX857" fmla="*/ 1191948 w 2708532"/>
                  <a:gd name="connsiteY857" fmla="*/ 72386 h 820230"/>
                  <a:gd name="connsiteX858" fmla="*/ 1193447 w 2708532"/>
                  <a:gd name="connsiteY858" fmla="*/ 72386 h 820230"/>
                  <a:gd name="connsiteX859" fmla="*/ 1195740 w 2708532"/>
                  <a:gd name="connsiteY859" fmla="*/ 72386 h 820230"/>
                  <a:gd name="connsiteX860" fmla="*/ 1197768 w 2708532"/>
                  <a:gd name="connsiteY860" fmla="*/ 71240 h 820230"/>
                  <a:gd name="connsiteX861" fmla="*/ 1197151 w 2708532"/>
                  <a:gd name="connsiteY861" fmla="*/ 70358 h 820230"/>
                  <a:gd name="connsiteX862" fmla="*/ 1196269 w 2708532"/>
                  <a:gd name="connsiteY862" fmla="*/ 68859 h 820230"/>
                  <a:gd name="connsiteX863" fmla="*/ 1197415 w 2708532"/>
                  <a:gd name="connsiteY863" fmla="*/ 67096 h 820230"/>
                  <a:gd name="connsiteX864" fmla="*/ 1199178 w 2708532"/>
                  <a:gd name="connsiteY864" fmla="*/ 69741 h 820230"/>
                  <a:gd name="connsiteX865" fmla="*/ 1198914 w 2708532"/>
                  <a:gd name="connsiteY865" fmla="*/ 68242 h 820230"/>
                  <a:gd name="connsiteX866" fmla="*/ 1198914 w 2708532"/>
                  <a:gd name="connsiteY866" fmla="*/ 65950 h 820230"/>
                  <a:gd name="connsiteX867" fmla="*/ 1198649 w 2708532"/>
                  <a:gd name="connsiteY867" fmla="*/ 63922 h 820230"/>
                  <a:gd name="connsiteX868" fmla="*/ 1201559 w 2708532"/>
                  <a:gd name="connsiteY868" fmla="*/ 63658 h 820230"/>
                  <a:gd name="connsiteX869" fmla="*/ 1203058 w 2708532"/>
                  <a:gd name="connsiteY869" fmla="*/ 64539 h 820230"/>
                  <a:gd name="connsiteX870" fmla="*/ 1205085 w 2708532"/>
                  <a:gd name="connsiteY870" fmla="*/ 63658 h 820230"/>
                  <a:gd name="connsiteX871" fmla="*/ 1203939 w 2708532"/>
                  <a:gd name="connsiteY871" fmla="*/ 61630 h 820230"/>
                  <a:gd name="connsiteX872" fmla="*/ 1205967 w 2708532"/>
                  <a:gd name="connsiteY872" fmla="*/ 61894 h 820230"/>
                  <a:gd name="connsiteX873" fmla="*/ 1209141 w 2708532"/>
                  <a:gd name="connsiteY873" fmla="*/ 61630 h 820230"/>
                  <a:gd name="connsiteX874" fmla="*/ 1211522 w 2708532"/>
                  <a:gd name="connsiteY874" fmla="*/ 61365 h 820230"/>
                  <a:gd name="connsiteX875" fmla="*/ 1214167 w 2708532"/>
                  <a:gd name="connsiteY875" fmla="*/ 60748 h 820230"/>
                  <a:gd name="connsiteX876" fmla="*/ 1216812 w 2708532"/>
                  <a:gd name="connsiteY876" fmla="*/ 56340 h 820230"/>
                  <a:gd name="connsiteX877" fmla="*/ 1217958 w 2708532"/>
                  <a:gd name="connsiteY877" fmla="*/ 55193 h 820230"/>
                  <a:gd name="connsiteX878" fmla="*/ 1220603 w 2708532"/>
                  <a:gd name="connsiteY878" fmla="*/ 54312 h 820230"/>
                  <a:gd name="connsiteX879" fmla="*/ 1224394 w 2708532"/>
                  <a:gd name="connsiteY879" fmla="*/ 53430 h 820230"/>
                  <a:gd name="connsiteX880" fmla="*/ 1227304 w 2708532"/>
                  <a:gd name="connsiteY880" fmla="*/ 51931 h 820230"/>
                  <a:gd name="connsiteX881" fmla="*/ 1229596 w 2708532"/>
                  <a:gd name="connsiteY881" fmla="*/ 51667 h 820230"/>
                  <a:gd name="connsiteX882" fmla="*/ 1229861 w 2708532"/>
                  <a:gd name="connsiteY882" fmla="*/ 49022 h 820230"/>
                  <a:gd name="connsiteX883" fmla="*/ 1229596 w 2708532"/>
                  <a:gd name="connsiteY883" fmla="*/ 47258 h 820230"/>
                  <a:gd name="connsiteX884" fmla="*/ 1228714 w 2708532"/>
                  <a:gd name="connsiteY884" fmla="*/ 45230 h 820230"/>
                  <a:gd name="connsiteX885" fmla="*/ 1227833 w 2708532"/>
                  <a:gd name="connsiteY885" fmla="*/ 44349 h 820230"/>
                  <a:gd name="connsiteX886" fmla="*/ 1225541 w 2708532"/>
                  <a:gd name="connsiteY886" fmla="*/ 41439 h 820230"/>
                  <a:gd name="connsiteX887" fmla="*/ 1224394 w 2708532"/>
                  <a:gd name="connsiteY887" fmla="*/ 43467 h 820230"/>
                  <a:gd name="connsiteX888" fmla="*/ 1223248 w 2708532"/>
                  <a:gd name="connsiteY888" fmla="*/ 40822 h 820230"/>
                  <a:gd name="connsiteX889" fmla="*/ 1221220 w 2708532"/>
                  <a:gd name="connsiteY889" fmla="*/ 40557 h 820230"/>
                  <a:gd name="connsiteX890" fmla="*/ 1221485 w 2708532"/>
                  <a:gd name="connsiteY890" fmla="*/ 37648 h 820230"/>
                  <a:gd name="connsiteX891" fmla="*/ 1222014 w 2708532"/>
                  <a:gd name="connsiteY891" fmla="*/ 36502 h 820230"/>
                  <a:gd name="connsiteX892" fmla="*/ 1219986 w 2708532"/>
                  <a:gd name="connsiteY892" fmla="*/ 36237 h 820230"/>
                  <a:gd name="connsiteX893" fmla="*/ 1217958 w 2708532"/>
                  <a:gd name="connsiteY893" fmla="*/ 33328 h 820230"/>
                  <a:gd name="connsiteX894" fmla="*/ 1214784 w 2708532"/>
                  <a:gd name="connsiteY894" fmla="*/ 36237 h 820230"/>
                  <a:gd name="connsiteX895" fmla="*/ 1215401 w 2708532"/>
                  <a:gd name="connsiteY895" fmla="*/ 33592 h 820230"/>
                  <a:gd name="connsiteX896" fmla="*/ 1212492 w 2708532"/>
                  <a:gd name="connsiteY896" fmla="*/ 32975 h 820230"/>
                  <a:gd name="connsiteX897" fmla="*/ 1208965 w 2708532"/>
                  <a:gd name="connsiteY897" fmla="*/ 33857 h 820230"/>
                  <a:gd name="connsiteX898" fmla="*/ 1208348 w 2708532"/>
                  <a:gd name="connsiteY898" fmla="*/ 30683 h 820230"/>
                  <a:gd name="connsiteX899" fmla="*/ 1205703 w 2708532"/>
                  <a:gd name="connsiteY899" fmla="*/ 27773 h 820230"/>
                  <a:gd name="connsiteX900" fmla="*/ 1203410 w 2708532"/>
                  <a:gd name="connsiteY900" fmla="*/ 28390 h 820230"/>
                  <a:gd name="connsiteX901" fmla="*/ 1201382 w 2708532"/>
                  <a:gd name="connsiteY901" fmla="*/ 26010 h 820230"/>
                  <a:gd name="connsiteX902" fmla="*/ 1198826 w 2708532"/>
                  <a:gd name="connsiteY902" fmla="*/ 24511 h 820230"/>
                  <a:gd name="connsiteX903" fmla="*/ 1195916 w 2708532"/>
                  <a:gd name="connsiteY903" fmla="*/ 25392 h 820230"/>
                  <a:gd name="connsiteX904" fmla="*/ 1195916 w 2708532"/>
                  <a:gd name="connsiteY904" fmla="*/ 25657 h 820230"/>
                  <a:gd name="connsiteX905" fmla="*/ 1195299 w 2708532"/>
                  <a:gd name="connsiteY905" fmla="*/ 26274 h 820230"/>
                  <a:gd name="connsiteX906" fmla="*/ 1194417 w 2708532"/>
                  <a:gd name="connsiteY906" fmla="*/ 29184 h 820230"/>
                  <a:gd name="connsiteX907" fmla="*/ 1194682 w 2708532"/>
                  <a:gd name="connsiteY907" fmla="*/ 29801 h 820230"/>
                  <a:gd name="connsiteX908" fmla="*/ 1192654 w 2708532"/>
                  <a:gd name="connsiteY908" fmla="*/ 28655 h 820230"/>
                  <a:gd name="connsiteX909" fmla="*/ 1189744 w 2708532"/>
                  <a:gd name="connsiteY909" fmla="*/ 26891 h 820230"/>
                  <a:gd name="connsiteX910" fmla="*/ 1190890 w 2708532"/>
                  <a:gd name="connsiteY910" fmla="*/ 24246 h 820230"/>
                  <a:gd name="connsiteX911" fmla="*/ 1187099 w 2708532"/>
                  <a:gd name="connsiteY911" fmla="*/ 25128 h 820230"/>
                  <a:gd name="connsiteX912" fmla="*/ 1185336 w 2708532"/>
                  <a:gd name="connsiteY912" fmla="*/ 22836 h 820230"/>
                  <a:gd name="connsiteX913" fmla="*/ 1185072 w 2708532"/>
                  <a:gd name="connsiteY913" fmla="*/ 20808 h 820230"/>
                  <a:gd name="connsiteX914" fmla="*/ 1183925 w 2708532"/>
                  <a:gd name="connsiteY914" fmla="*/ 21072 h 820230"/>
                  <a:gd name="connsiteX915" fmla="*/ 1182779 w 2708532"/>
                  <a:gd name="connsiteY915" fmla="*/ 18780 h 820230"/>
                  <a:gd name="connsiteX916" fmla="*/ 1182514 w 2708532"/>
                  <a:gd name="connsiteY916" fmla="*/ 19309 h 820230"/>
                  <a:gd name="connsiteX917" fmla="*/ 1180134 w 2708532"/>
                  <a:gd name="connsiteY917" fmla="*/ 18427 h 820230"/>
                  <a:gd name="connsiteX918" fmla="*/ 1180134 w 2708532"/>
                  <a:gd name="connsiteY918" fmla="*/ 19044 h 820230"/>
                  <a:gd name="connsiteX919" fmla="*/ 1176078 w 2708532"/>
                  <a:gd name="connsiteY919" fmla="*/ 19044 h 820230"/>
                  <a:gd name="connsiteX920" fmla="*/ 1173168 w 2708532"/>
                  <a:gd name="connsiteY920" fmla="*/ 19926 h 820230"/>
                  <a:gd name="connsiteX921" fmla="*/ 1172551 w 2708532"/>
                  <a:gd name="connsiteY921" fmla="*/ 21425 h 820230"/>
                  <a:gd name="connsiteX922" fmla="*/ 1169642 w 2708532"/>
                  <a:gd name="connsiteY922" fmla="*/ 21954 h 820230"/>
                  <a:gd name="connsiteX923" fmla="*/ 1167879 w 2708532"/>
                  <a:gd name="connsiteY923" fmla="*/ 19309 h 820230"/>
                  <a:gd name="connsiteX924" fmla="*/ 1161442 w 2708532"/>
                  <a:gd name="connsiteY924" fmla="*/ 19309 h 820230"/>
                  <a:gd name="connsiteX925" fmla="*/ 1160560 w 2708532"/>
                  <a:gd name="connsiteY925" fmla="*/ 20455 h 820230"/>
                  <a:gd name="connsiteX926" fmla="*/ 1154742 w 2708532"/>
                  <a:gd name="connsiteY926" fmla="*/ 20720 h 820230"/>
                  <a:gd name="connsiteX927" fmla="*/ 1155623 w 2708532"/>
                  <a:gd name="connsiteY927" fmla="*/ 17810 h 820230"/>
                  <a:gd name="connsiteX928" fmla="*/ 1151215 w 2708532"/>
                  <a:gd name="connsiteY928" fmla="*/ 19309 h 820230"/>
                  <a:gd name="connsiteX929" fmla="*/ 1146013 w 2708532"/>
                  <a:gd name="connsiteY929" fmla="*/ 18427 h 820230"/>
                  <a:gd name="connsiteX930" fmla="*/ 1142221 w 2708532"/>
                  <a:gd name="connsiteY930" fmla="*/ 18163 h 820230"/>
                  <a:gd name="connsiteX931" fmla="*/ 1139312 w 2708532"/>
                  <a:gd name="connsiteY931" fmla="*/ 17898 h 820230"/>
                  <a:gd name="connsiteX932" fmla="*/ 1139312 w 2708532"/>
                  <a:gd name="connsiteY932" fmla="*/ 16488 h 820230"/>
                  <a:gd name="connsiteX933" fmla="*/ 1141957 w 2708532"/>
                  <a:gd name="connsiteY933" fmla="*/ 14460 h 820230"/>
                  <a:gd name="connsiteX934" fmla="*/ 1140194 w 2708532"/>
                  <a:gd name="connsiteY934" fmla="*/ 14195 h 820230"/>
                  <a:gd name="connsiteX935" fmla="*/ 1135521 w 2708532"/>
                  <a:gd name="connsiteY935" fmla="*/ 15694 h 820230"/>
                  <a:gd name="connsiteX936" fmla="*/ 1136402 w 2708532"/>
                  <a:gd name="connsiteY936" fmla="*/ 16840 h 820230"/>
                  <a:gd name="connsiteX937" fmla="*/ 1133228 w 2708532"/>
                  <a:gd name="connsiteY937" fmla="*/ 17722 h 820230"/>
                  <a:gd name="connsiteX938" fmla="*/ 1132082 w 2708532"/>
                  <a:gd name="connsiteY938" fmla="*/ 18868 h 820230"/>
                  <a:gd name="connsiteX939" fmla="*/ 1130319 w 2708532"/>
                  <a:gd name="connsiteY939" fmla="*/ 20896 h 820230"/>
                  <a:gd name="connsiteX940" fmla="*/ 1128291 w 2708532"/>
                  <a:gd name="connsiteY940" fmla="*/ 20279 h 820230"/>
                  <a:gd name="connsiteX941" fmla="*/ 1124500 w 2708532"/>
                  <a:gd name="connsiteY941" fmla="*/ 18515 h 820230"/>
                  <a:gd name="connsiteX942" fmla="*/ 1126263 w 2708532"/>
                  <a:gd name="connsiteY942" fmla="*/ 19397 h 820230"/>
                  <a:gd name="connsiteX943" fmla="*/ 1122736 w 2708532"/>
                  <a:gd name="connsiteY943" fmla="*/ 21160 h 820230"/>
                  <a:gd name="connsiteX944" fmla="*/ 1120708 w 2708532"/>
                  <a:gd name="connsiteY944" fmla="*/ 21160 h 820230"/>
                  <a:gd name="connsiteX945" fmla="*/ 1119562 w 2708532"/>
                  <a:gd name="connsiteY945" fmla="*/ 21160 h 820230"/>
                  <a:gd name="connsiteX946" fmla="*/ 1119298 w 2708532"/>
                  <a:gd name="connsiteY946" fmla="*/ 22659 h 820230"/>
                  <a:gd name="connsiteX947" fmla="*/ 1115242 w 2708532"/>
                  <a:gd name="connsiteY947" fmla="*/ 21160 h 820230"/>
                  <a:gd name="connsiteX948" fmla="*/ 1113743 w 2708532"/>
                  <a:gd name="connsiteY948" fmla="*/ 20543 h 820230"/>
                  <a:gd name="connsiteX949" fmla="*/ 1111715 w 2708532"/>
                  <a:gd name="connsiteY949" fmla="*/ 20279 h 820230"/>
                  <a:gd name="connsiteX950" fmla="*/ 1111098 w 2708532"/>
                  <a:gd name="connsiteY950" fmla="*/ 20014 h 820230"/>
                  <a:gd name="connsiteX951" fmla="*/ 1109952 w 2708532"/>
                  <a:gd name="connsiteY951" fmla="*/ 21513 h 820230"/>
                  <a:gd name="connsiteX952" fmla="*/ 1108806 w 2708532"/>
                  <a:gd name="connsiteY952" fmla="*/ 22924 h 820230"/>
                  <a:gd name="connsiteX953" fmla="*/ 1107042 w 2708532"/>
                  <a:gd name="connsiteY953" fmla="*/ 24423 h 820230"/>
                  <a:gd name="connsiteX954" fmla="*/ 1105279 w 2708532"/>
                  <a:gd name="connsiteY954" fmla="*/ 22395 h 820230"/>
                  <a:gd name="connsiteX955" fmla="*/ 1105014 w 2708532"/>
                  <a:gd name="connsiteY955" fmla="*/ 20102 h 820230"/>
                  <a:gd name="connsiteX956" fmla="*/ 1102105 w 2708532"/>
                  <a:gd name="connsiteY956" fmla="*/ 21249 h 820230"/>
                  <a:gd name="connsiteX957" fmla="*/ 1099196 w 2708532"/>
                  <a:gd name="connsiteY957" fmla="*/ 20984 h 820230"/>
                  <a:gd name="connsiteX958" fmla="*/ 1099196 w 2708532"/>
                  <a:gd name="connsiteY958" fmla="*/ 18692 h 820230"/>
                  <a:gd name="connsiteX959" fmla="*/ 1099196 w 2708532"/>
                  <a:gd name="connsiteY959" fmla="*/ 17810 h 820230"/>
                  <a:gd name="connsiteX960" fmla="*/ 1099812 w 2708532"/>
                  <a:gd name="connsiteY960" fmla="*/ 16928 h 820230"/>
                  <a:gd name="connsiteX961" fmla="*/ 1100694 w 2708532"/>
                  <a:gd name="connsiteY961" fmla="*/ 15165 h 820230"/>
                  <a:gd name="connsiteX962" fmla="*/ 1098666 w 2708532"/>
                  <a:gd name="connsiteY962" fmla="*/ 13754 h 820230"/>
                  <a:gd name="connsiteX963" fmla="*/ 1096286 w 2708532"/>
                  <a:gd name="connsiteY963" fmla="*/ 13754 h 820230"/>
                  <a:gd name="connsiteX964" fmla="*/ 1093729 w 2708532"/>
                  <a:gd name="connsiteY964" fmla="*/ 11726 h 820230"/>
                  <a:gd name="connsiteX965" fmla="*/ 1093376 w 2708532"/>
                  <a:gd name="connsiteY965" fmla="*/ 10228 h 820230"/>
                  <a:gd name="connsiteX966" fmla="*/ 1091613 w 2708532"/>
                  <a:gd name="connsiteY966" fmla="*/ 9610 h 820230"/>
                  <a:gd name="connsiteX967" fmla="*/ 1093112 w 2708532"/>
                  <a:gd name="connsiteY967" fmla="*/ 7582 h 820230"/>
                  <a:gd name="connsiteX968" fmla="*/ 1089938 w 2708532"/>
                  <a:gd name="connsiteY968" fmla="*/ 7318 h 820230"/>
                  <a:gd name="connsiteX969" fmla="*/ 1088439 w 2708532"/>
                  <a:gd name="connsiteY969" fmla="*/ 9081 h 820230"/>
                  <a:gd name="connsiteX970" fmla="*/ 1093112 w 2708532"/>
                  <a:gd name="connsiteY970" fmla="*/ 13137 h 820230"/>
                  <a:gd name="connsiteX971" fmla="*/ 1090820 w 2708532"/>
                  <a:gd name="connsiteY971" fmla="*/ 13754 h 820230"/>
                  <a:gd name="connsiteX972" fmla="*/ 1090466 w 2708532"/>
                  <a:gd name="connsiteY972" fmla="*/ 14900 h 820230"/>
                  <a:gd name="connsiteX973" fmla="*/ 1088086 w 2708532"/>
                  <a:gd name="connsiteY973" fmla="*/ 13754 h 820230"/>
                  <a:gd name="connsiteX974" fmla="*/ 1086058 w 2708532"/>
                  <a:gd name="connsiteY974" fmla="*/ 13754 h 820230"/>
                  <a:gd name="connsiteX975" fmla="*/ 1083413 w 2708532"/>
                  <a:gd name="connsiteY975" fmla="*/ 14636 h 820230"/>
                  <a:gd name="connsiteX976" fmla="*/ 1080768 w 2708532"/>
                  <a:gd name="connsiteY976" fmla="*/ 13490 h 820230"/>
                  <a:gd name="connsiteX977" fmla="*/ 1079887 w 2708532"/>
                  <a:gd name="connsiteY977" fmla="*/ 15253 h 820230"/>
                  <a:gd name="connsiteX978" fmla="*/ 1078123 w 2708532"/>
                  <a:gd name="connsiteY978" fmla="*/ 14636 h 820230"/>
                  <a:gd name="connsiteX979" fmla="*/ 1075214 w 2708532"/>
                  <a:gd name="connsiteY979" fmla="*/ 21337 h 820230"/>
                  <a:gd name="connsiteX980" fmla="*/ 1075831 w 2708532"/>
                  <a:gd name="connsiteY980" fmla="*/ 14019 h 820230"/>
                  <a:gd name="connsiteX981" fmla="*/ 1072921 w 2708532"/>
                  <a:gd name="connsiteY981" fmla="*/ 14283 h 820230"/>
                  <a:gd name="connsiteX982" fmla="*/ 1071775 w 2708532"/>
                  <a:gd name="connsiteY982" fmla="*/ 15165 h 820230"/>
                  <a:gd name="connsiteX983" fmla="*/ 1069482 w 2708532"/>
                  <a:gd name="connsiteY983" fmla="*/ 13402 h 820230"/>
                  <a:gd name="connsiteX984" fmla="*/ 1069218 w 2708532"/>
                  <a:gd name="connsiteY984" fmla="*/ 11374 h 820230"/>
                  <a:gd name="connsiteX985" fmla="*/ 1069482 w 2708532"/>
                  <a:gd name="connsiteY985" fmla="*/ 9610 h 820230"/>
                  <a:gd name="connsiteX986" fmla="*/ 1070364 w 2708532"/>
                  <a:gd name="connsiteY986" fmla="*/ 7847 h 820230"/>
                  <a:gd name="connsiteX987" fmla="*/ 1072657 w 2708532"/>
                  <a:gd name="connsiteY987" fmla="*/ 7582 h 820230"/>
                  <a:gd name="connsiteX988" fmla="*/ 1076183 w 2708532"/>
                  <a:gd name="connsiteY988" fmla="*/ 7847 h 820230"/>
                  <a:gd name="connsiteX989" fmla="*/ 1077065 w 2708532"/>
                  <a:gd name="connsiteY989" fmla="*/ 6701 h 820230"/>
                  <a:gd name="connsiteX990" fmla="*/ 1076536 w 2708532"/>
                  <a:gd name="connsiteY990" fmla="*/ 5555 h 820230"/>
                  <a:gd name="connsiteX991" fmla="*/ 1073362 w 2708532"/>
                  <a:gd name="connsiteY991" fmla="*/ 5555 h 820230"/>
                  <a:gd name="connsiteX992" fmla="*/ 1066926 w 2708532"/>
                  <a:gd name="connsiteY992" fmla="*/ 4673 h 820230"/>
                  <a:gd name="connsiteX993" fmla="*/ 1061724 w 2708532"/>
                  <a:gd name="connsiteY993" fmla="*/ 5555 h 820230"/>
                  <a:gd name="connsiteX994" fmla="*/ 1060225 w 2708532"/>
                  <a:gd name="connsiteY994" fmla="*/ 3791 h 820230"/>
                  <a:gd name="connsiteX995" fmla="*/ 1055552 w 2708532"/>
                  <a:gd name="connsiteY995" fmla="*/ 2910 h 820230"/>
                  <a:gd name="connsiteX996" fmla="*/ 1054935 w 2708532"/>
                  <a:gd name="connsiteY996" fmla="*/ 4056 h 820230"/>
                  <a:gd name="connsiteX997" fmla="*/ 1049644 w 2708532"/>
                  <a:gd name="connsiteY997" fmla="*/ 2910 h 820230"/>
                  <a:gd name="connsiteX998" fmla="*/ 1049644 w 2708532"/>
                  <a:gd name="connsiteY998" fmla="*/ 4937 h 820230"/>
                  <a:gd name="connsiteX999" fmla="*/ 1046118 w 2708532"/>
                  <a:gd name="connsiteY999" fmla="*/ 1763 h 820230"/>
                  <a:gd name="connsiteX1000" fmla="*/ 1042591 w 2708532"/>
                  <a:gd name="connsiteY1000" fmla="*/ 0 h 820230"/>
                  <a:gd name="connsiteX1001" fmla="*/ 1039065 w 2708532"/>
                  <a:gd name="connsiteY1001" fmla="*/ 2028 h 820230"/>
                  <a:gd name="connsiteX1002" fmla="*/ 1037918 w 2708532"/>
                  <a:gd name="connsiteY1002" fmla="*/ 882 h 820230"/>
                  <a:gd name="connsiteX1003" fmla="*/ 1034391 w 2708532"/>
                  <a:gd name="connsiteY1003" fmla="*/ 264 h 820230"/>
                  <a:gd name="connsiteX1004" fmla="*/ 1031747 w 2708532"/>
                  <a:gd name="connsiteY1004" fmla="*/ 4320 h 820230"/>
                  <a:gd name="connsiteX1005" fmla="*/ 1028573 w 2708532"/>
                  <a:gd name="connsiteY1005" fmla="*/ 1675 h 820230"/>
                  <a:gd name="connsiteX1006" fmla="*/ 1027691 w 2708532"/>
                  <a:gd name="connsiteY1006" fmla="*/ 4585 h 820230"/>
                  <a:gd name="connsiteX1007" fmla="*/ 1025663 w 2708532"/>
                  <a:gd name="connsiteY1007" fmla="*/ 5466 h 820230"/>
                  <a:gd name="connsiteX1008" fmla="*/ 1023282 w 2708532"/>
                  <a:gd name="connsiteY1008" fmla="*/ 5202 h 820230"/>
                  <a:gd name="connsiteX1009" fmla="*/ 1023018 w 2708532"/>
                  <a:gd name="connsiteY1009" fmla="*/ 3174 h 820230"/>
                  <a:gd name="connsiteX1010" fmla="*/ 1020108 w 2708532"/>
                  <a:gd name="connsiteY1010" fmla="*/ 2028 h 820230"/>
                  <a:gd name="connsiteX1011" fmla="*/ 1015436 w 2708532"/>
                  <a:gd name="connsiteY1011" fmla="*/ 3791 h 820230"/>
                  <a:gd name="connsiteX1012" fmla="*/ 1013407 w 2708532"/>
                  <a:gd name="connsiteY1012" fmla="*/ 3791 h 820230"/>
                  <a:gd name="connsiteX1013" fmla="*/ 1011027 w 2708532"/>
                  <a:gd name="connsiteY1013" fmla="*/ 2292 h 820230"/>
                  <a:gd name="connsiteX1014" fmla="*/ 1009881 w 2708532"/>
                  <a:gd name="connsiteY1014" fmla="*/ 3174 h 820230"/>
                  <a:gd name="connsiteX1015" fmla="*/ 1007853 w 2708532"/>
                  <a:gd name="connsiteY1015" fmla="*/ 4937 h 820230"/>
                  <a:gd name="connsiteX1016" fmla="*/ 1008470 w 2708532"/>
                  <a:gd name="connsiteY1016" fmla="*/ 6436 h 820230"/>
                  <a:gd name="connsiteX1017" fmla="*/ 1008470 w 2708532"/>
                  <a:gd name="connsiteY1017" fmla="*/ 7935 h 820230"/>
                  <a:gd name="connsiteX1018" fmla="*/ 1006706 w 2708532"/>
                  <a:gd name="connsiteY1018" fmla="*/ 9081 h 820230"/>
                  <a:gd name="connsiteX1019" fmla="*/ 1004679 w 2708532"/>
                  <a:gd name="connsiteY1019" fmla="*/ 9699 h 820230"/>
                  <a:gd name="connsiteX1020" fmla="*/ 1003180 w 2708532"/>
                  <a:gd name="connsiteY1020" fmla="*/ 10580 h 820230"/>
                  <a:gd name="connsiteX1021" fmla="*/ 1002298 w 2708532"/>
                  <a:gd name="connsiteY1021" fmla="*/ 12079 h 820230"/>
                  <a:gd name="connsiteX1022" fmla="*/ 1002915 w 2708532"/>
                  <a:gd name="connsiteY1022" fmla="*/ 14107 h 820230"/>
                  <a:gd name="connsiteX1023" fmla="*/ 1001417 w 2708532"/>
                  <a:gd name="connsiteY1023" fmla="*/ 14989 h 820230"/>
                  <a:gd name="connsiteX1024" fmla="*/ 1001769 w 2708532"/>
                  <a:gd name="connsiteY1024" fmla="*/ 16135 h 820230"/>
                  <a:gd name="connsiteX1025" fmla="*/ 1001152 w 2708532"/>
                  <a:gd name="connsiteY1025" fmla="*/ 18163 h 820230"/>
                  <a:gd name="connsiteX1026" fmla="*/ 1001152 w 2708532"/>
                  <a:gd name="connsiteY1026" fmla="*/ 18427 h 820230"/>
                  <a:gd name="connsiteX1027" fmla="*/ 1006089 w 2708532"/>
                  <a:gd name="connsiteY1027" fmla="*/ 18163 h 820230"/>
                  <a:gd name="connsiteX1028" fmla="*/ 1010145 w 2708532"/>
                  <a:gd name="connsiteY1028" fmla="*/ 18427 h 820230"/>
                  <a:gd name="connsiteX1029" fmla="*/ 1010762 w 2708532"/>
                  <a:gd name="connsiteY1029" fmla="*/ 20191 h 820230"/>
                  <a:gd name="connsiteX1030" fmla="*/ 1008999 w 2708532"/>
                  <a:gd name="connsiteY1030" fmla="*/ 22218 h 820230"/>
                  <a:gd name="connsiteX1031" fmla="*/ 1003444 w 2708532"/>
                  <a:gd name="connsiteY1031" fmla="*/ 23365 h 820230"/>
                  <a:gd name="connsiteX1032" fmla="*/ 999918 w 2708532"/>
                  <a:gd name="connsiteY1032" fmla="*/ 23982 h 820230"/>
                  <a:gd name="connsiteX1033" fmla="*/ 996127 w 2708532"/>
                  <a:gd name="connsiteY1033" fmla="*/ 23717 h 820230"/>
                  <a:gd name="connsiteX1034" fmla="*/ 991718 w 2708532"/>
                  <a:gd name="connsiteY1034" fmla="*/ 22836 h 820230"/>
                  <a:gd name="connsiteX1035" fmla="*/ 987927 w 2708532"/>
                  <a:gd name="connsiteY1035" fmla="*/ 22218 h 820230"/>
                  <a:gd name="connsiteX1036" fmla="*/ 985546 w 2708532"/>
                  <a:gd name="connsiteY1036" fmla="*/ 21954 h 820230"/>
                  <a:gd name="connsiteX1037" fmla="*/ 982637 w 2708532"/>
                  <a:gd name="connsiteY1037" fmla="*/ 25481 h 820230"/>
                  <a:gd name="connsiteX1038" fmla="*/ 985282 w 2708532"/>
                  <a:gd name="connsiteY1038" fmla="*/ 26980 h 820230"/>
                  <a:gd name="connsiteX1039" fmla="*/ 987045 w 2708532"/>
                  <a:gd name="connsiteY1039" fmla="*/ 29625 h 820230"/>
                  <a:gd name="connsiteX1040" fmla="*/ 987927 w 2708532"/>
                  <a:gd name="connsiteY1040" fmla="*/ 29360 h 820230"/>
                  <a:gd name="connsiteX1041" fmla="*/ 985546 w 2708532"/>
                  <a:gd name="connsiteY1041" fmla="*/ 32534 h 820230"/>
                  <a:gd name="connsiteX1042" fmla="*/ 985282 w 2708532"/>
                  <a:gd name="connsiteY1042" fmla="*/ 32799 h 820230"/>
                  <a:gd name="connsiteX1043" fmla="*/ 981755 w 2708532"/>
                  <a:gd name="connsiteY1043" fmla="*/ 30418 h 820230"/>
                  <a:gd name="connsiteX1044" fmla="*/ 979110 w 2708532"/>
                  <a:gd name="connsiteY1044" fmla="*/ 31917 h 820230"/>
                  <a:gd name="connsiteX1045" fmla="*/ 977082 w 2708532"/>
                  <a:gd name="connsiteY1045" fmla="*/ 31035 h 820230"/>
                  <a:gd name="connsiteX1046" fmla="*/ 973908 w 2708532"/>
                  <a:gd name="connsiteY1046" fmla="*/ 31917 h 820230"/>
                  <a:gd name="connsiteX1047" fmla="*/ 970381 w 2708532"/>
                  <a:gd name="connsiteY1047" fmla="*/ 33680 h 820230"/>
                  <a:gd name="connsiteX1048" fmla="*/ 968353 w 2708532"/>
                  <a:gd name="connsiteY1048" fmla="*/ 31652 h 820230"/>
                  <a:gd name="connsiteX1049" fmla="*/ 966590 w 2708532"/>
                  <a:gd name="connsiteY1049" fmla="*/ 33151 h 820230"/>
                  <a:gd name="connsiteX1050" fmla="*/ 962799 w 2708532"/>
                  <a:gd name="connsiteY1050" fmla="*/ 32005 h 820230"/>
                  <a:gd name="connsiteX1051" fmla="*/ 963680 w 2708532"/>
                  <a:gd name="connsiteY1051" fmla="*/ 31123 h 820230"/>
                  <a:gd name="connsiteX1052" fmla="*/ 958126 w 2708532"/>
                  <a:gd name="connsiteY1052" fmla="*/ 30506 h 820230"/>
                  <a:gd name="connsiteX1053" fmla="*/ 957244 w 2708532"/>
                  <a:gd name="connsiteY1053" fmla="*/ 29007 h 820230"/>
                  <a:gd name="connsiteX1054" fmla="*/ 953805 w 2708532"/>
                  <a:gd name="connsiteY1054" fmla="*/ 27509 h 820230"/>
                  <a:gd name="connsiteX1055" fmla="*/ 949750 w 2708532"/>
                  <a:gd name="connsiteY1055" fmla="*/ 29007 h 820230"/>
                  <a:gd name="connsiteX1056" fmla="*/ 949485 w 2708532"/>
                  <a:gd name="connsiteY1056" fmla="*/ 31917 h 820230"/>
                  <a:gd name="connsiteX1057" fmla="*/ 943313 w 2708532"/>
                  <a:gd name="connsiteY1057" fmla="*/ 33416 h 820230"/>
                  <a:gd name="connsiteX1058" fmla="*/ 933703 w 2708532"/>
                  <a:gd name="connsiteY1058" fmla="*/ 34033 h 820230"/>
                  <a:gd name="connsiteX1059" fmla="*/ 931940 w 2708532"/>
                  <a:gd name="connsiteY1059" fmla="*/ 32534 h 820230"/>
                  <a:gd name="connsiteX1060" fmla="*/ 925856 w 2708532"/>
                  <a:gd name="connsiteY1060" fmla="*/ 31652 h 820230"/>
                  <a:gd name="connsiteX1061" fmla="*/ 925504 w 2708532"/>
                  <a:gd name="connsiteY1061" fmla="*/ 30242 h 820230"/>
                  <a:gd name="connsiteX1062" fmla="*/ 920302 w 2708532"/>
                  <a:gd name="connsiteY1062" fmla="*/ 33151 h 820230"/>
                  <a:gd name="connsiteX1063" fmla="*/ 916510 w 2708532"/>
                  <a:gd name="connsiteY1063" fmla="*/ 32887 h 820230"/>
                  <a:gd name="connsiteX1064" fmla="*/ 915629 w 2708532"/>
                  <a:gd name="connsiteY1064" fmla="*/ 31388 h 820230"/>
                  <a:gd name="connsiteX1065" fmla="*/ 913865 w 2708532"/>
                  <a:gd name="connsiteY1065" fmla="*/ 31388 h 820230"/>
                  <a:gd name="connsiteX1066" fmla="*/ 910074 w 2708532"/>
                  <a:gd name="connsiteY1066" fmla="*/ 34297 h 820230"/>
                  <a:gd name="connsiteX1067" fmla="*/ 907429 w 2708532"/>
                  <a:gd name="connsiteY1067" fmla="*/ 33151 h 820230"/>
                  <a:gd name="connsiteX1068" fmla="*/ 906812 w 2708532"/>
                  <a:gd name="connsiteY1068" fmla="*/ 32005 h 820230"/>
                  <a:gd name="connsiteX1069" fmla="*/ 904520 w 2708532"/>
                  <a:gd name="connsiteY1069" fmla="*/ 31123 h 820230"/>
                  <a:gd name="connsiteX1070" fmla="*/ 901875 w 2708532"/>
                  <a:gd name="connsiteY1070" fmla="*/ 34297 h 820230"/>
                  <a:gd name="connsiteX1071" fmla="*/ 902756 w 2708532"/>
                  <a:gd name="connsiteY1071" fmla="*/ 35444 h 820230"/>
                  <a:gd name="connsiteX1072" fmla="*/ 902756 w 2708532"/>
                  <a:gd name="connsiteY1072" fmla="*/ 38089 h 820230"/>
                  <a:gd name="connsiteX1073" fmla="*/ 903021 w 2708532"/>
                  <a:gd name="connsiteY1073" fmla="*/ 39588 h 820230"/>
                  <a:gd name="connsiteX1074" fmla="*/ 900993 w 2708532"/>
                  <a:gd name="connsiteY1074" fmla="*/ 38970 h 820230"/>
                  <a:gd name="connsiteX1075" fmla="*/ 898348 w 2708532"/>
                  <a:gd name="connsiteY1075" fmla="*/ 39852 h 820230"/>
                  <a:gd name="connsiteX1076" fmla="*/ 893058 w 2708532"/>
                  <a:gd name="connsiteY1076" fmla="*/ 39235 h 820230"/>
                  <a:gd name="connsiteX1077" fmla="*/ 890412 w 2708532"/>
                  <a:gd name="connsiteY1077" fmla="*/ 40381 h 820230"/>
                  <a:gd name="connsiteX1078" fmla="*/ 889266 w 2708532"/>
                  <a:gd name="connsiteY1078" fmla="*/ 40117 h 820230"/>
                  <a:gd name="connsiteX1079" fmla="*/ 886621 w 2708532"/>
                  <a:gd name="connsiteY1079" fmla="*/ 42762 h 820230"/>
                  <a:gd name="connsiteX1080" fmla="*/ 884858 w 2708532"/>
                  <a:gd name="connsiteY1080" fmla="*/ 41263 h 820230"/>
                  <a:gd name="connsiteX1081" fmla="*/ 883447 w 2708532"/>
                  <a:gd name="connsiteY1081" fmla="*/ 39764 h 820230"/>
                  <a:gd name="connsiteX1082" fmla="*/ 878775 w 2708532"/>
                  <a:gd name="connsiteY1082" fmla="*/ 37736 h 820230"/>
                  <a:gd name="connsiteX1083" fmla="*/ 876746 w 2708532"/>
                  <a:gd name="connsiteY1083" fmla="*/ 39235 h 820230"/>
                  <a:gd name="connsiteX1084" fmla="*/ 873484 w 2708532"/>
                  <a:gd name="connsiteY1084" fmla="*/ 40381 h 820230"/>
                  <a:gd name="connsiteX1085" fmla="*/ 872867 w 2708532"/>
                  <a:gd name="connsiteY1085" fmla="*/ 41527 h 820230"/>
                  <a:gd name="connsiteX1086" fmla="*/ 869076 w 2708532"/>
                  <a:gd name="connsiteY1086" fmla="*/ 43555 h 820230"/>
                  <a:gd name="connsiteX1087" fmla="*/ 867312 w 2708532"/>
                  <a:gd name="connsiteY1087" fmla="*/ 42938 h 820230"/>
                  <a:gd name="connsiteX1088" fmla="*/ 869341 w 2708532"/>
                  <a:gd name="connsiteY1088" fmla="*/ 45583 h 820230"/>
                  <a:gd name="connsiteX1089" fmla="*/ 864403 w 2708532"/>
                  <a:gd name="connsiteY1089" fmla="*/ 43555 h 820230"/>
                  <a:gd name="connsiteX1090" fmla="*/ 861493 w 2708532"/>
                  <a:gd name="connsiteY1090" fmla="*/ 45583 h 820230"/>
                  <a:gd name="connsiteX1091" fmla="*/ 858584 w 2708532"/>
                  <a:gd name="connsiteY1091" fmla="*/ 44966 h 820230"/>
                  <a:gd name="connsiteX1092" fmla="*/ 856820 w 2708532"/>
                  <a:gd name="connsiteY1092" fmla="*/ 44966 h 820230"/>
                  <a:gd name="connsiteX1093" fmla="*/ 852765 w 2708532"/>
                  <a:gd name="connsiteY1093" fmla="*/ 45230 h 820230"/>
                  <a:gd name="connsiteX1094" fmla="*/ 851354 w 2708532"/>
                  <a:gd name="connsiteY1094" fmla="*/ 45230 h 820230"/>
                  <a:gd name="connsiteX1095" fmla="*/ 851090 w 2708532"/>
                  <a:gd name="connsiteY1095" fmla="*/ 46729 h 820230"/>
                  <a:gd name="connsiteX1096" fmla="*/ 849061 w 2708532"/>
                  <a:gd name="connsiteY1096" fmla="*/ 49374 h 820230"/>
                  <a:gd name="connsiteX1097" fmla="*/ 847563 w 2708532"/>
                  <a:gd name="connsiteY1097" fmla="*/ 49374 h 820230"/>
                  <a:gd name="connsiteX1098" fmla="*/ 845182 w 2708532"/>
                  <a:gd name="connsiteY1098" fmla="*/ 50873 h 820230"/>
                  <a:gd name="connsiteX1099" fmla="*/ 842273 w 2708532"/>
                  <a:gd name="connsiteY1099" fmla="*/ 50256 h 820230"/>
                  <a:gd name="connsiteX1100" fmla="*/ 839011 w 2708532"/>
                  <a:gd name="connsiteY1100" fmla="*/ 49639 h 820230"/>
                  <a:gd name="connsiteX1101" fmla="*/ 836101 w 2708532"/>
                  <a:gd name="connsiteY1101" fmla="*/ 50256 h 820230"/>
                  <a:gd name="connsiteX1102" fmla="*/ 834073 w 2708532"/>
                  <a:gd name="connsiteY1102" fmla="*/ 48228 h 820230"/>
                  <a:gd name="connsiteX1103" fmla="*/ 831163 w 2708532"/>
                  <a:gd name="connsiteY1103" fmla="*/ 48228 h 820230"/>
                  <a:gd name="connsiteX1104" fmla="*/ 829400 w 2708532"/>
                  <a:gd name="connsiteY1104" fmla="*/ 51138 h 820230"/>
                  <a:gd name="connsiteX1105" fmla="*/ 828519 w 2708532"/>
                  <a:gd name="connsiteY1105" fmla="*/ 50873 h 820230"/>
                  <a:gd name="connsiteX1106" fmla="*/ 827990 w 2708532"/>
                  <a:gd name="connsiteY1106" fmla="*/ 53783 h 820230"/>
                  <a:gd name="connsiteX1107" fmla="*/ 827990 w 2708532"/>
                  <a:gd name="connsiteY1107" fmla="*/ 55811 h 820230"/>
                  <a:gd name="connsiteX1108" fmla="*/ 823934 w 2708532"/>
                  <a:gd name="connsiteY1108" fmla="*/ 54664 h 820230"/>
                  <a:gd name="connsiteX1109" fmla="*/ 822170 w 2708532"/>
                  <a:gd name="connsiteY1109" fmla="*/ 52637 h 820230"/>
                  <a:gd name="connsiteX1110" fmla="*/ 822170 w 2708532"/>
                  <a:gd name="connsiteY1110" fmla="*/ 55811 h 820230"/>
                  <a:gd name="connsiteX1111" fmla="*/ 820671 w 2708532"/>
                  <a:gd name="connsiteY1111" fmla="*/ 57574 h 820230"/>
                  <a:gd name="connsiteX1112" fmla="*/ 820671 w 2708532"/>
                  <a:gd name="connsiteY1112" fmla="*/ 59602 h 820230"/>
                  <a:gd name="connsiteX1113" fmla="*/ 816615 w 2708532"/>
                  <a:gd name="connsiteY1113" fmla="*/ 60748 h 820230"/>
                  <a:gd name="connsiteX1114" fmla="*/ 813706 w 2708532"/>
                  <a:gd name="connsiteY1114" fmla="*/ 58985 h 820230"/>
                  <a:gd name="connsiteX1115" fmla="*/ 810179 w 2708532"/>
                  <a:gd name="connsiteY1115" fmla="*/ 58103 h 820230"/>
                  <a:gd name="connsiteX1116" fmla="*/ 809562 w 2708532"/>
                  <a:gd name="connsiteY1116" fmla="*/ 61277 h 820230"/>
                  <a:gd name="connsiteX1117" fmla="*/ 809033 w 2708532"/>
                  <a:gd name="connsiteY1117" fmla="*/ 62159 h 820230"/>
                  <a:gd name="connsiteX1118" fmla="*/ 807005 w 2708532"/>
                  <a:gd name="connsiteY1118" fmla="*/ 63658 h 820230"/>
                  <a:gd name="connsiteX1119" fmla="*/ 806741 w 2708532"/>
                  <a:gd name="connsiteY1119" fmla="*/ 66303 h 820230"/>
                  <a:gd name="connsiteX1120" fmla="*/ 807623 w 2708532"/>
                  <a:gd name="connsiteY1120" fmla="*/ 67184 h 820230"/>
                  <a:gd name="connsiteX1121" fmla="*/ 809650 w 2708532"/>
                  <a:gd name="connsiteY1121" fmla="*/ 64275 h 820230"/>
                  <a:gd name="connsiteX1122" fmla="*/ 810797 w 2708532"/>
                  <a:gd name="connsiteY1122" fmla="*/ 64539 h 820230"/>
                  <a:gd name="connsiteX1123" fmla="*/ 815734 w 2708532"/>
                  <a:gd name="connsiteY1123" fmla="*/ 67449 h 820230"/>
                  <a:gd name="connsiteX1124" fmla="*/ 816351 w 2708532"/>
                  <a:gd name="connsiteY1124" fmla="*/ 65068 h 820230"/>
                  <a:gd name="connsiteX1125" fmla="*/ 818731 w 2708532"/>
                  <a:gd name="connsiteY1125" fmla="*/ 67096 h 820230"/>
                  <a:gd name="connsiteX1126" fmla="*/ 821906 w 2708532"/>
                  <a:gd name="connsiteY1126" fmla="*/ 66832 h 820230"/>
                  <a:gd name="connsiteX1127" fmla="*/ 822170 w 2708532"/>
                  <a:gd name="connsiteY1127" fmla="*/ 63305 h 820230"/>
                  <a:gd name="connsiteX1128" fmla="*/ 823934 w 2708532"/>
                  <a:gd name="connsiteY1128" fmla="*/ 62159 h 820230"/>
                  <a:gd name="connsiteX1129" fmla="*/ 827108 w 2708532"/>
                  <a:gd name="connsiteY1129" fmla="*/ 62776 h 820230"/>
                  <a:gd name="connsiteX1130" fmla="*/ 828871 w 2708532"/>
                  <a:gd name="connsiteY1130" fmla="*/ 63922 h 820230"/>
                  <a:gd name="connsiteX1131" fmla="*/ 827461 w 2708532"/>
                  <a:gd name="connsiteY1131" fmla="*/ 65685 h 820230"/>
                  <a:gd name="connsiteX1132" fmla="*/ 828342 w 2708532"/>
                  <a:gd name="connsiteY1132" fmla="*/ 68066 h 820230"/>
                  <a:gd name="connsiteX1133" fmla="*/ 833632 w 2708532"/>
                  <a:gd name="connsiteY1133" fmla="*/ 70976 h 820230"/>
                  <a:gd name="connsiteX1134" fmla="*/ 838569 w 2708532"/>
                  <a:gd name="connsiteY1134" fmla="*/ 72122 h 820230"/>
                  <a:gd name="connsiteX1135" fmla="*/ 842096 w 2708532"/>
                  <a:gd name="connsiteY1135" fmla="*/ 71857 h 820230"/>
                  <a:gd name="connsiteX1136" fmla="*/ 844477 w 2708532"/>
                  <a:gd name="connsiteY1136" fmla="*/ 71857 h 820230"/>
                  <a:gd name="connsiteX1137" fmla="*/ 846505 w 2708532"/>
                  <a:gd name="connsiteY1137" fmla="*/ 74767 h 820230"/>
                  <a:gd name="connsiteX1138" fmla="*/ 852941 w 2708532"/>
                  <a:gd name="connsiteY1138" fmla="*/ 75648 h 820230"/>
                  <a:gd name="connsiteX1139" fmla="*/ 842714 w 2708532"/>
                  <a:gd name="connsiteY1139" fmla="*/ 76530 h 820230"/>
                  <a:gd name="connsiteX1140" fmla="*/ 838393 w 2708532"/>
                  <a:gd name="connsiteY1140" fmla="*/ 75913 h 820230"/>
                  <a:gd name="connsiteX1141" fmla="*/ 834866 w 2708532"/>
                  <a:gd name="connsiteY1141" fmla="*/ 76530 h 820230"/>
                  <a:gd name="connsiteX1142" fmla="*/ 832839 w 2708532"/>
                  <a:gd name="connsiteY1142" fmla="*/ 78029 h 820230"/>
                  <a:gd name="connsiteX1143" fmla="*/ 830546 w 2708532"/>
                  <a:gd name="connsiteY1143" fmla="*/ 79175 h 820230"/>
                  <a:gd name="connsiteX1144" fmla="*/ 824727 w 2708532"/>
                  <a:gd name="connsiteY1144" fmla="*/ 77676 h 820230"/>
                  <a:gd name="connsiteX1145" fmla="*/ 820936 w 2708532"/>
                  <a:gd name="connsiteY1145" fmla="*/ 78823 h 820230"/>
                  <a:gd name="connsiteX1146" fmla="*/ 815734 w 2708532"/>
                  <a:gd name="connsiteY1146" fmla="*/ 79440 h 820230"/>
                  <a:gd name="connsiteX1147" fmla="*/ 811061 w 2708532"/>
                  <a:gd name="connsiteY1147" fmla="*/ 80057 h 820230"/>
                  <a:gd name="connsiteX1148" fmla="*/ 806388 w 2708532"/>
                  <a:gd name="connsiteY1148" fmla="*/ 81203 h 820230"/>
                  <a:gd name="connsiteX1149" fmla="*/ 798806 w 2708532"/>
                  <a:gd name="connsiteY1149" fmla="*/ 80321 h 820230"/>
                  <a:gd name="connsiteX1150" fmla="*/ 793251 w 2708532"/>
                  <a:gd name="connsiteY1150" fmla="*/ 81820 h 820230"/>
                  <a:gd name="connsiteX1151" fmla="*/ 785139 w 2708532"/>
                  <a:gd name="connsiteY1151" fmla="*/ 80321 h 820230"/>
                  <a:gd name="connsiteX1152" fmla="*/ 783729 w 2708532"/>
                  <a:gd name="connsiteY1152" fmla="*/ 81820 h 820230"/>
                  <a:gd name="connsiteX1153" fmla="*/ 777028 w 2708532"/>
                  <a:gd name="connsiteY1153" fmla="*/ 80321 h 820230"/>
                  <a:gd name="connsiteX1154" fmla="*/ 774118 w 2708532"/>
                  <a:gd name="connsiteY1154" fmla="*/ 82614 h 820230"/>
                  <a:gd name="connsiteX1155" fmla="*/ 771209 w 2708532"/>
                  <a:gd name="connsiteY1155" fmla="*/ 82349 h 820230"/>
                  <a:gd name="connsiteX1156" fmla="*/ 767153 w 2708532"/>
                  <a:gd name="connsiteY1156" fmla="*/ 81468 h 820230"/>
                  <a:gd name="connsiteX1157" fmla="*/ 765125 w 2708532"/>
                  <a:gd name="connsiteY1157" fmla="*/ 82349 h 820230"/>
                  <a:gd name="connsiteX1158" fmla="*/ 762481 w 2708532"/>
                  <a:gd name="connsiteY1158" fmla="*/ 83495 h 820230"/>
                  <a:gd name="connsiteX1159" fmla="*/ 759835 w 2708532"/>
                  <a:gd name="connsiteY1159" fmla="*/ 81997 h 820230"/>
                  <a:gd name="connsiteX1160" fmla="*/ 754545 w 2708532"/>
                  <a:gd name="connsiteY1160" fmla="*/ 80498 h 820230"/>
                  <a:gd name="connsiteX1161" fmla="*/ 753399 w 2708532"/>
                  <a:gd name="connsiteY1161" fmla="*/ 81997 h 820230"/>
                  <a:gd name="connsiteX1162" fmla="*/ 754545 w 2708532"/>
                  <a:gd name="connsiteY1162" fmla="*/ 84642 h 820230"/>
                  <a:gd name="connsiteX1163" fmla="*/ 757455 w 2708532"/>
                  <a:gd name="connsiteY1163" fmla="*/ 84906 h 820230"/>
                  <a:gd name="connsiteX1164" fmla="*/ 761510 w 2708532"/>
                  <a:gd name="connsiteY1164" fmla="*/ 86934 h 820230"/>
                  <a:gd name="connsiteX1165" fmla="*/ 760629 w 2708532"/>
                  <a:gd name="connsiteY1165" fmla="*/ 89844 h 820230"/>
                  <a:gd name="connsiteX1166" fmla="*/ 759747 w 2708532"/>
                  <a:gd name="connsiteY1166" fmla="*/ 91342 h 820230"/>
                  <a:gd name="connsiteX1167" fmla="*/ 762656 w 2708532"/>
                  <a:gd name="connsiteY1167" fmla="*/ 88433 h 820230"/>
                  <a:gd name="connsiteX1168" fmla="*/ 763803 w 2708532"/>
                  <a:gd name="connsiteY1168" fmla="*/ 91078 h 820230"/>
                  <a:gd name="connsiteX1169" fmla="*/ 767594 w 2708532"/>
                  <a:gd name="connsiteY1169" fmla="*/ 93370 h 820230"/>
                  <a:gd name="connsiteX1170" fmla="*/ 769622 w 2708532"/>
                  <a:gd name="connsiteY1170" fmla="*/ 95398 h 820230"/>
                  <a:gd name="connsiteX1171" fmla="*/ 771914 w 2708532"/>
                  <a:gd name="connsiteY1171" fmla="*/ 96544 h 820230"/>
                  <a:gd name="connsiteX1172" fmla="*/ 775177 w 2708532"/>
                  <a:gd name="connsiteY1172" fmla="*/ 93899 h 820230"/>
                  <a:gd name="connsiteX1173" fmla="*/ 776058 w 2708532"/>
                  <a:gd name="connsiteY1173" fmla="*/ 95046 h 820230"/>
                  <a:gd name="connsiteX1174" fmla="*/ 776322 w 2708532"/>
                  <a:gd name="connsiteY1174" fmla="*/ 96809 h 820230"/>
                  <a:gd name="connsiteX1175" fmla="*/ 775793 w 2708532"/>
                  <a:gd name="connsiteY1175" fmla="*/ 98837 h 820230"/>
                  <a:gd name="connsiteX1176" fmla="*/ 775793 w 2708532"/>
                  <a:gd name="connsiteY1176" fmla="*/ 102011 h 820230"/>
                  <a:gd name="connsiteX1177" fmla="*/ 778439 w 2708532"/>
                  <a:gd name="connsiteY1177" fmla="*/ 104303 h 820230"/>
                  <a:gd name="connsiteX1178" fmla="*/ 782230 w 2708532"/>
                  <a:gd name="connsiteY1178" fmla="*/ 104039 h 820230"/>
                  <a:gd name="connsiteX1179" fmla="*/ 786286 w 2708532"/>
                  <a:gd name="connsiteY1179" fmla="*/ 103422 h 820230"/>
                  <a:gd name="connsiteX1180" fmla="*/ 786021 w 2708532"/>
                  <a:gd name="connsiteY1180" fmla="*/ 105449 h 820230"/>
                  <a:gd name="connsiteX1181" fmla="*/ 789548 w 2708532"/>
                  <a:gd name="connsiteY1181" fmla="*/ 108094 h 820230"/>
                  <a:gd name="connsiteX1182" fmla="*/ 792193 w 2708532"/>
                  <a:gd name="connsiteY1182" fmla="*/ 107830 h 820230"/>
                  <a:gd name="connsiteX1183" fmla="*/ 795102 w 2708532"/>
                  <a:gd name="connsiteY1183" fmla="*/ 108976 h 820230"/>
                  <a:gd name="connsiteX1184" fmla="*/ 797395 w 2708532"/>
                  <a:gd name="connsiteY1184" fmla="*/ 109241 h 820230"/>
                  <a:gd name="connsiteX1185" fmla="*/ 802068 w 2708532"/>
                  <a:gd name="connsiteY1185" fmla="*/ 108976 h 820230"/>
                  <a:gd name="connsiteX1186" fmla="*/ 806741 w 2708532"/>
                  <a:gd name="connsiteY1186" fmla="*/ 110739 h 820230"/>
                  <a:gd name="connsiteX1187" fmla="*/ 809386 w 2708532"/>
                  <a:gd name="connsiteY1187" fmla="*/ 112238 h 820230"/>
                  <a:gd name="connsiteX1188" fmla="*/ 809650 w 2708532"/>
                  <a:gd name="connsiteY1188" fmla="*/ 116030 h 820230"/>
                  <a:gd name="connsiteX1189" fmla="*/ 818731 w 2708532"/>
                  <a:gd name="connsiteY1189" fmla="*/ 117176 h 820230"/>
                  <a:gd name="connsiteX1190" fmla="*/ 820760 w 2708532"/>
                  <a:gd name="connsiteY1190" fmla="*/ 120085 h 820230"/>
                  <a:gd name="connsiteX1191" fmla="*/ 816440 w 2708532"/>
                  <a:gd name="connsiteY1191" fmla="*/ 119821 h 820230"/>
                  <a:gd name="connsiteX1192" fmla="*/ 812031 w 2708532"/>
                  <a:gd name="connsiteY1192" fmla="*/ 120703 h 820230"/>
                  <a:gd name="connsiteX1193" fmla="*/ 811766 w 2708532"/>
                  <a:gd name="connsiteY1193" fmla="*/ 122201 h 820230"/>
                  <a:gd name="connsiteX1194" fmla="*/ 807975 w 2708532"/>
                  <a:gd name="connsiteY1194" fmla="*/ 121584 h 820230"/>
                  <a:gd name="connsiteX1195" fmla="*/ 803567 w 2708532"/>
                  <a:gd name="connsiteY1195" fmla="*/ 120703 h 820230"/>
                  <a:gd name="connsiteX1196" fmla="*/ 799776 w 2708532"/>
                  <a:gd name="connsiteY1196" fmla="*/ 117528 h 820230"/>
                  <a:gd name="connsiteX1197" fmla="*/ 796866 w 2708532"/>
                  <a:gd name="connsiteY1197" fmla="*/ 117528 h 820230"/>
                  <a:gd name="connsiteX1198" fmla="*/ 793956 w 2708532"/>
                  <a:gd name="connsiteY1198" fmla="*/ 114883 h 820230"/>
                  <a:gd name="connsiteX1199" fmla="*/ 789284 w 2708532"/>
                  <a:gd name="connsiteY1199" fmla="*/ 115148 h 820230"/>
                  <a:gd name="connsiteX1200" fmla="*/ 786639 w 2708532"/>
                  <a:gd name="connsiteY1200" fmla="*/ 114002 h 820230"/>
                  <a:gd name="connsiteX1201" fmla="*/ 782847 w 2708532"/>
                  <a:gd name="connsiteY1201" fmla="*/ 114266 h 820230"/>
                  <a:gd name="connsiteX1202" fmla="*/ 782230 w 2708532"/>
                  <a:gd name="connsiteY1202" fmla="*/ 111357 h 820230"/>
                  <a:gd name="connsiteX1203" fmla="*/ 778174 w 2708532"/>
                  <a:gd name="connsiteY1203" fmla="*/ 110210 h 820230"/>
                  <a:gd name="connsiteX1204" fmla="*/ 772002 w 2708532"/>
                  <a:gd name="connsiteY1204" fmla="*/ 107918 h 820230"/>
                  <a:gd name="connsiteX1205" fmla="*/ 767682 w 2708532"/>
                  <a:gd name="connsiteY1205" fmla="*/ 107654 h 820230"/>
                  <a:gd name="connsiteX1206" fmla="*/ 764772 w 2708532"/>
                  <a:gd name="connsiteY1206" fmla="*/ 107654 h 820230"/>
                  <a:gd name="connsiteX1207" fmla="*/ 761246 w 2708532"/>
                  <a:gd name="connsiteY1207" fmla="*/ 106772 h 820230"/>
                  <a:gd name="connsiteX1208" fmla="*/ 760012 w 2708532"/>
                  <a:gd name="connsiteY1208" fmla="*/ 107036 h 820230"/>
                  <a:gd name="connsiteX1209" fmla="*/ 757102 w 2708532"/>
                  <a:gd name="connsiteY1209" fmla="*/ 106772 h 820230"/>
                  <a:gd name="connsiteX1210" fmla="*/ 756838 w 2708532"/>
                  <a:gd name="connsiteY1210" fmla="*/ 110563 h 820230"/>
                  <a:gd name="connsiteX1211" fmla="*/ 755691 w 2708532"/>
                  <a:gd name="connsiteY1211" fmla="*/ 111709 h 820230"/>
                  <a:gd name="connsiteX1212" fmla="*/ 751900 w 2708532"/>
                  <a:gd name="connsiteY1212" fmla="*/ 116647 h 820230"/>
                  <a:gd name="connsiteX1213" fmla="*/ 751900 w 2708532"/>
                  <a:gd name="connsiteY1213" fmla="*/ 106067 h 820230"/>
                  <a:gd name="connsiteX1214" fmla="*/ 746963 w 2708532"/>
                  <a:gd name="connsiteY1214" fmla="*/ 104568 h 820230"/>
                  <a:gd name="connsiteX1215" fmla="*/ 744935 w 2708532"/>
                  <a:gd name="connsiteY1215" fmla="*/ 107742 h 820230"/>
                  <a:gd name="connsiteX1216" fmla="*/ 742290 w 2708532"/>
                  <a:gd name="connsiteY1216" fmla="*/ 103069 h 820230"/>
                  <a:gd name="connsiteX1217" fmla="*/ 743436 w 2708532"/>
                  <a:gd name="connsiteY1217" fmla="*/ 109241 h 820230"/>
                  <a:gd name="connsiteX1218" fmla="*/ 740526 w 2708532"/>
                  <a:gd name="connsiteY1218" fmla="*/ 110122 h 820230"/>
                  <a:gd name="connsiteX1219" fmla="*/ 737000 w 2708532"/>
                  <a:gd name="connsiteY1219" fmla="*/ 108359 h 820230"/>
                  <a:gd name="connsiteX1220" fmla="*/ 734619 w 2708532"/>
                  <a:gd name="connsiteY1220" fmla="*/ 110387 h 820230"/>
                  <a:gd name="connsiteX1221" fmla="*/ 732591 w 2708532"/>
                  <a:gd name="connsiteY1221" fmla="*/ 111004 h 820230"/>
                  <a:gd name="connsiteX1222" fmla="*/ 730828 w 2708532"/>
                  <a:gd name="connsiteY1222" fmla="*/ 110122 h 820230"/>
                  <a:gd name="connsiteX1223" fmla="*/ 725009 w 2708532"/>
                  <a:gd name="connsiteY1223" fmla="*/ 108094 h 820230"/>
                  <a:gd name="connsiteX1224" fmla="*/ 722099 w 2708532"/>
                  <a:gd name="connsiteY1224" fmla="*/ 106948 h 820230"/>
                  <a:gd name="connsiteX1225" fmla="*/ 725626 w 2708532"/>
                  <a:gd name="connsiteY1225" fmla="*/ 111004 h 820230"/>
                  <a:gd name="connsiteX1226" fmla="*/ 727654 w 2708532"/>
                  <a:gd name="connsiteY1226" fmla="*/ 111621 h 820230"/>
                  <a:gd name="connsiteX1227" fmla="*/ 734971 w 2708532"/>
                  <a:gd name="connsiteY1227" fmla="*/ 113120 h 820230"/>
                  <a:gd name="connsiteX1228" fmla="*/ 738763 w 2708532"/>
                  <a:gd name="connsiteY1228" fmla="*/ 113120 h 820230"/>
                  <a:gd name="connsiteX1229" fmla="*/ 740262 w 2708532"/>
                  <a:gd name="connsiteY1229" fmla="*/ 113385 h 820230"/>
                  <a:gd name="connsiteX1230" fmla="*/ 742025 w 2708532"/>
                  <a:gd name="connsiteY1230" fmla="*/ 113385 h 820230"/>
                  <a:gd name="connsiteX1231" fmla="*/ 744670 w 2708532"/>
                  <a:gd name="connsiteY1231" fmla="*/ 114002 h 820230"/>
                  <a:gd name="connsiteX1232" fmla="*/ 746698 w 2708532"/>
                  <a:gd name="connsiteY1232" fmla="*/ 116647 h 820230"/>
                  <a:gd name="connsiteX1233" fmla="*/ 740614 w 2708532"/>
                  <a:gd name="connsiteY1233" fmla="*/ 116382 h 820230"/>
                  <a:gd name="connsiteX1234" fmla="*/ 736823 w 2708532"/>
                  <a:gd name="connsiteY1234" fmla="*/ 116118 h 820230"/>
                  <a:gd name="connsiteX1235" fmla="*/ 735942 w 2708532"/>
                  <a:gd name="connsiteY1235" fmla="*/ 116118 h 820230"/>
                  <a:gd name="connsiteX1236" fmla="*/ 733032 w 2708532"/>
                  <a:gd name="connsiteY1236" fmla="*/ 114972 h 820230"/>
                  <a:gd name="connsiteX1237" fmla="*/ 729241 w 2708532"/>
                  <a:gd name="connsiteY1237" fmla="*/ 114354 h 820230"/>
                  <a:gd name="connsiteX1238" fmla="*/ 726596 w 2708532"/>
                  <a:gd name="connsiteY1238" fmla="*/ 114354 h 820230"/>
                  <a:gd name="connsiteX1239" fmla="*/ 726067 w 2708532"/>
                  <a:gd name="connsiteY1239" fmla="*/ 114619 h 820230"/>
                  <a:gd name="connsiteX1240" fmla="*/ 720777 w 2708532"/>
                  <a:gd name="connsiteY1240" fmla="*/ 115501 h 820230"/>
                  <a:gd name="connsiteX1241" fmla="*/ 718132 w 2708532"/>
                  <a:gd name="connsiteY1241" fmla="*/ 114883 h 820230"/>
                  <a:gd name="connsiteX1242" fmla="*/ 718132 w 2708532"/>
                  <a:gd name="connsiteY1242" fmla="*/ 116647 h 820230"/>
                  <a:gd name="connsiteX1243" fmla="*/ 718396 w 2708532"/>
                  <a:gd name="connsiteY1243" fmla="*/ 118410 h 820230"/>
                  <a:gd name="connsiteX1244" fmla="*/ 720688 w 2708532"/>
                  <a:gd name="connsiteY1244" fmla="*/ 120438 h 820230"/>
                  <a:gd name="connsiteX1245" fmla="*/ 721834 w 2708532"/>
                  <a:gd name="connsiteY1245" fmla="*/ 121584 h 820230"/>
                  <a:gd name="connsiteX1246" fmla="*/ 723863 w 2708532"/>
                  <a:gd name="connsiteY1246" fmla="*/ 124229 h 820230"/>
                  <a:gd name="connsiteX1247" fmla="*/ 725890 w 2708532"/>
                  <a:gd name="connsiteY1247" fmla="*/ 125728 h 820230"/>
                  <a:gd name="connsiteX1248" fmla="*/ 728800 w 2708532"/>
                  <a:gd name="connsiteY1248" fmla="*/ 126874 h 820230"/>
                  <a:gd name="connsiteX1249" fmla="*/ 731093 w 2708532"/>
                  <a:gd name="connsiteY1249" fmla="*/ 131283 h 820230"/>
                  <a:gd name="connsiteX1250" fmla="*/ 736647 w 2708532"/>
                  <a:gd name="connsiteY1250" fmla="*/ 130666 h 820230"/>
                  <a:gd name="connsiteX1251" fmla="*/ 729946 w 2708532"/>
                  <a:gd name="connsiteY1251" fmla="*/ 132693 h 820230"/>
                  <a:gd name="connsiteX1252" fmla="*/ 724127 w 2708532"/>
                  <a:gd name="connsiteY1252" fmla="*/ 129519 h 820230"/>
                  <a:gd name="connsiteX1253" fmla="*/ 718572 w 2708532"/>
                  <a:gd name="connsiteY1253" fmla="*/ 127756 h 820230"/>
                  <a:gd name="connsiteX1254" fmla="*/ 714164 w 2708532"/>
                  <a:gd name="connsiteY1254" fmla="*/ 124846 h 820230"/>
                  <a:gd name="connsiteX1255" fmla="*/ 713635 w 2708532"/>
                  <a:gd name="connsiteY1255" fmla="*/ 121672 h 820230"/>
                  <a:gd name="connsiteX1256" fmla="*/ 712753 w 2708532"/>
                  <a:gd name="connsiteY1256" fmla="*/ 118763 h 820230"/>
                  <a:gd name="connsiteX1257" fmla="*/ 708345 w 2708532"/>
                  <a:gd name="connsiteY1257" fmla="*/ 116470 h 820230"/>
                  <a:gd name="connsiteX1258" fmla="*/ 709844 w 2708532"/>
                  <a:gd name="connsiteY1258" fmla="*/ 113825 h 820230"/>
                  <a:gd name="connsiteX1259" fmla="*/ 706053 w 2708532"/>
                  <a:gd name="connsiteY1259" fmla="*/ 112944 h 820230"/>
                  <a:gd name="connsiteX1260" fmla="*/ 705171 w 2708532"/>
                  <a:gd name="connsiteY1260" fmla="*/ 110563 h 820230"/>
                  <a:gd name="connsiteX1261" fmla="*/ 704906 w 2708532"/>
                  <a:gd name="connsiteY1261" fmla="*/ 108535 h 820230"/>
                  <a:gd name="connsiteX1262" fmla="*/ 701115 w 2708532"/>
                  <a:gd name="connsiteY1262" fmla="*/ 104127 h 820230"/>
                  <a:gd name="connsiteX1263" fmla="*/ 694414 w 2708532"/>
                  <a:gd name="connsiteY1263" fmla="*/ 103510 h 820230"/>
                  <a:gd name="connsiteX1264" fmla="*/ 692387 w 2708532"/>
                  <a:gd name="connsiteY1264" fmla="*/ 100336 h 820230"/>
                  <a:gd name="connsiteX1265" fmla="*/ 692387 w 2708532"/>
                  <a:gd name="connsiteY1265" fmla="*/ 96280 h 820230"/>
                  <a:gd name="connsiteX1266" fmla="*/ 686215 w 2708532"/>
                  <a:gd name="connsiteY1266" fmla="*/ 96280 h 820230"/>
                  <a:gd name="connsiteX1267" fmla="*/ 681806 w 2708532"/>
                  <a:gd name="connsiteY1267" fmla="*/ 93635 h 820230"/>
                  <a:gd name="connsiteX1268" fmla="*/ 680308 w 2708532"/>
                  <a:gd name="connsiteY1268" fmla="*/ 91607 h 820230"/>
                  <a:gd name="connsiteX1269" fmla="*/ 674488 w 2708532"/>
                  <a:gd name="connsiteY1269" fmla="*/ 91607 h 820230"/>
                  <a:gd name="connsiteX1270" fmla="*/ 670697 w 2708532"/>
                  <a:gd name="connsiteY1270" fmla="*/ 91342 h 820230"/>
                  <a:gd name="connsiteX1271" fmla="*/ 672196 w 2708532"/>
                  <a:gd name="connsiteY1271" fmla="*/ 93635 h 820230"/>
                  <a:gd name="connsiteX1272" fmla="*/ 674841 w 2708532"/>
                  <a:gd name="connsiteY1272" fmla="*/ 94252 h 820230"/>
                  <a:gd name="connsiteX1273" fmla="*/ 675105 w 2708532"/>
                  <a:gd name="connsiteY1273" fmla="*/ 96280 h 820230"/>
                  <a:gd name="connsiteX1274" fmla="*/ 678897 w 2708532"/>
                  <a:gd name="connsiteY1274" fmla="*/ 96280 h 820230"/>
                  <a:gd name="connsiteX1275" fmla="*/ 682423 w 2708532"/>
                  <a:gd name="connsiteY1275" fmla="*/ 98572 h 820230"/>
                  <a:gd name="connsiteX1276" fmla="*/ 684451 w 2708532"/>
                  <a:gd name="connsiteY1276" fmla="*/ 98837 h 820230"/>
                  <a:gd name="connsiteX1277" fmla="*/ 686832 w 2708532"/>
                  <a:gd name="connsiteY1277" fmla="*/ 102011 h 820230"/>
                  <a:gd name="connsiteX1278" fmla="*/ 688860 w 2708532"/>
                  <a:gd name="connsiteY1278" fmla="*/ 102892 h 820230"/>
                  <a:gd name="connsiteX1279" fmla="*/ 690623 w 2708532"/>
                  <a:gd name="connsiteY1279" fmla="*/ 104303 h 820230"/>
                  <a:gd name="connsiteX1280" fmla="*/ 693533 w 2708532"/>
                  <a:gd name="connsiteY1280" fmla="*/ 107213 h 820230"/>
                  <a:gd name="connsiteX1281" fmla="*/ 695296 w 2708532"/>
                  <a:gd name="connsiteY1281" fmla="*/ 111004 h 820230"/>
                  <a:gd name="connsiteX1282" fmla="*/ 693268 w 2708532"/>
                  <a:gd name="connsiteY1282" fmla="*/ 112150 h 820230"/>
                  <a:gd name="connsiteX1283" fmla="*/ 695913 w 2708532"/>
                  <a:gd name="connsiteY1283" fmla="*/ 114178 h 820230"/>
                  <a:gd name="connsiteX1284" fmla="*/ 687802 w 2708532"/>
                  <a:gd name="connsiteY1284" fmla="*/ 115060 h 820230"/>
                  <a:gd name="connsiteX1285" fmla="*/ 683393 w 2708532"/>
                  <a:gd name="connsiteY1285" fmla="*/ 117705 h 820230"/>
                  <a:gd name="connsiteX1286" fmla="*/ 680748 w 2708532"/>
                  <a:gd name="connsiteY1286" fmla="*/ 118322 h 820230"/>
                  <a:gd name="connsiteX1287" fmla="*/ 680484 w 2708532"/>
                  <a:gd name="connsiteY1287" fmla="*/ 122113 h 820230"/>
                  <a:gd name="connsiteX1288" fmla="*/ 680484 w 2708532"/>
                  <a:gd name="connsiteY1288" fmla="*/ 123259 h 820230"/>
                  <a:gd name="connsiteX1289" fmla="*/ 679073 w 2708532"/>
                  <a:gd name="connsiteY1289" fmla="*/ 124406 h 820230"/>
                  <a:gd name="connsiteX1290" fmla="*/ 676428 w 2708532"/>
                  <a:gd name="connsiteY1290" fmla="*/ 124670 h 820230"/>
                  <a:gd name="connsiteX1291" fmla="*/ 677927 w 2708532"/>
                  <a:gd name="connsiteY1291" fmla="*/ 126433 h 820230"/>
                  <a:gd name="connsiteX1292" fmla="*/ 681983 w 2708532"/>
                  <a:gd name="connsiteY1292" fmla="*/ 128197 h 820230"/>
                  <a:gd name="connsiteX1293" fmla="*/ 685157 w 2708532"/>
                  <a:gd name="connsiteY1293" fmla="*/ 131371 h 820230"/>
                  <a:gd name="connsiteX1294" fmla="*/ 690447 w 2708532"/>
                  <a:gd name="connsiteY1294" fmla="*/ 130754 h 820230"/>
                  <a:gd name="connsiteX1295" fmla="*/ 696530 w 2708532"/>
                  <a:gd name="connsiteY1295" fmla="*/ 135162 h 820230"/>
                  <a:gd name="connsiteX1296" fmla="*/ 700321 w 2708532"/>
                  <a:gd name="connsiteY1296" fmla="*/ 135427 h 820230"/>
                  <a:gd name="connsiteX1297" fmla="*/ 703848 w 2708532"/>
                  <a:gd name="connsiteY1297" fmla="*/ 138336 h 820230"/>
                  <a:gd name="connsiteX1298" fmla="*/ 703848 w 2708532"/>
                  <a:gd name="connsiteY1298" fmla="*/ 140364 h 820230"/>
                  <a:gd name="connsiteX1299" fmla="*/ 700586 w 2708532"/>
                  <a:gd name="connsiteY1299" fmla="*/ 141863 h 820230"/>
                  <a:gd name="connsiteX1300" fmla="*/ 701468 w 2708532"/>
                  <a:gd name="connsiteY1300" fmla="*/ 143009 h 820230"/>
                  <a:gd name="connsiteX1301" fmla="*/ 707022 w 2708532"/>
                  <a:gd name="connsiteY1301" fmla="*/ 143626 h 820230"/>
                  <a:gd name="connsiteX1302" fmla="*/ 710196 w 2708532"/>
                  <a:gd name="connsiteY1302" fmla="*/ 149181 h 820230"/>
                  <a:gd name="connsiteX1303" fmla="*/ 706405 w 2708532"/>
                  <a:gd name="connsiteY1303" fmla="*/ 156146 h 820230"/>
                  <a:gd name="connsiteX1304" fmla="*/ 707022 w 2708532"/>
                  <a:gd name="connsiteY1304" fmla="*/ 159673 h 820230"/>
                  <a:gd name="connsiteX1305" fmla="*/ 707287 w 2708532"/>
                  <a:gd name="connsiteY1305" fmla="*/ 163200 h 820230"/>
                  <a:gd name="connsiteX1306" fmla="*/ 709932 w 2708532"/>
                  <a:gd name="connsiteY1306" fmla="*/ 164963 h 820230"/>
                  <a:gd name="connsiteX1307" fmla="*/ 710196 w 2708532"/>
                  <a:gd name="connsiteY1307" fmla="*/ 167608 h 820230"/>
                  <a:gd name="connsiteX1308" fmla="*/ 713106 w 2708532"/>
                  <a:gd name="connsiteY1308" fmla="*/ 167608 h 820230"/>
                  <a:gd name="connsiteX1309" fmla="*/ 717162 w 2708532"/>
                  <a:gd name="connsiteY1309" fmla="*/ 169107 h 820230"/>
                  <a:gd name="connsiteX1310" fmla="*/ 719454 w 2708532"/>
                  <a:gd name="connsiteY1310" fmla="*/ 172017 h 820230"/>
                  <a:gd name="connsiteX1311" fmla="*/ 720336 w 2708532"/>
                  <a:gd name="connsiteY1311" fmla="*/ 176689 h 820230"/>
                  <a:gd name="connsiteX1312" fmla="*/ 725890 w 2708532"/>
                  <a:gd name="connsiteY1312" fmla="*/ 176689 h 820230"/>
                  <a:gd name="connsiteX1313" fmla="*/ 730299 w 2708532"/>
                  <a:gd name="connsiteY1313" fmla="*/ 178717 h 820230"/>
                  <a:gd name="connsiteX1314" fmla="*/ 737000 w 2708532"/>
                  <a:gd name="connsiteY1314" fmla="*/ 178100 h 820230"/>
                  <a:gd name="connsiteX1315" fmla="*/ 739909 w 2708532"/>
                  <a:gd name="connsiteY1315" fmla="*/ 178982 h 820230"/>
                  <a:gd name="connsiteX1316" fmla="*/ 737000 w 2708532"/>
                  <a:gd name="connsiteY1316" fmla="*/ 175191 h 820230"/>
                  <a:gd name="connsiteX1317" fmla="*/ 743436 w 2708532"/>
                  <a:gd name="connsiteY1317" fmla="*/ 176689 h 820230"/>
                  <a:gd name="connsiteX1318" fmla="*/ 747844 w 2708532"/>
                  <a:gd name="connsiteY1318" fmla="*/ 176072 h 820230"/>
                  <a:gd name="connsiteX1319" fmla="*/ 749608 w 2708532"/>
                  <a:gd name="connsiteY1319" fmla="*/ 174309 h 820230"/>
                  <a:gd name="connsiteX1320" fmla="*/ 749872 w 2708532"/>
                  <a:gd name="connsiteY1320" fmla="*/ 176601 h 820230"/>
                  <a:gd name="connsiteX1321" fmla="*/ 754280 w 2708532"/>
                  <a:gd name="connsiteY1321" fmla="*/ 176866 h 820230"/>
                  <a:gd name="connsiteX1322" fmla="*/ 761863 w 2708532"/>
                  <a:gd name="connsiteY1322" fmla="*/ 175720 h 820230"/>
                  <a:gd name="connsiteX1323" fmla="*/ 764243 w 2708532"/>
                  <a:gd name="connsiteY1323" fmla="*/ 175720 h 820230"/>
                  <a:gd name="connsiteX1324" fmla="*/ 768917 w 2708532"/>
                  <a:gd name="connsiteY1324" fmla="*/ 175984 h 820230"/>
                  <a:gd name="connsiteX1325" fmla="*/ 769798 w 2708532"/>
                  <a:gd name="connsiteY1325" fmla="*/ 173956 h 820230"/>
                  <a:gd name="connsiteX1326" fmla="*/ 775618 w 2708532"/>
                  <a:gd name="connsiteY1326" fmla="*/ 174838 h 820230"/>
                  <a:gd name="connsiteX1327" fmla="*/ 778262 w 2708532"/>
                  <a:gd name="connsiteY1327" fmla="*/ 179511 h 820230"/>
                  <a:gd name="connsiteX1328" fmla="*/ 781172 w 2708532"/>
                  <a:gd name="connsiteY1328" fmla="*/ 178365 h 820230"/>
                  <a:gd name="connsiteX1329" fmla="*/ 781701 w 2708532"/>
                  <a:gd name="connsiteY1329" fmla="*/ 176866 h 820230"/>
                  <a:gd name="connsiteX1330" fmla="*/ 783729 w 2708532"/>
                  <a:gd name="connsiteY1330" fmla="*/ 178012 h 820230"/>
                  <a:gd name="connsiteX1331" fmla="*/ 785492 w 2708532"/>
                  <a:gd name="connsiteY1331" fmla="*/ 180921 h 820230"/>
                  <a:gd name="connsiteX1332" fmla="*/ 787785 w 2708532"/>
                  <a:gd name="connsiteY1332" fmla="*/ 183302 h 820230"/>
                  <a:gd name="connsiteX1333" fmla="*/ 787256 w 2708532"/>
                  <a:gd name="connsiteY1333" fmla="*/ 182420 h 820230"/>
                  <a:gd name="connsiteX1334" fmla="*/ 789284 w 2708532"/>
                  <a:gd name="connsiteY1334" fmla="*/ 184448 h 820230"/>
                  <a:gd name="connsiteX1335" fmla="*/ 792193 w 2708532"/>
                  <a:gd name="connsiteY1335" fmla="*/ 186212 h 820230"/>
                  <a:gd name="connsiteX1336" fmla="*/ 792193 w 2708532"/>
                  <a:gd name="connsiteY1336" fmla="*/ 190003 h 820230"/>
                  <a:gd name="connsiteX1337" fmla="*/ 794573 w 2708532"/>
                  <a:gd name="connsiteY1337" fmla="*/ 190885 h 820230"/>
                  <a:gd name="connsiteX1338" fmla="*/ 791928 w 2708532"/>
                  <a:gd name="connsiteY1338" fmla="*/ 192648 h 820230"/>
                  <a:gd name="connsiteX1339" fmla="*/ 792546 w 2708532"/>
                  <a:gd name="connsiteY1339" fmla="*/ 195822 h 820230"/>
                  <a:gd name="connsiteX1340" fmla="*/ 796337 w 2708532"/>
                  <a:gd name="connsiteY1340" fmla="*/ 196439 h 820230"/>
                  <a:gd name="connsiteX1341" fmla="*/ 802421 w 2708532"/>
                  <a:gd name="connsiteY1341" fmla="*/ 199084 h 820230"/>
                  <a:gd name="connsiteX1342" fmla="*/ 806829 w 2708532"/>
                  <a:gd name="connsiteY1342" fmla="*/ 204374 h 820230"/>
                  <a:gd name="connsiteX1343" fmla="*/ 811766 w 2708532"/>
                  <a:gd name="connsiteY1343" fmla="*/ 204374 h 820230"/>
                  <a:gd name="connsiteX1344" fmla="*/ 814411 w 2708532"/>
                  <a:gd name="connsiteY1344" fmla="*/ 208166 h 820230"/>
                  <a:gd name="connsiteX1345" fmla="*/ 813265 w 2708532"/>
                  <a:gd name="connsiteY1345" fmla="*/ 209047 h 820230"/>
                  <a:gd name="connsiteX1346" fmla="*/ 807710 w 2708532"/>
                  <a:gd name="connsiteY1346" fmla="*/ 210811 h 820230"/>
                  <a:gd name="connsiteX1347" fmla="*/ 799247 w 2708532"/>
                  <a:gd name="connsiteY1347" fmla="*/ 207637 h 820230"/>
                  <a:gd name="connsiteX1348" fmla="*/ 797483 w 2708532"/>
                  <a:gd name="connsiteY1348" fmla="*/ 201817 h 820230"/>
                  <a:gd name="connsiteX1349" fmla="*/ 794573 w 2708532"/>
                  <a:gd name="connsiteY1349" fmla="*/ 202435 h 820230"/>
                  <a:gd name="connsiteX1350" fmla="*/ 793075 w 2708532"/>
                  <a:gd name="connsiteY1350" fmla="*/ 200407 h 820230"/>
                  <a:gd name="connsiteX1351" fmla="*/ 790165 w 2708532"/>
                  <a:gd name="connsiteY1351" fmla="*/ 199261 h 820230"/>
                  <a:gd name="connsiteX1352" fmla="*/ 789284 w 2708532"/>
                  <a:gd name="connsiteY1352" fmla="*/ 194588 h 820230"/>
                  <a:gd name="connsiteX1353" fmla="*/ 786110 w 2708532"/>
                  <a:gd name="connsiteY1353" fmla="*/ 193089 h 820230"/>
                  <a:gd name="connsiteX1354" fmla="*/ 789019 w 2708532"/>
                  <a:gd name="connsiteY1354" fmla="*/ 191590 h 820230"/>
                  <a:gd name="connsiteX1355" fmla="*/ 787785 w 2708532"/>
                  <a:gd name="connsiteY1355" fmla="*/ 188063 h 820230"/>
                  <a:gd name="connsiteX1356" fmla="*/ 782847 w 2708532"/>
                  <a:gd name="connsiteY1356" fmla="*/ 188945 h 820230"/>
                  <a:gd name="connsiteX1357" fmla="*/ 779938 w 2708532"/>
                  <a:gd name="connsiteY1357" fmla="*/ 185771 h 820230"/>
                  <a:gd name="connsiteX1358" fmla="*/ 776764 w 2708532"/>
                  <a:gd name="connsiteY1358" fmla="*/ 183126 h 820230"/>
                  <a:gd name="connsiteX1359" fmla="*/ 774471 w 2708532"/>
                  <a:gd name="connsiteY1359" fmla="*/ 182509 h 820230"/>
                  <a:gd name="connsiteX1360" fmla="*/ 773589 w 2708532"/>
                  <a:gd name="connsiteY1360" fmla="*/ 181627 h 820230"/>
                  <a:gd name="connsiteX1361" fmla="*/ 772708 w 2708532"/>
                  <a:gd name="connsiteY1361" fmla="*/ 179864 h 820230"/>
                  <a:gd name="connsiteX1362" fmla="*/ 768035 w 2708532"/>
                  <a:gd name="connsiteY1362" fmla="*/ 179246 h 820230"/>
                  <a:gd name="connsiteX1363" fmla="*/ 764861 w 2708532"/>
                  <a:gd name="connsiteY1363" fmla="*/ 178629 h 820230"/>
                  <a:gd name="connsiteX1364" fmla="*/ 760805 w 2708532"/>
                  <a:gd name="connsiteY1364" fmla="*/ 178894 h 820230"/>
                  <a:gd name="connsiteX1365" fmla="*/ 757896 w 2708532"/>
                  <a:gd name="connsiteY1365" fmla="*/ 178894 h 820230"/>
                  <a:gd name="connsiteX1366" fmla="*/ 756749 w 2708532"/>
                  <a:gd name="connsiteY1366" fmla="*/ 179158 h 820230"/>
                  <a:gd name="connsiteX1367" fmla="*/ 754104 w 2708532"/>
                  <a:gd name="connsiteY1367" fmla="*/ 179158 h 820230"/>
                  <a:gd name="connsiteX1368" fmla="*/ 751459 w 2708532"/>
                  <a:gd name="connsiteY1368" fmla="*/ 180304 h 820230"/>
                  <a:gd name="connsiteX1369" fmla="*/ 748550 w 2708532"/>
                  <a:gd name="connsiteY1369" fmla="*/ 180833 h 820230"/>
                  <a:gd name="connsiteX1370" fmla="*/ 749167 w 2708532"/>
                  <a:gd name="connsiteY1370" fmla="*/ 181098 h 820230"/>
                  <a:gd name="connsiteX1371" fmla="*/ 747139 w 2708532"/>
                  <a:gd name="connsiteY1371" fmla="*/ 180481 h 820230"/>
                  <a:gd name="connsiteX1372" fmla="*/ 743612 w 2708532"/>
                  <a:gd name="connsiteY1372" fmla="*/ 180745 h 820230"/>
                  <a:gd name="connsiteX1373" fmla="*/ 744759 w 2708532"/>
                  <a:gd name="connsiteY1373" fmla="*/ 182773 h 820230"/>
                  <a:gd name="connsiteX1374" fmla="*/ 747404 w 2708532"/>
                  <a:gd name="connsiteY1374" fmla="*/ 182773 h 820230"/>
                  <a:gd name="connsiteX1375" fmla="*/ 750048 w 2708532"/>
                  <a:gd name="connsiteY1375" fmla="*/ 185154 h 820230"/>
                  <a:gd name="connsiteX1376" fmla="*/ 745111 w 2708532"/>
                  <a:gd name="connsiteY1376" fmla="*/ 185154 h 820230"/>
                  <a:gd name="connsiteX1377" fmla="*/ 744494 w 2708532"/>
                  <a:gd name="connsiteY1377" fmla="*/ 187182 h 820230"/>
                  <a:gd name="connsiteX1378" fmla="*/ 743612 w 2708532"/>
                  <a:gd name="connsiteY1378" fmla="*/ 184536 h 820230"/>
                  <a:gd name="connsiteX1379" fmla="*/ 741320 w 2708532"/>
                  <a:gd name="connsiteY1379" fmla="*/ 183390 h 820230"/>
                  <a:gd name="connsiteX1380" fmla="*/ 740174 w 2708532"/>
                  <a:gd name="connsiteY1380" fmla="*/ 183919 h 820230"/>
                  <a:gd name="connsiteX1381" fmla="*/ 740703 w 2708532"/>
                  <a:gd name="connsiteY1381" fmla="*/ 186300 h 820230"/>
                  <a:gd name="connsiteX1382" fmla="*/ 741849 w 2708532"/>
                  <a:gd name="connsiteY1382" fmla="*/ 187446 h 820230"/>
                  <a:gd name="connsiteX1383" fmla="*/ 741232 w 2708532"/>
                  <a:gd name="connsiteY1383" fmla="*/ 188769 h 820230"/>
                  <a:gd name="connsiteX1384" fmla="*/ 741849 w 2708532"/>
                  <a:gd name="connsiteY1384" fmla="*/ 191237 h 820230"/>
                  <a:gd name="connsiteX1385" fmla="*/ 745023 w 2708532"/>
                  <a:gd name="connsiteY1385" fmla="*/ 192736 h 820230"/>
                  <a:gd name="connsiteX1386" fmla="*/ 746081 w 2708532"/>
                  <a:gd name="connsiteY1386" fmla="*/ 194059 h 820230"/>
                  <a:gd name="connsiteX1387" fmla="*/ 749431 w 2708532"/>
                  <a:gd name="connsiteY1387" fmla="*/ 194764 h 820230"/>
                  <a:gd name="connsiteX1388" fmla="*/ 750842 w 2708532"/>
                  <a:gd name="connsiteY1388" fmla="*/ 196792 h 820230"/>
                  <a:gd name="connsiteX1389" fmla="*/ 750577 w 2708532"/>
                  <a:gd name="connsiteY1389" fmla="*/ 198555 h 820230"/>
                  <a:gd name="connsiteX1390" fmla="*/ 752341 w 2708532"/>
                  <a:gd name="connsiteY1390" fmla="*/ 200583 h 820230"/>
                  <a:gd name="connsiteX1391" fmla="*/ 752870 w 2708532"/>
                  <a:gd name="connsiteY1391" fmla="*/ 200848 h 820230"/>
                  <a:gd name="connsiteX1392" fmla="*/ 752958 w 2708532"/>
                  <a:gd name="connsiteY1392" fmla="*/ 200319 h 820230"/>
                  <a:gd name="connsiteX1393" fmla="*/ 753311 w 2708532"/>
                  <a:gd name="connsiteY1393" fmla="*/ 200848 h 820230"/>
                  <a:gd name="connsiteX1394" fmla="*/ 753311 w 2708532"/>
                  <a:gd name="connsiteY1394" fmla="*/ 201024 h 820230"/>
                  <a:gd name="connsiteX1395" fmla="*/ 755339 w 2708532"/>
                  <a:gd name="connsiteY1395" fmla="*/ 201994 h 820230"/>
                  <a:gd name="connsiteX1396" fmla="*/ 753311 w 2708532"/>
                  <a:gd name="connsiteY1396" fmla="*/ 201994 h 820230"/>
                  <a:gd name="connsiteX1397" fmla="*/ 753311 w 2708532"/>
                  <a:gd name="connsiteY1397" fmla="*/ 201024 h 820230"/>
                  <a:gd name="connsiteX1398" fmla="*/ 752958 w 2708532"/>
                  <a:gd name="connsiteY1398" fmla="*/ 200848 h 820230"/>
                  <a:gd name="connsiteX1399" fmla="*/ 752429 w 2708532"/>
                  <a:gd name="connsiteY1399" fmla="*/ 205256 h 820230"/>
                  <a:gd name="connsiteX1400" fmla="*/ 753311 w 2708532"/>
                  <a:gd name="connsiteY1400" fmla="*/ 204991 h 820230"/>
                  <a:gd name="connsiteX1401" fmla="*/ 751812 w 2708532"/>
                  <a:gd name="connsiteY1401" fmla="*/ 207019 h 820230"/>
                  <a:gd name="connsiteX1402" fmla="*/ 751812 w 2708532"/>
                  <a:gd name="connsiteY1402" fmla="*/ 211428 h 820230"/>
                  <a:gd name="connsiteX1403" fmla="*/ 751195 w 2708532"/>
                  <a:gd name="connsiteY1403" fmla="*/ 211428 h 820230"/>
                  <a:gd name="connsiteX1404" fmla="*/ 749167 w 2708532"/>
                  <a:gd name="connsiteY1404" fmla="*/ 213191 h 820230"/>
                  <a:gd name="connsiteX1405" fmla="*/ 748285 w 2708532"/>
                  <a:gd name="connsiteY1405" fmla="*/ 215836 h 820230"/>
                  <a:gd name="connsiteX1406" fmla="*/ 743612 w 2708532"/>
                  <a:gd name="connsiteY1406" fmla="*/ 216453 h 820230"/>
                  <a:gd name="connsiteX1407" fmla="*/ 740438 w 2708532"/>
                  <a:gd name="connsiteY1407" fmla="*/ 222537 h 820230"/>
                  <a:gd name="connsiteX1408" fmla="*/ 740703 w 2708532"/>
                  <a:gd name="connsiteY1408" fmla="*/ 224918 h 820230"/>
                  <a:gd name="connsiteX1409" fmla="*/ 743348 w 2708532"/>
                  <a:gd name="connsiteY1409" fmla="*/ 218834 h 820230"/>
                  <a:gd name="connsiteX1410" fmla="*/ 743348 w 2708532"/>
                  <a:gd name="connsiteY1410" fmla="*/ 224653 h 820230"/>
                  <a:gd name="connsiteX1411" fmla="*/ 741584 w 2708532"/>
                  <a:gd name="connsiteY1411" fmla="*/ 229943 h 820230"/>
                  <a:gd name="connsiteX1412" fmla="*/ 742466 w 2708532"/>
                  <a:gd name="connsiteY1412" fmla="*/ 230825 h 820230"/>
                  <a:gd name="connsiteX1413" fmla="*/ 739556 w 2708532"/>
                  <a:gd name="connsiteY1413" fmla="*/ 231442 h 820230"/>
                  <a:gd name="connsiteX1414" fmla="*/ 739292 w 2708532"/>
                  <a:gd name="connsiteY1414" fmla="*/ 234352 h 820230"/>
                  <a:gd name="connsiteX1415" fmla="*/ 737264 w 2708532"/>
                  <a:gd name="connsiteY1415" fmla="*/ 235233 h 820230"/>
                  <a:gd name="connsiteX1416" fmla="*/ 737000 w 2708532"/>
                  <a:gd name="connsiteY1416" fmla="*/ 235498 h 820230"/>
                  <a:gd name="connsiteX1417" fmla="*/ 732062 w 2708532"/>
                  <a:gd name="connsiteY1417" fmla="*/ 235762 h 820230"/>
                  <a:gd name="connsiteX1418" fmla="*/ 730299 w 2708532"/>
                  <a:gd name="connsiteY1418" fmla="*/ 238672 h 820230"/>
                  <a:gd name="connsiteX1419" fmla="*/ 732944 w 2708532"/>
                  <a:gd name="connsiteY1419" fmla="*/ 238672 h 820230"/>
                  <a:gd name="connsiteX1420" fmla="*/ 727742 w 2708532"/>
                  <a:gd name="connsiteY1420" fmla="*/ 240171 h 820230"/>
                  <a:gd name="connsiteX1421" fmla="*/ 724215 w 2708532"/>
                  <a:gd name="connsiteY1421" fmla="*/ 240435 h 820230"/>
                  <a:gd name="connsiteX1422" fmla="*/ 721041 w 2708532"/>
                  <a:gd name="connsiteY1422" fmla="*/ 237526 h 820230"/>
                  <a:gd name="connsiteX1423" fmla="*/ 716985 w 2708532"/>
                  <a:gd name="connsiteY1423" fmla="*/ 236027 h 820230"/>
                  <a:gd name="connsiteX1424" fmla="*/ 716456 w 2708532"/>
                  <a:gd name="connsiteY1424" fmla="*/ 240083 h 820230"/>
                  <a:gd name="connsiteX1425" fmla="*/ 712313 w 2708532"/>
                  <a:gd name="connsiteY1425" fmla="*/ 238055 h 820230"/>
                  <a:gd name="connsiteX1426" fmla="*/ 701203 w 2708532"/>
                  <a:gd name="connsiteY1426" fmla="*/ 237437 h 820230"/>
                  <a:gd name="connsiteX1427" fmla="*/ 697412 w 2708532"/>
                  <a:gd name="connsiteY1427" fmla="*/ 235145 h 820230"/>
                  <a:gd name="connsiteX1428" fmla="*/ 693885 w 2708532"/>
                  <a:gd name="connsiteY1428" fmla="*/ 233382 h 820230"/>
                  <a:gd name="connsiteX1429" fmla="*/ 697941 w 2708532"/>
                  <a:gd name="connsiteY1429" fmla="*/ 231354 h 820230"/>
                  <a:gd name="connsiteX1430" fmla="*/ 699087 w 2708532"/>
                  <a:gd name="connsiteY1430" fmla="*/ 231089 h 820230"/>
                  <a:gd name="connsiteX1431" fmla="*/ 699969 w 2708532"/>
                  <a:gd name="connsiteY1431" fmla="*/ 228709 h 820230"/>
                  <a:gd name="connsiteX1432" fmla="*/ 699087 w 2708532"/>
                  <a:gd name="connsiteY1432" fmla="*/ 226681 h 820230"/>
                  <a:gd name="connsiteX1433" fmla="*/ 697941 w 2708532"/>
                  <a:gd name="connsiteY1433" fmla="*/ 226416 h 820230"/>
                  <a:gd name="connsiteX1434" fmla="*/ 693533 w 2708532"/>
                  <a:gd name="connsiteY1434" fmla="*/ 226152 h 820230"/>
                  <a:gd name="connsiteX1435" fmla="*/ 691769 w 2708532"/>
                  <a:gd name="connsiteY1435" fmla="*/ 223507 h 820230"/>
                  <a:gd name="connsiteX1436" fmla="*/ 694150 w 2708532"/>
                  <a:gd name="connsiteY1436" fmla="*/ 219716 h 820230"/>
                  <a:gd name="connsiteX1437" fmla="*/ 697588 w 2708532"/>
                  <a:gd name="connsiteY1437" fmla="*/ 218217 h 820230"/>
                  <a:gd name="connsiteX1438" fmla="*/ 698470 w 2708532"/>
                  <a:gd name="connsiteY1438" fmla="*/ 219363 h 820230"/>
                  <a:gd name="connsiteX1439" fmla="*/ 699616 w 2708532"/>
                  <a:gd name="connsiteY1439" fmla="*/ 219363 h 820230"/>
                  <a:gd name="connsiteX1440" fmla="*/ 701644 w 2708532"/>
                  <a:gd name="connsiteY1440" fmla="*/ 219980 h 820230"/>
                  <a:gd name="connsiteX1441" fmla="*/ 701379 w 2708532"/>
                  <a:gd name="connsiteY1441" fmla="*/ 219363 h 820230"/>
                  <a:gd name="connsiteX1442" fmla="*/ 706934 w 2708532"/>
                  <a:gd name="connsiteY1442" fmla="*/ 220509 h 820230"/>
                  <a:gd name="connsiteX1443" fmla="*/ 709315 w 2708532"/>
                  <a:gd name="connsiteY1443" fmla="*/ 219363 h 820230"/>
                  <a:gd name="connsiteX1444" fmla="*/ 716016 w 2708532"/>
                  <a:gd name="connsiteY1444" fmla="*/ 220509 h 820230"/>
                  <a:gd name="connsiteX1445" fmla="*/ 719542 w 2708532"/>
                  <a:gd name="connsiteY1445" fmla="*/ 219892 h 820230"/>
                  <a:gd name="connsiteX1446" fmla="*/ 719807 w 2708532"/>
                  <a:gd name="connsiteY1446" fmla="*/ 216982 h 820230"/>
                  <a:gd name="connsiteX1447" fmla="*/ 721570 w 2708532"/>
                  <a:gd name="connsiteY1447" fmla="*/ 216982 h 820230"/>
                  <a:gd name="connsiteX1448" fmla="*/ 722188 w 2708532"/>
                  <a:gd name="connsiteY1448" fmla="*/ 216365 h 820230"/>
                  <a:gd name="connsiteX1449" fmla="*/ 721570 w 2708532"/>
                  <a:gd name="connsiteY1449" fmla="*/ 213456 h 820230"/>
                  <a:gd name="connsiteX1450" fmla="*/ 723334 w 2708532"/>
                  <a:gd name="connsiteY1450" fmla="*/ 209929 h 820230"/>
                  <a:gd name="connsiteX1451" fmla="*/ 725450 w 2708532"/>
                  <a:gd name="connsiteY1451" fmla="*/ 209400 h 820230"/>
                  <a:gd name="connsiteX1452" fmla="*/ 726860 w 2708532"/>
                  <a:gd name="connsiteY1452" fmla="*/ 207637 h 820230"/>
                  <a:gd name="connsiteX1453" fmla="*/ 728359 w 2708532"/>
                  <a:gd name="connsiteY1453" fmla="*/ 206490 h 820230"/>
                  <a:gd name="connsiteX1454" fmla="*/ 727477 w 2708532"/>
                  <a:gd name="connsiteY1454" fmla="*/ 202082 h 820230"/>
                  <a:gd name="connsiteX1455" fmla="*/ 725714 w 2708532"/>
                  <a:gd name="connsiteY1455" fmla="*/ 200583 h 820230"/>
                  <a:gd name="connsiteX1456" fmla="*/ 724832 w 2708532"/>
                  <a:gd name="connsiteY1456" fmla="*/ 196792 h 820230"/>
                  <a:gd name="connsiteX1457" fmla="*/ 724568 w 2708532"/>
                  <a:gd name="connsiteY1457" fmla="*/ 195028 h 820230"/>
                  <a:gd name="connsiteX1458" fmla="*/ 724568 w 2708532"/>
                  <a:gd name="connsiteY1458" fmla="*/ 194147 h 820230"/>
                  <a:gd name="connsiteX1459" fmla="*/ 726067 w 2708532"/>
                  <a:gd name="connsiteY1459" fmla="*/ 193001 h 820230"/>
                  <a:gd name="connsiteX1460" fmla="*/ 727213 w 2708532"/>
                  <a:gd name="connsiteY1460" fmla="*/ 191854 h 820230"/>
                  <a:gd name="connsiteX1461" fmla="*/ 726596 w 2708532"/>
                  <a:gd name="connsiteY1461" fmla="*/ 190356 h 820230"/>
                  <a:gd name="connsiteX1462" fmla="*/ 725450 w 2708532"/>
                  <a:gd name="connsiteY1462" fmla="*/ 188945 h 820230"/>
                  <a:gd name="connsiteX1463" fmla="*/ 723950 w 2708532"/>
                  <a:gd name="connsiteY1463" fmla="*/ 186917 h 820230"/>
                  <a:gd name="connsiteX1464" fmla="*/ 721659 w 2708532"/>
                  <a:gd name="connsiteY1464" fmla="*/ 185418 h 820230"/>
                  <a:gd name="connsiteX1465" fmla="*/ 719630 w 2708532"/>
                  <a:gd name="connsiteY1465" fmla="*/ 184536 h 820230"/>
                  <a:gd name="connsiteX1466" fmla="*/ 717867 w 2708532"/>
                  <a:gd name="connsiteY1466" fmla="*/ 181891 h 820230"/>
                  <a:gd name="connsiteX1467" fmla="*/ 717603 w 2708532"/>
                  <a:gd name="connsiteY1467" fmla="*/ 180393 h 820230"/>
                  <a:gd name="connsiteX1468" fmla="*/ 715839 w 2708532"/>
                  <a:gd name="connsiteY1468" fmla="*/ 182420 h 820230"/>
                  <a:gd name="connsiteX1469" fmla="*/ 715222 w 2708532"/>
                  <a:gd name="connsiteY1469" fmla="*/ 181274 h 820230"/>
                  <a:gd name="connsiteX1470" fmla="*/ 711695 w 2708532"/>
                  <a:gd name="connsiteY1470" fmla="*/ 180393 h 820230"/>
                  <a:gd name="connsiteX1471" fmla="*/ 709932 w 2708532"/>
                  <a:gd name="connsiteY1471" fmla="*/ 180393 h 820230"/>
                  <a:gd name="connsiteX1472" fmla="*/ 708433 w 2708532"/>
                  <a:gd name="connsiteY1472" fmla="*/ 178982 h 820230"/>
                  <a:gd name="connsiteX1473" fmla="*/ 707904 w 2708532"/>
                  <a:gd name="connsiteY1473" fmla="*/ 178365 h 820230"/>
                  <a:gd name="connsiteX1474" fmla="*/ 704995 w 2708532"/>
                  <a:gd name="connsiteY1474" fmla="*/ 176601 h 820230"/>
                  <a:gd name="connsiteX1475" fmla="*/ 704730 w 2708532"/>
                  <a:gd name="connsiteY1475" fmla="*/ 175455 h 820230"/>
                  <a:gd name="connsiteX1476" fmla="*/ 701203 w 2708532"/>
                  <a:gd name="connsiteY1476" fmla="*/ 175455 h 820230"/>
                  <a:gd name="connsiteX1477" fmla="*/ 701203 w 2708532"/>
                  <a:gd name="connsiteY1477" fmla="*/ 173692 h 820230"/>
                  <a:gd name="connsiteX1478" fmla="*/ 699704 w 2708532"/>
                  <a:gd name="connsiteY1478" fmla="*/ 171664 h 820230"/>
                  <a:gd name="connsiteX1479" fmla="*/ 698823 w 2708532"/>
                  <a:gd name="connsiteY1479" fmla="*/ 168490 h 820230"/>
                  <a:gd name="connsiteX1480" fmla="*/ 697059 w 2708532"/>
                  <a:gd name="connsiteY1480" fmla="*/ 167344 h 820230"/>
                  <a:gd name="connsiteX1481" fmla="*/ 696795 w 2708532"/>
                  <a:gd name="connsiteY1481" fmla="*/ 167344 h 820230"/>
                  <a:gd name="connsiteX1482" fmla="*/ 693885 w 2708532"/>
                  <a:gd name="connsiteY1482" fmla="*/ 164699 h 820230"/>
                  <a:gd name="connsiteX1483" fmla="*/ 690094 w 2708532"/>
                  <a:gd name="connsiteY1483" fmla="*/ 161172 h 820230"/>
                  <a:gd name="connsiteX1484" fmla="*/ 687537 w 2708532"/>
                  <a:gd name="connsiteY1484" fmla="*/ 157116 h 820230"/>
                  <a:gd name="connsiteX1485" fmla="*/ 687537 w 2708532"/>
                  <a:gd name="connsiteY1485" fmla="*/ 164434 h 820230"/>
                  <a:gd name="connsiteX1486" fmla="*/ 685774 w 2708532"/>
                  <a:gd name="connsiteY1486" fmla="*/ 155088 h 820230"/>
                  <a:gd name="connsiteX1487" fmla="*/ 685157 w 2708532"/>
                  <a:gd name="connsiteY1487" fmla="*/ 152179 h 820230"/>
                  <a:gd name="connsiteX1488" fmla="*/ 684275 w 2708532"/>
                  <a:gd name="connsiteY1488" fmla="*/ 149005 h 820230"/>
                  <a:gd name="connsiteX1489" fmla="*/ 685421 w 2708532"/>
                  <a:gd name="connsiteY1489" fmla="*/ 146360 h 820230"/>
                  <a:gd name="connsiteX1490" fmla="*/ 682247 w 2708532"/>
                  <a:gd name="connsiteY1490" fmla="*/ 146624 h 820230"/>
                  <a:gd name="connsiteX1491" fmla="*/ 680219 w 2708532"/>
                  <a:gd name="connsiteY1491" fmla="*/ 141951 h 820230"/>
                  <a:gd name="connsiteX1492" fmla="*/ 680748 w 2708532"/>
                  <a:gd name="connsiteY1492" fmla="*/ 138160 h 820230"/>
                  <a:gd name="connsiteX1493" fmla="*/ 678721 w 2708532"/>
                  <a:gd name="connsiteY1493" fmla="*/ 136132 h 820230"/>
                  <a:gd name="connsiteX1494" fmla="*/ 674665 w 2708532"/>
                  <a:gd name="connsiteY1494" fmla="*/ 135250 h 820230"/>
                  <a:gd name="connsiteX1495" fmla="*/ 674400 w 2708532"/>
                  <a:gd name="connsiteY1495" fmla="*/ 132341 h 820230"/>
                  <a:gd name="connsiteX1496" fmla="*/ 670344 w 2708532"/>
                  <a:gd name="connsiteY1496" fmla="*/ 130842 h 820230"/>
                  <a:gd name="connsiteX1497" fmla="*/ 666818 w 2708532"/>
                  <a:gd name="connsiteY1497" fmla="*/ 128814 h 820230"/>
                  <a:gd name="connsiteX1498" fmla="*/ 665671 w 2708532"/>
                  <a:gd name="connsiteY1498" fmla="*/ 131106 h 820230"/>
                  <a:gd name="connsiteX1499" fmla="*/ 660999 w 2708532"/>
                  <a:gd name="connsiteY1499" fmla="*/ 126169 h 820230"/>
                  <a:gd name="connsiteX1500" fmla="*/ 659852 w 2708532"/>
                  <a:gd name="connsiteY1500" fmla="*/ 123259 h 820230"/>
                  <a:gd name="connsiteX1501" fmla="*/ 661263 w 2708532"/>
                  <a:gd name="connsiteY1501" fmla="*/ 119733 h 820230"/>
                  <a:gd name="connsiteX1502" fmla="*/ 659499 w 2708532"/>
                  <a:gd name="connsiteY1502" fmla="*/ 119468 h 820230"/>
                  <a:gd name="connsiteX1503" fmla="*/ 663291 w 2708532"/>
                  <a:gd name="connsiteY1503" fmla="*/ 117088 h 820230"/>
                  <a:gd name="connsiteX1504" fmla="*/ 660999 w 2708532"/>
                  <a:gd name="connsiteY1504" fmla="*/ 110651 h 820230"/>
                  <a:gd name="connsiteX1505" fmla="*/ 658089 w 2708532"/>
                  <a:gd name="connsiteY1505" fmla="*/ 107742 h 820230"/>
                  <a:gd name="connsiteX1506" fmla="*/ 658354 w 2708532"/>
                  <a:gd name="connsiteY1506" fmla="*/ 103686 h 820230"/>
                  <a:gd name="connsiteX1507" fmla="*/ 653681 w 2708532"/>
                  <a:gd name="connsiteY1507" fmla="*/ 102011 h 820230"/>
                  <a:gd name="connsiteX1508" fmla="*/ 644335 w 2708532"/>
                  <a:gd name="connsiteY1508" fmla="*/ 101746 h 820230"/>
                  <a:gd name="connsiteX1509" fmla="*/ 645481 w 2708532"/>
                  <a:gd name="connsiteY1509" fmla="*/ 104920 h 820230"/>
                  <a:gd name="connsiteX1510" fmla="*/ 648391 w 2708532"/>
                  <a:gd name="connsiteY1510" fmla="*/ 106948 h 820230"/>
                  <a:gd name="connsiteX1511" fmla="*/ 645745 w 2708532"/>
                  <a:gd name="connsiteY1511" fmla="*/ 106331 h 820230"/>
                  <a:gd name="connsiteX1512" fmla="*/ 641954 w 2708532"/>
                  <a:gd name="connsiteY1512" fmla="*/ 104303 h 820230"/>
                  <a:gd name="connsiteX1513" fmla="*/ 640455 w 2708532"/>
                  <a:gd name="connsiteY1513" fmla="*/ 108359 h 820230"/>
                  <a:gd name="connsiteX1514" fmla="*/ 638163 w 2708532"/>
                  <a:gd name="connsiteY1514" fmla="*/ 108094 h 820230"/>
                  <a:gd name="connsiteX1515" fmla="*/ 636399 w 2708532"/>
                  <a:gd name="connsiteY1515" fmla="*/ 100776 h 820230"/>
                  <a:gd name="connsiteX1516" fmla="*/ 640808 w 2708532"/>
                  <a:gd name="connsiteY1516" fmla="*/ 94957 h 820230"/>
                  <a:gd name="connsiteX1517" fmla="*/ 637017 w 2708532"/>
                  <a:gd name="connsiteY1517" fmla="*/ 93811 h 820230"/>
                  <a:gd name="connsiteX1518" fmla="*/ 628817 w 2708532"/>
                  <a:gd name="connsiteY1518" fmla="*/ 96985 h 820230"/>
                  <a:gd name="connsiteX1519" fmla="*/ 627053 w 2708532"/>
                  <a:gd name="connsiteY1519" fmla="*/ 93811 h 820230"/>
                  <a:gd name="connsiteX1520" fmla="*/ 623791 w 2708532"/>
                  <a:gd name="connsiteY1520" fmla="*/ 96456 h 820230"/>
                  <a:gd name="connsiteX1521" fmla="*/ 620617 w 2708532"/>
                  <a:gd name="connsiteY1521" fmla="*/ 96192 h 820230"/>
                  <a:gd name="connsiteX1522" fmla="*/ 616826 w 2708532"/>
                  <a:gd name="connsiteY1522" fmla="*/ 98837 h 820230"/>
                  <a:gd name="connsiteX1523" fmla="*/ 604835 w 2708532"/>
                  <a:gd name="connsiteY1523" fmla="*/ 95663 h 820230"/>
                  <a:gd name="connsiteX1524" fmla="*/ 598399 w 2708532"/>
                  <a:gd name="connsiteY1524" fmla="*/ 101217 h 820230"/>
                  <a:gd name="connsiteX1525" fmla="*/ 597253 w 2708532"/>
                  <a:gd name="connsiteY1525" fmla="*/ 106155 h 820230"/>
                  <a:gd name="connsiteX1526" fmla="*/ 598135 w 2708532"/>
                  <a:gd name="connsiteY1526" fmla="*/ 109329 h 820230"/>
                  <a:gd name="connsiteX1527" fmla="*/ 601661 w 2708532"/>
                  <a:gd name="connsiteY1527" fmla="*/ 105538 h 820230"/>
                  <a:gd name="connsiteX1528" fmla="*/ 601926 w 2708532"/>
                  <a:gd name="connsiteY1528" fmla="*/ 111974 h 820230"/>
                  <a:gd name="connsiteX1529" fmla="*/ 600427 w 2708532"/>
                  <a:gd name="connsiteY1529" fmla="*/ 117528 h 820230"/>
                  <a:gd name="connsiteX1530" fmla="*/ 593990 w 2708532"/>
                  <a:gd name="connsiteY1530" fmla="*/ 126522 h 820230"/>
                  <a:gd name="connsiteX1531" fmla="*/ 589582 w 2708532"/>
                  <a:gd name="connsiteY1531" fmla="*/ 123348 h 820230"/>
                  <a:gd name="connsiteX1532" fmla="*/ 582617 w 2708532"/>
                  <a:gd name="connsiteY1532" fmla="*/ 129431 h 820230"/>
                  <a:gd name="connsiteX1533" fmla="*/ 580853 w 2708532"/>
                  <a:gd name="connsiteY1533" fmla="*/ 135515 h 820230"/>
                  <a:gd name="connsiteX1534" fmla="*/ 583498 w 2708532"/>
                  <a:gd name="connsiteY1534" fmla="*/ 135515 h 820230"/>
                  <a:gd name="connsiteX1535" fmla="*/ 585791 w 2708532"/>
                  <a:gd name="connsiteY1535" fmla="*/ 130577 h 820230"/>
                  <a:gd name="connsiteX1536" fmla="*/ 588171 w 2708532"/>
                  <a:gd name="connsiteY1536" fmla="*/ 132958 h 820230"/>
                  <a:gd name="connsiteX1537" fmla="*/ 587554 w 2708532"/>
                  <a:gd name="connsiteY1537" fmla="*/ 141158 h 820230"/>
                  <a:gd name="connsiteX1538" fmla="*/ 594519 w 2708532"/>
                  <a:gd name="connsiteY1538" fmla="*/ 145831 h 820230"/>
                  <a:gd name="connsiteX1539" fmla="*/ 596283 w 2708532"/>
                  <a:gd name="connsiteY1539" fmla="*/ 145213 h 820230"/>
                  <a:gd name="connsiteX1540" fmla="*/ 597429 w 2708532"/>
                  <a:gd name="connsiteY1540" fmla="*/ 145478 h 820230"/>
                  <a:gd name="connsiteX1541" fmla="*/ 596900 w 2708532"/>
                  <a:gd name="connsiteY1541" fmla="*/ 143979 h 820230"/>
                  <a:gd name="connsiteX1542" fmla="*/ 593373 w 2708532"/>
                  <a:gd name="connsiteY1542" fmla="*/ 141951 h 820230"/>
                  <a:gd name="connsiteX1543" fmla="*/ 596019 w 2708532"/>
                  <a:gd name="connsiteY1543" fmla="*/ 140805 h 820230"/>
                  <a:gd name="connsiteX1544" fmla="*/ 598311 w 2708532"/>
                  <a:gd name="connsiteY1544" fmla="*/ 141687 h 820230"/>
                  <a:gd name="connsiteX1545" fmla="*/ 600691 w 2708532"/>
                  <a:gd name="connsiteY1545" fmla="*/ 143097 h 820230"/>
                  <a:gd name="connsiteX1546" fmla="*/ 600074 w 2708532"/>
                  <a:gd name="connsiteY1546" fmla="*/ 144861 h 820230"/>
                  <a:gd name="connsiteX1547" fmla="*/ 600074 w 2708532"/>
                  <a:gd name="connsiteY1547" fmla="*/ 148035 h 820230"/>
                  <a:gd name="connsiteX1548" fmla="*/ 601485 w 2708532"/>
                  <a:gd name="connsiteY1548" fmla="*/ 150063 h 820230"/>
                  <a:gd name="connsiteX1549" fmla="*/ 601749 w 2708532"/>
                  <a:gd name="connsiteY1549" fmla="*/ 153589 h 820230"/>
                  <a:gd name="connsiteX1550" fmla="*/ 602895 w 2708532"/>
                  <a:gd name="connsiteY1550" fmla="*/ 155970 h 820230"/>
                  <a:gd name="connsiteX1551" fmla="*/ 601397 w 2708532"/>
                  <a:gd name="connsiteY1551" fmla="*/ 158262 h 820230"/>
                  <a:gd name="connsiteX1552" fmla="*/ 598752 w 2708532"/>
                  <a:gd name="connsiteY1552" fmla="*/ 159408 h 820230"/>
                  <a:gd name="connsiteX1553" fmla="*/ 599016 w 2708532"/>
                  <a:gd name="connsiteY1553" fmla="*/ 160819 h 820230"/>
                  <a:gd name="connsiteX1554" fmla="*/ 600779 w 2708532"/>
                  <a:gd name="connsiteY1554" fmla="*/ 163993 h 820230"/>
                  <a:gd name="connsiteX1555" fmla="*/ 604571 w 2708532"/>
                  <a:gd name="connsiteY1555" fmla="*/ 164258 h 820230"/>
                  <a:gd name="connsiteX1556" fmla="*/ 608362 w 2708532"/>
                  <a:gd name="connsiteY1556" fmla="*/ 164875 h 820230"/>
                  <a:gd name="connsiteX1557" fmla="*/ 609773 w 2708532"/>
                  <a:gd name="connsiteY1557" fmla="*/ 165757 h 820230"/>
                  <a:gd name="connsiteX1558" fmla="*/ 611272 w 2708532"/>
                  <a:gd name="connsiteY1558" fmla="*/ 165757 h 820230"/>
                  <a:gd name="connsiteX1559" fmla="*/ 612682 w 2708532"/>
                  <a:gd name="connsiteY1559" fmla="*/ 166903 h 820230"/>
                  <a:gd name="connsiteX1560" fmla="*/ 621411 w 2708532"/>
                  <a:gd name="connsiteY1560" fmla="*/ 167167 h 820230"/>
                  <a:gd name="connsiteX1561" fmla="*/ 619119 w 2708532"/>
                  <a:gd name="connsiteY1561" fmla="*/ 167167 h 820230"/>
                  <a:gd name="connsiteX1562" fmla="*/ 615944 w 2708532"/>
                  <a:gd name="connsiteY1562" fmla="*/ 167432 h 820230"/>
                  <a:gd name="connsiteX1563" fmla="*/ 623262 w 2708532"/>
                  <a:gd name="connsiteY1563" fmla="*/ 167432 h 820230"/>
                  <a:gd name="connsiteX1564" fmla="*/ 625643 w 2708532"/>
                  <a:gd name="connsiteY1564" fmla="*/ 168049 h 820230"/>
                  <a:gd name="connsiteX1565" fmla="*/ 625643 w 2708532"/>
                  <a:gd name="connsiteY1565" fmla="*/ 167961 h 820230"/>
                  <a:gd name="connsiteX1566" fmla="*/ 626524 w 2708532"/>
                  <a:gd name="connsiteY1566" fmla="*/ 168225 h 820230"/>
                  <a:gd name="connsiteX1567" fmla="*/ 625643 w 2708532"/>
                  <a:gd name="connsiteY1567" fmla="*/ 167961 h 820230"/>
                  <a:gd name="connsiteX1568" fmla="*/ 627671 w 2708532"/>
                  <a:gd name="connsiteY1568" fmla="*/ 170870 h 820230"/>
                  <a:gd name="connsiteX1569" fmla="*/ 629699 w 2708532"/>
                  <a:gd name="connsiteY1569" fmla="*/ 173163 h 820230"/>
                  <a:gd name="connsiteX1570" fmla="*/ 631462 w 2708532"/>
                  <a:gd name="connsiteY1570" fmla="*/ 175808 h 820230"/>
                  <a:gd name="connsiteX1571" fmla="*/ 631462 w 2708532"/>
                  <a:gd name="connsiteY1571" fmla="*/ 174926 h 820230"/>
                  <a:gd name="connsiteX1572" fmla="*/ 633225 w 2708532"/>
                  <a:gd name="connsiteY1572" fmla="*/ 178453 h 820230"/>
                  <a:gd name="connsiteX1573" fmla="*/ 633843 w 2708532"/>
                  <a:gd name="connsiteY1573" fmla="*/ 177836 h 820230"/>
                  <a:gd name="connsiteX1574" fmla="*/ 635606 w 2708532"/>
                  <a:gd name="connsiteY1574" fmla="*/ 178982 h 820230"/>
                  <a:gd name="connsiteX1575" fmla="*/ 638251 w 2708532"/>
                  <a:gd name="connsiteY1575" fmla="*/ 178982 h 820230"/>
                  <a:gd name="connsiteX1576" fmla="*/ 640632 w 2708532"/>
                  <a:gd name="connsiteY1576" fmla="*/ 179246 h 820230"/>
                  <a:gd name="connsiteX1577" fmla="*/ 641249 w 2708532"/>
                  <a:gd name="connsiteY1577" fmla="*/ 179775 h 820230"/>
                  <a:gd name="connsiteX1578" fmla="*/ 643541 w 2708532"/>
                  <a:gd name="connsiteY1578" fmla="*/ 179246 h 820230"/>
                  <a:gd name="connsiteX1579" fmla="*/ 645569 w 2708532"/>
                  <a:gd name="connsiteY1579" fmla="*/ 180657 h 820230"/>
                  <a:gd name="connsiteX1580" fmla="*/ 646715 w 2708532"/>
                  <a:gd name="connsiteY1580" fmla="*/ 182420 h 820230"/>
                  <a:gd name="connsiteX1581" fmla="*/ 647862 w 2708532"/>
                  <a:gd name="connsiteY1581" fmla="*/ 183919 h 820230"/>
                  <a:gd name="connsiteX1582" fmla="*/ 648478 w 2708532"/>
                  <a:gd name="connsiteY1582" fmla="*/ 186212 h 820230"/>
                  <a:gd name="connsiteX1583" fmla="*/ 649360 w 2708532"/>
                  <a:gd name="connsiteY1583" fmla="*/ 187358 h 820230"/>
                  <a:gd name="connsiteX1584" fmla="*/ 650507 w 2708532"/>
                  <a:gd name="connsiteY1584" fmla="*/ 189121 h 820230"/>
                  <a:gd name="connsiteX1585" fmla="*/ 647244 w 2708532"/>
                  <a:gd name="connsiteY1585" fmla="*/ 189386 h 820230"/>
                  <a:gd name="connsiteX1586" fmla="*/ 646715 w 2708532"/>
                  <a:gd name="connsiteY1586" fmla="*/ 191149 h 820230"/>
                  <a:gd name="connsiteX1587" fmla="*/ 643541 w 2708532"/>
                  <a:gd name="connsiteY1587" fmla="*/ 192648 h 820230"/>
                  <a:gd name="connsiteX1588" fmla="*/ 646098 w 2708532"/>
                  <a:gd name="connsiteY1588" fmla="*/ 194411 h 820230"/>
                  <a:gd name="connsiteX1589" fmla="*/ 646098 w 2708532"/>
                  <a:gd name="connsiteY1589" fmla="*/ 195028 h 820230"/>
                  <a:gd name="connsiteX1590" fmla="*/ 644070 w 2708532"/>
                  <a:gd name="connsiteY1590" fmla="*/ 195028 h 820230"/>
                  <a:gd name="connsiteX1591" fmla="*/ 642924 w 2708532"/>
                  <a:gd name="connsiteY1591" fmla="*/ 193001 h 820230"/>
                  <a:gd name="connsiteX1592" fmla="*/ 643541 w 2708532"/>
                  <a:gd name="connsiteY1592" fmla="*/ 192736 h 820230"/>
                  <a:gd name="connsiteX1593" fmla="*/ 643541 w 2708532"/>
                  <a:gd name="connsiteY1593" fmla="*/ 192736 h 820230"/>
                  <a:gd name="connsiteX1594" fmla="*/ 641778 w 2708532"/>
                  <a:gd name="connsiteY1594" fmla="*/ 192736 h 820230"/>
                  <a:gd name="connsiteX1595" fmla="*/ 633578 w 2708532"/>
                  <a:gd name="connsiteY1595" fmla="*/ 188945 h 820230"/>
                  <a:gd name="connsiteX1596" fmla="*/ 630669 w 2708532"/>
                  <a:gd name="connsiteY1596" fmla="*/ 189209 h 820230"/>
                  <a:gd name="connsiteX1597" fmla="*/ 627759 w 2708532"/>
                  <a:gd name="connsiteY1597" fmla="*/ 187710 h 820230"/>
                  <a:gd name="connsiteX1598" fmla="*/ 623086 w 2708532"/>
                  <a:gd name="connsiteY1598" fmla="*/ 183919 h 820230"/>
                  <a:gd name="connsiteX1599" fmla="*/ 620441 w 2708532"/>
                  <a:gd name="connsiteY1599" fmla="*/ 182420 h 820230"/>
                  <a:gd name="connsiteX1600" fmla="*/ 616914 w 2708532"/>
                  <a:gd name="connsiteY1600" fmla="*/ 182156 h 820230"/>
                  <a:gd name="connsiteX1601" fmla="*/ 615768 w 2708532"/>
                  <a:gd name="connsiteY1601" fmla="*/ 183655 h 820230"/>
                  <a:gd name="connsiteX1602" fmla="*/ 612859 w 2708532"/>
                  <a:gd name="connsiteY1602" fmla="*/ 179599 h 820230"/>
                  <a:gd name="connsiteX1603" fmla="*/ 609685 w 2708532"/>
                  <a:gd name="connsiteY1603" fmla="*/ 178453 h 820230"/>
                  <a:gd name="connsiteX1604" fmla="*/ 606775 w 2708532"/>
                  <a:gd name="connsiteY1604" fmla="*/ 178188 h 820230"/>
                  <a:gd name="connsiteX1605" fmla="*/ 607040 w 2708532"/>
                  <a:gd name="connsiteY1605" fmla="*/ 178453 h 820230"/>
                  <a:gd name="connsiteX1606" fmla="*/ 605011 w 2708532"/>
                  <a:gd name="connsiteY1606" fmla="*/ 177571 h 820230"/>
                  <a:gd name="connsiteX1607" fmla="*/ 601749 w 2708532"/>
                  <a:gd name="connsiteY1607" fmla="*/ 176954 h 820230"/>
                  <a:gd name="connsiteX1608" fmla="*/ 602631 w 2708532"/>
                  <a:gd name="connsiteY1608" fmla="*/ 178100 h 820230"/>
                  <a:gd name="connsiteX1609" fmla="*/ 598223 w 2708532"/>
                  <a:gd name="connsiteY1609" fmla="*/ 176072 h 820230"/>
                  <a:gd name="connsiteX1610" fmla="*/ 598223 w 2708532"/>
                  <a:gd name="connsiteY1610" fmla="*/ 176601 h 820230"/>
                  <a:gd name="connsiteX1611" fmla="*/ 594432 w 2708532"/>
                  <a:gd name="connsiteY1611" fmla="*/ 174309 h 820230"/>
                  <a:gd name="connsiteX1612" fmla="*/ 594167 w 2708532"/>
                  <a:gd name="connsiteY1612" fmla="*/ 174926 h 820230"/>
                  <a:gd name="connsiteX1613" fmla="*/ 593638 w 2708532"/>
                  <a:gd name="connsiteY1613" fmla="*/ 174309 h 820230"/>
                  <a:gd name="connsiteX1614" fmla="*/ 593373 w 2708532"/>
                  <a:gd name="connsiteY1614" fmla="*/ 174309 h 820230"/>
                  <a:gd name="connsiteX1615" fmla="*/ 591610 w 2708532"/>
                  <a:gd name="connsiteY1615" fmla="*/ 174044 h 820230"/>
                  <a:gd name="connsiteX1616" fmla="*/ 590728 w 2708532"/>
                  <a:gd name="connsiteY1616" fmla="*/ 174044 h 820230"/>
                  <a:gd name="connsiteX1617" fmla="*/ 587554 w 2708532"/>
                  <a:gd name="connsiteY1617" fmla="*/ 174309 h 820230"/>
                  <a:gd name="connsiteX1618" fmla="*/ 587554 w 2708532"/>
                  <a:gd name="connsiteY1618" fmla="*/ 175808 h 820230"/>
                  <a:gd name="connsiteX1619" fmla="*/ 583763 w 2708532"/>
                  <a:gd name="connsiteY1619" fmla="*/ 172898 h 820230"/>
                  <a:gd name="connsiteX1620" fmla="*/ 584909 w 2708532"/>
                  <a:gd name="connsiteY1620" fmla="*/ 173515 h 820230"/>
                  <a:gd name="connsiteX1621" fmla="*/ 583763 w 2708532"/>
                  <a:gd name="connsiteY1621" fmla="*/ 171223 h 820230"/>
                  <a:gd name="connsiteX1622" fmla="*/ 580589 w 2708532"/>
                  <a:gd name="connsiteY1622" fmla="*/ 170958 h 820230"/>
                  <a:gd name="connsiteX1623" fmla="*/ 577679 w 2708532"/>
                  <a:gd name="connsiteY1623" fmla="*/ 170341 h 820230"/>
                  <a:gd name="connsiteX1624" fmla="*/ 577415 w 2708532"/>
                  <a:gd name="connsiteY1624" fmla="*/ 170958 h 820230"/>
                  <a:gd name="connsiteX1625" fmla="*/ 576004 w 2708532"/>
                  <a:gd name="connsiteY1625" fmla="*/ 169460 h 820230"/>
                  <a:gd name="connsiteX1626" fmla="*/ 574505 w 2708532"/>
                  <a:gd name="connsiteY1626" fmla="*/ 169724 h 820230"/>
                  <a:gd name="connsiteX1627" fmla="*/ 573623 w 2708532"/>
                  <a:gd name="connsiteY1627" fmla="*/ 168578 h 820230"/>
                  <a:gd name="connsiteX1628" fmla="*/ 569832 w 2708532"/>
                  <a:gd name="connsiteY1628" fmla="*/ 167167 h 820230"/>
                  <a:gd name="connsiteX1629" fmla="*/ 562514 w 2708532"/>
                  <a:gd name="connsiteY1629" fmla="*/ 167167 h 820230"/>
                  <a:gd name="connsiteX1630" fmla="*/ 560486 w 2708532"/>
                  <a:gd name="connsiteY1630" fmla="*/ 164875 h 820230"/>
                  <a:gd name="connsiteX1631" fmla="*/ 559340 w 2708532"/>
                  <a:gd name="connsiteY1631" fmla="*/ 163993 h 820230"/>
                  <a:gd name="connsiteX1632" fmla="*/ 555814 w 2708532"/>
                  <a:gd name="connsiteY1632" fmla="*/ 163729 h 820230"/>
                  <a:gd name="connsiteX1633" fmla="*/ 552022 w 2708532"/>
                  <a:gd name="connsiteY1633" fmla="*/ 162847 h 820230"/>
                  <a:gd name="connsiteX1634" fmla="*/ 547349 w 2708532"/>
                  <a:gd name="connsiteY1634" fmla="*/ 162230 h 820230"/>
                  <a:gd name="connsiteX1635" fmla="*/ 546468 w 2708532"/>
                  <a:gd name="connsiteY1635" fmla="*/ 159849 h 820230"/>
                  <a:gd name="connsiteX1636" fmla="*/ 545057 w 2708532"/>
                  <a:gd name="connsiteY1636" fmla="*/ 160995 h 820230"/>
                  <a:gd name="connsiteX1637" fmla="*/ 543294 w 2708532"/>
                  <a:gd name="connsiteY1637" fmla="*/ 161524 h 820230"/>
                  <a:gd name="connsiteX1638" fmla="*/ 541001 w 2708532"/>
                  <a:gd name="connsiteY1638" fmla="*/ 159761 h 820230"/>
                  <a:gd name="connsiteX1639" fmla="*/ 539502 w 2708532"/>
                  <a:gd name="connsiteY1639" fmla="*/ 157116 h 820230"/>
                  <a:gd name="connsiteX1640" fmla="*/ 539062 w 2708532"/>
                  <a:gd name="connsiteY1640" fmla="*/ 158879 h 820230"/>
                  <a:gd name="connsiteX1641" fmla="*/ 536152 w 2708532"/>
                  <a:gd name="connsiteY1641" fmla="*/ 160378 h 820230"/>
                  <a:gd name="connsiteX1642" fmla="*/ 530598 w 2708532"/>
                  <a:gd name="connsiteY1642" fmla="*/ 161260 h 820230"/>
                  <a:gd name="connsiteX1643" fmla="*/ 526189 w 2708532"/>
                  <a:gd name="connsiteY1643" fmla="*/ 162406 h 820230"/>
                  <a:gd name="connsiteX1644" fmla="*/ 522133 w 2708532"/>
                  <a:gd name="connsiteY1644" fmla="*/ 160907 h 820230"/>
                  <a:gd name="connsiteX1645" fmla="*/ 521252 w 2708532"/>
                  <a:gd name="connsiteY1645" fmla="*/ 159761 h 820230"/>
                  <a:gd name="connsiteX1646" fmla="*/ 517196 w 2708532"/>
                  <a:gd name="connsiteY1646" fmla="*/ 160643 h 820230"/>
                  <a:gd name="connsiteX1647" fmla="*/ 518606 w 2708532"/>
                  <a:gd name="connsiteY1647" fmla="*/ 158350 h 820230"/>
                  <a:gd name="connsiteX1648" fmla="*/ 517725 w 2708532"/>
                  <a:gd name="connsiteY1648" fmla="*/ 155705 h 820230"/>
                  <a:gd name="connsiteX1649" fmla="*/ 515962 w 2708532"/>
                  <a:gd name="connsiteY1649" fmla="*/ 155441 h 820230"/>
                  <a:gd name="connsiteX1650" fmla="*/ 520017 w 2708532"/>
                  <a:gd name="connsiteY1650" fmla="*/ 151385 h 820230"/>
                  <a:gd name="connsiteX1651" fmla="*/ 517372 w 2708532"/>
                  <a:gd name="connsiteY1651" fmla="*/ 151385 h 820230"/>
                  <a:gd name="connsiteX1652" fmla="*/ 512964 w 2708532"/>
                  <a:gd name="connsiteY1652" fmla="*/ 154912 h 820230"/>
                  <a:gd name="connsiteX1653" fmla="*/ 511818 w 2708532"/>
                  <a:gd name="connsiteY1653" fmla="*/ 159585 h 820230"/>
                  <a:gd name="connsiteX1654" fmla="*/ 506263 w 2708532"/>
                  <a:gd name="connsiteY1654" fmla="*/ 160202 h 820230"/>
                  <a:gd name="connsiteX1655" fmla="*/ 503883 w 2708532"/>
                  <a:gd name="connsiteY1655" fmla="*/ 160819 h 820230"/>
                  <a:gd name="connsiteX1656" fmla="*/ 501237 w 2708532"/>
                  <a:gd name="connsiteY1656" fmla="*/ 160819 h 820230"/>
                  <a:gd name="connsiteX1657" fmla="*/ 500356 w 2708532"/>
                  <a:gd name="connsiteY1657" fmla="*/ 159056 h 820230"/>
                  <a:gd name="connsiteX1658" fmla="*/ 500356 w 2708532"/>
                  <a:gd name="connsiteY1658" fmla="*/ 163993 h 820230"/>
                  <a:gd name="connsiteX1659" fmla="*/ 498592 w 2708532"/>
                  <a:gd name="connsiteY1659" fmla="*/ 164875 h 820230"/>
                  <a:gd name="connsiteX1660" fmla="*/ 498592 w 2708532"/>
                  <a:gd name="connsiteY1660" fmla="*/ 166903 h 820230"/>
                  <a:gd name="connsiteX1661" fmla="*/ 502384 w 2708532"/>
                  <a:gd name="connsiteY1661" fmla="*/ 168402 h 820230"/>
                  <a:gd name="connsiteX1662" fmla="*/ 504676 w 2708532"/>
                  <a:gd name="connsiteY1662" fmla="*/ 170165 h 820230"/>
                  <a:gd name="connsiteX1663" fmla="*/ 506439 w 2708532"/>
                  <a:gd name="connsiteY1663" fmla="*/ 172546 h 820230"/>
                  <a:gd name="connsiteX1664" fmla="*/ 508203 w 2708532"/>
                  <a:gd name="connsiteY1664" fmla="*/ 172810 h 820230"/>
                  <a:gd name="connsiteX1665" fmla="*/ 508203 w 2708532"/>
                  <a:gd name="connsiteY1665" fmla="*/ 175455 h 820230"/>
                  <a:gd name="connsiteX1666" fmla="*/ 511729 w 2708532"/>
                  <a:gd name="connsiteY1666" fmla="*/ 175720 h 820230"/>
                  <a:gd name="connsiteX1667" fmla="*/ 514639 w 2708532"/>
                  <a:gd name="connsiteY1667" fmla="*/ 176601 h 820230"/>
                  <a:gd name="connsiteX1668" fmla="*/ 516667 w 2708532"/>
                  <a:gd name="connsiteY1668" fmla="*/ 181010 h 820230"/>
                  <a:gd name="connsiteX1669" fmla="*/ 515521 w 2708532"/>
                  <a:gd name="connsiteY1669" fmla="*/ 182773 h 820230"/>
                  <a:gd name="connsiteX1670" fmla="*/ 511729 w 2708532"/>
                  <a:gd name="connsiteY1670" fmla="*/ 181274 h 820230"/>
                  <a:gd name="connsiteX1671" fmla="*/ 509437 w 2708532"/>
                  <a:gd name="connsiteY1671" fmla="*/ 181891 h 820230"/>
                  <a:gd name="connsiteX1672" fmla="*/ 507938 w 2708532"/>
                  <a:gd name="connsiteY1672" fmla="*/ 183919 h 820230"/>
                  <a:gd name="connsiteX1673" fmla="*/ 505646 w 2708532"/>
                  <a:gd name="connsiteY1673" fmla="*/ 183919 h 820230"/>
                  <a:gd name="connsiteX1674" fmla="*/ 501590 w 2708532"/>
                  <a:gd name="connsiteY1674" fmla="*/ 183302 h 820230"/>
                  <a:gd name="connsiteX1675" fmla="*/ 502207 w 2708532"/>
                  <a:gd name="connsiteY1675" fmla="*/ 185947 h 820230"/>
                  <a:gd name="connsiteX1676" fmla="*/ 503089 w 2708532"/>
                  <a:gd name="connsiteY1676" fmla="*/ 190620 h 820230"/>
                  <a:gd name="connsiteX1677" fmla="*/ 501326 w 2708532"/>
                  <a:gd name="connsiteY1677" fmla="*/ 192383 h 820230"/>
                  <a:gd name="connsiteX1678" fmla="*/ 499298 w 2708532"/>
                  <a:gd name="connsiteY1678" fmla="*/ 189738 h 820230"/>
                  <a:gd name="connsiteX1679" fmla="*/ 496388 w 2708532"/>
                  <a:gd name="connsiteY1679" fmla="*/ 189738 h 820230"/>
                  <a:gd name="connsiteX1680" fmla="*/ 494096 w 2708532"/>
                  <a:gd name="connsiteY1680" fmla="*/ 187975 h 820230"/>
                  <a:gd name="connsiteX1681" fmla="*/ 493831 w 2708532"/>
                  <a:gd name="connsiteY1681" fmla="*/ 186829 h 820230"/>
                  <a:gd name="connsiteX1682" fmla="*/ 493214 w 2708532"/>
                  <a:gd name="connsiteY1682" fmla="*/ 184184 h 820230"/>
                  <a:gd name="connsiteX1683" fmla="*/ 494096 w 2708532"/>
                  <a:gd name="connsiteY1683" fmla="*/ 182685 h 820230"/>
                  <a:gd name="connsiteX1684" fmla="*/ 497358 w 2708532"/>
                  <a:gd name="connsiteY1684" fmla="*/ 181803 h 820230"/>
                  <a:gd name="connsiteX1685" fmla="*/ 491803 w 2708532"/>
                  <a:gd name="connsiteY1685" fmla="*/ 181186 h 820230"/>
                  <a:gd name="connsiteX1686" fmla="*/ 490305 w 2708532"/>
                  <a:gd name="connsiteY1686" fmla="*/ 179158 h 820230"/>
                  <a:gd name="connsiteX1687" fmla="*/ 488012 w 2708532"/>
                  <a:gd name="connsiteY1687" fmla="*/ 178894 h 820230"/>
                  <a:gd name="connsiteX1688" fmla="*/ 486866 w 2708532"/>
                  <a:gd name="connsiteY1688" fmla="*/ 176601 h 820230"/>
                  <a:gd name="connsiteX1689" fmla="*/ 484838 w 2708532"/>
                  <a:gd name="connsiteY1689" fmla="*/ 176601 h 820230"/>
                  <a:gd name="connsiteX1690" fmla="*/ 484485 w 2708532"/>
                  <a:gd name="connsiteY1690" fmla="*/ 172810 h 820230"/>
                  <a:gd name="connsiteX1691" fmla="*/ 482987 w 2708532"/>
                  <a:gd name="connsiteY1691" fmla="*/ 178629 h 820230"/>
                  <a:gd name="connsiteX1692" fmla="*/ 480341 w 2708532"/>
                  <a:gd name="connsiteY1692" fmla="*/ 178365 h 820230"/>
                  <a:gd name="connsiteX1693" fmla="*/ 478049 w 2708532"/>
                  <a:gd name="connsiteY1693" fmla="*/ 178365 h 820230"/>
                  <a:gd name="connsiteX1694" fmla="*/ 477168 w 2708532"/>
                  <a:gd name="connsiteY1694" fmla="*/ 180745 h 820230"/>
                  <a:gd name="connsiteX1695" fmla="*/ 474522 w 2708532"/>
                  <a:gd name="connsiteY1695" fmla="*/ 180745 h 820230"/>
                  <a:gd name="connsiteX1696" fmla="*/ 473905 w 2708532"/>
                  <a:gd name="connsiteY1696" fmla="*/ 181274 h 820230"/>
                  <a:gd name="connsiteX1697" fmla="*/ 469849 w 2708532"/>
                  <a:gd name="connsiteY1697" fmla="*/ 182773 h 820230"/>
                  <a:gd name="connsiteX1698" fmla="*/ 467204 w 2708532"/>
                  <a:gd name="connsiteY1698" fmla="*/ 182773 h 820230"/>
                  <a:gd name="connsiteX1699" fmla="*/ 464559 w 2708532"/>
                  <a:gd name="connsiteY1699" fmla="*/ 186829 h 820230"/>
                  <a:gd name="connsiteX1700" fmla="*/ 465705 w 2708532"/>
                  <a:gd name="connsiteY1700" fmla="*/ 189209 h 820230"/>
                  <a:gd name="connsiteX1701" fmla="*/ 460504 w 2708532"/>
                  <a:gd name="connsiteY1701" fmla="*/ 191237 h 820230"/>
                  <a:gd name="connsiteX1702" fmla="*/ 458476 w 2708532"/>
                  <a:gd name="connsiteY1702" fmla="*/ 195028 h 820230"/>
                  <a:gd name="connsiteX1703" fmla="*/ 455831 w 2708532"/>
                  <a:gd name="connsiteY1703" fmla="*/ 194411 h 820230"/>
                  <a:gd name="connsiteX1704" fmla="*/ 456977 w 2708532"/>
                  <a:gd name="connsiteY1704" fmla="*/ 192383 h 820230"/>
                  <a:gd name="connsiteX1705" fmla="*/ 460239 w 2708532"/>
                  <a:gd name="connsiteY1705" fmla="*/ 189209 h 820230"/>
                  <a:gd name="connsiteX1706" fmla="*/ 461738 w 2708532"/>
                  <a:gd name="connsiteY1706" fmla="*/ 186829 h 820230"/>
                  <a:gd name="connsiteX1707" fmla="*/ 459710 w 2708532"/>
                  <a:gd name="connsiteY1707" fmla="*/ 186300 h 820230"/>
                  <a:gd name="connsiteX1708" fmla="*/ 453274 w 2708532"/>
                  <a:gd name="connsiteY1708" fmla="*/ 184536 h 820230"/>
                  <a:gd name="connsiteX1709" fmla="*/ 449483 w 2708532"/>
                  <a:gd name="connsiteY1709" fmla="*/ 184272 h 820230"/>
                  <a:gd name="connsiteX1710" fmla="*/ 447719 w 2708532"/>
                  <a:gd name="connsiteY1710" fmla="*/ 186035 h 820230"/>
                  <a:gd name="connsiteX1711" fmla="*/ 444545 w 2708532"/>
                  <a:gd name="connsiteY1711" fmla="*/ 186035 h 820230"/>
                  <a:gd name="connsiteX1712" fmla="*/ 442517 w 2708532"/>
                  <a:gd name="connsiteY1712" fmla="*/ 186917 h 820230"/>
                  <a:gd name="connsiteX1713" fmla="*/ 440225 w 2708532"/>
                  <a:gd name="connsiteY1713" fmla="*/ 185418 h 820230"/>
                  <a:gd name="connsiteX1714" fmla="*/ 436698 w 2708532"/>
                  <a:gd name="connsiteY1714" fmla="*/ 187182 h 820230"/>
                  <a:gd name="connsiteX1715" fmla="*/ 434406 w 2708532"/>
                  <a:gd name="connsiteY1715" fmla="*/ 186564 h 820230"/>
                  <a:gd name="connsiteX1716" fmla="*/ 433260 w 2708532"/>
                  <a:gd name="connsiteY1716" fmla="*/ 186829 h 820230"/>
                  <a:gd name="connsiteX1717" fmla="*/ 431849 w 2708532"/>
                  <a:gd name="connsiteY1717" fmla="*/ 186212 h 820230"/>
                  <a:gd name="connsiteX1718" fmla="*/ 429204 w 2708532"/>
                  <a:gd name="connsiteY1718" fmla="*/ 184713 h 820230"/>
                  <a:gd name="connsiteX1719" fmla="*/ 428587 w 2708532"/>
                  <a:gd name="connsiteY1719" fmla="*/ 186212 h 820230"/>
                  <a:gd name="connsiteX1720" fmla="*/ 426823 w 2708532"/>
                  <a:gd name="connsiteY1720" fmla="*/ 187093 h 820230"/>
                  <a:gd name="connsiteX1721" fmla="*/ 428322 w 2708532"/>
                  <a:gd name="connsiteY1721" fmla="*/ 190532 h 820230"/>
                  <a:gd name="connsiteX1722" fmla="*/ 425148 w 2708532"/>
                  <a:gd name="connsiteY1722" fmla="*/ 193177 h 820230"/>
                  <a:gd name="connsiteX1723" fmla="*/ 426911 w 2708532"/>
                  <a:gd name="connsiteY1723" fmla="*/ 190796 h 820230"/>
                  <a:gd name="connsiteX1724" fmla="*/ 424619 w 2708532"/>
                  <a:gd name="connsiteY1724" fmla="*/ 189915 h 820230"/>
                  <a:gd name="connsiteX1725" fmla="*/ 423120 w 2708532"/>
                  <a:gd name="connsiteY1725" fmla="*/ 191061 h 820230"/>
                  <a:gd name="connsiteX1726" fmla="*/ 422239 w 2708532"/>
                  <a:gd name="connsiteY1726" fmla="*/ 193970 h 820230"/>
                  <a:gd name="connsiteX1727" fmla="*/ 419594 w 2708532"/>
                  <a:gd name="connsiteY1727" fmla="*/ 192824 h 820230"/>
                  <a:gd name="connsiteX1728" fmla="*/ 417301 w 2708532"/>
                  <a:gd name="connsiteY1728" fmla="*/ 191325 h 820230"/>
                  <a:gd name="connsiteX1729" fmla="*/ 414391 w 2708532"/>
                  <a:gd name="connsiteY1729" fmla="*/ 192824 h 820230"/>
                  <a:gd name="connsiteX1730" fmla="*/ 413774 w 2708532"/>
                  <a:gd name="connsiteY1730" fmla="*/ 189915 h 820230"/>
                  <a:gd name="connsiteX1731" fmla="*/ 412893 w 2708532"/>
                  <a:gd name="connsiteY1731" fmla="*/ 187887 h 820230"/>
                  <a:gd name="connsiteX1732" fmla="*/ 408837 w 2708532"/>
                  <a:gd name="connsiteY1732" fmla="*/ 187005 h 820230"/>
                  <a:gd name="connsiteX1733" fmla="*/ 403282 w 2708532"/>
                  <a:gd name="connsiteY1733" fmla="*/ 184096 h 820230"/>
                  <a:gd name="connsiteX1734" fmla="*/ 405927 w 2708532"/>
                  <a:gd name="connsiteY1734" fmla="*/ 183214 h 820230"/>
                  <a:gd name="connsiteX1735" fmla="*/ 404781 w 2708532"/>
                  <a:gd name="connsiteY1735" fmla="*/ 180569 h 820230"/>
                  <a:gd name="connsiteX1736" fmla="*/ 407691 w 2708532"/>
                  <a:gd name="connsiteY1736" fmla="*/ 180833 h 820230"/>
                  <a:gd name="connsiteX1737" fmla="*/ 407955 w 2708532"/>
                  <a:gd name="connsiteY1737" fmla="*/ 179070 h 820230"/>
                  <a:gd name="connsiteX1738" fmla="*/ 411129 w 2708532"/>
                  <a:gd name="connsiteY1738" fmla="*/ 179070 h 820230"/>
                  <a:gd name="connsiteX1739" fmla="*/ 412628 w 2708532"/>
                  <a:gd name="connsiteY1739" fmla="*/ 177571 h 820230"/>
                  <a:gd name="connsiteX1740" fmla="*/ 412364 w 2708532"/>
                  <a:gd name="connsiteY1740" fmla="*/ 176689 h 820230"/>
                  <a:gd name="connsiteX1741" fmla="*/ 410336 w 2708532"/>
                  <a:gd name="connsiteY1741" fmla="*/ 176160 h 820230"/>
                  <a:gd name="connsiteX1742" fmla="*/ 410336 w 2708532"/>
                  <a:gd name="connsiteY1742" fmla="*/ 175014 h 820230"/>
                  <a:gd name="connsiteX1743" fmla="*/ 407691 w 2708532"/>
                  <a:gd name="connsiteY1743" fmla="*/ 176160 h 820230"/>
                  <a:gd name="connsiteX1744" fmla="*/ 405398 w 2708532"/>
                  <a:gd name="connsiteY1744" fmla="*/ 174662 h 820230"/>
                  <a:gd name="connsiteX1745" fmla="*/ 403900 w 2708532"/>
                  <a:gd name="connsiteY1745" fmla="*/ 176425 h 820230"/>
                  <a:gd name="connsiteX1746" fmla="*/ 398962 w 2708532"/>
                  <a:gd name="connsiteY1746" fmla="*/ 178188 h 820230"/>
                  <a:gd name="connsiteX1747" fmla="*/ 395788 w 2708532"/>
                  <a:gd name="connsiteY1747" fmla="*/ 179335 h 820230"/>
                  <a:gd name="connsiteX1748" fmla="*/ 396934 w 2708532"/>
                  <a:gd name="connsiteY1748" fmla="*/ 180481 h 820230"/>
                  <a:gd name="connsiteX1749" fmla="*/ 398080 w 2708532"/>
                  <a:gd name="connsiteY1749" fmla="*/ 180745 h 820230"/>
                  <a:gd name="connsiteX1750" fmla="*/ 393143 w 2708532"/>
                  <a:gd name="connsiteY1750" fmla="*/ 181627 h 820230"/>
                  <a:gd name="connsiteX1751" fmla="*/ 392526 w 2708532"/>
                  <a:gd name="connsiteY1751" fmla="*/ 183655 h 820230"/>
                  <a:gd name="connsiteX1752" fmla="*/ 390498 w 2708532"/>
                  <a:gd name="connsiteY1752" fmla="*/ 182773 h 820230"/>
                  <a:gd name="connsiteX1753" fmla="*/ 389087 w 2708532"/>
                  <a:gd name="connsiteY1753" fmla="*/ 183038 h 820230"/>
                  <a:gd name="connsiteX1754" fmla="*/ 388206 w 2708532"/>
                  <a:gd name="connsiteY1754" fmla="*/ 186829 h 820230"/>
                  <a:gd name="connsiteX1755" fmla="*/ 389969 w 2708532"/>
                  <a:gd name="connsiteY1755" fmla="*/ 189474 h 820230"/>
                  <a:gd name="connsiteX1756" fmla="*/ 383003 w 2708532"/>
                  <a:gd name="connsiteY1756" fmla="*/ 188328 h 820230"/>
                  <a:gd name="connsiteX1757" fmla="*/ 385384 w 2708532"/>
                  <a:gd name="connsiteY1757" fmla="*/ 191237 h 820230"/>
                  <a:gd name="connsiteX1758" fmla="*/ 382474 w 2708532"/>
                  <a:gd name="connsiteY1758" fmla="*/ 193882 h 820230"/>
                  <a:gd name="connsiteX1759" fmla="*/ 380094 w 2708532"/>
                  <a:gd name="connsiteY1759" fmla="*/ 197409 h 820230"/>
                  <a:gd name="connsiteX1760" fmla="*/ 376920 w 2708532"/>
                  <a:gd name="connsiteY1760" fmla="*/ 196263 h 820230"/>
                  <a:gd name="connsiteX1761" fmla="*/ 375157 w 2708532"/>
                  <a:gd name="connsiteY1761" fmla="*/ 190708 h 820230"/>
                  <a:gd name="connsiteX1762" fmla="*/ 378683 w 2708532"/>
                  <a:gd name="connsiteY1762" fmla="*/ 189562 h 820230"/>
                  <a:gd name="connsiteX1763" fmla="*/ 378419 w 2708532"/>
                  <a:gd name="connsiteY1763" fmla="*/ 186917 h 820230"/>
                  <a:gd name="connsiteX1764" fmla="*/ 374628 w 2708532"/>
                  <a:gd name="connsiteY1764" fmla="*/ 186652 h 820230"/>
                  <a:gd name="connsiteX1765" fmla="*/ 374010 w 2708532"/>
                  <a:gd name="connsiteY1765" fmla="*/ 185771 h 820230"/>
                  <a:gd name="connsiteX1766" fmla="*/ 372335 w 2708532"/>
                  <a:gd name="connsiteY1766" fmla="*/ 185506 h 820230"/>
                  <a:gd name="connsiteX1767" fmla="*/ 371453 w 2708532"/>
                  <a:gd name="connsiteY1767" fmla="*/ 185242 h 820230"/>
                  <a:gd name="connsiteX1768" fmla="*/ 368544 w 2708532"/>
                  <a:gd name="connsiteY1768" fmla="*/ 185242 h 820230"/>
                  <a:gd name="connsiteX1769" fmla="*/ 371189 w 2708532"/>
                  <a:gd name="connsiteY1769" fmla="*/ 187005 h 820230"/>
                  <a:gd name="connsiteX1770" fmla="*/ 372071 w 2708532"/>
                  <a:gd name="connsiteY1770" fmla="*/ 189033 h 820230"/>
                  <a:gd name="connsiteX1771" fmla="*/ 368544 w 2708532"/>
                  <a:gd name="connsiteY1771" fmla="*/ 188151 h 820230"/>
                  <a:gd name="connsiteX1772" fmla="*/ 368544 w 2708532"/>
                  <a:gd name="connsiteY1772" fmla="*/ 192824 h 820230"/>
                  <a:gd name="connsiteX1773" fmla="*/ 365899 w 2708532"/>
                  <a:gd name="connsiteY1773" fmla="*/ 195998 h 820230"/>
                  <a:gd name="connsiteX1774" fmla="*/ 362725 w 2708532"/>
                  <a:gd name="connsiteY1774" fmla="*/ 193970 h 820230"/>
                  <a:gd name="connsiteX1775" fmla="*/ 361579 w 2708532"/>
                  <a:gd name="connsiteY1775" fmla="*/ 190179 h 820230"/>
                  <a:gd name="connsiteX1776" fmla="*/ 359286 w 2708532"/>
                  <a:gd name="connsiteY1776" fmla="*/ 193353 h 820230"/>
                  <a:gd name="connsiteX1777" fmla="*/ 359022 w 2708532"/>
                  <a:gd name="connsiteY1777" fmla="*/ 195646 h 820230"/>
                  <a:gd name="connsiteX1778" fmla="*/ 356994 w 2708532"/>
                  <a:gd name="connsiteY1778" fmla="*/ 197145 h 820230"/>
                  <a:gd name="connsiteX1779" fmla="*/ 355759 w 2708532"/>
                  <a:gd name="connsiteY1779" fmla="*/ 199172 h 820230"/>
                  <a:gd name="connsiteX1780" fmla="*/ 351968 w 2708532"/>
                  <a:gd name="connsiteY1780" fmla="*/ 198908 h 820230"/>
                  <a:gd name="connsiteX1781" fmla="*/ 349323 w 2708532"/>
                  <a:gd name="connsiteY1781" fmla="*/ 204198 h 820230"/>
                  <a:gd name="connsiteX1782" fmla="*/ 346678 w 2708532"/>
                  <a:gd name="connsiteY1782" fmla="*/ 205080 h 820230"/>
                  <a:gd name="connsiteX1783" fmla="*/ 345267 w 2708532"/>
                  <a:gd name="connsiteY1783" fmla="*/ 201288 h 820230"/>
                  <a:gd name="connsiteX1784" fmla="*/ 344121 w 2708532"/>
                  <a:gd name="connsiteY1784" fmla="*/ 199525 h 820230"/>
                  <a:gd name="connsiteX1785" fmla="*/ 342093 w 2708532"/>
                  <a:gd name="connsiteY1785" fmla="*/ 201288 h 820230"/>
                  <a:gd name="connsiteX1786" fmla="*/ 340947 w 2708532"/>
                  <a:gd name="connsiteY1786" fmla="*/ 201553 h 820230"/>
                  <a:gd name="connsiteX1787" fmla="*/ 340330 w 2708532"/>
                  <a:gd name="connsiteY1787" fmla="*/ 200054 h 820230"/>
                  <a:gd name="connsiteX1788" fmla="*/ 337156 w 2708532"/>
                  <a:gd name="connsiteY1788" fmla="*/ 199790 h 820230"/>
                  <a:gd name="connsiteX1789" fmla="*/ 343857 w 2708532"/>
                  <a:gd name="connsiteY1789" fmla="*/ 204727 h 820230"/>
                  <a:gd name="connsiteX1790" fmla="*/ 341564 w 2708532"/>
                  <a:gd name="connsiteY1790" fmla="*/ 205344 h 820230"/>
                  <a:gd name="connsiteX1791" fmla="*/ 336892 w 2708532"/>
                  <a:gd name="connsiteY1791" fmla="*/ 203052 h 820230"/>
                  <a:gd name="connsiteX1792" fmla="*/ 334599 w 2708532"/>
                  <a:gd name="connsiteY1792" fmla="*/ 200407 h 820230"/>
                  <a:gd name="connsiteX1793" fmla="*/ 336627 w 2708532"/>
                  <a:gd name="connsiteY1793" fmla="*/ 205344 h 820230"/>
                  <a:gd name="connsiteX1794" fmla="*/ 333453 w 2708532"/>
                  <a:gd name="connsiteY1794" fmla="*/ 203052 h 820230"/>
                  <a:gd name="connsiteX1795" fmla="*/ 331954 w 2708532"/>
                  <a:gd name="connsiteY1795" fmla="*/ 204815 h 820230"/>
                  <a:gd name="connsiteX1796" fmla="*/ 329926 w 2708532"/>
                  <a:gd name="connsiteY1796" fmla="*/ 205961 h 820230"/>
                  <a:gd name="connsiteX1797" fmla="*/ 328515 w 2708532"/>
                  <a:gd name="connsiteY1797" fmla="*/ 208254 h 820230"/>
                  <a:gd name="connsiteX1798" fmla="*/ 327369 w 2708532"/>
                  <a:gd name="connsiteY1798" fmla="*/ 208518 h 820230"/>
                  <a:gd name="connsiteX1799" fmla="*/ 325342 w 2708532"/>
                  <a:gd name="connsiteY1799" fmla="*/ 207108 h 820230"/>
                  <a:gd name="connsiteX1800" fmla="*/ 323049 w 2708532"/>
                  <a:gd name="connsiteY1800" fmla="*/ 205080 h 820230"/>
                  <a:gd name="connsiteX1801" fmla="*/ 321021 w 2708532"/>
                  <a:gd name="connsiteY1801" fmla="*/ 206226 h 820230"/>
                  <a:gd name="connsiteX1802" fmla="*/ 322167 w 2708532"/>
                  <a:gd name="connsiteY1802" fmla="*/ 209135 h 820230"/>
                  <a:gd name="connsiteX1803" fmla="*/ 323314 w 2708532"/>
                  <a:gd name="connsiteY1803" fmla="*/ 211163 h 820230"/>
                  <a:gd name="connsiteX1804" fmla="*/ 322785 w 2708532"/>
                  <a:gd name="connsiteY1804" fmla="*/ 212574 h 820230"/>
                  <a:gd name="connsiteX1805" fmla="*/ 323314 w 2708532"/>
                  <a:gd name="connsiteY1805" fmla="*/ 214602 h 820230"/>
                  <a:gd name="connsiteX1806" fmla="*/ 322432 w 2708532"/>
                  <a:gd name="connsiteY1806" fmla="*/ 217247 h 820230"/>
                  <a:gd name="connsiteX1807" fmla="*/ 323314 w 2708532"/>
                  <a:gd name="connsiteY1807" fmla="*/ 218129 h 820230"/>
                  <a:gd name="connsiteX1808" fmla="*/ 325959 w 2708532"/>
                  <a:gd name="connsiteY1808" fmla="*/ 220156 h 820230"/>
                  <a:gd name="connsiteX1809" fmla="*/ 325077 w 2708532"/>
                  <a:gd name="connsiteY1809" fmla="*/ 223948 h 820230"/>
                  <a:gd name="connsiteX1810" fmla="*/ 322520 w 2708532"/>
                  <a:gd name="connsiteY1810" fmla="*/ 222801 h 820230"/>
                  <a:gd name="connsiteX1811" fmla="*/ 321638 w 2708532"/>
                  <a:gd name="connsiteY1811" fmla="*/ 225976 h 820230"/>
                  <a:gd name="connsiteX1812" fmla="*/ 320492 w 2708532"/>
                  <a:gd name="connsiteY1812" fmla="*/ 225711 h 820230"/>
                  <a:gd name="connsiteX1813" fmla="*/ 318200 w 2708532"/>
                  <a:gd name="connsiteY1813" fmla="*/ 223331 h 820230"/>
                  <a:gd name="connsiteX1814" fmla="*/ 315290 w 2708532"/>
                  <a:gd name="connsiteY1814" fmla="*/ 221567 h 820230"/>
                  <a:gd name="connsiteX1815" fmla="*/ 312381 w 2708532"/>
                  <a:gd name="connsiteY1815" fmla="*/ 223066 h 820230"/>
                  <a:gd name="connsiteX1816" fmla="*/ 309736 w 2708532"/>
                  <a:gd name="connsiteY1816" fmla="*/ 223948 h 820230"/>
                  <a:gd name="connsiteX1817" fmla="*/ 305680 w 2708532"/>
                  <a:gd name="connsiteY1817" fmla="*/ 225711 h 820230"/>
                  <a:gd name="connsiteX1818" fmla="*/ 303916 w 2708532"/>
                  <a:gd name="connsiteY1818" fmla="*/ 221655 h 820230"/>
                  <a:gd name="connsiteX1819" fmla="*/ 300390 w 2708532"/>
                  <a:gd name="connsiteY1819" fmla="*/ 222801 h 820230"/>
                  <a:gd name="connsiteX1820" fmla="*/ 295981 w 2708532"/>
                  <a:gd name="connsiteY1820" fmla="*/ 222801 h 820230"/>
                  <a:gd name="connsiteX1821" fmla="*/ 295717 w 2708532"/>
                  <a:gd name="connsiteY1821" fmla="*/ 221303 h 820230"/>
                  <a:gd name="connsiteX1822" fmla="*/ 295717 w 2708532"/>
                  <a:gd name="connsiteY1822" fmla="*/ 218658 h 820230"/>
                  <a:gd name="connsiteX1823" fmla="*/ 295100 w 2708532"/>
                  <a:gd name="connsiteY1823" fmla="*/ 222449 h 820230"/>
                  <a:gd name="connsiteX1824" fmla="*/ 292190 w 2708532"/>
                  <a:gd name="connsiteY1824" fmla="*/ 218040 h 820230"/>
                  <a:gd name="connsiteX1825" fmla="*/ 289545 w 2708532"/>
                  <a:gd name="connsiteY1825" fmla="*/ 214602 h 820230"/>
                  <a:gd name="connsiteX1826" fmla="*/ 288046 w 2708532"/>
                  <a:gd name="connsiteY1826" fmla="*/ 216013 h 820230"/>
                  <a:gd name="connsiteX1827" fmla="*/ 286283 w 2708532"/>
                  <a:gd name="connsiteY1827" fmla="*/ 213367 h 820230"/>
                  <a:gd name="connsiteX1828" fmla="*/ 280728 w 2708532"/>
                  <a:gd name="connsiteY1828" fmla="*/ 213367 h 820230"/>
                  <a:gd name="connsiteX1829" fmla="*/ 280111 w 2708532"/>
                  <a:gd name="connsiteY1829" fmla="*/ 211340 h 820230"/>
                  <a:gd name="connsiteX1830" fmla="*/ 280111 w 2708532"/>
                  <a:gd name="connsiteY1830" fmla="*/ 208430 h 820230"/>
                  <a:gd name="connsiteX1831" fmla="*/ 276320 w 2708532"/>
                  <a:gd name="connsiteY1831" fmla="*/ 209929 h 820230"/>
                  <a:gd name="connsiteX1832" fmla="*/ 277819 w 2708532"/>
                  <a:gd name="connsiteY1832" fmla="*/ 207019 h 820230"/>
                  <a:gd name="connsiteX1833" fmla="*/ 279582 w 2708532"/>
                  <a:gd name="connsiteY1833" fmla="*/ 203228 h 820230"/>
                  <a:gd name="connsiteX1834" fmla="*/ 283638 w 2708532"/>
                  <a:gd name="connsiteY1834" fmla="*/ 202082 h 820230"/>
                  <a:gd name="connsiteX1835" fmla="*/ 287429 w 2708532"/>
                  <a:gd name="connsiteY1835" fmla="*/ 203845 h 820230"/>
                  <a:gd name="connsiteX1836" fmla="*/ 292102 w 2708532"/>
                  <a:gd name="connsiteY1836" fmla="*/ 201465 h 820230"/>
                  <a:gd name="connsiteX1837" fmla="*/ 292984 w 2708532"/>
                  <a:gd name="connsiteY1837" fmla="*/ 203493 h 820230"/>
                  <a:gd name="connsiteX1838" fmla="*/ 294747 w 2708532"/>
                  <a:gd name="connsiteY1838" fmla="*/ 203228 h 820230"/>
                  <a:gd name="connsiteX1839" fmla="*/ 297392 w 2708532"/>
                  <a:gd name="connsiteY1839" fmla="*/ 202611 h 820230"/>
                  <a:gd name="connsiteX1840" fmla="*/ 299156 w 2708532"/>
                  <a:gd name="connsiteY1840" fmla="*/ 202346 h 820230"/>
                  <a:gd name="connsiteX1841" fmla="*/ 300919 w 2708532"/>
                  <a:gd name="connsiteY1841" fmla="*/ 202346 h 820230"/>
                  <a:gd name="connsiteX1842" fmla="*/ 302682 w 2708532"/>
                  <a:gd name="connsiteY1842" fmla="*/ 201200 h 820230"/>
                  <a:gd name="connsiteX1843" fmla="*/ 302418 w 2708532"/>
                  <a:gd name="connsiteY1843" fmla="*/ 199172 h 820230"/>
                  <a:gd name="connsiteX1844" fmla="*/ 299508 w 2708532"/>
                  <a:gd name="connsiteY1844" fmla="*/ 198555 h 820230"/>
                  <a:gd name="connsiteX1845" fmla="*/ 298362 w 2708532"/>
                  <a:gd name="connsiteY1845" fmla="*/ 195646 h 820230"/>
                  <a:gd name="connsiteX1846" fmla="*/ 295188 w 2708532"/>
                  <a:gd name="connsiteY1846" fmla="*/ 196527 h 820230"/>
                  <a:gd name="connsiteX1847" fmla="*/ 295452 w 2708532"/>
                  <a:gd name="connsiteY1847" fmla="*/ 194147 h 820230"/>
                  <a:gd name="connsiteX1848" fmla="*/ 293425 w 2708532"/>
                  <a:gd name="connsiteY1848" fmla="*/ 193265 h 820230"/>
                  <a:gd name="connsiteX1849" fmla="*/ 290515 w 2708532"/>
                  <a:gd name="connsiteY1849" fmla="*/ 192119 h 820230"/>
                  <a:gd name="connsiteX1850" fmla="*/ 287605 w 2708532"/>
                  <a:gd name="connsiteY1850" fmla="*/ 190356 h 820230"/>
                  <a:gd name="connsiteX1851" fmla="*/ 285578 w 2708532"/>
                  <a:gd name="connsiteY1851" fmla="*/ 189474 h 820230"/>
                  <a:gd name="connsiteX1852" fmla="*/ 284431 w 2708532"/>
                  <a:gd name="connsiteY1852" fmla="*/ 187182 h 820230"/>
                  <a:gd name="connsiteX1853" fmla="*/ 282668 w 2708532"/>
                  <a:gd name="connsiteY1853" fmla="*/ 185683 h 820230"/>
                  <a:gd name="connsiteX1854" fmla="*/ 280376 w 2708532"/>
                  <a:gd name="connsiteY1854" fmla="*/ 185947 h 820230"/>
                  <a:gd name="connsiteX1855" fmla="*/ 278612 w 2708532"/>
                  <a:gd name="connsiteY1855" fmla="*/ 183655 h 820230"/>
                  <a:gd name="connsiteX1856" fmla="*/ 278877 w 2708532"/>
                  <a:gd name="connsiteY1856" fmla="*/ 182156 h 820230"/>
                  <a:gd name="connsiteX1857" fmla="*/ 277995 w 2708532"/>
                  <a:gd name="connsiteY1857" fmla="*/ 181891 h 820230"/>
                  <a:gd name="connsiteX1858" fmla="*/ 275350 w 2708532"/>
                  <a:gd name="connsiteY1858" fmla="*/ 181010 h 820230"/>
                  <a:gd name="connsiteX1859" fmla="*/ 278524 w 2708532"/>
                  <a:gd name="connsiteY1859" fmla="*/ 185418 h 820230"/>
                  <a:gd name="connsiteX1860" fmla="*/ 277378 w 2708532"/>
                  <a:gd name="connsiteY1860" fmla="*/ 185683 h 820230"/>
                  <a:gd name="connsiteX1861" fmla="*/ 270942 w 2708532"/>
                  <a:gd name="connsiteY1861" fmla="*/ 185418 h 820230"/>
                  <a:gd name="connsiteX1862" fmla="*/ 265122 w 2708532"/>
                  <a:gd name="connsiteY1862" fmla="*/ 185154 h 820230"/>
                  <a:gd name="connsiteX1863" fmla="*/ 261860 w 2708532"/>
                  <a:gd name="connsiteY1863" fmla="*/ 185154 h 820230"/>
                  <a:gd name="connsiteX1864" fmla="*/ 258069 w 2708532"/>
                  <a:gd name="connsiteY1864" fmla="*/ 184272 h 820230"/>
                  <a:gd name="connsiteX1865" fmla="*/ 255424 w 2708532"/>
                  <a:gd name="connsiteY1865" fmla="*/ 185771 h 820230"/>
                  <a:gd name="connsiteX1866" fmla="*/ 251633 w 2708532"/>
                  <a:gd name="connsiteY1866" fmla="*/ 184625 h 820230"/>
                  <a:gd name="connsiteX1867" fmla="*/ 251280 w 2708532"/>
                  <a:gd name="connsiteY1867" fmla="*/ 183214 h 820230"/>
                  <a:gd name="connsiteX1868" fmla="*/ 249781 w 2708532"/>
                  <a:gd name="connsiteY1868" fmla="*/ 183214 h 820230"/>
                  <a:gd name="connsiteX1869" fmla="*/ 248899 w 2708532"/>
                  <a:gd name="connsiteY1869" fmla="*/ 184360 h 820230"/>
                  <a:gd name="connsiteX1870" fmla="*/ 247489 w 2708532"/>
                  <a:gd name="connsiteY1870" fmla="*/ 182068 h 820230"/>
                  <a:gd name="connsiteX1871" fmla="*/ 243962 w 2708532"/>
                  <a:gd name="connsiteY1871" fmla="*/ 180921 h 820230"/>
                  <a:gd name="connsiteX1872" fmla="*/ 241317 w 2708532"/>
                  <a:gd name="connsiteY1872" fmla="*/ 180040 h 820230"/>
                  <a:gd name="connsiteX1873" fmla="*/ 239554 w 2708532"/>
                  <a:gd name="connsiteY1873" fmla="*/ 180040 h 820230"/>
                  <a:gd name="connsiteX1874" fmla="*/ 240700 w 2708532"/>
                  <a:gd name="connsiteY1874" fmla="*/ 181803 h 820230"/>
                  <a:gd name="connsiteX1875" fmla="*/ 240700 w 2708532"/>
                  <a:gd name="connsiteY1875" fmla="*/ 183567 h 820230"/>
                  <a:gd name="connsiteX1876" fmla="*/ 240435 w 2708532"/>
                  <a:gd name="connsiteY1876" fmla="*/ 183831 h 820230"/>
                  <a:gd name="connsiteX1877" fmla="*/ 238143 w 2708532"/>
                  <a:gd name="connsiteY1877" fmla="*/ 185330 h 820230"/>
                  <a:gd name="connsiteX1878" fmla="*/ 240435 w 2708532"/>
                  <a:gd name="connsiteY1878" fmla="*/ 188239 h 820230"/>
                  <a:gd name="connsiteX1879" fmla="*/ 244844 w 2708532"/>
                  <a:gd name="connsiteY1879" fmla="*/ 188857 h 820230"/>
                  <a:gd name="connsiteX1880" fmla="*/ 248635 w 2708532"/>
                  <a:gd name="connsiteY1880" fmla="*/ 192912 h 820230"/>
                  <a:gd name="connsiteX1881" fmla="*/ 251280 w 2708532"/>
                  <a:gd name="connsiteY1881" fmla="*/ 192648 h 820230"/>
                  <a:gd name="connsiteX1882" fmla="*/ 251633 w 2708532"/>
                  <a:gd name="connsiteY1882" fmla="*/ 192031 h 820230"/>
                  <a:gd name="connsiteX1883" fmla="*/ 255688 w 2708532"/>
                  <a:gd name="connsiteY1883" fmla="*/ 194676 h 820230"/>
                  <a:gd name="connsiteX1884" fmla="*/ 258334 w 2708532"/>
                  <a:gd name="connsiteY1884" fmla="*/ 198203 h 820230"/>
                  <a:gd name="connsiteX1885" fmla="*/ 257716 w 2708532"/>
                  <a:gd name="connsiteY1885" fmla="*/ 198820 h 820230"/>
                  <a:gd name="connsiteX1886" fmla="*/ 256835 w 2708532"/>
                  <a:gd name="connsiteY1886" fmla="*/ 204110 h 820230"/>
                  <a:gd name="connsiteX1887" fmla="*/ 257452 w 2708532"/>
                  <a:gd name="connsiteY1887" fmla="*/ 207019 h 820230"/>
                  <a:gd name="connsiteX1888" fmla="*/ 256570 w 2708532"/>
                  <a:gd name="connsiteY1888" fmla="*/ 211692 h 820230"/>
                  <a:gd name="connsiteX1889" fmla="*/ 257187 w 2708532"/>
                  <a:gd name="connsiteY1889" fmla="*/ 215748 h 820230"/>
                  <a:gd name="connsiteX1890" fmla="*/ 259480 w 2708532"/>
                  <a:gd name="connsiteY1890" fmla="*/ 217247 h 820230"/>
                  <a:gd name="connsiteX1891" fmla="*/ 263006 w 2708532"/>
                  <a:gd name="connsiteY1891" fmla="*/ 217247 h 820230"/>
                  <a:gd name="connsiteX1892" fmla="*/ 266180 w 2708532"/>
                  <a:gd name="connsiteY1892" fmla="*/ 216101 h 820230"/>
                  <a:gd name="connsiteX1893" fmla="*/ 266180 w 2708532"/>
                  <a:gd name="connsiteY1893" fmla="*/ 220509 h 820230"/>
                  <a:gd name="connsiteX1894" fmla="*/ 269972 w 2708532"/>
                  <a:gd name="connsiteY1894" fmla="*/ 223154 h 820230"/>
                  <a:gd name="connsiteX1895" fmla="*/ 272352 w 2708532"/>
                  <a:gd name="connsiteY1895" fmla="*/ 224036 h 820230"/>
                  <a:gd name="connsiteX1896" fmla="*/ 274116 w 2708532"/>
                  <a:gd name="connsiteY1896" fmla="*/ 228973 h 820230"/>
                  <a:gd name="connsiteX1897" fmla="*/ 273234 w 2708532"/>
                  <a:gd name="connsiteY1897" fmla="*/ 232147 h 820230"/>
                  <a:gd name="connsiteX1898" fmla="*/ 274997 w 2708532"/>
                  <a:gd name="connsiteY1898" fmla="*/ 232765 h 820230"/>
                  <a:gd name="connsiteX1899" fmla="*/ 275879 w 2708532"/>
                  <a:gd name="connsiteY1899" fmla="*/ 236556 h 820230"/>
                  <a:gd name="connsiteX1900" fmla="*/ 278789 w 2708532"/>
                  <a:gd name="connsiteY1900" fmla="*/ 238055 h 820230"/>
                  <a:gd name="connsiteX1901" fmla="*/ 275262 w 2708532"/>
                  <a:gd name="connsiteY1901" fmla="*/ 238319 h 820230"/>
                  <a:gd name="connsiteX1902" fmla="*/ 271735 w 2708532"/>
                  <a:gd name="connsiteY1902" fmla="*/ 238055 h 820230"/>
                  <a:gd name="connsiteX1903" fmla="*/ 269355 w 2708532"/>
                  <a:gd name="connsiteY1903" fmla="*/ 239553 h 820230"/>
                  <a:gd name="connsiteX1904" fmla="*/ 266974 w 2708532"/>
                  <a:gd name="connsiteY1904" fmla="*/ 238407 h 820230"/>
                  <a:gd name="connsiteX1905" fmla="*/ 265475 w 2708532"/>
                  <a:gd name="connsiteY1905" fmla="*/ 237526 h 820230"/>
                  <a:gd name="connsiteX1906" fmla="*/ 261419 w 2708532"/>
                  <a:gd name="connsiteY1906" fmla="*/ 237526 h 820230"/>
                  <a:gd name="connsiteX1907" fmla="*/ 260538 w 2708532"/>
                  <a:gd name="connsiteY1907" fmla="*/ 236027 h 820230"/>
                  <a:gd name="connsiteX1908" fmla="*/ 257011 w 2708532"/>
                  <a:gd name="connsiteY1908" fmla="*/ 233646 h 820230"/>
                  <a:gd name="connsiteX1909" fmla="*/ 253484 w 2708532"/>
                  <a:gd name="connsiteY1909" fmla="*/ 230737 h 820230"/>
                  <a:gd name="connsiteX1910" fmla="*/ 252603 w 2708532"/>
                  <a:gd name="connsiteY1910" fmla="*/ 233117 h 820230"/>
                  <a:gd name="connsiteX1911" fmla="*/ 248811 w 2708532"/>
                  <a:gd name="connsiteY1911" fmla="*/ 231089 h 820230"/>
                  <a:gd name="connsiteX1912" fmla="*/ 245284 w 2708532"/>
                  <a:gd name="connsiteY1912" fmla="*/ 231971 h 820230"/>
                  <a:gd name="connsiteX1913" fmla="*/ 241229 w 2708532"/>
                  <a:gd name="connsiteY1913" fmla="*/ 231971 h 820230"/>
                  <a:gd name="connsiteX1914" fmla="*/ 240612 w 2708532"/>
                  <a:gd name="connsiteY1914" fmla="*/ 234616 h 820230"/>
                  <a:gd name="connsiteX1915" fmla="*/ 239730 w 2708532"/>
                  <a:gd name="connsiteY1915" fmla="*/ 230208 h 820230"/>
                  <a:gd name="connsiteX1916" fmla="*/ 236820 w 2708532"/>
                  <a:gd name="connsiteY1916" fmla="*/ 234616 h 820230"/>
                  <a:gd name="connsiteX1917" fmla="*/ 233646 w 2708532"/>
                  <a:gd name="connsiteY1917" fmla="*/ 236379 h 820230"/>
                  <a:gd name="connsiteX1918" fmla="*/ 231266 w 2708532"/>
                  <a:gd name="connsiteY1918" fmla="*/ 240171 h 820230"/>
                  <a:gd name="connsiteX1919" fmla="*/ 228356 w 2708532"/>
                  <a:gd name="connsiteY1919" fmla="*/ 242551 h 820230"/>
                  <a:gd name="connsiteX1920" fmla="*/ 224565 w 2708532"/>
                  <a:gd name="connsiteY1920" fmla="*/ 241670 h 820230"/>
                  <a:gd name="connsiteX1921" fmla="*/ 222802 w 2708532"/>
                  <a:gd name="connsiteY1921" fmla="*/ 243080 h 820230"/>
                  <a:gd name="connsiteX1922" fmla="*/ 220774 w 2708532"/>
                  <a:gd name="connsiteY1922" fmla="*/ 244579 h 820230"/>
                  <a:gd name="connsiteX1923" fmla="*/ 217512 w 2708532"/>
                  <a:gd name="connsiteY1923" fmla="*/ 243697 h 820230"/>
                  <a:gd name="connsiteX1924" fmla="*/ 216013 w 2708532"/>
                  <a:gd name="connsiteY1924" fmla="*/ 242816 h 820230"/>
                  <a:gd name="connsiteX1925" fmla="*/ 215131 w 2708532"/>
                  <a:gd name="connsiteY1925" fmla="*/ 243697 h 820230"/>
                  <a:gd name="connsiteX1926" fmla="*/ 213368 w 2708532"/>
                  <a:gd name="connsiteY1926" fmla="*/ 246871 h 820230"/>
                  <a:gd name="connsiteX1927" fmla="*/ 209841 w 2708532"/>
                  <a:gd name="connsiteY1927" fmla="*/ 246871 h 820230"/>
                  <a:gd name="connsiteX1928" fmla="*/ 209841 w 2708532"/>
                  <a:gd name="connsiteY1928" fmla="*/ 249781 h 820230"/>
                  <a:gd name="connsiteX1929" fmla="*/ 207460 w 2708532"/>
                  <a:gd name="connsiteY1929" fmla="*/ 250663 h 820230"/>
                  <a:gd name="connsiteX1930" fmla="*/ 206314 w 2708532"/>
                  <a:gd name="connsiteY1930" fmla="*/ 252955 h 820230"/>
                  <a:gd name="connsiteX1931" fmla="*/ 204022 w 2708532"/>
                  <a:gd name="connsiteY1931" fmla="*/ 254454 h 820230"/>
                  <a:gd name="connsiteX1932" fmla="*/ 204639 w 2708532"/>
                  <a:gd name="connsiteY1932" fmla="*/ 256746 h 820230"/>
                  <a:gd name="connsiteX1933" fmla="*/ 208166 w 2708532"/>
                  <a:gd name="connsiteY1933" fmla="*/ 258774 h 820230"/>
                  <a:gd name="connsiteX1934" fmla="*/ 209665 w 2708532"/>
                  <a:gd name="connsiteY1934" fmla="*/ 261419 h 820230"/>
                  <a:gd name="connsiteX1935" fmla="*/ 211957 w 2708532"/>
                  <a:gd name="connsiteY1935" fmla="*/ 264593 h 820230"/>
                  <a:gd name="connsiteX1936" fmla="*/ 214602 w 2708532"/>
                  <a:gd name="connsiteY1936" fmla="*/ 266092 h 820230"/>
                  <a:gd name="connsiteX1937" fmla="*/ 218129 w 2708532"/>
                  <a:gd name="connsiteY1937" fmla="*/ 270148 h 820230"/>
                  <a:gd name="connsiteX1938" fmla="*/ 217864 w 2708532"/>
                  <a:gd name="connsiteY1938" fmla="*/ 266974 h 820230"/>
                  <a:gd name="connsiteX1939" fmla="*/ 220156 w 2708532"/>
                  <a:gd name="connsiteY1939" fmla="*/ 271030 h 820230"/>
                  <a:gd name="connsiteX1940" fmla="*/ 214867 w 2708532"/>
                  <a:gd name="connsiteY1940" fmla="*/ 274556 h 820230"/>
                  <a:gd name="connsiteX1941" fmla="*/ 211340 w 2708532"/>
                  <a:gd name="connsiteY1941" fmla="*/ 273675 h 820230"/>
                  <a:gd name="connsiteX1942" fmla="*/ 208695 w 2708532"/>
                  <a:gd name="connsiteY1942" fmla="*/ 274292 h 820230"/>
                  <a:gd name="connsiteX1943" fmla="*/ 206402 w 2708532"/>
                  <a:gd name="connsiteY1943" fmla="*/ 272529 h 820230"/>
                  <a:gd name="connsiteX1944" fmla="*/ 201994 w 2708532"/>
                  <a:gd name="connsiteY1944" fmla="*/ 272793 h 820230"/>
                  <a:gd name="connsiteX1945" fmla="*/ 199084 w 2708532"/>
                  <a:gd name="connsiteY1945" fmla="*/ 271382 h 820230"/>
                  <a:gd name="connsiteX1946" fmla="*/ 196175 w 2708532"/>
                  <a:gd name="connsiteY1946" fmla="*/ 268208 h 820230"/>
                  <a:gd name="connsiteX1947" fmla="*/ 190973 w 2708532"/>
                  <a:gd name="connsiteY1947" fmla="*/ 267062 h 820230"/>
                  <a:gd name="connsiteX1948" fmla="*/ 188945 w 2708532"/>
                  <a:gd name="connsiteY1948" fmla="*/ 265916 h 820230"/>
                  <a:gd name="connsiteX1949" fmla="*/ 187270 w 2708532"/>
                  <a:gd name="connsiteY1949" fmla="*/ 267327 h 820230"/>
                  <a:gd name="connsiteX1950" fmla="*/ 184889 w 2708532"/>
                  <a:gd name="connsiteY1950" fmla="*/ 267327 h 820230"/>
                  <a:gd name="connsiteX1951" fmla="*/ 181451 w 2708532"/>
                  <a:gd name="connsiteY1951" fmla="*/ 267062 h 820230"/>
                  <a:gd name="connsiteX1952" fmla="*/ 178806 w 2708532"/>
                  <a:gd name="connsiteY1952" fmla="*/ 264770 h 820230"/>
                  <a:gd name="connsiteX1953" fmla="*/ 178806 w 2708532"/>
                  <a:gd name="connsiteY1953" fmla="*/ 267062 h 820230"/>
                  <a:gd name="connsiteX1954" fmla="*/ 177395 w 2708532"/>
                  <a:gd name="connsiteY1954" fmla="*/ 265299 h 820230"/>
                  <a:gd name="connsiteX1955" fmla="*/ 174750 w 2708532"/>
                  <a:gd name="connsiteY1955" fmla="*/ 263271 h 820230"/>
                  <a:gd name="connsiteX1956" fmla="*/ 174750 w 2708532"/>
                  <a:gd name="connsiteY1956" fmla="*/ 262125 h 820230"/>
                  <a:gd name="connsiteX1957" fmla="*/ 170694 w 2708532"/>
                  <a:gd name="connsiteY1957" fmla="*/ 260978 h 820230"/>
                  <a:gd name="connsiteX1958" fmla="*/ 168314 w 2708532"/>
                  <a:gd name="connsiteY1958" fmla="*/ 259480 h 820230"/>
                  <a:gd name="connsiteX1959" fmla="*/ 164787 w 2708532"/>
                  <a:gd name="connsiteY1959" fmla="*/ 259744 h 820230"/>
                  <a:gd name="connsiteX1960" fmla="*/ 161260 w 2708532"/>
                  <a:gd name="connsiteY1960" fmla="*/ 259744 h 820230"/>
                  <a:gd name="connsiteX1961" fmla="*/ 160114 w 2708532"/>
                  <a:gd name="connsiteY1961" fmla="*/ 261507 h 820230"/>
                  <a:gd name="connsiteX1962" fmla="*/ 158351 w 2708532"/>
                  <a:gd name="connsiteY1962" fmla="*/ 261507 h 820230"/>
                  <a:gd name="connsiteX1963" fmla="*/ 157822 w 2708532"/>
                  <a:gd name="connsiteY1963" fmla="*/ 263800 h 820230"/>
                  <a:gd name="connsiteX1964" fmla="*/ 156323 w 2708532"/>
                  <a:gd name="connsiteY1964" fmla="*/ 265211 h 820230"/>
                  <a:gd name="connsiteX1965" fmla="*/ 155794 w 2708532"/>
                  <a:gd name="connsiteY1965" fmla="*/ 267591 h 820230"/>
                  <a:gd name="connsiteX1966" fmla="*/ 156323 w 2708532"/>
                  <a:gd name="connsiteY1966" fmla="*/ 270236 h 820230"/>
                  <a:gd name="connsiteX1967" fmla="*/ 155441 w 2708532"/>
                  <a:gd name="connsiteY1967" fmla="*/ 271118 h 820230"/>
                  <a:gd name="connsiteX1968" fmla="*/ 161260 w 2708532"/>
                  <a:gd name="connsiteY1968" fmla="*/ 273146 h 820230"/>
                  <a:gd name="connsiteX1969" fmla="*/ 164170 w 2708532"/>
                  <a:gd name="connsiteY1969" fmla="*/ 275791 h 820230"/>
                  <a:gd name="connsiteX1970" fmla="*/ 167079 w 2708532"/>
                  <a:gd name="connsiteY1970" fmla="*/ 276672 h 820230"/>
                  <a:gd name="connsiteX1971" fmla="*/ 169460 w 2708532"/>
                  <a:gd name="connsiteY1971" fmla="*/ 278965 h 820230"/>
                  <a:gd name="connsiteX1972" fmla="*/ 172987 w 2708532"/>
                  <a:gd name="connsiteY1972" fmla="*/ 280464 h 820230"/>
                  <a:gd name="connsiteX1973" fmla="*/ 176513 w 2708532"/>
                  <a:gd name="connsiteY1973" fmla="*/ 279582 h 820230"/>
                  <a:gd name="connsiteX1974" fmla="*/ 179158 w 2708532"/>
                  <a:gd name="connsiteY1974" fmla="*/ 277290 h 820230"/>
                  <a:gd name="connsiteX1975" fmla="*/ 182420 w 2708532"/>
                  <a:gd name="connsiteY1975" fmla="*/ 279317 h 820230"/>
                  <a:gd name="connsiteX1976" fmla="*/ 183831 w 2708532"/>
                  <a:gd name="connsiteY1976" fmla="*/ 282844 h 820230"/>
                  <a:gd name="connsiteX1977" fmla="*/ 183831 w 2708532"/>
                  <a:gd name="connsiteY1977" fmla="*/ 284608 h 820230"/>
                  <a:gd name="connsiteX1978" fmla="*/ 186212 w 2708532"/>
                  <a:gd name="connsiteY1978" fmla="*/ 287253 h 820230"/>
                  <a:gd name="connsiteX1979" fmla="*/ 184448 w 2708532"/>
                  <a:gd name="connsiteY1979" fmla="*/ 291661 h 820230"/>
                  <a:gd name="connsiteX1980" fmla="*/ 178894 w 2708532"/>
                  <a:gd name="connsiteY1980" fmla="*/ 289898 h 820230"/>
                  <a:gd name="connsiteX1981" fmla="*/ 173339 w 2708532"/>
                  <a:gd name="connsiteY1981" fmla="*/ 288399 h 820230"/>
                  <a:gd name="connsiteX1982" fmla="*/ 168137 w 2708532"/>
                  <a:gd name="connsiteY1982" fmla="*/ 288134 h 820230"/>
                  <a:gd name="connsiteX1983" fmla="*/ 165845 w 2708532"/>
                  <a:gd name="connsiteY1983" fmla="*/ 286635 h 820230"/>
                  <a:gd name="connsiteX1984" fmla="*/ 162054 w 2708532"/>
                  <a:gd name="connsiteY1984" fmla="*/ 287164 h 820230"/>
                  <a:gd name="connsiteX1985" fmla="*/ 158880 w 2708532"/>
                  <a:gd name="connsiteY1985" fmla="*/ 286018 h 820230"/>
                  <a:gd name="connsiteX1986" fmla="*/ 155088 w 2708532"/>
                  <a:gd name="connsiteY1986" fmla="*/ 283109 h 820230"/>
                  <a:gd name="connsiteX1987" fmla="*/ 150768 w 2708532"/>
                  <a:gd name="connsiteY1987" fmla="*/ 279582 h 820230"/>
                  <a:gd name="connsiteX1988" fmla="*/ 147241 w 2708532"/>
                  <a:gd name="connsiteY1988" fmla="*/ 278436 h 820230"/>
                  <a:gd name="connsiteX1989" fmla="*/ 144332 w 2708532"/>
                  <a:gd name="connsiteY1989" fmla="*/ 279053 h 820230"/>
                  <a:gd name="connsiteX1990" fmla="*/ 141422 w 2708532"/>
                  <a:gd name="connsiteY1990" fmla="*/ 278788 h 820230"/>
                  <a:gd name="connsiteX1991" fmla="*/ 140540 w 2708532"/>
                  <a:gd name="connsiteY1991" fmla="*/ 279053 h 820230"/>
                  <a:gd name="connsiteX1992" fmla="*/ 134986 w 2708532"/>
                  <a:gd name="connsiteY1992" fmla="*/ 277642 h 820230"/>
                  <a:gd name="connsiteX1993" fmla="*/ 132341 w 2708532"/>
                  <a:gd name="connsiteY1993" fmla="*/ 273851 h 820230"/>
                  <a:gd name="connsiteX1994" fmla="*/ 131195 w 2708532"/>
                  <a:gd name="connsiteY1994" fmla="*/ 272705 h 820230"/>
                  <a:gd name="connsiteX1995" fmla="*/ 128550 w 2708532"/>
                  <a:gd name="connsiteY1995" fmla="*/ 274468 h 820230"/>
                  <a:gd name="connsiteX1996" fmla="*/ 129079 w 2708532"/>
                  <a:gd name="connsiteY1996" fmla="*/ 270677 h 820230"/>
                  <a:gd name="connsiteX1997" fmla="*/ 127932 w 2708532"/>
                  <a:gd name="connsiteY1997" fmla="*/ 269178 h 820230"/>
                  <a:gd name="connsiteX1998" fmla="*/ 130313 w 2708532"/>
                  <a:gd name="connsiteY1998" fmla="*/ 266886 h 820230"/>
                  <a:gd name="connsiteX1999" fmla="*/ 127932 w 2708532"/>
                  <a:gd name="connsiteY1999" fmla="*/ 263976 h 820230"/>
                  <a:gd name="connsiteX2000" fmla="*/ 125552 w 2708532"/>
                  <a:gd name="connsiteY2000" fmla="*/ 260802 h 820230"/>
                  <a:gd name="connsiteX2001" fmla="*/ 124053 w 2708532"/>
                  <a:gd name="connsiteY2001" fmla="*/ 258157 h 820230"/>
                  <a:gd name="connsiteX2002" fmla="*/ 120262 w 2708532"/>
                  <a:gd name="connsiteY2002" fmla="*/ 257275 h 820230"/>
                  <a:gd name="connsiteX2003" fmla="*/ 121761 w 2708532"/>
                  <a:gd name="connsiteY2003" fmla="*/ 254366 h 820230"/>
                  <a:gd name="connsiteX2004" fmla="*/ 123524 w 2708532"/>
                  <a:gd name="connsiteY2004" fmla="*/ 252073 h 820230"/>
                  <a:gd name="connsiteX2005" fmla="*/ 121144 w 2708532"/>
                  <a:gd name="connsiteY2005" fmla="*/ 252073 h 820230"/>
                  <a:gd name="connsiteX2006" fmla="*/ 123788 w 2708532"/>
                  <a:gd name="connsiteY2006" fmla="*/ 250310 h 820230"/>
                  <a:gd name="connsiteX2007" fmla="*/ 122642 w 2708532"/>
                  <a:gd name="connsiteY2007" fmla="*/ 247665 h 820230"/>
                  <a:gd name="connsiteX2008" fmla="*/ 121761 w 2708532"/>
                  <a:gd name="connsiteY2008" fmla="*/ 245637 h 820230"/>
                  <a:gd name="connsiteX2009" fmla="*/ 122642 w 2708532"/>
                  <a:gd name="connsiteY2009" fmla="*/ 244755 h 820230"/>
                  <a:gd name="connsiteX2010" fmla="*/ 121144 w 2708532"/>
                  <a:gd name="connsiteY2010" fmla="*/ 242110 h 820230"/>
                  <a:gd name="connsiteX2011" fmla="*/ 119116 w 2708532"/>
                  <a:gd name="connsiteY2011" fmla="*/ 240964 h 820230"/>
                  <a:gd name="connsiteX2012" fmla="*/ 116206 w 2708532"/>
                  <a:gd name="connsiteY2012" fmla="*/ 240347 h 820230"/>
                  <a:gd name="connsiteX2013" fmla="*/ 113561 w 2708532"/>
                  <a:gd name="connsiteY2013" fmla="*/ 238319 h 820230"/>
                  <a:gd name="connsiteX2014" fmla="*/ 113296 w 2708532"/>
                  <a:gd name="connsiteY2014" fmla="*/ 237437 h 820230"/>
                  <a:gd name="connsiteX2015" fmla="*/ 109241 w 2708532"/>
                  <a:gd name="connsiteY2015" fmla="*/ 237437 h 820230"/>
                  <a:gd name="connsiteX2016" fmla="*/ 106596 w 2708532"/>
                  <a:gd name="connsiteY2016" fmla="*/ 237966 h 820230"/>
                  <a:gd name="connsiteX2017" fmla="*/ 104303 w 2708532"/>
                  <a:gd name="connsiteY2017" fmla="*/ 235674 h 820230"/>
                  <a:gd name="connsiteX2018" fmla="*/ 105450 w 2708532"/>
                  <a:gd name="connsiteY2018" fmla="*/ 234792 h 820230"/>
                  <a:gd name="connsiteX2019" fmla="*/ 101658 w 2708532"/>
                  <a:gd name="connsiteY2019" fmla="*/ 234528 h 820230"/>
                  <a:gd name="connsiteX2020" fmla="*/ 100512 w 2708532"/>
                  <a:gd name="connsiteY2020" fmla="*/ 232500 h 820230"/>
                  <a:gd name="connsiteX2021" fmla="*/ 99013 w 2708532"/>
                  <a:gd name="connsiteY2021" fmla="*/ 230472 h 820230"/>
                  <a:gd name="connsiteX2022" fmla="*/ 97514 w 2708532"/>
                  <a:gd name="connsiteY2022" fmla="*/ 230208 h 820230"/>
                  <a:gd name="connsiteX2023" fmla="*/ 93459 w 2708532"/>
                  <a:gd name="connsiteY2023" fmla="*/ 228180 h 820230"/>
                  <a:gd name="connsiteX2024" fmla="*/ 91431 w 2708532"/>
                  <a:gd name="connsiteY2024" fmla="*/ 228444 h 820230"/>
                  <a:gd name="connsiteX2025" fmla="*/ 89403 w 2708532"/>
                  <a:gd name="connsiteY2025" fmla="*/ 227563 h 820230"/>
                  <a:gd name="connsiteX2026" fmla="*/ 86758 w 2708532"/>
                  <a:gd name="connsiteY2026" fmla="*/ 225799 h 820230"/>
                  <a:gd name="connsiteX2027" fmla="*/ 82966 w 2708532"/>
                  <a:gd name="connsiteY2027" fmla="*/ 223154 h 820230"/>
                  <a:gd name="connsiteX2028" fmla="*/ 80057 w 2708532"/>
                  <a:gd name="connsiteY2028" fmla="*/ 222008 h 820230"/>
                  <a:gd name="connsiteX2029" fmla="*/ 76266 w 2708532"/>
                  <a:gd name="connsiteY2029" fmla="*/ 221743 h 820230"/>
                  <a:gd name="connsiteX2030" fmla="*/ 73621 w 2708532"/>
                  <a:gd name="connsiteY2030" fmla="*/ 218569 h 820230"/>
                  <a:gd name="connsiteX2031" fmla="*/ 78294 w 2708532"/>
                  <a:gd name="connsiteY2031" fmla="*/ 218305 h 820230"/>
                  <a:gd name="connsiteX2032" fmla="*/ 82085 w 2708532"/>
                  <a:gd name="connsiteY2032" fmla="*/ 218834 h 820230"/>
                  <a:gd name="connsiteX2033" fmla="*/ 84465 w 2708532"/>
                  <a:gd name="connsiteY2033" fmla="*/ 220597 h 820230"/>
                  <a:gd name="connsiteX2034" fmla="*/ 84994 w 2708532"/>
                  <a:gd name="connsiteY2034" fmla="*/ 221743 h 820230"/>
                  <a:gd name="connsiteX2035" fmla="*/ 87287 w 2708532"/>
                  <a:gd name="connsiteY2035" fmla="*/ 222625 h 820230"/>
                  <a:gd name="connsiteX2036" fmla="*/ 87904 w 2708532"/>
                  <a:gd name="connsiteY2036" fmla="*/ 223507 h 820230"/>
                  <a:gd name="connsiteX2037" fmla="*/ 90814 w 2708532"/>
                  <a:gd name="connsiteY2037" fmla="*/ 224389 h 820230"/>
                  <a:gd name="connsiteX2038" fmla="*/ 92048 w 2708532"/>
                  <a:gd name="connsiteY2038" fmla="*/ 225006 h 820230"/>
                  <a:gd name="connsiteX2039" fmla="*/ 98484 w 2708532"/>
                  <a:gd name="connsiteY2039" fmla="*/ 226769 h 820230"/>
                  <a:gd name="connsiteX2040" fmla="*/ 99366 w 2708532"/>
                  <a:gd name="connsiteY2040" fmla="*/ 226769 h 820230"/>
                  <a:gd name="connsiteX2041" fmla="*/ 102540 w 2708532"/>
                  <a:gd name="connsiteY2041" fmla="*/ 226152 h 820230"/>
                  <a:gd name="connsiteX2042" fmla="*/ 106331 w 2708532"/>
                  <a:gd name="connsiteY2042" fmla="*/ 227298 h 820230"/>
                  <a:gd name="connsiteX2043" fmla="*/ 109858 w 2708532"/>
                  <a:gd name="connsiteY2043" fmla="*/ 227915 h 820230"/>
                  <a:gd name="connsiteX2044" fmla="*/ 114266 w 2708532"/>
                  <a:gd name="connsiteY2044" fmla="*/ 229061 h 820230"/>
                  <a:gd name="connsiteX2045" fmla="*/ 116294 w 2708532"/>
                  <a:gd name="connsiteY2045" fmla="*/ 231706 h 820230"/>
                  <a:gd name="connsiteX2046" fmla="*/ 118939 w 2708532"/>
                  <a:gd name="connsiteY2046" fmla="*/ 231442 h 820230"/>
                  <a:gd name="connsiteX2047" fmla="*/ 123348 w 2708532"/>
                  <a:gd name="connsiteY2047" fmla="*/ 233734 h 820230"/>
                  <a:gd name="connsiteX2048" fmla="*/ 126522 w 2708532"/>
                  <a:gd name="connsiteY2048" fmla="*/ 231706 h 820230"/>
                  <a:gd name="connsiteX2049" fmla="*/ 127668 w 2708532"/>
                  <a:gd name="connsiteY2049" fmla="*/ 233470 h 820230"/>
                  <a:gd name="connsiteX2050" fmla="*/ 134104 w 2708532"/>
                  <a:gd name="connsiteY2050" fmla="*/ 234616 h 820230"/>
                  <a:gd name="connsiteX2051" fmla="*/ 139042 w 2708532"/>
                  <a:gd name="connsiteY2051" fmla="*/ 233734 h 820230"/>
                  <a:gd name="connsiteX2052" fmla="*/ 141687 w 2708532"/>
                  <a:gd name="connsiteY2052" fmla="*/ 235498 h 820230"/>
                  <a:gd name="connsiteX2053" fmla="*/ 144596 w 2708532"/>
                  <a:gd name="connsiteY2053" fmla="*/ 234616 h 820230"/>
                  <a:gd name="connsiteX2054" fmla="*/ 145743 w 2708532"/>
                  <a:gd name="connsiteY2054" fmla="*/ 236379 h 820230"/>
                  <a:gd name="connsiteX2055" fmla="*/ 152179 w 2708532"/>
                  <a:gd name="connsiteY2055" fmla="*/ 236115 h 820230"/>
                  <a:gd name="connsiteX2056" fmla="*/ 156234 w 2708532"/>
                  <a:gd name="connsiteY2056" fmla="*/ 238143 h 820230"/>
                  <a:gd name="connsiteX2057" fmla="*/ 161437 w 2708532"/>
                  <a:gd name="connsiteY2057" fmla="*/ 237261 h 820230"/>
                  <a:gd name="connsiteX2058" fmla="*/ 167520 w 2708532"/>
                  <a:gd name="connsiteY2058" fmla="*/ 240171 h 820230"/>
                  <a:gd name="connsiteX2059" fmla="*/ 171928 w 2708532"/>
                  <a:gd name="connsiteY2059" fmla="*/ 239642 h 820230"/>
                  <a:gd name="connsiteX2060" fmla="*/ 176602 w 2708532"/>
                  <a:gd name="connsiteY2060" fmla="*/ 241052 h 820230"/>
                  <a:gd name="connsiteX2061" fmla="*/ 178894 w 2708532"/>
                  <a:gd name="connsiteY2061" fmla="*/ 242199 h 820230"/>
                  <a:gd name="connsiteX2062" fmla="*/ 182420 w 2708532"/>
                  <a:gd name="connsiteY2062" fmla="*/ 243697 h 820230"/>
                  <a:gd name="connsiteX2063" fmla="*/ 184713 w 2708532"/>
                  <a:gd name="connsiteY2063" fmla="*/ 243697 h 820230"/>
                  <a:gd name="connsiteX2064" fmla="*/ 187093 w 2708532"/>
                  <a:gd name="connsiteY2064" fmla="*/ 241670 h 820230"/>
                  <a:gd name="connsiteX2065" fmla="*/ 188240 w 2708532"/>
                  <a:gd name="connsiteY2065" fmla="*/ 241405 h 820230"/>
                  <a:gd name="connsiteX2066" fmla="*/ 191149 w 2708532"/>
                  <a:gd name="connsiteY2066" fmla="*/ 239994 h 820230"/>
                  <a:gd name="connsiteX2067" fmla="*/ 195205 w 2708532"/>
                  <a:gd name="connsiteY2067" fmla="*/ 241758 h 820230"/>
                  <a:gd name="connsiteX2068" fmla="*/ 197850 w 2708532"/>
                  <a:gd name="connsiteY2068" fmla="*/ 241493 h 820230"/>
                  <a:gd name="connsiteX2069" fmla="*/ 198467 w 2708532"/>
                  <a:gd name="connsiteY2069" fmla="*/ 239730 h 820230"/>
                  <a:gd name="connsiteX2070" fmla="*/ 200495 w 2708532"/>
                  <a:gd name="connsiteY2070" fmla="*/ 239730 h 820230"/>
                  <a:gd name="connsiteX2071" fmla="*/ 203669 w 2708532"/>
                  <a:gd name="connsiteY2071" fmla="*/ 238231 h 820230"/>
                  <a:gd name="connsiteX2072" fmla="*/ 206579 w 2708532"/>
                  <a:gd name="connsiteY2072" fmla="*/ 238496 h 820230"/>
                  <a:gd name="connsiteX2073" fmla="*/ 208606 w 2708532"/>
                  <a:gd name="connsiteY2073" fmla="*/ 236997 h 820230"/>
                  <a:gd name="connsiteX2074" fmla="*/ 210105 w 2708532"/>
                  <a:gd name="connsiteY2074" fmla="*/ 234704 h 820230"/>
                  <a:gd name="connsiteX2075" fmla="*/ 212133 w 2708532"/>
                  <a:gd name="connsiteY2075" fmla="*/ 234087 h 820230"/>
                  <a:gd name="connsiteX2076" fmla="*/ 214161 w 2708532"/>
                  <a:gd name="connsiteY2076" fmla="*/ 233205 h 820230"/>
                  <a:gd name="connsiteX2077" fmla="*/ 215660 w 2708532"/>
                  <a:gd name="connsiteY2077" fmla="*/ 229767 h 820230"/>
                  <a:gd name="connsiteX2078" fmla="*/ 218305 w 2708532"/>
                  <a:gd name="connsiteY2078" fmla="*/ 228621 h 820230"/>
                  <a:gd name="connsiteX2079" fmla="*/ 221567 w 2708532"/>
                  <a:gd name="connsiteY2079" fmla="*/ 224829 h 820230"/>
                  <a:gd name="connsiteX2080" fmla="*/ 222096 w 2708532"/>
                  <a:gd name="connsiteY2080" fmla="*/ 222537 h 820230"/>
                  <a:gd name="connsiteX2081" fmla="*/ 221567 w 2708532"/>
                  <a:gd name="connsiteY2081" fmla="*/ 218746 h 820230"/>
                  <a:gd name="connsiteX2082" fmla="*/ 220068 w 2708532"/>
                  <a:gd name="connsiteY2082" fmla="*/ 215836 h 820230"/>
                  <a:gd name="connsiteX2083" fmla="*/ 217776 w 2708532"/>
                  <a:gd name="connsiteY2083" fmla="*/ 212574 h 820230"/>
                  <a:gd name="connsiteX2084" fmla="*/ 216277 w 2708532"/>
                  <a:gd name="connsiteY2084" fmla="*/ 211428 h 820230"/>
                  <a:gd name="connsiteX2085" fmla="*/ 212486 w 2708532"/>
                  <a:gd name="connsiteY2085" fmla="*/ 209400 h 820230"/>
                  <a:gd name="connsiteX2086" fmla="*/ 213368 w 2708532"/>
                  <a:gd name="connsiteY2086" fmla="*/ 204727 h 820230"/>
                  <a:gd name="connsiteX2087" fmla="*/ 210987 w 2708532"/>
                  <a:gd name="connsiteY2087" fmla="*/ 202964 h 820230"/>
                  <a:gd name="connsiteX2088" fmla="*/ 208959 w 2708532"/>
                  <a:gd name="connsiteY2088" fmla="*/ 202964 h 820230"/>
                  <a:gd name="connsiteX2089" fmla="*/ 205168 w 2708532"/>
                  <a:gd name="connsiteY2089" fmla="*/ 200936 h 820230"/>
                  <a:gd name="connsiteX2090" fmla="*/ 202258 w 2708532"/>
                  <a:gd name="connsiteY2090" fmla="*/ 200936 h 820230"/>
                  <a:gd name="connsiteX2091" fmla="*/ 199084 w 2708532"/>
                  <a:gd name="connsiteY2091" fmla="*/ 199437 h 820230"/>
                  <a:gd name="connsiteX2092" fmla="*/ 194411 w 2708532"/>
                  <a:gd name="connsiteY2092" fmla="*/ 196792 h 820230"/>
                  <a:gd name="connsiteX2093" fmla="*/ 188328 w 2708532"/>
                  <a:gd name="connsiteY2093" fmla="*/ 194499 h 820230"/>
                  <a:gd name="connsiteX2094" fmla="*/ 186300 w 2708532"/>
                  <a:gd name="connsiteY2094" fmla="*/ 195998 h 820230"/>
                  <a:gd name="connsiteX2095" fmla="*/ 181362 w 2708532"/>
                  <a:gd name="connsiteY2095" fmla="*/ 194499 h 820230"/>
                  <a:gd name="connsiteX2096" fmla="*/ 178982 w 2708532"/>
                  <a:gd name="connsiteY2096" fmla="*/ 192472 h 820230"/>
                  <a:gd name="connsiteX2097" fmla="*/ 176072 w 2708532"/>
                  <a:gd name="connsiteY2097" fmla="*/ 192472 h 820230"/>
                  <a:gd name="connsiteX2098" fmla="*/ 170782 w 2708532"/>
                  <a:gd name="connsiteY2098" fmla="*/ 192207 h 820230"/>
                  <a:gd name="connsiteX2099" fmla="*/ 170165 w 2708532"/>
                  <a:gd name="connsiteY2099" fmla="*/ 189562 h 820230"/>
                  <a:gd name="connsiteX2100" fmla="*/ 166374 w 2708532"/>
                  <a:gd name="connsiteY2100" fmla="*/ 188416 h 820230"/>
                  <a:gd name="connsiteX2101" fmla="*/ 163993 w 2708532"/>
                  <a:gd name="connsiteY2101" fmla="*/ 186652 h 820230"/>
                  <a:gd name="connsiteX2102" fmla="*/ 159320 w 2708532"/>
                  <a:gd name="connsiteY2102" fmla="*/ 186652 h 820230"/>
                  <a:gd name="connsiteX2103" fmla="*/ 153501 w 2708532"/>
                  <a:gd name="connsiteY2103" fmla="*/ 188151 h 820230"/>
                  <a:gd name="connsiteX2104" fmla="*/ 153766 w 2708532"/>
                  <a:gd name="connsiteY2104" fmla="*/ 185242 h 820230"/>
                  <a:gd name="connsiteX2105" fmla="*/ 152884 w 2708532"/>
                  <a:gd name="connsiteY2105" fmla="*/ 182949 h 820230"/>
                  <a:gd name="connsiteX2106" fmla="*/ 151121 w 2708532"/>
                  <a:gd name="connsiteY2106" fmla="*/ 181010 h 820230"/>
                  <a:gd name="connsiteX2107" fmla="*/ 148740 w 2708532"/>
                  <a:gd name="connsiteY2107" fmla="*/ 181627 h 820230"/>
                  <a:gd name="connsiteX2108" fmla="*/ 146712 w 2708532"/>
                  <a:gd name="connsiteY2108" fmla="*/ 182773 h 820230"/>
                  <a:gd name="connsiteX2109" fmla="*/ 146448 w 2708532"/>
                  <a:gd name="connsiteY2109" fmla="*/ 184272 h 820230"/>
                  <a:gd name="connsiteX2110" fmla="*/ 145302 w 2708532"/>
                  <a:gd name="connsiteY2110" fmla="*/ 181362 h 820230"/>
                  <a:gd name="connsiteX2111" fmla="*/ 141775 w 2708532"/>
                  <a:gd name="connsiteY2111" fmla="*/ 182244 h 820230"/>
                  <a:gd name="connsiteX2112" fmla="*/ 142657 w 2708532"/>
                  <a:gd name="connsiteY2112" fmla="*/ 180216 h 820230"/>
                  <a:gd name="connsiteX2113" fmla="*/ 139747 w 2708532"/>
                  <a:gd name="connsiteY2113" fmla="*/ 177924 h 820230"/>
                  <a:gd name="connsiteX2114" fmla="*/ 136220 w 2708532"/>
                  <a:gd name="connsiteY2114" fmla="*/ 178805 h 820230"/>
                  <a:gd name="connsiteX2115" fmla="*/ 134192 w 2708532"/>
                  <a:gd name="connsiteY2115" fmla="*/ 175631 h 820230"/>
                  <a:gd name="connsiteX2116" fmla="*/ 132165 w 2708532"/>
                  <a:gd name="connsiteY2116" fmla="*/ 178012 h 820230"/>
                  <a:gd name="connsiteX2117" fmla="*/ 131283 w 2708532"/>
                  <a:gd name="connsiteY2117" fmla="*/ 178276 h 820230"/>
                  <a:gd name="connsiteX2118" fmla="*/ 129519 w 2708532"/>
                  <a:gd name="connsiteY2118" fmla="*/ 178894 h 820230"/>
                  <a:gd name="connsiteX2119" fmla="*/ 125728 w 2708532"/>
                  <a:gd name="connsiteY2119" fmla="*/ 176866 h 820230"/>
                  <a:gd name="connsiteX2120" fmla="*/ 124846 w 2708532"/>
                  <a:gd name="connsiteY2120" fmla="*/ 174221 h 820230"/>
                  <a:gd name="connsiteX2121" fmla="*/ 124229 w 2708532"/>
                  <a:gd name="connsiteY2121" fmla="*/ 172457 h 820230"/>
                  <a:gd name="connsiteX2122" fmla="*/ 120438 w 2708532"/>
                  <a:gd name="connsiteY2122" fmla="*/ 170694 h 820230"/>
                  <a:gd name="connsiteX2123" fmla="*/ 116647 w 2708532"/>
                  <a:gd name="connsiteY2123" fmla="*/ 170694 h 820230"/>
                  <a:gd name="connsiteX2124" fmla="*/ 114884 w 2708532"/>
                  <a:gd name="connsiteY2124" fmla="*/ 169548 h 820230"/>
                  <a:gd name="connsiteX2125" fmla="*/ 111974 w 2708532"/>
                  <a:gd name="connsiteY2125" fmla="*/ 169283 h 820230"/>
                  <a:gd name="connsiteX2126" fmla="*/ 110828 w 2708532"/>
                  <a:gd name="connsiteY2126" fmla="*/ 169019 h 820230"/>
                  <a:gd name="connsiteX2127" fmla="*/ 108183 w 2708532"/>
                  <a:gd name="connsiteY2127" fmla="*/ 167608 h 820230"/>
                  <a:gd name="connsiteX2128" fmla="*/ 105538 w 2708532"/>
                  <a:gd name="connsiteY2128" fmla="*/ 169636 h 820230"/>
                  <a:gd name="connsiteX2129" fmla="*/ 103245 w 2708532"/>
                  <a:gd name="connsiteY2129" fmla="*/ 169636 h 820230"/>
                  <a:gd name="connsiteX2130" fmla="*/ 98837 w 2708532"/>
                  <a:gd name="connsiteY2130" fmla="*/ 167873 h 820230"/>
                  <a:gd name="connsiteX2131" fmla="*/ 95046 w 2708532"/>
                  <a:gd name="connsiteY2131" fmla="*/ 169019 h 820230"/>
                  <a:gd name="connsiteX2132" fmla="*/ 91783 w 2708532"/>
                  <a:gd name="connsiteY2132" fmla="*/ 167255 h 820230"/>
                  <a:gd name="connsiteX2133" fmla="*/ 89403 w 2708532"/>
                  <a:gd name="connsiteY2133" fmla="*/ 166374 h 820230"/>
                  <a:gd name="connsiteX2134" fmla="*/ 85612 w 2708532"/>
                  <a:gd name="connsiteY2134" fmla="*/ 167520 h 820230"/>
                  <a:gd name="connsiteX2135" fmla="*/ 82702 w 2708532"/>
                  <a:gd name="connsiteY2135" fmla="*/ 169548 h 820230"/>
                  <a:gd name="connsiteX2136" fmla="*/ 80057 w 2708532"/>
                  <a:gd name="connsiteY2136" fmla="*/ 171840 h 820230"/>
                  <a:gd name="connsiteX2137" fmla="*/ 78029 w 2708532"/>
                  <a:gd name="connsiteY2137" fmla="*/ 172457 h 820230"/>
                  <a:gd name="connsiteX2138" fmla="*/ 77412 w 2708532"/>
                  <a:gd name="connsiteY2138" fmla="*/ 170430 h 820230"/>
                  <a:gd name="connsiteX2139" fmla="*/ 80322 w 2708532"/>
                  <a:gd name="connsiteY2139" fmla="*/ 167784 h 820230"/>
                  <a:gd name="connsiteX2140" fmla="*/ 78294 w 2708532"/>
                  <a:gd name="connsiteY2140" fmla="*/ 167167 h 820230"/>
                  <a:gd name="connsiteX2141" fmla="*/ 76530 w 2708532"/>
                  <a:gd name="connsiteY2141" fmla="*/ 165757 h 820230"/>
                  <a:gd name="connsiteX2142" fmla="*/ 72122 w 2708532"/>
                  <a:gd name="connsiteY2142" fmla="*/ 165492 h 820230"/>
                  <a:gd name="connsiteX2143" fmla="*/ 67802 w 2708532"/>
                  <a:gd name="connsiteY2143" fmla="*/ 162583 h 820230"/>
                  <a:gd name="connsiteX2144" fmla="*/ 71857 w 2708532"/>
                  <a:gd name="connsiteY2144" fmla="*/ 162318 h 820230"/>
                  <a:gd name="connsiteX2145" fmla="*/ 75384 w 2708532"/>
                  <a:gd name="connsiteY2145" fmla="*/ 160026 h 820230"/>
                  <a:gd name="connsiteX2146" fmla="*/ 73621 w 2708532"/>
                  <a:gd name="connsiteY2146" fmla="*/ 158262 h 820230"/>
                  <a:gd name="connsiteX2147" fmla="*/ 70711 w 2708532"/>
                  <a:gd name="connsiteY2147" fmla="*/ 159408 h 820230"/>
                  <a:gd name="connsiteX2148" fmla="*/ 67273 w 2708532"/>
                  <a:gd name="connsiteY2148" fmla="*/ 157381 h 820230"/>
                  <a:gd name="connsiteX2149" fmla="*/ 63746 w 2708532"/>
                  <a:gd name="connsiteY2149" fmla="*/ 159144 h 820230"/>
                  <a:gd name="connsiteX2150" fmla="*/ 59955 w 2708532"/>
                  <a:gd name="connsiteY2150" fmla="*/ 157645 h 820230"/>
                  <a:gd name="connsiteX2151" fmla="*/ 55899 w 2708532"/>
                  <a:gd name="connsiteY2151" fmla="*/ 156499 h 820230"/>
                  <a:gd name="connsiteX2152" fmla="*/ 51843 w 2708532"/>
                  <a:gd name="connsiteY2152" fmla="*/ 157381 h 820230"/>
                  <a:gd name="connsiteX2153" fmla="*/ 51579 w 2708532"/>
                  <a:gd name="connsiteY2153" fmla="*/ 160290 h 820230"/>
                  <a:gd name="connsiteX2154" fmla="*/ 48052 w 2708532"/>
                  <a:gd name="connsiteY2154" fmla="*/ 161436 h 820230"/>
                  <a:gd name="connsiteX2155" fmla="*/ 41351 w 2708532"/>
                  <a:gd name="connsiteY2155" fmla="*/ 160290 h 820230"/>
                  <a:gd name="connsiteX2156" fmla="*/ 37295 w 2708532"/>
                  <a:gd name="connsiteY2156" fmla="*/ 159408 h 820230"/>
                  <a:gd name="connsiteX2157" fmla="*/ 35797 w 2708532"/>
                  <a:gd name="connsiteY2157" fmla="*/ 164081 h 820230"/>
                  <a:gd name="connsiteX2158" fmla="*/ 22659 w 2708532"/>
                  <a:gd name="connsiteY2158" fmla="*/ 162053 h 820230"/>
                  <a:gd name="connsiteX2159" fmla="*/ 18604 w 2708532"/>
                  <a:gd name="connsiteY2159" fmla="*/ 168225 h 820230"/>
                  <a:gd name="connsiteX2160" fmla="*/ 7230 w 2708532"/>
                  <a:gd name="connsiteY2160" fmla="*/ 169371 h 820230"/>
                  <a:gd name="connsiteX2161" fmla="*/ 4320 w 2708532"/>
                  <a:gd name="connsiteY2161" fmla="*/ 171399 h 820230"/>
                  <a:gd name="connsiteX2162" fmla="*/ 4320 w 2708532"/>
                  <a:gd name="connsiteY2162" fmla="*/ 174309 h 820230"/>
                  <a:gd name="connsiteX2163" fmla="*/ 7583 w 2708532"/>
                  <a:gd name="connsiteY2163" fmla="*/ 175455 h 820230"/>
                  <a:gd name="connsiteX2164" fmla="*/ 0 w 2708532"/>
                  <a:gd name="connsiteY2164" fmla="*/ 178365 h 820230"/>
                  <a:gd name="connsiteX2165" fmla="*/ 0 w 2708532"/>
                  <a:gd name="connsiteY2165" fmla="*/ 179511 h 820230"/>
                  <a:gd name="connsiteX2166" fmla="*/ 4673 w 2708532"/>
                  <a:gd name="connsiteY2166" fmla="*/ 178894 h 820230"/>
                  <a:gd name="connsiteX2167" fmla="*/ 6172 w 2708532"/>
                  <a:gd name="connsiteY2167" fmla="*/ 179775 h 820230"/>
                  <a:gd name="connsiteX2168" fmla="*/ 6436 w 2708532"/>
                  <a:gd name="connsiteY2168" fmla="*/ 182420 h 820230"/>
                  <a:gd name="connsiteX2169" fmla="*/ 2381 w 2708532"/>
                  <a:gd name="connsiteY2169" fmla="*/ 186476 h 820230"/>
                  <a:gd name="connsiteX2170" fmla="*/ 9082 w 2708532"/>
                  <a:gd name="connsiteY2170" fmla="*/ 191414 h 820230"/>
                  <a:gd name="connsiteX2171" fmla="*/ 7935 w 2708532"/>
                  <a:gd name="connsiteY2171" fmla="*/ 194059 h 820230"/>
                  <a:gd name="connsiteX2172" fmla="*/ 19309 w 2708532"/>
                  <a:gd name="connsiteY2172" fmla="*/ 196086 h 820230"/>
                  <a:gd name="connsiteX2173" fmla="*/ 26010 w 2708532"/>
                  <a:gd name="connsiteY2173" fmla="*/ 201641 h 820230"/>
                  <a:gd name="connsiteX2174" fmla="*/ 32093 w 2708532"/>
                  <a:gd name="connsiteY2174" fmla="*/ 204551 h 820230"/>
                  <a:gd name="connsiteX2175" fmla="*/ 32093 w 2708532"/>
                  <a:gd name="connsiteY2175" fmla="*/ 207196 h 820230"/>
                  <a:gd name="connsiteX2176" fmla="*/ 31564 w 2708532"/>
                  <a:gd name="connsiteY2176" fmla="*/ 208606 h 820230"/>
                  <a:gd name="connsiteX2177" fmla="*/ 26274 w 2708532"/>
                  <a:gd name="connsiteY2177" fmla="*/ 213015 h 820230"/>
                  <a:gd name="connsiteX2178" fmla="*/ 20720 w 2708532"/>
                  <a:gd name="connsiteY2178" fmla="*/ 219980 h 820230"/>
                  <a:gd name="connsiteX2179" fmla="*/ 20984 w 2708532"/>
                  <a:gd name="connsiteY2179" fmla="*/ 222008 h 820230"/>
                  <a:gd name="connsiteX2180" fmla="*/ 27421 w 2708532"/>
                  <a:gd name="connsiteY2180" fmla="*/ 227298 h 820230"/>
                  <a:gd name="connsiteX2181" fmla="*/ 30947 w 2708532"/>
                  <a:gd name="connsiteY2181" fmla="*/ 230208 h 820230"/>
                  <a:gd name="connsiteX2182" fmla="*/ 32975 w 2708532"/>
                  <a:gd name="connsiteY2182" fmla="*/ 233382 h 820230"/>
                  <a:gd name="connsiteX2183" fmla="*/ 38530 w 2708532"/>
                  <a:gd name="connsiteY2183" fmla="*/ 238055 h 820230"/>
                  <a:gd name="connsiteX2184" fmla="*/ 43467 w 2708532"/>
                  <a:gd name="connsiteY2184" fmla="*/ 244491 h 820230"/>
                  <a:gd name="connsiteX2185" fmla="*/ 44878 w 2708532"/>
                  <a:gd name="connsiteY2185" fmla="*/ 248282 h 820230"/>
                  <a:gd name="connsiteX2186" fmla="*/ 43114 w 2708532"/>
                  <a:gd name="connsiteY2186" fmla="*/ 247400 h 820230"/>
                  <a:gd name="connsiteX2187" fmla="*/ 39323 w 2708532"/>
                  <a:gd name="connsiteY2187" fmla="*/ 248282 h 820230"/>
                  <a:gd name="connsiteX2188" fmla="*/ 40470 w 2708532"/>
                  <a:gd name="connsiteY2188" fmla="*/ 249428 h 820230"/>
                  <a:gd name="connsiteX2189" fmla="*/ 40205 w 2708532"/>
                  <a:gd name="connsiteY2189" fmla="*/ 250839 h 820230"/>
                  <a:gd name="connsiteX2190" fmla="*/ 38706 w 2708532"/>
                  <a:gd name="connsiteY2190" fmla="*/ 251456 h 820230"/>
                  <a:gd name="connsiteX2191" fmla="*/ 39852 w 2708532"/>
                  <a:gd name="connsiteY2191" fmla="*/ 254895 h 820230"/>
                  <a:gd name="connsiteX2192" fmla="*/ 38089 w 2708532"/>
                  <a:gd name="connsiteY2192" fmla="*/ 256658 h 820230"/>
                  <a:gd name="connsiteX2193" fmla="*/ 38353 w 2708532"/>
                  <a:gd name="connsiteY2193" fmla="*/ 257540 h 820230"/>
                  <a:gd name="connsiteX2194" fmla="*/ 42762 w 2708532"/>
                  <a:gd name="connsiteY2194" fmla="*/ 257804 h 820230"/>
                  <a:gd name="connsiteX2195" fmla="*/ 43643 w 2708532"/>
                  <a:gd name="connsiteY2195" fmla="*/ 259832 h 820230"/>
                  <a:gd name="connsiteX2196" fmla="*/ 39235 w 2708532"/>
                  <a:gd name="connsiteY2196" fmla="*/ 260978 h 820230"/>
                  <a:gd name="connsiteX2197" fmla="*/ 40381 w 2708532"/>
                  <a:gd name="connsiteY2197" fmla="*/ 264241 h 820230"/>
                  <a:gd name="connsiteX2198" fmla="*/ 43820 w 2708532"/>
                  <a:gd name="connsiteY2198" fmla="*/ 267150 h 820230"/>
                  <a:gd name="connsiteX2199" fmla="*/ 49110 w 2708532"/>
                  <a:gd name="connsiteY2199" fmla="*/ 267150 h 820230"/>
                  <a:gd name="connsiteX2200" fmla="*/ 51755 w 2708532"/>
                  <a:gd name="connsiteY2200" fmla="*/ 270677 h 820230"/>
                  <a:gd name="connsiteX2201" fmla="*/ 47964 w 2708532"/>
                  <a:gd name="connsiteY2201" fmla="*/ 271823 h 820230"/>
                  <a:gd name="connsiteX2202" fmla="*/ 48845 w 2708532"/>
                  <a:gd name="connsiteY2202" fmla="*/ 273322 h 820230"/>
                  <a:gd name="connsiteX2203" fmla="*/ 50609 w 2708532"/>
                  <a:gd name="connsiteY2203" fmla="*/ 273939 h 820230"/>
                  <a:gd name="connsiteX2204" fmla="*/ 50344 w 2708532"/>
                  <a:gd name="connsiteY2204" fmla="*/ 275967 h 820230"/>
                  <a:gd name="connsiteX2205" fmla="*/ 55017 w 2708532"/>
                  <a:gd name="connsiteY2205" fmla="*/ 277466 h 820230"/>
                  <a:gd name="connsiteX2206" fmla="*/ 59690 w 2708532"/>
                  <a:gd name="connsiteY2206" fmla="*/ 279494 h 820230"/>
                  <a:gd name="connsiteX2207" fmla="*/ 61189 w 2708532"/>
                  <a:gd name="connsiteY2207" fmla="*/ 283550 h 820230"/>
                  <a:gd name="connsiteX2208" fmla="*/ 56780 w 2708532"/>
                  <a:gd name="connsiteY2208" fmla="*/ 288487 h 820230"/>
                  <a:gd name="connsiteX2209" fmla="*/ 52372 w 2708532"/>
                  <a:gd name="connsiteY2209" fmla="*/ 290250 h 820230"/>
                  <a:gd name="connsiteX2210" fmla="*/ 57662 w 2708532"/>
                  <a:gd name="connsiteY2210" fmla="*/ 293777 h 820230"/>
                  <a:gd name="connsiteX2211" fmla="*/ 66656 w 2708532"/>
                  <a:gd name="connsiteY2211" fmla="*/ 297568 h 820230"/>
                  <a:gd name="connsiteX2212" fmla="*/ 71593 w 2708532"/>
                  <a:gd name="connsiteY2212" fmla="*/ 297833 h 820230"/>
                  <a:gd name="connsiteX2213" fmla="*/ 76530 w 2708532"/>
                  <a:gd name="connsiteY2213" fmla="*/ 301889 h 820230"/>
                  <a:gd name="connsiteX2214" fmla="*/ 84113 w 2708532"/>
                  <a:gd name="connsiteY2214" fmla="*/ 308854 h 820230"/>
                  <a:gd name="connsiteX2215" fmla="*/ 82350 w 2708532"/>
                  <a:gd name="connsiteY2215" fmla="*/ 311146 h 820230"/>
                  <a:gd name="connsiteX2216" fmla="*/ 80851 w 2708532"/>
                  <a:gd name="connsiteY2216" fmla="*/ 315555 h 820230"/>
                  <a:gd name="connsiteX2217" fmla="*/ 80851 w 2708532"/>
                  <a:gd name="connsiteY2217" fmla="*/ 317847 h 820230"/>
                  <a:gd name="connsiteX2218" fmla="*/ 75913 w 2708532"/>
                  <a:gd name="connsiteY2218" fmla="*/ 321903 h 820230"/>
                  <a:gd name="connsiteX2219" fmla="*/ 72739 w 2708532"/>
                  <a:gd name="connsiteY2219" fmla="*/ 324548 h 820230"/>
                  <a:gd name="connsiteX2220" fmla="*/ 66920 w 2708532"/>
                  <a:gd name="connsiteY2220" fmla="*/ 329838 h 820230"/>
                  <a:gd name="connsiteX2221" fmla="*/ 59955 w 2708532"/>
                  <a:gd name="connsiteY2221" fmla="*/ 338302 h 820230"/>
                  <a:gd name="connsiteX2222" fmla="*/ 53518 w 2708532"/>
                  <a:gd name="connsiteY2222" fmla="*/ 343857 h 820230"/>
                  <a:gd name="connsiteX2223" fmla="*/ 51755 w 2708532"/>
                  <a:gd name="connsiteY2223" fmla="*/ 346237 h 820230"/>
                  <a:gd name="connsiteX2224" fmla="*/ 45583 w 2708532"/>
                  <a:gd name="connsiteY2224" fmla="*/ 349147 h 820230"/>
                  <a:gd name="connsiteX2225" fmla="*/ 42938 w 2708532"/>
                  <a:gd name="connsiteY2225" fmla="*/ 352938 h 820230"/>
                  <a:gd name="connsiteX2226" fmla="*/ 41175 w 2708532"/>
                  <a:gd name="connsiteY2226" fmla="*/ 352938 h 820230"/>
                  <a:gd name="connsiteX2227" fmla="*/ 38265 w 2708532"/>
                  <a:gd name="connsiteY2227" fmla="*/ 355583 h 820230"/>
                  <a:gd name="connsiteX2228" fmla="*/ 35356 w 2708532"/>
                  <a:gd name="connsiteY2228" fmla="*/ 357964 h 820230"/>
                  <a:gd name="connsiteX2229" fmla="*/ 30065 w 2708532"/>
                  <a:gd name="connsiteY2229" fmla="*/ 362019 h 820230"/>
                  <a:gd name="connsiteX2230" fmla="*/ 30065 w 2708532"/>
                  <a:gd name="connsiteY2230" fmla="*/ 362284 h 820230"/>
                  <a:gd name="connsiteX2231" fmla="*/ 35885 w 2708532"/>
                  <a:gd name="connsiteY2231" fmla="*/ 361402 h 820230"/>
                  <a:gd name="connsiteX2232" fmla="*/ 37648 w 2708532"/>
                  <a:gd name="connsiteY2232" fmla="*/ 360873 h 820230"/>
                  <a:gd name="connsiteX2233" fmla="*/ 37648 w 2708532"/>
                  <a:gd name="connsiteY2233" fmla="*/ 362019 h 820230"/>
                  <a:gd name="connsiteX2234" fmla="*/ 40029 w 2708532"/>
                  <a:gd name="connsiteY2234" fmla="*/ 362548 h 820230"/>
                  <a:gd name="connsiteX2235" fmla="*/ 41175 w 2708532"/>
                  <a:gd name="connsiteY2235" fmla="*/ 362548 h 820230"/>
                  <a:gd name="connsiteX2236" fmla="*/ 42674 w 2708532"/>
                  <a:gd name="connsiteY2236" fmla="*/ 363695 h 820230"/>
                  <a:gd name="connsiteX2237" fmla="*/ 43291 w 2708532"/>
                  <a:gd name="connsiteY2237" fmla="*/ 366604 h 820230"/>
                  <a:gd name="connsiteX2238" fmla="*/ 44701 w 2708532"/>
                  <a:gd name="connsiteY2238" fmla="*/ 366869 h 820230"/>
                  <a:gd name="connsiteX2239" fmla="*/ 47082 w 2708532"/>
                  <a:gd name="connsiteY2239" fmla="*/ 366869 h 820230"/>
                  <a:gd name="connsiteX2240" fmla="*/ 47699 w 2708532"/>
                  <a:gd name="connsiteY2240" fmla="*/ 368279 h 820230"/>
                  <a:gd name="connsiteX2241" fmla="*/ 48581 w 2708532"/>
                  <a:gd name="connsiteY2241" fmla="*/ 369161 h 820230"/>
                  <a:gd name="connsiteX2242" fmla="*/ 49727 w 2708532"/>
                  <a:gd name="connsiteY2242" fmla="*/ 368279 h 820230"/>
                  <a:gd name="connsiteX2243" fmla="*/ 50256 w 2708532"/>
                  <a:gd name="connsiteY2243" fmla="*/ 367662 h 820230"/>
                  <a:gd name="connsiteX2244" fmla="*/ 50256 w 2708532"/>
                  <a:gd name="connsiteY2244" fmla="*/ 369690 h 820230"/>
                  <a:gd name="connsiteX2245" fmla="*/ 51402 w 2708532"/>
                  <a:gd name="connsiteY2245" fmla="*/ 369690 h 820230"/>
                  <a:gd name="connsiteX2246" fmla="*/ 50785 w 2708532"/>
                  <a:gd name="connsiteY2246" fmla="*/ 371101 h 820230"/>
                  <a:gd name="connsiteX2247" fmla="*/ 52549 w 2708532"/>
                  <a:gd name="connsiteY2247" fmla="*/ 370484 h 820230"/>
                  <a:gd name="connsiteX2248" fmla="*/ 53430 w 2708532"/>
                  <a:gd name="connsiteY2248" fmla="*/ 369602 h 820230"/>
                  <a:gd name="connsiteX2249" fmla="*/ 54047 w 2708532"/>
                  <a:gd name="connsiteY2249" fmla="*/ 367839 h 820230"/>
                  <a:gd name="connsiteX2250" fmla="*/ 55811 w 2708532"/>
                  <a:gd name="connsiteY2250" fmla="*/ 368456 h 820230"/>
                  <a:gd name="connsiteX2251" fmla="*/ 56692 w 2708532"/>
                  <a:gd name="connsiteY2251" fmla="*/ 370219 h 820230"/>
                  <a:gd name="connsiteX2252" fmla="*/ 59955 w 2708532"/>
                  <a:gd name="connsiteY2252" fmla="*/ 370484 h 820230"/>
                  <a:gd name="connsiteX2253" fmla="*/ 61101 w 2708532"/>
                  <a:gd name="connsiteY2253" fmla="*/ 370219 h 820230"/>
                  <a:gd name="connsiteX2254" fmla="*/ 61365 w 2708532"/>
                  <a:gd name="connsiteY2254" fmla="*/ 369337 h 820230"/>
                  <a:gd name="connsiteX2255" fmla="*/ 62512 w 2708532"/>
                  <a:gd name="connsiteY2255" fmla="*/ 369337 h 820230"/>
                  <a:gd name="connsiteX2256" fmla="*/ 62776 w 2708532"/>
                  <a:gd name="connsiteY2256" fmla="*/ 370219 h 820230"/>
                  <a:gd name="connsiteX2257" fmla="*/ 62776 w 2708532"/>
                  <a:gd name="connsiteY2257" fmla="*/ 370836 h 820230"/>
                  <a:gd name="connsiteX2258" fmla="*/ 62776 w 2708532"/>
                  <a:gd name="connsiteY2258" fmla="*/ 371718 h 820230"/>
                  <a:gd name="connsiteX2259" fmla="*/ 64539 w 2708532"/>
                  <a:gd name="connsiteY2259" fmla="*/ 371982 h 820230"/>
                  <a:gd name="connsiteX2260" fmla="*/ 66567 w 2708532"/>
                  <a:gd name="connsiteY2260" fmla="*/ 371101 h 820230"/>
                  <a:gd name="connsiteX2261" fmla="*/ 68330 w 2708532"/>
                  <a:gd name="connsiteY2261" fmla="*/ 372600 h 820230"/>
                  <a:gd name="connsiteX2262" fmla="*/ 68948 w 2708532"/>
                  <a:gd name="connsiteY2262" fmla="*/ 374627 h 820230"/>
                  <a:gd name="connsiteX2263" fmla="*/ 66303 w 2708532"/>
                  <a:gd name="connsiteY2263" fmla="*/ 375774 h 820230"/>
                  <a:gd name="connsiteX2264" fmla="*/ 62512 w 2708532"/>
                  <a:gd name="connsiteY2264" fmla="*/ 376655 h 820230"/>
                  <a:gd name="connsiteX2265" fmla="*/ 58103 w 2708532"/>
                  <a:gd name="connsiteY2265" fmla="*/ 377273 h 820230"/>
                  <a:gd name="connsiteX2266" fmla="*/ 51667 w 2708532"/>
                  <a:gd name="connsiteY2266" fmla="*/ 377008 h 820230"/>
                  <a:gd name="connsiteX2267" fmla="*/ 49286 w 2708532"/>
                  <a:gd name="connsiteY2267" fmla="*/ 378507 h 820230"/>
                  <a:gd name="connsiteX2268" fmla="*/ 44878 w 2708532"/>
                  <a:gd name="connsiteY2268" fmla="*/ 378507 h 820230"/>
                  <a:gd name="connsiteX2269" fmla="*/ 43732 w 2708532"/>
                  <a:gd name="connsiteY2269" fmla="*/ 381152 h 820230"/>
                  <a:gd name="connsiteX2270" fmla="*/ 41086 w 2708532"/>
                  <a:gd name="connsiteY2270" fmla="*/ 380006 h 820230"/>
                  <a:gd name="connsiteX2271" fmla="*/ 39588 w 2708532"/>
                  <a:gd name="connsiteY2271" fmla="*/ 380623 h 820230"/>
                  <a:gd name="connsiteX2272" fmla="*/ 37560 w 2708532"/>
                  <a:gd name="connsiteY2272" fmla="*/ 380887 h 820230"/>
                  <a:gd name="connsiteX2273" fmla="*/ 29977 w 2708532"/>
                  <a:gd name="connsiteY2273" fmla="*/ 403899 h 820230"/>
                  <a:gd name="connsiteX2274" fmla="*/ 32622 w 2708532"/>
                  <a:gd name="connsiteY2274" fmla="*/ 412893 h 820230"/>
                  <a:gd name="connsiteX2275" fmla="*/ 33769 w 2708532"/>
                  <a:gd name="connsiteY2275" fmla="*/ 423120 h 820230"/>
                  <a:gd name="connsiteX2276" fmla="*/ 29977 w 2708532"/>
                  <a:gd name="connsiteY2276" fmla="*/ 426647 h 820230"/>
                  <a:gd name="connsiteX2277" fmla="*/ 39852 w 2708532"/>
                  <a:gd name="connsiteY2277" fmla="*/ 436874 h 820230"/>
                  <a:gd name="connsiteX2278" fmla="*/ 38706 w 2708532"/>
                  <a:gd name="connsiteY2278" fmla="*/ 440048 h 820230"/>
                  <a:gd name="connsiteX2279" fmla="*/ 55370 w 2708532"/>
                  <a:gd name="connsiteY2279" fmla="*/ 465176 h 820230"/>
                  <a:gd name="connsiteX2280" fmla="*/ 75472 w 2708532"/>
                  <a:gd name="connsiteY2280" fmla="*/ 469849 h 820230"/>
                  <a:gd name="connsiteX2281" fmla="*/ 78646 w 2708532"/>
                  <a:gd name="connsiteY2281" fmla="*/ 472230 h 820230"/>
                  <a:gd name="connsiteX2282" fmla="*/ 82437 w 2708532"/>
                  <a:gd name="connsiteY2282" fmla="*/ 468703 h 820230"/>
                  <a:gd name="connsiteX2283" fmla="*/ 105185 w 2708532"/>
                  <a:gd name="connsiteY2283" fmla="*/ 476550 h 820230"/>
                  <a:gd name="connsiteX2284" fmla="*/ 103422 w 2708532"/>
                  <a:gd name="connsiteY2284" fmla="*/ 481223 h 820230"/>
                  <a:gd name="connsiteX2285" fmla="*/ 109241 w 2708532"/>
                  <a:gd name="connsiteY2285" fmla="*/ 487042 h 820230"/>
                  <a:gd name="connsiteX2286" fmla="*/ 108976 w 2708532"/>
                  <a:gd name="connsiteY2286" fmla="*/ 491980 h 820230"/>
                  <a:gd name="connsiteX2287" fmla="*/ 111886 w 2708532"/>
                  <a:gd name="connsiteY2287" fmla="*/ 496035 h 820230"/>
                  <a:gd name="connsiteX2288" fmla="*/ 116823 w 2708532"/>
                  <a:gd name="connsiteY2288" fmla="*/ 506527 h 820230"/>
                  <a:gd name="connsiteX2289" fmla="*/ 136044 w 2708532"/>
                  <a:gd name="connsiteY2289" fmla="*/ 518783 h 820230"/>
                  <a:gd name="connsiteX2290" fmla="*/ 138689 w 2708532"/>
                  <a:gd name="connsiteY2290" fmla="*/ 531920 h 820230"/>
                  <a:gd name="connsiteX2291" fmla="*/ 128726 w 2708532"/>
                  <a:gd name="connsiteY2291" fmla="*/ 535447 h 820230"/>
                  <a:gd name="connsiteX2292" fmla="*/ 126081 w 2708532"/>
                  <a:gd name="connsiteY2292" fmla="*/ 540649 h 820230"/>
                  <a:gd name="connsiteX2293" fmla="*/ 133046 w 2708532"/>
                  <a:gd name="connsiteY2293" fmla="*/ 551758 h 820230"/>
                  <a:gd name="connsiteX2294" fmla="*/ 140364 w 2708532"/>
                  <a:gd name="connsiteY2294" fmla="*/ 559957 h 820230"/>
                  <a:gd name="connsiteX2295" fmla="*/ 147330 w 2708532"/>
                  <a:gd name="connsiteY2295" fmla="*/ 552992 h 820230"/>
                  <a:gd name="connsiteX2296" fmla="*/ 153149 w 2708532"/>
                  <a:gd name="connsiteY2296" fmla="*/ 552992 h 820230"/>
                  <a:gd name="connsiteX2297" fmla="*/ 160114 w 2708532"/>
                  <a:gd name="connsiteY2297" fmla="*/ 550700 h 820230"/>
                  <a:gd name="connsiteX2298" fmla="*/ 173868 w 2708532"/>
                  <a:gd name="connsiteY2298" fmla="*/ 552992 h 820230"/>
                  <a:gd name="connsiteX2299" fmla="*/ 181451 w 2708532"/>
                  <a:gd name="connsiteY2299" fmla="*/ 557665 h 820230"/>
                  <a:gd name="connsiteX2300" fmla="*/ 180040 w 2708532"/>
                  <a:gd name="connsiteY2300" fmla="*/ 569303 h 820230"/>
                  <a:gd name="connsiteX2301" fmla="*/ 187358 w 2708532"/>
                  <a:gd name="connsiteY2301" fmla="*/ 577415 h 820230"/>
                  <a:gd name="connsiteX2302" fmla="*/ 193441 w 2708532"/>
                  <a:gd name="connsiteY2302" fmla="*/ 578561 h 820230"/>
                  <a:gd name="connsiteX2303" fmla="*/ 201024 w 2708532"/>
                  <a:gd name="connsiteY2303" fmla="*/ 578561 h 820230"/>
                  <a:gd name="connsiteX2304" fmla="*/ 213015 w 2708532"/>
                  <a:gd name="connsiteY2304" fmla="*/ 594872 h 820230"/>
                  <a:gd name="connsiteX2305" fmla="*/ 218569 w 2708532"/>
                  <a:gd name="connsiteY2305" fmla="*/ 598399 h 820230"/>
                  <a:gd name="connsiteX2306" fmla="*/ 224389 w 2708532"/>
                  <a:gd name="connsiteY2306" fmla="*/ 594872 h 820230"/>
                  <a:gd name="connsiteX2307" fmla="*/ 232236 w 2708532"/>
                  <a:gd name="connsiteY2307" fmla="*/ 601044 h 820230"/>
                  <a:gd name="connsiteX2308" fmla="*/ 238407 w 2708532"/>
                  <a:gd name="connsiteY2308" fmla="*/ 602190 h 820230"/>
                  <a:gd name="connsiteX2309" fmla="*/ 250927 w 2708532"/>
                  <a:gd name="connsiteY2309" fmla="*/ 598399 h 820230"/>
                  <a:gd name="connsiteX2310" fmla="*/ 264682 w 2708532"/>
                  <a:gd name="connsiteY2310" fmla="*/ 609244 h 820230"/>
                  <a:gd name="connsiteX2311" fmla="*/ 277819 w 2708532"/>
                  <a:gd name="connsiteY2311" fmla="*/ 606863 h 820230"/>
                  <a:gd name="connsiteX2312" fmla="*/ 284255 w 2708532"/>
                  <a:gd name="connsiteY2312" fmla="*/ 610390 h 820230"/>
                  <a:gd name="connsiteX2313" fmla="*/ 305856 w 2708532"/>
                  <a:gd name="connsiteY2313" fmla="*/ 620882 h 820230"/>
                  <a:gd name="connsiteX2314" fmla="*/ 302682 w 2708532"/>
                  <a:gd name="connsiteY2314" fmla="*/ 629346 h 820230"/>
                  <a:gd name="connsiteX2315" fmla="*/ 306209 w 2708532"/>
                  <a:gd name="connsiteY2315" fmla="*/ 636311 h 820230"/>
                  <a:gd name="connsiteX2316" fmla="*/ 305063 w 2708532"/>
                  <a:gd name="connsiteY2316" fmla="*/ 639838 h 820230"/>
                  <a:gd name="connsiteX2317" fmla="*/ 311764 w 2708532"/>
                  <a:gd name="connsiteY2317" fmla="*/ 649448 h 820230"/>
                  <a:gd name="connsiteX2318" fmla="*/ 309119 w 2708532"/>
                  <a:gd name="connsiteY2318" fmla="*/ 659940 h 820230"/>
                  <a:gd name="connsiteX2319" fmla="*/ 291308 w 2708532"/>
                  <a:gd name="connsiteY2319" fmla="*/ 658794 h 820230"/>
                  <a:gd name="connsiteX2320" fmla="*/ 289545 w 2708532"/>
                  <a:gd name="connsiteY2320" fmla="*/ 663467 h 820230"/>
                  <a:gd name="connsiteX2321" fmla="*/ 281963 w 2708532"/>
                  <a:gd name="connsiteY2321" fmla="*/ 665759 h 820230"/>
                  <a:gd name="connsiteX2322" fmla="*/ 283109 w 2708532"/>
                  <a:gd name="connsiteY2322" fmla="*/ 670697 h 820230"/>
                  <a:gd name="connsiteX2323" fmla="*/ 287164 w 2708532"/>
                  <a:gd name="connsiteY2323" fmla="*/ 676516 h 820230"/>
                  <a:gd name="connsiteX2324" fmla="*/ 289192 w 2708532"/>
                  <a:gd name="connsiteY2324" fmla="*/ 677133 h 820230"/>
                  <a:gd name="connsiteX2325" fmla="*/ 292719 w 2708532"/>
                  <a:gd name="connsiteY2325" fmla="*/ 676252 h 820230"/>
                  <a:gd name="connsiteX2326" fmla="*/ 293336 w 2708532"/>
                  <a:gd name="connsiteY2326" fmla="*/ 676252 h 820230"/>
                  <a:gd name="connsiteX2327" fmla="*/ 294483 w 2708532"/>
                  <a:gd name="connsiteY2327" fmla="*/ 674753 h 820230"/>
                  <a:gd name="connsiteX2328" fmla="*/ 297392 w 2708532"/>
                  <a:gd name="connsiteY2328" fmla="*/ 675370 h 820230"/>
                  <a:gd name="connsiteX2329" fmla="*/ 299156 w 2708532"/>
                  <a:gd name="connsiteY2329" fmla="*/ 678279 h 820230"/>
                  <a:gd name="connsiteX2330" fmla="*/ 300302 w 2708532"/>
                  <a:gd name="connsiteY2330" fmla="*/ 677662 h 820230"/>
                  <a:gd name="connsiteX2331" fmla="*/ 302329 w 2708532"/>
                  <a:gd name="connsiteY2331" fmla="*/ 675899 h 820230"/>
                  <a:gd name="connsiteX2332" fmla="*/ 307620 w 2708532"/>
                  <a:gd name="connsiteY2332" fmla="*/ 676516 h 820230"/>
                  <a:gd name="connsiteX2333" fmla="*/ 307002 w 2708532"/>
                  <a:gd name="connsiteY2333" fmla="*/ 680572 h 820230"/>
                  <a:gd name="connsiteX2334" fmla="*/ 304093 w 2708532"/>
                  <a:gd name="connsiteY2334" fmla="*/ 680307 h 820230"/>
                  <a:gd name="connsiteX2335" fmla="*/ 301448 w 2708532"/>
                  <a:gd name="connsiteY2335" fmla="*/ 681806 h 820230"/>
                  <a:gd name="connsiteX2336" fmla="*/ 300831 w 2708532"/>
                  <a:gd name="connsiteY2336" fmla="*/ 682952 h 820230"/>
                  <a:gd name="connsiteX2337" fmla="*/ 298538 w 2708532"/>
                  <a:gd name="connsiteY2337" fmla="*/ 684980 h 820230"/>
                  <a:gd name="connsiteX2338" fmla="*/ 297392 w 2708532"/>
                  <a:gd name="connsiteY2338" fmla="*/ 684980 h 820230"/>
                  <a:gd name="connsiteX2339" fmla="*/ 296510 w 2708532"/>
                  <a:gd name="connsiteY2339" fmla="*/ 684099 h 820230"/>
                  <a:gd name="connsiteX2340" fmla="*/ 293336 w 2708532"/>
                  <a:gd name="connsiteY2340" fmla="*/ 682952 h 820230"/>
                  <a:gd name="connsiteX2341" fmla="*/ 291837 w 2708532"/>
                  <a:gd name="connsiteY2341" fmla="*/ 685333 h 820230"/>
                  <a:gd name="connsiteX2342" fmla="*/ 294483 w 2708532"/>
                  <a:gd name="connsiteY2342" fmla="*/ 689389 h 820230"/>
                  <a:gd name="connsiteX2343" fmla="*/ 291308 w 2708532"/>
                  <a:gd name="connsiteY2343" fmla="*/ 689389 h 820230"/>
                  <a:gd name="connsiteX2344" fmla="*/ 288663 w 2708532"/>
                  <a:gd name="connsiteY2344" fmla="*/ 687890 h 820230"/>
                  <a:gd name="connsiteX2345" fmla="*/ 286371 w 2708532"/>
                  <a:gd name="connsiteY2345" fmla="*/ 688507 h 820230"/>
                  <a:gd name="connsiteX2346" fmla="*/ 284872 w 2708532"/>
                  <a:gd name="connsiteY2346" fmla="*/ 687890 h 820230"/>
                  <a:gd name="connsiteX2347" fmla="*/ 281963 w 2708532"/>
                  <a:gd name="connsiteY2347" fmla="*/ 690799 h 820230"/>
                  <a:gd name="connsiteX2348" fmla="*/ 282227 w 2708532"/>
                  <a:gd name="connsiteY2348" fmla="*/ 693180 h 820230"/>
                  <a:gd name="connsiteX2349" fmla="*/ 284255 w 2708532"/>
                  <a:gd name="connsiteY2349" fmla="*/ 695472 h 820230"/>
                  <a:gd name="connsiteX2350" fmla="*/ 287517 w 2708532"/>
                  <a:gd name="connsiteY2350" fmla="*/ 696089 h 820230"/>
                  <a:gd name="connsiteX2351" fmla="*/ 291044 w 2708532"/>
                  <a:gd name="connsiteY2351" fmla="*/ 699263 h 820230"/>
                  <a:gd name="connsiteX2352" fmla="*/ 292455 w 2708532"/>
                  <a:gd name="connsiteY2352" fmla="*/ 699792 h 820230"/>
                  <a:gd name="connsiteX2353" fmla="*/ 292719 w 2708532"/>
                  <a:gd name="connsiteY2353" fmla="*/ 700939 h 820230"/>
                  <a:gd name="connsiteX2354" fmla="*/ 293336 w 2708532"/>
                  <a:gd name="connsiteY2354" fmla="*/ 704994 h 820230"/>
                  <a:gd name="connsiteX2355" fmla="*/ 291308 w 2708532"/>
                  <a:gd name="connsiteY2355" fmla="*/ 703231 h 820230"/>
                  <a:gd name="connsiteX2356" fmla="*/ 287253 w 2708532"/>
                  <a:gd name="connsiteY2356" fmla="*/ 700850 h 820230"/>
                  <a:gd name="connsiteX2357" fmla="*/ 288751 w 2708532"/>
                  <a:gd name="connsiteY2357" fmla="*/ 705523 h 820230"/>
                  <a:gd name="connsiteX2358" fmla="*/ 289369 w 2708532"/>
                  <a:gd name="connsiteY2358" fmla="*/ 709579 h 820230"/>
                  <a:gd name="connsiteX2359" fmla="*/ 286724 w 2708532"/>
                  <a:gd name="connsiteY2359" fmla="*/ 709579 h 820230"/>
                  <a:gd name="connsiteX2360" fmla="*/ 284696 w 2708532"/>
                  <a:gd name="connsiteY2360" fmla="*/ 710725 h 820230"/>
                  <a:gd name="connsiteX2361" fmla="*/ 284960 w 2708532"/>
                  <a:gd name="connsiteY2361" fmla="*/ 712753 h 820230"/>
                  <a:gd name="connsiteX2362" fmla="*/ 284960 w 2708532"/>
                  <a:gd name="connsiteY2362" fmla="*/ 713899 h 820230"/>
                  <a:gd name="connsiteX2363" fmla="*/ 283197 w 2708532"/>
                  <a:gd name="connsiteY2363" fmla="*/ 718837 h 820230"/>
                  <a:gd name="connsiteX2364" fmla="*/ 281698 w 2708532"/>
                  <a:gd name="connsiteY2364" fmla="*/ 720600 h 820230"/>
                  <a:gd name="connsiteX2365" fmla="*/ 279406 w 2708532"/>
                  <a:gd name="connsiteY2365" fmla="*/ 721746 h 820230"/>
                  <a:gd name="connsiteX2366" fmla="*/ 276232 w 2708532"/>
                  <a:gd name="connsiteY2366" fmla="*/ 722628 h 820230"/>
                  <a:gd name="connsiteX2367" fmla="*/ 269531 w 2708532"/>
                  <a:gd name="connsiteY2367" fmla="*/ 722364 h 820230"/>
                  <a:gd name="connsiteX2368" fmla="*/ 266004 w 2708532"/>
                  <a:gd name="connsiteY2368" fmla="*/ 723862 h 820230"/>
                  <a:gd name="connsiteX2369" fmla="*/ 268649 w 2708532"/>
                  <a:gd name="connsiteY2369" fmla="*/ 724127 h 820230"/>
                  <a:gd name="connsiteX2370" fmla="*/ 270413 w 2708532"/>
                  <a:gd name="connsiteY2370" fmla="*/ 726155 h 820230"/>
                  <a:gd name="connsiteX2371" fmla="*/ 263095 w 2708532"/>
                  <a:gd name="connsiteY2371" fmla="*/ 727654 h 820230"/>
                  <a:gd name="connsiteX2372" fmla="*/ 263359 w 2708532"/>
                  <a:gd name="connsiteY2372" fmla="*/ 729153 h 820230"/>
                  <a:gd name="connsiteX2373" fmla="*/ 268032 w 2708532"/>
                  <a:gd name="connsiteY2373" fmla="*/ 730034 h 820230"/>
                  <a:gd name="connsiteX2374" fmla="*/ 271559 w 2708532"/>
                  <a:gd name="connsiteY2374" fmla="*/ 730034 h 820230"/>
                  <a:gd name="connsiteX2375" fmla="*/ 274204 w 2708532"/>
                  <a:gd name="connsiteY2375" fmla="*/ 730299 h 820230"/>
                  <a:gd name="connsiteX2376" fmla="*/ 276849 w 2708532"/>
                  <a:gd name="connsiteY2376" fmla="*/ 730916 h 820230"/>
                  <a:gd name="connsiteX2377" fmla="*/ 279494 w 2708532"/>
                  <a:gd name="connsiteY2377" fmla="*/ 734443 h 820230"/>
                  <a:gd name="connsiteX2378" fmla="*/ 280640 w 2708532"/>
                  <a:gd name="connsiteY2378" fmla="*/ 738498 h 820230"/>
                  <a:gd name="connsiteX2379" fmla="*/ 284431 w 2708532"/>
                  <a:gd name="connsiteY2379" fmla="*/ 739380 h 820230"/>
                  <a:gd name="connsiteX2380" fmla="*/ 287076 w 2708532"/>
                  <a:gd name="connsiteY2380" fmla="*/ 739027 h 820230"/>
                  <a:gd name="connsiteX2381" fmla="*/ 288840 w 2708532"/>
                  <a:gd name="connsiteY2381" fmla="*/ 740526 h 820230"/>
                  <a:gd name="connsiteX2382" fmla="*/ 292014 w 2708532"/>
                  <a:gd name="connsiteY2382" fmla="*/ 742290 h 820230"/>
                  <a:gd name="connsiteX2383" fmla="*/ 294659 w 2708532"/>
                  <a:gd name="connsiteY2383" fmla="*/ 742554 h 820230"/>
                  <a:gd name="connsiteX2384" fmla="*/ 298186 w 2708532"/>
                  <a:gd name="connsiteY2384" fmla="*/ 744318 h 820230"/>
                  <a:gd name="connsiteX2385" fmla="*/ 302506 w 2708532"/>
                  <a:gd name="connsiteY2385" fmla="*/ 745199 h 820230"/>
                  <a:gd name="connsiteX2386" fmla="*/ 305680 w 2708532"/>
                  <a:gd name="connsiteY2386" fmla="*/ 746698 h 820230"/>
                  <a:gd name="connsiteX2387" fmla="*/ 306562 w 2708532"/>
                  <a:gd name="connsiteY2387" fmla="*/ 746081 h 820230"/>
                  <a:gd name="connsiteX2388" fmla="*/ 308060 w 2708532"/>
                  <a:gd name="connsiteY2388" fmla="*/ 746962 h 820230"/>
                  <a:gd name="connsiteX2389" fmla="*/ 312116 w 2708532"/>
                  <a:gd name="connsiteY2389" fmla="*/ 749343 h 820230"/>
                  <a:gd name="connsiteX2390" fmla="*/ 313527 w 2708532"/>
                  <a:gd name="connsiteY2390" fmla="*/ 751988 h 820230"/>
                  <a:gd name="connsiteX2391" fmla="*/ 314673 w 2708532"/>
                  <a:gd name="connsiteY2391" fmla="*/ 754280 h 820230"/>
                  <a:gd name="connsiteX2392" fmla="*/ 317583 w 2708532"/>
                  <a:gd name="connsiteY2392" fmla="*/ 756308 h 820230"/>
                  <a:gd name="connsiteX2393" fmla="*/ 320228 w 2708532"/>
                  <a:gd name="connsiteY2393" fmla="*/ 755779 h 820230"/>
                  <a:gd name="connsiteX2394" fmla="*/ 324019 w 2708532"/>
                  <a:gd name="connsiteY2394" fmla="*/ 755779 h 820230"/>
                  <a:gd name="connsiteX2395" fmla="*/ 325165 w 2708532"/>
                  <a:gd name="connsiteY2395" fmla="*/ 756661 h 820230"/>
                  <a:gd name="connsiteX2396" fmla="*/ 327810 w 2708532"/>
                  <a:gd name="connsiteY2396" fmla="*/ 758689 h 820230"/>
                  <a:gd name="connsiteX2397" fmla="*/ 330720 w 2708532"/>
                  <a:gd name="connsiteY2397" fmla="*/ 760452 h 820230"/>
                  <a:gd name="connsiteX2398" fmla="*/ 332483 w 2708532"/>
                  <a:gd name="connsiteY2398" fmla="*/ 762480 h 820230"/>
                  <a:gd name="connsiteX2399" fmla="*/ 342711 w 2708532"/>
                  <a:gd name="connsiteY2399" fmla="*/ 763626 h 820230"/>
                  <a:gd name="connsiteX2400" fmla="*/ 346502 w 2708532"/>
                  <a:gd name="connsiteY2400" fmla="*/ 762480 h 820230"/>
                  <a:gd name="connsiteX2401" fmla="*/ 356465 w 2708532"/>
                  <a:gd name="connsiteY2401" fmla="*/ 763362 h 820230"/>
                  <a:gd name="connsiteX2402" fmla="*/ 360256 w 2708532"/>
                  <a:gd name="connsiteY2402" fmla="*/ 767153 h 820230"/>
                  <a:gd name="connsiteX2403" fmla="*/ 366957 w 2708532"/>
                  <a:gd name="connsiteY2403" fmla="*/ 769798 h 820230"/>
                  <a:gd name="connsiteX2404" fmla="*/ 379477 w 2708532"/>
                  <a:gd name="connsiteY2404" fmla="*/ 774736 h 820230"/>
                  <a:gd name="connsiteX2405" fmla="*/ 390851 w 2708532"/>
                  <a:gd name="connsiteY2405" fmla="*/ 774471 h 820230"/>
                  <a:gd name="connsiteX2406" fmla="*/ 400461 w 2708532"/>
                  <a:gd name="connsiteY2406" fmla="*/ 778262 h 820230"/>
                  <a:gd name="connsiteX2407" fmla="*/ 410953 w 2708532"/>
                  <a:gd name="connsiteY2407" fmla="*/ 785228 h 820230"/>
                  <a:gd name="connsiteX2408" fmla="*/ 416155 w 2708532"/>
                  <a:gd name="connsiteY2408" fmla="*/ 786727 h 820230"/>
                  <a:gd name="connsiteX2409" fmla="*/ 426647 w 2708532"/>
                  <a:gd name="connsiteY2409" fmla="*/ 782935 h 820230"/>
                  <a:gd name="connsiteX2410" fmla="*/ 435993 w 2708532"/>
                  <a:gd name="connsiteY2410" fmla="*/ 784081 h 820230"/>
                  <a:gd name="connsiteX2411" fmla="*/ 448865 w 2708532"/>
                  <a:gd name="connsiteY2411" fmla="*/ 789019 h 820230"/>
                  <a:gd name="connsiteX2412" fmla="*/ 457065 w 2708532"/>
                  <a:gd name="connsiteY2412" fmla="*/ 789019 h 820230"/>
                  <a:gd name="connsiteX2413" fmla="*/ 455302 w 2708532"/>
                  <a:gd name="connsiteY2413" fmla="*/ 794838 h 820230"/>
                  <a:gd name="connsiteX2414" fmla="*/ 473376 w 2708532"/>
                  <a:gd name="connsiteY2414" fmla="*/ 804448 h 820230"/>
                  <a:gd name="connsiteX2415" fmla="*/ 479195 w 2708532"/>
                  <a:gd name="connsiteY2415" fmla="*/ 803302 h 820230"/>
                  <a:gd name="connsiteX2416" fmla="*/ 482987 w 2708532"/>
                  <a:gd name="connsiteY2416" fmla="*/ 807093 h 820230"/>
                  <a:gd name="connsiteX2417" fmla="*/ 488806 w 2708532"/>
                  <a:gd name="connsiteY2417" fmla="*/ 810620 h 820230"/>
                  <a:gd name="connsiteX2418" fmla="*/ 494360 w 2708532"/>
                  <a:gd name="connsiteY2418" fmla="*/ 817938 h 820230"/>
                  <a:gd name="connsiteX2419" fmla="*/ 505998 w 2708532"/>
                  <a:gd name="connsiteY2419" fmla="*/ 820231 h 820230"/>
                  <a:gd name="connsiteX2420" fmla="*/ 506527 w 2708532"/>
                  <a:gd name="connsiteY2420" fmla="*/ 812913 h 820230"/>
                  <a:gd name="connsiteX2421" fmla="*/ 510936 w 2708532"/>
                  <a:gd name="connsiteY2421" fmla="*/ 810532 h 820230"/>
                  <a:gd name="connsiteX2422" fmla="*/ 518518 w 2708532"/>
                  <a:gd name="connsiteY2422" fmla="*/ 803214 h 820230"/>
                  <a:gd name="connsiteX2423" fmla="*/ 514110 w 2708532"/>
                  <a:gd name="connsiteY2423" fmla="*/ 800040 h 820230"/>
                  <a:gd name="connsiteX2424" fmla="*/ 508555 w 2708532"/>
                  <a:gd name="connsiteY2424" fmla="*/ 795984 h 820230"/>
                  <a:gd name="connsiteX2425" fmla="*/ 504499 w 2708532"/>
                  <a:gd name="connsiteY2425" fmla="*/ 791928 h 820230"/>
                  <a:gd name="connsiteX2426" fmla="*/ 502207 w 2708532"/>
                  <a:gd name="connsiteY2426" fmla="*/ 789019 h 820230"/>
                  <a:gd name="connsiteX2427" fmla="*/ 497534 w 2708532"/>
                  <a:gd name="connsiteY2427" fmla="*/ 786638 h 820230"/>
                  <a:gd name="connsiteX2428" fmla="*/ 490833 w 2708532"/>
                  <a:gd name="connsiteY2428" fmla="*/ 780819 h 820230"/>
                  <a:gd name="connsiteX2429" fmla="*/ 492332 w 2708532"/>
                  <a:gd name="connsiteY2429" fmla="*/ 777292 h 820230"/>
                  <a:gd name="connsiteX2430" fmla="*/ 492332 w 2708532"/>
                  <a:gd name="connsiteY2430" fmla="*/ 772884 h 820230"/>
                  <a:gd name="connsiteX2431" fmla="*/ 492332 w 2708532"/>
                  <a:gd name="connsiteY2431" fmla="*/ 772002 h 820230"/>
                  <a:gd name="connsiteX2432" fmla="*/ 490569 w 2708532"/>
                  <a:gd name="connsiteY2432" fmla="*/ 767329 h 820230"/>
                  <a:gd name="connsiteX2433" fmla="*/ 491186 w 2708532"/>
                  <a:gd name="connsiteY2433" fmla="*/ 766712 h 820230"/>
                  <a:gd name="connsiteX2434" fmla="*/ 491186 w 2708532"/>
                  <a:gd name="connsiteY2434" fmla="*/ 760012 h 820230"/>
                  <a:gd name="connsiteX2435" fmla="*/ 489158 w 2708532"/>
                  <a:gd name="connsiteY2435" fmla="*/ 760276 h 820230"/>
                  <a:gd name="connsiteX2436" fmla="*/ 489158 w 2708532"/>
                  <a:gd name="connsiteY2436" fmla="*/ 756220 h 820230"/>
                  <a:gd name="connsiteX2437" fmla="*/ 488277 w 2708532"/>
                  <a:gd name="connsiteY2437" fmla="*/ 756220 h 820230"/>
                  <a:gd name="connsiteX2438" fmla="*/ 484221 w 2708532"/>
                  <a:gd name="connsiteY2438" fmla="*/ 753575 h 820230"/>
                  <a:gd name="connsiteX2439" fmla="*/ 483692 w 2708532"/>
                  <a:gd name="connsiteY2439" fmla="*/ 750930 h 820230"/>
                  <a:gd name="connsiteX2440" fmla="*/ 478137 w 2708532"/>
                  <a:gd name="connsiteY2440" fmla="*/ 750930 h 820230"/>
                  <a:gd name="connsiteX2441" fmla="*/ 473729 w 2708532"/>
                  <a:gd name="connsiteY2441" fmla="*/ 747756 h 820230"/>
                  <a:gd name="connsiteX2442" fmla="*/ 467910 w 2708532"/>
                  <a:gd name="connsiteY2442" fmla="*/ 743965 h 820230"/>
                  <a:gd name="connsiteX2443" fmla="*/ 466763 w 2708532"/>
                  <a:gd name="connsiteY2443" fmla="*/ 740791 h 820230"/>
                  <a:gd name="connsiteX2444" fmla="*/ 469409 w 2708532"/>
                  <a:gd name="connsiteY2444" fmla="*/ 738146 h 820230"/>
                  <a:gd name="connsiteX2445" fmla="*/ 471436 w 2708532"/>
                  <a:gd name="connsiteY2445" fmla="*/ 738763 h 820230"/>
                  <a:gd name="connsiteX2446" fmla="*/ 473464 w 2708532"/>
                  <a:gd name="connsiteY2446" fmla="*/ 737000 h 820230"/>
                  <a:gd name="connsiteX2447" fmla="*/ 474963 w 2708532"/>
                  <a:gd name="connsiteY2447" fmla="*/ 729153 h 820230"/>
                  <a:gd name="connsiteX2448" fmla="*/ 477344 w 2708532"/>
                  <a:gd name="connsiteY2448" fmla="*/ 728006 h 820230"/>
                  <a:gd name="connsiteX2449" fmla="*/ 476991 w 2708532"/>
                  <a:gd name="connsiteY2449" fmla="*/ 725361 h 820230"/>
                  <a:gd name="connsiteX2450" fmla="*/ 476109 w 2708532"/>
                  <a:gd name="connsiteY2450" fmla="*/ 722981 h 820230"/>
                  <a:gd name="connsiteX2451" fmla="*/ 479019 w 2708532"/>
                  <a:gd name="connsiteY2451" fmla="*/ 722099 h 820230"/>
                  <a:gd name="connsiteX2452" fmla="*/ 478754 w 2708532"/>
                  <a:gd name="connsiteY2452" fmla="*/ 718308 h 820230"/>
                  <a:gd name="connsiteX2453" fmla="*/ 481399 w 2708532"/>
                  <a:gd name="connsiteY2453" fmla="*/ 713106 h 820230"/>
                  <a:gd name="connsiteX2454" fmla="*/ 484926 w 2708532"/>
                  <a:gd name="connsiteY2454" fmla="*/ 715134 h 820230"/>
                  <a:gd name="connsiteX2455" fmla="*/ 488100 w 2708532"/>
                  <a:gd name="connsiteY2455" fmla="*/ 712753 h 820230"/>
                  <a:gd name="connsiteX2456" fmla="*/ 490745 w 2708532"/>
                  <a:gd name="connsiteY2456" fmla="*/ 710461 h 820230"/>
                  <a:gd name="connsiteX2457" fmla="*/ 493126 w 2708532"/>
                  <a:gd name="connsiteY2457" fmla="*/ 709579 h 820230"/>
                  <a:gd name="connsiteX2458" fmla="*/ 496300 w 2708532"/>
                  <a:gd name="connsiteY2458" fmla="*/ 708697 h 820230"/>
                  <a:gd name="connsiteX2459" fmla="*/ 498945 w 2708532"/>
                  <a:gd name="connsiteY2459" fmla="*/ 708433 h 820230"/>
                  <a:gd name="connsiteX2460" fmla="*/ 496653 w 2708532"/>
                  <a:gd name="connsiteY2460" fmla="*/ 703760 h 820230"/>
                  <a:gd name="connsiteX2461" fmla="*/ 492244 w 2708532"/>
                  <a:gd name="connsiteY2461" fmla="*/ 697941 h 820230"/>
                  <a:gd name="connsiteX2462" fmla="*/ 486425 w 2708532"/>
                  <a:gd name="connsiteY2462" fmla="*/ 685950 h 820230"/>
                  <a:gd name="connsiteX2463" fmla="*/ 494625 w 2708532"/>
                  <a:gd name="connsiteY2463" fmla="*/ 687096 h 820230"/>
                  <a:gd name="connsiteX2464" fmla="*/ 498151 w 2708532"/>
                  <a:gd name="connsiteY2464" fmla="*/ 684716 h 820230"/>
                  <a:gd name="connsiteX2465" fmla="*/ 493214 w 2708532"/>
                  <a:gd name="connsiteY2465" fmla="*/ 677750 h 820230"/>
                  <a:gd name="connsiteX2466" fmla="*/ 477784 w 2708532"/>
                  <a:gd name="connsiteY2466" fmla="*/ 666377 h 820230"/>
                  <a:gd name="connsiteX2467" fmla="*/ 468439 w 2708532"/>
                  <a:gd name="connsiteY2467" fmla="*/ 652975 h 820230"/>
                  <a:gd name="connsiteX2468" fmla="*/ 460239 w 2708532"/>
                  <a:gd name="connsiteY2468" fmla="*/ 646539 h 820230"/>
                  <a:gd name="connsiteX2469" fmla="*/ 449747 w 2708532"/>
                  <a:gd name="connsiteY2469" fmla="*/ 645393 h 820230"/>
                  <a:gd name="connsiteX2470" fmla="*/ 445074 w 2708532"/>
                  <a:gd name="connsiteY2470" fmla="*/ 645393 h 820230"/>
                  <a:gd name="connsiteX2471" fmla="*/ 439872 w 2708532"/>
                  <a:gd name="connsiteY2471" fmla="*/ 645657 h 820230"/>
                  <a:gd name="connsiteX2472" fmla="*/ 435464 w 2708532"/>
                  <a:gd name="connsiteY2472" fmla="*/ 644158 h 820230"/>
                  <a:gd name="connsiteX2473" fmla="*/ 436610 w 2708532"/>
                  <a:gd name="connsiteY2473" fmla="*/ 637457 h 820230"/>
                  <a:gd name="connsiteX2474" fmla="*/ 438990 w 2708532"/>
                  <a:gd name="connsiteY2474" fmla="*/ 631374 h 820230"/>
                  <a:gd name="connsiteX2475" fmla="*/ 438726 w 2708532"/>
                  <a:gd name="connsiteY2475" fmla="*/ 625290 h 820230"/>
                  <a:gd name="connsiteX2476" fmla="*/ 437580 w 2708532"/>
                  <a:gd name="connsiteY2476" fmla="*/ 610125 h 820230"/>
                  <a:gd name="connsiteX2477" fmla="*/ 443134 w 2708532"/>
                  <a:gd name="connsiteY2477" fmla="*/ 598134 h 820230"/>
                  <a:gd name="connsiteX2478" fmla="*/ 446661 w 2708532"/>
                  <a:gd name="connsiteY2478" fmla="*/ 596988 h 820230"/>
                  <a:gd name="connsiteX2479" fmla="*/ 451687 w 2708532"/>
                  <a:gd name="connsiteY2479" fmla="*/ 601397 h 820230"/>
                  <a:gd name="connsiteX2480" fmla="*/ 463325 w 2708532"/>
                  <a:gd name="connsiteY2480" fmla="*/ 608979 h 820230"/>
                  <a:gd name="connsiteX2481" fmla="*/ 469761 w 2708532"/>
                  <a:gd name="connsiteY2481" fmla="*/ 611007 h 820230"/>
                  <a:gd name="connsiteX2482" fmla="*/ 472671 w 2708532"/>
                  <a:gd name="connsiteY2482" fmla="*/ 607833 h 820230"/>
                  <a:gd name="connsiteX2483" fmla="*/ 468262 w 2708532"/>
                  <a:gd name="connsiteY2483" fmla="*/ 598222 h 820230"/>
                  <a:gd name="connsiteX2484" fmla="*/ 464207 w 2708532"/>
                  <a:gd name="connsiteY2484" fmla="*/ 591257 h 820230"/>
                  <a:gd name="connsiteX2485" fmla="*/ 469144 w 2708532"/>
                  <a:gd name="connsiteY2485" fmla="*/ 590640 h 820230"/>
                  <a:gd name="connsiteX2486" fmla="*/ 471789 w 2708532"/>
                  <a:gd name="connsiteY2486" fmla="*/ 584556 h 820230"/>
                  <a:gd name="connsiteX2487" fmla="*/ 472406 w 2708532"/>
                  <a:gd name="connsiteY2487" fmla="*/ 580765 h 820230"/>
                  <a:gd name="connsiteX2488" fmla="*/ 486425 w 2708532"/>
                  <a:gd name="connsiteY2488" fmla="*/ 569920 h 820230"/>
                  <a:gd name="connsiteX2489" fmla="*/ 490216 w 2708532"/>
                  <a:gd name="connsiteY2489" fmla="*/ 565600 h 820230"/>
                  <a:gd name="connsiteX2490" fmla="*/ 502736 w 2708532"/>
                  <a:gd name="connsiteY2490" fmla="*/ 569391 h 820230"/>
                  <a:gd name="connsiteX2491" fmla="*/ 516138 w 2708532"/>
                  <a:gd name="connsiteY2491" fmla="*/ 576092 h 820230"/>
                  <a:gd name="connsiteX2492" fmla="*/ 518430 w 2708532"/>
                  <a:gd name="connsiteY2492" fmla="*/ 571419 h 820230"/>
                  <a:gd name="connsiteX2493" fmla="*/ 521075 w 2708532"/>
                  <a:gd name="connsiteY2493" fmla="*/ 566746 h 820230"/>
                  <a:gd name="connsiteX2494" fmla="*/ 526013 w 2708532"/>
                  <a:gd name="connsiteY2494" fmla="*/ 564454 h 820230"/>
                  <a:gd name="connsiteX2495" fmla="*/ 534741 w 2708532"/>
                  <a:gd name="connsiteY2495" fmla="*/ 571419 h 820230"/>
                  <a:gd name="connsiteX2496" fmla="*/ 548496 w 2708532"/>
                  <a:gd name="connsiteY2496" fmla="*/ 570273 h 820230"/>
                  <a:gd name="connsiteX2497" fmla="*/ 563925 w 2708532"/>
                  <a:gd name="connsiteY2497" fmla="*/ 570273 h 820230"/>
                  <a:gd name="connsiteX2498" fmla="*/ 568334 w 2708532"/>
                  <a:gd name="connsiteY2498" fmla="*/ 579619 h 820230"/>
                  <a:gd name="connsiteX2499" fmla="*/ 577944 w 2708532"/>
                  <a:gd name="connsiteY2499" fmla="*/ 593638 h 820230"/>
                  <a:gd name="connsiteX2500" fmla="*/ 589053 w 2708532"/>
                  <a:gd name="connsiteY2500" fmla="*/ 596547 h 820230"/>
                  <a:gd name="connsiteX2501" fmla="*/ 591963 w 2708532"/>
                  <a:gd name="connsiteY2501" fmla="*/ 595930 h 820230"/>
                  <a:gd name="connsiteX2502" fmla="*/ 579443 w 2708532"/>
                  <a:gd name="connsiteY2502" fmla="*/ 580765 h 820230"/>
                  <a:gd name="connsiteX2503" fmla="*/ 582617 w 2708532"/>
                  <a:gd name="connsiteY2503" fmla="*/ 579002 h 820230"/>
                  <a:gd name="connsiteX2504" fmla="*/ 590816 w 2708532"/>
                  <a:gd name="connsiteY2504" fmla="*/ 581647 h 820230"/>
                  <a:gd name="connsiteX2505" fmla="*/ 608891 w 2708532"/>
                  <a:gd name="connsiteY2505" fmla="*/ 583146 h 820230"/>
                  <a:gd name="connsiteX2506" fmla="*/ 624056 w 2708532"/>
                  <a:gd name="connsiteY2506" fmla="*/ 579619 h 820230"/>
                  <a:gd name="connsiteX2507" fmla="*/ 635430 w 2708532"/>
                  <a:gd name="connsiteY2507" fmla="*/ 579619 h 820230"/>
                  <a:gd name="connsiteX2508" fmla="*/ 647949 w 2708532"/>
                  <a:gd name="connsiteY2508" fmla="*/ 585438 h 820230"/>
                  <a:gd name="connsiteX2509" fmla="*/ 646803 w 2708532"/>
                  <a:gd name="connsiteY2509" fmla="*/ 579619 h 820230"/>
                  <a:gd name="connsiteX2510" fmla="*/ 652887 w 2708532"/>
                  <a:gd name="connsiteY2510" fmla="*/ 583146 h 820230"/>
                  <a:gd name="connsiteX2511" fmla="*/ 656414 w 2708532"/>
                  <a:gd name="connsiteY2511" fmla="*/ 584645 h 820230"/>
                  <a:gd name="connsiteX2512" fmla="*/ 663996 w 2708532"/>
                  <a:gd name="connsiteY2512" fmla="*/ 584645 h 820230"/>
                  <a:gd name="connsiteX2513" fmla="*/ 670697 w 2708532"/>
                  <a:gd name="connsiteY2513" fmla="*/ 586672 h 820230"/>
                  <a:gd name="connsiteX2514" fmla="*/ 679690 w 2708532"/>
                  <a:gd name="connsiteY2514" fmla="*/ 588965 h 820230"/>
                  <a:gd name="connsiteX2515" fmla="*/ 680308 w 2708532"/>
                  <a:gd name="connsiteY2515" fmla="*/ 585438 h 820230"/>
                  <a:gd name="connsiteX2516" fmla="*/ 687008 w 2708532"/>
                  <a:gd name="connsiteY2516" fmla="*/ 590728 h 820230"/>
                  <a:gd name="connsiteX2517" fmla="*/ 696618 w 2708532"/>
                  <a:gd name="connsiteY2517" fmla="*/ 591345 h 820230"/>
                  <a:gd name="connsiteX2518" fmla="*/ 705964 w 2708532"/>
                  <a:gd name="connsiteY2518" fmla="*/ 587819 h 820230"/>
                  <a:gd name="connsiteX2519" fmla="*/ 705964 w 2708532"/>
                  <a:gd name="connsiteY2519" fmla="*/ 577327 h 820230"/>
                  <a:gd name="connsiteX2520" fmla="*/ 700410 w 2708532"/>
                  <a:gd name="connsiteY2520" fmla="*/ 572654 h 820230"/>
                  <a:gd name="connsiteX2521" fmla="*/ 695737 w 2708532"/>
                  <a:gd name="connsiteY2521" fmla="*/ 572654 h 820230"/>
                  <a:gd name="connsiteX2522" fmla="*/ 691681 w 2708532"/>
                  <a:gd name="connsiteY2522" fmla="*/ 569127 h 820230"/>
                  <a:gd name="connsiteX2523" fmla="*/ 683217 w 2708532"/>
                  <a:gd name="connsiteY2523" fmla="*/ 569127 h 820230"/>
                  <a:gd name="connsiteX2524" fmla="*/ 681806 w 2708532"/>
                  <a:gd name="connsiteY2524" fmla="*/ 565600 h 820230"/>
                  <a:gd name="connsiteX2525" fmla="*/ 672460 w 2708532"/>
                  <a:gd name="connsiteY2525" fmla="*/ 560927 h 820230"/>
                  <a:gd name="connsiteX2526" fmla="*/ 678897 w 2708532"/>
                  <a:gd name="connsiteY2526" fmla="*/ 558018 h 820230"/>
                  <a:gd name="connsiteX2527" fmla="*/ 684716 w 2708532"/>
                  <a:gd name="connsiteY2527" fmla="*/ 550435 h 820230"/>
                  <a:gd name="connsiteX2528" fmla="*/ 678015 w 2708532"/>
                  <a:gd name="connsiteY2528" fmla="*/ 542236 h 820230"/>
                  <a:gd name="connsiteX2529" fmla="*/ 681277 w 2708532"/>
                  <a:gd name="connsiteY2529" fmla="*/ 535270 h 820230"/>
                  <a:gd name="connsiteX2530" fmla="*/ 687096 w 2708532"/>
                  <a:gd name="connsiteY2530" fmla="*/ 536681 h 820230"/>
                  <a:gd name="connsiteX2531" fmla="*/ 699087 w 2708532"/>
                  <a:gd name="connsiteY2531" fmla="*/ 535270 h 820230"/>
                  <a:gd name="connsiteX2532" fmla="*/ 699704 w 2708532"/>
                  <a:gd name="connsiteY2532" fmla="*/ 531744 h 820230"/>
                  <a:gd name="connsiteX2533" fmla="*/ 689213 w 2708532"/>
                  <a:gd name="connsiteY2533" fmla="*/ 527952 h 820230"/>
                  <a:gd name="connsiteX2534" fmla="*/ 681894 w 2708532"/>
                  <a:gd name="connsiteY2534" fmla="*/ 529451 h 820230"/>
                  <a:gd name="connsiteX2535" fmla="*/ 680131 w 2708532"/>
                  <a:gd name="connsiteY2535" fmla="*/ 525043 h 820230"/>
                  <a:gd name="connsiteX2536" fmla="*/ 673959 w 2708532"/>
                  <a:gd name="connsiteY2536" fmla="*/ 521516 h 820230"/>
                  <a:gd name="connsiteX2537" fmla="*/ 673078 w 2708532"/>
                  <a:gd name="connsiteY2537" fmla="*/ 512170 h 820230"/>
                  <a:gd name="connsiteX2538" fmla="*/ 679779 w 2708532"/>
                  <a:gd name="connsiteY2538" fmla="*/ 509790 h 820230"/>
                  <a:gd name="connsiteX2539" fmla="*/ 689124 w 2708532"/>
                  <a:gd name="connsiteY2539" fmla="*/ 512170 h 820230"/>
                  <a:gd name="connsiteX2540" fmla="*/ 694943 w 2708532"/>
                  <a:gd name="connsiteY2540" fmla="*/ 511024 h 820230"/>
                  <a:gd name="connsiteX2541" fmla="*/ 703408 w 2708532"/>
                  <a:gd name="connsiteY2541" fmla="*/ 508643 h 820230"/>
                  <a:gd name="connsiteX2542" fmla="*/ 719719 w 2708532"/>
                  <a:gd name="connsiteY2542" fmla="*/ 505117 h 820230"/>
                  <a:gd name="connsiteX2543" fmla="*/ 725273 w 2708532"/>
                  <a:gd name="connsiteY2543" fmla="*/ 502736 h 820230"/>
                  <a:gd name="connsiteX2544" fmla="*/ 739556 w 2708532"/>
                  <a:gd name="connsiteY2544" fmla="*/ 501590 h 820230"/>
                  <a:gd name="connsiteX2545" fmla="*/ 745728 w 2708532"/>
                  <a:gd name="connsiteY2545" fmla="*/ 498063 h 820230"/>
                  <a:gd name="connsiteX2546" fmla="*/ 751812 w 2708532"/>
                  <a:gd name="connsiteY2546" fmla="*/ 495154 h 820230"/>
                  <a:gd name="connsiteX2547" fmla="*/ 769005 w 2708532"/>
                  <a:gd name="connsiteY2547" fmla="*/ 495154 h 820230"/>
                  <a:gd name="connsiteX2548" fmla="*/ 787961 w 2708532"/>
                  <a:gd name="connsiteY2548" fmla="*/ 493655 h 820230"/>
                  <a:gd name="connsiteX2549" fmla="*/ 806300 w 2708532"/>
                  <a:gd name="connsiteY2549" fmla="*/ 490128 h 820230"/>
                  <a:gd name="connsiteX2550" fmla="*/ 822082 w 2708532"/>
                  <a:gd name="connsiteY2550" fmla="*/ 488100 h 820230"/>
                  <a:gd name="connsiteX2551" fmla="*/ 830811 w 2708532"/>
                  <a:gd name="connsiteY2551" fmla="*/ 484838 h 820230"/>
                  <a:gd name="connsiteX2552" fmla="*/ 838393 w 2708532"/>
                  <a:gd name="connsiteY2552" fmla="*/ 479901 h 820230"/>
                  <a:gd name="connsiteX2553" fmla="*/ 843948 w 2708532"/>
                  <a:gd name="connsiteY2553" fmla="*/ 484309 h 820230"/>
                  <a:gd name="connsiteX2554" fmla="*/ 857349 w 2708532"/>
                  <a:gd name="connsiteY2554" fmla="*/ 486954 h 820230"/>
                  <a:gd name="connsiteX2555" fmla="*/ 863433 w 2708532"/>
                  <a:gd name="connsiteY2555" fmla="*/ 495154 h 820230"/>
                  <a:gd name="connsiteX2556" fmla="*/ 875953 w 2708532"/>
                  <a:gd name="connsiteY2556" fmla="*/ 501590 h 820230"/>
                  <a:gd name="connsiteX2557" fmla="*/ 881772 w 2708532"/>
                  <a:gd name="connsiteY2557" fmla="*/ 509790 h 820230"/>
                  <a:gd name="connsiteX2558" fmla="*/ 888737 w 2708532"/>
                  <a:gd name="connsiteY2558" fmla="*/ 505117 h 820230"/>
                  <a:gd name="connsiteX2559" fmla="*/ 897466 w 2708532"/>
                  <a:gd name="connsiteY2559" fmla="*/ 509790 h 820230"/>
                  <a:gd name="connsiteX2560" fmla="*/ 907341 w 2708532"/>
                  <a:gd name="connsiteY2560" fmla="*/ 507497 h 820230"/>
                  <a:gd name="connsiteX2561" fmla="*/ 902668 w 2708532"/>
                  <a:gd name="connsiteY2561" fmla="*/ 519135 h 820230"/>
                  <a:gd name="connsiteX2562" fmla="*/ 917568 w 2708532"/>
                  <a:gd name="connsiteY2562" fmla="*/ 519135 h 820230"/>
                  <a:gd name="connsiteX2563" fmla="*/ 926033 w 2708532"/>
                  <a:gd name="connsiteY2563" fmla="*/ 524955 h 820230"/>
                  <a:gd name="connsiteX2564" fmla="*/ 929824 w 2708532"/>
                  <a:gd name="connsiteY2564" fmla="*/ 515609 h 820230"/>
                  <a:gd name="connsiteX2565" fmla="*/ 935643 w 2708532"/>
                  <a:gd name="connsiteY2565" fmla="*/ 512082 h 820230"/>
                  <a:gd name="connsiteX2566" fmla="*/ 949397 w 2708532"/>
                  <a:gd name="connsiteY2566" fmla="*/ 501590 h 820230"/>
                  <a:gd name="connsiteX2567" fmla="*/ 957861 w 2708532"/>
                  <a:gd name="connsiteY2567" fmla="*/ 498063 h 820230"/>
                  <a:gd name="connsiteX2568" fmla="*/ 962270 w 2708532"/>
                  <a:gd name="connsiteY2568" fmla="*/ 505029 h 820230"/>
                  <a:gd name="connsiteX2569" fmla="*/ 954952 w 2708532"/>
                  <a:gd name="connsiteY2569" fmla="*/ 507321 h 820230"/>
                  <a:gd name="connsiteX2570" fmla="*/ 962799 w 2708532"/>
                  <a:gd name="connsiteY2570" fmla="*/ 511994 h 820230"/>
                  <a:gd name="connsiteX2571" fmla="*/ 992247 w 2708532"/>
                  <a:gd name="connsiteY2571" fmla="*/ 524866 h 820230"/>
                  <a:gd name="connsiteX2572" fmla="*/ 998331 w 2708532"/>
                  <a:gd name="connsiteY2572" fmla="*/ 524337 h 820230"/>
                  <a:gd name="connsiteX2573" fmla="*/ 1016670 w 2708532"/>
                  <a:gd name="connsiteY2573" fmla="*/ 545586 h 820230"/>
                  <a:gd name="connsiteX2574" fmla="*/ 1020197 w 2708532"/>
                  <a:gd name="connsiteY2574" fmla="*/ 551670 h 820230"/>
                  <a:gd name="connsiteX2575" fmla="*/ 1034480 w 2708532"/>
                  <a:gd name="connsiteY2575" fmla="*/ 564542 h 820230"/>
                  <a:gd name="connsiteX2576" fmla="*/ 1044707 w 2708532"/>
                  <a:gd name="connsiteY2576" fmla="*/ 570714 h 820230"/>
                  <a:gd name="connsiteX2577" fmla="*/ 1062517 w 2708532"/>
                  <a:gd name="connsiteY2577" fmla="*/ 586496 h 820230"/>
                  <a:gd name="connsiteX2578" fmla="*/ 1069835 w 2708532"/>
                  <a:gd name="connsiteY2578" fmla="*/ 584116 h 820230"/>
                  <a:gd name="connsiteX2579" fmla="*/ 1067455 w 2708532"/>
                  <a:gd name="connsiteY2579" fmla="*/ 577150 h 820230"/>
                  <a:gd name="connsiteX2580" fmla="*/ 1075302 w 2708532"/>
                  <a:gd name="connsiteY2580" fmla="*/ 574241 h 820230"/>
                  <a:gd name="connsiteX2581" fmla="*/ 1084030 w 2708532"/>
                  <a:gd name="connsiteY2581" fmla="*/ 576004 h 820230"/>
                  <a:gd name="connsiteX2582" fmla="*/ 1089585 w 2708532"/>
                  <a:gd name="connsiteY2582" fmla="*/ 579531 h 820230"/>
                  <a:gd name="connsiteX2583" fmla="*/ 1100341 w 2708532"/>
                  <a:gd name="connsiteY2583" fmla="*/ 579531 h 820230"/>
                  <a:gd name="connsiteX2584" fmla="*/ 1104397 w 2708532"/>
                  <a:gd name="connsiteY2584" fmla="*/ 574858 h 820230"/>
                  <a:gd name="connsiteX2585" fmla="*/ 1111362 w 2708532"/>
                  <a:gd name="connsiteY2585" fmla="*/ 573712 h 820230"/>
                  <a:gd name="connsiteX2586" fmla="*/ 1118680 w 2708532"/>
                  <a:gd name="connsiteY2586" fmla="*/ 575475 h 820230"/>
                  <a:gd name="connsiteX2587" fmla="*/ 1124235 w 2708532"/>
                  <a:gd name="connsiteY2587" fmla="*/ 583939 h 820230"/>
                  <a:gd name="connsiteX2588" fmla="*/ 1128026 w 2708532"/>
                  <a:gd name="connsiteY2588" fmla="*/ 592403 h 820230"/>
                  <a:gd name="connsiteX2589" fmla="*/ 1135873 w 2708532"/>
                  <a:gd name="connsiteY2589" fmla="*/ 593285 h 820230"/>
                  <a:gd name="connsiteX2590" fmla="*/ 1142574 w 2708532"/>
                  <a:gd name="connsiteY2590" fmla="*/ 588877 h 820230"/>
                  <a:gd name="connsiteX2591" fmla="*/ 1150157 w 2708532"/>
                  <a:gd name="connsiteY2591" fmla="*/ 590023 h 820230"/>
                  <a:gd name="connsiteX2592" fmla="*/ 1160384 w 2708532"/>
                  <a:gd name="connsiteY2592" fmla="*/ 596724 h 820230"/>
                  <a:gd name="connsiteX2593" fmla="*/ 1167350 w 2708532"/>
                  <a:gd name="connsiteY2593" fmla="*/ 606598 h 820230"/>
                  <a:gd name="connsiteX2594" fmla="*/ 1178106 w 2708532"/>
                  <a:gd name="connsiteY2594" fmla="*/ 608362 h 820230"/>
                  <a:gd name="connsiteX2595" fmla="*/ 1181897 w 2708532"/>
                  <a:gd name="connsiteY2595" fmla="*/ 614798 h 820230"/>
                  <a:gd name="connsiteX2596" fmla="*/ 1195916 w 2708532"/>
                  <a:gd name="connsiteY2596" fmla="*/ 618325 h 820230"/>
                  <a:gd name="connsiteX2597" fmla="*/ 1200589 w 2708532"/>
                  <a:gd name="connsiteY2597" fmla="*/ 611360 h 820230"/>
                  <a:gd name="connsiteX2598" fmla="*/ 1203234 w 2708532"/>
                  <a:gd name="connsiteY2598" fmla="*/ 617179 h 820230"/>
                  <a:gd name="connsiteX2599" fmla="*/ 1211963 w 2708532"/>
                  <a:gd name="connsiteY2599" fmla="*/ 619824 h 820230"/>
                  <a:gd name="connsiteX2600" fmla="*/ 1229156 w 2708532"/>
                  <a:gd name="connsiteY2600" fmla="*/ 631462 h 820230"/>
                  <a:gd name="connsiteX2601" fmla="*/ 1231183 w 2708532"/>
                  <a:gd name="connsiteY2601" fmla="*/ 621852 h 820230"/>
                  <a:gd name="connsiteX2602" fmla="*/ 1241940 w 2708532"/>
                  <a:gd name="connsiteY2602" fmla="*/ 620705 h 820230"/>
                  <a:gd name="connsiteX2603" fmla="*/ 1255077 w 2708532"/>
                  <a:gd name="connsiteY2603" fmla="*/ 618678 h 820230"/>
                  <a:gd name="connsiteX2604" fmla="*/ 1256223 w 2708532"/>
                  <a:gd name="connsiteY2604" fmla="*/ 611360 h 820230"/>
                  <a:gd name="connsiteX2605" fmla="*/ 1266716 w 2708532"/>
                  <a:gd name="connsiteY2605" fmla="*/ 605540 h 820230"/>
                  <a:gd name="connsiteX2606" fmla="*/ 1275179 w 2708532"/>
                  <a:gd name="connsiteY2606" fmla="*/ 599721 h 820230"/>
                  <a:gd name="connsiteX2607" fmla="*/ 1280734 w 2708532"/>
                  <a:gd name="connsiteY2607" fmla="*/ 594784 h 820230"/>
                  <a:gd name="connsiteX2608" fmla="*/ 1290345 w 2708532"/>
                  <a:gd name="connsiteY2608" fmla="*/ 598840 h 820230"/>
                  <a:gd name="connsiteX2609" fmla="*/ 1300572 w 2708532"/>
                  <a:gd name="connsiteY2609" fmla="*/ 598222 h 820230"/>
                  <a:gd name="connsiteX2610" fmla="*/ 1320675 w 2708532"/>
                  <a:gd name="connsiteY2610" fmla="*/ 598222 h 820230"/>
                  <a:gd name="connsiteX2611" fmla="*/ 1327111 w 2708532"/>
                  <a:gd name="connsiteY2611" fmla="*/ 603513 h 820230"/>
                  <a:gd name="connsiteX2612" fmla="*/ 1342540 w 2708532"/>
                  <a:gd name="connsiteY2612" fmla="*/ 605540 h 820230"/>
                  <a:gd name="connsiteX2613" fmla="*/ 1359204 w 2708532"/>
                  <a:gd name="connsiteY2613" fmla="*/ 611360 h 820230"/>
                  <a:gd name="connsiteX2614" fmla="*/ 1369431 w 2708532"/>
                  <a:gd name="connsiteY2614" fmla="*/ 612506 h 820230"/>
                  <a:gd name="connsiteX2615" fmla="*/ 1386360 w 2708532"/>
                  <a:gd name="connsiteY2615" fmla="*/ 610478 h 820230"/>
                  <a:gd name="connsiteX2616" fmla="*/ 1397998 w 2708532"/>
                  <a:gd name="connsiteY2616" fmla="*/ 610213 h 820230"/>
                  <a:gd name="connsiteX2617" fmla="*/ 1404963 w 2708532"/>
                  <a:gd name="connsiteY2617" fmla="*/ 614534 h 820230"/>
                  <a:gd name="connsiteX2618" fmla="*/ 1411664 w 2708532"/>
                  <a:gd name="connsiteY2618" fmla="*/ 609596 h 820230"/>
                  <a:gd name="connsiteX2619" fmla="*/ 1413163 w 2708532"/>
                  <a:gd name="connsiteY2619" fmla="*/ 603160 h 820230"/>
                  <a:gd name="connsiteX2620" fmla="*/ 1407344 w 2708532"/>
                  <a:gd name="connsiteY2620" fmla="*/ 598487 h 820230"/>
                  <a:gd name="connsiteX2621" fmla="*/ 1407608 w 2708532"/>
                  <a:gd name="connsiteY2621" fmla="*/ 589758 h 820230"/>
                  <a:gd name="connsiteX2622" fmla="*/ 1397734 w 2708532"/>
                  <a:gd name="connsiteY2622" fmla="*/ 585350 h 820230"/>
                  <a:gd name="connsiteX2623" fmla="*/ 1397469 w 2708532"/>
                  <a:gd name="connsiteY2623" fmla="*/ 569920 h 820230"/>
                  <a:gd name="connsiteX2624" fmla="*/ 1394824 w 2708532"/>
                  <a:gd name="connsiteY2624" fmla="*/ 561192 h 820230"/>
                  <a:gd name="connsiteX2625" fmla="*/ 1403023 w 2708532"/>
                  <a:gd name="connsiteY2625" fmla="*/ 566746 h 820230"/>
                  <a:gd name="connsiteX2626" fmla="*/ 1409724 w 2708532"/>
                  <a:gd name="connsiteY2626" fmla="*/ 570802 h 820230"/>
                  <a:gd name="connsiteX2627" fmla="*/ 1427535 w 2708532"/>
                  <a:gd name="connsiteY2627" fmla="*/ 567893 h 820230"/>
                  <a:gd name="connsiteX2628" fmla="*/ 1443317 w 2708532"/>
                  <a:gd name="connsiteY2628" fmla="*/ 569039 h 820230"/>
                  <a:gd name="connsiteX2629" fmla="*/ 1462273 w 2708532"/>
                  <a:gd name="connsiteY2629" fmla="*/ 573712 h 820230"/>
                  <a:gd name="connsiteX2630" fmla="*/ 1477438 w 2708532"/>
                  <a:gd name="connsiteY2630" fmla="*/ 578385 h 820230"/>
                  <a:gd name="connsiteX2631" fmla="*/ 1480083 w 2708532"/>
                  <a:gd name="connsiteY2631" fmla="*/ 585967 h 820230"/>
                  <a:gd name="connsiteX2632" fmla="*/ 1484139 w 2708532"/>
                  <a:gd name="connsiteY2632" fmla="*/ 589141 h 820230"/>
                  <a:gd name="connsiteX2633" fmla="*/ 1488811 w 2708532"/>
                  <a:gd name="connsiteY2633" fmla="*/ 595842 h 820230"/>
                  <a:gd name="connsiteX2634" fmla="*/ 1503095 w 2708532"/>
                  <a:gd name="connsiteY2634" fmla="*/ 596988 h 820230"/>
                  <a:gd name="connsiteX2635" fmla="*/ 1512705 w 2708532"/>
                  <a:gd name="connsiteY2635" fmla="*/ 601397 h 820230"/>
                  <a:gd name="connsiteX2636" fmla="*/ 1521434 w 2708532"/>
                  <a:gd name="connsiteY2636" fmla="*/ 596106 h 820230"/>
                  <a:gd name="connsiteX2637" fmla="*/ 1536599 w 2708532"/>
                  <a:gd name="connsiteY2637" fmla="*/ 596724 h 820230"/>
                  <a:gd name="connsiteX2638" fmla="*/ 1548590 w 2708532"/>
                  <a:gd name="connsiteY2638" fmla="*/ 598134 h 820230"/>
                  <a:gd name="connsiteX2639" fmla="*/ 1573982 w 2708532"/>
                  <a:gd name="connsiteY2639" fmla="*/ 602190 h 820230"/>
                  <a:gd name="connsiteX2640" fmla="*/ 1587648 w 2708532"/>
                  <a:gd name="connsiteY2640" fmla="*/ 612947 h 820230"/>
                  <a:gd name="connsiteX2641" fmla="*/ 1609514 w 2708532"/>
                  <a:gd name="connsiteY2641" fmla="*/ 618237 h 820230"/>
                  <a:gd name="connsiteX2642" fmla="*/ 1636934 w 2708532"/>
                  <a:gd name="connsiteY2642" fmla="*/ 625290 h 820230"/>
                  <a:gd name="connsiteX2643" fmla="*/ 1652099 w 2708532"/>
                  <a:gd name="connsiteY2643" fmla="*/ 630228 h 820230"/>
                  <a:gd name="connsiteX2644" fmla="*/ 1662327 w 2708532"/>
                  <a:gd name="connsiteY2644" fmla="*/ 627935 h 820230"/>
                  <a:gd name="connsiteX2645" fmla="*/ 1680401 w 2708532"/>
                  <a:gd name="connsiteY2645" fmla="*/ 625290 h 820230"/>
                  <a:gd name="connsiteX2646" fmla="*/ 1710731 w 2708532"/>
                  <a:gd name="connsiteY2646" fmla="*/ 608979 h 820230"/>
                  <a:gd name="connsiteX2647" fmla="*/ 1732068 w 2708532"/>
                  <a:gd name="connsiteY2647" fmla="*/ 607833 h 820230"/>
                  <a:gd name="connsiteX2648" fmla="*/ 1756226 w 2708532"/>
                  <a:gd name="connsiteY2648" fmla="*/ 612506 h 820230"/>
                  <a:gd name="connsiteX2649" fmla="*/ 1762663 w 2708532"/>
                  <a:gd name="connsiteY2649" fmla="*/ 608979 h 820230"/>
                  <a:gd name="connsiteX2650" fmla="*/ 1776064 w 2708532"/>
                  <a:gd name="connsiteY2650" fmla="*/ 614798 h 820230"/>
                  <a:gd name="connsiteX2651" fmla="*/ 1804630 w 2708532"/>
                  <a:gd name="connsiteY2651" fmla="*/ 621763 h 820230"/>
                  <a:gd name="connsiteX2652" fmla="*/ 1827378 w 2708532"/>
                  <a:gd name="connsiteY2652" fmla="*/ 592315 h 820230"/>
                  <a:gd name="connsiteX2653" fmla="*/ 1811067 w 2708532"/>
                  <a:gd name="connsiteY2653" fmla="*/ 577150 h 820230"/>
                  <a:gd name="connsiteX2654" fmla="*/ 1811067 w 2708532"/>
                  <a:gd name="connsiteY2654" fmla="*/ 558459 h 820230"/>
                  <a:gd name="connsiteX2655" fmla="*/ 1796431 w 2708532"/>
                  <a:gd name="connsiteY2655" fmla="*/ 551405 h 820230"/>
                  <a:gd name="connsiteX2656" fmla="*/ 1810097 w 2708532"/>
                  <a:gd name="connsiteY2656" fmla="*/ 524866 h 820230"/>
                  <a:gd name="connsiteX2657" fmla="*/ 1846599 w 2708532"/>
                  <a:gd name="connsiteY2657" fmla="*/ 532713 h 820230"/>
                  <a:gd name="connsiteX2658" fmla="*/ 1884776 w 2708532"/>
                  <a:gd name="connsiteY2658" fmla="*/ 537386 h 820230"/>
                  <a:gd name="connsiteX2659" fmla="*/ 1920660 w 2708532"/>
                  <a:gd name="connsiteY2659" fmla="*/ 559517 h 820230"/>
                  <a:gd name="connsiteX2660" fmla="*/ 1932916 w 2708532"/>
                  <a:gd name="connsiteY2660" fmla="*/ 571772 h 820230"/>
                  <a:gd name="connsiteX2661" fmla="*/ 1949491 w 2708532"/>
                  <a:gd name="connsiteY2661" fmla="*/ 584027 h 820230"/>
                  <a:gd name="connsiteX2662" fmla="*/ 1975148 w 2708532"/>
                  <a:gd name="connsiteY2662" fmla="*/ 606510 h 820230"/>
                  <a:gd name="connsiteX2663" fmla="*/ 1999659 w 2708532"/>
                  <a:gd name="connsiteY2663" fmla="*/ 624320 h 820230"/>
                  <a:gd name="connsiteX2664" fmla="*/ 2034926 w 2708532"/>
                  <a:gd name="connsiteY2664" fmla="*/ 630139 h 820230"/>
                  <a:gd name="connsiteX2665" fmla="*/ 2059701 w 2708532"/>
                  <a:gd name="connsiteY2665" fmla="*/ 640631 h 820230"/>
                  <a:gd name="connsiteX2666" fmla="*/ 2074867 w 2708532"/>
                  <a:gd name="connsiteY2666" fmla="*/ 657295 h 820230"/>
                  <a:gd name="connsiteX2667" fmla="*/ 2105814 w 2708532"/>
                  <a:gd name="connsiteY2667" fmla="*/ 666906 h 820230"/>
                  <a:gd name="connsiteX2668" fmla="*/ 2116306 w 2708532"/>
                  <a:gd name="connsiteY2668" fmla="*/ 659588 h 820230"/>
                  <a:gd name="connsiteX2669" fmla="*/ 2135879 w 2708532"/>
                  <a:gd name="connsiteY2669" fmla="*/ 653416 h 820230"/>
                  <a:gd name="connsiteX2670" fmla="*/ 2147517 w 2708532"/>
                  <a:gd name="connsiteY2670" fmla="*/ 650242 h 820230"/>
                  <a:gd name="connsiteX2671" fmla="*/ 2147253 w 2708532"/>
                  <a:gd name="connsiteY2671" fmla="*/ 665142 h 820230"/>
                  <a:gd name="connsiteX2672" fmla="*/ 2144608 w 2708532"/>
                  <a:gd name="connsiteY2672" fmla="*/ 679690 h 820230"/>
                  <a:gd name="connsiteX2673" fmla="*/ 2149545 w 2708532"/>
                  <a:gd name="connsiteY2673" fmla="*/ 690799 h 820230"/>
                  <a:gd name="connsiteX2674" fmla="*/ 2152984 w 2708532"/>
                  <a:gd name="connsiteY2674" fmla="*/ 703672 h 820230"/>
                  <a:gd name="connsiteX2675" fmla="*/ 2160037 w 2708532"/>
                  <a:gd name="connsiteY2675" fmla="*/ 712400 h 820230"/>
                  <a:gd name="connsiteX2676" fmla="*/ 2163212 w 2708532"/>
                  <a:gd name="connsiteY2676" fmla="*/ 722011 h 820230"/>
                  <a:gd name="connsiteX2677" fmla="*/ 2153337 w 2708532"/>
                  <a:gd name="connsiteY2677" fmla="*/ 723422 h 820230"/>
                  <a:gd name="connsiteX2678" fmla="*/ 2143374 w 2708532"/>
                  <a:gd name="connsiteY2678" fmla="*/ 727477 h 820230"/>
                  <a:gd name="connsiteX2679" fmla="*/ 2145137 w 2708532"/>
                  <a:gd name="connsiteY2679" fmla="*/ 738851 h 820230"/>
                  <a:gd name="connsiteX2680" fmla="*/ 2142227 w 2708532"/>
                  <a:gd name="connsiteY2680" fmla="*/ 751371 h 820230"/>
                  <a:gd name="connsiteX2681" fmla="*/ 2150339 w 2708532"/>
                  <a:gd name="connsiteY2681" fmla="*/ 772091 h 820230"/>
                  <a:gd name="connsiteX2682" fmla="*/ 2146548 w 2708532"/>
                  <a:gd name="connsiteY2682" fmla="*/ 786374 h 820230"/>
                  <a:gd name="connsiteX2683" fmla="*/ 2169912 w 2708532"/>
                  <a:gd name="connsiteY2683" fmla="*/ 789901 h 820230"/>
                  <a:gd name="connsiteX2684" fmla="*/ 2171940 w 2708532"/>
                  <a:gd name="connsiteY2684" fmla="*/ 790165 h 820230"/>
                  <a:gd name="connsiteX2685" fmla="*/ 2172557 w 2708532"/>
                  <a:gd name="connsiteY2685" fmla="*/ 790165 h 820230"/>
                  <a:gd name="connsiteX2686" fmla="*/ 2173175 w 2708532"/>
                  <a:gd name="connsiteY2686" fmla="*/ 789548 h 820230"/>
                  <a:gd name="connsiteX2687" fmla="*/ 2172557 w 2708532"/>
                  <a:gd name="connsiteY2687" fmla="*/ 786638 h 820230"/>
                  <a:gd name="connsiteX2688" fmla="*/ 2173175 w 2708532"/>
                  <a:gd name="connsiteY2688" fmla="*/ 786021 h 820230"/>
                  <a:gd name="connsiteX2689" fmla="*/ 2174320 w 2708532"/>
                  <a:gd name="connsiteY2689" fmla="*/ 786021 h 820230"/>
                  <a:gd name="connsiteX2690" fmla="*/ 2174056 w 2708532"/>
                  <a:gd name="connsiteY2690" fmla="*/ 787784 h 820230"/>
                  <a:gd name="connsiteX2691" fmla="*/ 2174938 w 2708532"/>
                  <a:gd name="connsiteY2691" fmla="*/ 789283 h 820230"/>
                  <a:gd name="connsiteX2692" fmla="*/ 2175820 w 2708532"/>
                  <a:gd name="connsiteY2692" fmla="*/ 789283 h 820230"/>
                  <a:gd name="connsiteX2693" fmla="*/ 2175202 w 2708532"/>
                  <a:gd name="connsiteY2693" fmla="*/ 789019 h 820230"/>
                  <a:gd name="connsiteX2694" fmla="*/ 2175820 w 2708532"/>
                  <a:gd name="connsiteY2694" fmla="*/ 788402 h 820230"/>
                  <a:gd name="connsiteX2695" fmla="*/ 2175820 w 2708532"/>
                  <a:gd name="connsiteY2695" fmla="*/ 786374 h 820230"/>
                  <a:gd name="connsiteX2696" fmla="*/ 2175555 w 2708532"/>
                  <a:gd name="connsiteY2696" fmla="*/ 785492 h 820230"/>
                  <a:gd name="connsiteX2697" fmla="*/ 2175555 w 2708532"/>
                  <a:gd name="connsiteY2697" fmla="*/ 783729 h 820230"/>
                  <a:gd name="connsiteX2698" fmla="*/ 2176701 w 2708532"/>
                  <a:gd name="connsiteY2698" fmla="*/ 782583 h 820230"/>
                  <a:gd name="connsiteX2699" fmla="*/ 2177936 w 2708532"/>
                  <a:gd name="connsiteY2699" fmla="*/ 781965 h 820230"/>
                  <a:gd name="connsiteX2700" fmla="*/ 2179963 w 2708532"/>
                  <a:gd name="connsiteY2700" fmla="*/ 780819 h 820230"/>
                  <a:gd name="connsiteX2701" fmla="*/ 2181991 w 2708532"/>
                  <a:gd name="connsiteY2701" fmla="*/ 781084 h 820230"/>
                  <a:gd name="connsiteX2702" fmla="*/ 2183490 w 2708532"/>
                  <a:gd name="connsiteY2702" fmla="*/ 782230 h 820230"/>
                  <a:gd name="connsiteX2703" fmla="*/ 2185518 w 2708532"/>
                  <a:gd name="connsiteY2703" fmla="*/ 782230 h 820230"/>
                  <a:gd name="connsiteX2704" fmla="*/ 2184901 w 2708532"/>
                  <a:gd name="connsiteY2704" fmla="*/ 783641 h 820230"/>
                  <a:gd name="connsiteX2705" fmla="*/ 2182520 w 2708532"/>
                  <a:gd name="connsiteY2705" fmla="*/ 783905 h 820230"/>
                  <a:gd name="connsiteX2706" fmla="*/ 2180757 w 2708532"/>
                  <a:gd name="connsiteY2706" fmla="*/ 784787 h 820230"/>
                  <a:gd name="connsiteX2707" fmla="*/ 2178112 w 2708532"/>
                  <a:gd name="connsiteY2707" fmla="*/ 788049 h 820230"/>
                  <a:gd name="connsiteX2708" fmla="*/ 2178112 w 2708532"/>
                  <a:gd name="connsiteY2708" fmla="*/ 789812 h 820230"/>
                  <a:gd name="connsiteX2709" fmla="*/ 2180140 w 2708532"/>
                  <a:gd name="connsiteY2709" fmla="*/ 790430 h 820230"/>
                  <a:gd name="connsiteX2710" fmla="*/ 2181638 w 2708532"/>
                  <a:gd name="connsiteY2710" fmla="*/ 788666 h 820230"/>
                  <a:gd name="connsiteX2711" fmla="*/ 2184548 w 2708532"/>
                  <a:gd name="connsiteY2711" fmla="*/ 788402 h 820230"/>
                  <a:gd name="connsiteX2712" fmla="*/ 2186047 w 2708532"/>
                  <a:gd name="connsiteY2712" fmla="*/ 787255 h 820230"/>
                  <a:gd name="connsiteX2713" fmla="*/ 2186312 w 2708532"/>
                  <a:gd name="connsiteY2713" fmla="*/ 788137 h 820230"/>
                  <a:gd name="connsiteX2714" fmla="*/ 2188692 w 2708532"/>
                  <a:gd name="connsiteY2714" fmla="*/ 788137 h 820230"/>
                  <a:gd name="connsiteX2715" fmla="*/ 2190103 w 2708532"/>
                  <a:gd name="connsiteY2715" fmla="*/ 787255 h 820230"/>
                  <a:gd name="connsiteX2716" fmla="*/ 2193013 w 2708532"/>
                  <a:gd name="connsiteY2716" fmla="*/ 787873 h 820230"/>
                  <a:gd name="connsiteX2717" fmla="*/ 2193894 w 2708532"/>
                  <a:gd name="connsiteY2717" fmla="*/ 787255 h 820230"/>
                  <a:gd name="connsiteX2718" fmla="*/ 2195040 w 2708532"/>
                  <a:gd name="connsiteY2718" fmla="*/ 787873 h 820230"/>
                  <a:gd name="connsiteX2719" fmla="*/ 2196186 w 2708532"/>
                  <a:gd name="connsiteY2719" fmla="*/ 787608 h 820230"/>
                  <a:gd name="connsiteX2720" fmla="*/ 2198479 w 2708532"/>
                  <a:gd name="connsiteY2720" fmla="*/ 787873 h 820230"/>
                  <a:gd name="connsiteX2721" fmla="*/ 2199360 w 2708532"/>
                  <a:gd name="connsiteY2721" fmla="*/ 789372 h 820230"/>
                  <a:gd name="connsiteX2722" fmla="*/ 2198214 w 2708532"/>
                  <a:gd name="connsiteY2722" fmla="*/ 790253 h 820230"/>
                  <a:gd name="connsiteX2723" fmla="*/ 2199713 w 2708532"/>
                  <a:gd name="connsiteY2723" fmla="*/ 790870 h 820230"/>
                  <a:gd name="connsiteX2724" fmla="*/ 2202094 w 2708532"/>
                  <a:gd name="connsiteY2724" fmla="*/ 790253 h 820230"/>
                  <a:gd name="connsiteX2725" fmla="*/ 2203592 w 2708532"/>
                  <a:gd name="connsiteY2725" fmla="*/ 790870 h 820230"/>
                  <a:gd name="connsiteX2726" fmla="*/ 2205885 w 2708532"/>
                  <a:gd name="connsiteY2726" fmla="*/ 790606 h 820230"/>
                  <a:gd name="connsiteX2727" fmla="*/ 2207031 w 2708532"/>
                  <a:gd name="connsiteY2727" fmla="*/ 789195 h 820230"/>
                  <a:gd name="connsiteX2728" fmla="*/ 2209412 w 2708532"/>
                  <a:gd name="connsiteY2728" fmla="*/ 788931 h 820230"/>
                  <a:gd name="connsiteX2729" fmla="*/ 2210558 w 2708532"/>
                  <a:gd name="connsiteY2729" fmla="*/ 790341 h 820230"/>
                  <a:gd name="connsiteX2730" fmla="*/ 2212321 w 2708532"/>
                  <a:gd name="connsiteY2730" fmla="*/ 790959 h 820230"/>
                  <a:gd name="connsiteX2731" fmla="*/ 2214613 w 2708532"/>
                  <a:gd name="connsiteY2731" fmla="*/ 789195 h 820230"/>
                  <a:gd name="connsiteX2732" fmla="*/ 2215495 w 2708532"/>
                  <a:gd name="connsiteY2732" fmla="*/ 787432 h 820230"/>
                  <a:gd name="connsiteX2733" fmla="*/ 2215495 w 2708532"/>
                  <a:gd name="connsiteY2733" fmla="*/ 785933 h 820230"/>
                  <a:gd name="connsiteX2734" fmla="*/ 2217259 w 2708532"/>
                  <a:gd name="connsiteY2734" fmla="*/ 785051 h 820230"/>
                  <a:gd name="connsiteX2735" fmla="*/ 2216906 w 2708532"/>
                  <a:gd name="connsiteY2735" fmla="*/ 783905 h 820230"/>
                  <a:gd name="connsiteX2736" fmla="*/ 2221579 w 2708532"/>
                  <a:gd name="connsiteY2736" fmla="*/ 783905 h 820230"/>
                  <a:gd name="connsiteX2737" fmla="*/ 2222989 w 2708532"/>
                  <a:gd name="connsiteY2737" fmla="*/ 781260 h 820230"/>
                  <a:gd name="connsiteX2738" fmla="*/ 2224488 w 2708532"/>
                  <a:gd name="connsiteY2738" fmla="*/ 780995 h 820230"/>
                  <a:gd name="connsiteX2739" fmla="*/ 2226516 w 2708532"/>
                  <a:gd name="connsiteY2739" fmla="*/ 778615 h 820230"/>
                  <a:gd name="connsiteX2740" fmla="*/ 2228809 w 2708532"/>
                  <a:gd name="connsiteY2740" fmla="*/ 777469 h 820230"/>
                  <a:gd name="connsiteX2741" fmla="*/ 2230308 w 2708532"/>
                  <a:gd name="connsiteY2741" fmla="*/ 774824 h 820230"/>
                  <a:gd name="connsiteX2742" fmla="*/ 2230925 w 2708532"/>
                  <a:gd name="connsiteY2742" fmla="*/ 773060 h 820230"/>
                  <a:gd name="connsiteX2743" fmla="*/ 2232688 w 2708532"/>
                  <a:gd name="connsiteY2743" fmla="*/ 771650 h 820230"/>
                  <a:gd name="connsiteX2744" fmla="*/ 2232424 w 2708532"/>
                  <a:gd name="connsiteY2744" fmla="*/ 770151 h 820230"/>
                  <a:gd name="connsiteX2745" fmla="*/ 2232688 w 2708532"/>
                  <a:gd name="connsiteY2745" fmla="*/ 765742 h 820230"/>
                  <a:gd name="connsiteX2746" fmla="*/ 2234980 w 2708532"/>
                  <a:gd name="connsiteY2746" fmla="*/ 763715 h 820230"/>
                  <a:gd name="connsiteX2747" fmla="*/ 2236126 w 2708532"/>
                  <a:gd name="connsiteY2747" fmla="*/ 761687 h 820230"/>
                  <a:gd name="connsiteX2748" fmla="*/ 2234628 w 2708532"/>
                  <a:gd name="connsiteY2748" fmla="*/ 761422 h 820230"/>
                  <a:gd name="connsiteX2749" fmla="*/ 2234364 w 2708532"/>
                  <a:gd name="connsiteY2749" fmla="*/ 759394 h 820230"/>
                  <a:gd name="connsiteX2750" fmla="*/ 2232071 w 2708532"/>
                  <a:gd name="connsiteY2750" fmla="*/ 759659 h 820230"/>
                  <a:gd name="connsiteX2751" fmla="*/ 2233217 w 2708532"/>
                  <a:gd name="connsiteY2751" fmla="*/ 756397 h 820230"/>
                  <a:gd name="connsiteX2752" fmla="*/ 2235862 w 2708532"/>
                  <a:gd name="connsiteY2752" fmla="*/ 756397 h 820230"/>
                  <a:gd name="connsiteX2753" fmla="*/ 2237626 w 2708532"/>
                  <a:gd name="connsiteY2753" fmla="*/ 754633 h 820230"/>
                  <a:gd name="connsiteX2754" fmla="*/ 2236215 w 2708532"/>
                  <a:gd name="connsiteY2754" fmla="*/ 752341 h 820230"/>
                  <a:gd name="connsiteX2755" fmla="*/ 2236215 w 2708532"/>
                  <a:gd name="connsiteY2755" fmla="*/ 749167 h 820230"/>
                  <a:gd name="connsiteX2756" fmla="*/ 2235950 w 2708532"/>
                  <a:gd name="connsiteY2756" fmla="*/ 744758 h 820230"/>
                  <a:gd name="connsiteX2757" fmla="*/ 2238860 w 2708532"/>
                  <a:gd name="connsiteY2757" fmla="*/ 745376 h 820230"/>
                  <a:gd name="connsiteX2758" fmla="*/ 2239124 w 2708532"/>
                  <a:gd name="connsiteY2758" fmla="*/ 741584 h 820230"/>
                  <a:gd name="connsiteX2759" fmla="*/ 2240271 w 2708532"/>
                  <a:gd name="connsiteY2759" fmla="*/ 738410 h 820230"/>
                  <a:gd name="connsiteX2760" fmla="*/ 2240535 w 2708532"/>
                  <a:gd name="connsiteY2760" fmla="*/ 735501 h 820230"/>
                  <a:gd name="connsiteX2761" fmla="*/ 2238772 w 2708532"/>
                  <a:gd name="connsiteY2761" fmla="*/ 733473 h 820230"/>
                  <a:gd name="connsiteX2762" fmla="*/ 2241417 w 2708532"/>
                  <a:gd name="connsiteY2762" fmla="*/ 731445 h 820230"/>
                  <a:gd name="connsiteX2763" fmla="*/ 2241152 w 2708532"/>
                  <a:gd name="connsiteY2763" fmla="*/ 728800 h 820230"/>
                  <a:gd name="connsiteX2764" fmla="*/ 2241417 w 2708532"/>
                  <a:gd name="connsiteY2764" fmla="*/ 723862 h 820230"/>
                  <a:gd name="connsiteX2765" fmla="*/ 2242034 w 2708532"/>
                  <a:gd name="connsiteY2765" fmla="*/ 722099 h 820230"/>
                  <a:gd name="connsiteX2766" fmla="*/ 2244062 w 2708532"/>
                  <a:gd name="connsiteY2766" fmla="*/ 720336 h 820230"/>
                  <a:gd name="connsiteX2767" fmla="*/ 2245208 w 2708532"/>
                  <a:gd name="connsiteY2767" fmla="*/ 719454 h 820230"/>
                  <a:gd name="connsiteX2768" fmla="*/ 2244591 w 2708532"/>
                  <a:gd name="connsiteY2768" fmla="*/ 715398 h 820230"/>
                  <a:gd name="connsiteX2769" fmla="*/ 2243180 w 2708532"/>
                  <a:gd name="connsiteY2769" fmla="*/ 713370 h 820230"/>
                  <a:gd name="connsiteX2770" fmla="*/ 2246090 w 2708532"/>
                  <a:gd name="connsiteY2770" fmla="*/ 711960 h 820230"/>
                  <a:gd name="connsiteX2771" fmla="*/ 2247236 w 2708532"/>
                  <a:gd name="connsiteY2771" fmla="*/ 709315 h 820230"/>
                  <a:gd name="connsiteX2772" fmla="*/ 2245208 w 2708532"/>
                  <a:gd name="connsiteY2772" fmla="*/ 706934 h 820230"/>
                  <a:gd name="connsiteX2773" fmla="*/ 2244591 w 2708532"/>
                  <a:gd name="connsiteY2773" fmla="*/ 705171 h 820230"/>
                  <a:gd name="connsiteX2774" fmla="*/ 2247853 w 2708532"/>
                  <a:gd name="connsiteY2774" fmla="*/ 707463 h 820230"/>
                  <a:gd name="connsiteX2775" fmla="*/ 2247324 w 2708532"/>
                  <a:gd name="connsiteY2775" fmla="*/ 702526 h 820230"/>
                  <a:gd name="connsiteX2776" fmla="*/ 2244062 w 2708532"/>
                  <a:gd name="connsiteY2776" fmla="*/ 701644 h 820230"/>
                  <a:gd name="connsiteX2777" fmla="*/ 2243533 w 2708532"/>
                  <a:gd name="connsiteY2777" fmla="*/ 698735 h 820230"/>
                  <a:gd name="connsiteX2778" fmla="*/ 2243797 w 2708532"/>
                  <a:gd name="connsiteY2778" fmla="*/ 695560 h 820230"/>
                  <a:gd name="connsiteX2779" fmla="*/ 2245296 w 2708532"/>
                  <a:gd name="connsiteY2779" fmla="*/ 693532 h 820230"/>
                  <a:gd name="connsiteX2780" fmla="*/ 2244679 w 2708532"/>
                  <a:gd name="connsiteY2780" fmla="*/ 691505 h 820230"/>
                  <a:gd name="connsiteX2781" fmla="*/ 2243268 w 2708532"/>
                  <a:gd name="connsiteY2781" fmla="*/ 690623 h 820230"/>
                  <a:gd name="connsiteX2782" fmla="*/ 2241505 w 2708532"/>
                  <a:gd name="connsiteY2782" fmla="*/ 689741 h 820230"/>
                  <a:gd name="connsiteX2783" fmla="*/ 2246707 w 2708532"/>
                  <a:gd name="connsiteY2783" fmla="*/ 688595 h 820230"/>
                  <a:gd name="connsiteX2784" fmla="*/ 2243533 w 2708532"/>
                  <a:gd name="connsiteY2784" fmla="*/ 684539 h 820230"/>
                  <a:gd name="connsiteX2785" fmla="*/ 2241152 w 2708532"/>
                  <a:gd name="connsiteY2785" fmla="*/ 683658 h 820230"/>
                  <a:gd name="connsiteX2786" fmla="*/ 2242298 w 2708532"/>
                  <a:gd name="connsiteY2786" fmla="*/ 681630 h 820230"/>
                  <a:gd name="connsiteX2787" fmla="*/ 2244943 w 2708532"/>
                  <a:gd name="connsiteY2787" fmla="*/ 681365 h 820230"/>
                  <a:gd name="connsiteX2788" fmla="*/ 2240888 w 2708532"/>
                  <a:gd name="connsiteY2788" fmla="*/ 681365 h 820230"/>
                  <a:gd name="connsiteX2789" fmla="*/ 2242916 w 2708532"/>
                  <a:gd name="connsiteY2789" fmla="*/ 679337 h 820230"/>
                  <a:gd name="connsiteX2790" fmla="*/ 2242651 w 2708532"/>
                  <a:gd name="connsiteY2790" fmla="*/ 677310 h 820230"/>
                  <a:gd name="connsiteX2791" fmla="*/ 2242034 w 2708532"/>
                  <a:gd name="connsiteY2791" fmla="*/ 675282 h 820230"/>
                  <a:gd name="connsiteX2792" fmla="*/ 2242651 w 2708532"/>
                  <a:gd name="connsiteY2792" fmla="*/ 672989 h 820230"/>
                  <a:gd name="connsiteX2793" fmla="*/ 2244679 w 2708532"/>
                  <a:gd name="connsiteY2793" fmla="*/ 671843 h 820230"/>
                  <a:gd name="connsiteX2794" fmla="*/ 2244062 w 2708532"/>
                  <a:gd name="connsiteY2794" fmla="*/ 670080 h 820230"/>
                  <a:gd name="connsiteX2795" fmla="*/ 2242651 w 2708532"/>
                  <a:gd name="connsiteY2795" fmla="*/ 671579 h 820230"/>
                  <a:gd name="connsiteX2796" fmla="*/ 2241152 w 2708532"/>
                  <a:gd name="connsiteY2796" fmla="*/ 670432 h 820230"/>
                  <a:gd name="connsiteX2797" fmla="*/ 2238860 w 2708532"/>
                  <a:gd name="connsiteY2797" fmla="*/ 672460 h 820230"/>
                  <a:gd name="connsiteX2798" fmla="*/ 2236215 w 2708532"/>
                  <a:gd name="connsiteY2798" fmla="*/ 672460 h 820230"/>
                  <a:gd name="connsiteX2799" fmla="*/ 2234451 w 2708532"/>
                  <a:gd name="connsiteY2799" fmla="*/ 675370 h 820230"/>
                  <a:gd name="connsiteX2800" fmla="*/ 2233041 w 2708532"/>
                  <a:gd name="connsiteY2800" fmla="*/ 673342 h 820230"/>
                  <a:gd name="connsiteX2801" fmla="*/ 2230396 w 2708532"/>
                  <a:gd name="connsiteY2801" fmla="*/ 673959 h 820230"/>
                  <a:gd name="connsiteX2802" fmla="*/ 2232159 w 2708532"/>
                  <a:gd name="connsiteY2802" fmla="*/ 671579 h 820230"/>
                  <a:gd name="connsiteX2803" fmla="*/ 2237097 w 2708532"/>
                  <a:gd name="connsiteY2803" fmla="*/ 670080 h 820230"/>
                  <a:gd name="connsiteX2804" fmla="*/ 2244943 w 2708532"/>
                  <a:gd name="connsiteY2804" fmla="*/ 667435 h 820230"/>
                  <a:gd name="connsiteX2805" fmla="*/ 2244591 w 2708532"/>
                  <a:gd name="connsiteY2805" fmla="*/ 665671 h 820230"/>
                  <a:gd name="connsiteX2806" fmla="*/ 2243180 w 2708532"/>
                  <a:gd name="connsiteY2806" fmla="*/ 664172 h 820230"/>
                  <a:gd name="connsiteX2807" fmla="*/ 2247236 w 2708532"/>
                  <a:gd name="connsiteY2807" fmla="*/ 664172 h 820230"/>
                  <a:gd name="connsiteX2808" fmla="*/ 2247236 w 2708532"/>
                  <a:gd name="connsiteY2808" fmla="*/ 661527 h 820230"/>
                  <a:gd name="connsiteX2809" fmla="*/ 2246090 w 2708532"/>
                  <a:gd name="connsiteY2809" fmla="*/ 659499 h 820230"/>
                  <a:gd name="connsiteX2810" fmla="*/ 2245208 w 2708532"/>
                  <a:gd name="connsiteY2810" fmla="*/ 656855 h 820230"/>
                  <a:gd name="connsiteX2811" fmla="*/ 2246354 w 2708532"/>
                  <a:gd name="connsiteY2811" fmla="*/ 654209 h 820230"/>
                  <a:gd name="connsiteX2812" fmla="*/ 2246354 w 2708532"/>
                  <a:gd name="connsiteY2812" fmla="*/ 650418 h 820230"/>
                  <a:gd name="connsiteX2813" fmla="*/ 2247501 w 2708532"/>
                  <a:gd name="connsiteY2813" fmla="*/ 649272 h 820230"/>
                  <a:gd name="connsiteX2814" fmla="*/ 2248382 w 2708532"/>
                  <a:gd name="connsiteY2814" fmla="*/ 647244 h 820230"/>
                  <a:gd name="connsiteX2815" fmla="*/ 2246883 w 2708532"/>
                  <a:gd name="connsiteY2815" fmla="*/ 645481 h 820230"/>
                  <a:gd name="connsiteX2816" fmla="*/ 2244503 w 2708532"/>
                  <a:gd name="connsiteY2816" fmla="*/ 644864 h 820230"/>
                  <a:gd name="connsiteX2817" fmla="*/ 2242210 w 2708532"/>
                  <a:gd name="connsiteY2817" fmla="*/ 641690 h 820230"/>
                  <a:gd name="connsiteX2818" fmla="*/ 2240182 w 2708532"/>
                  <a:gd name="connsiteY2818" fmla="*/ 640543 h 820230"/>
                  <a:gd name="connsiteX2819" fmla="*/ 2240182 w 2708532"/>
                  <a:gd name="connsiteY2819" fmla="*/ 638251 h 820230"/>
                  <a:gd name="connsiteX2820" fmla="*/ 2241064 w 2708532"/>
                  <a:gd name="connsiteY2820" fmla="*/ 636488 h 820230"/>
                  <a:gd name="connsiteX2821" fmla="*/ 2239301 w 2708532"/>
                  <a:gd name="connsiteY2821" fmla="*/ 634460 h 820230"/>
                  <a:gd name="connsiteX2822" fmla="*/ 2239565 w 2708532"/>
                  <a:gd name="connsiteY2822" fmla="*/ 631815 h 820230"/>
                  <a:gd name="connsiteX2823" fmla="*/ 2237273 w 2708532"/>
                  <a:gd name="connsiteY2823" fmla="*/ 628552 h 820230"/>
                  <a:gd name="connsiteX2824" fmla="*/ 2231983 w 2708532"/>
                  <a:gd name="connsiteY2824" fmla="*/ 623615 h 820230"/>
                  <a:gd name="connsiteX2825" fmla="*/ 2231718 w 2708532"/>
                  <a:gd name="connsiteY2825" fmla="*/ 622998 h 820230"/>
                  <a:gd name="connsiteX2826" fmla="*/ 2229338 w 2708532"/>
                  <a:gd name="connsiteY2826" fmla="*/ 618942 h 820230"/>
                  <a:gd name="connsiteX2827" fmla="*/ 2228192 w 2708532"/>
                  <a:gd name="connsiteY2827" fmla="*/ 616914 h 820230"/>
                  <a:gd name="connsiteX2828" fmla="*/ 2227663 w 2708532"/>
                  <a:gd name="connsiteY2828" fmla="*/ 615151 h 820230"/>
                  <a:gd name="connsiteX2829" fmla="*/ 2225017 w 2708532"/>
                  <a:gd name="connsiteY2829" fmla="*/ 612858 h 820230"/>
                  <a:gd name="connsiteX2830" fmla="*/ 2225282 w 2708532"/>
                  <a:gd name="connsiteY2830" fmla="*/ 609684 h 820230"/>
                  <a:gd name="connsiteX2831" fmla="*/ 2223254 w 2708532"/>
                  <a:gd name="connsiteY2831" fmla="*/ 611448 h 820230"/>
                  <a:gd name="connsiteX2832" fmla="*/ 2222372 w 2708532"/>
                  <a:gd name="connsiteY2832" fmla="*/ 607657 h 820230"/>
                  <a:gd name="connsiteX2833" fmla="*/ 2220609 w 2708532"/>
                  <a:gd name="connsiteY2833" fmla="*/ 606775 h 820230"/>
                  <a:gd name="connsiteX2834" fmla="*/ 2216818 w 2708532"/>
                  <a:gd name="connsiteY2834" fmla="*/ 606510 h 820230"/>
                  <a:gd name="connsiteX2835" fmla="*/ 2215936 w 2708532"/>
                  <a:gd name="connsiteY2835" fmla="*/ 603336 h 820230"/>
                  <a:gd name="connsiteX2836" fmla="*/ 2216818 w 2708532"/>
                  <a:gd name="connsiteY2836" fmla="*/ 600427 h 820230"/>
                  <a:gd name="connsiteX2837" fmla="*/ 2220080 w 2708532"/>
                  <a:gd name="connsiteY2837" fmla="*/ 599810 h 820230"/>
                  <a:gd name="connsiteX2838" fmla="*/ 2222108 w 2708532"/>
                  <a:gd name="connsiteY2838" fmla="*/ 597782 h 820230"/>
                  <a:gd name="connsiteX2839" fmla="*/ 2221579 w 2708532"/>
                  <a:gd name="connsiteY2839" fmla="*/ 594255 h 820230"/>
                  <a:gd name="connsiteX2840" fmla="*/ 2220433 w 2708532"/>
                  <a:gd name="connsiteY2840" fmla="*/ 593109 h 820230"/>
                  <a:gd name="connsiteX2841" fmla="*/ 2220168 w 2708532"/>
                  <a:gd name="connsiteY2841" fmla="*/ 596636 h 820230"/>
                  <a:gd name="connsiteX2842" fmla="*/ 2219022 w 2708532"/>
                  <a:gd name="connsiteY2842" fmla="*/ 598663 h 820230"/>
                  <a:gd name="connsiteX2843" fmla="*/ 2216730 w 2708532"/>
                  <a:gd name="connsiteY2843" fmla="*/ 599545 h 820230"/>
                  <a:gd name="connsiteX2844" fmla="*/ 2214702 w 2708532"/>
                  <a:gd name="connsiteY2844" fmla="*/ 597782 h 820230"/>
                  <a:gd name="connsiteX2845" fmla="*/ 2210910 w 2708532"/>
                  <a:gd name="connsiteY2845" fmla="*/ 595754 h 820230"/>
                  <a:gd name="connsiteX2846" fmla="*/ 2210646 w 2708532"/>
                  <a:gd name="connsiteY2846" fmla="*/ 592227 h 820230"/>
                  <a:gd name="connsiteX2847" fmla="*/ 2210381 w 2708532"/>
                  <a:gd name="connsiteY2847" fmla="*/ 589582 h 820230"/>
                  <a:gd name="connsiteX2848" fmla="*/ 2208618 w 2708532"/>
                  <a:gd name="connsiteY2848" fmla="*/ 588436 h 820230"/>
                  <a:gd name="connsiteX2849" fmla="*/ 2207472 w 2708532"/>
                  <a:gd name="connsiteY2849" fmla="*/ 585262 h 820230"/>
                  <a:gd name="connsiteX2850" fmla="*/ 2207472 w 2708532"/>
                  <a:gd name="connsiteY2850" fmla="*/ 583763 h 820230"/>
                  <a:gd name="connsiteX2851" fmla="*/ 2205444 w 2708532"/>
                  <a:gd name="connsiteY2851" fmla="*/ 580853 h 820230"/>
                  <a:gd name="connsiteX2852" fmla="*/ 2204298 w 2708532"/>
                  <a:gd name="connsiteY2852" fmla="*/ 578825 h 820230"/>
                  <a:gd name="connsiteX2853" fmla="*/ 2204915 w 2708532"/>
                  <a:gd name="connsiteY2853" fmla="*/ 575034 h 820230"/>
                  <a:gd name="connsiteX2854" fmla="*/ 2203152 w 2708532"/>
                  <a:gd name="connsiteY2854" fmla="*/ 573535 h 820230"/>
                  <a:gd name="connsiteX2855" fmla="*/ 2205179 w 2708532"/>
                  <a:gd name="connsiteY2855" fmla="*/ 571243 h 820230"/>
                  <a:gd name="connsiteX2856" fmla="*/ 2205709 w 2708532"/>
                  <a:gd name="connsiteY2856" fmla="*/ 569480 h 820230"/>
                  <a:gd name="connsiteX2857" fmla="*/ 2205444 w 2708532"/>
                  <a:gd name="connsiteY2857" fmla="*/ 567187 h 820230"/>
                  <a:gd name="connsiteX2858" fmla="*/ 2203416 w 2708532"/>
                  <a:gd name="connsiteY2858" fmla="*/ 560222 h 820230"/>
                  <a:gd name="connsiteX2859" fmla="*/ 2201388 w 2708532"/>
                  <a:gd name="connsiteY2859" fmla="*/ 558811 h 820230"/>
                  <a:gd name="connsiteX2860" fmla="*/ 2199625 w 2708532"/>
                  <a:gd name="connsiteY2860" fmla="*/ 557665 h 820230"/>
                  <a:gd name="connsiteX2861" fmla="*/ 2198743 w 2708532"/>
                  <a:gd name="connsiteY2861" fmla="*/ 559076 h 820230"/>
                  <a:gd name="connsiteX2862" fmla="*/ 2197862 w 2708532"/>
                  <a:gd name="connsiteY2862" fmla="*/ 559957 h 820230"/>
                  <a:gd name="connsiteX2863" fmla="*/ 2195833 w 2708532"/>
                  <a:gd name="connsiteY2863" fmla="*/ 560486 h 820230"/>
                  <a:gd name="connsiteX2864" fmla="*/ 2194952 w 2708532"/>
                  <a:gd name="connsiteY2864" fmla="*/ 559340 h 820230"/>
                  <a:gd name="connsiteX2865" fmla="*/ 2194952 w 2708532"/>
                  <a:gd name="connsiteY2865" fmla="*/ 558459 h 820230"/>
                  <a:gd name="connsiteX2866" fmla="*/ 2192924 w 2708532"/>
                  <a:gd name="connsiteY2866" fmla="*/ 557577 h 820230"/>
                  <a:gd name="connsiteX2867" fmla="*/ 2190279 w 2708532"/>
                  <a:gd name="connsiteY2867" fmla="*/ 557841 h 820230"/>
                  <a:gd name="connsiteX2868" fmla="*/ 2189750 w 2708532"/>
                  <a:gd name="connsiteY2868" fmla="*/ 556695 h 820230"/>
                  <a:gd name="connsiteX2869" fmla="*/ 2189750 w 2708532"/>
                  <a:gd name="connsiteY2869" fmla="*/ 554315 h 820230"/>
                  <a:gd name="connsiteX2870" fmla="*/ 2190632 w 2708532"/>
                  <a:gd name="connsiteY2870" fmla="*/ 552022 h 820230"/>
                  <a:gd name="connsiteX2871" fmla="*/ 2190632 w 2708532"/>
                  <a:gd name="connsiteY2871" fmla="*/ 551405 h 820230"/>
                  <a:gd name="connsiteX2872" fmla="*/ 2189750 w 2708532"/>
                  <a:gd name="connsiteY2872" fmla="*/ 549906 h 820230"/>
                  <a:gd name="connsiteX2873" fmla="*/ 2190279 w 2708532"/>
                  <a:gd name="connsiteY2873" fmla="*/ 549377 h 820230"/>
                  <a:gd name="connsiteX2874" fmla="*/ 2187987 w 2708532"/>
                  <a:gd name="connsiteY2874" fmla="*/ 549377 h 820230"/>
                  <a:gd name="connsiteX2875" fmla="*/ 2187370 w 2708532"/>
                  <a:gd name="connsiteY2875" fmla="*/ 548231 h 820230"/>
                  <a:gd name="connsiteX2876" fmla="*/ 2187017 w 2708532"/>
                  <a:gd name="connsiteY2876" fmla="*/ 546468 h 820230"/>
                  <a:gd name="connsiteX2877" fmla="*/ 2184989 w 2708532"/>
                  <a:gd name="connsiteY2877" fmla="*/ 546203 h 820230"/>
                  <a:gd name="connsiteX2878" fmla="*/ 2183225 w 2708532"/>
                  <a:gd name="connsiteY2878" fmla="*/ 546203 h 820230"/>
                  <a:gd name="connsiteX2879" fmla="*/ 2181463 w 2708532"/>
                  <a:gd name="connsiteY2879" fmla="*/ 545321 h 820230"/>
                  <a:gd name="connsiteX2880" fmla="*/ 2181463 w 2708532"/>
                  <a:gd name="connsiteY2880" fmla="*/ 544440 h 820230"/>
                  <a:gd name="connsiteX2881" fmla="*/ 2181463 w 2708532"/>
                  <a:gd name="connsiteY2881" fmla="*/ 542941 h 820230"/>
                  <a:gd name="connsiteX2882" fmla="*/ 2181463 w 2708532"/>
                  <a:gd name="connsiteY2882" fmla="*/ 541795 h 820230"/>
                  <a:gd name="connsiteX2883" fmla="*/ 2181815 w 2708532"/>
                  <a:gd name="connsiteY2883" fmla="*/ 540649 h 820230"/>
                  <a:gd name="connsiteX2884" fmla="*/ 2182079 w 2708532"/>
                  <a:gd name="connsiteY2884" fmla="*/ 540031 h 820230"/>
                  <a:gd name="connsiteX2885" fmla="*/ 2181815 w 2708532"/>
                  <a:gd name="connsiteY2885" fmla="*/ 538885 h 820230"/>
                  <a:gd name="connsiteX2886" fmla="*/ 2181198 w 2708532"/>
                  <a:gd name="connsiteY2886" fmla="*/ 537739 h 820230"/>
                  <a:gd name="connsiteX2887" fmla="*/ 2180052 w 2708532"/>
                  <a:gd name="connsiteY2887" fmla="*/ 537474 h 820230"/>
                  <a:gd name="connsiteX2888" fmla="*/ 2179787 w 2708532"/>
                  <a:gd name="connsiteY2888" fmla="*/ 537474 h 820230"/>
                  <a:gd name="connsiteX2889" fmla="*/ 2178641 w 2708532"/>
                  <a:gd name="connsiteY2889" fmla="*/ 536328 h 820230"/>
                  <a:gd name="connsiteX2890" fmla="*/ 2178641 w 2708532"/>
                  <a:gd name="connsiteY2890" fmla="*/ 535182 h 820230"/>
                  <a:gd name="connsiteX2891" fmla="*/ 2177495 w 2708532"/>
                  <a:gd name="connsiteY2891" fmla="*/ 534918 h 820230"/>
                  <a:gd name="connsiteX2892" fmla="*/ 2172822 w 2708532"/>
                  <a:gd name="connsiteY2892" fmla="*/ 534653 h 820230"/>
                  <a:gd name="connsiteX2893" fmla="*/ 2171058 w 2708532"/>
                  <a:gd name="connsiteY2893" fmla="*/ 535535 h 820230"/>
                  <a:gd name="connsiteX2894" fmla="*/ 2169912 w 2708532"/>
                  <a:gd name="connsiteY2894" fmla="*/ 533154 h 820230"/>
                  <a:gd name="connsiteX2895" fmla="*/ 2170441 w 2708532"/>
                  <a:gd name="connsiteY2895" fmla="*/ 533154 h 820230"/>
                  <a:gd name="connsiteX2896" fmla="*/ 2170706 w 2708532"/>
                  <a:gd name="connsiteY2896" fmla="*/ 532890 h 820230"/>
                  <a:gd name="connsiteX2897" fmla="*/ 2170706 w 2708532"/>
                  <a:gd name="connsiteY2897" fmla="*/ 531391 h 820230"/>
                  <a:gd name="connsiteX2898" fmla="*/ 2170706 w 2708532"/>
                  <a:gd name="connsiteY2898" fmla="*/ 531126 h 820230"/>
                  <a:gd name="connsiteX2899" fmla="*/ 2168413 w 2708532"/>
                  <a:gd name="connsiteY2899" fmla="*/ 531655 h 820230"/>
                  <a:gd name="connsiteX2900" fmla="*/ 2168413 w 2708532"/>
                  <a:gd name="connsiteY2900" fmla="*/ 532537 h 820230"/>
                  <a:gd name="connsiteX2901" fmla="*/ 2167796 w 2708532"/>
                  <a:gd name="connsiteY2901" fmla="*/ 533419 h 820230"/>
                  <a:gd name="connsiteX2902" fmla="*/ 2166650 w 2708532"/>
                  <a:gd name="connsiteY2902" fmla="*/ 536064 h 820230"/>
                  <a:gd name="connsiteX2903" fmla="*/ 2166033 w 2708532"/>
                  <a:gd name="connsiteY2903" fmla="*/ 534918 h 820230"/>
                  <a:gd name="connsiteX2904" fmla="*/ 2166033 w 2708532"/>
                  <a:gd name="connsiteY2904" fmla="*/ 533771 h 820230"/>
                  <a:gd name="connsiteX2905" fmla="*/ 2164270 w 2708532"/>
                  <a:gd name="connsiteY2905" fmla="*/ 531744 h 820230"/>
                  <a:gd name="connsiteX2906" fmla="*/ 2164534 w 2708532"/>
                  <a:gd name="connsiteY2906" fmla="*/ 529451 h 820230"/>
                  <a:gd name="connsiteX2907" fmla="*/ 2166297 w 2708532"/>
                  <a:gd name="connsiteY2907" fmla="*/ 528834 h 820230"/>
                  <a:gd name="connsiteX2908" fmla="*/ 2166915 w 2708532"/>
                  <a:gd name="connsiteY2908" fmla="*/ 527688 h 820230"/>
                  <a:gd name="connsiteX2909" fmla="*/ 2166297 w 2708532"/>
                  <a:gd name="connsiteY2909" fmla="*/ 526189 h 820230"/>
                  <a:gd name="connsiteX2910" fmla="*/ 2165151 w 2708532"/>
                  <a:gd name="connsiteY2910" fmla="*/ 525924 h 820230"/>
                  <a:gd name="connsiteX2911" fmla="*/ 2164534 w 2708532"/>
                  <a:gd name="connsiteY2911" fmla="*/ 526806 h 820230"/>
                  <a:gd name="connsiteX2912" fmla="*/ 2164005 w 2708532"/>
                  <a:gd name="connsiteY2912" fmla="*/ 527423 h 820230"/>
                  <a:gd name="connsiteX2913" fmla="*/ 2163123 w 2708532"/>
                  <a:gd name="connsiteY2913" fmla="*/ 528922 h 820230"/>
                  <a:gd name="connsiteX2914" fmla="*/ 2162506 w 2708532"/>
                  <a:gd name="connsiteY2914" fmla="*/ 529187 h 820230"/>
                  <a:gd name="connsiteX2915" fmla="*/ 2161095 w 2708532"/>
                  <a:gd name="connsiteY2915" fmla="*/ 530068 h 820230"/>
                  <a:gd name="connsiteX2916" fmla="*/ 2157921 w 2708532"/>
                  <a:gd name="connsiteY2916" fmla="*/ 530068 h 820230"/>
                  <a:gd name="connsiteX2917" fmla="*/ 2156775 w 2708532"/>
                  <a:gd name="connsiteY2917" fmla="*/ 529804 h 820230"/>
                  <a:gd name="connsiteX2918" fmla="*/ 2156511 w 2708532"/>
                  <a:gd name="connsiteY2918" fmla="*/ 528922 h 820230"/>
                  <a:gd name="connsiteX2919" fmla="*/ 2156511 w 2708532"/>
                  <a:gd name="connsiteY2919" fmla="*/ 527159 h 820230"/>
                  <a:gd name="connsiteX2920" fmla="*/ 2155364 w 2708532"/>
                  <a:gd name="connsiteY2920" fmla="*/ 526542 h 820230"/>
                  <a:gd name="connsiteX2921" fmla="*/ 2153601 w 2708532"/>
                  <a:gd name="connsiteY2921" fmla="*/ 525660 h 820230"/>
                  <a:gd name="connsiteX2922" fmla="*/ 2151838 w 2708532"/>
                  <a:gd name="connsiteY2922" fmla="*/ 525924 h 820230"/>
                  <a:gd name="connsiteX2923" fmla="*/ 2150956 w 2708532"/>
                  <a:gd name="connsiteY2923" fmla="*/ 524514 h 820230"/>
                  <a:gd name="connsiteX2924" fmla="*/ 2150691 w 2708532"/>
                  <a:gd name="connsiteY2924" fmla="*/ 523015 h 820230"/>
                  <a:gd name="connsiteX2925" fmla="*/ 2148928 w 2708532"/>
                  <a:gd name="connsiteY2925" fmla="*/ 522750 h 820230"/>
                  <a:gd name="connsiteX2926" fmla="*/ 2148046 w 2708532"/>
                  <a:gd name="connsiteY2926" fmla="*/ 522750 h 820230"/>
                  <a:gd name="connsiteX2927" fmla="*/ 2147429 w 2708532"/>
                  <a:gd name="connsiteY2927" fmla="*/ 522486 h 820230"/>
                  <a:gd name="connsiteX2928" fmla="*/ 2146548 w 2708532"/>
                  <a:gd name="connsiteY2928" fmla="*/ 522486 h 820230"/>
                  <a:gd name="connsiteX2929" fmla="*/ 2145401 w 2708532"/>
                  <a:gd name="connsiteY2929" fmla="*/ 521604 h 820230"/>
                  <a:gd name="connsiteX2930" fmla="*/ 2144255 w 2708532"/>
                  <a:gd name="connsiteY2930" fmla="*/ 523103 h 820230"/>
                  <a:gd name="connsiteX2931" fmla="*/ 2143374 w 2708532"/>
                  <a:gd name="connsiteY2931" fmla="*/ 522486 h 820230"/>
                  <a:gd name="connsiteX2932" fmla="*/ 2143374 w 2708532"/>
                  <a:gd name="connsiteY2932" fmla="*/ 521340 h 820230"/>
                  <a:gd name="connsiteX2933" fmla="*/ 2143638 w 2708532"/>
                  <a:gd name="connsiteY2933" fmla="*/ 520194 h 820230"/>
                  <a:gd name="connsiteX2934" fmla="*/ 2141610 w 2708532"/>
                  <a:gd name="connsiteY2934" fmla="*/ 518166 h 820230"/>
                  <a:gd name="connsiteX2935" fmla="*/ 2140112 w 2708532"/>
                  <a:gd name="connsiteY2935" fmla="*/ 519312 h 820230"/>
                  <a:gd name="connsiteX2936" fmla="*/ 2138348 w 2708532"/>
                  <a:gd name="connsiteY2936" fmla="*/ 520723 h 820230"/>
                  <a:gd name="connsiteX2937" fmla="*/ 2138877 w 2708532"/>
                  <a:gd name="connsiteY2937" fmla="*/ 518077 h 820230"/>
                  <a:gd name="connsiteX2938" fmla="*/ 2137378 w 2708532"/>
                  <a:gd name="connsiteY2938" fmla="*/ 518695 h 820230"/>
                  <a:gd name="connsiteX2939" fmla="*/ 2135086 w 2708532"/>
                  <a:gd name="connsiteY2939" fmla="*/ 518430 h 820230"/>
                  <a:gd name="connsiteX2940" fmla="*/ 2135086 w 2708532"/>
                  <a:gd name="connsiteY2940" fmla="*/ 516402 h 820230"/>
                  <a:gd name="connsiteX2941" fmla="*/ 2131911 w 2708532"/>
                  <a:gd name="connsiteY2941" fmla="*/ 514110 h 820230"/>
                  <a:gd name="connsiteX2942" fmla="*/ 2129884 w 2708532"/>
                  <a:gd name="connsiteY2942" fmla="*/ 514374 h 820230"/>
                  <a:gd name="connsiteX2943" fmla="*/ 2127856 w 2708532"/>
                  <a:gd name="connsiteY2943" fmla="*/ 514374 h 820230"/>
                  <a:gd name="connsiteX2944" fmla="*/ 2124946 w 2708532"/>
                  <a:gd name="connsiteY2944" fmla="*/ 514374 h 820230"/>
                  <a:gd name="connsiteX2945" fmla="*/ 2123536 w 2708532"/>
                  <a:gd name="connsiteY2945" fmla="*/ 513757 h 820230"/>
                  <a:gd name="connsiteX2946" fmla="*/ 2122390 w 2708532"/>
                  <a:gd name="connsiteY2946" fmla="*/ 515785 h 820230"/>
                  <a:gd name="connsiteX2947" fmla="*/ 2120626 w 2708532"/>
                  <a:gd name="connsiteY2947" fmla="*/ 514286 h 820230"/>
                  <a:gd name="connsiteX2948" fmla="*/ 2121508 w 2708532"/>
                  <a:gd name="connsiteY2948" fmla="*/ 512876 h 820230"/>
                  <a:gd name="connsiteX2949" fmla="*/ 2122125 w 2708532"/>
                  <a:gd name="connsiteY2949" fmla="*/ 512258 h 820230"/>
                  <a:gd name="connsiteX2950" fmla="*/ 2121861 w 2708532"/>
                  <a:gd name="connsiteY2950" fmla="*/ 510848 h 820230"/>
                  <a:gd name="connsiteX2951" fmla="*/ 2120626 w 2708532"/>
                  <a:gd name="connsiteY2951" fmla="*/ 511465 h 820230"/>
                  <a:gd name="connsiteX2952" fmla="*/ 2119745 w 2708532"/>
                  <a:gd name="connsiteY2952" fmla="*/ 511729 h 820230"/>
                  <a:gd name="connsiteX2953" fmla="*/ 2118598 w 2708532"/>
                  <a:gd name="connsiteY2953" fmla="*/ 513228 h 820230"/>
                  <a:gd name="connsiteX2954" fmla="*/ 2118598 w 2708532"/>
                  <a:gd name="connsiteY2954" fmla="*/ 514110 h 820230"/>
                  <a:gd name="connsiteX2955" fmla="*/ 2117716 w 2708532"/>
                  <a:gd name="connsiteY2955" fmla="*/ 514374 h 820230"/>
                  <a:gd name="connsiteX2956" fmla="*/ 2115071 w 2708532"/>
                  <a:gd name="connsiteY2956" fmla="*/ 514991 h 820230"/>
                  <a:gd name="connsiteX2957" fmla="*/ 2114190 w 2708532"/>
                  <a:gd name="connsiteY2957" fmla="*/ 514374 h 820230"/>
                  <a:gd name="connsiteX2958" fmla="*/ 2111545 w 2708532"/>
                  <a:gd name="connsiteY2958" fmla="*/ 513493 h 820230"/>
                  <a:gd name="connsiteX2959" fmla="*/ 2109782 w 2708532"/>
                  <a:gd name="connsiteY2959" fmla="*/ 512876 h 820230"/>
                  <a:gd name="connsiteX2960" fmla="*/ 2107136 w 2708532"/>
                  <a:gd name="connsiteY2960" fmla="*/ 513757 h 820230"/>
                  <a:gd name="connsiteX2961" fmla="*/ 2106255 w 2708532"/>
                  <a:gd name="connsiteY2961" fmla="*/ 511994 h 820230"/>
                  <a:gd name="connsiteX2962" fmla="*/ 2104756 w 2708532"/>
                  <a:gd name="connsiteY2962" fmla="*/ 511465 h 820230"/>
                  <a:gd name="connsiteX2963" fmla="*/ 2103874 w 2708532"/>
                  <a:gd name="connsiteY2963" fmla="*/ 511994 h 820230"/>
                  <a:gd name="connsiteX2964" fmla="*/ 2104139 w 2708532"/>
                  <a:gd name="connsiteY2964" fmla="*/ 513140 h 820230"/>
                  <a:gd name="connsiteX2965" fmla="*/ 2104491 w 2708532"/>
                  <a:gd name="connsiteY2965" fmla="*/ 514639 h 820230"/>
                  <a:gd name="connsiteX2966" fmla="*/ 2104491 w 2708532"/>
                  <a:gd name="connsiteY2966" fmla="*/ 515785 h 820230"/>
                  <a:gd name="connsiteX2967" fmla="*/ 2106255 w 2708532"/>
                  <a:gd name="connsiteY2967" fmla="*/ 516931 h 820230"/>
                  <a:gd name="connsiteX2968" fmla="*/ 2107665 w 2708532"/>
                  <a:gd name="connsiteY2968" fmla="*/ 518695 h 820230"/>
                  <a:gd name="connsiteX2969" fmla="*/ 2107401 w 2708532"/>
                  <a:gd name="connsiteY2969" fmla="*/ 522486 h 820230"/>
                  <a:gd name="connsiteX2970" fmla="*/ 2107401 w 2708532"/>
                  <a:gd name="connsiteY2970" fmla="*/ 524866 h 820230"/>
                  <a:gd name="connsiteX2971" fmla="*/ 2106255 w 2708532"/>
                  <a:gd name="connsiteY2971" fmla="*/ 526630 h 820230"/>
                  <a:gd name="connsiteX2972" fmla="*/ 2107136 w 2708532"/>
                  <a:gd name="connsiteY2972" fmla="*/ 529010 h 820230"/>
                  <a:gd name="connsiteX2973" fmla="*/ 2105637 w 2708532"/>
                  <a:gd name="connsiteY2973" fmla="*/ 529892 h 820230"/>
                  <a:gd name="connsiteX2974" fmla="*/ 2102463 w 2708532"/>
                  <a:gd name="connsiteY2974" fmla="*/ 528746 h 820230"/>
                  <a:gd name="connsiteX2975" fmla="*/ 2098408 w 2708532"/>
                  <a:gd name="connsiteY2975" fmla="*/ 529010 h 820230"/>
                  <a:gd name="connsiteX2976" fmla="*/ 2096644 w 2708532"/>
                  <a:gd name="connsiteY2976" fmla="*/ 529010 h 820230"/>
                  <a:gd name="connsiteX2977" fmla="*/ 2095145 w 2708532"/>
                  <a:gd name="connsiteY2977" fmla="*/ 526101 h 820230"/>
                  <a:gd name="connsiteX2978" fmla="*/ 2097438 w 2708532"/>
                  <a:gd name="connsiteY2978" fmla="*/ 525836 h 820230"/>
                  <a:gd name="connsiteX2979" fmla="*/ 2098319 w 2708532"/>
                  <a:gd name="connsiteY2979" fmla="*/ 524426 h 820230"/>
                  <a:gd name="connsiteX2980" fmla="*/ 2096556 w 2708532"/>
                  <a:gd name="connsiteY2980" fmla="*/ 523015 h 820230"/>
                  <a:gd name="connsiteX2981" fmla="*/ 2096556 w 2708532"/>
                  <a:gd name="connsiteY2981" fmla="*/ 521251 h 820230"/>
                  <a:gd name="connsiteX2982" fmla="*/ 2095410 w 2708532"/>
                  <a:gd name="connsiteY2982" fmla="*/ 520634 h 820230"/>
                  <a:gd name="connsiteX2983" fmla="*/ 2092765 w 2708532"/>
                  <a:gd name="connsiteY2983" fmla="*/ 519753 h 820230"/>
                  <a:gd name="connsiteX2984" fmla="*/ 2089591 w 2708532"/>
                  <a:gd name="connsiteY2984" fmla="*/ 519753 h 820230"/>
                  <a:gd name="connsiteX2985" fmla="*/ 2088180 w 2708532"/>
                  <a:gd name="connsiteY2985" fmla="*/ 518871 h 820230"/>
                  <a:gd name="connsiteX2986" fmla="*/ 2090473 w 2708532"/>
                  <a:gd name="connsiteY2986" fmla="*/ 514198 h 820230"/>
                  <a:gd name="connsiteX2987" fmla="*/ 2088709 w 2708532"/>
                  <a:gd name="connsiteY2987" fmla="*/ 509525 h 820230"/>
                  <a:gd name="connsiteX2988" fmla="*/ 2086064 w 2708532"/>
                  <a:gd name="connsiteY2988" fmla="*/ 508114 h 820230"/>
                  <a:gd name="connsiteX2989" fmla="*/ 2085447 w 2708532"/>
                  <a:gd name="connsiteY2989" fmla="*/ 514551 h 820230"/>
                  <a:gd name="connsiteX2990" fmla="*/ 2085711 w 2708532"/>
                  <a:gd name="connsiteY2990" fmla="*/ 518959 h 820230"/>
                  <a:gd name="connsiteX2991" fmla="*/ 2083948 w 2708532"/>
                  <a:gd name="connsiteY2991" fmla="*/ 517196 h 820230"/>
                  <a:gd name="connsiteX2992" fmla="*/ 2083948 w 2708532"/>
                  <a:gd name="connsiteY2992" fmla="*/ 513669 h 820230"/>
                  <a:gd name="connsiteX2993" fmla="*/ 2084212 w 2708532"/>
                  <a:gd name="connsiteY2993" fmla="*/ 510142 h 820230"/>
                  <a:gd name="connsiteX2994" fmla="*/ 2082185 w 2708532"/>
                  <a:gd name="connsiteY2994" fmla="*/ 507850 h 820230"/>
                  <a:gd name="connsiteX2995" fmla="*/ 2081039 w 2708532"/>
                  <a:gd name="connsiteY2995" fmla="*/ 507233 h 820230"/>
                  <a:gd name="connsiteX2996" fmla="*/ 2081039 w 2708532"/>
                  <a:gd name="connsiteY2996" fmla="*/ 504323 h 820230"/>
                  <a:gd name="connsiteX2997" fmla="*/ 2082185 w 2708532"/>
                  <a:gd name="connsiteY2997" fmla="*/ 501943 h 820230"/>
                  <a:gd name="connsiteX2998" fmla="*/ 2082537 w 2708532"/>
                  <a:gd name="connsiteY2998" fmla="*/ 499298 h 820230"/>
                  <a:gd name="connsiteX2999" fmla="*/ 2079628 w 2708532"/>
                  <a:gd name="connsiteY2999" fmla="*/ 498416 h 820230"/>
                  <a:gd name="connsiteX3000" fmla="*/ 2081391 w 2708532"/>
                  <a:gd name="connsiteY3000" fmla="*/ 496652 h 820230"/>
                  <a:gd name="connsiteX3001" fmla="*/ 2077335 w 2708532"/>
                  <a:gd name="connsiteY3001" fmla="*/ 499298 h 820230"/>
                  <a:gd name="connsiteX3002" fmla="*/ 2075307 w 2708532"/>
                  <a:gd name="connsiteY3002" fmla="*/ 501590 h 820230"/>
                  <a:gd name="connsiteX3003" fmla="*/ 2073544 w 2708532"/>
                  <a:gd name="connsiteY3003" fmla="*/ 501590 h 820230"/>
                  <a:gd name="connsiteX3004" fmla="*/ 2076189 w 2708532"/>
                  <a:gd name="connsiteY3004" fmla="*/ 503882 h 820230"/>
                  <a:gd name="connsiteX3005" fmla="*/ 2077600 w 2708532"/>
                  <a:gd name="connsiteY3005" fmla="*/ 505029 h 820230"/>
                  <a:gd name="connsiteX3006" fmla="*/ 2078217 w 2708532"/>
                  <a:gd name="connsiteY3006" fmla="*/ 509349 h 820230"/>
                  <a:gd name="connsiteX3007" fmla="*/ 2078217 w 2708532"/>
                  <a:gd name="connsiteY3007" fmla="*/ 511729 h 820230"/>
                  <a:gd name="connsiteX3008" fmla="*/ 2077071 w 2708532"/>
                  <a:gd name="connsiteY3008" fmla="*/ 512611 h 820230"/>
                  <a:gd name="connsiteX3009" fmla="*/ 2077071 w 2708532"/>
                  <a:gd name="connsiteY3009" fmla="*/ 516138 h 820230"/>
                  <a:gd name="connsiteX3010" fmla="*/ 2078217 w 2708532"/>
                  <a:gd name="connsiteY3010" fmla="*/ 516755 h 820230"/>
                  <a:gd name="connsiteX3011" fmla="*/ 2078834 w 2708532"/>
                  <a:gd name="connsiteY3011" fmla="*/ 519929 h 820230"/>
                  <a:gd name="connsiteX3012" fmla="*/ 2077335 w 2708532"/>
                  <a:gd name="connsiteY3012" fmla="*/ 520546 h 820230"/>
                  <a:gd name="connsiteX3013" fmla="*/ 2076189 w 2708532"/>
                  <a:gd name="connsiteY3013" fmla="*/ 521163 h 820230"/>
                  <a:gd name="connsiteX3014" fmla="*/ 2074426 w 2708532"/>
                  <a:gd name="connsiteY3014" fmla="*/ 520017 h 820230"/>
                  <a:gd name="connsiteX3015" fmla="*/ 2074690 w 2708532"/>
                  <a:gd name="connsiteY3015" fmla="*/ 516843 h 820230"/>
                  <a:gd name="connsiteX3016" fmla="*/ 2074690 w 2708532"/>
                  <a:gd name="connsiteY3016" fmla="*/ 514198 h 820230"/>
                  <a:gd name="connsiteX3017" fmla="*/ 2072927 w 2708532"/>
                  <a:gd name="connsiteY3017" fmla="*/ 512435 h 820230"/>
                  <a:gd name="connsiteX3018" fmla="*/ 2070282 w 2708532"/>
                  <a:gd name="connsiteY3018" fmla="*/ 511906 h 820230"/>
                  <a:gd name="connsiteX3019" fmla="*/ 2069753 w 2708532"/>
                  <a:gd name="connsiteY3019" fmla="*/ 510407 h 820230"/>
                  <a:gd name="connsiteX3020" fmla="*/ 2069488 w 2708532"/>
                  <a:gd name="connsiteY3020" fmla="*/ 508908 h 820230"/>
                  <a:gd name="connsiteX3021" fmla="*/ 2069224 w 2708532"/>
                  <a:gd name="connsiteY3021" fmla="*/ 507762 h 820230"/>
                  <a:gd name="connsiteX3022" fmla="*/ 2062259 w 2708532"/>
                  <a:gd name="connsiteY3022" fmla="*/ 515961 h 820230"/>
                  <a:gd name="connsiteX3023" fmla="*/ 2067460 w 2708532"/>
                  <a:gd name="connsiteY3023" fmla="*/ 507762 h 820230"/>
                  <a:gd name="connsiteX3024" fmla="*/ 2065433 w 2708532"/>
                  <a:gd name="connsiteY3024" fmla="*/ 505734 h 820230"/>
                  <a:gd name="connsiteX3025" fmla="*/ 2063405 w 2708532"/>
                  <a:gd name="connsiteY3025" fmla="*/ 504235 h 820230"/>
                  <a:gd name="connsiteX3026" fmla="*/ 2063405 w 2708532"/>
                  <a:gd name="connsiteY3026" fmla="*/ 500179 h 820230"/>
                  <a:gd name="connsiteX3027" fmla="*/ 2062259 w 2708532"/>
                  <a:gd name="connsiteY3027" fmla="*/ 502824 h 820230"/>
                  <a:gd name="connsiteX3028" fmla="*/ 2060760 w 2708532"/>
                  <a:gd name="connsiteY3028" fmla="*/ 502824 h 820230"/>
                  <a:gd name="connsiteX3029" fmla="*/ 2057497 w 2708532"/>
                  <a:gd name="connsiteY3029" fmla="*/ 503706 h 820230"/>
                  <a:gd name="connsiteX3030" fmla="*/ 2055469 w 2708532"/>
                  <a:gd name="connsiteY3030" fmla="*/ 502560 h 820230"/>
                  <a:gd name="connsiteX3031" fmla="*/ 2050180 w 2708532"/>
                  <a:gd name="connsiteY3031" fmla="*/ 502824 h 820230"/>
                  <a:gd name="connsiteX3032" fmla="*/ 2048151 w 2708532"/>
                  <a:gd name="connsiteY3032" fmla="*/ 503441 h 820230"/>
                  <a:gd name="connsiteX3033" fmla="*/ 2045771 w 2708532"/>
                  <a:gd name="connsiteY3033" fmla="*/ 502824 h 820230"/>
                  <a:gd name="connsiteX3034" fmla="*/ 2045771 w 2708532"/>
                  <a:gd name="connsiteY3034" fmla="*/ 499650 h 820230"/>
                  <a:gd name="connsiteX3035" fmla="*/ 2043126 w 2708532"/>
                  <a:gd name="connsiteY3035" fmla="*/ 500796 h 820230"/>
                  <a:gd name="connsiteX3036" fmla="*/ 2042861 w 2708532"/>
                  <a:gd name="connsiteY3036" fmla="*/ 503089 h 820230"/>
                  <a:gd name="connsiteX3037" fmla="*/ 2040569 w 2708532"/>
                  <a:gd name="connsiteY3037" fmla="*/ 503353 h 820230"/>
                  <a:gd name="connsiteX3038" fmla="*/ 2036249 w 2708532"/>
                  <a:gd name="connsiteY3038" fmla="*/ 503089 h 820230"/>
                  <a:gd name="connsiteX3039" fmla="*/ 2033604 w 2708532"/>
                  <a:gd name="connsiteY3039" fmla="*/ 503970 h 820230"/>
                  <a:gd name="connsiteX3040" fmla="*/ 2032105 w 2708532"/>
                  <a:gd name="connsiteY3040" fmla="*/ 502207 h 820230"/>
                  <a:gd name="connsiteX3041" fmla="*/ 2029460 w 2708532"/>
                  <a:gd name="connsiteY3041" fmla="*/ 500179 h 820230"/>
                  <a:gd name="connsiteX3042" fmla="*/ 2029460 w 2708532"/>
                  <a:gd name="connsiteY3042" fmla="*/ 498151 h 820230"/>
                  <a:gd name="connsiteX3043" fmla="*/ 2028578 w 2708532"/>
                  <a:gd name="connsiteY3043" fmla="*/ 497622 h 820230"/>
                  <a:gd name="connsiteX3044" fmla="*/ 2028578 w 2708532"/>
                  <a:gd name="connsiteY3044" fmla="*/ 495594 h 820230"/>
                  <a:gd name="connsiteX3045" fmla="*/ 2029195 w 2708532"/>
                  <a:gd name="connsiteY3045" fmla="*/ 495859 h 820230"/>
                  <a:gd name="connsiteX3046" fmla="*/ 2031223 w 2708532"/>
                  <a:gd name="connsiteY3046" fmla="*/ 494360 h 820230"/>
                  <a:gd name="connsiteX3047" fmla="*/ 2035014 w 2708532"/>
                  <a:gd name="connsiteY3047" fmla="*/ 493743 h 820230"/>
                  <a:gd name="connsiteX3048" fmla="*/ 2035279 w 2708532"/>
                  <a:gd name="connsiteY3048" fmla="*/ 491451 h 820230"/>
                  <a:gd name="connsiteX3049" fmla="*/ 2038453 w 2708532"/>
                  <a:gd name="connsiteY3049" fmla="*/ 489952 h 820230"/>
                  <a:gd name="connsiteX3050" fmla="*/ 2041363 w 2708532"/>
                  <a:gd name="connsiteY3050" fmla="*/ 489952 h 820230"/>
                  <a:gd name="connsiteX3051" fmla="*/ 2043390 w 2708532"/>
                  <a:gd name="connsiteY3051" fmla="*/ 488188 h 820230"/>
                  <a:gd name="connsiteX3052" fmla="*/ 2041980 w 2708532"/>
                  <a:gd name="connsiteY3052" fmla="*/ 485896 h 820230"/>
                  <a:gd name="connsiteX3053" fmla="*/ 2042597 w 2708532"/>
                  <a:gd name="connsiteY3053" fmla="*/ 483604 h 820230"/>
                  <a:gd name="connsiteX3054" fmla="*/ 2043743 w 2708532"/>
                  <a:gd name="connsiteY3054" fmla="*/ 481223 h 820230"/>
                  <a:gd name="connsiteX3055" fmla="*/ 2044625 w 2708532"/>
                  <a:gd name="connsiteY3055" fmla="*/ 477696 h 820230"/>
                  <a:gd name="connsiteX3056" fmla="*/ 2046653 w 2708532"/>
                  <a:gd name="connsiteY3056" fmla="*/ 478578 h 820230"/>
                  <a:gd name="connsiteX3057" fmla="*/ 2046035 w 2708532"/>
                  <a:gd name="connsiteY3057" fmla="*/ 474170 h 820230"/>
                  <a:gd name="connsiteX3058" fmla="*/ 2048416 w 2708532"/>
                  <a:gd name="connsiteY3058" fmla="*/ 473905 h 820230"/>
                  <a:gd name="connsiteX3059" fmla="*/ 2049298 w 2708532"/>
                  <a:gd name="connsiteY3059" fmla="*/ 473023 h 820230"/>
                  <a:gd name="connsiteX3060" fmla="*/ 2049298 w 2708532"/>
                  <a:gd name="connsiteY3060" fmla="*/ 470114 h 820230"/>
                  <a:gd name="connsiteX3061" fmla="*/ 2051590 w 2708532"/>
                  <a:gd name="connsiteY3061" fmla="*/ 468968 h 820230"/>
                  <a:gd name="connsiteX3062" fmla="*/ 2052736 w 2708532"/>
                  <a:gd name="connsiteY3062" fmla="*/ 465794 h 820230"/>
                  <a:gd name="connsiteX3063" fmla="*/ 2051590 w 2708532"/>
                  <a:gd name="connsiteY3063" fmla="*/ 461121 h 820230"/>
                  <a:gd name="connsiteX3064" fmla="*/ 2052736 w 2708532"/>
                  <a:gd name="connsiteY3064" fmla="*/ 456448 h 820230"/>
                  <a:gd name="connsiteX3065" fmla="*/ 2049210 w 2708532"/>
                  <a:gd name="connsiteY3065" fmla="*/ 451775 h 820230"/>
                  <a:gd name="connsiteX3066" fmla="*/ 2047446 w 2708532"/>
                  <a:gd name="connsiteY3066" fmla="*/ 449394 h 820230"/>
                  <a:gd name="connsiteX3067" fmla="*/ 2049739 w 2708532"/>
                  <a:gd name="connsiteY3067" fmla="*/ 449394 h 820230"/>
                  <a:gd name="connsiteX3068" fmla="*/ 2051767 w 2708532"/>
                  <a:gd name="connsiteY3068" fmla="*/ 447631 h 820230"/>
                  <a:gd name="connsiteX3069" fmla="*/ 2051767 w 2708532"/>
                  <a:gd name="connsiteY3069" fmla="*/ 445868 h 820230"/>
                  <a:gd name="connsiteX3070" fmla="*/ 2055823 w 2708532"/>
                  <a:gd name="connsiteY3070" fmla="*/ 445603 h 820230"/>
                  <a:gd name="connsiteX3071" fmla="*/ 2055823 w 2708532"/>
                  <a:gd name="connsiteY3071" fmla="*/ 443840 h 820230"/>
                  <a:gd name="connsiteX3072" fmla="*/ 2059349 w 2708532"/>
                  <a:gd name="connsiteY3072" fmla="*/ 438638 h 820230"/>
                  <a:gd name="connsiteX3073" fmla="*/ 2060231 w 2708532"/>
                  <a:gd name="connsiteY3073" fmla="*/ 435464 h 820230"/>
                  <a:gd name="connsiteX3074" fmla="*/ 2062523 w 2708532"/>
                  <a:gd name="connsiteY3074" fmla="*/ 433436 h 820230"/>
                  <a:gd name="connsiteX3075" fmla="*/ 2063405 w 2708532"/>
                  <a:gd name="connsiteY3075" fmla="*/ 431937 h 820230"/>
                  <a:gd name="connsiteX3076" fmla="*/ 2063757 w 2708532"/>
                  <a:gd name="connsiteY3076" fmla="*/ 429909 h 820230"/>
                  <a:gd name="connsiteX3077" fmla="*/ 2063140 w 2708532"/>
                  <a:gd name="connsiteY3077" fmla="*/ 427264 h 820230"/>
                  <a:gd name="connsiteX3078" fmla="*/ 2064286 w 2708532"/>
                  <a:gd name="connsiteY3078" fmla="*/ 424883 h 820230"/>
                  <a:gd name="connsiteX3079" fmla="*/ 2062523 w 2708532"/>
                  <a:gd name="connsiteY3079" fmla="*/ 424619 h 820230"/>
                  <a:gd name="connsiteX3080" fmla="*/ 2060231 w 2708532"/>
                  <a:gd name="connsiteY3080" fmla="*/ 424354 h 820230"/>
                  <a:gd name="connsiteX3081" fmla="*/ 2059966 w 2708532"/>
                  <a:gd name="connsiteY3081" fmla="*/ 422327 h 820230"/>
                  <a:gd name="connsiteX3082" fmla="*/ 2060231 w 2708532"/>
                  <a:gd name="connsiteY3082" fmla="*/ 420299 h 820230"/>
                  <a:gd name="connsiteX3083" fmla="*/ 2060231 w 2708532"/>
                  <a:gd name="connsiteY3083" fmla="*/ 418800 h 820230"/>
                  <a:gd name="connsiteX3084" fmla="*/ 2059966 w 2708532"/>
                  <a:gd name="connsiteY3084" fmla="*/ 416507 h 820230"/>
                  <a:gd name="connsiteX3085" fmla="*/ 2060231 w 2708532"/>
                  <a:gd name="connsiteY3085" fmla="*/ 413598 h 820230"/>
                  <a:gd name="connsiteX3086" fmla="*/ 2063405 w 2708532"/>
                  <a:gd name="connsiteY3086" fmla="*/ 413598 h 820230"/>
                  <a:gd name="connsiteX3087" fmla="*/ 2064022 w 2708532"/>
                  <a:gd name="connsiteY3087" fmla="*/ 412452 h 820230"/>
                  <a:gd name="connsiteX3088" fmla="*/ 2064286 w 2708532"/>
                  <a:gd name="connsiteY3088" fmla="*/ 410424 h 820230"/>
                  <a:gd name="connsiteX3089" fmla="*/ 2068078 w 2708532"/>
                  <a:gd name="connsiteY3089" fmla="*/ 410688 h 820230"/>
                  <a:gd name="connsiteX3090" fmla="*/ 2070722 w 2708532"/>
                  <a:gd name="connsiteY3090" fmla="*/ 411306 h 820230"/>
                  <a:gd name="connsiteX3091" fmla="*/ 2072222 w 2708532"/>
                  <a:gd name="connsiteY3091" fmla="*/ 409807 h 820230"/>
                  <a:gd name="connsiteX3092" fmla="*/ 2069929 w 2708532"/>
                  <a:gd name="connsiteY3092" fmla="*/ 409189 h 820230"/>
                  <a:gd name="connsiteX3093" fmla="*/ 2067284 w 2708532"/>
                  <a:gd name="connsiteY3093" fmla="*/ 408308 h 820230"/>
                  <a:gd name="connsiteX3094" fmla="*/ 2065521 w 2708532"/>
                  <a:gd name="connsiteY3094" fmla="*/ 406544 h 820230"/>
                  <a:gd name="connsiteX3095" fmla="*/ 2065521 w 2708532"/>
                  <a:gd name="connsiteY3095" fmla="*/ 404517 h 820230"/>
                  <a:gd name="connsiteX3096" fmla="*/ 2065521 w 2708532"/>
                  <a:gd name="connsiteY3096" fmla="*/ 403370 h 820230"/>
                  <a:gd name="connsiteX3097" fmla="*/ 2065521 w 2708532"/>
                  <a:gd name="connsiteY3097" fmla="*/ 401078 h 820230"/>
                  <a:gd name="connsiteX3098" fmla="*/ 2067284 w 2708532"/>
                  <a:gd name="connsiteY3098" fmla="*/ 399315 h 820230"/>
                  <a:gd name="connsiteX3099" fmla="*/ 2069312 w 2708532"/>
                  <a:gd name="connsiteY3099" fmla="*/ 399050 h 820230"/>
                  <a:gd name="connsiteX3100" fmla="*/ 2069312 w 2708532"/>
                  <a:gd name="connsiteY3100" fmla="*/ 396141 h 820230"/>
                  <a:gd name="connsiteX3101" fmla="*/ 2070458 w 2708532"/>
                  <a:gd name="connsiteY3101" fmla="*/ 394642 h 820230"/>
                  <a:gd name="connsiteX3102" fmla="*/ 2071957 w 2708532"/>
                  <a:gd name="connsiteY3102" fmla="*/ 394906 h 820230"/>
                  <a:gd name="connsiteX3103" fmla="*/ 2072839 w 2708532"/>
                  <a:gd name="connsiteY3103" fmla="*/ 393760 h 820230"/>
                  <a:gd name="connsiteX3104" fmla="*/ 2073720 w 2708532"/>
                  <a:gd name="connsiteY3104" fmla="*/ 390233 h 820230"/>
                  <a:gd name="connsiteX3105" fmla="*/ 2076101 w 2708532"/>
                  <a:gd name="connsiteY3105" fmla="*/ 392261 h 820230"/>
                  <a:gd name="connsiteX3106" fmla="*/ 2078394 w 2708532"/>
                  <a:gd name="connsiteY3106" fmla="*/ 392526 h 820230"/>
                  <a:gd name="connsiteX3107" fmla="*/ 2078658 w 2708532"/>
                  <a:gd name="connsiteY3107" fmla="*/ 395171 h 820230"/>
                  <a:gd name="connsiteX3108" fmla="*/ 2079804 w 2708532"/>
                  <a:gd name="connsiteY3108" fmla="*/ 395788 h 820230"/>
                  <a:gd name="connsiteX3109" fmla="*/ 2080950 w 2708532"/>
                  <a:gd name="connsiteY3109" fmla="*/ 396934 h 820230"/>
                  <a:gd name="connsiteX3110" fmla="*/ 2084741 w 2708532"/>
                  <a:gd name="connsiteY3110" fmla="*/ 396934 h 820230"/>
                  <a:gd name="connsiteX3111" fmla="*/ 2084741 w 2708532"/>
                  <a:gd name="connsiteY3111" fmla="*/ 395435 h 820230"/>
                  <a:gd name="connsiteX3112" fmla="*/ 2087034 w 2708532"/>
                  <a:gd name="connsiteY3112" fmla="*/ 396317 h 820230"/>
                  <a:gd name="connsiteX3113" fmla="*/ 2089062 w 2708532"/>
                  <a:gd name="connsiteY3113" fmla="*/ 395700 h 820230"/>
                  <a:gd name="connsiteX3114" fmla="*/ 2088444 w 2708532"/>
                  <a:gd name="connsiteY3114" fmla="*/ 393936 h 820230"/>
                  <a:gd name="connsiteX3115" fmla="*/ 2092500 w 2708532"/>
                  <a:gd name="connsiteY3115" fmla="*/ 393936 h 820230"/>
                  <a:gd name="connsiteX3116" fmla="*/ 2093382 w 2708532"/>
                  <a:gd name="connsiteY3116" fmla="*/ 391291 h 820230"/>
                  <a:gd name="connsiteX3117" fmla="*/ 2095410 w 2708532"/>
                  <a:gd name="connsiteY3117" fmla="*/ 392790 h 820230"/>
                  <a:gd name="connsiteX3118" fmla="*/ 2098936 w 2708532"/>
                  <a:gd name="connsiteY3118" fmla="*/ 392526 h 820230"/>
                  <a:gd name="connsiteX3119" fmla="*/ 2101581 w 2708532"/>
                  <a:gd name="connsiteY3119" fmla="*/ 394289 h 820230"/>
                  <a:gd name="connsiteX3120" fmla="*/ 2102111 w 2708532"/>
                  <a:gd name="connsiteY3120" fmla="*/ 395435 h 820230"/>
                  <a:gd name="connsiteX3121" fmla="*/ 2102992 w 2708532"/>
                  <a:gd name="connsiteY3121" fmla="*/ 393936 h 820230"/>
                  <a:gd name="connsiteX3122" fmla="*/ 2105637 w 2708532"/>
                  <a:gd name="connsiteY3122" fmla="*/ 392173 h 820230"/>
                  <a:gd name="connsiteX3123" fmla="*/ 2110311 w 2708532"/>
                  <a:gd name="connsiteY3123" fmla="*/ 392437 h 820230"/>
                  <a:gd name="connsiteX3124" fmla="*/ 2112073 w 2708532"/>
                  <a:gd name="connsiteY3124" fmla="*/ 393319 h 820230"/>
                  <a:gd name="connsiteX3125" fmla="*/ 2118774 w 2708532"/>
                  <a:gd name="connsiteY3125" fmla="*/ 393319 h 820230"/>
                  <a:gd name="connsiteX3126" fmla="*/ 2121949 w 2708532"/>
                  <a:gd name="connsiteY3126" fmla="*/ 392702 h 820230"/>
                  <a:gd name="connsiteX3127" fmla="*/ 2122213 w 2708532"/>
                  <a:gd name="connsiteY3127" fmla="*/ 394994 h 820230"/>
                  <a:gd name="connsiteX3128" fmla="*/ 2122478 w 2708532"/>
                  <a:gd name="connsiteY3128" fmla="*/ 396493 h 820230"/>
                  <a:gd name="connsiteX3129" fmla="*/ 2124770 w 2708532"/>
                  <a:gd name="connsiteY3129" fmla="*/ 397110 h 820230"/>
                  <a:gd name="connsiteX3130" fmla="*/ 2124770 w 2708532"/>
                  <a:gd name="connsiteY3130" fmla="*/ 398257 h 820230"/>
                  <a:gd name="connsiteX3131" fmla="*/ 2124770 w 2708532"/>
                  <a:gd name="connsiteY3131" fmla="*/ 399403 h 820230"/>
                  <a:gd name="connsiteX3132" fmla="*/ 2128032 w 2708532"/>
                  <a:gd name="connsiteY3132" fmla="*/ 400284 h 820230"/>
                  <a:gd name="connsiteX3133" fmla="*/ 2128297 w 2708532"/>
                  <a:gd name="connsiteY3133" fmla="*/ 398786 h 820230"/>
                  <a:gd name="connsiteX3134" fmla="*/ 2130942 w 2708532"/>
                  <a:gd name="connsiteY3134" fmla="*/ 400284 h 820230"/>
                  <a:gd name="connsiteX3135" fmla="*/ 2133587 w 2708532"/>
                  <a:gd name="connsiteY3135" fmla="*/ 400020 h 820230"/>
                  <a:gd name="connsiteX3136" fmla="*/ 2134733 w 2708532"/>
                  <a:gd name="connsiteY3136" fmla="*/ 399403 h 820230"/>
                  <a:gd name="connsiteX3137" fmla="*/ 2130324 w 2708532"/>
                  <a:gd name="connsiteY3137" fmla="*/ 397904 h 820230"/>
                  <a:gd name="connsiteX3138" fmla="*/ 2133234 w 2708532"/>
                  <a:gd name="connsiteY3138" fmla="*/ 397375 h 820230"/>
                  <a:gd name="connsiteX3139" fmla="*/ 2135262 w 2708532"/>
                  <a:gd name="connsiteY3139" fmla="*/ 395612 h 820230"/>
                  <a:gd name="connsiteX3140" fmla="*/ 2135791 w 2708532"/>
                  <a:gd name="connsiteY3140" fmla="*/ 397375 h 820230"/>
                  <a:gd name="connsiteX3141" fmla="*/ 2138701 w 2708532"/>
                  <a:gd name="connsiteY3141" fmla="*/ 396229 h 820230"/>
                  <a:gd name="connsiteX3142" fmla="*/ 2143374 w 2708532"/>
                  <a:gd name="connsiteY3142" fmla="*/ 396229 h 820230"/>
                  <a:gd name="connsiteX3143" fmla="*/ 2145666 w 2708532"/>
                  <a:gd name="connsiteY3143" fmla="*/ 396493 h 820230"/>
                  <a:gd name="connsiteX3144" fmla="*/ 2145666 w 2708532"/>
                  <a:gd name="connsiteY3144" fmla="*/ 399403 h 820230"/>
                  <a:gd name="connsiteX3145" fmla="*/ 2148840 w 2708532"/>
                  <a:gd name="connsiteY3145" fmla="*/ 396758 h 820230"/>
                  <a:gd name="connsiteX3146" fmla="*/ 2148575 w 2708532"/>
                  <a:gd name="connsiteY3146" fmla="*/ 395612 h 820230"/>
                  <a:gd name="connsiteX3147" fmla="*/ 2152367 w 2708532"/>
                  <a:gd name="connsiteY3147" fmla="*/ 396493 h 820230"/>
                  <a:gd name="connsiteX3148" fmla="*/ 2157392 w 2708532"/>
                  <a:gd name="connsiteY3148" fmla="*/ 396758 h 820230"/>
                  <a:gd name="connsiteX3149" fmla="*/ 2159420 w 2708532"/>
                  <a:gd name="connsiteY3149" fmla="*/ 396493 h 820230"/>
                  <a:gd name="connsiteX3150" fmla="*/ 2161448 w 2708532"/>
                  <a:gd name="connsiteY3150" fmla="*/ 396493 h 820230"/>
                  <a:gd name="connsiteX3151" fmla="*/ 2162065 w 2708532"/>
                  <a:gd name="connsiteY3151" fmla="*/ 395347 h 820230"/>
                  <a:gd name="connsiteX3152" fmla="*/ 2162947 w 2708532"/>
                  <a:gd name="connsiteY3152" fmla="*/ 393848 h 820230"/>
                  <a:gd name="connsiteX3153" fmla="*/ 2164093 w 2708532"/>
                  <a:gd name="connsiteY3153" fmla="*/ 395347 h 820230"/>
                  <a:gd name="connsiteX3154" fmla="*/ 2166474 w 2708532"/>
                  <a:gd name="connsiteY3154" fmla="*/ 396846 h 820230"/>
                  <a:gd name="connsiteX3155" fmla="*/ 2169383 w 2708532"/>
                  <a:gd name="connsiteY3155" fmla="*/ 396846 h 820230"/>
                  <a:gd name="connsiteX3156" fmla="*/ 2172293 w 2708532"/>
                  <a:gd name="connsiteY3156" fmla="*/ 395964 h 820230"/>
                  <a:gd name="connsiteX3157" fmla="*/ 2175467 w 2708532"/>
                  <a:gd name="connsiteY3157" fmla="*/ 395964 h 820230"/>
                  <a:gd name="connsiteX3158" fmla="*/ 2178641 w 2708532"/>
                  <a:gd name="connsiteY3158" fmla="*/ 395347 h 820230"/>
                  <a:gd name="connsiteX3159" fmla="*/ 2180404 w 2708532"/>
                  <a:gd name="connsiteY3159" fmla="*/ 396229 h 820230"/>
                  <a:gd name="connsiteX3160" fmla="*/ 2181550 w 2708532"/>
                  <a:gd name="connsiteY3160" fmla="*/ 394465 h 820230"/>
                  <a:gd name="connsiteX3161" fmla="*/ 2180933 w 2708532"/>
                  <a:gd name="connsiteY3161" fmla="*/ 392702 h 820230"/>
                  <a:gd name="connsiteX3162" fmla="*/ 2179170 w 2708532"/>
                  <a:gd name="connsiteY3162" fmla="*/ 390674 h 820230"/>
                  <a:gd name="connsiteX3163" fmla="*/ 2178553 w 2708532"/>
                  <a:gd name="connsiteY3163" fmla="*/ 387147 h 820230"/>
                  <a:gd name="connsiteX3164" fmla="*/ 2178288 w 2708532"/>
                  <a:gd name="connsiteY3164" fmla="*/ 385648 h 820230"/>
                  <a:gd name="connsiteX3165" fmla="*/ 2182079 w 2708532"/>
                  <a:gd name="connsiteY3165" fmla="*/ 387676 h 820230"/>
                  <a:gd name="connsiteX3166" fmla="*/ 2186223 w 2708532"/>
                  <a:gd name="connsiteY3166" fmla="*/ 386266 h 820230"/>
                  <a:gd name="connsiteX3167" fmla="*/ 2186488 w 2708532"/>
                  <a:gd name="connsiteY3167" fmla="*/ 387147 h 820230"/>
                  <a:gd name="connsiteX3168" fmla="*/ 2187105 w 2708532"/>
                  <a:gd name="connsiteY3168" fmla="*/ 388646 h 820230"/>
                  <a:gd name="connsiteX3169" fmla="*/ 2188604 w 2708532"/>
                  <a:gd name="connsiteY3169" fmla="*/ 392173 h 820230"/>
                  <a:gd name="connsiteX3170" fmla="*/ 2190367 w 2708532"/>
                  <a:gd name="connsiteY3170" fmla="*/ 394818 h 820230"/>
                  <a:gd name="connsiteX3171" fmla="*/ 2193013 w 2708532"/>
                  <a:gd name="connsiteY3171" fmla="*/ 394554 h 820230"/>
                  <a:gd name="connsiteX3172" fmla="*/ 2193013 w 2708532"/>
                  <a:gd name="connsiteY3172" fmla="*/ 393055 h 820230"/>
                  <a:gd name="connsiteX3173" fmla="*/ 2194158 w 2708532"/>
                  <a:gd name="connsiteY3173" fmla="*/ 389792 h 820230"/>
                  <a:gd name="connsiteX3174" fmla="*/ 2199713 w 2708532"/>
                  <a:gd name="connsiteY3174" fmla="*/ 390939 h 820230"/>
                  <a:gd name="connsiteX3175" fmla="*/ 2202358 w 2708532"/>
                  <a:gd name="connsiteY3175" fmla="*/ 390057 h 820230"/>
                  <a:gd name="connsiteX3176" fmla="*/ 2204121 w 2708532"/>
                  <a:gd name="connsiteY3176" fmla="*/ 389175 h 820230"/>
                  <a:gd name="connsiteX3177" fmla="*/ 2205268 w 2708532"/>
                  <a:gd name="connsiteY3177" fmla="*/ 392349 h 820230"/>
                  <a:gd name="connsiteX3178" fmla="*/ 2206679 w 2708532"/>
                  <a:gd name="connsiteY3178" fmla="*/ 393231 h 820230"/>
                  <a:gd name="connsiteX3179" fmla="*/ 2206150 w 2708532"/>
                  <a:gd name="connsiteY3179" fmla="*/ 389704 h 820230"/>
                  <a:gd name="connsiteX3180" fmla="*/ 2208794 w 2708532"/>
                  <a:gd name="connsiteY3180" fmla="*/ 389704 h 820230"/>
                  <a:gd name="connsiteX3181" fmla="*/ 2212321 w 2708532"/>
                  <a:gd name="connsiteY3181" fmla="*/ 391203 h 820230"/>
                  <a:gd name="connsiteX3182" fmla="*/ 2214966 w 2708532"/>
                  <a:gd name="connsiteY3182" fmla="*/ 390321 h 820230"/>
                  <a:gd name="connsiteX3183" fmla="*/ 2218140 w 2708532"/>
                  <a:gd name="connsiteY3183" fmla="*/ 390939 h 820230"/>
                  <a:gd name="connsiteX3184" fmla="*/ 2219639 w 2708532"/>
                  <a:gd name="connsiteY3184" fmla="*/ 386883 h 820230"/>
                  <a:gd name="connsiteX3185" fmla="*/ 2220785 w 2708532"/>
                  <a:gd name="connsiteY3185" fmla="*/ 392437 h 820230"/>
                  <a:gd name="connsiteX3186" fmla="*/ 2222549 w 2708532"/>
                  <a:gd name="connsiteY3186" fmla="*/ 392437 h 820230"/>
                  <a:gd name="connsiteX3187" fmla="*/ 2225811 w 2708532"/>
                  <a:gd name="connsiteY3187" fmla="*/ 393319 h 820230"/>
                  <a:gd name="connsiteX3188" fmla="*/ 2225547 w 2708532"/>
                  <a:gd name="connsiteY3188" fmla="*/ 395612 h 820230"/>
                  <a:gd name="connsiteX3189" fmla="*/ 2223783 w 2708532"/>
                  <a:gd name="connsiteY3189" fmla="*/ 397110 h 820230"/>
                  <a:gd name="connsiteX3190" fmla="*/ 2222284 w 2708532"/>
                  <a:gd name="connsiteY3190" fmla="*/ 397992 h 820230"/>
                  <a:gd name="connsiteX3191" fmla="*/ 2220256 w 2708532"/>
                  <a:gd name="connsiteY3191" fmla="*/ 399755 h 820230"/>
                  <a:gd name="connsiteX3192" fmla="*/ 2218493 w 2708532"/>
                  <a:gd name="connsiteY3192" fmla="*/ 399138 h 820230"/>
                  <a:gd name="connsiteX3193" fmla="*/ 2214966 w 2708532"/>
                  <a:gd name="connsiteY3193" fmla="*/ 400637 h 820230"/>
                  <a:gd name="connsiteX3194" fmla="*/ 2211175 w 2708532"/>
                  <a:gd name="connsiteY3194" fmla="*/ 400020 h 820230"/>
                  <a:gd name="connsiteX3195" fmla="*/ 2211792 w 2708532"/>
                  <a:gd name="connsiteY3195" fmla="*/ 400902 h 820230"/>
                  <a:gd name="connsiteX3196" fmla="*/ 2218758 w 2708532"/>
                  <a:gd name="connsiteY3196" fmla="*/ 401166 h 820230"/>
                  <a:gd name="connsiteX3197" fmla="*/ 2223166 w 2708532"/>
                  <a:gd name="connsiteY3197" fmla="*/ 400549 h 820230"/>
                  <a:gd name="connsiteX3198" fmla="*/ 2224312 w 2708532"/>
                  <a:gd name="connsiteY3198" fmla="*/ 402577 h 820230"/>
                  <a:gd name="connsiteX3199" fmla="*/ 2225194 w 2708532"/>
                  <a:gd name="connsiteY3199" fmla="*/ 404076 h 820230"/>
                  <a:gd name="connsiteX3200" fmla="*/ 2228368 w 2708532"/>
                  <a:gd name="connsiteY3200" fmla="*/ 403811 h 820230"/>
                  <a:gd name="connsiteX3201" fmla="*/ 2231277 w 2708532"/>
                  <a:gd name="connsiteY3201" fmla="*/ 404428 h 820230"/>
                  <a:gd name="connsiteX3202" fmla="*/ 2232688 w 2708532"/>
                  <a:gd name="connsiteY3202" fmla="*/ 405046 h 820230"/>
                  <a:gd name="connsiteX3203" fmla="*/ 2232953 w 2708532"/>
                  <a:gd name="connsiteY3203" fmla="*/ 407426 h 820230"/>
                  <a:gd name="connsiteX3204" fmla="*/ 2234980 w 2708532"/>
                  <a:gd name="connsiteY3204" fmla="*/ 406809 h 820230"/>
                  <a:gd name="connsiteX3205" fmla="*/ 2236744 w 2708532"/>
                  <a:gd name="connsiteY3205" fmla="*/ 404781 h 820230"/>
                  <a:gd name="connsiteX3206" fmla="*/ 2240271 w 2708532"/>
                  <a:gd name="connsiteY3206" fmla="*/ 406809 h 820230"/>
                  <a:gd name="connsiteX3207" fmla="*/ 2243445 w 2708532"/>
                  <a:gd name="connsiteY3207" fmla="*/ 404517 h 820230"/>
                  <a:gd name="connsiteX3208" fmla="*/ 2248382 w 2708532"/>
                  <a:gd name="connsiteY3208" fmla="*/ 404252 h 820230"/>
                  <a:gd name="connsiteX3209" fmla="*/ 2253584 w 2708532"/>
                  <a:gd name="connsiteY3209" fmla="*/ 404869 h 820230"/>
                  <a:gd name="connsiteX3210" fmla="*/ 2255083 w 2708532"/>
                  <a:gd name="connsiteY3210" fmla="*/ 406897 h 820230"/>
                  <a:gd name="connsiteX3211" fmla="*/ 2257728 w 2708532"/>
                  <a:gd name="connsiteY3211" fmla="*/ 404869 h 820230"/>
                  <a:gd name="connsiteX3212" fmla="*/ 2257728 w 2708532"/>
                  <a:gd name="connsiteY3212" fmla="*/ 402577 h 820230"/>
                  <a:gd name="connsiteX3213" fmla="*/ 2259139 w 2708532"/>
                  <a:gd name="connsiteY3213" fmla="*/ 399932 h 820230"/>
                  <a:gd name="connsiteX3214" fmla="*/ 2260902 w 2708532"/>
                  <a:gd name="connsiteY3214" fmla="*/ 398168 h 820230"/>
                  <a:gd name="connsiteX3215" fmla="*/ 2265575 w 2708532"/>
                  <a:gd name="connsiteY3215" fmla="*/ 398786 h 820230"/>
                  <a:gd name="connsiteX3216" fmla="*/ 2265839 w 2708532"/>
                  <a:gd name="connsiteY3216" fmla="*/ 400549 h 820230"/>
                  <a:gd name="connsiteX3217" fmla="*/ 2266985 w 2708532"/>
                  <a:gd name="connsiteY3217" fmla="*/ 402929 h 820230"/>
                  <a:gd name="connsiteX3218" fmla="*/ 2271659 w 2708532"/>
                  <a:gd name="connsiteY3218" fmla="*/ 402665 h 820230"/>
                  <a:gd name="connsiteX3219" fmla="*/ 2278095 w 2708532"/>
                  <a:gd name="connsiteY3219" fmla="*/ 401783 h 820230"/>
                  <a:gd name="connsiteX3220" fmla="*/ 2278712 w 2708532"/>
                  <a:gd name="connsiteY3220" fmla="*/ 398609 h 820230"/>
                  <a:gd name="connsiteX3221" fmla="*/ 2281357 w 2708532"/>
                  <a:gd name="connsiteY3221" fmla="*/ 400020 h 820230"/>
                  <a:gd name="connsiteX3222" fmla="*/ 2286647 w 2708532"/>
                  <a:gd name="connsiteY3222" fmla="*/ 398257 h 820230"/>
                  <a:gd name="connsiteX3223" fmla="*/ 2293965 w 2708532"/>
                  <a:gd name="connsiteY3223" fmla="*/ 399755 h 820230"/>
                  <a:gd name="connsiteX3224" fmla="*/ 2295728 w 2708532"/>
                  <a:gd name="connsiteY3224" fmla="*/ 400020 h 820230"/>
                  <a:gd name="connsiteX3225" fmla="*/ 2294230 w 2708532"/>
                  <a:gd name="connsiteY3225" fmla="*/ 397728 h 820230"/>
                  <a:gd name="connsiteX3226" fmla="*/ 2292466 w 2708532"/>
                  <a:gd name="connsiteY3226" fmla="*/ 396229 h 820230"/>
                  <a:gd name="connsiteX3227" fmla="*/ 2291585 w 2708532"/>
                  <a:gd name="connsiteY3227" fmla="*/ 390674 h 820230"/>
                  <a:gd name="connsiteX3228" fmla="*/ 2289292 w 2708532"/>
                  <a:gd name="connsiteY3228" fmla="*/ 391556 h 820230"/>
                  <a:gd name="connsiteX3229" fmla="*/ 2286118 w 2708532"/>
                  <a:gd name="connsiteY3229" fmla="*/ 390674 h 820230"/>
                  <a:gd name="connsiteX3230" fmla="*/ 2281710 w 2708532"/>
                  <a:gd name="connsiteY3230" fmla="*/ 390057 h 820230"/>
                  <a:gd name="connsiteX3231" fmla="*/ 2275626 w 2708532"/>
                  <a:gd name="connsiteY3231" fmla="*/ 390057 h 820230"/>
                  <a:gd name="connsiteX3232" fmla="*/ 2273598 w 2708532"/>
                  <a:gd name="connsiteY3232" fmla="*/ 387765 h 820230"/>
                  <a:gd name="connsiteX3233" fmla="*/ 2271306 w 2708532"/>
                  <a:gd name="connsiteY3233" fmla="*/ 386618 h 820230"/>
                  <a:gd name="connsiteX3234" fmla="*/ 2272188 w 2708532"/>
                  <a:gd name="connsiteY3234" fmla="*/ 390057 h 820230"/>
                  <a:gd name="connsiteX3235" fmla="*/ 2268132 w 2708532"/>
                  <a:gd name="connsiteY3235" fmla="*/ 390674 h 820230"/>
                  <a:gd name="connsiteX3236" fmla="*/ 2268132 w 2708532"/>
                  <a:gd name="connsiteY3236" fmla="*/ 387147 h 820230"/>
                  <a:gd name="connsiteX3237" fmla="*/ 2275450 w 2708532"/>
                  <a:gd name="connsiteY3237" fmla="*/ 384855 h 820230"/>
                  <a:gd name="connsiteX3238" fmla="*/ 2266633 w 2708532"/>
                  <a:gd name="connsiteY3238" fmla="*/ 385472 h 820230"/>
                  <a:gd name="connsiteX3239" fmla="*/ 2262225 w 2708532"/>
                  <a:gd name="connsiteY3239" fmla="*/ 384326 h 820230"/>
                  <a:gd name="connsiteX3240" fmla="*/ 2262489 w 2708532"/>
                  <a:gd name="connsiteY3240" fmla="*/ 381681 h 820230"/>
                  <a:gd name="connsiteX3241" fmla="*/ 2261607 w 2708532"/>
                  <a:gd name="connsiteY3241" fmla="*/ 378507 h 820230"/>
                  <a:gd name="connsiteX3242" fmla="*/ 2261343 w 2708532"/>
                  <a:gd name="connsiteY3242" fmla="*/ 375597 h 820230"/>
                  <a:gd name="connsiteX3243" fmla="*/ 2261078 w 2708532"/>
                  <a:gd name="connsiteY3243" fmla="*/ 374451 h 820230"/>
                  <a:gd name="connsiteX3244" fmla="*/ 2264869 w 2708532"/>
                  <a:gd name="connsiteY3244" fmla="*/ 374187 h 820230"/>
                  <a:gd name="connsiteX3245" fmla="*/ 2268396 w 2708532"/>
                  <a:gd name="connsiteY3245" fmla="*/ 379124 h 820230"/>
                  <a:gd name="connsiteX3246" fmla="*/ 2267514 w 2708532"/>
                  <a:gd name="connsiteY3246" fmla="*/ 382386 h 820230"/>
                  <a:gd name="connsiteX3247" fmla="*/ 2271041 w 2708532"/>
                  <a:gd name="connsiteY3247" fmla="*/ 377713 h 820230"/>
                  <a:gd name="connsiteX3248" fmla="*/ 2268132 w 2708532"/>
                  <a:gd name="connsiteY3248" fmla="*/ 375068 h 820230"/>
                  <a:gd name="connsiteX3249" fmla="*/ 2268749 w 2708532"/>
                  <a:gd name="connsiteY3249" fmla="*/ 372776 h 820230"/>
                  <a:gd name="connsiteX3250" fmla="*/ 2266721 w 2708532"/>
                  <a:gd name="connsiteY3250" fmla="*/ 372511 h 820230"/>
                  <a:gd name="connsiteX3251" fmla="*/ 2264693 w 2708532"/>
                  <a:gd name="connsiteY3251" fmla="*/ 372511 h 820230"/>
                  <a:gd name="connsiteX3252" fmla="*/ 2261784 w 2708532"/>
                  <a:gd name="connsiteY3252" fmla="*/ 370131 h 820230"/>
                  <a:gd name="connsiteX3253" fmla="*/ 2265310 w 2708532"/>
                  <a:gd name="connsiteY3253" fmla="*/ 367486 h 820230"/>
                  <a:gd name="connsiteX3254" fmla="*/ 2265575 w 2708532"/>
                  <a:gd name="connsiteY3254" fmla="*/ 362813 h 820230"/>
                  <a:gd name="connsiteX3255" fmla="*/ 2265575 w 2708532"/>
                  <a:gd name="connsiteY3255" fmla="*/ 360785 h 820230"/>
                  <a:gd name="connsiteX3256" fmla="*/ 2267074 w 2708532"/>
                  <a:gd name="connsiteY3256" fmla="*/ 359022 h 820230"/>
                  <a:gd name="connsiteX3257" fmla="*/ 2264693 w 2708532"/>
                  <a:gd name="connsiteY3257" fmla="*/ 356112 h 820230"/>
                  <a:gd name="connsiteX3258" fmla="*/ 2268485 w 2708532"/>
                  <a:gd name="connsiteY3258" fmla="*/ 350910 h 820230"/>
                  <a:gd name="connsiteX3259" fmla="*/ 2267338 w 2708532"/>
                  <a:gd name="connsiteY3259" fmla="*/ 349764 h 820230"/>
                  <a:gd name="connsiteX3260" fmla="*/ 2264164 w 2708532"/>
                  <a:gd name="connsiteY3260" fmla="*/ 346590 h 820230"/>
                  <a:gd name="connsiteX3261" fmla="*/ 2263547 w 2708532"/>
                  <a:gd name="connsiteY3261" fmla="*/ 344298 h 820230"/>
                  <a:gd name="connsiteX3262" fmla="*/ 2264693 w 2708532"/>
                  <a:gd name="connsiteY3262" fmla="*/ 341035 h 820230"/>
                  <a:gd name="connsiteX3263" fmla="*/ 2267074 w 2708532"/>
                  <a:gd name="connsiteY3263" fmla="*/ 340154 h 820230"/>
                  <a:gd name="connsiteX3264" fmla="*/ 2269983 w 2708532"/>
                  <a:gd name="connsiteY3264" fmla="*/ 341035 h 820230"/>
                  <a:gd name="connsiteX3265" fmla="*/ 2270865 w 2708532"/>
                  <a:gd name="connsiteY3265" fmla="*/ 337861 h 820230"/>
                  <a:gd name="connsiteX3266" fmla="*/ 2274304 w 2708532"/>
                  <a:gd name="connsiteY3266" fmla="*/ 337597 h 820230"/>
                  <a:gd name="connsiteX3267" fmla="*/ 2277477 w 2708532"/>
                  <a:gd name="connsiteY3267" fmla="*/ 338214 h 820230"/>
                  <a:gd name="connsiteX3268" fmla="*/ 2278095 w 2708532"/>
                  <a:gd name="connsiteY3268" fmla="*/ 341741 h 820230"/>
                  <a:gd name="connsiteX3269" fmla="*/ 2282768 w 2708532"/>
                  <a:gd name="connsiteY3269" fmla="*/ 338567 h 820230"/>
                  <a:gd name="connsiteX3270" fmla="*/ 2286559 w 2708532"/>
                  <a:gd name="connsiteY3270" fmla="*/ 339184 h 820230"/>
                  <a:gd name="connsiteX3271" fmla="*/ 2290350 w 2708532"/>
                  <a:gd name="connsiteY3271" fmla="*/ 338302 h 820230"/>
                  <a:gd name="connsiteX3272" fmla="*/ 2291585 w 2708532"/>
                  <a:gd name="connsiteY3272" fmla="*/ 335922 h 820230"/>
                  <a:gd name="connsiteX3273" fmla="*/ 2296522 w 2708532"/>
                  <a:gd name="connsiteY3273" fmla="*/ 337420 h 820230"/>
                  <a:gd name="connsiteX3274" fmla="*/ 2298550 w 2708532"/>
                  <a:gd name="connsiteY3274" fmla="*/ 339184 h 820230"/>
                  <a:gd name="connsiteX3275" fmla="*/ 2302077 w 2708532"/>
                  <a:gd name="connsiteY3275" fmla="*/ 339448 h 820230"/>
                  <a:gd name="connsiteX3276" fmla="*/ 2304104 w 2708532"/>
                  <a:gd name="connsiteY3276" fmla="*/ 342622 h 820230"/>
                  <a:gd name="connsiteX3277" fmla="*/ 2306397 w 2708532"/>
                  <a:gd name="connsiteY3277" fmla="*/ 340859 h 820230"/>
                  <a:gd name="connsiteX3278" fmla="*/ 2308160 w 2708532"/>
                  <a:gd name="connsiteY3278" fmla="*/ 338831 h 820230"/>
                  <a:gd name="connsiteX3279" fmla="*/ 2310188 w 2708532"/>
                  <a:gd name="connsiteY3279" fmla="*/ 337949 h 820230"/>
                  <a:gd name="connsiteX3280" fmla="*/ 2307014 w 2708532"/>
                  <a:gd name="connsiteY3280" fmla="*/ 342622 h 820230"/>
                  <a:gd name="connsiteX3281" fmla="*/ 2309042 w 2708532"/>
                  <a:gd name="connsiteY3281" fmla="*/ 342887 h 820230"/>
                  <a:gd name="connsiteX3282" fmla="*/ 2312569 w 2708532"/>
                  <a:gd name="connsiteY3282" fmla="*/ 338478 h 820230"/>
                  <a:gd name="connsiteX3283" fmla="*/ 2315214 w 2708532"/>
                  <a:gd name="connsiteY3283" fmla="*/ 338743 h 820230"/>
                  <a:gd name="connsiteX3284" fmla="*/ 2314949 w 2708532"/>
                  <a:gd name="connsiteY3284" fmla="*/ 337597 h 820230"/>
                  <a:gd name="connsiteX3285" fmla="*/ 2316977 w 2708532"/>
                  <a:gd name="connsiteY3285" fmla="*/ 340506 h 820230"/>
                  <a:gd name="connsiteX3286" fmla="*/ 2317594 w 2708532"/>
                  <a:gd name="connsiteY3286" fmla="*/ 345444 h 820230"/>
                  <a:gd name="connsiteX3287" fmla="*/ 2319622 w 2708532"/>
                  <a:gd name="connsiteY3287" fmla="*/ 348353 h 820230"/>
                  <a:gd name="connsiteX3288" fmla="*/ 2323942 w 2708532"/>
                  <a:gd name="connsiteY3288" fmla="*/ 353291 h 820230"/>
                  <a:gd name="connsiteX3289" fmla="*/ 2325441 w 2708532"/>
                  <a:gd name="connsiteY3289" fmla="*/ 355319 h 820230"/>
                  <a:gd name="connsiteX3290" fmla="*/ 2326940 w 2708532"/>
                  <a:gd name="connsiteY3290" fmla="*/ 356465 h 820230"/>
                  <a:gd name="connsiteX3291" fmla="*/ 2329849 w 2708532"/>
                  <a:gd name="connsiteY3291" fmla="*/ 357611 h 820230"/>
                  <a:gd name="connsiteX3292" fmla="*/ 2329585 w 2708532"/>
                  <a:gd name="connsiteY3292" fmla="*/ 359374 h 820230"/>
                  <a:gd name="connsiteX3293" fmla="*/ 2332142 w 2708532"/>
                  <a:gd name="connsiteY3293" fmla="*/ 358757 h 820230"/>
                  <a:gd name="connsiteX3294" fmla="*/ 2333905 w 2708532"/>
                  <a:gd name="connsiteY3294" fmla="*/ 355848 h 820230"/>
                  <a:gd name="connsiteX3295" fmla="*/ 2337432 w 2708532"/>
                  <a:gd name="connsiteY3295" fmla="*/ 356994 h 820230"/>
                  <a:gd name="connsiteX3296" fmla="*/ 2337432 w 2708532"/>
                  <a:gd name="connsiteY3296" fmla="*/ 359022 h 820230"/>
                  <a:gd name="connsiteX3297" fmla="*/ 2337432 w 2708532"/>
                  <a:gd name="connsiteY3297" fmla="*/ 362548 h 820230"/>
                  <a:gd name="connsiteX3298" fmla="*/ 2341488 w 2708532"/>
                  <a:gd name="connsiteY3298" fmla="*/ 365193 h 820230"/>
                  <a:gd name="connsiteX3299" fmla="*/ 2345015 w 2708532"/>
                  <a:gd name="connsiteY3299" fmla="*/ 367221 h 820230"/>
                  <a:gd name="connsiteX3300" fmla="*/ 2345896 w 2708532"/>
                  <a:gd name="connsiteY3300" fmla="*/ 365458 h 820230"/>
                  <a:gd name="connsiteX3301" fmla="*/ 2345367 w 2708532"/>
                  <a:gd name="connsiteY3301" fmla="*/ 361667 h 820230"/>
                  <a:gd name="connsiteX3302" fmla="*/ 2348012 w 2708532"/>
                  <a:gd name="connsiteY3302" fmla="*/ 364312 h 820230"/>
                  <a:gd name="connsiteX3303" fmla="*/ 2350040 w 2708532"/>
                  <a:gd name="connsiteY3303" fmla="*/ 363695 h 820230"/>
                  <a:gd name="connsiteX3304" fmla="*/ 2353214 w 2708532"/>
                  <a:gd name="connsiteY3304" fmla="*/ 366869 h 820230"/>
                  <a:gd name="connsiteX3305" fmla="*/ 2354096 w 2708532"/>
                  <a:gd name="connsiteY3305" fmla="*/ 364841 h 820230"/>
                  <a:gd name="connsiteX3306" fmla="*/ 2352068 w 2708532"/>
                  <a:gd name="connsiteY3306" fmla="*/ 363342 h 820230"/>
                  <a:gd name="connsiteX3307" fmla="*/ 2351539 w 2708532"/>
                  <a:gd name="connsiteY3307" fmla="*/ 362196 h 820230"/>
                  <a:gd name="connsiteX3308" fmla="*/ 2353303 w 2708532"/>
                  <a:gd name="connsiteY3308" fmla="*/ 361050 h 820230"/>
                  <a:gd name="connsiteX3309" fmla="*/ 2354184 w 2708532"/>
                  <a:gd name="connsiteY3309" fmla="*/ 358140 h 820230"/>
                  <a:gd name="connsiteX3310" fmla="*/ 2355330 w 2708532"/>
                  <a:gd name="connsiteY3310" fmla="*/ 355230 h 820230"/>
                  <a:gd name="connsiteX3311" fmla="*/ 2354184 w 2708532"/>
                  <a:gd name="connsiteY3311" fmla="*/ 352850 h 820230"/>
                  <a:gd name="connsiteX3312" fmla="*/ 2357358 w 2708532"/>
                  <a:gd name="connsiteY3312" fmla="*/ 353467 h 820230"/>
                  <a:gd name="connsiteX3313" fmla="*/ 2357358 w 2708532"/>
                  <a:gd name="connsiteY3313" fmla="*/ 349940 h 820230"/>
                  <a:gd name="connsiteX3314" fmla="*/ 2357358 w 2708532"/>
                  <a:gd name="connsiteY3314" fmla="*/ 346766 h 820230"/>
                  <a:gd name="connsiteX3315" fmla="*/ 2359650 w 2708532"/>
                  <a:gd name="connsiteY3315" fmla="*/ 346149 h 820230"/>
                  <a:gd name="connsiteX3316" fmla="*/ 2362295 w 2708532"/>
                  <a:gd name="connsiteY3316" fmla="*/ 345003 h 820230"/>
                  <a:gd name="connsiteX3317" fmla="*/ 2362913 w 2708532"/>
                  <a:gd name="connsiteY3317" fmla="*/ 343857 h 820230"/>
                  <a:gd name="connsiteX3318" fmla="*/ 2365822 w 2708532"/>
                  <a:gd name="connsiteY3318" fmla="*/ 345885 h 820230"/>
                  <a:gd name="connsiteX3319" fmla="*/ 2365822 w 2708532"/>
                  <a:gd name="connsiteY3319" fmla="*/ 342358 h 820230"/>
                  <a:gd name="connsiteX3320" fmla="*/ 2369085 w 2708532"/>
                  <a:gd name="connsiteY3320" fmla="*/ 345003 h 820230"/>
                  <a:gd name="connsiteX3321" fmla="*/ 2371377 w 2708532"/>
                  <a:gd name="connsiteY3321" fmla="*/ 344738 h 820230"/>
                  <a:gd name="connsiteX3322" fmla="*/ 2372523 w 2708532"/>
                  <a:gd name="connsiteY3322" fmla="*/ 342358 h 820230"/>
                  <a:gd name="connsiteX3323" fmla="*/ 2369878 w 2708532"/>
                  <a:gd name="connsiteY3323" fmla="*/ 341741 h 820230"/>
                  <a:gd name="connsiteX3324" fmla="*/ 2369261 w 2708532"/>
                  <a:gd name="connsiteY3324" fmla="*/ 339977 h 820230"/>
                  <a:gd name="connsiteX3325" fmla="*/ 2366616 w 2708532"/>
                  <a:gd name="connsiteY3325" fmla="*/ 339360 h 820230"/>
                  <a:gd name="connsiteX3326" fmla="*/ 2363971 w 2708532"/>
                  <a:gd name="connsiteY3326" fmla="*/ 338214 h 820230"/>
                  <a:gd name="connsiteX3327" fmla="*/ 2364853 w 2708532"/>
                  <a:gd name="connsiteY3327" fmla="*/ 336715 h 820230"/>
                  <a:gd name="connsiteX3328" fmla="*/ 2361590 w 2708532"/>
                  <a:gd name="connsiteY3328" fmla="*/ 335569 h 820230"/>
                  <a:gd name="connsiteX3329" fmla="*/ 2361855 w 2708532"/>
                  <a:gd name="connsiteY3329" fmla="*/ 333277 h 820230"/>
                  <a:gd name="connsiteX3330" fmla="*/ 2360091 w 2708532"/>
                  <a:gd name="connsiteY3330" fmla="*/ 330984 h 820230"/>
                  <a:gd name="connsiteX3331" fmla="*/ 2357799 w 2708532"/>
                  <a:gd name="connsiteY3331" fmla="*/ 331513 h 820230"/>
                  <a:gd name="connsiteX3332" fmla="*/ 2355154 w 2708532"/>
                  <a:gd name="connsiteY3332" fmla="*/ 330631 h 820230"/>
                  <a:gd name="connsiteX3333" fmla="*/ 2356300 w 2708532"/>
                  <a:gd name="connsiteY3333" fmla="*/ 328604 h 820230"/>
                  <a:gd name="connsiteX3334" fmla="*/ 2357182 w 2708532"/>
                  <a:gd name="connsiteY3334" fmla="*/ 327105 h 820230"/>
                  <a:gd name="connsiteX3335" fmla="*/ 2354890 w 2708532"/>
                  <a:gd name="connsiteY3335" fmla="*/ 326840 h 820230"/>
                  <a:gd name="connsiteX3336" fmla="*/ 2354008 w 2708532"/>
                  <a:gd name="connsiteY3336" fmla="*/ 324812 h 820230"/>
                  <a:gd name="connsiteX3337" fmla="*/ 2354890 w 2708532"/>
                  <a:gd name="connsiteY3337" fmla="*/ 324283 h 820230"/>
                  <a:gd name="connsiteX3338" fmla="*/ 2351980 w 2708532"/>
                  <a:gd name="connsiteY3338" fmla="*/ 323137 h 820230"/>
                  <a:gd name="connsiteX3339" fmla="*/ 2354008 w 2708532"/>
                  <a:gd name="connsiteY3339" fmla="*/ 321991 h 820230"/>
                  <a:gd name="connsiteX3340" fmla="*/ 2354008 w 2708532"/>
                  <a:gd name="connsiteY3340" fmla="*/ 319963 h 820230"/>
                  <a:gd name="connsiteX3341" fmla="*/ 2355771 w 2708532"/>
                  <a:gd name="connsiteY3341" fmla="*/ 319081 h 820230"/>
                  <a:gd name="connsiteX3342" fmla="*/ 2359033 w 2708532"/>
                  <a:gd name="connsiteY3342" fmla="*/ 318817 h 820230"/>
                  <a:gd name="connsiteX3343" fmla="*/ 2359915 w 2708532"/>
                  <a:gd name="connsiteY3343" fmla="*/ 320316 h 820230"/>
                  <a:gd name="connsiteX3344" fmla="*/ 2361678 w 2708532"/>
                  <a:gd name="connsiteY3344" fmla="*/ 320316 h 820230"/>
                  <a:gd name="connsiteX3345" fmla="*/ 2364324 w 2708532"/>
                  <a:gd name="connsiteY3345" fmla="*/ 317671 h 820230"/>
                  <a:gd name="connsiteX3346" fmla="*/ 2366351 w 2708532"/>
                  <a:gd name="connsiteY3346" fmla="*/ 319434 h 820230"/>
                  <a:gd name="connsiteX3347" fmla="*/ 2366616 w 2708532"/>
                  <a:gd name="connsiteY3347" fmla="*/ 321197 h 820230"/>
                  <a:gd name="connsiteX3348" fmla="*/ 2368644 w 2708532"/>
                  <a:gd name="connsiteY3348" fmla="*/ 320580 h 820230"/>
                  <a:gd name="connsiteX3349" fmla="*/ 2368644 w 2708532"/>
                  <a:gd name="connsiteY3349" fmla="*/ 322344 h 820230"/>
                  <a:gd name="connsiteX3350" fmla="*/ 2370054 w 2708532"/>
                  <a:gd name="connsiteY3350" fmla="*/ 326488 h 820230"/>
                  <a:gd name="connsiteX3351" fmla="*/ 2369173 w 2708532"/>
                  <a:gd name="connsiteY3351" fmla="*/ 328780 h 820230"/>
                  <a:gd name="connsiteX3352" fmla="*/ 2370671 w 2708532"/>
                  <a:gd name="connsiteY3352" fmla="*/ 330543 h 820230"/>
                  <a:gd name="connsiteX3353" fmla="*/ 2371818 w 2708532"/>
                  <a:gd name="connsiteY3353" fmla="*/ 329044 h 820230"/>
                  <a:gd name="connsiteX3354" fmla="*/ 2374110 w 2708532"/>
                  <a:gd name="connsiteY3354" fmla="*/ 331425 h 820230"/>
                  <a:gd name="connsiteX3355" fmla="*/ 2372347 w 2708532"/>
                  <a:gd name="connsiteY3355" fmla="*/ 332571 h 820230"/>
                  <a:gd name="connsiteX3356" fmla="*/ 2374992 w 2708532"/>
                  <a:gd name="connsiteY3356" fmla="*/ 333982 h 820230"/>
                  <a:gd name="connsiteX3357" fmla="*/ 2374992 w 2708532"/>
                  <a:gd name="connsiteY3357" fmla="*/ 336010 h 820230"/>
                  <a:gd name="connsiteX3358" fmla="*/ 2374992 w 2708532"/>
                  <a:gd name="connsiteY3358" fmla="*/ 338390 h 820230"/>
                  <a:gd name="connsiteX3359" fmla="*/ 2377549 w 2708532"/>
                  <a:gd name="connsiteY3359" fmla="*/ 337773 h 820230"/>
                  <a:gd name="connsiteX3360" fmla="*/ 2378166 w 2708532"/>
                  <a:gd name="connsiteY3360" fmla="*/ 340418 h 820230"/>
                  <a:gd name="connsiteX3361" fmla="*/ 2380458 w 2708532"/>
                  <a:gd name="connsiteY3361" fmla="*/ 342181 h 820230"/>
                  <a:gd name="connsiteX3362" fmla="*/ 2380458 w 2708532"/>
                  <a:gd name="connsiteY3362" fmla="*/ 344209 h 820230"/>
                  <a:gd name="connsiteX3363" fmla="*/ 2382222 w 2708532"/>
                  <a:gd name="connsiteY3363" fmla="*/ 346237 h 820230"/>
                  <a:gd name="connsiteX3364" fmla="*/ 2383985 w 2708532"/>
                  <a:gd name="connsiteY3364" fmla="*/ 345973 h 820230"/>
                  <a:gd name="connsiteX3365" fmla="*/ 2384250 w 2708532"/>
                  <a:gd name="connsiteY3365" fmla="*/ 347472 h 820230"/>
                  <a:gd name="connsiteX3366" fmla="*/ 2386895 w 2708532"/>
                  <a:gd name="connsiteY3366" fmla="*/ 348353 h 820230"/>
                  <a:gd name="connsiteX3367" fmla="*/ 2390686 w 2708532"/>
                  <a:gd name="connsiteY3367" fmla="*/ 348970 h 820230"/>
                  <a:gd name="connsiteX3368" fmla="*/ 2390069 w 2708532"/>
                  <a:gd name="connsiteY3368" fmla="*/ 351263 h 820230"/>
                  <a:gd name="connsiteX3369" fmla="*/ 2389804 w 2708532"/>
                  <a:gd name="connsiteY3369" fmla="*/ 353026 h 820230"/>
                  <a:gd name="connsiteX3370" fmla="*/ 2392449 w 2708532"/>
                  <a:gd name="connsiteY3370" fmla="*/ 355671 h 820230"/>
                  <a:gd name="connsiteX3371" fmla="*/ 2391303 w 2708532"/>
                  <a:gd name="connsiteY3371" fmla="*/ 357435 h 820230"/>
                  <a:gd name="connsiteX3372" fmla="*/ 2389275 w 2708532"/>
                  <a:gd name="connsiteY3372" fmla="*/ 357964 h 820230"/>
                  <a:gd name="connsiteX3373" fmla="*/ 2390157 w 2708532"/>
                  <a:gd name="connsiteY3373" fmla="*/ 359727 h 820230"/>
                  <a:gd name="connsiteX3374" fmla="*/ 2387512 w 2708532"/>
                  <a:gd name="connsiteY3374" fmla="*/ 360344 h 820230"/>
                  <a:gd name="connsiteX3375" fmla="*/ 2386366 w 2708532"/>
                  <a:gd name="connsiteY3375" fmla="*/ 361490 h 820230"/>
                  <a:gd name="connsiteX3376" fmla="*/ 2383456 w 2708532"/>
                  <a:gd name="connsiteY3376" fmla="*/ 363254 h 820230"/>
                  <a:gd name="connsiteX3377" fmla="*/ 2381693 w 2708532"/>
                  <a:gd name="connsiteY3377" fmla="*/ 362108 h 820230"/>
                  <a:gd name="connsiteX3378" fmla="*/ 2381075 w 2708532"/>
                  <a:gd name="connsiteY3378" fmla="*/ 364488 h 820230"/>
                  <a:gd name="connsiteX3379" fmla="*/ 2379312 w 2708532"/>
                  <a:gd name="connsiteY3379" fmla="*/ 365370 h 820230"/>
                  <a:gd name="connsiteX3380" fmla="*/ 2377549 w 2708532"/>
                  <a:gd name="connsiteY3380" fmla="*/ 365634 h 820230"/>
                  <a:gd name="connsiteX3381" fmla="*/ 2378430 w 2708532"/>
                  <a:gd name="connsiteY3381" fmla="*/ 369161 h 820230"/>
                  <a:gd name="connsiteX3382" fmla="*/ 2375785 w 2708532"/>
                  <a:gd name="connsiteY3382" fmla="*/ 370307 h 820230"/>
                  <a:gd name="connsiteX3383" fmla="*/ 2377284 w 2708532"/>
                  <a:gd name="connsiteY3383" fmla="*/ 372688 h 820230"/>
                  <a:gd name="connsiteX3384" fmla="*/ 2383104 w 2708532"/>
                  <a:gd name="connsiteY3384" fmla="*/ 374451 h 820230"/>
                  <a:gd name="connsiteX3385" fmla="*/ 2382486 w 2708532"/>
                  <a:gd name="connsiteY3385" fmla="*/ 377361 h 820230"/>
                  <a:gd name="connsiteX3386" fmla="*/ 2380458 w 2708532"/>
                  <a:gd name="connsiteY3386" fmla="*/ 378507 h 820230"/>
                  <a:gd name="connsiteX3387" fmla="*/ 2380458 w 2708532"/>
                  <a:gd name="connsiteY3387" fmla="*/ 382915 h 820230"/>
                  <a:gd name="connsiteX3388" fmla="*/ 2380194 w 2708532"/>
                  <a:gd name="connsiteY3388" fmla="*/ 387853 h 820230"/>
                  <a:gd name="connsiteX3389" fmla="*/ 2377020 w 2708532"/>
                  <a:gd name="connsiteY3389" fmla="*/ 388734 h 820230"/>
                  <a:gd name="connsiteX3390" fmla="*/ 2378519 w 2708532"/>
                  <a:gd name="connsiteY3390" fmla="*/ 392526 h 820230"/>
                  <a:gd name="connsiteX3391" fmla="*/ 2379136 w 2708532"/>
                  <a:gd name="connsiteY3391" fmla="*/ 397199 h 820230"/>
                  <a:gd name="connsiteX3392" fmla="*/ 2378254 w 2708532"/>
                  <a:gd name="connsiteY3392" fmla="*/ 400725 h 820230"/>
                  <a:gd name="connsiteX3393" fmla="*/ 2378519 w 2708532"/>
                  <a:gd name="connsiteY3393" fmla="*/ 403370 h 820230"/>
                  <a:gd name="connsiteX3394" fmla="*/ 2382046 w 2708532"/>
                  <a:gd name="connsiteY3394" fmla="*/ 405398 h 820230"/>
                  <a:gd name="connsiteX3395" fmla="*/ 2379753 w 2708532"/>
                  <a:gd name="connsiteY3395" fmla="*/ 408572 h 820230"/>
                  <a:gd name="connsiteX3396" fmla="*/ 2380017 w 2708532"/>
                  <a:gd name="connsiteY3396" fmla="*/ 411482 h 820230"/>
                  <a:gd name="connsiteX3397" fmla="*/ 2380017 w 2708532"/>
                  <a:gd name="connsiteY3397" fmla="*/ 414127 h 820230"/>
                  <a:gd name="connsiteX3398" fmla="*/ 2379753 w 2708532"/>
                  <a:gd name="connsiteY3398" fmla="*/ 417036 h 820230"/>
                  <a:gd name="connsiteX3399" fmla="*/ 2378254 w 2708532"/>
                  <a:gd name="connsiteY3399" fmla="*/ 417301 h 820230"/>
                  <a:gd name="connsiteX3400" fmla="*/ 2377108 w 2708532"/>
                  <a:gd name="connsiteY3400" fmla="*/ 419329 h 820230"/>
                  <a:gd name="connsiteX3401" fmla="*/ 2373581 w 2708532"/>
                  <a:gd name="connsiteY3401" fmla="*/ 415802 h 820230"/>
                  <a:gd name="connsiteX3402" fmla="*/ 2371818 w 2708532"/>
                  <a:gd name="connsiteY3402" fmla="*/ 414303 h 820230"/>
                  <a:gd name="connsiteX3403" fmla="*/ 2371818 w 2708532"/>
                  <a:gd name="connsiteY3403" fmla="*/ 408749 h 820230"/>
                  <a:gd name="connsiteX3404" fmla="*/ 2369790 w 2708532"/>
                  <a:gd name="connsiteY3404" fmla="*/ 408131 h 820230"/>
                  <a:gd name="connsiteX3405" fmla="*/ 2368379 w 2708532"/>
                  <a:gd name="connsiteY3405" fmla="*/ 401431 h 820230"/>
                  <a:gd name="connsiteX3406" fmla="*/ 2363706 w 2708532"/>
                  <a:gd name="connsiteY3406" fmla="*/ 397904 h 820230"/>
                  <a:gd name="connsiteX3407" fmla="*/ 2373052 w 2708532"/>
                  <a:gd name="connsiteY3407" fmla="*/ 422415 h 820230"/>
                  <a:gd name="connsiteX3408" fmla="*/ 2374463 w 2708532"/>
                  <a:gd name="connsiteY3408" fmla="*/ 420387 h 820230"/>
                  <a:gd name="connsiteX3409" fmla="*/ 2375080 w 2708532"/>
                  <a:gd name="connsiteY3409" fmla="*/ 422150 h 820230"/>
                  <a:gd name="connsiteX3410" fmla="*/ 2373934 w 2708532"/>
                  <a:gd name="connsiteY3410" fmla="*/ 424795 h 820230"/>
                  <a:gd name="connsiteX3411" fmla="*/ 2371025 w 2708532"/>
                  <a:gd name="connsiteY3411" fmla="*/ 425060 h 820230"/>
                  <a:gd name="connsiteX3412" fmla="*/ 2366616 w 2708532"/>
                  <a:gd name="connsiteY3412" fmla="*/ 425941 h 820230"/>
                  <a:gd name="connsiteX3413" fmla="*/ 2367762 w 2708532"/>
                  <a:gd name="connsiteY3413" fmla="*/ 427440 h 820230"/>
                  <a:gd name="connsiteX3414" fmla="*/ 2365470 w 2708532"/>
                  <a:gd name="connsiteY3414" fmla="*/ 429204 h 820230"/>
                  <a:gd name="connsiteX3415" fmla="*/ 2363442 w 2708532"/>
                  <a:gd name="connsiteY3415" fmla="*/ 429468 h 820230"/>
                  <a:gd name="connsiteX3416" fmla="*/ 2362031 w 2708532"/>
                  <a:gd name="connsiteY3416" fmla="*/ 429468 h 820230"/>
                  <a:gd name="connsiteX3417" fmla="*/ 2357094 w 2708532"/>
                  <a:gd name="connsiteY3417" fmla="*/ 429468 h 820230"/>
                  <a:gd name="connsiteX3418" fmla="*/ 2359386 w 2708532"/>
                  <a:gd name="connsiteY3418" fmla="*/ 432378 h 820230"/>
                  <a:gd name="connsiteX3419" fmla="*/ 2360885 w 2708532"/>
                  <a:gd name="connsiteY3419" fmla="*/ 432642 h 820230"/>
                  <a:gd name="connsiteX3420" fmla="*/ 2360885 w 2708532"/>
                  <a:gd name="connsiteY3420" fmla="*/ 434141 h 820230"/>
                  <a:gd name="connsiteX3421" fmla="*/ 2366440 w 2708532"/>
                  <a:gd name="connsiteY3421" fmla="*/ 434670 h 820230"/>
                  <a:gd name="connsiteX3422" fmla="*/ 2367321 w 2708532"/>
                  <a:gd name="connsiteY3422" fmla="*/ 437844 h 820230"/>
                  <a:gd name="connsiteX3423" fmla="*/ 2366440 w 2708532"/>
                  <a:gd name="connsiteY3423" fmla="*/ 440754 h 820230"/>
                  <a:gd name="connsiteX3424" fmla="*/ 2368820 w 2708532"/>
                  <a:gd name="connsiteY3424" fmla="*/ 439872 h 820230"/>
                  <a:gd name="connsiteX3425" fmla="*/ 2368820 w 2708532"/>
                  <a:gd name="connsiteY3425" fmla="*/ 443928 h 820230"/>
                  <a:gd name="connsiteX3426" fmla="*/ 2369437 w 2708532"/>
                  <a:gd name="connsiteY3426" fmla="*/ 447102 h 820230"/>
                  <a:gd name="connsiteX3427" fmla="*/ 2370936 w 2708532"/>
                  <a:gd name="connsiteY3427" fmla="*/ 445956 h 820230"/>
                  <a:gd name="connsiteX3428" fmla="*/ 2375609 w 2708532"/>
                  <a:gd name="connsiteY3428" fmla="*/ 441283 h 820230"/>
                  <a:gd name="connsiteX3429" fmla="*/ 2369525 w 2708532"/>
                  <a:gd name="connsiteY3429" fmla="*/ 449747 h 820230"/>
                  <a:gd name="connsiteX3430" fmla="*/ 2369525 w 2708532"/>
                  <a:gd name="connsiteY3430" fmla="*/ 453538 h 820230"/>
                  <a:gd name="connsiteX3431" fmla="*/ 2368644 w 2708532"/>
                  <a:gd name="connsiteY3431" fmla="*/ 454155 h 820230"/>
                  <a:gd name="connsiteX3432" fmla="*/ 2369261 w 2708532"/>
                  <a:gd name="connsiteY3432" fmla="*/ 456183 h 820230"/>
                  <a:gd name="connsiteX3433" fmla="*/ 2371818 w 2708532"/>
                  <a:gd name="connsiteY3433" fmla="*/ 457065 h 820230"/>
                  <a:gd name="connsiteX3434" fmla="*/ 2371818 w 2708532"/>
                  <a:gd name="connsiteY3434" fmla="*/ 458828 h 820230"/>
                  <a:gd name="connsiteX3435" fmla="*/ 2372699 w 2708532"/>
                  <a:gd name="connsiteY3435" fmla="*/ 461473 h 820230"/>
                  <a:gd name="connsiteX3436" fmla="*/ 2372699 w 2708532"/>
                  <a:gd name="connsiteY3436" fmla="*/ 464647 h 820230"/>
                  <a:gd name="connsiteX3437" fmla="*/ 2374463 w 2708532"/>
                  <a:gd name="connsiteY3437" fmla="*/ 465794 h 820230"/>
                  <a:gd name="connsiteX3438" fmla="*/ 2376226 w 2708532"/>
                  <a:gd name="connsiteY3438" fmla="*/ 466058 h 820230"/>
                  <a:gd name="connsiteX3439" fmla="*/ 2377108 w 2708532"/>
                  <a:gd name="connsiteY3439" fmla="*/ 469585 h 820230"/>
                  <a:gd name="connsiteX3440" fmla="*/ 2378519 w 2708532"/>
                  <a:gd name="connsiteY3440" fmla="*/ 469320 h 820230"/>
                  <a:gd name="connsiteX3441" fmla="*/ 2381428 w 2708532"/>
                  <a:gd name="connsiteY3441" fmla="*/ 471965 h 820230"/>
                  <a:gd name="connsiteX3442" fmla="*/ 2382927 w 2708532"/>
                  <a:gd name="connsiteY3442" fmla="*/ 474610 h 820230"/>
                  <a:gd name="connsiteX3443" fmla="*/ 2384691 w 2708532"/>
                  <a:gd name="connsiteY3443" fmla="*/ 476638 h 820230"/>
                  <a:gd name="connsiteX3444" fmla="*/ 2385308 w 2708532"/>
                  <a:gd name="connsiteY3444" fmla="*/ 478666 h 820230"/>
                  <a:gd name="connsiteX3445" fmla="*/ 2388217 w 2708532"/>
                  <a:gd name="connsiteY3445" fmla="*/ 471084 h 820230"/>
                  <a:gd name="connsiteX3446" fmla="*/ 2385924 w 2708532"/>
                  <a:gd name="connsiteY3446" fmla="*/ 480077 h 820230"/>
                  <a:gd name="connsiteX3447" fmla="*/ 2387071 w 2708532"/>
                  <a:gd name="connsiteY3447" fmla="*/ 482722 h 820230"/>
                  <a:gd name="connsiteX3448" fmla="*/ 2388482 w 2708532"/>
                  <a:gd name="connsiteY3448" fmla="*/ 481840 h 820230"/>
                  <a:gd name="connsiteX3449" fmla="*/ 2389363 w 2708532"/>
                  <a:gd name="connsiteY3449" fmla="*/ 485102 h 820230"/>
                  <a:gd name="connsiteX3450" fmla="*/ 2391656 w 2708532"/>
                  <a:gd name="connsiteY3450" fmla="*/ 485102 h 820230"/>
                  <a:gd name="connsiteX3451" fmla="*/ 2393419 w 2708532"/>
                  <a:gd name="connsiteY3451" fmla="*/ 486513 h 820230"/>
                  <a:gd name="connsiteX3452" fmla="*/ 2393683 w 2708532"/>
                  <a:gd name="connsiteY3452" fmla="*/ 488541 h 820230"/>
                  <a:gd name="connsiteX3453" fmla="*/ 2395183 w 2708532"/>
                  <a:gd name="connsiteY3453" fmla="*/ 489687 h 820230"/>
                  <a:gd name="connsiteX3454" fmla="*/ 2396329 w 2708532"/>
                  <a:gd name="connsiteY3454" fmla="*/ 491451 h 820230"/>
                  <a:gd name="connsiteX3455" fmla="*/ 2396593 w 2708532"/>
                  <a:gd name="connsiteY3455" fmla="*/ 491186 h 820230"/>
                  <a:gd name="connsiteX3456" fmla="*/ 2398974 w 2708532"/>
                  <a:gd name="connsiteY3456" fmla="*/ 493831 h 820230"/>
                  <a:gd name="connsiteX3457" fmla="*/ 2400737 w 2708532"/>
                  <a:gd name="connsiteY3457" fmla="*/ 496212 h 820230"/>
                  <a:gd name="connsiteX3458" fmla="*/ 2403294 w 2708532"/>
                  <a:gd name="connsiteY3458" fmla="*/ 498240 h 820230"/>
                  <a:gd name="connsiteX3459" fmla="*/ 2405322 w 2708532"/>
                  <a:gd name="connsiteY3459" fmla="*/ 498240 h 820230"/>
                  <a:gd name="connsiteX3460" fmla="*/ 2405322 w 2708532"/>
                  <a:gd name="connsiteY3460" fmla="*/ 500003 h 820230"/>
                  <a:gd name="connsiteX3461" fmla="*/ 2409378 w 2708532"/>
                  <a:gd name="connsiteY3461" fmla="*/ 500267 h 820230"/>
                  <a:gd name="connsiteX3462" fmla="*/ 2411405 w 2708532"/>
                  <a:gd name="connsiteY3462" fmla="*/ 503441 h 820230"/>
                  <a:gd name="connsiteX3463" fmla="*/ 2414932 w 2708532"/>
                  <a:gd name="connsiteY3463" fmla="*/ 501149 h 820230"/>
                  <a:gd name="connsiteX3464" fmla="*/ 2416696 w 2708532"/>
                  <a:gd name="connsiteY3464" fmla="*/ 507585 h 820230"/>
                  <a:gd name="connsiteX3465" fmla="*/ 2415196 w 2708532"/>
                  <a:gd name="connsiteY3465" fmla="*/ 510230 h 820230"/>
                  <a:gd name="connsiteX3466" fmla="*/ 2419605 w 2708532"/>
                  <a:gd name="connsiteY3466" fmla="*/ 508732 h 820230"/>
                  <a:gd name="connsiteX3467" fmla="*/ 2421633 w 2708532"/>
                  <a:gd name="connsiteY3467" fmla="*/ 511641 h 820230"/>
                  <a:gd name="connsiteX3468" fmla="*/ 2424013 w 2708532"/>
                  <a:gd name="connsiteY3468" fmla="*/ 512258 h 820230"/>
                  <a:gd name="connsiteX3469" fmla="*/ 2424631 w 2708532"/>
                  <a:gd name="connsiteY3469" fmla="*/ 517196 h 820230"/>
                  <a:gd name="connsiteX3470" fmla="*/ 2429833 w 2708532"/>
                  <a:gd name="connsiteY3470" fmla="*/ 517813 h 820230"/>
                  <a:gd name="connsiteX3471" fmla="*/ 2433624 w 2708532"/>
                  <a:gd name="connsiteY3471" fmla="*/ 521869 h 820230"/>
                  <a:gd name="connsiteX3472" fmla="*/ 2433007 w 2708532"/>
                  <a:gd name="connsiteY3472" fmla="*/ 523367 h 820230"/>
                  <a:gd name="connsiteX3473" fmla="*/ 2439972 w 2708532"/>
                  <a:gd name="connsiteY3473" fmla="*/ 525660 h 820230"/>
                  <a:gd name="connsiteX3474" fmla="*/ 2446408 w 2708532"/>
                  <a:gd name="connsiteY3474" fmla="*/ 532978 h 820230"/>
                  <a:gd name="connsiteX3475" fmla="*/ 2450464 w 2708532"/>
                  <a:gd name="connsiteY3475" fmla="*/ 537915 h 820230"/>
                  <a:gd name="connsiteX3476" fmla="*/ 2455137 w 2708532"/>
                  <a:gd name="connsiteY3476" fmla="*/ 538180 h 820230"/>
                  <a:gd name="connsiteX3477" fmla="*/ 2459810 w 2708532"/>
                  <a:gd name="connsiteY3477" fmla="*/ 543470 h 820230"/>
                  <a:gd name="connsiteX3478" fmla="*/ 2458928 w 2708532"/>
                  <a:gd name="connsiteY3478" fmla="*/ 546644 h 820230"/>
                  <a:gd name="connsiteX3479" fmla="*/ 2467128 w 2708532"/>
                  <a:gd name="connsiteY3479" fmla="*/ 551581 h 820230"/>
                  <a:gd name="connsiteX3480" fmla="*/ 2472330 w 2708532"/>
                  <a:gd name="connsiteY3480" fmla="*/ 553609 h 820230"/>
                  <a:gd name="connsiteX3481" fmla="*/ 2476121 w 2708532"/>
                  <a:gd name="connsiteY3481" fmla="*/ 557400 h 820230"/>
                  <a:gd name="connsiteX3482" fmla="*/ 2477532 w 2708532"/>
                  <a:gd name="connsiteY3482" fmla="*/ 559428 h 820230"/>
                  <a:gd name="connsiteX3483" fmla="*/ 2474622 w 2708532"/>
                  <a:gd name="connsiteY3483" fmla="*/ 562603 h 820230"/>
                  <a:gd name="connsiteX3484" fmla="*/ 2484232 w 2708532"/>
                  <a:gd name="connsiteY3484" fmla="*/ 563220 h 820230"/>
                  <a:gd name="connsiteX3485" fmla="*/ 2492080 w 2708532"/>
                  <a:gd name="connsiteY3485" fmla="*/ 571948 h 820230"/>
                  <a:gd name="connsiteX3486" fmla="*/ 2498780 w 2708532"/>
                  <a:gd name="connsiteY3486" fmla="*/ 574858 h 820230"/>
                  <a:gd name="connsiteX3487" fmla="*/ 2498516 w 2708532"/>
                  <a:gd name="connsiteY3487" fmla="*/ 581911 h 820230"/>
                  <a:gd name="connsiteX3488" fmla="*/ 2503189 w 2708532"/>
                  <a:gd name="connsiteY3488" fmla="*/ 581030 h 820230"/>
                  <a:gd name="connsiteX3489" fmla="*/ 2505481 w 2708532"/>
                  <a:gd name="connsiteY3489" fmla="*/ 578737 h 820230"/>
                  <a:gd name="connsiteX3490" fmla="*/ 2508390 w 2708532"/>
                  <a:gd name="connsiteY3490" fmla="*/ 581647 h 820230"/>
                  <a:gd name="connsiteX3491" fmla="*/ 2509890 w 2708532"/>
                  <a:gd name="connsiteY3491" fmla="*/ 586849 h 820230"/>
                  <a:gd name="connsiteX3492" fmla="*/ 2514298 w 2708532"/>
                  <a:gd name="connsiteY3492" fmla="*/ 586584 h 820230"/>
                  <a:gd name="connsiteX3493" fmla="*/ 2515709 w 2708532"/>
                  <a:gd name="connsiteY3493" fmla="*/ 590993 h 820230"/>
                  <a:gd name="connsiteX3494" fmla="*/ 2518089 w 2708532"/>
                  <a:gd name="connsiteY3494" fmla="*/ 593902 h 820230"/>
                  <a:gd name="connsiteX3495" fmla="*/ 2519852 w 2708532"/>
                  <a:gd name="connsiteY3495" fmla="*/ 592756 h 820230"/>
                  <a:gd name="connsiteX3496" fmla="*/ 2520998 w 2708532"/>
                  <a:gd name="connsiteY3496" fmla="*/ 591257 h 820230"/>
                  <a:gd name="connsiteX3497" fmla="*/ 2522762 w 2708532"/>
                  <a:gd name="connsiteY3497" fmla="*/ 586320 h 820230"/>
                  <a:gd name="connsiteX3498" fmla="*/ 2520469 w 2708532"/>
                  <a:gd name="connsiteY3498" fmla="*/ 582793 h 820230"/>
                  <a:gd name="connsiteX3499" fmla="*/ 2523996 w 2708532"/>
                  <a:gd name="connsiteY3499" fmla="*/ 583322 h 820230"/>
                  <a:gd name="connsiteX3500" fmla="*/ 2525143 w 2708532"/>
                  <a:gd name="connsiteY3500" fmla="*/ 585085 h 820230"/>
                  <a:gd name="connsiteX3501" fmla="*/ 2523996 w 2708532"/>
                  <a:gd name="connsiteY3501" fmla="*/ 581911 h 820230"/>
                  <a:gd name="connsiteX3502" fmla="*/ 2527170 w 2708532"/>
                  <a:gd name="connsiteY3502" fmla="*/ 580765 h 820230"/>
                  <a:gd name="connsiteX3503" fmla="*/ 2526906 w 2708532"/>
                  <a:gd name="connsiteY3503" fmla="*/ 579002 h 820230"/>
                  <a:gd name="connsiteX3504" fmla="*/ 2528405 w 2708532"/>
                  <a:gd name="connsiteY3504" fmla="*/ 576092 h 820230"/>
                  <a:gd name="connsiteX3505" fmla="*/ 2529286 w 2708532"/>
                  <a:gd name="connsiteY3505" fmla="*/ 569391 h 820230"/>
                  <a:gd name="connsiteX3506" fmla="*/ 2524614 w 2708532"/>
                  <a:gd name="connsiteY3506" fmla="*/ 564983 h 820230"/>
                  <a:gd name="connsiteX3507" fmla="*/ 2523115 w 2708532"/>
                  <a:gd name="connsiteY3507" fmla="*/ 562074 h 820230"/>
                  <a:gd name="connsiteX3508" fmla="*/ 2519940 w 2708532"/>
                  <a:gd name="connsiteY3508" fmla="*/ 562955 h 820230"/>
                  <a:gd name="connsiteX3509" fmla="*/ 2520823 w 2708532"/>
                  <a:gd name="connsiteY3509" fmla="*/ 557753 h 820230"/>
                  <a:gd name="connsiteX3510" fmla="*/ 2514739 w 2708532"/>
                  <a:gd name="connsiteY3510" fmla="*/ 553962 h 820230"/>
                  <a:gd name="connsiteX3511" fmla="*/ 2516149 w 2708532"/>
                  <a:gd name="connsiteY3511" fmla="*/ 551052 h 820230"/>
                  <a:gd name="connsiteX3512" fmla="*/ 2513504 w 2708532"/>
                  <a:gd name="connsiteY3512" fmla="*/ 550435 h 820230"/>
                  <a:gd name="connsiteX3513" fmla="*/ 2509448 w 2708532"/>
                  <a:gd name="connsiteY3513" fmla="*/ 549906 h 820230"/>
                  <a:gd name="connsiteX3514" fmla="*/ 2509448 w 2708532"/>
                  <a:gd name="connsiteY3514" fmla="*/ 544087 h 820230"/>
                  <a:gd name="connsiteX3515" fmla="*/ 2512358 w 2708532"/>
                  <a:gd name="connsiteY3515" fmla="*/ 545233 h 820230"/>
                  <a:gd name="connsiteX3516" fmla="*/ 2516149 w 2708532"/>
                  <a:gd name="connsiteY3516" fmla="*/ 543205 h 820230"/>
                  <a:gd name="connsiteX3517" fmla="*/ 2519323 w 2708532"/>
                  <a:gd name="connsiteY3517" fmla="*/ 542059 h 820230"/>
                  <a:gd name="connsiteX3518" fmla="*/ 2517296 w 2708532"/>
                  <a:gd name="connsiteY3518" fmla="*/ 537122 h 820230"/>
                  <a:gd name="connsiteX3519" fmla="*/ 2519588 w 2708532"/>
                  <a:gd name="connsiteY3519" fmla="*/ 537122 h 820230"/>
                  <a:gd name="connsiteX3520" fmla="*/ 2518089 w 2708532"/>
                  <a:gd name="connsiteY3520" fmla="*/ 530685 h 820230"/>
                  <a:gd name="connsiteX3521" fmla="*/ 2521616 w 2708532"/>
                  <a:gd name="connsiteY3521" fmla="*/ 530421 h 820230"/>
                  <a:gd name="connsiteX3522" fmla="*/ 2517207 w 2708532"/>
                  <a:gd name="connsiteY3522" fmla="*/ 526894 h 820230"/>
                  <a:gd name="connsiteX3523" fmla="*/ 2513152 w 2708532"/>
                  <a:gd name="connsiteY3523" fmla="*/ 524249 h 820230"/>
                  <a:gd name="connsiteX3524" fmla="*/ 2507950 w 2708532"/>
                  <a:gd name="connsiteY3524" fmla="*/ 517284 h 820230"/>
                  <a:gd name="connsiteX3525" fmla="*/ 2507332 w 2708532"/>
                  <a:gd name="connsiteY3525" fmla="*/ 509437 h 820230"/>
                  <a:gd name="connsiteX3526" fmla="*/ 2513416 w 2708532"/>
                  <a:gd name="connsiteY3526" fmla="*/ 505910 h 820230"/>
                  <a:gd name="connsiteX3527" fmla="*/ 2520998 w 2708532"/>
                  <a:gd name="connsiteY3527" fmla="*/ 508203 h 820230"/>
                  <a:gd name="connsiteX3528" fmla="*/ 2527082 w 2708532"/>
                  <a:gd name="connsiteY3528" fmla="*/ 509701 h 820230"/>
                  <a:gd name="connsiteX3529" fmla="*/ 2530609 w 2708532"/>
                  <a:gd name="connsiteY3529" fmla="*/ 506792 h 820230"/>
                  <a:gd name="connsiteX3530" fmla="*/ 2530873 w 2708532"/>
                  <a:gd name="connsiteY3530" fmla="*/ 500973 h 820230"/>
                  <a:gd name="connsiteX3531" fmla="*/ 2527964 w 2708532"/>
                  <a:gd name="connsiteY3531" fmla="*/ 496917 h 820230"/>
                  <a:gd name="connsiteX3532" fmla="*/ 2525672 w 2708532"/>
                  <a:gd name="connsiteY3532" fmla="*/ 496035 h 820230"/>
                  <a:gd name="connsiteX3533" fmla="*/ 2522762 w 2708532"/>
                  <a:gd name="connsiteY3533" fmla="*/ 492861 h 820230"/>
                  <a:gd name="connsiteX3534" fmla="*/ 2520998 w 2708532"/>
                  <a:gd name="connsiteY3534" fmla="*/ 491980 h 820230"/>
                  <a:gd name="connsiteX3535" fmla="*/ 2516943 w 2708532"/>
                  <a:gd name="connsiteY3535" fmla="*/ 489599 h 820230"/>
                  <a:gd name="connsiteX3536" fmla="*/ 2511741 w 2708532"/>
                  <a:gd name="connsiteY3536" fmla="*/ 487307 h 820230"/>
                  <a:gd name="connsiteX3537" fmla="*/ 2508567 w 2708532"/>
                  <a:gd name="connsiteY3537" fmla="*/ 485279 h 820230"/>
                  <a:gd name="connsiteX3538" fmla="*/ 2504511 w 2708532"/>
                  <a:gd name="connsiteY3538" fmla="*/ 482634 h 820230"/>
                  <a:gd name="connsiteX3539" fmla="*/ 2501602 w 2708532"/>
                  <a:gd name="connsiteY3539" fmla="*/ 477432 h 820230"/>
                  <a:gd name="connsiteX3540" fmla="*/ 2501602 w 2708532"/>
                  <a:gd name="connsiteY3540" fmla="*/ 478049 h 820230"/>
                  <a:gd name="connsiteX3541" fmla="*/ 2499838 w 2708532"/>
                  <a:gd name="connsiteY3541" fmla="*/ 471877 h 820230"/>
                  <a:gd name="connsiteX3542" fmla="*/ 2500985 w 2708532"/>
                  <a:gd name="connsiteY3542" fmla="*/ 468086 h 820230"/>
                  <a:gd name="connsiteX3543" fmla="*/ 2500985 w 2708532"/>
                  <a:gd name="connsiteY3543" fmla="*/ 463149 h 820230"/>
                  <a:gd name="connsiteX3544" fmla="*/ 2506539 w 2708532"/>
                  <a:gd name="connsiteY3544" fmla="*/ 464912 h 820230"/>
                  <a:gd name="connsiteX3545" fmla="*/ 2509713 w 2708532"/>
                  <a:gd name="connsiteY3545" fmla="*/ 468086 h 820230"/>
                  <a:gd name="connsiteX3546" fmla="*/ 2513240 w 2708532"/>
                  <a:gd name="connsiteY3546" fmla="*/ 469585 h 820230"/>
                  <a:gd name="connsiteX3547" fmla="*/ 2514122 w 2708532"/>
                  <a:gd name="connsiteY3547" fmla="*/ 468968 h 820230"/>
                  <a:gd name="connsiteX3548" fmla="*/ 2512975 w 2708532"/>
                  <a:gd name="connsiteY3548" fmla="*/ 467821 h 820230"/>
                  <a:gd name="connsiteX3549" fmla="*/ 2513593 w 2708532"/>
                  <a:gd name="connsiteY3549" fmla="*/ 464912 h 820230"/>
                  <a:gd name="connsiteX3550" fmla="*/ 2510066 w 2708532"/>
                  <a:gd name="connsiteY3550" fmla="*/ 460856 h 820230"/>
                  <a:gd name="connsiteX3551" fmla="*/ 2506539 w 2708532"/>
                  <a:gd name="connsiteY3551" fmla="*/ 455037 h 820230"/>
                  <a:gd name="connsiteX3552" fmla="*/ 2504776 w 2708532"/>
                  <a:gd name="connsiteY3552" fmla="*/ 455037 h 820230"/>
                  <a:gd name="connsiteX3553" fmla="*/ 2501249 w 2708532"/>
                  <a:gd name="connsiteY3553" fmla="*/ 455037 h 820230"/>
                  <a:gd name="connsiteX3554" fmla="*/ 2494284 w 2708532"/>
                  <a:gd name="connsiteY3554" fmla="*/ 453891 h 820230"/>
                  <a:gd name="connsiteX3555" fmla="*/ 2490493 w 2708532"/>
                  <a:gd name="connsiteY3555" fmla="*/ 449835 h 820230"/>
                  <a:gd name="connsiteX3556" fmla="*/ 2490228 w 2708532"/>
                  <a:gd name="connsiteY3556" fmla="*/ 449218 h 820230"/>
                  <a:gd name="connsiteX3557" fmla="*/ 2489346 w 2708532"/>
                  <a:gd name="connsiteY3557" fmla="*/ 446573 h 820230"/>
                  <a:gd name="connsiteX3558" fmla="*/ 2486172 w 2708532"/>
                  <a:gd name="connsiteY3558" fmla="*/ 444545 h 820230"/>
                  <a:gd name="connsiteX3559" fmla="*/ 2482116 w 2708532"/>
                  <a:gd name="connsiteY3559" fmla="*/ 441900 h 820230"/>
                  <a:gd name="connsiteX3560" fmla="*/ 2481499 w 2708532"/>
                  <a:gd name="connsiteY3560" fmla="*/ 438373 h 820230"/>
                  <a:gd name="connsiteX3561" fmla="*/ 2479472 w 2708532"/>
                  <a:gd name="connsiteY3561" fmla="*/ 438109 h 820230"/>
                  <a:gd name="connsiteX3562" fmla="*/ 2473917 w 2708532"/>
                  <a:gd name="connsiteY3562" fmla="*/ 436610 h 820230"/>
                  <a:gd name="connsiteX3563" fmla="*/ 2476827 w 2708532"/>
                  <a:gd name="connsiteY3563" fmla="*/ 433965 h 820230"/>
                  <a:gd name="connsiteX3564" fmla="*/ 2475063 w 2708532"/>
                  <a:gd name="connsiteY3564" fmla="*/ 430438 h 820230"/>
                  <a:gd name="connsiteX3565" fmla="*/ 2469244 w 2708532"/>
                  <a:gd name="connsiteY3565" fmla="*/ 430703 h 820230"/>
                  <a:gd name="connsiteX3566" fmla="*/ 2469244 w 2708532"/>
                  <a:gd name="connsiteY3566" fmla="*/ 426294 h 820230"/>
                  <a:gd name="connsiteX3567" fmla="*/ 2465453 w 2708532"/>
                  <a:gd name="connsiteY3567" fmla="*/ 426911 h 820230"/>
                  <a:gd name="connsiteX3568" fmla="*/ 2459016 w 2708532"/>
                  <a:gd name="connsiteY3568" fmla="*/ 428322 h 820230"/>
                  <a:gd name="connsiteX3569" fmla="*/ 2457253 w 2708532"/>
                  <a:gd name="connsiteY3569" fmla="*/ 425941 h 820230"/>
                  <a:gd name="connsiteX3570" fmla="*/ 2452051 w 2708532"/>
                  <a:gd name="connsiteY3570" fmla="*/ 427705 h 820230"/>
                  <a:gd name="connsiteX3571" fmla="*/ 2447378 w 2708532"/>
                  <a:gd name="connsiteY3571" fmla="*/ 425677 h 820230"/>
                  <a:gd name="connsiteX3572" fmla="*/ 2442441 w 2708532"/>
                  <a:gd name="connsiteY3572" fmla="*/ 423914 h 820230"/>
                  <a:gd name="connsiteX3573" fmla="*/ 2440942 w 2708532"/>
                  <a:gd name="connsiteY3573" fmla="*/ 419241 h 820230"/>
                  <a:gd name="connsiteX3574" fmla="*/ 2438296 w 2708532"/>
                  <a:gd name="connsiteY3574" fmla="*/ 410512 h 820230"/>
                  <a:gd name="connsiteX3575" fmla="*/ 2438914 w 2708532"/>
                  <a:gd name="connsiteY3575" fmla="*/ 406456 h 820230"/>
                  <a:gd name="connsiteX3576" fmla="*/ 2438650 w 2708532"/>
                  <a:gd name="connsiteY3576" fmla="*/ 402048 h 820230"/>
                  <a:gd name="connsiteX3577" fmla="*/ 2436621 w 2708532"/>
                  <a:gd name="connsiteY3577" fmla="*/ 400284 h 820230"/>
                  <a:gd name="connsiteX3578" fmla="*/ 2439796 w 2708532"/>
                  <a:gd name="connsiteY3578" fmla="*/ 398874 h 820230"/>
                  <a:gd name="connsiteX3579" fmla="*/ 2435387 w 2708532"/>
                  <a:gd name="connsiteY3579" fmla="*/ 395612 h 820230"/>
                  <a:gd name="connsiteX3580" fmla="*/ 2429568 w 2708532"/>
                  <a:gd name="connsiteY3580" fmla="*/ 391203 h 820230"/>
                  <a:gd name="connsiteX3581" fmla="*/ 2429039 w 2708532"/>
                  <a:gd name="connsiteY3581" fmla="*/ 388558 h 820230"/>
                  <a:gd name="connsiteX3582" fmla="*/ 2429921 w 2708532"/>
                  <a:gd name="connsiteY3582" fmla="*/ 384502 h 820230"/>
                  <a:gd name="connsiteX3583" fmla="*/ 2431949 w 2708532"/>
                  <a:gd name="connsiteY3583" fmla="*/ 382474 h 820230"/>
                  <a:gd name="connsiteX3584" fmla="*/ 2435123 w 2708532"/>
                  <a:gd name="connsiteY3584" fmla="*/ 381593 h 820230"/>
                  <a:gd name="connsiteX3585" fmla="*/ 2436621 w 2708532"/>
                  <a:gd name="connsiteY3585" fmla="*/ 379565 h 820230"/>
                  <a:gd name="connsiteX3586" fmla="*/ 2438032 w 2708532"/>
                  <a:gd name="connsiteY3586" fmla="*/ 382210 h 820230"/>
                  <a:gd name="connsiteX3587" fmla="*/ 2444204 w 2708532"/>
                  <a:gd name="connsiteY3587" fmla="*/ 383092 h 820230"/>
                  <a:gd name="connsiteX3588" fmla="*/ 2445086 w 2708532"/>
                  <a:gd name="connsiteY3588" fmla="*/ 385119 h 820230"/>
                  <a:gd name="connsiteX3589" fmla="*/ 2446849 w 2708532"/>
                  <a:gd name="connsiteY3589" fmla="*/ 384855 h 820230"/>
                  <a:gd name="connsiteX3590" fmla="*/ 2449142 w 2708532"/>
                  <a:gd name="connsiteY3590" fmla="*/ 386001 h 820230"/>
                  <a:gd name="connsiteX3591" fmla="*/ 2451169 w 2708532"/>
                  <a:gd name="connsiteY3591" fmla="*/ 384855 h 820230"/>
                  <a:gd name="connsiteX3592" fmla="*/ 2451169 w 2708532"/>
                  <a:gd name="connsiteY3592" fmla="*/ 382563 h 820230"/>
                  <a:gd name="connsiteX3593" fmla="*/ 2449406 w 2708532"/>
                  <a:gd name="connsiteY3593" fmla="*/ 383092 h 820230"/>
                  <a:gd name="connsiteX3594" fmla="*/ 2452668 w 2708532"/>
                  <a:gd name="connsiteY3594" fmla="*/ 380447 h 820230"/>
                  <a:gd name="connsiteX3595" fmla="*/ 2449406 w 2708532"/>
                  <a:gd name="connsiteY3595" fmla="*/ 378948 h 820230"/>
                  <a:gd name="connsiteX3596" fmla="*/ 2450905 w 2708532"/>
                  <a:gd name="connsiteY3596" fmla="*/ 375685 h 820230"/>
                  <a:gd name="connsiteX3597" fmla="*/ 2452933 w 2708532"/>
                  <a:gd name="connsiteY3597" fmla="*/ 375950 h 820230"/>
                  <a:gd name="connsiteX3598" fmla="*/ 2453197 w 2708532"/>
                  <a:gd name="connsiteY3598" fmla="*/ 373305 h 820230"/>
                  <a:gd name="connsiteX3599" fmla="*/ 2456371 w 2708532"/>
                  <a:gd name="connsiteY3599" fmla="*/ 373040 h 820230"/>
                  <a:gd name="connsiteX3600" fmla="*/ 2458399 w 2708532"/>
                  <a:gd name="connsiteY3600" fmla="*/ 373305 h 820230"/>
                  <a:gd name="connsiteX3601" fmla="*/ 2461044 w 2708532"/>
                  <a:gd name="connsiteY3601" fmla="*/ 373834 h 820230"/>
                  <a:gd name="connsiteX3602" fmla="*/ 2462808 w 2708532"/>
                  <a:gd name="connsiteY3602" fmla="*/ 375333 h 820230"/>
                  <a:gd name="connsiteX3603" fmla="*/ 2463689 w 2708532"/>
                  <a:gd name="connsiteY3603" fmla="*/ 378242 h 820230"/>
                  <a:gd name="connsiteX3604" fmla="*/ 2466599 w 2708532"/>
                  <a:gd name="connsiteY3604" fmla="*/ 378507 h 820230"/>
                  <a:gd name="connsiteX3605" fmla="*/ 2466864 w 2708532"/>
                  <a:gd name="connsiteY3605" fmla="*/ 381416 h 820230"/>
                  <a:gd name="connsiteX3606" fmla="*/ 2469508 w 2708532"/>
                  <a:gd name="connsiteY3606" fmla="*/ 383444 h 820230"/>
                  <a:gd name="connsiteX3607" fmla="*/ 2471272 w 2708532"/>
                  <a:gd name="connsiteY3607" fmla="*/ 384061 h 820230"/>
                  <a:gd name="connsiteX3608" fmla="*/ 2473829 w 2708532"/>
                  <a:gd name="connsiteY3608" fmla="*/ 382915 h 820230"/>
                  <a:gd name="connsiteX3609" fmla="*/ 2474093 w 2708532"/>
                  <a:gd name="connsiteY3609" fmla="*/ 380006 h 820230"/>
                  <a:gd name="connsiteX3610" fmla="*/ 2472330 w 2708532"/>
                  <a:gd name="connsiteY3610" fmla="*/ 379477 h 820230"/>
                  <a:gd name="connsiteX3611" fmla="*/ 2472065 w 2708532"/>
                  <a:gd name="connsiteY3611" fmla="*/ 376214 h 820230"/>
                  <a:gd name="connsiteX3612" fmla="*/ 2473829 w 2708532"/>
                  <a:gd name="connsiteY3612" fmla="*/ 373569 h 820230"/>
                  <a:gd name="connsiteX3613" fmla="*/ 2476209 w 2708532"/>
                  <a:gd name="connsiteY3613" fmla="*/ 373305 h 820230"/>
                  <a:gd name="connsiteX3614" fmla="*/ 2480265 w 2708532"/>
                  <a:gd name="connsiteY3614" fmla="*/ 373305 h 820230"/>
                  <a:gd name="connsiteX3615" fmla="*/ 2479118 w 2708532"/>
                  <a:gd name="connsiteY3615" fmla="*/ 370660 h 820230"/>
                  <a:gd name="connsiteX3616" fmla="*/ 2482028 w 2708532"/>
                  <a:gd name="connsiteY3616" fmla="*/ 370043 h 820230"/>
                  <a:gd name="connsiteX3617" fmla="*/ 2485555 w 2708532"/>
                  <a:gd name="connsiteY3617" fmla="*/ 369778 h 820230"/>
                  <a:gd name="connsiteX3618" fmla="*/ 2484673 w 2708532"/>
                  <a:gd name="connsiteY3618" fmla="*/ 368015 h 820230"/>
                  <a:gd name="connsiteX3619" fmla="*/ 2486084 w 2708532"/>
                  <a:gd name="connsiteY3619" fmla="*/ 367133 h 820230"/>
                  <a:gd name="connsiteX3620" fmla="*/ 2490493 w 2708532"/>
                  <a:gd name="connsiteY3620" fmla="*/ 366516 h 820230"/>
                  <a:gd name="connsiteX3621" fmla="*/ 2491110 w 2708532"/>
                  <a:gd name="connsiteY3621" fmla="*/ 367133 h 820230"/>
                  <a:gd name="connsiteX3622" fmla="*/ 2494284 w 2708532"/>
                  <a:gd name="connsiteY3622" fmla="*/ 368632 h 820230"/>
                  <a:gd name="connsiteX3623" fmla="*/ 2496929 w 2708532"/>
                  <a:gd name="connsiteY3623" fmla="*/ 365370 h 820230"/>
                  <a:gd name="connsiteX3624" fmla="*/ 2498692 w 2708532"/>
                  <a:gd name="connsiteY3624" fmla="*/ 367398 h 820230"/>
                  <a:gd name="connsiteX3625" fmla="*/ 2502483 w 2708532"/>
                  <a:gd name="connsiteY3625" fmla="*/ 368544 h 820230"/>
                  <a:gd name="connsiteX3626" fmla="*/ 2506539 w 2708532"/>
                  <a:gd name="connsiteY3626" fmla="*/ 367927 h 820230"/>
                  <a:gd name="connsiteX3627" fmla="*/ 2507421 w 2708532"/>
                  <a:gd name="connsiteY3627" fmla="*/ 366428 h 820230"/>
                  <a:gd name="connsiteX3628" fmla="*/ 2510595 w 2708532"/>
                  <a:gd name="connsiteY3628" fmla="*/ 367927 h 820230"/>
                  <a:gd name="connsiteX3629" fmla="*/ 2510859 w 2708532"/>
                  <a:gd name="connsiteY3629" fmla="*/ 369426 h 820230"/>
                  <a:gd name="connsiteX3630" fmla="*/ 2514651 w 2708532"/>
                  <a:gd name="connsiteY3630" fmla="*/ 370572 h 820230"/>
                  <a:gd name="connsiteX3631" fmla="*/ 2517560 w 2708532"/>
                  <a:gd name="connsiteY3631" fmla="*/ 371189 h 820230"/>
                  <a:gd name="connsiteX3632" fmla="*/ 2519940 w 2708532"/>
                  <a:gd name="connsiteY3632" fmla="*/ 372071 h 820230"/>
                  <a:gd name="connsiteX3633" fmla="*/ 2522585 w 2708532"/>
                  <a:gd name="connsiteY3633" fmla="*/ 373217 h 820230"/>
                  <a:gd name="connsiteX3634" fmla="*/ 2524349 w 2708532"/>
                  <a:gd name="connsiteY3634" fmla="*/ 373746 h 820230"/>
                  <a:gd name="connsiteX3635" fmla="*/ 2527876 w 2708532"/>
                  <a:gd name="connsiteY3635" fmla="*/ 374892 h 820230"/>
                  <a:gd name="connsiteX3636" fmla="*/ 2532284 w 2708532"/>
                  <a:gd name="connsiteY3636" fmla="*/ 378419 h 820230"/>
                  <a:gd name="connsiteX3637" fmla="*/ 2534312 w 2708532"/>
                  <a:gd name="connsiteY3637" fmla="*/ 378683 h 820230"/>
                  <a:gd name="connsiteX3638" fmla="*/ 2536693 w 2708532"/>
                  <a:gd name="connsiteY3638" fmla="*/ 379565 h 820230"/>
                  <a:gd name="connsiteX3639" fmla="*/ 2538191 w 2708532"/>
                  <a:gd name="connsiteY3639" fmla="*/ 380447 h 820230"/>
                  <a:gd name="connsiteX3640" fmla="*/ 2542512 w 2708532"/>
                  <a:gd name="connsiteY3640" fmla="*/ 382210 h 820230"/>
                  <a:gd name="connsiteX3641" fmla="*/ 2545157 w 2708532"/>
                  <a:gd name="connsiteY3641" fmla="*/ 381593 h 820230"/>
                  <a:gd name="connsiteX3642" fmla="*/ 2543129 w 2708532"/>
                  <a:gd name="connsiteY3642" fmla="*/ 379300 h 820230"/>
                  <a:gd name="connsiteX3643" fmla="*/ 2542247 w 2708532"/>
                  <a:gd name="connsiteY3643" fmla="*/ 376391 h 820230"/>
                  <a:gd name="connsiteX3644" fmla="*/ 2539867 w 2708532"/>
                  <a:gd name="connsiteY3644" fmla="*/ 377802 h 820230"/>
                  <a:gd name="connsiteX3645" fmla="*/ 2539602 w 2708532"/>
                  <a:gd name="connsiteY3645" fmla="*/ 374010 h 820230"/>
                  <a:gd name="connsiteX3646" fmla="*/ 2539073 w 2708532"/>
                  <a:gd name="connsiteY3646" fmla="*/ 371982 h 820230"/>
                  <a:gd name="connsiteX3647" fmla="*/ 2538456 w 2708532"/>
                  <a:gd name="connsiteY3647" fmla="*/ 367927 h 820230"/>
                  <a:gd name="connsiteX3648" fmla="*/ 2542512 w 2708532"/>
                  <a:gd name="connsiteY3648" fmla="*/ 367045 h 820230"/>
                  <a:gd name="connsiteX3649" fmla="*/ 2542247 w 2708532"/>
                  <a:gd name="connsiteY3649" fmla="*/ 365017 h 820230"/>
                  <a:gd name="connsiteX3650" fmla="*/ 2541983 w 2708532"/>
                  <a:gd name="connsiteY3650" fmla="*/ 362989 h 820230"/>
                  <a:gd name="connsiteX3651" fmla="*/ 2543129 w 2708532"/>
                  <a:gd name="connsiteY3651" fmla="*/ 362108 h 820230"/>
                  <a:gd name="connsiteX3652" fmla="*/ 2544892 w 2708532"/>
                  <a:gd name="connsiteY3652" fmla="*/ 360080 h 820230"/>
                  <a:gd name="connsiteX3653" fmla="*/ 2546656 w 2708532"/>
                  <a:gd name="connsiteY3653" fmla="*/ 358316 h 820230"/>
                  <a:gd name="connsiteX3654" fmla="*/ 2547802 w 2708532"/>
                  <a:gd name="connsiteY3654" fmla="*/ 356553 h 820230"/>
                  <a:gd name="connsiteX3655" fmla="*/ 2548154 w 2708532"/>
                  <a:gd name="connsiteY3655" fmla="*/ 351615 h 820230"/>
                  <a:gd name="connsiteX3656" fmla="*/ 2549301 w 2708532"/>
                  <a:gd name="connsiteY3656" fmla="*/ 350117 h 820230"/>
                  <a:gd name="connsiteX3657" fmla="*/ 2550799 w 2708532"/>
                  <a:gd name="connsiteY3657" fmla="*/ 348618 h 820230"/>
                  <a:gd name="connsiteX3658" fmla="*/ 2550447 w 2708532"/>
                  <a:gd name="connsiteY3658" fmla="*/ 346237 h 820230"/>
                  <a:gd name="connsiteX3659" fmla="*/ 2551328 w 2708532"/>
                  <a:gd name="connsiteY3659" fmla="*/ 340947 h 820230"/>
                  <a:gd name="connsiteX3660" fmla="*/ 2552828 w 2708532"/>
                  <a:gd name="connsiteY3660" fmla="*/ 341212 h 820230"/>
                  <a:gd name="connsiteX3661" fmla="*/ 2554855 w 2708532"/>
                  <a:gd name="connsiteY3661" fmla="*/ 341212 h 820230"/>
                  <a:gd name="connsiteX3662" fmla="*/ 2556619 w 2708532"/>
                  <a:gd name="connsiteY3662" fmla="*/ 338038 h 820230"/>
                  <a:gd name="connsiteX3663" fmla="*/ 2561027 w 2708532"/>
                  <a:gd name="connsiteY3663" fmla="*/ 338302 h 820230"/>
                  <a:gd name="connsiteX3664" fmla="*/ 2561645 w 2708532"/>
                  <a:gd name="connsiteY3664" fmla="*/ 339448 h 820230"/>
                  <a:gd name="connsiteX3665" fmla="*/ 2564554 w 2708532"/>
                  <a:gd name="connsiteY3665" fmla="*/ 337685 h 820230"/>
                  <a:gd name="connsiteX3666" fmla="*/ 2567728 w 2708532"/>
                  <a:gd name="connsiteY3666" fmla="*/ 333629 h 820230"/>
                  <a:gd name="connsiteX3667" fmla="*/ 2568874 w 2708532"/>
                  <a:gd name="connsiteY3667" fmla="*/ 336274 h 820230"/>
                  <a:gd name="connsiteX3668" fmla="*/ 2571784 w 2708532"/>
                  <a:gd name="connsiteY3668" fmla="*/ 334246 h 820230"/>
                  <a:gd name="connsiteX3669" fmla="*/ 2571166 w 2708532"/>
                  <a:gd name="connsiteY3669" fmla="*/ 329838 h 820230"/>
                  <a:gd name="connsiteX3670" fmla="*/ 2573195 w 2708532"/>
                  <a:gd name="connsiteY3670" fmla="*/ 329573 h 820230"/>
                  <a:gd name="connsiteX3671" fmla="*/ 2572666 w 2708532"/>
                  <a:gd name="connsiteY3671" fmla="*/ 328075 h 820230"/>
                  <a:gd name="connsiteX3672" fmla="*/ 2574957 w 2708532"/>
                  <a:gd name="connsiteY3672" fmla="*/ 326928 h 820230"/>
                  <a:gd name="connsiteX3673" fmla="*/ 2579013 w 2708532"/>
                  <a:gd name="connsiteY3673" fmla="*/ 327193 h 820230"/>
                  <a:gd name="connsiteX3674" fmla="*/ 2581923 w 2708532"/>
                  <a:gd name="connsiteY3674" fmla="*/ 323402 h 820230"/>
                  <a:gd name="connsiteX3675" fmla="*/ 2584833 w 2708532"/>
                  <a:gd name="connsiteY3675" fmla="*/ 320757 h 820230"/>
                  <a:gd name="connsiteX3676" fmla="*/ 2585450 w 2708532"/>
                  <a:gd name="connsiteY3676" fmla="*/ 318993 h 820230"/>
                  <a:gd name="connsiteX3677" fmla="*/ 2587478 w 2708532"/>
                  <a:gd name="connsiteY3677" fmla="*/ 321021 h 820230"/>
                  <a:gd name="connsiteX3678" fmla="*/ 2591269 w 2708532"/>
                  <a:gd name="connsiteY3678" fmla="*/ 321021 h 820230"/>
                  <a:gd name="connsiteX3679" fmla="*/ 2596824 w 2708532"/>
                  <a:gd name="connsiteY3679" fmla="*/ 320757 h 820230"/>
                  <a:gd name="connsiteX3680" fmla="*/ 2599998 w 2708532"/>
                  <a:gd name="connsiteY3680" fmla="*/ 323402 h 820230"/>
                  <a:gd name="connsiteX3681" fmla="*/ 2603524 w 2708532"/>
                  <a:gd name="connsiteY3681" fmla="*/ 323666 h 820230"/>
                  <a:gd name="connsiteX3682" fmla="*/ 2607580 w 2708532"/>
                  <a:gd name="connsiteY3682" fmla="*/ 322784 h 820230"/>
                  <a:gd name="connsiteX3683" fmla="*/ 2609343 w 2708532"/>
                  <a:gd name="connsiteY3683" fmla="*/ 324283 h 820230"/>
                  <a:gd name="connsiteX3684" fmla="*/ 2615162 w 2708532"/>
                  <a:gd name="connsiteY3684" fmla="*/ 323402 h 820230"/>
                  <a:gd name="connsiteX3685" fmla="*/ 2618072 w 2708532"/>
                  <a:gd name="connsiteY3685" fmla="*/ 324548 h 820230"/>
                  <a:gd name="connsiteX3686" fmla="*/ 2618072 w 2708532"/>
                  <a:gd name="connsiteY3686" fmla="*/ 326311 h 820230"/>
                  <a:gd name="connsiteX3687" fmla="*/ 2619483 w 2708532"/>
                  <a:gd name="connsiteY3687" fmla="*/ 327810 h 820230"/>
                  <a:gd name="connsiteX3688" fmla="*/ 2623538 w 2708532"/>
                  <a:gd name="connsiteY3688" fmla="*/ 327810 h 820230"/>
                  <a:gd name="connsiteX3689" fmla="*/ 2626977 w 2708532"/>
                  <a:gd name="connsiteY3689" fmla="*/ 327810 h 820230"/>
                  <a:gd name="connsiteX3690" fmla="*/ 2629358 w 2708532"/>
                  <a:gd name="connsiteY3690" fmla="*/ 326311 h 820230"/>
                  <a:gd name="connsiteX3691" fmla="*/ 2627859 w 2708532"/>
                  <a:gd name="connsiteY3691" fmla="*/ 324812 h 820230"/>
                  <a:gd name="connsiteX3692" fmla="*/ 2626448 w 2708532"/>
                  <a:gd name="connsiteY3692" fmla="*/ 322167 h 820230"/>
                  <a:gd name="connsiteX3693" fmla="*/ 2625831 w 2708532"/>
                  <a:gd name="connsiteY3693" fmla="*/ 320668 h 820230"/>
                  <a:gd name="connsiteX3694" fmla="*/ 2625567 w 2708532"/>
                  <a:gd name="connsiteY3694" fmla="*/ 323578 h 820230"/>
                  <a:gd name="connsiteX3695" fmla="*/ 2624156 w 2708532"/>
                  <a:gd name="connsiteY3695" fmla="*/ 318023 h 820230"/>
                  <a:gd name="connsiteX3696" fmla="*/ 2624949 w 2708532"/>
                  <a:gd name="connsiteY3696" fmla="*/ 316525 h 820230"/>
                  <a:gd name="connsiteX3697" fmla="*/ 2622304 w 2708532"/>
                  <a:gd name="connsiteY3697" fmla="*/ 315643 h 820230"/>
                  <a:gd name="connsiteX3698" fmla="*/ 2620893 w 2708532"/>
                  <a:gd name="connsiteY3698" fmla="*/ 317671 h 820230"/>
                  <a:gd name="connsiteX3699" fmla="*/ 2618601 w 2708532"/>
                  <a:gd name="connsiteY3699" fmla="*/ 313262 h 820230"/>
                  <a:gd name="connsiteX3700" fmla="*/ 2616837 w 2708532"/>
                  <a:gd name="connsiteY3700" fmla="*/ 314408 h 820230"/>
                  <a:gd name="connsiteX3701" fmla="*/ 2615956 w 2708532"/>
                  <a:gd name="connsiteY3701" fmla="*/ 312645 h 820230"/>
                  <a:gd name="connsiteX3702" fmla="*/ 2612782 w 2708532"/>
                  <a:gd name="connsiteY3702" fmla="*/ 310617 h 820230"/>
                  <a:gd name="connsiteX3703" fmla="*/ 2610754 w 2708532"/>
                  <a:gd name="connsiteY3703" fmla="*/ 310882 h 820230"/>
                  <a:gd name="connsiteX3704" fmla="*/ 2608991 w 2708532"/>
                  <a:gd name="connsiteY3704" fmla="*/ 308501 h 820230"/>
                  <a:gd name="connsiteX3705" fmla="*/ 2608109 w 2708532"/>
                  <a:gd name="connsiteY3705" fmla="*/ 306473 h 820230"/>
                  <a:gd name="connsiteX3706" fmla="*/ 2605200 w 2708532"/>
                  <a:gd name="connsiteY3706" fmla="*/ 307090 h 820230"/>
                  <a:gd name="connsiteX3707" fmla="*/ 2604671 w 2708532"/>
                  <a:gd name="connsiteY3707" fmla="*/ 304798 h 820230"/>
                  <a:gd name="connsiteX3708" fmla="*/ 2602025 w 2708532"/>
                  <a:gd name="connsiteY3708" fmla="*/ 304798 h 820230"/>
                  <a:gd name="connsiteX3709" fmla="*/ 2599380 w 2708532"/>
                  <a:gd name="connsiteY3709" fmla="*/ 304798 h 820230"/>
                  <a:gd name="connsiteX3710" fmla="*/ 2599380 w 2708532"/>
                  <a:gd name="connsiteY3710" fmla="*/ 303652 h 820230"/>
                  <a:gd name="connsiteX3711" fmla="*/ 2595589 w 2708532"/>
                  <a:gd name="connsiteY3711" fmla="*/ 304798 h 820230"/>
                  <a:gd name="connsiteX3712" fmla="*/ 2593297 w 2708532"/>
                  <a:gd name="connsiteY3712" fmla="*/ 303387 h 820230"/>
                  <a:gd name="connsiteX3713" fmla="*/ 2593297 w 2708532"/>
                  <a:gd name="connsiteY3713" fmla="*/ 302241 h 820230"/>
                  <a:gd name="connsiteX3714" fmla="*/ 2593561 w 2708532"/>
                  <a:gd name="connsiteY3714" fmla="*/ 301095 h 820230"/>
                  <a:gd name="connsiteX3715" fmla="*/ 2590916 w 2708532"/>
                  <a:gd name="connsiteY3715" fmla="*/ 299596 h 820230"/>
                  <a:gd name="connsiteX3716" fmla="*/ 2589153 w 2708532"/>
                  <a:gd name="connsiteY3716" fmla="*/ 298714 h 820230"/>
                  <a:gd name="connsiteX3717" fmla="*/ 2584745 w 2708532"/>
                  <a:gd name="connsiteY3717" fmla="*/ 298714 h 820230"/>
                  <a:gd name="connsiteX3718" fmla="*/ 2584480 w 2708532"/>
                  <a:gd name="connsiteY3718" fmla="*/ 296069 h 820230"/>
                  <a:gd name="connsiteX3719" fmla="*/ 2584216 w 2708532"/>
                  <a:gd name="connsiteY3719" fmla="*/ 294571 h 820230"/>
                  <a:gd name="connsiteX3720" fmla="*/ 2581570 w 2708532"/>
                  <a:gd name="connsiteY3720" fmla="*/ 291044 h 820230"/>
                  <a:gd name="connsiteX3721" fmla="*/ 2580424 w 2708532"/>
                  <a:gd name="connsiteY3721" fmla="*/ 292807 h 820230"/>
                  <a:gd name="connsiteX3722" fmla="*/ 2578661 w 2708532"/>
                  <a:gd name="connsiteY3722" fmla="*/ 291926 h 820230"/>
                  <a:gd name="connsiteX3723" fmla="*/ 2575399 w 2708532"/>
                  <a:gd name="connsiteY3723" fmla="*/ 290779 h 820230"/>
                  <a:gd name="connsiteX3724" fmla="*/ 2574782 w 2708532"/>
                  <a:gd name="connsiteY3724" fmla="*/ 289633 h 820230"/>
                  <a:gd name="connsiteX3725" fmla="*/ 2569227 w 2708532"/>
                  <a:gd name="connsiteY3725" fmla="*/ 291661 h 820230"/>
                  <a:gd name="connsiteX3726" fmla="*/ 2568081 w 2708532"/>
                  <a:gd name="connsiteY3726" fmla="*/ 288751 h 820230"/>
                  <a:gd name="connsiteX3727" fmla="*/ 2567816 w 2708532"/>
                  <a:gd name="connsiteY3727" fmla="*/ 286724 h 820230"/>
                  <a:gd name="connsiteX3728" fmla="*/ 2563143 w 2708532"/>
                  <a:gd name="connsiteY3728" fmla="*/ 285577 h 820230"/>
                  <a:gd name="connsiteX3729" fmla="*/ 2561645 w 2708532"/>
                  <a:gd name="connsiteY3729" fmla="*/ 280904 h 820230"/>
                  <a:gd name="connsiteX3730" fmla="*/ 2559881 w 2708532"/>
                  <a:gd name="connsiteY3730" fmla="*/ 281786 h 820230"/>
                  <a:gd name="connsiteX3731" fmla="*/ 2559264 w 2708532"/>
                  <a:gd name="connsiteY3731" fmla="*/ 284167 h 820230"/>
                  <a:gd name="connsiteX3732" fmla="*/ 2556707 w 2708532"/>
                  <a:gd name="connsiteY3732" fmla="*/ 282403 h 820230"/>
                  <a:gd name="connsiteX3733" fmla="*/ 2555825 w 2708532"/>
                  <a:gd name="connsiteY3733" fmla="*/ 280375 h 820230"/>
                  <a:gd name="connsiteX3734" fmla="*/ 2552915 w 2708532"/>
                  <a:gd name="connsiteY3734" fmla="*/ 281257 h 820230"/>
                  <a:gd name="connsiteX3735" fmla="*/ 2550006 w 2708532"/>
                  <a:gd name="connsiteY3735" fmla="*/ 281874 h 820230"/>
                  <a:gd name="connsiteX3736" fmla="*/ 2547978 w 2708532"/>
                  <a:gd name="connsiteY3736" fmla="*/ 281610 h 820230"/>
                  <a:gd name="connsiteX3737" fmla="*/ 2545333 w 2708532"/>
                  <a:gd name="connsiteY3737" fmla="*/ 280111 h 820230"/>
                  <a:gd name="connsiteX3738" fmla="*/ 2541542 w 2708532"/>
                  <a:gd name="connsiteY3738" fmla="*/ 280375 h 820230"/>
                  <a:gd name="connsiteX3739" fmla="*/ 2538632 w 2708532"/>
                  <a:gd name="connsiteY3739" fmla="*/ 279494 h 820230"/>
                  <a:gd name="connsiteX3740" fmla="*/ 2537486 w 2708532"/>
                  <a:gd name="connsiteY3740" fmla="*/ 277730 h 820230"/>
                  <a:gd name="connsiteX3741" fmla="*/ 2535458 w 2708532"/>
                  <a:gd name="connsiteY3741" fmla="*/ 276232 h 820230"/>
                  <a:gd name="connsiteX3742" fmla="*/ 2534841 w 2708532"/>
                  <a:gd name="connsiteY3742" fmla="*/ 274733 h 820230"/>
                  <a:gd name="connsiteX3743" fmla="*/ 2533960 w 2708532"/>
                  <a:gd name="connsiteY3743" fmla="*/ 274204 h 820230"/>
                  <a:gd name="connsiteX3744" fmla="*/ 2534841 w 2708532"/>
                  <a:gd name="connsiteY3744" fmla="*/ 272440 h 820230"/>
                  <a:gd name="connsiteX3745" fmla="*/ 2538103 w 2708532"/>
                  <a:gd name="connsiteY3745" fmla="*/ 273057 h 820230"/>
                  <a:gd name="connsiteX3746" fmla="*/ 2538632 w 2708532"/>
                  <a:gd name="connsiteY3746" fmla="*/ 273057 h 820230"/>
                  <a:gd name="connsiteX3747" fmla="*/ 2540660 w 2708532"/>
                  <a:gd name="connsiteY3747" fmla="*/ 273939 h 820230"/>
                  <a:gd name="connsiteX3748" fmla="*/ 2543570 w 2708532"/>
                  <a:gd name="connsiteY3748" fmla="*/ 274556 h 820230"/>
                  <a:gd name="connsiteX3749" fmla="*/ 2547978 w 2708532"/>
                  <a:gd name="connsiteY3749" fmla="*/ 274556 h 820230"/>
                  <a:gd name="connsiteX3750" fmla="*/ 2550888 w 2708532"/>
                  <a:gd name="connsiteY3750" fmla="*/ 273410 h 820230"/>
                  <a:gd name="connsiteX3751" fmla="*/ 2553180 w 2708532"/>
                  <a:gd name="connsiteY3751" fmla="*/ 271382 h 820230"/>
                  <a:gd name="connsiteX3752" fmla="*/ 2554944 w 2708532"/>
                  <a:gd name="connsiteY3752" fmla="*/ 271999 h 820230"/>
                  <a:gd name="connsiteX3753" fmla="*/ 2558470 w 2708532"/>
                  <a:gd name="connsiteY3753" fmla="*/ 269707 h 820230"/>
                  <a:gd name="connsiteX3754" fmla="*/ 2558823 w 2708532"/>
                  <a:gd name="connsiteY3754" fmla="*/ 266180 h 820230"/>
                  <a:gd name="connsiteX3755" fmla="*/ 2560851 w 2708532"/>
                  <a:gd name="connsiteY3755" fmla="*/ 263006 h 820230"/>
                  <a:gd name="connsiteX3756" fmla="*/ 2561732 w 2708532"/>
                  <a:gd name="connsiteY3756" fmla="*/ 260714 h 820230"/>
                  <a:gd name="connsiteX3757" fmla="*/ 2559087 w 2708532"/>
                  <a:gd name="connsiteY3757" fmla="*/ 259215 h 820230"/>
                  <a:gd name="connsiteX3758" fmla="*/ 2555296 w 2708532"/>
                  <a:gd name="connsiteY3758" fmla="*/ 256834 h 820230"/>
                  <a:gd name="connsiteX3759" fmla="*/ 2556178 w 2708532"/>
                  <a:gd name="connsiteY3759" fmla="*/ 253660 h 820230"/>
                  <a:gd name="connsiteX3760" fmla="*/ 2553004 w 2708532"/>
                  <a:gd name="connsiteY3760" fmla="*/ 252514 h 820230"/>
                  <a:gd name="connsiteX3761" fmla="*/ 2549741 w 2708532"/>
                  <a:gd name="connsiteY3761" fmla="*/ 251897 h 820230"/>
                  <a:gd name="connsiteX3762" fmla="*/ 2547449 w 2708532"/>
                  <a:gd name="connsiteY3762" fmla="*/ 250751 h 820230"/>
                  <a:gd name="connsiteX3763" fmla="*/ 2543658 w 2708532"/>
                  <a:gd name="connsiteY3763" fmla="*/ 248723 h 820230"/>
                  <a:gd name="connsiteX3764" fmla="*/ 2542776 w 2708532"/>
                  <a:gd name="connsiteY3764" fmla="*/ 246695 h 820230"/>
                  <a:gd name="connsiteX3765" fmla="*/ 2539602 w 2708532"/>
                  <a:gd name="connsiteY3765" fmla="*/ 246078 h 820230"/>
                  <a:gd name="connsiteX3766" fmla="*/ 2535194 w 2708532"/>
                  <a:gd name="connsiteY3766" fmla="*/ 244932 h 820230"/>
                  <a:gd name="connsiteX3767" fmla="*/ 2533166 w 2708532"/>
                  <a:gd name="connsiteY3767" fmla="*/ 240876 h 820230"/>
                  <a:gd name="connsiteX3768" fmla="*/ 2534929 w 2708532"/>
                  <a:gd name="connsiteY3768" fmla="*/ 239730 h 820230"/>
                  <a:gd name="connsiteX3769" fmla="*/ 2537839 w 2708532"/>
                  <a:gd name="connsiteY3769" fmla="*/ 240347 h 820230"/>
                  <a:gd name="connsiteX3770" fmla="*/ 2540749 w 2708532"/>
                  <a:gd name="connsiteY3770" fmla="*/ 239730 h 820230"/>
                  <a:gd name="connsiteX3771" fmla="*/ 2544275 w 2708532"/>
                  <a:gd name="connsiteY3771" fmla="*/ 239730 h 820230"/>
                  <a:gd name="connsiteX3772" fmla="*/ 2547802 w 2708532"/>
                  <a:gd name="connsiteY3772" fmla="*/ 240347 h 820230"/>
                  <a:gd name="connsiteX3773" fmla="*/ 2546656 w 2708532"/>
                  <a:gd name="connsiteY3773" fmla="*/ 241846 h 820230"/>
                  <a:gd name="connsiteX3774" fmla="*/ 2547802 w 2708532"/>
                  <a:gd name="connsiteY3774" fmla="*/ 243257 h 820230"/>
                  <a:gd name="connsiteX3775" fmla="*/ 2549565 w 2708532"/>
                  <a:gd name="connsiteY3775" fmla="*/ 246783 h 820230"/>
                  <a:gd name="connsiteX3776" fmla="*/ 2550447 w 2708532"/>
                  <a:gd name="connsiteY3776" fmla="*/ 245637 h 820230"/>
                  <a:gd name="connsiteX3777" fmla="*/ 2552475 w 2708532"/>
                  <a:gd name="connsiteY3777" fmla="*/ 247665 h 820230"/>
                  <a:gd name="connsiteX3778" fmla="*/ 2555120 w 2708532"/>
                  <a:gd name="connsiteY3778" fmla="*/ 249428 h 820230"/>
                  <a:gd name="connsiteX3779" fmla="*/ 2558118 w 2708532"/>
                  <a:gd name="connsiteY3779" fmla="*/ 249428 h 820230"/>
                  <a:gd name="connsiteX3780" fmla="*/ 2561027 w 2708532"/>
                  <a:gd name="connsiteY3780" fmla="*/ 250310 h 820230"/>
                  <a:gd name="connsiteX3781" fmla="*/ 2561645 w 2708532"/>
                  <a:gd name="connsiteY3781" fmla="*/ 252073 h 820230"/>
                  <a:gd name="connsiteX3782" fmla="*/ 2564554 w 2708532"/>
                  <a:gd name="connsiteY3782" fmla="*/ 252338 h 820230"/>
                  <a:gd name="connsiteX3783" fmla="*/ 2565436 w 2708532"/>
                  <a:gd name="connsiteY3783" fmla="*/ 255247 h 820230"/>
                  <a:gd name="connsiteX3784" fmla="*/ 2569227 w 2708532"/>
                  <a:gd name="connsiteY3784" fmla="*/ 255600 h 820230"/>
                  <a:gd name="connsiteX3785" fmla="*/ 2570990 w 2708532"/>
                  <a:gd name="connsiteY3785" fmla="*/ 255865 h 820230"/>
                  <a:gd name="connsiteX3786" fmla="*/ 2572489 w 2708532"/>
                  <a:gd name="connsiteY3786" fmla="*/ 258157 h 820230"/>
                  <a:gd name="connsiteX3787" fmla="*/ 2575663 w 2708532"/>
                  <a:gd name="connsiteY3787" fmla="*/ 257893 h 820230"/>
                  <a:gd name="connsiteX3788" fmla="*/ 2578573 w 2708532"/>
                  <a:gd name="connsiteY3788" fmla="*/ 255865 h 820230"/>
                  <a:gd name="connsiteX3789" fmla="*/ 2582099 w 2708532"/>
                  <a:gd name="connsiteY3789" fmla="*/ 256129 h 820230"/>
                  <a:gd name="connsiteX3790" fmla="*/ 2582981 w 2708532"/>
                  <a:gd name="connsiteY3790" fmla="*/ 258422 h 820230"/>
                  <a:gd name="connsiteX3791" fmla="*/ 2586508 w 2708532"/>
                  <a:gd name="connsiteY3791" fmla="*/ 257275 h 820230"/>
                  <a:gd name="connsiteX3792" fmla="*/ 2586243 w 2708532"/>
                  <a:gd name="connsiteY3792" fmla="*/ 256129 h 820230"/>
                  <a:gd name="connsiteX3793" fmla="*/ 2587390 w 2708532"/>
                  <a:gd name="connsiteY3793" fmla="*/ 256129 h 820230"/>
                  <a:gd name="connsiteX3794" fmla="*/ 2588536 w 2708532"/>
                  <a:gd name="connsiteY3794" fmla="*/ 254630 h 820230"/>
                  <a:gd name="connsiteX3795" fmla="*/ 2589946 w 2708532"/>
                  <a:gd name="connsiteY3795" fmla="*/ 254366 h 820230"/>
                  <a:gd name="connsiteX3796" fmla="*/ 2591710 w 2708532"/>
                  <a:gd name="connsiteY3796" fmla="*/ 255512 h 820230"/>
                  <a:gd name="connsiteX3797" fmla="*/ 2593473 w 2708532"/>
                  <a:gd name="connsiteY3797" fmla="*/ 253749 h 820230"/>
                  <a:gd name="connsiteX3798" fmla="*/ 2594619 w 2708532"/>
                  <a:gd name="connsiteY3798" fmla="*/ 253749 h 820230"/>
                  <a:gd name="connsiteX3799" fmla="*/ 2597793 w 2708532"/>
                  <a:gd name="connsiteY3799" fmla="*/ 254366 h 820230"/>
                  <a:gd name="connsiteX3800" fmla="*/ 2601056 w 2708532"/>
                  <a:gd name="connsiteY3800" fmla="*/ 254983 h 820230"/>
                  <a:gd name="connsiteX3801" fmla="*/ 2602819 w 2708532"/>
                  <a:gd name="connsiteY3801" fmla="*/ 257011 h 820230"/>
                  <a:gd name="connsiteX3802" fmla="*/ 2603700 w 2708532"/>
                  <a:gd name="connsiteY3802" fmla="*/ 258157 h 820230"/>
                  <a:gd name="connsiteX3803" fmla="*/ 2606610 w 2708532"/>
                  <a:gd name="connsiteY3803" fmla="*/ 257893 h 820230"/>
                  <a:gd name="connsiteX3804" fmla="*/ 2606875 w 2708532"/>
                  <a:gd name="connsiteY3804" fmla="*/ 256746 h 820230"/>
                  <a:gd name="connsiteX3805" fmla="*/ 2610666 w 2708532"/>
                  <a:gd name="connsiteY3805" fmla="*/ 255865 h 820230"/>
                  <a:gd name="connsiteX3806" fmla="*/ 2613840 w 2708532"/>
                  <a:gd name="connsiteY3806" fmla="*/ 257628 h 820230"/>
                  <a:gd name="connsiteX3807" fmla="*/ 2615868 w 2708532"/>
                  <a:gd name="connsiteY3807" fmla="*/ 256482 h 820230"/>
                  <a:gd name="connsiteX3808" fmla="*/ 2617014 w 2708532"/>
                  <a:gd name="connsiteY3808" fmla="*/ 259127 h 820230"/>
                  <a:gd name="connsiteX3809" fmla="*/ 2617279 w 2708532"/>
                  <a:gd name="connsiteY3809" fmla="*/ 260890 h 820230"/>
                  <a:gd name="connsiteX3810" fmla="*/ 2617279 w 2708532"/>
                  <a:gd name="connsiteY3810" fmla="*/ 262654 h 820230"/>
                  <a:gd name="connsiteX3811" fmla="*/ 2620188 w 2708532"/>
                  <a:gd name="connsiteY3811" fmla="*/ 262918 h 820230"/>
                  <a:gd name="connsiteX3812" fmla="*/ 2620805 w 2708532"/>
                  <a:gd name="connsiteY3812" fmla="*/ 263535 h 820230"/>
                  <a:gd name="connsiteX3813" fmla="*/ 2624332 w 2708532"/>
                  <a:gd name="connsiteY3813" fmla="*/ 264417 h 820230"/>
                  <a:gd name="connsiteX3814" fmla="*/ 2629534 w 2708532"/>
                  <a:gd name="connsiteY3814" fmla="*/ 268208 h 820230"/>
                  <a:gd name="connsiteX3815" fmla="*/ 2632708 w 2708532"/>
                  <a:gd name="connsiteY3815" fmla="*/ 269972 h 820230"/>
                  <a:gd name="connsiteX3816" fmla="*/ 2636235 w 2708532"/>
                  <a:gd name="connsiteY3816" fmla="*/ 269707 h 820230"/>
                  <a:gd name="connsiteX3817" fmla="*/ 2638615 w 2708532"/>
                  <a:gd name="connsiteY3817" fmla="*/ 267944 h 820230"/>
                  <a:gd name="connsiteX3818" fmla="*/ 2641260 w 2708532"/>
                  <a:gd name="connsiteY3818" fmla="*/ 269354 h 820230"/>
                  <a:gd name="connsiteX3819" fmla="*/ 2645316 w 2708532"/>
                  <a:gd name="connsiteY3819" fmla="*/ 271382 h 820230"/>
                  <a:gd name="connsiteX3820" fmla="*/ 2648843 w 2708532"/>
                  <a:gd name="connsiteY3820" fmla="*/ 272881 h 820230"/>
                  <a:gd name="connsiteX3821" fmla="*/ 2650342 w 2708532"/>
                  <a:gd name="connsiteY3821" fmla="*/ 270853 h 820230"/>
                  <a:gd name="connsiteX3822" fmla="*/ 2654133 w 2708532"/>
                  <a:gd name="connsiteY3822" fmla="*/ 272352 h 820230"/>
                  <a:gd name="connsiteX3823" fmla="*/ 2656513 w 2708532"/>
                  <a:gd name="connsiteY3823" fmla="*/ 273498 h 820230"/>
                  <a:gd name="connsiteX3824" fmla="*/ 2659423 w 2708532"/>
                  <a:gd name="connsiteY3824" fmla="*/ 272881 h 820230"/>
                  <a:gd name="connsiteX3825" fmla="*/ 2662333 w 2708532"/>
                  <a:gd name="connsiteY3825" fmla="*/ 274027 h 820230"/>
                  <a:gd name="connsiteX3826" fmla="*/ 2665242 w 2708532"/>
                  <a:gd name="connsiteY3826" fmla="*/ 275174 h 820230"/>
                  <a:gd name="connsiteX3827" fmla="*/ 2668152 w 2708532"/>
                  <a:gd name="connsiteY3827" fmla="*/ 274292 h 820230"/>
                  <a:gd name="connsiteX3828" fmla="*/ 2671061 w 2708532"/>
                  <a:gd name="connsiteY3828" fmla="*/ 277201 h 820230"/>
                  <a:gd name="connsiteX3829" fmla="*/ 2673971 w 2708532"/>
                  <a:gd name="connsiteY3829" fmla="*/ 278348 h 820230"/>
                  <a:gd name="connsiteX3830" fmla="*/ 2680055 w 2708532"/>
                  <a:gd name="connsiteY3830" fmla="*/ 277819 h 820230"/>
                  <a:gd name="connsiteX3831" fmla="*/ 2680055 w 2708532"/>
                  <a:gd name="connsiteY3831" fmla="*/ 280728 h 820230"/>
                  <a:gd name="connsiteX3832" fmla="*/ 2684110 w 2708532"/>
                  <a:gd name="connsiteY3832" fmla="*/ 281257 h 820230"/>
                  <a:gd name="connsiteX3833" fmla="*/ 2687284 w 2708532"/>
                  <a:gd name="connsiteY3833" fmla="*/ 280728 h 820230"/>
                  <a:gd name="connsiteX3834" fmla="*/ 2687901 w 2708532"/>
                  <a:gd name="connsiteY3834" fmla="*/ 283638 h 820230"/>
                  <a:gd name="connsiteX3835" fmla="*/ 2690194 w 2708532"/>
                  <a:gd name="connsiteY3835" fmla="*/ 280993 h 820230"/>
                  <a:gd name="connsiteX3836" fmla="*/ 2693368 w 2708532"/>
                  <a:gd name="connsiteY3836" fmla="*/ 281874 h 820230"/>
                  <a:gd name="connsiteX3837" fmla="*/ 2694779 w 2708532"/>
                  <a:gd name="connsiteY3837" fmla="*/ 283638 h 820230"/>
                  <a:gd name="connsiteX3838" fmla="*/ 2696806 w 2708532"/>
                  <a:gd name="connsiteY3838" fmla="*/ 283021 h 820230"/>
                  <a:gd name="connsiteX3839" fmla="*/ 2700068 w 2708532"/>
                  <a:gd name="connsiteY3839" fmla="*/ 284167 h 820230"/>
                  <a:gd name="connsiteX3840" fmla="*/ 2702714 w 2708532"/>
                  <a:gd name="connsiteY3840" fmla="*/ 281257 h 820230"/>
                  <a:gd name="connsiteX3841" fmla="*/ 2704213 w 2708532"/>
                  <a:gd name="connsiteY3841" fmla="*/ 277819 h 820230"/>
                  <a:gd name="connsiteX3842" fmla="*/ 2704477 w 2708532"/>
                  <a:gd name="connsiteY3842" fmla="*/ 275438 h 820230"/>
                  <a:gd name="connsiteX3843" fmla="*/ 2705976 w 2708532"/>
                  <a:gd name="connsiteY3843" fmla="*/ 278965 h 820230"/>
                  <a:gd name="connsiteX3844" fmla="*/ 2705359 w 2708532"/>
                  <a:gd name="connsiteY3844" fmla="*/ 280464 h 820230"/>
                  <a:gd name="connsiteX3845" fmla="*/ 2708533 w 2708532"/>
                  <a:gd name="connsiteY3845" fmla="*/ 279846 h 820230"/>
                  <a:gd name="connsiteX3846" fmla="*/ 2705623 w 2708532"/>
                  <a:gd name="connsiteY3846" fmla="*/ 274645 h 820230"/>
                  <a:gd name="connsiteX3847" fmla="*/ 2699804 w 2708532"/>
                  <a:gd name="connsiteY3847" fmla="*/ 274645 h 820230"/>
                  <a:gd name="connsiteX3848" fmla="*/ 115853 w 2708532"/>
                  <a:gd name="connsiteY3848" fmla="*/ 363606 h 820230"/>
                  <a:gd name="connsiteX3849" fmla="*/ 114090 w 2708532"/>
                  <a:gd name="connsiteY3849" fmla="*/ 367398 h 820230"/>
                  <a:gd name="connsiteX3850" fmla="*/ 111533 w 2708532"/>
                  <a:gd name="connsiteY3850" fmla="*/ 369426 h 820230"/>
                  <a:gd name="connsiteX3851" fmla="*/ 109505 w 2708532"/>
                  <a:gd name="connsiteY3851" fmla="*/ 369426 h 820230"/>
                  <a:gd name="connsiteX3852" fmla="*/ 106596 w 2708532"/>
                  <a:gd name="connsiteY3852" fmla="*/ 367662 h 820230"/>
                  <a:gd name="connsiteX3853" fmla="*/ 103951 w 2708532"/>
                  <a:gd name="connsiteY3853" fmla="*/ 368279 h 820230"/>
                  <a:gd name="connsiteX3854" fmla="*/ 101658 w 2708532"/>
                  <a:gd name="connsiteY3854" fmla="*/ 369778 h 820230"/>
                  <a:gd name="connsiteX3855" fmla="*/ 101041 w 2708532"/>
                  <a:gd name="connsiteY3855" fmla="*/ 373217 h 820230"/>
                  <a:gd name="connsiteX3856" fmla="*/ 94340 w 2708532"/>
                  <a:gd name="connsiteY3856" fmla="*/ 373481 h 820230"/>
                  <a:gd name="connsiteX3857" fmla="*/ 94340 w 2708532"/>
                  <a:gd name="connsiteY3857" fmla="*/ 376126 h 820230"/>
                  <a:gd name="connsiteX3858" fmla="*/ 89667 w 2708532"/>
                  <a:gd name="connsiteY3858" fmla="*/ 376126 h 820230"/>
                  <a:gd name="connsiteX3859" fmla="*/ 87904 w 2708532"/>
                  <a:gd name="connsiteY3859" fmla="*/ 374098 h 820230"/>
                  <a:gd name="connsiteX3860" fmla="*/ 88521 w 2708532"/>
                  <a:gd name="connsiteY3860" fmla="*/ 372071 h 820230"/>
                  <a:gd name="connsiteX3861" fmla="*/ 87639 w 2708532"/>
                  <a:gd name="connsiteY3861" fmla="*/ 367133 h 820230"/>
                  <a:gd name="connsiteX3862" fmla="*/ 84730 w 2708532"/>
                  <a:gd name="connsiteY3862" fmla="*/ 363959 h 820230"/>
                  <a:gd name="connsiteX3863" fmla="*/ 82702 w 2708532"/>
                  <a:gd name="connsiteY3863" fmla="*/ 360168 h 820230"/>
                  <a:gd name="connsiteX3864" fmla="*/ 79793 w 2708532"/>
                  <a:gd name="connsiteY3864" fmla="*/ 360168 h 820230"/>
                  <a:gd name="connsiteX3865" fmla="*/ 75384 w 2708532"/>
                  <a:gd name="connsiteY3865" fmla="*/ 359639 h 820230"/>
                  <a:gd name="connsiteX3866" fmla="*/ 76001 w 2708532"/>
                  <a:gd name="connsiteY3866" fmla="*/ 356112 h 820230"/>
                  <a:gd name="connsiteX3867" fmla="*/ 72827 w 2708532"/>
                  <a:gd name="connsiteY3867" fmla="*/ 356377 h 820230"/>
                  <a:gd name="connsiteX3868" fmla="*/ 71681 w 2708532"/>
                  <a:gd name="connsiteY3868" fmla="*/ 352321 h 820230"/>
                  <a:gd name="connsiteX3869" fmla="*/ 69918 w 2708532"/>
                  <a:gd name="connsiteY3869" fmla="*/ 348265 h 820230"/>
                  <a:gd name="connsiteX3870" fmla="*/ 65509 w 2708532"/>
                  <a:gd name="connsiteY3870" fmla="*/ 345356 h 820230"/>
                  <a:gd name="connsiteX3871" fmla="*/ 66656 w 2708532"/>
                  <a:gd name="connsiteY3871" fmla="*/ 341564 h 820230"/>
                  <a:gd name="connsiteX3872" fmla="*/ 69829 w 2708532"/>
                  <a:gd name="connsiteY3872" fmla="*/ 339801 h 820230"/>
                  <a:gd name="connsiteX3873" fmla="*/ 73885 w 2708532"/>
                  <a:gd name="connsiteY3873" fmla="*/ 339184 h 820230"/>
                  <a:gd name="connsiteX3874" fmla="*/ 77677 w 2708532"/>
                  <a:gd name="connsiteY3874" fmla="*/ 335922 h 820230"/>
                  <a:gd name="connsiteX3875" fmla="*/ 84377 w 2708532"/>
                  <a:gd name="connsiteY3875" fmla="*/ 335922 h 820230"/>
                  <a:gd name="connsiteX3876" fmla="*/ 86670 w 2708532"/>
                  <a:gd name="connsiteY3876" fmla="*/ 338302 h 820230"/>
                  <a:gd name="connsiteX3877" fmla="*/ 89579 w 2708532"/>
                  <a:gd name="connsiteY3877" fmla="*/ 336274 h 820230"/>
                  <a:gd name="connsiteX3878" fmla="*/ 93635 w 2708532"/>
                  <a:gd name="connsiteY3878" fmla="*/ 339448 h 820230"/>
                  <a:gd name="connsiteX3879" fmla="*/ 90990 w 2708532"/>
                  <a:gd name="connsiteY3879" fmla="*/ 340330 h 820230"/>
                  <a:gd name="connsiteX3880" fmla="*/ 90990 w 2708532"/>
                  <a:gd name="connsiteY3880" fmla="*/ 343240 h 820230"/>
                  <a:gd name="connsiteX3881" fmla="*/ 96280 w 2708532"/>
                  <a:gd name="connsiteY3881" fmla="*/ 344121 h 820230"/>
                  <a:gd name="connsiteX3882" fmla="*/ 102716 w 2708532"/>
                  <a:gd name="connsiteY3882" fmla="*/ 345003 h 820230"/>
                  <a:gd name="connsiteX3883" fmla="*/ 104744 w 2708532"/>
                  <a:gd name="connsiteY3883" fmla="*/ 345267 h 820230"/>
                  <a:gd name="connsiteX3884" fmla="*/ 107125 w 2708532"/>
                  <a:gd name="connsiteY3884" fmla="*/ 345532 h 820230"/>
                  <a:gd name="connsiteX3885" fmla="*/ 104480 w 2708532"/>
                  <a:gd name="connsiteY3885" fmla="*/ 348706 h 820230"/>
                  <a:gd name="connsiteX3886" fmla="*/ 109417 w 2708532"/>
                  <a:gd name="connsiteY3886" fmla="*/ 348706 h 820230"/>
                  <a:gd name="connsiteX3887" fmla="*/ 112944 w 2708532"/>
                  <a:gd name="connsiteY3887" fmla="*/ 348970 h 820230"/>
                  <a:gd name="connsiteX3888" fmla="*/ 114972 w 2708532"/>
                  <a:gd name="connsiteY3888" fmla="*/ 352762 h 820230"/>
                  <a:gd name="connsiteX3889" fmla="*/ 116471 w 2708532"/>
                  <a:gd name="connsiteY3889" fmla="*/ 353643 h 820230"/>
                  <a:gd name="connsiteX3890" fmla="*/ 117088 w 2708532"/>
                  <a:gd name="connsiteY3890" fmla="*/ 357435 h 820230"/>
                  <a:gd name="connsiteX3891" fmla="*/ 114795 w 2708532"/>
                  <a:gd name="connsiteY3891" fmla="*/ 359462 h 820230"/>
                  <a:gd name="connsiteX3892" fmla="*/ 115853 w 2708532"/>
                  <a:gd name="connsiteY3892" fmla="*/ 363606 h 820230"/>
                  <a:gd name="connsiteX3893" fmla="*/ 1572748 w 2708532"/>
                  <a:gd name="connsiteY3893" fmla="*/ 517019 h 820230"/>
                  <a:gd name="connsiteX3894" fmla="*/ 1568604 w 2708532"/>
                  <a:gd name="connsiteY3894" fmla="*/ 513493 h 820230"/>
                  <a:gd name="connsiteX3895" fmla="*/ 1567458 w 2708532"/>
                  <a:gd name="connsiteY3895" fmla="*/ 520458 h 820230"/>
                  <a:gd name="connsiteX3896" fmla="*/ 1567722 w 2708532"/>
                  <a:gd name="connsiteY3896" fmla="*/ 523103 h 820230"/>
                  <a:gd name="connsiteX3897" fmla="*/ 1564196 w 2708532"/>
                  <a:gd name="connsiteY3897" fmla="*/ 526894 h 820230"/>
                  <a:gd name="connsiteX3898" fmla="*/ 1570632 w 2708532"/>
                  <a:gd name="connsiteY3898" fmla="*/ 528041 h 820230"/>
                  <a:gd name="connsiteX3899" fmla="*/ 1572042 w 2708532"/>
                  <a:gd name="connsiteY3899" fmla="*/ 532713 h 820230"/>
                  <a:gd name="connsiteX3900" fmla="*/ 1566488 w 2708532"/>
                  <a:gd name="connsiteY3900" fmla="*/ 533860 h 820230"/>
                  <a:gd name="connsiteX3901" fmla="*/ 1565342 w 2708532"/>
                  <a:gd name="connsiteY3901" fmla="*/ 540560 h 820230"/>
                  <a:gd name="connsiteX3902" fmla="*/ 1561286 w 2708532"/>
                  <a:gd name="connsiteY3902" fmla="*/ 544616 h 820230"/>
                  <a:gd name="connsiteX3903" fmla="*/ 1560669 w 2708532"/>
                  <a:gd name="connsiteY3903" fmla="*/ 548407 h 820230"/>
                  <a:gd name="connsiteX3904" fmla="*/ 1559258 w 2708532"/>
                  <a:gd name="connsiteY3904" fmla="*/ 550788 h 820230"/>
                  <a:gd name="connsiteX3905" fmla="*/ 1552557 w 2708532"/>
                  <a:gd name="connsiteY3905" fmla="*/ 551670 h 820230"/>
                  <a:gd name="connsiteX3906" fmla="*/ 1555202 w 2708532"/>
                  <a:gd name="connsiteY3906" fmla="*/ 556960 h 820230"/>
                  <a:gd name="connsiteX3907" fmla="*/ 1549912 w 2708532"/>
                  <a:gd name="connsiteY3907" fmla="*/ 558988 h 820230"/>
                  <a:gd name="connsiteX3908" fmla="*/ 1542594 w 2708532"/>
                  <a:gd name="connsiteY3908" fmla="*/ 560134 h 820230"/>
                  <a:gd name="connsiteX3909" fmla="*/ 1543740 w 2708532"/>
                  <a:gd name="connsiteY3909" fmla="*/ 561015 h 820230"/>
                  <a:gd name="connsiteX3910" fmla="*/ 1541712 w 2708532"/>
                  <a:gd name="connsiteY3910" fmla="*/ 564189 h 820230"/>
                  <a:gd name="connsiteX3911" fmla="*/ 1541448 w 2708532"/>
                  <a:gd name="connsiteY3911" fmla="*/ 565336 h 820230"/>
                  <a:gd name="connsiteX3912" fmla="*/ 1542947 w 2708532"/>
                  <a:gd name="connsiteY3912" fmla="*/ 568510 h 820230"/>
                  <a:gd name="connsiteX3913" fmla="*/ 1542594 w 2708532"/>
                  <a:gd name="connsiteY3913" fmla="*/ 572036 h 820230"/>
                  <a:gd name="connsiteX3914" fmla="*/ 1537921 w 2708532"/>
                  <a:gd name="connsiteY3914" fmla="*/ 573800 h 820230"/>
                  <a:gd name="connsiteX3915" fmla="*/ 1532719 w 2708532"/>
                  <a:gd name="connsiteY3915" fmla="*/ 576709 h 820230"/>
                  <a:gd name="connsiteX3916" fmla="*/ 1525754 w 2708532"/>
                  <a:gd name="connsiteY3916" fmla="*/ 577856 h 820230"/>
                  <a:gd name="connsiteX3917" fmla="*/ 1523991 w 2708532"/>
                  <a:gd name="connsiteY3917" fmla="*/ 576709 h 820230"/>
                  <a:gd name="connsiteX3918" fmla="*/ 1517554 w 2708532"/>
                  <a:gd name="connsiteY3918" fmla="*/ 577856 h 820230"/>
                  <a:gd name="connsiteX3919" fmla="*/ 1513146 w 2708532"/>
                  <a:gd name="connsiteY3919" fmla="*/ 574946 h 820230"/>
                  <a:gd name="connsiteX3920" fmla="*/ 1509090 w 2708532"/>
                  <a:gd name="connsiteY3920" fmla="*/ 574329 h 820230"/>
                  <a:gd name="connsiteX3921" fmla="*/ 1505563 w 2708532"/>
                  <a:gd name="connsiteY3921" fmla="*/ 572565 h 820230"/>
                  <a:gd name="connsiteX3922" fmla="*/ 1502918 w 2708532"/>
                  <a:gd name="connsiteY3922" fmla="*/ 570802 h 820230"/>
                  <a:gd name="connsiteX3923" fmla="*/ 1513146 w 2708532"/>
                  <a:gd name="connsiteY3923" fmla="*/ 567893 h 820230"/>
                  <a:gd name="connsiteX3924" fmla="*/ 1516055 w 2708532"/>
                  <a:gd name="connsiteY3924" fmla="*/ 567011 h 820230"/>
                  <a:gd name="connsiteX3925" fmla="*/ 1519847 w 2708532"/>
                  <a:gd name="connsiteY3925" fmla="*/ 567628 h 820230"/>
                  <a:gd name="connsiteX3926" fmla="*/ 1523638 w 2708532"/>
                  <a:gd name="connsiteY3926" fmla="*/ 566129 h 820230"/>
                  <a:gd name="connsiteX3927" fmla="*/ 1525401 w 2708532"/>
                  <a:gd name="connsiteY3927" fmla="*/ 562338 h 820230"/>
                  <a:gd name="connsiteX3928" fmla="*/ 1528046 w 2708532"/>
                  <a:gd name="connsiteY3928" fmla="*/ 559428 h 820230"/>
                  <a:gd name="connsiteX3929" fmla="*/ 1534218 w 2708532"/>
                  <a:gd name="connsiteY3929" fmla="*/ 556254 h 820230"/>
                  <a:gd name="connsiteX3930" fmla="*/ 1533601 w 2708532"/>
                  <a:gd name="connsiteY3930" fmla="*/ 549818 h 820230"/>
                  <a:gd name="connsiteX3931" fmla="*/ 1536246 w 2708532"/>
                  <a:gd name="connsiteY3931" fmla="*/ 547526 h 820230"/>
                  <a:gd name="connsiteX3932" fmla="*/ 1536863 w 2708532"/>
                  <a:gd name="connsiteY3932" fmla="*/ 542588 h 820230"/>
                  <a:gd name="connsiteX3933" fmla="*/ 1541007 w 2708532"/>
                  <a:gd name="connsiteY3933" fmla="*/ 535270 h 820230"/>
                  <a:gd name="connsiteX3934" fmla="*/ 1543916 w 2708532"/>
                  <a:gd name="connsiteY3934" fmla="*/ 532625 h 820230"/>
                  <a:gd name="connsiteX3935" fmla="*/ 1545680 w 2708532"/>
                  <a:gd name="connsiteY3935" fmla="*/ 531744 h 820230"/>
                  <a:gd name="connsiteX3936" fmla="*/ 1549471 w 2708532"/>
                  <a:gd name="connsiteY3936" fmla="*/ 529098 h 820230"/>
                  <a:gd name="connsiteX3937" fmla="*/ 1552733 w 2708532"/>
                  <a:gd name="connsiteY3937" fmla="*/ 523015 h 820230"/>
                  <a:gd name="connsiteX3938" fmla="*/ 1548678 w 2708532"/>
                  <a:gd name="connsiteY3938" fmla="*/ 516931 h 820230"/>
                  <a:gd name="connsiteX3939" fmla="*/ 1546914 w 2708532"/>
                  <a:gd name="connsiteY3939" fmla="*/ 516314 h 820230"/>
                  <a:gd name="connsiteX3940" fmla="*/ 1544534 w 2708532"/>
                  <a:gd name="connsiteY3940" fmla="*/ 511641 h 820230"/>
                  <a:gd name="connsiteX3941" fmla="*/ 1543916 w 2708532"/>
                  <a:gd name="connsiteY3941" fmla="*/ 504323 h 820230"/>
                  <a:gd name="connsiteX3942" fmla="*/ 1543916 w 2708532"/>
                  <a:gd name="connsiteY3942" fmla="*/ 502295 h 820230"/>
                  <a:gd name="connsiteX3943" fmla="*/ 1545945 w 2708532"/>
                  <a:gd name="connsiteY3943" fmla="*/ 499915 h 820230"/>
                  <a:gd name="connsiteX3944" fmla="*/ 1547972 w 2708532"/>
                  <a:gd name="connsiteY3944" fmla="*/ 495859 h 820230"/>
                  <a:gd name="connsiteX3945" fmla="*/ 1547091 w 2708532"/>
                  <a:gd name="connsiteY3945" fmla="*/ 491186 h 820230"/>
                  <a:gd name="connsiteX3946" fmla="*/ 1543300 w 2708532"/>
                  <a:gd name="connsiteY3946" fmla="*/ 487659 h 820230"/>
                  <a:gd name="connsiteX3947" fmla="*/ 1542418 w 2708532"/>
                  <a:gd name="connsiteY3947" fmla="*/ 480958 h 820230"/>
                  <a:gd name="connsiteX3948" fmla="*/ 1545945 w 2708532"/>
                  <a:gd name="connsiteY3948" fmla="*/ 477167 h 820230"/>
                  <a:gd name="connsiteX3949" fmla="*/ 1550617 w 2708532"/>
                  <a:gd name="connsiteY3949" fmla="*/ 477432 h 820230"/>
                  <a:gd name="connsiteX3950" fmla="*/ 1555819 w 2708532"/>
                  <a:gd name="connsiteY3950" fmla="*/ 484750 h 820230"/>
                  <a:gd name="connsiteX3951" fmla="*/ 1558464 w 2708532"/>
                  <a:gd name="connsiteY3951" fmla="*/ 487924 h 820230"/>
                  <a:gd name="connsiteX3952" fmla="*/ 1561374 w 2708532"/>
                  <a:gd name="connsiteY3952" fmla="*/ 490216 h 820230"/>
                  <a:gd name="connsiteX3953" fmla="*/ 1559346 w 2708532"/>
                  <a:gd name="connsiteY3953" fmla="*/ 495771 h 820230"/>
                  <a:gd name="connsiteX3954" fmla="*/ 1561638 w 2708532"/>
                  <a:gd name="connsiteY3954" fmla="*/ 497270 h 820230"/>
                  <a:gd name="connsiteX3955" fmla="*/ 1563667 w 2708532"/>
                  <a:gd name="connsiteY3955" fmla="*/ 501325 h 820230"/>
                  <a:gd name="connsiteX3956" fmla="*/ 1563931 w 2708532"/>
                  <a:gd name="connsiteY3956" fmla="*/ 505381 h 820230"/>
                  <a:gd name="connsiteX3957" fmla="*/ 1569221 w 2708532"/>
                  <a:gd name="connsiteY3957" fmla="*/ 504235 h 820230"/>
                  <a:gd name="connsiteX3958" fmla="*/ 1574775 w 2708532"/>
                  <a:gd name="connsiteY3958" fmla="*/ 508643 h 820230"/>
                  <a:gd name="connsiteX3959" fmla="*/ 1576275 w 2708532"/>
                  <a:gd name="connsiteY3959" fmla="*/ 515609 h 820230"/>
                  <a:gd name="connsiteX3960" fmla="*/ 1576892 w 2708532"/>
                  <a:gd name="connsiteY3960" fmla="*/ 520282 h 820230"/>
                  <a:gd name="connsiteX3961" fmla="*/ 1572748 w 2708532"/>
                  <a:gd name="connsiteY3961" fmla="*/ 517019 h 820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</a:cxnLst>
                <a:rect l="l" t="t" r="r" b="b"/>
                <a:pathLst>
                  <a:path w="2708532" h="820230">
                    <a:moveTo>
                      <a:pt x="2699804" y="274645"/>
                    </a:moveTo>
                    <a:lnTo>
                      <a:pt x="2699275" y="272352"/>
                    </a:lnTo>
                    <a:lnTo>
                      <a:pt x="2696894" y="271206"/>
                    </a:lnTo>
                    <a:lnTo>
                      <a:pt x="2695748" y="269443"/>
                    </a:lnTo>
                    <a:lnTo>
                      <a:pt x="2693985" y="269443"/>
                    </a:lnTo>
                    <a:lnTo>
                      <a:pt x="2691957" y="267679"/>
                    </a:lnTo>
                    <a:lnTo>
                      <a:pt x="2691693" y="263623"/>
                    </a:lnTo>
                    <a:lnTo>
                      <a:pt x="2689665" y="263006"/>
                    </a:lnTo>
                    <a:lnTo>
                      <a:pt x="2687901" y="261860"/>
                    </a:lnTo>
                    <a:lnTo>
                      <a:pt x="2686138" y="260978"/>
                    </a:lnTo>
                    <a:lnTo>
                      <a:pt x="2681818" y="258333"/>
                    </a:lnTo>
                    <a:lnTo>
                      <a:pt x="2682082" y="254807"/>
                    </a:lnTo>
                    <a:lnTo>
                      <a:pt x="2684375" y="253308"/>
                    </a:lnTo>
                    <a:lnTo>
                      <a:pt x="2687549" y="256217"/>
                    </a:lnTo>
                    <a:lnTo>
                      <a:pt x="2690458" y="256746"/>
                    </a:lnTo>
                    <a:lnTo>
                      <a:pt x="2694250" y="257011"/>
                    </a:lnTo>
                    <a:lnTo>
                      <a:pt x="2694779" y="254366"/>
                    </a:lnTo>
                    <a:lnTo>
                      <a:pt x="2697688" y="253484"/>
                    </a:lnTo>
                    <a:lnTo>
                      <a:pt x="2696806" y="250310"/>
                    </a:lnTo>
                    <a:lnTo>
                      <a:pt x="2693632" y="249164"/>
                    </a:lnTo>
                    <a:lnTo>
                      <a:pt x="2693368" y="245637"/>
                    </a:lnTo>
                    <a:lnTo>
                      <a:pt x="2694250" y="240347"/>
                    </a:lnTo>
                    <a:lnTo>
                      <a:pt x="2693103" y="238936"/>
                    </a:lnTo>
                    <a:lnTo>
                      <a:pt x="2688695" y="238672"/>
                    </a:lnTo>
                    <a:lnTo>
                      <a:pt x="2684022" y="237261"/>
                    </a:lnTo>
                    <a:lnTo>
                      <a:pt x="2681113" y="237261"/>
                    </a:lnTo>
                    <a:lnTo>
                      <a:pt x="2679966" y="235762"/>
                    </a:lnTo>
                    <a:lnTo>
                      <a:pt x="2679084" y="236908"/>
                    </a:lnTo>
                    <a:lnTo>
                      <a:pt x="2675293" y="237790"/>
                    </a:lnTo>
                    <a:lnTo>
                      <a:pt x="2672384" y="235762"/>
                    </a:lnTo>
                    <a:lnTo>
                      <a:pt x="2672119" y="235145"/>
                    </a:lnTo>
                    <a:lnTo>
                      <a:pt x="2669209" y="234881"/>
                    </a:lnTo>
                    <a:lnTo>
                      <a:pt x="2664889" y="235145"/>
                    </a:lnTo>
                    <a:lnTo>
                      <a:pt x="2660217" y="233999"/>
                    </a:lnTo>
                    <a:lnTo>
                      <a:pt x="2660217" y="232236"/>
                    </a:lnTo>
                    <a:lnTo>
                      <a:pt x="2656161" y="231971"/>
                    </a:lnTo>
                    <a:lnTo>
                      <a:pt x="2656161" y="229943"/>
                    </a:lnTo>
                    <a:lnTo>
                      <a:pt x="2655544" y="228797"/>
                    </a:lnTo>
                    <a:lnTo>
                      <a:pt x="2650871" y="229414"/>
                    </a:lnTo>
                    <a:lnTo>
                      <a:pt x="2648490" y="227386"/>
                    </a:lnTo>
                    <a:lnTo>
                      <a:pt x="2648490" y="225887"/>
                    </a:lnTo>
                    <a:lnTo>
                      <a:pt x="2644082" y="226416"/>
                    </a:lnTo>
                    <a:lnTo>
                      <a:pt x="2640820" y="226416"/>
                    </a:lnTo>
                    <a:lnTo>
                      <a:pt x="2639321" y="224389"/>
                    </a:lnTo>
                    <a:lnTo>
                      <a:pt x="2639056" y="223507"/>
                    </a:lnTo>
                    <a:lnTo>
                      <a:pt x="2633501" y="222978"/>
                    </a:lnTo>
                    <a:lnTo>
                      <a:pt x="2631474" y="222625"/>
                    </a:lnTo>
                    <a:lnTo>
                      <a:pt x="2630592" y="220862"/>
                    </a:lnTo>
                    <a:lnTo>
                      <a:pt x="2627418" y="220245"/>
                    </a:lnTo>
                    <a:lnTo>
                      <a:pt x="2621334" y="219980"/>
                    </a:lnTo>
                    <a:lnTo>
                      <a:pt x="2620805" y="220862"/>
                    </a:lnTo>
                    <a:lnTo>
                      <a:pt x="2618777" y="219098"/>
                    </a:lnTo>
                    <a:lnTo>
                      <a:pt x="2614722" y="219716"/>
                    </a:lnTo>
                    <a:lnTo>
                      <a:pt x="2612341" y="222361"/>
                    </a:lnTo>
                    <a:lnTo>
                      <a:pt x="2608814" y="221215"/>
                    </a:lnTo>
                    <a:lnTo>
                      <a:pt x="2606434" y="219716"/>
                    </a:lnTo>
                    <a:lnTo>
                      <a:pt x="2603524" y="219716"/>
                    </a:lnTo>
                    <a:lnTo>
                      <a:pt x="2600615" y="220597"/>
                    </a:lnTo>
                    <a:lnTo>
                      <a:pt x="2600350" y="217952"/>
                    </a:lnTo>
                    <a:lnTo>
                      <a:pt x="2598322" y="217952"/>
                    </a:lnTo>
                    <a:lnTo>
                      <a:pt x="2596030" y="218569"/>
                    </a:lnTo>
                    <a:lnTo>
                      <a:pt x="2591974" y="217423"/>
                    </a:lnTo>
                    <a:lnTo>
                      <a:pt x="2589594" y="216542"/>
                    </a:lnTo>
                    <a:lnTo>
                      <a:pt x="2587301" y="215660"/>
                    </a:lnTo>
                    <a:lnTo>
                      <a:pt x="2585803" y="215131"/>
                    </a:lnTo>
                    <a:lnTo>
                      <a:pt x="2582893" y="215660"/>
                    </a:lnTo>
                    <a:lnTo>
                      <a:pt x="2585274" y="217423"/>
                    </a:lnTo>
                    <a:lnTo>
                      <a:pt x="2587037" y="218305"/>
                    </a:lnTo>
                    <a:lnTo>
                      <a:pt x="2588183" y="220068"/>
                    </a:lnTo>
                    <a:lnTo>
                      <a:pt x="2587919" y="219187"/>
                    </a:lnTo>
                    <a:lnTo>
                      <a:pt x="2589065" y="221832"/>
                    </a:lnTo>
                    <a:lnTo>
                      <a:pt x="2591092" y="222096"/>
                    </a:lnTo>
                    <a:lnTo>
                      <a:pt x="2593385" y="221479"/>
                    </a:lnTo>
                    <a:lnTo>
                      <a:pt x="2594002" y="221215"/>
                    </a:lnTo>
                    <a:lnTo>
                      <a:pt x="2594266" y="222096"/>
                    </a:lnTo>
                    <a:lnTo>
                      <a:pt x="2596912" y="222978"/>
                    </a:lnTo>
                    <a:lnTo>
                      <a:pt x="2598675" y="225623"/>
                    </a:lnTo>
                    <a:lnTo>
                      <a:pt x="2599292" y="226769"/>
                    </a:lnTo>
                    <a:lnTo>
                      <a:pt x="2600791" y="227386"/>
                    </a:lnTo>
                    <a:lnTo>
                      <a:pt x="2603083" y="227915"/>
                    </a:lnTo>
                    <a:lnTo>
                      <a:pt x="2603700" y="230208"/>
                    </a:lnTo>
                    <a:lnTo>
                      <a:pt x="2602554" y="231706"/>
                    </a:lnTo>
                    <a:lnTo>
                      <a:pt x="2600527" y="231442"/>
                    </a:lnTo>
                    <a:lnTo>
                      <a:pt x="2599380" y="231178"/>
                    </a:lnTo>
                    <a:lnTo>
                      <a:pt x="2597617" y="229414"/>
                    </a:lnTo>
                    <a:lnTo>
                      <a:pt x="2595854" y="230913"/>
                    </a:lnTo>
                    <a:lnTo>
                      <a:pt x="2594090" y="229150"/>
                    </a:lnTo>
                    <a:lnTo>
                      <a:pt x="2593473" y="226769"/>
                    </a:lnTo>
                    <a:lnTo>
                      <a:pt x="2590299" y="226152"/>
                    </a:lnTo>
                    <a:lnTo>
                      <a:pt x="2586243" y="225887"/>
                    </a:lnTo>
                    <a:lnTo>
                      <a:pt x="2585626" y="221479"/>
                    </a:lnTo>
                    <a:lnTo>
                      <a:pt x="2583598" y="221479"/>
                    </a:lnTo>
                    <a:lnTo>
                      <a:pt x="2580953" y="220862"/>
                    </a:lnTo>
                    <a:lnTo>
                      <a:pt x="2578661" y="219363"/>
                    </a:lnTo>
                    <a:lnTo>
                      <a:pt x="2576368" y="217864"/>
                    </a:lnTo>
                    <a:lnTo>
                      <a:pt x="2575222" y="214690"/>
                    </a:lnTo>
                    <a:lnTo>
                      <a:pt x="2572930" y="214426"/>
                    </a:lnTo>
                    <a:lnTo>
                      <a:pt x="2567375" y="213808"/>
                    </a:lnTo>
                    <a:lnTo>
                      <a:pt x="2561820" y="212045"/>
                    </a:lnTo>
                    <a:lnTo>
                      <a:pt x="2546303" y="204198"/>
                    </a:lnTo>
                    <a:lnTo>
                      <a:pt x="2538720" y="204198"/>
                    </a:lnTo>
                    <a:lnTo>
                      <a:pt x="2536957" y="202435"/>
                    </a:lnTo>
                    <a:lnTo>
                      <a:pt x="2535194" y="203581"/>
                    </a:lnTo>
                    <a:lnTo>
                      <a:pt x="2527611" y="202964"/>
                    </a:lnTo>
                    <a:lnTo>
                      <a:pt x="2525583" y="201465"/>
                    </a:lnTo>
                    <a:lnTo>
                      <a:pt x="2524702" y="201465"/>
                    </a:lnTo>
                    <a:lnTo>
                      <a:pt x="2523556" y="197938"/>
                    </a:lnTo>
                    <a:lnTo>
                      <a:pt x="2522938" y="199437"/>
                    </a:lnTo>
                    <a:lnTo>
                      <a:pt x="2520029" y="200054"/>
                    </a:lnTo>
                    <a:lnTo>
                      <a:pt x="2519147" y="198555"/>
                    </a:lnTo>
                    <a:lnTo>
                      <a:pt x="2518530" y="196527"/>
                    </a:lnTo>
                    <a:lnTo>
                      <a:pt x="2516149" y="196792"/>
                    </a:lnTo>
                    <a:lnTo>
                      <a:pt x="2512094" y="194499"/>
                    </a:lnTo>
                    <a:lnTo>
                      <a:pt x="2507773" y="195381"/>
                    </a:lnTo>
                    <a:lnTo>
                      <a:pt x="2502483" y="195117"/>
                    </a:lnTo>
                    <a:lnTo>
                      <a:pt x="2500720" y="193353"/>
                    </a:lnTo>
                    <a:lnTo>
                      <a:pt x="2498692" y="191854"/>
                    </a:lnTo>
                    <a:lnTo>
                      <a:pt x="2494901" y="190708"/>
                    </a:lnTo>
                    <a:lnTo>
                      <a:pt x="2492609" y="189827"/>
                    </a:lnTo>
                    <a:lnTo>
                      <a:pt x="2492873" y="189209"/>
                    </a:lnTo>
                    <a:lnTo>
                      <a:pt x="2488464" y="188504"/>
                    </a:lnTo>
                    <a:lnTo>
                      <a:pt x="2486437" y="189209"/>
                    </a:lnTo>
                    <a:lnTo>
                      <a:pt x="2481764" y="189209"/>
                    </a:lnTo>
                    <a:lnTo>
                      <a:pt x="2472682" y="188063"/>
                    </a:lnTo>
                    <a:lnTo>
                      <a:pt x="2472418" y="186300"/>
                    </a:lnTo>
                    <a:lnTo>
                      <a:pt x="2472418" y="185683"/>
                    </a:lnTo>
                    <a:lnTo>
                      <a:pt x="2465717" y="185065"/>
                    </a:lnTo>
                    <a:lnTo>
                      <a:pt x="2464571" y="183567"/>
                    </a:lnTo>
                    <a:lnTo>
                      <a:pt x="2458752" y="181803"/>
                    </a:lnTo>
                    <a:lnTo>
                      <a:pt x="2454960" y="179158"/>
                    </a:lnTo>
                    <a:lnTo>
                      <a:pt x="2451434" y="180304"/>
                    </a:lnTo>
                    <a:lnTo>
                      <a:pt x="2443587" y="177395"/>
                    </a:lnTo>
                    <a:lnTo>
                      <a:pt x="2442970" y="178894"/>
                    </a:lnTo>
                    <a:lnTo>
                      <a:pt x="2438032" y="176866"/>
                    </a:lnTo>
                    <a:lnTo>
                      <a:pt x="2432213" y="174838"/>
                    </a:lnTo>
                    <a:lnTo>
                      <a:pt x="2424366" y="175720"/>
                    </a:lnTo>
                    <a:lnTo>
                      <a:pt x="2423484" y="174221"/>
                    </a:lnTo>
                    <a:lnTo>
                      <a:pt x="2424366" y="172810"/>
                    </a:lnTo>
                    <a:lnTo>
                      <a:pt x="2420310" y="173956"/>
                    </a:lnTo>
                    <a:lnTo>
                      <a:pt x="2420310" y="172193"/>
                    </a:lnTo>
                    <a:lnTo>
                      <a:pt x="2416519" y="171047"/>
                    </a:lnTo>
                    <a:lnTo>
                      <a:pt x="2410965" y="170430"/>
                    </a:lnTo>
                    <a:lnTo>
                      <a:pt x="2401090" y="168137"/>
                    </a:lnTo>
                    <a:lnTo>
                      <a:pt x="2397299" y="167255"/>
                    </a:lnTo>
                    <a:lnTo>
                      <a:pt x="2393507" y="166109"/>
                    </a:lnTo>
                    <a:lnTo>
                      <a:pt x="2384779" y="166109"/>
                    </a:lnTo>
                    <a:lnTo>
                      <a:pt x="2376050" y="164699"/>
                    </a:lnTo>
                    <a:lnTo>
                      <a:pt x="2369085" y="167873"/>
                    </a:lnTo>
                    <a:lnTo>
                      <a:pt x="2368467" y="165580"/>
                    </a:lnTo>
                    <a:lnTo>
                      <a:pt x="2375433" y="163200"/>
                    </a:lnTo>
                    <a:lnTo>
                      <a:pt x="2366969" y="160907"/>
                    </a:lnTo>
                    <a:lnTo>
                      <a:pt x="2363177" y="162671"/>
                    </a:lnTo>
                    <a:lnTo>
                      <a:pt x="2360797" y="162671"/>
                    </a:lnTo>
                    <a:lnTo>
                      <a:pt x="2357358" y="160026"/>
                    </a:lnTo>
                    <a:lnTo>
                      <a:pt x="2355330" y="160290"/>
                    </a:lnTo>
                    <a:lnTo>
                      <a:pt x="2351274" y="159673"/>
                    </a:lnTo>
                    <a:lnTo>
                      <a:pt x="2347748" y="159408"/>
                    </a:lnTo>
                    <a:lnTo>
                      <a:pt x="2343075" y="159673"/>
                    </a:lnTo>
                    <a:lnTo>
                      <a:pt x="2340782" y="158174"/>
                    </a:lnTo>
                    <a:lnTo>
                      <a:pt x="2340518" y="156411"/>
                    </a:lnTo>
                    <a:lnTo>
                      <a:pt x="2337873" y="157028"/>
                    </a:lnTo>
                    <a:lnTo>
                      <a:pt x="2335845" y="156411"/>
                    </a:lnTo>
                    <a:lnTo>
                      <a:pt x="2334346" y="159056"/>
                    </a:lnTo>
                    <a:lnTo>
                      <a:pt x="2332318" y="161701"/>
                    </a:lnTo>
                    <a:lnTo>
                      <a:pt x="2332318" y="168137"/>
                    </a:lnTo>
                    <a:lnTo>
                      <a:pt x="2328527" y="164346"/>
                    </a:lnTo>
                    <a:lnTo>
                      <a:pt x="2329674" y="170782"/>
                    </a:lnTo>
                    <a:lnTo>
                      <a:pt x="2327910" y="171399"/>
                    </a:lnTo>
                    <a:lnTo>
                      <a:pt x="2326411" y="172898"/>
                    </a:lnTo>
                    <a:lnTo>
                      <a:pt x="2327028" y="175543"/>
                    </a:lnTo>
                    <a:lnTo>
                      <a:pt x="2327028" y="178188"/>
                    </a:lnTo>
                    <a:lnTo>
                      <a:pt x="2331172" y="181980"/>
                    </a:lnTo>
                    <a:lnTo>
                      <a:pt x="2327910" y="182244"/>
                    </a:lnTo>
                    <a:lnTo>
                      <a:pt x="2323854" y="179070"/>
                    </a:lnTo>
                    <a:lnTo>
                      <a:pt x="2323854" y="175896"/>
                    </a:lnTo>
                    <a:lnTo>
                      <a:pt x="2323854" y="164787"/>
                    </a:lnTo>
                    <a:lnTo>
                      <a:pt x="2322444" y="160995"/>
                    </a:lnTo>
                    <a:lnTo>
                      <a:pt x="2318035" y="158086"/>
                    </a:lnTo>
                    <a:lnTo>
                      <a:pt x="2315390" y="159585"/>
                    </a:lnTo>
                    <a:lnTo>
                      <a:pt x="2313098" y="160202"/>
                    </a:lnTo>
                    <a:lnTo>
                      <a:pt x="2309571" y="159320"/>
                    </a:lnTo>
                    <a:lnTo>
                      <a:pt x="2306044" y="157028"/>
                    </a:lnTo>
                    <a:lnTo>
                      <a:pt x="2300225" y="157292"/>
                    </a:lnTo>
                    <a:lnTo>
                      <a:pt x="2297580" y="155794"/>
                    </a:lnTo>
                    <a:lnTo>
                      <a:pt x="2295552" y="157557"/>
                    </a:lnTo>
                    <a:lnTo>
                      <a:pt x="2289469" y="157557"/>
                    </a:lnTo>
                    <a:lnTo>
                      <a:pt x="2291143" y="157821"/>
                    </a:lnTo>
                    <a:lnTo>
                      <a:pt x="2288852" y="157557"/>
                    </a:lnTo>
                    <a:lnTo>
                      <a:pt x="2289556" y="157557"/>
                    </a:lnTo>
                    <a:lnTo>
                      <a:pt x="2284531" y="156675"/>
                    </a:lnTo>
                    <a:lnTo>
                      <a:pt x="2280475" y="156675"/>
                    </a:lnTo>
                    <a:lnTo>
                      <a:pt x="2278712" y="153766"/>
                    </a:lnTo>
                    <a:lnTo>
                      <a:pt x="2275802" y="156146"/>
                    </a:lnTo>
                    <a:lnTo>
                      <a:pt x="2273157" y="156146"/>
                    </a:lnTo>
                    <a:lnTo>
                      <a:pt x="2271394" y="152090"/>
                    </a:lnTo>
                    <a:lnTo>
                      <a:pt x="2267250" y="154118"/>
                    </a:lnTo>
                    <a:lnTo>
                      <a:pt x="2261167" y="154383"/>
                    </a:lnTo>
                    <a:lnTo>
                      <a:pt x="2256493" y="153501"/>
                    </a:lnTo>
                    <a:lnTo>
                      <a:pt x="2253848" y="153501"/>
                    </a:lnTo>
                    <a:lnTo>
                      <a:pt x="2249793" y="153237"/>
                    </a:lnTo>
                    <a:lnTo>
                      <a:pt x="2249793" y="155882"/>
                    </a:lnTo>
                    <a:lnTo>
                      <a:pt x="2252173" y="157645"/>
                    </a:lnTo>
                    <a:lnTo>
                      <a:pt x="2251909" y="158791"/>
                    </a:lnTo>
                    <a:lnTo>
                      <a:pt x="2253319" y="160290"/>
                    </a:lnTo>
                    <a:lnTo>
                      <a:pt x="2256846" y="159144"/>
                    </a:lnTo>
                    <a:lnTo>
                      <a:pt x="2257111" y="161524"/>
                    </a:lnTo>
                    <a:lnTo>
                      <a:pt x="2257728" y="162671"/>
                    </a:lnTo>
                    <a:lnTo>
                      <a:pt x="2258345" y="166726"/>
                    </a:lnTo>
                    <a:lnTo>
                      <a:pt x="2261519" y="165580"/>
                    </a:lnTo>
                    <a:lnTo>
                      <a:pt x="2265310" y="166197"/>
                    </a:lnTo>
                    <a:lnTo>
                      <a:pt x="2269101" y="168225"/>
                    </a:lnTo>
                    <a:lnTo>
                      <a:pt x="2271747" y="168842"/>
                    </a:lnTo>
                    <a:lnTo>
                      <a:pt x="2274656" y="170606"/>
                    </a:lnTo>
                    <a:lnTo>
                      <a:pt x="2280211" y="172898"/>
                    </a:lnTo>
                    <a:lnTo>
                      <a:pt x="2284884" y="177307"/>
                    </a:lnTo>
                    <a:lnTo>
                      <a:pt x="2286383" y="180216"/>
                    </a:lnTo>
                    <a:lnTo>
                      <a:pt x="2281445" y="179687"/>
                    </a:lnTo>
                    <a:lnTo>
                      <a:pt x="2274127" y="180216"/>
                    </a:lnTo>
                    <a:lnTo>
                      <a:pt x="2268308" y="178188"/>
                    </a:lnTo>
                    <a:lnTo>
                      <a:pt x="2265398" y="176160"/>
                    </a:lnTo>
                    <a:lnTo>
                      <a:pt x="2264517" y="175014"/>
                    </a:lnTo>
                    <a:lnTo>
                      <a:pt x="2255788" y="176513"/>
                    </a:lnTo>
                    <a:lnTo>
                      <a:pt x="2254906" y="173868"/>
                    </a:lnTo>
                    <a:lnTo>
                      <a:pt x="2254377" y="172369"/>
                    </a:lnTo>
                    <a:lnTo>
                      <a:pt x="2246530" y="171752"/>
                    </a:lnTo>
                    <a:lnTo>
                      <a:pt x="2235157" y="173251"/>
                    </a:lnTo>
                    <a:lnTo>
                      <a:pt x="2234628" y="171223"/>
                    </a:lnTo>
                    <a:lnTo>
                      <a:pt x="2234628" y="169724"/>
                    </a:lnTo>
                    <a:lnTo>
                      <a:pt x="2233482" y="168578"/>
                    </a:lnTo>
                    <a:lnTo>
                      <a:pt x="2227927" y="169989"/>
                    </a:lnTo>
                    <a:lnTo>
                      <a:pt x="2225899" y="169724"/>
                    </a:lnTo>
                    <a:lnTo>
                      <a:pt x="2220433" y="169724"/>
                    </a:lnTo>
                    <a:lnTo>
                      <a:pt x="2216024" y="169460"/>
                    </a:lnTo>
                    <a:lnTo>
                      <a:pt x="2214261" y="169195"/>
                    </a:lnTo>
                    <a:lnTo>
                      <a:pt x="2209852" y="168313"/>
                    </a:lnTo>
                    <a:lnTo>
                      <a:pt x="2206326" y="171576"/>
                    </a:lnTo>
                    <a:lnTo>
                      <a:pt x="2210734" y="166903"/>
                    </a:lnTo>
                    <a:lnTo>
                      <a:pt x="2211351" y="166021"/>
                    </a:lnTo>
                    <a:lnTo>
                      <a:pt x="2207296" y="166550"/>
                    </a:lnTo>
                    <a:lnTo>
                      <a:pt x="2205003" y="166550"/>
                    </a:lnTo>
                    <a:lnTo>
                      <a:pt x="2204121" y="164787"/>
                    </a:lnTo>
                    <a:lnTo>
                      <a:pt x="2203240" y="165404"/>
                    </a:lnTo>
                    <a:lnTo>
                      <a:pt x="2202358" y="166550"/>
                    </a:lnTo>
                    <a:lnTo>
                      <a:pt x="2201829" y="166286"/>
                    </a:lnTo>
                    <a:lnTo>
                      <a:pt x="2200066" y="168313"/>
                    </a:lnTo>
                    <a:lnTo>
                      <a:pt x="2200330" y="172105"/>
                    </a:lnTo>
                    <a:lnTo>
                      <a:pt x="2202358" y="174750"/>
                    </a:lnTo>
                    <a:lnTo>
                      <a:pt x="2199449" y="174485"/>
                    </a:lnTo>
                    <a:lnTo>
                      <a:pt x="2197156" y="175102"/>
                    </a:lnTo>
                    <a:lnTo>
                      <a:pt x="2194864" y="173604"/>
                    </a:lnTo>
                    <a:lnTo>
                      <a:pt x="2194864" y="170077"/>
                    </a:lnTo>
                    <a:lnTo>
                      <a:pt x="2193100" y="170077"/>
                    </a:lnTo>
                    <a:lnTo>
                      <a:pt x="2193629" y="166550"/>
                    </a:lnTo>
                    <a:lnTo>
                      <a:pt x="2194864" y="164522"/>
                    </a:lnTo>
                    <a:lnTo>
                      <a:pt x="2194600" y="163376"/>
                    </a:lnTo>
                    <a:lnTo>
                      <a:pt x="2195128" y="162759"/>
                    </a:lnTo>
                    <a:lnTo>
                      <a:pt x="2193365" y="163640"/>
                    </a:lnTo>
                    <a:lnTo>
                      <a:pt x="2189838" y="163640"/>
                    </a:lnTo>
                    <a:lnTo>
                      <a:pt x="2188075" y="162759"/>
                    </a:lnTo>
                    <a:lnTo>
                      <a:pt x="2186312" y="165404"/>
                    </a:lnTo>
                    <a:lnTo>
                      <a:pt x="2184548" y="163376"/>
                    </a:lnTo>
                    <a:lnTo>
                      <a:pt x="2181374" y="163112"/>
                    </a:lnTo>
                    <a:lnTo>
                      <a:pt x="2178465" y="163376"/>
                    </a:lnTo>
                    <a:lnTo>
                      <a:pt x="2177583" y="164522"/>
                    </a:lnTo>
                    <a:lnTo>
                      <a:pt x="2175026" y="164787"/>
                    </a:lnTo>
                    <a:lnTo>
                      <a:pt x="2170970" y="165668"/>
                    </a:lnTo>
                    <a:lnTo>
                      <a:pt x="2169736" y="164522"/>
                    </a:lnTo>
                    <a:lnTo>
                      <a:pt x="2166826" y="163023"/>
                    </a:lnTo>
                    <a:lnTo>
                      <a:pt x="2164181" y="161524"/>
                    </a:lnTo>
                    <a:lnTo>
                      <a:pt x="2164181" y="160643"/>
                    </a:lnTo>
                    <a:lnTo>
                      <a:pt x="2162418" y="163023"/>
                    </a:lnTo>
                    <a:lnTo>
                      <a:pt x="2158891" y="159849"/>
                    </a:lnTo>
                    <a:lnTo>
                      <a:pt x="2155629" y="161348"/>
                    </a:lnTo>
                    <a:lnTo>
                      <a:pt x="2155364" y="160731"/>
                    </a:lnTo>
                    <a:lnTo>
                      <a:pt x="2152720" y="158968"/>
                    </a:lnTo>
                    <a:lnTo>
                      <a:pt x="2149810" y="159232"/>
                    </a:lnTo>
                    <a:lnTo>
                      <a:pt x="2145137" y="159497"/>
                    </a:lnTo>
                    <a:lnTo>
                      <a:pt x="2144255" y="160114"/>
                    </a:lnTo>
                    <a:lnTo>
                      <a:pt x="2141610" y="160995"/>
                    </a:lnTo>
                    <a:lnTo>
                      <a:pt x="2137819" y="160466"/>
                    </a:lnTo>
                    <a:lnTo>
                      <a:pt x="2134292" y="161877"/>
                    </a:lnTo>
                    <a:lnTo>
                      <a:pt x="2132529" y="160466"/>
                    </a:lnTo>
                    <a:lnTo>
                      <a:pt x="2129619" y="160995"/>
                    </a:lnTo>
                    <a:lnTo>
                      <a:pt x="2127591" y="160466"/>
                    </a:lnTo>
                    <a:lnTo>
                      <a:pt x="2123183" y="160995"/>
                    </a:lnTo>
                    <a:lnTo>
                      <a:pt x="2119656" y="161613"/>
                    </a:lnTo>
                    <a:lnTo>
                      <a:pt x="2115865" y="162759"/>
                    </a:lnTo>
                    <a:lnTo>
                      <a:pt x="2108547" y="160731"/>
                    </a:lnTo>
                    <a:lnTo>
                      <a:pt x="2102111" y="161877"/>
                    </a:lnTo>
                    <a:lnTo>
                      <a:pt x="2098319" y="161348"/>
                    </a:lnTo>
                    <a:lnTo>
                      <a:pt x="2096909" y="161613"/>
                    </a:lnTo>
                    <a:lnTo>
                      <a:pt x="2094264" y="158968"/>
                    </a:lnTo>
                    <a:lnTo>
                      <a:pt x="2092765" y="158703"/>
                    </a:lnTo>
                    <a:lnTo>
                      <a:pt x="2090120" y="158086"/>
                    </a:lnTo>
                    <a:lnTo>
                      <a:pt x="2087739" y="160995"/>
                    </a:lnTo>
                    <a:lnTo>
                      <a:pt x="2088356" y="167696"/>
                    </a:lnTo>
                    <a:lnTo>
                      <a:pt x="2086064" y="169460"/>
                    </a:lnTo>
                    <a:lnTo>
                      <a:pt x="2083772" y="168842"/>
                    </a:lnTo>
                    <a:lnTo>
                      <a:pt x="2086064" y="167079"/>
                    </a:lnTo>
                    <a:lnTo>
                      <a:pt x="2085535" y="163905"/>
                    </a:lnTo>
                    <a:lnTo>
                      <a:pt x="2085799" y="158615"/>
                    </a:lnTo>
                    <a:lnTo>
                      <a:pt x="2084653" y="158615"/>
                    </a:lnTo>
                    <a:lnTo>
                      <a:pt x="2083772" y="156852"/>
                    </a:lnTo>
                    <a:lnTo>
                      <a:pt x="2082008" y="155353"/>
                    </a:lnTo>
                    <a:lnTo>
                      <a:pt x="2081127" y="153060"/>
                    </a:lnTo>
                    <a:lnTo>
                      <a:pt x="2081127" y="151561"/>
                    </a:lnTo>
                    <a:lnTo>
                      <a:pt x="2078217" y="149798"/>
                    </a:lnTo>
                    <a:lnTo>
                      <a:pt x="2074690" y="146889"/>
                    </a:lnTo>
                    <a:lnTo>
                      <a:pt x="2074690" y="143979"/>
                    </a:lnTo>
                    <a:lnTo>
                      <a:pt x="2073191" y="139923"/>
                    </a:lnTo>
                    <a:lnTo>
                      <a:pt x="2065609" y="139306"/>
                    </a:lnTo>
                    <a:lnTo>
                      <a:pt x="2059172" y="143362"/>
                    </a:lnTo>
                    <a:lnTo>
                      <a:pt x="2052736" y="140717"/>
                    </a:lnTo>
                    <a:lnTo>
                      <a:pt x="2052384" y="138072"/>
                    </a:lnTo>
                    <a:lnTo>
                      <a:pt x="2050091" y="137807"/>
                    </a:lnTo>
                    <a:lnTo>
                      <a:pt x="2046300" y="136661"/>
                    </a:lnTo>
                    <a:lnTo>
                      <a:pt x="2048328" y="135515"/>
                    </a:lnTo>
                    <a:lnTo>
                      <a:pt x="2049827" y="134369"/>
                    </a:lnTo>
                    <a:lnTo>
                      <a:pt x="2046035" y="134104"/>
                    </a:lnTo>
                    <a:lnTo>
                      <a:pt x="2041627" y="134369"/>
                    </a:lnTo>
                    <a:lnTo>
                      <a:pt x="2038453" y="133751"/>
                    </a:lnTo>
                    <a:lnTo>
                      <a:pt x="2036161" y="132605"/>
                    </a:lnTo>
                    <a:lnTo>
                      <a:pt x="2032898" y="140188"/>
                    </a:lnTo>
                    <a:lnTo>
                      <a:pt x="2029372" y="142480"/>
                    </a:lnTo>
                    <a:lnTo>
                      <a:pt x="2024964" y="145125"/>
                    </a:lnTo>
                    <a:lnTo>
                      <a:pt x="2022583" y="142216"/>
                    </a:lnTo>
                    <a:lnTo>
                      <a:pt x="2022847" y="139306"/>
                    </a:lnTo>
                    <a:lnTo>
                      <a:pt x="2022583" y="137278"/>
                    </a:lnTo>
                    <a:lnTo>
                      <a:pt x="2022583" y="135779"/>
                    </a:lnTo>
                    <a:lnTo>
                      <a:pt x="2023200" y="133751"/>
                    </a:lnTo>
                    <a:lnTo>
                      <a:pt x="2023817" y="131371"/>
                    </a:lnTo>
                    <a:lnTo>
                      <a:pt x="2021525" y="131106"/>
                    </a:lnTo>
                    <a:lnTo>
                      <a:pt x="2018880" y="132253"/>
                    </a:lnTo>
                    <a:lnTo>
                      <a:pt x="2016234" y="131635"/>
                    </a:lnTo>
                    <a:lnTo>
                      <a:pt x="2013678" y="131635"/>
                    </a:lnTo>
                    <a:lnTo>
                      <a:pt x="2011033" y="131371"/>
                    </a:lnTo>
                    <a:lnTo>
                      <a:pt x="2009887" y="131106"/>
                    </a:lnTo>
                    <a:lnTo>
                      <a:pt x="2008740" y="131106"/>
                    </a:lnTo>
                    <a:lnTo>
                      <a:pt x="2009358" y="129607"/>
                    </a:lnTo>
                    <a:lnTo>
                      <a:pt x="2004684" y="131371"/>
                    </a:lnTo>
                    <a:lnTo>
                      <a:pt x="2002921" y="130225"/>
                    </a:lnTo>
                    <a:lnTo>
                      <a:pt x="2001158" y="129343"/>
                    </a:lnTo>
                    <a:lnTo>
                      <a:pt x="2000541" y="130489"/>
                    </a:lnTo>
                    <a:lnTo>
                      <a:pt x="1998160" y="131371"/>
                    </a:lnTo>
                    <a:lnTo>
                      <a:pt x="1995779" y="131371"/>
                    </a:lnTo>
                    <a:lnTo>
                      <a:pt x="1994016" y="130754"/>
                    </a:lnTo>
                    <a:lnTo>
                      <a:pt x="1994634" y="129607"/>
                    </a:lnTo>
                    <a:lnTo>
                      <a:pt x="1990842" y="131106"/>
                    </a:lnTo>
                    <a:lnTo>
                      <a:pt x="1988197" y="130225"/>
                    </a:lnTo>
                    <a:lnTo>
                      <a:pt x="1987933" y="128726"/>
                    </a:lnTo>
                    <a:lnTo>
                      <a:pt x="1985023" y="128726"/>
                    </a:lnTo>
                    <a:lnTo>
                      <a:pt x="1983260" y="130225"/>
                    </a:lnTo>
                    <a:lnTo>
                      <a:pt x="1981144" y="130489"/>
                    </a:lnTo>
                    <a:lnTo>
                      <a:pt x="1980262" y="128197"/>
                    </a:lnTo>
                    <a:lnTo>
                      <a:pt x="1979380" y="130225"/>
                    </a:lnTo>
                    <a:lnTo>
                      <a:pt x="1976471" y="129607"/>
                    </a:lnTo>
                    <a:lnTo>
                      <a:pt x="1976735" y="131635"/>
                    </a:lnTo>
                    <a:lnTo>
                      <a:pt x="1973825" y="132253"/>
                    </a:lnTo>
                    <a:lnTo>
                      <a:pt x="1970916" y="131635"/>
                    </a:lnTo>
                    <a:lnTo>
                      <a:pt x="1969505" y="131635"/>
                    </a:lnTo>
                    <a:lnTo>
                      <a:pt x="1967478" y="130754"/>
                    </a:lnTo>
                    <a:lnTo>
                      <a:pt x="1964833" y="131900"/>
                    </a:lnTo>
                    <a:lnTo>
                      <a:pt x="1964215" y="131900"/>
                    </a:lnTo>
                    <a:lnTo>
                      <a:pt x="1961306" y="132164"/>
                    </a:lnTo>
                    <a:lnTo>
                      <a:pt x="1958661" y="133311"/>
                    </a:lnTo>
                    <a:lnTo>
                      <a:pt x="1958308" y="134457"/>
                    </a:lnTo>
                    <a:lnTo>
                      <a:pt x="1956016" y="134457"/>
                    </a:lnTo>
                    <a:lnTo>
                      <a:pt x="1954252" y="134457"/>
                    </a:lnTo>
                    <a:lnTo>
                      <a:pt x="1951607" y="134457"/>
                    </a:lnTo>
                    <a:lnTo>
                      <a:pt x="1947199" y="131812"/>
                    </a:lnTo>
                    <a:lnTo>
                      <a:pt x="1948080" y="134457"/>
                    </a:lnTo>
                    <a:lnTo>
                      <a:pt x="1944289" y="135074"/>
                    </a:lnTo>
                    <a:lnTo>
                      <a:pt x="1940498" y="134192"/>
                    </a:lnTo>
                    <a:lnTo>
                      <a:pt x="1937059" y="135603"/>
                    </a:lnTo>
                    <a:lnTo>
                      <a:pt x="1934679" y="133222"/>
                    </a:lnTo>
                    <a:lnTo>
                      <a:pt x="1934150" y="131459"/>
                    </a:lnTo>
                    <a:lnTo>
                      <a:pt x="1930623" y="131195"/>
                    </a:lnTo>
                    <a:lnTo>
                      <a:pt x="1929212" y="129167"/>
                    </a:lnTo>
                    <a:lnTo>
                      <a:pt x="1924540" y="129167"/>
                    </a:lnTo>
                    <a:lnTo>
                      <a:pt x="1922159" y="127756"/>
                    </a:lnTo>
                    <a:lnTo>
                      <a:pt x="1922159" y="126257"/>
                    </a:lnTo>
                    <a:lnTo>
                      <a:pt x="1918632" y="125375"/>
                    </a:lnTo>
                    <a:lnTo>
                      <a:pt x="1913959" y="126257"/>
                    </a:lnTo>
                    <a:lnTo>
                      <a:pt x="1913078" y="122730"/>
                    </a:lnTo>
                    <a:lnTo>
                      <a:pt x="1910785" y="124494"/>
                    </a:lnTo>
                    <a:lnTo>
                      <a:pt x="1908757" y="125640"/>
                    </a:lnTo>
                    <a:lnTo>
                      <a:pt x="1906465" y="125640"/>
                    </a:lnTo>
                    <a:lnTo>
                      <a:pt x="1904702" y="122995"/>
                    </a:lnTo>
                    <a:lnTo>
                      <a:pt x="1902938" y="124494"/>
                    </a:lnTo>
                    <a:lnTo>
                      <a:pt x="1900911" y="125111"/>
                    </a:lnTo>
                    <a:lnTo>
                      <a:pt x="1898001" y="126257"/>
                    </a:lnTo>
                    <a:lnTo>
                      <a:pt x="1897648" y="121055"/>
                    </a:lnTo>
                    <a:lnTo>
                      <a:pt x="1895003" y="121937"/>
                    </a:lnTo>
                    <a:lnTo>
                      <a:pt x="1894121" y="123348"/>
                    </a:lnTo>
                    <a:lnTo>
                      <a:pt x="1887421" y="122466"/>
                    </a:lnTo>
                    <a:lnTo>
                      <a:pt x="1886803" y="119556"/>
                    </a:lnTo>
                    <a:lnTo>
                      <a:pt x="1883277" y="121055"/>
                    </a:lnTo>
                    <a:lnTo>
                      <a:pt x="1881249" y="119292"/>
                    </a:lnTo>
                    <a:lnTo>
                      <a:pt x="1880631" y="117528"/>
                    </a:lnTo>
                    <a:lnTo>
                      <a:pt x="1873666" y="116382"/>
                    </a:lnTo>
                    <a:lnTo>
                      <a:pt x="1873402" y="114090"/>
                    </a:lnTo>
                    <a:lnTo>
                      <a:pt x="1873137" y="112679"/>
                    </a:lnTo>
                    <a:lnTo>
                      <a:pt x="1871374" y="111180"/>
                    </a:lnTo>
                    <a:lnTo>
                      <a:pt x="1867583" y="110299"/>
                    </a:lnTo>
                    <a:lnTo>
                      <a:pt x="1866701" y="109152"/>
                    </a:lnTo>
                    <a:lnTo>
                      <a:pt x="1862028" y="108271"/>
                    </a:lnTo>
                    <a:lnTo>
                      <a:pt x="1859383" y="109417"/>
                    </a:lnTo>
                    <a:lnTo>
                      <a:pt x="1856473" y="107389"/>
                    </a:lnTo>
                    <a:lnTo>
                      <a:pt x="1855856" y="105626"/>
                    </a:lnTo>
                    <a:lnTo>
                      <a:pt x="1853828" y="105890"/>
                    </a:lnTo>
                    <a:lnTo>
                      <a:pt x="1852330" y="108535"/>
                    </a:lnTo>
                    <a:lnTo>
                      <a:pt x="1851184" y="105626"/>
                    </a:lnTo>
                    <a:lnTo>
                      <a:pt x="1847833" y="105185"/>
                    </a:lnTo>
                    <a:lnTo>
                      <a:pt x="1844923" y="104920"/>
                    </a:lnTo>
                    <a:lnTo>
                      <a:pt x="1842631" y="104920"/>
                    </a:lnTo>
                    <a:lnTo>
                      <a:pt x="1838222" y="104303"/>
                    </a:lnTo>
                    <a:lnTo>
                      <a:pt x="1837606" y="104303"/>
                    </a:lnTo>
                    <a:lnTo>
                      <a:pt x="1835313" y="104920"/>
                    </a:lnTo>
                    <a:lnTo>
                      <a:pt x="1829494" y="104920"/>
                    </a:lnTo>
                    <a:lnTo>
                      <a:pt x="1827995" y="104656"/>
                    </a:lnTo>
                    <a:lnTo>
                      <a:pt x="1825967" y="104039"/>
                    </a:lnTo>
                    <a:lnTo>
                      <a:pt x="1820677" y="103422"/>
                    </a:lnTo>
                    <a:lnTo>
                      <a:pt x="1817503" y="105538"/>
                    </a:lnTo>
                    <a:lnTo>
                      <a:pt x="1816886" y="109946"/>
                    </a:lnTo>
                    <a:lnTo>
                      <a:pt x="1816622" y="111974"/>
                    </a:lnTo>
                    <a:lnTo>
                      <a:pt x="1816622" y="113120"/>
                    </a:lnTo>
                    <a:lnTo>
                      <a:pt x="1816622" y="115148"/>
                    </a:lnTo>
                    <a:lnTo>
                      <a:pt x="1814858" y="116294"/>
                    </a:lnTo>
                    <a:lnTo>
                      <a:pt x="1812477" y="117440"/>
                    </a:lnTo>
                    <a:lnTo>
                      <a:pt x="1804630" y="117440"/>
                    </a:lnTo>
                    <a:lnTo>
                      <a:pt x="1801985" y="116294"/>
                    </a:lnTo>
                    <a:lnTo>
                      <a:pt x="1804013" y="114531"/>
                    </a:lnTo>
                    <a:lnTo>
                      <a:pt x="1807276" y="113385"/>
                    </a:lnTo>
                    <a:lnTo>
                      <a:pt x="1808951" y="111974"/>
                    </a:lnTo>
                    <a:lnTo>
                      <a:pt x="1811596" y="114002"/>
                    </a:lnTo>
                    <a:lnTo>
                      <a:pt x="1813624" y="111974"/>
                    </a:lnTo>
                    <a:lnTo>
                      <a:pt x="1813359" y="108183"/>
                    </a:lnTo>
                    <a:lnTo>
                      <a:pt x="1813624" y="106155"/>
                    </a:lnTo>
                    <a:lnTo>
                      <a:pt x="1811596" y="103862"/>
                    </a:lnTo>
                    <a:lnTo>
                      <a:pt x="1809568" y="102716"/>
                    </a:lnTo>
                    <a:lnTo>
                      <a:pt x="1807276" y="101835"/>
                    </a:lnTo>
                    <a:lnTo>
                      <a:pt x="1801104" y="102452"/>
                    </a:lnTo>
                    <a:lnTo>
                      <a:pt x="1799340" y="101570"/>
                    </a:lnTo>
                    <a:lnTo>
                      <a:pt x="1798194" y="99807"/>
                    </a:lnTo>
                    <a:lnTo>
                      <a:pt x="1795902" y="101305"/>
                    </a:lnTo>
                    <a:lnTo>
                      <a:pt x="1794491" y="102804"/>
                    </a:lnTo>
                    <a:lnTo>
                      <a:pt x="1790964" y="101041"/>
                    </a:lnTo>
                    <a:lnTo>
                      <a:pt x="1786909" y="102187"/>
                    </a:lnTo>
                    <a:lnTo>
                      <a:pt x="1786644" y="100688"/>
                    </a:lnTo>
                    <a:lnTo>
                      <a:pt x="1781090" y="100424"/>
                    </a:lnTo>
                    <a:lnTo>
                      <a:pt x="1778445" y="98925"/>
                    </a:lnTo>
                    <a:lnTo>
                      <a:pt x="1775800" y="99542"/>
                    </a:lnTo>
                    <a:lnTo>
                      <a:pt x="1770862" y="99542"/>
                    </a:lnTo>
                    <a:lnTo>
                      <a:pt x="1768482" y="99807"/>
                    </a:lnTo>
                    <a:lnTo>
                      <a:pt x="1768217" y="96897"/>
                    </a:lnTo>
                    <a:lnTo>
                      <a:pt x="1762663" y="97514"/>
                    </a:lnTo>
                    <a:lnTo>
                      <a:pt x="1759753" y="97250"/>
                    </a:lnTo>
                    <a:lnTo>
                      <a:pt x="1756491" y="96633"/>
                    </a:lnTo>
                    <a:lnTo>
                      <a:pt x="1752435" y="99542"/>
                    </a:lnTo>
                    <a:lnTo>
                      <a:pt x="1749525" y="96015"/>
                    </a:lnTo>
                    <a:lnTo>
                      <a:pt x="1743441" y="96897"/>
                    </a:lnTo>
                    <a:lnTo>
                      <a:pt x="1741943" y="96633"/>
                    </a:lnTo>
                    <a:lnTo>
                      <a:pt x="1739915" y="98660"/>
                    </a:lnTo>
                    <a:lnTo>
                      <a:pt x="1735859" y="96015"/>
                    </a:lnTo>
                    <a:lnTo>
                      <a:pt x="1734978" y="98043"/>
                    </a:lnTo>
                    <a:lnTo>
                      <a:pt x="1733214" y="99542"/>
                    </a:lnTo>
                    <a:lnTo>
                      <a:pt x="1728806" y="97779"/>
                    </a:lnTo>
                    <a:lnTo>
                      <a:pt x="1725632" y="97514"/>
                    </a:lnTo>
                    <a:lnTo>
                      <a:pt x="1724133" y="96897"/>
                    </a:lnTo>
                    <a:lnTo>
                      <a:pt x="1721841" y="96015"/>
                    </a:lnTo>
                    <a:lnTo>
                      <a:pt x="1720959" y="93988"/>
                    </a:lnTo>
                    <a:lnTo>
                      <a:pt x="1719460" y="94252"/>
                    </a:lnTo>
                    <a:lnTo>
                      <a:pt x="1715933" y="94517"/>
                    </a:lnTo>
                    <a:lnTo>
                      <a:pt x="1710378" y="93899"/>
                    </a:lnTo>
                    <a:lnTo>
                      <a:pt x="1708351" y="93635"/>
                    </a:lnTo>
                    <a:lnTo>
                      <a:pt x="1704824" y="95663"/>
                    </a:lnTo>
                    <a:lnTo>
                      <a:pt x="1704559" y="93899"/>
                    </a:lnTo>
                    <a:lnTo>
                      <a:pt x="1700151" y="93282"/>
                    </a:lnTo>
                    <a:lnTo>
                      <a:pt x="1702179" y="95310"/>
                    </a:lnTo>
                    <a:lnTo>
                      <a:pt x="1705441" y="97955"/>
                    </a:lnTo>
                    <a:lnTo>
                      <a:pt x="1707822" y="99101"/>
                    </a:lnTo>
                    <a:lnTo>
                      <a:pt x="1708968" y="100247"/>
                    </a:lnTo>
                    <a:lnTo>
                      <a:pt x="1708086" y="102011"/>
                    </a:lnTo>
                    <a:lnTo>
                      <a:pt x="1710114" y="106948"/>
                    </a:lnTo>
                    <a:lnTo>
                      <a:pt x="1706323" y="103422"/>
                    </a:lnTo>
                    <a:lnTo>
                      <a:pt x="1705706" y="102275"/>
                    </a:lnTo>
                    <a:lnTo>
                      <a:pt x="1704295" y="101394"/>
                    </a:lnTo>
                    <a:lnTo>
                      <a:pt x="1702267" y="101394"/>
                    </a:lnTo>
                    <a:lnTo>
                      <a:pt x="1703149" y="99101"/>
                    </a:lnTo>
                    <a:lnTo>
                      <a:pt x="1700857" y="99630"/>
                    </a:lnTo>
                    <a:lnTo>
                      <a:pt x="1699975" y="101129"/>
                    </a:lnTo>
                    <a:lnTo>
                      <a:pt x="1697594" y="101129"/>
                    </a:lnTo>
                    <a:lnTo>
                      <a:pt x="1697065" y="103774"/>
                    </a:lnTo>
                    <a:lnTo>
                      <a:pt x="1699710" y="104920"/>
                    </a:lnTo>
                    <a:lnTo>
                      <a:pt x="1699710" y="106684"/>
                    </a:lnTo>
                    <a:lnTo>
                      <a:pt x="1701474" y="107301"/>
                    </a:lnTo>
                    <a:lnTo>
                      <a:pt x="1701474" y="109064"/>
                    </a:lnTo>
                    <a:lnTo>
                      <a:pt x="1699181" y="109946"/>
                    </a:lnTo>
                    <a:lnTo>
                      <a:pt x="1696536" y="110210"/>
                    </a:lnTo>
                    <a:lnTo>
                      <a:pt x="1702355" y="110828"/>
                    </a:lnTo>
                    <a:lnTo>
                      <a:pt x="1704119" y="110828"/>
                    </a:lnTo>
                    <a:lnTo>
                      <a:pt x="1705529" y="108535"/>
                    </a:lnTo>
                    <a:lnTo>
                      <a:pt x="1707028" y="111180"/>
                    </a:lnTo>
                    <a:lnTo>
                      <a:pt x="1708791" y="112679"/>
                    </a:lnTo>
                    <a:lnTo>
                      <a:pt x="1708262" y="113825"/>
                    </a:lnTo>
                    <a:lnTo>
                      <a:pt x="1712583" y="114707"/>
                    </a:lnTo>
                    <a:lnTo>
                      <a:pt x="1713465" y="114443"/>
                    </a:lnTo>
                    <a:lnTo>
                      <a:pt x="1715228" y="116470"/>
                    </a:lnTo>
                    <a:lnTo>
                      <a:pt x="1714611" y="118763"/>
                    </a:lnTo>
                    <a:lnTo>
                      <a:pt x="1716638" y="119909"/>
                    </a:lnTo>
                    <a:lnTo>
                      <a:pt x="1718666" y="121672"/>
                    </a:lnTo>
                    <a:lnTo>
                      <a:pt x="1715228" y="121672"/>
                    </a:lnTo>
                    <a:lnTo>
                      <a:pt x="1712054" y="121055"/>
                    </a:lnTo>
                    <a:lnTo>
                      <a:pt x="1709673" y="120173"/>
                    </a:lnTo>
                    <a:lnTo>
                      <a:pt x="1706146" y="120173"/>
                    </a:lnTo>
                    <a:lnTo>
                      <a:pt x="1703501" y="117881"/>
                    </a:lnTo>
                    <a:lnTo>
                      <a:pt x="1701738" y="116735"/>
                    </a:lnTo>
                    <a:lnTo>
                      <a:pt x="1700857" y="118498"/>
                    </a:lnTo>
                    <a:lnTo>
                      <a:pt x="1699710" y="122025"/>
                    </a:lnTo>
                    <a:lnTo>
                      <a:pt x="1699446" y="126962"/>
                    </a:lnTo>
                    <a:lnTo>
                      <a:pt x="1697947" y="129343"/>
                    </a:lnTo>
                    <a:lnTo>
                      <a:pt x="1694420" y="126962"/>
                    </a:lnTo>
                    <a:lnTo>
                      <a:pt x="1686573" y="127580"/>
                    </a:lnTo>
                    <a:lnTo>
                      <a:pt x="1686220" y="127315"/>
                    </a:lnTo>
                    <a:lnTo>
                      <a:pt x="1681548" y="125287"/>
                    </a:lnTo>
                    <a:lnTo>
                      <a:pt x="1680048" y="126169"/>
                    </a:lnTo>
                    <a:lnTo>
                      <a:pt x="1679784" y="125023"/>
                    </a:lnTo>
                    <a:lnTo>
                      <a:pt x="1678021" y="125640"/>
                    </a:lnTo>
                    <a:lnTo>
                      <a:pt x="1668940" y="125640"/>
                    </a:lnTo>
                    <a:lnTo>
                      <a:pt x="1665148" y="124141"/>
                    </a:lnTo>
                    <a:lnTo>
                      <a:pt x="1661886" y="122642"/>
                    </a:lnTo>
                    <a:lnTo>
                      <a:pt x="1660739" y="119997"/>
                    </a:lnTo>
                    <a:lnTo>
                      <a:pt x="1657566" y="120262"/>
                    </a:lnTo>
                    <a:lnTo>
                      <a:pt x="1655185" y="121143"/>
                    </a:lnTo>
                    <a:lnTo>
                      <a:pt x="1656684" y="123524"/>
                    </a:lnTo>
                    <a:lnTo>
                      <a:pt x="1660211" y="126433"/>
                    </a:lnTo>
                    <a:lnTo>
                      <a:pt x="1663385" y="128461"/>
                    </a:lnTo>
                    <a:lnTo>
                      <a:pt x="1666030" y="128726"/>
                    </a:lnTo>
                    <a:lnTo>
                      <a:pt x="1667440" y="131106"/>
                    </a:lnTo>
                    <a:lnTo>
                      <a:pt x="1662503" y="129960"/>
                    </a:lnTo>
                    <a:lnTo>
                      <a:pt x="1659594" y="129079"/>
                    </a:lnTo>
                    <a:lnTo>
                      <a:pt x="1657830" y="128550"/>
                    </a:lnTo>
                    <a:lnTo>
                      <a:pt x="1654039" y="127668"/>
                    </a:lnTo>
                    <a:lnTo>
                      <a:pt x="1652011" y="127051"/>
                    </a:lnTo>
                    <a:lnTo>
                      <a:pt x="1650865" y="122642"/>
                    </a:lnTo>
                    <a:lnTo>
                      <a:pt x="1649718" y="123259"/>
                    </a:lnTo>
                    <a:lnTo>
                      <a:pt x="1646192" y="125287"/>
                    </a:lnTo>
                    <a:lnTo>
                      <a:pt x="1642401" y="125552"/>
                    </a:lnTo>
                    <a:lnTo>
                      <a:pt x="1640373" y="124053"/>
                    </a:lnTo>
                    <a:lnTo>
                      <a:pt x="1638610" y="125199"/>
                    </a:lnTo>
                    <a:lnTo>
                      <a:pt x="1632790" y="124582"/>
                    </a:lnTo>
                    <a:lnTo>
                      <a:pt x="1630145" y="125199"/>
                    </a:lnTo>
                    <a:lnTo>
                      <a:pt x="1629881" y="122819"/>
                    </a:lnTo>
                    <a:lnTo>
                      <a:pt x="1628118" y="121320"/>
                    </a:lnTo>
                    <a:lnTo>
                      <a:pt x="1625825" y="122819"/>
                    </a:lnTo>
                    <a:lnTo>
                      <a:pt x="1621152" y="122290"/>
                    </a:lnTo>
                    <a:lnTo>
                      <a:pt x="1620271" y="119909"/>
                    </a:lnTo>
                    <a:lnTo>
                      <a:pt x="1617978" y="120526"/>
                    </a:lnTo>
                    <a:lnTo>
                      <a:pt x="1614804" y="119027"/>
                    </a:lnTo>
                    <a:lnTo>
                      <a:pt x="1609867" y="116647"/>
                    </a:lnTo>
                    <a:lnTo>
                      <a:pt x="1604929" y="115148"/>
                    </a:lnTo>
                    <a:lnTo>
                      <a:pt x="1602901" y="114266"/>
                    </a:lnTo>
                    <a:lnTo>
                      <a:pt x="1600256" y="114266"/>
                    </a:lnTo>
                    <a:lnTo>
                      <a:pt x="1600256" y="118057"/>
                    </a:lnTo>
                    <a:lnTo>
                      <a:pt x="1602020" y="118057"/>
                    </a:lnTo>
                    <a:lnTo>
                      <a:pt x="1604665" y="119556"/>
                    </a:lnTo>
                    <a:lnTo>
                      <a:pt x="1604400" y="121849"/>
                    </a:lnTo>
                    <a:lnTo>
                      <a:pt x="1605547" y="125375"/>
                    </a:lnTo>
                    <a:lnTo>
                      <a:pt x="1609955" y="128550"/>
                    </a:lnTo>
                    <a:lnTo>
                      <a:pt x="1611101" y="130313"/>
                    </a:lnTo>
                    <a:lnTo>
                      <a:pt x="1610219" y="132958"/>
                    </a:lnTo>
                    <a:lnTo>
                      <a:pt x="1609955" y="133840"/>
                    </a:lnTo>
                    <a:lnTo>
                      <a:pt x="1610572" y="135868"/>
                    </a:lnTo>
                    <a:lnTo>
                      <a:pt x="1610925" y="139130"/>
                    </a:lnTo>
                    <a:lnTo>
                      <a:pt x="1607398" y="139747"/>
                    </a:lnTo>
                    <a:lnTo>
                      <a:pt x="1607134" y="137455"/>
                    </a:lnTo>
                    <a:lnTo>
                      <a:pt x="1603871" y="136837"/>
                    </a:lnTo>
                    <a:lnTo>
                      <a:pt x="1602989" y="135956"/>
                    </a:lnTo>
                    <a:lnTo>
                      <a:pt x="1596288" y="135074"/>
                    </a:lnTo>
                    <a:lnTo>
                      <a:pt x="1592497" y="135956"/>
                    </a:lnTo>
                    <a:lnTo>
                      <a:pt x="1585796" y="135074"/>
                    </a:lnTo>
                    <a:lnTo>
                      <a:pt x="1585796" y="133928"/>
                    </a:lnTo>
                    <a:lnTo>
                      <a:pt x="1586061" y="131018"/>
                    </a:lnTo>
                    <a:lnTo>
                      <a:pt x="1584298" y="132782"/>
                    </a:lnTo>
                    <a:lnTo>
                      <a:pt x="1580506" y="130754"/>
                    </a:lnTo>
                    <a:lnTo>
                      <a:pt x="1578743" y="128461"/>
                    </a:lnTo>
                    <a:lnTo>
                      <a:pt x="1575217" y="129960"/>
                    </a:lnTo>
                    <a:lnTo>
                      <a:pt x="1573806" y="127580"/>
                    </a:lnTo>
                    <a:lnTo>
                      <a:pt x="1571513" y="125816"/>
                    </a:lnTo>
                    <a:lnTo>
                      <a:pt x="1567722" y="127580"/>
                    </a:lnTo>
                    <a:lnTo>
                      <a:pt x="1565694" y="125287"/>
                    </a:lnTo>
                    <a:lnTo>
                      <a:pt x="1565429" y="123788"/>
                    </a:lnTo>
                    <a:lnTo>
                      <a:pt x="1561638" y="123171"/>
                    </a:lnTo>
                    <a:lnTo>
                      <a:pt x="1557583" y="122290"/>
                    </a:lnTo>
                    <a:lnTo>
                      <a:pt x="1557583" y="119644"/>
                    </a:lnTo>
                    <a:lnTo>
                      <a:pt x="1553792" y="116118"/>
                    </a:lnTo>
                    <a:lnTo>
                      <a:pt x="1549471" y="113208"/>
                    </a:lnTo>
                    <a:lnTo>
                      <a:pt x="1547443" y="112062"/>
                    </a:lnTo>
                    <a:lnTo>
                      <a:pt x="1546826" y="111798"/>
                    </a:lnTo>
                    <a:lnTo>
                      <a:pt x="1545680" y="109152"/>
                    </a:lnTo>
                    <a:lnTo>
                      <a:pt x="1547179" y="108271"/>
                    </a:lnTo>
                    <a:lnTo>
                      <a:pt x="1547179" y="106507"/>
                    </a:lnTo>
                    <a:lnTo>
                      <a:pt x="1543387" y="105626"/>
                    </a:lnTo>
                    <a:lnTo>
                      <a:pt x="1537216" y="103862"/>
                    </a:lnTo>
                    <a:lnTo>
                      <a:pt x="1531132" y="101482"/>
                    </a:lnTo>
                    <a:lnTo>
                      <a:pt x="1530250" y="99718"/>
                    </a:lnTo>
                    <a:lnTo>
                      <a:pt x="1530250" y="98837"/>
                    </a:lnTo>
                    <a:lnTo>
                      <a:pt x="1527341" y="95927"/>
                    </a:lnTo>
                    <a:lnTo>
                      <a:pt x="1526988" y="94164"/>
                    </a:lnTo>
                    <a:lnTo>
                      <a:pt x="1523814" y="92400"/>
                    </a:lnTo>
                    <a:lnTo>
                      <a:pt x="1522933" y="89491"/>
                    </a:lnTo>
                    <a:lnTo>
                      <a:pt x="1520287" y="90637"/>
                    </a:lnTo>
                    <a:lnTo>
                      <a:pt x="1518260" y="91254"/>
                    </a:lnTo>
                    <a:lnTo>
                      <a:pt x="1516496" y="89755"/>
                    </a:lnTo>
                    <a:lnTo>
                      <a:pt x="1514468" y="88609"/>
                    </a:lnTo>
                    <a:lnTo>
                      <a:pt x="1510677" y="87992"/>
                    </a:lnTo>
                    <a:lnTo>
                      <a:pt x="1510677" y="85964"/>
                    </a:lnTo>
                    <a:lnTo>
                      <a:pt x="1508297" y="86229"/>
                    </a:lnTo>
                    <a:lnTo>
                      <a:pt x="1502478" y="85964"/>
                    </a:lnTo>
                    <a:lnTo>
                      <a:pt x="1496041" y="85700"/>
                    </a:lnTo>
                    <a:lnTo>
                      <a:pt x="1494542" y="83936"/>
                    </a:lnTo>
                    <a:lnTo>
                      <a:pt x="1495160" y="82790"/>
                    </a:lnTo>
                    <a:lnTo>
                      <a:pt x="1491986" y="83055"/>
                    </a:lnTo>
                    <a:lnTo>
                      <a:pt x="1490839" y="80762"/>
                    </a:lnTo>
                    <a:lnTo>
                      <a:pt x="1489693" y="80145"/>
                    </a:lnTo>
                    <a:lnTo>
                      <a:pt x="1487665" y="80762"/>
                    </a:lnTo>
                    <a:lnTo>
                      <a:pt x="1486519" y="80762"/>
                    </a:lnTo>
                    <a:lnTo>
                      <a:pt x="1482463" y="80145"/>
                    </a:lnTo>
                    <a:lnTo>
                      <a:pt x="1479818" y="81908"/>
                    </a:lnTo>
                    <a:lnTo>
                      <a:pt x="1477173" y="79881"/>
                    </a:lnTo>
                    <a:lnTo>
                      <a:pt x="1475410" y="80762"/>
                    </a:lnTo>
                    <a:lnTo>
                      <a:pt x="1474793" y="82173"/>
                    </a:lnTo>
                    <a:lnTo>
                      <a:pt x="1472148" y="81291"/>
                    </a:lnTo>
                    <a:lnTo>
                      <a:pt x="1471530" y="83055"/>
                    </a:lnTo>
                    <a:lnTo>
                      <a:pt x="1469238" y="85964"/>
                    </a:lnTo>
                    <a:lnTo>
                      <a:pt x="1467828" y="83672"/>
                    </a:lnTo>
                    <a:lnTo>
                      <a:pt x="1466328" y="82173"/>
                    </a:lnTo>
                    <a:lnTo>
                      <a:pt x="1467475" y="81556"/>
                    </a:lnTo>
                    <a:lnTo>
                      <a:pt x="1462273" y="81556"/>
                    </a:lnTo>
                    <a:lnTo>
                      <a:pt x="1462008" y="79528"/>
                    </a:lnTo>
                    <a:lnTo>
                      <a:pt x="1460245" y="80145"/>
                    </a:lnTo>
                    <a:lnTo>
                      <a:pt x="1459098" y="80762"/>
                    </a:lnTo>
                    <a:lnTo>
                      <a:pt x="1455925" y="79881"/>
                    </a:lnTo>
                    <a:lnTo>
                      <a:pt x="1453280" y="79881"/>
                    </a:lnTo>
                    <a:lnTo>
                      <a:pt x="1451252" y="79263"/>
                    </a:lnTo>
                    <a:lnTo>
                      <a:pt x="1448871" y="79881"/>
                    </a:lnTo>
                    <a:lnTo>
                      <a:pt x="1447725" y="79616"/>
                    </a:lnTo>
                    <a:lnTo>
                      <a:pt x="1443669" y="79616"/>
                    </a:lnTo>
                    <a:lnTo>
                      <a:pt x="1443052" y="78117"/>
                    </a:lnTo>
                    <a:lnTo>
                      <a:pt x="1441906" y="76971"/>
                    </a:lnTo>
                    <a:lnTo>
                      <a:pt x="1436969" y="77588"/>
                    </a:lnTo>
                    <a:lnTo>
                      <a:pt x="1435205" y="76706"/>
                    </a:lnTo>
                    <a:lnTo>
                      <a:pt x="1430797" y="75825"/>
                    </a:lnTo>
                    <a:lnTo>
                      <a:pt x="1430180" y="74943"/>
                    </a:lnTo>
                    <a:lnTo>
                      <a:pt x="1428681" y="73444"/>
                    </a:lnTo>
                    <a:lnTo>
                      <a:pt x="1426388" y="73709"/>
                    </a:lnTo>
                    <a:lnTo>
                      <a:pt x="1425771" y="72827"/>
                    </a:lnTo>
                    <a:lnTo>
                      <a:pt x="1423743" y="73973"/>
                    </a:lnTo>
                    <a:lnTo>
                      <a:pt x="1424008" y="74855"/>
                    </a:lnTo>
                    <a:lnTo>
                      <a:pt x="1422861" y="76001"/>
                    </a:lnTo>
                    <a:lnTo>
                      <a:pt x="1419952" y="77500"/>
                    </a:lnTo>
                    <a:lnTo>
                      <a:pt x="1418806" y="76883"/>
                    </a:lnTo>
                    <a:lnTo>
                      <a:pt x="1417043" y="76001"/>
                    </a:lnTo>
                    <a:lnTo>
                      <a:pt x="1415543" y="77765"/>
                    </a:lnTo>
                    <a:lnTo>
                      <a:pt x="1416425" y="79528"/>
                    </a:lnTo>
                    <a:lnTo>
                      <a:pt x="1416689" y="81556"/>
                    </a:lnTo>
                    <a:lnTo>
                      <a:pt x="1418718" y="84730"/>
                    </a:lnTo>
                    <a:lnTo>
                      <a:pt x="1420216" y="86229"/>
                    </a:lnTo>
                    <a:lnTo>
                      <a:pt x="1423743" y="87110"/>
                    </a:lnTo>
                    <a:lnTo>
                      <a:pt x="1427535" y="87639"/>
                    </a:lnTo>
                    <a:lnTo>
                      <a:pt x="1428681" y="89667"/>
                    </a:lnTo>
                    <a:lnTo>
                      <a:pt x="1428945" y="91431"/>
                    </a:lnTo>
                    <a:lnTo>
                      <a:pt x="1428945" y="93723"/>
                    </a:lnTo>
                    <a:lnTo>
                      <a:pt x="1426653" y="91960"/>
                    </a:lnTo>
                    <a:lnTo>
                      <a:pt x="1425506" y="91078"/>
                    </a:lnTo>
                    <a:lnTo>
                      <a:pt x="1422861" y="91078"/>
                    </a:lnTo>
                    <a:lnTo>
                      <a:pt x="1419070" y="91695"/>
                    </a:lnTo>
                    <a:lnTo>
                      <a:pt x="1418541" y="92841"/>
                    </a:lnTo>
                    <a:lnTo>
                      <a:pt x="1416160" y="91431"/>
                    </a:lnTo>
                    <a:lnTo>
                      <a:pt x="1412105" y="91166"/>
                    </a:lnTo>
                    <a:lnTo>
                      <a:pt x="1409460" y="90549"/>
                    </a:lnTo>
                    <a:lnTo>
                      <a:pt x="1408843" y="87639"/>
                    </a:lnTo>
                    <a:lnTo>
                      <a:pt x="1406815" y="92312"/>
                    </a:lnTo>
                    <a:lnTo>
                      <a:pt x="1404522" y="93194"/>
                    </a:lnTo>
                    <a:lnTo>
                      <a:pt x="1400731" y="92048"/>
                    </a:lnTo>
                    <a:lnTo>
                      <a:pt x="1396940" y="93811"/>
                    </a:lnTo>
                    <a:lnTo>
                      <a:pt x="1395441" y="90902"/>
                    </a:lnTo>
                    <a:lnTo>
                      <a:pt x="1389005" y="89755"/>
                    </a:lnTo>
                    <a:lnTo>
                      <a:pt x="1388123" y="91783"/>
                    </a:lnTo>
                    <a:lnTo>
                      <a:pt x="1386624" y="89755"/>
                    </a:lnTo>
                    <a:lnTo>
                      <a:pt x="1384244" y="90020"/>
                    </a:lnTo>
                    <a:lnTo>
                      <a:pt x="1382568" y="92048"/>
                    </a:lnTo>
                    <a:lnTo>
                      <a:pt x="1383979" y="90020"/>
                    </a:lnTo>
                    <a:lnTo>
                      <a:pt x="1384155" y="90020"/>
                    </a:lnTo>
                    <a:lnTo>
                      <a:pt x="1386272" y="87375"/>
                    </a:lnTo>
                    <a:lnTo>
                      <a:pt x="1380452" y="87992"/>
                    </a:lnTo>
                    <a:lnTo>
                      <a:pt x="1377190" y="90020"/>
                    </a:lnTo>
                    <a:lnTo>
                      <a:pt x="1373134" y="88874"/>
                    </a:lnTo>
                    <a:lnTo>
                      <a:pt x="1371988" y="90902"/>
                    </a:lnTo>
                    <a:lnTo>
                      <a:pt x="1370578" y="92665"/>
                    </a:lnTo>
                    <a:lnTo>
                      <a:pt x="1367668" y="93282"/>
                    </a:lnTo>
                    <a:lnTo>
                      <a:pt x="1366786" y="91783"/>
                    </a:lnTo>
                    <a:lnTo>
                      <a:pt x="1364759" y="90284"/>
                    </a:lnTo>
                    <a:lnTo>
                      <a:pt x="1360350" y="90902"/>
                    </a:lnTo>
                    <a:lnTo>
                      <a:pt x="1360086" y="88874"/>
                    </a:lnTo>
                    <a:lnTo>
                      <a:pt x="1359468" y="87728"/>
                    </a:lnTo>
                    <a:lnTo>
                      <a:pt x="1357441" y="88609"/>
                    </a:lnTo>
                    <a:lnTo>
                      <a:pt x="1354531" y="87992"/>
                    </a:lnTo>
                    <a:lnTo>
                      <a:pt x="1351357" y="87728"/>
                    </a:lnTo>
                    <a:lnTo>
                      <a:pt x="1352503" y="87463"/>
                    </a:lnTo>
                    <a:lnTo>
                      <a:pt x="1350740" y="85964"/>
                    </a:lnTo>
                    <a:lnTo>
                      <a:pt x="1351004" y="83672"/>
                    </a:lnTo>
                    <a:lnTo>
                      <a:pt x="1352150" y="82790"/>
                    </a:lnTo>
                    <a:lnTo>
                      <a:pt x="1354443" y="82173"/>
                    </a:lnTo>
                    <a:lnTo>
                      <a:pt x="1356206" y="82437"/>
                    </a:lnTo>
                    <a:lnTo>
                      <a:pt x="1356471" y="81556"/>
                    </a:lnTo>
                    <a:lnTo>
                      <a:pt x="1353561" y="80939"/>
                    </a:lnTo>
                    <a:lnTo>
                      <a:pt x="1350916" y="80321"/>
                    </a:lnTo>
                    <a:lnTo>
                      <a:pt x="1348888" y="79175"/>
                    </a:lnTo>
                    <a:lnTo>
                      <a:pt x="1345097" y="79792"/>
                    </a:lnTo>
                    <a:lnTo>
                      <a:pt x="1342804" y="79175"/>
                    </a:lnTo>
                    <a:lnTo>
                      <a:pt x="1341923" y="78558"/>
                    </a:lnTo>
                    <a:lnTo>
                      <a:pt x="1337514" y="79704"/>
                    </a:lnTo>
                    <a:lnTo>
                      <a:pt x="1338396" y="82349"/>
                    </a:lnTo>
                    <a:lnTo>
                      <a:pt x="1335751" y="81732"/>
                    </a:lnTo>
                    <a:lnTo>
                      <a:pt x="1332842" y="83231"/>
                    </a:lnTo>
                    <a:lnTo>
                      <a:pt x="1330814" y="83231"/>
                    </a:lnTo>
                    <a:lnTo>
                      <a:pt x="1329403" y="81732"/>
                    </a:lnTo>
                    <a:lnTo>
                      <a:pt x="1328257" y="80586"/>
                    </a:lnTo>
                    <a:lnTo>
                      <a:pt x="1331431" y="85259"/>
                    </a:lnTo>
                    <a:lnTo>
                      <a:pt x="1327022" y="84994"/>
                    </a:lnTo>
                    <a:lnTo>
                      <a:pt x="1322702" y="83584"/>
                    </a:lnTo>
                    <a:lnTo>
                      <a:pt x="1321204" y="83319"/>
                    </a:lnTo>
                    <a:lnTo>
                      <a:pt x="1319440" y="84818"/>
                    </a:lnTo>
                    <a:lnTo>
                      <a:pt x="1319440" y="83319"/>
                    </a:lnTo>
                    <a:lnTo>
                      <a:pt x="1317059" y="82702"/>
                    </a:lnTo>
                    <a:lnTo>
                      <a:pt x="1314767" y="84730"/>
                    </a:lnTo>
                    <a:lnTo>
                      <a:pt x="1313621" y="82349"/>
                    </a:lnTo>
                    <a:lnTo>
                      <a:pt x="1313356" y="81732"/>
                    </a:lnTo>
                    <a:lnTo>
                      <a:pt x="1310711" y="83495"/>
                    </a:lnTo>
                    <a:lnTo>
                      <a:pt x="1308948" y="81732"/>
                    </a:lnTo>
                    <a:lnTo>
                      <a:pt x="1306038" y="82878"/>
                    </a:lnTo>
                    <a:lnTo>
                      <a:pt x="1304275" y="83760"/>
                    </a:lnTo>
                    <a:lnTo>
                      <a:pt x="1308683" y="79704"/>
                    </a:lnTo>
                    <a:lnTo>
                      <a:pt x="1304892" y="80233"/>
                    </a:lnTo>
                    <a:lnTo>
                      <a:pt x="1302512" y="81997"/>
                    </a:lnTo>
                    <a:lnTo>
                      <a:pt x="1300219" y="80586"/>
                    </a:lnTo>
                    <a:lnTo>
                      <a:pt x="1298191" y="79440"/>
                    </a:lnTo>
                    <a:lnTo>
                      <a:pt x="1300572" y="83231"/>
                    </a:lnTo>
                    <a:lnTo>
                      <a:pt x="1295282" y="80586"/>
                    </a:lnTo>
                    <a:lnTo>
                      <a:pt x="1292990" y="81203"/>
                    </a:lnTo>
                    <a:lnTo>
                      <a:pt x="1293871" y="78558"/>
                    </a:lnTo>
                    <a:lnTo>
                      <a:pt x="1288581" y="81732"/>
                    </a:lnTo>
                    <a:lnTo>
                      <a:pt x="1283908" y="82878"/>
                    </a:lnTo>
                    <a:lnTo>
                      <a:pt x="1283644" y="80586"/>
                    </a:lnTo>
                    <a:lnTo>
                      <a:pt x="1282233" y="82349"/>
                    </a:lnTo>
                    <a:lnTo>
                      <a:pt x="1277295" y="83231"/>
                    </a:lnTo>
                    <a:lnTo>
                      <a:pt x="1277295" y="84994"/>
                    </a:lnTo>
                    <a:lnTo>
                      <a:pt x="1277031" y="86758"/>
                    </a:lnTo>
                    <a:lnTo>
                      <a:pt x="1274386" y="85259"/>
                    </a:lnTo>
                    <a:lnTo>
                      <a:pt x="1273240" y="82614"/>
                    </a:lnTo>
                    <a:lnTo>
                      <a:pt x="1272094" y="84024"/>
                    </a:lnTo>
                    <a:lnTo>
                      <a:pt x="1270947" y="82614"/>
                    </a:lnTo>
                    <a:lnTo>
                      <a:pt x="1269184" y="84642"/>
                    </a:lnTo>
                    <a:lnTo>
                      <a:pt x="1266274" y="84377"/>
                    </a:lnTo>
                    <a:lnTo>
                      <a:pt x="1266010" y="82349"/>
                    </a:lnTo>
                    <a:lnTo>
                      <a:pt x="1265745" y="80586"/>
                    </a:lnTo>
                    <a:lnTo>
                      <a:pt x="1264335" y="79087"/>
                    </a:lnTo>
                    <a:lnTo>
                      <a:pt x="1262571" y="77059"/>
                    </a:lnTo>
                    <a:lnTo>
                      <a:pt x="1260191" y="77676"/>
                    </a:lnTo>
                    <a:lnTo>
                      <a:pt x="1259309" y="76177"/>
                    </a:lnTo>
                    <a:lnTo>
                      <a:pt x="1257546" y="76177"/>
                    </a:lnTo>
                    <a:lnTo>
                      <a:pt x="1256664" y="74414"/>
                    </a:lnTo>
                    <a:lnTo>
                      <a:pt x="1255782" y="73268"/>
                    </a:lnTo>
                    <a:lnTo>
                      <a:pt x="1252873" y="73003"/>
                    </a:lnTo>
                    <a:lnTo>
                      <a:pt x="1251727" y="73621"/>
                    </a:lnTo>
                    <a:lnTo>
                      <a:pt x="1251727" y="74767"/>
                    </a:lnTo>
                    <a:lnTo>
                      <a:pt x="1249963" y="77059"/>
                    </a:lnTo>
                    <a:lnTo>
                      <a:pt x="1250845" y="79087"/>
                    </a:lnTo>
                    <a:lnTo>
                      <a:pt x="1250845" y="81115"/>
                    </a:lnTo>
                    <a:lnTo>
                      <a:pt x="1248552" y="79969"/>
                    </a:lnTo>
                    <a:lnTo>
                      <a:pt x="1248288" y="78470"/>
                    </a:lnTo>
                    <a:lnTo>
                      <a:pt x="1248288" y="77324"/>
                    </a:lnTo>
                    <a:lnTo>
                      <a:pt x="1247142" y="78205"/>
                    </a:lnTo>
                    <a:lnTo>
                      <a:pt x="1242204" y="79087"/>
                    </a:lnTo>
                    <a:lnTo>
                      <a:pt x="1241323" y="78470"/>
                    </a:lnTo>
                    <a:lnTo>
                      <a:pt x="1237796" y="80498"/>
                    </a:lnTo>
                    <a:lnTo>
                      <a:pt x="1236650" y="79352"/>
                    </a:lnTo>
                    <a:lnTo>
                      <a:pt x="1233476" y="79087"/>
                    </a:lnTo>
                    <a:lnTo>
                      <a:pt x="1231712" y="79352"/>
                    </a:lnTo>
                    <a:lnTo>
                      <a:pt x="1230831" y="78470"/>
                    </a:lnTo>
                    <a:lnTo>
                      <a:pt x="1228538" y="78734"/>
                    </a:lnTo>
                    <a:lnTo>
                      <a:pt x="1226246" y="74061"/>
                    </a:lnTo>
                    <a:lnTo>
                      <a:pt x="1223336" y="71769"/>
                    </a:lnTo>
                    <a:lnTo>
                      <a:pt x="1222190" y="70006"/>
                    </a:lnTo>
                    <a:lnTo>
                      <a:pt x="1216635" y="73797"/>
                    </a:lnTo>
                    <a:lnTo>
                      <a:pt x="1213109" y="72651"/>
                    </a:lnTo>
                    <a:lnTo>
                      <a:pt x="1213109" y="71769"/>
                    </a:lnTo>
                    <a:lnTo>
                      <a:pt x="1207025" y="73532"/>
                    </a:lnTo>
                    <a:lnTo>
                      <a:pt x="1203763" y="72386"/>
                    </a:lnTo>
                    <a:lnTo>
                      <a:pt x="1202881" y="75296"/>
                    </a:lnTo>
                    <a:lnTo>
                      <a:pt x="1200236" y="73268"/>
                    </a:lnTo>
                    <a:lnTo>
                      <a:pt x="1199355" y="77059"/>
                    </a:lnTo>
                    <a:lnTo>
                      <a:pt x="1201382" y="78205"/>
                    </a:lnTo>
                    <a:lnTo>
                      <a:pt x="1206320" y="78470"/>
                    </a:lnTo>
                    <a:lnTo>
                      <a:pt x="1212492" y="78470"/>
                    </a:lnTo>
                    <a:lnTo>
                      <a:pt x="1216019" y="79087"/>
                    </a:lnTo>
                    <a:lnTo>
                      <a:pt x="1215401" y="82261"/>
                    </a:lnTo>
                    <a:lnTo>
                      <a:pt x="1213373" y="84024"/>
                    </a:lnTo>
                    <a:lnTo>
                      <a:pt x="1210817" y="85171"/>
                    </a:lnTo>
                    <a:lnTo>
                      <a:pt x="1211081" y="82878"/>
                    </a:lnTo>
                    <a:lnTo>
                      <a:pt x="1206408" y="83143"/>
                    </a:lnTo>
                    <a:lnTo>
                      <a:pt x="1203763" y="84024"/>
                    </a:lnTo>
                    <a:lnTo>
                      <a:pt x="1203146" y="85171"/>
                    </a:lnTo>
                    <a:lnTo>
                      <a:pt x="1202881" y="86934"/>
                    </a:lnTo>
                    <a:lnTo>
                      <a:pt x="1197062" y="88962"/>
                    </a:lnTo>
                    <a:lnTo>
                      <a:pt x="1196181" y="88080"/>
                    </a:lnTo>
                    <a:lnTo>
                      <a:pt x="1191508" y="87992"/>
                    </a:lnTo>
                    <a:lnTo>
                      <a:pt x="1188598" y="88874"/>
                    </a:lnTo>
                    <a:lnTo>
                      <a:pt x="1188951" y="90284"/>
                    </a:lnTo>
                    <a:lnTo>
                      <a:pt x="1189392" y="90284"/>
                    </a:lnTo>
                    <a:lnTo>
                      <a:pt x="1189392" y="92048"/>
                    </a:lnTo>
                    <a:lnTo>
                      <a:pt x="1188951" y="90284"/>
                    </a:lnTo>
                    <a:lnTo>
                      <a:pt x="1183925" y="90020"/>
                    </a:lnTo>
                    <a:lnTo>
                      <a:pt x="1182514" y="92929"/>
                    </a:lnTo>
                    <a:lnTo>
                      <a:pt x="1177842" y="93811"/>
                    </a:lnTo>
                    <a:lnTo>
                      <a:pt x="1176960" y="91783"/>
                    </a:lnTo>
                    <a:lnTo>
                      <a:pt x="1174668" y="91783"/>
                    </a:lnTo>
                    <a:lnTo>
                      <a:pt x="1174403" y="90902"/>
                    </a:lnTo>
                    <a:lnTo>
                      <a:pt x="1172110" y="91166"/>
                    </a:lnTo>
                    <a:lnTo>
                      <a:pt x="1168584" y="90549"/>
                    </a:lnTo>
                    <a:lnTo>
                      <a:pt x="1167173" y="91431"/>
                    </a:lnTo>
                    <a:lnTo>
                      <a:pt x="1163382" y="92841"/>
                    </a:lnTo>
                    <a:lnTo>
                      <a:pt x="1163647" y="96104"/>
                    </a:lnTo>
                    <a:lnTo>
                      <a:pt x="1160120" y="96104"/>
                    </a:lnTo>
                    <a:lnTo>
                      <a:pt x="1161266" y="98131"/>
                    </a:lnTo>
                    <a:lnTo>
                      <a:pt x="1158973" y="99630"/>
                    </a:lnTo>
                    <a:lnTo>
                      <a:pt x="1155447" y="99630"/>
                    </a:lnTo>
                    <a:lnTo>
                      <a:pt x="1157827" y="94340"/>
                    </a:lnTo>
                    <a:lnTo>
                      <a:pt x="1159855" y="92841"/>
                    </a:lnTo>
                    <a:lnTo>
                      <a:pt x="1161266" y="91078"/>
                    </a:lnTo>
                    <a:lnTo>
                      <a:pt x="1162765" y="88433"/>
                    </a:lnTo>
                    <a:lnTo>
                      <a:pt x="1165145" y="87287"/>
                    </a:lnTo>
                    <a:lnTo>
                      <a:pt x="1165145" y="85523"/>
                    </a:lnTo>
                    <a:lnTo>
                      <a:pt x="1165410" y="83495"/>
                    </a:lnTo>
                    <a:lnTo>
                      <a:pt x="1167702" y="82614"/>
                    </a:lnTo>
                    <a:lnTo>
                      <a:pt x="1169730" y="80233"/>
                    </a:lnTo>
                    <a:lnTo>
                      <a:pt x="1173257" y="81732"/>
                    </a:lnTo>
                    <a:lnTo>
                      <a:pt x="1173521" y="79087"/>
                    </a:lnTo>
                    <a:lnTo>
                      <a:pt x="1175902" y="77941"/>
                    </a:lnTo>
                    <a:lnTo>
                      <a:pt x="1178811" y="77676"/>
                    </a:lnTo>
                    <a:lnTo>
                      <a:pt x="1181104" y="80850"/>
                    </a:lnTo>
                    <a:lnTo>
                      <a:pt x="1182250" y="79087"/>
                    </a:lnTo>
                    <a:lnTo>
                      <a:pt x="1185160" y="78823"/>
                    </a:lnTo>
                    <a:lnTo>
                      <a:pt x="1185160" y="77059"/>
                    </a:lnTo>
                    <a:lnTo>
                      <a:pt x="1188069" y="76177"/>
                    </a:lnTo>
                    <a:lnTo>
                      <a:pt x="1187540" y="74150"/>
                    </a:lnTo>
                    <a:lnTo>
                      <a:pt x="1191948" y="72386"/>
                    </a:lnTo>
                    <a:lnTo>
                      <a:pt x="1193447" y="72386"/>
                    </a:lnTo>
                    <a:lnTo>
                      <a:pt x="1195740" y="72386"/>
                    </a:lnTo>
                    <a:lnTo>
                      <a:pt x="1197768" y="71240"/>
                    </a:lnTo>
                    <a:lnTo>
                      <a:pt x="1197151" y="70358"/>
                    </a:lnTo>
                    <a:lnTo>
                      <a:pt x="1196269" y="68859"/>
                    </a:lnTo>
                    <a:lnTo>
                      <a:pt x="1197415" y="67096"/>
                    </a:lnTo>
                    <a:lnTo>
                      <a:pt x="1199178" y="69741"/>
                    </a:lnTo>
                    <a:lnTo>
                      <a:pt x="1198914" y="68242"/>
                    </a:lnTo>
                    <a:lnTo>
                      <a:pt x="1198914" y="65950"/>
                    </a:lnTo>
                    <a:lnTo>
                      <a:pt x="1198649" y="63922"/>
                    </a:lnTo>
                    <a:lnTo>
                      <a:pt x="1201559" y="63658"/>
                    </a:lnTo>
                    <a:lnTo>
                      <a:pt x="1203058" y="64539"/>
                    </a:lnTo>
                    <a:lnTo>
                      <a:pt x="1205085" y="63658"/>
                    </a:lnTo>
                    <a:lnTo>
                      <a:pt x="1203939" y="61630"/>
                    </a:lnTo>
                    <a:lnTo>
                      <a:pt x="1205967" y="61894"/>
                    </a:lnTo>
                    <a:lnTo>
                      <a:pt x="1209141" y="61630"/>
                    </a:lnTo>
                    <a:lnTo>
                      <a:pt x="1211522" y="61365"/>
                    </a:lnTo>
                    <a:lnTo>
                      <a:pt x="1214167" y="60748"/>
                    </a:lnTo>
                    <a:lnTo>
                      <a:pt x="1216812" y="56340"/>
                    </a:lnTo>
                    <a:lnTo>
                      <a:pt x="1217958" y="55193"/>
                    </a:lnTo>
                    <a:lnTo>
                      <a:pt x="1220603" y="54312"/>
                    </a:lnTo>
                    <a:lnTo>
                      <a:pt x="1224394" y="53430"/>
                    </a:lnTo>
                    <a:lnTo>
                      <a:pt x="1227304" y="51931"/>
                    </a:lnTo>
                    <a:lnTo>
                      <a:pt x="1229596" y="51667"/>
                    </a:lnTo>
                    <a:lnTo>
                      <a:pt x="1229861" y="49022"/>
                    </a:lnTo>
                    <a:lnTo>
                      <a:pt x="1229596" y="47258"/>
                    </a:lnTo>
                    <a:lnTo>
                      <a:pt x="1228714" y="45230"/>
                    </a:lnTo>
                    <a:lnTo>
                      <a:pt x="1227833" y="44349"/>
                    </a:lnTo>
                    <a:lnTo>
                      <a:pt x="1225541" y="41439"/>
                    </a:lnTo>
                    <a:lnTo>
                      <a:pt x="1224394" y="43467"/>
                    </a:lnTo>
                    <a:lnTo>
                      <a:pt x="1223248" y="40822"/>
                    </a:lnTo>
                    <a:lnTo>
                      <a:pt x="1221220" y="40557"/>
                    </a:lnTo>
                    <a:lnTo>
                      <a:pt x="1221485" y="37648"/>
                    </a:lnTo>
                    <a:lnTo>
                      <a:pt x="1222014" y="36502"/>
                    </a:lnTo>
                    <a:lnTo>
                      <a:pt x="1219986" y="36237"/>
                    </a:lnTo>
                    <a:lnTo>
                      <a:pt x="1217958" y="33328"/>
                    </a:lnTo>
                    <a:lnTo>
                      <a:pt x="1214784" y="36237"/>
                    </a:lnTo>
                    <a:lnTo>
                      <a:pt x="1215401" y="33592"/>
                    </a:lnTo>
                    <a:lnTo>
                      <a:pt x="1212492" y="32975"/>
                    </a:lnTo>
                    <a:lnTo>
                      <a:pt x="1208965" y="33857"/>
                    </a:lnTo>
                    <a:lnTo>
                      <a:pt x="1208348" y="30683"/>
                    </a:lnTo>
                    <a:lnTo>
                      <a:pt x="1205703" y="27773"/>
                    </a:lnTo>
                    <a:lnTo>
                      <a:pt x="1203410" y="28390"/>
                    </a:lnTo>
                    <a:lnTo>
                      <a:pt x="1201382" y="26010"/>
                    </a:lnTo>
                    <a:lnTo>
                      <a:pt x="1198826" y="24511"/>
                    </a:lnTo>
                    <a:lnTo>
                      <a:pt x="1195916" y="25392"/>
                    </a:lnTo>
                    <a:lnTo>
                      <a:pt x="1195916" y="25657"/>
                    </a:lnTo>
                    <a:lnTo>
                      <a:pt x="1195299" y="26274"/>
                    </a:lnTo>
                    <a:lnTo>
                      <a:pt x="1194417" y="29184"/>
                    </a:lnTo>
                    <a:lnTo>
                      <a:pt x="1194682" y="29801"/>
                    </a:lnTo>
                    <a:lnTo>
                      <a:pt x="1192654" y="28655"/>
                    </a:lnTo>
                    <a:lnTo>
                      <a:pt x="1189744" y="26891"/>
                    </a:lnTo>
                    <a:lnTo>
                      <a:pt x="1190890" y="24246"/>
                    </a:lnTo>
                    <a:lnTo>
                      <a:pt x="1187099" y="25128"/>
                    </a:lnTo>
                    <a:lnTo>
                      <a:pt x="1185336" y="22836"/>
                    </a:lnTo>
                    <a:lnTo>
                      <a:pt x="1185072" y="20808"/>
                    </a:lnTo>
                    <a:lnTo>
                      <a:pt x="1183925" y="21072"/>
                    </a:lnTo>
                    <a:lnTo>
                      <a:pt x="1182779" y="18780"/>
                    </a:lnTo>
                    <a:lnTo>
                      <a:pt x="1182514" y="19309"/>
                    </a:lnTo>
                    <a:lnTo>
                      <a:pt x="1180134" y="18427"/>
                    </a:lnTo>
                    <a:lnTo>
                      <a:pt x="1180134" y="19044"/>
                    </a:lnTo>
                    <a:lnTo>
                      <a:pt x="1176078" y="19044"/>
                    </a:lnTo>
                    <a:lnTo>
                      <a:pt x="1173168" y="19926"/>
                    </a:lnTo>
                    <a:lnTo>
                      <a:pt x="1172551" y="21425"/>
                    </a:lnTo>
                    <a:lnTo>
                      <a:pt x="1169642" y="21954"/>
                    </a:lnTo>
                    <a:lnTo>
                      <a:pt x="1167879" y="19309"/>
                    </a:lnTo>
                    <a:lnTo>
                      <a:pt x="1161442" y="19309"/>
                    </a:lnTo>
                    <a:lnTo>
                      <a:pt x="1160560" y="20455"/>
                    </a:lnTo>
                    <a:lnTo>
                      <a:pt x="1154742" y="20720"/>
                    </a:lnTo>
                    <a:lnTo>
                      <a:pt x="1155623" y="17810"/>
                    </a:lnTo>
                    <a:lnTo>
                      <a:pt x="1151215" y="19309"/>
                    </a:lnTo>
                    <a:lnTo>
                      <a:pt x="1146013" y="18427"/>
                    </a:lnTo>
                    <a:lnTo>
                      <a:pt x="1142221" y="18163"/>
                    </a:lnTo>
                    <a:lnTo>
                      <a:pt x="1139312" y="17898"/>
                    </a:lnTo>
                    <a:lnTo>
                      <a:pt x="1139312" y="16488"/>
                    </a:lnTo>
                    <a:lnTo>
                      <a:pt x="1141957" y="14460"/>
                    </a:lnTo>
                    <a:lnTo>
                      <a:pt x="1140194" y="14195"/>
                    </a:lnTo>
                    <a:lnTo>
                      <a:pt x="1135521" y="15694"/>
                    </a:lnTo>
                    <a:lnTo>
                      <a:pt x="1136402" y="16840"/>
                    </a:lnTo>
                    <a:lnTo>
                      <a:pt x="1133228" y="17722"/>
                    </a:lnTo>
                    <a:lnTo>
                      <a:pt x="1132082" y="18868"/>
                    </a:lnTo>
                    <a:lnTo>
                      <a:pt x="1130319" y="20896"/>
                    </a:lnTo>
                    <a:lnTo>
                      <a:pt x="1128291" y="20279"/>
                    </a:lnTo>
                    <a:lnTo>
                      <a:pt x="1124500" y="18515"/>
                    </a:lnTo>
                    <a:lnTo>
                      <a:pt x="1126263" y="19397"/>
                    </a:lnTo>
                    <a:lnTo>
                      <a:pt x="1122736" y="21160"/>
                    </a:lnTo>
                    <a:lnTo>
                      <a:pt x="1120708" y="21160"/>
                    </a:lnTo>
                    <a:lnTo>
                      <a:pt x="1119562" y="21160"/>
                    </a:lnTo>
                    <a:lnTo>
                      <a:pt x="1119298" y="22659"/>
                    </a:lnTo>
                    <a:lnTo>
                      <a:pt x="1115242" y="21160"/>
                    </a:lnTo>
                    <a:lnTo>
                      <a:pt x="1113743" y="20543"/>
                    </a:lnTo>
                    <a:lnTo>
                      <a:pt x="1111715" y="20279"/>
                    </a:lnTo>
                    <a:lnTo>
                      <a:pt x="1111098" y="20014"/>
                    </a:lnTo>
                    <a:lnTo>
                      <a:pt x="1109952" y="21513"/>
                    </a:lnTo>
                    <a:lnTo>
                      <a:pt x="1108806" y="22924"/>
                    </a:lnTo>
                    <a:lnTo>
                      <a:pt x="1107042" y="24423"/>
                    </a:lnTo>
                    <a:lnTo>
                      <a:pt x="1105279" y="22395"/>
                    </a:lnTo>
                    <a:lnTo>
                      <a:pt x="1105014" y="20102"/>
                    </a:lnTo>
                    <a:lnTo>
                      <a:pt x="1102105" y="21249"/>
                    </a:lnTo>
                    <a:lnTo>
                      <a:pt x="1099196" y="20984"/>
                    </a:lnTo>
                    <a:lnTo>
                      <a:pt x="1099196" y="18692"/>
                    </a:lnTo>
                    <a:lnTo>
                      <a:pt x="1099196" y="17810"/>
                    </a:lnTo>
                    <a:lnTo>
                      <a:pt x="1099812" y="16928"/>
                    </a:lnTo>
                    <a:lnTo>
                      <a:pt x="1100694" y="15165"/>
                    </a:lnTo>
                    <a:lnTo>
                      <a:pt x="1098666" y="13754"/>
                    </a:lnTo>
                    <a:lnTo>
                      <a:pt x="1096286" y="13754"/>
                    </a:lnTo>
                    <a:lnTo>
                      <a:pt x="1093729" y="11726"/>
                    </a:lnTo>
                    <a:lnTo>
                      <a:pt x="1093376" y="10228"/>
                    </a:lnTo>
                    <a:lnTo>
                      <a:pt x="1091613" y="9610"/>
                    </a:lnTo>
                    <a:lnTo>
                      <a:pt x="1093112" y="7582"/>
                    </a:lnTo>
                    <a:lnTo>
                      <a:pt x="1089938" y="7318"/>
                    </a:lnTo>
                    <a:lnTo>
                      <a:pt x="1088439" y="9081"/>
                    </a:lnTo>
                    <a:lnTo>
                      <a:pt x="1093112" y="13137"/>
                    </a:lnTo>
                    <a:lnTo>
                      <a:pt x="1090820" y="13754"/>
                    </a:lnTo>
                    <a:lnTo>
                      <a:pt x="1090466" y="14900"/>
                    </a:lnTo>
                    <a:lnTo>
                      <a:pt x="1088086" y="13754"/>
                    </a:lnTo>
                    <a:lnTo>
                      <a:pt x="1086058" y="13754"/>
                    </a:lnTo>
                    <a:lnTo>
                      <a:pt x="1083413" y="14636"/>
                    </a:lnTo>
                    <a:lnTo>
                      <a:pt x="1080768" y="13490"/>
                    </a:lnTo>
                    <a:lnTo>
                      <a:pt x="1079887" y="15253"/>
                    </a:lnTo>
                    <a:lnTo>
                      <a:pt x="1078123" y="14636"/>
                    </a:lnTo>
                    <a:lnTo>
                      <a:pt x="1075214" y="21337"/>
                    </a:lnTo>
                    <a:lnTo>
                      <a:pt x="1075831" y="14019"/>
                    </a:lnTo>
                    <a:lnTo>
                      <a:pt x="1072921" y="14283"/>
                    </a:lnTo>
                    <a:lnTo>
                      <a:pt x="1071775" y="15165"/>
                    </a:lnTo>
                    <a:lnTo>
                      <a:pt x="1069482" y="13402"/>
                    </a:lnTo>
                    <a:lnTo>
                      <a:pt x="1069218" y="11374"/>
                    </a:lnTo>
                    <a:lnTo>
                      <a:pt x="1069482" y="9610"/>
                    </a:lnTo>
                    <a:lnTo>
                      <a:pt x="1070364" y="7847"/>
                    </a:lnTo>
                    <a:lnTo>
                      <a:pt x="1072657" y="7582"/>
                    </a:lnTo>
                    <a:lnTo>
                      <a:pt x="1076183" y="7847"/>
                    </a:lnTo>
                    <a:lnTo>
                      <a:pt x="1077065" y="6701"/>
                    </a:lnTo>
                    <a:lnTo>
                      <a:pt x="1076536" y="5555"/>
                    </a:lnTo>
                    <a:lnTo>
                      <a:pt x="1073362" y="5555"/>
                    </a:lnTo>
                    <a:lnTo>
                      <a:pt x="1066926" y="4673"/>
                    </a:lnTo>
                    <a:lnTo>
                      <a:pt x="1061724" y="5555"/>
                    </a:lnTo>
                    <a:lnTo>
                      <a:pt x="1060225" y="3791"/>
                    </a:lnTo>
                    <a:lnTo>
                      <a:pt x="1055552" y="2910"/>
                    </a:lnTo>
                    <a:lnTo>
                      <a:pt x="1054935" y="4056"/>
                    </a:lnTo>
                    <a:lnTo>
                      <a:pt x="1049644" y="2910"/>
                    </a:lnTo>
                    <a:lnTo>
                      <a:pt x="1049644" y="4937"/>
                    </a:lnTo>
                    <a:lnTo>
                      <a:pt x="1046118" y="1763"/>
                    </a:lnTo>
                    <a:lnTo>
                      <a:pt x="1042591" y="0"/>
                    </a:lnTo>
                    <a:lnTo>
                      <a:pt x="1039065" y="2028"/>
                    </a:lnTo>
                    <a:lnTo>
                      <a:pt x="1037918" y="882"/>
                    </a:lnTo>
                    <a:lnTo>
                      <a:pt x="1034391" y="264"/>
                    </a:lnTo>
                    <a:lnTo>
                      <a:pt x="1031747" y="4320"/>
                    </a:lnTo>
                    <a:lnTo>
                      <a:pt x="1028573" y="1675"/>
                    </a:lnTo>
                    <a:lnTo>
                      <a:pt x="1027691" y="4585"/>
                    </a:lnTo>
                    <a:lnTo>
                      <a:pt x="1025663" y="5466"/>
                    </a:lnTo>
                    <a:lnTo>
                      <a:pt x="1023282" y="5202"/>
                    </a:lnTo>
                    <a:lnTo>
                      <a:pt x="1023018" y="3174"/>
                    </a:lnTo>
                    <a:lnTo>
                      <a:pt x="1020108" y="2028"/>
                    </a:lnTo>
                    <a:lnTo>
                      <a:pt x="1015436" y="3791"/>
                    </a:lnTo>
                    <a:lnTo>
                      <a:pt x="1013407" y="3791"/>
                    </a:lnTo>
                    <a:lnTo>
                      <a:pt x="1011027" y="2292"/>
                    </a:lnTo>
                    <a:lnTo>
                      <a:pt x="1009881" y="3174"/>
                    </a:lnTo>
                    <a:lnTo>
                      <a:pt x="1007853" y="4937"/>
                    </a:lnTo>
                    <a:lnTo>
                      <a:pt x="1008470" y="6436"/>
                    </a:lnTo>
                    <a:lnTo>
                      <a:pt x="1008470" y="7935"/>
                    </a:lnTo>
                    <a:lnTo>
                      <a:pt x="1006706" y="9081"/>
                    </a:lnTo>
                    <a:lnTo>
                      <a:pt x="1004679" y="9699"/>
                    </a:lnTo>
                    <a:lnTo>
                      <a:pt x="1003180" y="10580"/>
                    </a:lnTo>
                    <a:lnTo>
                      <a:pt x="1002298" y="12079"/>
                    </a:lnTo>
                    <a:lnTo>
                      <a:pt x="1002915" y="14107"/>
                    </a:lnTo>
                    <a:lnTo>
                      <a:pt x="1001417" y="14989"/>
                    </a:lnTo>
                    <a:lnTo>
                      <a:pt x="1001769" y="16135"/>
                    </a:lnTo>
                    <a:lnTo>
                      <a:pt x="1001152" y="18163"/>
                    </a:lnTo>
                    <a:lnTo>
                      <a:pt x="1001152" y="18427"/>
                    </a:lnTo>
                    <a:lnTo>
                      <a:pt x="1006089" y="18163"/>
                    </a:lnTo>
                    <a:lnTo>
                      <a:pt x="1010145" y="18427"/>
                    </a:lnTo>
                    <a:lnTo>
                      <a:pt x="1010762" y="20191"/>
                    </a:lnTo>
                    <a:lnTo>
                      <a:pt x="1008999" y="22218"/>
                    </a:lnTo>
                    <a:lnTo>
                      <a:pt x="1003444" y="23365"/>
                    </a:lnTo>
                    <a:lnTo>
                      <a:pt x="999918" y="23982"/>
                    </a:lnTo>
                    <a:lnTo>
                      <a:pt x="996127" y="23717"/>
                    </a:lnTo>
                    <a:lnTo>
                      <a:pt x="991718" y="22836"/>
                    </a:lnTo>
                    <a:lnTo>
                      <a:pt x="987927" y="22218"/>
                    </a:lnTo>
                    <a:lnTo>
                      <a:pt x="985546" y="21954"/>
                    </a:lnTo>
                    <a:lnTo>
                      <a:pt x="982637" y="25481"/>
                    </a:lnTo>
                    <a:lnTo>
                      <a:pt x="985282" y="26980"/>
                    </a:lnTo>
                    <a:lnTo>
                      <a:pt x="987045" y="29625"/>
                    </a:lnTo>
                    <a:lnTo>
                      <a:pt x="987927" y="29360"/>
                    </a:lnTo>
                    <a:lnTo>
                      <a:pt x="985546" y="32534"/>
                    </a:lnTo>
                    <a:lnTo>
                      <a:pt x="985282" y="32799"/>
                    </a:lnTo>
                    <a:lnTo>
                      <a:pt x="981755" y="30418"/>
                    </a:lnTo>
                    <a:lnTo>
                      <a:pt x="979110" y="31917"/>
                    </a:lnTo>
                    <a:lnTo>
                      <a:pt x="977082" y="31035"/>
                    </a:lnTo>
                    <a:lnTo>
                      <a:pt x="973908" y="31917"/>
                    </a:lnTo>
                    <a:lnTo>
                      <a:pt x="970381" y="33680"/>
                    </a:lnTo>
                    <a:lnTo>
                      <a:pt x="968353" y="31652"/>
                    </a:lnTo>
                    <a:lnTo>
                      <a:pt x="966590" y="33151"/>
                    </a:lnTo>
                    <a:lnTo>
                      <a:pt x="962799" y="32005"/>
                    </a:lnTo>
                    <a:lnTo>
                      <a:pt x="963680" y="31123"/>
                    </a:lnTo>
                    <a:lnTo>
                      <a:pt x="958126" y="30506"/>
                    </a:lnTo>
                    <a:lnTo>
                      <a:pt x="957244" y="29007"/>
                    </a:lnTo>
                    <a:lnTo>
                      <a:pt x="953805" y="27509"/>
                    </a:lnTo>
                    <a:lnTo>
                      <a:pt x="949750" y="29007"/>
                    </a:lnTo>
                    <a:lnTo>
                      <a:pt x="949485" y="31917"/>
                    </a:lnTo>
                    <a:lnTo>
                      <a:pt x="943313" y="33416"/>
                    </a:lnTo>
                    <a:lnTo>
                      <a:pt x="933703" y="34033"/>
                    </a:lnTo>
                    <a:lnTo>
                      <a:pt x="931940" y="32534"/>
                    </a:lnTo>
                    <a:lnTo>
                      <a:pt x="925856" y="31652"/>
                    </a:lnTo>
                    <a:lnTo>
                      <a:pt x="925504" y="30242"/>
                    </a:lnTo>
                    <a:lnTo>
                      <a:pt x="920302" y="33151"/>
                    </a:lnTo>
                    <a:lnTo>
                      <a:pt x="916510" y="32887"/>
                    </a:lnTo>
                    <a:lnTo>
                      <a:pt x="915629" y="31388"/>
                    </a:lnTo>
                    <a:lnTo>
                      <a:pt x="913865" y="31388"/>
                    </a:lnTo>
                    <a:lnTo>
                      <a:pt x="910074" y="34297"/>
                    </a:lnTo>
                    <a:lnTo>
                      <a:pt x="907429" y="33151"/>
                    </a:lnTo>
                    <a:lnTo>
                      <a:pt x="906812" y="32005"/>
                    </a:lnTo>
                    <a:lnTo>
                      <a:pt x="904520" y="31123"/>
                    </a:lnTo>
                    <a:lnTo>
                      <a:pt x="901875" y="34297"/>
                    </a:lnTo>
                    <a:lnTo>
                      <a:pt x="902756" y="35444"/>
                    </a:lnTo>
                    <a:lnTo>
                      <a:pt x="902756" y="38089"/>
                    </a:lnTo>
                    <a:lnTo>
                      <a:pt x="903021" y="39588"/>
                    </a:lnTo>
                    <a:lnTo>
                      <a:pt x="900993" y="38970"/>
                    </a:lnTo>
                    <a:lnTo>
                      <a:pt x="898348" y="39852"/>
                    </a:lnTo>
                    <a:lnTo>
                      <a:pt x="893058" y="39235"/>
                    </a:lnTo>
                    <a:lnTo>
                      <a:pt x="890412" y="40381"/>
                    </a:lnTo>
                    <a:lnTo>
                      <a:pt x="889266" y="40117"/>
                    </a:lnTo>
                    <a:lnTo>
                      <a:pt x="886621" y="42762"/>
                    </a:lnTo>
                    <a:lnTo>
                      <a:pt x="884858" y="41263"/>
                    </a:lnTo>
                    <a:lnTo>
                      <a:pt x="883447" y="39764"/>
                    </a:lnTo>
                    <a:lnTo>
                      <a:pt x="878775" y="37736"/>
                    </a:lnTo>
                    <a:lnTo>
                      <a:pt x="876746" y="39235"/>
                    </a:lnTo>
                    <a:lnTo>
                      <a:pt x="873484" y="40381"/>
                    </a:lnTo>
                    <a:lnTo>
                      <a:pt x="872867" y="41527"/>
                    </a:lnTo>
                    <a:lnTo>
                      <a:pt x="869076" y="43555"/>
                    </a:lnTo>
                    <a:lnTo>
                      <a:pt x="867312" y="42938"/>
                    </a:lnTo>
                    <a:lnTo>
                      <a:pt x="869341" y="45583"/>
                    </a:lnTo>
                    <a:lnTo>
                      <a:pt x="864403" y="43555"/>
                    </a:lnTo>
                    <a:lnTo>
                      <a:pt x="861493" y="45583"/>
                    </a:lnTo>
                    <a:lnTo>
                      <a:pt x="858584" y="44966"/>
                    </a:lnTo>
                    <a:lnTo>
                      <a:pt x="856820" y="44966"/>
                    </a:lnTo>
                    <a:lnTo>
                      <a:pt x="852765" y="45230"/>
                    </a:lnTo>
                    <a:lnTo>
                      <a:pt x="851354" y="45230"/>
                    </a:lnTo>
                    <a:lnTo>
                      <a:pt x="851090" y="46729"/>
                    </a:lnTo>
                    <a:lnTo>
                      <a:pt x="849061" y="49374"/>
                    </a:lnTo>
                    <a:lnTo>
                      <a:pt x="847563" y="49374"/>
                    </a:lnTo>
                    <a:lnTo>
                      <a:pt x="845182" y="50873"/>
                    </a:lnTo>
                    <a:lnTo>
                      <a:pt x="842273" y="50256"/>
                    </a:lnTo>
                    <a:lnTo>
                      <a:pt x="839011" y="49639"/>
                    </a:lnTo>
                    <a:lnTo>
                      <a:pt x="836101" y="50256"/>
                    </a:lnTo>
                    <a:lnTo>
                      <a:pt x="834073" y="48228"/>
                    </a:lnTo>
                    <a:lnTo>
                      <a:pt x="831163" y="48228"/>
                    </a:lnTo>
                    <a:lnTo>
                      <a:pt x="829400" y="51138"/>
                    </a:lnTo>
                    <a:lnTo>
                      <a:pt x="828519" y="50873"/>
                    </a:lnTo>
                    <a:lnTo>
                      <a:pt x="827990" y="53783"/>
                    </a:lnTo>
                    <a:lnTo>
                      <a:pt x="827990" y="55811"/>
                    </a:lnTo>
                    <a:lnTo>
                      <a:pt x="823934" y="54664"/>
                    </a:lnTo>
                    <a:lnTo>
                      <a:pt x="822170" y="52637"/>
                    </a:lnTo>
                    <a:lnTo>
                      <a:pt x="822170" y="55811"/>
                    </a:lnTo>
                    <a:lnTo>
                      <a:pt x="820671" y="57574"/>
                    </a:lnTo>
                    <a:lnTo>
                      <a:pt x="820671" y="59602"/>
                    </a:lnTo>
                    <a:lnTo>
                      <a:pt x="816615" y="60748"/>
                    </a:lnTo>
                    <a:lnTo>
                      <a:pt x="813706" y="58985"/>
                    </a:lnTo>
                    <a:lnTo>
                      <a:pt x="810179" y="58103"/>
                    </a:lnTo>
                    <a:lnTo>
                      <a:pt x="809562" y="61277"/>
                    </a:lnTo>
                    <a:lnTo>
                      <a:pt x="809033" y="62159"/>
                    </a:lnTo>
                    <a:lnTo>
                      <a:pt x="807005" y="63658"/>
                    </a:lnTo>
                    <a:lnTo>
                      <a:pt x="806741" y="66303"/>
                    </a:lnTo>
                    <a:lnTo>
                      <a:pt x="807623" y="67184"/>
                    </a:lnTo>
                    <a:lnTo>
                      <a:pt x="809650" y="64275"/>
                    </a:lnTo>
                    <a:lnTo>
                      <a:pt x="810797" y="64539"/>
                    </a:lnTo>
                    <a:lnTo>
                      <a:pt x="815734" y="67449"/>
                    </a:lnTo>
                    <a:lnTo>
                      <a:pt x="816351" y="65068"/>
                    </a:lnTo>
                    <a:lnTo>
                      <a:pt x="818731" y="67096"/>
                    </a:lnTo>
                    <a:lnTo>
                      <a:pt x="821906" y="66832"/>
                    </a:lnTo>
                    <a:lnTo>
                      <a:pt x="822170" y="63305"/>
                    </a:lnTo>
                    <a:lnTo>
                      <a:pt x="823934" y="62159"/>
                    </a:lnTo>
                    <a:lnTo>
                      <a:pt x="827108" y="62776"/>
                    </a:lnTo>
                    <a:lnTo>
                      <a:pt x="828871" y="63922"/>
                    </a:lnTo>
                    <a:lnTo>
                      <a:pt x="827461" y="65685"/>
                    </a:lnTo>
                    <a:lnTo>
                      <a:pt x="828342" y="68066"/>
                    </a:lnTo>
                    <a:lnTo>
                      <a:pt x="833632" y="70976"/>
                    </a:lnTo>
                    <a:lnTo>
                      <a:pt x="838569" y="72122"/>
                    </a:lnTo>
                    <a:lnTo>
                      <a:pt x="842096" y="71857"/>
                    </a:lnTo>
                    <a:lnTo>
                      <a:pt x="844477" y="71857"/>
                    </a:lnTo>
                    <a:lnTo>
                      <a:pt x="846505" y="74767"/>
                    </a:lnTo>
                    <a:lnTo>
                      <a:pt x="852941" y="75648"/>
                    </a:lnTo>
                    <a:lnTo>
                      <a:pt x="842714" y="76530"/>
                    </a:lnTo>
                    <a:lnTo>
                      <a:pt x="838393" y="75913"/>
                    </a:lnTo>
                    <a:lnTo>
                      <a:pt x="834866" y="76530"/>
                    </a:lnTo>
                    <a:lnTo>
                      <a:pt x="832839" y="78029"/>
                    </a:lnTo>
                    <a:lnTo>
                      <a:pt x="830546" y="79175"/>
                    </a:lnTo>
                    <a:lnTo>
                      <a:pt x="824727" y="77676"/>
                    </a:lnTo>
                    <a:lnTo>
                      <a:pt x="820936" y="78823"/>
                    </a:lnTo>
                    <a:lnTo>
                      <a:pt x="815734" y="79440"/>
                    </a:lnTo>
                    <a:lnTo>
                      <a:pt x="811061" y="80057"/>
                    </a:lnTo>
                    <a:lnTo>
                      <a:pt x="806388" y="81203"/>
                    </a:lnTo>
                    <a:lnTo>
                      <a:pt x="798806" y="80321"/>
                    </a:lnTo>
                    <a:lnTo>
                      <a:pt x="793251" y="81820"/>
                    </a:lnTo>
                    <a:lnTo>
                      <a:pt x="785139" y="80321"/>
                    </a:lnTo>
                    <a:lnTo>
                      <a:pt x="783729" y="81820"/>
                    </a:lnTo>
                    <a:lnTo>
                      <a:pt x="777028" y="80321"/>
                    </a:lnTo>
                    <a:lnTo>
                      <a:pt x="774118" y="82614"/>
                    </a:lnTo>
                    <a:lnTo>
                      <a:pt x="771209" y="82349"/>
                    </a:lnTo>
                    <a:lnTo>
                      <a:pt x="767153" y="81468"/>
                    </a:lnTo>
                    <a:lnTo>
                      <a:pt x="765125" y="82349"/>
                    </a:lnTo>
                    <a:lnTo>
                      <a:pt x="762481" y="83495"/>
                    </a:lnTo>
                    <a:lnTo>
                      <a:pt x="759835" y="81997"/>
                    </a:lnTo>
                    <a:lnTo>
                      <a:pt x="754545" y="80498"/>
                    </a:lnTo>
                    <a:lnTo>
                      <a:pt x="753399" y="81997"/>
                    </a:lnTo>
                    <a:lnTo>
                      <a:pt x="754545" y="84642"/>
                    </a:lnTo>
                    <a:lnTo>
                      <a:pt x="757455" y="84906"/>
                    </a:lnTo>
                    <a:lnTo>
                      <a:pt x="761510" y="86934"/>
                    </a:lnTo>
                    <a:lnTo>
                      <a:pt x="760629" y="89844"/>
                    </a:lnTo>
                    <a:lnTo>
                      <a:pt x="759747" y="91342"/>
                    </a:lnTo>
                    <a:lnTo>
                      <a:pt x="762656" y="88433"/>
                    </a:lnTo>
                    <a:lnTo>
                      <a:pt x="763803" y="91078"/>
                    </a:lnTo>
                    <a:lnTo>
                      <a:pt x="767594" y="93370"/>
                    </a:lnTo>
                    <a:lnTo>
                      <a:pt x="769622" y="95398"/>
                    </a:lnTo>
                    <a:lnTo>
                      <a:pt x="771914" y="96544"/>
                    </a:lnTo>
                    <a:lnTo>
                      <a:pt x="775177" y="93899"/>
                    </a:lnTo>
                    <a:lnTo>
                      <a:pt x="776058" y="95046"/>
                    </a:lnTo>
                    <a:lnTo>
                      <a:pt x="776322" y="96809"/>
                    </a:lnTo>
                    <a:lnTo>
                      <a:pt x="775793" y="98837"/>
                    </a:lnTo>
                    <a:lnTo>
                      <a:pt x="775793" y="102011"/>
                    </a:lnTo>
                    <a:lnTo>
                      <a:pt x="778439" y="104303"/>
                    </a:lnTo>
                    <a:lnTo>
                      <a:pt x="782230" y="104039"/>
                    </a:lnTo>
                    <a:lnTo>
                      <a:pt x="786286" y="103422"/>
                    </a:lnTo>
                    <a:lnTo>
                      <a:pt x="786021" y="105449"/>
                    </a:lnTo>
                    <a:lnTo>
                      <a:pt x="789548" y="108094"/>
                    </a:lnTo>
                    <a:lnTo>
                      <a:pt x="792193" y="107830"/>
                    </a:lnTo>
                    <a:lnTo>
                      <a:pt x="795102" y="108976"/>
                    </a:lnTo>
                    <a:lnTo>
                      <a:pt x="797395" y="109241"/>
                    </a:lnTo>
                    <a:lnTo>
                      <a:pt x="802068" y="108976"/>
                    </a:lnTo>
                    <a:lnTo>
                      <a:pt x="806741" y="110739"/>
                    </a:lnTo>
                    <a:lnTo>
                      <a:pt x="809386" y="112238"/>
                    </a:lnTo>
                    <a:lnTo>
                      <a:pt x="809650" y="116030"/>
                    </a:lnTo>
                    <a:lnTo>
                      <a:pt x="818731" y="117176"/>
                    </a:lnTo>
                    <a:lnTo>
                      <a:pt x="820760" y="120085"/>
                    </a:lnTo>
                    <a:lnTo>
                      <a:pt x="816440" y="119821"/>
                    </a:lnTo>
                    <a:lnTo>
                      <a:pt x="812031" y="120703"/>
                    </a:lnTo>
                    <a:lnTo>
                      <a:pt x="811766" y="122201"/>
                    </a:lnTo>
                    <a:lnTo>
                      <a:pt x="807975" y="121584"/>
                    </a:lnTo>
                    <a:lnTo>
                      <a:pt x="803567" y="120703"/>
                    </a:lnTo>
                    <a:lnTo>
                      <a:pt x="799776" y="117528"/>
                    </a:lnTo>
                    <a:lnTo>
                      <a:pt x="796866" y="117528"/>
                    </a:lnTo>
                    <a:lnTo>
                      <a:pt x="793956" y="114883"/>
                    </a:lnTo>
                    <a:lnTo>
                      <a:pt x="789284" y="115148"/>
                    </a:lnTo>
                    <a:lnTo>
                      <a:pt x="786639" y="114002"/>
                    </a:lnTo>
                    <a:lnTo>
                      <a:pt x="782847" y="114266"/>
                    </a:lnTo>
                    <a:lnTo>
                      <a:pt x="782230" y="111357"/>
                    </a:lnTo>
                    <a:lnTo>
                      <a:pt x="778174" y="110210"/>
                    </a:lnTo>
                    <a:lnTo>
                      <a:pt x="772002" y="107918"/>
                    </a:lnTo>
                    <a:lnTo>
                      <a:pt x="767682" y="107654"/>
                    </a:lnTo>
                    <a:lnTo>
                      <a:pt x="764772" y="107654"/>
                    </a:lnTo>
                    <a:lnTo>
                      <a:pt x="761246" y="106772"/>
                    </a:lnTo>
                    <a:lnTo>
                      <a:pt x="760012" y="107036"/>
                    </a:lnTo>
                    <a:lnTo>
                      <a:pt x="757102" y="106772"/>
                    </a:lnTo>
                    <a:lnTo>
                      <a:pt x="756838" y="110563"/>
                    </a:lnTo>
                    <a:lnTo>
                      <a:pt x="755691" y="111709"/>
                    </a:lnTo>
                    <a:lnTo>
                      <a:pt x="751900" y="116647"/>
                    </a:lnTo>
                    <a:lnTo>
                      <a:pt x="751900" y="106067"/>
                    </a:lnTo>
                    <a:lnTo>
                      <a:pt x="746963" y="104568"/>
                    </a:lnTo>
                    <a:lnTo>
                      <a:pt x="744935" y="107742"/>
                    </a:lnTo>
                    <a:lnTo>
                      <a:pt x="742290" y="103069"/>
                    </a:lnTo>
                    <a:lnTo>
                      <a:pt x="743436" y="109241"/>
                    </a:lnTo>
                    <a:lnTo>
                      <a:pt x="740526" y="110122"/>
                    </a:lnTo>
                    <a:lnTo>
                      <a:pt x="737000" y="108359"/>
                    </a:lnTo>
                    <a:lnTo>
                      <a:pt x="734619" y="110387"/>
                    </a:lnTo>
                    <a:lnTo>
                      <a:pt x="732591" y="111004"/>
                    </a:lnTo>
                    <a:lnTo>
                      <a:pt x="730828" y="110122"/>
                    </a:lnTo>
                    <a:lnTo>
                      <a:pt x="725009" y="108094"/>
                    </a:lnTo>
                    <a:lnTo>
                      <a:pt x="722099" y="106948"/>
                    </a:lnTo>
                    <a:lnTo>
                      <a:pt x="725626" y="111004"/>
                    </a:lnTo>
                    <a:lnTo>
                      <a:pt x="727654" y="111621"/>
                    </a:lnTo>
                    <a:lnTo>
                      <a:pt x="734971" y="113120"/>
                    </a:lnTo>
                    <a:lnTo>
                      <a:pt x="738763" y="113120"/>
                    </a:lnTo>
                    <a:lnTo>
                      <a:pt x="740262" y="113385"/>
                    </a:lnTo>
                    <a:lnTo>
                      <a:pt x="742025" y="113385"/>
                    </a:lnTo>
                    <a:lnTo>
                      <a:pt x="744670" y="114002"/>
                    </a:lnTo>
                    <a:lnTo>
                      <a:pt x="746698" y="116647"/>
                    </a:lnTo>
                    <a:lnTo>
                      <a:pt x="740614" y="116382"/>
                    </a:lnTo>
                    <a:lnTo>
                      <a:pt x="736823" y="116118"/>
                    </a:lnTo>
                    <a:lnTo>
                      <a:pt x="735942" y="116118"/>
                    </a:lnTo>
                    <a:lnTo>
                      <a:pt x="733032" y="114972"/>
                    </a:lnTo>
                    <a:lnTo>
                      <a:pt x="729241" y="114354"/>
                    </a:lnTo>
                    <a:lnTo>
                      <a:pt x="726596" y="114354"/>
                    </a:lnTo>
                    <a:lnTo>
                      <a:pt x="726067" y="114619"/>
                    </a:lnTo>
                    <a:lnTo>
                      <a:pt x="720777" y="115501"/>
                    </a:lnTo>
                    <a:lnTo>
                      <a:pt x="718132" y="114883"/>
                    </a:lnTo>
                    <a:lnTo>
                      <a:pt x="718132" y="116647"/>
                    </a:lnTo>
                    <a:lnTo>
                      <a:pt x="718396" y="118410"/>
                    </a:lnTo>
                    <a:lnTo>
                      <a:pt x="720688" y="120438"/>
                    </a:lnTo>
                    <a:lnTo>
                      <a:pt x="721834" y="121584"/>
                    </a:lnTo>
                    <a:lnTo>
                      <a:pt x="723863" y="124229"/>
                    </a:lnTo>
                    <a:lnTo>
                      <a:pt x="725890" y="125728"/>
                    </a:lnTo>
                    <a:lnTo>
                      <a:pt x="728800" y="126874"/>
                    </a:lnTo>
                    <a:lnTo>
                      <a:pt x="731093" y="131283"/>
                    </a:lnTo>
                    <a:lnTo>
                      <a:pt x="736647" y="130666"/>
                    </a:lnTo>
                    <a:lnTo>
                      <a:pt x="729946" y="132693"/>
                    </a:lnTo>
                    <a:lnTo>
                      <a:pt x="724127" y="129519"/>
                    </a:lnTo>
                    <a:lnTo>
                      <a:pt x="718572" y="127756"/>
                    </a:lnTo>
                    <a:lnTo>
                      <a:pt x="714164" y="124846"/>
                    </a:lnTo>
                    <a:lnTo>
                      <a:pt x="713635" y="121672"/>
                    </a:lnTo>
                    <a:lnTo>
                      <a:pt x="712753" y="118763"/>
                    </a:lnTo>
                    <a:lnTo>
                      <a:pt x="708345" y="116470"/>
                    </a:lnTo>
                    <a:lnTo>
                      <a:pt x="709844" y="113825"/>
                    </a:lnTo>
                    <a:lnTo>
                      <a:pt x="706053" y="112944"/>
                    </a:lnTo>
                    <a:lnTo>
                      <a:pt x="705171" y="110563"/>
                    </a:lnTo>
                    <a:lnTo>
                      <a:pt x="704906" y="108535"/>
                    </a:lnTo>
                    <a:lnTo>
                      <a:pt x="701115" y="104127"/>
                    </a:lnTo>
                    <a:lnTo>
                      <a:pt x="694414" y="103510"/>
                    </a:lnTo>
                    <a:lnTo>
                      <a:pt x="692387" y="100336"/>
                    </a:lnTo>
                    <a:lnTo>
                      <a:pt x="692387" y="96280"/>
                    </a:lnTo>
                    <a:lnTo>
                      <a:pt x="686215" y="96280"/>
                    </a:lnTo>
                    <a:lnTo>
                      <a:pt x="681806" y="93635"/>
                    </a:lnTo>
                    <a:lnTo>
                      <a:pt x="680308" y="91607"/>
                    </a:lnTo>
                    <a:lnTo>
                      <a:pt x="674488" y="91607"/>
                    </a:lnTo>
                    <a:lnTo>
                      <a:pt x="670697" y="91342"/>
                    </a:lnTo>
                    <a:lnTo>
                      <a:pt x="672196" y="93635"/>
                    </a:lnTo>
                    <a:lnTo>
                      <a:pt x="674841" y="94252"/>
                    </a:lnTo>
                    <a:lnTo>
                      <a:pt x="675105" y="96280"/>
                    </a:lnTo>
                    <a:lnTo>
                      <a:pt x="678897" y="96280"/>
                    </a:lnTo>
                    <a:lnTo>
                      <a:pt x="682423" y="98572"/>
                    </a:lnTo>
                    <a:lnTo>
                      <a:pt x="684451" y="98837"/>
                    </a:lnTo>
                    <a:lnTo>
                      <a:pt x="686832" y="102011"/>
                    </a:lnTo>
                    <a:lnTo>
                      <a:pt x="688860" y="102892"/>
                    </a:lnTo>
                    <a:lnTo>
                      <a:pt x="690623" y="104303"/>
                    </a:lnTo>
                    <a:lnTo>
                      <a:pt x="693533" y="107213"/>
                    </a:lnTo>
                    <a:lnTo>
                      <a:pt x="695296" y="111004"/>
                    </a:lnTo>
                    <a:lnTo>
                      <a:pt x="693268" y="112150"/>
                    </a:lnTo>
                    <a:lnTo>
                      <a:pt x="695913" y="114178"/>
                    </a:lnTo>
                    <a:lnTo>
                      <a:pt x="687802" y="115060"/>
                    </a:lnTo>
                    <a:lnTo>
                      <a:pt x="683393" y="117705"/>
                    </a:lnTo>
                    <a:lnTo>
                      <a:pt x="680748" y="118322"/>
                    </a:lnTo>
                    <a:lnTo>
                      <a:pt x="680484" y="122113"/>
                    </a:lnTo>
                    <a:lnTo>
                      <a:pt x="680484" y="123259"/>
                    </a:lnTo>
                    <a:lnTo>
                      <a:pt x="679073" y="124406"/>
                    </a:lnTo>
                    <a:lnTo>
                      <a:pt x="676428" y="124670"/>
                    </a:lnTo>
                    <a:lnTo>
                      <a:pt x="677927" y="126433"/>
                    </a:lnTo>
                    <a:lnTo>
                      <a:pt x="681983" y="128197"/>
                    </a:lnTo>
                    <a:lnTo>
                      <a:pt x="685157" y="131371"/>
                    </a:lnTo>
                    <a:lnTo>
                      <a:pt x="690447" y="130754"/>
                    </a:lnTo>
                    <a:lnTo>
                      <a:pt x="696530" y="135162"/>
                    </a:lnTo>
                    <a:lnTo>
                      <a:pt x="700321" y="135427"/>
                    </a:lnTo>
                    <a:lnTo>
                      <a:pt x="703848" y="138336"/>
                    </a:lnTo>
                    <a:lnTo>
                      <a:pt x="703848" y="140364"/>
                    </a:lnTo>
                    <a:lnTo>
                      <a:pt x="700586" y="141863"/>
                    </a:lnTo>
                    <a:lnTo>
                      <a:pt x="701468" y="143009"/>
                    </a:lnTo>
                    <a:lnTo>
                      <a:pt x="707022" y="143626"/>
                    </a:lnTo>
                    <a:lnTo>
                      <a:pt x="710196" y="149181"/>
                    </a:lnTo>
                    <a:lnTo>
                      <a:pt x="706405" y="156146"/>
                    </a:lnTo>
                    <a:lnTo>
                      <a:pt x="707022" y="159673"/>
                    </a:lnTo>
                    <a:lnTo>
                      <a:pt x="707287" y="163200"/>
                    </a:lnTo>
                    <a:lnTo>
                      <a:pt x="709932" y="164963"/>
                    </a:lnTo>
                    <a:lnTo>
                      <a:pt x="710196" y="167608"/>
                    </a:lnTo>
                    <a:lnTo>
                      <a:pt x="713106" y="167608"/>
                    </a:lnTo>
                    <a:lnTo>
                      <a:pt x="717162" y="169107"/>
                    </a:lnTo>
                    <a:lnTo>
                      <a:pt x="719454" y="172017"/>
                    </a:lnTo>
                    <a:lnTo>
                      <a:pt x="720336" y="176689"/>
                    </a:lnTo>
                    <a:lnTo>
                      <a:pt x="725890" y="176689"/>
                    </a:lnTo>
                    <a:lnTo>
                      <a:pt x="730299" y="178717"/>
                    </a:lnTo>
                    <a:lnTo>
                      <a:pt x="737000" y="178100"/>
                    </a:lnTo>
                    <a:lnTo>
                      <a:pt x="739909" y="178982"/>
                    </a:lnTo>
                    <a:lnTo>
                      <a:pt x="737000" y="175191"/>
                    </a:lnTo>
                    <a:lnTo>
                      <a:pt x="743436" y="176689"/>
                    </a:lnTo>
                    <a:lnTo>
                      <a:pt x="747844" y="176072"/>
                    </a:lnTo>
                    <a:lnTo>
                      <a:pt x="749608" y="174309"/>
                    </a:lnTo>
                    <a:lnTo>
                      <a:pt x="749872" y="176601"/>
                    </a:lnTo>
                    <a:lnTo>
                      <a:pt x="754280" y="176866"/>
                    </a:lnTo>
                    <a:lnTo>
                      <a:pt x="761863" y="175720"/>
                    </a:lnTo>
                    <a:lnTo>
                      <a:pt x="764243" y="175720"/>
                    </a:lnTo>
                    <a:lnTo>
                      <a:pt x="768917" y="175984"/>
                    </a:lnTo>
                    <a:lnTo>
                      <a:pt x="769798" y="173956"/>
                    </a:lnTo>
                    <a:lnTo>
                      <a:pt x="775618" y="174838"/>
                    </a:lnTo>
                    <a:lnTo>
                      <a:pt x="778262" y="179511"/>
                    </a:lnTo>
                    <a:lnTo>
                      <a:pt x="781172" y="178365"/>
                    </a:lnTo>
                    <a:lnTo>
                      <a:pt x="781701" y="176866"/>
                    </a:lnTo>
                    <a:lnTo>
                      <a:pt x="783729" y="178012"/>
                    </a:lnTo>
                    <a:lnTo>
                      <a:pt x="785492" y="180921"/>
                    </a:lnTo>
                    <a:lnTo>
                      <a:pt x="787785" y="183302"/>
                    </a:lnTo>
                    <a:lnTo>
                      <a:pt x="787256" y="182420"/>
                    </a:lnTo>
                    <a:lnTo>
                      <a:pt x="789284" y="184448"/>
                    </a:lnTo>
                    <a:lnTo>
                      <a:pt x="792193" y="186212"/>
                    </a:lnTo>
                    <a:lnTo>
                      <a:pt x="792193" y="190003"/>
                    </a:lnTo>
                    <a:lnTo>
                      <a:pt x="794573" y="190885"/>
                    </a:lnTo>
                    <a:lnTo>
                      <a:pt x="791928" y="192648"/>
                    </a:lnTo>
                    <a:lnTo>
                      <a:pt x="792546" y="195822"/>
                    </a:lnTo>
                    <a:lnTo>
                      <a:pt x="796337" y="196439"/>
                    </a:lnTo>
                    <a:lnTo>
                      <a:pt x="802421" y="199084"/>
                    </a:lnTo>
                    <a:lnTo>
                      <a:pt x="806829" y="204374"/>
                    </a:lnTo>
                    <a:lnTo>
                      <a:pt x="811766" y="204374"/>
                    </a:lnTo>
                    <a:lnTo>
                      <a:pt x="814411" y="208166"/>
                    </a:lnTo>
                    <a:lnTo>
                      <a:pt x="813265" y="209047"/>
                    </a:lnTo>
                    <a:lnTo>
                      <a:pt x="807710" y="210811"/>
                    </a:lnTo>
                    <a:lnTo>
                      <a:pt x="799247" y="207637"/>
                    </a:lnTo>
                    <a:lnTo>
                      <a:pt x="797483" y="201817"/>
                    </a:lnTo>
                    <a:lnTo>
                      <a:pt x="794573" y="202435"/>
                    </a:lnTo>
                    <a:lnTo>
                      <a:pt x="793075" y="200407"/>
                    </a:lnTo>
                    <a:lnTo>
                      <a:pt x="790165" y="199261"/>
                    </a:lnTo>
                    <a:lnTo>
                      <a:pt x="789284" y="194588"/>
                    </a:lnTo>
                    <a:lnTo>
                      <a:pt x="786110" y="193089"/>
                    </a:lnTo>
                    <a:lnTo>
                      <a:pt x="789019" y="191590"/>
                    </a:lnTo>
                    <a:lnTo>
                      <a:pt x="787785" y="188063"/>
                    </a:lnTo>
                    <a:lnTo>
                      <a:pt x="782847" y="188945"/>
                    </a:lnTo>
                    <a:lnTo>
                      <a:pt x="779938" y="185771"/>
                    </a:lnTo>
                    <a:lnTo>
                      <a:pt x="776764" y="183126"/>
                    </a:lnTo>
                    <a:lnTo>
                      <a:pt x="774471" y="182509"/>
                    </a:lnTo>
                    <a:lnTo>
                      <a:pt x="773589" y="181627"/>
                    </a:lnTo>
                    <a:lnTo>
                      <a:pt x="772708" y="179864"/>
                    </a:lnTo>
                    <a:lnTo>
                      <a:pt x="768035" y="179246"/>
                    </a:lnTo>
                    <a:lnTo>
                      <a:pt x="764861" y="178629"/>
                    </a:lnTo>
                    <a:lnTo>
                      <a:pt x="760805" y="178894"/>
                    </a:lnTo>
                    <a:lnTo>
                      <a:pt x="757896" y="178894"/>
                    </a:lnTo>
                    <a:lnTo>
                      <a:pt x="756749" y="179158"/>
                    </a:lnTo>
                    <a:lnTo>
                      <a:pt x="754104" y="179158"/>
                    </a:lnTo>
                    <a:lnTo>
                      <a:pt x="751459" y="180304"/>
                    </a:lnTo>
                    <a:lnTo>
                      <a:pt x="748550" y="180833"/>
                    </a:lnTo>
                    <a:lnTo>
                      <a:pt x="749167" y="181098"/>
                    </a:lnTo>
                    <a:lnTo>
                      <a:pt x="747139" y="180481"/>
                    </a:lnTo>
                    <a:lnTo>
                      <a:pt x="743612" y="180745"/>
                    </a:lnTo>
                    <a:lnTo>
                      <a:pt x="744759" y="182773"/>
                    </a:lnTo>
                    <a:lnTo>
                      <a:pt x="747404" y="182773"/>
                    </a:lnTo>
                    <a:lnTo>
                      <a:pt x="750048" y="185154"/>
                    </a:lnTo>
                    <a:lnTo>
                      <a:pt x="745111" y="185154"/>
                    </a:lnTo>
                    <a:lnTo>
                      <a:pt x="744494" y="187182"/>
                    </a:lnTo>
                    <a:lnTo>
                      <a:pt x="743612" y="184536"/>
                    </a:lnTo>
                    <a:lnTo>
                      <a:pt x="741320" y="183390"/>
                    </a:lnTo>
                    <a:lnTo>
                      <a:pt x="740174" y="183919"/>
                    </a:lnTo>
                    <a:lnTo>
                      <a:pt x="740703" y="186300"/>
                    </a:lnTo>
                    <a:lnTo>
                      <a:pt x="741849" y="187446"/>
                    </a:lnTo>
                    <a:lnTo>
                      <a:pt x="741232" y="188769"/>
                    </a:lnTo>
                    <a:lnTo>
                      <a:pt x="741849" y="191237"/>
                    </a:lnTo>
                    <a:lnTo>
                      <a:pt x="745023" y="192736"/>
                    </a:lnTo>
                    <a:lnTo>
                      <a:pt x="746081" y="194059"/>
                    </a:lnTo>
                    <a:lnTo>
                      <a:pt x="749431" y="194764"/>
                    </a:lnTo>
                    <a:lnTo>
                      <a:pt x="750842" y="196792"/>
                    </a:lnTo>
                    <a:lnTo>
                      <a:pt x="750577" y="198555"/>
                    </a:lnTo>
                    <a:lnTo>
                      <a:pt x="752341" y="200583"/>
                    </a:lnTo>
                    <a:lnTo>
                      <a:pt x="752870" y="200848"/>
                    </a:lnTo>
                    <a:lnTo>
                      <a:pt x="752958" y="200319"/>
                    </a:lnTo>
                    <a:lnTo>
                      <a:pt x="753311" y="200848"/>
                    </a:lnTo>
                    <a:lnTo>
                      <a:pt x="753311" y="201024"/>
                    </a:lnTo>
                    <a:lnTo>
                      <a:pt x="755339" y="201994"/>
                    </a:lnTo>
                    <a:lnTo>
                      <a:pt x="753311" y="201994"/>
                    </a:lnTo>
                    <a:lnTo>
                      <a:pt x="753311" y="201024"/>
                    </a:lnTo>
                    <a:lnTo>
                      <a:pt x="752958" y="200848"/>
                    </a:lnTo>
                    <a:lnTo>
                      <a:pt x="752429" y="205256"/>
                    </a:lnTo>
                    <a:lnTo>
                      <a:pt x="753311" y="204991"/>
                    </a:lnTo>
                    <a:lnTo>
                      <a:pt x="751812" y="207019"/>
                    </a:lnTo>
                    <a:lnTo>
                      <a:pt x="751812" y="211428"/>
                    </a:lnTo>
                    <a:lnTo>
                      <a:pt x="751195" y="211428"/>
                    </a:lnTo>
                    <a:lnTo>
                      <a:pt x="749167" y="213191"/>
                    </a:lnTo>
                    <a:lnTo>
                      <a:pt x="748285" y="215836"/>
                    </a:lnTo>
                    <a:lnTo>
                      <a:pt x="743612" y="216453"/>
                    </a:lnTo>
                    <a:lnTo>
                      <a:pt x="740438" y="222537"/>
                    </a:lnTo>
                    <a:lnTo>
                      <a:pt x="740703" y="224918"/>
                    </a:lnTo>
                    <a:lnTo>
                      <a:pt x="743348" y="218834"/>
                    </a:lnTo>
                    <a:lnTo>
                      <a:pt x="743348" y="224653"/>
                    </a:lnTo>
                    <a:lnTo>
                      <a:pt x="741584" y="229943"/>
                    </a:lnTo>
                    <a:lnTo>
                      <a:pt x="742466" y="230825"/>
                    </a:lnTo>
                    <a:lnTo>
                      <a:pt x="739556" y="231442"/>
                    </a:lnTo>
                    <a:lnTo>
                      <a:pt x="739292" y="234352"/>
                    </a:lnTo>
                    <a:lnTo>
                      <a:pt x="737264" y="235233"/>
                    </a:lnTo>
                    <a:lnTo>
                      <a:pt x="737000" y="235498"/>
                    </a:lnTo>
                    <a:lnTo>
                      <a:pt x="732062" y="235762"/>
                    </a:lnTo>
                    <a:lnTo>
                      <a:pt x="730299" y="238672"/>
                    </a:lnTo>
                    <a:lnTo>
                      <a:pt x="732944" y="238672"/>
                    </a:lnTo>
                    <a:lnTo>
                      <a:pt x="727742" y="240171"/>
                    </a:lnTo>
                    <a:lnTo>
                      <a:pt x="724215" y="240435"/>
                    </a:lnTo>
                    <a:lnTo>
                      <a:pt x="721041" y="237526"/>
                    </a:lnTo>
                    <a:lnTo>
                      <a:pt x="716985" y="236027"/>
                    </a:lnTo>
                    <a:lnTo>
                      <a:pt x="716456" y="240083"/>
                    </a:lnTo>
                    <a:lnTo>
                      <a:pt x="712313" y="238055"/>
                    </a:lnTo>
                    <a:lnTo>
                      <a:pt x="701203" y="237437"/>
                    </a:lnTo>
                    <a:lnTo>
                      <a:pt x="697412" y="235145"/>
                    </a:lnTo>
                    <a:lnTo>
                      <a:pt x="693885" y="233382"/>
                    </a:lnTo>
                    <a:lnTo>
                      <a:pt x="697941" y="231354"/>
                    </a:lnTo>
                    <a:lnTo>
                      <a:pt x="699087" y="231089"/>
                    </a:lnTo>
                    <a:lnTo>
                      <a:pt x="699969" y="228709"/>
                    </a:lnTo>
                    <a:lnTo>
                      <a:pt x="699087" y="226681"/>
                    </a:lnTo>
                    <a:lnTo>
                      <a:pt x="697941" y="226416"/>
                    </a:lnTo>
                    <a:lnTo>
                      <a:pt x="693533" y="226152"/>
                    </a:lnTo>
                    <a:lnTo>
                      <a:pt x="691769" y="223507"/>
                    </a:lnTo>
                    <a:lnTo>
                      <a:pt x="694150" y="219716"/>
                    </a:lnTo>
                    <a:lnTo>
                      <a:pt x="697588" y="218217"/>
                    </a:lnTo>
                    <a:lnTo>
                      <a:pt x="698470" y="219363"/>
                    </a:lnTo>
                    <a:lnTo>
                      <a:pt x="699616" y="219363"/>
                    </a:lnTo>
                    <a:lnTo>
                      <a:pt x="701644" y="219980"/>
                    </a:lnTo>
                    <a:lnTo>
                      <a:pt x="701379" y="219363"/>
                    </a:lnTo>
                    <a:lnTo>
                      <a:pt x="706934" y="220509"/>
                    </a:lnTo>
                    <a:lnTo>
                      <a:pt x="709315" y="219363"/>
                    </a:lnTo>
                    <a:lnTo>
                      <a:pt x="716016" y="220509"/>
                    </a:lnTo>
                    <a:lnTo>
                      <a:pt x="719542" y="219892"/>
                    </a:lnTo>
                    <a:lnTo>
                      <a:pt x="719807" y="216982"/>
                    </a:lnTo>
                    <a:lnTo>
                      <a:pt x="721570" y="216982"/>
                    </a:lnTo>
                    <a:lnTo>
                      <a:pt x="722188" y="216365"/>
                    </a:lnTo>
                    <a:lnTo>
                      <a:pt x="721570" y="213456"/>
                    </a:lnTo>
                    <a:lnTo>
                      <a:pt x="723334" y="209929"/>
                    </a:lnTo>
                    <a:lnTo>
                      <a:pt x="725450" y="209400"/>
                    </a:lnTo>
                    <a:lnTo>
                      <a:pt x="726860" y="207637"/>
                    </a:lnTo>
                    <a:lnTo>
                      <a:pt x="728359" y="206490"/>
                    </a:lnTo>
                    <a:lnTo>
                      <a:pt x="727477" y="202082"/>
                    </a:lnTo>
                    <a:lnTo>
                      <a:pt x="725714" y="200583"/>
                    </a:lnTo>
                    <a:lnTo>
                      <a:pt x="724832" y="196792"/>
                    </a:lnTo>
                    <a:lnTo>
                      <a:pt x="724568" y="195028"/>
                    </a:lnTo>
                    <a:lnTo>
                      <a:pt x="724568" y="194147"/>
                    </a:lnTo>
                    <a:lnTo>
                      <a:pt x="726067" y="193001"/>
                    </a:lnTo>
                    <a:lnTo>
                      <a:pt x="727213" y="191854"/>
                    </a:lnTo>
                    <a:lnTo>
                      <a:pt x="726596" y="190356"/>
                    </a:lnTo>
                    <a:lnTo>
                      <a:pt x="725450" y="188945"/>
                    </a:lnTo>
                    <a:lnTo>
                      <a:pt x="723950" y="186917"/>
                    </a:lnTo>
                    <a:lnTo>
                      <a:pt x="721659" y="185418"/>
                    </a:lnTo>
                    <a:lnTo>
                      <a:pt x="719630" y="184536"/>
                    </a:lnTo>
                    <a:lnTo>
                      <a:pt x="717867" y="181891"/>
                    </a:lnTo>
                    <a:lnTo>
                      <a:pt x="717603" y="180393"/>
                    </a:lnTo>
                    <a:lnTo>
                      <a:pt x="715839" y="182420"/>
                    </a:lnTo>
                    <a:lnTo>
                      <a:pt x="715222" y="181274"/>
                    </a:lnTo>
                    <a:lnTo>
                      <a:pt x="711695" y="180393"/>
                    </a:lnTo>
                    <a:lnTo>
                      <a:pt x="709932" y="180393"/>
                    </a:lnTo>
                    <a:lnTo>
                      <a:pt x="708433" y="178982"/>
                    </a:lnTo>
                    <a:lnTo>
                      <a:pt x="707904" y="178365"/>
                    </a:lnTo>
                    <a:lnTo>
                      <a:pt x="704995" y="176601"/>
                    </a:lnTo>
                    <a:lnTo>
                      <a:pt x="704730" y="175455"/>
                    </a:lnTo>
                    <a:lnTo>
                      <a:pt x="701203" y="175455"/>
                    </a:lnTo>
                    <a:lnTo>
                      <a:pt x="701203" y="173692"/>
                    </a:lnTo>
                    <a:lnTo>
                      <a:pt x="699704" y="171664"/>
                    </a:lnTo>
                    <a:lnTo>
                      <a:pt x="698823" y="168490"/>
                    </a:lnTo>
                    <a:lnTo>
                      <a:pt x="697059" y="167344"/>
                    </a:lnTo>
                    <a:lnTo>
                      <a:pt x="696795" y="167344"/>
                    </a:lnTo>
                    <a:lnTo>
                      <a:pt x="693885" y="164699"/>
                    </a:lnTo>
                    <a:lnTo>
                      <a:pt x="690094" y="161172"/>
                    </a:lnTo>
                    <a:lnTo>
                      <a:pt x="687537" y="157116"/>
                    </a:lnTo>
                    <a:lnTo>
                      <a:pt x="687537" y="164434"/>
                    </a:lnTo>
                    <a:lnTo>
                      <a:pt x="685774" y="155088"/>
                    </a:lnTo>
                    <a:lnTo>
                      <a:pt x="685157" y="152179"/>
                    </a:lnTo>
                    <a:lnTo>
                      <a:pt x="684275" y="149005"/>
                    </a:lnTo>
                    <a:lnTo>
                      <a:pt x="685421" y="146360"/>
                    </a:lnTo>
                    <a:lnTo>
                      <a:pt x="682247" y="146624"/>
                    </a:lnTo>
                    <a:lnTo>
                      <a:pt x="680219" y="141951"/>
                    </a:lnTo>
                    <a:lnTo>
                      <a:pt x="680748" y="138160"/>
                    </a:lnTo>
                    <a:lnTo>
                      <a:pt x="678721" y="136132"/>
                    </a:lnTo>
                    <a:lnTo>
                      <a:pt x="674665" y="135250"/>
                    </a:lnTo>
                    <a:lnTo>
                      <a:pt x="674400" y="132341"/>
                    </a:lnTo>
                    <a:lnTo>
                      <a:pt x="670344" y="130842"/>
                    </a:lnTo>
                    <a:lnTo>
                      <a:pt x="666818" y="128814"/>
                    </a:lnTo>
                    <a:lnTo>
                      <a:pt x="665671" y="131106"/>
                    </a:lnTo>
                    <a:lnTo>
                      <a:pt x="660999" y="126169"/>
                    </a:lnTo>
                    <a:lnTo>
                      <a:pt x="659852" y="123259"/>
                    </a:lnTo>
                    <a:lnTo>
                      <a:pt x="661263" y="119733"/>
                    </a:lnTo>
                    <a:lnTo>
                      <a:pt x="659499" y="119468"/>
                    </a:lnTo>
                    <a:lnTo>
                      <a:pt x="663291" y="117088"/>
                    </a:lnTo>
                    <a:lnTo>
                      <a:pt x="660999" y="110651"/>
                    </a:lnTo>
                    <a:lnTo>
                      <a:pt x="658089" y="107742"/>
                    </a:lnTo>
                    <a:lnTo>
                      <a:pt x="658354" y="103686"/>
                    </a:lnTo>
                    <a:lnTo>
                      <a:pt x="653681" y="102011"/>
                    </a:lnTo>
                    <a:lnTo>
                      <a:pt x="644335" y="101746"/>
                    </a:lnTo>
                    <a:lnTo>
                      <a:pt x="645481" y="104920"/>
                    </a:lnTo>
                    <a:lnTo>
                      <a:pt x="648391" y="106948"/>
                    </a:lnTo>
                    <a:lnTo>
                      <a:pt x="645745" y="106331"/>
                    </a:lnTo>
                    <a:lnTo>
                      <a:pt x="641954" y="104303"/>
                    </a:lnTo>
                    <a:lnTo>
                      <a:pt x="640455" y="108359"/>
                    </a:lnTo>
                    <a:lnTo>
                      <a:pt x="638163" y="108094"/>
                    </a:lnTo>
                    <a:lnTo>
                      <a:pt x="636399" y="100776"/>
                    </a:lnTo>
                    <a:lnTo>
                      <a:pt x="640808" y="94957"/>
                    </a:lnTo>
                    <a:lnTo>
                      <a:pt x="637017" y="93811"/>
                    </a:lnTo>
                    <a:lnTo>
                      <a:pt x="628817" y="96985"/>
                    </a:lnTo>
                    <a:lnTo>
                      <a:pt x="627053" y="93811"/>
                    </a:lnTo>
                    <a:lnTo>
                      <a:pt x="623791" y="96456"/>
                    </a:lnTo>
                    <a:lnTo>
                      <a:pt x="620617" y="96192"/>
                    </a:lnTo>
                    <a:lnTo>
                      <a:pt x="616826" y="98837"/>
                    </a:lnTo>
                    <a:lnTo>
                      <a:pt x="604835" y="95663"/>
                    </a:lnTo>
                    <a:lnTo>
                      <a:pt x="598399" y="101217"/>
                    </a:lnTo>
                    <a:lnTo>
                      <a:pt x="597253" y="106155"/>
                    </a:lnTo>
                    <a:lnTo>
                      <a:pt x="598135" y="109329"/>
                    </a:lnTo>
                    <a:lnTo>
                      <a:pt x="601661" y="105538"/>
                    </a:lnTo>
                    <a:lnTo>
                      <a:pt x="601926" y="111974"/>
                    </a:lnTo>
                    <a:lnTo>
                      <a:pt x="600427" y="117528"/>
                    </a:lnTo>
                    <a:lnTo>
                      <a:pt x="593990" y="126522"/>
                    </a:lnTo>
                    <a:lnTo>
                      <a:pt x="589582" y="123348"/>
                    </a:lnTo>
                    <a:lnTo>
                      <a:pt x="582617" y="129431"/>
                    </a:lnTo>
                    <a:lnTo>
                      <a:pt x="580853" y="135515"/>
                    </a:lnTo>
                    <a:lnTo>
                      <a:pt x="583498" y="135515"/>
                    </a:lnTo>
                    <a:lnTo>
                      <a:pt x="585791" y="130577"/>
                    </a:lnTo>
                    <a:lnTo>
                      <a:pt x="588171" y="132958"/>
                    </a:lnTo>
                    <a:lnTo>
                      <a:pt x="587554" y="141158"/>
                    </a:lnTo>
                    <a:lnTo>
                      <a:pt x="594519" y="145831"/>
                    </a:lnTo>
                    <a:lnTo>
                      <a:pt x="596283" y="145213"/>
                    </a:lnTo>
                    <a:lnTo>
                      <a:pt x="597429" y="145478"/>
                    </a:lnTo>
                    <a:lnTo>
                      <a:pt x="596900" y="143979"/>
                    </a:lnTo>
                    <a:lnTo>
                      <a:pt x="593373" y="141951"/>
                    </a:lnTo>
                    <a:lnTo>
                      <a:pt x="596019" y="140805"/>
                    </a:lnTo>
                    <a:lnTo>
                      <a:pt x="598311" y="141687"/>
                    </a:lnTo>
                    <a:lnTo>
                      <a:pt x="600691" y="143097"/>
                    </a:lnTo>
                    <a:lnTo>
                      <a:pt x="600074" y="144861"/>
                    </a:lnTo>
                    <a:lnTo>
                      <a:pt x="600074" y="148035"/>
                    </a:lnTo>
                    <a:lnTo>
                      <a:pt x="601485" y="150063"/>
                    </a:lnTo>
                    <a:lnTo>
                      <a:pt x="601749" y="153589"/>
                    </a:lnTo>
                    <a:lnTo>
                      <a:pt x="602895" y="155970"/>
                    </a:lnTo>
                    <a:lnTo>
                      <a:pt x="601397" y="158262"/>
                    </a:lnTo>
                    <a:lnTo>
                      <a:pt x="598752" y="159408"/>
                    </a:lnTo>
                    <a:lnTo>
                      <a:pt x="599016" y="160819"/>
                    </a:lnTo>
                    <a:lnTo>
                      <a:pt x="600779" y="163993"/>
                    </a:lnTo>
                    <a:lnTo>
                      <a:pt x="604571" y="164258"/>
                    </a:lnTo>
                    <a:lnTo>
                      <a:pt x="608362" y="164875"/>
                    </a:lnTo>
                    <a:lnTo>
                      <a:pt x="609773" y="165757"/>
                    </a:lnTo>
                    <a:lnTo>
                      <a:pt x="611272" y="165757"/>
                    </a:lnTo>
                    <a:lnTo>
                      <a:pt x="612682" y="166903"/>
                    </a:lnTo>
                    <a:lnTo>
                      <a:pt x="621411" y="167167"/>
                    </a:lnTo>
                    <a:lnTo>
                      <a:pt x="619119" y="167167"/>
                    </a:lnTo>
                    <a:lnTo>
                      <a:pt x="615944" y="167432"/>
                    </a:lnTo>
                    <a:lnTo>
                      <a:pt x="623262" y="167432"/>
                    </a:lnTo>
                    <a:lnTo>
                      <a:pt x="625643" y="168049"/>
                    </a:lnTo>
                    <a:lnTo>
                      <a:pt x="625643" y="167961"/>
                    </a:lnTo>
                    <a:lnTo>
                      <a:pt x="626524" y="168225"/>
                    </a:lnTo>
                    <a:lnTo>
                      <a:pt x="625643" y="167961"/>
                    </a:lnTo>
                    <a:lnTo>
                      <a:pt x="627671" y="170870"/>
                    </a:lnTo>
                    <a:lnTo>
                      <a:pt x="629699" y="173163"/>
                    </a:lnTo>
                    <a:lnTo>
                      <a:pt x="631462" y="175808"/>
                    </a:lnTo>
                    <a:lnTo>
                      <a:pt x="631462" y="174926"/>
                    </a:lnTo>
                    <a:lnTo>
                      <a:pt x="633225" y="178453"/>
                    </a:lnTo>
                    <a:lnTo>
                      <a:pt x="633843" y="177836"/>
                    </a:lnTo>
                    <a:lnTo>
                      <a:pt x="635606" y="178982"/>
                    </a:lnTo>
                    <a:lnTo>
                      <a:pt x="638251" y="178982"/>
                    </a:lnTo>
                    <a:lnTo>
                      <a:pt x="640632" y="179246"/>
                    </a:lnTo>
                    <a:lnTo>
                      <a:pt x="641249" y="179775"/>
                    </a:lnTo>
                    <a:lnTo>
                      <a:pt x="643541" y="179246"/>
                    </a:lnTo>
                    <a:lnTo>
                      <a:pt x="645569" y="180657"/>
                    </a:lnTo>
                    <a:lnTo>
                      <a:pt x="646715" y="182420"/>
                    </a:lnTo>
                    <a:lnTo>
                      <a:pt x="647862" y="183919"/>
                    </a:lnTo>
                    <a:lnTo>
                      <a:pt x="648478" y="186212"/>
                    </a:lnTo>
                    <a:lnTo>
                      <a:pt x="649360" y="187358"/>
                    </a:lnTo>
                    <a:lnTo>
                      <a:pt x="650507" y="189121"/>
                    </a:lnTo>
                    <a:lnTo>
                      <a:pt x="647244" y="189386"/>
                    </a:lnTo>
                    <a:lnTo>
                      <a:pt x="646715" y="191149"/>
                    </a:lnTo>
                    <a:lnTo>
                      <a:pt x="643541" y="192648"/>
                    </a:lnTo>
                    <a:lnTo>
                      <a:pt x="646098" y="194411"/>
                    </a:lnTo>
                    <a:lnTo>
                      <a:pt x="646098" y="195028"/>
                    </a:lnTo>
                    <a:lnTo>
                      <a:pt x="644070" y="195028"/>
                    </a:lnTo>
                    <a:lnTo>
                      <a:pt x="642924" y="193001"/>
                    </a:lnTo>
                    <a:lnTo>
                      <a:pt x="643541" y="192736"/>
                    </a:lnTo>
                    <a:lnTo>
                      <a:pt x="643541" y="192736"/>
                    </a:lnTo>
                    <a:lnTo>
                      <a:pt x="641778" y="192736"/>
                    </a:lnTo>
                    <a:lnTo>
                      <a:pt x="633578" y="188945"/>
                    </a:lnTo>
                    <a:lnTo>
                      <a:pt x="630669" y="189209"/>
                    </a:lnTo>
                    <a:lnTo>
                      <a:pt x="627759" y="187710"/>
                    </a:lnTo>
                    <a:lnTo>
                      <a:pt x="623086" y="183919"/>
                    </a:lnTo>
                    <a:lnTo>
                      <a:pt x="620441" y="182420"/>
                    </a:lnTo>
                    <a:lnTo>
                      <a:pt x="616914" y="182156"/>
                    </a:lnTo>
                    <a:lnTo>
                      <a:pt x="615768" y="183655"/>
                    </a:lnTo>
                    <a:lnTo>
                      <a:pt x="612859" y="179599"/>
                    </a:lnTo>
                    <a:lnTo>
                      <a:pt x="609685" y="178453"/>
                    </a:lnTo>
                    <a:lnTo>
                      <a:pt x="606775" y="178188"/>
                    </a:lnTo>
                    <a:lnTo>
                      <a:pt x="607040" y="178453"/>
                    </a:lnTo>
                    <a:lnTo>
                      <a:pt x="605011" y="177571"/>
                    </a:lnTo>
                    <a:lnTo>
                      <a:pt x="601749" y="176954"/>
                    </a:lnTo>
                    <a:lnTo>
                      <a:pt x="602631" y="178100"/>
                    </a:lnTo>
                    <a:lnTo>
                      <a:pt x="598223" y="176072"/>
                    </a:lnTo>
                    <a:lnTo>
                      <a:pt x="598223" y="176601"/>
                    </a:lnTo>
                    <a:lnTo>
                      <a:pt x="594432" y="174309"/>
                    </a:lnTo>
                    <a:lnTo>
                      <a:pt x="594167" y="174926"/>
                    </a:lnTo>
                    <a:lnTo>
                      <a:pt x="593638" y="174309"/>
                    </a:lnTo>
                    <a:lnTo>
                      <a:pt x="593373" y="174309"/>
                    </a:lnTo>
                    <a:lnTo>
                      <a:pt x="591610" y="174044"/>
                    </a:lnTo>
                    <a:lnTo>
                      <a:pt x="590728" y="174044"/>
                    </a:lnTo>
                    <a:lnTo>
                      <a:pt x="587554" y="174309"/>
                    </a:lnTo>
                    <a:lnTo>
                      <a:pt x="587554" y="175808"/>
                    </a:lnTo>
                    <a:lnTo>
                      <a:pt x="583763" y="172898"/>
                    </a:lnTo>
                    <a:lnTo>
                      <a:pt x="584909" y="173515"/>
                    </a:lnTo>
                    <a:lnTo>
                      <a:pt x="583763" y="171223"/>
                    </a:lnTo>
                    <a:lnTo>
                      <a:pt x="580589" y="170958"/>
                    </a:lnTo>
                    <a:lnTo>
                      <a:pt x="577679" y="170341"/>
                    </a:lnTo>
                    <a:lnTo>
                      <a:pt x="577415" y="170958"/>
                    </a:lnTo>
                    <a:lnTo>
                      <a:pt x="576004" y="169460"/>
                    </a:lnTo>
                    <a:lnTo>
                      <a:pt x="574505" y="169724"/>
                    </a:lnTo>
                    <a:lnTo>
                      <a:pt x="573623" y="168578"/>
                    </a:lnTo>
                    <a:lnTo>
                      <a:pt x="569832" y="167167"/>
                    </a:lnTo>
                    <a:lnTo>
                      <a:pt x="562514" y="167167"/>
                    </a:lnTo>
                    <a:lnTo>
                      <a:pt x="560486" y="164875"/>
                    </a:lnTo>
                    <a:lnTo>
                      <a:pt x="559340" y="163993"/>
                    </a:lnTo>
                    <a:lnTo>
                      <a:pt x="555814" y="163729"/>
                    </a:lnTo>
                    <a:lnTo>
                      <a:pt x="552022" y="162847"/>
                    </a:lnTo>
                    <a:lnTo>
                      <a:pt x="547349" y="162230"/>
                    </a:lnTo>
                    <a:lnTo>
                      <a:pt x="546468" y="159849"/>
                    </a:lnTo>
                    <a:lnTo>
                      <a:pt x="545057" y="160995"/>
                    </a:lnTo>
                    <a:lnTo>
                      <a:pt x="543294" y="161524"/>
                    </a:lnTo>
                    <a:lnTo>
                      <a:pt x="541001" y="159761"/>
                    </a:lnTo>
                    <a:lnTo>
                      <a:pt x="539502" y="157116"/>
                    </a:lnTo>
                    <a:lnTo>
                      <a:pt x="539062" y="158879"/>
                    </a:lnTo>
                    <a:lnTo>
                      <a:pt x="536152" y="160378"/>
                    </a:lnTo>
                    <a:lnTo>
                      <a:pt x="530598" y="161260"/>
                    </a:lnTo>
                    <a:lnTo>
                      <a:pt x="526189" y="162406"/>
                    </a:lnTo>
                    <a:lnTo>
                      <a:pt x="522133" y="160907"/>
                    </a:lnTo>
                    <a:lnTo>
                      <a:pt x="521252" y="159761"/>
                    </a:lnTo>
                    <a:lnTo>
                      <a:pt x="517196" y="160643"/>
                    </a:lnTo>
                    <a:lnTo>
                      <a:pt x="518606" y="158350"/>
                    </a:lnTo>
                    <a:lnTo>
                      <a:pt x="517725" y="155705"/>
                    </a:lnTo>
                    <a:lnTo>
                      <a:pt x="515962" y="155441"/>
                    </a:lnTo>
                    <a:lnTo>
                      <a:pt x="520017" y="151385"/>
                    </a:lnTo>
                    <a:lnTo>
                      <a:pt x="517372" y="151385"/>
                    </a:lnTo>
                    <a:lnTo>
                      <a:pt x="512964" y="154912"/>
                    </a:lnTo>
                    <a:lnTo>
                      <a:pt x="511818" y="159585"/>
                    </a:lnTo>
                    <a:lnTo>
                      <a:pt x="506263" y="160202"/>
                    </a:lnTo>
                    <a:lnTo>
                      <a:pt x="503883" y="160819"/>
                    </a:lnTo>
                    <a:lnTo>
                      <a:pt x="501237" y="160819"/>
                    </a:lnTo>
                    <a:lnTo>
                      <a:pt x="500356" y="159056"/>
                    </a:lnTo>
                    <a:lnTo>
                      <a:pt x="500356" y="163993"/>
                    </a:lnTo>
                    <a:lnTo>
                      <a:pt x="498592" y="164875"/>
                    </a:lnTo>
                    <a:lnTo>
                      <a:pt x="498592" y="166903"/>
                    </a:lnTo>
                    <a:lnTo>
                      <a:pt x="502384" y="168402"/>
                    </a:lnTo>
                    <a:lnTo>
                      <a:pt x="504676" y="170165"/>
                    </a:lnTo>
                    <a:lnTo>
                      <a:pt x="506439" y="172546"/>
                    </a:lnTo>
                    <a:lnTo>
                      <a:pt x="508203" y="172810"/>
                    </a:lnTo>
                    <a:lnTo>
                      <a:pt x="508203" y="175455"/>
                    </a:lnTo>
                    <a:lnTo>
                      <a:pt x="511729" y="175720"/>
                    </a:lnTo>
                    <a:lnTo>
                      <a:pt x="514639" y="176601"/>
                    </a:lnTo>
                    <a:lnTo>
                      <a:pt x="516667" y="181010"/>
                    </a:lnTo>
                    <a:lnTo>
                      <a:pt x="515521" y="182773"/>
                    </a:lnTo>
                    <a:lnTo>
                      <a:pt x="511729" y="181274"/>
                    </a:lnTo>
                    <a:lnTo>
                      <a:pt x="509437" y="181891"/>
                    </a:lnTo>
                    <a:lnTo>
                      <a:pt x="507938" y="183919"/>
                    </a:lnTo>
                    <a:lnTo>
                      <a:pt x="505646" y="183919"/>
                    </a:lnTo>
                    <a:lnTo>
                      <a:pt x="501590" y="183302"/>
                    </a:lnTo>
                    <a:lnTo>
                      <a:pt x="502207" y="185947"/>
                    </a:lnTo>
                    <a:lnTo>
                      <a:pt x="503089" y="190620"/>
                    </a:lnTo>
                    <a:lnTo>
                      <a:pt x="501326" y="192383"/>
                    </a:lnTo>
                    <a:lnTo>
                      <a:pt x="499298" y="189738"/>
                    </a:lnTo>
                    <a:lnTo>
                      <a:pt x="496388" y="189738"/>
                    </a:lnTo>
                    <a:lnTo>
                      <a:pt x="494096" y="187975"/>
                    </a:lnTo>
                    <a:lnTo>
                      <a:pt x="493831" y="186829"/>
                    </a:lnTo>
                    <a:lnTo>
                      <a:pt x="493214" y="184184"/>
                    </a:lnTo>
                    <a:lnTo>
                      <a:pt x="494096" y="182685"/>
                    </a:lnTo>
                    <a:lnTo>
                      <a:pt x="497358" y="181803"/>
                    </a:lnTo>
                    <a:lnTo>
                      <a:pt x="491803" y="181186"/>
                    </a:lnTo>
                    <a:lnTo>
                      <a:pt x="490305" y="179158"/>
                    </a:lnTo>
                    <a:lnTo>
                      <a:pt x="488012" y="178894"/>
                    </a:lnTo>
                    <a:lnTo>
                      <a:pt x="486866" y="176601"/>
                    </a:lnTo>
                    <a:lnTo>
                      <a:pt x="484838" y="176601"/>
                    </a:lnTo>
                    <a:lnTo>
                      <a:pt x="484485" y="172810"/>
                    </a:lnTo>
                    <a:lnTo>
                      <a:pt x="482987" y="178629"/>
                    </a:lnTo>
                    <a:lnTo>
                      <a:pt x="480341" y="178365"/>
                    </a:lnTo>
                    <a:lnTo>
                      <a:pt x="478049" y="178365"/>
                    </a:lnTo>
                    <a:lnTo>
                      <a:pt x="477168" y="180745"/>
                    </a:lnTo>
                    <a:lnTo>
                      <a:pt x="474522" y="180745"/>
                    </a:lnTo>
                    <a:lnTo>
                      <a:pt x="473905" y="181274"/>
                    </a:lnTo>
                    <a:lnTo>
                      <a:pt x="469849" y="182773"/>
                    </a:lnTo>
                    <a:lnTo>
                      <a:pt x="467204" y="182773"/>
                    </a:lnTo>
                    <a:lnTo>
                      <a:pt x="464559" y="186829"/>
                    </a:lnTo>
                    <a:lnTo>
                      <a:pt x="465705" y="189209"/>
                    </a:lnTo>
                    <a:lnTo>
                      <a:pt x="460504" y="191237"/>
                    </a:lnTo>
                    <a:lnTo>
                      <a:pt x="458476" y="195028"/>
                    </a:lnTo>
                    <a:lnTo>
                      <a:pt x="455831" y="194411"/>
                    </a:lnTo>
                    <a:lnTo>
                      <a:pt x="456977" y="192383"/>
                    </a:lnTo>
                    <a:lnTo>
                      <a:pt x="460239" y="189209"/>
                    </a:lnTo>
                    <a:lnTo>
                      <a:pt x="461738" y="186829"/>
                    </a:lnTo>
                    <a:lnTo>
                      <a:pt x="459710" y="186300"/>
                    </a:lnTo>
                    <a:lnTo>
                      <a:pt x="453274" y="184536"/>
                    </a:lnTo>
                    <a:lnTo>
                      <a:pt x="449483" y="184272"/>
                    </a:lnTo>
                    <a:lnTo>
                      <a:pt x="447719" y="186035"/>
                    </a:lnTo>
                    <a:lnTo>
                      <a:pt x="444545" y="186035"/>
                    </a:lnTo>
                    <a:lnTo>
                      <a:pt x="442517" y="186917"/>
                    </a:lnTo>
                    <a:lnTo>
                      <a:pt x="440225" y="185418"/>
                    </a:lnTo>
                    <a:lnTo>
                      <a:pt x="436698" y="187182"/>
                    </a:lnTo>
                    <a:lnTo>
                      <a:pt x="434406" y="186564"/>
                    </a:lnTo>
                    <a:lnTo>
                      <a:pt x="433260" y="186829"/>
                    </a:lnTo>
                    <a:lnTo>
                      <a:pt x="431849" y="186212"/>
                    </a:lnTo>
                    <a:lnTo>
                      <a:pt x="429204" y="184713"/>
                    </a:lnTo>
                    <a:lnTo>
                      <a:pt x="428587" y="186212"/>
                    </a:lnTo>
                    <a:lnTo>
                      <a:pt x="426823" y="187093"/>
                    </a:lnTo>
                    <a:lnTo>
                      <a:pt x="428322" y="190532"/>
                    </a:lnTo>
                    <a:lnTo>
                      <a:pt x="425148" y="193177"/>
                    </a:lnTo>
                    <a:lnTo>
                      <a:pt x="426911" y="190796"/>
                    </a:lnTo>
                    <a:lnTo>
                      <a:pt x="424619" y="189915"/>
                    </a:lnTo>
                    <a:lnTo>
                      <a:pt x="423120" y="191061"/>
                    </a:lnTo>
                    <a:lnTo>
                      <a:pt x="422239" y="193970"/>
                    </a:lnTo>
                    <a:lnTo>
                      <a:pt x="419594" y="192824"/>
                    </a:lnTo>
                    <a:lnTo>
                      <a:pt x="417301" y="191325"/>
                    </a:lnTo>
                    <a:lnTo>
                      <a:pt x="414391" y="192824"/>
                    </a:lnTo>
                    <a:lnTo>
                      <a:pt x="413774" y="189915"/>
                    </a:lnTo>
                    <a:lnTo>
                      <a:pt x="412893" y="187887"/>
                    </a:lnTo>
                    <a:lnTo>
                      <a:pt x="408837" y="187005"/>
                    </a:lnTo>
                    <a:lnTo>
                      <a:pt x="403282" y="184096"/>
                    </a:lnTo>
                    <a:lnTo>
                      <a:pt x="405927" y="183214"/>
                    </a:lnTo>
                    <a:lnTo>
                      <a:pt x="404781" y="180569"/>
                    </a:lnTo>
                    <a:lnTo>
                      <a:pt x="407691" y="180833"/>
                    </a:lnTo>
                    <a:lnTo>
                      <a:pt x="407955" y="179070"/>
                    </a:lnTo>
                    <a:lnTo>
                      <a:pt x="411129" y="179070"/>
                    </a:lnTo>
                    <a:lnTo>
                      <a:pt x="412628" y="177571"/>
                    </a:lnTo>
                    <a:lnTo>
                      <a:pt x="412364" y="176689"/>
                    </a:lnTo>
                    <a:lnTo>
                      <a:pt x="410336" y="176160"/>
                    </a:lnTo>
                    <a:lnTo>
                      <a:pt x="410336" y="175014"/>
                    </a:lnTo>
                    <a:lnTo>
                      <a:pt x="407691" y="176160"/>
                    </a:lnTo>
                    <a:lnTo>
                      <a:pt x="405398" y="174662"/>
                    </a:lnTo>
                    <a:lnTo>
                      <a:pt x="403900" y="176425"/>
                    </a:lnTo>
                    <a:lnTo>
                      <a:pt x="398962" y="178188"/>
                    </a:lnTo>
                    <a:lnTo>
                      <a:pt x="395788" y="179335"/>
                    </a:lnTo>
                    <a:lnTo>
                      <a:pt x="396934" y="180481"/>
                    </a:lnTo>
                    <a:lnTo>
                      <a:pt x="398080" y="180745"/>
                    </a:lnTo>
                    <a:lnTo>
                      <a:pt x="393143" y="181627"/>
                    </a:lnTo>
                    <a:lnTo>
                      <a:pt x="392526" y="183655"/>
                    </a:lnTo>
                    <a:lnTo>
                      <a:pt x="390498" y="182773"/>
                    </a:lnTo>
                    <a:lnTo>
                      <a:pt x="389087" y="183038"/>
                    </a:lnTo>
                    <a:lnTo>
                      <a:pt x="388206" y="186829"/>
                    </a:lnTo>
                    <a:lnTo>
                      <a:pt x="389969" y="189474"/>
                    </a:lnTo>
                    <a:lnTo>
                      <a:pt x="383003" y="188328"/>
                    </a:lnTo>
                    <a:lnTo>
                      <a:pt x="385384" y="191237"/>
                    </a:lnTo>
                    <a:lnTo>
                      <a:pt x="382474" y="193882"/>
                    </a:lnTo>
                    <a:lnTo>
                      <a:pt x="380094" y="197409"/>
                    </a:lnTo>
                    <a:lnTo>
                      <a:pt x="376920" y="196263"/>
                    </a:lnTo>
                    <a:lnTo>
                      <a:pt x="375157" y="190708"/>
                    </a:lnTo>
                    <a:lnTo>
                      <a:pt x="378683" y="189562"/>
                    </a:lnTo>
                    <a:lnTo>
                      <a:pt x="378419" y="186917"/>
                    </a:lnTo>
                    <a:lnTo>
                      <a:pt x="374628" y="186652"/>
                    </a:lnTo>
                    <a:lnTo>
                      <a:pt x="374010" y="185771"/>
                    </a:lnTo>
                    <a:lnTo>
                      <a:pt x="372335" y="185506"/>
                    </a:lnTo>
                    <a:lnTo>
                      <a:pt x="371453" y="185242"/>
                    </a:lnTo>
                    <a:lnTo>
                      <a:pt x="368544" y="185242"/>
                    </a:lnTo>
                    <a:lnTo>
                      <a:pt x="371189" y="187005"/>
                    </a:lnTo>
                    <a:lnTo>
                      <a:pt x="372071" y="189033"/>
                    </a:lnTo>
                    <a:lnTo>
                      <a:pt x="368544" y="188151"/>
                    </a:lnTo>
                    <a:lnTo>
                      <a:pt x="368544" y="192824"/>
                    </a:lnTo>
                    <a:lnTo>
                      <a:pt x="365899" y="195998"/>
                    </a:lnTo>
                    <a:lnTo>
                      <a:pt x="362725" y="193970"/>
                    </a:lnTo>
                    <a:lnTo>
                      <a:pt x="361579" y="190179"/>
                    </a:lnTo>
                    <a:lnTo>
                      <a:pt x="359286" y="193353"/>
                    </a:lnTo>
                    <a:lnTo>
                      <a:pt x="359022" y="195646"/>
                    </a:lnTo>
                    <a:lnTo>
                      <a:pt x="356994" y="197145"/>
                    </a:lnTo>
                    <a:lnTo>
                      <a:pt x="355759" y="199172"/>
                    </a:lnTo>
                    <a:lnTo>
                      <a:pt x="351968" y="198908"/>
                    </a:lnTo>
                    <a:lnTo>
                      <a:pt x="349323" y="204198"/>
                    </a:lnTo>
                    <a:lnTo>
                      <a:pt x="346678" y="205080"/>
                    </a:lnTo>
                    <a:lnTo>
                      <a:pt x="345267" y="201288"/>
                    </a:lnTo>
                    <a:lnTo>
                      <a:pt x="344121" y="199525"/>
                    </a:lnTo>
                    <a:lnTo>
                      <a:pt x="342093" y="201288"/>
                    </a:lnTo>
                    <a:lnTo>
                      <a:pt x="340947" y="201553"/>
                    </a:lnTo>
                    <a:lnTo>
                      <a:pt x="340330" y="200054"/>
                    </a:lnTo>
                    <a:lnTo>
                      <a:pt x="337156" y="199790"/>
                    </a:lnTo>
                    <a:lnTo>
                      <a:pt x="343857" y="204727"/>
                    </a:lnTo>
                    <a:lnTo>
                      <a:pt x="341564" y="205344"/>
                    </a:lnTo>
                    <a:lnTo>
                      <a:pt x="336892" y="203052"/>
                    </a:lnTo>
                    <a:lnTo>
                      <a:pt x="334599" y="200407"/>
                    </a:lnTo>
                    <a:lnTo>
                      <a:pt x="336627" y="205344"/>
                    </a:lnTo>
                    <a:lnTo>
                      <a:pt x="333453" y="203052"/>
                    </a:lnTo>
                    <a:lnTo>
                      <a:pt x="331954" y="204815"/>
                    </a:lnTo>
                    <a:lnTo>
                      <a:pt x="329926" y="205961"/>
                    </a:lnTo>
                    <a:lnTo>
                      <a:pt x="328515" y="208254"/>
                    </a:lnTo>
                    <a:lnTo>
                      <a:pt x="327369" y="208518"/>
                    </a:lnTo>
                    <a:lnTo>
                      <a:pt x="325342" y="207108"/>
                    </a:lnTo>
                    <a:lnTo>
                      <a:pt x="323049" y="205080"/>
                    </a:lnTo>
                    <a:lnTo>
                      <a:pt x="321021" y="206226"/>
                    </a:lnTo>
                    <a:lnTo>
                      <a:pt x="322167" y="209135"/>
                    </a:lnTo>
                    <a:lnTo>
                      <a:pt x="323314" y="211163"/>
                    </a:lnTo>
                    <a:lnTo>
                      <a:pt x="322785" y="212574"/>
                    </a:lnTo>
                    <a:lnTo>
                      <a:pt x="323314" y="214602"/>
                    </a:lnTo>
                    <a:lnTo>
                      <a:pt x="322432" y="217247"/>
                    </a:lnTo>
                    <a:lnTo>
                      <a:pt x="323314" y="218129"/>
                    </a:lnTo>
                    <a:lnTo>
                      <a:pt x="325959" y="220156"/>
                    </a:lnTo>
                    <a:lnTo>
                      <a:pt x="325077" y="223948"/>
                    </a:lnTo>
                    <a:lnTo>
                      <a:pt x="322520" y="222801"/>
                    </a:lnTo>
                    <a:lnTo>
                      <a:pt x="321638" y="225976"/>
                    </a:lnTo>
                    <a:lnTo>
                      <a:pt x="320492" y="225711"/>
                    </a:lnTo>
                    <a:lnTo>
                      <a:pt x="318200" y="223331"/>
                    </a:lnTo>
                    <a:lnTo>
                      <a:pt x="315290" y="221567"/>
                    </a:lnTo>
                    <a:lnTo>
                      <a:pt x="312381" y="223066"/>
                    </a:lnTo>
                    <a:lnTo>
                      <a:pt x="309736" y="223948"/>
                    </a:lnTo>
                    <a:lnTo>
                      <a:pt x="305680" y="225711"/>
                    </a:lnTo>
                    <a:lnTo>
                      <a:pt x="303916" y="221655"/>
                    </a:lnTo>
                    <a:lnTo>
                      <a:pt x="300390" y="222801"/>
                    </a:lnTo>
                    <a:lnTo>
                      <a:pt x="295981" y="222801"/>
                    </a:lnTo>
                    <a:lnTo>
                      <a:pt x="295717" y="221303"/>
                    </a:lnTo>
                    <a:lnTo>
                      <a:pt x="295717" y="218658"/>
                    </a:lnTo>
                    <a:lnTo>
                      <a:pt x="295100" y="222449"/>
                    </a:lnTo>
                    <a:lnTo>
                      <a:pt x="292190" y="218040"/>
                    </a:lnTo>
                    <a:lnTo>
                      <a:pt x="289545" y="214602"/>
                    </a:lnTo>
                    <a:lnTo>
                      <a:pt x="288046" y="216013"/>
                    </a:lnTo>
                    <a:lnTo>
                      <a:pt x="286283" y="213367"/>
                    </a:lnTo>
                    <a:lnTo>
                      <a:pt x="280728" y="213367"/>
                    </a:lnTo>
                    <a:lnTo>
                      <a:pt x="280111" y="211340"/>
                    </a:lnTo>
                    <a:lnTo>
                      <a:pt x="280111" y="208430"/>
                    </a:lnTo>
                    <a:lnTo>
                      <a:pt x="276320" y="209929"/>
                    </a:lnTo>
                    <a:lnTo>
                      <a:pt x="277819" y="207019"/>
                    </a:lnTo>
                    <a:lnTo>
                      <a:pt x="279582" y="203228"/>
                    </a:lnTo>
                    <a:lnTo>
                      <a:pt x="283638" y="202082"/>
                    </a:lnTo>
                    <a:lnTo>
                      <a:pt x="287429" y="203845"/>
                    </a:lnTo>
                    <a:lnTo>
                      <a:pt x="292102" y="201465"/>
                    </a:lnTo>
                    <a:lnTo>
                      <a:pt x="292984" y="203493"/>
                    </a:lnTo>
                    <a:lnTo>
                      <a:pt x="294747" y="203228"/>
                    </a:lnTo>
                    <a:lnTo>
                      <a:pt x="297392" y="202611"/>
                    </a:lnTo>
                    <a:lnTo>
                      <a:pt x="299156" y="202346"/>
                    </a:lnTo>
                    <a:lnTo>
                      <a:pt x="300919" y="202346"/>
                    </a:lnTo>
                    <a:lnTo>
                      <a:pt x="302682" y="201200"/>
                    </a:lnTo>
                    <a:lnTo>
                      <a:pt x="302418" y="199172"/>
                    </a:lnTo>
                    <a:lnTo>
                      <a:pt x="299508" y="198555"/>
                    </a:lnTo>
                    <a:lnTo>
                      <a:pt x="298362" y="195646"/>
                    </a:lnTo>
                    <a:lnTo>
                      <a:pt x="295188" y="196527"/>
                    </a:lnTo>
                    <a:lnTo>
                      <a:pt x="295452" y="194147"/>
                    </a:lnTo>
                    <a:lnTo>
                      <a:pt x="293425" y="193265"/>
                    </a:lnTo>
                    <a:lnTo>
                      <a:pt x="290515" y="192119"/>
                    </a:lnTo>
                    <a:lnTo>
                      <a:pt x="287605" y="190356"/>
                    </a:lnTo>
                    <a:lnTo>
                      <a:pt x="285578" y="189474"/>
                    </a:lnTo>
                    <a:lnTo>
                      <a:pt x="284431" y="187182"/>
                    </a:lnTo>
                    <a:lnTo>
                      <a:pt x="282668" y="185683"/>
                    </a:lnTo>
                    <a:lnTo>
                      <a:pt x="280376" y="185947"/>
                    </a:lnTo>
                    <a:lnTo>
                      <a:pt x="278612" y="183655"/>
                    </a:lnTo>
                    <a:lnTo>
                      <a:pt x="278877" y="182156"/>
                    </a:lnTo>
                    <a:lnTo>
                      <a:pt x="277995" y="181891"/>
                    </a:lnTo>
                    <a:lnTo>
                      <a:pt x="275350" y="181010"/>
                    </a:lnTo>
                    <a:lnTo>
                      <a:pt x="278524" y="185418"/>
                    </a:lnTo>
                    <a:lnTo>
                      <a:pt x="277378" y="185683"/>
                    </a:lnTo>
                    <a:lnTo>
                      <a:pt x="270942" y="185418"/>
                    </a:lnTo>
                    <a:lnTo>
                      <a:pt x="265122" y="185154"/>
                    </a:lnTo>
                    <a:lnTo>
                      <a:pt x="261860" y="185154"/>
                    </a:lnTo>
                    <a:lnTo>
                      <a:pt x="258069" y="184272"/>
                    </a:lnTo>
                    <a:lnTo>
                      <a:pt x="255424" y="185771"/>
                    </a:lnTo>
                    <a:lnTo>
                      <a:pt x="251633" y="184625"/>
                    </a:lnTo>
                    <a:lnTo>
                      <a:pt x="251280" y="183214"/>
                    </a:lnTo>
                    <a:lnTo>
                      <a:pt x="249781" y="183214"/>
                    </a:lnTo>
                    <a:lnTo>
                      <a:pt x="248899" y="184360"/>
                    </a:lnTo>
                    <a:lnTo>
                      <a:pt x="247489" y="182068"/>
                    </a:lnTo>
                    <a:lnTo>
                      <a:pt x="243962" y="180921"/>
                    </a:lnTo>
                    <a:lnTo>
                      <a:pt x="241317" y="180040"/>
                    </a:lnTo>
                    <a:lnTo>
                      <a:pt x="239554" y="180040"/>
                    </a:lnTo>
                    <a:lnTo>
                      <a:pt x="240700" y="181803"/>
                    </a:lnTo>
                    <a:lnTo>
                      <a:pt x="240700" y="183567"/>
                    </a:lnTo>
                    <a:lnTo>
                      <a:pt x="240435" y="183831"/>
                    </a:lnTo>
                    <a:lnTo>
                      <a:pt x="238143" y="185330"/>
                    </a:lnTo>
                    <a:lnTo>
                      <a:pt x="240435" y="188239"/>
                    </a:lnTo>
                    <a:lnTo>
                      <a:pt x="244844" y="188857"/>
                    </a:lnTo>
                    <a:lnTo>
                      <a:pt x="248635" y="192912"/>
                    </a:lnTo>
                    <a:lnTo>
                      <a:pt x="251280" y="192648"/>
                    </a:lnTo>
                    <a:lnTo>
                      <a:pt x="251633" y="192031"/>
                    </a:lnTo>
                    <a:lnTo>
                      <a:pt x="255688" y="194676"/>
                    </a:lnTo>
                    <a:lnTo>
                      <a:pt x="258334" y="198203"/>
                    </a:lnTo>
                    <a:lnTo>
                      <a:pt x="257716" y="198820"/>
                    </a:lnTo>
                    <a:lnTo>
                      <a:pt x="256835" y="204110"/>
                    </a:lnTo>
                    <a:lnTo>
                      <a:pt x="257452" y="207019"/>
                    </a:lnTo>
                    <a:lnTo>
                      <a:pt x="256570" y="211692"/>
                    </a:lnTo>
                    <a:lnTo>
                      <a:pt x="257187" y="215748"/>
                    </a:lnTo>
                    <a:lnTo>
                      <a:pt x="259480" y="217247"/>
                    </a:lnTo>
                    <a:lnTo>
                      <a:pt x="263006" y="217247"/>
                    </a:lnTo>
                    <a:lnTo>
                      <a:pt x="266180" y="216101"/>
                    </a:lnTo>
                    <a:lnTo>
                      <a:pt x="266180" y="220509"/>
                    </a:lnTo>
                    <a:lnTo>
                      <a:pt x="269972" y="223154"/>
                    </a:lnTo>
                    <a:lnTo>
                      <a:pt x="272352" y="224036"/>
                    </a:lnTo>
                    <a:lnTo>
                      <a:pt x="274116" y="228973"/>
                    </a:lnTo>
                    <a:lnTo>
                      <a:pt x="273234" y="232147"/>
                    </a:lnTo>
                    <a:lnTo>
                      <a:pt x="274997" y="232765"/>
                    </a:lnTo>
                    <a:lnTo>
                      <a:pt x="275879" y="236556"/>
                    </a:lnTo>
                    <a:lnTo>
                      <a:pt x="278789" y="238055"/>
                    </a:lnTo>
                    <a:lnTo>
                      <a:pt x="275262" y="238319"/>
                    </a:lnTo>
                    <a:lnTo>
                      <a:pt x="271735" y="238055"/>
                    </a:lnTo>
                    <a:lnTo>
                      <a:pt x="269355" y="239553"/>
                    </a:lnTo>
                    <a:lnTo>
                      <a:pt x="266974" y="238407"/>
                    </a:lnTo>
                    <a:lnTo>
                      <a:pt x="265475" y="237526"/>
                    </a:lnTo>
                    <a:lnTo>
                      <a:pt x="261419" y="237526"/>
                    </a:lnTo>
                    <a:lnTo>
                      <a:pt x="260538" y="236027"/>
                    </a:lnTo>
                    <a:lnTo>
                      <a:pt x="257011" y="233646"/>
                    </a:lnTo>
                    <a:lnTo>
                      <a:pt x="253484" y="230737"/>
                    </a:lnTo>
                    <a:lnTo>
                      <a:pt x="252603" y="233117"/>
                    </a:lnTo>
                    <a:lnTo>
                      <a:pt x="248811" y="231089"/>
                    </a:lnTo>
                    <a:lnTo>
                      <a:pt x="245284" y="231971"/>
                    </a:lnTo>
                    <a:lnTo>
                      <a:pt x="241229" y="231971"/>
                    </a:lnTo>
                    <a:lnTo>
                      <a:pt x="240612" y="234616"/>
                    </a:lnTo>
                    <a:lnTo>
                      <a:pt x="239730" y="230208"/>
                    </a:lnTo>
                    <a:lnTo>
                      <a:pt x="236820" y="234616"/>
                    </a:lnTo>
                    <a:lnTo>
                      <a:pt x="233646" y="236379"/>
                    </a:lnTo>
                    <a:lnTo>
                      <a:pt x="231266" y="240171"/>
                    </a:lnTo>
                    <a:lnTo>
                      <a:pt x="228356" y="242551"/>
                    </a:lnTo>
                    <a:lnTo>
                      <a:pt x="224565" y="241670"/>
                    </a:lnTo>
                    <a:lnTo>
                      <a:pt x="222802" y="243080"/>
                    </a:lnTo>
                    <a:lnTo>
                      <a:pt x="220774" y="244579"/>
                    </a:lnTo>
                    <a:lnTo>
                      <a:pt x="217512" y="243697"/>
                    </a:lnTo>
                    <a:lnTo>
                      <a:pt x="216013" y="242816"/>
                    </a:lnTo>
                    <a:lnTo>
                      <a:pt x="215131" y="243697"/>
                    </a:lnTo>
                    <a:lnTo>
                      <a:pt x="213368" y="246871"/>
                    </a:lnTo>
                    <a:lnTo>
                      <a:pt x="209841" y="246871"/>
                    </a:lnTo>
                    <a:lnTo>
                      <a:pt x="209841" y="249781"/>
                    </a:lnTo>
                    <a:lnTo>
                      <a:pt x="207460" y="250663"/>
                    </a:lnTo>
                    <a:lnTo>
                      <a:pt x="206314" y="252955"/>
                    </a:lnTo>
                    <a:lnTo>
                      <a:pt x="204022" y="254454"/>
                    </a:lnTo>
                    <a:lnTo>
                      <a:pt x="204639" y="256746"/>
                    </a:lnTo>
                    <a:lnTo>
                      <a:pt x="208166" y="258774"/>
                    </a:lnTo>
                    <a:lnTo>
                      <a:pt x="209665" y="261419"/>
                    </a:lnTo>
                    <a:lnTo>
                      <a:pt x="211957" y="264593"/>
                    </a:lnTo>
                    <a:lnTo>
                      <a:pt x="214602" y="266092"/>
                    </a:lnTo>
                    <a:lnTo>
                      <a:pt x="218129" y="270148"/>
                    </a:lnTo>
                    <a:lnTo>
                      <a:pt x="217864" y="266974"/>
                    </a:lnTo>
                    <a:lnTo>
                      <a:pt x="220156" y="271030"/>
                    </a:lnTo>
                    <a:lnTo>
                      <a:pt x="214867" y="274556"/>
                    </a:lnTo>
                    <a:lnTo>
                      <a:pt x="211340" y="273675"/>
                    </a:lnTo>
                    <a:lnTo>
                      <a:pt x="208695" y="274292"/>
                    </a:lnTo>
                    <a:lnTo>
                      <a:pt x="206402" y="272529"/>
                    </a:lnTo>
                    <a:lnTo>
                      <a:pt x="201994" y="272793"/>
                    </a:lnTo>
                    <a:lnTo>
                      <a:pt x="199084" y="271382"/>
                    </a:lnTo>
                    <a:lnTo>
                      <a:pt x="196175" y="268208"/>
                    </a:lnTo>
                    <a:lnTo>
                      <a:pt x="190973" y="267062"/>
                    </a:lnTo>
                    <a:lnTo>
                      <a:pt x="188945" y="265916"/>
                    </a:lnTo>
                    <a:lnTo>
                      <a:pt x="187270" y="267327"/>
                    </a:lnTo>
                    <a:lnTo>
                      <a:pt x="184889" y="267327"/>
                    </a:lnTo>
                    <a:lnTo>
                      <a:pt x="181451" y="267062"/>
                    </a:lnTo>
                    <a:lnTo>
                      <a:pt x="178806" y="264770"/>
                    </a:lnTo>
                    <a:lnTo>
                      <a:pt x="178806" y="267062"/>
                    </a:lnTo>
                    <a:lnTo>
                      <a:pt x="177395" y="265299"/>
                    </a:lnTo>
                    <a:lnTo>
                      <a:pt x="174750" y="263271"/>
                    </a:lnTo>
                    <a:lnTo>
                      <a:pt x="174750" y="262125"/>
                    </a:lnTo>
                    <a:lnTo>
                      <a:pt x="170694" y="260978"/>
                    </a:lnTo>
                    <a:lnTo>
                      <a:pt x="168314" y="259480"/>
                    </a:lnTo>
                    <a:lnTo>
                      <a:pt x="164787" y="259744"/>
                    </a:lnTo>
                    <a:lnTo>
                      <a:pt x="161260" y="259744"/>
                    </a:lnTo>
                    <a:lnTo>
                      <a:pt x="160114" y="261507"/>
                    </a:lnTo>
                    <a:lnTo>
                      <a:pt x="158351" y="261507"/>
                    </a:lnTo>
                    <a:lnTo>
                      <a:pt x="157822" y="263800"/>
                    </a:lnTo>
                    <a:lnTo>
                      <a:pt x="156323" y="265211"/>
                    </a:lnTo>
                    <a:lnTo>
                      <a:pt x="155794" y="267591"/>
                    </a:lnTo>
                    <a:lnTo>
                      <a:pt x="156323" y="270236"/>
                    </a:lnTo>
                    <a:lnTo>
                      <a:pt x="155441" y="271118"/>
                    </a:lnTo>
                    <a:lnTo>
                      <a:pt x="161260" y="273146"/>
                    </a:lnTo>
                    <a:lnTo>
                      <a:pt x="164170" y="275791"/>
                    </a:lnTo>
                    <a:lnTo>
                      <a:pt x="167079" y="276672"/>
                    </a:lnTo>
                    <a:lnTo>
                      <a:pt x="169460" y="278965"/>
                    </a:lnTo>
                    <a:lnTo>
                      <a:pt x="172987" y="280464"/>
                    </a:lnTo>
                    <a:lnTo>
                      <a:pt x="176513" y="279582"/>
                    </a:lnTo>
                    <a:lnTo>
                      <a:pt x="179158" y="277290"/>
                    </a:lnTo>
                    <a:lnTo>
                      <a:pt x="182420" y="279317"/>
                    </a:lnTo>
                    <a:lnTo>
                      <a:pt x="183831" y="282844"/>
                    </a:lnTo>
                    <a:lnTo>
                      <a:pt x="183831" y="284608"/>
                    </a:lnTo>
                    <a:lnTo>
                      <a:pt x="186212" y="287253"/>
                    </a:lnTo>
                    <a:lnTo>
                      <a:pt x="184448" y="291661"/>
                    </a:lnTo>
                    <a:lnTo>
                      <a:pt x="178894" y="289898"/>
                    </a:lnTo>
                    <a:lnTo>
                      <a:pt x="173339" y="288399"/>
                    </a:lnTo>
                    <a:lnTo>
                      <a:pt x="168137" y="288134"/>
                    </a:lnTo>
                    <a:lnTo>
                      <a:pt x="165845" y="286635"/>
                    </a:lnTo>
                    <a:lnTo>
                      <a:pt x="162054" y="287164"/>
                    </a:lnTo>
                    <a:lnTo>
                      <a:pt x="158880" y="286018"/>
                    </a:lnTo>
                    <a:lnTo>
                      <a:pt x="155088" y="283109"/>
                    </a:lnTo>
                    <a:lnTo>
                      <a:pt x="150768" y="279582"/>
                    </a:lnTo>
                    <a:lnTo>
                      <a:pt x="147241" y="278436"/>
                    </a:lnTo>
                    <a:lnTo>
                      <a:pt x="144332" y="279053"/>
                    </a:lnTo>
                    <a:lnTo>
                      <a:pt x="141422" y="278788"/>
                    </a:lnTo>
                    <a:lnTo>
                      <a:pt x="140540" y="279053"/>
                    </a:lnTo>
                    <a:lnTo>
                      <a:pt x="134986" y="277642"/>
                    </a:lnTo>
                    <a:lnTo>
                      <a:pt x="132341" y="273851"/>
                    </a:lnTo>
                    <a:lnTo>
                      <a:pt x="131195" y="272705"/>
                    </a:lnTo>
                    <a:lnTo>
                      <a:pt x="128550" y="274468"/>
                    </a:lnTo>
                    <a:lnTo>
                      <a:pt x="129079" y="270677"/>
                    </a:lnTo>
                    <a:lnTo>
                      <a:pt x="127932" y="269178"/>
                    </a:lnTo>
                    <a:lnTo>
                      <a:pt x="130313" y="266886"/>
                    </a:lnTo>
                    <a:lnTo>
                      <a:pt x="127932" y="263976"/>
                    </a:lnTo>
                    <a:lnTo>
                      <a:pt x="125552" y="260802"/>
                    </a:lnTo>
                    <a:lnTo>
                      <a:pt x="124053" y="258157"/>
                    </a:lnTo>
                    <a:lnTo>
                      <a:pt x="120262" y="257275"/>
                    </a:lnTo>
                    <a:lnTo>
                      <a:pt x="121761" y="254366"/>
                    </a:lnTo>
                    <a:lnTo>
                      <a:pt x="123524" y="252073"/>
                    </a:lnTo>
                    <a:lnTo>
                      <a:pt x="121144" y="252073"/>
                    </a:lnTo>
                    <a:lnTo>
                      <a:pt x="123788" y="250310"/>
                    </a:lnTo>
                    <a:lnTo>
                      <a:pt x="122642" y="247665"/>
                    </a:lnTo>
                    <a:lnTo>
                      <a:pt x="121761" y="245637"/>
                    </a:lnTo>
                    <a:lnTo>
                      <a:pt x="122642" y="244755"/>
                    </a:lnTo>
                    <a:lnTo>
                      <a:pt x="121144" y="242110"/>
                    </a:lnTo>
                    <a:lnTo>
                      <a:pt x="119116" y="240964"/>
                    </a:lnTo>
                    <a:lnTo>
                      <a:pt x="116206" y="240347"/>
                    </a:lnTo>
                    <a:lnTo>
                      <a:pt x="113561" y="238319"/>
                    </a:lnTo>
                    <a:lnTo>
                      <a:pt x="113296" y="237437"/>
                    </a:lnTo>
                    <a:lnTo>
                      <a:pt x="109241" y="237437"/>
                    </a:lnTo>
                    <a:lnTo>
                      <a:pt x="106596" y="237966"/>
                    </a:lnTo>
                    <a:lnTo>
                      <a:pt x="104303" y="235674"/>
                    </a:lnTo>
                    <a:lnTo>
                      <a:pt x="105450" y="234792"/>
                    </a:lnTo>
                    <a:lnTo>
                      <a:pt x="101658" y="234528"/>
                    </a:lnTo>
                    <a:lnTo>
                      <a:pt x="100512" y="232500"/>
                    </a:lnTo>
                    <a:lnTo>
                      <a:pt x="99013" y="230472"/>
                    </a:lnTo>
                    <a:lnTo>
                      <a:pt x="97514" y="230208"/>
                    </a:lnTo>
                    <a:lnTo>
                      <a:pt x="93459" y="228180"/>
                    </a:lnTo>
                    <a:lnTo>
                      <a:pt x="91431" y="228444"/>
                    </a:lnTo>
                    <a:lnTo>
                      <a:pt x="89403" y="227563"/>
                    </a:lnTo>
                    <a:lnTo>
                      <a:pt x="86758" y="225799"/>
                    </a:lnTo>
                    <a:lnTo>
                      <a:pt x="82966" y="223154"/>
                    </a:lnTo>
                    <a:lnTo>
                      <a:pt x="80057" y="222008"/>
                    </a:lnTo>
                    <a:lnTo>
                      <a:pt x="76266" y="221743"/>
                    </a:lnTo>
                    <a:lnTo>
                      <a:pt x="73621" y="218569"/>
                    </a:lnTo>
                    <a:lnTo>
                      <a:pt x="78294" y="218305"/>
                    </a:lnTo>
                    <a:lnTo>
                      <a:pt x="82085" y="218834"/>
                    </a:lnTo>
                    <a:lnTo>
                      <a:pt x="84465" y="220597"/>
                    </a:lnTo>
                    <a:lnTo>
                      <a:pt x="84994" y="221743"/>
                    </a:lnTo>
                    <a:lnTo>
                      <a:pt x="87287" y="222625"/>
                    </a:lnTo>
                    <a:lnTo>
                      <a:pt x="87904" y="223507"/>
                    </a:lnTo>
                    <a:lnTo>
                      <a:pt x="90814" y="224389"/>
                    </a:lnTo>
                    <a:lnTo>
                      <a:pt x="92048" y="225006"/>
                    </a:lnTo>
                    <a:lnTo>
                      <a:pt x="98484" y="226769"/>
                    </a:lnTo>
                    <a:lnTo>
                      <a:pt x="99366" y="226769"/>
                    </a:lnTo>
                    <a:lnTo>
                      <a:pt x="102540" y="226152"/>
                    </a:lnTo>
                    <a:lnTo>
                      <a:pt x="106331" y="227298"/>
                    </a:lnTo>
                    <a:lnTo>
                      <a:pt x="109858" y="227915"/>
                    </a:lnTo>
                    <a:lnTo>
                      <a:pt x="114266" y="229061"/>
                    </a:lnTo>
                    <a:lnTo>
                      <a:pt x="116294" y="231706"/>
                    </a:lnTo>
                    <a:lnTo>
                      <a:pt x="118939" y="231442"/>
                    </a:lnTo>
                    <a:lnTo>
                      <a:pt x="123348" y="233734"/>
                    </a:lnTo>
                    <a:lnTo>
                      <a:pt x="126522" y="231706"/>
                    </a:lnTo>
                    <a:lnTo>
                      <a:pt x="127668" y="233470"/>
                    </a:lnTo>
                    <a:lnTo>
                      <a:pt x="134104" y="234616"/>
                    </a:lnTo>
                    <a:lnTo>
                      <a:pt x="139042" y="233734"/>
                    </a:lnTo>
                    <a:lnTo>
                      <a:pt x="141687" y="235498"/>
                    </a:lnTo>
                    <a:lnTo>
                      <a:pt x="144596" y="234616"/>
                    </a:lnTo>
                    <a:lnTo>
                      <a:pt x="145743" y="236379"/>
                    </a:lnTo>
                    <a:lnTo>
                      <a:pt x="152179" y="236115"/>
                    </a:lnTo>
                    <a:lnTo>
                      <a:pt x="156234" y="238143"/>
                    </a:lnTo>
                    <a:lnTo>
                      <a:pt x="161437" y="237261"/>
                    </a:lnTo>
                    <a:lnTo>
                      <a:pt x="167520" y="240171"/>
                    </a:lnTo>
                    <a:lnTo>
                      <a:pt x="171928" y="239642"/>
                    </a:lnTo>
                    <a:lnTo>
                      <a:pt x="176602" y="241052"/>
                    </a:lnTo>
                    <a:lnTo>
                      <a:pt x="178894" y="242199"/>
                    </a:lnTo>
                    <a:lnTo>
                      <a:pt x="182420" y="243697"/>
                    </a:lnTo>
                    <a:lnTo>
                      <a:pt x="184713" y="243697"/>
                    </a:lnTo>
                    <a:lnTo>
                      <a:pt x="187093" y="241670"/>
                    </a:lnTo>
                    <a:lnTo>
                      <a:pt x="188240" y="241405"/>
                    </a:lnTo>
                    <a:lnTo>
                      <a:pt x="191149" y="239994"/>
                    </a:lnTo>
                    <a:lnTo>
                      <a:pt x="195205" y="241758"/>
                    </a:lnTo>
                    <a:lnTo>
                      <a:pt x="197850" y="241493"/>
                    </a:lnTo>
                    <a:lnTo>
                      <a:pt x="198467" y="239730"/>
                    </a:lnTo>
                    <a:lnTo>
                      <a:pt x="200495" y="239730"/>
                    </a:lnTo>
                    <a:lnTo>
                      <a:pt x="203669" y="238231"/>
                    </a:lnTo>
                    <a:lnTo>
                      <a:pt x="206579" y="238496"/>
                    </a:lnTo>
                    <a:lnTo>
                      <a:pt x="208606" y="236997"/>
                    </a:lnTo>
                    <a:lnTo>
                      <a:pt x="210105" y="234704"/>
                    </a:lnTo>
                    <a:lnTo>
                      <a:pt x="212133" y="234087"/>
                    </a:lnTo>
                    <a:lnTo>
                      <a:pt x="214161" y="233205"/>
                    </a:lnTo>
                    <a:lnTo>
                      <a:pt x="215660" y="229767"/>
                    </a:lnTo>
                    <a:lnTo>
                      <a:pt x="218305" y="228621"/>
                    </a:lnTo>
                    <a:lnTo>
                      <a:pt x="221567" y="224829"/>
                    </a:lnTo>
                    <a:lnTo>
                      <a:pt x="222096" y="222537"/>
                    </a:lnTo>
                    <a:lnTo>
                      <a:pt x="221567" y="218746"/>
                    </a:lnTo>
                    <a:lnTo>
                      <a:pt x="220068" y="215836"/>
                    </a:lnTo>
                    <a:lnTo>
                      <a:pt x="217776" y="212574"/>
                    </a:lnTo>
                    <a:lnTo>
                      <a:pt x="216277" y="211428"/>
                    </a:lnTo>
                    <a:lnTo>
                      <a:pt x="212486" y="209400"/>
                    </a:lnTo>
                    <a:lnTo>
                      <a:pt x="213368" y="204727"/>
                    </a:lnTo>
                    <a:lnTo>
                      <a:pt x="210987" y="202964"/>
                    </a:lnTo>
                    <a:lnTo>
                      <a:pt x="208959" y="202964"/>
                    </a:lnTo>
                    <a:lnTo>
                      <a:pt x="205168" y="200936"/>
                    </a:lnTo>
                    <a:lnTo>
                      <a:pt x="202258" y="200936"/>
                    </a:lnTo>
                    <a:lnTo>
                      <a:pt x="199084" y="199437"/>
                    </a:lnTo>
                    <a:lnTo>
                      <a:pt x="194411" y="196792"/>
                    </a:lnTo>
                    <a:lnTo>
                      <a:pt x="188328" y="194499"/>
                    </a:lnTo>
                    <a:lnTo>
                      <a:pt x="186300" y="195998"/>
                    </a:lnTo>
                    <a:lnTo>
                      <a:pt x="181362" y="194499"/>
                    </a:lnTo>
                    <a:lnTo>
                      <a:pt x="178982" y="192472"/>
                    </a:lnTo>
                    <a:lnTo>
                      <a:pt x="176072" y="192472"/>
                    </a:lnTo>
                    <a:lnTo>
                      <a:pt x="170782" y="192207"/>
                    </a:lnTo>
                    <a:lnTo>
                      <a:pt x="170165" y="189562"/>
                    </a:lnTo>
                    <a:lnTo>
                      <a:pt x="166374" y="188416"/>
                    </a:lnTo>
                    <a:lnTo>
                      <a:pt x="163993" y="186652"/>
                    </a:lnTo>
                    <a:lnTo>
                      <a:pt x="159320" y="186652"/>
                    </a:lnTo>
                    <a:lnTo>
                      <a:pt x="153501" y="188151"/>
                    </a:lnTo>
                    <a:lnTo>
                      <a:pt x="153766" y="185242"/>
                    </a:lnTo>
                    <a:lnTo>
                      <a:pt x="152884" y="182949"/>
                    </a:lnTo>
                    <a:lnTo>
                      <a:pt x="151121" y="181010"/>
                    </a:lnTo>
                    <a:lnTo>
                      <a:pt x="148740" y="181627"/>
                    </a:lnTo>
                    <a:lnTo>
                      <a:pt x="146712" y="182773"/>
                    </a:lnTo>
                    <a:lnTo>
                      <a:pt x="146448" y="184272"/>
                    </a:lnTo>
                    <a:lnTo>
                      <a:pt x="145302" y="181362"/>
                    </a:lnTo>
                    <a:lnTo>
                      <a:pt x="141775" y="182244"/>
                    </a:lnTo>
                    <a:lnTo>
                      <a:pt x="142657" y="180216"/>
                    </a:lnTo>
                    <a:lnTo>
                      <a:pt x="139747" y="177924"/>
                    </a:lnTo>
                    <a:lnTo>
                      <a:pt x="136220" y="178805"/>
                    </a:lnTo>
                    <a:lnTo>
                      <a:pt x="134192" y="175631"/>
                    </a:lnTo>
                    <a:lnTo>
                      <a:pt x="132165" y="178012"/>
                    </a:lnTo>
                    <a:lnTo>
                      <a:pt x="131283" y="178276"/>
                    </a:lnTo>
                    <a:lnTo>
                      <a:pt x="129519" y="178894"/>
                    </a:lnTo>
                    <a:lnTo>
                      <a:pt x="125728" y="176866"/>
                    </a:lnTo>
                    <a:lnTo>
                      <a:pt x="124846" y="174221"/>
                    </a:lnTo>
                    <a:lnTo>
                      <a:pt x="124229" y="172457"/>
                    </a:lnTo>
                    <a:lnTo>
                      <a:pt x="120438" y="170694"/>
                    </a:lnTo>
                    <a:lnTo>
                      <a:pt x="116647" y="170694"/>
                    </a:lnTo>
                    <a:lnTo>
                      <a:pt x="114884" y="169548"/>
                    </a:lnTo>
                    <a:lnTo>
                      <a:pt x="111974" y="169283"/>
                    </a:lnTo>
                    <a:lnTo>
                      <a:pt x="110828" y="169019"/>
                    </a:lnTo>
                    <a:lnTo>
                      <a:pt x="108183" y="167608"/>
                    </a:lnTo>
                    <a:lnTo>
                      <a:pt x="105538" y="169636"/>
                    </a:lnTo>
                    <a:lnTo>
                      <a:pt x="103245" y="169636"/>
                    </a:lnTo>
                    <a:lnTo>
                      <a:pt x="98837" y="167873"/>
                    </a:lnTo>
                    <a:lnTo>
                      <a:pt x="95046" y="169019"/>
                    </a:lnTo>
                    <a:lnTo>
                      <a:pt x="91783" y="167255"/>
                    </a:lnTo>
                    <a:lnTo>
                      <a:pt x="89403" y="166374"/>
                    </a:lnTo>
                    <a:lnTo>
                      <a:pt x="85612" y="167520"/>
                    </a:lnTo>
                    <a:lnTo>
                      <a:pt x="82702" y="169548"/>
                    </a:lnTo>
                    <a:lnTo>
                      <a:pt x="80057" y="171840"/>
                    </a:lnTo>
                    <a:lnTo>
                      <a:pt x="78029" y="172457"/>
                    </a:lnTo>
                    <a:lnTo>
                      <a:pt x="77412" y="170430"/>
                    </a:lnTo>
                    <a:lnTo>
                      <a:pt x="80322" y="167784"/>
                    </a:lnTo>
                    <a:lnTo>
                      <a:pt x="78294" y="167167"/>
                    </a:lnTo>
                    <a:lnTo>
                      <a:pt x="76530" y="165757"/>
                    </a:lnTo>
                    <a:lnTo>
                      <a:pt x="72122" y="165492"/>
                    </a:lnTo>
                    <a:lnTo>
                      <a:pt x="67802" y="162583"/>
                    </a:lnTo>
                    <a:lnTo>
                      <a:pt x="71857" y="162318"/>
                    </a:lnTo>
                    <a:lnTo>
                      <a:pt x="75384" y="160026"/>
                    </a:lnTo>
                    <a:lnTo>
                      <a:pt x="73621" y="158262"/>
                    </a:lnTo>
                    <a:lnTo>
                      <a:pt x="70711" y="159408"/>
                    </a:lnTo>
                    <a:lnTo>
                      <a:pt x="67273" y="157381"/>
                    </a:lnTo>
                    <a:lnTo>
                      <a:pt x="63746" y="159144"/>
                    </a:lnTo>
                    <a:lnTo>
                      <a:pt x="59955" y="157645"/>
                    </a:lnTo>
                    <a:lnTo>
                      <a:pt x="55899" y="156499"/>
                    </a:lnTo>
                    <a:lnTo>
                      <a:pt x="51843" y="157381"/>
                    </a:lnTo>
                    <a:lnTo>
                      <a:pt x="51579" y="160290"/>
                    </a:lnTo>
                    <a:lnTo>
                      <a:pt x="48052" y="161436"/>
                    </a:lnTo>
                    <a:lnTo>
                      <a:pt x="41351" y="160290"/>
                    </a:lnTo>
                    <a:lnTo>
                      <a:pt x="37295" y="159408"/>
                    </a:lnTo>
                    <a:lnTo>
                      <a:pt x="35797" y="164081"/>
                    </a:lnTo>
                    <a:lnTo>
                      <a:pt x="22659" y="162053"/>
                    </a:lnTo>
                    <a:lnTo>
                      <a:pt x="18604" y="168225"/>
                    </a:lnTo>
                    <a:lnTo>
                      <a:pt x="7230" y="169371"/>
                    </a:lnTo>
                    <a:lnTo>
                      <a:pt x="4320" y="171399"/>
                    </a:lnTo>
                    <a:lnTo>
                      <a:pt x="4320" y="174309"/>
                    </a:lnTo>
                    <a:lnTo>
                      <a:pt x="7583" y="175455"/>
                    </a:lnTo>
                    <a:lnTo>
                      <a:pt x="0" y="178365"/>
                    </a:lnTo>
                    <a:lnTo>
                      <a:pt x="0" y="179511"/>
                    </a:lnTo>
                    <a:lnTo>
                      <a:pt x="4673" y="178894"/>
                    </a:lnTo>
                    <a:lnTo>
                      <a:pt x="6172" y="179775"/>
                    </a:lnTo>
                    <a:lnTo>
                      <a:pt x="6436" y="182420"/>
                    </a:lnTo>
                    <a:lnTo>
                      <a:pt x="2381" y="186476"/>
                    </a:lnTo>
                    <a:lnTo>
                      <a:pt x="9082" y="191414"/>
                    </a:lnTo>
                    <a:lnTo>
                      <a:pt x="7935" y="194059"/>
                    </a:lnTo>
                    <a:lnTo>
                      <a:pt x="19309" y="196086"/>
                    </a:lnTo>
                    <a:lnTo>
                      <a:pt x="26010" y="201641"/>
                    </a:lnTo>
                    <a:lnTo>
                      <a:pt x="32093" y="204551"/>
                    </a:lnTo>
                    <a:lnTo>
                      <a:pt x="32093" y="207196"/>
                    </a:lnTo>
                    <a:lnTo>
                      <a:pt x="31564" y="208606"/>
                    </a:lnTo>
                    <a:lnTo>
                      <a:pt x="26274" y="213015"/>
                    </a:lnTo>
                    <a:lnTo>
                      <a:pt x="20720" y="219980"/>
                    </a:lnTo>
                    <a:lnTo>
                      <a:pt x="20984" y="222008"/>
                    </a:lnTo>
                    <a:lnTo>
                      <a:pt x="27421" y="227298"/>
                    </a:lnTo>
                    <a:lnTo>
                      <a:pt x="30947" y="230208"/>
                    </a:lnTo>
                    <a:lnTo>
                      <a:pt x="32975" y="233382"/>
                    </a:lnTo>
                    <a:lnTo>
                      <a:pt x="38530" y="238055"/>
                    </a:lnTo>
                    <a:lnTo>
                      <a:pt x="43467" y="244491"/>
                    </a:lnTo>
                    <a:lnTo>
                      <a:pt x="44878" y="248282"/>
                    </a:lnTo>
                    <a:lnTo>
                      <a:pt x="43114" y="247400"/>
                    </a:lnTo>
                    <a:lnTo>
                      <a:pt x="39323" y="248282"/>
                    </a:lnTo>
                    <a:lnTo>
                      <a:pt x="40470" y="249428"/>
                    </a:lnTo>
                    <a:lnTo>
                      <a:pt x="40205" y="250839"/>
                    </a:lnTo>
                    <a:lnTo>
                      <a:pt x="38706" y="251456"/>
                    </a:lnTo>
                    <a:lnTo>
                      <a:pt x="39852" y="254895"/>
                    </a:lnTo>
                    <a:lnTo>
                      <a:pt x="38089" y="256658"/>
                    </a:lnTo>
                    <a:lnTo>
                      <a:pt x="38353" y="257540"/>
                    </a:lnTo>
                    <a:lnTo>
                      <a:pt x="42762" y="257804"/>
                    </a:lnTo>
                    <a:lnTo>
                      <a:pt x="43643" y="259832"/>
                    </a:lnTo>
                    <a:lnTo>
                      <a:pt x="39235" y="260978"/>
                    </a:lnTo>
                    <a:lnTo>
                      <a:pt x="40381" y="264241"/>
                    </a:lnTo>
                    <a:lnTo>
                      <a:pt x="43820" y="267150"/>
                    </a:lnTo>
                    <a:lnTo>
                      <a:pt x="49110" y="267150"/>
                    </a:lnTo>
                    <a:lnTo>
                      <a:pt x="51755" y="270677"/>
                    </a:lnTo>
                    <a:lnTo>
                      <a:pt x="47964" y="271823"/>
                    </a:lnTo>
                    <a:lnTo>
                      <a:pt x="48845" y="273322"/>
                    </a:lnTo>
                    <a:lnTo>
                      <a:pt x="50609" y="273939"/>
                    </a:lnTo>
                    <a:lnTo>
                      <a:pt x="50344" y="275967"/>
                    </a:lnTo>
                    <a:lnTo>
                      <a:pt x="55017" y="277466"/>
                    </a:lnTo>
                    <a:lnTo>
                      <a:pt x="59690" y="279494"/>
                    </a:lnTo>
                    <a:lnTo>
                      <a:pt x="61189" y="283550"/>
                    </a:lnTo>
                    <a:lnTo>
                      <a:pt x="56780" y="288487"/>
                    </a:lnTo>
                    <a:lnTo>
                      <a:pt x="52372" y="290250"/>
                    </a:lnTo>
                    <a:lnTo>
                      <a:pt x="57662" y="293777"/>
                    </a:lnTo>
                    <a:lnTo>
                      <a:pt x="66656" y="297568"/>
                    </a:lnTo>
                    <a:lnTo>
                      <a:pt x="71593" y="297833"/>
                    </a:lnTo>
                    <a:lnTo>
                      <a:pt x="76530" y="301889"/>
                    </a:lnTo>
                    <a:lnTo>
                      <a:pt x="84113" y="308854"/>
                    </a:lnTo>
                    <a:lnTo>
                      <a:pt x="82350" y="311146"/>
                    </a:lnTo>
                    <a:lnTo>
                      <a:pt x="80851" y="315555"/>
                    </a:lnTo>
                    <a:lnTo>
                      <a:pt x="80851" y="317847"/>
                    </a:lnTo>
                    <a:lnTo>
                      <a:pt x="75913" y="321903"/>
                    </a:lnTo>
                    <a:lnTo>
                      <a:pt x="72739" y="324548"/>
                    </a:lnTo>
                    <a:lnTo>
                      <a:pt x="66920" y="329838"/>
                    </a:lnTo>
                    <a:lnTo>
                      <a:pt x="59955" y="338302"/>
                    </a:lnTo>
                    <a:lnTo>
                      <a:pt x="53518" y="343857"/>
                    </a:lnTo>
                    <a:lnTo>
                      <a:pt x="51755" y="346237"/>
                    </a:lnTo>
                    <a:lnTo>
                      <a:pt x="45583" y="349147"/>
                    </a:lnTo>
                    <a:lnTo>
                      <a:pt x="42938" y="352938"/>
                    </a:lnTo>
                    <a:lnTo>
                      <a:pt x="41175" y="352938"/>
                    </a:lnTo>
                    <a:lnTo>
                      <a:pt x="38265" y="355583"/>
                    </a:lnTo>
                    <a:lnTo>
                      <a:pt x="35356" y="357964"/>
                    </a:lnTo>
                    <a:lnTo>
                      <a:pt x="30065" y="362019"/>
                    </a:lnTo>
                    <a:lnTo>
                      <a:pt x="30065" y="362284"/>
                    </a:lnTo>
                    <a:lnTo>
                      <a:pt x="35885" y="361402"/>
                    </a:lnTo>
                    <a:lnTo>
                      <a:pt x="37648" y="360873"/>
                    </a:lnTo>
                    <a:lnTo>
                      <a:pt x="37648" y="362019"/>
                    </a:lnTo>
                    <a:lnTo>
                      <a:pt x="40029" y="362548"/>
                    </a:lnTo>
                    <a:lnTo>
                      <a:pt x="41175" y="362548"/>
                    </a:lnTo>
                    <a:lnTo>
                      <a:pt x="42674" y="363695"/>
                    </a:lnTo>
                    <a:lnTo>
                      <a:pt x="43291" y="366604"/>
                    </a:lnTo>
                    <a:lnTo>
                      <a:pt x="44701" y="366869"/>
                    </a:lnTo>
                    <a:lnTo>
                      <a:pt x="47082" y="366869"/>
                    </a:lnTo>
                    <a:lnTo>
                      <a:pt x="47699" y="368279"/>
                    </a:lnTo>
                    <a:lnTo>
                      <a:pt x="48581" y="369161"/>
                    </a:lnTo>
                    <a:lnTo>
                      <a:pt x="49727" y="368279"/>
                    </a:lnTo>
                    <a:lnTo>
                      <a:pt x="50256" y="367662"/>
                    </a:lnTo>
                    <a:lnTo>
                      <a:pt x="50256" y="369690"/>
                    </a:lnTo>
                    <a:lnTo>
                      <a:pt x="51402" y="369690"/>
                    </a:lnTo>
                    <a:lnTo>
                      <a:pt x="50785" y="371101"/>
                    </a:lnTo>
                    <a:lnTo>
                      <a:pt x="52549" y="370484"/>
                    </a:lnTo>
                    <a:lnTo>
                      <a:pt x="53430" y="369602"/>
                    </a:lnTo>
                    <a:lnTo>
                      <a:pt x="54047" y="367839"/>
                    </a:lnTo>
                    <a:lnTo>
                      <a:pt x="55811" y="368456"/>
                    </a:lnTo>
                    <a:lnTo>
                      <a:pt x="56692" y="370219"/>
                    </a:lnTo>
                    <a:lnTo>
                      <a:pt x="59955" y="370484"/>
                    </a:lnTo>
                    <a:lnTo>
                      <a:pt x="61101" y="370219"/>
                    </a:lnTo>
                    <a:lnTo>
                      <a:pt x="61365" y="369337"/>
                    </a:lnTo>
                    <a:lnTo>
                      <a:pt x="62512" y="369337"/>
                    </a:lnTo>
                    <a:lnTo>
                      <a:pt x="62776" y="370219"/>
                    </a:lnTo>
                    <a:lnTo>
                      <a:pt x="62776" y="370836"/>
                    </a:lnTo>
                    <a:lnTo>
                      <a:pt x="62776" y="371718"/>
                    </a:lnTo>
                    <a:lnTo>
                      <a:pt x="64539" y="371982"/>
                    </a:lnTo>
                    <a:lnTo>
                      <a:pt x="66567" y="371101"/>
                    </a:lnTo>
                    <a:lnTo>
                      <a:pt x="68330" y="372600"/>
                    </a:lnTo>
                    <a:lnTo>
                      <a:pt x="68948" y="374627"/>
                    </a:lnTo>
                    <a:lnTo>
                      <a:pt x="66303" y="375774"/>
                    </a:lnTo>
                    <a:lnTo>
                      <a:pt x="62512" y="376655"/>
                    </a:lnTo>
                    <a:lnTo>
                      <a:pt x="58103" y="377273"/>
                    </a:lnTo>
                    <a:lnTo>
                      <a:pt x="51667" y="377008"/>
                    </a:lnTo>
                    <a:lnTo>
                      <a:pt x="49286" y="378507"/>
                    </a:lnTo>
                    <a:lnTo>
                      <a:pt x="44878" y="378507"/>
                    </a:lnTo>
                    <a:lnTo>
                      <a:pt x="43732" y="381152"/>
                    </a:lnTo>
                    <a:lnTo>
                      <a:pt x="41086" y="380006"/>
                    </a:lnTo>
                    <a:lnTo>
                      <a:pt x="39588" y="380623"/>
                    </a:lnTo>
                    <a:lnTo>
                      <a:pt x="37560" y="380887"/>
                    </a:lnTo>
                    <a:lnTo>
                      <a:pt x="29977" y="403899"/>
                    </a:lnTo>
                    <a:lnTo>
                      <a:pt x="32622" y="412893"/>
                    </a:lnTo>
                    <a:lnTo>
                      <a:pt x="33769" y="423120"/>
                    </a:lnTo>
                    <a:lnTo>
                      <a:pt x="29977" y="426647"/>
                    </a:lnTo>
                    <a:lnTo>
                      <a:pt x="39852" y="436874"/>
                    </a:lnTo>
                    <a:lnTo>
                      <a:pt x="38706" y="440048"/>
                    </a:lnTo>
                    <a:lnTo>
                      <a:pt x="55370" y="465176"/>
                    </a:lnTo>
                    <a:lnTo>
                      <a:pt x="75472" y="469849"/>
                    </a:lnTo>
                    <a:lnTo>
                      <a:pt x="78646" y="472230"/>
                    </a:lnTo>
                    <a:lnTo>
                      <a:pt x="82437" y="468703"/>
                    </a:lnTo>
                    <a:lnTo>
                      <a:pt x="105185" y="476550"/>
                    </a:lnTo>
                    <a:lnTo>
                      <a:pt x="103422" y="481223"/>
                    </a:lnTo>
                    <a:lnTo>
                      <a:pt x="109241" y="487042"/>
                    </a:lnTo>
                    <a:lnTo>
                      <a:pt x="108976" y="491980"/>
                    </a:lnTo>
                    <a:lnTo>
                      <a:pt x="111886" y="496035"/>
                    </a:lnTo>
                    <a:lnTo>
                      <a:pt x="116823" y="506527"/>
                    </a:lnTo>
                    <a:lnTo>
                      <a:pt x="136044" y="518783"/>
                    </a:lnTo>
                    <a:lnTo>
                      <a:pt x="138689" y="531920"/>
                    </a:lnTo>
                    <a:lnTo>
                      <a:pt x="128726" y="535447"/>
                    </a:lnTo>
                    <a:lnTo>
                      <a:pt x="126081" y="540649"/>
                    </a:lnTo>
                    <a:lnTo>
                      <a:pt x="133046" y="551758"/>
                    </a:lnTo>
                    <a:lnTo>
                      <a:pt x="140364" y="559957"/>
                    </a:lnTo>
                    <a:lnTo>
                      <a:pt x="147330" y="552992"/>
                    </a:lnTo>
                    <a:lnTo>
                      <a:pt x="153149" y="552992"/>
                    </a:lnTo>
                    <a:lnTo>
                      <a:pt x="160114" y="550700"/>
                    </a:lnTo>
                    <a:lnTo>
                      <a:pt x="173868" y="552992"/>
                    </a:lnTo>
                    <a:lnTo>
                      <a:pt x="181451" y="557665"/>
                    </a:lnTo>
                    <a:lnTo>
                      <a:pt x="180040" y="569303"/>
                    </a:lnTo>
                    <a:lnTo>
                      <a:pt x="187358" y="577415"/>
                    </a:lnTo>
                    <a:lnTo>
                      <a:pt x="193441" y="578561"/>
                    </a:lnTo>
                    <a:lnTo>
                      <a:pt x="201024" y="578561"/>
                    </a:lnTo>
                    <a:lnTo>
                      <a:pt x="213015" y="594872"/>
                    </a:lnTo>
                    <a:lnTo>
                      <a:pt x="218569" y="598399"/>
                    </a:lnTo>
                    <a:lnTo>
                      <a:pt x="224389" y="594872"/>
                    </a:lnTo>
                    <a:lnTo>
                      <a:pt x="232236" y="601044"/>
                    </a:lnTo>
                    <a:lnTo>
                      <a:pt x="238407" y="602190"/>
                    </a:lnTo>
                    <a:lnTo>
                      <a:pt x="250927" y="598399"/>
                    </a:lnTo>
                    <a:lnTo>
                      <a:pt x="264682" y="609244"/>
                    </a:lnTo>
                    <a:lnTo>
                      <a:pt x="277819" y="606863"/>
                    </a:lnTo>
                    <a:lnTo>
                      <a:pt x="284255" y="610390"/>
                    </a:lnTo>
                    <a:lnTo>
                      <a:pt x="305856" y="620882"/>
                    </a:lnTo>
                    <a:lnTo>
                      <a:pt x="302682" y="629346"/>
                    </a:lnTo>
                    <a:lnTo>
                      <a:pt x="306209" y="636311"/>
                    </a:lnTo>
                    <a:lnTo>
                      <a:pt x="305063" y="639838"/>
                    </a:lnTo>
                    <a:lnTo>
                      <a:pt x="311764" y="649448"/>
                    </a:lnTo>
                    <a:lnTo>
                      <a:pt x="309119" y="659940"/>
                    </a:lnTo>
                    <a:lnTo>
                      <a:pt x="291308" y="658794"/>
                    </a:lnTo>
                    <a:lnTo>
                      <a:pt x="289545" y="663467"/>
                    </a:lnTo>
                    <a:lnTo>
                      <a:pt x="281963" y="665759"/>
                    </a:lnTo>
                    <a:lnTo>
                      <a:pt x="283109" y="670697"/>
                    </a:lnTo>
                    <a:lnTo>
                      <a:pt x="287164" y="676516"/>
                    </a:lnTo>
                    <a:lnTo>
                      <a:pt x="289192" y="677133"/>
                    </a:lnTo>
                    <a:lnTo>
                      <a:pt x="292719" y="676252"/>
                    </a:lnTo>
                    <a:lnTo>
                      <a:pt x="293336" y="676252"/>
                    </a:lnTo>
                    <a:lnTo>
                      <a:pt x="294483" y="674753"/>
                    </a:lnTo>
                    <a:lnTo>
                      <a:pt x="297392" y="675370"/>
                    </a:lnTo>
                    <a:lnTo>
                      <a:pt x="299156" y="678279"/>
                    </a:lnTo>
                    <a:lnTo>
                      <a:pt x="300302" y="677662"/>
                    </a:lnTo>
                    <a:lnTo>
                      <a:pt x="302329" y="675899"/>
                    </a:lnTo>
                    <a:lnTo>
                      <a:pt x="307620" y="676516"/>
                    </a:lnTo>
                    <a:lnTo>
                      <a:pt x="307002" y="680572"/>
                    </a:lnTo>
                    <a:lnTo>
                      <a:pt x="304093" y="680307"/>
                    </a:lnTo>
                    <a:lnTo>
                      <a:pt x="301448" y="681806"/>
                    </a:lnTo>
                    <a:lnTo>
                      <a:pt x="300831" y="682952"/>
                    </a:lnTo>
                    <a:lnTo>
                      <a:pt x="298538" y="684980"/>
                    </a:lnTo>
                    <a:lnTo>
                      <a:pt x="297392" y="684980"/>
                    </a:lnTo>
                    <a:lnTo>
                      <a:pt x="296510" y="684099"/>
                    </a:lnTo>
                    <a:lnTo>
                      <a:pt x="293336" y="682952"/>
                    </a:lnTo>
                    <a:lnTo>
                      <a:pt x="291837" y="685333"/>
                    </a:lnTo>
                    <a:lnTo>
                      <a:pt x="294483" y="689389"/>
                    </a:lnTo>
                    <a:lnTo>
                      <a:pt x="291308" y="689389"/>
                    </a:lnTo>
                    <a:lnTo>
                      <a:pt x="288663" y="687890"/>
                    </a:lnTo>
                    <a:lnTo>
                      <a:pt x="286371" y="688507"/>
                    </a:lnTo>
                    <a:lnTo>
                      <a:pt x="284872" y="687890"/>
                    </a:lnTo>
                    <a:lnTo>
                      <a:pt x="281963" y="690799"/>
                    </a:lnTo>
                    <a:lnTo>
                      <a:pt x="282227" y="693180"/>
                    </a:lnTo>
                    <a:lnTo>
                      <a:pt x="284255" y="695472"/>
                    </a:lnTo>
                    <a:lnTo>
                      <a:pt x="287517" y="696089"/>
                    </a:lnTo>
                    <a:lnTo>
                      <a:pt x="291044" y="699263"/>
                    </a:lnTo>
                    <a:lnTo>
                      <a:pt x="292455" y="699792"/>
                    </a:lnTo>
                    <a:lnTo>
                      <a:pt x="292719" y="700939"/>
                    </a:lnTo>
                    <a:lnTo>
                      <a:pt x="293336" y="704994"/>
                    </a:lnTo>
                    <a:lnTo>
                      <a:pt x="291308" y="703231"/>
                    </a:lnTo>
                    <a:lnTo>
                      <a:pt x="287253" y="700850"/>
                    </a:lnTo>
                    <a:lnTo>
                      <a:pt x="288751" y="705523"/>
                    </a:lnTo>
                    <a:lnTo>
                      <a:pt x="289369" y="709579"/>
                    </a:lnTo>
                    <a:lnTo>
                      <a:pt x="286724" y="709579"/>
                    </a:lnTo>
                    <a:lnTo>
                      <a:pt x="284696" y="710725"/>
                    </a:lnTo>
                    <a:lnTo>
                      <a:pt x="284960" y="712753"/>
                    </a:lnTo>
                    <a:lnTo>
                      <a:pt x="284960" y="713899"/>
                    </a:lnTo>
                    <a:lnTo>
                      <a:pt x="283197" y="718837"/>
                    </a:lnTo>
                    <a:lnTo>
                      <a:pt x="281698" y="720600"/>
                    </a:lnTo>
                    <a:lnTo>
                      <a:pt x="279406" y="721746"/>
                    </a:lnTo>
                    <a:lnTo>
                      <a:pt x="276232" y="722628"/>
                    </a:lnTo>
                    <a:lnTo>
                      <a:pt x="269531" y="722364"/>
                    </a:lnTo>
                    <a:lnTo>
                      <a:pt x="266004" y="723862"/>
                    </a:lnTo>
                    <a:lnTo>
                      <a:pt x="268649" y="724127"/>
                    </a:lnTo>
                    <a:lnTo>
                      <a:pt x="270413" y="726155"/>
                    </a:lnTo>
                    <a:lnTo>
                      <a:pt x="263095" y="727654"/>
                    </a:lnTo>
                    <a:lnTo>
                      <a:pt x="263359" y="729153"/>
                    </a:lnTo>
                    <a:lnTo>
                      <a:pt x="268032" y="730034"/>
                    </a:lnTo>
                    <a:lnTo>
                      <a:pt x="271559" y="730034"/>
                    </a:lnTo>
                    <a:lnTo>
                      <a:pt x="274204" y="730299"/>
                    </a:lnTo>
                    <a:lnTo>
                      <a:pt x="276849" y="730916"/>
                    </a:lnTo>
                    <a:lnTo>
                      <a:pt x="279494" y="734443"/>
                    </a:lnTo>
                    <a:lnTo>
                      <a:pt x="280640" y="738498"/>
                    </a:lnTo>
                    <a:lnTo>
                      <a:pt x="284431" y="739380"/>
                    </a:lnTo>
                    <a:lnTo>
                      <a:pt x="287076" y="739027"/>
                    </a:lnTo>
                    <a:lnTo>
                      <a:pt x="288840" y="740526"/>
                    </a:lnTo>
                    <a:lnTo>
                      <a:pt x="292014" y="742290"/>
                    </a:lnTo>
                    <a:lnTo>
                      <a:pt x="294659" y="742554"/>
                    </a:lnTo>
                    <a:lnTo>
                      <a:pt x="298186" y="744318"/>
                    </a:lnTo>
                    <a:lnTo>
                      <a:pt x="302506" y="745199"/>
                    </a:lnTo>
                    <a:lnTo>
                      <a:pt x="305680" y="746698"/>
                    </a:lnTo>
                    <a:lnTo>
                      <a:pt x="306562" y="746081"/>
                    </a:lnTo>
                    <a:lnTo>
                      <a:pt x="308060" y="746962"/>
                    </a:lnTo>
                    <a:lnTo>
                      <a:pt x="312116" y="749343"/>
                    </a:lnTo>
                    <a:lnTo>
                      <a:pt x="313527" y="751988"/>
                    </a:lnTo>
                    <a:lnTo>
                      <a:pt x="314673" y="754280"/>
                    </a:lnTo>
                    <a:lnTo>
                      <a:pt x="317583" y="756308"/>
                    </a:lnTo>
                    <a:lnTo>
                      <a:pt x="320228" y="755779"/>
                    </a:lnTo>
                    <a:lnTo>
                      <a:pt x="324019" y="755779"/>
                    </a:lnTo>
                    <a:lnTo>
                      <a:pt x="325165" y="756661"/>
                    </a:lnTo>
                    <a:lnTo>
                      <a:pt x="327810" y="758689"/>
                    </a:lnTo>
                    <a:lnTo>
                      <a:pt x="330720" y="760452"/>
                    </a:lnTo>
                    <a:lnTo>
                      <a:pt x="332483" y="762480"/>
                    </a:lnTo>
                    <a:lnTo>
                      <a:pt x="342711" y="763626"/>
                    </a:lnTo>
                    <a:lnTo>
                      <a:pt x="346502" y="762480"/>
                    </a:lnTo>
                    <a:lnTo>
                      <a:pt x="356465" y="763362"/>
                    </a:lnTo>
                    <a:lnTo>
                      <a:pt x="360256" y="767153"/>
                    </a:lnTo>
                    <a:lnTo>
                      <a:pt x="366957" y="769798"/>
                    </a:lnTo>
                    <a:lnTo>
                      <a:pt x="379477" y="774736"/>
                    </a:lnTo>
                    <a:lnTo>
                      <a:pt x="390851" y="774471"/>
                    </a:lnTo>
                    <a:lnTo>
                      <a:pt x="400461" y="778262"/>
                    </a:lnTo>
                    <a:lnTo>
                      <a:pt x="410953" y="785228"/>
                    </a:lnTo>
                    <a:lnTo>
                      <a:pt x="416155" y="786727"/>
                    </a:lnTo>
                    <a:lnTo>
                      <a:pt x="426647" y="782935"/>
                    </a:lnTo>
                    <a:lnTo>
                      <a:pt x="435993" y="784081"/>
                    </a:lnTo>
                    <a:lnTo>
                      <a:pt x="448865" y="789019"/>
                    </a:lnTo>
                    <a:lnTo>
                      <a:pt x="457065" y="789019"/>
                    </a:lnTo>
                    <a:lnTo>
                      <a:pt x="455302" y="794838"/>
                    </a:lnTo>
                    <a:lnTo>
                      <a:pt x="473376" y="804448"/>
                    </a:lnTo>
                    <a:lnTo>
                      <a:pt x="479195" y="803302"/>
                    </a:lnTo>
                    <a:lnTo>
                      <a:pt x="482987" y="807093"/>
                    </a:lnTo>
                    <a:lnTo>
                      <a:pt x="488806" y="810620"/>
                    </a:lnTo>
                    <a:lnTo>
                      <a:pt x="494360" y="817938"/>
                    </a:lnTo>
                    <a:lnTo>
                      <a:pt x="505998" y="820231"/>
                    </a:lnTo>
                    <a:lnTo>
                      <a:pt x="506527" y="812913"/>
                    </a:lnTo>
                    <a:lnTo>
                      <a:pt x="510936" y="810532"/>
                    </a:lnTo>
                    <a:lnTo>
                      <a:pt x="518518" y="803214"/>
                    </a:lnTo>
                    <a:lnTo>
                      <a:pt x="514110" y="800040"/>
                    </a:lnTo>
                    <a:lnTo>
                      <a:pt x="508555" y="795984"/>
                    </a:lnTo>
                    <a:lnTo>
                      <a:pt x="504499" y="791928"/>
                    </a:lnTo>
                    <a:lnTo>
                      <a:pt x="502207" y="789019"/>
                    </a:lnTo>
                    <a:lnTo>
                      <a:pt x="497534" y="786638"/>
                    </a:lnTo>
                    <a:lnTo>
                      <a:pt x="490833" y="780819"/>
                    </a:lnTo>
                    <a:lnTo>
                      <a:pt x="492332" y="777292"/>
                    </a:lnTo>
                    <a:lnTo>
                      <a:pt x="492332" y="772884"/>
                    </a:lnTo>
                    <a:lnTo>
                      <a:pt x="492332" y="772002"/>
                    </a:lnTo>
                    <a:lnTo>
                      <a:pt x="490569" y="767329"/>
                    </a:lnTo>
                    <a:lnTo>
                      <a:pt x="491186" y="766712"/>
                    </a:lnTo>
                    <a:lnTo>
                      <a:pt x="491186" y="760012"/>
                    </a:lnTo>
                    <a:lnTo>
                      <a:pt x="489158" y="760276"/>
                    </a:lnTo>
                    <a:lnTo>
                      <a:pt x="489158" y="756220"/>
                    </a:lnTo>
                    <a:lnTo>
                      <a:pt x="488277" y="756220"/>
                    </a:lnTo>
                    <a:lnTo>
                      <a:pt x="484221" y="753575"/>
                    </a:lnTo>
                    <a:lnTo>
                      <a:pt x="483692" y="750930"/>
                    </a:lnTo>
                    <a:lnTo>
                      <a:pt x="478137" y="750930"/>
                    </a:lnTo>
                    <a:lnTo>
                      <a:pt x="473729" y="747756"/>
                    </a:lnTo>
                    <a:lnTo>
                      <a:pt x="467910" y="743965"/>
                    </a:lnTo>
                    <a:lnTo>
                      <a:pt x="466763" y="740791"/>
                    </a:lnTo>
                    <a:lnTo>
                      <a:pt x="469409" y="738146"/>
                    </a:lnTo>
                    <a:lnTo>
                      <a:pt x="471436" y="738763"/>
                    </a:lnTo>
                    <a:lnTo>
                      <a:pt x="473464" y="737000"/>
                    </a:lnTo>
                    <a:lnTo>
                      <a:pt x="474963" y="729153"/>
                    </a:lnTo>
                    <a:lnTo>
                      <a:pt x="477344" y="728006"/>
                    </a:lnTo>
                    <a:lnTo>
                      <a:pt x="476991" y="725361"/>
                    </a:lnTo>
                    <a:lnTo>
                      <a:pt x="476109" y="722981"/>
                    </a:lnTo>
                    <a:lnTo>
                      <a:pt x="479019" y="722099"/>
                    </a:lnTo>
                    <a:lnTo>
                      <a:pt x="478754" y="718308"/>
                    </a:lnTo>
                    <a:lnTo>
                      <a:pt x="481399" y="713106"/>
                    </a:lnTo>
                    <a:lnTo>
                      <a:pt x="484926" y="715134"/>
                    </a:lnTo>
                    <a:lnTo>
                      <a:pt x="488100" y="712753"/>
                    </a:lnTo>
                    <a:lnTo>
                      <a:pt x="490745" y="710461"/>
                    </a:lnTo>
                    <a:lnTo>
                      <a:pt x="493126" y="709579"/>
                    </a:lnTo>
                    <a:lnTo>
                      <a:pt x="496300" y="708697"/>
                    </a:lnTo>
                    <a:lnTo>
                      <a:pt x="498945" y="708433"/>
                    </a:lnTo>
                    <a:lnTo>
                      <a:pt x="496653" y="703760"/>
                    </a:lnTo>
                    <a:lnTo>
                      <a:pt x="492244" y="697941"/>
                    </a:lnTo>
                    <a:lnTo>
                      <a:pt x="486425" y="685950"/>
                    </a:lnTo>
                    <a:lnTo>
                      <a:pt x="494625" y="687096"/>
                    </a:lnTo>
                    <a:lnTo>
                      <a:pt x="498151" y="684716"/>
                    </a:lnTo>
                    <a:lnTo>
                      <a:pt x="493214" y="677750"/>
                    </a:lnTo>
                    <a:lnTo>
                      <a:pt x="477784" y="666377"/>
                    </a:lnTo>
                    <a:lnTo>
                      <a:pt x="468439" y="652975"/>
                    </a:lnTo>
                    <a:lnTo>
                      <a:pt x="460239" y="646539"/>
                    </a:lnTo>
                    <a:lnTo>
                      <a:pt x="449747" y="645393"/>
                    </a:lnTo>
                    <a:lnTo>
                      <a:pt x="445074" y="645393"/>
                    </a:lnTo>
                    <a:lnTo>
                      <a:pt x="439872" y="645657"/>
                    </a:lnTo>
                    <a:lnTo>
                      <a:pt x="435464" y="644158"/>
                    </a:lnTo>
                    <a:lnTo>
                      <a:pt x="436610" y="637457"/>
                    </a:lnTo>
                    <a:lnTo>
                      <a:pt x="438990" y="631374"/>
                    </a:lnTo>
                    <a:lnTo>
                      <a:pt x="438726" y="625290"/>
                    </a:lnTo>
                    <a:lnTo>
                      <a:pt x="437580" y="610125"/>
                    </a:lnTo>
                    <a:lnTo>
                      <a:pt x="443134" y="598134"/>
                    </a:lnTo>
                    <a:lnTo>
                      <a:pt x="446661" y="596988"/>
                    </a:lnTo>
                    <a:lnTo>
                      <a:pt x="451687" y="601397"/>
                    </a:lnTo>
                    <a:lnTo>
                      <a:pt x="463325" y="608979"/>
                    </a:lnTo>
                    <a:lnTo>
                      <a:pt x="469761" y="611007"/>
                    </a:lnTo>
                    <a:lnTo>
                      <a:pt x="472671" y="607833"/>
                    </a:lnTo>
                    <a:lnTo>
                      <a:pt x="468262" y="598222"/>
                    </a:lnTo>
                    <a:lnTo>
                      <a:pt x="464207" y="591257"/>
                    </a:lnTo>
                    <a:lnTo>
                      <a:pt x="469144" y="590640"/>
                    </a:lnTo>
                    <a:lnTo>
                      <a:pt x="471789" y="584556"/>
                    </a:lnTo>
                    <a:lnTo>
                      <a:pt x="472406" y="580765"/>
                    </a:lnTo>
                    <a:lnTo>
                      <a:pt x="486425" y="569920"/>
                    </a:lnTo>
                    <a:lnTo>
                      <a:pt x="490216" y="565600"/>
                    </a:lnTo>
                    <a:lnTo>
                      <a:pt x="502736" y="569391"/>
                    </a:lnTo>
                    <a:lnTo>
                      <a:pt x="516138" y="576092"/>
                    </a:lnTo>
                    <a:lnTo>
                      <a:pt x="518430" y="571419"/>
                    </a:lnTo>
                    <a:lnTo>
                      <a:pt x="521075" y="566746"/>
                    </a:lnTo>
                    <a:lnTo>
                      <a:pt x="526013" y="564454"/>
                    </a:lnTo>
                    <a:lnTo>
                      <a:pt x="534741" y="571419"/>
                    </a:lnTo>
                    <a:lnTo>
                      <a:pt x="548496" y="570273"/>
                    </a:lnTo>
                    <a:lnTo>
                      <a:pt x="563925" y="570273"/>
                    </a:lnTo>
                    <a:lnTo>
                      <a:pt x="568334" y="579619"/>
                    </a:lnTo>
                    <a:lnTo>
                      <a:pt x="577944" y="593638"/>
                    </a:lnTo>
                    <a:lnTo>
                      <a:pt x="589053" y="596547"/>
                    </a:lnTo>
                    <a:lnTo>
                      <a:pt x="591963" y="595930"/>
                    </a:lnTo>
                    <a:lnTo>
                      <a:pt x="579443" y="580765"/>
                    </a:lnTo>
                    <a:lnTo>
                      <a:pt x="582617" y="579002"/>
                    </a:lnTo>
                    <a:lnTo>
                      <a:pt x="590816" y="581647"/>
                    </a:lnTo>
                    <a:lnTo>
                      <a:pt x="608891" y="583146"/>
                    </a:lnTo>
                    <a:lnTo>
                      <a:pt x="624056" y="579619"/>
                    </a:lnTo>
                    <a:lnTo>
                      <a:pt x="635430" y="579619"/>
                    </a:lnTo>
                    <a:lnTo>
                      <a:pt x="647949" y="585438"/>
                    </a:lnTo>
                    <a:lnTo>
                      <a:pt x="646803" y="579619"/>
                    </a:lnTo>
                    <a:lnTo>
                      <a:pt x="652887" y="583146"/>
                    </a:lnTo>
                    <a:lnTo>
                      <a:pt x="656414" y="584645"/>
                    </a:lnTo>
                    <a:lnTo>
                      <a:pt x="663996" y="584645"/>
                    </a:lnTo>
                    <a:lnTo>
                      <a:pt x="670697" y="586672"/>
                    </a:lnTo>
                    <a:lnTo>
                      <a:pt x="679690" y="588965"/>
                    </a:lnTo>
                    <a:lnTo>
                      <a:pt x="680308" y="585438"/>
                    </a:lnTo>
                    <a:lnTo>
                      <a:pt x="687008" y="590728"/>
                    </a:lnTo>
                    <a:lnTo>
                      <a:pt x="696618" y="591345"/>
                    </a:lnTo>
                    <a:lnTo>
                      <a:pt x="705964" y="587819"/>
                    </a:lnTo>
                    <a:lnTo>
                      <a:pt x="705964" y="577327"/>
                    </a:lnTo>
                    <a:lnTo>
                      <a:pt x="700410" y="572654"/>
                    </a:lnTo>
                    <a:lnTo>
                      <a:pt x="695737" y="572654"/>
                    </a:lnTo>
                    <a:lnTo>
                      <a:pt x="691681" y="569127"/>
                    </a:lnTo>
                    <a:lnTo>
                      <a:pt x="683217" y="569127"/>
                    </a:lnTo>
                    <a:lnTo>
                      <a:pt x="681806" y="565600"/>
                    </a:lnTo>
                    <a:lnTo>
                      <a:pt x="672460" y="560927"/>
                    </a:lnTo>
                    <a:lnTo>
                      <a:pt x="678897" y="558018"/>
                    </a:lnTo>
                    <a:lnTo>
                      <a:pt x="684716" y="550435"/>
                    </a:lnTo>
                    <a:lnTo>
                      <a:pt x="678015" y="542236"/>
                    </a:lnTo>
                    <a:lnTo>
                      <a:pt x="681277" y="535270"/>
                    </a:lnTo>
                    <a:lnTo>
                      <a:pt x="687096" y="536681"/>
                    </a:lnTo>
                    <a:lnTo>
                      <a:pt x="699087" y="535270"/>
                    </a:lnTo>
                    <a:lnTo>
                      <a:pt x="699704" y="531744"/>
                    </a:lnTo>
                    <a:lnTo>
                      <a:pt x="689213" y="527952"/>
                    </a:lnTo>
                    <a:lnTo>
                      <a:pt x="681894" y="529451"/>
                    </a:lnTo>
                    <a:lnTo>
                      <a:pt x="680131" y="525043"/>
                    </a:lnTo>
                    <a:lnTo>
                      <a:pt x="673959" y="521516"/>
                    </a:lnTo>
                    <a:lnTo>
                      <a:pt x="673078" y="512170"/>
                    </a:lnTo>
                    <a:lnTo>
                      <a:pt x="679779" y="509790"/>
                    </a:lnTo>
                    <a:lnTo>
                      <a:pt x="689124" y="512170"/>
                    </a:lnTo>
                    <a:lnTo>
                      <a:pt x="694943" y="511024"/>
                    </a:lnTo>
                    <a:lnTo>
                      <a:pt x="703408" y="508643"/>
                    </a:lnTo>
                    <a:lnTo>
                      <a:pt x="719719" y="505117"/>
                    </a:lnTo>
                    <a:lnTo>
                      <a:pt x="725273" y="502736"/>
                    </a:lnTo>
                    <a:lnTo>
                      <a:pt x="739556" y="501590"/>
                    </a:lnTo>
                    <a:lnTo>
                      <a:pt x="745728" y="498063"/>
                    </a:lnTo>
                    <a:lnTo>
                      <a:pt x="751812" y="495154"/>
                    </a:lnTo>
                    <a:lnTo>
                      <a:pt x="769005" y="495154"/>
                    </a:lnTo>
                    <a:lnTo>
                      <a:pt x="787961" y="493655"/>
                    </a:lnTo>
                    <a:lnTo>
                      <a:pt x="806300" y="490128"/>
                    </a:lnTo>
                    <a:lnTo>
                      <a:pt x="822082" y="488100"/>
                    </a:lnTo>
                    <a:lnTo>
                      <a:pt x="830811" y="484838"/>
                    </a:lnTo>
                    <a:lnTo>
                      <a:pt x="838393" y="479901"/>
                    </a:lnTo>
                    <a:lnTo>
                      <a:pt x="843948" y="484309"/>
                    </a:lnTo>
                    <a:lnTo>
                      <a:pt x="857349" y="486954"/>
                    </a:lnTo>
                    <a:lnTo>
                      <a:pt x="863433" y="495154"/>
                    </a:lnTo>
                    <a:lnTo>
                      <a:pt x="875953" y="501590"/>
                    </a:lnTo>
                    <a:lnTo>
                      <a:pt x="881772" y="509790"/>
                    </a:lnTo>
                    <a:lnTo>
                      <a:pt x="888737" y="505117"/>
                    </a:lnTo>
                    <a:lnTo>
                      <a:pt x="897466" y="509790"/>
                    </a:lnTo>
                    <a:lnTo>
                      <a:pt x="907341" y="507497"/>
                    </a:lnTo>
                    <a:lnTo>
                      <a:pt x="902668" y="519135"/>
                    </a:lnTo>
                    <a:lnTo>
                      <a:pt x="917568" y="519135"/>
                    </a:lnTo>
                    <a:lnTo>
                      <a:pt x="926033" y="524955"/>
                    </a:lnTo>
                    <a:lnTo>
                      <a:pt x="929824" y="515609"/>
                    </a:lnTo>
                    <a:lnTo>
                      <a:pt x="935643" y="512082"/>
                    </a:lnTo>
                    <a:lnTo>
                      <a:pt x="949397" y="501590"/>
                    </a:lnTo>
                    <a:lnTo>
                      <a:pt x="957861" y="498063"/>
                    </a:lnTo>
                    <a:lnTo>
                      <a:pt x="962270" y="505029"/>
                    </a:lnTo>
                    <a:lnTo>
                      <a:pt x="954952" y="507321"/>
                    </a:lnTo>
                    <a:lnTo>
                      <a:pt x="962799" y="511994"/>
                    </a:lnTo>
                    <a:lnTo>
                      <a:pt x="992247" y="524866"/>
                    </a:lnTo>
                    <a:lnTo>
                      <a:pt x="998331" y="524337"/>
                    </a:lnTo>
                    <a:lnTo>
                      <a:pt x="1016670" y="545586"/>
                    </a:lnTo>
                    <a:lnTo>
                      <a:pt x="1020197" y="551670"/>
                    </a:lnTo>
                    <a:lnTo>
                      <a:pt x="1034480" y="564542"/>
                    </a:lnTo>
                    <a:lnTo>
                      <a:pt x="1044707" y="570714"/>
                    </a:lnTo>
                    <a:lnTo>
                      <a:pt x="1062517" y="586496"/>
                    </a:lnTo>
                    <a:lnTo>
                      <a:pt x="1069835" y="584116"/>
                    </a:lnTo>
                    <a:lnTo>
                      <a:pt x="1067455" y="577150"/>
                    </a:lnTo>
                    <a:lnTo>
                      <a:pt x="1075302" y="574241"/>
                    </a:lnTo>
                    <a:lnTo>
                      <a:pt x="1084030" y="576004"/>
                    </a:lnTo>
                    <a:lnTo>
                      <a:pt x="1089585" y="579531"/>
                    </a:lnTo>
                    <a:lnTo>
                      <a:pt x="1100341" y="579531"/>
                    </a:lnTo>
                    <a:lnTo>
                      <a:pt x="1104397" y="574858"/>
                    </a:lnTo>
                    <a:lnTo>
                      <a:pt x="1111362" y="573712"/>
                    </a:lnTo>
                    <a:lnTo>
                      <a:pt x="1118680" y="575475"/>
                    </a:lnTo>
                    <a:lnTo>
                      <a:pt x="1124235" y="583939"/>
                    </a:lnTo>
                    <a:lnTo>
                      <a:pt x="1128026" y="592403"/>
                    </a:lnTo>
                    <a:lnTo>
                      <a:pt x="1135873" y="593285"/>
                    </a:lnTo>
                    <a:lnTo>
                      <a:pt x="1142574" y="588877"/>
                    </a:lnTo>
                    <a:lnTo>
                      <a:pt x="1150157" y="590023"/>
                    </a:lnTo>
                    <a:lnTo>
                      <a:pt x="1160384" y="596724"/>
                    </a:lnTo>
                    <a:lnTo>
                      <a:pt x="1167350" y="606598"/>
                    </a:lnTo>
                    <a:lnTo>
                      <a:pt x="1178106" y="608362"/>
                    </a:lnTo>
                    <a:lnTo>
                      <a:pt x="1181897" y="614798"/>
                    </a:lnTo>
                    <a:lnTo>
                      <a:pt x="1195916" y="618325"/>
                    </a:lnTo>
                    <a:lnTo>
                      <a:pt x="1200589" y="611360"/>
                    </a:lnTo>
                    <a:lnTo>
                      <a:pt x="1203234" y="617179"/>
                    </a:lnTo>
                    <a:lnTo>
                      <a:pt x="1211963" y="619824"/>
                    </a:lnTo>
                    <a:lnTo>
                      <a:pt x="1229156" y="631462"/>
                    </a:lnTo>
                    <a:lnTo>
                      <a:pt x="1231183" y="621852"/>
                    </a:lnTo>
                    <a:lnTo>
                      <a:pt x="1241940" y="620705"/>
                    </a:lnTo>
                    <a:lnTo>
                      <a:pt x="1255077" y="618678"/>
                    </a:lnTo>
                    <a:lnTo>
                      <a:pt x="1256223" y="611360"/>
                    </a:lnTo>
                    <a:lnTo>
                      <a:pt x="1266716" y="605540"/>
                    </a:lnTo>
                    <a:lnTo>
                      <a:pt x="1275179" y="599721"/>
                    </a:lnTo>
                    <a:lnTo>
                      <a:pt x="1280734" y="594784"/>
                    </a:lnTo>
                    <a:lnTo>
                      <a:pt x="1290345" y="598840"/>
                    </a:lnTo>
                    <a:lnTo>
                      <a:pt x="1300572" y="598222"/>
                    </a:lnTo>
                    <a:lnTo>
                      <a:pt x="1320675" y="598222"/>
                    </a:lnTo>
                    <a:lnTo>
                      <a:pt x="1327111" y="603513"/>
                    </a:lnTo>
                    <a:lnTo>
                      <a:pt x="1342540" y="605540"/>
                    </a:lnTo>
                    <a:lnTo>
                      <a:pt x="1359204" y="611360"/>
                    </a:lnTo>
                    <a:lnTo>
                      <a:pt x="1369431" y="612506"/>
                    </a:lnTo>
                    <a:lnTo>
                      <a:pt x="1386360" y="610478"/>
                    </a:lnTo>
                    <a:lnTo>
                      <a:pt x="1397998" y="610213"/>
                    </a:lnTo>
                    <a:lnTo>
                      <a:pt x="1404963" y="614534"/>
                    </a:lnTo>
                    <a:lnTo>
                      <a:pt x="1411664" y="609596"/>
                    </a:lnTo>
                    <a:lnTo>
                      <a:pt x="1413163" y="603160"/>
                    </a:lnTo>
                    <a:lnTo>
                      <a:pt x="1407344" y="598487"/>
                    </a:lnTo>
                    <a:lnTo>
                      <a:pt x="1407608" y="589758"/>
                    </a:lnTo>
                    <a:lnTo>
                      <a:pt x="1397734" y="585350"/>
                    </a:lnTo>
                    <a:lnTo>
                      <a:pt x="1397469" y="569920"/>
                    </a:lnTo>
                    <a:lnTo>
                      <a:pt x="1394824" y="561192"/>
                    </a:lnTo>
                    <a:lnTo>
                      <a:pt x="1403023" y="566746"/>
                    </a:lnTo>
                    <a:lnTo>
                      <a:pt x="1409724" y="570802"/>
                    </a:lnTo>
                    <a:lnTo>
                      <a:pt x="1427535" y="567893"/>
                    </a:lnTo>
                    <a:lnTo>
                      <a:pt x="1443317" y="569039"/>
                    </a:lnTo>
                    <a:lnTo>
                      <a:pt x="1462273" y="573712"/>
                    </a:lnTo>
                    <a:lnTo>
                      <a:pt x="1477438" y="578385"/>
                    </a:lnTo>
                    <a:lnTo>
                      <a:pt x="1480083" y="585967"/>
                    </a:lnTo>
                    <a:lnTo>
                      <a:pt x="1484139" y="589141"/>
                    </a:lnTo>
                    <a:lnTo>
                      <a:pt x="1488811" y="595842"/>
                    </a:lnTo>
                    <a:lnTo>
                      <a:pt x="1503095" y="596988"/>
                    </a:lnTo>
                    <a:lnTo>
                      <a:pt x="1512705" y="601397"/>
                    </a:lnTo>
                    <a:lnTo>
                      <a:pt x="1521434" y="596106"/>
                    </a:lnTo>
                    <a:lnTo>
                      <a:pt x="1536599" y="596724"/>
                    </a:lnTo>
                    <a:lnTo>
                      <a:pt x="1548590" y="598134"/>
                    </a:lnTo>
                    <a:lnTo>
                      <a:pt x="1573982" y="602190"/>
                    </a:lnTo>
                    <a:lnTo>
                      <a:pt x="1587648" y="612947"/>
                    </a:lnTo>
                    <a:lnTo>
                      <a:pt x="1609514" y="618237"/>
                    </a:lnTo>
                    <a:lnTo>
                      <a:pt x="1636934" y="625290"/>
                    </a:lnTo>
                    <a:lnTo>
                      <a:pt x="1652099" y="630228"/>
                    </a:lnTo>
                    <a:lnTo>
                      <a:pt x="1662327" y="627935"/>
                    </a:lnTo>
                    <a:lnTo>
                      <a:pt x="1680401" y="625290"/>
                    </a:lnTo>
                    <a:lnTo>
                      <a:pt x="1710731" y="608979"/>
                    </a:lnTo>
                    <a:lnTo>
                      <a:pt x="1732068" y="607833"/>
                    </a:lnTo>
                    <a:lnTo>
                      <a:pt x="1756226" y="612506"/>
                    </a:lnTo>
                    <a:lnTo>
                      <a:pt x="1762663" y="608979"/>
                    </a:lnTo>
                    <a:lnTo>
                      <a:pt x="1776064" y="614798"/>
                    </a:lnTo>
                    <a:lnTo>
                      <a:pt x="1804630" y="621763"/>
                    </a:lnTo>
                    <a:lnTo>
                      <a:pt x="1827378" y="592315"/>
                    </a:lnTo>
                    <a:lnTo>
                      <a:pt x="1811067" y="577150"/>
                    </a:lnTo>
                    <a:lnTo>
                      <a:pt x="1811067" y="558459"/>
                    </a:lnTo>
                    <a:lnTo>
                      <a:pt x="1796431" y="551405"/>
                    </a:lnTo>
                    <a:lnTo>
                      <a:pt x="1810097" y="524866"/>
                    </a:lnTo>
                    <a:lnTo>
                      <a:pt x="1846599" y="532713"/>
                    </a:lnTo>
                    <a:lnTo>
                      <a:pt x="1884776" y="537386"/>
                    </a:lnTo>
                    <a:lnTo>
                      <a:pt x="1920660" y="559517"/>
                    </a:lnTo>
                    <a:lnTo>
                      <a:pt x="1932916" y="571772"/>
                    </a:lnTo>
                    <a:lnTo>
                      <a:pt x="1949491" y="584027"/>
                    </a:lnTo>
                    <a:lnTo>
                      <a:pt x="1975148" y="606510"/>
                    </a:lnTo>
                    <a:lnTo>
                      <a:pt x="1999659" y="624320"/>
                    </a:lnTo>
                    <a:lnTo>
                      <a:pt x="2034926" y="630139"/>
                    </a:lnTo>
                    <a:lnTo>
                      <a:pt x="2059701" y="640631"/>
                    </a:lnTo>
                    <a:lnTo>
                      <a:pt x="2074867" y="657295"/>
                    </a:lnTo>
                    <a:lnTo>
                      <a:pt x="2105814" y="666906"/>
                    </a:lnTo>
                    <a:lnTo>
                      <a:pt x="2116306" y="659588"/>
                    </a:lnTo>
                    <a:lnTo>
                      <a:pt x="2135879" y="653416"/>
                    </a:lnTo>
                    <a:lnTo>
                      <a:pt x="2147517" y="650242"/>
                    </a:lnTo>
                    <a:lnTo>
                      <a:pt x="2147253" y="665142"/>
                    </a:lnTo>
                    <a:lnTo>
                      <a:pt x="2144608" y="679690"/>
                    </a:lnTo>
                    <a:lnTo>
                      <a:pt x="2149545" y="690799"/>
                    </a:lnTo>
                    <a:lnTo>
                      <a:pt x="2152984" y="703672"/>
                    </a:lnTo>
                    <a:lnTo>
                      <a:pt x="2160037" y="712400"/>
                    </a:lnTo>
                    <a:lnTo>
                      <a:pt x="2163212" y="722011"/>
                    </a:lnTo>
                    <a:lnTo>
                      <a:pt x="2153337" y="723422"/>
                    </a:lnTo>
                    <a:lnTo>
                      <a:pt x="2143374" y="727477"/>
                    </a:lnTo>
                    <a:lnTo>
                      <a:pt x="2145137" y="738851"/>
                    </a:lnTo>
                    <a:lnTo>
                      <a:pt x="2142227" y="751371"/>
                    </a:lnTo>
                    <a:lnTo>
                      <a:pt x="2150339" y="772091"/>
                    </a:lnTo>
                    <a:lnTo>
                      <a:pt x="2146548" y="786374"/>
                    </a:lnTo>
                    <a:lnTo>
                      <a:pt x="2169912" y="789901"/>
                    </a:lnTo>
                    <a:lnTo>
                      <a:pt x="2171940" y="790165"/>
                    </a:lnTo>
                    <a:lnTo>
                      <a:pt x="2172557" y="790165"/>
                    </a:lnTo>
                    <a:lnTo>
                      <a:pt x="2173175" y="789548"/>
                    </a:lnTo>
                    <a:lnTo>
                      <a:pt x="2172557" y="786638"/>
                    </a:lnTo>
                    <a:lnTo>
                      <a:pt x="2173175" y="786021"/>
                    </a:lnTo>
                    <a:lnTo>
                      <a:pt x="2174320" y="786021"/>
                    </a:lnTo>
                    <a:lnTo>
                      <a:pt x="2174056" y="787784"/>
                    </a:lnTo>
                    <a:lnTo>
                      <a:pt x="2174938" y="789283"/>
                    </a:lnTo>
                    <a:lnTo>
                      <a:pt x="2175820" y="789283"/>
                    </a:lnTo>
                    <a:lnTo>
                      <a:pt x="2175202" y="789019"/>
                    </a:lnTo>
                    <a:lnTo>
                      <a:pt x="2175820" y="788402"/>
                    </a:lnTo>
                    <a:lnTo>
                      <a:pt x="2175820" y="786374"/>
                    </a:lnTo>
                    <a:lnTo>
                      <a:pt x="2175555" y="785492"/>
                    </a:lnTo>
                    <a:lnTo>
                      <a:pt x="2175555" y="783729"/>
                    </a:lnTo>
                    <a:lnTo>
                      <a:pt x="2176701" y="782583"/>
                    </a:lnTo>
                    <a:lnTo>
                      <a:pt x="2177936" y="781965"/>
                    </a:lnTo>
                    <a:lnTo>
                      <a:pt x="2179963" y="780819"/>
                    </a:lnTo>
                    <a:lnTo>
                      <a:pt x="2181991" y="781084"/>
                    </a:lnTo>
                    <a:lnTo>
                      <a:pt x="2183490" y="782230"/>
                    </a:lnTo>
                    <a:lnTo>
                      <a:pt x="2185518" y="782230"/>
                    </a:lnTo>
                    <a:lnTo>
                      <a:pt x="2184901" y="783641"/>
                    </a:lnTo>
                    <a:lnTo>
                      <a:pt x="2182520" y="783905"/>
                    </a:lnTo>
                    <a:lnTo>
                      <a:pt x="2180757" y="784787"/>
                    </a:lnTo>
                    <a:lnTo>
                      <a:pt x="2178112" y="788049"/>
                    </a:lnTo>
                    <a:lnTo>
                      <a:pt x="2178112" y="789812"/>
                    </a:lnTo>
                    <a:lnTo>
                      <a:pt x="2180140" y="790430"/>
                    </a:lnTo>
                    <a:lnTo>
                      <a:pt x="2181638" y="788666"/>
                    </a:lnTo>
                    <a:lnTo>
                      <a:pt x="2184548" y="788402"/>
                    </a:lnTo>
                    <a:lnTo>
                      <a:pt x="2186047" y="787255"/>
                    </a:lnTo>
                    <a:lnTo>
                      <a:pt x="2186312" y="788137"/>
                    </a:lnTo>
                    <a:lnTo>
                      <a:pt x="2188692" y="788137"/>
                    </a:lnTo>
                    <a:lnTo>
                      <a:pt x="2190103" y="787255"/>
                    </a:lnTo>
                    <a:lnTo>
                      <a:pt x="2193013" y="787873"/>
                    </a:lnTo>
                    <a:lnTo>
                      <a:pt x="2193894" y="787255"/>
                    </a:lnTo>
                    <a:lnTo>
                      <a:pt x="2195040" y="787873"/>
                    </a:lnTo>
                    <a:lnTo>
                      <a:pt x="2196186" y="787608"/>
                    </a:lnTo>
                    <a:lnTo>
                      <a:pt x="2198479" y="787873"/>
                    </a:lnTo>
                    <a:lnTo>
                      <a:pt x="2199360" y="789372"/>
                    </a:lnTo>
                    <a:lnTo>
                      <a:pt x="2198214" y="790253"/>
                    </a:lnTo>
                    <a:lnTo>
                      <a:pt x="2199713" y="790870"/>
                    </a:lnTo>
                    <a:lnTo>
                      <a:pt x="2202094" y="790253"/>
                    </a:lnTo>
                    <a:lnTo>
                      <a:pt x="2203592" y="790870"/>
                    </a:lnTo>
                    <a:lnTo>
                      <a:pt x="2205885" y="790606"/>
                    </a:lnTo>
                    <a:lnTo>
                      <a:pt x="2207031" y="789195"/>
                    </a:lnTo>
                    <a:lnTo>
                      <a:pt x="2209412" y="788931"/>
                    </a:lnTo>
                    <a:lnTo>
                      <a:pt x="2210558" y="790341"/>
                    </a:lnTo>
                    <a:lnTo>
                      <a:pt x="2212321" y="790959"/>
                    </a:lnTo>
                    <a:lnTo>
                      <a:pt x="2214613" y="789195"/>
                    </a:lnTo>
                    <a:lnTo>
                      <a:pt x="2215495" y="787432"/>
                    </a:lnTo>
                    <a:lnTo>
                      <a:pt x="2215495" y="785933"/>
                    </a:lnTo>
                    <a:lnTo>
                      <a:pt x="2217259" y="785051"/>
                    </a:lnTo>
                    <a:lnTo>
                      <a:pt x="2216906" y="783905"/>
                    </a:lnTo>
                    <a:lnTo>
                      <a:pt x="2221579" y="783905"/>
                    </a:lnTo>
                    <a:lnTo>
                      <a:pt x="2222989" y="781260"/>
                    </a:lnTo>
                    <a:lnTo>
                      <a:pt x="2224488" y="780995"/>
                    </a:lnTo>
                    <a:lnTo>
                      <a:pt x="2226516" y="778615"/>
                    </a:lnTo>
                    <a:lnTo>
                      <a:pt x="2228809" y="777469"/>
                    </a:lnTo>
                    <a:lnTo>
                      <a:pt x="2230308" y="774824"/>
                    </a:lnTo>
                    <a:lnTo>
                      <a:pt x="2230925" y="773060"/>
                    </a:lnTo>
                    <a:lnTo>
                      <a:pt x="2232688" y="771650"/>
                    </a:lnTo>
                    <a:lnTo>
                      <a:pt x="2232424" y="770151"/>
                    </a:lnTo>
                    <a:lnTo>
                      <a:pt x="2232688" y="765742"/>
                    </a:lnTo>
                    <a:lnTo>
                      <a:pt x="2234980" y="763715"/>
                    </a:lnTo>
                    <a:lnTo>
                      <a:pt x="2236126" y="761687"/>
                    </a:lnTo>
                    <a:lnTo>
                      <a:pt x="2234628" y="761422"/>
                    </a:lnTo>
                    <a:lnTo>
                      <a:pt x="2234364" y="759394"/>
                    </a:lnTo>
                    <a:lnTo>
                      <a:pt x="2232071" y="759659"/>
                    </a:lnTo>
                    <a:lnTo>
                      <a:pt x="2233217" y="756397"/>
                    </a:lnTo>
                    <a:lnTo>
                      <a:pt x="2235862" y="756397"/>
                    </a:lnTo>
                    <a:lnTo>
                      <a:pt x="2237626" y="754633"/>
                    </a:lnTo>
                    <a:lnTo>
                      <a:pt x="2236215" y="752341"/>
                    </a:lnTo>
                    <a:lnTo>
                      <a:pt x="2236215" y="749167"/>
                    </a:lnTo>
                    <a:lnTo>
                      <a:pt x="2235950" y="744758"/>
                    </a:lnTo>
                    <a:lnTo>
                      <a:pt x="2238860" y="745376"/>
                    </a:lnTo>
                    <a:lnTo>
                      <a:pt x="2239124" y="741584"/>
                    </a:lnTo>
                    <a:lnTo>
                      <a:pt x="2240271" y="738410"/>
                    </a:lnTo>
                    <a:lnTo>
                      <a:pt x="2240535" y="735501"/>
                    </a:lnTo>
                    <a:lnTo>
                      <a:pt x="2238772" y="733473"/>
                    </a:lnTo>
                    <a:lnTo>
                      <a:pt x="2241417" y="731445"/>
                    </a:lnTo>
                    <a:lnTo>
                      <a:pt x="2241152" y="728800"/>
                    </a:lnTo>
                    <a:lnTo>
                      <a:pt x="2241417" y="723862"/>
                    </a:lnTo>
                    <a:lnTo>
                      <a:pt x="2242034" y="722099"/>
                    </a:lnTo>
                    <a:lnTo>
                      <a:pt x="2244062" y="720336"/>
                    </a:lnTo>
                    <a:lnTo>
                      <a:pt x="2245208" y="719454"/>
                    </a:lnTo>
                    <a:lnTo>
                      <a:pt x="2244591" y="715398"/>
                    </a:lnTo>
                    <a:lnTo>
                      <a:pt x="2243180" y="713370"/>
                    </a:lnTo>
                    <a:lnTo>
                      <a:pt x="2246090" y="711960"/>
                    </a:lnTo>
                    <a:lnTo>
                      <a:pt x="2247236" y="709315"/>
                    </a:lnTo>
                    <a:lnTo>
                      <a:pt x="2245208" y="706934"/>
                    </a:lnTo>
                    <a:lnTo>
                      <a:pt x="2244591" y="705171"/>
                    </a:lnTo>
                    <a:lnTo>
                      <a:pt x="2247853" y="707463"/>
                    </a:lnTo>
                    <a:lnTo>
                      <a:pt x="2247324" y="702526"/>
                    </a:lnTo>
                    <a:lnTo>
                      <a:pt x="2244062" y="701644"/>
                    </a:lnTo>
                    <a:lnTo>
                      <a:pt x="2243533" y="698735"/>
                    </a:lnTo>
                    <a:lnTo>
                      <a:pt x="2243797" y="695560"/>
                    </a:lnTo>
                    <a:lnTo>
                      <a:pt x="2245296" y="693532"/>
                    </a:lnTo>
                    <a:lnTo>
                      <a:pt x="2244679" y="691505"/>
                    </a:lnTo>
                    <a:lnTo>
                      <a:pt x="2243268" y="690623"/>
                    </a:lnTo>
                    <a:lnTo>
                      <a:pt x="2241505" y="689741"/>
                    </a:lnTo>
                    <a:lnTo>
                      <a:pt x="2246707" y="688595"/>
                    </a:lnTo>
                    <a:lnTo>
                      <a:pt x="2243533" y="684539"/>
                    </a:lnTo>
                    <a:lnTo>
                      <a:pt x="2241152" y="683658"/>
                    </a:lnTo>
                    <a:lnTo>
                      <a:pt x="2242298" y="681630"/>
                    </a:lnTo>
                    <a:lnTo>
                      <a:pt x="2244943" y="681365"/>
                    </a:lnTo>
                    <a:lnTo>
                      <a:pt x="2240888" y="681365"/>
                    </a:lnTo>
                    <a:lnTo>
                      <a:pt x="2242916" y="679337"/>
                    </a:lnTo>
                    <a:lnTo>
                      <a:pt x="2242651" y="677310"/>
                    </a:lnTo>
                    <a:lnTo>
                      <a:pt x="2242034" y="675282"/>
                    </a:lnTo>
                    <a:lnTo>
                      <a:pt x="2242651" y="672989"/>
                    </a:lnTo>
                    <a:lnTo>
                      <a:pt x="2244679" y="671843"/>
                    </a:lnTo>
                    <a:lnTo>
                      <a:pt x="2244062" y="670080"/>
                    </a:lnTo>
                    <a:lnTo>
                      <a:pt x="2242651" y="671579"/>
                    </a:lnTo>
                    <a:lnTo>
                      <a:pt x="2241152" y="670432"/>
                    </a:lnTo>
                    <a:lnTo>
                      <a:pt x="2238860" y="672460"/>
                    </a:lnTo>
                    <a:lnTo>
                      <a:pt x="2236215" y="672460"/>
                    </a:lnTo>
                    <a:lnTo>
                      <a:pt x="2234451" y="675370"/>
                    </a:lnTo>
                    <a:lnTo>
                      <a:pt x="2233041" y="673342"/>
                    </a:lnTo>
                    <a:lnTo>
                      <a:pt x="2230396" y="673959"/>
                    </a:lnTo>
                    <a:lnTo>
                      <a:pt x="2232159" y="671579"/>
                    </a:lnTo>
                    <a:lnTo>
                      <a:pt x="2237097" y="670080"/>
                    </a:lnTo>
                    <a:lnTo>
                      <a:pt x="2244943" y="667435"/>
                    </a:lnTo>
                    <a:lnTo>
                      <a:pt x="2244591" y="665671"/>
                    </a:lnTo>
                    <a:lnTo>
                      <a:pt x="2243180" y="664172"/>
                    </a:lnTo>
                    <a:lnTo>
                      <a:pt x="2247236" y="664172"/>
                    </a:lnTo>
                    <a:lnTo>
                      <a:pt x="2247236" y="661527"/>
                    </a:lnTo>
                    <a:lnTo>
                      <a:pt x="2246090" y="659499"/>
                    </a:lnTo>
                    <a:lnTo>
                      <a:pt x="2245208" y="656855"/>
                    </a:lnTo>
                    <a:lnTo>
                      <a:pt x="2246354" y="654209"/>
                    </a:lnTo>
                    <a:lnTo>
                      <a:pt x="2246354" y="650418"/>
                    </a:lnTo>
                    <a:lnTo>
                      <a:pt x="2247501" y="649272"/>
                    </a:lnTo>
                    <a:lnTo>
                      <a:pt x="2248382" y="647244"/>
                    </a:lnTo>
                    <a:lnTo>
                      <a:pt x="2246883" y="645481"/>
                    </a:lnTo>
                    <a:lnTo>
                      <a:pt x="2244503" y="644864"/>
                    </a:lnTo>
                    <a:lnTo>
                      <a:pt x="2242210" y="641690"/>
                    </a:lnTo>
                    <a:lnTo>
                      <a:pt x="2240182" y="640543"/>
                    </a:lnTo>
                    <a:lnTo>
                      <a:pt x="2240182" y="638251"/>
                    </a:lnTo>
                    <a:lnTo>
                      <a:pt x="2241064" y="636488"/>
                    </a:lnTo>
                    <a:lnTo>
                      <a:pt x="2239301" y="634460"/>
                    </a:lnTo>
                    <a:lnTo>
                      <a:pt x="2239565" y="631815"/>
                    </a:lnTo>
                    <a:lnTo>
                      <a:pt x="2237273" y="628552"/>
                    </a:lnTo>
                    <a:lnTo>
                      <a:pt x="2231983" y="623615"/>
                    </a:lnTo>
                    <a:lnTo>
                      <a:pt x="2231718" y="622998"/>
                    </a:lnTo>
                    <a:lnTo>
                      <a:pt x="2229338" y="618942"/>
                    </a:lnTo>
                    <a:lnTo>
                      <a:pt x="2228192" y="616914"/>
                    </a:lnTo>
                    <a:lnTo>
                      <a:pt x="2227663" y="615151"/>
                    </a:lnTo>
                    <a:lnTo>
                      <a:pt x="2225017" y="612858"/>
                    </a:lnTo>
                    <a:lnTo>
                      <a:pt x="2225282" y="609684"/>
                    </a:lnTo>
                    <a:lnTo>
                      <a:pt x="2223254" y="611448"/>
                    </a:lnTo>
                    <a:lnTo>
                      <a:pt x="2222372" y="607657"/>
                    </a:lnTo>
                    <a:lnTo>
                      <a:pt x="2220609" y="606775"/>
                    </a:lnTo>
                    <a:lnTo>
                      <a:pt x="2216818" y="606510"/>
                    </a:lnTo>
                    <a:lnTo>
                      <a:pt x="2215936" y="603336"/>
                    </a:lnTo>
                    <a:lnTo>
                      <a:pt x="2216818" y="600427"/>
                    </a:lnTo>
                    <a:lnTo>
                      <a:pt x="2220080" y="599810"/>
                    </a:lnTo>
                    <a:lnTo>
                      <a:pt x="2222108" y="597782"/>
                    </a:lnTo>
                    <a:lnTo>
                      <a:pt x="2221579" y="594255"/>
                    </a:lnTo>
                    <a:lnTo>
                      <a:pt x="2220433" y="593109"/>
                    </a:lnTo>
                    <a:lnTo>
                      <a:pt x="2220168" y="596636"/>
                    </a:lnTo>
                    <a:lnTo>
                      <a:pt x="2219022" y="598663"/>
                    </a:lnTo>
                    <a:lnTo>
                      <a:pt x="2216730" y="599545"/>
                    </a:lnTo>
                    <a:lnTo>
                      <a:pt x="2214702" y="597782"/>
                    </a:lnTo>
                    <a:lnTo>
                      <a:pt x="2210910" y="595754"/>
                    </a:lnTo>
                    <a:lnTo>
                      <a:pt x="2210646" y="592227"/>
                    </a:lnTo>
                    <a:lnTo>
                      <a:pt x="2210381" y="589582"/>
                    </a:lnTo>
                    <a:lnTo>
                      <a:pt x="2208618" y="588436"/>
                    </a:lnTo>
                    <a:lnTo>
                      <a:pt x="2207472" y="585262"/>
                    </a:lnTo>
                    <a:lnTo>
                      <a:pt x="2207472" y="583763"/>
                    </a:lnTo>
                    <a:lnTo>
                      <a:pt x="2205444" y="580853"/>
                    </a:lnTo>
                    <a:lnTo>
                      <a:pt x="2204298" y="578825"/>
                    </a:lnTo>
                    <a:lnTo>
                      <a:pt x="2204915" y="575034"/>
                    </a:lnTo>
                    <a:lnTo>
                      <a:pt x="2203152" y="573535"/>
                    </a:lnTo>
                    <a:lnTo>
                      <a:pt x="2205179" y="571243"/>
                    </a:lnTo>
                    <a:lnTo>
                      <a:pt x="2205709" y="569480"/>
                    </a:lnTo>
                    <a:lnTo>
                      <a:pt x="2205444" y="567187"/>
                    </a:lnTo>
                    <a:lnTo>
                      <a:pt x="2203416" y="560222"/>
                    </a:lnTo>
                    <a:lnTo>
                      <a:pt x="2201388" y="558811"/>
                    </a:lnTo>
                    <a:lnTo>
                      <a:pt x="2199625" y="557665"/>
                    </a:lnTo>
                    <a:lnTo>
                      <a:pt x="2198743" y="559076"/>
                    </a:lnTo>
                    <a:lnTo>
                      <a:pt x="2197862" y="559957"/>
                    </a:lnTo>
                    <a:lnTo>
                      <a:pt x="2195833" y="560486"/>
                    </a:lnTo>
                    <a:lnTo>
                      <a:pt x="2194952" y="559340"/>
                    </a:lnTo>
                    <a:lnTo>
                      <a:pt x="2194952" y="558459"/>
                    </a:lnTo>
                    <a:lnTo>
                      <a:pt x="2192924" y="557577"/>
                    </a:lnTo>
                    <a:lnTo>
                      <a:pt x="2190279" y="557841"/>
                    </a:lnTo>
                    <a:lnTo>
                      <a:pt x="2189750" y="556695"/>
                    </a:lnTo>
                    <a:lnTo>
                      <a:pt x="2189750" y="554315"/>
                    </a:lnTo>
                    <a:lnTo>
                      <a:pt x="2190632" y="552022"/>
                    </a:lnTo>
                    <a:lnTo>
                      <a:pt x="2190632" y="551405"/>
                    </a:lnTo>
                    <a:lnTo>
                      <a:pt x="2189750" y="549906"/>
                    </a:lnTo>
                    <a:lnTo>
                      <a:pt x="2190279" y="549377"/>
                    </a:lnTo>
                    <a:lnTo>
                      <a:pt x="2187987" y="549377"/>
                    </a:lnTo>
                    <a:lnTo>
                      <a:pt x="2187370" y="548231"/>
                    </a:lnTo>
                    <a:lnTo>
                      <a:pt x="2187017" y="546468"/>
                    </a:lnTo>
                    <a:lnTo>
                      <a:pt x="2184989" y="546203"/>
                    </a:lnTo>
                    <a:lnTo>
                      <a:pt x="2183225" y="546203"/>
                    </a:lnTo>
                    <a:lnTo>
                      <a:pt x="2181463" y="545321"/>
                    </a:lnTo>
                    <a:lnTo>
                      <a:pt x="2181463" y="544440"/>
                    </a:lnTo>
                    <a:lnTo>
                      <a:pt x="2181463" y="542941"/>
                    </a:lnTo>
                    <a:lnTo>
                      <a:pt x="2181463" y="541795"/>
                    </a:lnTo>
                    <a:lnTo>
                      <a:pt x="2181815" y="540649"/>
                    </a:lnTo>
                    <a:lnTo>
                      <a:pt x="2182079" y="540031"/>
                    </a:lnTo>
                    <a:lnTo>
                      <a:pt x="2181815" y="538885"/>
                    </a:lnTo>
                    <a:lnTo>
                      <a:pt x="2181198" y="537739"/>
                    </a:lnTo>
                    <a:lnTo>
                      <a:pt x="2180052" y="537474"/>
                    </a:lnTo>
                    <a:lnTo>
                      <a:pt x="2179787" y="537474"/>
                    </a:lnTo>
                    <a:lnTo>
                      <a:pt x="2178641" y="536328"/>
                    </a:lnTo>
                    <a:lnTo>
                      <a:pt x="2178641" y="535182"/>
                    </a:lnTo>
                    <a:lnTo>
                      <a:pt x="2177495" y="534918"/>
                    </a:lnTo>
                    <a:lnTo>
                      <a:pt x="2172822" y="534653"/>
                    </a:lnTo>
                    <a:lnTo>
                      <a:pt x="2171058" y="535535"/>
                    </a:lnTo>
                    <a:lnTo>
                      <a:pt x="2169912" y="533154"/>
                    </a:lnTo>
                    <a:lnTo>
                      <a:pt x="2170441" y="533154"/>
                    </a:lnTo>
                    <a:lnTo>
                      <a:pt x="2170706" y="532890"/>
                    </a:lnTo>
                    <a:lnTo>
                      <a:pt x="2170706" y="531391"/>
                    </a:lnTo>
                    <a:lnTo>
                      <a:pt x="2170706" y="531126"/>
                    </a:lnTo>
                    <a:lnTo>
                      <a:pt x="2168413" y="531655"/>
                    </a:lnTo>
                    <a:lnTo>
                      <a:pt x="2168413" y="532537"/>
                    </a:lnTo>
                    <a:lnTo>
                      <a:pt x="2167796" y="533419"/>
                    </a:lnTo>
                    <a:lnTo>
                      <a:pt x="2166650" y="536064"/>
                    </a:lnTo>
                    <a:lnTo>
                      <a:pt x="2166033" y="534918"/>
                    </a:lnTo>
                    <a:lnTo>
                      <a:pt x="2166033" y="533771"/>
                    </a:lnTo>
                    <a:lnTo>
                      <a:pt x="2164270" y="531744"/>
                    </a:lnTo>
                    <a:lnTo>
                      <a:pt x="2164534" y="529451"/>
                    </a:lnTo>
                    <a:lnTo>
                      <a:pt x="2166297" y="528834"/>
                    </a:lnTo>
                    <a:lnTo>
                      <a:pt x="2166915" y="527688"/>
                    </a:lnTo>
                    <a:lnTo>
                      <a:pt x="2166297" y="526189"/>
                    </a:lnTo>
                    <a:lnTo>
                      <a:pt x="2165151" y="525924"/>
                    </a:lnTo>
                    <a:lnTo>
                      <a:pt x="2164534" y="526806"/>
                    </a:lnTo>
                    <a:lnTo>
                      <a:pt x="2164005" y="527423"/>
                    </a:lnTo>
                    <a:lnTo>
                      <a:pt x="2163123" y="528922"/>
                    </a:lnTo>
                    <a:lnTo>
                      <a:pt x="2162506" y="529187"/>
                    </a:lnTo>
                    <a:lnTo>
                      <a:pt x="2161095" y="530068"/>
                    </a:lnTo>
                    <a:lnTo>
                      <a:pt x="2157921" y="530068"/>
                    </a:lnTo>
                    <a:lnTo>
                      <a:pt x="2156775" y="529804"/>
                    </a:lnTo>
                    <a:lnTo>
                      <a:pt x="2156511" y="528922"/>
                    </a:lnTo>
                    <a:lnTo>
                      <a:pt x="2156511" y="527159"/>
                    </a:lnTo>
                    <a:lnTo>
                      <a:pt x="2155364" y="526542"/>
                    </a:lnTo>
                    <a:lnTo>
                      <a:pt x="2153601" y="525660"/>
                    </a:lnTo>
                    <a:lnTo>
                      <a:pt x="2151838" y="525924"/>
                    </a:lnTo>
                    <a:lnTo>
                      <a:pt x="2150956" y="524514"/>
                    </a:lnTo>
                    <a:lnTo>
                      <a:pt x="2150691" y="523015"/>
                    </a:lnTo>
                    <a:lnTo>
                      <a:pt x="2148928" y="522750"/>
                    </a:lnTo>
                    <a:lnTo>
                      <a:pt x="2148046" y="522750"/>
                    </a:lnTo>
                    <a:lnTo>
                      <a:pt x="2147429" y="522486"/>
                    </a:lnTo>
                    <a:lnTo>
                      <a:pt x="2146548" y="522486"/>
                    </a:lnTo>
                    <a:lnTo>
                      <a:pt x="2145401" y="521604"/>
                    </a:lnTo>
                    <a:lnTo>
                      <a:pt x="2144255" y="523103"/>
                    </a:lnTo>
                    <a:lnTo>
                      <a:pt x="2143374" y="522486"/>
                    </a:lnTo>
                    <a:lnTo>
                      <a:pt x="2143374" y="521340"/>
                    </a:lnTo>
                    <a:lnTo>
                      <a:pt x="2143638" y="520194"/>
                    </a:lnTo>
                    <a:lnTo>
                      <a:pt x="2141610" y="518166"/>
                    </a:lnTo>
                    <a:lnTo>
                      <a:pt x="2140112" y="519312"/>
                    </a:lnTo>
                    <a:lnTo>
                      <a:pt x="2138348" y="520723"/>
                    </a:lnTo>
                    <a:lnTo>
                      <a:pt x="2138877" y="518077"/>
                    </a:lnTo>
                    <a:lnTo>
                      <a:pt x="2137378" y="518695"/>
                    </a:lnTo>
                    <a:lnTo>
                      <a:pt x="2135086" y="518430"/>
                    </a:lnTo>
                    <a:lnTo>
                      <a:pt x="2135086" y="516402"/>
                    </a:lnTo>
                    <a:lnTo>
                      <a:pt x="2131911" y="514110"/>
                    </a:lnTo>
                    <a:lnTo>
                      <a:pt x="2129884" y="514374"/>
                    </a:lnTo>
                    <a:lnTo>
                      <a:pt x="2127856" y="514374"/>
                    </a:lnTo>
                    <a:lnTo>
                      <a:pt x="2124946" y="514374"/>
                    </a:lnTo>
                    <a:lnTo>
                      <a:pt x="2123536" y="513757"/>
                    </a:lnTo>
                    <a:lnTo>
                      <a:pt x="2122390" y="515785"/>
                    </a:lnTo>
                    <a:lnTo>
                      <a:pt x="2120626" y="514286"/>
                    </a:lnTo>
                    <a:lnTo>
                      <a:pt x="2121508" y="512876"/>
                    </a:lnTo>
                    <a:lnTo>
                      <a:pt x="2122125" y="512258"/>
                    </a:lnTo>
                    <a:lnTo>
                      <a:pt x="2121861" y="510848"/>
                    </a:lnTo>
                    <a:lnTo>
                      <a:pt x="2120626" y="511465"/>
                    </a:lnTo>
                    <a:lnTo>
                      <a:pt x="2119745" y="511729"/>
                    </a:lnTo>
                    <a:lnTo>
                      <a:pt x="2118598" y="513228"/>
                    </a:lnTo>
                    <a:lnTo>
                      <a:pt x="2118598" y="514110"/>
                    </a:lnTo>
                    <a:lnTo>
                      <a:pt x="2117716" y="514374"/>
                    </a:lnTo>
                    <a:lnTo>
                      <a:pt x="2115071" y="514991"/>
                    </a:lnTo>
                    <a:lnTo>
                      <a:pt x="2114190" y="514374"/>
                    </a:lnTo>
                    <a:lnTo>
                      <a:pt x="2111545" y="513493"/>
                    </a:lnTo>
                    <a:lnTo>
                      <a:pt x="2109782" y="512876"/>
                    </a:lnTo>
                    <a:lnTo>
                      <a:pt x="2107136" y="513757"/>
                    </a:lnTo>
                    <a:lnTo>
                      <a:pt x="2106255" y="511994"/>
                    </a:lnTo>
                    <a:lnTo>
                      <a:pt x="2104756" y="511465"/>
                    </a:lnTo>
                    <a:lnTo>
                      <a:pt x="2103874" y="511994"/>
                    </a:lnTo>
                    <a:lnTo>
                      <a:pt x="2104139" y="513140"/>
                    </a:lnTo>
                    <a:lnTo>
                      <a:pt x="2104491" y="514639"/>
                    </a:lnTo>
                    <a:lnTo>
                      <a:pt x="2104491" y="515785"/>
                    </a:lnTo>
                    <a:lnTo>
                      <a:pt x="2106255" y="516931"/>
                    </a:lnTo>
                    <a:lnTo>
                      <a:pt x="2107665" y="518695"/>
                    </a:lnTo>
                    <a:lnTo>
                      <a:pt x="2107401" y="522486"/>
                    </a:lnTo>
                    <a:lnTo>
                      <a:pt x="2107401" y="524866"/>
                    </a:lnTo>
                    <a:lnTo>
                      <a:pt x="2106255" y="526630"/>
                    </a:lnTo>
                    <a:lnTo>
                      <a:pt x="2107136" y="529010"/>
                    </a:lnTo>
                    <a:lnTo>
                      <a:pt x="2105637" y="529892"/>
                    </a:lnTo>
                    <a:lnTo>
                      <a:pt x="2102463" y="528746"/>
                    </a:lnTo>
                    <a:lnTo>
                      <a:pt x="2098408" y="529010"/>
                    </a:lnTo>
                    <a:lnTo>
                      <a:pt x="2096644" y="529010"/>
                    </a:lnTo>
                    <a:lnTo>
                      <a:pt x="2095145" y="526101"/>
                    </a:lnTo>
                    <a:lnTo>
                      <a:pt x="2097438" y="525836"/>
                    </a:lnTo>
                    <a:lnTo>
                      <a:pt x="2098319" y="524426"/>
                    </a:lnTo>
                    <a:lnTo>
                      <a:pt x="2096556" y="523015"/>
                    </a:lnTo>
                    <a:lnTo>
                      <a:pt x="2096556" y="521251"/>
                    </a:lnTo>
                    <a:lnTo>
                      <a:pt x="2095410" y="520634"/>
                    </a:lnTo>
                    <a:lnTo>
                      <a:pt x="2092765" y="519753"/>
                    </a:lnTo>
                    <a:lnTo>
                      <a:pt x="2089591" y="519753"/>
                    </a:lnTo>
                    <a:lnTo>
                      <a:pt x="2088180" y="518871"/>
                    </a:lnTo>
                    <a:lnTo>
                      <a:pt x="2090473" y="514198"/>
                    </a:lnTo>
                    <a:lnTo>
                      <a:pt x="2088709" y="509525"/>
                    </a:lnTo>
                    <a:lnTo>
                      <a:pt x="2086064" y="508114"/>
                    </a:lnTo>
                    <a:lnTo>
                      <a:pt x="2085447" y="514551"/>
                    </a:lnTo>
                    <a:lnTo>
                      <a:pt x="2085711" y="518959"/>
                    </a:lnTo>
                    <a:lnTo>
                      <a:pt x="2083948" y="517196"/>
                    </a:lnTo>
                    <a:lnTo>
                      <a:pt x="2083948" y="513669"/>
                    </a:lnTo>
                    <a:lnTo>
                      <a:pt x="2084212" y="510142"/>
                    </a:lnTo>
                    <a:lnTo>
                      <a:pt x="2082185" y="507850"/>
                    </a:lnTo>
                    <a:lnTo>
                      <a:pt x="2081039" y="507233"/>
                    </a:lnTo>
                    <a:lnTo>
                      <a:pt x="2081039" y="504323"/>
                    </a:lnTo>
                    <a:lnTo>
                      <a:pt x="2082185" y="501943"/>
                    </a:lnTo>
                    <a:lnTo>
                      <a:pt x="2082537" y="499298"/>
                    </a:lnTo>
                    <a:lnTo>
                      <a:pt x="2079628" y="498416"/>
                    </a:lnTo>
                    <a:lnTo>
                      <a:pt x="2081391" y="496652"/>
                    </a:lnTo>
                    <a:lnTo>
                      <a:pt x="2077335" y="499298"/>
                    </a:lnTo>
                    <a:lnTo>
                      <a:pt x="2075307" y="501590"/>
                    </a:lnTo>
                    <a:lnTo>
                      <a:pt x="2073544" y="501590"/>
                    </a:lnTo>
                    <a:lnTo>
                      <a:pt x="2076189" y="503882"/>
                    </a:lnTo>
                    <a:lnTo>
                      <a:pt x="2077600" y="505029"/>
                    </a:lnTo>
                    <a:lnTo>
                      <a:pt x="2078217" y="509349"/>
                    </a:lnTo>
                    <a:lnTo>
                      <a:pt x="2078217" y="511729"/>
                    </a:lnTo>
                    <a:lnTo>
                      <a:pt x="2077071" y="512611"/>
                    </a:lnTo>
                    <a:lnTo>
                      <a:pt x="2077071" y="516138"/>
                    </a:lnTo>
                    <a:lnTo>
                      <a:pt x="2078217" y="516755"/>
                    </a:lnTo>
                    <a:lnTo>
                      <a:pt x="2078834" y="519929"/>
                    </a:lnTo>
                    <a:lnTo>
                      <a:pt x="2077335" y="520546"/>
                    </a:lnTo>
                    <a:lnTo>
                      <a:pt x="2076189" y="521163"/>
                    </a:lnTo>
                    <a:lnTo>
                      <a:pt x="2074426" y="520017"/>
                    </a:lnTo>
                    <a:lnTo>
                      <a:pt x="2074690" y="516843"/>
                    </a:lnTo>
                    <a:lnTo>
                      <a:pt x="2074690" y="514198"/>
                    </a:lnTo>
                    <a:lnTo>
                      <a:pt x="2072927" y="512435"/>
                    </a:lnTo>
                    <a:lnTo>
                      <a:pt x="2070282" y="511906"/>
                    </a:lnTo>
                    <a:lnTo>
                      <a:pt x="2069753" y="510407"/>
                    </a:lnTo>
                    <a:lnTo>
                      <a:pt x="2069488" y="508908"/>
                    </a:lnTo>
                    <a:lnTo>
                      <a:pt x="2069224" y="507762"/>
                    </a:lnTo>
                    <a:lnTo>
                      <a:pt x="2062259" y="515961"/>
                    </a:lnTo>
                    <a:lnTo>
                      <a:pt x="2067460" y="507762"/>
                    </a:lnTo>
                    <a:lnTo>
                      <a:pt x="2065433" y="505734"/>
                    </a:lnTo>
                    <a:lnTo>
                      <a:pt x="2063405" y="504235"/>
                    </a:lnTo>
                    <a:lnTo>
                      <a:pt x="2063405" y="500179"/>
                    </a:lnTo>
                    <a:lnTo>
                      <a:pt x="2062259" y="502824"/>
                    </a:lnTo>
                    <a:lnTo>
                      <a:pt x="2060760" y="502824"/>
                    </a:lnTo>
                    <a:lnTo>
                      <a:pt x="2057497" y="503706"/>
                    </a:lnTo>
                    <a:lnTo>
                      <a:pt x="2055469" y="502560"/>
                    </a:lnTo>
                    <a:lnTo>
                      <a:pt x="2050180" y="502824"/>
                    </a:lnTo>
                    <a:lnTo>
                      <a:pt x="2048151" y="503441"/>
                    </a:lnTo>
                    <a:lnTo>
                      <a:pt x="2045771" y="502824"/>
                    </a:lnTo>
                    <a:lnTo>
                      <a:pt x="2045771" y="499650"/>
                    </a:lnTo>
                    <a:lnTo>
                      <a:pt x="2043126" y="500796"/>
                    </a:lnTo>
                    <a:lnTo>
                      <a:pt x="2042861" y="503089"/>
                    </a:lnTo>
                    <a:lnTo>
                      <a:pt x="2040569" y="503353"/>
                    </a:lnTo>
                    <a:lnTo>
                      <a:pt x="2036249" y="503089"/>
                    </a:lnTo>
                    <a:lnTo>
                      <a:pt x="2033604" y="503970"/>
                    </a:lnTo>
                    <a:lnTo>
                      <a:pt x="2032105" y="502207"/>
                    </a:lnTo>
                    <a:lnTo>
                      <a:pt x="2029460" y="500179"/>
                    </a:lnTo>
                    <a:lnTo>
                      <a:pt x="2029460" y="498151"/>
                    </a:lnTo>
                    <a:lnTo>
                      <a:pt x="2028578" y="497622"/>
                    </a:lnTo>
                    <a:lnTo>
                      <a:pt x="2028578" y="495594"/>
                    </a:lnTo>
                    <a:lnTo>
                      <a:pt x="2029195" y="495859"/>
                    </a:lnTo>
                    <a:lnTo>
                      <a:pt x="2031223" y="494360"/>
                    </a:lnTo>
                    <a:lnTo>
                      <a:pt x="2035014" y="493743"/>
                    </a:lnTo>
                    <a:lnTo>
                      <a:pt x="2035279" y="491451"/>
                    </a:lnTo>
                    <a:lnTo>
                      <a:pt x="2038453" y="489952"/>
                    </a:lnTo>
                    <a:lnTo>
                      <a:pt x="2041363" y="489952"/>
                    </a:lnTo>
                    <a:lnTo>
                      <a:pt x="2043390" y="488188"/>
                    </a:lnTo>
                    <a:lnTo>
                      <a:pt x="2041980" y="485896"/>
                    </a:lnTo>
                    <a:lnTo>
                      <a:pt x="2042597" y="483604"/>
                    </a:lnTo>
                    <a:lnTo>
                      <a:pt x="2043743" y="481223"/>
                    </a:lnTo>
                    <a:lnTo>
                      <a:pt x="2044625" y="477696"/>
                    </a:lnTo>
                    <a:lnTo>
                      <a:pt x="2046653" y="478578"/>
                    </a:lnTo>
                    <a:lnTo>
                      <a:pt x="2046035" y="474170"/>
                    </a:lnTo>
                    <a:lnTo>
                      <a:pt x="2048416" y="473905"/>
                    </a:lnTo>
                    <a:lnTo>
                      <a:pt x="2049298" y="473023"/>
                    </a:lnTo>
                    <a:lnTo>
                      <a:pt x="2049298" y="470114"/>
                    </a:lnTo>
                    <a:lnTo>
                      <a:pt x="2051590" y="468968"/>
                    </a:lnTo>
                    <a:lnTo>
                      <a:pt x="2052736" y="465794"/>
                    </a:lnTo>
                    <a:lnTo>
                      <a:pt x="2051590" y="461121"/>
                    </a:lnTo>
                    <a:lnTo>
                      <a:pt x="2052736" y="456448"/>
                    </a:lnTo>
                    <a:lnTo>
                      <a:pt x="2049210" y="451775"/>
                    </a:lnTo>
                    <a:lnTo>
                      <a:pt x="2047446" y="449394"/>
                    </a:lnTo>
                    <a:lnTo>
                      <a:pt x="2049739" y="449394"/>
                    </a:lnTo>
                    <a:lnTo>
                      <a:pt x="2051767" y="447631"/>
                    </a:lnTo>
                    <a:lnTo>
                      <a:pt x="2051767" y="445868"/>
                    </a:lnTo>
                    <a:lnTo>
                      <a:pt x="2055823" y="445603"/>
                    </a:lnTo>
                    <a:lnTo>
                      <a:pt x="2055823" y="443840"/>
                    </a:lnTo>
                    <a:lnTo>
                      <a:pt x="2059349" y="438638"/>
                    </a:lnTo>
                    <a:lnTo>
                      <a:pt x="2060231" y="435464"/>
                    </a:lnTo>
                    <a:lnTo>
                      <a:pt x="2062523" y="433436"/>
                    </a:lnTo>
                    <a:lnTo>
                      <a:pt x="2063405" y="431937"/>
                    </a:lnTo>
                    <a:lnTo>
                      <a:pt x="2063757" y="429909"/>
                    </a:lnTo>
                    <a:lnTo>
                      <a:pt x="2063140" y="427264"/>
                    </a:lnTo>
                    <a:lnTo>
                      <a:pt x="2064286" y="424883"/>
                    </a:lnTo>
                    <a:lnTo>
                      <a:pt x="2062523" y="424619"/>
                    </a:lnTo>
                    <a:lnTo>
                      <a:pt x="2060231" y="424354"/>
                    </a:lnTo>
                    <a:lnTo>
                      <a:pt x="2059966" y="422327"/>
                    </a:lnTo>
                    <a:lnTo>
                      <a:pt x="2060231" y="420299"/>
                    </a:lnTo>
                    <a:lnTo>
                      <a:pt x="2060231" y="418800"/>
                    </a:lnTo>
                    <a:lnTo>
                      <a:pt x="2059966" y="416507"/>
                    </a:lnTo>
                    <a:lnTo>
                      <a:pt x="2060231" y="413598"/>
                    </a:lnTo>
                    <a:lnTo>
                      <a:pt x="2063405" y="413598"/>
                    </a:lnTo>
                    <a:lnTo>
                      <a:pt x="2064022" y="412452"/>
                    </a:lnTo>
                    <a:lnTo>
                      <a:pt x="2064286" y="410424"/>
                    </a:lnTo>
                    <a:lnTo>
                      <a:pt x="2068078" y="410688"/>
                    </a:lnTo>
                    <a:lnTo>
                      <a:pt x="2070722" y="411306"/>
                    </a:lnTo>
                    <a:lnTo>
                      <a:pt x="2072222" y="409807"/>
                    </a:lnTo>
                    <a:lnTo>
                      <a:pt x="2069929" y="409189"/>
                    </a:lnTo>
                    <a:lnTo>
                      <a:pt x="2067284" y="408308"/>
                    </a:lnTo>
                    <a:lnTo>
                      <a:pt x="2065521" y="406544"/>
                    </a:lnTo>
                    <a:lnTo>
                      <a:pt x="2065521" y="404517"/>
                    </a:lnTo>
                    <a:lnTo>
                      <a:pt x="2065521" y="403370"/>
                    </a:lnTo>
                    <a:lnTo>
                      <a:pt x="2065521" y="401078"/>
                    </a:lnTo>
                    <a:lnTo>
                      <a:pt x="2067284" y="399315"/>
                    </a:lnTo>
                    <a:lnTo>
                      <a:pt x="2069312" y="399050"/>
                    </a:lnTo>
                    <a:lnTo>
                      <a:pt x="2069312" y="396141"/>
                    </a:lnTo>
                    <a:lnTo>
                      <a:pt x="2070458" y="394642"/>
                    </a:lnTo>
                    <a:lnTo>
                      <a:pt x="2071957" y="394906"/>
                    </a:lnTo>
                    <a:lnTo>
                      <a:pt x="2072839" y="393760"/>
                    </a:lnTo>
                    <a:lnTo>
                      <a:pt x="2073720" y="390233"/>
                    </a:lnTo>
                    <a:lnTo>
                      <a:pt x="2076101" y="392261"/>
                    </a:lnTo>
                    <a:lnTo>
                      <a:pt x="2078394" y="392526"/>
                    </a:lnTo>
                    <a:lnTo>
                      <a:pt x="2078658" y="395171"/>
                    </a:lnTo>
                    <a:lnTo>
                      <a:pt x="2079804" y="395788"/>
                    </a:lnTo>
                    <a:lnTo>
                      <a:pt x="2080950" y="396934"/>
                    </a:lnTo>
                    <a:lnTo>
                      <a:pt x="2084741" y="396934"/>
                    </a:lnTo>
                    <a:lnTo>
                      <a:pt x="2084741" y="395435"/>
                    </a:lnTo>
                    <a:lnTo>
                      <a:pt x="2087034" y="396317"/>
                    </a:lnTo>
                    <a:lnTo>
                      <a:pt x="2089062" y="395700"/>
                    </a:lnTo>
                    <a:lnTo>
                      <a:pt x="2088444" y="393936"/>
                    </a:lnTo>
                    <a:lnTo>
                      <a:pt x="2092500" y="393936"/>
                    </a:lnTo>
                    <a:lnTo>
                      <a:pt x="2093382" y="391291"/>
                    </a:lnTo>
                    <a:lnTo>
                      <a:pt x="2095410" y="392790"/>
                    </a:lnTo>
                    <a:lnTo>
                      <a:pt x="2098936" y="392526"/>
                    </a:lnTo>
                    <a:lnTo>
                      <a:pt x="2101581" y="394289"/>
                    </a:lnTo>
                    <a:lnTo>
                      <a:pt x="2102111" y="395435"/>
                    </a:lnTo>
                    <a:lnTo>
                      <a:pt x="2102992" y="393936"/>
                    </a:lnTo>
                    <a:lnTo>
                      <a:pt x="2105637" y="392173"/>
                    </a:lnTo>
                    <a:lnTo>
                      <a:pt x="2110311" y="392437"/>
                    </a:lnTo>
                    <a:lnTo>
                      <a:pt x="2112073" y="393319"/>
                    </a:lnTo>
                    <a:lnTo>
                      <a:pt x="2118774" y="393319"/>
                    </a:lnTo>
                    <a:lnTo>
                      <a:pt x="2121949" y="392702"/>
                    </a:lnTo>
                    <a:lnTo>
                      <a:pt x="2122213" y="394994"/>
                    </a:lnTo>
                    <a:lnTo>
                      <a:pt x="2122478" y="396493"/>
                    </a:lnTo>
                    <a:lnTo>
                      <a:pt x="2124770" y="397110"/>
                    </a:lnTo>
                    <a:lnTo>
                      <a:pt x="2124770" y="398257"/>
                    </a:lnTo>
                    <a:lnTo>
                      <a:pt x="2124770" y="399403"/>
                    </a:lnTo>
                    <a:lnTo>
                      <a:pt x="2128032" y="400284"/>
                    </a:lnTo>
                    <a:lnTo>
                      <a:pt x="2128297" y="398786"/>
                    </a:lnTo>
                    <a:lnTo>
                      <a:pt x="2130942" y="400284"/>
                    </a:lnTo>
                    <a:lnTo>
                      <a:pt x="2133587" y="400020"/>
                    </a:lnTo>
                    <a:lnTo>
                      <a:pt x="2134733" y="399403"/>
                    </a:lnTo>
                    <a:lnTo>
                      <a:pt x="2130324" y="397904"/>
                    </a:lnTo>
                    <a:lnTo>
                      <a:pt x="2133234" y="397375"/>
                    </a:lnTo>
                    <a:lnTo>
                      <a:pt x="2135262" y="395612"/>
                    </a:lnTo>
                    <a:lnTo>
                      <a:pt x="2135791" y="397375"/>
                    </a:lnTo>
                    <a:lnTo>
                      <a:pt x="2138701" y="396229"/>
                    </a:lnTo>
                    <a:lnTo>
                      <a:pt x="2143374" y="396229"/>
                    </a:lnTo>
                    <a:lnTo>
                      <a:pt x="2145666" y="396493"/>
                    </a:lnTo>
                    <a:lnTo>
                      <a:pt x="2145666" y="399403"/>
                    </a:lnTo>
                    <a:lnTo>
                      <a:pt x="2148840" y="396758"/>
                    </a:lnTo>
                    <a:lnTo>
                      <a:pt x="2148575" y="395612"/>
                    </a:lnTo>
                    <a:lnTo>
                      <a:pt x="2152367" y="396493"/>
                    </a:lnTo>
                    <a:lnTo>
                      <a:pt x="2157392" y="396758"/>
                    </a:lnTo>
                    <a:lnTo>
                      <a:pt x="2159420" y="396493"/>
                    </a:lnTo>
                    <a:lnTo>
                      <a:pt x="2161448" y="396493"/>
                    </a:lnTo>
                    <a:lnTo>
                      <a:pt x="2162065" y="395347"/>
                    </a:lnTo>
                    <a:lnTo>
                      <a:pt x="2162947" y="393848"/>
                    </a:lnTo>
                    <a:lnTo>
                      <a:pt x="2164093" y="395347"/>
                    </a:lnTo>
                    <a:lnTo>
                      <a:pt x="2166474" y="396846"/>
                    </a:lnTo>
                    <a:lnTo>
                      <a:pt x="2169383" y="396846"/>
                    </a:lnTo>
                    <a:lnTo>
                      <a:pt x="2172293" y="395964"/>
                    </a:lnTo>
                    <a:lnTo>
                      <a:pt x="2175467" y="395964"/>
                    </a:lnTo>
                    <a:lnTo>
                      <a:pt x="2178641" y="395347"/>
                    </a:lnTo>
                    <a:lnTo>
                      <a:pt x="2180404" y="396229"/>
                    </a:lnTo>
                    <a:lnTo>
                      <a:pt x="2181550" y="394465"/>
                    </a:lnTo>
                    <a:lnTo>
                      <a:pt x="2180933" y="392702"/>
                    </a:lnTo>
                    <a:lnTo>
                      <a:pt x="2179170" y="390674"/>
                    </a:lnTo>
                    <a:lnTo>
                      <a:pt x="2178553" y="387147"/>
                    </a:lnTo>
                    <a:lnTo>
                      <a:pt x="2178288" y="385648"/>
                    </a:lnTo>
                    <a:lnTo>
                      <a:pt x="2182079" y="387676"/>
                    </a:lnTo>
                    <a:lnTo>
                      <a:pt x="2186223" y="386266"/>
                    </a:lnTo>
                    <a:lnTo>
                      <a:pt x="2186488" y="387147"/>
                    </a:lnTo>
                    <a:lnTo>
                      <a:pt x="2187105" y="388646"/>
                    </a:lnTo>
                    <a:lnTo>
                      <a:pt x="2188604" y="392173"/>
                    </a:lnTo>
                    <a:lnTo>
                      <a:pt x="2190367" y="394818"/>
                    </a:lnTo>
                    <a:lnTo>
                      <a:pt x="2193013" y="394554"/>
                    </a:lnTo>
                    <a:lnTo>
                      <a:pt x="2193013" y="393055"/>
                    </a:lnTo>
                    <a:lnTo>
                      <a:pt x="2194158" y="389792"/>
                    </a:lnTo>
                    <a:lnTo>
                      <a:pt x="2199713" y="390939"/>
                    </a:lnTo>
                    <a:lnTo>
                      <a:pt x="2202358" y="390057"/>
                    </a:lnTo>
                    <a:lnTo>
                      <a:pt x="2204121" y="389175"/>
                    </a:lnTo>
                    <a:lnTo>
                      <a:pt x="2205268" y="392349"/>
                    </a:lnTo>
                    <a:lnTo>
                      <a:pt x="2206679" y="393231"/>
                    </a:lnTo>
                    <a:lnTo>
                      <a:pt x="2206150" y="389704"/>
                    </a:lnTo>
                    <a:lnTo>
                      <a:pt x="2208794" y="389704"/>
                    </a:lnTo>
                    <a:lnTo>
                      <a:pt x="2212321" y="391203"/>
                    </a:lnTo>
                    <a:lnTo>
                      <a:pt x="2214966" y="390321"/>
                    </a:lnTo>
                    <a:lnTo>
                      <a:pt x="2218140" y="390939"/>
                    </a:lnTo>
                    <a:lnTo>
                      <a:pt x="2219639" y="386883"/>
                    </a:lnTo>
                    <a:lnTo>
                      <a:pt x="2220785" y="392437"/>
                    </a:lnTo>
                    <a:lnTo>
                      <a:pt x="2222549" y="392437"/>
                    </a:lnTo>
                    <a:lnTo>
                      <a:pt x="2225811" y="393319"/>
                    </a:lnTo>
                    <a:lnTo>
                      <a:pt x="2225547" y="395612"/>
                    </a:lnTo>
                    <a:lnTo>
                      <a:pt x="2223783" y="397110"/>
                    </a:lnTo>
                    <a:lnTo>
                      <a:pt x="2222284" y="397992"/>
                    </a:lnTo>
                    <a:lnTo>
                      <a:pt x="2220256" y="399755"/>
                    </a:lnTo>
                    <a:lnTo>
                      <a:pt x="2218493" y="399138"/>
                    </a:lnTo>
                    <a:lnTo>
                      <a:pt x="2214966" y="400637"/>
                    </a:lnTo>
                    <a:lnTo>
                      <a:pt x="2211175" y="400020"/>
                    </a:lnTo>
                    <a:lnTo>
                      <a:pt x="2211792" y="400902"/>
                    </a:lnTo>
                    <a:lnTo>
                      <a:pt x="2218758" y="401166"/>
                    </a:lnTo>
                    <a:lnTo>
                      <a:pt x="2223166" y="400549"/>
                    </a:lnTo>
                    <a:lnTo>
                      <a:pt x="2224312" y="402577"/>
                    </a:lnTo>
                    <a:lnTo>
                      <a:pt x="2225194" y="404076"/>
                    </a:lnTo>
                    <a:lnTo>
                      <a:pt x="2228368" y="403811"/>
                    </a:lnTo>
                    <a:lnTo>
                      <a:pt x="2231277" y="404428"/>
                    </a:lnTo>
                    <a:lnTo>
                      <a:pt x="2232688" y="405046"/>
                    </a:lnTo>
                    <a:lnTo>
                      <a:pt x="2232953" y="407426"/>
                    </a:lnTo>
                    <a:lnTo>
                      <a:pt x="2234980" y="406809"/>
                    </a:lnTo>
                    <a:lnTo>
                      <a:pt x="2236744" y="404781"/>
                    </a:lnTo>
                    <a:lnTo>
                      <a:pt x="2240271" y="406809"/>
                    </a:lnTo>
                    <a:lnTo>
                      <a:pt x="2243445" y="404517"/>
                    </a:lnTo>
                    <a:lnTo>
                      <a:pt x="2248382" y="404252"/>
                    </a:lnTo>
                    <a:lnTo>
                      <a:pt x="2253584" y="404869"/>
                    </a:lnTo>
                    <a:lnTo>
                      <a:pt x="2255083" y="406897"/>
                    </a:lnTo>
                    <a:lnTo>
                      <a:pt x="2257728" y="404869"/>
                    </a:lnTo>
                    <a:lnTo>
                      <a:pt x="2257728" y="402577"/>
                    </a:lnTo>
                    <a:lnTo>
                      <a:pt x="2259139" y="399932"/>
                    </a:lnTo>
                    <a:lnTo>
                      <a:pt x="2260902" y="398168"/>
                    </a:lnTo>
                    <a:lnTo>
                      <a:pt x="2265575" y="398786"/>
                    </a:lnTo>
                    <a:lnTo>
                      <a:pt x="2265839" y="400549"/>
                    </a:lnTo>
                    <a:lnTo>
                      <a:pt x="2266985" y="402929"/>
                    </a:lnTo>
                    <a:lnTo>
                      <a:pt x="2271659" y="402665"/>
                    </a:lnTo>
                    <a:lnTo>
                      <a:pt x="2278095" y="401783"/>
                    </a:lnTo>
                    <a:lnTo>
                      <a:pt x="2278712" y="398609"/>
                    </a:lnTo>
                    <a:lnTo>
                      <a:pt x="2281357" y="400020"/>
                    </a:lnTo>
                    <a:lnTo>
                      <a:pt x="2286647" y="398257"/>
                    </a:lnTo>
                    <a:lnTo>
                      <a:pt x="2293965" y="399755"/>
                    </a:lnTo>
                    <a:lnTo>
                      <a:pt x="2295728" y="400020"/>
                    </a:lnTo>
                    <a:lnTo>
                      <a:pt x="2294230" y="397728"/>
                    </a:lnTo>
                    <a:lnTo>
                      <a:pt x="2292466" y="396229"/>
                    </a:lnTo>
                    <a:lnTo>
                      <a:pt x="2291585" y="390674"/>
                    </a:lnTo>
                    <a:lnTo>
                      <a:pt x="2289292" y="391556"/>
                    </a:lnTo>
                    <a:lnTo>
                      <a:pt x="2286118" y="390674"/>
                    </a:lnTo>
                    <a:lnTo>
                      <a:pt x="2281710" y="390057"/>
                    </a:lnTo>
                    <a:lnTo>
                      <a:pt x="2275626" y="390057"/>
                    </a:lnTo>
                    <a:lnTo>
                      <a:pt x="2273598" y="387765"/>
                    </a:lnTo>
                    <a:lnTo>
                      <a:pt x="2271306" y="386618"/>
                    </a:lnTo>
                    <a:lnTo>
                      <a:pt x="2272188" y="390057"/>
                    </a:lnTo>
                    <a:lnTo>
                      <a:pt x="2268132" y="390674"/>
                    </a:lnTo>
                    <a:lnTo>
                      <a:pt x="2268132" y="387147"/>
                    </a:lnTo>
                    <a:lnTo>
                      <a:pt x="2275450" y="384855"/>
                    </a:lnTo>
                    <a:lnTo>
                      <a:pt x="2266633" y="385472"/>
                    </a:lnTo>
                    <a:lnTo>
                      <a:pt x="2262225" y="384326"/>
                    </a:lnTo>
                    <a:lnTo>
                      <a:pt x="2262489" y="381681"/>
                    </a:lnTo>
                    <a:lnTo>
                      <a:pt x="2261607" y="378507"/>
                    </a:lnTo>
                    <a:lnTo>
                      <a:pt x="2261343" y="375597"/>
                    </a:lnTo>
                    <a:lnTo>
                      <a:pt x="2261078" y="374451"/>
                    </a:lnTo>
                    <a:lnTo>
                      <a:pt x="2264869" y="374187"/>
                    </a:lnTo>
                    <a:lnTo>
                      <a:pt x="2268396" y="379124"/>
                    </a:lnTo>
                    <a:lnTo>
                      <a:pt x="2267514" y="382386"/>
                    </a:lnTo>
                    <a:lnTo>
                      <a:pt x="2271041" y="377713"/>
                    </a:lnTo>
                    <a:lnTo>
                      <a:pt x="2268132" y="375068"/>
                    </a:lnTo>
                    <a:lnTo>
                      <a:pt x="2268749" y="372776"/>
                    </a:lnTo>
                    <a:lnTo>
                      <a:pt x="2266721" y="372511"/>
                    </a:lnTo>
                    <a:lnTo>
                      <a:pt x="2264693" y="372511"/>
                    </a:lnTo>
                    <a:lnTo>
                      <a:pt x="2261784" y="370131"/>
                    </a:lnTo>
                    <a:lnTo>
                      <a:pt x="2265310" y="367486"/>
                    </a:lnTo>
                    <a:lnTo>
                      <a:pt x="2265575" y="362813"/>
                    </a:lnTo>
                    <a:lnTo>
                      <a:pt x="2265575" y="360785"/>
                    </a:lnTo>
                    <a:lnTo>
                      <a:pt x="2267074" y="359022"/>
                    </a:lnTo>
                    <a:lnTo>
                      <a:pt x="2264693" y="356112"/>
                    </a:lnTo>
                    <a:lnTo>
                      <a:pt x="2268485" y="350910"/>
                    </a:lnTo>
                    <a:lnTo>
                      <a:pt x="2267338" y="349764"/>
                    </a:lnTo>
                    <a:lnTo>
                      <a:pt x="2264164" y="346590"/>
                    </a:lnTo>
                    <a:lnTo>
                      <a:pt x="2263547" y="344298"/>
                    </a:lnTo>
                    <a:lnTo>
                      <a:pt x="2264693" y="341035"/>
                    </a:lnTo>
                    <a:lnTo>
                      <a:pt x="2267074" y="340154"/>
                    </a:lnTo>
                    <a:lnTo>
                      <a:pt x="2269983" y="341035"/>
                    </a:lnTo>
                    <a:lnTo>
                      <a:pt x="2270865" y="337861"/>
                    </a:lnTo>
                    <a:lnTo>
                      <a:pt x="2274304" y="337597"/>
                    </a:lnTo>
                    <a:lnTo>
                      <a:pt x="2277477" y="338214"/>
                    </a:lnTo>
                    <a:lnTo>
                      <a:pt x="2278095" y="341741"/>
                    </a:lnTo>
                    <a:lnTo>
                      <a:pt x="2282768" y="338567"/>
                    </a:lnTo>
                    <a:lnTo>
                      <a:pt x="2286559" y="339184"/>
                    </a:lnTo>
                    <a:lnTo>
                      <a:pt x="2290350" y="338302"/>
                    </a:lnTo>
                    <a:lnTo>
                      <a:pt x="2291585" y="335922"/>
                    </a:lnTo>
                    <a:lnTo>
                      <a:pt x="2296522" y="337420"/>
                    </a:lnTo>
                    <a:lnTo>
                      <a:pt x="2298550" y="339184"/>
                    </a:lnTo>
                    <a:lnTo>
                      <a:pt x="2302077" y="339448"/>
                    </a:lnTo>
                    <a:lnTo>
                      <a:pt x="2304104" y="342622"/>
                    </a:lnTo>
                    <a:lnTo>
                      <a:pt x="2306397" y="340859"/>
                    </a:lnTo>
                    <a:lnTo>
                      <a:pt x="2308160" y="338831"/>
                    </a:lnTo>
                    <a:lnTo>
                      <a:pt x="2310188" y="337949"/>
                    </a:lnTo>
                    <a:lnTo>
                      <a:pt x="2307014" y="342622"/>
                    </a:lnTo>
                    <a:lnTo>
                      <a:pt x="2309042" y="342887"/>
                    </a:lnTo>
                    <a:lnTo>
                      <a:pt x="2312569" y="338478"/>
                    </a:lnTo>
                    <a:lnTo>
                      <a:pt x="2315214" y="338743"/>
                    </a:lnTo>
                    <a:lnTo>
                      <a:pt x="2314949" y="337597"/>
                    </a:lnTo>
                    <a:lnTo>
                      <a:pt x="2316977" y="340506"/>
                    </a:lnTo>
                    <a:lnTo>
                      <a:pt x="2317594" y="345444"/>
                    </a:lnTo>
                    <a:lnTo>
                      <a:pt x="2319622" y="348353"/>
                    </a:lnTo>
                    <a:lnTo>
                      <a:pt x="2323942" y="353291"/>
                    </a:lnTo>
                    <a:lnTo>
                      <a:pt x="2325441" y="355319"/>
                    </a:lnTo>
                    <a:lnTo>
                      <a:pt x="2326940" y="356465"/>
                    </a:lnTo>
                    <a:lnTo>
                      <a:pt x="2329849" y="357611"/>
                    </a:lnTo>
                    <a:lnTo>
                      <a:pt x="2329585" y="359374"/>
                    </a:lnTo>
                    <a:lnTo>
                      <a:pt x="2332142" y="358757"/>
                    </a:lnTo>
                    <a:lnTo>
                      <a:pt x="2333905" y="355848"/>
                    </a:lnTo>
                    <a:lnTo>
                      <a:pt x="2337432" y="356994"/>
                    </a:lnTo>
                    <a:lnTo>
                      <a:pt x="2337432" y="359022"/>
                    </a:lnTo>
                    <a:lnTo>
                      <a:pt x="2337432" y="362548"/>
                    </a:lnTo>
                    <a:lnTo>
                      <a:pt x="2341488" y="365193"/>
                    </a:lnTo>
                    <a:lnTo>
                      <a:pt x="2345015" y="367221"/>
                    </a:lnTo>
                    <a:lnTo>
                      <a:pt x="2345896" y="365458"/>
                    </a:lnTo>
                    <a:lnTo>
                      <a:pt x="2345367" y="361667"/>
                    </a:lnTo>
                    <a:lnTo>
                      <a:pt x="2348012" y="364312"/>
                    </a:lnTo>
                    <a:lnTo>
                      <a:pt x="2350040" y="363695"/>
                    </a:lnTo>
                    <a:lnTo>
                      <a:pt x="2353214" y="366869"/>
                    </a:lnTo>
                    <a:lnTo>
                      <a:pt x="2354096" y="364841"/>
                    </a:lnTo>
                    <a:lnTo>
                      <a:pt x="2352068" y="363342"/>
                    </a:lnTo>
                    <a:lnTo>
                      <a:pt x="2351539" y="362196"/>
                    </a:lnTo>
                    <a:lnTo>
                      <a:pt x="2353303" y="361050"/>
                    </a:lnTo>
                    <a:lnTo>
                      <a:pt x="2354184" y="358140"/>
                    </a:lnTo>
                    <a:lnTo>
                      <a:pt x="2355330" y="355230"/>
                    </a:lnTo>
                    <a:lnTo>
                      <a:pt x="2354184" y="352850"/>
                    </a:lnTo>
                    <a:lnTo>
                      <a:pt x="2357358" y="353467"/>
                    </a:lnTo>
                    <a:lnTo>
                      <a:pt x="2357358" y="349940"/>
                    </a:lnTo>
                    <a:lnTo>
                      <a:pt x="2357358" y="346766"/>
                    </a:lnTo>
                    <a:lnTo>
                      <a:pt x="2359650" y="346149"/>
                    </a:lnTo>
                    <a:lnTo>
                      <a:pt x="2362295" y="345003"/>
                    </a:lnTo>
                    <a:lnTo>
                      <a:pt x="2362913" y="343857"/>
                    </a:lnTo>
                    <a:lnTo>
                      <a:pt x="2365822" y="345885"/>
                    </a:lnTo>
                    <a:lnTo>
                      <a:pt x="2365822" y="342358"/>
                    </a:lnTo>
                    <a:lnTo>
                      <a:pt x="2369085" y="345003"/>
                    </a:lnTo>
                    <a:lnTo>
                      <a:pt x="2371377" y="344738"/>
                    </a:lnTo>
                    <a:lnTo>
                      <a:pt x="2372523" y="342358"/>
                    </a:lnTo>
                    <a:lnTo>
                      <a:pt x="2369878" y="341741"/>
                    </a:lnTo>
                    <a:lnTo>
                      <a:pt x="2369261" y="339977"/>
                    </a:lnTo>
                    <a:lnTo>
                      <a:pt x="2366616" y="339360"/>
                    </a:lnTo>
                    <a:lnTo>
                      <a:pt x="2363971" y="338214"/>
                    </a:lnTo>
                    <a:lnTo>
                      <a:pt x="2364853" y="336715"/>
                    </a:lnTo>
                    <a:lnTo>
                      <a:pt x="2361590" y="335569"/>
                    </a:lnTo>
                    <a:lnTo>
                      <a:pt x="2361855" y="333277"/>
                    </a:lnTo>
                    <a:lnTo>
                      <a:pt x="2360091" y="330984"/>
                    </a:lnTo>
                    <a:lnTo>
                      <a:pt x="2357799" y="331513"/>
                    </a:lnTo>
                    <a:lnTo>
                      <a:pt x="2355154" y="330631"/>
                    </a:lnTo>
                    <a:lnTo>
                      <a:pt x="2356300" y="328604"/>
                    </a:lnTo>
                    <a:lnTo>
                      <a:pt x="2357182" y="327105"/>
                    </a:lnTo>
                    <a:lnTo>
                      <a:pt x="2354890" y="326840"/>
                    </a:lnTo>
                    <a:lnTo>
                      <a:pt x="2354008" y="324812"/>
                    </a:lnTo>
                    <a:lnTo>
                      <a:pt x="2354890" y="324283"/>
                    </a:lnTo>
                    <a:lnTo>
                      <a:pt x="2351980" y="323137"/>
                    </a:lnTo>
                    <a:lnTo>
                      <a:pt x="2354008" y="321991"/>
                    </a:lnTo>
                    <a:lnTo>
                      <a:pt x="2354008" y="319963"/>
                    </a:lnTo>
                    <a:lnTo>
                      <a:pt x="2355771" y="319081"/>
                    </a:lnTo>
                    <a:lnTo>
                      <a:pt x="2359033" y="318817"/>
                    </a:lnTo>
                    <a:lnTo>
                      <a:pt x="2359915" y="320316"/>
                    </a:lnTo>
                    <a:lnTo>
                      <a:pt x="2361678" y="320316"/>
                    </a:lnTo>
                    <a:lnTo>
                      <a:pt x="2364324" y="317671"/>
                    </a:lnTo>
                    <a:lnTo>
                      <a:pt x="2366351" y="319434"/>
                    </a:lnTo>
                    <a:lnTo>
                      <a:pt x="2366616" y="321197"/>
                    </a:lnTo>
                    <a:lnTo>
                      <a:pt x="2368644" y="320580"/>
                    </a:lnTo>
                    <a:lnTo>
                      <a:pt x="2368644" y="322344"/>
                    </a:lnTo>
                    <a:lnTo>
                      <a:pt x="2370054" y="326488"/>
                    </a:lnTo>
                    <a:lnTo>
                      <a:pt x="2369173" y="328780"/>
                    </a:lnTo>
                    <a:lnTo>
                      <a:pt x="2370671" y="330543"/>
                    </a:lnTo>
                    <a:lnTo>
                      <a:pt x="2371818" y="329044"/>
                    </a:lnTo>
                    <a:lnTo>
                      <a:pt x="2374110" y="331425"/>
                    </a:lnTo>
                    <a:lnTo>
                      <a:pt x="2372347" y="332571"/>
                    </a:lnTo>
                    <a:lnTo>
                      <a:pt x="2374992" y="333982"/>
                    </a:lnTo>
                    <a:lnTo>
                      <a:pt x="2374992" y="336010"/>
                    </a:lnTo>
                    <a:lnTo>
                      <a:pt x="2374992" y="338390"/>
                    </a:lnTo>
                    <a:lnTo>
                      <a:pt x="2377549" y="337773"/>
                    </a:lnTo>
                    <a:lnTo>
                      <a:pt x="2378166" y="340418"/>
                    </a:lnTo>
                    <a:lnTo>
                      <a:pt x="2380458" y="342181"/>
                    </a:lnTo>
                    <a:lnTo>
                      <a:pt x="2380458" y="344209"/>
                    </a:lnTo>
                    <a:lnTo>
                      <a:pt x="2382222" y="346237"/>
                    </a:lnTo>
                    <a:lnTo>
                      <a:pt x="2383985" y="345973"/>
                    </a:lnTo>
                    <a:lnTo>
                      <a:pt x="2384250" y="347472"/>
                    </a:lnTo>
                    <a:lnTo>
                      <a:pt x="2386895" y="348353"/>
                    </a:lnTo>
                    <a:lnTo>
                      <a:pt x="2390686" y="348970"/>
                    </a:lnTo>
                    <a:lnTo>
                      <a:pt x="2390069" y="351263"/>
                    </a:lnTo>
                    <a:lnTo>
                      <a:pt x="2389804" y="353026"/>
                    </a:lnTo>
                    <a:lnTo>
                      <a:pt x="2392449" y="355671"/>
                    </a:lnTo>
                    <a:lnTo>
                      <a:pt x="2391303" y="357435"/>
                    </a:lnTo>
                    <a:lnTo>
                      <a:pt x="2389275" y="357964"/>
                    </a:lnTo>
                    <a:lnTo>
                      <a:pt x="2390157" y="359727"/>
                    </a:lnTo>
                    <a:lnTo>
                      <a:pt x="2387512" y="360344"/>
                    </a:lnTo>
                    <a:lnTo>
                      <a:pt x="2386366" y="361490"/>
                    </a:lnTo>
                    <a:lnTo>
                      <a:pt x="2383456" y="363254"/>
                    </a:lnTo>
                    <a:lnTo>
                      <a:pt x="2381693" y="362108"/>
                    </a:lnTo>
                    <a:lnTo>
                      <a:pt x="2381075" y="364488"/>
                    </a:lnTo>
                    <a:lnTo>
                      <a:pt x="2379312" y="365370"/>
                    </a:lnTo>
                    <a:lnTo>
                      <a:pt x="2377549" y="365634"/>
                    </a:lnTo>
                    <a:lnTo>
                      <a:pt x="2378430" y="369161"/>
                    </a:lnTo>
                    <a:lnTo>
                      <a:pt x="2375785" y="370307"/>
                    </a:lnTo>
                    <a:lnTo>
                      <a:pt x="2377284" y="372688"/>
                    </a:lnTo>
                    <a:lnTo>
                      <a:pt x="2383104" y="374451"/>
                    </a:lnTo>
                    <a:lnTo>
                      <a:pt x="2382486" y="377361"/>
                    </a:lnTo>
                    <a:lnTo>
                      <a:pt x="2380458" y="378507"/>
                    </a:lnTo>
                    <a:lnTo>
                      <a:pt x="2380458" y="382915"/>
                    </a:lnTo>
                    <a:lnTo>
                      <a:pt x="2380194" y="387853"/>
                    </a:lnTo>
                    <a:lnTo>
                      <a:pt x="2377020" y="388734"/>
                    </a:lnTo>
                    <a:lnTo>
                      <a:pt x="2378519" y="392526"/>
                    </a:lnTo>
                    <a:lnTo>
                      <a:pt x="2379136" y="397199"/>
                    </a:lnTo>
                    <a:lnTo>
                      <a:pt x="2378254" y="400725"/>
                    </a:lnTo>
                    <a:lnTo>
                      <a:pt x="2378519" y="403370"/>
                    </a:lnTo>
                    <a:lnTo>
                      <a:pt x="2382046" y="405398"/>
                    </a:lnTo>
                    <a:lnTo>
                      <a:pt x="2379753" y="408572"/>
                    </a:lnTo>
                    <a:lnTo>
                      <a:pt x="2380017" y="411482"/>
                    </a:lnTo>
                    <a:lnTo>
                      <a:pt x="2380017" y="414127"/>
                    </a:lnTo>
                    <a:lnTo>
                      <a:pt x="2379753" y="417036"/>
                    </a:lnTo>
                    <a:lnTo>
                      <a:pt x="2378254" y="417301"/>
                    </a:lnTo>
                    <a:lnTo>
                      <a:pt x="2377108" y="419329"/>
                    </a:lnTo>
                    <a:lnTo>
                      <a:pt x="2373581" y="415802"/>
                    </a:lnTo>
                    <a:lnTo>
                      <a:pt x="2371818" y="414303"/>
                    </a:lnTo>
                    <a:lnTo>
                      <a:pt x="2371818" y="408749"/>
                    </a:lnTo>
                    <a:lnTo>
                      <a:pt x="2369790" y="408131"/>
                    </a:lnTo>
                    <a:lnTo>
                      <a:pt x="2368379" y="401431"/>
                    </a:lnTo>
                    <a:lnTo>
                      <a:pt x="2363706" y="397904"/>
                    </a:lnTo>
                    <a:lnTo>
                      <a:pt x="2373052" y="422415"/>
                    </a:lnTo>
                    <a:lnTo>
                      <a:pt x="2374463" y="420387"/>
                    </a:lnTo>
                    <a:lnTo>
                      <a:pt x="2375080" y="422150"/>
                    </a:lnTo>
                    <a:lnTo>
                      <a:pt x="2373934" y="424795"/>
                    </a:lnTo>
                    <a:lnTo>
                      <a:pt x="2371025" y="425060"/>
                    </a:lnTo>
                    <a:lnTo>
                      <a:pt x="2366616" y="425941"/>
                    </a:lnTo>
                    <a:lnTo>
                      <a:pt x="2367762" y="427440"/>
                    </a:lnTo>
                    <a:lnTo>
                      <a:pt x="2365470" y="429204"/>
                    </a:lnTo>
                    <a:lnTo>
                      <a:pt x="2363442" y="429468"/>
                    </a:lnTo>
                    <a:lnTo>
                      <a:pt x="2362031" y="429468"/>
                    </a:lnTo>
                    <a:lnTo>
                      <a:pt x="2357094" y="429468"/>
                    </a:lnTo>
                    <a:lnTo>
                      <a:pt x="2359386" y="432378"/>
                    </a:lnTo>
                    <a:lnTo>
                      <a:pt x="2360885" y="432642"/>
                    </a:lnTo>
                    <a:lnTo>
                      <a:pt x="2360885" y="434141"/>
                    </a:lnTo>
                    <a:lnTo>
                      <a:pt x="2366440" y="434670"/>
                    </a:lnTo>
                    <a:lnTo>
                      <a:pt x="2367321" y="437844"/>
                    </a:lnTo>
                    <a:lnTo>
                      <a:pt x="2366440" y="440754"/>
                    </a:lnTo>
                    <a:lnTo>
                      <a:pt x="2368820" y="439872"/>
                    </a:lnTo>
                    <a:lnTo>
                      <a:pt x="2368820" y="443928"/>
                    </a:lnTo>
                    <a:lnTo>
                      <a:pt x="2369437" y="447102"/>
                    </a:lnTo>
                    <a:lnTo>
                      <a:pt x="2370936" y="445956"/>
                    </a:lnTo>
                    <a:lnTo>
                      <a:pt x="2375609" y="441283"/>
                    </a:lnTo>
                    <a:lnTo>
                      <a:pt x="2369525" y="449747"/>
                    </a:lnTo>
                    <a:lnTo>
                      <a:pt x="2369525" y="453538"/>
                    </a:lnTo>
                    <a:lnTo>
                      <a:pt x="2368644" y="454155"/>
                    </a:lnTo>
                    <a:lnTo>
                      <a:pt x="2369261" y="456183"/>
                    </a:lnTo>
                    <a:lnTo>
                      <a:pt x="2371818" y="457065"/>
                    </a:lnTo>
                    <a:lnTo>
                      <a:pt x="2371818" y="458828"/>
                    </a:lnTo>
                    <a:lnTo>
                      <a:pt x="2372699" y="461473"/>
                    </a:lnTo>
                    <a:lnTo>
                      <a:pt x="2372699" y="464647"/>
                    </a:lnTo>
                    <a:lnTo>
                      <a:pt x="2374463" y="465794"/>
                    </a:lnTo>
                    <a:lnTo>
                      <a:pt x="2376226" y="466058"/>
                    </a:lnTo>
                    <a:lnTo>
                      <a:pt x="2377108" y="469585"/>
                    </a:lnTo>
                    <a:lnTo>
                      <a:pt x="2378519" y="469320"/>
                    </a:lnTo>
                    <a:lnTo>
                      <a:pt x="2381428" y="471965"/>
                    </a:lnTo>
                    <a:lnTo>
                      <a:pt x="2382927" y="474610"/>
                    </a:lnTo>
                    <a:lnTo>
                      <a:pt x="2384691" y="476638"/>
                    </a:lnTo>
                    <a:lnTo>
                      <a:pt x="2385308" y="478666"/>
                    </a:lnTo>
                    <a:lnTo>
                      <a:pt x="2388217" y="471084"/>
                    </a:lnTo>
                    <a:lnTo>
                      <a:pt x="2385924" y="480077"/>
                    </a:lnTo>
                    <a:lnTo>
                      <a:pt x="2387071" y="482722"/>
                    </a:lnTo>
                    <a:lnTo>
                      <a:pt x="2388482" y="481840"/>
                    </a:lnTo>
                    <a:lnTo>
                      <a:pt x="2389363" y="485102"/>
                    </a:lnTo>
                    <a:lnTo>
                      <a:pt x="2391656" y="485102"/>
                    </a:lnTo>
                    <a:lnTo>
                      <a:pt x="2393419" y="486513"/>
                    </a:lnTo>
                    <a:lnTo>
                      <a:pt x="2393683" y="488541"/>
                    </a:lnTo>
                    <a:lnTo>
                      <a:pt x="2395183" y="489687"/>
                    </a:lnTo>
                    <a:lnTo>
                      <a:pt x="2396329" y="491451"/>
                    </a:lnTo>
                    <a:lnTo>
                      <a:pt x="2396593" y="491186"/>
                    </a:lnTo>
                    <a:lnTo>
                      <a:pt x="2398974" y="493831"/>
                    </a:lnTo>
                    <a:lnTo>
                      <a:pt x="2400737" y="496212"/>
                    </a:lnTo>
                    <a:lnTo>
                      <a:pt x="2403294" y="498240"/>
                    </a:lnTo>
                    <a:lnTo>
                      <a:pt x="2405322" y="498240"/>
                    </a:lnTo>
                    <a:lnTo>
                      <a:pt x="2405322" y="500003"/>
                    </a:lnTo>
                    <a:lnTo>
                      <a:pt x="2409378" y="500267"/>
                    </a:lnTo>
                    <a:lnTo>
                      <a:pt x="2411405" y="503441"/>
                    </a:lnTo>
                    <a:lnTo>
                      <a:pt x="2414932" y="501149"/>
                    </a:lnTo>
                    <a:lnTo>
                      <a:pt x="2416696" y="507585"/>
                    </a:lnTo>
                    <a:lnTo>
                      <a:pt x="2415196" y="510230"/>
                    </a:lnTo>
                    <a:lnTo>
                      <a:pt x="2419605" y="508732"/>
                    </a:lnTo>
                    <a:lnTo>
                      <a:pt x="2421633" y="511641"/>
                    </a:lnTo>
                    <a:lnTo>
                      <a:pt x="2424013" y="512258"/>
                    </a:lnTo>
                    <a:lnTo>
                      <a:pt x="2424631" y="517196"/>
                    </a:lnTo>
                    <a:lnTo>
                      <a:pt x="2429833" y="517813"/>
                    </a:lnTo>
                    <a:lnTo>
                      <a:pt x="2433624" y="521869"/>
                    </a:lnTo>
                    <a:lnTo>
                      <a:pt x="2433007" y="523367"/>
                    </a:lnTo>
                    <a:lnTo>
                      <a:pt x="2439972" y="525660"/>
                    </a:lnTo>
                    <a:lnTo>
                      <a:pt x="2446408" y="532978"/>
                    </a:lnTo>
                    <a:lnTo>
                      <a:pt x="2450464" y="537915"/>
                    </a:lnTo>
                    <a:lnTo>
                      <a:pt x="2455137" y="538180"/>
                    </a:lnTo>
                    <a:lnTo>
                      <a:pt x="2459810" y="543470"/>
                    </a:lnTo>
                    <a:lnTo>
                      <a:pt x="2458928" y="546644"/>
                    </a:lnTo>
                    <a:lnTo>
                      <a:pt x="2467128" y="551581"/>
                    </a:lnTo>
                    <a:lnTo>
                      <a:pt x="2472330" y="553609"/>
                    </a:lnTo>
                    <a:lnTo>
                      <a:pt x="2476121" y="557400"/>
                    </a:lnTo>
                    <a:lnTo>
                      <a:pt x="2477532" y="559428"/>
                    </a:lnTo>
                    <a:lnTo>
                      <a:pt x="2474622" y="562603"/>
                    </a:lnTo>
                    <a:lnTo>
                      <a:pt x="2484232" y="563220"/>
                    </a:lnTo>
                    <a:lnTo>
                      <a:pt x="2492080" y="571948"/>
                    </a:lnTo>
                    <a:lnTo>
                      <a:pt x="2498780" y="574858"/>
                    </a:lnTo>
                    <a:lnTo>
                      <a:pt x="2498516" y="581911"/>
                    </a:lnTo>
                    <a:lnTo>
                      <a:pt x="2503189" y="581030"/>
                    </a:lnTo>
                    <a:lnTo>
                      <a:pt x="2505481" y="578737"/>
                    </a:lnTo>
                    <a:lnTo>
                      <a:pt x="2508390" y="581647"/>
                    </a:lnTo>
                    <a:lnTo>
                      <a:pt x="2509890" y="586849"/>
                    </a:lnTo>
                    <a:lnTo>
                      <a:pt x="2514298" y="586584"/>
                    </a:lnTo>
                    <a:lnTo>
                      <a:pt x="2515709" y="590993"/>
                    </a:lnTo>
                    <a:lnTo>
                      <a:pt x="2518089" y="593902"/>
                    </a:lnTo>
                    <a:lnTo>
                      <a:pt x="2519852" y="592756"/>
                    </a:lnTo>
                    <a:lnTo>
                      <a:pt x="2520998" y="591257"/>
                    </a:lnTo>
                    <a:lnTo>
                      <a:pt x="2522762" y="586320"/>
                    </a:lnTo>
                    <a:lnTo>
                      <a:pt x="2520469" y="582793"/>
                    </a:lnTo>
                    <a:lnTo>
                      <a:pt x="2523996" y="583322"/>
                    </a:lnTo>
                    <a:lnTo>
                      <a:pt x="2525143" y="585085"/>
                    </a:lnTo>
                    <a:lnTo>
                      <a:pt x="2523996" y="581911"/>
                    </a:lnTo>
                    <a:lnTo>
                      <a:pt x="2527170" y="580765"/>
                    </a:lnTo>
                    <a:lnTo>
                      <a:pt x="2526906" y="579002"/>
                    </a:lnTo>
                    <a:lnTo>
                      <a:pt x="2528405" y="576092"/>
                    </a:lnTo>
                    <a:lnTo>
                      <a:pt x="2529286" y="569391"/>
                    </a:lnTo>
                    <a:lnTo>
                      <a:pt x="2524614" y="564983"/>
                    </a:lnTo>
                    <a:lnTo>
                      <a:pt x="2523115" y="562074"/>
                    </a:lnTo>
                    <a:lnTo>
                      <a:pt x="2519940" y="562955"/>
                    </a:lnTo>
                    <a:lnTo>
                      <a:pt x="2520823" y="557753"/>
                    </a:lnTo>
                    <a:lnTo>
                      <a:pt x="2514739" y="553962"/>
                    </a:lnTo>
                    <a:lnTo>
                      <a:pt x="2516149" y="551052"/>
                    </a:lnTo>
                    <a:lnTo>
                      <a:pt x="2513504" y="550435"/>
                    </a:lnTo>
                    <a:lnTo>
                      <a:pt x="2509448" y="549906"/>
                    </a:lnTo>
                    <a:lnTo>
                      <a:pt x="2509448" y="544087"/>
                    </a:lnTo>
                    <a:lnTo>
                      <a:pt x="2512358" y="545233"/>
                    </a:lnTo>
                    <a:lnTo>
                      <a:pt x="2516149" y="543205"/>
                    </a:lnTo>
                    <a:lnTo>
                      <a:pt x="2519323" y="542059"/>
                    </a:lnTo>
                    <a:lnTo>
                      <a:pt x="2517296" y="537122"/>
                    </a:lnTo>
                    <a:lnTo>
                      <a:pt x="2519588" y="537122"/>
                    </a:lnTo>
                    <a:lnTo>
                      <a:pt x="2518089" y="530685"/>
                    </a:lnTo>
                    <a:lnTo>
                      <a:pt x="2521616" y="530421"/>
                    </a:lnTo>
                    <a:lnTo>
                      <a:pt x="2517207" y="526894"/>
                    </a:lnTo>
                    <a:lnTo>
                      <a:pt x="2513152" y="524249"/>
                    </a:lnTo>
                    <a:lnTo>
                      <a:pt x="2507950" y="517284"/>
                    </a:lnTo>
                    <a:lnTo>
                      <a:pt x="2507332" y="509437"/>
                    </a:lnTo>
                    <a:lnTo>
                      <a:pt x="2513416" y="505910"/>
                    </a:lnTo>
                    <a:lnTo>
                      <a:pt x="2520998" y="508203"/>
                    </a:lnTo>
                    <a:lnTo>
                      <a:pt x="2527082" y="509701"/>
                    </a:lnTo>
                    <a:lnTo>
                      <a:pt x="2530609" y="506792"/>
                    </a:lnTo>
                    <a:lnTo>
                      <a:pt x="2530873" y="500973"/>
                    </a:lnTo>
                    <a:lnTo>
                      <a:pt x="2527964" y="496917"/>
                    </a:lnTo>
                    <a:lnTo>
                      <a:pt x="2525672" y="496035"/>
                    </a:lnTo>
                    <a:lnTo>
                      <a:pt x="2522762" y="492861"/>
                    </a:lnTo>
                    <a:lnTo>
                      <a:pt x="2520998" y="491980"/>
                    </a:lnTo>
                    <a:lnTo>
                      <a:pt x="2516943" y="489599"/>
                    </a:lnTo>
                    <a:lnTo>
                      <a:pt x="2511741" y="487307"/>
                    </a:lnTo>
                    <a:lnTo>
                      <a:pt x="2508567" y="485279"/>
                    </a:lnTo>
                    <a:lnTo>
                      <a:pt x="2504511" y="482634"/>
                    </a:lnTo>
                    <a:lnTo>
                      <a:pt x="2501602" y="477432"/>
                    </a:lnTo>
                    <a:lnTo>
                      <a:pt x="2501602" y="478049"/>
                    </a:lnTo>
                    <a:lnTo>
                      <a:pt x="2499838" y="471877"/>
                    </a:lnTo>
                    <a:lnTo>
                      <a:pt x="2500985" y="468086"/>
                    </a:lnTo>
                    <a:lnTo>
                      <a:pt x="2500985" y="463149"/>
                    </a:lnTo>
                    <a:lnTo>
                      <a:pt x="2506539" y="464912"/>
                    </a:lnTo>
                    <a:lnTo>
                      <a:pt x="2509713" y="468086"/>
                    </a:lnTo>
                    <a:lnTo>
                      <a:pt x="2513240" y="469585"/>
                    </a:lnTo>
                    <a:lnTo>
                      <a:pt x="2514122" y="468968"/>
                    </a:lnTo>
                    <a:lnTo>
                      <a:pt x="2512975" y="467821"/>
                    </a:lnTo>
                    <a:lnTo>
                      <a:pt x="2513593" y="464912"/>
                    </a:lnTo>
                    <a:lnTo>
                      <a:pt x="2510066" y="460856"/>
                    </a:lnTo>
                    <a:lnTo>
                      <a:pt x="2506539" y="455037"/>
                    </a:lnTo>
                    <a:lnTo>
                      <a:pt x="2504776" y="455037"/>
                    </a:lnTo>
                    <a:lnTo>
                      <a:pt x="2501249" y="455037"/>
                    </a:lnTo>
                    <a:lnTo>
                      <a:pt x="2494284" y="453891"/>
                    </a:lnTo>
                    <a:lnTo>
                      <a:pt x="2490493" y="449835"/>
                    </a:lnTo>
                    <a:lnTo>
                      <a:pt x="2490228" y="449218"/>
                    </a:lnTo>
                    <a:lnTo>
                      <a:pt x="2489346" y="446573"/>
                    </a:lnTo>
                    <a:lnTo>
                      <a:pt x="2486172" y="444545"/>
                    </a:lnTo>
                    <a:lnTo>
                      <a:pt x="2482116" y="441900"/>
                    </a:lnTo>
                    <a:lnTo>
                      <a:pt x="2481499" y="438373"/>
                    </a:lnTo>
                    <a:lnTo>
                      <a:pt x="2479472" y="438109"/>
                    </a:lnTo>
                    <a:lnTo>
                      <a:pt x="2473917" y="436610"/>
                    </a:lnTo>
                    <a:lnTo>
                      <a:pt x="2476827" y="433965"/>
                    </a:lnTo>
                    <a:lnTo>
                      <a:pt x="2475063" y="430438"/>
                    </a:lnTo>
                    <a:lnTo>
                      <a:pt x="2469244" y="430703"/>
                    </a:lnTo>
                    <a:lnTo>
                      <a:pt x="2469244" y="426294"/>
                    </a:lnTo>
                    <a:lnTo>
                      <a:pt x="2465453" y="426911"/>
                    </a:lnTo>
                    <a:lnTo>
                      <a:pt x="2459016" y="428322"/>
                    </a:lnTo>
                    <a:lnTo>
                      <a:pt x="2457253" y="425941"/>
                    </a:lnTo>
                    <a:lnTo>
                      <a:pt x="2452051" y="427705"/>
                    </a:lnTo>
                    <a:lnTo>
                      <a:pt x="2447378" y="425677"/>
                    </a:lnTo>
                    <a:lnTo>
                      <a:pt x="2442441" y="423914"/>
                    </a:lnTo>
                    <a:lnTo>
                      <a:pt x="2440942" y="419241"/>
                    </a:lnTo>
                    <a:lnTo>
                      <a:pt x="2438296" y="410512"/>
                    </a:lnTo>
                    <a:lnTo>
                      <a:pt x="2438914" y="406456"/>
                    </a:lnTo>
                    <a:lnTo>
                      <a:pt x="2438650" y="402048"/>
                    </a:lnTo>
                    <a:lnTo>
                      <a:pt x="2436621" y="400284"/>
                    </a:lnTo>
                    <a:lnTo>
                      <a:pt x="2439796" y="398874"/>
                    </a:lnTo>
                    <a:lnTo>
                      <a:pt x="2435387" y="395612"/>
                    </a:lnTo>
                    <a:lnTo>
                      <a:pt x="2429568" y="391203"/>
                    </a:lnTo>
                    <a:lnTo>
                      <a:pt x="2429039" y="388558"/>
                    </a:lnTo>
                    <a:lnTo>
                      <a:pt x="2429921" y="384502"/>
                    </a:lnTo>
                    <a:lnTo>
                      <a:pt x="2431949" y="382474"/>
                    </a:lnTo>
                    <a:lnTo>
                      <a:pt x="2435123" y="381593"/>
                    </a:lnTo>
                    <a:lnTo>
                      <a:pt x="2436621" y="379565"/>
                    </a:lnTo>
                    <a:lnTo>
                      <a:pt x="2438032" y="382210"/>
                    </a:lnTo>
                    <a:lnTo>
                      <a:pt x="2444204" y="383092"/>
                    </a:lnTo>
                    <a:lnTo>
                      <a:pt x="2445086" y="385119"/>
                    </a:lnTo>
                    <a:lnTo>
                      <a:pt x="2446849" y="384855"/>
                    </a:lnTo>
                    <a:lnTo>
                      <a:pt x="2449142" y="386001"/>
                    </a:lnTo>
                    <a:lnTo>
                      <a:pt x="2451169" y="384855"/>
                    </a:lnTo>
                    <a:lnTo>
                      <a:pt x="2451169" y="382563"/>
                    </a:lnTo>
                    <a:lnTo>
                      <a:pt x="2449406" y="383092"/>
                    </a:lnTo>
                    <a:lnTo>
                      <a:pt x="2452668" y="380447"/>
                    </a:lnTo>
                    <a:lnTo>
                      <a:pt x="2449406" y="378948"/>
                    </a:lnTo>
                    <a:lnTo>
                      <a:pt x="2450905" y="375685"/>
                    </a:lnTo>
                    <a:lnTo>
                      <a:pt x="2452933" y="375950"/>
                    </a:lnTo>
                    <a:lnTo>
                      <a:pt x="2453197" y="373305"/>
                    </a:lnTo>
                    <a:lnTo>
                      <a:pt x="2456371" y="373040"/>
                    </a:lnTo>
                    <a:lnTo>
                      <a:pt x="2458399" y="373305"/>
                    </a:lnTo>
                    <a:lnTo>
                      <a:pt x="2461044" y="373834"/>
                    </a:lnTo>
                    <a:lnTo>
                      <a:pt x="2462808" y="375333"/>
                    </a:lnTo>
                    <a:lnTo>
                      <a:pt x="2463689" y="378242"/>
                    </a:lnTo>
                    <a:lnTo>
                      <a:pt x="2466599" y="378507"/>
                    </a:lnTo>
                    <a:lnTo>
                      <a:pt x="2466864" y="381416"/>
                    </a:lnTo>
                    <a:lnTo>
                      <a:pt x="2469508" y="383444"/>
                    </a:lnTo>
                    <a:lnTo>
                      <a:pt x="2471272" y="384061"/>
                    </a:lnTo>
                    <a:lnTo>
                      <a:pt x="2473829" y="382915"/>
                    </a:lnTo>
                    <a:lnTo>
                      <a:pt x="2474093" y="380006"/>
                    </a:lnTo>
                    <a:lnTo>
                      <a:pt x="2472330" y="379477"/>
                    </a:lnTo>
                    <a:lnTo>
                      <a:pt x="2472065" y="376214"/>
                    </a:lnTo>
                    <a:lnTo>
                      <a:pt x="2473829" y="373569"/>
                    </a:lnTo>
                    <a:lnTo>
                      <a:pt x="2476209" y="373305"/>
                    </a:lnTo>
                    <a:lnTo>
                      <a:pt x="2480265" y="373305"/>
                    </a:lnTo>
                    <a:lnTo>
                      <a:pt x="2479118" y="370660"/>
                    </a:lnTo>
                    <a:lnTo>
                      <a:pt x="2482028" y="370043"/>
                    </a:lnTo>
                    <a:lnTo>
                      <a:pt x="2485555" y="369778"/>
                    </a:lnTo>
                    <a:lnTo>
                      <a:pt x="2484673" y="368015"/>
                    </a:lnTo>
                    <a:lnTo>
                      <a:pt x="2486084" y="367133"/>
                    </a:lnTo>
                    <a:lnTo>
                      <a:pt x="2490493" y="366516"/>
                    </a:lnTo>
                    <a:lnTo>
                      <a:pt x="2491110" y="367133"/>
                    </a:lnTo>
                    <a:lnTo>
                      <a:pt x="2494284" y="368632"/>
                    </a:lnTo>
                    <a:lnTo>
                      <a:pt x="2496929" y="365370"/>
                    </a:lnTo>
                    <a:lnTo>
                      <a:pt x="2498692" y="367398"/>
                    </a:lnTo>
                    <a:lnTo>
                      <a:pt x="2502483" y="368544"/>
                    </a:lnTo>
                    <a:lnTo>
                      <a:pt x="2506539" y="367927"/>
                    </a:lnTo>
                    <a:lnTo>
                      <a:pt x="2507421" y="366428"/>
                    </a:lnTo>
                    <a:lnTo>
                      <a:pt x="2510595" y="367927"/>
                    </a:lnTo>
                    <a:lnTo>
                      <a:pt x="2510859" y="369426"/>
                    </a:lnTo>
                    <a:lnTo>
                      <a:pt x="2514651" y="370572"/>
                    </a:lnTo>
                    <a:lnTo>
                      <a:pt x="2517560" y="371189"/>
                    </a:lnTo>
                    <a:lnTo>
                      <a:pt x="2519940" y="372071"/>
                    </a:lnTo>
                    <a:lnTo>
                      <a:pt x="2522585" y="373217"/>
                    </a:lnTo>
                    <a:lnTo>
                      <a:pt x="2524349" y="373746"/>
                    </a:lnTo>
                    <a:lnTo>
                      <a:pt x="2527876" y="374892"/>
                    </a:lnTo>
                    <a:lnTo>
                      <a:pt x="2532284" y="378419"/>
                    </a:lnTo>
                    <a:lnTo>
                      <a:pt x="2534312" y="378683"/>
                    </a:lnTo>
                    <a:lnTo>
                      <a:pt x="2536693" y="379565"/>
                    </a:lnTo>
                    <a:lnTo>
                      <a:pt x="2538191" y="380447"/>
                    </a:lnTo>
                    <a:lnTo>
                      <a:pt x="2542512" y="382210"/>
                    </a:lnTo>
                    <a:lnTo>
                      <a:pt x="2545157" y="381593"/>
                    </a:lnTo>
                    <a:lnTo>
                      <a:pt x="2543129" y="379300"/>
                    </a:lnTo>
                    <a:lnTo>
                      <a:pt x="2542247" y="376391"/>
                    </a:lnTo>
                    <a:lnTo>
                      <a:pt x="2539867" y="377802"/>
                    </a:lnTo>
                    <a:lnTo>
                      <a:pt x="2539602" y="374010"/>
                    </a:lnTo>
                    <a:lnTo>
                      <a:pt x="2539073" y="371982"/>
                    </a:lnTo>
                    <a:lnTo>
                      <a:pt x="2538456" y="367927"/>
                    </a:lnTo>
                    <a:lnTo>
                      <a:pt x="2542512" y="367045"/>
                    </a:lnTo>
                    <a:lnTo>
                      <a:pt x="2542247" y="365017"/>
                    </a:lnTo>
                    <a:lnTo>
                      <a:pt x="2541983" y="362989"/>
                    </a:lnTo>
                    <a:lnTo>
                      <a:pt x="2543129" y="362108"/>
                    </a:lnTo>
                    <a:lnTo>
                      <a:pt x="2544892" y="360080"/>
                    </a:lnTo>
                    <a:lnTo>
                      <a:pt x="2546656" y="358316"/>
                    </a:lnTo>
                    <a:lnTo>
                      <a:pt x="2547802" y="356553"/>
                    </a:lnTo>
                    <a:lnTo>
                      <a:pt x="2548154" y="351615"/>
                    </a:lnTo>
                    <a:lnTo>
                      <a:pt x="2549301" y="350117"/>
                    </a:lnTo>
                    <a:lnTo>
                      <a:pt x="2550799" y="348618"/>
                    </a:lnTo>
                    <a:lnTo>
                      <a:pt x="2550447" y="346237"/>
                    </a:lnTo>
                    <a:lnTo>
                      <a:pt x="2551328" y="340947"/>
                    </a:lnTo>
                    <a:lnTo>
                      <a:pt x="2552828" y="341212"/>
                    </a:lnTo>
                    <a:lnTo>
                      <a:pt x="2554855" y="341212"/>
                    </a:lnTo>
                    <a:lnTo>
                      <a:pt x="2556619" y="338038"/>
                    </a:lnTo>
                    <a:lnTo>
                      <a:pt x="2561027" y="338302"/>
                    </a:lnTo>
                    <a:lnTo>
                      <a:pt x="2561645" y="339448"/>
                    </a:lnTo>
                    <a:lnTo>
                      <a:pt x="2564554" y="337685"/>
                    </a:lnTo>
                    <a:lnTo>
                      <a:pt x="2567728" y="333629"/>
                    </a:lnTo>
                    <a:lnTo>
                      <a:pt x="2568874" y="336274"/>
                    </a:lnTo>
                    <a:lnTo>
                      <a:pt x="2571784" y="334246"/>
                    </a:lnTo>
                    <a:lnTo>
                      <a:pt x="2571166" y="329838"/>
                    </a:lnTo>
                    <a:lnTo>
                      <a:pt x="2573195" y="329573"/>
                    </a:lnTo>
                    <a:lnTo>
                      <a:pt x="2572666" y="328075"/>
                    </a:lnTo>
                    <a:lnTo>
                      <a:pt x="2574957" y="326928"/>
                    </a:lnTo>
                    <a:lnTo>
                      <a:pt x="2579013" y="327193"/>
                    </a:lnTo>
                    <a:lnTo>
                      <a:pt x="2581923" y="323402"/>
                    </a:lnTo>
                    <a:lnTo>
                      <a:pt x="2584833" y="320757"/>
                    </a:lnTo>
                    <a:lnTo>
                      <a:pt x="2585450" y="318993"/>
                    </a:lnTo>
                    <a:lnTo>
                      <a:pt x="2587478" y="321021"/>
                    </a:lnTo>
                    <a:lnTo>
                      <a:pt x="2591269" y="321021"/>
                    </a:lnTo>
                    <a:lnTo>
                      <a:pt x="2596824" y="320757"/>
                    </a:lnTo>
                    <a:lnTo>
                      <a:pt x="2599998" y="323402"/>
                    </a:lnTo>
                    <a:lnTo>
                      <a:pt x="2603524" y="323666"/>
                    </a:lnTo>
                    <a:lnTo>
                      <a:pt x="2607580" y="322784"/>
                    </a:lnTo>
                    <a:lnTo>
                      <a:pt x="2609343" y="324283"/>
                    </a:lnTo>
                    <a:lnTo>
                      <a:pt x="2615162" y="323402"/>
                    </a:lnTo>
                    <a:lnTo>
                      <a:pt x="2618072" y="324548"/>
                    </a:lnTo>
                    <a:lnTo>
                      <a:pt x="2618072" y="326311"/>
                    </a:lnTo>
                    <a:lnTo>
                      <a:pt x="2619483" y="327810"/>
                    </a:lnTo>
                    <a:lnTo>
                      <a:pt x="2623538" y="327810"/>
                    </a:lnTo>
                    <a:lnTo>
                      <a:pt x="2626977" y="327810"/>
                    </a:lnTo>
                    <a:lnTo>
                      <a:pt x="2629358" y="326311"/>
                    </a:lnTo>
                    <a:lnTo>
                      <a:pt x="2627859" y="324812"/>
                    </a:lnTo>
                    <a:lnTo>
                      <a:pt x="2626448" y="322167"/>
                    </a:lnTo>
                    <a:lnTo>
                      <a:pt x="2625831" y="320668"/>
                    </a:lnTo>
                    <a:lnTo>
                      <a:pt x="2625567" y="323578"/>
                    </a:lnTo>
                    <a:lnTo>
                      <a:pt x="2624156" y="318023"/>
                    </a:lnTo>
                    <a:lnTo>
                      <a:pt x="2624949" y="316525"/>
                    </a:lnTo>
                    <a:lnTo>
                      <a:pt x="2622304" y="315643"/>
                    </a:lnTo>
                    <a:lnTo>
                      <a:pt x="2620893" y="317671"/>
                    </a:lnTo>
                    <a:lnTo>
                      <a:pt x="2618601" y="313262"/>
                    </a:lnTo>
                    <a:lnTo>
                      <a:pt x="2616837" y="314408"/>
                    </a:lnTo>
                    <a:lnTo>
                      <a:pt x="2615956" y="312645"/>
                    </a:lnTo>
                    <a:lnTo>
                      <a:pt x="2612782" y="310617"/>
                    </a:lnTo>
                    <a:lnTo>
                      <a:pt x="2610754" y="310882"/>
                    </a:lnTo>
                    <a:lnTo>
                      <a:pt x="2608991" y="308501"/>
                    </a:lnTo>
                    <a:lnTo>
                      <a:pt x="2608109" y="306473"/>
                    </a:lnTo>
                    <a:lnTo>
                      <a:pt x="2605200" y="307090"/>
                    </a:lnTo>
                    <a:lnTo>
                      <a:pt x="2604671" y="304798"/>
                    </a:lnTo>
                    <a:lnTo>
                      <a:pt x="2602025" y="304798"/>
                    </a:lnTo>
                    <a:lnTo>
                      <a:pt x="2599380" y="304798"/>
                    </a:lnTo>
                    <a:lnTo>
                      <a:pt x="2599380" y="303652"/>
                    </a:lnTo>
                    <a:lnTo>
                      <a:pt x="2595589" y="304798"/>
                    </a:lnTo>
                    <a:lnTo>
                      <a:pt x="2593297" y="303387"/>
                    </a:lnTo>
                    <a:lnTo>
                      <a:pt x="2593297" y="302241"/>
                    </a:lnTo>
                    <a:lnTo>
                      <a:pt x="2593561" y="301095"/>
                    </a:lnTo>
                    <a:lnTo>
                      <a:pt x="2590916" y="299596"/>
                    </a:lnTo>
                    <a:lnTo>
                      <a:pt x="2589153" y="298714"/>
                    </a:lnTo>
                    <a:lnTo>
                      <a:pt x="2584745" y="298714"/>
                    </a:lnTo>
                    <a:lnTo>
                      <a:pt x="2584480" y="296069"/>
                    </a:lnTo>
                    <a:lnTo>
                      <a:pt x="2584216" y="294571"/>
                    </a:lnTo>
                    <a:lnTo>
                      <a:pt x="2581570" y="291044"/>
                    </a:lnTo>
                    <a:lnTo>
                      <a:pt x="2580424" y="292807"/>
                    </a:lnTo>
                    <a:lnTo>
                      <a:pt x="2578661" y="291926"/>
                    </a:lnTo>
                    <a:lnTo>
                      <a:pt x="2575399" y="290779"/>
                    </a:lnTo>
                    <a:lnTo>
                      <a:pt x="2574782" y="289633"/>
                    </a:lnTo>
                    <a:lnTo>
                      <a:pt x="2569227" y="291661"/>
                    </a:lnTo>
                    <a:lnTo>
                      <a:pt x="2568081" y="288751"/>
                    </a:lnTo>
                    <a:lnTo>
                      <a:pt x="2567816" y="286724"/>
                    </a:lnTo>
                    <a:lnTo>
                      <a:pt x="2563143" y="285577"/>
                    </a:lnTo>
                    <a:lnTo>
                      <a:pt x="2561645" y="280904"/>
                    </a:lnTo>
                    <a:lnTo>
                      <a:pt x="2559881" y="281786"/>
                    </a:lnTo>
                    <a:lnTo>
                      <a:pt x="2559264" y="284167"/>
                    </a:lnTo>
                    <a:lnTo>
                      <a:pt x="2556707" y="282403"/>
                    </a:lnTo>
                    <a:lnTo>
                      <a:pt x="2555825" y="280375"/>
                    </a:lnTo>
                    <a:lnTo>
                      <a:pt x="2552915" y="281257"/>
                    </a:lnTo>
                    <a:lnTo>
                      <a:pt x="2550006" y="281874"/>
                    </a:lnTo>
                    <a:lnTo>
                      <a:pt x="2547978" y="281610"/>
                    </a:lnTo>
                    <a:lnTo>
                      <a:pt x="2545333" y="280111"/>
                    </a:lnTo>
                    <a:lnTo>
                      <a:pt x="2541542" y="280375"/>
                    </a:lnTo>
                    <a:lnTo>
                      <a:pt x="2538632" y="279494"/>
                    </a:lnTo>
                    <a:lnTo>
                      <a:pt x="2537486" y="277730"/>
                    </a:lnTo>
                    <a:lnTo>
                      <a:pt x="2535458" y="276232"/>
                    </a:lnTo>
                    <a:lnTo>
                      <a:pt x="2534841" y="274733"/>
                    </a:lnTo>
                    <a:lnTo>
                      <a:pt x="2533960" y="274204"/>
                    </a:lnTo>
                    <a:lnTo>
                      <a:pt x="2534841" y="272440"/>
                    </a:lnTo>
                    <a:lnTo>
                      <a:pt x="2538103" y="273057"/>
                    </a:lnTo>
                    <a:lnTo>
                      <a:pt x="2538632" y="273057"/>
                    </a:lnTo>
                    <a:lnTo>
                      <a:pt x="2540660" y="273939"/>
                    </a:lnTo>
                    <a:lnTo>
                      <a:pt x="2543570" y="274556"/>
                    </a:lnTo>
                    <a:lnTo>
                      <a:pt x="2547978" y="274556"/>
                    </a:lnTo>
                    <a:lnTo>
                      <a:pt x="2550888" y="273410"/>
                    </a:lnTo>
                    <a:lnTo>
                      <a:pt x="2553180" y="271382"/>
                    </a:lnTo>
                    <a:lnTo>
                      <a:pt x="2554944" y="271999"/>
                    </a:lnTo>
                    <a:lnTo>
                      <a:pt x="2558470" y="269707"/>
                    </a:lnTo>
                    <a:lnTo>
                      <a:pt x="2558823" y="266180"/>
                    </a:lnTo>
                    <a:lnTo>
                      <a:pt x="2560851" y="263006"/>
                    </a:lnTo>
                    <a:lnTo>
                      <a:pt x="2561732" y="260714"/>
                    </a:lnTo>
                    <a:lnTo>
                      <a:pt x="2559087" y="259215"/>
                    </a:lnTo>
                    <a:lnTo>
                      <a:pt x="2555296" y="256834"/>
                    </a:lnTo>
                    <a:lnTo>
                      <a:pt x="2556178" y="253660"/>
                    </a:lnTo>
                    <a:lnTo>
                      <a:pt x="2553004" y="252514"/>
                    </a:lnTo>
                    <a:lnTo>
                      <a:pt x="2549741" y="251897"/>
                    </a:lnTo>
                    <a:lnTo>
                      <a:pt x="2547449" y="250751"/>
                    </a:lnTo>
                    <a:lnTo>
                      <a:pt x="2543658" y="248723"/>
                    </a:lnTo>
                    <a:lnTo>
                      <a:pt x="2542776" y="246695"/>
                    </a:lnTo>
                    <a:lnTo>
                      <a:pt x="2539602" y="246078"/>
                    </a:lnTo>
                    <a:lnTo>
                      <a:pt x="2535194" y="244932"/>
                    </a:lnTo>
                    <a:lnTo>
                      <a:pt x="2533166" y="240876"/>
                    </a:lnTo>
                    <a:lnTo>
                      <a:pt x="2534929" y="239730"/>
                    </a:lnTo>
                    <a:lnTo>
                      <a:pt x="2537839" y="240347"/>
                    </a:lnTo>
                    <a:lnTo>
                      <a:pt x="2540749" y="239730"/>
                    </a:lnTo>
                    <a:lnTo>
                      <a:pt x="2544275" y="239730"/>
                    </a:lnTo>
                    <a:lnTo>
                      <a:pt x="2547802" y="240347"/>
                    </a:lnTo>
                    <a:lnTo>
                      <a:pt x="2546656" y="241846"/>
                    </a:lnTo>
                    <a:lnTo>
                      <a:pt x="2547802" y="243257"/>
                    </a:lnTo>
                    <a:lnTo>
                      <a:pt x="2549565" y="246783"/>
                    </a:lnTo>
                    <a:lnTo>
                      <a:pt x="2550447" y="245637"/>
                    </a:lnTo>
                    <a:lnTo>
                      <a:pt x="2552475" y="247665"/>
                    </a:lnTo>
                    <a:lnTo>
                      <a:pt x="2555120" y="249428"/>
                    </a:lnTo>
                    <a:lnTo>
                      <a:pt x="2558118" y="249428"/>
                    </a:lnTo>
                    <a:lnTo>
                      <a:pt x="2561027" y="250310"/>
                    </a:lnTo>
                    <a:lnTo>
                      <a:pt x="2561645" y="252073"/>
                    </a:lnTo>
                    <a:lnTo>
                      <a:pt x="2564554" y="252338"/>
                    </a:lnTo>
                    <a:lnTo>
                      <a:pt x="2565436" y="255247"/>
                    </a:lnTo>
                    <a:lnTo>
                      <a:pt x="2569227" y="255600"/>
                    </a:lnTo>
                    <a:lnTo>
                      <a:pt x="2570990" y="255865"/>
                    </a:lnTo>
                    <a:lnTo>
                      <a:pt x="2572489" y="258157"/>
                    </a:lnTo>
                    <a:lnTo>
                      <a:pt x="2575663" y="257893"/>
                    </a:lnTo>
                    <a:lnTo>
                      <a:pt x="2578573" y="255865"/>
                    </a:lnTo>
                    <a:lnTo>
                      <a:pt x="2582099" y="256129"/>
                    </a:lnTo>
                    <a:lnTo>
                      <a:pt x="2582981" y="258422"/>
                    </a:lnTo>
                    <a:lnTo>
                      <a:pt x="2586508" y="257275"/>
                    </a:lnTo>
                    <a:lnTo>
                      <a:pt x="2586243" y="256129"/>
                    </a:lnTo>
                    <a:lnTo>
                      <a:pt x="2587390" y="256129"/>
                    </a:lnTo>
                    <a:lnTo>
                      <a:pt x="2588536" y="254630"/>
                    </a:lnTo>
                    <a:lnTo>
                      <a:pt x="2589946" y="254366"/>
                    </a:lnTo>
                    <a:lnTo>
                      <a:pt x="2591710" y="255512"/>
                    </a:lnTo>
                    <a:lnTo>
                      <a:pt x="2593473" y="253749"/>
                    </a:lnTo>
                    <a:lnTo>
                      <a:pt x="2594619" y="253749"/>
                    </a:lnTo>
                    <a:lnTo>
                      <a:pt x="2597793" y="254366"/>
                    </a:lnTo>
                    <a:lnTo>
                      <a:pt x="2601056" y="254983"/>
                    </a:lnTo>
                    <a:lnTo>
                      <a:pt x="2602819" y="257011"/>
                    </a:lnTo>
                    <a:lnTo>
                      <a:pt x="2603700" y="258157"/>
                    </a:lnTo>
                    <a:lnTo>
                      <a:pt x="2606610" y="257893"/>
                    </a:lnTo>
                    <a:lnTo>
                      <a:pt x="2606875" y="256746"/>
                    </a:lnTo>
                    <a:lnTo>
                      <a:pt x="2610666" y="255865"/>
                    </a:lnTo>
                    <a:lnTo>
                      <a:pt x="2613840" y="257628"/>
                    </a:lnTo>
                    <a:lnTo>
                      <a:pt x="2615868" y="256482"/>
                    </a:lnTo>
                    <a:lnTo>
                      <a:pt x="2617014" y="259127"/>
                    </a:lnTo>
                    <a:lnTo>
                      <a:pt x="2617279" y="260890"/>
                    </a:lnTo>
                    <a:lnTo>
                      <a:pt x="2617279" y="262654"/>
                    </a:lnTo>
                    <a:lnTo>
                      <a:pt x="2620188" y="262918"/>
                    </a:lnTo>
                    <a:lnTo>
                      <a:pt x="2620805" y="263535"/>
                    </a:lnTo>
                    <a:lnTo>
                      <a:pt x="2624332" y="264417"/>
                    </a:lnTo>
                    <a:lnTo>
                      <a:pt x="2629534" y="268208"/>
                    </a:lnTo>
                    <a:lnTo>
                      <a:pt x="2632708" y="269972"/>
                    </a:lnTo>
                    <a:lnTo>
                      <a:pt x="2636235" y="269707"/>
                    </a:lnTo>
                    <a:lnTo>
                      <a:pt x="2638615" y="267944"/>
                    </a:lnTo>
                    <a:lnTo>
                      <a:pt x="2641260" y="269354"/>
                    </a:lnTo>
                    <a:lnTo>
                      <a:pt x="2645316" y="271382"/>
                    </a:lnTo>
                    <a:lnTo>
                      <a:pt x="2648843" y="272881"/>
                    </a:lnTo>
                    <a:lnTo>
                      <a:pt x="2650342" y="270853"/>
                    </a:lnTo>
                    <a:lnTo>
                      <a:pt x="2654133" y="272352"/>
                    </a:lnTo>
                    <a:lnTo>
                      <a:pt x="2656513" y="273498"/>
                    </a:lnTo>
                    <a:lnTo>
                      <a:pt x="2659423" y="272881"/>
                    </a:lnTo>
                    <a:lnTo>
                      <a:pt x="2662333" y="274027"/>
                    </a:lnTo>
                    <a:lnTo>
                      <a:pt x="2665242" y="275174"/>
                    </a:lnTo>
                    <a:lnTo>
                      <a:pt x="2668152" y="274292"/>
                    </a:lnTo>
                    <a:lnTo>
                      <a:pt x="2671061" y="277201"/>
                    </a:lnTo>
                    <a:lnTo>
                      <a:pt x="2673971" y="278348"/>
                    </a:lnTo>
                    <a:lnTo>
                      <a:pt x="2680055" y="277819"/>
                    </a:lnTo>
                    <a:lnTo>
                      <a:pt x="2680055" y="280728"/>
                    </a:lnTo>
                    <a:lnTo>
                      <a:pt x="2684110" y="281257"/>
                    </a:lnTo>
                    <a:lnTo>
                      <a:pt x="2687284" y="280728"/>
                    </a:lnTo>
                    <a:lnTo>
                      <a:pt x="2687901" y="283638"/>
                    </a:lnTo>
                    <a:lnTo>
                      <a:pt x="2690194" y="280993"/>
                    </a:lnTo>
                    <a:lnTo>
                      <a:pt x="2693368" y="281874"/>
                    </a:lnTo>
                    <a:lnTo>
                      <a:pt x="2694779" y="283638"/>
                    </a:lnTo>
                    <a:lnTo>
                      <a:pt x="2696806" y="283021"/>
                    </a:lnTo>
                    <a:lnTo>
                      <a:pt x="2700068" y="284167"/>
                    </a:lnTo>
                    <a:lnTo>
                      <a:pt x="2702714" y="281257"/>
                    </a:lnTo>
                    <a:lnTo>
                      <a:pt x="2704213" y="277819"/>
                    </a:lnTo>
                    <a:lnTo>
                      <a:pt x="2704477" y="275438"/>
                    </a:lnTo>
                    <a:lnTo>
                      <a:pt x="2705976" y="278965"/>
                    </a:lnTo>
                    <a:lnTo>
                      <a:pt x="2705359" y="280464"/>
                    </a:lnTo>
                    <a:lnTo>
                      <a:pt x="2708533" y="279846"/>
                    </a:lnTo>
                    <a:lnTo>
                      <a:pt x="2705623" y="274645"/>
                    </a:lnTo>
                    <a:lnTo>
                      <a:pt x="2699804" y="274645"/>
                    </a:lnTo>
                    <a:close/>
                    <a:moveTo>
                      <a:pt x="115853" y="363606"/>
                    </a:moveTo>
                    <a:lnTo>
                      <a:pt x="114090" y="367398"/>
                    </a:lnTo>
                    <a:lnTo>
                      <a:pt x="111533" y="369426"/>
                    </a:lnTo>
                    <a:lnTo>
                      <a:pt x="109505" y="369426"/>
                    </a:lnTo>
                    <a:lnTo>
                      <a:pt x="106596" y="367662"/>
                    </a:lnTo>
                    <a:lnTo>
                      <a:pt x="103951" y="368279"/>
                    </a:lnTo>
                    <a:lnTo>
                      <a:pt x="101658" y="369778"/>
                    </a:lnTo>
                    <a:lnTo>
                      <a:pt x="101041" y="373217"/>
                    </a:lnTo>
                    <a:lnTo>
                      <a:pt x="94340" y="373481"/>
                    </a:lnTo>
                    <a:lnTo>
                      <a:pt x="94340" y="376126"/>
                    </a:lnTo>
                    <a:lnTo>
                      <a:pt x="89667" y="376126"/>
                    </a:lnTo>
                    <a:lnTo>
                      <a:pt x="87904" y="374098"/>
                    </a:lnTo>
                    <a:lnTo>
                      <a:pt x="88521" y="372071"/>
                    </a:lnTo>
                    <a:lnTo>
                      <a:pt x="87639" y="367133"/>
                    </a:lnTo>
                    <a:lnTo>
                      <a:pt x="84730" y="363959"/>
                    </a:lnTo>
                    <a:lnTo>
                      <a:pt x="82702" y="360168"/>
                    </a:lnTo>
                    <a:lnTo>
                      <a:pt x="79793" y="360168"/>
                    </a:lnTo>
                    <a:lnTo>
                      <a:pt x="75384" y="359639"/>
                    </a:lnTo>
                    <a:lnTo>
                      <a:pt x="76001" y="356112"/>
                    </a:lnTo>
                    <a:lnTo>
                      <a:pt x="72827" y="356377"/>
                    </a:lnTo>
                    <a:lnTo>
                      <a:pt x="71681" y="352321"/>
                    </a:lnTo>
                    <a:lnTo>
                      <a:pt x="69918" y="348265"/>
                    </a:lnTo>
                    <a:lnTo>
                      <a:pt x="65509" y="345356"/>
                    </a:lnTo>
                    <a:lnTo>
                      <a:pt x="66656" y="341564"/>
                    </a:lnTo>
                    <a:lnTo>
                      <a:pt x="69829" y="339801"/>
                    </a:lnTo>
                    <a:lnTo>
                      <a:pt x="73885" y="339184"/>
                    </a:lnTo>
                    <a:lnTo>
                      <a:pt x="77677" y="335922"/>
                    </a:lnTo>
                    <a:lnTo>
                      <a:pt x="84377" y="335922"/>
                    </a:lnTo>
                    <a:lnTo>
                      <a:pt x="86670" y="338302"/>
                    </a:lnTo>
                    <a:lnTo>
                      <a:pt x="89579" y="336274"/>
                    </a:lnTo>
                    <a:lnTo>
                      <a:pt x="93635" y="339448"/>
                    </a:lnTo>
                    <a:lnTo>
                      <a:pt x="90990" y="340330"/>
                    </a:lnTo>
                    <a:lnTo>
                      <a:pt x="90990" y="343240"/>
                    </a:lnTo>
                    <a:lnTo>
                      <a:pt x="96280" y="344121"/>
                    </a:lnTo>
                    <a:lnTo>
                      <a:pt x="102716" y="345003"/>
                    </a:lnTo>
                    <a:lnTo>
                      <a:pt x="104744" y="345267"/>
                    </a:lnTo>
                    <a:lnTo>
                      <a:pt x="107125" y="345532"/>
                    </a:lnTo>
                    <a:lnTo>
                      <a:pt x="104480" y="348706"/>
                    </a:lnTo>
                    <a:lnTo>
                      <a:pt x="109417" y="348706"/>
                    </a:lnTo>
                    <a:lnTo>
                      <a:pt x="112944" y="348970"/>
                    </a:lnTo>
                    <a:lnTo>
                      <a:pt x="114972" y="352762"/>
                    </a:lnTo>
                    <a:lnTo>
                      <a:pt x="116471" y="353643"/>
                    </a:lnTo>
                    <a:lnTo>
                      <a:pt x="117088" y="357435"/>
                    </a:lnTo>
                    <a:lnTo>
                      <a:pt x="114795" y="359462"/>
                    </a:lnTo>
                    <a:lnTo>
                      <a:pt x="115853" y="363606"/>
                    </a:lnTo>
                    <a:close/>
                    <a:moveTo>
                      <a:pt x="1572748" y="517019"/>
                    </a:moveTo>
                    <a:lnTo>
                      <a:pt x="1568604" y="513493"/>
                    </a:lnTo>
                    <a:lnTo>
                      <a:pt x="1567458" y="520458"/>
                    </a:lnTo>
                    <a:lnTo>
                      <a:pt x="1567722" y="523103"/>
                    </a:lnTo>
                    <a:lnTo>
                      <a:pt x="1564196" y="526894"/>
                    </a:lnTo>
                    <a:lnTo>
                      <a:pt x="1570632" y="528041"/>
                    </a:lnTo>
                    <a:lnTo>
                      <a:pt x="1572042" y="532713"/>
                    </a:lnTo>
                    <a:lnTo>
                      <a:pt x="1566488" y="533860"/>
                    </a:lnTo>
                    <a:lnTo>
                      <a:pt x="1565342" y="540560"/>
                    </a:lnTo>
                    <a:lnTo>
                      <a:pt x="1561286" y="544616"/>
                    </a:lnTo>
                    <a:lnTo>
                      <a:pt x="1560669" y="548407"/>
                    </a:lnTo>
                    <a:lnTo>
                      <a:pt x="1559258" y="550788"/>
                    </a:lnTo>
                    <a:lnTo>
                      <a:pt x="1552557" y="551670"/>
                    </a:lnTo>
                    <a:lnTo>
                      <a:pt x="1555202" y="556960"/>
                    </a:lnTo>
                    <a:lnTo>
                      <a:pt x="1549912" y="558988"/>
                    </a:lnTo>
                    <a:lnTo>
                      <a:pt x="1542594" y="560134"/>
                    </a:lnTo>
                    <a:lnTo>
                      <a:pt x="1543740" y="561015"/>
                    </a:lnTo>
                    <a:lnTo>
                      <a:pt x="1541712" y="564189"/>
                    </a:lnTo>
                    <a:lnTo>
                      <a:pt x="1541448" y="565336"/>
                    </a:lnTo>
                    <a:lnTo>
                      <a:pt x="1542947" y="568510"/>
                    </a:lnTo>
                    <a:lnTo>
                      <a:pt x="1542594" y="572036"/>
                    </a:lnTo>
                    <a:lnTo>
                      <a:pt x="1537921" y="573800"/>
                    </a:lnTo>
                    <a:lnTo>
                      <a:pt x="1532719" y="576709"/>
                    </a:lnTo>
                    <a:lnTo>
                      <a:pt x="1525754" y="577856"/>
                    </a:lnTo>
                    <a:lnTo>
                      <a:pt x="1523991" y="576709"/>
                    </a:lnTo>
                    <a:lnTo>
                      <a:pt x="1517554" y="577856"/>
                    </a:lnTo>
                    <a:lnTo>
                      <a:pt x="1513146" y="574946"/>
                    </a:lnTo>
                    <a:lnTo>
                      <a:pt x="1509090" y="574329"/>
                    </a:lnTo>
                    <a:lnTo>
                      <a:pt x="1505563" y="572565"/>
                    </a:lnTo>
                    <a:lnTo>
                      <a:pt x="1502918" y="570802"/>
                    </a:lnTo>
                    <a:lnTo>
                      <a:pt x="1513146" y="567893"/>
                    </a:lnTo>
                    <a:lnTo>
                      <a:pt x="1516055" y="567011"/>
                    </a:lnTo>
                    <a:lnTo>
                      <a:pt x="1519847" y="567628"/>
                    </a:lnTo>
                    <a:lnTo>
                      <a:pt x="1523638" y="566129"/>
                    </a:lnTo>
                    <a:lnTo>
                      <a:pt x="1525401" y="562338"/>
                    </a:lnTo>
                    <a:lnTo>
                      <a:pt x="1528046" y="559428"/>
                    </a:lnTo>
                    <a:lnTo>
                      <a:pt x="1534218" y="556254"/>
                    </a:lnTo>
                    <a:lnTo>
                      <a:pt x="1533601" y="549818"/>
                    </a:lnTo>
                    <a:lnTo>
                      <a:pt x="1536246" y="547526"/>
                    </a:lnTo>
                    <a:lnTo>
                      <a:pt x="1536863" y="542588"/>
                    </a:lnTo>
                    <a:lnTo>
                      <a:pt x="1541007" y="535270"/>
                    </a:lnTo>
                    <a:lnTo>
                      <a:pt x="1543916" y="532625"/>
                    </a:lnTo>
                    <a:lnTo>
                      <a:pt x="1545680" y="531744"/>
                    </a:lnTo>
                    <a:lnTo>
                      <a:pt x="1549471" y="529098"/>
                    </a:lnTo>
                    <a:lnTo>
                      <a:pt x="1552733" y="523015"/>
                    </a:lnTo>
                    <a:lnTo>
                      <a:pt x="1548678" y="516931"/>
                    </a:lnTo>
                    <a:lnTo>
                      <a:pt x="1546914" y="516314"/>
                    </a:lnTo>
                    <a:lnTo>
                      <a:pt x="1544534" y="511641"/>
                    </a:lnTo>
                    <a:lnTo>
                      <a:pt x="1543916" y="504323"/>
                    </a:lnTo>
                    <a:lnTo>
                      <a:pt x="1543916" y="502295"/>
                    </a:lnTo>
                    <a:lnTo>
                      <a:pt x="1545945" y="499915"/>
                    </a:lnTo>
                    <a:lnTo>
                      <a:pt x="1547972" y="495859"/>
                    </a:lnTo>
                    <a:lnTo>
                      <a:pt x="1547091" y="491186"/>
                    </a:lnTo>
                    <a:lnTo>
                      <a:pt x="1543300" y="487659"/>
                    </a:lnTo>
                    <a:lnTo>
                      <a:pt x="1542418" y="480958"/>
                    </a:lnTo>
                    <a:lnTo>
                      <a:pt x="1545945" y="477167"/>
                    </a:lnTo>
                    <a:lnTo>
                      <a:pt x="1550617" y="477432"/>
                    </a:lnTo>
                    <a:lnTo>
                      <a:pt x="1555819" y="484750"/>
                    </a:lnTo>
                    <a:lnTo>
                      <a:pt x="1558464" y="487924"/>
                    </a:lnTo>
                    <a:lnTo>
                      <a:pt x="1561374" y="490216"/>
                    </a:lnTo>
                    <a:lnTo>
                      <a:pt x="1559346" y="495771"/>
                    </a:lnTo>
                    <a:lnTo>
                      <a:pt x="1561638" y="497270"/>
                    </a:lnTo>
                    <a:lnTo>
                      <a:pt x="1563667" y="501325"/>
                    </a:lnTo>
                    <a:lnTo>
                      <a:pt x="1563931" y="505381"/>
                    </a:lnTo>
                    <a:lnTo>
                      <a:pt x="1569221" y="504235"/>
                    </a:lnTo>
                    <a:lnTo>
                      <a:pt x="1574775" y="508643"/>
                    </a:lnTo>
                    <a:lnTo>
                      <a:pt x="1576275" y="515609"/>
                    </a:lnTo>
                    <a:lnTo>
                      <a:pt x="1576892" y="520282"/>
                    </a:lnTo>
                    <a:lnTo>
                      <a:pt x="1572748" y="517019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73" name="Freihandform: Form 1872">
                <a:extLst>
                  <a:ext uri="{FF2B5EF4-FFF2-40B4-BE49-F238E27FC236}">
                    <a16:creationId xmlns:a16="http://schemas.microsoft.com/office/drawing/2014/main" id="{BCCF1103-D156-9B5D-D11B-2B380CE4C618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4" name="Freihandform: Form 1873">
                <a:extLst>
                  <a:ext uri="{FF2B5EF4-FFF2-40B4-BE49-F238E27FC236}">
                    <a16:creationId xmlns:a16="http://schemas.microsoft.com/office/drawing/2014/main" id="{6F9B5D30-ED48-8294-37E3-BCBFD8CD64DD}"/>
                  </a:ext>
                </a:extLst>
              </p:cNvPr>
              <p:cNvSpPr/>
              <p:nvPr/>
            </p:nvSpPr>
            <p:spPr>
              <a:xfrm>
                <a:off x="5226610" y="2524304"/>
                <a:ext cx="16399" cy="5201"/>
              </a:xfrm>
              <a:custGeom>
                <a:avLst/>
                <a:gdLst>
                  <a:gd name="connsiteX0" fmla="*/ 0 w 16399"/>
                  <a:gd name="connsiteY0" fmla="*/ 2028 h 5201"/>
                  <a:gd name="connsiteX1" fmla="*/ 3262 w 16399"/>
                  <a:gd name="connsiteY1" fmla="*/ 5202 h 5201"/>
                  <a:gd name="connsiteX2" fmla="*/ 9346 w 16399"/>
                  <a:gd name="connsiteY2" fmla="*/ 2910 h 5201"/>
                  <a:gd name="connsiteX3" fmla="*/ 16400 w 16399"/>
                  <a:gd name="connsiteY3" fmla="*/ 529 h 5201"/>
                  <a:gd name="connsiteX4" fmla="*/ 2381 w 16399"/>
                  <a:gd name="connsiteY4" fmla="*/ 0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99" h="5201">
                    <a:moveTo>
                      <a:pt x="0" y="2028"/>
                    </a:moveTo>
                    <a:lnTo>
                      <a:pt x="3262" y="5202"/>
                    </a:lnTo>
                    <a:lnTo>
                      <a:pt x="9346" y="2910"/>
                    </a:lnTo>
                    <a:lnTo>
                      <a:pt x="16400" y="529"/>
                    </a:lnTo>
                    <a:lnTo>
                      <a:pt x="23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5" name="Freihandform: Form 1874">
                <a:extLst>
                  <a:ext uri="{FF2B5EF4-FFF2-40B4-BE49-F238E27FC236}">
                    <a16:creationId xmlns:a16="http://schemas.microsoft.com/office/drawing/2014/main" id="{3C5F3827-4BAE-CB4F-4E8B-C86E691E2C7D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6" name="Freihandform: Form 1875">
                <a:extLst>
                  <a:ext uri="{FF2B5EF4-FFF2-40B4-BE49-F238E27FC236}">
                    <a16:creationId xmlns:a16="http://schemas.microsoft.com/office/drawing/2014/main" id="{C33A1D25-A380-2CB0-94E0-48655D517BDD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7" name="Freihandform: Form 1876">
                <a:extLst>
                  <a:ext uri="{FF2B5EF4-FFF2-40B4-BE49-F238E27FC236}">
                    <a16:creationId xmlns:a16="http://schemas.microsoft.com/office/drawing/2014/main" id="{69DAD7A6-F0AF-A20B-00EB-ECD64E5FD403}"/>
                  </a:ext>
                </a:extLst>
              </p:cNvPr>
              <p:cNvSpPr/>
              <p:nvPr/>
            </p:nvSpPr>
            <p:spPr>
              <a:xfrm>
                <a:off x="4879579" y="2312788"/>
                <a:ext cx="197409" cy="77940"/>
              </a:xfrm>
              <a:custGeom>
                <a:avLst/>
                <a:gdLst>
                  <a:gd name="connsiteX0" fmla="*/ 101482 w 197409"/>
                  <a:gd name="connsiteY0" fmla="*/ 15782 h 77940"/>
                  <a:gd name="connsiteX1" fmla="*/ 91254 w 197409"/>
                  <a:gd name="connsiteY1" fmla="*/ 15165 h 77940"/>
                  <a:gd name="connsiteX2" fmla="*/ 90373 w 197409"/>
                  <a:gd name="connsiteY2" fmla="*/ 12873 h 77940"/>
                  <a:gd name="connsiteX3" fmla="*/ 85435 w 197409"/>
                  <a:gd name="connsiteY3" fmla="*/ 13490 h 77940"/>
                  <a:gd name="connsiteX4" fmla="*/ 82173 w 197409"/>
                  <a:gd name="connsiteY4" fmla="*/ 18427 h 77940"/>
                  <a:gd name="connsiteX5" fmla="*/ 78470 w 197409"/>
                  <a:gd name="connsiteY5" fmla="*/ 16399 h 77940"/>
                  <a:gd name="connsiteX6" fmla="*/ 72298 w 197409"/>
                  <a:gd name="connsiteY6" fmla="*/ 17545 h 77940"/>
                  <a:gd name="connsiteX7" fmla="*/ 69124 w 197409"/>
                  <a:gd name="connsiteY7" fmla="*/ 17810 h 77940"/>
                  <a:gd name="connsiteX8" fmla="*/ 64716 w 197409"/>
                  <a:gd name="connsiteY8" fmla="*/ 20720 h 77940"/>
                  <a:gd name="connsiteX9" fmla="*/ 57398 w 197409"/>
                  <a:gd name="connsiteY9" fmla="*/ 21072 h 77940"/>
                  <a:gd name="connsiteX10" fmla="*/ 56251 w 197409"/>
                  <a:gd name="connsiteY10" fmla="*/ 25392 h 77940"/>
                  <a:gd name="connsiteX11" fmla="*/ 51843 w 197409"/>
                  <a:gd name="connsiteY11" fmla="*/ 28038 h 77940"/>
                  <a:gd name="connsiteX12" fmla="*/ 42850 w 197409"/>
                  <a:gd name="connsiteY12" fmla="*/ 28038 h 77940"/>
                  <a:gd name="connsiteX13" fmla="*/ 39940 w 197409"/>
                  <a:gd name="connsiteY13" fmla="*/ 30683 h 77940"/>
                  <a:gd name="connsiteX14" fmla="*/ 37295 w 197409"/>
                  <a:gd name="connsiteY14" fmla="*/ 36237 h 77940"/>
                  <a:gd name="connsiteX15" fmla="*/ 34386 w 197409"/>
                  <a:gd name="connsiteY15" fmla="*/ 36502 h 77940"/>
                  <a:gd name="connsiteX16" fmla="*/ 32622 w 197409"/>
                  <a:gd name="connsiteY16" fmla="*/ 31212 h 77940"/>
                  <a:gd name="connsiteX17" fmla="*/ 29713 w 197409"/>
                  <a:gd name="connsiteY17" fmla="*/ 36766 h 77940"/>
                  <a:gd name="connsiteX18" fmla="*/ 20367 w 197409"/>
                  <a:gd name="connsiteY18" fmla="*/ 35620 h 77940"/>
                  <a:gd name="connsiteX19" fmla="*/ 17193 w 197409"/>
                  <a:gd name="connsiteY19" fmla="*/ 35356 h 77940"/>
                  <a:gd name="connsiteX20" fmla="*/ 19485 w 197409"/>
                  <a:gd name="connsiteY20" fmla="*/ 37383 h 77940"/>
                  <a:gd name="connsiteX21" fmla="*/ 17810 w 197409"/>
                  <a:gd name="connsiteY21" fmla="*/ 38530 h 77940"/>
                  <a:gd name="connsiteX22" fmla="*/ 17810 w 197409"/>
                  <a:gd name="connsiteY22" fmla="*/ 41175 h 77940"/>
                  <a:gd name="connsiteX23" fmla="*/ 21513 w 197409"/>
                  <a:gd name="connsiteY23" fmla="*/ 41439 h 77940"/>
                  <a:gd name="connsiteX24" fmla="*/ 25040 w 197409"/>
                  <a:gd name="connsiteY24" fmla="*/ 42585 h 77940"/>
                  <a:gd name="connsiteX25" fmla="*/ 25304 w 197409"/>
                  <a:gd name="connsiteY25" fmla="*/ 44349 h 77940"/>
                  <a:gd name="connsiteX26" fmla="*/ 22483 w 197409"/>
                  <a:gd name="connsiteY26" fmla="*/ 46112 h 77940"/>
                  <a:gd name="connsiteX27" fmla="*/ 22483 w 197409"/>
                  <a:gd name="connsiteY27" fmla="*/ 50521 h 77940"/>
                  <a:gd name="connsiteX28" fmla="*/ 19221 w 197409"/>
                  <a:gd name="connsiteY28" fmla="*/ 53695 h 77940"/>
                  <a:gd name="connsiteX29" fmla="*/ 18868 w 197409"/>
                  <a:gd name="connsiteY29" fmla="*/ 55987 h 77940"/>
                  <a:gd name="connsiteX30" fmla="*/ 16311 w 197409"/>
                  <a:gd name="connsiteY30" fmla="*/ 56340 h 77940"/>
                  <a:gd name="connsiteX31" fmla="*/ 16311 w 197409"/>
                  <a:gd name="connsiteY31" fmla="*/ 58632 h 77940"/>
                  <a:gd name="connsiteX32" fmla="*/ 13931 w 197409"/>
                  <a:gd name="connsiteY32" fmla="*/ 59778 h 77940"/>
                  <a:gd name="connsiteX33" fmla="*/ 12785 w 197409"/>
                  <a:gd name="connsiteY33" fmla="*/ 61277 h 77940"/>
                  <a:gd name="connsiteX34" fmla="*/ 4937 w 197409"/>
                  <a:gd name="connsiteY34" fmla="*/ 62423 h 77940"/>
                  <a:gd name="connsiteX35" fmla="*/ 1411 w 197409"/>
                  <a:gd name="connsiteY35" fmla="*/ 62423 h 77940"/>
                  <a:gd name="connsiteX36" fmla="*/ 0 w 197409"/>
                  <a:gd name="connsiteY36" fmla="*/ 64187 h 77940"/>
                  <a:gd name="connsiteX37" fmla="*/ 793 w 197409"/>
                  <a:gd name="connsiteY37" fmla="*/ 66567 h 77940"/>
                  <a:gd name="connsiteX38" fmla="*/ 6348 w 197409"/>
                  <a:gd name="connsiteY38" fmla="*/ 67449 h 77940"/>
                  <a:gd name="connsiteX39" fmla="*/ 16576 w 197409"/>
                  <a:gd name="connsiteY39" fmla="*/ 67978 h 77940"/>
                  <a:gd name="connsiteX40" fmla="*/ 10139 w 197409"/>
                  <a:gd name="connsiteY40" fmla="*/ 72386 h 77940"/>
                  <a:gd name="connsiteX41" fmla="*/ 9875 w 197409"/>
                  <a:gd name="connsiteY41" fmla="*/ 74679 h 77940"/>
                  <a:gd name="connsiteX42" fmla="*/ 22130 w 197409"/>
                  <a:gd name="connsiteY42" fmla="*/ 77059 h 77940"/>
                  <a:gd name="connsiteX43" fmla="*/ 23629 w 197409"/>
                  <a:gd name="connsiteY43" fmla="*/ 77059 h 77940"/>
                  <a:gd name="connsiteX44" fmla="*/ 26274 w 197409"/>
                  <a:gd name="connsiteY44" fmla="*/ 75825 h 77940"/>
                  <a:gd name="connsiteX45" fmla="*/ 28831 w 197409"/>
                  <a:gd name="connsiteY45" fmla="*/ 76442 h 77940"/>
                  <a:gd name="connsiteX46" fmla="*/ 33239 w 197409"/>
                  <a:gd name="connsiteY46" fmla="*/ 77324 h 77940"/>
                  <a:gd name="connsiteX47" fmla="*/ 37648 w 197409"/>
                  <a:gd name="connsiteY47" fmla="*/ 76177 h 77940"/>
                  <a:gd name="connsiteX48" fmla="*/ 42585 w 197409"/>
                  <a:gd name="connsiteY48" fmla="*/ 77941 h 77940"/>
                  <a:gd name="connsiteX49" fmla="*/ 45142 w 197409"/>
                  <a:gd name="connsiteY49" fmla="*/ 76177 h 77940"/>
                  <a:gd name="connsiteX50" fmla="*/ 51843 w 197409"/>
                  <a:gd name="connsiteY50" fmla="*/ 76177 h 77940"/>
                  <a:gd name="connsiteX51" fmla="*/ 53077 w 197409"/>
                  <a:gd name="connsiteY51" fmla="*/ 72915 h 77940"/>
                  <a:gd name="connsiteX52" fmla="*/ 56251 w 197409"/>
                  <a:gd name="connsiteY52" fmla="*/ 72386 h 77940"/>
                  <a:gd name="connsiteX53" fmla="*/ 58896 w 197409"/>
                  <a:gd name="connsiteY53" fmla="*/ 71152 h 77940"/>
                  <a:gd name="connsiteX54" fmla="*/ 59161 w 197409"/>
                  <a:gd name="connsiteY54" fmla="*/ 70358 h 77940"/>
                  <a:gd name="connsiteX55" fmla="*/ 59514 w 197409"/>
                  <a:gd name="connsiteY55" fmla="*/ 68242 h 77940"/>
                  <a:gd name="connsiteX56" fmla="*/ 62071 w 197409"/>
                  <a:gd name="connsiteY56" fmla="*/ 67713 h 77940"/>
                  <a:gd name="connsiteX57" fmla="*/ 61542 w 197409"/>
                  <a:gd name="connsiteY57" fmla="*/ 64804 h 77940"/>
                  <a:gd name="connsiteX58" fmla="*/ 62688 w 197409"/>
                  <a:gd name="connsiteY58" fmla="*/ 63040 h 77940"/>
                  <a:gd name="connsiteX59" fmla="*/ 64451 w 197409"/>
                  <a:gd name="connsiteY59" fmla="*/ 61542 h 77940"/>
                  <a:gd name="connsiteX60" fmla="*/ 62952 w 197409"/>
                  <a:gd name="connsiteY60" fmla="*/ 60131 h 77940"/>
                  <a:gd name="connsiteX61" fmla="*/ 67625 w 197409"/>
                  <a:gd name="connsiteY61" fmla="*/ 58103 h 77940"/>
                  <a:gd name="connsiteX62" fmla="*/ 70270 w 197409"/>
                  <a:gd name="connsiteY62" fmla="*/ 55722 h 77940"/>
                  <a:gd name="connsiteX63" fmla="*/ 69124 w 197409"/>
                  <a:gd name="connsiteY63" fmla="*/ 53077 h 77940"/>
                  <a:gd name="connsiteX64" fmla="*/ 71769 w 197409"/>
                  <a:gd name="connsiteY64" fmla="*/ 52813 h 77940"/>
                  <a:gd name="connsiteX65" fmla="*/ 75560 w 197409"/>
                  <a:gd name="connsiteY65" fmla="*/ 50168 h 77940"/>
                  <a:gd name="connsiteX66" fmla="*/ 82173 w 197409"/>
                  <a:gd name="connsiteY66" fmla="*/ 49639 h 77940"/>
                  <a:gd name="connsiteX67" fmla="*/ 85435 w 197409"/>
                  <a:gd name="connsiteY67" fmla="*/ 47611 h 77940"/>
                  <a:gd name="connsiteX68" fmla="*/ 87728 w 197409"/>
                  <a:gd name="connsiteY68" fmla="*/ 46112 h 77940"/>
                  <a:gd name="connsiteX69" fmla="*/ 92401 w 197409"/>
                  <a:gd name="connsiteY69" fmla="*/ 44966 h 77940"/>
                  <a:gd name="connsiteX70" fmla="*/ 93282 w 197409"/>
                  <a:gd name="connsiteY70" fmla="*/ 41704 h 77940"/>
                  <a:gd name="connsiteX71" fmla="*/ 95927 w 197409"/>
                  <a:gd name="connsiteY71" fmla="*/ 36766 h 77940"/>
                  <a:gd name="connsiteX72" fmla="*/ 99101 w 197409"/>
                  <a:gd name="connsiteY72" fmla="*/ 35620 h 77940"/>
                  <a:gd name="connsiteX73" fmla="*/ 104127 w 197409"/>
                  <a:gd name="connsiteY73" fmla="*/ 36237 h 77940"/>
                  <a:gd name="connsiteX74" fmla="*/ 107037 w 197409"/>
                  <a:gd name="connsiteY74" fmla="*/ 32975 h 77940"/>
                  <a:gd name="connsiteX75" fmla="*/ 113737 w 197409"/>
                  <a:gd name="connsiteY75" fmla="*/ 34121 h 77940"/>
                  <a:gd name="connsiteX76" fmla="*/ 116382 w 197409"/>
                  <a:gd name="connsiteY76" fmla="*/ 31212 h 77940"/>
                  <a:gd name="connsiteX77" fmla="*/ 125728 w 197409"/>
                  <a:gd name="connsiteY77" fmla="*/ 29801 h 77940"/>
                  <a:gd name="connsiteX78" fmla="*/ 130666 w 197409"/>
                  <a:gd name="connsiteY78" fmla="*/ 27773 h 77940"/>
                  <a:gd name="connsiteX79" fmla="*/ 136220 w 197409"/>
                  <a:gd name="connsiteY79" fmla="*/ 26891 h 77940"/>
                  <a:gd name="connsiteX80" fmla="*/ 146095 w 197409"/>
                  <a:gd name="connsiteY80" fmla="*/ 27156 h 77940"/>
                  <a:gd name="connsiteX81" fmla="*/ 149269 w 197409"/>
                  <a:gd name="connsiteY81" fmla="*/ 23365 h 77940"/>
                  <a:gd name="connsiteX82" fmla="*/ 153413 w 197409"/>
                  <a:gd name="connsiteY82" fmla="*/ 25392 h 77940"/>
                  <a:gd name="connsiteX83" fmla="*/ 161525 w 197409"/>
                  <a:gd name="connsiteY83" fmla="*/ 23982 h 77940"/>
                  <a:gd name="connsiteX84" fmla="*/ 167079 w 197409"/>
                  <a:gd name="connsiteY84" fmla="*/ 21866 h 77940"/>
                  <a:gd name="connsiteX85" fmla="*/ 172017 w 197409"/>
                  <a:gd name="connsiteY85" fmla="*/ 18692 h 77940"/>
                  <a:gd name="connsiteX86" fmla="*/ 173780 w 197409"/>
                  <a:gd name="connsiteY86" fmla="*/ 19838 h 77940"/>
                  <a:gd name="connsiteX87" fmla="*/ 179334 w 197409"/>
                  <a:gd name="connsiteY87" fmla="*/ 19838 h 77940"/>
                  <a:gd name="connsiteX88" fmla="*/ 182244 w 197409"/>
                  <a:gd name="connsiteY88" fmla="*/ 17193 h 77940"/>
                  <a:gd name="connsiteX89" fmla="*/ 184889 w 197409"/>
                  <a:gd name="connsiteY89" fmla="*/ 17545 h 77940"/>
                  <a:gd name="connsiteX90" fmla="*/ 187270 w 197409"/>
                  <a:gd name="connsiteY90" fmla="*/ 16399 h 77940"/>
                  <a:gd name="connsiteX91" fmla="*/ 191590 w 197409"/>
                  <a:gd name="connsiteY91" fmla="*/ 16399 h 77940"/>
                  <a:gd name="connsiteX92" fmla="*/ 192824 w 197409"/>
                  <a:gd name="connsiteY92" fmla="*/ 13137 h 77940"/>
                  <a:gd name="connsiteX93" fmla="*/ 197409 w 197409"/>
                  <a:gd name="connsiteY93" fmla="*/ 14019 h 77940"/>
                  <a:gd name="connsiteX94" fmla="*/ 195734 w 197409"/>
                  <a:gd name="connsiteY94" fmla="*/ 11109 h 77940"/>
                  <a:gd name="connsiteX95" fmla="*/ 195117 w 197409"/>
                  <a:gd name="connsiteY95" fmla="*/ 6701 h 77940"/>
                  <a:gd name="connsiteX96" fmla="*/ 191061 w 197409"/>
                  <a:gd name="connsiteY96" fmla="*/ 10227 h 77940"/>
                  <a:gd name="connsiteX97" fmla="*/ 190091 w 197409"/>
                  <a:gd name="connsiteY97" fmla="*/ 7053 h 77940"/>
                  <a:gd name="connsiteX98" fmla="*/ 189827 w 197409"/>
                  <a:gd name="connsiteY98" fmla="*/ 4144 h 77940"/>
                  <a:gd name="connsiteX99" fmla="*/ 188945 w 197409"/>
                  <a:gd name="connsiteY99" fmla="*/ 2028 h 77940"/>
                  <a:gd name="connsiteX100" fmla="*/ 183126 w 197409"/>
                  <a:gd name="connsiteY100" fmla="*/ 1763 h 77940"/>
                  <a:gd name="connsiteX101" fmla="*/ 182244 w 197409"/>
                  <a:gd name="connsiteY101" fmla="*/ 0 h 77940"/>
                  <a:gd name="connsiteX102" fmla="*/ 179070 w 197409"/>
                  <a:gd name="connsiteY102" fmla="*/ 1234 h 77940"/>
                  <a:gd name="connsiteX103" fmla="*/ 174397 w 197409"/>
                  <a:gd name="connsiteY103" fmla="*/ 882 h 77940"/>
                  <a:gd name="connsiteX104" fmla="*/ 170606 w 197409"/>
                  <a:gd name="connsiteY104" fmla="*/ 1763 h 77940"/>
                  <a:gd name="connsiteX105" fmla="*/ 168842 w 197409"/>
                  <a:gd name="connsiteY105" fmla="*/ 3262 h 77940"/>
                  <a:gd name="connsiteX106" fmla="*/ 166815 w 197409"/>
                  <a:gd name="connsiteY106" fmla="*/ 4673 h 77940"/>
                  <a:gd name="connsiteX107" fmla="*/ 163023 w 197409"/>
                  <a:gd name="connsiteY107" fmla="*/ 4408 h 77940"/>
                  <a:gd name="connsiteX108" fmla="*/ 159232 w 197409"/>
                  <a:gd name="connsiteY108" fmla="*/ 3791 h 77940"/>
                  <a:gd name="connsiteX109" fmla="*/ 154295 w 197409"/>
                  <a:gd name="connsiteY109" fmla="*/ 4144 h 77940"/>
                  <a:gd name="connsiteX110" fmla="*/ 146360 w 197409"/>
                  <a:gd name="connsiteY110" fmla="*/ 9081 h 77940"/>
                  <a:gd name="connsiteX111" fmla="*/ 140276 w 197409"/>
                  <a:gd name="connsiteY111" fmla="*/ 11991 h 77940"/>
                  <a:gd name="connsiteX112" fmla="*/ 136220 w 197409"/>
                  <a:gd name="connsiteY112" fmla="*/ 13490 h 77940"/>
                  <a:gd name="connsiteX113" fmla="*/ 130930 w 197409"/>
                  <a:gd name="connsiteY113" fmla="*/ 12608 h 77940"/>
                  <a:gd name="connsiteX114" fmla="*/ 126522 w 197409"/>
                  <a:gd name="connsiteY114" fmla="*/ 14900 h 77940"/>
                  <a:gd name="connsiteX115" fmla="*/ 122202 w 197409"/>
                  <a:gd name="connsiteY115" fmla="*/ 15518 h 77940"/>
                  <a:gd name="connsiteX116" fmla="*/ 116030 w 197409"/>
                  <a:gd name="connsiteY116" fmla="*/ 15518 h 77940"/>
                  <a:gd name="connsiteX117" fmla="*/ 110828 w 197409"/>
                  <a:gd name="connsiteY117" fmla="*/ 16664 h 77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197409" h="77940">
                    <a:moveTo>
                      <a:pt x="101482" y="15782"/>
                    </a:moveTo>
                    <a:lnTo>
                      <a:pt x="91254" y="15165"/>
                    </a:lnTo>
                    <a:lnTo>
                      <a:pt x="90373" y="12873"/>
                    </a:lnTo>
                    <a:lnTo>
                      <a:pt x="85435" y="13490"/>
                    </a:lnTo>
                    <a:lnTo>
                      <a:pt x="82173" y="18427"/>
                    </a:lnTo>
                    <a:lnTo>
                      <a:pt x="78470" y="16399"/>
                    </a:lnTo>
                    <a:lnTo>
                      <a:pt x="72298" y="17545"/>
                    </a:lnTo>
                    <a:lnTo>
                      <a:pt x="69124" y="17810"/>
                    </a:lnTo>
                    <a:lnTo>
                      <a:pt x="64716" y="20720"/>
                    </a:lnTo>
                    <a:lnTo>
                      <a:pt x="57398" y="21072"/>
                    </a:lnTo>
                    <a:lnTo>
                      <a:pt x="56251" y="25392"/>
                    </a:lnTo>
                    <a:lnTo>
                      <a:pt x="51843" y="28038"/>
                    </a:lnTo>
                    <a:lnTo>
                      <a:pt x="42850" y="28038"/>
                    </a:lnTo>
                    <a:lnTo>
                      <a:pt x="39940" y="30683"/>
                    </a:lnTo>
                    <a:lnTo>
                      <a:pt x="37295" y="36237"/>
                    </a:lnTo>
                    <a:lnTo>
                      <a:pt x="34386" y="36502"/>
                    </a:lnTo>
                    <a:lnTo>
                      <a:pt x="32622" y="31212"/>
                    </a:lnTo>
                    <a:lnTo>
                      <a:pt x="29713" y="36766"/>
                    </a:lnTo>
                    <a:lnTo>
                      <a:pt x="20367" y="35620"/>
                    </a:lnTo>
                    <a:lnTo>
                      <a:pt x="17193" y="35356"/>
                    </a:lnTo>
                    <a:lnTo>
                      <a:pt x="19485" y="37383"/>
                    </a:lnTo>
                    <a:lnTo>
                      <a:pt x="17810" y="38530"/>
                    </a:lnTo>
                    <a:lnTo>
                      <a:pt x="17810" y="41175"/>
                    </a:lnTo>
                    <a:lnTo>
                      <a:pt x="21513" y="41439"/>
                    </a:lnTo>
                    <a:lnTo>
                      <a:pt x="25040" y="42585"/>
                    </a:lnTo>
                    <a:lnTo>
                      <a:pt x="25304" y="44349"/>
                    </a:lnTo>
                    <a:lnTo>
                      <a:pt x="22483" y="46112"/>
                    </a:lnTo>
                    <a:lnTo>
                      <a:pt x="22483" y="50521"/>
                    </a:lnTo>
                    <a:lnTo>
                      <a:pt x="19221" y="53695"/>
                    </a:lnTo>
                    <a:lnTo>
                      <a:pt x="18868" y="55987"/>
                    </a:lnTo>
                    <a:lnTo>
                      <a:pt x="16311" y="56340"/>
                    </a:lnTo>
                    <a:lnTo>
                      <a:pt x="16311" y="58632"/>
                    </a:lnTo>
                    <a:lnTo>
                      <a:pt x="13931" y="59778"/>
                    </a:lnTo>
                    <a:lnTo>
                      <a:pt x="12785" y="61277"/>
                    </a:lnTo>
                    <a:lnTo>
                      <a:pt x="4937" y="62423"/>
                    </a:lnTo>
                    <a:lnTo>
                      <a:pt x="1411" y="62423"/>
                    </a:lnTo>
                    <a:lnTo>
                      <a:pt x="0" y="64187"/>
                    </a:lnTo>
                    <a:lnTo>
                      <a:pt x="793" y="66567"/>
                    </a:lnTo>
                    <a:lnTo>
                      <a:pt x="6348" y="67449"/>
                    </a:lnTo>
                    <a:lnTo>
                      <a:pt x="16576" y="67978"/>
                    </a:lnTo>
                    <a:lnTo>
                      <a:pt x="10139" y="72386"/>
                    </a:lnTo>
                    <a:lnTo>
                      <a:pt x="9875" y="74679"/>
                    </a:lnTo>
                    <a:lnTo>
                      <a:pt x="22130" y="77059"/>
                    </a:lnTo>
                    <a:lnTo>
                      <a:pt x="23629" y="77059"/>
                    </a:lnTo>
                    <a:lnTo>
                      <a:pt x="26274" y="75825"/>
                    </a:lnTo>
                    <a:lnTo>
                      <a:pt x="28831" y="76442"/>
                    </a:lnTo>
                    <a:lnTo>
                      <a:pt x="33239" y="77324"/>
                    </a:lnTo>
                    <a:lnTo>
                      <a:pt x="37648" y="76177"/>
                    </a:lnTo>
                    <a:lnTo>
                      <a:pt x="42585" y="77941"/>
                    </a:lnTo>
                    <a:lnTo>
                      <a:pt x="45142" y="76177"/>
                    </a:lnTo>
                    <a:lnTo>
                      <a:pt x="51843" y="76177"/>
                    </a:lnTo>
                    <a:lnTo>
                      <a:pt x="53077" y="72915"/>
                    </a:lnTo>
                    <a:lnTo>
                      <a:pt x="56251" y="72386"/>
                    </a:lnTo>
                    <a:lnTo>
                      <a:pt x="58896" y="71152"/>
                    </a:lnTo>
                    <a:lnTo>
                      <a:pt x="59161" y="70358"/>
                    </a:lnTo>
                    <a:lnTo>
                      <a:pt x="59514" y="68242"/>
                    </a:lnTo>
                    <a:lnTo>
                      <a:pt x="62071" y="67713"/>
                    </a:lnTo>
                    <a:lnTo>
                      <a:pt x="61542" y="64804"/>
                    </a:lnTo>
                    <a:lnTo>
                      <a:pt x="62688" y="63040"/>
                    </a:lnTo>
                    <a:lnTo>
                      <a:pt x="64451" y="61542"/>
                    </a:lnTo>
                    <a:lnTo>
                      <a:pt x="62952" y="60131"/>
                    </a:lnTo>
                    <a:lnTo>
                      <a:pt x="67625" y="58103"/>
                    </a:lnTo>
                    <a:lnTo>
                      <a:pt x="70270" y="55722"/>
                    </a:lnTo>
                    <a:lnTo>
                      <a:pt x="69124" y="53077"/>
                    </a:lnTo>
                    <a:lnTo>
                      <a:pt x="71769" y="52813"/>
                    </a:lnTo>
                    <a:lnTo>
                      <a:pt x="75560" y="50168"/>
                    </a:lnTo>
                    <a:lnTo>
                      <a:pt x="82173" y="49639"/>
                    </a:lnTo>
                    <a:lnTo>
                      <a:pt x="85435" y="47611"/>
                    </a:lnTo>
                    <a:lnTo>
                      <a:pt x="87728" y="46112"/>
                    </a:lnTo>
                    <a:lnTo>
                      <a:pt x="92401" y="44966"/>
                    </a:lnTo>
                    <a:lnTo>
                      <a:pt x="93282" y="41704"/>
                    </a:lnTo>
                    <a:lnTo>
                      <a:pt x="95927" y="36766"/>
                    </a:lnTo>
                    <a:lnTo>
                      <a:pt x="99101" y="35620"/>
                    </a:lnTo>
                    <a:lnTo>
                      <a:pt x="104127" y="36237"/>
                    </a:lnTo>
                    <a:lnTo>
                      <a:pt x="107037" y="32975"/>
                    </a:lnTo>
                    <a:lnTo>
                      <a:pt x="113737" y="34121"/>
                    </a:lnTo>
                    <a:lnTo>
                      <a:pt x="116382" y="31212"/>
                    </a:lnTo>
                    <a:lnTo>
                      <a:pt x="125728" y="29801"/>
                    </a:lnTo>
                    <a:lnTo>
                      <a:pt x="130666" y="27773"/>
                    </a:lnTo>
                    <a:lnTo>
                      <a:pt x="136220" y="26891"/>
                    </a:lnTo>
                    <a:lnTo>
                      <a:pt x="146095" y="27156"/>
                    </a:lnTo>
                    <a:lnTo>
                      <a:pt x="149269" y="23365"/>
                    </a:lnTo>
                    <a:lnTo>
                      <a:pt x="153413" y="25392"/>
                    </a:lnTo>
                    <a:lnTo>
                      <a:pt x="161525" y="23982"/>
                    </a:lnTo>
                    <a:lnTo>
                      <a:pt x="167079" y="21866"/>
                    </a:lnTo>
                    <a:lnTo>
                      <a:pt x="172017" y="18692"/>
                    </a:lnTo>
                    <a:lnTo>
                      <a:pt x="173780" y="19838"/>
                    </a:lnTo>
                    <a:lnTo>
                      <a:pt x="179334" y="19838"/>
                    </a:lnTo>
                    <a:lnTo>
                      <a:pt x="182244" y="17193"/>
                    </a:lnTo>
                    <a:lnTo>
                      <a:pt x="184889" y="17545"/>
                    </a:lnTo>
                    <a:lnTo>
                      <a:pt x="187270" y="16399"/>
                    </a:lnTo>
                    <a:lnTo>
                      <a:pt x="191590" y="16399"/>
                    </a:lnTo>
                    <a:lnTo>
                      <a:pt x="192824" y="13137"/>
                    </a:lnTo>
                    <a:lnTo>
                      <a:pt x="197409" y="14019"/>
                    </a:lnTo>
                    <a:lnTo>
                      <a:pt x="195734" y="11109"/>
                    </a:lnTo>
                    <a:lnTo>
                      <a:pt x="195117" y="6701"/>
                    </a:lnTo>
                    <a:lnTo>
                      <a:pt x="191061" y="10227"/>
                    </a:lnTo>
                    <a:lnTo>
                      <a:pt x="190091" y="7053"/>
                    </a:lnTo>
                    <a:lnTo>
                      <a:pt x="189827" y="4144"/>
                    </a:lnTo>
                    <a:lnTo>
                      <a:pt x="188945" y="2028"/>
                    </a:lnTo>
                    <a:lnTo>
                      <a:pt x="183126" y="1763"/>
                    </a:lnTo>
                    <a:lnTo>
                      <a:pt x="182244" y="0"/>
                    </a:lnTo>
                    <a:lnTo>
                      <a:pt x="179070" y="1234"/>
                    </a:lnTo>
                    <a:lnTo>
                      <a:pt x="174397" y="882"/>
                    </a:lnTo>
                    <a:lnTo>
                      <a:pt x="170606" y="1763"/>
                    </a:lnTo>
                    <a:lnTo>
                      <a:pt x="168842" y="3262"/>
                    </a:lnTo>
                    <a:lnTo>
                      <a:pt x="166815" y="4673"/>
                    </a:lnTo>
                    <a:lnTo>
                      <a:pt x="163023" y="4408"/>
                    </a:lnTo>
                    <a:lnTo>
                      <a:pt x="159232" y="3791"/>
                    </a:lnTo>
                    <a:lnTo>
                      <a:pt x="154295" y="4144"/>
                    </a:lnTo>
                    <a:lnTo>
                      <a:pt x="146360" y="9081"/>
                    </a:lnTo>
                    <a:lnTo>
                      <a:pt x="140276" y="11991"/>
                    </a:lnTo>
                    <a:lnTo>
                      <a:pt x="136220" y="13490"/>
                    </a:lnTo>
                    <a:lnTo>
                      <a:pt x="130930" y="12608"/>
                    </a:lnTo>
                    <a:lnTo>
                      <a:pt x="126522" y="14900"/>
                    </a:lnTo>
                    <a:lnTo>
                      <a:pt x="122202" y="15518"/>
                    </a:lnTo>
                    <a:lnTo>
                      <a:pt x="116030" y="15518"/>
                    </a:lnTo>
                    <a:lnTo>
                      <a:pt x="110828" y="1666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8" name="Freihandform: Form 1877">
                <a:extLst>
                  <a:ext uri="{FF2B5EF4-FFF2-40B4-BE49-F238E27FC236}">
                    <a16:creationId xmlns:a16="http://schemas.microsoft.com/office/drawing/2014/main" id="{FC56F665-5551-6B68-364B-63D486C72BFC}"/>
                  </a:ext>
                </a:extLst>
              </p:cNvPr>
              <p:cNvSpPr/>
              <p:nvPr/>
            </p:nvSpPr>
            <p:spPr>
              <a:xfrm>
                <a:off x="4864414" y="2388348"/>
                <a:ext cx="105537" cy="55457"/>
              </a:xfrm>
              <a:custGeom>
                <a:avLst/>
                <a:gdLst>
                  <a:gd name="connsiteX0" fmla="*/ 78734 w 105537"/>
                  <a:gd name="connsiteY0" fmla="*/ 38265 h 55457"/>
                  <a:gd name="connsiteX1" fmla="*/ 81644 w 105537"/>
                  <a:gd name="connsiteY1" fmla="*/ 43203 h 55457"/>
                  <a:gd name="connsiteX2" fmla="*/ 83407 w 105537"/>
                  <a:gd name="connsiteY2" fmla="*/ 41439 h 55457"/>
                  <a:gd name="connsiteX3" fmla="*/ 88345 w 105537"/>
                  <a:gd name="connsiteY3" fmla="*/ 43203 h 55457"/>
                  <a:gd name="connsiteX4" fmla="*/ 87199 w 105537"/>
                  <a:gd name="connsiteY4" fmla="*/ 46112 h 55457"/>
                  <a:gd name="connsiteX5" fmla="*/ 90725 w 105537"/>
                  <a:gd name="connsiteY5" fmla="*/ 42321 h 55457"/>
                  <a:gd name="connsiteX6" fmla="*/ 92401 w 105537"/>
                  <a:gd name="connsiteY6" fmla="*/ 45759 h 55457"/>
                  <a:gd name="connsiteX7" fmla="*/ 96809 w 105537"/>
                  <a:gd name="connsiteY7" fmla="*/ 45230 h 55457"/>
                  <a:gd name="connsiteX8" fmla="*/ 100336 w 105537"/>
                  <a:gd name="connsiteY8" fmla="*/ 47875 h 55457"/>
                  <a:gd name="connsiteX9" fmla="*/ 100600 w 105537"/>
                  <a:gd name="connsiteY9" fmla="*/ 49903 h 55457"/>
                  <a:gd name="connsiteX10" fmla="*/ 104127 w 105537"/>
                  <a:gd name="connsiteY10" fmla="*/ 48140 h 55457"/>
                  <a:gd name="connsiteX11" fmla="*/ 104127 w 105537"/>
                  <a:gd name="connsiteY11" fmla="*/ 50432 h 55457"/>
                  <a:gd name="connsiteX12" fmla="*/ 105538 w 105537"/>
                  <a:gd name="connsiteY12" fmla="*/ 51667 h 55457"/>
                  <a:gd name="connsiteX13" fmla="*/ 105273 w 105537"/>
                  <a:gd name="connsiteY13" fmla="*/ 53959 h 55457"/>
                  <a:gd name="connsiteX14" fmla="*/ 102628 w 105537"/>
                  <a:gd name="connsiteY14" fmla="*/ 55458 h 55457"/>
                  <a:gd name="connsiteX15" fmla="*/ 98308 w 105537"/>
                  <a:gd name="connsiteY15" fmla="*/ 54841 h 55457"/>
                  <a:gd name="connsiteX16" fmla="*/ 91519 w 105537"/>
                  <a:gd name="connsiteY16" fmla="*/ 54224 h 55457"/>
                  <a:gd name="connsiteX17" fmla="*/ 80145 w 105537"/>
                  <a:gd name="connsiteY17" fmla="*/ 52813 h 55457"/>
                  <a:gd name="connsiteX18" fmla="*/ 73709 w 105537"/>
                  <a:gd name="connsiteY18" fmla="*/ 52548 h 55457"/>
                  <a:gd name="connsiteX19" fmla="*/ 67361 w 105537"/>
                  <a:gd name="connsiteY19" fmla="*/ 53695 h 55457"/>
                  <a:gd name="connsiteX20" fmla="*/ 67361 w 105537"/>
                  <a:gd name="connsiteY20" fmla="*/ 53342 h 55457"/>
                  <a:gd name="connsiteX21" fmla="*/ 65333 w 105537"/>
                  <a:gd name="connsiteY21" fmla="*/ 52813 h 55457"/>
                  <a:gd name="connsiteX22" fmla="*/ 67008 w 105537"/>
                  <a:gd name="connsiteY22" fmla="*/ 50785 h 55457"/>
                  <a:gd name="connsiteX23" fmla="*/ 65068 w 105537"/>
                  <a:gd name="connsiteY23" fmla="*/ 49286 h 55457"/>
                  <a:gd name="connsiteX24" fmla="*/ 59778 w 105537"/>
                  <a:gd name="connsiteY24" fmla="*/ 50432 h 55457"/>
                  <a:gd name="connsiteX25" fmla="*/ 49815 w 105537"/>
                  <a:gd name="connsiteY25" fmla="*/ 50785 h 55457"/>
                  <a:gd name="connsiteX26" fmla="*/ 43996 w 105537"/>
                  <a:gd name="connsiteY26" fmla="*/ 45759 h 55457"/>
                  <a:gd name="connsiteX27" fmla="*/ 48934 w 105537"/>
                  <a:gd name="connsiteY27" fmla="*/ 43203 h 55457"/>
                  <a:gd name="connsiteX28" fmla="*/ 45230 w 105537"/>
                  <a:gd name="connsiteY28" fmla="*/ 40822 h 55457"/>
                  <a:gd name="connsiteX29" fmla="*/ 38442 w 105537"/>
                  <a:gd name="connsiteY29" fmla="*/ 39676 h 55457"/>
                  <a:gd name="connsiteX30" fmla="*/ 32093 w 105537"/>
                  <a:gd name="connsiteY30" fmla="*/ 36149 h 55457"/>
                  <a:gd name="connsiteX31" fmla="*/ 24158 w 105537"/>
                  <a:gd name="connsiteY31" fmla="*/ 34121 h 55457"/>
                  <a:gd name="connsiteX32" fmla="*/ 17457 w 105537"/>
                  <a:gd name="connsiteY32" fmla="*/ 35885 h 55457"/>
                  <a:gd name="connsiteX33" fmla="*/ 5202 w 105537"/>
                  <a:gd name="connsiteY33" fmla="*/ 33857 h 55457"/>
                  <a:gd name="connsiteX34" fmla="*/ 1675 w 105537"/>
                  <a:gd name="connsiteY34" fmla="*/ 28567 h 55457"/>
                  <a:gd name="connsiteX35" fmla="*/ 0 w 105537"/>
                  <a:gd name="connsiteY35" fmla="*/ 25128 h 55457"/>
                  <a:gd name="connsiteX36" fmla="*/ 882 w 105537"/>
                  <a:gd name="connsiteY36" fmla="*/ 19573 h 55457"/>
                  <a:gd name="connsiteX37" fmla="*/ 4056 w 105537"/>
                  <a:gd name="connsiteY37" fmla="*/ 22218 h 55457"/>
                  <a:gd name="connsiteX38" fmla="*/ 5202 w 105537"/>
                  <a:gd name="connsiteY38" fmla="*/ 19838 h 55457"/>
                  <a:gd name="connsiteX39" fmla="*/ 7230 w 105537"/>
                  <a:gd name="connsiteY39" fmla="*/ 20455 h 55457"/>
                  <a:gd name="connsiteX40" fmla="*/ 9258 w 105537"/>
                  <a:gd name="connsiteY40" fmla="*/ 20455 h 55457"/>
                  <a:gd name="connsiteX41" fmla="*/ 12256 w 105537"/>
                  <a:gd name="connsiteY41" fmla="*/ 24246 h 55457"/>
                  <a:gd name="connsiteX42" fmla="*/ 12785 w 105537"/>
                  <a:gd name="connsiteY42" fmla="*/ 18427 h 55457"/>
                  <a:gd name="connsiteX43" fmla="*/ 16576 w 105537"/>
                  <a:gd name="connsiteY43" fmla="*/ 14283 h 55457"/>
                  <a:gd name="connsiteX44" fmla="*/ 8729 w 105537"/>
                  <a:gd name="connsiteY44" fmla="*/ 12873 h 55457"/>
                  <a:gd name="connsiteX45" fmla="*/ 5202 w 105537"/>
                  <a:gd name="connsiteY45" fmla="*/ 10845 h 55457"/>
                  <a:gd name="connsiteX46" fmla="*/ 9610 w 105537"/>
                  <a:gd name="connsiteY46" fmla="*/ 7847 h 55457"/>
                  <a:gd name="connsiteX47" fmla="*/ 18604 w 105537"/>
                  <a:gd name="connsiteY47" fmla="*/ 7318 h 55457"/>
                  <a:gd name="connsiteX48" fmla="*/ 12785 w 105537"/>
                  <a:gd name="connsiteY48" fmla="*/ 3527 h 55457"/>
                  <a:gd name="connsiteX49" fmla="*/ 15694 w 105537"/>
                  <a:gd name="connsiteY49" fmla="*/ 0 h 55457"/>
                  <a:gd name="connsiteX50" fmla="*/ 20102 w 105537"/>
                  <a:gd name="connsiteY50" fmla="*/ 264 h 55457"/>
                  <a:gd name="connsiteX51" fmla="*/ 27421 w 105537"/>
                  <a:gd name="connsiteY51" fmla="*/ 0 h 55457"/>
                  <a:gd name="connsiteX52" fmla="*/ 38794 w 105537"/>
                  <a:gd name="connsiteY52" fmla="*/ 2645 h 55457"/>
                  <a:gd name="connsiteX53" fmla="*/ 42585 w 105537"/>
                  <a:gd name="connsiteY53" fmla="*/ 882 h 55457"/>
                  <a:gd name="connsiteX54" fmla="*/ 47787 w 105537"/>
                  <a:gd name="connsiteY54" fmla="*/ 2910 h 55457"/>
                  <a:gd name="connsiteX55" fmla="*/ 52813 w 105537"/>
                  <a:gd name="connsiteY55" fmla="*/ 1499 h 55457"/>
                  <a:gd name="connsiteX56" fmla="*/ 58015 w 105537"/>
                  <a:gd name="connsiteY56" fmla="*/ 3174 h 55457"/>
                  <a:gd name="connsiteX57" fmla="*/ 60660 w 105537"/>
                  <a:gd name="connsiteY57" fmla="*/ 1499 h 55457"/>
                  <a:gd name="connsiteX58" fmla="*/ 59161 w 105537"/>
                  <a:gd name="connsiteY58" fmla="*/ 5290 h 55457"/>
                  <a:gd name="connsiteX59" fmla="*/ 57750 w 105537"/>
                  <a:gd name="connsiteY59" fmla="*/ 7318 h 55457"/>
                  <a:gd name="connsiteX60" fmla="*/ 55105 w 105537"/>
                  <a:gd name="connsiteY60" fmla="*/ 9963 h 55457"/>
                  <a:gd name="connsiteX61" fmla="*/ 58896 w 105537"/>
                  <a:gd name="connsiteY61" fmla="*/ 13754 h 55457"/>
                  <a:gd name="connsiteX62" fmla="*/ 56604 w 105537"/>
                  <a:gd name="connsiteY62" fmla="*/ 18427 h 55457"/>
                  <a:gd name="connsiteX63" fmla="*/ 61189 w 105537"/>
                  <a:gd name="connsiteY63" fmla="*/ 23629 h 55457"/>
                  <a:gd name="connsiteX64" fmla="*/ 63569 w 105537"/>
                  <a:gd name="connsiteY64" fmla="*/ 25922 h 55457"/>
                  <a:gd name="connsiteX65" fmla="*/ 62423 w 105537"/>
                  <a:gd name="connsiteY65" fmla="*/ 28038 h 55457"/>
                  <a:gd name="connsiteX66" fmla="*/ 70887 w 105537"/>
                  <a:gd name="connsiteY66" fmla="*/ 32358 h 55457"/>
                  <a:gd name="connsiteX67" fmla="*/ 75208 w 105537"/>
                  <a:gd name="connsiteY67" fmla="*/ 33592 h 55457"/>
                  <a:gd name="connsiteX68" fmla="*/ 76089 w 105537"/>
                  <a:gd name="connsiteY68" fmla="*/ 37031 h 55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05537" h="55457">
                    <a:moveTo>
                      <a:pt x="78734" y="38265"/>
                    </a:moveTo>
                    <a:lnTo>
                      <a:pt x="81644" y="43203"/>
                    </a:lnTo>
                    <a:lnTo>
                      <a:pt x="83407" y="41439"/>
                    </a:lnTo>
                    <a:lnTo>
                      <a:pt x="88345" y="43203"/>
                    </a:lnTo>
                    <a:lnTo>
                      <a:pt x="87199" y="46112"/>
                    </a:lnTo>
                    <a:lnTo>
                      <a:pt x="90725" y="42321"/>
                    </a:lnTo>
                    <a:lnTo>
                      <a:pt x="92401" y="45759"/>
                    </a:lnTo>
                    <a:lnTo>
                      <a:pt x="96809" y="45230"/>
                    </a:lnTo>
                    <a:lnTo>
                      <a:pt x="100336" y="47875"/>
                    </a:lnTo>
                    <a:lnTo>
                      <a:pt x="100600" y="49903"/>
                    </a:lnTo>
                    <a:lnTo>
                      <a:pt x="104127" y="48140"/>
                    </a:lnTo>
                    <a:lnTo>
                      <a:pt x="104127" y="50432"/>
                    </a:lnTo>
                    <a:lnTo>
                      <a:pt x="105538" y="51667"/>
                    </a:lnTo>
                    <a:lnTo>
                      <a:pt x="105273" y="53959"/>
                    </a:lnTo>
                    <a:lnTo>
                      <a:pt x="102628" y="55458"/>
                    </a:lnTo>
                    <a:lnTo>
                      <a:pt x="98308" y="54841"/>
                    </a:lnTo>
                    <a:lnTo>
                      <a:pt x="91519" y="54224"/>
                    </a:lnTo>
                    <a:lnTo>
                      <a:pt x="80145" y="52813"/>
                    </a:lnTo>
                    <a:lnTo>
                      <a:pt x="73709" y="52548"/>
                    </a:lnTo>
                    <a:lnTo>
                      <a:pt x="67361" y="53695"/>
                    </a:lnTo>
                    <a:lnTo>
                      <a:pt x="67361" y="53342"/>
                    </a:lnTo>
                    <a:lnTo>
                      <a:pt x="65333" y="52813"/>
                    </a:lnTo>
                    <a:lnTo>
                      <a:pt x="67008" y="50785"/>
                    </a:lnTo>
                    <a:lnTo>
                      <a:pt x="65068" y="49286"/>
                    </a:lnTo>
                    <a:lnTo>
                      <a:pt x="59778" y="50432"/>
                    </a:lnTo>
                    <a:lnTo>
                      <a:pt x="49815" y="50785"/>
                    </a:lnTo>
                    <a:lnTo>
                      <a:pt x="43996" y="45759"/>
                    </a:lnTo>
                    <a:lnTo>
                      <a:pt x="48934" y="43203"/>
                    </a:lnTo>
                    <a:lnTo>
                      <a:pt x="45230" y="40822"/>
                    </a:lnTo>
                    <a:lnTo>
                      <a:pt x="38442" y="39676"/>
                    </a:lnTo>
                    <a:lnTo>
                      <a:pt x="32093" y="36149"/>
                    </a:lnTo>
                    <a:lnTo>
                      <a:pt x="24158" y="34121"/>
                    </a:lnTo>
                    <a:lnTo>
                      <a:pt x="17457" y="35885"/>
                    </a:lnTo>
                    <a:lnTo>
                      <a:pt x="5202" y="33857"/>
                    </a:lnTo>
                    <a:lnTo>
                      <a:pt x="1675" y="28567"/>
                    </a:lnTo>
                    <a:lnTo>
                      <a:pt x="0" y="25128"/>
                    </a:lnTo>
                    <a:lnTo>
                      <a:pt x="882" y="19573"/>
                    </a:lnTo>
                    <a:lnTo>
                      <a:pt x="4056" y="22218"/>
                    </a:lnTo>
                    <a:lnTo>
                      <a:pt x="5202" y="19838"/>
                    </a:lnTo>
                    <a:lnTo>
                      <a:pt x="7230" y="20455"/>
                    </a:lnTo>
                    <a:lnTo>
                      <a:pt x="9258" y="20455"/>
                    </a:lnTo>
                    <a:lnTo>
                      <a:pt x="12256" y="24246"/>
                    </a:lnTo>
                    <a:lnTo>
                      <a:pt x="12785" y="18427"/>
                    </a:lnTo>
                    <a:lnTo>
                      <a:pt x="16576" y="14283"/>
                    </a:lnTo>
                    <a:lnTo>
                      <a:pt x="8729" y="12873"/>
                    </a:lnTo>
                    <a:lnTo>
                      <a:pt x="5202" y="10845"/>
                    </a:lnTo>
                    <a:lnTo>
                      <a:pt x="9610" y="7847"/>
                    </a:lnTo>
                    <a:lnTo>
                      <a:pt x="18604" y="7318"/>
                    </a:lnTo>
                    <a:lnTo>
                      <a:pt x="12785" y="3527"/>
                    </a:lnTo>
                    <a:lnTo>
                      <a:pt x="15694" y="0"/>
                    </a:lnTo>
                    <a:lnTo>
                      <a:pt x="20102" y="264"/>
                    </a:lnTo>
                    <a:lnTo>
                      <a:pt x="27421" y="0"/>
                    </a:lnTo>
                    <a:lnTo>
                      <a:pt x="38794" y="2645"/>
                    </a:lnTo>
                    <a:lnTo>
                      <a:pt x="42585" y="882"/>
                    </a:lnTo>
                    <a:lnTo>
                      <a:pt x="47787" y="2910"/>
                    </a:lnTo>
                    <a:lnTo>
                      <a:pt x="52813" y="1499"/>
                    </a:lnTo>
                    <a:lnTo>
                      <a:pt x="58015" y="3174"/>
                    </a:lnTo>
                    <a:lnTo>
                      <a:pt x="60660" y="1499"/>
                    </a:lnTo>
                    <a:lnTo>
                      <a:pt x="59161" y="5290"/>
                    </a:lnTo>
                    <a:lnTo>
                      <a:pt x="57750" y="7318"/>
                    </a:lnTo>
                    <a:lnTo>
                      <a:pt x="55105" y="9963"/>
                    </a:lnTo>
                    <a:lnTo>
                      <a:pt x="58896" y="13754"/>
                    </a:lnTo>
                    <a:lnTo>
                      <a:pt x="56604" y="18427"/>
                    </a:lnTo>
                    <a:lnTo>
                      <a:pt x="61189" y="23629"/>
                    </a:lnTo>
                    <a:lnTo>
                      <a:pt x="63569" y="25922"/>
                    </a:lnTo>
                    <a:lnTo>
                      <a:pt x="62423" y="28038"/>
                    </a:lnTo>
                    <a:lnTo>
                      <a:pt x="70887" y="32358"/>
                    </a:lnTo>
                    <a:lnTo>
                      <a:pt x="75208" y="33592"/>
                    </a:lnTo>
                    <a:lnTo>
                      <a:pt x="76089" y="37031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9" name="Freihandform: Form 1878">
                <a:extLst>
                  <a:ext uri="{FF2B5EF4-FFF2-40B4-BE49-F238E27FC236}">
                    <a16:creationId xmlns:a16="http://schemas.microsoft.com/office/drawing/2014/main" id="{77D41BD4-E2CC-0873-4DA3-7778F17F1219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0" name="Freihandform: Form 1879">
                <a:extLst>
                  <a:ext uri="{FF2B5EF4-FFF2-40B4-BE49-F238E27FC236}">
                    <a16:creationId xmlns:a16="http://schemas.microsoft.com/office/drawing/2014/main" id="{021FDBEE-EC22-824E-C628-0263762EA0EF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1" name="Freihandform: Form 1880">
                <a:extLst>
                  <a:ext uri="{FF2B5EF4-FFF2-40B4-BE49-F238E27FC236}">
                    <a16:creationId xmlns:a16="http://schemas.microsoft.com/office/drawing/2014/main" id="{4C82D3E2-6187-E64F-01E4-905C92730398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2" name="Freihandform: Form 1881">
                <a:extLst>
                  <a:ext uri="{FF2B5EF4-FFF2-40B4-BE49-F238E27FC236}">
                    <a16:creationId xmlns:a16="http://schemas.microsoft.com/office/drawing/2014/main" id="{30C15D80-8159-E388-2270-BAD4893947CE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3" name="Freihandform: Form 1882">
                <a:extLst>
                  <a:ext uri="{FF2B5EF4-FFF2-40B4-BE49-F238E27FC236}">
                    <a16:creationId xmlns:a16="http://schemas.microsoft.com/office/drawing/2014/main" id="{DD7D5D95-17A8-E413-1E72-9A2AA6855237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4" name="Freihandform: Form 1883">
                <a:extLst>
                  <a:ext uri="{FF2B5EF4-FFF2-40B4-BE49-F238E27FC236}">
                    <a16:creationId xmlns:a16="http://schemas.microsoft.com/office/drawing/2014/main" id="{8DE38F4D-432F-D2C0-C63D-2DA5A4FFE05E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5" name="Freihandform: Form 1884">
                <a:extLst>
                  <a:ext uri="{FF2B5EF4-FFF2-40B4-BE49-F238E27FC236}">
                    <a16:creationId xmlns:a16="http://schemas.microsoft.com/office/drawing/2014/main" id="{16E80A87-6486-BE49-16DC-83676FF8DE3C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6" name="Freihandform: Form 1885">
                <a:extLst>
                  <a:ext uri="{FF2B5EF4-FFF2-40B4-BE49-F238E27FC236}">
                    <a16:creationId xmlns:a16="http://schemas.microsoft.com/office/drawing/2014/main" id="{7A32E782-703A-2E66-B113-41539274E493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7" name="Freihandform: Form 1886">
                <a:extLst>
                  <a:ext uri="{FF2B5EF4-FFF2-40B4-BE49-F238E27FC236}">
                    <a16:creationId xmlns:a16="http://schemas.microsoft.com/office/drawing/2014/main" id="{363BAB23-621E-AAE2-1652-870B74790259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8" name="Freihandform: Form 1887">
                <a:extLst>
                  <a:ext uri="{FF2B5EF4-FFF2-40B4-BE49-F238E27FC236}">
                    <a16:creationId xmlns:a16="http://schemas.microsoft.com/office/drawing/2014/main" id="{4EE4F617-172F-D6E1-1A31-451F69045572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9" name="Freihandform: Form 1888">
                <a:extLst>
                  <a:ext uri="{FF2B5EF4-FFF2-40B4-BE49-F238E27FC236}">
                    <a16:creationId xmlns:a16="http://schemas.microsoft.com/office/drawing/2014/main" id="{3EC89EFE-AA09-575E-E93E-C7F9B56F9A03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0" name="Freihandform: Form 1889">
                <a:extLst>
                  <a:ext uri="{FF2B5EF4-FFF2-40B4-BE49-F238E27FC236}">
                    <a16:creationId xmlns:a16="http://schemas.microsoft.com/office/drawing/2014/main" id="{2447E073-6C2B-F34C-B6DB-CE6A51DE16D3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1" name="Freihandform: Form 1890">
                <a:extLst>
                  <a:ext uri="{FF2B5EF4-FFF2-40B4-BE49-F238E27FC236}">
                    <a16:creationId xmlns:a16="http://schemas.microsoft.com/office/drawing/2014/main" id="{E4254B02-DCED-B923-3F2A-41DC5BA05C7A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2" name="Freihandform: Form 1891">
                <a:extLst>
                  <a:ext uri="{FF2B5EF4-FFF2-40B4-BE49-F238E27FC236}">
                    <a16:creationId xmlns:a16="http://schemas.microsoft.com/office/drawing/2014/main" id="{CA9EA009-3668-AEF9-CD39-F0019EA52CDB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3" name="Freihandform: Form 1892">
                <a:extLst>
                  <a:ext uri="{FF2B5EF4-FFF2-40B4-BE49-F238E27FC236}">
                    <a16:creationId xmlns:a16="http://schemas.microsoft.com/office/drawing/2014/main" id="{B3D092E1-2E99-3684-5ED4-7B8E69F90ECB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4" name="Freihandform: Form 1893">
                <a:extLst>
                  <a:ext uri="{FF2B5EF4-FFF2-40B4-BE49-F238E27FC236}">
                    <a16:creationId xmlns:a16="http://schemas.microsoft.com/office/drawing/2014/main" id="{35481BC7-FFB4-4F94-F17F-9C42ED84AC2D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5" name="Freihandform: Form 1894">
                <a:extLst>
                  <a:ext uri="{FF2B5EF4-FFF2-40B4-BE49-F238E27FC236}">
                    <a16:creationId xmlns:a16="http://schemas.microsoft.com/office/drawing/2014/main" id="{421650D2-AF02-5213-04FB-B93F32F3F743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896" name="Grafik 9">
                <a:extLst>
                  <a:ext uri="{FF2B5EF4-FFF2-40B4-BE49-F238E27FC236}">
                    <a16:creationId xmlns:a16="http://schemas.microsoft.com/office/drawing/2014/main" id="{2039D630-E0AA-5CDD-5BD9-A792295CA9A8}"/>
                  </a:ext>
                </a:extLst>
              </p:cNvPr>
              <p:cNvGrpSpPr/>
              <p:nvPr/>
            </p:nvGrpSpPr>
            <p:grpSpPr>
              <a:xfrm>
                <a:off x="4960870" y="2778581"/>
                <a:ext cx="793779" cy="356817"/>
                <a:chOff x="4960870" y="2778581"/>
                <a:chExt cx="793779" cy="356817"/>
              </a:xfrm>
              <a:grpFill/>
            </p:grpSpPr>
            <p:sp>
              <p:nvSpPr>
                <p:cNvPr id="1914" name="Freihandform: Form 1913">
                  <a:extLst>
                    <a:ext uri="{FF2B5EF4-FFF2-40B4-BE49-F238E27FC236}">
                      <a16:creationId xmlns:a16="http://schemas.microsoft.com/office/drawing/2014/main" id="{D0A39543-2043-6E84-FEB5-635A29485987}"/>
                    </a:ext>
                  </a:extLst>
                </p:cNvPr>
                <p:cNvSpPr/>
                <p:nvPr/>
              </p:nvSpPr>
              <p:spPr>
                <a:xfrm>
                  <a:off x="5488911" y="3087170"/>
                  <a:ext cx="1146" cy="4672"/>
                </a:xfrm>
                <a:custGeom>
                  <a:avLst/>
                  <a:gdLst>
                    <a:gd name="connsiteX0" fmla="*/ 1146 w 1146"/>
                    <a:gd name="connsiteY0" fmla="*/ 0 h 4672"/>
                    <a:gd name="connsiteX1" fmla="*/ 882 w 1146"/>
                    <a:gd name="connsiteY1" fmla="*/ 264 h 4672"/>
                    <a:gd name="connsiteX2" fmla="*/ 0 w 1146"/>
                    <a:gd name="connsiteY2" fmla="*/ 4673 h 4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6" h="4672">
                      <a:moveTo>
                        <a:pt x="1146" y="0"/>
                      </a:moveTo>
                      <a:lnTo>
                        <a:pt x="882" y="264"/>
                      </a:lnTo>
                      <a:lnTo>
                        <a:pt x="0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5" name="Freihandform: Form 1914">
                  <a:extLst>
                    <a:ext uri="{FF2B5EF4-FFF2-40B4-BE49-F238E27FC236}">
                      <a16:creationId xmlns:a16="http://schemas.microsoft.com/office/drawing/2014/main" id="{79393E74-3163-07AB-C3C6-2DD70ADB6297}"/>
                    </a:ext>
                  </a:extLst>
                </p:cNvPr>
                <p:cNvSpPr/>
                <p:nvPr/>
              </p:nvSpPr>
              <p:spPr>
                <a:xfrm>
                  <a:off x="4960870" y="2778581"/>
                  <a:ext cx="793779" cy="356817"/>
                </a:xfrm>
                <a:custGeom>
                  <a:avLst/>
                  <a:gdLst>
                    <a:gd name="connsiteX0" fmla="*/ 786462 w 793779"/>
                    <a:gd name="connsiteY0" fmla="*/ 150768 h 356817"/>
                    <a:gd name="connsiteX1" fmla="*/ 793780 w 793779"/>
                    <a:gd name="connsiteY1" fmla="*/ 151650 h 356817"/>
                    <a:gd name="connsiteX2" fmla="*/ 776587 w 793779"/>
                    <a:gd name="connsiteY2" fmla="*/ 140011 h 356817"/>
                    <a:gd name="connsiteX3" fmla="*/ 767858 w 793779"/>
                    <a:gd name="connsiteY3" fmla="*/ 137366 h 356817"/>
                    <a:gd name="connsiteX4" fmla="*/ 765213 w 793779"/>
                    <a:gd name="connsiteY4" fmla="*/ 131547 h 356817"/>
                    <a:gd name="connsiteX5" fmla="*/ 760540 w 793779"/>
                    <a:gd name="connsiteY5" fmla="*/ 138513 h 356817"/>
                    <a:gd name="connsiteX6" fmla="*/ 746522 w 793779"/>
                    <a:gd name="connsiteY6" fmla="*/ 134986 h 356817"/>
                    <a:gd name="connsiteX7" fmla="*/ 742731 w 793779"/>
                    <a:gd name="connsiteY7" fmla="*/ 128550 h 356817"/>
                    <a:gd name="connsiteX8" fmla="*/ 731974 w 793779"/>
                    <a:gd name="connsiteY8" fmla="*/ 126786 h 356817"/>
                    <a:gd name="connsiteX9" fmla="*/ 725009 w 793779"/>
                    <a:gd name="connsiteY9" fmla="*/ 116911 h 356817"/>
                    <a:gd name="connsiteX10" fmla="*/ 714781 w 793779"/>
                    <a:gd name="connsiteY10" fmla="*/ 110210 h 356817"/>
                    <a:gd name="connsiteX11" fmla="*/ 707199 w 793779"/>
                    <a:gd name="connsiteY11" fmla="*/ 109064 h 356817"/>
                    <a:gd name="connsiteX12" fmla="*/ 700498 w 793779"/>
                    <a:gd name="connsiteY12" fmla="*/ 113473 h 356817"/>
                    <a:gd name="connsiteX13" fmla="*/ 692651 w 793779"/>
                    <a:gd name="connsiteY13" fmla="*/ 112591 h 356817"/>
                    <a:gd name="connsiteX14" fmla="*/ 688859 w 793779"/>
                    <a:gd name="connsiteY14" fmla="*/ 103862 h 356817"/>
                    <a:gd name="connsiteX15" fmla="*/ 683305 w 793779"/>
                    <a:gd name="connsiteY15" fmla="*/ 95663 h 356817"/>
                    <a:gd name="connsiteX16" fmla="*/ 675987 w 793779"/>
                    <a:gd name="connsiteY16" fmla="*/ 93899 h 356817"/>
                    <a:gd name="connsiteX17" fmla="*/ 669021 w 793779"/>
                    <a:gd name="connsiteY17" fmla="*/ 95046 h 356817"/>
                    <a:gd name="connsiteX18" fmla="*/ 664966 w 793779"/>
                    <a:gd name="connsiteY18" fmla="*/ 99719 h 356817"/>
                    <a:gd name="connsiteX19" fmla="*/ 654209 w 793779"/>
                    <a:gd name="connsiteY19" fmla="*/ 99719 h 356817"/>
                    <a:gd name="connsiteX20" fmla="*/ 648655 w 793779"/>
                    <a:gd name="connsiteY20" fmla="*/ 96192 h 356817"/>
                    <a:gd name="connsiteX21" fmla="*/ 639926 w 793779"/>
                    <a:gd name="connsiteY21" fmla="*/ 94428 h 356817"/>
                    <a:gd name="connsiteX22" fmla="*/ 632079 w 793779"/>
                    <a:gd name="connsiteY22" fmla="*/ 97338 h 356817"/>
                    <a:gd name="connsiteX23" fmla="*/ 634460 w 793779"/>
                    <a:gd name="connsiteY23" fmla="*/ 104303 h 356817"/>
                    <a:gd name="connsiteX24" fmla="*/ 627141 w 793779"/>
                    <a:gd name="connsiteY24" fmla="*/ 106684 h 356817"/>
                    <a:gd name="connsiteX25" fmla="*/ 609332 w 793779"/>
                    <a:gd name="connsiteY25" fmla="*/ 90902 h 356817"/>
                    <a:gd name="connsiteX26" fmla="*/ 599104 w 793779"/>
                    <a:gd name="connsiteY26" fmla="*/ 84730 h 356817"/>
                    <a:gd name="connsiteX27" fmla="*/ 584821 w 793779"/>
                    <a:gd name="connsiteY27" fmla="*/ 71857 h 356817"/>
                    <a:gd name="connsiteX28" fmla="*/ 581294 w 793779"/>
                    <a:gd name="connsiteY28" fmla="*/ 65774 h 356817"/>
                    <a:gd name="connsiteX29" fmla="*/ 562955 w 793779"/>
                    <a:gd name="connsiteY29" fmla="*/ 44525 h 356817"/>
                    <a:gd name="connsiteX30" fmla="*/ 556872 w 793779"/>
                    <a:gd name="connsiteY30" fmla="*/ 45054 h 356817"/>
                    <a:gd name="connsiteX31" fmla="*/ 527423 w 793779"/>
                    <a:gd name="connsiteY31" fmla="*/ 32182 h 356817"/>
                    <a:gd name="connsiteX32" fmla="*/ 519576 w 793779"/>
                    <a:gd name="connsiteY32" fmla="*/ 27509 h 356817"/>
                    <a:gd name="connsiteX33" fmla="*/ 526894 w 793779"/>
                    <a:gd name="connsiteY33" fmla="*/ 25128 h 356817"/>
                    <a:gd name="connsiteX34" fmla="*/ 522486 w 793779"/>
                    <a:gd name="connsiteY34" fmla="*/ 18163 h 356817"/>
                    <a:gd name="connsiteX35" fmla="*/ 514022 w 793779"/>
                    <a:gd name="connsiteY35" fmla="*/ 21689 h 356817"/>
                    <a:gd name="connsiteX36" fmla="*/ 500268 w 793779"/>
                    <a:gd name="connsiteY36" fmla="*/ 32182 h 356817"/>
                    <a:gd name="connsiteX37" fmla="*/ 494448 w 793779"/>
                    <a:gd name="connsiteY37" fmla="*/ 35708 h 356817"/>
                    <a:gd name="connsiteX38" fmla="*/ 490657 w 793779"/>
                    <a:gd name="connsiteY38" fmla="*/ 45054 h 356817"/>
                    <a:gd name="connsiteX39" fmla="*/ 482193 w 793779"/>
                    <a:gd name="connsiteY39" fmla="*/ 39235 h 356817"/>
                    <a:gd name="connsiteX40" fmla="*/ 467293 w 793779"/>
                    <a:gd name="connsiteY40" fmla="*/ 39235 h 356817"/>
                    <a:gd name="connsiteX41" fmla="*/ 471965 w 793779"/>
                    <a:gd name="connsiteY41" fmla="*/ 27597 h 356817"/>
                    <a:gd name="connsiteX42" fmla="*/ 462091 w 793779"/>
                    <a:gd name="connsiteY42" fmla="*/ 29889 h 356817"/>
                    <a:gd name="connsiteX43" fmla="*/ 453362 w 793779"/>
                    <a:gd name="connsiteY43" fmla="*/ 25216 h 356817"/>
                    <a:gd name="connsiteX44" fmla="*/ 446044 w 793779"/>
                    <a:gd name="connsiteY44" fmla="*/ 29889 h 356817"/>
                    <a:gd name="connsiteX45" fmla="*/ 440489 w 793779"/>
                    <a:gd name="connsiteY45" fmla="*/ 21689 h 356817"/>
                    <a:gd name="connsiteX46" fmla="*/ 427969 w 793779"/>
                    <a:gd name="connsiteY46" fmla="*/ 15253 h 356817"/>
                    <a:gd name="connsiteX47" fmla="*/ 421886 w 793779"/>
                    <a:gd name="connsiteY47" fmla="*/ 7053 h 356817"/>
                    <a:gd name="connsiteX48" fmla="*/ 408484 w 793779"/>
                    <a:gd name="connsiteY48" fmla="*/ 4408 h 356817"/>
                    <a:gd name="connsiteX49" fmla="*/ 402929 w 793779"/>
                    <a:gd name="connsiteY49" fmla="*/ 0 h 356817"/>
                    <a:gd name="connsiteX50" fmla="*/ 395347 w 793779"/>
                    <a:gd name="connsiteY50" fmla="*/ 4938 h 356817"/>
                    <a:gd name="connsiteX51" fmla="*/ 386618 w 793779"/>
                    <a:gd name="connsiteY51" fmla="*/ 8200 h 356817"/>
                    <a:gd name="connsiteX52" fmla="*/ 370836 w 793779"/>
                    <a:gd name="connsiteY52" fmla="*/ 10228 h 356817"/>
                    <a:gd name="connsiteX53" fmla="*/ 352497 w 793779"/>
                    <a:gd name="connsiteY53" fmla="*/ 13754 h 356817"/>
                    <a:gd name="connsiteX54" fmla="*/ 333541 w 793779"/>
                    <a:gd name="connsiteY54" fmla="*/ 15253 h 356817"/>
                    <a:gd name="connsiteX55" fmla="*/ 316348 w 793779"/>
                    <a:gd name="connsiteY55" fmla="*/ 15253 h 356817"/>
                    <a:gd name="connsiteX56" fmla="*/ 310264 w 793779"/>
                    <a:gd name="connsiteY56" fmla="*/ 18163 h 356817"/>
                    <a:gd name="connsiteX57" fmla="*/ 304093 w 793779"/>
                    <a:gd name="connsiteY57" fmla="*/ 21689 h 356817"/>
                    <a:gd name="connsiteX58" fmla="*/ 289810 w 793779"/>
                    <a:gd name="connsiteY58" fmla="*/ 22836 h 356817"/>
                    <a:gd name="connsiteX59" fmla="*/ 284255 w 793779"/>
                    <a:gd name="connsiteY59" fmla="*/ 25128 h 356817"/>
                    <a:gd name="connsiteX60" fmla="*/ 267944 w 793779"/>
                    <a:gd name="connsiteY60" fmla="*/ 28655 h 356817"/>
                    <a:gd name="connsiteX61" fmla="*/ 259480 w 793779"/>
                    <a:gd name="connsiteY61" fmla="*/ 31035 h 356817"/>
                    <a:gd name="connsiteX62" fmla="*/ 253660 w 793779"/>
                    <a:gd name="connsiteY62" fmla="*/ 32182 h 356817"/>
                    <a:gd name="connsiteX63" fmla="*/ 244315 w 793779"/>
                    <a:gd name="connsiteY63" fmla="*/ 29801 h 356817"/>
                    <a:gd name="connsiteX64" fmla="*/ 237614 w 793779"/>
                    <a:gd name="connsiteY64" fmla="*/ 32182 h 356817"/>
                    <a:gd name="connsiteX65" fmla="*/ 238496 w 793779"/>
                    <a:gd name="connsiteY65" fmla="*/ 41527 h 356817"/>
                    <a:gd name="connsiteX66" fmla="*/ 244668 w 793779"/>
                    <a:gd name="connsiteY66" fmla="*/ 45054 h 356817"/>
                    <a:gd name="connsiteX67" fmla="*/ 246430 w 793779"/>
                    <a:gd name="connsiteY67" fmla="*/ 49462 h 356817"/>
                    <a:gd name="connsiteX68" fmla="*/ 253749 w 793779"/>
                    <a:gd name="connsiteY68" fmla="*/ 47964 h 356817"/>
                    <a:gd name="connsiteX69" fmla="*/ 264241 w 793779"/>
                    <a:gd name="connsiteY69" fmla="*/ 51755 h 356817"/>
                    <a:gd name="connsiteX70" fmla="*/ 263623 w 793779"/>
                    <a:gd name="connsiteY70" fmla="*/ 55282 h 356817"/>
                    <a:gd name="connsiteX71" fmla="*/ 251633 w 793779"/>
                    <a:gd name="connsiteY71" fmla="*/ 56692 h 356817"/>
                    <a:gd name="connsiteX72" fmla="*/ 245813 w 793779"/>
                    <a:gd name="connsiteY72" fmla="*/ 55282 h 356817"/>
                    <a:gd name="connsiteX73" fmla="*/ 242551 w 793779"/>
                    <a:gd name="connsiteY73" fmla="*/ 62247 h 356817"/>
                    <a:gd name="connsiteX74" fmla="*/ 249252 w 793779"/>
                    <a:gd name="connsiteY74" fmla="*/ 70447 h 356817"/>
                    <a:gd name="connsiteX75" fmla="*/ 243433 w 793779"/>
                    <a:gd name="connsiteY75" fmla="*/ 78029 h 356817"/>
                    <a:gd name="connsiteX76" fmla="*/ 236996 w 793779"/>
                    <a:gd name="connsiteY76" fmla="*/ 80939 h 356817"/>
                    <a:gd name="connsiteX77" fmla="*/ 246342 w 793779"/>
                    <a:gd name="connsiteY77" fmla="*/ 85612 h 356817"/>
                    <a:gd name="connsiteX78" fmla="*/ 247488 w 793779"/>
                    <a:gd name="connsiteY78" fmla="*/ 89138 h 356817"/>
                    <a:gd name="connsiteX79" fmla="*/ 256218 w 793779"/>
                    <a:gd name="connsiteY79" fmla="*/ 89138 h 356817"/>
                    <a:gd name="connsiteX80" fmla="*/ 260273 w 793779"/>
                    <a:gd name="connsiteY80" fmla="*/ 92665 h 356817"/>
                    <a:gd name="connsiteX81" fmla="*/ 264946 w 793779"/>
                    <a:gd name="connsiteY81" fmla="*/ 92665 h 356817"/>
                    <a:gd name="connsiteX82" fmla="*/ 270501 w 793779"/>
                    <a:gd name="connsiteY82" fmla="*/ 97338 h 356817"/>
                    <a:gd name="connsiteX83" fmla="*/ 270501 w 793779"/>
                    <a:gd name="connsiteY83" fmla="*/ 107830 h 356817"/>
                    <a:gd name="connsiteX84" fmla="*/ 261155 w 793779"/>
                    <a:gd name="connsiteY84" fmla="*/ 111357 h 356817"/>
                    <a:gd name="connsiteX85" fmla="*/ 251544 w 793779"/>
                    <a:gd name="connsiteY85" fmla="*/ 110740 h 356817"/>
                    <a:gd name="connsiteX86" fmla="*/ 244843 w 793779"/>
                    <a:gd name="connsiteY86" fmla="*/ 105449 h 356817"/>
                    <a:gd name="connsiteX87" fmla="*/ 244226 w 793779"/>
                    <a:gd name="connsiteY87" fmla="*/ 108976 h 356817"/>
                    <a:gd name="connsiteX88" fmla="*/ 235233 w 793779"/>
                    <a:gd name="connsiteY88" fmla="*/ 106684 h 356817"/>
                    <a:gd name="connsiteX89" fmla="*/ 228533 w 793779"/>
                    <a:gd name="connsiteY89" fmla="*/ 104656 h 356817"/>
                    <a:gd name="connsiteX90" fmla="*/ 220950 w 793779"/>
                    <a:gd name="connsiteY90" fmla="*/ 104656 h 356817"/>
                    <a:gd name="connsiteX91" fmla="*/ 217423 w 793779"/>
                    <a:gd name="connsiteY91" fmla="*/ 103157 h 356817"/>
                    <a:gd name="connsiteX92" fmla="*/ 211340 w 793779"/>
                    <a:gd name="connsiteY92" fmla="*/ 99630 h 356817"/>
                    <a:gd name="connsiteX93" fmla="*/ 212486 w 793779"/>
                    <a:gd name="connsiteY93" fmla="*/ 105449 h 356817"/>
                    <a:gd name="connsiteX94" fmla="*/ 199966 w 793779"/>
                    <a:gd name="connsiteY94" fmla="*/ 99630 h 356817"/>
                    <a:gd name="connsiteX95" fmla="*/ 188592 w 793779"/>
                    <a:gd name="connsiteY95" fmla="*/ 99630 h 356817"/>
                    <a:gd name="connsiteX96" fmla="*/ 173427 w 793779"/>
                    <a:gd name="connsiteY96" fmla="*/ 103157 h 356817"/>
                    <a:gd name="connsiteX97" fmla="*/ 155353 w 793779"/>
                    <a:gd name="connsiteY97" fmla="*/ 101658 h 356817"/>
                    <a:gd name="connsiteX98" fmla="*/ 147153 w 793779"/>
                    <a:gd name="connsiteY98" fmla="*/ 99013 h 356817"/>
                    <a:gd name="connsiteX99" fmla="*/ 143979 w 793779"/>
                    <a:gd name="connsiteY99" fmla="*/ 100777 h 356817"/>
                    <a:gd name="connsiteX100" fmla="*/ 156499 w 793779"/>
                    <a:gd name="connsiteY100" fmla="*/ 115942 h 356817"/>
                    <a:gd name="connsiteX101" fmla="*/ 153589 w 793779"/>
                    <a:gd name="connsiteY101" fmla="*/ 116559 h 356817"/>
                    <a:gd name="connsiteX102" fmla="*/ 142480 w 793779"/>
                    <a:gd name="connsiteY102" fmla="*/ 113649 h 356817"/>
                    <a:gd name="connsiteX103" fmla="*/ 132870 w 793779"/>
                    <a:gd name="connsiteY103" fmla="*/ 99630 h 356817"/>
                    <a:gd name="connsiteX104" fmla="*/ 128461 w 793779"/>
                    <a:gd name="connsiteY104" fmla="*/ 90284 h 356817"/>
                    <a:gd name="connsiteX105" fmla="*/ 113032 w 793779"/>
                    <a:gd name="connsiteY105" fmla="*/ 90284 h 356817"/>
                    <a:gd name="connsiteX106" fmla="*/ 99278 w 793779"/>
                    <a:gd name="connsiteY106" fmla="*/ 91431 h 356817"/>
                    <a:gd name="connsiteX107" fmla="*/ 90549 w 793779"/>
                    <a:gd name="connsiteY107" fmla="*/ 84465 h 356817"/>
                    <a:gd name="connsiteX108" fmla="*/ 85611 w 793779"/>
                    <a:gd name="connsiteY108" fmla="*/ 86758 h 356817"/>
                    <a:gd name="connsiteX109" fmla="*/ 82966 w 793779"/>
                    <a:gd name="connsiteY109" fmla="*/ 91431 h 356817"/>
                    <a:gd name="connsiteX110" fmla="*/ 80674 w 793779"/>
                    <a:gd name="connsiteY110" fmla="*/ 96104 h 356817"/>
                    <a:gd name="connsiteX111" fmla="*/ 67273 w 793779"/>
                    <a:gd name="connsiteY111" fmla="*/ 89403 h 356817"/>
                    <a:gd name="connsiteX112" fmla="*/ 54752 w 793779"/>
                    <a:gd name="connsiteY112" fmla="*/ 85612 h 356817"/>
                    <a:gd name="connsiteX113" fmla="*/ 50961 w 793779"/>
                    <a:gd name="connsiteY113" fmla="*/ 89932 h 356817"/>
                    <a:gd name="connsiteX114" fmla="*/ 36943 w 793779"/>
                    <a:gd name="connsiteY114" fmla="*/ 100777 h 356817"/>
                    <a:gd name="connsiteX115" fmla="*/ 36325 w 793779"/>
                    <a:gd name="connsiteY115" fmla="*/ 104568 h 356817"/>
                    <a:gd name="connsiteX116" fmla="*/ 33680 w 793779"/>
                    <a:gd name="connsiteY116" fmla="*/ 110651 h 356817"/>
                    <a:gd name="connsiteX117" fmla="*/ 28743 w 793779"/>
                    <a:gd name="connsiteY117" fmla="*/ 111269 h 356817"/>
                    <a:gd name="connsiteX118" fmla="*/ 32799 w 793779"/>
                    <a:gd name="connsiteY118" fmla="*/ 118234 h 356817"/>
                    <a:gd name="connsiteX119" fmla="*/ 37207 w 793779"/>
                    <a:gd name="connsiteY119" fmla="*/ 127844 h 356817"/>
                    <a:gd name="connsiteX120" fmla="*/ 34298 w 793779"/>
                    <a:gd name="connsiteY120" fmla="*/ 131018 h 356817"/>
                    <a:gd name="connsiteX121" fmla="*/ 27861 w 793779"/>
                    <a:gd name="connsiteY121" fmla="*/ 128990 h 356817"/>
                    <a:gd name="connsiteX122" fmla="*/ 16223 w 793779"/>
                    <a:gd name="connsiteY122" fmla="*/ 121408 h 356817"/>
                    <a:gd name="connsiteX123" fmla="*/ 11197 w 793779"/>
                    <a:gd name="connsiteY123" fmla="*/ 116999 h 356817"/>
                    <a:gd name="connsiteX124" fmla="*/ 7671 w 793779"/>
                    <a:gd name="connsiteY124" fmla="*/ 118146 h 356817"/>
                    <a:gd name="connsiteX125" fmla="*/ 2116 w 793779"/>
                    <a:gd name="connsiteY125" fmla="*/ 130137 h 356817"/>
                    <a:gd name="connsiteX126" fmla="*/ 3262 w 793779"/>
                    <a:gd name="connsiteY126" fmla="*/ 145302 h 356817"/>
                    <a:gd name="connsiteX127" fmla="*/ 3527 w 793779"/>
                    <a:gd name="connsiteY127" fmla="*/ 151385 h 356817"/>
                    <a:gd name="connsiteX128" fmla="*/ 1146 w 793779"/>
                    <a:gd name="connsiteY128" fmla="*/ 157469 h 356817"/>
                    <a:gd name="connsiteX129" fmla="*/ 0 w 793779"/>
                    <a:gd name="connsiteY129" fmla="*/ 164170 h 356817"/>
                    <a:gd name="connsiteX130" fmla="*/ 4408 w 793779"/>
                    <a:gd name="connsiteY130" fmla="*/ 165668 h 356817"/>
                    <a:gd name="connsiteX131" fmla="*/ 9610 w 793779"/>
                    <a:gd name="connsiteY131" fmla="*/ 165404 h 356817"/>
                    <a:gd name="connsiteX132" fmla="*/ 14283 w 793779"/>
                    <a:gd name="connsiteY132" fmla="*/ 165404 h 356817"/>
                    <a:gd name="connsiteX133" fmla="*/ 24775 w 793779"/>
                    <a:gd name="connsiteY133" fmla="*/ 166550 h 356817"/>
                    <a:gd name="connsiteX134" fmla="*/ 32975 w 793779"/>
                    <a:gd name="connsiteY134" fmla="*/ 172986 h 356817"/>
                    <a:gd name="connsiteX135" fmla="*/ 42321 w 793779"/>
                    <a:gd name="connsiteY135" fmla="*/ 186388 h 356817"/>
                    <a:gd name="connsiteX136" fmla="*/ 57750 w 793779"/>
                    <a:gd name="connsiteY136" fmla="*/ 197762 h 356817"/>
                    <a:gd name="connsiteX137" fmla="*/ 62688 w 793779"/>
                    <a:gd name="connsiteY137" fmla="*/ 204727 h 356817"/>
                    <a:gd name="connsiteX138" fmla="*/ 59161 w 793779"/>
                    <a:gd name="connsiteY138" fmla="*/ 207108 h 356817"/>
                    <a:gd name="connsiteX139" fmla="*/ 50961 w 793779"/>
                    <a:gd name="connsiteY139" fmla="*/ 205961 h 356817"/>
                    <a:gd name="connsiteX140" fmla="*/ 56780 w 793779"/>
                    <a:gd name="connsiteY140" fmla="*/ 217952 h 356817"/>
                    <a:gd name="connsiteX141" fmla="*/ 60836 w 793779"/>
                    <a:gd name="connsiteY141" fmla="*/ 223507 h 356817"/>
                    <a:gd name="connsiteX142" fmla="*/ 61718 w 793779"/>
                    <a:gd name="connsiteY142" fmla="*/ 224124 h 356817"/>
                    <a:gd name="connsiteX143" fmla="*/ 69829 w 793779"/>
                    <a:gd name="connsiteY143" fmla="*/ 225270 h 356817"/>
                    <a:gd name="connsiteX144" fmla="*/ 68948 w 793779"/>
                    <a:gd name="connsiteY144" fmla="*/ 221744 h 356817"/>
                    <a:gd name="connsiteX145" fmla="*/ 69565 w 793779"/>
                    <a:gd name="connsiteY145" fmla="*/ 222361 h 356817"/>
                    <a:gd name="connsiteX146" fmla="*/ 68419 w 793779"/>
                    <a:gd name="connsiteY146" fmla="*/ 217423 h 356817"/>
                    <a:gd name="connsiteX147" fmla="*/ 71328 w 793779"/>
                    <a:gd name="connsiteY147" fmla="*/ 219187 h 356817"/>
                    <a:gd name="connsiteX148" fmla="*/ 74502 w 793779"/>
                    <a:gd name="connsiteY148" fmla="*/ 218922 h 356817"/>
                    <a:gd name="connsiteX149" fmla="*/ 73621 w 793779"/>
                    <a:gd name="connsiteY149" fmla="*/ 215748 h 356817"/>
                    <a:gd name="connsiteX150" fmla="*/ 78029 w 793779"/>
                    <a:gd name="connsiteY150" fmla="*/ 216365 h 356817"/>
                    <a:gd name="connsiteX151" fmla="*/ 77412 w 793779"/>
                    <a:gd name="connsiteY151" fmla="*/ 213720 h 356817"/>
                    <a:gd name="connsiteX152" fmla="*/ 80939 w 793779"/>
                    <a:gd name="connsiteY152" fmla="*/ 213720 h 356817"/>
                    <a:gd name="connsiteX153" fmla="*/ 83584 w 793779"/>
                    <a:gd name="connsiteY153" fmla="*/ 211692 h 356817"/>
                    <a:gd name="connsiteX154" fmla="*/ 86493 w 793779"/>
                    <a:gd name="connsiteY154" fmla="*/ 211692 h 356817"/>
                    <a:gd name="connsiteX155" fmla="*/ 90549 w 793779"/>
                    <a:gd name="connsiteY155" fmla="*/ 206402 h 356817"/>
                    <a:gd name="connsiteX156" fmla="*/ 92930 w 793779"/>
                    <a:gd name="connsiteY156" fmla="*/ 206402 h 356817"/>
                    <a:gd name="connsiteX157" fmla="*/ 95574 w 793779"/>
                    <a:gd name="connsiteY157" fmla="*/ 205521 h 356817"/>
                    <a:gd name="connsiteX158" fmla="*/ 97602 w 793779"/>
                    <a:gd name="connsiteY158" fmla="*/ 203140 h 356817"/>
                    <a:gd name="connsiteX159" fmla="*/ 102275 w 793779"/>
                    <a:gd name="connsiteY159" fmla="*/ 199349 h 356817"/>
                    <a:gd name="connsiteX160" fmla="*/ 108711 w 793779"/>
                    <a:gd name="connsiteY160" fmla="*/ 200230 h 356817"/>
                    <a:gd name="connsiteX161" fmla="*/ 110739 w 793779"/>
                    <a:gd name="connsiteY161" fmla="*/ 201994 h 356817"/>
                    <a:gd name="connsiteX162" fmla="*/ 114266 w 793779"/>
                    <a:gd name="connsiteY162" fmla="*/ 202611 h 356817"/>
                    <a:gd name="connsiteX163" fmla="*/ 114883 w 793779"/>
                    <a:gd name="connsiteY163" fmla="*/ 204374 h 356817"/>
                    <a:gd name="connsiteX164" fmla="*/ 118410 w 793779"/>
                    <a:gd name="connsiteY164" fmla="*/ 204991 h 356817"/>
                    <a:gd name="connsiteX165" fmla="*/ 121320 w 793779"/>
                    <a:gd name="connsiteY165" fmla="*/ 205609 h 356817"/>
                    <a:gd name="connsiteX166" fmla="*/ 119292 w 793779"/>
                    <a:gd name="connsiteY166" fmla="*/ 208254 h 356817"/>
                    <a:gd name="connsiteX167" fmla="*/ 124229 w 793779"/>
                    <a:gd name="connsiteY167" fmla="*/ 206490 h 356817"/>
                    <a:gd name="connsiteX168" fmla="*/ 126874 w 793779"/>
                    <a:gd name="connsiteY168" fmla="*/ 204991 h 356817"/>
                    <a:gd name="connsiteX169" fmla="*/ 129167 w 793779"/>
                    <a:gd name="connsiteY169" fmla="*/ 203228 h 356817"/>
                    <a:gd name="connsiteX170" fmla="*/ 132076 w 793779"/>
                    <a:gd name="connsiteY170" fmla="*/ 203845 h 356817"/>
                    <a:gd name="connsiteX171" fmla="*/ 134104 w 793779"/>
                    <a:gd name="connsiteY171" fmla="*/ 203845 h 356817"/>
                    <a:gd name="connsiteX172" fmla="*/ 137895 w 793779"/>
                    <a:gd name="connsiteY172" fmla="*/ 204463 h 356817"/>
                    <a:gd name="connsiteX173" fmla="*/ 141686 w 793779"/>
                    <a:gd name="connsiteY173" fmla="*/ 204463 h 356817"/>
                    <a:gd name="connsiteX174" fmla="*/ 142568 w 793779"/>
                    <a:gd name="connsiteY174" fmla="*/ 204463 h 356817"/>
                    <a:gd name="connsiteX175" fmla="*/ 144861 w 793779"/>
                    <a:gd name="connsiteY175" fmla="*/ 205609 h 356817"/>
                    <a:gd name="connsiteX176" fmla="*/ 145125 w 793779"/>
                    <a:gd name="connsiteY176" fmla="*/ 209135 h 356817"/>
                    <a:gd name="connsiteX177" fmla="*/ 145390 w 793779"/>
                    <a:gd name="connsiteY177" fmla="*/ 212045 h 356817"/>
                    <a:gd name="connsiteX178" fmla="*/ 146889 w 793779"/>
                    <a:gd name="connsiteY178" fmla="*/ 214955 h 356817"/>
                    <a:gd name="connsiteX179" fmla="*/ 148387 w 793779"/>
                    <a:gd name="connsiteY179" fmla="*/ 216101 h 356817"/>
                    <a:gd name="connsiteX180" fmla="*/ 150416 w 793779"/>
                    <a:gd name="connsiteY180" fmla="*/ 216718 h 356817"/>
                    <a:gd name="connsiteX181" fmla="*/ 151914 w 793779"/>
                    <a:gd name="connsiteY181" fmla="*/ 217335 h 356817"/>
                    <a:gd name="connsiteX182" fmla="*/ 152796 w 793779"/>
                    <a:gd name="connsiteY182" fmla="*/ 222008 h 356817"/>
                    <a:gd name="connsiteX183" fmla="*/ 153060 w 793779"/>
                    <a:gd name="connsiteY183" fmla="*/ 224389 h 356817"/>
                    <a:gd name="connsiteX184" fmla="*/ 153060 w 793779"/>
                    <a:gd name="connsiteY184" fmla="*/ 227034 h 356817"/>
                    <a:gd name="connsiteX185" fmla="*/ 151914 w 793779"/>
                    <a:gd name="connsiteY185" fmla="*/ 228180 h 356817"/>
                    <a:gd name="connsiteX186" fmla="*/ 149887 w 793779"/>
                    <a:gd name="connsiteY186" fmla="*/ 229679 h 356817"/>
                    <a:gd name="connsiteX187" fmla="*/ 149005 w 793779"/>
                    <a:gd name="connsiteY187" fmla="*/ 229943 h 356817"/>
                    <a:gd name="connsiteX188" fmla="*/ 148387 w 793779"/>
                    <a:gd name="connsiteY188" fmla="*/ 232853 h 356817"/>
                    <a:gd name="connsiteX189" fmla="*/ 149269 w 793779"/>
                    <a:gd name="connsiteY189" fmla="*/ 234616 h 356817"/>
                    <a:gd name="connsiteX190" fmla="*/ 151561 w 793779"/>
                    <a:gd name="connsiteY190" fmla="*/ 235498 h 356817"/>
                    <a:gd name="connsiteX191" fmla="*/ 151561 w 793779"/>
                    <a:gd name="connsiteY191" fmla="*/ 237526 h 356817"/>
                    <a:gd name="connsiteX192" fmla="*/ 153060 w 793779"/>
                    <a:gd name="connsiteY192" fmla="*/ 238936 h 356817"/>
                    <a:gd name="connsiteX193" fmla="*/ 155705 w 793779"/>
                    <a:gd name="connsiteY193" fmla="*/ 240964 h 356817"/>
                    <a:gd name="connsiteX194" fmla="*/ 153325 w 793779"/>
                    <a:gd name="connsiteY194" fmla="*/ 241581 h 356817"/>
                    <a:gd name="connsiteX195" fmla="*/ 150416 w 793779"/>
                    <a:gd name="connsiteY195" fmla="*/ 242463 h 356817"/>
                    <a:gd name="connsiteX196" fmla="*/ 147506 w 793779"/>
                    <a:gd name="connsiteY196" fmla="*/ 242463 h 356817"/>
                    <a:gd name="connsiteX197" fmla="*/ 146007 w 793779"/>
                    <a:gd name="connsiteY197" fmla="*/ 241581 h 356817"/>
                    <a:gd name="connsiteX198" fmla="*/ 144244 w 793779"/>
                    <a:gd name="connsiteY198" fmla="*/ 241317 h 356817"/>
                    <a:gd name="connsiteX199" fmla="*/ 141951 w 793779"/>
                    <a:gd name="connsiteY199" fmla="*/ 240788 h 356817"/>
                    <a:gd name="connsiteX200" fmla="*/ 140188 w 793779"/>
                    <a:gd name="connsiteY200" fmla="*/ 240788 h 356817"/>
                    <a:gd name="connsiteX201" fmla="*/ 137895 w 793779"/>
                    <a:gd name="connsiteY201" fmla="*/ 240171 h 356817"/>
                    <a:gd name="connsiteX202" fmla="*/ 134104 w 793779"/>
                    <a:gd name="connsiteY202" fmla="*/ 240435 h 356817"/>
                    <a:gd name="connsiteX203" fmla="*/ 132958 w 793779"/>
                    <a:gd name="connsiteY203" fmla="*/ 240435 h 356817"/>
                    <a:gd name="connsiteX204" fmla="*/ 128814 w 793779"/>
                    <a:gd name="connsiteY204" fmla="*/ 241581 h 356817"/>
                    <a:gd name="connsiteX205" fmla="*/ 126169 w 793779"/>
                    <a:gd name="connsiteY205" fmla="*/ 240964 h 356817"/>
                    <a:gd name="connsiteX206" fmla="*/ 122642 w 793779"/>
                    <a:gd name="connsiteY206" fmla="*/ 244227 h 356817"/>
                    <a:gd name="connsiteX207" fmla="*/ 119468 w 793779"/>
                    <a:gd name="connsiteY207" fmla="*/ 242463 h 356817"/>
                    <a:gd name="connsiteX208" fmla="*/ 116823 w 793779"/>
                    <a:gd name="connsiteY208" fmla="*/ 242992 h 356817"/>
                    <a:gd name="connsiteX209" fmla="*/ 118322 w 793779"/>
                    <a:gd name="connsiteY209" fmla="*/ 249693 h 356817"/>
                    <a:gd name="connsiteX210" fmla="*/ 118057 w 793779"/>
                    <a:gd name="connsiteY210" fmla="*/ 251104 h 356817"/>
                    <a:gd name="connsiteX211" fmla="*/ 116030 w 793779"/>
                    <a:gd name="connsiteY211" fmla="*/ 251104 h 356817"/>
                    <a:gd name="connsiteX212" fmla="*/ 113737 w 793779"/>
                    <a:gd name="connsiteY212" fmla="*/ 252867 h 356817"/>
                    <a:gd name="connsiteX213" fmla="*/ 114619 w 793779"/>
                    <a:gd name="connsiteY213" fmla="*/ 256394 h 356817"/>
                    <a:gd name="connsiteX214" fmla="*/ 123612 w 793779"/>
                    <a:gd name="connsiteY214" fmla="*/ 261067 h 356817"/>
                    <a:gd name="connsiteX215" fmla="*/ 124758 w 793779"/>
                    <a:gd name="connsiteY215" fmla="*/ 263712 h 356817"/>
                    <a:gd name="connsiteX216" fmla="*/ 121848 w 793779"/>
                    <a:gd name="connsiteY216" fmla="*/ 263712 h 356817"/>
                    <a:gd name="connsiteX217" fmla="*/ 119468 w 793779"/>
                    <a:gd name="connsiteY217" fmla="*/ 264858 h 356817"/>
                    <a:gd name="connsiteX218" fmla="*/ 112150 w 793779"/>
                    <a:gd name="connsiteY218" fmla="*/ 261067 h 356817"/>
                    <a:gd name="connsiteX219" fmla="*/ 109241 w 793779"/>
                    <a:gd name="connsiteY219" fmla="*/ 261067 h 356817"/>
                    <a:gd name="connsiteX220" fmla="*/ 106948 w 793779"/>
                    <a:gd name="connsiteY220" fmla="*/ 261067 h 356817"/>
                    <a:gd name="connsiteX221" fmla="*/ 106331 w 793779"/>
                    <a:gd name="connsiteY221" fmla="*/ 261067 h 356817"/>
                    <a:gd name="connsiteX222" fmla="*/ 104303 w 793779"/>
                    <a:gd name="connsiteY222" fmla="*/ 261067 h 356817"/>
                    <a:gd name="connsiteX223" fmla="*/ 101394 w 793779"/>
                    <a:gd name="connsiteY223" fmla="*/ 261067 h 356817"/>
                    <a:gd name="connsiteX224" fmla="*/ 102275 w 793779"/>
                    <a:gd name="connsiteY224" fmla="*/ 264858 h 356817"/>
                    <a:gd name="connsiteX225" fmla="*/ 102804 w 793779"/>
                    <a:gd name="connsiteY225" fmla="*/ 267150 h 356817"/>
                    <a:gd name="connsiteX226" fmla="*/ 106067 w 793779"/>
                    <a:gd name="connsiteY226" fmla="*/ 267767 h 356817"/>
                    <a:gd name="connsiteX227" fmla="*/ 108624 w 793779"/>
                    <a:gd name="connsiteY227" fmla="*/ 268032 h 356817"/>
                    <a:gd name="connsiteX228" fmla="*/ 109505 w 793779"/>
                    <a:gd name="connsiteY228" fmla="*/ 268561 h 356817"/>
                    <a:gd name="connsiteX229" fmla="*/ 110916 w 793779"/>
                    <a:gd name="connsiteY229" fmla="*/ 268825 h 356817"/>
                    <a:gd name="connsiteX230" fmla="*/ 114443 w 793779"/>
                    <a:gd name="connsiteY230" fmla="*/ 270853 h 356817"/>
                    <a:gd name="connsiteX231" fmla="*/ 116999 w 793779"/>
                    <a:gd name="connsiteY231" fmla="*/ 273146 h 356817"/>
                    <a:gd name="connsiteX232" fmla="*/ 116999 w 793779"/>
                    <a:gd name="connsiteY232" fmla="*/ 275526 h 356817"/>
                    <a:gd name="connsiteX233" fmla="*/ 116470 w 793779"/>
                    <a:gd name="connsiteY233" fmla="*/ 279053 h 356817"/>
                    <a:gd name="connsiteX234" fmla="*/ 120262 w 793779"/>
                    <a:gd name="connsiteY234" fmla="*/ 280199 h 356817"/>
                    <a:gd name="connsiteX235" fmla="*/ 121761 w 793779"/>
                    <a:gd name="connsiteY235" fmla="*/ 280199 h 356817"/>
                    <a:gd name="connsiteX236" fmla="*/ 123171 w 793779"/>
                    <a:gd name="connsiteY236" fmla="*/ 280816 h 356817"/>
                    <a:gd name="connsiteX237" fmla="*/ 127580 w 793779"/>
                    <a:gd name="connsiteY237" fmla="*/ 287253 h 356817"/>
                    <a:gd name="connsiteX238" fmla="*/ 129078 w 793779"/>
                    <a:gd name="connsiteY238" fmla="*/ 293336 h 356817"/>
                    <a:gd name="connsiteX239" fmla="*/ 132253 w 793779"/>
                    <a:gd name="connsiteY239" fmla="*/ 295717 h 356817"/>
                    <a:gd name="connsiteX240" fmla="*/ 133134 w 793779"/>
                    <a:gd name="connsiteY240" fmla="*/ 297745 h 356817"/>
                    <a:gd name="connsiteX241" fmla="*/ 136044 w 793779"/>
                    <a:gd name="connsiteY241" fmla="*/ 298009 h 356817"/>
                    <a:gd name="connsiteX242" fmla="*/ 136661 w 793779"/>
                    <a:gd name="connsiteY242" fmla="*/ 300654 h 356817"/>
                    <a:gd name="connsiteX243" fmla="*/ 142480 w 793779"/>
                    <a:gd name="connsiteY243" fmla="*/ 301271 h 356817"/>
                    <a:gd name="connsiteX244" fmla="*/ 146007 w 793779"/>
                    <a:gd name="connsiteY244" fmla="*/ 303299 h 356817"/>
                    <a:gd name="connsiteX245" fmla="*/ 146271 w 793779"/>
                    <a:gd name="connsiteY245" fmla="*/ 303035 h 356817"/>
                    <a:gd name="connsiteX246" fmla="*/ 148652 w 793779"/>
                    <a:gd name="connsiteY246" fmla="*/ 305063 h 356817"/>
                    <a:gd name="connsiteX247" fmla="*/ 149798 w 793779"/>
                    <a:gd name="connsiteY247" fmla="*/ 304181 h 356817"/>
                    <a:gd name="connsiteX248" fmla="*/ 150944 w 793779"/>
                    <a:gd name="connsiteY248" fmla="*/ 304445 h 356817"/>
                    <a:gd name="connsiteX249" fmla="*/ 153589 w 793779"/>
                    <a:gd name="connsiteY249" fmla="*/ 305327 h 356817"/>
                    <a:gd name="connsiteX250" fmla="*/ 156499 w 793779"/>
                    <a:gd name="connsiteY250" fmla="*/ 303828 h 356817"/>
                    <a:gd name="connsiteX251" fmla="*/ 157116 w 793779"/>
                    <a:gd name="connsiteY251" fmla="*/ 305327 h 356817"/>
                    <a:gd name="connsiteX252" fmla="*/ 158262 w 793779"/>
                    <a:gd name="connsiteY252" fmla="*/ 306826 h 356817"/>
                    <a:gd name="connsiteX253" fmla="*/ 160290 w 793779"/>
                    <a:gd name="connsiteY253" fmla="*/ 309207 h 356817"/>
                    <a:gd name="connsiteX254" fmla="*/ 161437 w 793779"/>
                    <a:gd name="connsiteY254" fmla="*/ 311499 h 356817"/>
                    <a:gd name="connsiteX255" fmla="*/ 161966 w 793779"/>
                    <a:gd name="connsiteY255" fmla="*/ 314144 h 356817"/>
                    <a:gd name="connsiteX256" fmla="*/ 160819 w 793779"/>
                    <a:gd name="connsiteY256" fmla="*/ 317671 h 356817"/>
                    <a:gd name="connsiteX257" fmla="*/ 158174 w 793779"/>
                    <a:gd name="connsiteY257" fmla="*/ 320845 h 356817"/>
                    <a:gd name="connsiteX258" fmla="*/ 163112 w 793779"/>
                    <a:gd name="connsiteY258" fmla="*/ 318817 h 356817"/>
                    <a:gd name="connsiteX259" fmla="*/ 170958 w 793779"/>
                    <a:gd name="connsiteY259" fmla="*/ 317935 h 356817"/>
                    <a:gd name="connsiteX260" fmla="*/ 175984 w 793779"/>
                    <a:gd name="connsiteY260" fmla="*/ 314761 h 356817"/>
                    <a:gd name="connsiteX261" fmla="*/ 184713 w 793779"/>
                    <a:gd name="connsiteY261" fmla="*/ 315378 h 356817"/>
                    <a:gd name="connsiteX262" fmla="*/ 192912 w 793779"/>
                    <a:gd name="connsiteY262" fmla="*/ 311587 h 356817"/>
                    <a:gd name="connsiteX263" fmla="*/ 197321 w 793779"/>
                    <a:gd name="connsiteY263" fmla="*/ 308678 h 356817"/>
                    <a:gd name="connsiteX264" fmla="*/ 201729 w 793779"/>
                    <a:gd name="connsiteY264" fmla="*/ 312204 h 356817"/>
                    <a:gd name="connsiteX265" fmla="*/ 206666 w 793779"/>
                    <a:gd name="connsiteY265" fmla="*/ 317406 h 356817"/>
                    <a:gd name="connsiteX266" fmla="*/ 213985 w 793779"/>
                    <a:gd name="connsiteY266" fmla="*/ 322961 h 356817"/>
                    <a:gd name="connsiteX267" fmla="*/ 215483 w 793779"/>
                    <a:gd name="connsiteY267" fmla="*/ 327898 h 356817"/>
                    <a:gd name="connsiteX268" fmla="*/ 222184 w 793779"/>
                    <a:gd name="connsiteY268" fmla="*/ 336627 h 356817"/>
                    <a:gd name="connsiteX269" fmla="*/ 227122 w 793779"/>
                    <a:gd name="connsiteY269" fmla="*/ 338390 h 356817"/>
                    <a:gd name="connsiteX270" fmla="*/ 231442 w 793779"/>
                    <a:gd name="connsiteY270" fmla="*/ 335481 h 356817"/>
                    <a:gd name="connsiteX271" fmla="*/ 237261 w 793779"/>
                    <a:gd name="connsiteY271" fmla="*/ 336980 h 356817"/>
                    <a:gd name="connsiteX272" fmla="*/ 209312 w 793779"/>
                    <a:gd name="connsiteY272" fmla="*/ 246519 h 356817"/>
                    <a:gd name="connsiteX273" fmla="*/ 253043 w 793779"/>
                    <a:gd name="connsiteY273" fmla="*/ 230208 h 356817"/>
                    <a:gd name="connsiteX274" fmla="*/ 257716 w 793779"/>
                    <a:gd name="connsiteY274" fmla="*/ 231089 h 356817"/>
                    <a:gd name="connsiteX275" fmla="*/ 269355 w 793779"/>
                    <a:gd name="connsiteY275" fmla="*/ 233470 h 356817"/>
                    <a:gd name="connsiteX276" fmla="*/ 270236 w 793779"/>
                    <a:gd name="connsiteY276" fmla="*/ 228532 h 356817"/>
                    <a:gd name="connsiteX277" fmla="*/ 269355 w 793779"/>
                    <a:gd name="connsiteY277" fmla="*/ 222449 h 356817"/>
                    <a:gd name="connsiteX278" fmla="*/ 272000 w 793779"/>
                    <a:gd name="connsiteY278" fmla="*/ 220421 h 356817"/>
                    <a:gd name="connsiteX279" fmla="*/ 274644 w 793779"/>
                    <a:gd name="connsiteY279" fmla="*/ 222449 h 356817"/>
                    <a:gd name="connsiteX280" fmla="*/ 279935 w 793779"/>
                    <a:gd name="connsiteY280" fmla="*/ 221832 h 356817"/>
                    <a:gd name="connsiteX281" fmla="*/ 282580 w 793779"/>
                    <a:gd name="connsiteY281" fmla="*/ 218922 h 356817"/>
                    <a:gd name="connsiteX282" fmla="*/ 284608 w 793779"/>
                    <a:gd name="connsiteY282" fmla="*/ 223331 h 356817"/>
                    <a:gd name="connsiteX283" fmla="*/ 290162 w 793779"/>
                    <a:gd name="connsiteY283" fmla="*/ 220685 h 356817"/>
                    <a:gd name="connsiteX284" fmla="*/ 294571 w 793779"/>
                    <a:gd name="connsiteY284" fmla="*/ 218393 h 356817"/>
                    <a:gd name="connsiteX285" fmla="*/ 292807 w 793779"/>
                    <a:gd name="connsiteY285" fmla="*/ 216982 h 356817"/>
                    <a:gd name="connsiteX286" fmla="*/ 290162 w 793779"/>
                    <a:gd name="connsiteY286" fmla="*/ 217864 h 356817"/>
                    <a:gd name="connsiteX287" fmla="*/ 288134 w 793779"/>
                    <a:gd name="connsiteY287" fmla="*/ 217864 h 356817"/>
                    <a:gd name="connsiteX288" fmla="*/ 286371 w 793779"/>
                    <a:gd name="connsiteY288" fmla="*/ 217247 h 356817"/>
                    <a:gd name="connsiteX289" fmla="*/ 283726 w 793779"/>
                    <a:gd name="connsiteY289" fmla="*/ 214073 h 356817"/>
                    <a:gd name="connsiteX290" fmla="*/ 282580 w 793779"/>
                    <a:gd name="connsiteY290" fmla="*/ 212309 h 356817"/>
                    <a:gd name="connsiteX291" fmla="*/ 283197 w 793779"/>
                    <a:gd name="connsiteY291" fmla="*/ 210017 h 356817"/>
                    <a:gd name="connsiteX292" fmla="*/ 284960 w 793779"/>
                    <a:gd name="connsiteY292" fmla="*/ 207989 h 356817"/>
                    <a:gd name="connsiteX293" fmla="*/ 287252 w 793779"/>
                    <a:gd name="connsiteY293" fmla="*/ 210282 h 356817"/>
                    <a:gd name="connsiteX294" fmla="*/ 289897 w 793779"/>
                    <a:gd name="connsiteY294" fmla="*/ 207989 h 356817"/>
                    <a:gd name="connsiteX295" fmla="*/ 291926 w 793779"/>
                    <a:gd name="connsiteY295" fmla="*/ 207989 h 356817"/>
                    <a:gd name="connsiteX296" fmla="*/ 294571 w 793779"/>
                    <a:gd name="connsiteY296" fmla="*/ 207989 h 356817"/>
                    <a:gd name="connsiteX297" fmla="*/ 295717 w 793779"/>
                    <a:gd name="connsiteY297" fmla="*/ 210017 h 356817"/>
                    <a:gd name="connsiteX298" fmla="*/ 295100 w 793779"/>
                    <a:gd name="connsiteY298" fmla="*/ 212662 h 356817"/>
                    <a:gd name="connsiteX299" fmla="*/ 296863 w 793779"/>
                    <a:gd name="connsiteY299" fmla="*/ 212662 h 356817"/>
                    <a:gd name="connsiteX300" fmla="*/ 299508 w 793779"/>
                    <a:gd name="connsiteY300" fmla="*/ 209488 h 356817"/>
                    <a:gd name="connsiteX301" fmla="*/ 301271 w 793779"/>
                    <a:gd name="connsiteY301" fmla="*/ 210634 h 356817"/>
                    <a:gd name="connsiteX302" fmla="*/ 304181 w 793779"/>
                    <a:gd name="connsiteY302" fmla="*/ 210634 h 356817"/>
                    <a:gd name="connsiteX303" fmla="*/ 305063 w 793779"/>
                    <a:gd name="connsiteY303" fmla="*/ 212398 h 356817"/>
                    <a:gd name="connsiteX304" fmla="*/ 303035 w 793779"/>
                    <a:gd name="connsiteY304" fmla="*/ 216189 h 356817"/>
                    <a:gd name="connsiteX305" fmla="*/ 305063 w 793779"/>
                    <a:gd name="connsiteY305" fmla="*/ 215924 h 356817"/>
                    <a:gd name="connsiteX306" fmla="*/ 305063 w 793779"/>
                    <a:gd name="connsiteY306" fmla="*/ 219098 h 356817"/>
                    <a:gd name="connsiteX307" fmla="*/ 307090 w 793779"/>
                    <a:gd name="connsiteY307" fmla="*/ 218217 h 356817"/>
                    <a:gd name="connsiteX308" fmla="*/ 307972 w 793779"/>
                    <a:gd name="connsiteY308" fmla="*/ 216453 h 356817"/>
                    <a:gd name="connsiteX309" fmla="*/ 309735 w 793779"/>
                    <a:gd name="connsiteY309" fmla="*/ 218746 h 356817"/>
                    <a:gd name="connsiteX310" fmla="*/ 305944 w 793779"/>
                    <a:gd name="connsiteY310" fmla="*/ 221126 h 356817"/>
                    <a:gd name="connsiteX311" fmla="*/ 309119 w 793779"/>
                    <a:gd name="connsiteY311" fmla="*/ 222890 h 356817"/>
                    <a:gd name="connsiteX312" fmla="*/ 304710 w 793779"/>
                    <a:gd name="connsiteY312" fmla="*/ 223771 h 356817"/>
                    <a:gd name="connsiteX313" fmla="*/ 301536 w 793779"/>
                    <a:gd name="connsiteY313" fmla="*/ 223419 h 356817"/>
                    <a:gd name="connsiteX314" fmla="*/ 295717 w 793779"/>
                    <a:gd name="connsiteY314" fmla="*/ 222273 h 356817"/>
                    <a:gd name="connsiteX315" fmla="*/ 293689 w 793779"/>
                    <a:gd name="connsiteY315" fmla="*/ 223419 h 356817"/>
                    <a:gd name="connsiteX316" fmla="*/ 296598 w 793779"/>
                    <a:gd name="connsiteY316" fmla="*/ 228709 h 356817"/>
                    <a:gd name="connsiteX317" fmla="*/ 296069 w 793779"/>
                    <a:gd name="connsiteY317" fmla="*/ 231001 h 356817"/>
                    <a:gd name="connsiteX318" fmla="*/ 298362 w 793779"/>
                    <a:gd name="connsiteY318" fmla="*/ 234528 h 356817"/>
                    <a:gd name="connsiteX319" fmla="*/ 300125 w 793779"/>
                    <a:gd name="connsiteY319" fmla="*/ 235674 h 356817"/>
                    <a:gd name="connsiteX320" fmla="*/ 300125 w 793779"/>
                    <a:gd name="connsiteY320" fmla="*/ 238055 h 356817"/>
                    <a:gd name="connsiteX321" fmla="*/ 300125 w 793779"/>
                    <a:gd name="connsiteY321" fmla="*/ 239818 h 356817"/>
                    <a:gd name="connsiteX322" fmla="*/ 302153 w 793779"/>
                    <a:gd name="connsiteY322" fmla="*/ 240700 h 356817"/>
                    <a:gd name="connsiteX323" fmla="*/ 304181 w 793779"/>
                    <a:gd name="connsiteY323" fmla="*/ 244227 h 356817"/>
                    <a:gd name="connsiteX324" fmla="*/ 303035 w 793779"/>
                    <a:gd name="connsiteY324" fmla="*/ 244491 h 356817"/>
                    <a:gd name="connsiteX325" fmla="*/ 302418 w 793779"/>
                    <a:gd name="connsiteY325" fmla="*/ 246519 h 356817"/>
                    <a:gd name="connsiteX326" fmla="*/ 303652 w 793779"/>
                    <a:gd name="connsiteY326" fmla="*/ 248018 h 356817"/>
                    <a:gd name="connsiteX327" fmla="*/ 305151 w 793779"/>
                    <a:gd name="connsiteY327" fmla="*/ 252074 h 356817"/>
                    <a:gd name="connsiteX328" fmla="*/ 310706 w 793779"/>
                    <a:gd name="connsiteY328" fmla="*/ 256746 h 356817"/>
                    <a:gd name="connsiteX329" fmla="*/ 311587 w 793779"/>
                    <a:gd name="connsiteY329" fmla="*/ 262301 h 356817"/>
                    <a:gd name="connsiteX330" fmla="*/ 314232 w 793779"/>
                    <a:gd name="connsiteY330" fmla="*/ 265475 h 356817"/>
                    <a:gd name="connsiteX331" fmla="*/ 322079 w 793779"/>
                    <a:gd name="connsiteY331" fmla="*/ 271030 h 356817"/>
                    <a:gd name="connsiteX332" fmla="*/ 324372 w 793779"/>
                    <a:gd name="connsiteY332" fmla="*/ 274556 h 356817"/>
                    <a:gd name="connsiteX333" fmla="*/ 341564 w 793779"/>
                    <a:gd name="connsiteY333" fmla="*/ 283902 h 356817"/>
                    <a:gd name="connsiteX334" fmla="*/ 358140 w 793779"/>
                    <a:gd name="connsiteY334" fmla="*/ 282756 h 356817"/>
                    <a:gd name="connsiteX335" fmla="*/ 382033 w 793779"/>
                    <a:gd name="connsiteY335" fmla="*/ 283902 h 356817"/>
                    <a:gd name="connsiteX336" fmla="*/ 396934 w 793779"/>
                    <a:gd name="connsiteY336" fmla="*/ 279229 h 356817"/>
                    <a:gd name="connsiteX337" fmla="*/ 402224 w 793779"/>
                    <a:gd name="connsiteY337" fmla="*/ 278348 h 356817"/>
                    <a:gd name="connsiteX338" fmla="*/ 407514 w 793779"/>
                    <a:gd name="connsiteY338" fmla="*/ 285048 h 356817"/>
                    <a:gd name="connsiteX339" fmla="*/ 411570 w 793779"/>
                    <a:gd name="connsiteY339" fmla="*/ 285048 h 356817"/>
                    <a:gd name="connsiteX340" fmla="*/ 418888 w 793779"/>
                    <a:gd name="connsiteY340" fmla="*/ 289986 h 356817"/>
                    <a:gd name="connsiteX341" fmla="*/ 423825 w 793779"/>
                    <a:gd name="connsiteY341" fmla="*/ 298450 h 356817"/>
                    <a:gd name="connsiteX342" fmla="*/ 427352 w 793779"/>
                    <a:gd name="connsiteY342" fmla="*/ 298450 h 356817"/>
                    <a:gd name="connsiteX343" fmla="*/ 429997 w 793779"/>
                    <a:gd name="connsiteY343" fmla="*/ 319170 h 356817"/>
                    <a:gd name="connsiteX344" fmla="*/ 444280 w 793779"/>
                    <a:gd name="connsiteY344" fmla="*/ 322696 h 356817"/>
                    <a:gd name="connsiteX345" fmla="*/ 447190 w 793779"/>
                    <a:gd name="connsiteY345" fmla="*/ 329397 h 356817"/>
                    <a:gd name="connsiteX346" fmla="*/ 447807 w 793779"/>
                    <a:gd name="connsiteY346" fmla="*/ 341388 h 356817"/>
                    <a:gd name="connsiteX347" fmla="*/ 454243 w 793779"/>
                    <a:gd name="connsiteY347" fmla="*/ 344298 h 356817"/>
                    <a:gd name="connsiteX348" fmla="*/ 471701 w 793779"/>
                    <a:gd name="connsiteY348" fmla="*/ 341388 h 356817"/>
                    <a:gd name="connsiteX349" fmla="*/ 477784 w 793779"/>
                    <a:gd name="connsiteY349" fmla="*/ 338743 h 356817"/>
                    <a:gd name="connsiteX350" fmla="*/ 480430 w 793779"/>
                    <a:gd name="connsiteY350" fmla="*/ 347207 h 356817"/>
                    <a:gd name="connsiteX351" fmla="*/ 482193 w 793779"/>
                    <a:gd name="connsiteY351" fmla="*/ 351880 h 356817"/>
                    <a:gd name="connsiteX352" fmla="*/ 488365 w 793779"/>
                    <a:gd name="connsiteY352" fmla="*/ 356817 h 356817"/>
                    <a:gd name="connsiteX353" fmla="*/ 492773 w 793779"/>
                    <a:gd name="connsiteY353" fmla="*/ 354172 h 356817"/>
                    <a:gd name="connsiteX354" fmla="*/ 492773 w 793779"/>
                    <a:gd name="connsiteY354" fmla="*/ 348001 h 356817"/>
                    <a:gd name="connsiteX355" fmla="*/ 497181 w 793779"/>
                    <a:gd name="connsiteY355" fmla="*/ 345356 h 356817"/>
                    <a:gd name="connsiteX356" fmla="*/ 498592 w 793779"/>
                    <a:gd name="connsiteY356" fmla="*/ 342446 h 356817"/>
                    <a:gd name="connsiteX357" fmla="*/ 502119 w 793779"/>
                    <a:gd name="connsiteY357" fmla="*/ 338655 h 356817"/>
                    <a:gd name="connsiteX358" fmla="*/ 500356 w 793779"/>
                    <a:gd name="connsiteY358" fmla="*/ 333100 h 356817"/>
                    <a:gd name="connsiteX359" fmla="*/ 517284 w 793779"/>
                    <a:gd name="connsiteY359" fmla="*/ 324636 h 356817"/>
                    <a:gd name="connsiteX360" fmla="*/ 516755 w 793779"/>
                    <a:gd name="connsiteY360" fmla="*/ 322608 h 356817"/>
                    <a:gd name="connsiteX361" fmla="*/ 529363 w 793779"/>
                    <a:gd name="connsiteY361" fmla="*/ 309118 h 356817"/>
                    <a:gd name="connsiteX362" fmla="*/ 530156 w 793779"/>
                    <a:gd name="connsiteY362" fmla="*/ 305327 h 356817"/>
                    <a:gd name="connsiteX363" fmla="*/ 540384 w 793779"/>
                    <a:gd name="connsiteY363" fmla="*/ 301800 h 356817"/>
                    <a:gd name="connsiteX364" fmla="*/ 555549 w 793779"/>
                    <a:gd name="connsiteY364" fmla="*/ 303299 h 356817"/>
                    <a:gd name="connsiteX365" fmla="*/ 567804 w 793779"/>
                    <a:gd name="connsiteY365" fmla="*/ 307090 h 356817"/>
                    <a:gd name="connsiteX366" fmla="*/ 575387 w 793779"/>
                    <a:gd name="connsiteY366" fmla="*/ 307090 h 356817"/>
                    <a:gd name="connsiteX367" fmla="*/ 582352 w 793779"/>
                    <a:gd name="connsiteY367" fmla="*/ 310617 h 356817"/>
                    <a:gd name="connsiteX368" fmla="*/ 578296 w 793779"/>
                    <a:gd name="connsiteY368" fmla="*/ 298362 h 356817"/>
                    <a:gd name="connsiteX369" fmla="*/ 583586 w 793779"/>
                    <a:gd name="connsiteY369" fmla="*/ 296598 h 356817"/>
                    <a:gd name="connsiteX370" fmla="*/ 587378 w 793779"/>
                    <a:gd name="connsiteY370" fmla="*/ 291044 h 356817"/>
                    <a:gd name="connsiteX371" fmla="*/ 601396 w 793779"/>
                    <a:gd name="connsiteY371" fmla="*/ 296598 h 356817"/>
                    <a:gd name="connsiteX372" fmla="*/ 622116 w 793779"/>
                    <a:gd name="connsiteY372" fmla="*/ 300125 h 356817"/>
                    <a:gd name="connsiteX373" fmla="*/ 625290 w 793779"/>
                    <a:gd name="connsiteY373" fmla="*/ 298362 h 356817"/>
                    <a:gd name="connsiteX374" fmla="*/ 679249 w 793779"/>
                    <a:gd name="connsiteY374" fmla="*/ 298362 h 356817"/>
                    <a:gd name="connsiteX375" fmla="*/ 689741 w 793779"/>
                    <a:gd name="connsiteY375" fmla="*/ 303299 h 356817"/>
                    <a:gd name="connsiteX376" fmla="*/ 695560 w 793779"/>
                    <a:gd name="connsiteY376" fmla="*/ 303299 h 356817"/>
                    <a:gd name="connsiteX377" fmla="*/ 700233 w 793779"/>
                    <a:gd name="connsiteY377" fmla="*/ 310617 h 356817"/>
                    <a:gd name="connsiteX378" fmla="*/ 711343 w 793779"/>
                    <a:gd name="connsiteY378" fmla="*/ 310617 h 356817"/>
                    <a:gd name="connsiteX379" fmla="*/ 711343 w 793779"/>
                    <a:gd name="connsiteY379" fmla="*/ 305327 h 356817"/>
                    <a:gd name="connsiteX380" fmla="*/ 717162 w 793779"/>
                    <a:gd name="connsiteY380" fmla="*/ 303916 h 356817"/>
                    <a:gd name="connsiteX381" fmla="*/ 713106 w 793779"/>
                    <a:gd name="connsiteY381" fmla="*/ 300125 h 356817"/>
                    <a:gd name="connsiteX382" fmla="*/ 718660 w 793779"/>
                    <a:gd name="connsiteY382" fmla="*/ 297216 h 356817"/>
                    <a:gd name="connsiteX383" fmla="*/ 716897 w 793779"/>
                    <a:gd name="connsiteY383" fmla="*/ 292807 h 356817"/>
                    <a:gd name="connsiteX384" fmla="*/ 715134 w 793779"/>
                    <a:gd name="connsiteY384" fmla="*/ 292543 h 356817"/>
                    <a:gd name="connsiteX385" fmla="*/ 714517 w 793779"/>
                    <a:gd name="connsiteY385" fmla="*/ 289016 h 356817"/>
                    <a:gd name="connsiteX386" fmla="*/ 702526 w 793779"/>
                    <a:gd name="connsiteY386" fmla="*/ 272969 h 356817"/>
                    <a:gd name="connsiteX387" fmla="*/ 697324 w 793779"/>
                    <a:gd name="connsiteY387" fmla="*/ 265122 h 356817"/>
                    <a:gd name="connsiteX388" fmla="*/ 697941 w 793779"/>
                    <a:gd name="connsiteY388" fmla="*/ 260714 h 356817"/>
                    <a:gd name="connsiteX389" fmla="*/ 699351 w 793779"/>
                    <a:gd name="connsiteY389" fmla="*/ 258951 h 356817"/>
                    <a:gd name="connsiteX390" fmla="*/ 692651 w 793779"/>
                    <a:gd name="connsiteY390" fmla="*/ 256041 h 356817"/>
                    <a:gd name="connsiteX391" fmla="*/ 688243 w 793779"/>
                    <a:gd name="connsiteY391" fmla="*/ 256570 h 356817"/>
                    <a:gd name="connsiteX392" fmla="*/ 684187 w 793779"/>
                    <a:gd name="connsiteY392" fmla="*/ 253396 h 356817"/>
                    <a:gd name="connsiteX393" fmla="*/ 687714 w 793779"/>
                    <a:gd name="connsiteY393" fmla="*/ 250486 h 356817"/>
                    <a:gd name="connsiteX394" fmla="*/ 704906 w 793779"/>
                    <a:gd name="connsiteY394" fmla="*/ 247577 h 356817"/>
                    <a:gd name="connsiteX395" fmla="*/ 716015 w 793779"/>
                    <a:gd name="connsiteY395" fmla="*/ 243168 h 356817"/>
                    <a:gd name="connsiteX396" fmla="*/ 722981 w 793779"/>
                    <a:gd name="connsiteY396" fmla="*/ 247841 h 356817"/>
                    <a:gd name="connsiteX397" fmla="*/ 729681 w 793779"/>
                    <a:gd name="connsiteY397" fmla="*/ 245813 h 356817"/>
                    <a:gd name="connsiteX398" fmla="*/ 735236 w 793779"/>
                    <a:gd name="connsiteY398" fmla="*/ 248723 h 356817"/>
                    <a:gd name="connsiteX399" fmla="*/ 733473 w 793779"/>
                    <a:gd name="connsiteY399" fmla="*/ 240876 h 356817"/>
                    <a:gd name="connsiteX400" fmla="*/ 726772 w 793779"/>
                    <a:gd name="connsiteY400" fmla="*/ 238231 h 356817"/>
                    <a:gd name="connsiteX401" fmla="*/ 725361 w 793779"/>
                    <a:gd name="connsiteY401" fmla="*/ 203493 h 356817"/>
                    <a:gd name="connsiteX402" fmla="*/ 724215 w 793779"/>
                    <a:gd name="connsiteY402" fmla="*/ 197673 h 356817"/>
                    <a:gd name="connsiteX403" fmla="*/ 743789 w 793779"/>
                    <a:gd name="connsiteY403" fmla="*/ 203493 h 356817"/>
                    <a:gd name="connsiteX404" fmla="*/ 756926 w 793779"/>
                    <a:gd name="connsiteY404" fmla="*/ 202876 h 356817"/>
                    <a:gd name="connsiteX405" fmla="*/ 760453 w 793779"/>
                    <a:gd name="connsiteY405" fmla="*/ 204639 h 356817"/>
                    <a:gd name="connsiteX406" fmla="*/ 760188 w 793779"/>
                    <a:gd name="connsiteY406" fmla="*/ 206931 h 356817"/>
                    <a:gd name="connsiteX407" fmla="*/ 763715 w 793779"/>
                    <a:gd name="connsiteY407" fmla="*/ 205785 h 356817"/>
                    <a:gd name="connsiteX408" fmla="*/ 768123 w 793779"/>
                    <a:gd name="connsiteY408" fmla="*/ 201377 h 356817"/>
                    <a:gd name="connsiteX409" fmla="*/ 773942 w 793779"/>
                    <a:gd name="connsiteY409" fmla="*/ 201112 h 356817"/>
                    <a:gd name="connsiteX410" fmla="*/ 774207 w 793779"/>
                    <a:gd name="connsiteY410" fmla="*/ 198820 h 356817"/>
                    <a:gd name="connsiteX411" fmla="*/ 775706 w 793779"/>
                    <a:gd name="connsiteY411" fmla="*/ 198820 h 356817"/>
                    <a:gd name="connsiteX412" fmla="*/ 764596 w 793779"/>
                    <a:gd name="connsiteY412" fmla="*/ 180128 h 356817"/>
                    <a:gd name="connsiteX413" fmla="*/ 764596 w 793779"/>
                    <a:gd name="connsiteY413" fmla="*/ 167873 h 356817"/>
                    <a:gd name="connsiteX414" fmla="*/ 773061 w 793779"/>
                    <a:gd name="connsiteY414" fmla="*/ 167873 h 356817"/>
                    <a:gd name="connsiteX415" fmla="*/ 778262 w 793779"/>
                    <a:gd name="connsiteY415" fmla="*/ 165845 h 356817"/>
                    <a:gd name="connsiteX416" fmla="*/ 779761 w 793779"/>
                    <a:gd name="connsiteY416" fmla="*/ 160555 h 356817"/>
                    <a:gd name="connsiteX417" fmla="*/ 776235 w 793779"/>
                    <a:gd name="connsiteY417" fmla="*/ 155353 h 356817"/>
                    <a:gd name="connsiteX418" fmla="*/ 777116 w 793779"/>
                    <a:gd name="connsiteY418" fmla="*/ 150944 h 356817"/>
                    <a:gd name="connsiteX419" fmla="*/ 786462 w 793779"/>
                    <a:gd name="connsiteY419" fmla="*/ 150944 h 356817"/>
                    <a:gd name="connsiteX420" fmla="*/ 653416 w 793779"/>
                    <a:gd name="connsiteY420" fmla="*/ 219363 h 356817"/>
                    <a:gd name="connsiteX421" fmla="*/ 649096 w 793779"/>
                    <a:gd name="connsiteY421" fmla="*/ 219627 h 356817"/>
                    <a:gd name="connsiteX422" fmla="*/ 645304 w 793779"/>
                    <a:gd name="connsiteY422" fmla="*/ 220509 h 356817"/>
                    <a:gd name="connsiteX423" fmla="*/ 641778 w 793779"/>
                    <a:gd name="connsiteY423" fmla="*/ 219892 h 356817"/>
                    <a:gd name="connsiteX424" fmla="*/ 638604 w 793779"/>
                    <a:gd name="connsiteY424" fmla="*/ 217600 h 356817"/>
                    <a:gd name="connsiteX425" fmla="*/ 633666 w 793779"/>
                    <a:gd name="connsiteY425" fmla="*/ 218481 h 356817"/>
                    <a:gd name="connsiteX426" fmla="*/ 629875 w 793779"/>
                    <a:gd name="connsiteY426" fmla="*/ 217600 h 356817"/>
                    <a:gd name="connsiteX427" fmla="*/ 628112 w 793779"/>
                    <a:gd name="connsiteY427" fmla="*/ 220774 h 356817"/>
                    <a:gd name="connsiteX428" fmla="*/ 621763 w 793779"/>
                    <a:gd name="connsiteY428" fmla="*/ 218746 h 356817"/>
                    <a:gd name="connsiteX429" fmla="*/ 617091 w 793779"/>
                    <a:gd name="connsiteY429" fmla="*/ 219627 h 356817"/>
                    <a:gd name="connsiteX430" fmla="*/ 612682 w 793779"/>
                    <a:gd name="connsiteY430" fmla="*/ 218481 h 356817"/>
                    <a:gd name="connsiteX431" fmla="*/ 603954 w 793779"/>
                    <a:gd name="connsiteY431" fmla="*/ 219627 h 356817"/>
                    <a:gd name="connsiteX432" fmla="*/ 599016 w 793779"/>
                    <a:gd name="connsiteY432" fmla="*/ 218129 h 356817"/>
                    <a:gd name="connsiteX433" fmla="*/ 588524 w 793779"/>
                    <a:gd name="connsiteY433" fmla="*/ 219627 h 356817"/>
                    <a:gd name="connsiteX434" fmla="*/ 583851 w 793779"/>
                    <a:gd name="connsiteY434" fmla="*/ 220774 h 356817"/>
                    <a:gd name="connsiteX435" fmla="*/ 581206 w 793779"/>
                    <a:gd name="connsiteY435" fmla="*/ 217864 h 356817"/>
                    <a:gd name="connsiteX436" fmla="*/ 580941 w 793779"/>
                    <a:gd name="connsiteY436" fmla="*/ 214337 h 356817"/>
                    <a:gd name="connsiteX437" fmla="*/ 578914 w 793779"/>
                    <a:gd name="connsiteY437" fmla="*/ 214955 h 356817"/>
                    <a:gd name="connsiteX438" fmla="*/ 580412 w 793779"/>
                    <a:gd name="connsiteY438" fmla="*/ 220774 h 356817"/>
                    <a:gd name="connsiteX439" fmla="*/ 577150 w 793779"/>
                    <a:gd name="connsiteY439" fmla="*/ 218393 h 356817"/>
                    <a:gd name="connsiteX440" fmla="*/ 575387 w 793779"/>
                    <a:gd name="connsiteY440" fmla="*/ 220156 h 356817"/>
                    <a:gd name="connsiteX441" fmla="*/ 573359 w 793779"/>
                    <a:gd name="connsiteY441" fmla="*/ 221655 h 356817"/>
                    <a:gd name="connsiteX442" fmla="*/ 571596 w 793779"/>
                    <a:gd name="connsiteY442" fmla="*/ 223419 h 356817"/>
                    <a:gd name="connsiteX443" fmla="*/ 571331 w 793779"/>
                    <a:gd name="connsiteY443" fmla="*/ 225447 h 356817"/>
                    <a:gd name="connsiteX444" fmla="*/ 569568 w 793779"/>
                    <a:gd name="connsiteY444" fmla="*/ 226328 h 356817"/>
                    <a:gd name="connsiteX445" fmla="*/ 568069 w 793779"/>
                    <a:gd name="connsiteY445" fmla="*/ 228356 h 356817"/>
                    <a:gd name="connsiteX446" fmla="*/ 567452 w 793779"/>
                    <a:gd name="connsiteY446" fmla="*/ 228973 h 356817"/>
                    <a:gd name="connsiteX447" fmla="*/ 566835 w 793779"/>
                    <a:gd name="connsiteY447" fmla="*/ 232147 h 356817"/>
                    <a:gd name="connsiteX448" fmla="*/ 567716 w 793779"/>
                    <a:gd name="connsiteY448" fmla="*/ 237702 h 356817"/>
                    <a:gd name="connsiteX449" fmla="*/ 569127 w 793779"/>
                    <a:gd name="connsiteY449" fmla="*/ 241758 h 356817"/>
                    <a:gd name="connsiteX450" fmla="*/ 567364 w 793779"/>
                    <a:gd name="connsiteY450" fmla="*/ 243521 h 356817"/>
                    <a:gd name="connsiteX451" fmla="*/ 568510 w 793779"/>
                    <a:gd name="connsiteY451" fmla="*/ 247048 h 356817"/>
                    <a:gd name="connsiteX452" fmla="*/ 571420 w 793779"/>
                    <a:gd name="connsiteY452" fmla="*/ 251721 h 356817"/>
                    <a:gd name="connsiteX453" fmla="*/ 570538 w 793779"/>
                    <a:gd name="connsiteY453" fmla="*/ 255777 h 356817"/>
                    <a:gd name="connsiteX454" fmla="*/ 569127 w 793779"/>
                    <a:gd name="connsiteY454" fmla="*/ 255777 h 356817"/>
                    <a:gd name="connsiteX455" fmla="*/ 568510 w 793779"/>
                    <a:gd name="connsiteY455" fmla="*/ 251104 h 356817"/>
                    <a:gd name="connsiteX456" fmla="*/ 560927 w 793779"/>
                    <a:gd name="connsiteY456" fmla="*/ 243521 h 356817"/>
                    <a:gd name="connsiteX457" fmla="*/ 558635 w 793779"/>
                    <a:gd name="connsiteY457" fmla="*/ 239994 h 356817"/>
                    <a:gd name="connsiteX458" fmla="*/ 556343 w 793779"/>
                    <a:gd name="connsiteY458" fmla="*/ 240876 h 356817"/>
                    <a:gd name="connsiteX459" fmla="*/ 554844 w 793779"/>
                    <a:gd name="connsiteY459" fmla="*/ 235939 h 356817"/>
                    <a:gd name="connsiteX460" fmla="*/ 554844 w 793779"/>
                    <a:gd name="connsiteY460" fmla="*/ 234792 h 356817"/>
                    <a:gd name="connsiteX461" fmla="*/ 553962 w 793779"/>
                    <a:gd name="connsiteY461" fmla="*/ 233029 h 356817"/>
                    <a:gd name="connsiteX462" fmla="*/ 552198 w 793779"/>
                    <a:gd name="connsiteY462" fmla="*/ 232147 h 356817"/>
                    <a:gd name="connsiteX463" fmla="*/ 552198 w 793779"/>
                    <a:gd name="connsiteY463" fmla="*/ 229238 h 356817"/>
                    <a:gd name="connsiteX464" fmla="*/ 553080 w 793779"/>
                    <a:gd name="connsiteY464" fmla="*/ 223066 h 356817"/>
                    <a:gd name="connsiteX465" fmla="*/ 556343 w 793779"/>
                    <a:gd name="connsiteY465" fmla="*/ 221038 h 356817"/>
                    <a:gd name="connsiteX466" fmla="*/ 559252 w 793779"/>
                    <a:gd name="connsiteY466" fmla="*/ 219892 h 356817"/>
                    <a:gd name="connsiteX467" fmla="*/ 562426 w 793779"/>
                    <a:gd name="connsiteY467" fmla="*/ 214690 h 356817"/>
                    <a:gd name="connsiteX468" fmla="*/ 564719 w 793779"/>
                    <a:gd name="connsiteY468" fmla="*/ 214426 h 356817"/>
                    <a:gd name="connsiteX469" fmla="*/ 567011 w 793779"/>
                    <a:gd name="connsiteY469" fmla="*/ 210899 h 356817"/>
                    <a:gd name="connsiteX470" fmla="*/ 568510 w 793779"/>
                    <a:gd name="connsiteY470" fmla="*/ 207372 h 356817"/>
                    <a:gd name="connsiteX471" fmla="*/ 572565 w 793779"/>
                    <a:gd name="connsiteY471" fmla="*/ 208518 h 356817"/>
                    <a:gd name="connsiteX472" fmla="*/ 577238 w 793779"/>
                    <a:gd name="connsiteY472" fmla="*/ 209135 h 356817"/>
                    <a:gd name="connsiteX473" fmla="*/ 582793 w 793779"/>
                    <a:gd name="connsiteY473" fmla="*/ 209135 h 356817"/>
                    <a:gd name="connsiteX474" fmla="*/ 588348 w 793779"/>
                    <a:gd name="connsiteY474" fmla="*/ 210282 h 356817"/>
                    <a:gd name="connsiteX475" fmla="*/ 592756 w 793779"/>
                    <a:gd name="connsiteY475" fmla="*/ 210546 h 356817"/>
                    <a:gd name="connsiteX476" fmla="*/ 594784 w 793779"/>
                    <a:gd name="connsiteY476" fmla="*/ 210546 h 356817"/>
                    <a:gd name="connsiteX477" fmla="*/ 597694 w 793779"/>
                    <a:gd name="connsiteY477" fmla="*/ 208518 h 356817"/>
                    <a:gd name="connsiteX478" fmla="*/ 600338 w 793779"/>
                    <a:gd name="connsiteY478" fmla="*/ 210811 h 356817"/>
                    <a:gd name="connsiteX479" fmla="*/ 603865 w 793779"/>
                    <a:gd name="connsiteY479" fmla="*/ 212309 h 356817"/>
                    <a:gd name="connsiteX480" fmla="*/ 608186 w 793779"/>
                    <a:gd name="connsiteY480" fmla="*/ 213720 h 356817"/>
                    <a:gd name="connsiteX481" fmla="*/ 611712 w 793779"/>
                    <a:gd name="connsiteY481" fmla="*/ 213456 h 356817"/>
                    <a:gd name="connsiteX482" fmla="*/ 614886 w 793779"/>
                    <a:gd name="connsiteY482" fmla="*/ 213985 h 356817"/>
                    <a:gd name="connsiteX483" fmla="*/ 616649 w 793779"/>
                    <a:gd name="connsiteY483" fmla="*/ 211957 h 356817"/>
                    <a:gd name="connsiteX484" fmla="*/ 618942 w 793779"/>
                    <a:gd name="connsiteY484" fmla="*/ 211957 h 356817"/>
                    <a:gd name="connsiteX485" fmla="*/ 622469 w 793779"/>
                    <a:gd name="connsiteY485" fmla="*/ 211957 h 356817"/>
                    <a:gd name="connsiteX486" fmla="*/ 624761 w 793779"/>
                    <a:gd name="connsiteY486" fmla="*/ 214249 h 356817"/>
                    <a:gd name="connsiteX487" fmla="*/ 630580 w 793779"/>
                    <a:gd name="connsiteY487" fmla="*/ 212221 h 356817"/>
                    <a:gd name="connsiteX488" fmla="*/ 632961 w 793779"/>
                    <a:gd name="connsiteY488" fmla="*/ 211075 h 356817"/>
                    <a:gd name="connsiteX489" fmla="*/ 636400 w 793779"/>
                    <a:gd name="connsiteY489" fmla="*/ 214602 h 356817"/>
                    <a:gd name="connsiteX490" fmla="*/ 639045 w 793779"/>
                    <a:gd name="connsiteY490" fmla="*/ 213456 h 356817"/>
                    <a:gd name="connsiteX491" fmla="*/ 642218 w 793779"/>
                    <a:gd name="connsiteY491" fmla="*/ 213456 h 356817"/>
                    <a:gd name="connsiteX492" fmla="*/ 650683 w 793779"/>
                    <a:gd name="connsiteY492" fmla="*/ 208518 h 356817"/>
                    <a:gd name="connsiteX493" fmla="*/ 653592 w 793779"/>
                    <a:gd name="connsiteY493" fmla="*/ 209400 h 356817"/>
                    <a:gd name="connsiteX494" fmla="*/ 655355 w 793779"/>
                    <a:gd name="connsiteY494" fmla="*/ 210282 h 356817"/>
                    <a:gd name="connsiteX495" fmla="*/ 655973 w 793779"/>
                    <a:gd name="connsiteY495" fmla="*/ 212662 h 356817"/>
                    <a:gd name="connsiteX496" fmla="*/ 656590 w 793779"/>
                    <a:gd name="connsiteY496" fmla="*/ 215836 h 356817"/>
                    <a:gd name="connsiteX497" fmla="*/ 657471 w 793779"/>
                    <a:gd name="connsiteY497" fmla="*/ 218129 h 356817"/>
                    <a:gd name="connsiteX498" fmla="*/ 653416 w 793779"/>
                    <a:gd name="connsiteY498" fmla="*/ 219363 h 356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</a:cxnLst>
                  <a:rect l="l" t="t" r="r" b="b"/>
                  <a:pathLst>
                    <a:path w="793779" h="356817">
                      <a:moveTo>
                        <a:pt x="786462" y="150768"/>
                      </a:moveTo>
                      <a:lnTo>
                        <a:pt x="793780" y="151650"/>
                      </a:lnTo>
                      <a:lnTo>
                        <a:pt x="776587" y="140011"/>
                      </a:lnTo>
                      <a:lnTo>
                        <a:pt x="767858" y="137366"/>
                      </a:lnTo>
                      <a:lnTo>
                        <a:pt x="765213" y="131547"/>
                      </a:lnTo>
                      <a:lnTo>
                        <a:pt x="760540" y="138513"/>
                      </a:lnTo>
                      <a:lnTo>
                        <a:pt x="746522" y="134986"/>
                      </a:lnTo>
                      <a:lnTo>
                        <a:pt x="742731" y="128550"/>
                      </a:lnTo>
                      <a:lnTo>
                        <a:pt x="731974" y="126786"/>
                      </a:lnTo>
                      <a:lnTo>
                        <a:pt x="725009" y="116911"/>
                      </a:lnTo>
                      <a:lnTo>
                        <a:pt x="714781" y="110210"/>
                      </a:lnTo>
                      <a:lnTo>
                        <a:pt x="707199" y="109064"/>
                      </a:lnTo>
                      <a:lnTo>
                        <a:pt x="700498" y="113473"/>
                      </a:lnTo>
                      <a:lnTo>
                        <a:pt x="692651" y="112591"/>
                      </a:lnTo>
                      <a:lnTo>
                        <a:pt x="688859" y="103862"/>
                      </a:lnTo>
                      <a:lnTo>
                        <a:pt x="683305" y="95663"/>
                      </a:lnTo>
                      <a:lnTo>
                        <a:pt x="675987" y="93899"/>
                      </a:lnTo>
                      <a:lnTo>
                        <a:pt x="669021" y="95046"/>
                      </a:lnTo>
                      <a:lnTo>
                        <a:pt x="664966" y="99719"/>
                      </a:lnTo>
                      <a:lnTo>
                        <a:pt x="654209" y="99719"/>
                      </a:lnTo>
                      <a:lnTo>
                        <a:pt x="648655" y="96192"/>
                      </a:lnTo>
                      <a:lnTo>
                        <a:pt x="639926" y="94428"/>
                      </a:lnTo>
                      <a:lnTo>
                        <a:pt x="632079" y="97338"/>
                      </a:lnTo>
                      <a:lnTo>
                        <a:pt x="634460" y="104303"/>
                      </a:lnTo>
                      <a:lnTo>
                        <a:pt x="627141" y="106684"/>
                      </a:lnTo>
                      <a:lnTo>
                        <a:pt x="609332" y="90902"/>
                      </a:lnTo>
                      <a:lnTo>
                        <a:pt x="599104" y="84730"/>
                      </a:lnTo>
                      <a:lnTo>
                        <a:pt x="584821" y="71857"/>
                      </a:lnTo>
                      <a:lnTo>
                        <a:pt x="581294" y="65774"/>
                      </a:lnTo>
                      <a:lnTo>
                        <a:pt x="562955" y="44525"/>
                      </a:lnTo>
                      <a:lnTo>
                        <a:pt x="556872" y="45054"/>
                      </a:lnTo>
                      <a:lnTo>
                        <a:pt x="527423" y="32182"/>
                      </a:lnTo>
                      <a:lnTo>
                        <a:pt x="519576" y="27509"/>
                      </a:lnTo>
                      <a:lnTo>
                        <a:pt x="526894" y="25128"/>
                      </a:lnTo>
                      <a:lnTo>
                        <a:pt x="522486" y="18163"/>
                      </a:lnTo>
                      <a:lnTo>
                        <a:pt x="514022" y="21689"/>
                      </a:lnTo>
                      <a:lnTo>
                        <a:pt x="500268" y="32182"/>
                      </a:lnTo>
                      <a:lnTo>
                        <a:pt x="494448" y="35708"/>
                      </a:lnTo>
                      <a:lnTo>
                        <a:pt x="490657" y="45054"/>
                      </a:lnTo>
                      <a:lnTo>
                        <a:pt x="482193" y="39235"/>
                      </a:lnTo>
                      <a:lnTo>
                        <a:pt x="467293" y="39235"/>
                      </a:lnTo>
                      <a:lnTo>
                        <a:pt x="471965" y="27597"/>
                      </a:lnTo>
                      <a:lnTo>
                        <a:pt x="462091" y="29889"/>
                      </a:lnTo>
                      <a:lnTo>
                        <a:pt x="453362" y="25216"/>
                      </a:lnTo>
                      <a:lnTo>
                        <a:pt x="446044" y="29889"/>
                      </a:lnTo>
                      <a:lnTo>
                        <a:pt x="440489" y="21689"/>
                      </a:lnTo>
                      <a:lnTo>
                        <a:pt x="427969" y="15253"/>
                      </a:lnTo>
                      <a:lnTo>
                        <a:pt x="421886" y="7053"/>
                      </a:lnTo>
                      <a:lnTo>
                        <a:pt x="408484" y="4408"/>
                      </a:lnTo>
                      <a:lnTo>
                        <a:pt x="402929" y="0"/>
                      </a:lnTo>
                      <a:lnTo>
                        <a:pt x="395347" y="4938"/>
                      </a:lnTo>
                      <a:lnTo>
                        <a:pt x="386618" y="8200"/>
                      </a:lnTo>
                      <a:lnTo>
                        <a:pt x="370836" y="10228"/>
                      </a:lnTo>
                      <a:lnTo>
                        <a:pt x="352497" y="13754"/>
                      </a:lnTo>
                      <a:lnTo>
                        <a:pt x="333541" y="15253"/>
                      </a:lnTo>
                      <a:lnTo>
                        <a:pt x="316348" y="15253"/>
                      </a:lnTo>
                      <a:lnTo>
                        <a:pt x="310264" y="18163"/>
                      </a:lnTo>
                      <a:lnTo>
                        <a:pt x="304093" y="21689"/>
                      </a:lnTo>
                      <a:lnTo>
                        <a:pt x="289810" y="22836"/>
                      </a:lnTo>
                      <a:lnTo>
                        <a:pt x="284255" y="25128"/>
                      </a:lnTo>
                      <a:lnTo>
                        <a:pt x="267944" y="28655"/>
                      </a:lnTo>
                      <a:lnTo>
                        <a:pt x="259480" y="31035"/>
                      </a:lnTo>
                      <a:lnTo>
                        <a:pt x="253660" y="32182"/>
                      </a:lnTo>
                      <a:lnTo>
                        <a:pt x="244315" y="29801"/>
                      </a:lnTo>
                      <a:lnTo>
                        <a:pt x="237614" y="32182"/>
                      </a:lnTo>
                      <a:lnTo>
                        <a:pt x="238496" y="41527"/>
                      </a:lnTo>
                      <a:lnTo>
                        <a:pt x="244668" y="45054"/>
                      </a:lnTo>
                      <a:lnTo>
                        <a:pt x="246430" y="49462"/>
                      </a:lnTo>
                      <a:lnTo>
                        <a:pt x="253749" y="47964"/>
                      </a:lnTo>
                      <a:lnTo>
                        <a:pt x="264241" y="51755"/>
                      </a:lnTo>
                      <a:lnTo>
                        <a:pt x="263623" y="55282"/>
                      </a:lnTo>
                      <a:lnTo>
                        <a:pt x="251633" y="56692"/>
                      </a:lnTo>
                      <a:lnTo>
                        <a:pt x="245813" y="55282"/>
                      </a:lnTo>
                      <a:lnTo>
                        <a:pt x="242551" y="62247"/>
                      </a:lnTo>
                      <a:lnTo>
                        <a:pt x="249252" y="70447"/>
                      </a:lnTo>
                      <a:lnTo>
                        <a:pt x="243433" y="78029"/>
                      </a:lnTo>
                      <a:lnTo>
                        <a:pt x="236996" y="80939"/>
                      </a:lnTo>
                      <a:lnTo>
                        <a:pt x="246342" y="85612"/>
                      </a:lnTo>
                      <a:lnTo>
                        <a:pt x="247488" y="89138"/>
                      </a:lnTo>
                      <a:lnTo>
                        <a:pt x="256218" y="89138"/>
                      </a:lnTo>
                      <a:lnTo>
                        <a:pt x="260273" y="92665"/>
                      </a:lnTo>
                      <a:lnTo>
                        <a:pt x="264946" y="92665"/>
                      </a:lnTo>
                      <a:lnTo>
                        <a:pt x="270501" y="97338"/>
                      </a:lnTo>
                      <a:lnTo>
                        <a:pt x="270501" y="107830"/>
                      </a:lnTo>
                      <a:lnTo>
                        <a:pt x="261155" y="111357"/>
                      </a:lnTo>
                      <a:lnTo>
                        <a:pt x="251544" y="110740"/>
                      </a:lnTo>
                      <a:lnTo>
                        <a:pt x="244843" y="105449"/>
                      </a:lnTo>
                      <a:lnTo>
                        <a:pt x="244226" y="108976"/>
                      </a:lnTo>
                      <a:lnTo>
                        <a:pt x="235233" y="106684"/>
                      </a:lnTo>
                      <a:lnTo>
                        <a:pt x="228533" y="104656"/>
                      </a:lnTo>
                      <a:lnTo>
                        <a:pt x="220950" y="104656"/>
                      </a:lnTo>
                      <a:lnTo>
                        <a:pt x="217423" y="103157"/>
                      </a:lnTo>
                      <a:lnTo>
                        <a:pt x="211340" y="99630"/>
                      </a:lnTo>
                      <a:lnTo>
                        <a:pt x="212486" y="105449"/>
                      </a:lnTo>
                      <a:lnTo>
                        <a:pt x="199966" y="99630"/>
                      </a:lnTo>
                      <a:lnTo>
                        <a:pt x="188592" y="99630"/>
                      </a:lnTo>
                      <a:lnTo>
                        <a:pt x="173427" y="103157"/>
                      </a:lnTo>
                      <a:lnTo>
                        <a:pt x="155353" y="101658"/>
                      </a:lnTo>
                      <a:lnTo>
                        <a:pt x="147153" y="99013"/>
                      </a:lnTo>
                      <a:lnTo>
                        <a:pt x="143979" y="100777"/>
                      </a:lnTo>
                      <a:lnTo>
                        <a:pt x="156499" y="115942"/>
                      </a:lnTo>
                      <a:lnTo>
                        <a:pt x="153589" y="116559"/>
                      </a:lnTo>
                      <a:lnTo>
                        <a:pt x="142480" y="113649"/>
                      </a:lnTo>
                      <a:lnTo>
                        <a:pt x="132870" y="99630"/>
                      </a:lnTo>
                      <a:lnTo>
                        <a:pt x="128461" y="90284"/>
                      </a:lnTo>
                      <a:lnTo>
                        <a:pt x="113032" y="90284"/>
                      </a:lnTo>
                      <a:lnTo>
                        <a:pt x="99278" y="91431"/>
                      </a:lnTo>
                      <a:lnTo>
                        <a:pt x="90549" y="84465"/>
                      </a:lnTo>
                      <a:lnTo>
                        <a:pt x="85611" y="86758"/>
                      </a:lnTo>
                      <a:lnTo>
                        <a:pt x="82966" y="91431"/>
                      </a:lnTo>
                      <a:lnTo>
                        <a:pt x="80674" y="96104"/>
                      </a:lnTo>
                      <a:lnTo>
                        <a:pt x="67273" y="89403"/>
                      </a:lnTo>
                      <a:lnTo>
                        <a:pt x="54752" y="85612"/>
                      </a:lnTo>
                      <a:lnTo>
                        <a:pt x="50961" y="89932"/>
                      </a:lnTo>
                      <a:lnTo>
                        <a:pt x="36943" y="100777"/>
                      </a:lnTo>
                      <a:lnTo>
                        <a:pt x="36325" y="104568"/>
                      </a:lnTo>
                      <a:lnTo>
                        <a:pt x="33680" y="110651"/>
                      </a:lnTo>
                      <a:lnTo>
                        <a:pt x="28743" y="111269"/>
                      </a:lnTo>
                      <a:lnTo>
                        <a:pt x="32799" y="118234"/>
                      </a:lnTo>
                      <a:lnTo>
                        <a:pt x="37207" y="127844"/>
                      </a:lnTo>
                      <a:lnTo>
                        <a:pt x="34298" y="131018"/>
                      </a:lnTo>
                      <a:lnTo>
                        <a:pt x="27861" y="128990"/>
                      </a:lnTo>
                      <a:lnTo>
                        <a:pt x="16223" y="121408"/>
                      </a:lnTo>
                      <a:lnTo>
                        <a:pt x="11197" y="116999"/>
                      </a:lnTo>
                      <a:lnTo>
                        <a:pt x="7671" y="118146"/>
                      </a:lnTo>
                      <a:lnTo>
                        <a:pt x="2116" y="130137"/>
                      </a:lnTo>
                      <a:lnTo>
                        <a:pt x="3262" y="145302"/>
                      </a:lnTo>
                      <a:lnTo>
                        <a:pt x="3527" y="151385"/>
                      </a:lnTo>
                      <a:lnTo>
                        <a:pt x="1146" y="157469"/>
                      </a:lnTo>
                      <a:lnTo>
                        <a:pt x="0" y="164170"/>
                      </a:lnTo>
                      <a:lnTo>
                        <a:pt x="4408" y="165668"/>
                      </a:lnTo>
                      <a:lnTo>
                        <a:pt x="9610" y="165404"/>
                      </a:lnTo>
                      <a:lnTo>
                        <a:pt x="14283" y="165404"/>
                      </a:lnTo>
                      <a:lnTo>
                        <a:pt x="24775" y="166550"/>
                      </a:lnTo>
                      <a:lnTo>
                        <a:pt x="32975" y="172986"/>
                      </a:lnTo>
                      <a:lnTo>
                        <a:pt x="42321" y="186388"/>
                      </a:lnTo>
                      <a:lnTo>
                        <a:pt x="57750" y="197762"/>
                      </a:lnTo>
                      <a:lnTo>
                        <a:pt x="62688" y="204727"/>
                      </a:lnTo>
                      <a:lnTo>
                        <a:pt x="59161" y="207108"/>
                      </a:lnTo>
                      <a:lnTo>
                        <a:pt x="50961" y="205961"/>
                      </a:lnTo>
                      <a:lnTo>
                        <a:pt x="56780" y="217952"/>
                      </a:lnTo>
                      <a:lnTo>
                        <a:pt x="60836" y="223507"/>
                      </a:lnTo>
                      <a:lnTo>
                        <a:pt x="61718" y="224124"/>
                      </a:lnTo>
                      <a:lnTo>
                        <a:pt x="69829" y="225270"/>
                      </a:lnTo>
                      <a:lnTo>
                        <a:pt x="68948" y="221744"/>
                      </a:lnTo>
                      <a:lnTo>
                        <a:pt x="69565" y="222361"/>
                      </a:lnTo>
                      <a:lnTo>
                        <a:pt x="68419" y="217423"/>
                      </a:lnTo>
                      <a:lnTo>
                        <a:pt x="71328" y="219187"/>
                      </a:lnTo>
                      <a:lnTo>
                        <a:pt x="74502" y="218922"/>
                      </a:lnTo>
                      <a:lnTo>
                        <a:pt x="73621" y="215748"/>
                      </a:lnTo>
                      <a:lnTo>
                        <a:pt x="78029" y="216365"/>
                      </a:lnTo>
                      <a:lnTo>
                        <a:pt x="77412" y="213720"/>
                      </a:lnTo>
                      <a:lnTo>
                        <a:pt x="80939" y="213720"/>
                      </a:lnTo>
                      <a:lnTo>
                        <a:pt x="83584" y="211692"/>
                      </a:lnTo>
                      <a:lnTo>
                        <a:pt x="86493" y="211692"/>
                      </a:lnTo>
                      <a:lnTo>
                        <a:pt x="90549" y="206402"/>
                      </a:lnTo>
                      <a:lnTo>
                        <a:pt x="92930" y="206402"/>
                      </a:lnTo>
                      <a:lnTo>
                        <a:pt x="95574" y="205521"/>
                      </a:lnTo>
                      <a:lnTo>
                        <a:pt x="97602" y="203140"/>
                      </a:lnTo>
                      <a:lnTo>
                        <a:pt x="102275" y="199349"/>
                      </a:lnTo>
                      <a:lnTo>
                        <a:pt x="108711" y="200230"/>
                      </a:lnTo>
                      <a:lnTo>
                        <a:pt x="110739" y="201994"/>
                      </a:lnTo>
                      <a:lnTo>
                        <a:pt x="114266" y="202611"/>
                      </a:lnTo>
                      <a:lnTo>
                        <a:pt x="114883" y="204374"/>
                      </a:lnTo>
                      <a:lnTo>
                        <a:pt x="118410" y="204991"/>
                      </a:lnTo>
                      <a:lnTo>
                        <a:pt x="121320" y="205609"/>
                      </a:lnTo>
                      <a:lnTo>
                        <a:pt x="119292" y="208254"/>
                      </a:lnTo>
                      <a:lnTo>
                        <a:pt x="124229" y="206490"/>
                      </a:lnTo>
                      <a:lnTo>
                        <a:pt x="126874" y="204991"/>
                      </a:lnTo>
                      <a:lnTo>
                        <a:pt x="129167" y="203228"/>
                      </a:lnTo>
                      <a:lnTo>
                        <a:pt x="132076" y="203845"/>
                      </a:lnTo>
                      <a:lnTo>
                        <a:pt x="134104" y="203845"/>
                      </a:lnTo>
                      <a:lnTo>
                        <a:pt x="137895" y="204463"/>
                      </a:lnTo>
                      <a:lnTo>
                        <a:pt x="141686" y="204463"/>
                      </a:lnTo>
                      <a:lnTo>
                        <a:pt x="142568" y="204463"/>
                      </a:lnTo>
                      <a:lnTo>
                        <a:pt x="144861" y="205609"/>
                      </a:lnTo>
                      <a:lnTo>
                        <a:pt x="145125" y="209135"/>
                      </a:lnTo>
                      <a:lnTo>
                        <a:pt x="145390" y="212045"/>
                      </a:lnTo>
                      <a:lnTo>
                        <a:pt x="146889" y="214955"/>
                      </a:lnTo>
                      <a:lnTo>
                        <a:pt x="148387" y="216101"/>
                      </a:lnTo>
                      <a:lnTo>
                        <a:pt x="150416" y="216718"/>
                      </a:lnTo>
                      <a:lnTo>
                        <a:pt x="151914" y="217335"/>
                      </a:lnTo>
                      <a:lnTo>
                        <a:pt x="152796" y="222008"/>
                      </a:lnTo>
                      <a:lnTo>
                        <a:pt x="153060" y="224389"/>
                      </a:lnTo>
                      <a:lnTo>
                        <a:pt x="153060" y="227034"/>
                      </a:lnTo>
                      <a:lnTo>
                        <a:pt x="151914" y="228180"/>
                      </a:lnTo>
                      <a:lnTo>
                        <a:pt x="149887" y="229679"/>
                      </a:lnTo>
                      <a:lnTo>
                        <a:pt x="149005" y="229943"/>
                      </a:lnTo>
                      <a:lnTo>
                        <a:pt x="148387" y="232853"/>
                      </a:lnTo>
                      <a:lnTo>
                        <a:pt x="149269" y="234616"/>
                      </a:lnTo>
                      <a:lnTo>
                        <a:pt x="151561" y="235498"/>
                      </a:lnTo>
                      <a:lnTo>
                        <a:pt x="151561" y="237526"/>
                      </a:lnTo>
                      <a:lnTo>
                        <a:pt x="153060" y="238936"/>
                      </a:lnTo>
                      <a:lnTo>
                        <a:pt x="155705" y="240964"/>
                      </a:lnTo>
                      <a:lnTo>
                        <a:pt x="153325" y="241581"/>
                      </a:lnTo>
                      <a:lnTo>
                        <a:pt x="150416" y="242463"/>
                      </a:lnTo>
                      <a:lnTo>
                        <a:pt x="147506" y="242463"/>
                      </a:lnTo>
                      <a:lnTo>
                        <a:pt x="146007" y="241581"/>
                      </a:lnTo>
                      <a:lnTo>
                        <a:pt x="144244" y="241317"/>
                      </a:lnTo>
                      <a:lnTo>
                        <a:pt x="141951" y="240788"/>
                      </a:lnTo>
                      <a:lnTo>
                        <a:pt x="140188" y="240788"/>
                      </a:lnTo>
                      <a:lnTo>
                        <a:pt x="137895" y="240171"/>
                      </a:lnTo>
                      <a:lnTo>
                        <a:pt x="134104" y="240435"/>
                      </a:lnTo>
                      <a:lnTo>
                        <a:pt x="132958" y="240435"/>
                      </a:lnTo>
                      <a:lnTo>
                        <a:pt x="128814" y="241581"/>
                      </a:lnTo>
                      <a:lnTo>
                        <a:pt x="126169" y="240964"/>
                      </a:lnTo>
                      <a:lnTo>
                        <a:pt x="122642" y="244227"/>
                      </a:lnTo>
                      <a:lnTo>
                        <a:pt x="119468" y="242463"/>
                      </a:lnTo>
                      <a:lnTo>
                        <a:pt x="116823" y="242992"/>
                      </a:lnTo>
                      <a:lnTo>
                        <a:pt x="118322" y="249693"/>
                      </a:lnTo>
                      <a:lnTo>
                        <a:pt x="118057" y="251104"/>
                      </a:lnTo>
                      <a:lnTo>
                        <a:pt x="116030" y="251104"/>
                      </a:lnTo>
                      <a:lnTo>
                        <a:pt x="113737" y="252867"/>
                      </a:lnTo>
                      <a:lnTo>
                        <a:pt x="114619" y="256394"/>
                      </a:lnTo>
                      <a:lnTo>
                        <a:pt x="123612" y="261067"/>
                      </a:lnTo>
                      <a:lnTo>
                        <a:pt x="124758" y="263712"/>
                      </a:lnTo>
                      <a:lnTo>
                        <a:pt x="121848" y="263712"/>
                      </a:lnTo>
                      <a:lnTo>
                        <a:pt x="119468" y="264858"/>
                      </a:lnTo>
                      <a:lnTo>
                        <a:pt x="112150" y="261067"/>
                      </a:lnTo>
                      <a:lnTo>
                        <a:pt x="109241" y="261067"/>
                      </a:lnTo>
                      <a:lnTo>
                        <a:pt x="106948" y="261067"/>
                      </a:lnTo>
                      <a:lnTo>
                        <a:pt x="106331" y="261067"/>
                      </a:lnTo>
                      <a:lnTo>
                        <a:pt x="104303" y="261067"/>
                      </a:lnTo>
                      <a:lnTo>
                        <a:pt x="101394" y="261067"/>
                      </a:lnTo>
                      <a:lnTo>
                        <a:pt x="102275" y="264858"/>
                      </a:lnTo>
                      <a:lnTo>
                        <a:pt x="102804" y="267150"/>
                      </a:lnTo>
                      <a:lnTo>
                        <a:pt x="106067" y="267767"/>
                      </a:lnTo>
                      <a:lnTo>
                        <a:pt x="108624" y="268032"/>
                      </a:lnTo>
                      <a:lnTo>
                        <a:pt x="109505" y="268561"/>
                      </a:lnTo>
                      <a:lnTo>
                        <a:pt x="110916" y="268825"/>
                      </a:lnTo>
                      <a:lnTo>
                        <a:pt x="114443" y="270853"/>
                      </a:lnTo>
                      <a:lnTo>
                        <a:pt x="116999" y="273146"/>
                      </a:lnTo>
                      <a:lnTo>
                        <a:pt x="116999" y="275526"/>
                      </a:lnTo>
                      <a:lnTo>
                        <a:pt x="116470" y="279053"/>
                      </a:lnTo>
                      <a:lnTo>
                        <a:pt x="120262" y="280199"/>
                      </a:lnTo>
                      <a:lnTo>
                        <a:pt x="121761" y="280199"/>
                      </a:lnTo>
                      <a:lnTo>
                        <a:pt x="123171" y="280816"/>
                      </a:lnTo>
                      <a:lnTo>
                        <a:pt x="127580" y="287253"/>
                      </a:lnTo>
                      <a:lnTo>
                        <a:pt x="129078" y="293336"/>
                      </a:lnTo>
                      <a:lnTo>
                        <a:pt x="132253" y="295717"/>
                      </a:lnTo>
                      <a:lnTo>
                        <a:pt x="133134" y="297745"/>
                      </a:lnTo>
                      <a:lnTo>
                        <a:pt x="136044" y="298009"/>
                      </a:lnTo>
                      <a:lnTo>
                        <a:pt x="136661" y="300654"/>
                      </a:lnTo>
                      <a:lnTo>
                        <a:pt x="142480" y="301271"/>
                      </a:lnTo>
                      <a:lnTo>
                        <a:pt x="146007" y="303299"/>
                      </a:lnTo>
                      <a:lnTo>
                        <a:pt x="146271" y="303035"/>
                      </a:lnTo>
                      <a:lnTo>
                        <a:pt x="148652" y="305063"/>
                      </a:lnTo>
                      <a:lnTo>
                        <a:pt x="149798" y="304181"/>
                      </a:lnTo>
                      <a:lnTo>
                        <a:pt x="150944" y="304445"/>
                      </a:lnTo>
                      <a:lnTo>
                        <a:pt x="153589" y="305327"/>
                      </a:lnTo>
                      <a:lnTo>
                        <a:pt x="156499" y="303828"/>
                      </a:lnTo>
                      <a:lnTo>
                        <a:pt x="157116" y="305327"/>
                      </a:lnTo>
                      <a:lnTo>
                        <a:pt x="158262" y="306826"/>
                      </a:lnTo>
                      <a:lnTo>
                        <a:pt x="160290" y="309207"/>
                      </a:lnTo>
                      <a:lnTo>
                        <a:pt x="161437" y="311499"/>
                      </a:lnTo>
                      <a:lnTo>
                        <a:pt x="161966" y="314144"/>
                      </a:lnTo>
                      <a:lnTo>
                        <a:pt x="160819" y="317671"/>
                      </a:lnTo>
                      <a:lnTo>
                        <a:pt x="158174" y="320845"/>
                      </a:lnTo>
                      <a:lnTo>
                        <a:pt x="163112" y="318817"/>
                      </a:lnTo>
                      <a:lnTo>
                        <a:pt x="170958" y="317935"/>
                      </a:lnTo>
                      <a:lnTo>
                        <a:pt x="175984" y="314761"/>
                      </a:lnTo>
                      <a:lnTo>
                        <a:pt x="184713" y="315378"/>
                      </a:lnTo>
                      <a:lnTo>
                        <a:pt x="192912" y="311587"/>
                      </a:lnTo>
                      <a:lnTo>
                        <a:pt x="197321" y="308678"/>
                      </a:lnTo>
                      <a:lnTo>
                        <a:pt x="201729" y="312204"/>
                      </a:lnTo>
                      <a:lnTo>
                        <a:pt x="206666" y="317406"/>
                      </a:lnTo>
                      <a:lnTo>
                        <a:pt x="213985" y="322961"/>
                      </a:lnTo>
                      <a:lnTo>
                        <a:pt x="215483" y="327898"/>
                      </a:lnTo>
                      <a:lnTo>
                        <a:pt x="222184" y="336627"/>
                      </a:lnTo>
                      <a:lnTo>
                        <a:pt x="227122" y="338390"/>
                      </a:lnTo>
                      <a:lnTo>
                        <a:pt x="231442" y="335481"/>
                      </a:lnTo>
                      <a:lnTo>
                        <a:pt x="237261" y="336980"/>
                      </a:lnTo>
                      <a:lnTo>
                        <a:pt x="209312" y="246519"/>
                      </a:lnTo>
                      <a:lnTo>
                        <a:pt x="253043" y="230208"/>
                      </a:lnTo>
                      <a:lnTo>
                        <a:pt x="257716" y="231089"/>
                      </a:lnTo>
                      <a:lnTo>
                        <a:pt x="269355" y="233470"/>
                      </a:lnTo>
                      <a:lnTo>
                        <a:pt x="270236" y="228532"/>
                      </a:lnTo>
                      <a:lnTo>
                        <a:pt x="269355" y="222449"/>
                      </a:lnTo>
                      <a:lnTo>
                        <a:pt x="272000" y="220421"/>
                      </a:lnTo>
                      <a:lnTo>
                        <a:pt x="274644" y="222449"/>
                      </a:lnTo>
                      <a:lnTo>
                        <a:pt x="279935" y="221832"/>
                      </a:lnTo>
                      <a:lnTo>
                        <a:pt x="282580" y="218922"/>
                      </a:lnTo>
                      <a:lnTo>
                        <a:pt x="284608" y="223331"/>
                      </a:lnTo>
                      <a:lnTo>
                        <a:pt x="290162" y="220685"/>
                      </a:lnTo>
                      <a:lnTo>
                        <a:pt x="294571" y="218393"/>
                      </a:lnTo>
                      <a:lnTo>
                        <a:pt x="292807" y="216982"/>
                      </a:lnTo>
                      <a:lnTo>
                        <a:pt x="290162" y="217864"/>
                      </a:lnTo>
                      <a:lnTo>
                        <a:pt x="288134" y="217864"/>
                      </a:lnTo>
                      <a:lnTo>
                        <a:pt x="286371" y="217247"/>
                      </a:lnTo>
                      <a:lnTo>
                        <a:pt x="283726" y="214073"/>
                      </a:lnTo>
                      <a:lnTo>
                        <a:pt x="282580" y="212309"/>
                      </a:lnTo>
                      <a:lnTo>
                        <a:pt x="283197" y="210017"/>
                      </a:lnTo>
                      <a:lnTo>
                        <a:pt x="284960" y="207989"/>
                      </a:lnTo>
                      <a:lnTo>
                        <a:pt x="287252" y="210282"/>
                      </a:lnTo>
                      <a:lnTo>
                        <a:pt x="289897" y="207989"/>
                      </a:lnTo>
                      <a:lnTo>
                        <a:pt x="291926" y="207989"/>
                      </a:lnTo>
                      <a:lnTo>
                        <a:pt x="294571" y="207989"/>
                      </a:lnTo>
                      <a:lnTo>
                        <a:pt x="295717" y="210017"/>
                      </a:lnTo>
                      <a:lnTo>
                        <a:pt x="295100" y="212662"/>
                      </a:lnTo>
                      <a:lnTo>
                        <a:pt x="296863" y="212662"/>
                      </a:lnTo>
                      <a:lnTo>
                        <a:pt x="299508" y="209488"/>
                      </a:lnTo>
                      <a:lnTo>
                        <a:pt x="301271" y="210634"/>
                      </a:lnTo>
                      <a:lnTo>
                        <a:pt x="304181" y="210634"/>
                      </a:lnTo>
                      <a:lnTo>
                        <a:pt x="305063" y="212398"/>
                      </a:lnTo>
                      <a:lnTo>
                        <a:pt x="303035" y="216189"/>
                      </a:lnTo>
                      <a:lnTo>
                        <a:pt x="305063" y="215924"/>
                      </a:lnTo>
                      <a:lnTo>
                        <a:pt x="305063" y="219098"/>
                      </a:lnTo>
                      <a:lnTo>
                        <a:pt x="307090" y="218217"/>
                      </a:lnTo>
                      <a:lnTo>
                        <a:pt x="307972" y="216453"/>
                      </a:lnTo>
                      <a:lnTo>
                        <a:pt x="309735" y="218746"/>
                      </a:lnTo>
                      <a:lnTo>
                        <a:pt x="305944" y="221126"/>
                      </a:lnTo>
                      <a:lnTo>
                        <a:pt x="309119" y="222890"/>
                      </a:lnTo>
                      <a:lnTo>
                        <a:pt x="304710" y="223771"/>
                      </a:lnTo>
                      <a:lnTo>
                        <a:pt x="301536" y="223419"/>
                      </a:lnTo>
                      <a:lnTo>
                        <a:pt x="295717" y="222273"/>
                      </a:lnTo>
                      <a:lnTo>
                        <a:pt x="293689" y="223419"/>
                      </a:lnTo>
                      <a:lnTo>
                        <a:pt x="296598" y="228709"/>
                      </a:lnTo>
                      <a:lnTo>
                        <a:pt x="296069" y="231001"/>
                      </a:lnTo>
                      <a:lnTo>
                        <a:pt x="298362" y="234528"/>
                      </a:lnTo>
                      <a:lnTo>
                        <a:pt x="300125" y="235674"/>
                      </a:lnTo>
                      <a:lnTo>
                        <a:pt x="300125" y="238055"/>
                      </a:lnTo>
                      <a:lnTo>
                        <a:pt x="300125" y="239818"/>
                      </a:lnTo>
                      <a:lnTo>
                        <a:pt x="302153" y="240700"/>
                      </a:lnTo>
                      <a:lnTo>
                        <a:pt x="304181" y="244227"/>
                      </a:lnTo>
                      <a:lnTo>
                        <a:pt x="303035" y="244491"/>
                      </a:lnTo>
                      <a:lnTo>
                        <a:pt x="302418" y="246519"/>
                      </a:lnTo>
                      <a:lnTo>
                        <a:pt x="303652" y="248018"/>
                      </a:lnTo>
                      <a:lnTo>
                        <a:pt x="305151" y="252074"/>
                      </a:lnTo>
                      <a:lnTo>
                        <a:pt x="310706" y="256746"/>
                      </a:lnTo>
                      <a:lnTo>
                        <a:pt x="311587" y="262301"/>
                      </a:lnTo>
                      <a:lnTo>
                        <a:pt x="314232" y="265475"/>
                      </a:lnTo>
                      <a:lnTo>
                        <a:pt x="322079" y="271030"/>
                      </a:lnTo>
                      <a:lnTo>
                        <a:pt x="324372" y="274556"/>
                      </a:lnTo>
                      <a:lnTo>
                        <a:pt x="341564" y="283902"/>
                      </a:lnTo>
                      <a:lnTo>
                        <a:pt x="358140" y="282756"/>
                      </a:lnTo>
                      <a:lnTo>
                        <a:pt x="382033" y="283902"/>
                      </a:lnTo>
                      <a:lnTo>
                        <a:pt x="396934" y="279229"/>
                      </a:lnTo>
                      <a:lnTo>
                        <a:pt x="402224" y="278348"/>
                      </a:lnTo>
                      <a:lnTo>
                        <a:pt x="407514" y="285048"/>
                      </a:lnTo>
                      <a:lnTo>
                        <a:pt x="411570" y="285048"/>
                      </a:lnTo>
                      <a:lnTo>
                        <a:pt x="418888" y="289986"/>
                      </a:lnTo>
                      <a:lnTo>
                        <a:pt x="423825" y="298450"/>
                      </a:lnTo>
                      <a:lnTo>
                        <a:pt x="427352" y="298450"/>
                      </a:lnTo>
                      <a:lnTo>
                        <a:pt x="429997" y="319170"/>
                      </a:lnTo>
                      <a:lnTo>
                        <a:pt x="444280" y="322696"/>
                      </a:lnTo>
                      <a:lnTo>
                        <a:pt x="447190" y="329397"/>
                      </a:lnTo>
                      <a:lnTo>
                        <a:pt x="447807" y="341388"/>
                      </a:lnTo>
                      <a:lnTo>
                        <a:pt x="454243" y="344298"/>
                      </a:lnTo>
                      <a:lnTo>
                        <a:pt x="471701" y="341388"/>
                      </a:lnTo>
                      <a:lnTo>
                        <a:pt x="477784" y="338743"/>
                      </a:lnTo>
                      <a:lnTo>
                        <a:pt x="480430" y="347207"/>
                      </a:lnTo>
                      <a:lnTo>
                        <a:pt x="482193" y="351880"/>
                      </a:lnTo>
                      <a:lnTo>
                        <a:pt x="488365" y="356817"/>
                      </a:lnTo>
                      <a:lnTo>
                        <a:pt x="492773" y="354172"/>
                      </a:lnTo>
                      <a:lnTo>
                        <a:pt x="492773" y="348001"/>
                      </a:lnTo>
                      <a:lnTo>
                        <a:pt x="497181" y="345356"/>
                      </a:lnTo>
                      <a:lnTo>
                        <a:pt x="498592" y="342446"/>
                      </a:lnTo>
                      <a:lnTo>
                        <a:pt x="502119" y="338655"/>
                      </a:lnTo>
                      <a:lnTo>
                        <a:pt x="500356" y="333100"/>
                      </a:lnTo>
                      <a:lnTo>
                        <a:pt x="517284" y="324636"/>
                      </a:lnTo>
                      <a:lnTo>
                        <a:pt x="516755" y="322608"/>
                      </a:lnTo>
                      <a:lnTo>
                        <a:pt x="529363" y="309118"/>
                      </a:lnTo>
                      <a:lnTo>
                        <a:pt x="530156" y="305327"/>
                      </a:lnTo>
                      <a:lnTo>
                        <a:pt x="540384" y="301800"/>
                      </a:lnTo>
                      <a:lnTo>
                        <a:pt x="555549" y="303299"/>
                      </a:lnTo>
                      <a:lnTo>
                        <a:pt x="567804" y="307090"/>
                      </a:lnTo>
                      <a:lnTo>
                        <a:pt x="575387" y="307090"/>
                      </a:lnTo>
                      <a:lnTo>
                        <a:pt x="582352" y="310617"/>
                      </a:lnTo>
                      <a:lnTo>
                        <a:pt x="578296" y="298362"/>
                      </a:lnTo>
                      <a:lnTo>
                        <a:pt x="583586" y="296598"/>
                      </a:lnTo>
                      <a:lnTo>
                        <a:pt x="587378" y="291044"/>
                      </a:lnTo>
                      <a:lnTo>
                        <a:pt x="601396" y="296598"/>
                      </a:lnTo>
                      <a:lnTo>
                        <a:pt x="622116" y="300125"/>
                      </a:lnTo>
                      <a:lnTo>
                        <a:pt x="625290" y="298362"/>
                      </a:lnTo>
                      <a:lnTo>
                        <a:pt x="679249" y="298362"/>
                      </a:lnTo>
                      <a:lnTo>
                        <a:pt x="689741" y="303299"/>
                      </a:lnTo>
                      <a:lnTo>
                        <a:pt x="695560" y="303299"/>
                      </a:lnTo>
                      <a:lnTo>
                        <a:pt x="700233" y="310617"/>
                      </a:lnTo>
                      <a:lnTo>
                        <a:pt x="711343" y="310617"/>
                      </a:lnTo>
                      <a:lnTo>
                        <a:pt x="711343" y="305327"/>
                      </a:lnTo>
                      <a:lnTo>
                        <a:pt x="717162" y="303916"/>
                      </a:lnTo>
                      <a:lnTo>
                        <a:pt x="713106" y="300125"/>
                      </a:lnTo>
                      <a:lnTo>
                        <a:pt x="718660" y="297216"/>
                      </a:lnTo>
                      <a:lnTo>
                        <a:pt x="716897" y="292807"/>
                      </a:lnTo>
                      <a:lnTo>
                        <a:pt x="715134" y="292543"/>
                      </a:lnTo>
                      <a:lnTo>
                        <a:pt x="714517" y="289016"/>
                      </a:lnTo>
                      <a:lnTo>
                        <a:pt x="702526" y="272969"/>
                      </a:lnTo>
                      <a:lnTo>
                        <a:pt x="697324" y="265122"/>
                      </a:lnTo>
                      <a:lnTo>
                        <a:pt x="697941" y="260714"/>
                      </a:lnTo>
                      <a:lnTo>
                        <a:pt x="699351" y="258951"/>
                      </a:lnTo>
                      <a:lnTo>
                        <a:pt x="692651" y="256041"/>
                      </a:lnTo>
                      <a:lnTo>
                        <a:pt x="688243" y="256570"/>
                      </a:lnTo>
                      <a:lnTo>
                        <a:pt x="684187" y="253396"/>
                      </a:lnTo>
                      <a:lnTo>
                        <a:pt x="687714" y="250486"/>
                      </a:lnTo>
                      <a:lnTo>
                        <a:pt x="704906" y="247577"/>
                      </a:lnTo>
                      <a:lnTo>
                        <a:pt x="716015" y="243168"/>
                      </a:lnTo>
                      <a:lnTo>
                        <a:pt x="722981" y="247841"/>
                      </a:lnTo>
                      <a:lnTo>
                        <a:pt x="729681" y="245813"/>
                      </a:lnTo>
                      <a:lnTo>
                        <a:pt x="735236" y="248723"/>
                      </a:lnTo>
                      <a:lnTo>
                        <a:pt x="733473" y="240876"/>
                      </a:lnTo>
                      <a:lnTo>
                        <a:pt x="726772" y="238231"/>
                      </a:lnTo>
                      <a:lnTo>
                        <a:pt x="725361" y="203493"/>
                      </a:lnTo>
                      <a:lnTo>
                        <a:pt x="724215" y="197673"/>
                      </a:lnTo>
                      <a:lnTo>
                        <a:pt x="743789" y="203493"/>
                      </a:lnTo>
                      <a:lnTo>
                        <a:pt x="756926" y="202876"/>
                      </a:lnTo>
                      <a:lnTo>
                        <a:pt x="760453" y="204639"/>
                      </a:lnTo>
                      <a:lnTo>
                        <a:pt x="760188" y="206931"/>
                      </a:lnTo>
                      <a:lnTo>
                        <a:pt x="763715" y="205785"/>
                      </a:lnTo>
                      <a:lnTo>
                        <a:pt x="768123" y="201377"/>
                      </a:lnTo>
                      <a:lnTo>
                        <a:pt x="773942" y="201112"/>
                      </a:lnTo>
                      <a:lnTo>
                        <a:pt x="774207" y="198820"/>
                      </a:lnTo>
                      <a:lnTo>
                        <a:pt x="775706" y="198820"/>
                      </a:lnTo>
                      <a:lnTo>
                        <a:pt x="764596" y="180128"/>
                      </a:lnTo>
                      <a:lnTo>
                        <a:pt x="764596" y="167873"/>
                      </a:lnTo>
                      <a:lnTo>
                        <a:pt x="773061" y="167873"/>
                      </a:lnTo>
                      <a:lnTo>
                        <a:pt x="778262" y="165845"/>
                      </a:lnTo>
                      <a:lnTo>
                        <a:pt x="779761" y="160555"/>
                      </a:lnTo>
                      <a:lnTo>
                        <a:pt x="776235" y="155353"/>
                      </a:lnTo>
                      <a:lnTo>
                        <a:pt x="777116" y="150944"/>
                      </a:lnTo>
                      <a:lnTo>
                        <a:pt x="786462" y="150944"/>
                      </a:lnTo>
                      <a:close/>
                      <a:moveTo>
                        <a:pt x="653416" y="219363"/>
                      </a:moveTo>
                      <a:lnTo>
                        <a:pt x="649096" y="219627"/>
                      </a:lnTo>
                      <a:lnTo>
                        <a:pt x="645304" y="220509"/>
                      </a:lnTo>
                      <a:lnTo>
                        <a:pt x="641778" y="219892"/>
                      </a:lnTo>
                      <a:lnTo>
                        <a:pt x="638604" y="217600"/>
                      </a:lnTo>
                      <a:lnTo>
                        <a:pt x="633666" y="218481"/>
                      </a:lnTo>
                      <a:lnTo>
                        <a:pt x="629875" y="217600"/>
                      </a:lnTo>
                      <a:lnTo>
                        <a:pt x="628112" y="220774"/>
                      </a:lnTo>
                      <a:lnTo>
                        <a:pt x="621763" y="218746"/>
                      </a:lnTo>
                      <a:lnTo>
                        <a:pt x="617091" y="219627"/>
                      </a:lnTo>
                      <a:lnTo>
                        <a:pt x="612682" y="218481"/>
                      </a:lnTo>
                      <a:lnTo>
                        <a:pt x="603954" y="219627"/>
                      </a:lnTo>
                      <a:lnTo>
                        <a:pt x="599016" y="218129"/>
                      </a:lnTo>
                      <a:lnTo>
                        <a:pt x="588524" y="219627"/>
                      </a:lnTo>
                      <a:lnTo>
                        <a:pt x="583851" y="220774"/>
                      </a:lnTo>
                      <a:lnTo>
                        <a:pt x="581206" y="217864"/>
                      </a:lnTo>
                      <a:lnTo>
                        <a:pt x="580941" y="214337"/>
                      </a:lnTo>
                      <a:lnTo>
                        <a:pt x="578914" y="214955"/>
                      </a:lnTo>
                      <a:lnTo>
                        <a:pt x="580412" y="220774"/>
                      </a:lnTo>
                      <a:lnTo>
                        <a:pt x="577150" y="218393"/>
                      </a:lnTo>
                      <a:lnTo>
                        <a:pt x="575387" y="220156"/>
                      </a:lnTo>
                      <a:lnTo>
                        <a:pt x="573359" y="221655"/>
                      </a:lnTo>
                      <a:lnTo>
                        <a:pt x="571596" y="223419"/>
                      </a:lnTo>
                      <a:lnTo>
                        <a:pt x="571331" y="225447"/>
                      </a:lnTo>
                      <a:lnTo>
                        <a:pt x="569568" y="226328"/>
                      </a:lnTo>
                      <a:lnTo>
                        <a:pt x="568069" y="228356"/>
                      </a:lnTo>
                      <a:lnTo>
                        <a:pt x="567452" y="228973"/>
                      </a:lnTo>
                      <a:lnTo>
                        <a:pt x="566835" y="232147"/>
                      </a:lnTo>
                      <a:lnTo>
                        <a:pt x="567716" y="237702"/>
                      </a:lnTo>
                      <a:lnTo>
                        <a:pt x="569127" y="241758"/>
                      </a:lnTo>
                      <a:lnTo>
                        <a:pt x="567364" y="243521"/>
                      </a:lnTo>
                      <a:lnTo>
                        <a:pt x="568510" y="247048"/>
                      </a:lnTo>
                      <a:lnTo>
                        <a:pt x="571420" y="251721"/>
                      </a:lnTo>
                      <a:lnTo>
                        <a:pt x="570538" y="255777"/>
                      </a:lnTo>
                      <a:lnTo>
                        <a:pt x="569127" y="255777"/>
                      </a:lnTo>
                      <a:lnTo>
                        <a:pt x="568510" y="251104"/>
                      </a:lnTo>
                      <a:lnTo>
                        <a:pt x="560927" y="243521"/>
                      </a:lnTo>
                      <a:lnTo>
                        <a:pt x="558635" y="239994"/>
                      </a:lnTo>
                      <a:lnTo>
                        <a:pt x="556343" y="240876"/>
                      </a:lnTo>
                      <a:lnTo>
                        <a:pt x="554844" y="235939"/>
                      </a:lnTo>
                      <a:lnTo>
                        <a:pt x="554844" y="234792"/>
                      </a:lnTo>
                      <a:lnTo>
                        <a:pt x="553962" y="233029"/>
                      </a:lnTo>
                      <a:lnTo>
                        <a:pt x="552198" y="232147"/>
                      </a:lnTo>
                      <a:lnTo>
                        <a:pt x="552198" y="229238"/>
                      </a:lnTo>
                      <a:lnTo>
                        <a:pt x="553080" y="223066"/>
                      </a:lnTo>
                      <a:lnTo>
                        <a:pt x="556343" y="221038"/>
                      </a:lnTo>
                      <a:lnTo>
                        <a:pt x="559252" y="219892"/>
                      </a:lnTo>
                      <a:lnTo>
                        <a:pt x="562426" y="214690"/>
                      </a:lnTo>
                      <a:lnTo>
                        <a:pt x="564719" y="214426"/>
                      </a:lnTo>
                      <a:lnTo>
                        <a:pt x="567011" y="210899"/>
                      </a:lnTo>
                      <a:lnTo>
                        <a:pt x="568510" y="207372"/>
                      </a:lnTo>
                      <a:lnTo>
                        <a:pt x="572565" y="208518"/>
                      </a:lnTo>
                      <a:lnTo>
                        <a:pt x="577238" y="209135"/>
                      </a:lnTo>
                      <a:lnTo>
                        <a:pt x="582793" y="209135"/>
                      </a:lnTo>
                      <a:lnTo>
                        <a:pt x="588348" y="210282"/>
                      </a:lnTo>
                      <a:lnTo>
                        <a:pt x="592756" y="210546"/>
                      </a:lnTo>
                      <a:lnTo>
                        <a:pt x="594784" y="210546"/>
                      </a:lnTo>
                      <a:lnTo>
                        <a:pt x="597694" y="208518"/>
                      </a:lnTo>
                      <a:lnTo>
                        <a:pt x="600338" y="210811"/>
                      </a:lnTo>
                      <a:lnTo>
                        <a:pt x="603865" y="212309"/>
                      </a:lnTo>
                      <a:lnTo>
                        <a:pt x="608186" y="213720"/>
                      </a:lnTo>
                      <a:lnTo>
                        <a:pt x="611712" y="213456"/>
                      </a:lnTo>
                      <a:lnTo>
                        <a:pt x="614886" y="213985"/>
                      </a:lnTo>
                      <a:lnTo>
                        <a:pt x="616649" y="211957"/>
                      </a:lnTo>
                      <a:lnTo>
                        <a:pt x="618942" y="211957"/>
                      </a:lnTo>
                      <a:lnTo>
                        <a:pt x="622469" y="211957"/>
                      </a:lnTo>
                      <a:lnTo>
                        <a:pt x="624761" y="214249"/>
                      </a:lnTo>
                      <a:lnTo>
                        <a:pt x="630580" y="212221"/>
                      </a:lnTo>
                      <a:lnTo>
                        <a:pt x="632961" y="211075"/>
                      </a:lnTo>
                      <a:lnTo>
                        <a:pt x="636400" y="214602"/>
                      </a:lnTo>
                      <a:lnTo>
                        <a:pt x="639045" y="213456"/>
                      </a:lnTo>
                      <a:lnTo>
                        <a:pt x="642218" y="213456"/>
                      </a:lnTo>
                      <a:lnTo>
                        <a:pt x="650683" y="208518"/>
                      </a:lnTo>
                      <a:lnTo>
                        <a:pt x="653592" y="209400"/>
                      </a:lnTo>
                      <a:lnTo>
                        <a:pt x="655355" y="210282"/>
                      </a:lnTo>
                      <a:lnTo>
                        <a:pt x="655973" y="212662"/>
                      </a:lnTo>
                      <a:lnTo>
                        <a:pt x="656590" y="215836"/>
                      </a:lnTo>
                      <a:lnTo>
                        <a:pt x="657471" y="218129"/>
                      </a:lnTo>
                      <a:lnTo>
                        <a:pt x="653416" y="219363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97" name="Freihandform: Form 1896">
                <a:extLst>
                  <a:ext uri="{FF2B5EF4-FFF2-40B4-BE49-F238E27FC236}">
                    <a16:creationId xmlns:a16="http://schemas.microsoft.com/office/drawing/2014/main" id="{B3D7CCE3-1699-C0D9-1F72-7C52245C46B8}"/>
                  </a:ext>
                </a:extLst>
              </p:cNvPr>
              <p:cNvSpPr/>
              <p:nvPr/>
            </p:nvSpPr>
            <p:spPr>
              <a:xfrm>
                <a:off x="5475156" y="3069361"/>
                <a:ext cx="202434" cy="101217"/>
              </a:xfrm>
              <a:custGeom>
                <a:avLst/>
                <a:gdLst>
                  <a:gd name="connsiteX0" fmla="*/ 90990 w 202434"/>
                  <a:gd name="connsiteY0" fmla="*/ 97426 h 101217"/>
                  <a:gd name="connsiteX1" fmla="*/ 92489 w 202434"/>
                  <a:gd name="connsiteY1" fmla="*/ 100953 h 101217"/>
                  <a:gd name="connsiteX2" fmla="*/ 88962 w 202434"/>
                  <a:gd name="connsiteY2" fmla="*/ 98043 h 101217"/>
                  <a:gd name="connsiteX3" fmla="*/ 80851 w 202434"/>
                  <a:gd name="connsiteY3" fmla="*/ 94517 h 101217"/>
                  <a:gd name="connsiteX4" fmla="*/ 70270 w 202434"/>
                  <a:gd name="connsiteY4" fmla="*/ 94517 h 101217"/>
                  <a:gd name="connsiteX5" fmla="*/ 66479 w 202434"/>
                  <a:gd name="connsiteY5" fmla="*/ 101217 h 101217"/>
                  <a:gd name="connsiteX6" fmla="*/ 61013 w 202434"/>
                  <a:gd name="connsiteY6" fmla="*/ 94517 h 101217"/>
                  <a:gd name="connsiteX7" fmla="*/ 55987 w 202434"/>
                  <a:gd name="connsiteY7" fmla="*/ 96544 h 101217"/>
                  <a:gd name="connsiteX8" fmla="*/ 53695 w 202434"/>
                  <a:gd name="connsiteY8" fmla="*/ 92753 h 101217"/>
                  <a:gd name="connsiteX9" fmla="*/ 46112 w 202434"/>
                  <a:gd name="connsiteY9" fmla="*/ 89226 h 101217"/>
                  <a:gd name="connsiteX10" fmla="*/ 40205 w 202434"/>
                  <a:gd name="connsiteY10" fmla="*/ 89226 h 101217"/>
                  <a:gd name="connsiteX11" fmla="*/ 37383 w 202434"/>
                  <a:gd name="connsiteY11" fmla="*/ 94517 h 101217"/>
                  <a:gd name="connsiteX12" fmla="*/ 29184 w 202434"/>
                  <a:gd name="connsiteY12" fmla="*/ 89226 h 101217"/>
                  <a:gd name="connsiteX13" fmla="*/ 20455 w 202434"/>
                  <a:gd name="connsiteY13" fmla="*/ 89226 h 101217"/>
                  <a:gd name="connsiteX14" fmla="*/ 8464 w 202434"/>
                  <a:gd name="connsiteY14" fmla="*/ 89226 h 101217"/>
                  <a:gd name="connsiteX15" fmla="*/ 6437 w 202434"/>
                  <a:gd name="connsiteY15" fmla="*/ 92753 h 101217"/>
                  <a:gd name="connsiteX16" fmla="*/ 0 w 202434"/>
                  <a:gd name="connsiteY16" fmla="*/ 79969 h 101217"/>
                  <a:gd name="connsiteX17" fmla="*/ 3791 w 202434"/>
                  <a:gd name="connsiteY17" fmla="*/ 79969 h 101217"/>
                  <a:gd name="connsiteX18" fmla="*/ 4937 w 202434"/>
                  <a:gd name="connsiteY18" fmla="*/ 76706 h 101217"/>
                  <a:gd name="connsiteX19" fmla="*/ 11109 w 202434"/>
                  <a:gd name="connsiteY19" fmla="*/ 72915 h 101217"/>
                  <a:gd name="connsiteX20" fmla="*/ 30066 w 202434"/>
                  <a:gd name="connsiteY20" fmla="*/ 79969 h 101217"/>
                  <a:gd name="connsiteX21" fmla="*/ 31212 w 202434"/>
                  <a:gd name="connsiteY21" fmla="*/ 78470 h 101217"/>
                  <a:gd name="connsiteX22" fmla="*/ 35620 w 202434"/>
                  <a:gd name="connsiteY22" fmla="*/ 78470 h 101217"/>
                  <a:gd name="connsiteX23" fmla="*/ 34386 w 202434"/>
                  <a:gd name="connsiteY23" fmla="*/ 74943 h 101217"/>
                  <a:gd name="connsiteX24" fmla="*/ 35885 w 202434"/>
                  <a:gd name="connsiteY24" fmla="*/ 74943 h 101217"/>
                  <a:gd name="connsiteX25" fmla="*/ 46112 w 202434"/>
                  <a:gd name="connsiteY25" fmla="*/ 74943 h 101217"/>
                  <a:gd name="connsiteX26" fmla="*/ 51931 w 202434"/>
                  <a:gd name="connsiteY26" fmla="*/ 72915 h 101217"/>
                  <a:gd name="connsiteX27" fmla="*/ 56869 w 202434"/>
                  <a:gd name="connsiteY27" fmla="*/ 69124 h 101217"/>
                  <a:gd name="connsiteX28" fmla="*/ 63305 w 202434"/>
                  <a:gd name="connsiteY28" fmla="*/ 71240 h 101217"/>
                  <a:gd name="connsiteX29" fmla="*/ 61013 w 202434"/>
                  <a:gd name="connsiteY29" fmla="*/ 63305 h 101217"/>
                  <a:gd name="connsiteX30" fmla="*/ 67978 w 202434"/>
                  <a:gd name="connsiteY30" fmla="*/ 65950 h 101217"/>
                  <a:gd name="connsiteX31" fmla="*/ 70006 w 202434"/>
                  <a:gd name="connsiteY31" fmla="*/ 59249 h 101217"/>
                  <a:gd name="connsiteX32" fmla="*/ 52813 w 202434"/>
                  <a:gd name="connsiteY32" fmla="*/ 55722 h 101217"/>
                  <a:gd name="connsiteX33" fmla="*/ 49551 w 202434"/>
                  <a:gd name="connsiteY33" fmla="*/ 50520 h 101217"/>
                  <a:gd name="connsiteX34" fmla="*/ 44966 w 202434"/>
                  <a:gd name="connsiteY34" fmla="*/ 50520 h 101217"/>
                  <a:gd name="connsiteX35" fmla="*/ 41968 w 202434"/>
                  <a:gd name="connsiteY35" fmla="*/ 41439 h 101217"/>
                  <a:gd name="connsiteX36" fmla="*/ 36767 w 202434"/>
                  <a:gd name="connsiteY36" fmla="*/ 44613 h 101217"/>
                  <a:gd name="connsiteX37" fmla="*/ 34386 w 202434"/>
                  <a:gd name="connsiteY37" fmla="*/ 50520 h 101217"/>
                  <a:gd name="connsiteX38" fmla="*/ 23629 w 202434"/>
                  <a:gd name="connsiteY38" fmla="*/ 48757 h 101217"/>
                  <a:gd name="connsiteX39" fmla="*/ 15429 w 202434"/>
                  <a:gd name="connsiteY39" fmla="*/ 43202 h 101217"/>
                  <a:gd name="connsiteX40" fmla="*/ 13754 w 202434"/>
                  <a:gd name="connsiteY40" fmla="*/ 43202 h 101217"/>
                  <a:gd name="connsiteX41" fmla="*/ 7847 w 202434"/>
                  <a:gd name="connsiteY41" fmla="*/ 37648 h 101217"/>
                  <a:gd name="connsiteX42" fmla="*/ 17458 w 202434"/>
                  <a:gd name="connsiteY42" fmla="*/ 29448 h 101217"/>
                  <a:gd name="connsiteX43" fmla="*/ 23629 w 202434"/>
                  <a:gd name="connsiteY43" fmla="*/ 26274 h 101217"/>
                  <a:gd name="connsiteX44" fmla="*/ 18074 w 202434"/>
                  <a:gd name="connsiteY44" fmla="*/ 22218 h 101217"/>
                  <a:gd name="connsiteX45" fmla="*/ 13754 w 202434"/>
                  <a:gd name="connsiteY45" fmla="*/ 22483 h 101217"/>
                  <a:gd name="connsiteX46" fmla="*/ 15429 w 202434"/>
                  <a:gd name="connsiteY46" fmla="*/ 14283 h 101217"/>
                  <a:gd name="connsiteX47" fmla="*/ 25657 w 202434"/>
                  <a:gd name="connsiteY47" fmla="*/ 10845 h 101217"/>
                  <a:gd name="connsiteX48" fmla="*/ 40822 w 202434"/>
                  <a:gd name="connsiteY48" fmla="*/ 12255 h 101217"/>
                  <a:gd name="connsiteX49" fmla="*/ 53078 w 202434"/>
                  <a:gd name="connsiteY49" fmla="*/ 16047 h 101217"/>
                  <a:gd name="connsiteX50" fmla="*/ 60660 w 202434"/>
                  <a:gd name="connsiteY50" fmla="*/ 16047 h 101217"/>
                  <a:gd name="connsiteX51" fmla="*/ 67626 w 202434"/>
                  <a:gd name="connsiteY51" fmla="*/ 19573 h 101217"/>
                  <a:gd name="connsiteX52" fmla="*/ 63570 w 202434"/>
                  <a:gd name="connsiteY52" fmla="*/ 7318 h 101217"/>
                  <a:gd name="connsiteX53" fmla="*/ 68859 w 202434"/>
                  <a:gd name="connsiteY53" fmla="*/ 5555 h 101217"/>
                  <a:gd name="connsiteX54" fmla="*/ 72651 w 202434"/>
                  <a:gd name="connsiteY54" fmla="*/ 0 h 101217"/>
                  <a:gd name="connsiteX55" fmla="*/ 86581 w 202434"/>
                  <a:gd name="connsiteY55" fmla="*/ 5555 h 101217"/>
                  <a:gd name="connsiteX56" fmla="*/ 107389 w 202434"/>
                  <a:gd name="connsiteY56" fmla="*/ 9081 h 101217"/>
                  <a:gd name="connsiteX57" fmla="*/ 110563 w 202434"/>
                  <a:gd name="connsiteY57" fmla="*/ 7318 h 101217"/>
                  <a:gd name="connsiteX58" fmla="*/ 164523 w 202434"/>
                  <a:gd name="connsiteY58" fmla="*/ 7318 h 101217"/>
                  <a:gd name="connsiteX59" fmla="*/ 175015 w 202434"/>
                  <a:gd name="connsiteY59" fmla="*/ 12255 h 101217"/>
                  <a:gd name="connsiteX60" fmla="*/ 180833 w 202434"/>
                  <a:gd name="connsiteY60" fmla="*/ 12255 h 101217"/>
                  <a:gd name="connsiteX61" fmla="*/ 185507 w 202434"/>
                  <a:gd name="connsiteY61" fmla="*/ 19573 h 101217"/>
                  <a:gd name="connsiteX62" fmla="*/ 196615 w 202434"/>
                  <a:gd name="connsiteY62" fmla="*/ 19573 h 101217"/>
                  <a:gd name="connsiteX63" fmla="*/ 202435 w 202434"/>
                  <a:gd name="connsiteY63" fmla="*/ 32710 h 101217"/>
                  <a:gd name="connsiteX64" fmla="*/ 195999 w 202434"/>
                  <a:gd name="connsiteY64" fmla="*/ 33592 h 101217"/>
                  <a:gd name="connsiteX65" fmla="*/ 195470 w 202434"/>
                  <a:gd name="connsiteY65" fmla="*/ 37119 h 101217"/>
                  <a:gd name="connsiteX66" fmla="*/ 173868 w 202434"/>
                  <a:gd name="connsiteY66" fmla="*/ 47611 h 101217"/>
                  <a:gd name="connsiteX67" fmla="*/ 168314 w 202434"/>
                  <a:gd name="connsiteY67" fmla="*/ 57750 h 101217"/>
                  <a:gd name="connsiteX68" fmla="*/ 143803 w 202434"/>
                  <a:gd name="connsiteY68" fmla="*/ 58632 h 101217"/>
                  <a:gd name="connsiteX69" fmla="*/ 142392 w 202434"/>
                  <a:gd name="connsiteY69" fmla="*/ 69477 h 101217"/>
                  <a:gd name="connsiteX70" fmla="*/ 139130 w 202434"/>
                  <a:gd name="connsiteY70" fmla="*/ 74943 h 101217"/>
                  <a:gd name="connsiteX71" fmla="*/ 136220 w 202434"/>
                  <a:gd name="connsiteY71" fmla="*/ 73268 h 101217"/>
                  <a:gd name="connsiteX72" fmla="*/ 131283 w 202434"/>
                  <a:gd name="connsiteY72" fmla="*/ 76442 h 101217"/>
                  <a:gd name="connsiteX73" fmla="*/ 125111 w 202434"/>
                  <a:gd name="connsiteY73" fmla="*/ 76442 h 101217"/>
                  <a:gd name="connsiteX74" fmla="*/ 120438 w 202434"/>
                  <a:gd name="connsiteY74" fmla="*/ 67713 h 101217"/>
                  <a:gd name="connsiteX75" fmla="*/ 114884 w 202434"/>
                  <a:gd name="connsiteY75" fmla="*/ 73268 h 101217"/>
                  <a:gd name="connsiteX76" fmla="*/ 108535 w 202434"/>
                  <a:gd name="connsiteY76" fmla="*/ 71240 h 101217"/>
                  <a:gd name="connsiteX77" fmla="*/ 109681 w 202434"/>
                  <a:gd name="connsiteY77" fmla="*/ 75560 h 101217"/>
                  <a:gd name="connsiteX78" fmla="*/ 106772 w 202434"/>
                  <a:gd name="connsiteY78" fmla="*/ 74943 h 101217"/>
                  <a:gd name="connsiteX79" fmla="*/ 101834 w 202434"/>
                  <a:gd name="connsiteY79" fmla="*/ 80498 h 101217"/>
                  <a:gd name="connsiteX80" fmla="*/ 93635 w 202434"/>
                  <a:gd name="connsiteY80" fmla="*/ 82261 h 101217"/>
                  <a:gd name="connsiteX81" fmla="*/ 92753 w 202434"/>
                  <a:gd name="connsiteY81" fmla="*/ 88433 h 101217"/>
                  <a:gd name="connsiteX82" fmla="*/ 95663 w 202434"/>
                  <a:gd name="connsiteY82" fmla="*/ 93987 h 101217"/>
                  <a:gd name="connsiteX83" fmla="*/ 95398 w 202434"/>
                  <a:gd name="connsiteY83" fmla="*/ 97161 h 101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202434" h="101217">
                    <a:moveTo>
                      <a:pt x="90990" y="97426"/>
                    </a:moveTo>
                    <a:lnTo>
                      <a:pt x="92489" y="100953"/>
                    </a:lnTo>
                    <a:lnTo>
                      <a:pt x="88962" y="98043"/>
                    </a:lnTo>
                    <a:lnTo>
                      <a:pt x="80851" y="94517"/>
                    </a:lnTo>
                    <a:lnTo>
                      <a:pt x="70270" y="94517"/>
                    </a:lnTo>
                    <a:lnTo>
                      <a:pt x="66479" y="101217"/>
                    </a:lnTo>
                    <a:lnTo>
                      <a:pt x="61013" y="94517"/>
                    </a:lnTo>
                    <a:lnTo>
                      <a:pt x="55987" y="96544"/>
                    </a:lnTo>
                    <a:lnTo>
                      <a:pt x="53695" y="92753"/>
                    </a:lnTo>
                    <a:lnTo>
                      <a:pt x="46112" y="89226"/>
                    </a:lnTo>
                    <a:lnTo>
                      <a:pt x="40205" y="89226"/>
                    </a:lnTo>
                    <a:lnTo>
                      <a:pt x="37383" y="94517"/>
                    </a:lnTo>
                    <a:lnTo>
                      <a:pt x="29184" y="89226"/>
                    </a:lnTo>
                    <a:lnTo>
                      <a:pt x="20455" y="89226"/>
                    </a:lnTo>
                    <a:lnTo>
                      <a:pt x="8464" y="89226"/>
                    </a:lnTo>
                    <a:lnTo>
                      <a:pt x="6437" y="92753"/>
                    </a:lnTo>
                    <a:lnTo>
                      <a:pt x="0" y="79969"/>
                    </a:lnTo>
                    <a:lnTo>
                      <a:pt x="3791" y="79969"/>
                    </a:lnTo>
                    <a:lnTo>
                      <a:pt x="4937" y="76706"/>
                    </a:lnTo>
                    <a:lnTo>
                      <a:pt x="11109" y="72915"/>
                    </a:lnTo>
                    <a:lnTo>
                      <a:pt x="30066" y="79969"/>
                    </a:lnTo>
                    <a:lnTo>
                      <a:pt x="31212" y="78470"/>
                    </a:lnTo>
                    <a:lnTo>
                      <a:pt x="35620" y="78470"/>
                    </a:lnTo>
                    <a:lnTo>
                      <a:pt x="34386" y="74943"/>
                    </a:lnTo>
                    <a:lnTo>
                      <a:pt x="35885" y="74943"/>
                    </a:lnTo>
                    <a:lnTo>
                      <a:pt x="46112" y="74943"/>
                    </a:lnTo>
                    <a:lnTo>
                      <a:pt x="51931" y="72915"/>
                    </a:lnTo>
                    <a:lnTo>
                      <a:pt x="56869" y="69124"/>
                    </a:lnTo>
                    <a:lnTo>
                      <a:pt x="63305" y="71240"/>
                    </a:lnTo>
                    <a:lnTo>
                      <a:pt x="61013" y="63305"/>
                    </a:lnTo>
                    <a:lnTo>
                      <a:pt x="67978" y="65950"/>
                    </a:lnTo>
                    <a:lnTo>
                      <a:pt x="70006" y="59249"/>
                    </a:lnTo>
                    <a:lnTo>
                      <a:pt x="52813" y="55722"/>
                    </a:lnTo>
                    <a:lnTo>
                      <a:pt x="49551" y="50520"/>
                    </a:lnTo>
                    <a:lnTo>
                      <a:pt x="44966" y="50520"/>
                    </a:lnTo>
                    <a:lnTo>
                      <a:pt x="41968" y="41439"/>
                    </a:lnTo>
                    <a:lnTo>
                      <a:pt x="36767" y="44613"/>
                    </a:lnTo>
                    <a:lnTo>
                      <a:pt x="34386" y="50520"/>
                    </a:lnTo>
                    <a:lnTo>
                      <a:pt x="23629" y="48757"/>
                    </a:lnTo>
                    <a:lnTo>
                      <a:pt x="15429" y="43202"/>
                    </a:lnTo>
                    <a:lnTo>
                      <a:pt x="13754" y="43202"/>
                    </a:lnTo>
                    <a:lnTo>
                      <a:pt x="7847" y="37648"/>
                    </a:lnTo>
                    <a:lnTo>
                      <a:pt x="17458" y="29448"/>
                    </a:lnTo>
                    <a:lnTo>
                      <a:pt x="23629" y="26274"/>
                    </a:lnTo>
                    <a:lnTo>
                      <a:pt x="18074" y="22218"/>
                    </a:lnTo>
                    <a:lnTo>
                      <a:pt x="13754" y="22483"/>
                    </a:lnTo>
                    <a:lnTo>
                      <a:pt x="15429" y="14283"/>
                    </a:lnTo>
                    <a:lnTo>
                      <a:pt x="25657" y="10845"/>
                    </a:lnTo>
                    <a:lnTo>
                      <a:pt x="40822" y="12255"/>
                    </a:lnTo>
                    <a:lnTo>
                      <a:pt x="53078" y="16047"/>
                    </a:lnTo>
                    <a:lnTo>
                      <a:pt x="60660" y="16047"/>
                    </a:lnTo>
                    <a:lnTo>
                      <a:pt x="67626" y="19573"/>
                    </a:lnTo>
                    <a:lnTo>
                      <a:pt x="63570" y="7318"/>
                    </a:lnTo>
                    <a:lnTo>
                      <a:pt x="68859" y="5555"/>
                    </a:lnTo>
                    <a:lnTo>
                      <a:pt x="72651" y="0"/>
                    </a:lnTo>
                    <a:lnTo>
                      <a:pt x="86581" y="5555"/>
                    </a:lnTo>
                    <a:lnTo>
                      <a:pt x="107389" y="9081"/>
                    </a:lnTo>
                    <a:lnTo>
                      <a:pt x="110563" y="7318"/>
                    </a:lnTo>
                    <a:lnTo>
                      <a:pt x="164523" y="7318"/>
                    </a:lnTo>
                    <a:lnTo>
                      <a:pt x="175015" y="12255"/>
                    </a:lnTo>
                    <a:lnTo>
                      <a:pt x="180833" y="12255"/>
                    </a:lnTo>
                    <a:lnTo>
                      <a:pt x="185507" y="19573"/>
                    </a:lnTo>
                    <a:lnTo>
                      <a:pt x="196615" y="19573"/>
                    </a:lnTo>
                    <a:lnTo>
                      <a:pt x="202435" y="32710"/>
                    </a:lnTo>
                    <a:lnTo>
                      <a:pt x="195999" y="33592"/>
                    </a:lnTo>
                    <a:lnTo>
                      <a:pt x="195470" y="37119"/>
                    </a:lnTo>
                    <a:lnTo>
                      <a:pt x="173868" y="47611"/>
                    </a:lnTo>
                    <a:lnTo>
                      <a:pt x="168314" y="57750"/>
                    </a:lnTo>
                    <a:lnTo>
                      <a:pt x="143803" y="58632"/>
                    </a:lnTo>
                    <a:lnTo>
                      <a:pt x="142392" y="69477"/>
                    </a:lnTo>
                    <a:lnTo>
                      <a:pt x="139130" y="74943"/>
                    </a:lnTo>
                    <a:lnTo>
                      <a:pt x="136220" y="73268"/>
                    </a:lnTo>
                    <a:lnTo>
                      <a:pt x="131283" y="76442"/>
                    </a:lnTo>
                    <a:lnTo>
                      <a:pt x="125111" y="76442"/>
                    </a:lnTo>
                    <a:lnTo>
                      <a:pt x="120438" y="67713"/>
                    </a:lnTo>
                    <a:lnTo>
                      <a:pt x="114884" y="73268"/>
                    </a:lnTo>
                    <a:lnTo>
                      <a:pt x="108535" y="71240"/>
                    </a:lnTo>
                    <a:lnTo>
                      <a:pt x="109681" y="75560"/>
                    </a:lnTo>
                    <a:lnTo>
                      <a:pt x="106772" y="74943"/>
                    </a:lnTo>
                    <a:lnTo>
                      <a:pt x="101834" y="80498"/>
                    </a:lnTo>
                    <a:lnTo>
                      <a:pt x="93635" y="82261"/>
                    </a:lnTo>
                    <a:lnTo>
                      <a:pt x="92753" y="88433"/>
                    </a:lnTo>
                    <a:lnTo>
                      <a:pt x="95663" y="93987"/>
                    </a:lnTo>
                    <a:lnTo>
                      <a:pt x="95398" y="97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8" name="Freihandform: Form 1897">
                <a:extLst>
                  <a:ext uri="{FF2B5EF4-FFF2-40B4-BE49-F238E27FC236}">
                    <a16:creationId xmlns:a16="http://schemas.microsoft.com/office/drawing/2014/main" id="{F33D99B9-FCC4-6F80-E793-81F482A2FD98}"/>
                  </a:ext>
                </a:extLst>
              </p:cNvPr>
              <p:cNvSpPr/>
              <p:nvPr/>
            </p:nvSpPr>
            <p:spPr>
              <a:xfrm>
                <a:off x="5439272" y="3123055"/>
                <a:ext cx="173251" cy="111973"/>
              </a:xfrm>
              <a:custGeom>
                <a:avLst/>
                <a:gdLst>
                  <a:gd name="connsiteX0" fmla="*/ 25128 w 173251"/>
                  <a:gd name="connsiteY0" fmla="*/ 100953 h 111973"/>
                  <a:gd name="connsiteX1" fmla="*/ 22483 w 173251"/>
                  <a:gd name="connsiteY1" fmla="*/ 85171 h 111973"/>
                  <a:gd name="connsiteX2" fmla="*/ 29184 w 173251"/>
                  <a:gd name="connsiteY2" fmla="*/ 74679 h 111973"/>
                  <a:gd name="connsiteX3" fmla="*/ 28037 w 173251"/>
                  <a:gd name="connsiteY3" fmla="*/ 70270 h 111973"/>
                  <a:gd name="connsiteX4" fmla="*/ 20984 w 173251"/>
                  <a:gd name="connsiteY4" fmla="*/ 60660 h 111973"/>
                  <a:gd name="connsiteX5" fmla="*/ 22219 w 173251"/>
                  <a:gd name="connsiteY5" fmla="*/ 53077 h 111973"/>
                  <a:gd name="connsiteX6" fmla="*/ 16664 w 173251"/>
                  <a:gd name="connsiteY6" fmla="*/ 49286 h 111973"/>
                  <a:gd name="connsiteX7" fmla="*/ 10492 w 173251"/>
                  <a:gd name="connsiteY7" fmla="*/ 51049 h 111973"/>
                  <a:gd name="connsiteX8" fmla="*/ 8993 w 173251"/>
                  <a:gd name="connsiteY8" fmla="*/ 45759 h 111973"/>
                  <a:gd name="connsiteX9" fmla="*/ 0 w 173251"/>
                  <a:gd name="connsiteY9" fmla="*/ 43731 h 111973"/>
                  <a:gd name="connsiteX10" fmla="*/ 882 w 173251"/>
                  <a:gd name="connsiteY10" fmla="*/ 37295 h 111973"/>
                  <a:gd name="connsiteX11" fmla="*/ 8993 w 173251"/>
                  <a:gd name="connsiteY11" fmla="*/ 34386 h 111973"/>
                  <a:gd name="connsiteX12" fmla="*/ 24511 w 173251"/>
                  <a:gd name="connsiteY12" fmla="*/ 35532 h 111973"/>
                  <a:gd name="connsiteX13" fmla="*/ 24246 w 173251"/>
                  <a:gd name="connsiteY13" fmla="*/ 28037 h 111973"/>
                  <a:gd name="connsiteX14" fmla="*/ 28037 w 173251"/>
                  <a:gd name="connsiteY14" fmla="*/ 24775 h 111973"/>
                  <a:gd name="connsiteX15" fmla="*/ 22219 w 173251"/>
                  <a:gd name="connsiteY15" fmla="*/ 21249 h 111973"/>
                  <a:gd name="connsiteX16" fmla="*/ 33240 w 173251"/>
                  <a:gd name="connsiteY16" fmla="*/ 17546 h 111973"/>
                  <a:gd name="connsiteX17" fmla="*/ 31212 w 173251"/>
                  <a:gd name="connsiteY17" fmla="*/ 10228 h 111973"/>
                  <a:gd name="connsiteX18" fmla="*/ 36149 w 173251"/>
                  <a:gd name="connsiteY18" fmla="*/ 7318 h 111973"/>
                  <a:gd name="connsiteX19" fmla="*/ 40558 w 173251"/>
                  <a:gd name="connsiteY19" fmla="*/ 7318 h 111973"/>
                  <a:gd name="connsiteX20" fmla="*/ 49904 w 173251"/>
                  <a:gd name="connsiteY20" fmla="*/ 3791 h 111973"/>
                  <a:gd name="connsiteX21" fmla="*/ 53695 w 173251"/>
                  <a:gd name="connsiteY21" fmla="*/ 0 h 111973"/>
                  <a:gd name="connsiteX22" fmla="*/ 61277 w 173251"/>
                  <a:gd name="connsiteY22" fmla="*/ 5819 h 111973"/>
                  <a:gd name="connsiteX23" fmla="*/ 55722 w 173251"/>
                  <a:gd name="connsiteY23" fmla="*/ 13754 h 111973"/>
                  <a:gd name="connsiteX24" fmla="*/ 56869 w 173251"/>
                  <a:gd name="connsiteY24" fmla="*/ 17193 h 111973"/>
                  <a:gd name="connsiteX25" fmla="*/ 71769 w 173251"/>
                  <a:gd name="connsiteY25" fmla="*/ 21249 h 111973"/>
                  <a:gd name="connsiteX26" fmla="*/ 70270 w 173251"/>
                  <a:gd name="connsiteY26" fmla="*/ 21249 h 111973"/>
                  <a:gd name="connsiteX27" fmla="*/ 71505 w 173251"/>
                  <a:gd name="connsiteY27" fmla="*/ 24775 h 111973"/>
                  <a:gd name="connsiteX28" fmla="*/ 67097 w 173251"/>
                  <a:gd name="connsiteY28" fmla="*/ 24775 h 111973"/>
                  <a:gd name="connsiteX29" fmla="*/ 65950 w 173251"/>
                  <a:gd name="connsiteY29" fmla="*/ 26274 h 111973"/>
                  <a:gd name="connsiteX30" fmla="*/ 46994 w 173251"/>
                  <a:gd name="connsiteY30" fmla="*/ 19221 h 111973"/>
                  <a:gd name="connsiteX31" fmla="*/ 40822 w 173251"/>
                  <a:gd name="connsiteY31" fmla="*/ 23012 h 111973"/>
                  <a:gd name="connsiteX32" fmla="*/ 39676 w 173251"/>
                  <a:gd name="connsiteY32" fmla="*/ 26274 h 111973"/>
                  <a:gd name="connsiteX33" fmla="*/ 35885 w 173251"/>
                  <a:gd name="connsiteY33" fmla="*/ 26274 h 111973"/>
                  <a:gd name="connsiteX34" fmla="*/ 42321 w 173251"/>
                  <a:gd name="connsiteY34" fmla="*/ 39059 h 111973"/>
                  <a:gd name="connsiteX35" fmla="*/ 44349 w 173251"/>
                  <a:gd name="connsiteY35" fmla="*/ 35532 h 111973"/>
                  <a:gd name="connsiteX36" fmla="*/ 56340 w 173251"/>
                  <a:gd name="connsiteY36" fmla="*/ 35532 h 111973"/>
                  <a:gd name="connsiteX37" fmla="*/ 65068 w 173251"/>
                  <a:gd name="connsiteY37" fmla="*/ 35532 h 111973"/>
                  <a:gd name="connsiteX38" fmla="*/ 73268 w 173251"/>
                  <a:gd name="connsiteY38" fmla="*/ 40822 h 111973"/>
                  <a:gd name="connsiteX39" fmla="*/ 76089 w 173251"/>
                  <a:gd name="connsiteY39" fmla="*/ 35532 h 111973"/>
                  <a:gd name="connsiteX40" fmla="*/ 81997 w 173251"/>
                  <a:gd name="connsiteY40" fmla="*/ 35532 h 111973"/>
                  <a:gd name="connsiteX41" fmla="*/ 89579 w 173251"/>
                  <a:gd name="connsiteY41" fmla="*/ 39059 h 111973"/>
                  <a:gd name="connsiteX42" fmla="*/ 91872 w 173251"/>
                  <a:gd name="connsiteY42" fmla="*/ 42850 h 111973"/>
                  <a:gd name="connsiteX43" fmla="*/ 96898 w 173251"/>
                  <a:gd name="connsiteY43" fmla="*/ 40822 h 111973"/>
                  <a:gd name="connsiteX44" fmla="*/ 102364 w 173251"/>
                  <a:gd name="connsiteY44" fmla="*/ 47523 h 111973"/>
                  <a:gd name="connsiteX45" fmla="*/ 106155 w 173251"/>
                  <a:gd name="connsiteY45" fmla="*/ 40822 h 111973"/>
                  <a:gd name="connsiteX46" fmla="*/ 116735 w 173251"/>
                  <a:gd name="connsiteY46" fmla="*/ 40822 h 111973"/>
                  <a:gd name="connsiteX47" fmla="*/ 124847 w 173251"/>
                  <a:gd name="connsiteY47" fmla="*/ 44349 h 111973"/>
                  <a:gd name="connsiteX48" fmla="*/ 128373 w 173251"/>
                  <a:gd name="connsiteY48" fmla="*/ 47258 h 111973"/>
                  <a:gd name="connsiteX49" fmla="*/ 134810 w 173251"/>
                  <a:gd name="connsiteY49" fmla="*/ 55370 h 111973"/>
                  <a:gd name="connsiteX50" fmla="*/ 132429 w 173251"/>
                  <a:gd name="connsiteY50" fmla="*/ 58896 h 111973"/>
                  <a:gd name="connsiteX51" fmla="*/ 139394 w 173251"/>
                  <a:gd name="connsiteY51" fmla="*/ 66479 h 111973"/>
                  <a:gd name="connsiteX52" fmla="*/ 142040 w 173251"/>
                  <a:gd name="connsiteY52" fmla="*/ 66214 h 111973"/>
                  <a:gd name="connsiteX53" fmla="*/ 141775 w 173251"/>
                  <a:gd name="connsiteY53" fmla="*/ 62952 h 111973"/>
                  <a:gd name="connsiteX54" fmla="*/ 147065 w 173251"/>
                  <a:gd name="connsiteY54" fmla="*/ 62952 h 111973"/>
                  <a:gd name="connsiteX55" fmla="*/ 158351 w 173251"/>
                  <a:gd name="connsiteY55" fmla="*/ 67978 h 111973"/>
                  <a:gd name="connsiteX56" fmla="*/ 160114 w 173251"/>
                  <a:gd name="connsiteY56" fmla="*/ 75208 h 111973"/>
                  <a:gd name="connsiteX57" fmla="*/ 166286 w 173251"/>
                  <a:gd name="connsiteY57" fmla="*/ 85171 h 111973"/>
                  <a:gd name="connsiteX58" fmla="*/ 166903 w 173251"/>
                  <a:gd name="connsiteY58" fmla="*/ 89844 h 111973"/>
                  <a:gd name="connsiteX59" fmla="*/ 173251 w 173251"/>
                  <a:gd name="connsiteY59" fmla="*/ 94781 h 111973"/>
                  <a:gd name="connsiteX60" fmla="*/ 170077 w 173251"/>
                  <a:gd name="connsiteY60" fmla="*/ 99454 h 111973"/>
                  <a:gd name="connsiteX61" fmla="*/ 163024 w 173251"/>
                  <a:gd name="connsiteY61" fmla="*/ 94781 h 111973"/>
                  <a:gd name="connsiteX62" fmla="*/ 156675 w 173251"/>
                  <a:gd name="connsiteY62" fmla="*/ 94252 h 111973"/>
                  <a:gd name="connsiteX63" fmla="*/ 153766 w 173251"/>
                  <a:gd name="connsiteY63" fmla="*/ 94781 h 111973"/>
                  <a:gd name="connsiteX64" fmla="*/ 153766 w 173251"/>
                  <a:gd name="connsiteY64" fmla="*/ 96544 h 111973"/>
                  <a:gd name="connsiteX65" fmla="*/ 143803 w 173251"/>
                  <a:gd name="connsiteY65" fmla="*/ 99189 h 111973"/>
                  <a:gd name="connsiteX66" fmla="*/ 141775 w 173251"/>
                  <a:gd name="connsiteY66" fmla="*/ 98043 h 111973"/>
                  <a:gd name="connsiteX67" fmla="*/ 144949 w 173251"/>
                  <a:gd name="connsiteY67" fmla="*/ 96544 h 111973"/>
                  <a:gd name="connsiteX68" fmla="*/ 144067 w 173251"/>
                  <a:gd name="connsiteY68" fmla="*/ 94252 h 111973"/>
                  <a:gd name="connsiteX69" fmla="*/ 134193 w 173251"/>
                  <a:gd name="connsiteY69" fmla="*/ 92753 h 111973"/>
                  <a:gd name="connsiteX70" fmla="*/ 129519 w 173251"/>
                  <a:gd name="connsiteY70" fmla="*/ 97162 h 111973"/>
                  <a:gd name="connsiteX71" fmla="*/ 126257 w 173251"/>
                  <a:gd name="connsiteY71" fmla="*/ 99189 h 111973"/>
                  <a:gd name="connsiteX72" fmla="*/ 123965 w 173251"/>
                  <a:gd name="connsiteY72" fmla="*/ 104127 h 111973"/>
                  <a:gd name="connsiteX73" fmla="*/ 116382 w 173251"/>
                  <a:gd name="connsiteY73" fmla="*/ 104744 h 111973"/>
                  <a:gd name="connsiteX74" fmla="*/ 109417 w 173251"/>
                  <a:gd name="connsiteY74" fmla="*/ 111974 h 111973"/>
                  <a:gd name="connsiteX75" fmla="*/ 104127 w 173251"/>
                  <a:gd name="connsiteY75" fmla="*/ 111974 h 111973"/>
                  <a:gd name="connsiteX76" fmla="*/ 98572 w 173251"/>
                  <a:gd name="connsiteY76" fmla="*/ 106155 h 111973"/>
                  <a:gd name="connsiteX77" fmla="*/ 96544 w 173251"/>
                  <a:gd name="connsiteY77" fmla="*/ 82526 h 111973"/>
                  <a:gd name="connsiteX78" fmla="*/ 94781 w 173251"/>
                  <a:gd name="connsiteY78" fmla="*/ 80762 h 111973"/>
                  <a:gd name="connsiteX79" fmla="*/ 88962 w 173251"/>
                  <a:gd name="connsiteY79" fmla="*/ 81997 h 111973"/>
                  <a:gd name="connsiteX80" fmla="*/ 88697 w 173251"/>
                  <a:gd name="connsiteY80" fmla="*/ 79881 h 111973"/>
                  <a:gd name="connsiteX81" fmla="*/ 88697 w 173251"/>
                  <a:gd name="connsiteY81" fmla="*/ 75560 h 111973"/>
                  <a:gd name="connsiteX82" fmla="*/ 87816 w 173251"/>
                  <a:gd name="connsiteY82" fmla="*/ 72034 h 111973"/>
                  <a:gd name="connsiteX83" fmla="*/ 80851 w 173251"/>
                  <a:gd name="connsiteY83" fmla="*/ 68242 h 111973"/>
                  <a:gd name="connsiteX84" fmla="*/ 73533 w 173251"/>
                  <a:gd name="connsiteY84" fmla="*/ 69124 h 111973"/>
                  <a:gd name="connsiteX85" fmla="*/ 72034 w 173251"/>
                  <a:gd name="connsiteY85" fmla="*/ 76971 h 111973"/>
                  <a:gd name="connsiteX86" fmla="*/ 67978 w 173251"/>
                  <a:gd name="connsiteY86" fmla="*/ 81379 h 111973"/>
                  <a:gd name="connsiteX87" fmla="*/ 66215 w 173251"/>
                  <a:gd name="connsiteY87" fmla="*/ 81379 h 111973"/>
                  <a:gd name="connsiteX88" fmla="*/ 70623 w 173251"/>
                  <a:gd name="connsiteY88" fmla="*/ 86934 h 111973"/>
                  <a:gd name="connsiteX89" fmla="*/ 70006 w 173251"/>
                  <a:gd name="connsiteY89" fmla="*/ 89226 h 111973"/>
                  <a:gd name="connsiteX90" fmla="*/ 68507 w 173251"/>
                  <a:gd name="connsiteY90" fmla="*/ 90990 h 111973"/>
                  <a:gd name="connsiteX91" fmla="*/ 65950 w 173251"/>
                  <a:gd name="connsiteY91" fmla="*/ 90725 h 111973"/>
                  <a:gd name="connsiteX92" fmla="*/ 63570 w 173251"/>
                  <a:gd name="connsiteY92" fmla="*/ 89844 h 111973"/>
                  <a:gd name="connsiteX93" fmla="*/ 56340 w 173251"/>
                  <a:gd name="connsiteY93" fmla="*/ 89844 h 111973"/>
                  <a:gd name="connsiteX94" fmla="*/ 52196 w 173251"/>
                  <a:gd name="connsiteY94" fmla="*/ 92753 h 111973"/>
                  <a:gd name="connsiteX95" fmla="*/ 53078 w 173251"/>
                  <a:gd name="connsiteY95" fmla="*/ 95398 h 111973"/>
                  <a:gd name="connsiteX96" fmla="*/ 53078 w 173251"/>
                  <a:gd name="connsiteY96" fmla="*/ 96280 h 111973"/>
                  <a:gd name="connsiteX97" fmla="*/ 55193 w 173251"/>
                  <a:gd name="connsiteY97" fmla="*/ 97162 h 111973"/>
                  <a:gd name="connsiteX98" fmla="*/ 55722 w 173251"/>
                  <a:gd name="connsiteY98" fmla="*/ 99189 h 111973"/>
                  <a:gd name="connsiteX99" fmla="*/ 55987 w 173251"/>
                  <a:gd name="connsiteY99" fmla="*/ 100071 h 111973"/>
                  <a:gd name="connsiteX100" fmla="*/ 53342 w 173251"/>
                  <a:gd name="connsiteY100" fmla="*/ 102363 h 111973"/>
                  <a:gd name="connsiteX101" fmla="*/ 46377 w 173251"/>
                  <a:gd name="connsiteY101" fmla="*/ 97162 h 111973"/>
                  <a:gd name="connsiteX102" fmla="*/ 43732 w 173251"/>
                  <a:gd name="connsiteY102" fmla="*/ 96544 h 111973"/>
                  <a:gd name="connsiteX103" fmla="*/ 44084 w 173251"/>
                  <a:gd name="connsiteY103" fmla="*/ 98043 h 111973"/>
                  <a:gd name="connsiteX104" fmla="*/ 42585 w 173251"/>
                  <a:gd name="connsiteY104" fmla="*/ 96544 h 111973"/>
                  <a:gd name="connsiteX105" fmla="*/ 42850 w 173251"/>
                  <a:gd name="connsiteY105" fmla="*/ 98308 h 111973"/>
                  <a:gd name="connsiteX106" fmla="*/ 39941 w 173251"/>
                  <a:gd name="connsiteY106" fmla="*/ 98043 h 111973"/>
                  <a:gd name="connsiteX107" fmla="*/ 40293 w 173251"/>
                  <a:gd name="connsiteY107" fmla="*/ 99718 h 111973"/>
                  <a:gd name="connsiteX108" fmla="*/ 33592 w 173251"/>
                  <a:gd name="connsiteY108" fmla="*/ 102363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</a:cxnLst>
                <a:rect l="l" t="t" r="r" b="b"/>
                <a:pathLst>
                  <a:path w="173251" h="111973">
                    <a:moveTo>
                      <a:pt x="25128" y="100953"/>
                    </a:moveTo>
                    <a:lnTo>
                      <a:pt x="22483" y="85171"/>
                    </a:lnTo>
                    <a:lnTo>
                      <a:pt x="29184" y="74679"/>
                    </a:lnTo>
                    <a:lnTo>
                      <a:pt x="28037" y="70270"/>
                    </a:lnTo>
                    <a:lnTo>
                      <a:pt x="20984" y="60660"/>
                    </a:lnTo>
                    <a:lnTo>
                      <a:pt x="22219" y="53077"/>
                    </a:lnTo>
                    <a:lnTo>
                      <a:pt x="16664" y="49286"/>
                    </a:lnTo>
                    <a:lnTo>
                      <a:pt x="10492" y="51049"/>
                    </a:lnTo>
                    <a:lnTo>
                      <a:pt x="8993" y="45759"/>
                    </a:lnTo>
                    <a:lnTo>
                      <a:pt x="0" y="43731"/>
                    </a:lnTo>
                    <a:lnTo>
                      <a:pt x="882" y="37295"/>
                    </a:lnTo>
                    <a:lnTo>
                      <a:pt x="8993" y="34386"/>
                    </a:lnTo>
                    <a:lnTo>
                      <a:pt x="24511" y="35532"/>
                    </a:lnTo>
                    <a:lnTo>
                      <a:pt x="24246" y="28037"/>
                    </a:lnTo>
                    <a:lnTo>
                      <a:pt x="28037" y="24775"/>
                    </a:lnTo>
                    <a:lnTo>
                      <a:pt x="22219" y="21249"/>
                    </a:lnTo>
                    <a:lnTo>
                      <a:pt x="33240" y="17546"/>
                    </a:lnTo>
                    <a:lnTo>
                      <a:pt x="31212" y="10228"/>
                    </a:lnTo>
                    <a:lnTo>
                      <a:pt x="36149" y="7318"/>
                    </a:lnTo>
                    <a:lnTo>
                      <a:pt x="40558" y="7318"/>
                    </a:lnTo>
                    <a:lnTo>
                      <a:pt x="49904" y="3791"/>
                    </a:lnTo>
                    <a:lnTo>
                      <a:pt x="53695" y="0"/>
                    </a:lnTo>
                    <a:lnTo>
                      <a:pt x="61277" y="5819"/>
                    </a:lnTo>
                    <a:lnTo>
                      <a:pt x="55722" y="13754"/>
                    </a:lnTo>
                    <a:lnTo>
                      <a:pt x="56869" y="17193"/>
                    </a:lnTo>
                    <a:lnTo>
                      <a:pt x="71769" y="21249"/>
                    </a:lnTo>
                    <a:lnTo>
                      <a:pt x="70270" y="21249"/>
                    </a:lnTo>
                    <a:lnTo>
                      <a:pt x="71505" y="24775"/>
                    </a:lnTo>
                    <a:lnTo>
                      <a:pt x="67097" y="24775"/>
                    </a:lnTo>
                    <a:lnTo>
                      <a:pt x="65950" y="26274"/>
                    </a:lnTo>
                    <a:lnTo>
                      <a:pt x="46994" y="19221"/>
                    </a:lnTo>
                    <a:lnTo>
                      <a:pt x="40822" y="23012"/>
                    </a:lnTo>
                    <a:lnTo>
                      <a:pt x="39676" y="26274"/>
                    </a:lnTo>
                    <a:lnTo>
                      <a:pt x="35885" y="26274"/>
                    </a:lnTo>
                    <a:lnTo>
                      <a:pt x="42321" y="39059"/>
                    </a:lnTo>
                    <a:lnTo>
                      <a:pt x="44349" y="35532"/>
                    </a:lnTo>
                    <a:lnTo>
                      <a:pt x="56340" y="35532"/>
                    </a:lnTo>
                    <a:lnTo>
                      <a:pt x="65068" y="35532"/>
                    </a:lnTo>
                    <a:lnTo>
                      <a:pt x="73268" y="40822"/>
                    </a:lnTo>
                    <a:lnTo>
                      <a:pt x="76089" y="35532"/>
                    </a:lnTo>
                    <a:lnTo>
                      <a:pt x="81997" y="35532"/>
                    </a:lnTo>
                    <a:lnTo>
                      <a:pt x="89579" y="39059"/>
                    </a:lnTo>
                    <a:lnTo>
                      <a:pt x="91872" y="42850"/>
                    </a:lnTo>
                    <a:lnTo>
                      <a:pt x="96898" y="40822"/>
                    </a:lnTo>
                    <a:lnTo>
                      <a:pt x="102364" y="47523"/>
                    </a:lnTo>
                    <a:lnTo>
                      <a:pt x="106155" y="40822"/>
                    </a:lnTo>
                    <a:lnTo>
                      <a:pt x="116735" y="40822"/>
                    </a:lnTo>
                    <a:lnTo>
                      <a:pt x="124847" y="44349"/>
                    </a:lnTo>
                    <a:lnTo>
                      <a:pt x="128373" y="47258"/>
                    </a:lnTo>
                    <a:lnTo>
                      <a:pt x="134810" y="55370"/>
                    </a:lnTo>
                    <a:lnTo>
                      <a:pt x="132429" y="58896"/>
                    </a:lnTo>
                    <a:lnTo>
                      <a:pt x="139394" y="66479"/>
                    </a:lnTo>
                    <a:lnTo>
                      <a:pt x="142040" y="66214"/>
                    </a:lnTo>
                    <a:lnTo>
                      <a:pt x="141775" y="62952"/>
                    </a:lnTo>
                    <a:lnTo>
                      <a:pt x="147065" y="62952"/>
                    </a:lnTo>
                    <a:lnTo>
                      <a:pt x="158351" y="67978"/>
                    </a:lnTo>
                    <a:lnTo>
                      <a:pt x="160114" y="75208"/>
                    </a:lnTo>
                    <a:lnTo>
                      <a:pt x="166286" y="85171"/>
                    </a:lnTo>
                    <a:lnTo>
                      <a:pt x="166903" y="89844"/>
                    </a:lnTo>
                    <a:lnTo>
                      <a:pt x="173251" y="94781"/>
                    </a:lnTo>
                    <a:lnTo>
                      <a:pt x="170077" y="99454"/>
                    </a:lnTo>
                    <a:lnTo>
                      <a:pt x="163024" y="94781"/>
                    </a:lnTo>
                    <a:lnTo>
                      <a:pt x="156675" y="94252"/>
                    </a:lnTo>
                    <a:lnTo>
                      <a:pt x="153766" y="94781"/>
                    </a:lnTo>
                    <a:lnTo>
                      <a:pt x="153766" y="96544"/>
                    </a:lnTo>
                    <a:lnTo>
                      <a:pt x="143803" y="99189"/>
                    </a:lnTo>
                    <a:lnTo>
                      <a:pt x="141775" y="98043"/>
                    </a:lnTo>
                    <a:lnTo>
                      <a:pt x="144949" y="96544"/>
                    </a:lnTo>
                    <a:lnTo>
                      <a:pt x="144067" y="94252"/>
                    </a:lnTo>
                    <a:lnTo>
                      <a:pt x="134193" y="92753"/>
                    </a:lnTo>
                    <a:lnTo>
                      <a:pt x="129519" y="97162"/>
                    </a:lnTo>
                    <a:lnTo>
                      <a:pt x="126257" y="99189"/>
                    </a:lnTo>
                    <a:lnTo>
                      <a:pt x="123965" y="104127"/>
                    </a:lnTo>
                    <a:lnTo>
                      <a:pt x="116382" y="104744"/>
                    </a:lnTo>
                    <a:lnTo>
                      <a:pt x="109417" y="111974"/>
                    </a:lnTo>
                    <a:lnTo>
                      <a:pt x="104127" y="111974"/>
                    </a:lnTo>
                    <a:lnTo>
                      <a:pt x="98572" y="106155"/>
                    </a:lnTo>
                    <a:lnTo>
                      <a:pt x="96544" y="82526"/>
                    </a:lnTo>
                    <a:lnTo>
                      <a:pt x="94781" y="80762"/>
                    </a:lnTo>
                    <a:lnTo>
                      <a:pt x="88962" y="81997"/>
                    </a:lnTo>
                    <a:lnTo>
                      <a:pt x="88697" y="79881"/>
                    </a:lnTo>
                    <a:lnTo>
                      <a:pt x="88697" y="75560"/>
                    </a:lnTo>
                    <a:lnTo>
                      <a:pt x="87816" y="72034"/>
                    </a:lnTo>
                    <a:lnTo>
                      <a:pt x="80851" y="68242"/>
                    </a:lnTo>
                    <a:lnTo>
                      <a:pt x="73533" y="69124"/>
                    </a:lnTo>
                    <a:lnTo>
                      <a:pt x="72034" y="76971"/>
                    </a:lnTo>
                    <a:lnTo>
                      <a:pt x="67978" y="81379"/>
                    </a:lnTo>
                    <a:lnTo>
                      <a:pt x="66215" y="81379"/>
                    </a:lnTo>
                    <a:lnTo>
                      <a:pt x="70623" y="86934"/>
                    </a:lnTo>
                    <a:lnTo>
                      <a:pt x="70006" y="89226"/>
                    </a:lnTo>
                    <a:lnTo>
                      <a:pt x="68507" y="90990"/>
                    </a:lnTo>
                    <a:lnTo>
                      <a:pt x="65950" y="90725"/>
                    </a:lnTo>
                    <a:lnTo>
                      <a:pt x="63570" y="89844"/>
                    </a:lnTo>
                    <a:lnTo>
                      <a:pt x="56340" y="89844"/>
                    </a:lnTo>
                    <a:lnTo>
                      <a:pt x="52196" y="92753"/>
                    </a:lnTo>
                    <a:lnTo>
                      <a:pt x="53078" y="95398"/>
                    </a:lnTo>
                    <a:lnTo>
                      <a:pt x="53078" y="96280"/>
                    </a:lnTo>
                    <a:lnTo>
                      <a:pt x="55193" y="97162"/>
                    </a:lnTo>
                    <a:lnTo>
                      <a:pt x="55722" y="99189"/>
                    </a:lnTo>
                    <a:lnTo>
                      <a:pt x="55987" y="100071"/>
                    </a:lnTo>
                    <a:lnTo>
                      <a:pt x="53342" y="102363"/>
                    </a:lnTo>
                    <a:lnTo>
                      <a:pt x="46377" y="97162"/>
                    </a:lnTo>
                    <a:lnTo>
                      <a:pt x="43732" y="96544"/>
                    </a:lnTo>
                    <a:lnTo>
                      <a:pt x="44084" y="98043"/>
                    </a:lnTo>
                    <a:lnTo>
                      <a:pt x="42585" y="96544"/>
                    </a:lnTo>
                    <a:lnTo>
                      <a:pt x="42850" y="98308"/>
                    </a:lnTo>
                    <a:lnTo>
                      <a:pt x="39941" y="98043"/>
                    </a:lnTo>
                    <a:lnTo>
                      <a:pt x="40293" y="99718"/>
                    </a:lnTo>
                    <a:lnTo>
                      <a:pt x="33592" y="1023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9" name="Freihandform: Form 1898">
                <a:extLst>
                  <a:ext uri="{FF2B5EF4-FFF2-40B4-BE49-F238E27FC236}">
                    <a16:creationId xmlns:a16="http://schemas.microsoft.com/office/drawing/2014/main" id="{A04EBCB8-D918-9FF9-5954-53768A4A6D1C}"/>
                  </a:ext>
                </a:extLst>
              </p:cNvPr>
              <p:cNvSpPr/>
              <p:nvPr/>
            </p:nvSpPr>
            <p:spPr>
              <a:xfrm>
                <a:off x="5170094" y="3008701"/>
                <a:ext cx="375068" cy="216717"/>
              </a:xfrm>
              <a:custGeom>
                <a:avLst/>
                <a:gdLst>
                  <a:gd name="connsiteX0" fmla="*/ 266004 w 375068"/>
                  <a:gd name="connsiteY0" fmla="*/ 211163 h 216717"/>
                  <a:gd name="connsiteX1" fmla="*/ 274468 w 375068"/>
                  <a:gd name="connsiteY1" fmla="*/ 209753 h 216717"/>
                  <a:gd name="connsiteX2" fmla="*/ 281169 w 375068"/>
                  <a:gd name="connsiteY2" fmla="*/ 214425 h 216717"/>
                  <a:gd name="connsiteX3" fmla="*/ 284343 w 375068"/>
                  <a:gd name="connsiteY3" fmla="*/ 212398 h 216717"/>
                  <a:gd name="connsiteX4" fmla="*/ 286371 w 375068"/>
                  <a:gd name="connsiteY4" fmla="*/ 213544 h 216717"/>
                  <a:gd name="connsiteX5" fmla="*/ 290779 w 375068"/>
                  <a:gd name="connsiteY5" fmla="*/ 213544 h 216717"/>
                  <a:gd name="connsiteX6" fmla="*/ 291396 w 375068"/>
                  <a:gd name="connsiteY6" fmla="*/ 216718 h 216717"/>
                  <a:gd name="connsiteX7" fmla="*/ 294306 w 375068"/>
                  <a:gd name="connsiteY7" fmla="*/ 215307 h 216717"/>
                  <a:gd name="connsiteX8" fmla="*/ 291661 w 375068"/>
                  <a:gd name="connsiteY8" fmla="*/ 199525 h 216717"/>
                  <a:gd name="connsiteX9" fmla="*/ 298362 w 375068"/>
                  <a:gd name="connsiteY9" fmla="*/ 189033 h 216717"/>
                  <a:gd name="connsiteX10" fmla="*/ 297215 w 375068"/>
                  <a:gd name="connsiteY10" fmla="*/ 184625 h 216717"/>
                  <a:gd name="connsiteX11" fmla="*/ 290162 w 375068"/>
                  <a:gd name="connsiteY11" fmla="*/ 175014 h 216717"/>
                  <a:gd name="connsiteX12" fmla="*/ 291396 w 375068"/>
                  <a:gd name="connsiteY12" fmla="*/ 167432 h 216717"/>
                  <a:gd name="connsiteX13" fmla="*/ 285842 w 375068"/>
                  <a:gd name="connsiteY13" fmla="*/ 163640 h 216717"/>
                  <a:gd name="connsiteX14" fmla="*/ 279670 w 375068"/>
                  <a:gd name="connsiteY14" fmla="*/ 165404 h 216717"/>
                  <a:gd name="connsiteX15" fmla="*/ 278171 w 375068"/>
                  <a:gd name="connsiteY15" fmla="*/ 160114 h 216717"/>
                  <a:gd name="connsiteX16" fmla="*/ 269178 w 375068"/>
                  <a:gd name="connsiteY16" fmla="*/ 158086 h 216717"/>
                  <a:gd name="connsiteX17" fmla="*/ 270060 w 375068"/>
                  <a:gd name="connsiteY17" fmla="*/ 151650 h 216717"/>
                  <a:gd name="connsiteX18" fmla="*/ 278171 w 375068"/>
                  <a:gd name="connsiteY18" fmla="*/ 148740 h 216717"/>
                  <a:gd name="connsiteX19" fmla="*/ 293689 w 375068"/>
                  <a:gd name="connsiteY19" fmla="*/ 149886 h 216717"/>
                  <a:gd name="connsiteX20" fmla="*/ 293424 w 375068"/>
                  <a:gd name="connsiteY20" fmla="*/ 142392 h 216717"/>
                  <a:gd name="connsiteX21" fmla="*/ 297215 w 375068"/>
                  <a:gd name="connsiteY21" fmla="*/ 139130 h 216717"/>
                  <a:gd name="connsiteX22" fmla="*/ 291396 w 375068"/>
                  <a:gd name="connsiteY22" fmla="*/ 135603 h 216717"/>
                  <a:gd name="connsiteX23" fmla="*/ 302417 w 375068"/>
                  <a:gd name="connsiteY23" fmla="*/ 131900 h 216717"/>
                  <a:gd name="connsiteX24" fmla="*/ 300390 w 375068"/>
                  <a:gd name="connsiteY24" fmla="*/ 124582 h 216717"/>
                  <a:gd name="connsiteX25" fmla="*/ 305327 w 375068"/>
                  <a:gd name="connsiteY25" fmla="*/ 121672 h 216717"/>
                  <a:gd name="connsiteX26" fmla="*/ 309736 w 375068"/>
                  <a:gd name="connsiteY26" fmla="*/ 121672 h 216717"/>
                  <a:gd name="connsiteX27" fmla="*/ 319081 w 375068"/>
                  <a:gd name="connsiteY27" fmla="*/ 118146 h 216717"/>
                  <a:gd name="connsiteX28" fmla="*/ 322873 w 375068"/>
                  <a:gd name="connsiteY28" fmla="*/ 114354 h 216717"/>
                  <a:gd name="connsiteX29" fmla="*/ 330455 w 375068"/>
                  <a:gd name="connsiteY29" fmla="*/ 120174 h 216717"/>
                  <a:gd name="connsiteX30" fmla="*/ 324900 w 375068"/>
                  <a:gd name="connsiteY30" fmla="*/ 128109 h 216717"/>
                  <a:gd name="connsiteX31" fmla="*/ 326047 w 375068"/>
                  <a:gd name="connsiteY31" fmla="*/ 131547 h 216717"/>
                  <a:gd name="connsiteX32" fmla="*/ 340947 w 375068"/>
                  <a:gd name="connsiteY32" fmla="*/ 135603 h 216717"/>
                  <a:gd name="connsiteX33" fmla="*/ 351175 w 375068"/>
                  <a:gd name="connsiteY33" fmla="*/ 135603 h 216717"/>
                  <a:gd name="connsiteX34" fmla="*/ 356994 w 375068"/>
                  <a:gd name="connsiteY34" fmla="*/ 133575 h 216717"/>
                  <a:gd name="connsiteX35" fmla="*/ 361931 w 375068"/>
                  <a:gd name="connsiteY35" fmla="*/ 129784 h 216717"/>
                  <a:gd name="connsiteX36" fmla="*/ 368367 w 375068"/>
                  <a:gd name="connsiteY36" fmla="*/ 131900 h 216717"/>
                  <a:gd name="connsiteX37" fmla="*/ 366075 w 375068"/>
                  <a:gd name="connsiteY37" fmla="*/ 123965 h 216717"/>
                  <a:gd name="connsiteX38" fmla="*/ 373040 w 375068"/>
                  <a:gd name="connsiteY38" fmla="*/ 126610 h 216717"/>
                  <a:gd name="connsiteX39" fmla="*/ 375068 w 375068"/>
                  <a:gd name="connsiteY39" fmla="*/ 119909 h 216717"/>
                  <a:gd name="connsiteX40" fmla="*/ 357875 w 375068"/>
                  <a:gd name="connsiteY40" fmla="*/ 116382 h 216717"/>
                  <a:gd name="connsiteX41" fmla="*/ 354613 w 375068"/>
                  <a:gd name="connsiteY41" fmla="*/ 111180 h 216717"/>
                  <a:gd name="connsiteX42" fmla="*/ 350029 w 375068"/>
                  <a:gd name="connsiteY42" fmla="*/ 111180 h 216717"/>
                  <a:gd name="connsiteX43" fmla="*/ 347031 w 375068"/>
                  <a:gd name="connsiteY43" fmla="*/ 102099 h 216717"/>
                  <a:gd name="connsiteX44" fmla="*/ 341829 w 375068"/>
                  <a:gd name="connsiteY44" fmla="*/ 105273 h 216717"/>
                  <a:gd name="connsiteX45" fmla="*/ 339448 w 375068"/>
                  <a:gd name="connsiteY45" fmla="*/ 111180 h 216717"/>
                  <a:gd name="connsiteX46" fmla="*/ 328691 w 375068"/>
                  <a:gd name="connsiteY46" fmla="*/ 109417 h 216717"/>
                  <a:gd name="connsiteX47" fmla="*/ 320492 w 375068"/>
                  <a:gd name="connsiteY47" fmla="*/ 103862 h 216717"/>
                  <a:gd name="connsiteX48" fmla="*/ 318817 w 375068"/>
                  <a:gd name="connsiteY48" fmla="*/ 103862 h 216717"/>
                  <a:gd name="connsiteX49" fmla="*/ 312910 w 375068"/>
                  <a:gd name="connsiteY49" fmla="*/ 98308 h 216717"/>
                  <a:gd name="connsiteX50" fmla="*/ 322520 w 375068"/>
                  <a:gd name="connsiteY50" fmla="*/ 90108 h 216717"/>
                  <a:gd name="connsiteX51" fmla="*/ 328691 w 375068"/>
                  <a:gd name="connsiteY51" fmla="*/ 86934 h 216717"/>
                  <a:gd name="connsiteX52" fmla="*/ 323137 w 375068"/>
                  <a:gd name="connsiteY52" fmla="*/ 82878 h 216717"/>
                  <a:gd name="connsiteX53" fmla="*/ 318817 w 375068"/>
                  <a:gd name="connsiteY53" fmla="*/ 83143 h 216717"/>
                  <a:gd name="connsiteX54" fmla="*/ 319963 w 375068"/>
                  <a:gd name="connsiteY54" fmla="*/ 78470 h 216717"/>
                  <a:gd name="connsiteX55" fmla="*/ 307091 w 375068"/>
                  <a:gd name="connsiteY55" fmla="*/ 92224 h 216717"/>
                  <a:gd name="connsiteX56" fmla="*/ 307707 w 375068"/>
                  <a:gd name="connsiteY56" fmla="*/ 94252 h 216717"/>
                  <a:gd name="connsiteX57" fmla="*/ 290779 w 375068"/>
                  <a:gd name="connsiteY57" fmla="*/ 102716 h 216717"/>
                  <a:gd name="connsiteX58" fmla="*/ 292543 w 375068"/>
                  <a:gd name="connsiteY58" fmla="*/ 108271 h 216717"/>
                  <a:gd name="connsiteX59" fmla="*/ 289016 w 375068"/>
                  <a:gd name="connsiteY59" fmla="*/ 112062 h 216717"/>
                  <a:gd name="connsiteX60" fmla="*/ 287605 w 375068"/>
                  <a:gd name="connsiteY60" fmla="*/ 114972 h 216717"/>
                  <a:gd name="connsiteX61" fmla="*/ 283197 w 375068"/>
                  <a:gd name="connsiteY61" fmla="*/ 117528 h 216717"/>
                  <a:gd name="connsiteX62" fmla="*/ 283197 w 375068"/>
                  <a:gd name="connsiteY62" fmla="*/ 123700 h 216717"/>
                  <a:gd name="connsiteX63" fmla="*/ 278788 w 375068"/>
                  <a:gd name="connsiteY63" fmla="*/ 126345 h 216717"/>
                  <a:gd name="connsiteX64" fmla="*/ 272705 w 375068"/>
                  <a:gd name="connsiteY64" fmla="*/ 121320 h 216717"/>
                  <a:gd name="connsiteX65" fmla="*/ 270941 w 375068"/>
                  <a:gd name="connsiteY65" fmla="*/ 116647 h 216717"/>
                  <a:gd name="connsiteX66" fmla="*/ 268296 w 375068"/>
                  <a:gd name="connsiteY66" fmla="*/ 108271 h 216717"/>
                  <a:gd name="connsiteX67" fmla="*/ 262213 w 375068"/>
                  <a:gd name="connsiteY67" fmla="*/ 110828 h 216717"/>
                  <a:gd name="connsiteX68" fmla="*/ 244667 w 375068"/>
                  <a:gd name="connsiteY68" fmla="*/ 113737 h 216717"/>
                  <a:gd name="connsiteX69" fmla="*/ 238231 w 375068"/>
                  <a:gd name="connsiteY69" fmla="*/ 110828 h 216717"/>
                  <a:gd name="connsiteX70" fmla="*/ 237702 w 375068"/>
                  <a:gd name="connsiteY70" fmla="*/ 98925 h 216717"/>
                  <a:gd name="connsiteX71" fmla="*/ 234792 w 375068"/>
                  <a:gd name="connsiteY71" fmla="*/ 92224 h 216717"/>
                  <a:gd name="connsiteX72" fmla="*/ 220509 w 375068"/>
                  <a:gd name="connsiteY72" fmla="*/ 88697 h 216717"/>
                  <a:gd name="connsiteX73" fmla="*/ 217864 w 375068"/>
                  <a:gd name="connsiteY73" fmla="*/ 67978 h 216717"/>
                  <a:gd name="connsiteX74" fmla="*/ 214337 w 375068"/>
                  <a:gd name="connsiteY74" fmla="*/ 67978 h 216717"/>
                  <a:gd name="connsiteX75" fmla="*/ 209400 w 375068"/>
                  <a:gd name="connsiteY75" fmla="*/ 59514 h 216717"/>
                  <a:gd name="connsiteX76" fmla="*/ 202082 w 375068"/>
                  <a:gd name="connsiteY76" fmla="*/ 54576 h 216717"/>
                  <a:gd name="connsiteX77" fmla="*/ 198026 w 375068"/>
                  <a:gd name="connsiteY77" fmla="*/ 54576 h 216717"/>
                  <a:gd name="connsiteX78" fmla="*/ 192736 w 375068"/>
                  <a:gd name="connsiteY78" fmla="*/ 47875 h 216717"/>
                  <a:gd name="connsiteX79" fmla="*/ 187534 w 375068"/>
                  <a:gd name="connsiteY79" fmla="*/ 48757 h 216717"/>
                  <a:gd name="connsiteX80" fmla="*/ 172634 w 375068"/>
                  <a:gd name="connsiteY80" fmla="*/ 53430 h 216717"/>
                  <a:gd name="connsiteX81" fmla="*/ 148740 w 375068"/>
                  <a:gd name="connsiteY81" fmla="*/ 52196 h 216717"/>
                  <a:gd name="connsiteX82" fmla="*/ 132076 w 375068"/>
                  <a:gd name="connsiteY82" fmla="*/ 53430 h 216717"/>
                  <a:gd name="connsiteX83" fmla="*/ 114883 w 375068"/>
                  <a:gd name="connsiteY83" fmla="*/ 44084 h 216717"/>
                  <a:gd name="connsiteX84" fmla="*/ 112591 w 375068"/>
                  <a:gd name="connsiteY84" fmla="*/ 40558 h 216717"/>
                  <a:gd name="connsiteX85" fmla="*/ 104656 w 375068"/>
                  <a:gd name="connsiteY85" fmla="*/ 35003 h 216717"/>
                  <a:gd name="connsiteX86" fmla="*/ 101217 w 375068"/>
                  <a:gd name="connsiteY86" fmla="*/ 37383 h 216717"/>
                  <a:gd name="connsiteX87" fmla="*/ 96809 w 375068"/>
                  <a:gd name="connsiteY87" fmla="*/ 41175 h 216717"/>
                  <a:gd name="connsiteX88" fmla="*/ 95398 w 375068"/>
                  <a:gd name="connsiteY88" fmla="*/ 43467 h 216717"/>
                  <a:gd name="connsiteX89" fmla="*/ 93018 w 375068"/>
                  <a:gd name="connsiteY89" fmla="*/ 44349 h 216717"/>
                  <a:gd name="connsiteX90" fmla="*/ 89844 w 375068"/>
                  <a:gd name="connsiteY90" fmla="*/ 44966 h 216717"/>
                  <a:gd name="connsiteX91" fmla="*/ 87199 w 375068"/>
                  <a:gd name="connsiteY91" fmla="*/ 45495 h 216717"/>
                  <a:gd name="connsiteX92" fmla="*/ 83054 w 375068"/>
                  <a:gd name="connsiteY92" fmla="*/ 44966 h 216717"/>
                  <a:gd name="connsiteX93" fmla="*/ 81379 w 375068"/>
                  <a:gd name="connsiteY93" fmla="*/ 44349 h 216717"/>
                  <a:gd name="connsiteX94" fmla="*/ 78382 w 375068"/>
                  <a:gd name="connsiteY94" fmla="*/ 45848 h 216717"/>
                  <a:gd name="connsiteX95" fmla="*/ 75207 w 375068"/>
                  <a:gd name="connsiteY95" fmla="*/ 48404 h 216717"/>
                  <a:gd name="connsiteX96" fmla="*/ 76089 w 375068"/>
                  <a:gd name="connsiteY96" fmla="*/ 46994 h 216717"/>
                  <a:gd name="connsiteX97" fmla="*/ 74590 w 375068"/>
                  <a:gd name="connsiteY97" fmla="*/ 46994 h 216717"/>
                  <a:gd name="connsiteX98" fmla="*/ 73444 w 375068"/>
                  <a:gd name="connsiteY98" fmla="*/ 45230 h 216717"/>
                  <a:gd name="connsiteX99" fmla="*/ 73180 w 375068"/>
                  <a:gd name="connsiteY99" fmla="*/ 43467 h 216717"/>
                  <a:gd name="connsiteX100" fmla="*/ 72298 w 375068"/>
                  <a:gd name="connsiteY100" fmla="*/ 41704 h 216717"/>
                  <a:gd name="connsiteX101" fmla="*/ 72562 w 375068"/>
                  <a:gd name="connsiteY101" fmla="*/ 41704 h 216717"/>
                  <a:gd name="connsiteX102" fmla="*/ 69124 w 375068"/>
                  <a:gd name="connsiteY102" fmla="*/ 40822 h 216717"/>
                  <a:gd name="connsiteX103" fmla="*/ 68242 w 375068"/>
                  <a:gd name="connsiteY103" fmla="*/ 38794 h 216717"/>
                  <a:gd name="connsiteX104" fmla="*/ 63834 w 375068"/>
                  <a:gd name="connsiteY104" fmla="*/ 39411 h 216717"/>
                  <a:gd name="connsiteX105" fmla="*/ 62070 w 375068"/>
                  <a:gd name="connsiteY105" fmla="*/ 38794 h 216717"/>
                  <a:gd name="connsiteX106" fmla="*/ 56251 w 375068"/>
                  <a:gd name="connsiteY106" fmla="*/ 37912 h 216717"/>
                  <a:gd name="connsiteX107" fmla="*/ 56869 w 375068"/>
                  <a:gd name="connsiteY107" fmla="*/ 38265 h 216717"/>
                  <a:gd name="connsiteX108" fmla="*/ 54488 w 375068"/>
                  <a:gd name="connsiteY108" fmla="*/ 37031 h 216717"/>
                  <a:gd name="connsiteX109" fmla="*/ 53078 w 375068"/>
                  <a:gd name="connsiteY109" fmla="*/ 33857 h 216717"/>
                  <a:gd name="connsiteX110" fmla="*/ 52460 w 375068"/>
                  <a:gd name="connsiteY110" fmla="*/ 31564 h 216717"/>
                  <a:gd name="connsiteX111" fmla="*/ 52196 w 375068"/>
                  <a:gd name="connsiteY111" fmla="*/ 29448 h 216717"/>
                  <a:gd name="connsiteX112" fmla="*/ 51049 w 375068"/>
                  <a:gd name="connsiteY112" fmla="*/ 27156 h 216717"/>
                  <a:gd name="connsiteX113" fmla="*/ 50432 w 375068"/>
                  <a:gd name="connsiteY113" fmla="*/ 26010 h 216717"/>
                  <a:gd name="connsiteX114" fmla="*/ 50080 w 375068"/>
                  <a:gd name="connsiteY114" fmla="*/ 24511 h 216717"/>
                  <a:gd name="connsiteX115" fmla="*/ 49903 w 375068"/>
                  <a:gd name="connsiteY115" fmla="*/ 22483 h 216717"/>
                  <a:gd name="connsiteX116" fmla="*/ 49551 w 375068"/>
                  <a:gd name="connsiteY116" fmla="*/ 19573 h 216717"/>
                  <a:gd name="connsiteX117" fmla="*/ 49903 w 375068"/>
                  <a:gd name="connsiteY117" fmla="*/ 17193 h 216717"/>
                  <a:gd name="connsiteX118" fmla="*/ 50080 w 375068"/>
                  <a:gd name="connsiteY118" fmla="*/ 13402 h 216717"/>
                  <a:gd name="connsiteX119" fmla="*/ 50697 w 375068"/>
                  <a:gd name="connsiteY119" fmla="*/ 10492 h 216717"/>
                  <a:gd name="connsiteX120" fmla="*/ 51049 w 375068"/>
                  <a:gd name="connsiteY120" fmla="*/ 8464 h 216717"/>
                  <a:gd name="connsiteX121" fmla="*/ 51843 w 375068"/>
                  <a:gd name="connsiteY121" fmla="*/ 7053 h 216717"/>
                  <a:gd name="connsiteX122" fmla="*/ 53607 w 375068"/>
                  <a:gd name="connsiteY122" fmla="*/ 5555 h 216717"/>
                  <a:gd name="connsiteX123" fmla="*/ 55105 w 375068"/>
                  <a:gd name="connsiteY123" fmla="*/ 5290 h 216717"/>
                  <a:gd name="connsiteX124" fmla="*/ 57398 w 375068"/>
                  <a:gd name="connsiteY124" fmla="*/ 6436 h 216717"/>
                  <a:gd name="connsiteX125" fmla="*/ 57750 w 375068"/>
                  <a:gd name="connsiteY125" fmla="*/ 8200 h 216717"/>
                  <a:gd name="connsiteX126" fmla="*/ 58279 w 375068"/>
                  <a:gd name="connsiteY126" fmla="*/ 11109 h 216717"/>
                  <a:gd name="connsiteX127" fmla="*/ 58632 w 375068"/>
                  <a:gd name="connsiteY127" fmla="*/ 14900 h 216717"/>
                  <a:gd name="connsiteX128" fmla="*/ 58896 w 375068"/>
                  <a:gd name="connsiteY128" fmla="*/ 18692 h 216717"/>
                  <a:gd name="connsiteX129" fmla="*/ 59161 w 375068"/>
                  <a:gd name="connsiteY129" fmla="*/ 20984 h 216717"/>
                  <a:gd name="connsiteX130" fmla="*/ 59161 w 375068"/>
                  <a:gd name="connsiteY130" fmla="*/ 23629 h 216717"/>
                  <a:gd name="connsiteX131" fmla="*/ 60043 w 375068"/>
                  <a:gd name="connsiteY131" fmla="*/ 26539 h 216717"/>
                  <a:gd name="connsiteX132" fmla="*/ 61541 w 375068"/>
                  <a:gd name="connsiteY132" fmla="*/ 28037 h 216717"/>
                  <a:gd name="connsiteX133" fmla="*/ 63569 w 375068"/>
                  <a:gd name="connsiteY133" fmla="*/ 30947 h 216717"/>
                  <a:gd name="connsiteX134" fmla="*/ 64980 w 375068"/>
                  <a:gd name="connsiteY134" fmla="*/ 33592 h 216717"/>
                  <a:gd name="connsiteX135" fmla="*/ 67977 w 375068"/>
                  <a:gd name="connsiteY135" fmla="*/ 32711 h 216717"/>
                  <a:gd name="connsiteX136" fmla="*/ 70887 w 375068"/>
                  <a:gd name="connsiteY136" fmla="*/ 32711 h 216717"/>
                  <a:gd name="connsiteX137" fmla="*/ 70887 w 375068"/>
                  <a:gd name="connsiteY137" fmla="*/ 30683 h 216717"/>
                  <a:gd name="connsiteX138" fmla="*/ 70887 w 375068"/>
                  <a:gd name="connsiteY138" fmla="*/ 27773 h 216717"/>
                  <a:gd name="connsiteX139" fmla="*/ 71416 w 375068"/>
                  <a:gd name="connsiteY139" fmla="*/ 27156 h 216717"/>
                  <a:gd name="connsiteX140" fmla="*/ 72298 w 375068"/>
                  <a:gd name="connsiteY140" fmla="*/ 25393 h 216717"/>
                  <a:gd name="connsiteX141" fmla="*/ 72298 w 375068"/>
                  <a:gd name="connsiteY141" fmla="*/ 23100 h 216717"/>
                  <a:gd name="connsiteX142" fmla="*/ 72562 w 375068"/>
                  <a:gd name="connsiteY142" fmla="*/ 20984 h 216717"/>
                  <a:gd name="connsiteX143" fmla="*/ 73797 w 375068"/>
                  <a:gd name="connsiteY143" fmla="*/ 18075 h 216717"/>
                  <a:gd name="connsiteX144" fmla="*/ 73444 w 375068"/>
                  <a:gd name="connsiteY144" fmla="*/ 15165 h 216717"/>
                  <a:gd name="connsiteX145" fmla="*/ 70270 w 375068"/>
                  <a:gd name="connsiteY145" fmla="*/ 13137 h 216717"/>
                  <a:gd name="connsiteX146" fmla="*/ 72033 w 375068"/>
                  <a:gd name="connsiteY146" fmla="*/ 13137 h 216717"/>
                  <a:gd name="connsiteX147" fmla="*/ 68507 w 375068"/>
                  <a:gd name="connsiteY147" fmla="*/ 9346 h 216717"/>
                  <a:gd name="connsiteX148" fmla="*/ 66479 w 375068"/>
                  <a:gd name="connsiteY148" fmla="*/ 7582 h 216717"/>
                  <a:gd name="connsiteX149" fmla="*/ 60043 w 375068"/>
                  <a:gd name="connsiteY149" fmla="*/ 3262 h 216717"/>
                  <a:gd name="connsiteX150" fmla="*/ 48404 w 375068"/>
                  <a:gd name="connsiteY150" fmla="*/ 882 h 216717"/>
                  <a:gd name="connsiteX151" fmla="*/ 43731 w 375068"/>
                  <a:gd name="connsiteY151" fmla="*/ 0 h 216717"/>
                  <a:gd name="connsiteX152" fmla="*/ 0 w 375068"/>
                  <a:gd name="connsiteY152" fmla="*/ 16311 h 216717"/>
                  <a:gd name="connsiteX153" fmla="*/ 27949 w 375068"/>
                  <a:gd name="connsiteY153" fmla="*/ 106772 h 216717"/>
                  <a:gd name="connsiteX154" fmla="*/ 39676 w 375068"/>
                  <a:gd name="connsiteY154" fmla="*/ 105890 h 216717"/>
                  <a:gd name="connsiteX155" fmla="*/ 45495 w 375068"/>
                  <a:gd name="connsiteY155" fmla="*/ 107654 h 216717"/>
                  <a:gd name="connsiteX156" fmla="*/ 42850 w 375068"/>
                  <a:gd name="connsiteY156" fmla="*/ 98925 h 216717"/>
                  <a:gd name="connsiteX157" fmla="*/ 41968 w 375068"/>
                  <a:gd name="connsiteY157" fmla="*/ 93899 h 216717"/>
                  <a:gd name="connsiteX158" fmla="*/ 43731 w 375068"/>
                  <a:gd name="connsiteY158" fmla="*/ 90461 h 216717"/>
                  <a:gd name="connsiteX159" fmla="*/ 52725 w 375068"/>
                  <a:gd name="connsiteY159" fmla="*/ 89579 h 216717"/>
                  <a:gd name="connsiteX160" fmla="*/ 59514 w 375068"/>
                  <a:gd name="connsiteY160" fmla="*/ 84024 h 216717"/>
                  <a:gd name="connsiteX161" fmla="*/ 65862 w 375068"/>
                  <a:gd name="connsiteY161" fmla="*/ 81379 h 216717"/>
                  <a:gd name="connsiteX162" fmla="*/ 64451 w 375068"/>
                  <a:gd name="connsiteY162" fmla="*/ 72915 h 216717"/>
                  <a:gd name="connsiteX163" fmla="*/ 70887 w 375068"/>
                  <a:gd name="connsiteY163" fmla="*/ 72915 h 216717"/>
                  <a:gd name="connsiteX164" fmla="*/ 81644 w 375068"/>
                  <a:gd name="connsiteY164" fmla="*/ 72915 h 216717"/>
                  <a:gd name="connsiteX165" fmla="*/ 85699 w 375068"/>
                  <a:gd name="connsiteY165" fmla="*/ 79616 h 216717"/>
                  <a:gd name="connsiteX166" fmla="*/ 97955 w 375068"/>
                  <a:gd name="connsiteY166" fmla="*/ 79616 h 216717"/>
                  <a:gd name="connsiteX167" fmla="*/ 107653 w 375068"/>
                  <a:gd name="connsiteY167" fmla="*/ 94252 h 216717"/>
                  <a:gd name="connsiteX168" fmla="*/ 106684 w 375068"/>
                  <a:gd name="connsiteY168" fmla="*/ 100953 h 216717"/>
                  <a:gd name="connsiteX169" fmla="*/ 107653 w 375068"/>
                  <a:gd name="connsiteY169" fmla="*/ 104744 h 216717"/>
                  <a:gd name="connsiteX170" fmla="*/ 128285 w 375068"/>
                  <a:gd name="connsiteY170" fmla="*/ 109946 h 216717"/>
                  <a:gd name="connsiteX171" fmla="*/ 135867 w 375068"/>
                  <a:gd name="connsiteY171" fmla="*/ 109946 h 216717"/>
                  <a:gd name="connsiteX172" fmla="*/ 138248 w 375068"/>
                  <a:gd name="connsiteY172" fmla="*/ 109946 h 216717"/>
                  <a:gd name="connsiteX173" fmla="*/ 143714 w 375068"/>
                  <a:gd name="connsiteY173" fmla="*/ 109946 h 216717"/>
                  <a:gd name="connsiteX174" fmla="*/ 153148 w 375068"/>
                  <a:gd name="connsiteY174" fmla="*/ 126345 h 216717"/>
                  <a:gd name="connsiteX175" fmla="*/ 161525 w 375068"/>
                  <a:gd name="connsiteY175" fmla="*/ 132693 h 216717"/>
                  <a:gd name="connsiteX176" fmla="*/ 162406 w 375068"/>
                  <a:gd name="connsiteY176" fmla="*/ 136220 h 216717"/>
                  <a:gd name="connsiteX177" fmla="*/ 174662 w 375068"/>
                  <a:gd name="connsiteY177" fmla="*/ 145566 h 216717"/>
                  <a:gd name="connsiteX178" fmla="*/ 192207 w 375068"/>
                  <a:gd name="connsiteY178" fmla="*/ 153677 h 216717"/>
                  <a:gd name="connsiteX179" fmla="*/ 206226 w 375068"/>
                  <a:gd name="connsiteY179" fmla="*/ 166286 h 216717"/>
                  <a:gd name="connsiteX180" fmla="*/ 212045 w 375068"/>
                  <a:gd name="connsiteY180" fmla="*/ 166286 h 216717"/>
                  <a:gd name="connsiteX181" fmla="*/ 239730 w 375068"/>
                  <a:gd name="connsiteY181" fmla="*/ 180569 h 216717"/>
                  <a:gd name="connsiteX182" fmla="*/ 242375 w 375068"/>
                  <a:gd name="connsiteY182" fmla="*/ 184007 h 216717"/>
                  <a:gd name="connsiteX183" fmla="*/ 247929 w 375068"/>
                  <a:gd name="connsiteY183" fmla="*/ 184007 h 216717"/>
                  <a:gd name="connsiteX184" fmla="*/ 264769 w 375068"/>
                  <a:gd name="connsiteY184" fmla="*/ 187887 h 216717"/>
                  <a:gd name="connsiteX185" fmla="*/ 268296 w 375068"/>
                  <a:gd name="connsiteY185" fmla="*/ 189915 h 216717"/>
                  <a:gd name="connsiteX186" fmla="*/ 265122 w 375068"/>
                  <a:gd name="connsiteY186" fmla="*/ 193089 h 216717"/>
                  <a:gd name="connsiteX187" fmla="*/ 262742 w 375068"/>
                  <a:gd name="connsiteY187" fmla="*/ 196880 h 216717"/>
                  <a:gd name="connsiteX188" fmla="*/ 265740 w 375068"/>
                  <a:gd name="connsiteY188" fmla="*/ 205080 h 216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</a:cxnLst>
                <a:rect l="l" t="t" r="r" b="b"/>
                <a:pathLst>
                  <a:path w="375068" h="216717">
                    <a:moveTo>
                      <a:pt x="266004" y="211163"/>
                    </a:moveTo>
                    <a:lnTo>
                      <a:pt x="274468" y="209753"/>
                    </a:lnTo>
                    <a:lnTo>
                      <a:pt x="281169" y="214425"/>
                    </a:lnTo>
                    <a:lnTo>
                      <a:pt x="284343" y="212398"/>
                    </a:lnTo>
                    <a:lnTo>
                      <a:pt x="286371" y="213544"/>
                    </a:lnTo>
                    <a:lnTo>
                      <a:pt x="290779" y="213544"/>
                    </a:lnTo>
                    <a:lnTo>
                      <a:pt x="291396" y="216718"/>
                    </a:lnTo>
                    <a:lnTo>
                      <a:pt x="294306" y="215307"/>
                    </a:lnTo>
                    <a:lnTo>
                      <a:pt x="291661" y="199525"/>
                    </a:lnTo>
                    <a:lnTo>
                      <a:pt x="298362" y="189033"/>
                    </a:lnTo>
                    <a:lnTo>
                      <a:pt x="297215" y="184625"/>
                    </a:lnTo>
                    <a:lnTo>
                      <a:pt x="290162" y="175014"/>
                    </a:lnTo>
                    <a:lnTo>
                      <a:pt x="291396" y="167432"/>
                    </a:lnTo>
                    <a:lnTo>
                      <a:pt x="285842" y="163640"/>
                    </a:lnTo>
                    <a:lnTo>
                      <a:pt x="279670" y="165404"/>
                    </a:lnTo>
                    <a:lnTo>
                      <a:pt x="278171" y="160114"/>
                    </a:lnTo>
                    <a:lnTo>
                      <a:pt x="269178" y="158086"/>
                    </a:lnTo>
                    <a:lnTo>
                      <a:pt x="270060" y="151650"/>
                    </a:lnTo>
                    <a:lnTo>
                      <a:pt x="278171" y="148740"/>
                    </a:lnTo>
                    <a:lnTo>
                      <a:pt x="293689" y="149886"/>
                    </a:lnTo>
                    <a:lnTo>
                      <a:pt x="293424" y="142392"/>
                    </a:lnTo>
                    <a:lnTo>
                      <a:pt x="297215" y="139130"/>
                    </a:lnTo>
                    <a:lnTo>
                      <a:pt x="291396" y="135603"/>
                    </a:lnTo>
                    <a:lnTo>
                      <a:pt x="302417" y="131900"/>
                    </a:lnTo>
                    <a:lnTo>
                      <a:pt x="300390" y="124582"/>
                    </a:lnTo>
                    <a:lnTo>
                      <a:pt x="305327" y="121672"/>
                    </a:lnTo>
                    <a:lnTo>
                      <a:pt x="309736" y="121672"/>
                    </a:lnTo>
                    <a:lnTo>
                      <a:pt x="319081" y="118146"/>
                    </a:lnTo>
                    <a:lnTo>
                      <a:pt x="322873" y="114354"/>
                    </a:lnTo>
                    <a:lnTo>
                      <a:pt x="330455" y="120174"/>
                    </a:lnTo>
                    <a:lnTo>
                      <a:pt x="324900" y="128109"/>
                    </a:lnTo>
                    <a:lnTo>
                      <a:pt x="326047" y="131547"/>
                    </a:lnTo>
                    <a:lnTo>
                      <a:pt x="340947" y="135603"/>
                    </a:lnTo>
                    <a:lnTo>
                      <a:pt x="351175" y="135603"/>
                    </a:lnTo>
                    <a:lnTo>
                      <a:pt x="356994" y="133575"/>
                    </a:lnTo>
                    <a:lnTo>
                      <a:pt x="361931" y="129784"/>
                    </a:lnTo>
                    <a:lnTo>
                      <a:pt x="368367" y="131900"/>
                    </a:lnTo>
                    <a:lnTo>
                      <a:pt x="366075" y="123965"/>
                    </a:lnTo>
                    <a:lnTo>
                      <a:pt x="373040" y="126610"/>
                    </a:lnTo>
                    <a:lnTo>
                      <a:pt x="375068" y="119909"/>
                    </a:lnTo>
                    <a:lnTo>
                      <a:pt x="357875" y="116382"/>
                    </a:lnTo>
                    <a:lnTo>
                      <a:pt x="354613" y="111180"/>
                    </a:lnTo>
                    <a:lnTo>
                      <a:pt x="350029" y="111180"/>
                    </a:lnTo>
                    <a:lnTo>
                      <a:pt x="347031" y="102099"/>
                    </a:lnTo>
                    <a:lnTo>
                      <a:pt x="341829" y="105273"/>
                    </a:lnTo>
                    <a:lnTo>
                      <a:pt x="339448" y="111180"/>
                    </a:lnTo>
                    <a:lnTo>
                      <a:pt x="328691" y="109417"/>
                    </a:lnTo>
                    <a:lnTo>
                      <a:pt x="320492" y="103862"/>
                    </a:lnTo>
                    <a:lnTo>
                      <a:pt x="318817" y="103862"/>
                    </a:lnTo>
                    <a:lnTo>
                      <a:pt x="312910" y="98308"/>
                    </a:lnTo>
                    <a:lnTo>
                      <a:pt x="322520" y="90108"/>
                    </a:lnTo>
                    <a:lnTo>
                      <a:pt x="328691" y="86934"/>
                    </a:lnTo>
                    <a:lnTo>
                      <a:pt x="323137" y="82878"/>
                    </a:lnTo>
                    <a:lnTo>
                      <a:pt x="318817" y="83143"/>
                    </a:lnTo>
                    <a:lnTo>
                      <a:pt x="319963" y="78470"/>
                    </a:lnTo>
                    <a:lnTo>
                      <a:pt x="307091" y="92224"/>
                    </a:lnTo>
                    <a:lnTo>
                      <a:pt x="307707" y="94252"/>
                    </a:lnTo>
                    <a:lnTo>
                      <a:pt x="290779" y="102716"/>
                    </a:lnTo>
                    <a:lnTo>
                      <a:pt x="292543" y="108271"/>
                    </a:lnTo>
                    <a:lnTo>
                      <a:pt x="289016" y="112062"/>
                    </a:lnTo>
                    <a:lnTo>
                      <a:pt x="287605" y="114972"/>
                    </a:lnTo>
                    <a:lnTo>
                      <a:pt x="283197" y="117528"/>
                    </a:lnTo>
                    <a:lnTo>
                      <a:pt x="283197" y="123700"/>
                    </a:lnTo>
                    <a:lnTo>
                      <a:pt x="278788" y="126345"/>
                    </a:lnTo>
                    <a:lnTo>
                      <a:pt x="272705" y="121320"/>
                    </a:lnTo>
                    <a:lnTo>
                      <a:pt x="270941" y="116647"/>
                    </a:lnTo>
                    <a:lnTo>
                      <a:pt x="268296" y="108271"/>
                    </a:lnTo>
                    <a:lnTo>
                      <a:pt x="262213" y="110828"/>
                    </a:lnTo>
                    <a:lnTo>
                      <a:pt x="244667" y="113737"/>
                    </a:lnTo>
                    <a:lnTo>
                      <a:pt x="238231" y="110828"/>
                    </a:lnTo>
                    <a:lnTo>
                      <a:pt x="237702" y="98925"/>
                    </a:lnTo>
                    <a:lnTo>
                      <a:pt x="234792" y="92224"/>
                    </a:lnTo>
                    <a:lnTo>
                      <a:pt x="220509" y="88697"/>
                    </a:lnTo>
                    <a:lnTo>
                      <a:pt x="217864" y="67978"/>
                    </a:lnTo>
                    <a:lnTo>
                      <a:pt x="214337" y="67978"/>
                    </a:lnTo>
                    <a:lnTo>
                      <a:pt x="209400" y="59514"/>
                    </a:lnTo>
                    <a:lnTo>
                      <a:pt x="202082" y="54576"/>
                    </a:lnTo>
                    <a:lnTo>
                      <a:pt x="198026" y="54576"/>
                    </a:lnTo>
                    <a:lnTo>
                      <a:pt x="192736" y="47875"/>
                    </a:lnTo>
                    <a:lnTo>
                      <a:pt x="187534" y="48757"/>
                    </a:lnTo>
                    <a:lnTo>
                      <a:pt x="172634" y="53430"/>
                    </a:lnTo>
                    <a:lnTo>
                      <a:pt x="148740" y="52196"/>
                    </a:lnTo>
                    <a:lnTo>
                      <a:pt x="132076" y="53430"/>
                    </a:lnTo>
                    <a:lnTo>
                      <a:pt x="114883" y="44084"/>
                    </a:lnTo>
                    <a:lnTo>
                      <a:pt x="112591" y="40558"/>
                    </a:lnTo>
                    <a:lnTo>
                      <a:pt x="104656" y="35003"/>
                    </a:lnTo>
                    <a:lnTo>
                      <a:pt x="101217" y="37383"/>
                    </a:lnTo>
                    <a:lnTo>
                      <a:pt x="96809" y="41175"/>
                    </a:lnTo>
                    <a:lnTo>
                      <a:pt x="95398" y="43467"/>
                    </a:lnTo>
                    <a:lnTo>
                      <a:pt x="93018" y="44349"/>
                    </a:lnTo>
                    <a:lnTo>
                      <a:pt x="89844" y="44966"/>
                    </a:lnTo>
                    <a:lnTo>
                      <a:pt x="87199" y="45495"/>
                    </a:lnTo>
                    <a:lnTo>
                      <a:pt x="83054" y="44966"/>
                    </a:lnTo>
                    <a:lnTo>
                      <a:pt x="81379" y="44349"/>
                    </a:lnTo>
                    <a:lnTo>
                      <a:pt x="78382" y="45848"/>
                    </a:lnTo>
                    <a:lnTo>
                      <a:pt x="75207" y="48404"/>
                    </a:lnTo>
                    <a:lnTo>
                      <a:pt x="76089" y="46994"/>
                    </a:lnTo>
                    <a:lnTo>
                      <a:pt x="74590" y="46994"/>
                    </a:lnTo>
                    <a:lnTo>
                      <a:pt x="73444" y="45230"/>
                    </a:lnTo>
                    <a:lnTo>
                      <a:pt x="73180" y="43467"/>
                    </a:lnTo>
                    <a:lnTo>
                      <a:pt x="72298" y="41704"/>
                    </a:lnTo>
                    <a:lnTo>
                      <a:pt x="72562" y="41704"/>
                    </a:lnTo>
                    <a:lnTo>
                      <a:pt x="69124" y="40822"/>
                    </a:lnTo>
                    <a:lnTo>
                      <a:pt x="68242" y="38794"/>
                    </a:lnTo>
                    <a:lnTo>
                      <a:pt x="63834" y="39411"/>
                    </a:lnTo>
                    <a:lnTo>
                      <a:pt x="62070" y="38794"/>
                    </a:lnTo>
                    <a:lnTo>
                      <a:pt x="56251" y="37912"/>
                    </a:lnTo>
                    <a:lnTo>
                      <a:pt x="56869" y="38265"/>
                    </a:lnTo>
                    <a:lnTo>
                      <a:pt x="54488" y="37031"/>
                    </a:lnTo>
                    <a:lnTo>
                      <a:pt x="53078" y="33857"/>
                    </a:lnTo>
                    <a:lnTo>
                      <a:pt x="52460" y="31564"/>
                    </a:lnTo>
                    <a:lnTo>
                      <a:pt x="52196" y="29448"/>
                    </a:lnTo>
                    <a:lnTo>
                      <a:pt x="51049" y="27156"/>
                    </a:lnTo>
                    <a:lnTo>
                      <a:pt x="50432" y="26010"/>
                    </a:lnTo>
                    <a:lnTo>
                      <a:pt x="50080" y="24511"/>
                    </a:lnTo>
                    <a:lnTo>
                      <a:pt x="49903" y="22483"/>
                    </a:lnTo>
                    <a:lnTo>
                      <a:pt x="49551" y="19573"/>
                    </a:lnTo>
                    <a:lnTo>
                      <a:pt x="49903" y="17193"/>
                    </a:lnTo>
                    <a:lnTo>
                      <a:pt x="50080" y="13402"/>
                    </a:lnTo>
                    <a:lnTo>
                      <a:pt x="50697" y="10492"/>
                    </a:lnTo>
                    <a:lnTo>
                      <a:pt x="51049" y="8464"/>
                    </a:lnTo>
                    <a:lnTo>
                      <a:pt x="51843" y="7053"/>
                    </a:lnTo>
                    <a:lnTo>
                      <a:pt x="53607" y="5555"/>
                    </a:lnTo>
                    <a:lnTo>
                      <a:pt x="55105" y="5290"/>
                    </a:lnTo>
                    <a:lnTo>
                      <a:pt x="57398" y="6436"/>
                    </a:lnTo>
                    <a:lnTo>
                      <a:pt x="57750" y="8200"/>
                    </a:lnTo>
                    <a:lnTo>
                      <a:pt x="58279" y="11109"/>
                    </a:lnTo>
                    <a:lnTo>
                      <a:pt x="58632" y="14900"/>
                    </a:lnTo>
                    <a:lnTo>
                      <a:pt x="58896" y="18692"/>
                    </a:lnTo>
                    <a:lnTo>
                      <a:pt x="59161" y="20984"/>
                    </a:lnTo>
                    <a:lnTo>
                      <a:pt x="59161" y="23629"/>
                    </a:lnTo>
                    <a:lnTo>
                      <a:pt x="60043" y="26539"/>
                    </a:lnTo>
                    <a:lnTo>
                      <a:pt x="61541" y="28037"/>
                    </a:lnTo>
                    <a:lnTo>
                      <a:pt x="63569" y="30947"/>
                    </a:lnTo>
                    <a:lnTo>
                      <a:pt x="64980" y="33592"/>
                    </a:lnTo>
                    <a:lnTo>
                      <a:pt x="67977" y="32711"/>
                    </a:lnTo>
                    <a:lnTo>
                      <a:pt x="70887" y="32711"/>
                    </a:lnTo>
                    <a:lnTo>
                      <a:pt x="70887" y="30683"/>
                    </a:lnTo>
                    <a:lnTo>
                      <a:pt x="70887" y="27773"/>
                    </a:lnTo>
                    <a:lnTo>
                      <a:pt x="71416" y="27156"/>
                    </a:lnTo>
                    <a:lnTo>
                      <a:pt x="72298" y="25393"/>
                    </a:lnTo>
                    <a:lnTo>
                      <a:pt x="72298" y="23100"/>
                    </a:lnTo>
                    <a:lnTo>
                      <a:pt x="72562" y="20984"/>
                    </a:lnTo>
                    <a:lnTo>
                      <a:pt x="73797" y="18075"/>
                    </a:lnTo>
                    <a:lnTo>
                      <a:pt x="73444" y="15165"/>
                    </a:lnTo>
                    <a:lnTo>
                      <a:pt x="70270" y="13137"/>
                    </a:lnTo>
                    <a:lnTo>
                      <a:pt x="72033" y="13137"/>
                    </a:lnTo>
                    <a:lnTo>
                      <a:pt x="68507" y="9346"/>
                    </a:lnTo>
                    <a:lnTo>
                      <a:pt x="66479" y="7582"/>
                    </a:lnTo>
                    <a:lnTo>
                      <a:pt x="60043" y="3262"/>
                    </a:lnTo>
                    <a:lnTo>
                      <a:pt x="48404" y="882"/>
                    </a:lnTo>
                    <a:lnTo>
                      <a:pt x="43731" y="0"/>
                    </a:lnTo>
                    <a:lnTo>
                      <a:pt x="0" y="16311"/>
                    </a:lnTo>
                    <a:lnTo>
                      <a:pt x="27949" y="106772"/>
                    </a:lnTo>
                    <a:lnTo>
                      <a:pt x="39676" y="105890"/>
                    </a:lnTo>
                    <a:lnTo>
                      <a:pt x="45495" y="107654"/>
                    </a:lnTo>
                    <a:lnTo>
                      <a:pt x="42850" y="98925"/>
                    </a:lnTo>
                    <a:lnTo>
                      <a:pt x="41968" y="93899"/>
                    </a:lnTo>
                    <a:lnTo>
                      <a:pt x="43731" y="90461"/>
                    </a:lnTo>
                    <a:lnTo>
                      <a:pt x="52725" y="89579"/>
                    </a:lnTo>
                    <a:lnTo>
                      <a:pt x="59514" y="84024"/>
                    </a:lnTo>
                    <a:lnTo>
                      <a:pt x="65862" y="81379"/>
                    </a:lnTo>
                    <a:lnTo>
                      <a:pt x="64451" y="72915"/>
                    </a:lnTo>
                    <a:lnTo>
                      <a:pt x="70887" y="72915"/>
                    </a:lnTo>
                    <a:lnTo>
                      <a:pt x="81644" y="72915"/>
                    </a:lnTo>
                    <a:lnTo>
                      <a:pt x="85699" y="79616"/>
                    </a:lnTo>
                    <a:lnTo>
                      <a:pt x="97955" y="79616"/>
                    </a:lnTo>
                    <a:lnTo>
                      <a:pt x="107653" y="94252"/>
                    </a:lnTo>
                    <a:lnTo>
                      <a:pt x="106684" y="100953"/>
                    </a:lnTo>
                    <a:lnTo>
                      <a:pt x="107653" y="104744"/>
                    </a:lnTo>
                    <a:lnTo>
                      <a:pt x="128285" y="109946"/>
                    </a:lnTo>
                    <a:lnTo>
                      <a:pt x="135867" y="109946"/>
                    </a:lnTo>
                    <a:lnTo>
                      <a:pt x="138248" y="109946"/>
                    </a:lnTo>
                    <a:lnTo>
                      <a:pt x="143714" y="109946"/>
                    </a:lnTo>
                    <a:lnTo>
                      <a:pt x="153148" y="126345"/>
                    </a:lnTo>
                    <a:lnTo>
                      <a:pt x="161525" y="132693"/>
                    </a:lnTo>
                    <a:lnTo>
                      <a:pt x="162406" y="136220"/>
                    </a:lnTo>
                    <a:lnTo>
                      <a:pt x="174662" y="145566"/>
                    </a:lnTo>
                    <a:lnTo>
                      <a:pt x="192207" y="153677"/>
                    </a:lnTo>
                    <a:lnTo>
                      <a:pt x="206226" y="166286"/>
                    </a:lnTo>
                    <a:lnTo>
                      <a:pt x="212045" y="166286"/>
                    </a:lnTo>
                    <a:lnTo>
                      <a:pt x="239730" y="180569"/>
                    </a:lnTo>
                    <a:lnTo>
                      <a:pt x="242375" y="184007"/>
                    </a:lnTo>
                    <a:lnTo>
                      <a:pt x="247929" y="184007"/>
                    </a:lnTo>
                    <a:lnTo>
                      <a:pt x="264769" y="187887"/>
                    </a:lnTo>
                    <a:lnTo>
                      <a:pt x="268296" y="189915"/>
                    </a:lnTo>
                    <a:lnTo>
                      <a:pt x="265122" y="193089"/>
                    </a:lnTo>
                    <a:lnTo>
                      <a:pt x="262742" y="196880"/>
                    </a:lnTo>
                    <a:lnTo>
                      <a:pt x="265740" y="20508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0" name="Freihandform: Form 1899">
                <a:extLst>
                  <a:ext uri="{FF2B5EF4-FFF2-40B4-BE49-F238E27FC236}">
                    <a16:creationId xmlns:a16="http://schemas.microsoft.com/office/drawing/2014/main" id="{9084CED9-B7B1-95FF-FE63-9CB7ED44C043}"/>
                  </a:ext>
                </a:extLst>
              </p:cNvPr>
              <p:cNvSpPr/>
              <p:nvPr/>
            </p:nvSpPr>
            <p:spPr>
              <a:xfrm>
                <a:off x="4575574" y="2942486"/>
                <a:ext cx="75913" cy="69741"/>
              </a:xfrm>
              <a:custGeom>
                <a:avLst/>
                <a:gdLst>
                  <a:gd name="connsiteX0" fmla="*/ 49639 w 75913"/>
                  <a:gd name="connsiteY0" fmla="*/ 69741 h 69741"/>
                  <a:gd name="connsiteX1" fmla="*/ 48140 w 75913"/>
                  <a:gd name="connsiteY1" fmla="*/ 69741 h 69741"/>
                  <a:gd name="connsiteX2" fmla="*/ 46729 w 75913"/>
                  <a:gd name="connsiteY2" fmla="*/ 68595 h 69741"/>
                  <a:gd name="connsiteX3" fmla="*/ 44966 w 75913"/>
                  <a:gd name="connsiteY3" fmla="*/ 67978 h 69741"/>
                  <a:gd name="connsiteX4" fmla="*/ 44084 w 75913"/>
                  <a:gd name="connsiteY4" fmla="*/ 61894 h 69741"/>
                  <a:gd name="connsiteX5" fmla="*/ 43820 w 75913"/>
                  <a:gd name="connsiteY5" fmla="*/ 60395 h 69741"/>
                  <a:gd name="connsiteX6" fmla="*/ 44349 w 75913"/>
                  <a:gd name="connsiteY6" fmla="*/ 58985 h 69741"/>
                  <a:gd name="connsiteX7" fmla="*/ 43203 w 75913"/>
                  <a:gd name="connsiteY7" fmla="*/ 55987 h 69741"/>
                  <a:gd name="connsiteX8" fmla="*/ 44349 w 75913"/>
                  <a:gd name="connsiteY8" fmla="*/ 53959 h 69741"/>
                  <a:gd name="connsiteX9" fmla="*/ 43203 w 75913"/>
                  <a:gd name="connsiteY9" fmla="*/ 46729 h 69741"/>
                  <a:gd name="connsiteX10" fmla="*/ 41792 w 75913"/>
                  <a:gd name="connsiteY10" fmla="*/ 44613 h 69741"/>
                  <a:gd name="connsiteX11" fmla="*/ 40029 w 75913"/>
                  <a:gd name="connsiteY11" fmla="*/ 42585 h 69741"/>
                  <a:gd name="connsiteX12" fmla="*/ 40029 w 75913"/>
                  <a:gd name="connsiteY12" fmla="*/ 39411 h 69741"/>
                  <a:gd name="connsiteX13" fmla="*/ 39147 w 75913"/>
                  <a:gd name="connsiteY13" fmla="*/ 37912 h 69741"/>
                  <a:gd name="connsiteX14" fmla="*/ 37384 w 75913"/>
                  <a:gd name="connsiteY14" fmla="*/ 37031 h 69741"/>
                  <a:gd name="connsiteX15" fmla="*/ 33592 w 75913"/>
                  <a:gd name="connsiteY15" fmla="*/ 36502 h 69741"/>
                  <a:gd name="connsiteX16" fmla="*/ 30065 w 75913"/>
                  <a:gd name="connsiteY16" fmla="*/ 31829 h 69741"/>
                  <a:gd name="connsiteX17" fmla="*/ 26010 w 75913"/>
                  <a:gd name="connsiteY17" fmla="*/ 27773 h 69741"/>
                  <a:gd name="connsiteX18" fmla="*/ 21072 w 75913"/>
                  <a:gd name="connsiteY18" fmla="*/ 21601 h 69741"/>
                  <a:gd name="connsiteX19" fmla="*/ 20455 w 75913"/>
                  <a:gd name="connsiteY19" fmla="*/ 18427 h 69741"/>
                  <a:gd name="connsiteX20" fmla="*/ 18692 w 75913"/>
                  <a:gd name="connsiteY20" fmla="*/ 17545 h 69741"/>
                  <a:gd name="connsiteX21" fmla="*/ 17546 w 75913"/>
                  <a:gd name="connsiteY21" fmla="*/ 11991 h 69741"/>
                  <a:gd name="connsiteX22" fmla="*/ 9699 w 75913"/>
                  <a:gd name="connsiteY22" fmla="*/ 9346 h 69741"/>
                  <a:gd name="connsiteX23" fmla="*/ 4673 w 75913"/>
                  <a:gd name="connsiteY23" fmla="*/ 9346 h 69741"/>
                  <a:gd name="connsiteX24" fmla="*/ 2116 w 75913"/>
                  <a:gd name="connsiteY24" fmla="*/ 9963 h 69741"/>
                  <a:gd name="connsiteX25" fmla="*/ 0 w 75913"/>
                  <a:gd name="connsiteY25" fmla="*/ 9081 h 69741"/>
                  <a:gd name="connsiteX26" fmla="*/ 7054 w 75913"/>
                  <a:gd name="connsiteY26" fmla="*/ 3527 h 69741"/>
                  <a:gd name="connsiteX27" fmla="*/ 23982 w 75913"/>
                  <a:gd name="connsiteY27" fmla="*/ 0 h 69741"/>
                  <a:gd name="connsiteX28" fmla="*/ 39676 w 75913"/>
                  <a:gd name="connsiteY28" fmla="*/ 8200 h 69741"/>
                  <a:gd name="connsiteX29" fmla="*/ 48140 w 75913"/>
                  <a:gd name="connsiteY29" fmla="*/ 9346 h 69741"/>
                  <a:gd name="connsiteX30" fmla="*/ 53430 w 75913"/>
                  <a:gd name="connsiteY30" fmla="*/ 13137 h 69741"/>
                  <a:gd name="connsiteX31" fmla="*/ 56075 w 75913"/>
                  <a:gd name="connsiteY31" fmla="*/ 24246 h 69741"/>
                  <a:gd name="connsiteX32" fmla="*/ 62423 w 75913"/>
                  <a:gd name="connsiteY32" fmla="*/ 28566 h 69741"/>
                  <a:gd name="connsiteX33" fmla="*/ 66832 w 75913"/>
                  <a:gd name="connsiteY33" fmla="*/ 36149 h 69741"/>
                  <a:gd name="connsiteX34" fmla="*/ 72386 w 75913"/>
                  <a:gd name="connsiteY34" fmla="*/ 39411 h 69741"/>
                  <a:gd name="connsiteX35" fmla="*/ 75913 w 75913"/>
                  <a:gd name="connsiteY35" fmla="*/ 43467 h 69741"/>
                  <a:gd name="connsiteX36" fmla="*/ 73533 w 75913"/>
                  <a:gd name="connsiteY36" fmla="*/ 47611 h 69741"/>
                  <a:gd name="connsiteX37" fmla="*/ 70358 w 75913"/>
                  <a:gd name="connsiteY37" fmla="*/ 49022 h 69741"/>
                  <a:gd name="connsiteX38" fmla="*/ 67096 w 75913"/>
                  <a:gd name="connsiteY38" fmla="*/ 49022 h 69741"/>
                  <a:gd name="connsiteX39" fmla="*/ 64187 w 75913"/>
                  <a:gd name="connsiteY39" fmla="*/ 48404 h 69741"/>
                  <a:gd name="connsiteX40" fmla="*/ 58103 w 75913"/>
                  <a:gd name="connsiteY40" fmla="*/ 48404 h 69741"/>
                  <a:gd name="connsiteX41" fmla="*/ 57221 w 75913"/>
                  <a:gd name="connsiteY41" fmla="*/ 49286 h 69741"/>
                  <a:gd name="connsiteX42" fmla="*/ 57839 w 75913"/>
                  <a:gd name="connsiteY42" fmla="*/ 52813 h 69741"/>
                  <a:gd name="connsiteX43" fmla="*/ 56340 w 75913"/>
                  <a:gd name="connsiteY43" fmla="*/ 58632 h 69741"/>
                  <a:gd name="connsiteX44" fmla="*/ 54576 w 75913"/>
                  <a:gd name="connsiteY44" fmla="*/ 61541 h 69741"/>
                  <a:gd name="connsiteX45" fmla="*/ 52549 w 75913"/>
                  <a:gd name="connsiteY45" fmla="*/ 6445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75913" h="69741">
                    <a:moveTo>
                      <a:pt x="49639" y="69741"/>
                    </a:moveTo>
                    <a:lnTo>
                      <a:pt x="48140" y="69741"/>
                    </a:lnTo>
                    <a:lnTo>
                      <a:pt x="46729" y="68595"/>
                    </a:lnTo>
                    <a:lnTo>
                      <a:pt x="44966" y="67978"/>
                    </a:lnTo>
                    <a:lnTo>
                      <a:pt x="44084" y="61894"/>
                    </a:lnTo>
                    <a:lnTo>
                      <a:pt x="43820" y="60395"/>
                    </a:lnTo>
                    <a:lnTo>
                      <a:pt x="44349" y="58985"/>
                    </a:lnTo>
                    <a:lnTo>
                      <a:pt x="43203" y="55987"/>
                    </a:lnTo>
                    <a:lnTo>
                      <a:pt x="44349" y="53959"/>
                    </a:lnTo>
                    <a:lnTo>
                      <a:pt x="43203" y="46729"/>
                    </a:lnTo>
                    <a:lnTo>
                      <a:pt x="41792" y="44613"/>
                    </a:lnTo>
                    <a:lnTo>
                      <a:pt x="40029" y="42585"/>
                    </a:lnTo>
                    <a:lnTo>
                      <a:pt x="40029" y="39411"/>
                    </a:lnTo>
                    <a:lnTo>
                      <a:pt x="39147" y="37912"/>
                    </a:lnTo>
                    <a:lnTo>
                      <a:pt x="37384" y="37031"/>
                    </a:lnTo>
                    <a:lnTo>
                      <a:pt x="33592" y="36502"/>
                    </a:lnTo>
                    <a:lnTo>
                      <a:pt x="30065" y="31829"/>
                    </a:lnTo>
                    <a:lnTo>
                      <a:pt x="26010" y="27773"/>
                    </a:lnTo>
                    <a:lnTo>
                      <a:pt x="21072" y="21601"/>
                    </a:lnTo>
                    <a:lnTo>
                      <a:pt x="20455" y="18427"/>
                    </a:lnTo>
                    <a:lnTo>
                      <a:pt x="18692" y="17545"/>
                    </a:lnTo>
                    <a:lnTo>
                      <a:pt x="17546" y="11991"/>
                    </a:lnTo>
                    <a:lnTo>
                      <a:pt x="9699" y="9346"/>
                    </a:lnTo>
                    <a:lnTo>
                      <a:pt x="4673" y="9346"/>
                    </a:lnTo>
                    <a:lnTo>
                      <a:pt x="2116" y="9963"/>
                    </a:lnTo>
                    <a:lnTo>
                      <a:pt x="0" y="9081"/>
                    </a:lnTo>
                    <a:lnTo>
                      <a:pt x="7054" y="3527"/>
                    </a:lnTo>
                    <a:lnTo>
                      <a:pt x="23982" y="0"/>
                    </a:lnTo>
                    <a:lnTo>
                      <a:pt x="39676" y="8200"/>
                    </a:lnTo>
                    <a:lnTo>
                      <a:pt x="48140" y="9346"/>
                    </a:lnTo>
                    <a:lnTo>
                      <a:pt x="53430" y="13137"/>
                    </a:lnTo>
                    <a:lnTo>
                      <a:pt x="56075" y="24246"/>
                    </a:lnTo>
                    <a:lnTo>
                      <a:pt x="62423" y="28566"/>
                    </a:lnTo>
                    <a:lnTo>
                      <a:pt x="66832" y="36149"/>
                    </a:lnTo>
                    <a:lnTo>
                      <a:pt x="72386" y="39411"/>
                    </a:lnTo>
                    <a:lnTo>
                      <a:pt x="75913" y="43467"/>
                    </a:lnTo>
                    <a:lnTo>
                      <a:pt x="73533" y="47611"/>
                    </a:lnTo>
                    <a:lnTo>
                      <a:pt x="70358" y="49022"/>
                    </a:lnTo>
                    <a:lnTo>
                      <a:pt x="67096" y="49022"/>
                    </a:lnTo>
                    <a:lnTo>
                      <a:pt x="64187" y="48404"/>
                    </a:lnTo>
                    <a:lnTo>
                      <a:pt x="58103" y="48404"/>
                    </a:lnTo>
                    <a:lnTo>
                      <a:pt x="57221" y="49286"/>
                    </a:lnTo>
                    <a:lnTo>
                      <a:pt x="57839" y="52813"/>
                    </a:lnTo>
                    <a:lnTo>
                      <a:pt x="56340" y="58632"/>
                    </a:lnTo>
                    <a:lnTo>
                      <a:pt x="54576" y="61541"/>
                    </a:lnTo>
                    <a:lnTo>
                      <a:pt x="52549" y="6445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1" name="Freihandform: Form 1900">
                <a:extLst>
                  <a:ext uri="{FF2B5EF4-FFF2-40B4-BE49-F238E27FC236}">
                    <a16:creationId xmlns:a16="http://schemas.microsoft.com/office/drawing/2014/main" id="{E914042B-E053-CB9E-B852-2F29CCC4EE0A}"/>
                  </a:ext>
                </a:extLst>
              </p:cNvPr>
              <p:cNvSpPr/>
              <p:nvPr/>
            </p:nvSpPr>
            <p:spPr>
              <a:xfrm>
                <a:off x="4502659" y="2763769"/>
                <a:ext cx="161612" cy="111709"/>
              </a:xfrm>
              <a:custGeom>
                <a:avLst/>
                <a:gdLst>
                  <a:gd name="connsiteX0" fmla="*/ 11109 w 161612"/>
                  <a:gd name="connsiteY0" fmla="*/ 104920 h 111709"/>
                  <a:gd name="connsiteX1" fmla="*/ 18692 w 161612"/>
                  <a:gd name="connsiteY1" fmla="*/ 103245 h 111709"/>
                  <a:gd name="connsiteX2" fmla="*/ 24511 w 161612"/>
                  <a:gd name="connsiteY2" fmla="*/ 95927 h 111709"/>
                  <a:gd name="connsiteX3" fmla="*/ 41439 w 161612"/>
                  <a:gd name="connsiteY3" fmla="*/ 95927 h 111709"/>
                  <a:gd name="connsiteX4" fmla="*/ 64804 w 161612"/>
                  <a:gd name="connsiteY4" fmla="*/ 102011 h 111709"/>
                  <a:gd name="connsiteX5" fmla="*/ 74150 w 161612"/>
                  <a:gd name="connsiteY5" fmla="*/ 100336 h 111709"/>
                  <a:gd name="connsiteX6" fmla="*/ 78470 w 161612"/>
                  <a:gd name="connsiteY6" fmla="*/ 106155 h 111709"/>
                  <a:gd name="connsiteX7" fmla="*/ 102716 w 161612"/>
                  <a:gd name="connsiteY7" fmla="*/ 104391 h 111709"/>
                  <a:gd name="connsiteX8" fmla="*/ 106508 w 161612"/>
                  <a:gd name="connsiteY8" fmla="*/ 107918 h 111709"/>
                  <a:gd name="connsiteX9" fmla="*/ 107125 w 161612"/>
                  <a:gd name="connsiteY9" fmla="*/ 104391 h 111709"/>
                  <a:gd name="connsiteX10" fmla="*/ 114354 w 161612"/>
                  <a:gd name="connsiteY10" fmla="*/ 104391 h 111709"/>
                  <a:gd name="connsiteX11" fmla="*/ 120174 w 161612"/>
                  <a:gd name="connsiteY11" fmla="*/ 107301 h 111709"/>
                  <a:gd name="connsiteX12" fmla="*/ 122290 w 161612"/>
                  <a:gd name="connsiteY12" fmla="*/ 104920 h 111709"/>
                  <a:gd name="connsiteX13" fmla="*/ 141775 w 161612"/>
                  <a:gd name="connsiteY13" fmla="*/ 111709 h 111709"/>
                  <a:gd name="connsiteX14" fmla="*/ 142127 w 161612"/>
                  <a:gd name="connsiteY14" fmla="*/ 105273 h 111709"/>
                  <a:gd name="connsiteX15" fmla="*/ 149357 w 161612"/>
                  <a:gd name="connsiteY15" fmla="*/ 101746 h 111709"/>
                  <a:gd name="connsiteX16" fmla="*/ 156146 w 161612"/>
                  <a:gd name="connsiteY16" fmla="*/ 86581 h 111709"/>
                  <a:gd name="connsiteX17" fmla="*/ 149093 w 161612"/>
                  <a:gd name="connsiteY17" fmla="*/ 75472 h 111709"/>
                  <a:gd name="connsiteX18" fmla="*/ 151738 w 161612"/>
                  <a:gd name="connsiteY18" fmla="*/ 70270 h 111709"/>
                  <a:gd name="connsiteX19" fmla="*/ 161613 w 161612"/>
                  <a:gd name="connsiteY19" fmla="*/ 66743 h 111709"/>
                  <a:gd name="connsiteX20" fmla="*/ 158968 w 161612"/>
                  <a:gd name="connsiteY20" fmla="*/ 53606 h 111709"/>
                  <a:gd name="connsiteX21" fmla="*/ 139747 w 161612"/>
                  <a:gd name="connsiteY21" fmla="*/ 41351 h 111709"/>
                  <a:gd name="connsiteX22" fmla="*/ 134810 w 161612"/>
                  <a:gd name="connsiteY22" fmla="*/ 30859 h 111709"/>
                  <a:gd name="connsiteX23" fmla="*/ 131900 w 161612"/>
                  <a:gd name="connsiteY23" fmla="*/ 26803 h 111709"/>
                  <a:gd name="connsiteX24" fmla="*/ 132164 w 161612"/>
                  <a:gd name="connsiteY24" fmla="*/ 21866 h 111709"/>
                  <a:gd name="connsiteX25" fmla="*/ 126345 w 161612"/>
                  <a:gd name="connsiteY25" fmla="*/ 15958 h 111709"/>
                  <a:gd name="connsiteX26" fmla="*/ 128109 w 161612"/>
                  <a:gd name="connsiteY26" fmla="*/ 11374 h 111709"/>
                  <a:gd name="connsiteX27" fmla="*/ 105361 w 161612"/>
                  <a:gd name="connsiteY27" fmla="*/ 3439 h 111709"/>
                  <a:gd name="connsiteX28" fmla="*/ 101570 w 161612"/>
                  <a:gd name="connsiteY28" fmla="*/ 6965 h 111709"/>
                  <a:gd name="connsiteX29" fmla="*/ 98308 w 161612"/>
                  <a:gd name="connsiteY29" fmla="*/ 4585 h 111709"/>
                  <a:gd name="connsiteX30" fmla="*/ 78205 w 161612"/>
                  <a:gd name="connsiteY30" fmla="*/ 0 h 111709"/>
                  <a:gd name="connsiteX31" fmla="*/ 67978 w 161612"/>
                  <a:gd name="connsiteY31" fmla="*/ 0 h 111709"/>
                  <a:gd name="connsiteX32" fmla="*/ 62423 w 161612"/>
                  <a:gd name="connsiteY32" fmla="*/ 4585 h 111709"/>
                  <a:gd name="connsiteX33" fmla="*/ 56075 w 161612"/>
                  <a:gd name="connsiteY33" fmla="*/ 3791 h 111709"/>
                  <a:gd name="connsiteX34" fmla="*/ 46729 w 161612"/>
                  <a:gd name="connsiteY34" fmla="*/ 8729 h 111709"/>
                  <a:gd name="connsiteX35" fmla="*/ 44349 w 161612"/>
                  <a:gd name="connsiteY35" fmla="*/ 13402 h 111709"/>
                  <a:gd name="connsiteX36" fmla="*/ 51050 w 161612"/>
                  <a:gd name="connsiteY36" fmla="*/ 17722 h 111709"/>
                  <a:gd name="connsiteX37" fmla="*/ 49639 w 161612"/>
                  <a:gd name="connsiteY37" fmla="*/ 20102 h 111709"/>
                  <a:gd name="connsiteX38" fmla="*/ 45583 w 161612"/>
                  <a:gd name="connsiteY38" fmla="*/ 20102 h 111709"/>
                  <a:gd name="connsiteX39" fmla="*/ 44349 w 161612"/>
                  <a:gd name="connsiteY39" fmla="*/ 23541 h 111709"/>
                  <a:gd name="connsiteX40" fmla="*/ 38265 w 161612"/>
                  <a:gd name="connsiteY40" fmla="*/ 26803 h 111709"/>
                  <a:gd name="connsiteX41" fmla="*/ 35620 w 161612"/>
                  <a:gd name="connsiteY41" fmla="*/ 36678 h 111709"/>
                  <a:gd name="connsiteX42" fmla="*/ 32093 w 161612"/>
                  <a:gd name="connsiteY42" fmla="*/ 40822 h 111709"/>
                  <a:gd name="connsiteX43" fmla="*/ 20720 w 161612"/>
                  <a:gd name="connsiteY43" fmla="*/ 40822 h 111709"/>
                  <a:gd name="connsiteX44" fmla="*/ 617 w 161612"/>
                  <a:gd name="connsiteY44" fmla="*/ 43731 h 111709"/>
                  <a:gd name="connsiteX45" fmla="*/ 6436 w 161612"/>
                  <a:gd name="connsiteY45" fmla="*/ 60924 h 111709"/>
                  <a:gd name="connsiteX46" fmla="*/ 11109 w 161612"/>
                  <a:gd name="connsiteY46" fmla="*/ 67008 h 111709"/>
                  <a:gd name="connsiteX47" fmla="*/ 13137 w 161612"/>
                  <a:gd name="connsiteY47" fmla="*/ 81027 h 111709"/>
                  <a:gd name="connsiteX48" fmla="*/ 4408 w 161612"/>
                  <a:gd name="connsiteY48" fmla="*/ 84553 h 111709"/>
                  <a:gd name="connsiteX49" fmla="*/ 0 w 161612"/>
                  <a:gd name="connsiteY49" fmla="*/ 90990 h 111709"/>
                  <a:gd name="connsiteX50" fmla="*/ 1499 w 161612"/>
                  <a:gd name="connsiteY50" fmla="*/ 91871 h 111709"/>
                  <a:gd name="connsiteX51" fmla="*/ 2645 w 161612"/>
                  <a:gd name="connsiteY51" fmla="*/ 93899 h 111709"/>
                  <a:gd name="connsiteX52" fmla="*/ 5026 w 161612"/>
                  <a:gd name="connsiteY52" fmla="*/ 93899 h 111709"/>
                  <a:gd name="connsiteX53" fmla="*/ 5555 w 161612"/>
                  <a:gd name="connsiteY53" fmla="*/ 94781 h 111709"/>
                  <a:gd name="connsiteX54" fmla="*/ 5907 w 161612"/>
                  <a:gd name="connsiteY54" fmla="*/ 95927 h 111709"/>
                  <a:gd name="connsiteX55" fmla="*/ 7583 w 161612"/>
                  <a:gd name="connsiteY55" fmla="*/ 97073 h 111709"/>
                  <a:gd name="connsiteX56" fmla="*/ 9963 w 161612"/>
                  <a:gd name="connsiteY56" fmla="*/ 97073 h 111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61612" h="111709">
                    <a:moveTo>
                      <a:pt x="11109" y="104920"/>
                    </a:moveTo>
                    <a:lnTo>
                      <a:pt x="18692" y="103245"/>
                    </a:lnTo>
                    <a:lnTo>
                      <a:pt x="24511" y="95927"/>
                    </a:lnTo>
                    <a:lnTo>
                      <a:pt x="41439" y="95927"/>
                    </a:lnTo>
                    <a:lnTo>
                      <a:pt x="64804" y="102011"/>
                    </a:lnTo>
                    <a:lnTo>
                      <a:pt x="74150" y="100336"/>
                    </a:lnTo>
                    <a:lnTo>
                      <a:pt x="78470" y="106155"/>
                    </a:lnTo>
                    <a:lnTo>
                      <a:pt x="102716" y="104391"/>
                    </a:lnTo>
                    <a:lnTo>
                      <a:pt x="106508" y="107918"/>
                    </a:lnTo>
                    <a:lnTo>
                      <a:pt x="107125" y="104391"/>
                    </a:lnTo>
                    <a:lnTo>
                      <a:pt x="114354" y="104391"/>
                    </a:lnTo>
                    <a:lnTo>
                      <a:pt x="120174" y="107301"/>
                    </a:lnTo>
                    <a:lnTo>
                      <a:pt x="122290" y="104920"/>
                    </a:lnTo>
                    <a:lnTo>
                      <a:pt x="141775" y="111709"/>
                    </a:lnTo>
                    <a:lnTo>
                      <a:pt x="142127" y="105273"/>
                    </a:lnTo>
                    <a:lnTo>
                      <a:pt x="149357" y="101746"/>
                    </a:lnTo>
                    <a:lnTo>
                      <a:pt x="156146" y="86581"/>
                    </a:lnTo>
                    <a:lnTo>
                      <a:pt x="149093" y="75472"/>
                    </a:lnTo>
                    <a:lnTo>
                      <a:pt x="151738" y="70270"/>
                    </a:lnTo>
                    <a:lnTo>
                      <a:pt x="161613" y="66743"/>
                    </a:lnTo>
                    <a:lnTo>
                      <a:pt x="158968" y="53606"/>
                    </a:lnTo>
                    <a:lnTo>
                      <a:pt x="139747" y="41351"/>
                    </a:lnTo>
                    <a:lnTo>
                      <a:pt x="134810" y="30859"/>
                    </a:lnTo>
                    <a:lnTo>
                      <a:pt x="131900" y="26803"/>
                    </a:lnTo>
                    <a:lnTo>
                      <a:pt x="132164" y="21866"/>
                    </a:lnTo>
                    <a:lnTo>
                      <a:pt x="126345" y="15958"/>
                    </a:lnTo>
                    <a:lnTo>
                      <a:pt x="128109" y="11374"/>
                    </a:lnTo>
                    <a:lnTo>
                      <a:pt x="105361" y="3439"/>
                    </a:lnTo>
                    <a:lnTo>
                      <a:pt x="101570" y="6965"/>
                    </a:lnTo>
                    <a:lnTo>
                      <a:pt x="98308" y="4585"/>
                    </a:lnTo>
                    <a:lnTo>
                      <a:pt x="78205" y="0"/>
                    </a:lnTo>
                    <a:lnTo>
                      <a:pt x="67978" y="0"/>
                    </a:lnTo>
                    <a:lnTo>
                      <a:pt x="62423" y="4585"/>
                    </a:lnTo>
                    <a:lnTo>
                      <a:pt x="56075" y="3791"/>
                    </a:lnTo>
                    <a:lnTo>
                      <a:pt x="46729" y="8729"/>
                    </a:lnTo>
                    <a:lnTo>
                      <a:pt x="44349" y="13402"/>
                    </a:lnTo>
                    <a:lnTo>
                      <a:pt x="51050" y="17722"/>
                    </a:lnTo>
                    <a:lnTo>
                      <a:pt x="49639" y="20102"/>
                    </a:lnTo>
                    <a:lnTo>
                      <a:pt x="45583" y="20102"/>
                    </a:lnTo>
                    <a:lnTo>
                      <a:pt x="44349" y="23541"/>
                    </a:lnTo>
                    <a:lnTo>
                      <a:pt x="38265" y="26803"/>
                    </a:lnTo>
                    <a:lnTo>
                      <a:pt x="35620" y="36678"/>
                    </a:lnTo>
                    <a:lnTo>
                      <a:pt x="32093" y="40822"/>
                    </a:lnTo>
                    <a:lnTo>
                      <a:pt x="20720" y="40822"/>
                    </a:lnTo>
                    <a:lnTo>
                      <a:pt x="617" y="43731"/>
                    </a:lnTo>
                    <a:lnTo>
                      <a:pt x="6436" y="60924"/>
                    </a:lnTo>
                    <a:lnTo>
                      <a:pt x="11109" y="67008"/>
                    </a:lnTo>
                    <a:lnTo>
                      <a:pt x="13137" y="81027"/>
                    </a:lnTo>
                    <a:lnTo>
                      <a:pt x="4408" y="84553"/>
                    </a:lnTo>
                    <a:lnTo>
                      <a:pt x="0" y="90990"/>
                    </a:lnTo>
                    <a:lnTo>
                      <a:pt x="1499" y="91871"/>
                    </a:lnTo>
                    <a:lnTo>
                      <a:pt x="2645" y="93899"/>
                    </a:lnTo>
                    <a:lnTo>
                      <a:pt x="5026" y="93899"/>
                    </a:lnTo>
                    <a:lnTo>
                      <a:pt x="5555" y="94781"/>
                    </a:lnTo>
                    <a:lnTo>
                      <a:pt x="5907" y="95927"/>
                    </a:lnTo>
                    <a:lnTo>
                      <a:pt x="7583" y="97073"/>
                    </a:lnTo>
                    <a:lnTo>
                      <a:pt x="9963" y="970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2" name="Freihandform: Form 1901">
                <a:extLst>
                  <a:ext uri="{FF2B5EF4-FFF2-40B4-BE49-F238E27FC236}">
                    <a16:creationId xmlns:a16="http://schemas.microsoft.com/office/drawing/2014/main" id="{B759DE73-5437-6D74-CB2B-1D5A75F7C1F7}"/>
                  </a:ext>
                </a:extLst>
              </p:cNvPr>
              <p:cNvSpPr/>
              <p:nvPr/>
            </p:nvSpPr>
            <p:spPr>
              <a:xfrm>
                <a:off x="4493402" y="2849204"/>
                <a:ext cx="343856" cy="194499"/>
              </a:xfrm>
              <a:custGeom>
                <a:avLst/>
                <a:gdLst>
                  <a:gd name="connsiteX0" fmla="*/ 20367 w 343856"/>
                  <a:gd name="connsiteY0" fmla="*/ 19485 h 194499"/>
                  <a:gd name="connsiteX1" fmla="*/ 27949 w 343856"/>
                  <a:gd name="connsiteY1" fmla="*/ 17810 h 194499"/>
                  <a:gd name="connsiteX2" fmla="*/ 33768 w 343856"/>
                  <a:gd name="connsiteY2" fmla="*/ 10492 h 194499"/>
                  <a:gd name="connsiteX3" fmla="*/ 50697 w 343856"/>
                  <a:gd name="connsiteY3" fmla="*/ 10492 h 194499"/>
                  <a:gd name="connsiteX4" fmla="*/ 74061 w 343856"/>
                  <a:gd name="connsiteY4" fmla="*/ 16576 h 194499"/>
                  <a:gd name="connsiteX5" fmla="*/ 83407 w 343856"/>
                  <a:gd name="connsiteY5" fmla="*/ 14900 h 194499"/>
                  <a:gd name="connsiteX6" fmla="*/ 87727 w 343856"/>
                  <a:gd name="connsiteY6" fmla="*/ 20719 h 194499"/>
                  <a:gd name="connsiteX7" fmla="*/ 111974 w 343856"/>
                  <a:gd name="connsiteY7" fmla="*/ 18956 h 194499"/>
                  <a:gd name="connsiteX8" fmla="*/ 115765 w 343856"/>
                  <a:gd name="connsiteY8" fmla="*/ 22483 h 194499"/>
                  <a:gd name="connsiteX9" fmla="*/ 116382 w 343856"/>
                  <a:gd name="connsiteY9" fmla="*/ 18956 h 194499"/>
                  <a:gd name="connsiteX10" fmla="*/ 123612 w 343856"/>
                  <a:gd name="connsiteY10" fmla="*/ 18956 h 194499"/>
                  <a:gd name="connsiteX11" fmla="*/ 129431 w 343856"/>
                  <a:gd name="connsiteY11" fmla="*/ 21866 h 194499"/>
                  <a:gd name="connsiteX12" fmla="*/ 131547 w 343856"/>
                  <a:gd name="connsiteY12" fmla="*/ 19485 h 194499"/>
                  <a:gd name="connsiteX13" fmla="*/ 151032 w 343856"/>
                  <a:gd name="connsiteY13" fmla="*/ 26274 h 194499"/>
                  <a:gd name="connsiteX14" fmla="*/ 151385 w 343856"/>
                  <a:gd name="connsiteY14" fmla="*/ 19838 h 194499"/>
                  <a:gd name="connsiteX15" fmla="*/ 158615 w 343856"/>
                  <a:gd name="connsiteY15" fmla="*/ 16311 h 194499"/>
                  <a:gd name="connsiteX16" fmla="*/ 165404 w 343856"/>
                  <a:gd name="connsiteY16" fmla="*/ 1146 h 194499"/>
                  <a:gd name="connsiteX17" fmla="*/ 172634 w 343856"/>
                  <a:gd name="connsiteY17" fmla="*/ 9346 h 194499"/>
                  <a:gd name="connsiteX18" fmla="*/ 179599 w 343856"/>
                  <a:gd name="connsiteY18" fmla="*/ 2292 h 194499"/>
                  <a:gd name="connsiteX19" fmla="*/ 185506 w 343856"/>
                  <a:gd name="connsiteY19" fmla="*/ 2292 h 194499"/>
                  <a:gd name="connsiteX20" fmla="*/ 192471 w 343856"/>
                  <a:gd name="connsiteY20" fmla="*/ 0 h 194499"/>
                  <a:gd name="connsiteX21" fmla="*/ 206138 w 343856"/>
                  <a:gd name="connsiteY21" fmla="*/ 2292 h 194499"/>
                  <a:gd name="connsiteX22" fmla="*/ 213808 w 343856"/>
                  <a:gd name="connsiteY22" fmla="*/ 6965 h 194499"/>
                  <a:gd name="connsiteX23" fmla="*/ 212309 w 343856"/>
                  <a:gd name="connsiteY23" fmla="*/ 18692 h 194499"/>
                  <a:gd name="connsiteX24" fmla="*/ 219627 w 343856"/>
                  <a:gd name="connsiteY24" fmla="*/ 26803 h 194499"/>
                  <a:gd name="connsiteX25" fmla="*/ 225711 w 343856"/>
                  <a:gd name="connsiteY25" fmla="*/ 27949 h 194499"/>
                  <a:gd name="connsiteX26" fmla="*/ 233293 w 343856"/>
                  <a:gd name="connsiteY26" fmla="*/ 27949 h 194499"/>
                  <a:gd name="connsiteX27" fmla="*/ 245284 w 343856"/>
                  <a:gd name="connsiteY27" fmla="*/ 44349 h 194499"/>
                  <a:gd name="connsiteX28" fmla="*/ 250839 w 343856"/>
                  <a:gd name="connsiteY28" fmla="*/ 47787 h 194499"/>
                  <a:gd name="connsiteX29" fmla="*/ 256658 w 343856"/>
                  <a:gd name="connsiteY29" fmla="*/ 44349 h 194499"/>
                  <a:gd name="connsiteX30" fmla="*/ 264505 w 343856"/>
                  <a:gd name="connsiteY30" fmla="*/ 50432 h 194499"/>
                  <a:gd name="connsiteX31" fmla="*/ 270589 w 343856"/>
                  <a:gd name="connsiteY31" fmla="*/ 51578 h 194499"/>
                  <a:gd name="connsiteX32" fmla="*/ 283197 w 343856"/>
                  <a:gd name="connsiteY32" fmla="*/ 47787 h 194499"/>
                  <a:gd name="connsiteX33" fmla="*/ 296863 w 343856"/>
                  <a:gd name="connsiteY33" fmla="*/ 58632 h 194499"/>
                  <a:gd name="connsiteX34" fmla="*/ 310000 w 343856"/>
                  <a:gd name="connsiteY34" fmla="*/ 56251 h 194499"/>
                  <a:gd name="connsiteX35" fmla="*/ 316436 w 343856"/>
                  <a:gd name="connsiteY35" fmla="*/ 59778 h 194499"/>
                  <a:gd name="connsiteX36" fmla="*/ 338038 w 343856"/>
                  <a:gd name="connsiteY36" fmla="*/ 70270 h 194499"/>
                  <a:gd name="connsiteX37" fmla="*/ 334775 w 343856"/>
                  <a:gd name="connsiteY37" fmla="*/ 78734 h 194499"/>
                  <a:gd name="connsiteX38" fmla="*/ 338302 w 343856"/>
                  <a:gd name="connsiteY38" fmla="*/ 85700 h 194499"/>
                  <a:gd name="connsiteX39" fmla="*/ 337156 w 343856"/>
                  <a:gd name="connsiteY39" fmla="*/ 89226 h 194499"/>
                  <a:gd name="connsiteX40" fmla="*/ 343857 w 343856"/>
                  <a:gd name="connsiteY40" fmla="*/ 98837 h 194499"/>
                  <a:gd name="connsiteX41" fmla="*/ 341211 w 343856"/>
                  <a:gd name="connsiteY41" fmla="*/ 109329 h 194499"/>
                  <a:gd name="connsiteX42" fmla="*/ 323402 w 343856"/>
                  <a:gd name="connsiteY42" fmla="*/ 108183 h 194499"/>
                  <a:gd name="connsiteX43" fmla="*/ 321638 w 343856"/>
                  <a:gd name="connsiteY43" fmla="*/ 112856 h 194499"/>
                  <a:gd name="connsiteX44" fmla="*/ 314144 w 343856"/>
                  <a:gd name="connsiteY44" fmla="*/ 115148 h 194499"/>
                  <a:gd name="connsiteX45" fmla="*/ 315290 w 343856"/>
                  <a:gd name="connsiteY45" fmla="*/ 120173 h 194499"/>
                  <a:gd name="connsiteX46" fmla="*/ 319346 w 343856"/>
                  <a:gd name="connsiteY46" fmla="*/ 125993 h 194499"/>
                  <a:gd name="connsiteX47" fmla="*/ 310617 w 343856"/>
                  <a:gd name="connsiteY47" fmla="*/ 128285 h 194499"/>
                  <a:gd name="connsiteX48" fmla="*/ 305327 w 343856"/>
                  <a:gd name="connsiteY48" fmla="*/ 132076 h 194499"/>
                  <a:gd name="connsiteX49" fmla="*/ 297480 w 343856"/>
                  <a:gd name="connsiteY49" fmla="*/ 131547 h 194499"/>
                  <a:gd name="connsiteX50" fmla="*/ 296863 w 343856"/>
                  <a:gd name="connsiteY50" fmla="*/ 137102 h 194499"/>
                  <a:gd name="connsiteX51" fmla="*/ 294306 w 343856"/>
                  <a:gd name="connsiteY51" fmla="*/ 134104 h 194499"/>
                  <a:gd name="connsiteX52" fmla="*/ 288487 w 343856"/>
                  <a:gd name="connsiteY52" fmla="*/ 139659 h 194499"/>
                  <a:gd name="connsiteX53" fmla="*/ 286106 w 343856"/>
                  <a:gd name="connsiteY53" fmla="*/ 136749 h 194499"/>
                  <a:gd name="connsiteX54" fmla="*/ 284960 w 343856"/>
                  <a:gd name="connsiteY54" fmla="*/ 142039 h 194499"/>
                  <a:gd name="connsiteX55" fmla="*/ 279406 w 343856"/>
                  <a:gd name="connsiteY55" fmla="*/ 142921 h 194499"/>
                  <a:gd name="connsiteX56" fmla="*/ 277025 w 343856"/>
                  <a:gd name="connsiteY56" fmla="*/ 146977 h 194499"/>
                  <a:gd name="connsiteX57" fmla="*/ 276231 w 343856"/>
                  <a:gd name="connsiteY57" fmla="*/ 143803 h 194499"/>
                  <a:gd name="connsiteX58" fmla="*/ 267415 w 343856"/>
                  <a:gd name="connsiteY58" fmla="*/ 148740 h 194499"/>
                  <a:gd name="connsiteX59" fmla="*/ 263888 w 343856"/>
                  <a:gd name="connsiteY59" fmla="*/ 146359 h 194499"/>
                  <a:gd name="connsiteX60" fmla="*/ 263623 w 343856"/>
                  <a:gd name="connsiteY60" fmla="*/ 153413 h 194499"/>
                  <a:gd name="connsiteX61" fmla="*/ 257187 w 343856"/>
                  <a:gd name="connsiteY61" fmla="*/ 153413 h 194499"/>
                  <a:gd name="connsiteX62" fmla="*/ 250839 w 343856"/>
                  <a:gd name="connsiteY62" fmla="*/ 151032 h 194499"/>
                  <a:gd name="connsiteX63" fmla="*/ 246430 w 343856"/>
                  <a:gd name="connsiteY63" fmla="*/ 151650 h 194499"/>
                  <a:gd name="connsiteX64" fmla="*/ 243257 w 343856"/>
                  <a:gd name="connsiteY64" fmla="*/ 150768 h 194499"/>
                  <a:gd name="connsiteX65" fmla="*/ 241758 w 343856"/>
                  <a:gd name="connsiteY65" fmla="*/ 151385 h 194499"/>
                  <a:gd name="connsiteX66" fmla="*/ 242022 w 343856"/>
                  <a:gd name="connsiteY66" fmla="*/ 153413 h 194499"/>
                  <a:gd name="connsiteX67" fmla="*/ 242904 w 343856"/>
                  <a:gd name="connsiteY67" fmla="*/ 154559 h 194499"/>
                  <a:gd name="connsiteX68" fmla="*/ 244667 w 343856"/>
                  <a:gd name="connsiteY68" fmla="*/ 155441 h 194499"/>
                  <a:gd name="connsiteX69" fmla="*/ 249076 w 343856"/>
                  <a:gd name="connsiteY69" fmla="*/ 155176 h 194499"/>
                  <a:gd name="connsiteX70" fmla="*/ 252602 w 343856"/>
                  <a:gd name="connsiteY70" fmla="*/ 156587 h 194499"/>
                  <a:gd name="connsiteX71" fmla="*/ 255424 w 343856"/>
                  <a:gd name="connsiteY71" fmla="*/ 157469 h 194499"/>
                  <a:gd name="connsiteX72" fmla="*/ 258686 w 343856"/>
                  <a:gd name="connsiteY72" fmla="*/ 160643 h 194499"/>
                  <a:gd name="connsiteX73" fmla="*/ 260714 w 343856"/>
                  <a:gd name="connsiteY73" fmla="*/ 164434 h 194499"/>
                  <a:gd name="connsiteX74" fmla="*/ 263888 w 343856"/>
                  <a:gd name="connsiteY74" fmla="*/ 166815 h 194499"/>
                  <a:gd name="connsiteX75" fmla="*/ 262213 w 343856"/>
                  <a:gd name="connsiteY75" fmla="*/ 170606 h 194499"/>
                  <a:gd name="connsiteX76" fmla="*/ 265651 w 343856"/>
                  <a:gd name="connsiteY76" fmla="*/ 172016 h 194499"/>
                  <a:gd name="connsiteX77" fmla="*/ 272440 w 343856"/>
                  <a:gd name="connsiteY77" fmla="*/ 167696 h 194499"/>
                  <a:gd name="connsiteX78" fmla="*/ 274997 w 343856"/>
                  <a:gd name="connsiteY78" fmla="*/ 170870 h 194499"/>
                  <a:gd name="connsiteX79" fmla="*/ 280816 w 343856"/>
                  <a:gd name="connsiteY79" fmla="*/ 172369 h 194499"/>
                  <a:gd name="connsiteX80" fmla="*/ 282051 w 343856"/>
                  <a:gd name="connsiteY80" fmla="*/ 169460 h 194499"/>
                  <a:gd name="connsiteX81" fmla="*/ 284343 w 343856"/>
                  <a:gd name="connsiteY81" fmla="*/ 171487 h 194499"/>
                  <a:gd name="connsiteX82" fmla="*/ 288487 w 343856"/>
                  <a:gd name="connsiteY82" fmla="*/ 170606 h 194499"/>
                  <a:gd name="connsiteX83" fmla="*/ 291661 w 343856"/>
                  <a:gd name="connsiteY83" fmla="*/ 174397 h 194499"/>
                  <a:gd name="connsiteX84" fmla="*/ 289280 w 343856"/>
                  <a:gd name="connsiteY84" fmla="*/ 177924 h 194499"/>
                  <a:gd name="connsiteX85" fmla="*/ 290779 w 343856"/>
                  <a:gd name="connsiteY85" fmla="*/ 178805 h 194499"/>
                  <a:gd name="connsiteX86" fmla="*/ 289280 w 343856"/>
                  <a:gd name="connsiteY86" fmla="*/ 180216 h 194499"/>
                  <a:gd name="connsiteX87" fmla="*/ 286988 w 343856"/>
                  <a:gd name="connsiteY87" fmla="*/ 180216 h 194499"/>
                  <a:gd name="connsiteX88" fmla="*/ 281169 w 343856"/>
                  <a:gd name="connsiteY88" fmla="*/ 180833 h 194499"/>
                  <a:gd name="connsiteX89" fmla="*/ 274733 w 343856"/>
                  <a:gd name="connsiteY89" fmla="*/ 180833 h 194499"/>
                  <a:gd name="connsiteX90" fmla="*/ 270941 w 343856"/>
                  <a:gd name="connsiteY90" fmla="*/ 179952 h 194499"/>
                  <a:gd name="connsiteX91" fmla="*/ 268296 w 343856"/>
                  <a:gd name="connsiteY91" fmla="*/ 177924 h 194499"/>
                  <a:gd name="connsiteX92" fmla="*/ 266886 w 343856"/>
                  <a:gd name="connsiteY92" fmla="*/ 183743 h 194499"/>
                  <a:gd name="connsiteX93" fmla="*/ 263094 w 343856"/>
                  <a:gd name="connsiteY93" fmla="*/ 183743 h 194499"/>
                  <a:gd name="connsiteX94" fmla="*/ 258950 w 343856"/>
                  <a:gd name="connsiteY94" fmla="*/ 187534 h 194499"/>
                  <a:gd name="connsiteX95" fmla="*/ 258422 w 343856"/>
                  <a:gd name="connsiteY95" fmla="*/ 189827 h 194499"/>
                  <a:gd name="connsiteX96" fmla="*/ 255159 w 343856"/>
                  <a:gd name="connsiteY96" fmla="*/ 191854 h 194499"/>
                  <a:gd name="connsiteX97" fmla="*/ 251721 w 343856"/>
                  <a:gd name="connsiteY97" fmla="*/ 193089 h 194499"/>
                  <a:gd name="connsiteX98" fmla="*/ 251721 w 343856"/>
                  <a:gd name="connsiteY98" fmla="*/ 193970 h 194499"/>
                  <a:gd name="connsiteX99" fmla="*/ 246430 w 343856"/>
                  <a:gd name="connsiteY99" fmla="*/ 194499 h 194499"/>
                  <a:gd name="connsiteX100" fmla="*/ 239994 w 343856"/>
                  <a:gd name="connsiteY100" fmla="*/ 193618 h 194499"/>
                  <a:gd name="connsiteX101" fmla="*/ 238231 w 343856"/>
                  <a:gd name="connsiteY101" fmla="*/ 188680 h 194499"/>
                  <a:gd name="connsiteX102" fmla="*/ 237702 w 343856"/>
                  <a:gd name="connsiteY102" fmla="*/ 186035 h 194499"/>
                  <a:gd name="connsiteX103" fmla="*/ 237349 w 343856"/>
                  <a:gd name="connsiteY103" fmla="*/ 182861 h 194499"/>
                  <a:gd name="connsiteX104" fmla="*/ 236203 w 343856"/>
                  <a:gd name="connsiteY104" fmla="*/ 180481 h 194499"/>
                  <a:gd name="connsiteX105" fmla="*/ 233293 w 343856"/>
                  <a:gd name="connsiteY105" fmla="*/ 175543 h 194499"/>
                  <a:gd name="connsiteX106" fmla="*/ 225711 w 343856"/>
                  <a:gd name="connsiteY106" fmla="*/ 174397 h 194499"/>
                  <a:gd name="connsiteX107" fmla="*/ 220156 w 343856"/>
                  <a:gd name="connsiteY107" fmla="*/ 174397 h 194499"/>
                  <a:gd name="connsiteX108" fmla="*/ 214602 w 343856"/>
                  <a:gd name="connsiteY108" fmla="*/ 171752 h 194499"/>
                  <a:gd name="connsiteX109" fmla="*/ 209929 w 343856"/>
                  <a:gd name="connsiteY109" fmla="*/ 172016 h 194499"/>
                  <a:gd name="connsiteX110" fmla="*/ 209929 w 343856"/>
                  <a:gd name="connsiteY110" fmla="*/ 168842 h 194499"/>
                  <a:gd name="connsiteX111" fmla="*/ 211692 w 343856"/>
                  <a:gd name="connsiteY111" fmla="*/ 166550 h 194499"/>
                  <a:gd name="connsiteX112" fmla="*/ 214602 w 343856"/>
                  <a:gd name="connsiteY112" fmla="*/ 162406 h 194499"/>
                  <a:gd name="connsiteX113" fmla="*/ 217864 w 343856"/>
                  <a:gd name="connsiteY113" fmla="*/ 161260 h 194499"/>
                  <a:gd name="connsiteX114" fmla="*/ 219892 w 343856"/>
                  <a:gd name="connsiteY114" fmla="*/ 159232 h 194499"/>
                  <a:gd name="connsiteX115" fmla="*/ 221920 w 343856"/>
                  <a:gd name="connsiteY115" fmla="*/ 158086 h 194499"/>
                  <a:gd name="connsiteX116" fmla="*/ 227739 w 343856"/>
                  <a:gd name="connsiteY116" fmla="*/ 159232 h 194499"/>
                  <a:gd name="connsiteX117" fmla="*/ 230119 w 343856"/>
                  <a:gd name="connsiteY117" fmla="*/ 156851 h 194499"/>
                  <a:gd name="connsiteX118" fmla="*/ 232412 w 343856"/>
                  <a:gd name="connsiteY118" fmla="*/ 155705 h 194499"/>
                  <a:gd name="connsiteX119" fmla="*/ 232147 w 343856"/>
                  <a:gd name="connsiteY119" fmla="*/ 153413 h 194499"/>
                  <a:gd name="connsiteX120" fmla="*/ 231530 w 343856"/>
                  <a:gd name="connsiteY120" fmla="*/ 152531 h 194499"/>
                  <a:gd name="connsiteX121" fmla="*/ 225711 w 343856"/>
                  <a:gd name="connsiteY121" fmla="*/ 153413 h 194499"/>
                  <a:gd name="connsiteX122" fmla="*/ 224300 w 343856"/>
                  <a:gd name="connsiteY122" fmla="*/ 153060 h 194499"/>
                  <a:gd name="connsiteX123" fmla="*/ 223419 w 343856"/>
                  <a:gd name="connsiteY123" fmla="*/ 151914 h 194499"/>
                  <a:gd name="connsiteX124" fmla="*/ 218128 w 343856"/>
                  <a:gd name="connsiteY124" fmla="*/ 153413 h 194499"/>
                  <a:gd name="connsiteX125" fmla="*/ 216982 w 343856"/>
                  <a:gd name="connsiteY125" fmla="*/ 153677 h 194499"/>
                  <a:gd name="connsiteX126" fmla="*/ 212927 w 343856"/>
                  <a:gd name="connsiteY126" fmla="*/ 150768 h 194499"/>
                  <a:gd name="connsiteX127" fmla="*/ 212309 w 343856"/>
                  <a:gd name="connsiteY127" fmla="*/ 149886 h 194499"/>
                  <a:gd name="connsiteX128" fmla="*/ 209929 w 343856"/>
                  <a:gd name="connsiteY128" fmla="*/ 151032 h 194499"/>
                  <a:gd name="connsiteX129" fmla="*/ 205873 w 343856"/>
                  <a:gd name="connsiteY129" fmla="*/ 151385 h 194499"/>
                  <a:gd name="connsiteX130" fmla="*/ 202699 w 343856"/>
                  <a:gd name="connsiteY130" fmla="*/ 148123 h 194499"/>
                  <a:gd name="connsiteX131" fmla="*/ 202435 w 343856"/>
                  <a:gd name="connsiteY131" fmla="*/ 147241 h 194499"/>
                  <a:gd name="connsiteX132" fmla="*/ 203845 w 343856"/>
                  <a:gd name="connsiteY132" fmla="*/ 146359 h 194499"/>
                  <a:gd name="connsiteX133" fmla="*/ 204991 w 343856"/>
                  <a:gd name="connsiteY133" fmla="*/ 145213 h 194499"/>
                  <a:gd name="connsiteX134" fmla="*/ 202699 w 343856"/>
                  <a:gd name="connsiteY134" fmla="*/ 142921 h 194499"/>
                  <a:gd name="connsiteX135" fmla="*/ 200054 w 343856"/>
                  <a:gd name="connsiteY135" fmla="*/ 142039 h 194499"/>
                  <a:gd name="connsiteX136" fmla="*/ 198291 w 343856"/>
                  <a:gd name="connsiteY136" fmla="*/ 140540 h 194499"/>
                  <a:gd name="connsiteX137" fmla="*/ 193618 w 343856"/>
                  <a:gd name="connsiteY137" fmla="*/ 138777 h 194499"/>
                  <a:gd name="connsiteX138" fmla="*/ 190443 w 343856"/>
                  <a:gd name="connsiteY138" fmla="*/ 140540 h 194499"/>
                  <a:gd name="connsiteX139" fmla="*/ 185154 w 343856"/>
                  <a:gd name="connsiteY139" fmla="*/ 141687 h 194499"/>
                  <a:gd name="connsiteX140" fmla="*/ 184007 w 343856"/>
                  <a:gd name="connsiteY140" fmla="*/ 142304 h 194499"/>
                  <a:gd name="connsiteX141" fmla="*/ 182244 w 343856"/>
                  <a:gd name="connsiteY141" fmla="*/ 141687 h 194499"/>
                  <a:gd name="connsiteX142" fmla="*/ 180481 w 343856"/>
                  <a:gd name="connsiteY142" fmla="*/ 142568 h 194499"/>
                  <a:gd name="connsiteX143" fmla="*/ 178188 w 343856"/>
                  <a:gd name="connsiteY143" fmla="*/ 145830 h 194499"/>
                  <a:gd name="connsiteX144" fmla="*/ 174926 w 343856"/>
                  <a:gd name="connsiteY144" fmla="*/ 146359 h 194499"/>
                  <a:gd name="connsiteX145" fmla="*/ 171487 w 343856"/>
                  <a:gd name="connsiteY145" fmla="*/ 148476 h 194499"/>
                  <a:gd name="connsiteX146" fmla="*/ 168578 w 343856"/>
                  <a:gd name="connsiteY146" fmla="*/ 148476 h 194499"/>
                  <a:gd name="connsiteX147" fmla="*/ 168578 w 343856"/>
                  <a:gd name="connsiteY147" fmla="*/ 151650 h 194499"/>
                  <a:gd name="connsiteX148" fmla="*/ 169724 w 343856"/>
                  <a:gd name="connsiteY148" fmla="*/ 155176 h 194499"/>
                  <a:gd name="connsiteX149" fmla="*/ 169195 w 343856"/>
                  <a:gd name="connsiteY149" fmla="*/ 157469 h 194499"/>
                  <a:gd name="connsiteX150" fmla="*/ 166462 w 343856"/>
                  <a:gd name="connsiteY150" fmla="*/ 158968 h 194499"/>
                  <a:gd name="connsiteX151" fmla="*/ 163640 w 343856"/>
                  <a:gd name="connsiteY151" fmla="*/ 159232 h 194499"/>
                  <a:gd name="connsiteX152" fmla="*/ 161524 w 343856"/>
                  <a:gd name="connsiteY152" fmla="*/ 161524 h 194499"/>
                  <a:gd name="connsiteX153" fmla="*/ 159497 w 343856"/>
                  <a:gd name="connsiteY153" fmla="*/ 162406 h 194499"/>
                  <a:gd name="connsiteX154" fmla="*/ 156587 w 343856"/>
                  <a:gd name="connsiteY154" fmla="*/ 163288 h 194499"/>
                  <a:gd name="connsiteX155" fmla="*/ 158350 w 343856"/>
                  <a:gd name="connsiteY155" fmla="*/ 164434 h 194499"/>
                  <a:gd name="connsiteX156" fmla="*/ 158086 w 343856"/>
                  <a:gd name="connsiteY156" fmla="*/ 167961 h 194499"/>
                  <a:gd name="connsiteX157" fmla="*/ 158086 w 343856"/>
                  <a:gd name="connsiteY157" fmla="*/ 169724 h 194499"/>
                  <a:gd name="connsiteX158" fmla="*/ 157733 w 343856"/>
                  <a:gd name="connsiteY158" fmla="*/ 170606 h 194499"/>
                  <a:gd name="connsiteX159" fmla="*/ 156322 w 343856"/>
                  <a:gd name="connsiteY159" fmla="*/ 169460 h 194499"/>
                  <a:gd name="connsiteX160" fmla="*/ 154824 w 343856"/>
                  <a:gd name="connsiteY160" fmla="*/ 169460 h 194499"/>
                  <a:gd name="connsiteX161" fmla="*/ 155088 w 343856"/>
                  <a:gd name="connsiteY161" fmla="*/ 170341 h 194499"/>
                  <a:gd name="connsiteX162" fmla="*/ 154824 w 343856"/>
                  <a:gd name="connsiteY162" fmla="*/ 170870 h 194499"/>
                  <a:gd name="connsiteX163" fmla="*/ 150768 w 343856"/>
                  <a:gd name="connsiteY163" fmla="*/ 170870 h 194499"/>
                  <a:gd name="connsiteX164" fmla="*/ 149622 w 343856"/>
                  <a:gd name="connsiteY164" fmla="*/ 171487 h 194499"/>
                  <a:gd name="connsiteX165" fmla="*/ 148476 w 343856"/>
                  <a:gd name="connsiteY165" fmla="*/ 171487 h 194499"/>
                  <a:gd name="connsiteX166" fmla="*/ 147594 w 343856"/>
                  <a:gd name="connsiteY166" fmla="*/ 173251 h 194499"/>
                  <a:gd name="connsiteX167" fmla="*/ 146359 w 343856"/>
                  <a:gd name="connsiteY167" fmla="*/ 173251 h 194499"/>
                  <a:gd name="connsiteX168" fmla="*/ 145830 w 343856"/>
                  <a:gd name="connsiteY168" fmla="*/ 173780 h 194499"/>
                  <a:gd name="connsiteX169" fmla="*/ 142921 w 343856"/>
                  <a:gd name="connsiteY169" fmla="*/ 173251 h 194499"/>
                  <a:gd name="connsiteX170" fmla="*/ 142921 w 343856"/>
                  <a:gd name="connsiteY170" fmla="*/ 173780 h 194499"/>
                  <a:gd name="connsiteX171" fmla="*/ 141686 w 343856"/>
                  <a:gd name="connsiteY171" fmla="*/ 173780 h 194499"/>
                  <a:gd name="connsiteX172" fmla="*/ 140893 w 343856"/>
                  <a:gd name="connsiteY172" fmla="*/ 173780 h 194499"/>
                  <a:gd name="connsiteX173" fmla="*/ 140011 w 343856"/>
                  <a:gd name="connsiteY173" fmla="*/ 173780 h 194499"/>
                  <a:gd name="connsiteX174" fmla="*/ 138248 w 343856"/>
                  <a:gd name="connsiteY174" fmla="*/ 174133 h 194499"/>
                  <a:gd name="connsiteX175" fmla="*/ 135868 w 343856"/>
                  <a:gd name="connsiteY175" fmla="*/ 172898 h 194499"/>
                  <a:gd name="connsiteX176" fmla="*/ 134721 w 343856"/>
                  <a:gd name="connsiteY176" fmla="*/ 172369 h 194499"/>
                  <a:gd name="connsiteX177" fmla="*/ 134104 w 343856"/>
                  <a:gd name="connsiteY177" fmla="*/ 171487 h 194499"/>
                  <a:gd name="connsiteX178" fmla="*/ 132958 w 343856"/>
                  <a:gd name="connsiteY178" fmla="*/ 170606 h 194499"/>
                  <a:gd name="connsiteX179" fmla="*/ 132958 w 343856"/>
                  <a:gd name="connsiteY179" fmla="*/ 169989 h 194499"/>
                  <a:gd name="connsiteX180" fmla="*/ 132341 w 343856"/>
                  <a:gd name="connsiteY180" fmla="*/ 168842 h 194499"/>
                  <a:gd name="connsiteX181" fmla="*/ 132341 w 343856"/>
                  <a:gd name="connsiteY181" fmla="*/ 167432 h 194499"/>
                  <a:gd name="connsiteX182" fmla="*/ 130930 w 343856"/>
                  <a:gd name="connsiteY182" fmla="*/ 166550 h 194499"/>
                  <a:gd name="connsiteX183" fmla="*/ 129167 w 343856"/>
                  <a:gd name="connsiteY183" fmla="*/ 165668 h 194499"/>
                  <a:gd name="connsiteX184" fmla="*/ 128902 w 343856"/>
                  <a:gd name="connsiteY184" fmla="*/ 161877 h 194499"/>
                  <a:gd name="connsiteX185" fmla="*/ 130313 w 343856"/>
                  <a:gd name="connsiteY185" fmla="*/ 163023 h 194499"/>
                  <a:gd name="connsiteX186" fmla="*/ 131812 w 343856"/>
                  <a:gd name="connsiteY186" fmla="*/ 163023 h 194499"/>
                  <a:gd name="connsiteX187" fmla="*/ 134721 w 343856"/>
                  <a:gd name="connsiteY187" fmla="*/ 157733 h 194499"/>
                  <a:gd name="connsiteX188" fmla="*/ 136749 w 343856"/>
                  <a:gd name="connsiteY188" fmla="*/ 154824 h 194499"/>
                  <a:gd name="connsiteX189" fmla="*/ 138512 w 343856"/>
                  <a:gd name="connsiteY189" fmla="*/ 151914 h 194499"/>
                  <a:gd name="connsiteX190" fmla="*/ 140011 w 343856"/>
                  <a:gd name="connsiteY190" fmla="*/ 146095 h 194499"/>
                  <a:gd name="connsiteX191" fmla="*/ 139394 w 343856"/>
                  <a:gd name="connsiteY191" fmla="*/ 142568 h 194499"/>
                  <a:gd name="connsiteX192" fmla="*/ 140276 w 343856"/>
                  <a:gd name="connsiteY192" fmla="*/ 141687 h 194499"/>
                  <a:gd name="connsiteX193" fmla="*/ 146359 w 343856"/>
                  <a:gd name="connsiteY193" fmla="*/ 141687 h 194499"/>
                  <a:gd name="connsiteX194" fmla="*/ 149269 w 343856"/>
                  <a:gd name="connsiteY194" fmla="*/ 142304 h 194499"/>
                  <a:gd name="connsiteX195" fmla="*/ 152531 w 343856"/>
                  <a:gd name="connsiteY195" fmla="*/ 142304 h 194499"/>
                  <a:gd name="connsiteX196" fmla="*/ 155705 w 343856"/>
                  <a:gd name="connsiteY196" fmla="*/ 140893 h 194499"/>
                  <a:gd name="connsiteX197" fmla="*/ 158086 w 343856"/>
                  <a:gd name="connsiteY197" fmla="*/ 136749 h 194499"/>
                  <a:gd name="connsiteX198" fmla="*/ 154559 w 343856"/>
                  <a:gd name="connsiteY198" fmla="*/ 132693 h 194499"/>
                  <a:gd name="connsiteX199" fmla="*/ 149005 w 343856"/>
                  <a:gd name="connsiteY199" fmla="*/ 129431 h 194499"/>
                  <a:gd name="connsiteX200" fmla="*/ 144596 w 343856"/>
                  <a:gd name="connsiteY200" fmla="*/ 121849 h 194499"/>
                  <a:gd name="connsiteX201" fmla="*/ 138248 w 343856"/>
                  <a:gd name="connsiteY201" fmla="*/ 117528 h 194499"/>
                  <a:gd name="connsiteX202" fmla="*/ 135603 w 343856"/>
                  <a:gd name="connsiteY202" fmla="*/ 106419 h 194499"/>
                  <a:gd name="connsiteX203" fmla="*/ 130313 w 343856"/>
                  <a:gd name="connsiteY203" fmla="*/ 102628 h 194499"/>
                  <a:gd name="connsiteX204" fmla="*/ 121848 w 343856"/>
                  <a:gd name="connsiteY204" fmla="*/ 101482 h 194499"/>
                  <a:gd name="connsiteX205" fmla="*/ 106155 w 343856"/>
                  <a:gd name="connsiteY205" fmla="*/ 93282 h 194499"/>
                  <a:gd name="connsiteX206" fmla="*/ 89226 w 343856"/>
                  <a:gd name="connsiteY206" fmla="*/ 96809 h 194499"/>
                  <a:gd name="connsiteX207" fmla="*/ 82173 w 343856"/>
                  <a:gd name="connsiteY207" fmla="*/ 102363 h 194499"/>
                  <a:gd name="connsiteX208" fmla="*/ 83936 w 343856"/>
                  <a:gd name="connsiteY208" fmla="*/ 106155 h 194499"/>
                  <a:gd name="connsiteX209" fmla="*/ 83672 w 343856"/>
                  <a:gd name="connsiteY209" fmla="*/ 108447 h 194499"/>
                  <a:gd name="connsiteX210" fmla="*/ 76354 w 343856"/>
                  <a:gd name="connsiteY210" fmla="*/ 108800 h 194499"/>
                  <a:gd name="connsiteX211" fmla="*/ 73444 w 343856"/>
                  <a:gd name="connsiteY211" fmla="*/ 109946 h 194499"/>
                  <a:gd name="connsiteX212" fmla="*/ 70270 w 343856"/>
                  <a:gd name="connsiteY212" fmla="*/ 109946 h 194499"/>
                  <a:gd name="connsiteX213" fmla="*/ 64451 w 343856"/>
                  <a:gd name="connsiteY213" fmla="*/ 110563 h 194499"/>
                  <a:gd name="connsiteX214" fmla="*/ 62952 w 343856"/>
                  <a:gd name="connsiteY214" fmla="*/ 113120 h 194499"/>
                  <a:gd name="connsiteX215" fmla="*/ 57133 w 343856"/>
                  <a:gd name="connsiteY215" fmla="*/ 113737 h 194499"/>
                  <a:gd name="connsiteX216" fmla="*/ 55987 w 343856"/>
                  <a:gd name="connsiteY216" fmla="*/ 112591 h 194499"/>
                  <a:gd name="connsiteX217" fmla="*/ 53342 w 343856"/>
                  <a:gd name="connsiteY217" fmla="*/ 111357 h 194499"/>
                  <a:gd name="connsiteX218" fmla="*/ 52460 w 343856"/>
                  <a:gd name="connsiteY218" fmla="*/ 110210 h 194499"/>
                  <a:gd name="connsiteX219" fmla="*/ 51843 w 343856"/>
                  <a:gd name="connsiteY219" fmla="*/ 109946 h 194499"/>
                  <a:gd name="connsiteX220" fmla="*/ 46024 w 343856"/>
                  <a:gd name="connsiteY220" fmla="*/ 110563 h 194499"/>
                  <a:gd name="connsiteX221" fmla="*/ 38441 w 343856"/>
                  <a:gd name="connsiteY221" fmla="*/ 109681 h 194499"/>
                  <a:gd name="connsiteX222" fmla="*/ 37031 w 343856"/>
                  <a:gd name="connsiteY222" fmla="*/ 108800 h 194499"/>
                  <a:gd name="connsiteX223" fmla="*/ 34386 w 343856"/>
                  <a:gd name="connsiteY223" fmla="*/ 108183 h 194499"/>
                  <a:gd name="connsiteX224" fmla="*/ 31740 w 343856"/>
                  <a:gd name="connsiteY224" fmla="*/ 107565 h 194499"/>
                  <a:gd name="connsiteX225" fmla="*/ 29448 w 343856"/>
                  <a:gd name="connsiteY225" fmla="*/ 108447 h 194499"/>
                  <a:gd name="connsiteX226" fmla="*/ 27067 w 343856"/>
                  <a:gd name="connsiteY226" fmla="*/ 107565 h 194499"/>
                  <a:gd name="connsiteX227" fmla="*/ 25040 w 343856"/>
                  <a:gd name="connsiteY227" fmla="*/ 108183 h 194499"/>
                  <a:gd name="connsiteX228" fmla="*/ 22130 w 343856"/>
                  <a:gd name="connsiteY228" fmla="*/ 105538 h 194499"/>
                  <a:gd name="connsiteX229" fmla="*/ 18339 w 343856"/>
                  <a:gd name="connsiteY229" fmla="*/ 108447 h 194499"/>
                  <a:gd name="connsiteX230" fmla="*/ 17193 w 343856"/>
                  <a:gd name="connsiteY230" fmla="*/ 107565 h 194499"/>
                  <a:gd name="connsiteX231" fmla="*/ 16840 w 343856"/>
                  <a:gd name="connsiteY231" fmla="*/ 105802 h 194499"/>
                  <a:gd name="connsiteX232" fmla="*/ 12520 w 343856"/>
                  <a:gd name="connsiteY232" fmla="*/ 102363 h 194499"/>
                  <a:gd name="connsiteX233" fmla="*/ 9258 w 343856"/>
                  <a:gd name="connsiteY233" fmla="*/ 101482 h 194499"/>
                  <a:gd name="connsiteX234" fmla="*/ 6965 w 343856"/>
                  <a:gd name="connsiteY234" fmla="*/ 101482 h 194499"/>
                  <a:gd name="connsiteX235" fmla="*/ 264 w 343856"/>
                  <a:gd name="connsiteY235" fmla="*/ 98220 h 194499"/>
                  <a:gd name="connsiteX236" fmla="*/ 0 w 343856"/>
                  <a:gd name="connsiteY236" fmla="*/ 95663 h 194499"/>
                  <a:gd name="connsiteX237" fmla="*/ 2292 w 343856"/>
                  <a:gd name="connsiteY237" fmla="*/ 90725 h 194499"/>
                  <a:gd name="connsiteX238" fmla="*/ 5555 w 343856"/>
                  <a:gd name="connsiteY238" fmla="*/ 80762 h 194499"/>
                  <a:gd name="connsiteX239" fmla="*/ 8993 w 343856"/>
                  <a:gd name="connsiteY239" fmla="*/ 81027 h 194499"/>
                  <a:gd name="connsiteX240" fmla="*/ 9610 w 343856"/>
                  <a:gd name="connsiteY240" fmla="*/ 82526 h 194499"/>
                  <a:gd name="connsiteX241" fmla="*/ 14812 w 343856"/>
                  <a:gd name="connsiteY241" fmla="*/ 84289 h 194499"/>
                  <a:gd name="connsiteX242" fmla="*/ 14283 w 343856"/>
                  <a:gd name="connsiteY242" fmla="*/ 80762 h 194499"/>
                  <a:gd name="connsiteX243" fmla="*/ 11638 w 343856"/>
                  <a:gd name="connsiteY243" fmla="*/ 79616 h 194499"/>
                  <a:gd name="connsiteX244" fmla="*/ 11903 w 343856"/>
                  <a:gd name="connsiteY244" fmla="*/ 77853 h 194499"/>
                  <a:gd name="connsiteX245" fmla="*/ 11374 w 343856"/>
                  <a:gd name="connsiteY245" fmla="*/ 74943 h 194499"/>
                  <a:gd name="connsiteX246" fmla="*/ 9875 w 343856"/>
                  <a:gd name="connsiteY246" fmla="*/ 72563 h 194499"/>
                  <a:gd name="connsiteX247" fmla="*/ 8111 w 343856"/>
                  <a:gd name="connsiteY247" fmla="*/ 70270 h 194499"/>
                  <a:gd name="connsiteX248" fmla="*/ 12784 w 343856"/>
                  <a:gd name="connsiteY248" fmla="*/ 66479 h 194499"/>
                  <a:gd name="connsiteX249" fmla="*/ 12520 w 343856"/>
                  <a:gd name="connsiteY249" fmla="*/ 64980 h 194499"/>
                  <a:gd name="connsiteX250" fmla="*/ 14812 w 343856"/>
                  <a:gd name="connsiteY250" fmla="*/ 63305 h 194499"/>
                  <a:gd name="connsiteX251" fmla="*/ 16840 w 343856"/>
                  <a:gd name="connsiteY251" fmla="*/ 62952 h 194499"/>
                  <a:gd name="connsiteX252" fmla="*/ 18603 w 343856"/>
                  <a:gd name="connsiteY252" fmla="*/ 58632 h 194499"/>
                  <a:gd name="connsiteX253" fmla="*/ 23012 w 343856"/>
                  <a:gd name="connsiteY253" fmla="*/ 55722 h 194499"/>
                  <a:gd name="connsiteX254" fmla="*/ 24775 w 343856"/>
                  <a:gd name="connsiteY254" fmla="*/ 51931 h 194499"/>
                  <a:gd name="connsiteX255" fmla="*/ 24423 w 343856"/>
                  <a:gd name="connsiteY255" fmla="*/ 50168 h 194499"/>
                  <a:gd name="connsiteX256" fmla="*/ 30859 w 343856"/>
                  <a:gd name="connsiteY256" fmla="*/ 50168 h 194499"/>
                  <a:gd name="connsiteX257" fmla="*/ 32358 w 343856"/>
                  <a:gd name="connsiteY257" fmla="*/ 47787 h 194499"/>
                  <a:gd name="connsiteX258" fmla="*/ 31740 w 343856"/>
                  <a:gd name="connsiteY258" fmla="*/ 41351 h 194499"/>
                  <a:gd name="connsiteX259" fmla="*/ 30594 w 343856"/>
                  <a:gd name="connsiteY259" fmla="*/ 41086 h 194499"/>
                  <a:gd name="connsiteX260" fmla="*/ 31123 w 343856"/>
                  <a:gd name="connsiteY260" fmla="*/ 39676 h 194499"/>
                  <a:gd name="connsiteX261" fmla="*/ 33239 w 343856"/>
                  <a:gd name="connsiteY261" fmla="*/ 39323 h 194499"/>
                  <a:gd name="connsiteX262" fmla="*/ 32358 w 343856"/>
                  <a:gd name="connsiteY262" fmla="*/ 37295 h 194499"/>
                  <a:gd name="connsiteX263" fmla="*/ 28831 w 343856"/>
                  <a:gd name="connsiteY263" fmla="*/ 34650 h 194499"/>
                  <a:gd name="connsiteX264" fmla="*/ 25393 w 343856"/>
                  <a:gd name="connsiteY264" fmla="*/ 31212 h 194499"/>
                  <a:gd name="connsiteX265" fmla="*/ 21249 w 343856"/>
                  <a:gd name="connsiteY265" fmla="*/ 28831 h 194499"/>
                  <a:gd name="connsiteX266" fmla="*/ 22747 w 343856"/>
                  <a:gd name="connsiteY266" fmla="*/ 27685 h 194499"/>
                  <a:gd name="connsiteX267" fmla="*/ 22130 w 343856"/>
                  <a:gd name="connsiteY267" fmla="*/ 22130 h 194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343856" h="194499">
                    <a:moveTo>
                      <a:pt x="20367" y="19485"/>
                    </a:moveTo>
                    <a:lnTo>
                      <a:pt x="27949" y="17810"/>
                    </a:lnTo>
                    <a:lnTo>
                      <a:pt x="33768" y="10492"/>
                    </a:lnTo>
                    <a:lnTo>
                      <a:pt x="50697" y="10492"/>
                    </a:lnTo>
                    <a:lnTo>
                      <a:pt x="74061" y="16576"/>
                    </a:lnTo>
                    <a:lnTo>
                      <a:pt x="83407" y="14900"/>
                    </a:lnTo>
                    <a:lnTo>
                      <a:pt x="87727" y="20719"/>
                    </a:lnTo>
                    <a:lnTo>
                      <a:pt x="111974" y="18956"/>
                    </a:lnTo>
                    <a:lnTo>
                      <a:pt x="115765" y="22483"/>
                    </a:lnTo>
                    <a:lnTo>
                      <a:pt x="116382" y="18956"/>
                    </a:lnTo>
                    <a:lnTo>
                      <a:pt x="123612" y="18956"/>
                    </a:lnTo>
                    <a:lnTo>
                      <a:pt x="129431" y="21866"/>
                    </a:lnTo>
                    <a:lnTo>
                      <a:pt x="131547" y="19485"/>
                    </a:lnTo>
                    <a:lnTo>
                      <a:pt x="151032" y="26274"/>
                    </a:lnTo>
                    <a:lnTo>
                      <a:pt x="151385" y="19838"/>
                    </a:lnTo>
                    <a:lnTo>
                      <a:pt x="158615" y="16311"/>
                    </a:lnTo>
                    <a:lnTo>
                      <a:pt x="165404" y="1146"/>
                    </a:lnTo>
                    <a:lnTo>
                      <a:pt x="172634" y="9346"/>
                    </a:lnTo>
                    <a:lnTo>
                      <a:pt x="179599" y="2292"/>
                    </a:lnTo>
                    <a:lnTo>
                      <a:pt x="185506" y="2292"/>
                    </a:lnTo>
                    <a:lnTo>
                      <a:pt x="192471" y="0"/>
                    </a:lnTo>
                    <a:lnTo>
                      <a:pt x="206138" y="2292"/>
                    </a:lnTo>
                    <a:lnTo>
                      <a:pt x="213808" y="6965"/>
                    </a:lnTo>
                    <a:lnTo>
                      <a:pt x="212309" y="18692"/>
                    </a:lnTo>
                    <a:lnTo>
                      <a:pt x="219627" y="26803"/>
                    </a:lnTo>
                    <a:lnTo>
                      <a:pt x="225711" y="27949"/>
                    </a:lnTo>
                    <a:lnTo>
                      <a:pt x="233293" y="27949"/>
                    </a:lnTo>
                    <a:lnTo>
                      <a:pt x="245284" y="44349"/>
                    </a:lnTo>
                    <a:lnTo>
                      <a:pt x="250839" y="47787"/>
                    </a:lnTo>
                    <a:lnTo>
                      <a:pt x="256658" y="44349"/>
                    </a:lnTo>
                    <a:lnTo>
                      <a:pt x="264505" y="50432"/>
                    </a:lnTo>
                    <a:lnTo>
                      <a:pt x="270589" y="51578"/>
                    </a:lnTo>
                    <a:lnTo>
                      <a:pt x="283197" y="47787"/>
                    </a:lnTo>
                    <a:lnTo>
                      <a:pt x="296863" y="58632"/>
                    </a:lnTo>
                    <a:lnTo>
                      <a:pt x="310000" y="56251"/>
                    </a:lnTo>
                    <a:lnTo>
                      <a:pt x="316436" y="59778"/>
                    </a:lnTo>
                    <a:lnTo>
                      <a:pt x="338038" y="70270"/>
                    </a:lnTo>
                    <a:lnTo>
                      <a:pt x="334775" y="78734"/>
                    </a:lnTo>
                    <a:lnTo>
                      <a:pt x="338302" y="85700"/>
                    </a:lnTo>
                    <a:lnTo>
                      <a:pt x="337156" y="89226"/>
                    </a:lnTo>
                    <a:lnTo>
                      <a:pt x="343857" y="98837"/>
                    </a:lnTo>
                    <a:lnTo>
                      <a:pt x="341211" y="109329"/>
                    </a:lnTo>
                    <a:lnTo>
                      <a:pt x="323402" y="108183"/>
                    </a:lnTo>
                    <a:lnTo>
                      <a:pt x="321638" y="112856"/>
                    </a:lnTo>
                    <a:lnTo>
                      <a:pt x="314144" y="115148"/>
                    </a:lnTo>
                    <a:lnTo>
                      <a:pt x="315290" y="120173"/>
                    </a:lnTo>
                    <a:lnTo>
                      <a:pt x="319346" y="125993"/>
                    </a:lnTo>
                    <a:lnTo>
                      <a:pt x="310617" y="128285"/>
                    </a:lnTo>
                    <a:lnTo>
                      <a:pt x="305327" y="132076"/>
                    </a:lnTo>
                    <a:lnTo>
                      <a:pt x="297480" y="131547"/>
                    </a:lnTo>
                    <a:lnTo>
                      <a:pt x="296863" y="137102"/>
                    </a:lnTo>
                    <a:lnTo>
                      <a:pt x="294306" y="134104"/>
                    </a:lnTo>
                    <a:lnTo>
                      <a:pt x="288487" y="139659"/>
                    </a:lnTo>
                    <a:lnTo>
                      <a:pt x="286106" y="136749"/>
                    </a:lnTo>
                    <a:lnTo>
                      <a:pt x="284960" y="142039"/>
                    </a:lnTo>
                    <a:lnTo>
                      <a:pt x="279406" y="142921"/>
                    </a:lnTo>
                    <a:lnTo>
                      <a:pt x="277025" y="146977"/>
                    </a:lnTo>
                    <a:lnTo>
                      <a:pt x="276231" y="143803"/>
                    </a:lnTo>
                    <a:lnTo>
                      <a:pt x="267415" y="148740"/>
                    </a:lnTo>
                    <a:lnTo>
                      <a:pt x="263888" y="146359"/>
                    </a:lnTo>
                    <a:lnTo>
                      <a:pt x="263623" y="153413"/>
                    </a:lnTo>
                    <a:lnTo>
                      <a:pt x="257187" y="153413"/>
                    </a:lnTo>
                    <a:lnTo>
                      <a:pt x="250839" y="151032"/>
                    </a:lnTo>
                    <a:lnTo>
                      <a:pt x="246430" y="151650"/>
                    </a:lnTo>
                    <a:lnTo>
                      <a:pt x="243257" y="150768"/>
                    </a:lnTo>
                    <a:lnTo>
                      <a:pt x="241758" y="151385"/>
                    </a:lnTo>
                    <a:lnTo>
                      <a:pt x="242022" y="153413"/>
                    </a:lnTo>
                    <a:lnTo>
                      <a:pt x="242904" y="154559"/>
                    </a:lnTo>
                    <a:lnTo>
                      <a:pt x="244667" y="155441"/>
                    </a:lnTo>
                    <a:lnTo>
                      <a:pt x="249076" y="155176"/>
                    </a:lnTo>
                    <a:lnTo>
                      <a:pt x="252602" y="156587"/>
                    </a:lnTo>
                    <a:lnTo>
                      <a:pt x="255424" y="157469"/>
                    </a:lnTo>
                    <a:lnTo>
                      <a:pt x="258686" y="160643"/>
                    </a:lnTo>
                    <a:lnTo>
                      <a:pt x="260714" y="164434"/>
                    </a:lnTo>
                    <a:lnTo>
                      <a:pt x="263888" y="166815"/>
                    </a:lnTo>
                    <a:lnTo>
                      <a:pt x="262213" y="170606"/>
                    </a:lnTo>
                    <a:lnTo>
                      <a:pt x="265651" y="172016"/>
                    </a:lnTo>
                    <a:lnTo>
                      <a:pt x="272440" y="167696"/>
                    </a:lnTo>
                    <a:lnTo>
                      <a:pt x="274997" y="170870"/>
                    </a:lnTo>
                    <a:lnTo>
                      <a:pt x="280816" y="172369"/>
                    </a:lnTo>
                    <a:lnTo>
                      <a:pt x="282051" y="169460"/>
                    </a:lnTo>
                    <a:lnTo>
                      <a:pt x="284343" y="171487"/>
                    </a:lnTo>
                    <a:lnTo>
                      <a:pt x="288487" y="170606"/>
                    </a:lnTo>
                    <a:lnTo>
                      <a:pt x="291661" y="174397"/>
                    </a:lnTo>
                    <a:lnTo>
                      <a:pt x="289280" y="177924"/>
                    </a:lnTo>
                    <a:lnTo>
                      <a:pt x="290779" y="178805"/>
                    </a:lnTo>
                    <a:lnTo>
                      <a:pt x="289280" y="180216"/>
                    </a:lnTo>
                    <a:lnTo>
                      <a:pt x="286988" y="180216"/>
                    </a:lnTo>
                    <a:lnTo>
                      <a:pt x="281169" y="180833"/>
                    </a:lnTo>
                    <a:lnTo>
                      <a:pt x="274733" y="180833"/>
                    </a:lnTo>
                    <a:lnTo>
                      <a:pt x="270941" y="179952"/>
                    </a:lnTo>
                    <a:lnTo>
                      <a:pt x="268296" y="177924"/>
                    </a:lnTo>
                    <a:lnTo>
                      <a:pt x="266886" y="183743"/>
                    </a:lnTo>
                    <a:lnTo>
                      <a:pt x="263094" y="183743"/>
                    </a:lnTo>
                    <a:lnTo>
                      <a:pt x="258950" y="187534"/>
                    </a:lnTo>
                    <a:lnTo>
                      <a:pt x="258422" y="189827"/>
                    </a:lnTo>
                    <a:lnTo>
                      <a:pt x="255159" y="191854"/>
                    </a:lnTo>
                    <a:lnTo>
                      <a:pt x="251721" y="193089"/>
                    </a:lnTo>
                    <a:lnTo>
                      <a:pt x="251721" y="193970"/>
                    </a:lnTo>
                    <a:lnTo>
                      <a:pt x="246430" y="194499"/>
                    </a:lnTo>
                    <a:lnTo>
                      <a:pt x="239994" y="193618"/>
                    </a:lnTo>
                    <a:lnTo>
                      <a:pt x="238231" y="188680"/>
                    </a:lnTo>
                    <a:lnTo>
                      <a:pt x="237702" y="186035"/>
                    </a:lnTo>
                    <a:lnTo>
                      <a:pt x="237349" y="182861"/>
                    </a:lnTo>
                    <a:lnTo>
                      <a:pt x="236203" y="180481"/>
                    </a:lnTo>
                    <a:lnTo>
                      <a:pt x="233293" y="175543"/>
                    </a:lnTo>
                    <a:lnTo>
                      <a:pt x="225711" y="174397"/>
                    </a:lnTo>
                    <a:lnTo>
                      <a:pt x="220156" y="174397"/>
                    </a:lnTo>
                    <a:lnTo>
                      <a:pt x="214602" y="171752"/>
                    </a:lnTo>
                    <a:lnTo>
                      <a:pt x="209929" y="172016"/>
                    </a:lnTo>
                    <a:lnTo>
                      <a:pt x="209929" y="168842"/>
                    </a:lnTo>
                    <a:lnTo>
                      <a:pt x="211692" y="166550"/>
                    </a:lnTo>
                    <a:lnTo>
                      <a:pt x="214602" y="162406"/>
                    </a:lnTo>
                    <a:lnTo>
                      <a:pt x="217864" y="161260"/>
                    </a:lnTo>
                    <a:lnTo>
                      <a:pt x="219892" y="159232"/>
                    </a:lnTo>
                    <a:lnTo>
                      <a:pt x="221920" y="158086"/>
                    </a:lnTo>
                    <a:lnTo>
                      <a:pt x="227739" y="159232"/>
                    </a:lnTo>
                    <a:lnTo>
                      <a:pt x="230119" y="156851"/>
                    </a:lnTo>
                    <a:lnTo>
                      <a:pt x="232412" y="155705"/>
                    </a:lnTo>
                    <a:lnTo>
                      <a:pt x="232147" y="153413"/>
                    </a:lnTo>
                    <a:lnTo>
                      <a:pt x="231530" y="152531"/>
                    </a:lnTo>
                    <a:lnTo>
                      <a:pt x="225711" y="153413"/>
                    </a:lnTo>
                    <a:lnTo>
                      <a:pt x="224300" y="153060"/>
                    </a:lnTo>
                    <a:lnTo>
                      <a:pt x="223419" y="151914"/>
                    </a:lnTo>
                    <a:lnTo>
                      <a:pt x="218128" y="153413"/>
                    </a:lnTo>
                    <a:lnTo>
                      <a:pt x="216982" y="153677"/>
                    </a:lnTo>
                    <a:lnTo>
                      <a:pt x="212927" y="150768"/>
                    </a:lnTo>
                    <a:lnTo>
                      <a:pt x="212309" y="149886"/>
                    </a:lnTo>
                    <a:lnTo>
                      <a:pt x="209929" y="151032"/>
                    </a:lnTo>
                    <a:lnTo>
                      <a:pt x="205873" y="151385"/>
                    </a:lnTo>
                    <a:lnTo>
                      <a:pt x="202699" y="148123"/>
                    </a:lnTo>
                    <a:lnTo>
                      <a:pt x="202435" y="147241"/>
                    </a:lnTo>
                    <a:lnTo>
                      <a:pt x="203845" y="146359"/>
                    </a:lnTo>
                    <a:lnTo>
                      <a:pt x="204991" y="145213"/>
                    </a:lnTo>
                    <a:lnTo>
                      <a:pt x="202699" y="142921"/>
                    </a:lnTo>
                    <a:lnTo>
                      <a:pt x="200054" y="142039"/>
                    </a:lnTo>
                    <a:lnTo>
                      <a:pt x="198291" y="140540"/>
                    </a:lnTo>
                    <a:lnTo>
                      <a:pt x="193618" y="138777"/>
                    </a:lnTo>
                    <a:lnTo>
                      <a:pt x="190443" y="140540"/>
                    </a:lnTo>
                    <a:lnTo>
                      <a:pt x="185154" y="141687"/>
                    </a:lnTo>
                    <a:lnTo>
                      <a:pt x="184007" y="142304"/>
                    </a:lnTo>
                    <a:lnTo>
                      <a:pt x="182244" y="141687"/>
                    </a:lnTo>
                    <a:lnTo>
                      <a:pt x="180481" y="142568"/>
                    </a:lnTo>
                    <a:lnTo>
                      <a:pt x="178188" y="145830"/>
                    </a:lnTo>
                    <a:lnTo>
                      <a:pt x="174926" y="146359"/>
                    </a:lnTo>
                    <a:lnTo>
                      <a:pt x="171487" y="148476"/>
                    </a:lnTo>
                    <a:lnTo>
                      <a:pt x="168578" y="148476"/>
                    </a:lnTo>
                    <a:lnTo>
                      <a:pt x="168578" y="151650"/>
                    </a:lnTo>
                    <a:lnTo>
                      <a:pt x="169724" y="155176"/>
                    </a:lnTo>
                    <a:lnTo>
                      <a:pt x="169195" y="157469"/>
                    </a:lnTo>
                    <a:lnTo>
                      <a:pt x="166462" y="158968"/>
                    </a:lnTo>
                    <a:lnTo>
                      <a:pt x="163640" y="159232"/>
                    </a:lnTo>
                    <a:lnTo>
                      <a:pt x="161524" y="161524"/>
                    </a:lnTo>
                    <a:lnTo>
                      <a:pt x="159497" y="162406"/>
                    </a:lnTo>
                    <a:lnTo>
                      <a:pt x="156587" y="163288"/>
                    </a:lnTo>
                    <a:lnTo>
                      <a:pt x="158350" y="164434"/>
                    </a:lnTo>
                    <a:lnTo>
                      <a:pt x="158086" y="167961"/>
                    </a:lnTo>
                    <a:lnTo>
                      <a:pt x="158086" y="169724"/>
                    </a:lnTo>
                    <a:lnTo>
                      <a:pt x="157733" y="170606"/>
                    </a:lnTo>
                    <a:lnTo>
                      <a:pt x="156322" y="169460"/>
                    </a:lnTo>
                    <a:lnTo>
                      <a:pt x="154824" y="169460"/>
                    </a:lnTo>
                    <a:lnTo>
                      <a:pt x="155088" y="170341"/>
                    </a:lnTo>
                    <a:lnTo>
                      <a:pt x="154824" y="170870"/>
                    </a:lnTo>
                    <a:lnTo>
                      <a:pt x="150768" y="170870"/>
                    </a:lnTo>
                    <a:lnTo>
                      <a:pt x="149622" y="171487"/>
                    </a:lnTo>
                    <a:lnTo>
                      <a:pt x="148476" y="171487"/>
                    </a:lnTo>
                    <a:lnTo>
                      <a:pt x="147594" y="173251"/>
                    </a:lnTo>
                    <a:lnTo>
                      <a:pt x="146359" y="173251"/>
                    </a:lnTo>
                    <a:lnTo>
                      <a:pt x="145830" y="173780"/>
                    </a:lnTo>
                    <a:lnTo>
                      <a:pt x="142921" y="173251"/>
                    </a:lnTo>
                    <a:lnTo>
                      <a:pt x="142921" y="173780"/>
                    </a:lnTo>
                    <a:lnTo>
                      <a:pt x="141686" y="173780"/>
                    </a:lnTo>
                    <a:lnTo>
                      <a:pt x="140893" y="173780"/>
                    </a:lnTo>
                    <a:lnTo>
                      <a:pt x="140011" y="173780"/>
                    </a:lnTo>
                    <a:lnTo>
                      <a:pt x="138248" y="174133"/>
                    </a:lnTo>
                    <a:lnTo>
                      <a:pt x="135868" y="172898"/>
                    </a:lnTo>
                    <a:lnTo>
                      <a:pt x="134721" y="172369"/>
                    </a:lnTo>
                    <a:lnTo>
                      <a:pt x="134104" y="171487"/>
                    </a:lnTo>
                    <a:lnTo>
                      <a:pt x="132958" y="170606"/>
                    </a:lnTo>
                    <a:lnTo>
                      <a:pt x="132958" y="169989"/>
                    </a:lnTo>
                    <a:lnTo>
                      <a:pt x="132341" y="168842"/>
                    </a:lnTo>
                    <a:lnTo>
                      <a:pt x="132341" y="167432"/>
                    </a:lnTo>
                    <a:lnTo>
                      <a:pt x="130930" y="166550"/>
                    </a:lnTo>
                    <a:lnTo>
                      <a:pt x="129167" y="165668"/>
                    </a:lnTo>
                    <a:lnTo>
                      <a:pt x="128902" y="161877"/>
                    </a:lnTo>
                    <a:lnTo>
                      <a:pt x="130313" y="163023"/>
                    </a:lnTo>
                    <a:lnTo>
                      <a:pt x="131812" y="163023"/>
                    </a:lnTo>
                    <a:lnTo>
                      <a:pt x="134721" y="157733"/>
                    </a:lnTo>
                    <a:lnTo>
                      <a:pt x="136749" y="154824"/>
                    </a:lnTo>
                    <a:lnTo>
                      <a:pt x="138512" y="151914"/>
                    </a:lnTo>
                    <a:lnTo>
                      <a:pt x="140011" y="146095"/>
                    </a:lnTo>
                    <a:lnTo>
                      <a:pt x="139394" y="142568"/>
                    </a:lnTo>
                    <a:lnTo>
                      <a:pt x="140276" y="141687"/>
                    </a:lnTo>
                    <a:lnTo>
                      <a:pt x="146359" y="141687"/>
                    </a:lnTo>
                    <a:lnTo>
                      <a:pt x="149269" y="142304"/>
                    </a:lnTo>
                    <a:lnTo>
                      <a:pt x="152531" y="142304"/>
                    </a:lnTo>
                    <a:lnTo>
                      <a:pt x="155705" y="140893"/>
                    </a:lnTo>
                    <a:lnTo>
                      <a:pt x="158086" y="136749"/>
                    </a:lnTo>
                    <a:lnTo>
                      <a:pt x="154559" y="132693"/>
                    </a:lnTo>
                    <a:lnTo>
                      <a:pt x="149005" y="129431"/>
                    </a:lnTo>
                    <a:lnTo>
                      <a:pt x="144596" y="121849"/>
                    </a:lnTo>
                    <a:lnTo>
                      <a:pt x="138248" y="117528"/>
                    </a:lnTo>
                    <a:lnTo>
                      <a:pt x="135603" y="106419"/>
                    </a:lnTo>
                    <a:lnTo>
                      <a:pt x="130313" y="102628"/>
                    </a:lnTo>
                    <a:lnTo>
                      <a:pt x="121848" y="101482"/>
                    </a:lnTo>
                    <a:lnTo>
                      <a:pt x="106155" y="93282"/>
                    </a:lnTo>
                    <a:lnTo>
                      <a:pt x="89226" y="96809"/>
                    </a:lnTo>
                    <a:lnTo>
                      <a:pt x="82173" y="102363"/>
                    </a:lnTo>
                    <a:lnTo>
                      <a:pt x="83936" y="106155"/>
                    </a:lnTo>
                    <a:lnTo>
                      <a:pt x="83672" y="108447"/>
                    </a:lnTo>
                    <a:lnTo>
                      <a:pt x="76354" y="108800"/>
                    </a:lnTo>
                    <a:lnTo>
                      <a:pt x="73444" y="109946"/>
                    </a:lnTo>
                    <a:lnTo>
                      <a:pt x="70270" y="109946"/>
                    </a:lnTo>
                    <a:lnTo>
                      <a:pt x="64451" y="110563"/>
                    </a:lnTo>
                    <a:lnTo>
                      <a:pt x="62952" y="113120"/>
                    </a:lnTo>
                    <a:lnTo>
                      <a:pt x="57133" y="113737"/>
                    </a:lnTo>
                    <a:lnTo>
                      <a:pt x="55987" y="112591"/>
                    </a:lnTo>
                    <a:lnTo>
                      <a:pt x="53342" y="111357"/>
                    </a:lnTo>
                    <a:lnTo>
                      <a:pt x="52460" y="110210"/>
                    </a:lnTo>
                    <a:lnTo>
                      <a:pt x="51843" y="109946"/>
                    </a:lnTo>
                    <a:lnTo>
                      <a:pt x="46024" y="110563"/>
                    </a:lnTo>
                    <a:lnTo>
                      <a:pt x="38441" y="109681"/>
                    </a:lnTo>
                    <a:lnTo>
                      <a:pt x="37031" y="108800"/>
                    </a:lnTo>
                    <a:lnTo>
                      <a:pt x="34386" y="108183"/>
                    </a:lnTo>
                    <a:lnTo>
                      <a:pt x="31740" y="107565"/>
                    </a:lnTo>
                    <a:lnTo>
                      <a:pt x="29448" y="108447"/>
                    </a:lnTo>
                    <a:lnTo>
                      <a:pt x="27067" y="107565"/>
                    </a:lnTo>
                    <a:lnTo>
                      <a:pt x="25040" y="108183"/>
                    </a:lnTo>
                    <a:lnTo>
                      <a:pt x="22130" y="105538"/>
                    </a:lnTo>
                    <a:lnTo>
                      <a:pt x="18339" y="108447"/>
                    </a:lnTo>
                    <a:lnTo>
                      <a:pt x="17193" y="107565"/>
                    </a:lnTo>
                    <a:lnTo>
                      <a:pt x="16840" y="105802"/>
                    </a:lnTo>
                    <a:lnTo>
                      <a:pt x="12520" y="102363"/>
                    </a:lnTo>
                    <a:lnTo>
                      <a:pt x="9258" y="101482"/>
                    </a:lnTo>
                    <a:lnTo>
                      <a:pt x="6965" y="101482"/>
                    </a:lnTo>
                    <a:lnTo>
                      <a:pt x="264" y="98220"/>
                    </a:lnTo>
                    <a:lnTo>
                      <a:pt x="0" y="95663"/>
                    </a:lnTo>
                    <a:lnTo>
                      <a:pt x="2292" y="90725"/>
                    </a:lnTo>
                    <a:lnTo>
                      <a:pt x="5555" y="80762"/>
                    </a:lnTo>
                    <a:lnTo>
                      <a:pt x="8993" y="81027"/>
                    </a:lnTo>
                    <a:lnTo>
                      <a:pt x="9610" y="82526"/>
                    </a:lnTo>
                    <a:lnTo>
                      <a:pt x="14812" y="84289"/>
                    </a:lnTo>
                    <a:lnTo>
                      <a:pt x="14283" y="80762"/>
                    </a:lnTo>
                    <a:lnTo>
                      <a:pt x="11638" y="79616"/>
                    </a:lnTo>
                    <a:lnTo>
                      <a:pt x="11903" y="77853"/>
                    </a:lnTo>
                    <a:lnTo>
                      <a:pt x="11374" y="74943"/>
                    </a:lnTo>
                    <a:lnTo>
                      <a:pt x="9875" y="72563"/>
                    </a:lnTo>
                    <a:lnTo>
                      <a:pt x="8111" y="70270"/>
                    </a:lnTo>
                    <a:lnTo>
                      <a:pt x="12784" y="66479"/>
                    </a:lnTo>
                    <a:lnTo>
                      <a:pt x="12520" y="64980"/>
                    </a:lnTo>
                    <a:lnTo>
                      <a:pt x="14812" y="63305"/>
                    </a:lnTo>
                    <a:lnTo>
                      <a:pt x="16840" y="62952"/>
                    </a:lnTo>
                    <a:lnTo>
                      <a:pt x="18603" y="58632"/>
                    </a:lnTo>
                    <a:lnTo>
                      <a:pt x="23012" y="55722"/>
                    </a:lnTo>
                    <a:lnTo>
                      <a:pt x="24775" y="51931"/>
                    </a:lnTo>
                    <a:lnTo>
                      <a:pt x="24423" y="50168"/>
                    </a:lnTo>
                    <a:lnTo>
                      <a:pt x="30859" y="50168"/>
                    </a:lnTo>
                    <a:lnTo>
                      <a:pt x="32358" y="47787"/>
                    </a:lnTo>
                    <a:lnTo>
                      <a:pt x="31740" y="41351"/>
                    </a:lnTo>
                    <a:lnTo>
                      <a:pt x="30594" y="41086"/>
                    </a:lnTo>
                    <a:lnTo>
                      <a:pt x="31123" y="39676"/>
                    </a:lnTo>
                    <a:lnTo>
                      <a:pt x="33239" y="39323"/>
                    </a:lnTo>
                    <a:lnTo>
                      <a:pt x="32358" y="37295"/>
                    </a:lnTo>
                    <a:lnTo>
                      <a:pt x="28831" y="34650"/>
                    </a:lnTo>
                    <a:lnTo>
                      <a:pt x="25393" y="31212"/>
                    </a:lnTo>
                    <a:lnTo>
                      <a:pt x="21249" y="28831"/>
                    </a:lnTo>
                    <a:lnTo>
                      <a:pt x="22747" y="27685"/>
                    </a:lnTo>
                    <a:lnTo>
                      <a:pt x="22130" y="2213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3" name="Freihandform: Form 1902">
                <a:extLst>
                  <a:ext uri="{FF2B5EF4-FFF2-40B4-BE49-F238E27FC236}">
                    <a16:creationId xmlns:a16="http://schemas.microsoft.com/office/drawing/2014/main" id="{3B3D1272-2F6E-5060-B2DD-67A18C72CB08}"/>
                  </a:ext>
                </a:extLst>
              </p:cNvPr>
              <p:cNvSpPr/>
              <p:nvPr/>
            </p:nvSpPr>
            <p:spPr>
              <a:xfrm>
                <a:off x="4857978" y="3061249"/>
                <a:ext cx="148740" cy="61805"/>
              </a:xfrm>
              <a:custGeom>
                <a:avLst/>
                <a:gdLst>
                  <a:gd name="connsiteX0" fmla="*/ 122819 w 148740"/>
                  <a:gd name="connsiteY0" fmla="*/ 32358 h 61805"/>
                  <a:gd name="connsiteX1" fmla="*/ 124494 w 148740"/>
                  <a:gd name="connsiteY1" fmla="*/ 26539 h 61805"/>
                  <a:gd name="connsiteX2" fmla="*/ 116382 w 148740"/>
                  <a:gd name="connsiteY2" fmla="*/ 26539 h 61805"/>
                  <a:gd name="connsiteX3" fmla="*/ 103510 w 148740"/>
                  <a:gd name="connsiteY3" fmla="*/ 21513 h 61805"/>
                  <a:gd name="connsiteX4" fmla="*/ 94164 w 148740"/>
                  <a:gd name="connsiteY4" fmla="*/ 20367 h 61805"/>
                  <a:gd name="connsiteX5" fmla="*/ 83672 w 148740"/>
                  <a:gd name="connsiteY5" fmla="*/ 24158 h 61805"/>
                  <a:gd name="connsiteX6" fmla="*/ 78470 w 148740"/>
                  <a:gd name="connsiteY6" fmla="*/ 22747 h 61805"/>
                  <a:gd name="connsiteX7" fmla="*/ 67978 w 148740"/>
                  <a:gd name="connsiteY7" fmla="*/ 15694 h 61805"/>
                  <a:gd name="connsiteX8" fmla="*/ 58279 w 148740"/>
                  <a:gd name="connsiteY8" fmla="*/ 11903 h 61805"/>
                  <a:gd name="connsiteX9" fmla="*/ 46906 w 148740"/>
                  <a:gd name="connsiteY9" fmla="*/ 12255 h 61805"/>
                  <a:gd name="connsiteX10" fmla="*/ 34386 w 148740"/>
                  <a:gd name="connsiteY10" fmla="*/ 7230 h 61805"/>
                  <a:gd name="connsiteX11" fmla="*/ 27685 w 148740"/>
                  <a:gd name="connsiteY11" fmla="*/ 4673 h 61805"/>
                  <a:gd name="connsiteX12" fmla="*/ 23894 w 148740"/>
                  <a:gd name="connsiteY12" fmla="*/ 882 h 61805"/>
                  <a:gd name="connsiteX13" fmla="*/ 14019 w 148740"/>
                  <a:gd name="connsiteY13" fmla="*/ 0 h 61805"/>
                  <a:gd name="connsiteX14" fmla="*/ 10228 w 148740"/>
                  <a:gd name="connsiteY14" fmla="*/ 1146 h 61805"/>
                  <a:gd name="connsiteX15" fmla="*/ 0 w 148740"/>
                  <a:gd name="connsiteY15" fmla="*/ 0 h 61805"/>
                  <a:gd name="connsiteX16" fmla="*/ 7318 w 148740"/>
                  <a:gd name="connsiteY16" fmla="*/ 4056 h 61805"/>
                  <a:gd name="connsiteX17" fmla="*/ 8993 w 148740"/>
                  <a:gd name="connsiteY17" fmla="*/ 8464 h 61805"/>
                  <a:gd name="connsiteX18" fmla="*/ 12785 w 148740"/>
                  <a:gd name="connsiteY18" fmla="*/ 12520 h 61805"/>
                  <a:gd name="connsiteX19" fmla="*/ 16928 w 148740"/>
                  <a:gd name="connsiteY19" fmla="*/ 13930 h 61805"/>
                  <a:gd name="connsiteX20" fmla="*/ 19485 w 148740"/>
                  <a:gd name="connsiteY20" fmla="*/ 14812 h 61805"/>
                  <a:gd name="connsiteX21" fmla="*/ 23012 w 148740"/>
                  <a:gd name="connsiteY21" fmla="*/ 16311 h 61805"/>
                  <a:gd name="connsiteX22" fmla="*/ 26803 w 148740"/>
                  <a:gd name="connsiteY22" fmla="*/ 16928 h 61805"/>
                  <a:gd name="connsiteX23" fmla="*/ 28567 w 148740"/>
                  <a:gd name="connsiteY23" fmla="*/ 18603 h 61805"/>
                  <a:gd name="connsiteX24" fmla="*/ 30859 w 148740"/>
                  <a:gd name="connsiteY24" fmla="*/ 20367 h 61805"/>
                  <a:gd name="connsiteX25" fmla="*/ 33240 w 148740"/>
                  <a:gd name="connsiteY25" fmla="*/ 21248 h 61805"/>
                  <a:gd name="connsiteX26" fmla="*/ 35885 w 148740"/>
                  <a:gd name="connsiteY26" fmla="*/ 22747 h 61805"/>
                  <a:gd name="connsiteX27" fmla="*/ 37031 w 148740"/>
                  <a:gd name="connsiteY27" fmla="*/ 23894 h 61805"/>
                  <a:gd name="connsiteX28" fmla="*/ 38530 w 148740"/>
                  <a:gd name="connsiteY28" fmla="*/ 26539 h 61805"/>
                  <a:gd name="connsiteX29" fmla="*/ 40293 w 148740"/>
                  <a:gd name="connsiteY29" fmla="*/ 27420 h 61805"/>
                  <a:gd name="connsiteX30" fmla="*/ 41086 w 148740"/>
                  <a:gd name="connsiteY30" fmla="*/ 30330 h 61805"/>
                  <a:gd name="connsiteX31" fmla="*/ 41704 w 148740"/>
                  <a:gd name="connsiteY31" fmla="*/ 31212 h 61805"/>
                  <a:gd name="connsiteX32" fmla="*/ 44084 w 148740"/>
                  <a:gd name="connsiteY32" fmla="*/ 32887 h 61805"/>
                  <a:gd name="connsiteX33" fmla="*/ 44613 w 148740"/>
                  <a:gd name="connsiteY33" fmla="*/ 34650 h 61805"/>
                  <a:gd name="connsiteX34" fmla="*/ 44613 w 148740"/>
                  <a:gd name="connsiteY34" fmla="*/ 37031 h 61805"/>
                  <a:gd name="connsiteX35" fmla="*/ 47523 w 148740"/>
                  <a:gd name="connsiteY35" fmla="*/ 38177 h 61805"/>
                  <a:gd name="connsiteX36" fmla="*/ 47876 w 148740"/>
                  <a:gd name="connsiteY36" fmla="*/ 39059 h 61805"/>
                  <a:gd name="connsiteX37" fmla="*/ 47876 w 148740"/>
                  <a:gd name="connsiteY37" fmla="*/ 42585 h 61805"/>
                  <a:gd name="connsiteX38" fmla="*/ 47523 w 148740"/>
                  <a:gd name="connsiteY38" fmla="*/ 43996 h 61805"/>
                  <a:gd name="connsiteX39" fmla="*/ 47258 w 148740"/>
                  <a:gd name="connsiteY39" fmla="*/ 46641 h 61805"/>
                  <a:gd name="connsiteX40" fmla="*/ 46377 w 148740"/>
                  <a:gd name="connsiteY40" fmla="*/ 51314 h 61805"/>
                  <a:gd name="connsiteX41" fmla="*/ 46377 w 148740"/>
                  <a:gd name="connsiteY41" fmla="*/ 54488 h 61805"/>
                  <a:gd name="connsiteX42" fmla="*/ 48405 w 148740"/>
                  <a:gd name="connsiteY42" fmla="*/ 55722 h 61805"/>
                  <a:gd name="connsiteX43" fmla="*/ 51314 w 148740"/>
                  <a:gd name="connsiteY43" fmla="*/ 55987 h 61805"/>
                  <a:gd name="connsiteX44" fmla="*/ 51931 w 148740"/>
                  <a:gd name="connsiteY44" fmla="*/ 55722 h 61805"/>
                  <a:gd name="connsiteX45" fmla="*/ 54224 w 148740"/>
                  <a:gd name="connsiteY45" fmla="*/ 55105 h 61805"/>
                  <a:gd name="connsiteX46" fmla="*/ 55370 w 148740"/>
                  <a:gd name="connsiteY46" fmla="*/ 55105 h 61805"/>
                  <a:gd name="connsiteX47" fmla="*/ 56604 w 148740"/>
                  <a:gd name="connsiteY47" fmla="*/ 54488 h 61805"/>
                  <a:gd name="connsiteX48" fmla="*/ 59249 w 148740"/>
                  <a:gd name="connsiteY48" fmla="*/ 55105 h 61805"/>
                  <a:gd name="connsiteX49" fmla="*/ 63570 w 148740"/>
                  <a:gd name="connsiteY49" fmla="*/ 56869 h 61805"/>
                  <a:gd name="connsiteX50" fmla="*/ 66744 w 148740"/>
                  <a:gd name="connsiteY50" fmla="*/ 56869 h 61805"/>
                  <a:gd name="connsiteX51" fmla="*/ 68507 w 148740"/>
                  <a:gd name="connsiteY51" fmla="*/ 56516 h 61805"/>
                  <a:gd name="connsiteX52" fmla="*/ 67978 w 148740"/>
                  <a:gd name="connsiteY52" fmla="*/ 52460 h 61805"/>
                  <a:gd name="connsiteX53" fmla="*/ 70535 w 148740"/>
                  <a:gd name="connsiteY53" fmla="*/ 51578 h 61805"/>
                  <a:gd name="connsiteX54" fmla="*/ 73444 w 148740"/>
                  <a:gd name="connsiteY54" fmla="*/ 52460 h 61805"/>
                  <a:gd name="connsiteX55" fmla="*/ 74679 w 148740"/>
                  <a:gd name="connsiteY55" fmla="*/ 55370 h 61805"/>
                  <a:gd name="connsiteX56" fmla="*/ 77588 w 148740"/>
                  <a:gd name="connsiteY56" fmla="*/ 55987 h 61805"/>
                  <a:gd name="connsiteX57" fmla="*/ 78470 w 148740"/>
                  <a:gd name="connsiteY57" fmla="*/ 59514 h 61805"/>
                  <a:gd name="connsiteX58" fmla="*/ 90990 w 148740"/>
                  <a:gd name="connsiteY58" fmla="*/ 61806 h 61805"/>
                  <a:gd name="connsiteX59" fmla="*/ 98308 w 148740"/>
                  <a:gd name="connsiteY59" fmla="*/ 59514 h 61805"/>
                  <a:gd name="connsiteX60" fmla="*/ 105009 w 148740"/>
                  <a:gd name="connsiteY60" fmla="*/ 59514 h 61805"/>
                  <a:gd name="connsiteX61" fmla="*/ 112856 w 148740"/>
                  <a:gd name="connsiteY61" fmla="*/ 56251 h 61805"/>
                  <a:gd name="connsiteX62" fmla="*/ 116911 w 148740"/>
                  <a:gd name="connsiteY62" fmla="*/ 50168 h 61805"/>
                  <a:gd name="connsiteX63" fmla="*/ 126610 w 148740"/>
                  <a:gd name="connsiteY63" fmla="*/ 52725 h 61805"/>
                  <a:gd name="connsiteX64" fmla="*/ 135339 w 148740"/>
                  <a:gd name="connsiteY64" fmla="*/ 58279 h 61805"/>
                  <a:gd name="connsiteX65" fmla="*/ 145213 w 148740"/>
                  <a:gd name="connsiteY65" fmla="*/ 60307 h 61805"/>
                  <a:gd name="connsiteX66" fmla="*/ 148740 w 148740"/>
                  <a:gd name="connsiteY66" fmla="*/ 55370 h 61805"/>
                  <a:gd name="connsiteX67" fmla="*/ 140893 w 148740"/>
                  <a:gd name="connsiteY67" fmla="*/ 41968 h 61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148740" h="61805">
                    <a:moveTo>
                      <a:pt x="122819" y="32358"/>
                    </a:moveTo>
                    <a:lnTo>
                      <a:pt x="124494" y="26539"/>
                    </a:lnTo>
                    <a:lnTo>
                      <a:pt x="116382" y="26539"/>
                    </a:lnTo>
                    <a:lnTo>
                      <a:pt x="103510" y="21513"/>
                    </a:lnTo>
                    <a:lnTo>
                      <a:pt x="94164" y="20367"/>
                    </a:lnTo>
                    <a:lnTo>
                      <a:pt x="83672" y="24158"/>
                    </a:lnTo>
                    <a:lnTo>
                      <a:pt x="78470" y="22747"/>
                    </a:lnTo>
                    <a:lnTo>
                      <a:pt x="67978" y="15694"/>
                    </a:lnTo>
                    <a:lnTo>
                      <a:pt x="58279" y="11903"/>
                    </a:lnTo>
                    <a:lnTo>
                      <a:pt x="46906" y="12255"/>
                    </a:lnTo>
                    <a:lnTo>
                      <a:pt x="34386" y="7230"/>
                    </a:lnTo>
                    <a:lnTo>
                      <a:pt x="27685" y="4673"/>
                    </a:lnTo>
                    <a:lnTo>
                      <a:pt x="23894" y="882"/>
                    </a:lnTo>
                    <a:lnTo>
                      <a:pt x="14019" y="0"/>
                    </a:lnTo>
                    <a:lnTo>
                      <a:pt x="10228" y="1146"/>
                    </a:lnTo>
                    <a:lnTo>
                      <a:pt x="0" y="0"/>
                    </a:lnTo>
                    <a:lnTo>
                      <a:pt x="7318" y="4056"/>
                    </a:lnTo>
                    <a:lnTo>
                      <a:pt x="8993" y="8464"/>
                    </a:lnTo>
                    <a:lnTo>
                      <a:pt x="12785" y="12520"/>
                    </a:lnTo>
                    <a:lnTo>
                      <a:pt x="16928" y="13930"/>
                    </a:lnTo>
                    <a:lnTo>
                      <a:pt x="19485" y="14812"/>
                    </a:lnTo>
                    <a:lnTo>
                      <a:pt x="23012" y="16311"/>
                    </a:lnTo>
                    <a:lnTo>
                      <a:pt x="26803" y="16928"/>
                    </a:lnTo>
                    <a:lnTo>
                      <a:pt x="28567" y="18603"/>
                    </a:lnTo>
                    <a:lnTo>
                      <a:pt x="30859" y="20367"/>
                    </a:lnTo>
                    <a:lnTo>
                      <a:pt x="33240" y="21248"/>
                    </a:lnTo>
                    <a:lnTo>
                      <a:pt x="35885" y="22747"/>
                    </a:lnTo>
                    <a:lnTo>
                      <a:pt x="37031" y="23894"/>
                    </a:lnTo>
                    <a:lnTo>
                      <a:pt x="38530" y="26539"/>
                    </a:lnTo>
                    <a:lnTo>
                      <a:pt x="40293" y="27420"/>
                    </a:lnTo>
                    <a:lnTo>
                      <a:pt x="41086" y="30330"/>
                    </a:lnTo>
                    <a:lnTo>
                      <a:pt x="41704" y="31212"/>
                    </a:lnTo>
                    <a:lnTo>
                      <a:pt x="44084" y="32887"/>
                    </a:lnTo>
                    <a:lnTo>
                      <a:pt x="44613" y="34650"/>
                    </a:lnTo>
                    <a:lnTo>
                      <a:pt x="44613" y="37031"/>
                    </a:lnTo>
                    <a:lnTo>
                      <a:pt x="47523" y="38177"/>
                    </a:lnTo>
                    <a:lnTo>
                      <a:pt x="47876" y="39059"/>
                    </a:lnTo>
                    <a:lnTo>
                      <a:pt x="47876" y="42585"/>
                    </a:lnTo>
                    <a:lnTo>
                      <a:pt x="47523" y="43996"/>
                    </a:lnTo>
                    <a:lnTo>
                      <a:pt x="47258" y="46641"/>
                    </a:lnTo>
                    <a:lnTo>
                      <a:pt x="46377" y="51314"/>
                    </a:lnTo>
                    <a:lnTo>
                      <a:pt x="46377" y="54488"/>
                    </a:lnTo>
                    <a:lnTo>
                      <a:pt x="48405" y="55722"/>
                    </a:lnTo>
                    <a:lnTo>
                      <a:pt x="51314" y="55987"/>
                    </a:lnTo>
                    <a:lnTo>
                      <a:pt x="51931" y="55722"/>
                    </a:lnTo>
                    <a:lnTo>
                      <a:pt x="54224" y="55105"/>
                    </a:lnTo>
                    <a:lnTo>
                      <a:pt x="55370" y="55105"/>
                    </a:lnTo>
                    <a:lnTo>
                      <a:pt x="56604" y="54488"/>
                    </a:lnTo>
                    <a:lnTo>
                      <a:pt x="59249" y="55105"/>
                    </a:lnTo>
                    <a:lnTo>
                      <a:pt x="63570" y="56869"/>
                    </a:lnTo>
                    <a:lnTo>
                      <a:pt x="66744" y="56869"/>
                    </a:lnTo>
                    <a:lnTo>
                      <a:pt x="68507" y="56516"/>
                    </a:lnTo>
                    <a:lnTo>
                      <a:pt x="67978" y="52460"/>
                    </a:lnTo>
                    <a:lnTo>
                      <a:pt x="70535" y="51578"/>
                    </a:lnTo>
                    <a:lnTo>
                      <a:pt x="73444" y="52460"/>
                    </a:lnTo>
                    <a:lnTo>
                      <a:pt x="74679" y="55370"/>
                    </a:lnTo>
                    <a:lnTo>
                      <a:pt x="77588" y="55987"/>
                    </a:lnTo>
                    <a:lnTo>
                      <a:pt x="78470" y="59514"/>
                    </a:lnTo>
                    <a:lnTo>
                      <a:pt x="90990" y="61806"/>
                    </a:lnTo>
                    <a:lnTo>
                      <a:pt x="98308" y="59514"/>
                    </a:lnTo>
                    <a:lnTo>
                      <a:pt x="105009" y="59514"/>
                    </a:lnTo>
                    <a:lnTo>
                      <a:pt x="112856" y="56251"/>
                    </a:lnTo>
                    <a:lnTo>
                      <a:pt x="116911" y="50168"/>
                    </a:lnTo>
                    <a:lnTo>
                      <a:pt x="126610" y="52725"/>
                    </a:lnTo>
                    <a:lnTo>
                      <a:pt x="135339" y="58279"/>
                    </a:lnTo>
                    <a:lnTo>
                      <a:pt x="145213" y="60307"/>
                    </a:lnTo>
                    <a:lnTo>
                      <a:pt x="148740" y="55370"/>
                    </a:lnTo>
                    <a:lnTo>
                      <a:pt x="140893" y="419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4" name="Freihandform: Form 1903">
                <a:extLst>
                  <a:ext uri="{FF2B5EF4-FFF2-40B4-BE49-F238E27FC236}">
                    <a16:creationId xmlns:a16="http://schemas.microsoft.com/office/drawing/2014/main" id="{1FA79129-7417-D031-6F0E-F442A6BAECF3}"/>
                  </a:ext>
                </a:extLst>
              </p:cNvPr>
              <p:cNvSpPr/>
              <p:nvPr/>
            </p:nvSpPr>
            <p:spPr>
              <a:xfrm>
                <a:off x="4935919" y="3117677"/>
                <a:ext cx="82260" cy="64186"/>
              </a:xfrm>
              <a:custGeom>
                <a:avLst/>
                <a:gdLst>
                  <a:gd name="connsiteX0" fmla="*/ 41086 w 82260"/>
                  <a:gd name="connsiteY0" fmla="*/ 31035 h 64186"/>
                  <a:gd name="connsiteX1" fmla="*/ 43996 w 82260"/>
                  <a:gd name="connsiteY1" fmla="*/ 35620 h 64186"/>
                  <a:gd name="connsiteX2" fmla="*/ 45230 w 82260"/>
                  <a:gd name="connsiteY2" fmla="*/ 41439 h 64186"/>
                  <a:gd name="connsiteX3" fmla="*/ 54576 w 82260"/>
                  <a:gd name="connsiteY3" fmla="*/ 43643 h 64186"/>
                  <a:gd name="connsiteX4" fmla="*/ 57133 w 82260"/>
                  <a:gd name="connsiteY4" fmla="*/ 42409 h 64186"/>
                  <a:gd name="connsiteX5" fmla="*/ 61277 w 82260"/>
                  <a:gd name="connsiteY5" fmla="*/ 44084 h 64186"/>
                  <a:gd name="connsiteX6" fmla="*/ 61894 w 82260"/>
                  <a:gd name="connsiteY6" fmla="*/ 46729 h 64186"/>
                  <a:gd name="connsiteX7" fmla="*/ 65774 w 82260"/>
                  <a:gd name="connsiteY7" fmla="*/ 51314 h 64186"/>
                  <a:gd name="connsiteX8" fmla="*/ 70535 w 82260"/>
                  <a:gd name="connsiteY8" fmla="*/ 62952 h 64186"/>
                  <a:gd name="connsiteX9" fmla="*/ 69917 w 82260"/>
                  <a:gd name="connsiteY9" fmla="*/ 62952 h 64186"/>
                  <a:gd name="connsiteX10" fmla="*/ 67625 w 82260"/>
                  <a:gd name="connsiteY10" fmla="*/ 62952 h 64186"/>
                  <a:gd name="connsiteX11" fmla="*/ 66126 w 82260"/>
                  <a:gd name="connsiteY11" fmla="*/ 61806 h 64186"/>
                  <a:gd name="connsiteX12" fmla="*/ 63217 w 82260"/>
                  <a:gd name="connsiteY12" fmla="*/ 61277 h 64186"/>
                  <a:gd name="connsiteX13" fmla="*/ 61189 w 82260"/>
                  <a:gd name="connsiteY13" fmla="*/ 60395 h 64186"/>
                  <a:gd name="connsiteX14" fmla="*/ 60572 w 82260"/>
                  <a:gd name="connsiteY14" fmla="*/ 60395 h 64186"/>
                  <a:gd name="connsiteX15" fmla="*/ 58191 w 82260"/>
                  <a:gd name="connsiteY15" fmla="*/ 60395 h 64186"/>
                  <a:gd name="connsiteX16" fmla="*/ 58191 w 82260"/>
                  <a:gd name="connsiteY16" fmla="*/ 59778 h 64186"/>
                  <a:gd name="connsiteX17" fmla="*/ 57926 w 82260"/>
                  <a:gd name="connsiteY17" fmla="*/ 58632 h 64186"/>
                  <a:gd name="connsiteX18" fmla="*/ 57574 w 82260"/>
                  <a:gd name="connsiteY18" fmla="*/ 56869 h 64186"/>
                  <a:gd name="connsiteX19" fmla="*/ 56957 w 82260"/>
                  <a:gd name="connsiteY19" fmla="*/ 55987 h 64186"/>
                  <a:gd name="connsiteX20" fmla="*/ 56692 w 82260"/>
                  <a:gd name="connsiteY20" fmla="*/ 55722 h 64186"/>
                  <a:gd name="connsiteX21" fmla="*/ 55193 w 82260"/>
                  <a:gd name="connsiteY21" fmla="*/ 55722 h 64186"/>
                  <a:gd name="connsiteX22" fmla="*/ 54929 w 82260"/>
                  <a:gd name="connsiteY22" fmla="*/ 55193 h 64186"/>
                  <a:gd name="connsiteX23" fmla="*/ 54311 w 82260"/>
                  <a:gd name="connsiteY23" fmla="*/ 55193 h 64186"/>
                  <a:gd name="connsiteX24" fmla="*/ 50520 w 82260"/>
                  <a:gd name="connsiteY24" fmla="*/ 54312 h 64186"/>
                  <a:gd name="connsiteX25" fmla="*/ 50256 w 82260"/>
                  <a:gd name="connsiteY25" fmla="*/ 52548 h 64186"/>
                  <a:gd name="connsiteX26" fmla="*/ 49374 w 82260"/>
                  <a:gd name="connsiteY26" fmla="*/ 50785 h 64186"/>
                  <a:gd name="connsiteX27" fmla="*/ 45495 w 82260"/>
                  <a:gd name="connsiteY27" fmla="*/ 47082 h 64186"/>
                  <a:gd name="connsiteX28" fmla="*/ 41086 w 82260"/>
                  <a:gd name="connsiteY28" fmla="*/ 31035 h 64186"/>
                  <a:gd name="connsiteX29" fmla="*/ 82261 w 82260"/>
                  <a:gd name="connsiteY29" fmla="*/ 63834 h 64186"/>
                  <a:gd name="connsiteX30" fmla="*/ 78999 w 82260"/>
                  <a:gd name="connsiteY30" fmla="*/ 62952 h 64186"/>
                  <a:gd name="connsiteX31" fmla="*/ 76706 w 82260"/>
                  <a:gd name="connsiteY31" fmla="*/ 62423 h 64186"/>
                  <a:gd name="connsiteX32" fmla="*/ 74061 w 82260"/>
                  <a:gd name="connsiteY32" fmla="*/ 64187 h 64186"/>
                  <a:gd name="connsiteX33" fmla="*/ 70535 w 82260"/>
                  <a:gd name="connsiteY33" fmla="*/ 63040 h 64186"/>
                  <a:gd name="connsiteX34" fmla="*/ 69917 w 82260"/>
                  <a:gd name="connsiteY34" fmla="*/ 63040 h 64186"/>
                  <a:gd name="connsiteX35" fmla="*/ 67625 w 82260"/>
                  <a:gd name="connsiteY35" fmla="*/ 63040 h 64186"/>
                  <a:gd name="connsiteX36" fmla="*/ 66126 w 82260"/>
                  <a:gd name="connsiteY36" fmla="*/ 61894 h 64186"/>
                  <a:gd name="connsiteX37" fmla="*/ 63217 w 82260"/>
                  <a:gd name="connsiteY37" fmla="*/ 61365 h 64186"/>
                  <a:gd name="connsiteX38" fmla="*/ 61189 w 82260"/>
                  <a:gd name="connsiteY38" fmla="*/ 60484 h 64186"/>
                  <a:gd name="connsiteX39" fmla="*/ 60572 w 82260"/>
                  <a:gd name="connsiteY39" fmla="*/ 60484 h 64186"/>
                  <a:gd name="connsiteX40" fmla="*/ 58191 w 82260"/>
                  <a:gd name="connsiteY40" fmla="*/ 60484 h 64186"/>
                  <a:gd name="connsiteX41" fmla="*/ 58191 w 82260"/>
                  <a:gd name="connsiteY41" fmla="*/ 59866 h 64186"/>
                  <a:gd name="connsiteX42" fmla="*/ 57926 w 82260"/>
                  <a:gd name="connsiteY42" fmla="*/ 58720 h 64186"/>
                  <a:gd name="connsiteX43" fmla="*/ 57574 w 82260"/>
                  <a:gd name="connsiteY43" fmla="*/ 56957 h 64186"/>
                  <a:gd name="connsiteX44" fmla="*/ 56957 w 82260"/>
                  <a:gd name="connsiteY44" fmla="*/ 56075 h 64186"/>
                  <a:gd name="connsiteX45" fmla="*/ 56692 w 82260"/>
                  <a:gd name="connsiteY45" fmla="*/ 55811 h 64186"/>
                  <a:gd name="connsiteX46" fmla="*/ 55193 w 82260"/>
                  <a:gd name="connsiteY46" fmla="*/ 55811 h 64186"/>
                  <a:gd name="connsiteX47" fmla="*/ 54929 w 82260"/>
                  <a:gd name="connsiteY47" fmla="*/ 55282 h 64186"/>
                  <a:gd name="connsiteX48" fmla="*/ 54311 w 82260"/>
                  <a:gd name="connsiteY48" fmla="*/ 55282 h 64186"/>
                  <a:gd name="connsiteX49" fmla="*/ 50520 w 82260"/>
                  <a:gd name="connsiteY49" fmla="*/ 54400 h 64186"/>
                  <a:gd name="connsiteX50" fmla="*/ 50256 w 82260"/>
                  <a:gd name="connsiteY50" fmla="*/ 52637 h 64186"/>
                  <a:gd name="connsiteX51" fmla="*/ 49374 w 82260"/>
                  <a:gd name="connsiteY51" fmla="*/ 50873 h 64186"/>
                  <a:gd name="connsiteX52" fmla="*/ 45495 w 82260"/>
                  <a:gd name="connsiteY52" fmla="*/ 47170 h 64186"/>
                  <a:gd name="connsiteX53" fmla="*/ 38970 w 82260"/>
                  <a:gd name="connsiteY53" fmla="*/ 38794 h 64186"/>
                  <a:gd name="connsiteX54" fmla="*/ 35973 w 82260"/>
                  <a:gd name="connsiteY54" fmla="*/ 32446 h 64186"/>
                  <a:gd name="connsiteX55" fmla="*/ 33063 w 82260"/>
                  <a:gd name="connsiteY55" fmla="*/ 35444 h 64186"/>
                  <a:gd name="connsiteX56" fmla="*/ 29889 w 82260"/>
                  <a:gd name="connsiteY56" fmla="*/ 38089 h 64186"/>
                  <a:gd name="connsiteX57" fmla="*/ 31300 w 82260"/>
                  <a:gd name="connsiteY57" fmla="*/ 30242 h 64186"/>
                  <a:gd name="connsiteX58" fmla="*/ 28743 w 82260"/>
                  <a:gd name="connsiteY58" fmla="*/ 32270 h 64186"/>
                  <a:gd name="connsiteX59" fmla="*/ 25481 w 82260"/>
                  <a:gd name="connsiteY59" fmla="*/ 32622 h 64186"/>
                  <a:gd name="connsiteX60" fmla="*/ 22571 w 82260"/>
                  <a:gd name="connsiteY60" fmla="*/ 32358 h 64186"/>
                  <a:gd name="connsiteX61" fmla="*/ 18780 w 82260"/>
                  <a:gd name="connsiteY61" fmla="*/ 30330 h 64186"/>
                  <a:gd name="connsiteX62" fmla="*/ 17545 w 82260"/>
                  <a:gd name="connsiteY62" fmla="*/ 28037 h 64186"/>
                  <a:gd name="connsiteX63" fmla="*/ 14636 w 82260"/>
                  <a:gd name="connsiteY63" fmla="*/ 26010 h 64186"/>
                  <a:gd name="connsiteX64" fmla="*/ 16311 w 82260"/>
                  <a:gd name="connsiteY64" fmla="*/ 23982 h 64186"/>
                  <a:gd name="connsiteX65" fmla="*/ 13137 w 82260"/>
                  <a:gd name="connsiteY65" fmla="*/ 22571 h 64186"/>
                  <a:gd name="connsiteX66" fmla="*/ 14812 w 82260"/>
                  <a:gd name="connsiteY66" fmla="*/ 20808 h 64186"/>
                  <a:gd name="connsiteX67" fmla="*/ 14195 w 82260"/>
                  <a:gd name="connsiteY67" fmla="*/ 15870 h 64186"/>
                  <a:gd name="connsiteX68" fmla="*/ 13578 w 82260"/>
                  <a:gd name="connsiteY68" fmla="*/ 12961 h 64186"/>
                  <a:gd name="connsiteX69" fmla="*/ 10316 w 82260"/>
                  <a:gd name="connsiteY69" fmla="*/ 11550 h 64186"/>
                  <a:gd name="connsiteX70" fmla="*/ 7671 w 82260"/>
                  <a:gd name="connsiteY70" fmla="*/ 10668 h 64186"/>
                  <a:gd name="connsiteX71" fmla="*/ 7053 w 82260"/>
                  <a:gd name="connsiteY71" fmla="*/ 8376 h 64186"/>
                  <a:gd name="connsiteX72" fmla="*/ 6172 w 82260"/>
                  <a:gd name="connsiteY72" fmla="*/ 6348 h 64186"/>
                  <a:gd name="connsiteX73" fmla="*/ 4673 w 82260"/>
                  <a:gd name="connsiteY73" fmla="*/ 6348 h 64186"/>
                  <a:gd name="connsiteX74" fmla="*/ 2909 w 82260"/>
                  <a:gd name="connsiteY74" fmla="*/ 6701 h 64186"/>
                  <a:gd name="connsiteX75" fmla="*/ 881 w 82260"/>
                  <a:gd name="connsiteY75" fmla="*/ 5290 h 64186"/>
                  <a:gd name="connsiteX76" fmla="*/ 0 w 82260"/>
                  <a:gd name="connsiteY76" fmla="*/ 3527 h 64186"/>
                  <a:gd name="connsiteX77" fmla="*/ 12608 w 82260"/>
                  <a:gd name="connsiteY77" fmla="*/ 5731 h 64186"/>
                  <a:gd name="connsiteX78" fmla="*/ 19838 w 82260"/>
                  <a:gd name="connsiteY78" fmla="*/ 3350 h 64186"/>
                  <a:gd name="connsiteX79" fmla="*/ 26538 w 82260"/>
                  <a:gd name="connsiteY79" fmla="*/ 3262 h 64186"/>
                  <a:gd name="connsiteX80" fmla="*/ 34386 w 82260"/>
                  <a:gd name="connsiteY80" fmla="*/ 0 h 64186"/>
                  <a:gd name="connsiteX81" fmla="*/ 40910 w 82260"/>
                  <a:gd name="connsiteY81" fmla="*/ 6613 h 64186"/>
                  <a:gd name="connsiteX82" fmla="*/ 44437 w 82260"/>
                  <a:gd name="connsiteY82" fmla="*/ 5378 h 64186"/>
                  <a:gd name="connsiteX83" fmla="*/ 48052 w 82260"/>
                  <a:gd name="connsiteY83" fmla="*/ 12079 h 64186"/>
                  <a:gd name="connsiteX84" fmla="*/ 50168 w 82260"/>
                  <a:gd name="connsiteY84" fmla="*/ 19926 h 64186"/>
                  <a:gd name="connsiteX85" fmla="*/ 59866 w 82260"/>
                  <a:gd name="connsiteY85" fmla="*/ 24511 h 64186"/>
                  <a:gd name="connsiteX86" fmla="*/ 60219 w 82260"/>
                  <a:gd name="connsiteY86" fmla="*/ 28302 h 64186"/>
                  <a:gd name="connsiteX87" fmla="*/ 54752 w 82260"/>
                  <a:gd name="connsiteY87" fmla="*/ 31035 h 64186"/>
                  <a:gd name="connsiteX88" fmla="*/ 55281 w 82260"/>
                  <a:gd name="connsiteY88" fmla="*/ 32799 h 64186"/>
                  <a:gd name="connsiteX89" fmla="*/ 60836 w 82260"/>
                  <a:gd name="connsiteY89" fmla="*/ 35355 h 64186"/>
                  <a:gd name="connsiteX90" fmla="*/ 65597 w 82260"/>
                  <a:gd name="connsiteY90" fmla="*/ 40822 h 64186"/>
                  <a:gd name="connsiteX91" fmla="*/ 74943 w 82260"/>
                  <a:gd name="connsiteY91" fmla="*/ 43026 h 64186"/>
                  <a:gd name="connsiteX92" fmla="*/ 73532 w 82260"/>
                  <a:gd name="connsiteY92" fmla="*/ 45936 h 64186"/>
                  <a:gd name="connsiteX93" fmla="*/ 76795 w 82260"/>
                  <a:gd name="connsiteY93" fmla="*/ 51490 h 64186"/>
                  <a:gd name="connsiteX94" fmla="*/ 74149 w 82260"/>
                  <a:gd name="connsiteY94" fmla="*/ 52725 h 64186"/>
                  <a:gd name="connsiteX95" fmla="*/ 81203 w 82260"/>
                  <a:gd name="connsiteY95" fmla="*/ 59690 h 64186"/>
                  <a:gd name="connsiteX96" fmla="*/ 81820 w 82260"/>
                  <a:gd name="connsiteY96" fmla="*/ 62600 h 64186"/>
                  <a:gd name="connsiteX97" fmla="*/ 82261 w 82260"/>
                  <a:gd name="connsiteY97" fmla="*/ 63834 h 64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82260" h="64186">
                    <a:moveTo>
                      <a:pt x="41086" y="31035"/>
                    </a:moveTo>
                    <a:lnTo>
                      <a:pt x="43996" y="35620"/>
                    </a:lnTo>
                    <a:lnTo>
                      <a:pt x="45230" y="41439"/>
                    </a:lnTo>
                    <a:lnTo>
                      <a:pt x="54576" y="43643"/>
                    </a:lnTo>
                    <a:lnTo>
                      <a:pt x="57133" y="42409"/>
                    </a:lnTo>
                    <a:lnTo>
                      <a:pt x="61277" y="44084"/>
                    </a:lnTo>
                    <a:lnTo>
                      <a:pt x="61894" y="46729"/>
                    </a:lnTo>
                    <a:lnTo>
                      <a:pt x="65774" y="51314"/>
                    </a:lnTo>
                    <a:lnTo>
                      <a:pt x="70535" y="62952"/>
                    </a:lnTo>
                    <a:lnTo>
                      <a:pt x="69917" y="62952"/>
                    </a:lnTo>
                    <a:lnTo>
                      <a:pt x="67625" y="62952"/>
                    </a:lnTo>
                    <a:lnTo>
                      <a:pt x="66126" y="61806"/>
                    </a:lnTo>
                    <a:lnTo>
                      <a:pt x="63217" y="61277"/>
                    </a:lnTo>
                    <a:lnTo>
                      <a:pt x="61189" y="60395"/>
                    </a:lnTo>
                    <a:lnTo>
                      <a:pt x="60572" y="60395"/>
                    </a:lnTo>
                    <a:lnTo>
                      <a:pt x="58191" y="60395"/>
                    </a:lnTo>
                    <a:lnTo>
                      <a:pt x="58191" y="59778"/>
                    </a:lnTo>
                    <a:lnTo>
                      <a:pt x="57926" y="58632"/>
                    </a:lnTo>
                    <a:lnTo>
                      <a:pt x="57574" y="56869"/>
                    </a:lnTo>
                    <a:lnTo>
                      <a:pt x="56957" y="55987"/>
                    </a:lnTo>
                    <a:lnTo>
                      <a:pt x="56692" y="55722"/>
                    </a:lnTo>
                    <a:lnTo>
                      <a:pt x="55193" y="55722"/>
                    </a:lnTo>
                    <a:lnTo>
                      <a:pt x="54929" y="55193"/>
                    </a:lnTo>
                    <a:lnTo>
                      <a:pt x="54311" y="55193"/>
                    </a:lnTo>
                    <a:lnTo>
                      <a:pt x="50520" y="54312"/>
                    </a:lnTo>
                    <a:lnTo>
                      <a:pt x="50256" y="52548"/>
                    </a:lnTo>
                    <a:lnTo>
                      <a:pt x="49374" y="50785"/>
                    </a:lnTo>
                    <a:lnTo>
                      <a:pt x="45495" y="47082"/>
                    </a:lnTo>
                    <a:lnTo>
                      <a:pt x="41086" y="31035"/>
                    </a:lnTo>
                    <a:close/>
                    <a:moveTo>
                      <a:pt x="82261" y="63834"/>
                    </a:moveTo>
                    <a:lnTo>
                      <a:pt x="78999" y="62952"/>
                    </a:lnTo>
                    <a:lnTo>
                      <a:pt x="76706" y="62423"/>
                    </a:lnTo>
                    <a:lnTo>
                      <a:pt x="74061" y="64187"/>
                    </a:lnTo>
                    <a:lnTo>
                      <a:pt x="70535" y="63040"/>
                    </a:lnTo>
                    <a:lnTo>
                      <a:pt x="69917" y="63040"/>
                    </a:lnTo>
                    <a:lnTo>
                      <a:pt x="67625" y="63040"/>
                    </a:lnTo>
                    <a:lnTo>
                      <a:pt x="66126" y="61894"/>
                    </a:lnTo>
                    <a:lnTo>
                      <a:pt x="63217" y="61365"/>
                    </a:lnTo>
                    <a:lnTo>
                      <a:pt x="61189" y="60484"/>
                    </a:lnTo>
                    <a:lnTo>
                      <a:pt x="60572" y="60484"/>
                    </a:lnTo>
                    <a:lnTo>
                      <a:pt x="58191" y="60484"/>
                    </a:lnTo>
                    <a:lnTo>
                      <a:pt x="58191" y="59866"/>
                    </a:lnTo>
                    <a:lnTo>
                      <a:pt x="57926" y="58720"/>
                    </a:lnTo>
                    <a:lnTo>
                      <a:pt x="57574" y="56957"/>
                    </a:lnTo>
                    <a:lnTo>
                      <a:pt x="56957" y="56075"/>
                    </a:lnTo>
                    <a:lnTo>
                      <a:pt x="56692" y="55811"/>
                    </a:lnTo>
                    <a:lnTo>
                      <a:pt x="55193" y="55811"/>
                    </a:lnTo>
                    <a:lnTo>
                      <a:pt x="54929" y="55282"/>
                    </a:lnTo>
                    <a:lnTo>
                      <a:pt x="54311" y="55282"/>
                    </a:lnTo>
                    <a:lnTo>
                      <a:pt x="50520" y="54400"/>
                    </a:lnTo>
                    <a:lnTo>
                      <a:pt x="50256" y="52637"/>
                    </a:lnTo>
                    <a:lnTo>
                      <a:pt x="49374" y="50873"/>
                    </a:lnTo>
                    <a:lnTo>
                      <a:pt x="45495" y="47170"/>
                    </a:lnTo>
                    <a:lnTo>
                      <a:pt x="38970" y="38794"/>
                    </a:lnTo>
                    <a:lnTo>
                      <a:pt x="35973" y="32446"/>
                    </a:lnTo>
                    <a:lnTo>
                      <a:pt x="33063" y="35444"/>
                    </a:lnTo>
                    <a:lnTo>
                      <a:pt x="29889" y="38089"/>
                    </a:lnTo>
                    <a:lnTo>
                      <a:pt x="31300" y="30242"/>
                    </a:lnTo>
                    <a:lnTo>
                      <a:pt x="28743" y="32270"/>
                    </a:lnTo>
                    <a:lnTo>
                      <a:pt x="25481" y="32622"/>
                    </a:lnTo>
                    <a:lnTo>
                      <a:pt x="22571" y="32358"/>
                    </a:lnTo>
                    <a:lnTo>
                      <a:pt x="18780" y="30330"/>
                    </a:lnTo>
                    <a:lnTo>
                      <a:pt x="17545" y="28037"/>
                    </a:lnTo>
                    <a:lnTo>
                      <a:pt x="14636" y="26010"/>
                    </a:lnTo>
                    <a:lnTo>
                      <a:pt x="16311" y="23982"/>
                    </a:lnTo>
                    <a:lnTo>
                      <a:pt x="13137" y="22571"/>
                    </a:lnTo>
                    <a:lnTo>
                      <a:pt x="14812" y="20808"/>
                    </a:lnTo>
                    <a:lnTo>
                      <a:pt x="14195" y="15870"/>
                    </a:lnTo>
                    <a:lnTo>
                      <a:pt x="13578" y="12961"/>
                    </a:lnTo>
                    <a:lnTo>
                      <a:pt x="10316" y="11550"/>
                    </a:lnTo>
                    <a:lnTo>
                      <a:pt x="7671" y="10668"/>
                    </a:lnTo>
                    <a:lnTo>
                      <a:pt x="7053" y="8376"/>
                    </a:lnTo>
                    <a:lnTo>
                      <a:pt x="6172" y="6348"/>
                    </a:lnTo>
                    <a:lnTo>
                      <a:pt x="4673" y="6348"/>
                    </a:lnTo>
                    <a:lnTo>
                      <a:pt x="2909" y="6701"/>
                    </a:lnTo>
                    <a:lnTo>
                      <a:pt x="881" y="5290"/>
                    </a:lnTo>
                    <a:lnTo>
                      <a:pt x="0" y="3527"/>
                    </a:lnTo>
                    <a:lnTo>
                      <a:pt x="12608" y="5731"/>
                    </a:lnTo>
                    <a:lnTo>
                      <a:pt x="19838" y="3350"/>
                    </a:lnTo>
                    <a:lnTo>
                      <a:pt x="26538" y="3262"/>
                    </a:lnTo>
                    <a:lnTo>
                      <a:pt x="34386" y="0"/>
                    </a:lnTo>
                    <a:lnTo>
                      <a:pt x="40910" y="6613"/>
                    </a:lnTo>
                    <a:lnTo>
                      <a:pt x="44437" y="5378"/>
                    </a:lnTo>
                    <a:lnTo>
                      <a:pt x="48052" y="12079"/>
                    </a:lnTo>
                    <a:lnTo>
                      <a:pt x="50168" y="19926"/>
                    </a:lnTo>
                    <a:lnTo>
                      <a:pt x="59866" y="24511"/>
                    </a:lnTo>
                    <a:lnTo>
                      <a:pt x="60219" y="28302"/>
                    </a:lnTo>
                    <a:lnTo>
                      <a:pt x="54752" y="31035"/>
                    </a:lnTo>
                    <a:lnTo>
                      <a:pt x="55281" y="32799"/>
                    </a:lnTo>
                    <a:lnTo>
                      <a:pt x="60836" y="35355"/>
                    </a:lnTo>
                    <a:lnTo>
                      <a:pt x="65597" y="40822"/>
                    </a:lnTo>
                    <a:lnTo>
                      <a:pt x="74943" y="43026"/>
                    </a:lnTo>
                    <a:lnTo>
                      <a:pt x="73532" y="45936"/>
                    </a:lnTo>
                    <a:lnTo>
                      <a:pt x="76795" y="51490"/>
                    </a:lnTo>
                    <a:lnTo>
                      <a:pt x="74149" y="52725"/>
                    </a:lnTo>
                    <a:lnTo>
                      <a:pt x="81203" y="59690"/>
                    </a:lnTo>
                    <a:lnTo>
                      <a:pt x="81820" y="62600"/>
                    </a:lnTo>
                    <a:lnTo>
                      <a:pt x="82261" y="638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5" name="Freihandform: Form 1904">
                <a:extLst>
                  <a:ext uri="{FF2B5EF4-FFF2-40B4-BE49-F238E27FC236}">
                    <a16:creationId xmlns:a16="http://schemas.microsoft.com/office/drawing/2014/main" id="{4B4C4162-7A03-AC0E-1E15-CEB0E78354F9}"/>
                  </a:ext>
                </a:extLst>
              </p:cNvPr>
              <p:cNvSpPr/>
              <p:nvPr/>
            </p:nvSpPr>
            <p:spPr>
              <a:xfrm>
                <a:off x="4971186" y="3101895"/>
                <a:ext cx="119468" cy="90637"/>
              </a:xfrm>
              <a:custGeom>
                <a:avLst/>
                <a:gdLst>
                  <a:gd name="connsiteX0" fmla="*/ 5819 w 119468"/>
                  <a:gd name="connsiteY0" fmla="*/ 46818 h 90637"/>
                  <a:gd name="connsiteX1" fmla="*/ 8729 w 119468"/>
                  <a:gd name="connsiteY1" fmla="*/ 51490 h 90637"/>
                  <a:gd name="connsiteX2" fmla="*/ 9875 w 119468"/>
                  <a:gd name="connsiteY2" fmla="*/ 57309 h 90637"/>
                  <a:gd name="connsiteX3" fmla="*/ 19221 w 119468"/>
                  <a:gd name="connsiteY3" fmla="*/ 59602 h 90637"/>
                  <a:gd name="connsiteX4" fmla="*/ 21866 w 119468"/>
                  <a:gd name="connsiteY4" fmla="*/ 58456 h 90637"/>
                  <a:gd name="connsiteX5" fmla="*/ 25922 w 119468"/>
                  <a:gd name="connsiteY5" fmla="*/ 60219 h 90637"/>
                  <a:gd name="connsiteX6" fmla="*/ 26538 w 119468"/>
                  <a:gd name="connsiteY6" fmla="*/ 62864 h 90637"/>
                  <a:gd name="connsiteX7" fmla="*/ 30330 w 119468"/>
                  <a:gd name="connsiteY7" fmla="*/ 67537 h 90637"/>
                  <a:gd name="connsiteX8" fmla="*/ 35003 w 119468"/>
                  <a:gd name="connsiteY8" fmla="*/ 79175 h 90637"/>
                  <a:gd name="connsiteX9" fmla="*/ 34386 w 119468"/>
                  <a:gd name="connsiteY9" fmla="*/ 79175 h 90637"/>
                  <a:gd name="connsiteX10" fmla="*/ 32093 w 119468"/>
                  <a:gd name="connsiteY10" fmla="*/ 79175 h 90637"/>
                  <a:gd name="connsiteX11" fmla="*/ 30594 w 119468"/>
                  <a:gd name="connsiteY11" fmla="*/ 78029 h 90637"/>
                  <a:gd name="connsiteX12" fmla="*/ 27685 w 119468"/>
                  <a:gd name="connsiteY12" fmla="*/ 77500 h 90637"/>
                  <a:gd name="connsiteX13" fmla="*/ 25657 w 119468"/>
                  <a:gd name="connsiteY13" fmla="*/ 76618 h 90637"/>
                  <a:gd name="connsiteX14" fmla="*/ 25040 w 119468"/>
                  <a:gd name="connsiteY14" fmla="*/ 76618 h 90637"/>
                  <a:gd name="connsiteX15" fmla="*/ 22659 w 119468"/>
                  <a:gd name="connsiteY15" fmla="*/ 76618 h 90637"/>
                  <a:gd name="connsiteX16" fmla="*/ 22659 w 119468"/>
                  <a:gd name="connsiteY16" fmla="*/ 76001 h 90637"/>
                  <a:gd name="connsiteX17" fmla="*/ 22395 w 119468"/>
                  <a:gd name="connsiteY17" fmla="*/ 74855 h 90637"/>
                  <a:gd name="connsiteX18" fmla="*/ 22042 w 119468"/>
                  <a:gd name="connsiteY18" fmla="*/ 73092 h 90637"/>
                  <a:gd name="connsiteX19" fmla="*/ 21513 w 119468"/>
                  <a:gd name="connsiteY19" fmla="*/ 72210 h 90637"/>
                  <a:gd name="connsiteX20" fmla="*/ 21248 w 119468"/>
                  <a:gd name="connsiteY20" fmla="*/ 71945 h 90637"/>
                  <a:gd name="connsiteX21" fmla="*/ 19750 w 119468"/>
                  <a:gd name="connsiteY21" fmla="*/ 71945 h 90637"/>
                  <a:gd name="connsiteX22" fmla="*/ 19485 w 119468"/>
                  <a:gd name="connsiteY22" fmla="*/ 71416 h 90637"/>
                  <a:gd name="connsiteX23" fmla="*/ 18868 w 119468"/>
                  <a:gd name="connsiteY23" fmla="*/ 71416 h 90637"/>
                  <a:gd name="connsiteX24" fmla="*/ 15077 w 119468"/>
                  <a:gd name="connsiteY24" fmla="*/ 70535 h 90637"/>
                  <a:gd name="connsiteX25" fmla="*/ 14812 w 119468"/>
                  <a:gd name="connsiteY25" fmla="*/ 68771 h 90637"/>
                  <a:gd name="connsiteX26" fmla="*/ 13930 w 119468"/>
                  <a:gd name="connsiteY26" fmla="*/ 67008 h 90637"/>
                  <a:gd name="connsiteX27" fmla="*/ 10139 w 119468"/>
                  <a:gd name="connsiteY27" fmla="*/ 63217 h 90637"/>
                  <a:gd name="connsiteX28" fmla="*/ 5819 w 119468"/>
                  <a:gd name="connsiteY28" fmla="*/ 46818 h 90637"/>
                  <a:gd name="connsiteX29" fmla="*/ 93899 w 119468"/>
                  <a:gd name="connsiteY29" fmla="*/ 85612 h 90637"/>
                  <a:gd name="connsiteX30" fmla="*/ 92136 w 119468"/>
                  <a:gd name="connsiteY30" fmla="*/ 79175 h 90637"/>
                  <a:gd name="connsiteX31" fmla="*/ 93282 w 119468"/>
                  <a:gd name="connsiteY31" fmla="*/ 78558 h 90637"/>
                  <a:gd name="connsiteX32" fmla="*/ 95662 w 119468"/>
                  <a:gd name="connsiteY32" fmla="*/ 76530 h 90637"/>
                  <a:gd name="connsiteX33" fmla="*/ 95310 w 119468"/>
                  <a:gd name="connsiteY33" fmla="*/ 74767 h 90637"/>
                  <a:gd name="connsiteX34" fmla="*/ 94693 w 119468"/>
                  <a:gd name="connsiteY34" fmla="*/ 71857 h 90637"/>
                  <a:gd name="connsiteX35" fmla="*/ 97955 w 119468"/>
                  <a:gd name="connsiteY35" fmla="*/ 73004 h 90637"/>
                  <a:gd name="connsiteX36" fmla="*/ 98572 w 119468"/>
                  <a:gd name="connsiteY36" fmla="*/ 75648 h 90637"/>
                  <a:gd name="connsiteX37" fmla="*/ 98572 w 119468"/>
                  <a:gd name="connsiteY37" fmla="*/ 76530 h 90637"/>
                  <a:gd name="connsiteX38" fmla="*/ 101834 w 119468"/>
                  <a:gd name="connsiteY38" fmla="*/ 76530 h 90637"/>
                  <a:gd name="connsiteX39" fmla="*/ 101305 w 119468"/>
                  <a:gd name="connsiteY39" fmla="*/ 74767 h 90637"/>
                  <a:gd name="connsiteX40" fmla="*/ 99542 w 119468"/>
                  <a:gd name="connsiteY40" fmla="*/ 70094 h 90637"/>
                  <a:gd name="connsiteX41" fmla="*/ 100159 w 119468"/>
                  <a:gd name="connsiteY41" fmla="*/ 68330 h 90637"/>
                  <a:gd name="connsiteX42" fmla="*/ 103333 w 119468"/>
                  <a:gd name="connsiteY42" fmla="*/ 70094 h 90637"/>
                  <a:gd name="connsiteX43" fmla="*/ 101570 w 119468"/>
                  <a:gd name="connsiteY43" fmla="*/ 64892 h 90637"/>
                  <a:gd name="connsiteX44" fmla="*/ 101041 w 119468"/>
                  <a:gd name="connsiteY44" fmla="*/ 61101 h 90637"/>
                  <a:gd name="connsiteX45" fmla="*/ 102452 w 119468"/>
                  <a:gd name="connsiteY45" fmla="*/ 57574 h 90637"/>
                  <a:gd name="connsiteX46" fmla="*/ 99895 w 119468"/>
                  <a:gd name="connsiteY46" fmla="*/ 55546 h 90637"/>
                  <a:gd name="connsiteX47" fmla="*/ 99895 w 119468"/>
                  <a:gd name="connsiteY47" fmla="*/ 53518 h 90637"/>
                  <a:gd name="connsiteX48" fmla="*/ 99277 w 119468"/>
                  <a:gd name="connsiteY48" fmla="*/ 52989 h 90637"/>
                  <a:gd name="connsiteX49" fmla="*/ 99542 w 119468"/>
                  <a:gd name="connsiteY49" fmla="*/ 50344 h 90637"/>
                  <a:gd name="connsiteX50" fmla="*/ 98925 w 119468"/>
                  <a:gd name="connsiteY50" fmla="*/ 48581 h 90637"/>
                  <a:gd name="connsiteX51" fmla="*/ 105361 w 119468"/>
                  <a:gd name="connsiteY51" fmla="*/ 46553 h 90637"/>
                  <a:gd name="connsiteX52" fmla="*/ 107124 w 119468"/>
                  <a:gd name="connsiteY52" fmla="*/ 43026 h 90637"/>
                  <a:gd name="connsiteX53" fmla="*/ 108624 w 119468"/>
                  <a:gd name="connsiteY53" fmla="*/ 43026 h 90637"/>
                  <a:gd name="connsiteX54" fmla="*/ 109241 w 119468"/>
                  <a:gd name="connsiteY54" fmla="*/ 42409 h 90637"/>
                  <a:gd name="connsiteX55" fmla="*/ 112150 w 119468"/>
                  <a:gd name="connsiteY55" fmla="*/ 43291 h 90637"/>
                  <a:gd name="connsiteX56" fmla="*/ 114795 w 119468"/>
                  <a:gd name="connsiteY56" fmla="*/ 45319 h 90637"/>
                  <a:gd name="connsiteX57" fmla="*/ 116558 w 119468"/>
                  <a:gd name="connsiteY57" fmla="*/ 45054 h 90637"/>
                  <a:gd name="connsiteX58" fmla="*/ 119468 w 119468"/>
                  <a:gd name="connsiteY58" fmla="*/ 43555 h 90637"/>
                  <a:gd name="connsiteX59" fmla="*/ 117087 w 119468"/>
                  <a:gd name="connsiteY59" fmla="*/ 41792 h 90637"/>
                  <a:gd name="connsiteX60" fmla="*/ 114442 w 119468"/>
                  <a:gd name="connsiteY60" fmla="*/ 40029 h 90637"/>
                  <a:gd name="connsiteX61" fmla="*/ 113296 w 119468"/>
                  <a:gd name="connsiteY61" fmla="*/ 36237 h 90637"/>
                  <a:gd name="connsiteX62" fmla="*/ 112150 w 119468"/>
                  <a:gd name="connsiteY62" fmla="*/ 36237 h 90637"/>
                  <a:gd name="connsiteX63" fmla="*/ 110386 w 119468"/>
                  <a:gd name="connsiteY63" fmla="*/ 35620 h 90637"/>
                  <a:gd name="connsiteX64" fmla="*/ 108095 w 119468"/>
                  <a:gd name="connsiteY64" fmla="*/ 34738 h 90637"/>
                  <a:gd name="connsiteX65" fmla="*/ 106948 w 119468"/>
                  <a:gd name="connsiteY65" fmla="*/ 35620 h 90637"/>
                  <a:gd name="connsiteX66" fmla="*/ 104920 w 119468"/>
                  <a:gd name="connsiteY66" fmla="*/ 34738 h 90637"/>
                  <a:gd name="connsiteX67" fmla="*/ 98748 w 119468"/>
                  <a:gd name="connsiteY67" fmla="*/ 35003 h 90637"/>
                  <a:gd name="connsiteX68" fmla="*/ 99983 w 119468"/>
                  <a:gd name="connsiteY68" fmla="*/ 32358 h 90637"/>
                  <a:gd name="connsiteX69" fmla="*/ 98219 w 119468"/>
                  <a:gd name="connsiteY69" fmla="*/ 31212 h 90637"/>
                  <a:gd name="connsiteX70" fmla="*/ 97602 w 119468"/>
                  <a:gd name="connsiteY70" fmla="*/ 28302 h 90637"/>
                  <a:gd name="connsiteX71" fmla="*/ 94428 w 119468"/>
                  <a:gd name="connsiteY71" fmla="*/ 26274 h 90637"/>
                  <a:gd name="connsiteX72" fmla="*/ 91519 w 119468"/>
                  <a:gd name="connsiteY72" fmla="*/ 23982 h 90637"/>
                  <a:gd name="connsiteX73" fmla="*/ 89491 w 119468"/>
                  <a:gd name="connsiteY73" fmla="*/ 22836 h 90637"/>
                  <a:gd name="connsiteX74" fmla="*/ 87992 w 119468"/>
                  <a:gd name="connsiteY74" fmla="*/ 21072 h 90637"/>
                  <a:gd name="connsiteX75" fmla="*/ 88256 w 119468"/>
                  <a:gd name="connsiteY75" fmla="*/ 19044 h 90637"/>
                  <a:gd name="connsiteX76" fmla="*/ 88256 w 119468"/>
                  <a:gd name="connsiteY76" fmla="*/ 16399 h 90637"/>
                  <a:gd name="connsiteX77" fmla="*/ 85611 w 119468"/>
                  <a:gd name="connsiteY77" fmla="*/ 16135 h 90637"/>
                  <a:gd name="connsiteX78" fmla="*/ 85347 w 119468"/>
                  <a:gd name="connsiteY78" fmla="*/ 13490 h 90637"/>
                  <a:gd name="connsiteX79" fmla="*/ 84201 w 119468"/>
                  <a:gd name="connsiteY79" fmla="*/ 11726 h 90637"/>
                  <a:gd name="connsiteX80" fmla="*/ 81291 w 119468"/>
                  <a:gd name="connsiteY80" fmla="*/ 9346 h 90637"/>
                  <a:gd name="connsiteX81" fmla="*/ 79263 w 119468"/>
                  <a:gd name="connsiteY81" fmla="*/ 5819 h 90637"/>
                  <a:gd name="connsiteX82" fmla="*/ 75825 w 119468"/>
                  <a:gd name="connsiteY82" fmla="*/ 4408 h 90637"/>
                  <a:gd name="connsiteX83" fmla="*/ 74943 w 119468"/>
                  <a:gd name="connsiteY83" fmla="*/ 3262 h 90637"/>
                  <a:gd name="connsiteX84" fmla="*/ 73180 w 119468"/>
                  <a:gd name="connsiteY84" fmla="*/ 0 h 90637"/>
                  <a:gd name="connsiteX85" fmla="*/ 65597 w 119468"/>
                  <a:gd name="connsiteY85" fmla="*/ 7318 h 90637"/>
                  <a:gd name="connsiteX86" fmla="*/ 61189 w 119468"/>
                  <a:gd name="connsiteY86" fmla="*/ 9610 h 90637"/>
                  <a:gd name="connsiteX87" fmla="*/ 60660 w 119468"/>
                  <a:gd name="connsiteY87" fmla="*/ 16928 h 90637"/>
                  <a:gd name="connsiteX88" fmla="*/ 49022 w 119468"/>
                  <a:gd name="connsiteY88" fmla="*/ 14636 h 90637"/>
                  <a:gd name="connsiteX89" fmla="*/ 43467 w 119468"/>
                  <a:gd name="connsiteY89" fmla="*/ 7318 h 90637"/>
                  <a:gd name="connsiteX90" fmla="*/ 37648 w 119468"/>
                  <a:gd name="connsiteY90" fmla="*/ 3791 h 90637"/>
                  <a:gd name="connsiteX91" fmla="*/ 33857 w 119468"/>
                  <a:gd name="connsiteY91" fmla="*/ 0 h 90637"/>
                  <a:gd name="connsiteX92" fmla="*/ 28037 w 119468"/>
                  <a:gd name="connsiteY92" fmla="*/ 1146 h 90637"/>
                  <a:gd name="connsiteX93" fmla="*/ 35884 w 119468"/>
                  <a:gd name="connsiteY93" fmla="*/ 14548 h 90637"/>
                  <a:gd name="connsiteX94" fmla="*/ 32358 w 119468"/>
                  <a:gd name="connsiteY94" fmla="*/ 19485 h 90637"/>
                  <a:gd name="connsiteX95" fmla="*/ 22395 w 119468"/>
                  <a:gd name="connsiteY95" fmla="*/ 17457 h 90637"/>
                  <a:gd name="connsiteX96" fmla="*/ 13666 w 119468"/>
                  <a:gd name="connsiteY96" fmla="*/ 11903 h 90637"/>
                  <a:gd name="connsiteX97" fmla="*/ 4056 w 119468"/>
                  <a:gd name="connsiteY97" fmla="*/ 9258 h 90637"/>
                  <a:gd name="connsiteX98" fmla="*/ 0 w 119468"/>
                  <a:gd name="connsiteY98" fmla="*/ 15429 h 90637"/>
                  <a:gd name="connsiteX99" fmla="*/ 6436 w 119468"/>
                  <a:gd name="connsiteY99" fmla="*/ 22130 h 90637"/>
                  <a:gd name="connsiteX100" fmla="*/ 9963 w 119468"/>
                  <a:gd name="connsiteY100" fmla="*/ 20984 h 90637"/>
                  <a:gd name="connsiteX101" fmla="*/ 13490 w 119468"/>
                  <a:gd name="connsiteY101" fmla="*/ 27685 h 90637"/>
                  <a:gd name="connsiteX102" fmla="*/ 15517 w 119468"/>
                  <a:gd name="connsiteY102" fmla="*/ 35532 h 90637"/>
                  <a:gd name="connsiteX103" fmla="*/ 25128 w 119468"/>
                  <a:gd name="connsiteY103" fmla="*/ 40205 h 90637"/>
                  <a:gd name="connsiteX104" fmla="*/ 25392 w 119468"/>
                  <a:gd name="connsiteY104" fmla="*/ 43996 h 90637"/>
                  <a:gd name="connsiteX105" fmla="*/ 19838 w 119468"/>
                  <a:gd name="connsiteY105" fmla="*/ 46641 h 90637"/>
                  <a:gd name="connsiteX106" fmla="*/ 20367 w 119468"/>
                  <a:gd name="connsiteY106" fmla="*/ 48404 h 90637"/>
                  <a:gd name="connsiteX107" fmla="*/ 25922 w 119468"/>
                  <a:gd name="connsiteY107" fmla="*/ 51050 h 90637"/>
                  <a:gd name="connsiteX108" fmla="*/ 30594 w 119468"/>
                  <a:gd name="connsiteY108" fmla="*/ 56604 h 90637"/>
                  <a:gd name="connsiteX109" fmla="*/ 39940 w 119468"/>
                  <a:gd name="connsiteY109" fmla="*/ 58985 h 90637"/>
                  <a:gd name="connsiteX110" fmla="*/ 38530 w 119468"/>
                  <a:gd name="connsiteY110" fmla="*/ 61894 h 90637"/>
                  <a:gd name="connsiteX111" fmla="*/ 41703 w 119468"/>
                  <a:gd name="connsiteY111" fmla="*/ 67449 h 90637"/>
                  <a:gd name="connsiteX112" fmla="*/ 39059 w 119468"/>
                  <a:gd name="connsiteY112" fmla="*/ 68595 h 90637"/>
                  <a:gd name="connsiteX113" fmla="*/ 46024 w 119468"/>
                  <a:gd name="connsiteY113" fmla="*/ 75560 h 90637"/>
                  <a:gd name="connsiteX114" fmla="*/ 46641 w 119468"/>
                  <a:gd name="connsiteY114" fmla="*/ 78470 h 90637"/>
                  <a:gd name="connsiteX115" fmla="*/ 48933 w 119468"/>
                  <a:gd name="connsiteY115" fmla="*/ 76442 h 90637"/>
                  <a:gd name="connsiteX116" fmla="*/ 48669 w 119468"/>
                  <a:gd name="connsiteY116" fmla="*/ 75825 h 90637"/>
                  <a:gd name="connsiteX117" fmla="*/ 48933 w 119468"/>
                  <a:gd name="connsiteY117" fmla="*/ 75560 h 90637"/>
                  <a:gd name="connsiteX118" fmla="*/ 48669 w 119468"/>
                  <a:gd name="connsiteY118" fmla="*/ 74062 h 90637"/>
                  <a:gd name="connsiteX119" fmla="*/ 51314 w 119468"/>
                  <a:gd name="connsiteY119" fmla="*/ 71681 h 90637"/>
                  <a:gd name="connsiteX120" fmla="*/ 53695 w 119468"/>
                  <a:gd name="connsiteY120" fmla="*/ 71681 h 90637"/>
                  <a:gd name="connsiteX121" fmla="*/ 53430 w 119468"/>
                  <a:gd name="connsiteY121" fmla="*/ 71152 h 90637"/>
                  <a:gd name="connsiteX122" fmla="*/ 56075 w 119468"/>
                  <a:gd name="connsiteY122" fmla="*/ 69124 h 90637"/>
                  <a:gd name="connsiteX123" fmla="*/ 56692 w 119468"/>
                  <a:gd name="connsiteY123" fmla="*/ 68507 h 90637"/>
                  <a:gd name="connsiteX124" fmla="*/ 58985 w 119468"/>
                  <a:gd name="connsiteY124" fmla="*/ 66126 h 90637"/>
                  <a:gd name="connsiteX125" fmla="*/ 61630 w 119468"/>
                  <a:gd name="connsiteY125" fmla="*/ 64363 h 90637"/>
                  <a:gd name="connsiteX126" fmla="*/ 63128 w 119468"/>
                  <a:gd name="connsiteY126" fmla="*/ 62952 h 90637"/>
                  <a:gd name="connsiteX127" fmla="*/ 64275 w 119468"/>
                  <a:gd name="connsiteY127" fmla="*/ 62688 h 90637"/>
                  <a:gd name="connsiteX128" fmla="*/ 68330 w 119468"/>
                  <a:gd name="connsiteY128" fmla="*/ 60043 h 90637"/>
                  <a:gd name="connsiteX129" fmla="*/ 68066 w 119468"/>
                  <a:gd name="connsiteY129" fmla="*/ 59426 h 90637"/>
                  <a:gd name="connsiteX130" fmla="*/ 71857 w 119468"/>
                  <a:gd name="connsiteY130" fmla="*/ 59426 h 90637"/>
                  <a:gd name="connsiteX131" fmla="*/ 71593 w 119468"/>
                  <a:gd name="connsiteY131" fmla="*/ 58279 h 90637"/>
                  <a:gd name="connsiteX132" fmla="*/ 73003 w 119468"/>
                  <a:gd name="connsiteY132" fmla="*/ 59426 h 90637"/>
                  <a:gd name="connsiteX133" fmla="*/ 75648 w 119468"/>
                  <a:gd name="connsiteY133" fmla="*/ 61189 h 90637"/>
                  <a:gd name="connsiteX134" fmla="*/ 80850 w 119468"/>
                  <a:gd name="connsiteY134" fmla="*/ 64716 h 90637"/>
                  <a:gd name="connsiteX135" fmla="*/ 81732 w 119468"/>
                  <a:gd name="connsiteY135" fmla="*/ 66126 h 90637"/>
                  <a:gd name="connsiteX136" fmla="*/ 79704 w 119468"/>
                  <a:gd name="connsiteY136" fmla="*/ 66744 h 90637"/>
                  <a:gd name="connsiteX137" fmla="*/ 77324 w 119468"/>
                  <a:gd name="connsiteY137" fmla="*/ 67361 h 90637"/>
                  <a:gd name="connsiteX138" fmla="*/ 76971 w 119468"/>
                  <a:gd name="connsiteY138" fmla="*/ 68507 h 90637"/>
                  <a:gd name="connsiteX139" fmla="*/ 76971 w 119468"/>
                  <a:gd name="connsiteY139" fmla="*/ 69124 h 90637"/>
                  <a:gd name="connsiteX140" fmla="*/ 77324 w 119468"/>
                  <a:gd name="connsiteY140" fmla="*/ 70270 h 90637"/>
                  <a:gd name="connsiteX141" fmla="*/ 79969 w 119468"/>
                  <a:gd name="connsiteY141" fmla="*/ 71681 h 90637"/>
                  <a:gd name="connsiteX142" fmla="*/ 80850 w 119468"/>
                  <a:gd name="connsiteY142" fmla="*/ 72827 h 90637"/>
                  <a:gd name="connsiteX143" fmla="*/ 82878 w 119468"/>
                  <a:gd name="connsiteY143" fmla="*/ 75472 h 90637"/>
                  <a:gd name="connsiteX144" fmla="*/ 81379 w 119468"/>
                  <a:gd name="connsiteY144" fmla="*/ 76354 h 90637"/>
                  <a:gd name="connsiteX145" fmla="*/ 77853 w 119468"/>
                  <a:gd name="connsiteY145" fmla="*/ 77236 h 90637"/>
                  <a:gd name="connsiteX146" fmla="*/ 78117 w 119468"/>
                  <a:gd name="connsiteY146" fmla="*/ 77765 h 90637"/>
                  <a:gd name="connsiteX147" fmla="*/ 75208 w 119468"/>
                  <a:gd name="connsiteY147" fmla="*/ 78382 h 90637"/>
                  <a:gd name="connsiteX148" fmla="*/ 75560 w 119468"/>
                  <a:gd name="connsiteY148" fmla="*/ 80145 h 90637"/>
                  <a:gd name="connsiteX149" fmla="*/ 79616 w 119468"/>
                  <a:gd name="connsiteY149" fmla="*/ 81909 h 90637"/>
                  <a:gd name="connsiteX150" fmla="*/ 82525 w 119468"/>
                  <a:gd name="connsiteY150" fmla="*/ 82790 h 90637"/>
                  <a:gd name="connsiteX151" fmla="*/ 82790 w 119468"/>
                  <a:gd name="connsiteY151" fmla="*/ 83936 h 90637"/>
                  <a:gd name="connsiteX152" fmla="*/ 82790 w 119468"/>
                  <a:gd name="connsiteY152" fmla="*/ 84554 h 90637"/>
                  <a:gd name="connsiteX153" fmla="*/ 84818 w 119468"/>
                  <a:gd name="connsiteY153" fmla="*/ 85700 h 90637"/>
                  <a:gd name="connsiteX154" fmla="*/ 85964 w 119468"/>
                  <a:gd name="connsiteY154" fmla="*/ 85435 h 90637"/>
                  <a:gd name="connsiteX155" fmla="*/ 86229 w 119468"/>
                  <a:gd name="connsiteY155" fmla="*/ 87199 h 90637"/>
                  <a:gd name="connsiteX156" fmla="*/ 91519 w 119468"/>
                  <a:gd name="connsiteY156" fmla="*/ 90637 h 90637"/>
                  <a:gd name="connsiteX157" fmla="*/ 92665 w 119468"/>
                  <a:gd name="connsiteY157" fmla="*/ 90108 h 90637"/>
                  <a:gd name="connsiteX158" fmla="*/ 94164 w 119468"/>
                  <a:gd name="connsiteY158" fmla="*/ 89226 h 90637"/>
                  <a:gd name="connsiteX159" fmla="*/ 95662 w 119468"/>
                  <a:gd name="connsiteY159" fmla="*/ 89226 h 90637"/>
                  <a:gd name="connsiteX160" fmla="*/ 93899 w 119468"/>
                  <a:gd name="connsiteY160" fmla="*/ 85612 h 90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119468" h="90637">
                    <a:moveTo>
                      <a:pt x="5819" y="46818"/>
                    </a:moveTo>
                    <a:lnTo>
                      <a:pt x="8729" y="51490"/>
                    </a:lnTo>
                    <a:lnTo>
                      <a:pt x="9875" y="57309"/>
                    </a:lnTo>
                    <a:lnTo>
                      <a:pt x="19221" y="59602"/>
                    </a:lnTo>
                    <a:lnTo>
                      <a:pt x="21866" y="58456"/>
                    </a:lnTo>
                    <a:lnTo>
                      <a:pt x="25922" y="60219"/>
                    </a:lnTo>
                    <a:lnTo>
                      <a:pt x="26538" y="62864"/>
                    </a:lnTo>
                    <a:lnTo>
                      <a:pt x="30330" y="67537"/>
                    </a:lnTo>
                    <a:lnTo>
                      <a:pt x="35003" y="79175"/>
                    </a:lnTo>
                    <a:lnTo>
                      <a:pt x="34386" y="79175"/>
                    </a:lnTo>
                    <a:lnTo>
                      <a:pt x="32093" y="79175"/>
                    </a:lnTo>
                    <a:lnTo>
                      <a:pt x="30594" y="78029"/>
                    </a:lnTo>
                    <a:lnTo>
                      <a:pt x="27685" y="77500"/>
                    </a:lnTo>
                    <a:lnTo>
                      <a:pt x="25657" y="76618"/>
                    </a:lnTo>
                    <a:lnTo>
                      <a:pt x="25040" y="76618"/>
                    </a:lnTo>
                    <a:lnTo>
                      <a:pt x="22659" y="76618"/>
                    </a:lnTo>
                    <a:lnTo>
                      <a:pt x="22659" y="76001"/>
                    </a:lnTo>
                    <a:lnTo>
                      <a:pt x="22395" y="74855"/>
                    </a:lnTo>
                    <a:lnTo>
                      <a:pt x="22042" y="73092"/>
                    </a:lnTo>
                    <a:lnTo>
                      <a:pt x="21513" y="72210"/>
                    </a:lnTo>
                    <a:lnTo>
                      <a:pt x="21248" y="71945"/>
                    </a:lnTo>
                    <a:lnTo>
                      <a:pt x="19750" y="71945"/>
                    </a:lnTo>
                    <a:lnTo>
                      <a:pt x="19485" y="71416"/>
                    </a:lnTo>
                    <a:lnTo>
                      <a:pt x="18868" y="71416"/>
                    </a:lnTo>
                    <a:lnTo>
                      <a:pt x="15077" y="70535"/>
                    </a:lnTo>
                    <a:lnTo>
                      <a:pt x="14812" y="68771"/>
                    </a:lnTo>
                    <a:lnTo>
                      <a:pt x="13930" y="67008"/>
                    </a:lnTo>
                    <a:lnTo>
                      <a:pt x="10139" y="63217"/>
                    </a:lnTo>
                    <a:lnTo>
                      <a:pt x="5819" y="46818"/>
                    </a:lnTo>
                    <a:close/>
                    <a:moveTo>
                      <a:pt x="93899" y="85612"/>
                    </a:moveTo>
                    <a:lnTo>
                      <a:pt x="92136" y="79175"/>
                    </a:lnTo>
                    <a:lnTo>
                      <a:pt x="93282" y="78558"/>
                    </a:lnTo>
                    <a:lnTo>
                      <a:pt x="95662" y="76530"/>
                    </a:lnTo>
                    <a:lnTo>
                      <a:pt x="95310" y="74767"/>
                    </a:lnTo>
                    <a:lnTo>
                      <a:pt x="94693" y="71857"/>
                    </a:lnTo>
                    <a:lnTo>
                      <a:pt x="97955" y="73004"/>
                    </a:lnTo>
                    <a:lnTo>
                      <a:pt x="98572" y="75648"/>
                    </a:lnTo>
                    <a:lnTo>
                      <a:pt x="98572" y="76530"/>
                    </a:lnTo>
                    <a:lnTo>
                      <a:pt x="101834" y="76530"/>
                    </a:lnTo>
                    <a:lnTo>
                      <a:pt x="101305" y="74767"/>
                    </a:lnTo>
                    <a:lnTo>
                      <a:pt x="99542" y="70094"/>
                    </a:lnTo>
                    <a:lnTo>
                      <a:pt x="100159" y="68330"/>
                    </a:lnTo>
                    <a:lnTo>
                      <a:pt x="103333" y="70094"/>
                    </a:lnTo>
                    <a:lnTo>
                      <a:pt x="101570" y="64892"/>
                    </a:lnTo>
                    <a:lnTo>
                      <a:pt x="101041" y="61101"/>
                    </a:lnTo>
                    <a:lnTo>
                      <a:pt x="102452" y="57574"/>
                    </a:lnTo>
                    <a:lnTo>
                      <a:pt x="99895" y="55546"/>
                    </a:lnTo>
                    <a:lnTo>
                      <a:pt x="99895" y="53518"/>
                    </a:lnTo>
                    <a:lnTo>
                      <a:pt x="99277" y="52989"/>
                    </a:lnTo>
                    <a:lnTo>
                      <a:pt x="99542" y="50344"/>
                    </a:lnTo>
                    <a:lnTo>
                      <a:pt x="98925" y="48581"/>
                    </a:lnTo>
                    <a:lnTo>
                      <a:pt x="105361" y="46553"/>
                    </a:lnTo>
                    <a:lnTo>
                      <a:pt x="107124" y="43026"/>
                    </a:lnTo>
                    <a:lnTo>
                      <a:pt x="108624" y="43026"/>
                    </a:lnTo>
                    <a:lnTo>
                      <a:pt x="109241" y="42409"/>
                    </a:lnTo>
                    <a:lnTo>
                      <a:pt x="112150" y="43291"/>
                    </a:lnTo>
                    <a:lnTo>
                      <a:pt x="114795" y="45319"/>
                    </a:lnTo>
                    <a:lnTo>
                      <a:pt x="116558" y="45054"/>
                    </a:lnTo>
                    <a:lnTo>
                      <a:pt x="119468" y="43555"/>
                    </a:lnTo>
                    <a:lnTo>
                      <a:pt x="117087" y="41792"/>
                    </a:lnTo>
                    <a:lnTo>
                      <a:pt x="114442" y="40029"/>
                    </a:lnTo>
                    <a:lnTo>
                      <a:pt x="113296" y="36237"/>
                    </a:lnTo>
                    <a:lnTo>
                      <a:pt x="112150" y="36237"/>
                    </a:lnTo>
                    <a:lnTo>
                      <a:pt x="110386" y="35620"/>
                    </a:lnTo>
                    <a:lnTo>
                      <a:pt x="108095" y="34738"/>
                    </a:lnTo>
                    <a:lnTo>
                      <a:pt x="106948" y="35620"/>
                    </a:lnTo>
                    <a:lnTo>
                      <a:pt x="104920" y="34738"/>
                    </a:lnTo>
                    <a:lnTo>
                      <a:pt x="98748" y="35003"/>
                    </a:lnTo>
                    <a:lnTo>
                      <a:pt x="99983" y="32358"/>
                    </a:lnTo>
                    <a:lnTo>
                      <a:pt x="98219" y="31212"/>
                    </a:lnTo>
                    <a:lnTo>
                      <a:pt x="97602" y="28302"/>
                    </a:lnTo>
                    <a:lnTo>
                      <a:pt x="94428" y="26274"/>
                    </a:lnTo>
                    <a:lnTo>
                      <a:pt x="91519" y="23982"/>
                    </a:lnTo>
                    <a:lnTo>
                      <a:pt x="89491" y="22836"/>
                    </a:lnTo>
                    <a:lnTo>
                      <a:pt x="87992" y="21072"/>
                    </a:lnTo>
                    <a:lnTo>
                      <a:pt x="88256" y="19044"/>
                    </a:lnTo>
                    <a:lnTo>
                      <a:pt x="88256" y="16399"/>
                    </a:lnTo>
                    <a:lnTo>
                      <a:pt x="85611" y="16135"/>
                    </a:lnTo>
                    <a:lnTo>
                      <a:pt x="85347" y="13490"/>
                    </a:lnTo>
                    <a:lnTo>
                      <a:pt x="84201" y="11726"/>
                    </a:lnTo>
                    <a:lnTo>
                      <a:pt x="81291" y="9346"/>
                    </a:lnTo>
                    <a:lnTo>
                      <a:pt x="79263" y="5819"/>
                    </a:lnTo>
                    <a:lnTo>
                      <a:pt x="75825" y="4408"/>
                    </a:lnTo>
                    <a:lnTo>
                      <a:pt x="74943" y="3262"/>
                    </a:lnTo>
                    <a:lnTo>
                      <a:pt x="73180" y="0"/>
                    </a:lnTo>
                    <a:lnTo>
                      <a:pt x="65597" y="7318"/>
                    </a:lnTo>
                    <a:lnTo>
                      <a:pt x="61189" y="9610"/>
                    </a:lnTo>
                    <a:lnTo>
                      <a:pt x="60660" y="16928"/>
                    </a:lnTo>
                    <a:lnTo>
                      <a:pt x="49022" y="14636"/>
                    </a:lnTo>
                    <a:lnTo>
                      <a:pt x="43467" y="7318"/>
                    </a:lnTo>
                    <a:lnTo>
                      <a:pt x="37648" y="3791"/>
                    </a:lnTo>
                    <a:lnTo>
                      <a:pt x="33857" y="0"/>
                    </a:lnTo>
                    <a:lnTo>
                      <a:pt x="28037" y="1146"/>
                    </a:lnTo>
                    <a:lnTo>
                      <a:pt x="35884" y="14548"/>
                    </a:lnTo>
                    <a:lnTo>
                      <a:pt x="32358" y="19485"/>
                    </a:lnTo>
                    <a:lnTo>
                      <a:pt x="22395" y="17457"/>
                    </a:lnTo>
                    <a:lnTo>
                      <a:pt x="13666" y="11903"/>
                    </a:lnTo>
                    <a:lnTo>
                      <a:pt x="4056" y="9258"/>
                    </a:lnTo>
                    <a:lnTo>
                      <a:pt x="0" y="15429"/>
                    </a:lnTo>
                    <a:lnTo>
                      <a:pt x="6436" y="22130"/>
                    </a:lnTo>
                    <a:lnTo>
                      <a:pt x="9963" y="20984"/>
                    </a:lnTo>
                    <a:lnTo>
                      <a:pt x="13490" y="27685"/>
                    </a:lnTo>
                    <a:lnTo>
                      <a:pt x="15517" y="35532"/>
                    </a:lnTo>
                    <a:lnTo>
                      <a:pt x="25128" y="40205"/>
                    </a:lnTo>
                    <a:lnTo>
                      <a:pt x="25392" y="43996"/>
                    </a:lnTo>
                    <a:lnTo>
                      <a:pt x="19838" y="46641"/>
                    </a:lnTo>
                    <a:lnTo>
                      <a:pt x="20367" y="48404"/>
                    </a:lnTo>
                    <a:lnTo>
                      <a:pt x="25922" y="51050"/>
                    </a:lnTo>
                    <a:lnTo>
                      <a:pt x="30594" y="56604"/>
                    </a:lnTo>
                    <a:lnTo>
                      <a:pt x="39940" y="58985"/>
                    </a:lnTo>
                    <a:lnTo>
                      <a:pt x="38530" y="61894"/>
                    </a:lnTo>
                    <a:lnTo>
                      <a:pt x="41703" y="67449"/>
                    </a:lnTo>
                    <a:lnTo>
                      <a:pt x="39059" y="68595"/>
                    </a:lnTo>
                    <a:lnTo>
                      <a:pt x="46024" y="75560"/>
                    </a:lnTo>
                    <a:lnTo>
                      <a:pt x="46641" y="78470"/>
                    </a:lnTo>
                    <a:lnTo>
                      <a:pt x="48933" y="76442"/>
                    </a:lnTo>
                    <a:lnTo>
                      <a:pt x="48669" y="75825"/>
                    </a:lnTo>
                    <a:lnTo>
                      <a:pt x="48933" y="75560"/>
                    </a:lnTo>
                    <a:lnTo>
                      <a:pt x="48669" y="74062"/>
                    </a:lnTo>
                    <a:lnTo>
                      <a:pt x="51314" y="71681"/>
                    </a:lnTo>
                    <a:lnTo>
                      <a:pt x="53695" y="71681"/>
                    </a:lnTo>
                    <a:lnTo>
                      <a:pt x="53430" y="71152"/>
                    </a:lnTo>
                    <a:lnTo>
                      <a:pt x="56075" y="69124"/>
                    </a:lnTo>
                    <a:lnTo>
                      <a:pt x="56692" y="68507"/>
                    </a:lnTo>
                    <a:lnTo>
                      <a:pt x="58985" y="66126"/>
                    </a:lnTo>
                    <a:lnTo>
                      <a:pt x="61630" y="64363"/>
                    </a:lnTo>
                    <a:lnTo>
                      <a:pt x="63128" y="62952"/>
                    </a:lnTo>
                    <a:lnTo>
                      <a:pt x="64275" y="62688"/>
                    </a:lnTo>
                    <a:lnTo>
                      <a:pt x="68330" y="60043"/>
                    </a:lnTo>
                    <a:lnTo>
                      <a:pt x="68066" y="59426"/>
                    </a:lnTo>
                    <a:lnTo>
                      <a:pt x="71857" y="59426"/>
                    </a:lnTo>
                    <a:lnTo>
                      <a:pt x="71593" y="58279"/>
                    </a:lnTo>
                    <a:lnTo>
                      <a:pt x="73003" y="59426"/>
                    </a:lnTo>
                    <a:lnTo>
                      <a:pt x="75648" y="61189"/>
                    </a:lnTo>
                    <a:lnTo>
                      <a:pt x="80850" y="64716"/>
                    </a:lnTo>
                    <a:lnTo>
                      <a:pt x="81732" y="66126"/>
                    </a:lnTo>
                    <a:lnTo>
                      <a:pt x="79704" y="66744"/>
                    </a:lnTo>
                    <a:lnTo>
                      <a:pt x="77324" y="67361"/>
                    </a:lnTo>
                    <a:lnTo>
                      <a:pt x="76971" y="68507"/>
                    </a:lnTo>
                    <a:lnTo>
                      <a:pt x="76971" y="69124"/>
                    </a:lnTo>
                    <a:lnTo>
                      <a:pt x="77324" y="70270"/>
                    </a:lnTo>
                    <a:lnTo>
                      <a:pt x="79969" y="71681"/>
                    </a:lnTo>
                    <a:lnTo>
                      <a:pt x="80850" y="72827"/>
                    </a:lnTo>
                    <a:lnTo>
                      <a:pt x="82878" y="75472"/>
                    </a:lnTo>
                    <a:lnTo>
                      <a:pt x="81379" y="76354"/>
                    </a:lnTo>
                    <a:lnTo>
                      <a:pt x="77853" y="77236"/>
                    </a:lnTo>
                    <a:lnTo>
                      <a:pt x="78117" y="77765"/>
                    </a:lnTo>
                    <a:lnTo>
                      <a:pt x="75208" y="78382"/>
                    </a:lnTo>
                    <a:lnTo>
                      <a:pt x="75560" y="80145"/>
                    </a:lnTo>
                    <a:lnTo>
                      <a:pt x="79616" y="81909"/>
                    </a:lnTo>
                    <a:lnTo>
                      <a:pt x="82525" y="82790"/>
                    </a:lnTo>
                    <a:lnTo>
                      <a:pt x="82790" y="83936"/>
                    </a:lnTo>
                    <a:lnTo>
                      <a:pt x="82790" y="84554"/>
                    </a:lnTo>
                    <a:lnTo>
                      <a:pt x="84818" y="85700"/>
                    </a:lnTo>
                    <a:lnTo>
                      <a:pt x="85964" y="85435"/>
                    </a:lnTo>
                    <a:lnTo>
                      <a:pt x="86229" y="87199"/>
                    </a:lnTo>
                    <a:lnTo>
                      <a:pt x="91519" y="90637"/>
                    </a:lnTo>
                    <a:lnTo>
                      <a:pt x="92665" y="90108"/>
                    </a:lnTo>
                    <a:lnTo>
                      <a:pt x="94164" y="89226"/>
                    </a:lnTo>
                    <a:lnTo>
                      <a:pt x="95662" y="89226"/>
                    </a:lnTo>
                    <a:lnTo>
                      <a:pt x="93899" y="8561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6" name="Freihandform: Form 1905">
                <a:extLst>
                  <a:ext uri="{FF2B5EF4-FFF2-40B4-BE49-F238E27FC236}">
                    <a16:creationId xmlns:a16="http://schemas.microsoft.com/office/drawing/2014/main" id="{A2A0BF22-A156-72BE-E692-6F98886D1E26}"/>
                  </a:ext>
                </a:extLst>
              </p:cNvPr>
              <p:cNvSpPr/>
              <p:nvPr/>
            </p:nvSpPr>
            <p:spPr>
              <a:xfrm>
                <a:off x="5119044" y="3081616"/>
                <a:ext cx="319346" cy="192206"/>
              </a:xfrm>
              <a:custGeom>
                <a:avLst/>
                <a:gdLst>
                  <a:gd name="connsiteX0" fmla="*/ 56251 w 319346"/>
                  <a:gd name="connsiteY0" fmla="*/ 131283 h 192206"/>
                  <a:gd name="connsiteX1" fmla="*/ 52460 w 319346"/>
                  <a:gd name="connsiteY1" fmla="*/ 123965 h 192206"/>
                  <a:gd name="connsiteX2" fmla="*/ 50168 w 319346"/>
                  <a:gd name="connsiteY2" fmla="*/ 115236 h 192206"/>
                  <a:gd name="connsiteX3" fmla="*/ 49022 w 319346"/>
                  <a:gd name="connsiteY3" fmla="*/ 107654 h 192206"/>
                  <a:gd name="connsiteX4" fmla="*/ 50168 w 319346"/>
                  <a:gd name="connsiteY4" fmla="*/ 98925 h 192206"/>
                  <a:gd name="connsiteX5" fmla="*/ 49286 w 319346"/>
                  <a:gd name="connsiteY5" fmla="*/ 97691 h 192206"/>
                  <a:gd name="connsiteX6" fmla="*/ 46641 w 319346"/>
                  <a:gd name="connsiteY6" fmla="*/ 96280 h 192206"/>
                  <a:gd name="connsiteX7" fmla="*/ 42850 w 319346"/>
                  <a:gd name="connsiteY7" fmla="*/ 94517 h 192206"/>
                  <a:gd name="connsiteX8" fmla="*/ 41968 w 319346"/>
                  <a:gd name="connsiteY8" fmla="*/ 90725 h 192206"/>
                  <a:gd name="connsiteX9" fmla="*/ 41704 w 319346"/>
                  <a:gd name="connsiteY9" fmla="*/ 90725 h 192206"/>
                  <a:gd name="connsiteX10" fmla="*/ 38794 w 319346"/>
                  <a:gd name="connsiteY10" fmla="*/ 88697 h 192206"/>
                  <a:gd name="connsiteX11" fmla="*/ 33240 w 319346"/>
                  <a:gd name="connsiteY11" fmla="*/ 88962 h 192206"/>
                  <a:gd name="connsiteX12" fmla="*/ 33504 w 319346"/>
                  <a:gd name="connsiteY12" fmla="*/ 91607 h 192206"/>
                  <a:gd name="connsiteX13" fmla="*/ 29713 w 319346"/>
                  <a:gd name="connsiteY13" fmla="*/ 87199 h 192206"/>
                  <a:gd name="connsiteX14" fmla="*/ 31741 w 319346"/>
                  <a:gd name="connsiteY14" fmla="*/ 81379 h 192206"/>
                  <a:gd name="connsiteX15" fmla="*/ 32358 w 319346"/>
                  <a:gd name="connsiteY15" fmla="*/ 84289 h 192206"/>
                  <a:gd name="connsiteX16" fmla="*/ 35003 w 319346"/>
                  <a:gd name="connsiteY16" fmla="*/ 84289 h 192206"/>
                  <a:gd name="connsiteX17" fmla="*/ 38177 w 319346"/>
                  <a:gd name="connsiteY17" fmla="*/ 84906 h 192206"/>
                  <a:gd name="connsiteX18" fmla="*/ 40822 w 319346"/>
                  <a:gd name="connsiteY18" fmla="*/ 84906 h 192206"/>
                  <a:gd name="connsiteX19" fmla="*/ 37913 w 319346"/>
                  <a:gd name="connsiteY19" fmla="*/ 84289 h 192206"/>
                  <a:gd name="connsiteX20" fmla="*/ 40205 w 319346"/>
                  <a:gd name="connsiteY20" fmla="*/ 82261 h 192206"/>
                  <a:gd name="connsiteX21" fmla="*/ 37031 w 319346"/>
                  <a:gd name="connsiteY21" fmla="*/ 80498 h 192206"/>
                  <a:gd name="connsiteX22" fmla="*/ 34651 w 319346"/>
                  <a:gd name="connsiteY22" fmla="*/ 80498 h 192206"/>
                  <a:gd name="connsiteX23" fmla="*/ 35797 w 319346"/>
                  <a:gd name="connsiteY23" fmla="*/ 74943 h 192206"/>
                  <a:gd name="connsiteX24" fmla="*/ 32622 w 319346"/>
                  <a:gd name="connsiteY24" fmla="*/ 71769 h 192206"/>
                  <a:gd name="connsiteX25" fmla="*/ 29977 w 319346"/>
                  <a:gd name="connsiteY25" fmla="*/ 72386 h 192206"/>
                  <a:gd name="connsiteX26" fmla="*/ 27068 w 319346"/>
                  <a:gd name="connsiteY26" fmla="*/ 72386 h 192206"/>
                  <a:gd name="connsiteX27" fmla="*/ 26804 w 319346"/>
                  <a:gd name="connsiteY27" fmla="*/ 73268 h 192206"/>
                  <a:gd name="connsiteX28" fmla="*/ 23630 w 319346"/>
                  <a:gd name="connsiteY28" fmla="*/ 71505 h 192206"/>
                  <a:gd name="connsiteX29" fmla="*/ 25393 w 319346"/>
                  <a:gd name="connsiteY29" fmla="*/ 78734 h 192206"/>
                  <a:gd name="connsiteX30" fmla="*/ 17810 w 319346"/>
                  <a:gd name="connsiteY30" fmla="*/ 71505 h 192206"/>
                  <a:gd name="connsiteX31" fmla="*/ 16576 w 319346"/>
                  <a:gd name="connsiteY31" fmla="*/ 67096 h 192206"/>
                  <a:gd name="connsiteX32" fmla="*/ 15694 w 319346"/>
                  <a:gd name="connsiteY32" fmla="*/ 62688 h 192206"/>
                  <a:gd name="connsiteX33" fmla="*/ 18075 w 319346"/>
                  <a:gd name="connsiteY33" fmla="*/ 57221 h 192206"/>
                  <a:gd name="connsiteX34" fmla="*/ 17810 w 319346"/>
                  <a:gd name="connsiteY34" fmla="*/ 55458 h 192206"/>
                  <a:gd name="connsiteX35" fmla="*/ 18604 w 319346"/>
                  <a:gd name="connsiteY35" fmla="*/ 49903 h 192206"/>
                  <a:gd name="connsiteX36" fmla="*/ 18956 w 319346"/>
                  <a:gd name="connsiteY36" fmla="*/ 49903 h 192206"/>
                  <a:gd name="connsiteX37" fmla="*/ 22130 w 319346"/>
                  <a:gd name="connsiteY37" fmla="*/ 51667 h 192206"/>
                  <a:gd name="connsiteX38" fmla="*/ 24159 w 319346"/>
                  <a:gd name="connsiteY38" fmla="*/ 51667 h 192206"/>
                  <a:gd name="connsiteX39" fmla="*/ 25393 w 319346"/>
                  <a:gd name="connsiteY39" fmla="*/ 51667 h 192206"/>
                  <a:gd name="connsiteX40" fmla="*/ 28302 w 319346"/>
                  <a:gd name="connsiteY40" fmla="*/ 51667 h 192206"/>
                  <a:gd name="connsiteX41" fmla="*/ 31476 w 319346"/>
                  <a:gd name="connsiteY41" fmla="*/ 55193 h 192206"/>
                  <a:gd name="connsiteX42" fmla="*/ 30330 w 319346"/>
                  <a:gd name="connsiteY42" fmla="*/ 49903 h 192206"/>
                  <a:gd name="connsiteX43" fmla="*/ 32975 w 319346"/>
                  <a:gd name="connsiteY43" fmla="*/ 49903 h 192206"/>
                  <a:gd name="connsiteX44" fmla="*/ 34651 w 319346"/>
                  <a:gd name="connsiteY44" fmla="*/ 57221 h 192206"/>
                  <a:gd name="connsiteX45" fmla="*/ 40822 w 319346"/>
                  <a:gd name="connsiteY45" fmla="*/ 56869 h 192206"/>
                  <a:gd name="connsiteX46" fmla="*/ 45230 w 319346"/>
                  <a:gd name="connsiteY46" fmla="*/ 54312 h 192206"/>
                  <a:gd name="connsiteX47" fmla="*/ 46377 w 319346"/>
                  <a:gd name="connsiteY47" fmla="*/ 55193 h 192206"/>
                  <a:gd name="connsiteX48" fmla="*/ 49022 w 319346"/>
                  <a:gd name="connsiteY48" fmla="*/ 54312 h 192206"/>
                  <a:gd name="connsiteX49" fmla="*/ 46024 w 319346"/>
                  <a:gd name="connsiteY49" fmla="*/ 53695 h 192206"/>
                  <a:gd name="connsiteX50" fmla="*/ 45230 w 319346"/>
                  <a:gd name="connsiteY50" fmla="*/ 49903 h 192206"/>
                  <a:gd name="connsiteX51" fmla="*/ 47170 w 319346"/>
                  <a:gd name="connsiteY51" fmla="*/ 49286 h 192206"/>
                  <a:gd name="connsiteX52" fmla="*/ 50168 w 319346"/>
                  <a:gd name="connsiteY52" fmla="*/ 49286 h 192206"/>
                  <a:gd name="connsiteX53" fmla="*/ 50697 w 319346"/>
                  <a:gd name="connsiteY53" fmla="*/ 51667 h 192206"/>
                  <a:gd name="connsiteX54" fmla="*/ 54224 w 319346"/>
                  <a:gd name="connsiteY54" fmla="*/ 51667 h 192206"/>
                  <a:gd name="connsiteX55" fmla="*/ 53342 w 319346"/>
                  <a:gd name="connsiteY55" fmla="*/ 48140 h 192206"/>
                  <a:gd name="connsiteX56" fmla="*/ 52460 w 319346"/>
                  <a:gd name="connsiteY56" fmla="*/ 44349 h 192206"/>
                  <a:gd name="connsiteX57" fmla="*/ 48669 w 319346"/>
                  <a:gd name="connsiteY57" fmla="*/ 42585 h 192206"/>
                  <a:gd name="connsiteX58" fmla="*/ 42233 w 319346"/>
                  <a:gd name="connsiteY58" fmla="*/ 37912 h 192206"/>
                  <a:gd name="connsiteX59" fmla="*/ 35267 w 319346"/>
                  <a:gd name="connsiteY59" fmla="*/ 32358 h 192206"/>
                  <a:gd name="connsiteX60" fmla="*/ 33240 w 319346"/>
                  <a:gd name="connsiteY60" fmla="*/ 24511 h 192206"/>
                  <a:gd name="connsiteX61" fmla="*/ 29977 w 319346"/>
                  <a:gd name="connsiteY61" fmla="*/ 23100 h 192206"/>
                  <a:gd name="connsiteX62" fmla="*/ 29713 w 319346"/>
                  <a:gd name="connsiteY62" fmla="*/ 21337 h 192206"/>
                  <a:gd name="connsiteX63" fmla="*/ 25657 w 319346"/>
                  <a:gd name="connsiteY63" fmla="*/ 19309 h 192206"/>
                  <a:gd name="connsiteX64" fmla="*/ 12785 w 319346"/>
                  <a:gd name="connsiteY64" fmla="*/ 22747 h 192206"/>
                  <a:gd name="connsiteX65" fmla="*/ 11109 w 319346"/>
                  <a:gd name="connsiteY65" fmla="*/ 29184 h 192206"/>
                  <a:gd name="connsiteX66" fmla="*/ 11903 w 319346"/>
                  <a:gd name="connsiteY66" fmla="*/ 30594 h 192206"/>
                  <a:gd name="connsiteX67" fmla="*/ 14548 w 319346"/>
                  <a:gd name="connsiteY67" fmla="*/ 31829 h 192206"/>
                  <a:gd name="connsiteX68" fmla="*/ 16311 w 319346"/>
                  <a:gd name="connsiteY68" fmla="*/ 39147 h 192206"/>
                  <a:gd name="connsiteX69" fmla="*/ 17193 w 319346"/>
                  <a:gd name="connsiteY69" fmla="*/ 42585 h 192206"/>
                  <a:gd name="connsiteX70" fmla="*/ 15429 w 319346"/>
                  <a:gd name="connsiteY70" fmla="*/ 45230 h 192206"/>
                  <a:gd name="connsiteX71" fmla="*/ 14900 w 319346"/>
                  <a:gd name="connsiteY71" fmla="*/ 45230 h 192206"/>
                  <a:gd name="connsiteX72" fmla="*/ 13402 w 319346"/>
                  <a:gd name="connsiteY72" fmla="*/ 39676 h 192206"/>
                  <a:gd name="connsiteX73" fmla="*/ 8112 w 319346"/>
                  <a:gd name="connsiteY73" fmla="*/ 38265 h 192206"/>
                  <a:gd name="connsiteX74" fmla="*/ 6966 w 319346"/>
                  <a:gd name="connsiteY74" fmla="*/ 33592 h 192206"/>
                  <a:gd name="connsiteX75" fmla="*/ 5819 w 319346"/>
                  <a:gd name="connsiteY75" fmla="*/ 30947 h 192206"/>
                  <a:gd name="connsiteX76" fmla="*/ 2910 w 319346"/>
                  <a:gd name="connsiteY76" fmla="*/ 28302 h 192206"/>
                  <a:gd name="connsiteX77" fmla="*/ 794 w 319346"/>
                  <a:gd name="connsiteY77" fmla="*/ 22747 h 192206"/>
                  <a:gd name="connsiteX78" fmla="*/ 0 w 319346"/>
                  <a:gd name="connsiteY78" fmla="*/ 17810 h 192206"/>
                  <a:gd name="connsiteX79" fmla="*/ 4938 w 319346"/>
                  <a:gd name="connsiteY79" fmla="*/ 15782 h 192206"/>
                  <a:gd name="connsiteX80" fmla="*/ 12785 w 319346"/>
                  <a:gd name="connsiteY80" fmla="*/ 14900 h 192206"/>
                  <a:gd name="connsiteX81" fmla="*/ 17810 w 319346"/>
                  <a:gd name="connsiteY81" fmla="*/ 11726 h 192206"/>
                  <a:gd name="connsiteX82" fmla="*/ 26539 w 319346"/>
                  <a:gd name="connsiteY82" fmla="*/ 12255 h 192206"/>
                  <a:gd name="connsiteX83" fmla="*/ 34651 w 319346"/>
                  <a:gd name="connsiteY83" fmla="*/ 8464 h 192206"/>
                  <a:gd name="connsiteX84" fmla="*/ 39059 w 319346"/>
                  <a:gd name="connsiteY84" fmla="*/ 5555 h 192206"/>
                  <a:gd name="connsiteX85" fmla="*/ 43467 w 319346"/>
                  <a:gd name="connsiteY85" fmla="*/ 9081 h 192206"/>
                  <a:gd name="connsiteX86" fmla="*/ 48405 w 319346"/>
                  <a:gd name="connsiteY86" fmla="*/ 14283 h 192206"/>
                  <a:gd name="connsiteX87" fmla="*/ 55635 w 319346"/>
                  <a:gd name="connsiteY87" fmla="*/ 19838 h 192206"/>
                  <a:gd name="connsiteX88" fmla="*/ 57133 w 319346"/>
                  <a:gd name="connsiteY88" fmla="*/ 24775 h 192206"/>
                  <a:gd name="connsiteX89" fmla="*/ 63834 w 319346"/>
                  <a:gd name="connsiteY89" fmla="*/ 33592 h 192206"/>
                  <a:gd name="connsiteX90" fmla="*/ 68860 w 319346"/>
                  <a:gd name="connsiteY90" fmla="*/ 35355 h 192206"/>
                  <a:gd name="connsiteX91" fmla="*/ 73180 w 319346"/>
                  <a:gd name="connsiteY91" fmla="*/ 32358 h 192206"/>
                  <a:gd name="connsiteX92" fmla="*/ 78999 w 319346"/>
                  <a:gd name="connsiteY92" fmla="*/ 33857 h 192206"/>
                  <a:gd name="connsiteX93" fmla="*/ 90726 w 319346"/>
                  <a:gd name="connsiteY93" fmla="*/ 32975 h 192206"/>
                  <a:gd name="connsiteX94" fmla="*/ 96544 w 319346"/>
                  <a:gd name="connsiteY94" fmla="*/ 34738 h 192206"/>
                  <a:gd name="connsiteX95" fmla="*/ 93900 w 319346"/>
                  <a:gd name="connsiteY95" fmla="*/ 26010 h 192206"/>
                  <a:gd name="connsiteX96" fmla="*/ 93018 w 319346"/>
                  <a:gd name="connsiteY96" fmla="*/ 20984 h 192206"/>
                  <a:gd name="connsiteX97" fmla="*/ 94781 w 319346"/>
                  <a:gd name="connsiteY97" fmla="*/ 17545 h 192206"/>
                  <a:gd name="connsiteX98" fmla="*/ 103774 w 319346"/>
                  <a:gd name="connsiteY98" fmla="*/ 16664 h 192206"/>
                  <a:gd name="connsiteX99" fmla="*/ 110563 w 319346"/>
                  <a:gd name="connsiteY99" fmla="*/ 11109 h 192206"/>
                  <a:gd name="connsiteX100" fmla="*/ 116911 w 319346"/>
                  <a:gd name="connsiteY100" fmla="*/ 8464 h 192206"/>
                  <a:gd name="connsiteX101" fmla="*/ 115501 w 319346"/>
                  <a:gd name="connsiteY101" fmla="*/ 0 h 192206"/>
                  <a:gd name="connsiteX102" fmla="*/ 121937 w 319346"/>
                  <a:gd name="connsiteY102" fmla="*/ 0 h 192206"/>
                  <a:gd name="connsiteX103" fmla="*/ 132694 w 319346"/>
                  <a:gd name="connsiteY103" fmla="*/ 0 h 192206"/>
                  <a:gd name="connsiteX104" fmla="*/ 136749 w 319346"/>
                  <a:gd name="connsiteY104" fmla="*/ 6701 h 192206"/>
                  <a:gd name="connsiteX105" fmla="*/ 149005 w 319346"/>
                  <a:gd name="connsiteY105" fmla="*/ 6701 h 192206"/>
                  <a:gd name="connsiteX106" fmla="*/ 158703 w 319346"/>
                  <a:gd name="connsiteY106" fmla="*/ 21337 h 192206"/>
                  <a:gd name="connsiteX107" fmla="*/ 157733 w 319346"/>
                  <a:gd name="connsiteY107" fmla="*/ 28037 h 192206"/>
                  <a:gd name="connsiteX108" fmla="*/ 158703 w 319346"/>
                  <a:gd name="connsiteY108" fmla="*/ 31829 h 192206"/>
                  <a:gd name="connsiteX109" fmla="*/ 179335 w 319346"/>
                  <a:gd name="connsiteY109" fmla="*/ 37031 h 192206"/>
                  <a:gd name="connsiteX110" fmla="*/ 186917 w 319346"/>
                  <a:gd name="connsiteY110" fmla="*/ 37031 h 192206"/>
                  <a:gd name="connsiteX111" fmla="*/ 189298 w 319346"/>
                  <a:gd name="connsiteY111" fmla="*/ 37031 h 192206"/>
                  <a:gd name="connsiteX112" fmla="*/ 194764 w 319346"/>
                  <a:gd name="connsiteY112" fmla="*/ 37031 h 192206"/>
                  <a:gd name="connsiteX113" fmla="*/ 204198 w 319346"/>
                  <a:gd name="connsiteY113" fmla="*/ 53430 h 192206"/>
                  <a:gd name="connsiteX114" fmla="*/ 212574 w 319346"/>
                  <a:gd name="connsiteY114" fmla="*/ 59778 h 192206"/>
                  <a:gd name="connsiteX115" fmla="*/ 213456 w 319346"/>
                  <a:gd name="connsiteY115" fmla="*/ 63305 h 192206"/>
                  <a:gd name="connsiteX116" fmla="*/ 225711 w 319346"/>
                  <a:gd name="connsiteY116" fmla="*/ 72651 h 192206"/>
                  <a:gd name="connsiteX117" fmla="*/ 243257 w 319346"/>
                  <a:gd name="connsiteY117" fmla="*/ 80762 h 192206"/>
                  <a:gd name="connsiteX118" fmla="*/ 257276 w 319346"/>
                  <a:gd name="connsiteY118" fmla="*/ 93370 h 192206"/>
                  <a:gd name="connsiteX119" fmla="*/ 263095 w 319346"/>
                  <a:gd name="connsiteY119" fmla="*/ 93370 h 192206"/>
                  <a:gd name="connsiteX120" fmla="*/ 290780 w 319346"/>
                  <a:gd name="connsiteY120" fmla="*/ 107654 h 192206"/>
                  <a:gd name="connsiteX121" fmla="*/ 293425 w 319346"/>
                  <a:gd name="connsiteY121" fmla="*/ 111092 h 192206"/>
                  <a:gd name="connsiteX122" fmla="*/ 298979 w 319346"/>
                  <a:gd name="connsiteY122" fmla="*/ 111092 h 192206"/>
                  <a:gd name="connsiteX123" fmla="*/ 315819 w 319346"/>
                  <a:gd name="connsiteY123" fmla="*/ 114972 h 192206"/>
                  <a:gd name="connsiteX124" fmla="*/ 319346 w 319346"/>
                  <a:gd name="connsiteY124" fmla="*/ 116999 h 192206"/>
                  <a:gd name="connsiteX125" fmla="*/ 316172 w 319346"/>
                  <a:gd name="connsiteY125" fmla="*/ 120173 h 192206"/>
                  <a:gd name="connsiteX126" fmla="*/ 313792 w 319346"/>
                  <a:gd name="connsiteY126" fmla="*/ 123965 h 192206"/>
                  <a:gd name="connsiteX127" fmla="*/ 316789 w 319346"/>
                  <a:gd name="connsiteY127" fmla="*/ 132164 h 192206"/>
                  <a:gd name="connsiteX128" fmla="*/ 317054 w 319346"/>
                  <a:gd name="connsiteY128" fmla="*/ 138248 h 192206"/>
                  <a:gd name="connsiteX129" fmla="*/ 311499 w 319346"/>
                  <a:gd name="connsiteY129" fmla="*/ 138601 h 192206"/>
                  <a:gd name="connsiteX130" fmla="*/ 298362 w 319346"/>
                  <a:gd name="connsiteY130" fmla="*/ 131283 h 192206"/>
                  <a:gd name="connsiteX131" fmla="*/ 297481 w 319346"/>
                  <a:gd name="connsiteY131" fmla="*/ 132429 h 192206"/>
                  <a:gd name="connsiteX132" fmla="*/ 296863 w 319346"/>
                  <a:gd name="connsiteY132" fmla="*/ 137719 h 192206"/>
                  <a:gd name="connsiteX133" fmla="*/ 296334 w 319346"/>
                  <a:gd name="connsiteY133" fmla="*/ 139747 h 192206"/>
                  <a:gd name="connsiteX134" fmla="*/ 286371 w 319346"/>
                  <a:gd name="connsiteY134" fmla="*/ 139747 h 192206"/>
                  <a:gd name="connsiteX135" fmla="*/ 281698 w 319346"/>
                  <a:gd name="connsiteY135" fmla="*/ 143803 h 192206"/>
                  <a:gd name="connsiteX136" fmla="*/ 282580 w 319346"/>
                  <a:gd name="connsiteY136" fmla="*/ 147858 h 192206"/>
                  <a:gd name="connsiteX137" fmla="*/ 281169 w 319346"/>
                  <a:gd name="connsiteY137" fmla="*/ 154912 h 192206"/>
                  <a:gd name="connsiteX138" fmla="*/ 282315 w 319346"/>
                  <a:gd name="connsiteY138" fmla="*/ 160731 h 192206"/>
                  <a:gd name="connsiteX139" fmla="*/ 280288 w 319346"/>
                  <a:gd name="connsiteY139" fmla="*/ 164258 h 192206"/>
                  <a:gd name="connsiteX140" fmla="*/ 277643 w 319346"/>
                  <a:gd name="connsiteY140" fmla="*/ 165668 h 192206"/>
                  <a:gd name="connsiteX141" fmla="*/ 276761 w 319346"/>
                  <a:gd name="connsiteY141" fmla="*/ 167696 h 192206"/>
                  <a:gd name="connsiteX142" fmla="*/ 274997 w 319346"/>
                  <a:gd name="connsiteY142" fmla="*/ 166550 h 192206"/>
                  <a:gd name="connsiteX143" fmla="*/ 271559 w 319346"/>
                  <a:gd name="connsiteY143" fmla="*/ 167696 h 192206"/>
                  <a:gd name="connsiteX144" fmla="*/ 271559 w 319346"/>
                  <a:gd name="connsiteY144" fmla="*/ 170606 h 192206"/>
                  <a:gd name="connsiteX145" fmla="*/ 262742 w 319346"/>
                  <a:gd name="connsiteY145" fmla="*/ 171223 h 192206"/>
                  <a:gd name="connsiteX146" fmla="*/ 257540 w 319346"/>
                  <a:gd name="connsiteY146" fmla="*/ 174133 h 192206"/>
                  <a:gd name="connsiteX147" fmla="*/ 254014 w 319346"/>
                  <a:gd name="connsiteY147" fmla="*/ 173868 h 192206"/>
                  <a:gd name="connsiteX148" fmla="*/ 254895 w 319346"/>
                  <a:gd name="connsiteY148" fmla="*/ 176778 h 192206"/>
                  <a:gd name="connsiteX149" fmla="*/ 258069 w 319346"/>
                  <a:gd name="connsiteY149" fmla="*/ 178541 h 192206"/>
                  <a:gd name="connsiteX150" fmla="*/ 254895 w 319346"/>
                  <a:gd name="connsiteY150" fmla="*/ 180569 h 192206"/>
                  <a:gd name="connsiteX151" fmla="*/ 256041 w 319346"/>
                  <a:gd name="connsiteY151" fmla="*/ 185242 h 192206"/>
                  <a:gd name="connsiteX152" fmla="*/ 246431 w 319346"/>
                  <a:gd name="connsiteY152" fmla="*/ 190444 h 192206"/>
                  <a:gd name="connsiteX153" fmla="*/ 243786 w 319346"/>
                  <a:gd name="connsiteY153" fmla="*/ 188416 h 192206"/>
                  <a:gd name="connsiteX154" fmla="*/ 240347 w 319346"/>
                  <a:gd name="connsiteY154" fmla="*/ 192207 h 192206"/>
                  <a:gd name="connsiteX155" fmla="*/ 239466 w 319346"/>
                  <a:gd name="connsiteY155" fmla="*/ 188416 h 192206"/>
                  <a:gd name="connsiteX156" fmla="*/ 233294 w 319346"/>
                  <a:gd name="connsiteY156" fmla="*/ 184977 h 192206"/>
                  <a:gd name="connsiteX157" fmla="*/ 224565 w 319346"/>
                  <a:gd name="connsiteY157" fmla="*/ 184977 h 192206"/>
                  <a:gd name="connsiteX158" fmla="*/ 219892 w 319346"/>
                  <a:gd name="connsiteY158" fmla="*/ 181098 h 192206"/>
                  <a:gd name="connsiteX159" fmla="*/ 219892 w 319346"/>
                  <a:gd name="connsiteY159" fmla="*/ 180569 h 192206"/>
                  <a:gd name="connsiteX160" fmla="*/ 216983 w 319346"/>
                  <a:gd name="connsiteY160" fmla="*/ 180569 h 192206"/>
                  <a:gd name="connsiteX161" fmla="*/ 216983 w 319346"/>
                  <a:gd name="connsiteY161" fmla="*/ 181098 h 192206"/>
                  <a:gd name="connsiteX162" fmla="*/ 216101 w 319346"/>
                  <a:gd name="connsiteY162" fmla="*/ 190444 h 192206"/>
                  <a:gd name="connsiteX163" fmla="*/ 216101 w 319346"/>
                  <a:gd name="connsiteY163" fmla="*/ 191061 h 192206"/>
                  <a:gd name="connsiteX164" fmla="*/ 216983 w 319346"/>
                  <a:gd name="connsiteY164" fmla="*/ 192207 h 192206"/>
                  <a:gd name="connsiteX165" fmla="*/ 216101 w 319346"/>
                  <a:gd name="connsiteY165" fmla="*/ 191325 h 192206"/>
                  <a:gd name="connsiteX166" fmla="*/ 216101 w 319346"/>
                  <a:gd name="connsiteY166" fmla="*/ 190444 h 192206"/>
                  <a:gd name="connsiteX167" fmla="*/ 216101 w 319346"/>
                  <a:gd name="connsiteY167" fmla="*/ 191061 h 192206"/>
                  <a:gd name="connsiteX168" fmla="*/ 216983 w 319346"/>
                  <a:gd name="connsiteY168" fmla="*/ 192207 h 192206"/>
                  <a:gd name="connsiteX169" fmla="*/ 216101 w 319346"/>
                  <a:gd name="connsiteY169" fmla="*/ 191325 h 192206"/>
                  <a:gd name="connsiteX170" fmla="*/ 216101 w 319346"/>
                  <a:gd name="connsiteY170" fmla="*/ 190444 h 192206"/>
                  <a:gd name="connsiteX171" fmla="*/ 216983 w 319346"/>
                  <a:gd name="connsiteY171" fmla="*/ 181098 h 192206"/>
                  <a:gd name="connsiteX172" fmla="*/ 216366 w 319346"/>
                  <a:gd name="connsiteY172" fmla="*/ 178541 h 192206"/>
                  <a:gd name="connsiteX173" fmla="*/ 215837 w 319346"/>
                  <a:gd name="connsiteY173" fmla="*/ 175014 h 192206"/>
                  <a:gd name="connsiteX174" fmla="*/ 215219 w 319346"/>
                  <a:gd name="connsiteY174" fmla="*/ 172986 h 192206"/>
                  <a:gd name="connsiteX175" fmla="*/ 212927 w 319346"/>
                  <a:gd name="connsiteY175" fmla="*/ 172369 h 192206"/>
                  <a:gd name="connsiteX176" fmla="*/ 212045 w 319346"/>
                  <a:gd name="connsiteY176" fmla="*/ 171223 h 192206"/>
                  <a:gd name="connsiteX177" fmla="*/ 212574 w 319346"/>
                  <a:gd name="connsiteY177" fmla="*/ 170606 h 192206"/>
                  <a:gd name="connsiteX178" fmla="*/ 212310 w 319346"/>
                  <a:gd name="connsiteY178" fmla="*/ 170077 h 192206"/>
                  <a:gd name="connsiteX179" fmla="*/ 212310 w 319346"/>
                  <a:gd name="connsiteY179" fmla="*/ 169460 h 192206"/>
                  <a:gd name="connsiteX180" fmla="*/ 214073 w 319346"/>
                  <a:gd name="connsiteY180" fmla="*/ 167696 h 192206"/>
                  <a:gd name="connsiteX181" fmla="*/ 211163 w 319346"/>
                  <a:gd name="connsiteY181" fmla="*/ 163905 h 192206"/>
                  <a:gd name="connsiteX182" fmla="*/ 210811 w 319346"/>
                  <a:gd name="connsiteY182" fmla="*/ 163376 h 192206"/>
                  <a:gd name="connsiteX183" fmla="*/ 210282 w 319346"/>
                  <a:gd name="connsiteY183" fmla="*/ 160731 h 192206"/>
                  <a:gd name="connsiteX184" fmla="*/ 210282 w 319346"/>
                  <a:gd name="connsiteY184" fmla="*/ 160466 h 192206"/>
                  <a:gd name="connsiteX185" fmla="*/ 210017 w 319346"/>
                  <a:gd name="connsiteY185" fmla="*/ 158703 h 192206"/>
                  <a:gd name="connsiteX186" fmla="*/ 209400 w 319346"/>
                  <a:gd name="connsiteY186" fmla="*/ 156940 h 192206"/>
                  <a:gd name="connsiteX187" fmla="*/ 208783 w 319346"/>
                  <a:gd name="connsiteY187" fmla="*/ 154030 h 192206"/>
                  <a:gd name="connsiteX188" fmla="*/ 193618 w 319346"/>
                  <a:gd name="connsiteY188" fmla="*/ 154030 h 192206"/>
                  <a:gd name="connsiteX189" fmla="*/ 191061 w 319346"/>
                  <a:gd name="connsiteY189" fmla="*/ 154030 h 192206"/>
                  <a:gd name="connsiteX190" fmla="*/ 190708 w 319346"/>
                  <a:gd name="connsiteY190" fmla="*/ 153413 h 192206"/>
                  <a:gd name="connsiteX191" fmla="*/ 190444 w 319346"/>
                  <a:gd name="connsiteY191" fmla="*/ 152267 h 192206"/>
                  <a:gd name="connsiteX192" fmla="*/ 187270 w 319346"/>
                  <a:gd name="connsiteY192" fmla="*/ 149357 h 192206"/>
                  <a:gd name="connsiteX193" fmla="*/ 183126 w 319346"/>
                  <a:gd name="connsiteY193" fmla="*/ 144949 h 192206"/>
                  <a:gd name="connsiteX194" fmla="*/ 182244 w 319346"/>
                  <a:gd name="connsiteY194" fmla="*/ 144949 h 192206"/>
                  <a:gd name="connsiteX195" fmla="*/ 179335 w 319346"/>
                  <a:gd name="connsiteY195" fmla="*/ 143185 h 192206"/>
                  <a:gd name="connsiteX196" fmla="*/ 177307 w 319346"/>
                  <a:gd name="connsiteY196" fmla="*/ 143185 h 192206"/>
                  <a:gd name="connsiteX197" fmla="*/ 176425 w 319346"/>
                  <a:gd name="connsiteY197" fmla="*/ 142392 h 192206"/>
                  <a:gd name="connsiteX198" fmla="*/ 174133 w 319346"/>
                  <a:gd name="connsiteY198" fmla="*/ 143185 h 192206"/>
                  <a:gd name="connsiteX199" fmla="*/ 173780 w 319346"/>
                  <a:gd name="connsiteY199" fmla="*/ 141510 h 192206"/>
                  <a:gd name="connsiteX200" fmla="*/ 173516 w 319346"/>
                  <a:gd name="connsiteY200" fmla="*/ 140629 h 192206"/>
                  <a:gd name="connsiteX201" fmla="*/ 173780 w 319346"/>
                  <a:gd name="connsiteY201" fmla="*/ 141158 h 192206"/>
                  <a:gd name="connsiteX202" fmla="*/ 170870 w 319346"/>
                  <a:gd name="connsiteY202" fmla="*/ 140629 h 192206"/>
                  <a:gd name="connsiteX203" fmla="*/ 170870 w 319346"/>
                  <a:gd name="connsiteY203" fmla="*/ 139747 h 192206"/>
                  <a:gd name="connsiteX204" fmla="*/ 169724 w 319346"/>
                  <a:gd name="connsiteY204" fmla="*/ 138601 h 192206"/>
                  <a:gd name="connsiteX205" fmla="*/ 168314 w 319346"/>
                  <a:gd name="connsiteY205" fmla="*/ 135691 h 192206"/>
                  <a:gd name="connsiteX206" fmla="*/ 168843 w 319346"/>
                  <a:gd name="connsiteY206" fmla="*/ 135691 h 192206"/>
                  <a:gd name="connsiteX207" fmla="*/ 168578 w 319346"/>
                  <a:gd name="connsiteY207" fmla="*/ 133928 h 192206"/>
                  <a:gd name="connsiteX208" fmla="*/ 165933 w 319346"/>
                  <a:gd name="connsiteY208" fmla="*/ 132429 h 192206"/>
                  <a:gd name="connsiteX209" fmla="*/ 165316 w 319346"/>
                  <a:gd name="connsiteY209" fmla="*/ 132429 h 192206"/>
                  <a:gd name="connsiteX210" fmla="*/ 159497 w 319346"/>
                  <a:gd name="connsiteY210" fmla="*/ 130401 h 192206"/>
                  <a:gd name="connsiteX211" fmla="*/ 158086 w 319346"/>
                  <a:gd name="connsiteY211" fmla="*/ 129519 h 192206"/>
                  <a:gd name="connsiteX212" fmla="*/ 156587 w 319346"/>
                  <a:gd name="connsiteY212" fmla="*/ 129519 h 192206"/>
                  <a:gd name="connsiteX213" fmla="*/ 156323 w 319346"/>
                  <a:gd name="connsiteY213" fmla="*/ 128373 h 192206"/>
                  <a:gd name="connsiteX214" fmla="*/ 155706 w 319346"/>
                  <a:gd name="connsiteY214" fmla="*/ 129519 h 192206"/>
                  <a:gd name="connsiteX215" fmla="*/ 153413 w 319346"/>
                  <a:gd name="connsiteY215" fmla="*/ 129519 h 192206"/>
                  <a:gd name="connsiteX216" fmla="*/ 150151 w 319346"/>
                  <a:gd name="connsiteY216" fmla="*/ 128373 h 192206"/>
                  <a:gd name="connsiteX217" fmla="*/ 149886 w 319346"/>
                  <a:gd name="connsiteY217" fmla="*/ 129519 h 192206"/>
                  <a:gd name="connsiteX218" fmla="*/ 147241 w 319346"/>
                  <a:gd name="connsiteY218" fmla="*/ 130401 h 192206"/>
                  <a:gd name="connsiteX219" fmla="*/ 146360 w 319346"/>
                  <a:gd name="connsiteY219" fmla="*/ 129519 h 192206"/>
                  <a:gd name="connsiteX220" fmla="*/ 143186 w 319346"/>
                  <a:gd name="connsiteY220" fmla="*/ 128902 h 192206"/>
                  <a:gd name="connsiteX221" fmla="*/ 141158 w 319346"/>
                  <a:gd name="connsiteY221" fmla="*/ 126610 h 192206"/>
                  <a:gd name="connsiteX222" fmla="*/ 140893 w 319346"/>
                  <a:gd name="connsiteY222" fmla="*/ 125993 h 192206"/>
                  <a:gd name="connsiteX223" fmla="*/ 137895 w 319346"/>
                  <a:gd name="connsiteY223" fmla="*/ 125993 h 192206"/>
                  <a:gd name="connsiteX224" fmla="*/ 137102 w 319346"/>
                  <a:gd name="connsiteY224" fmla="*/ 125111 h 192206"/>
                  <a:gd name="connsiteX225" fmla="*/ 136485 w 319346"/>
                  <a:gd name="connsiteY225" fmla="*/ 124846 h 192206"/>
                  <a:gd name="connsiteX226" fmla="*/ 134722 w 319346"/>
                  <a:gd name="connsiteY226" fmla="*/ 124846 h 192206"/>
                  <a:gd name="connsiteX227" fmla="*/ 132429 w 319346"/>
                  <a:gd name="connsiteY227" fmla="*/ 123965 h 192206"/>
                  <a:gd name="connsiteX228" fmla="*/ 131812 w 319346"/>
                  <a:gd name="connsiteY228" fmla="*/ 123965 h 192206"/>
                  <a:gd name="connsiteX229" fmla="*/ 131548 w 319346"/>
                  <a:gd name="connsiteY229" fmla="*/ 122818 h 192206"/>
                  <a:gd name="connsiteX230" fmla="*/ 129167 w 319346"/>
                  <a:gd name="connsiteY230" fmla="*/ 123436 h 192206"/>
                  <a:gd name="connsiteX231" fmla="*/ 128638 w 319346"/>
                  <a:gd name="connsiteY231" fmla="*/ 122818 h 192206"/>
                  <a:gd name="connsiteX232" fmla="*/ 127756 w 319346"/>
                  <a:gd name="connsiteY232" fmla="*/ 122818 h 192206"/>
                  <a:gd name="connsiteX233" fmla="*/ 124847 w 319346"/>
                  <a:gd name="connsiteY233" fmla="*/ 122818 h 192206"/>
                  <a:gd name="connsiteX234" fmla="*/ 124229 w 319346"/>
                  <a:gd name="connsiteY234" fmla="*/ 121320 h 192206"/>
                  <a:gd name="connsiteX235" fmla="*/ 123612 w 319346"/>
                  <a:gd name="connsiteY235" fmla="*/ 119027 h 192206"/>
                  <a:gd name="connsiteX236" fmla="*/ 121585 w 319346"/>
                  <a:gd name="connsiteY236" fmla="*/ 117881 h 192206"/>
                  <a:gd name="connsiteX237" fmla="*/ 121320 w 319346"/>
                  <a:gd name="connsiteY237" fmla="*/ 116999 h 192206"/>
                  <a:gd name="connsiteX238" fmla="*/ 121320 w 319346"/>
                  <a:gd name="connsiteY238" fmla="*/ 116647 h 192206"/>
                  <a:gd name="connsiteX239" fmla="*/ 120438 w 319346"/>
                  <a:gd name="connsiteY239" fmla="*/ 116118 h 192206"/>
                  <a:gd name="connsiteX240" fmla="*/ 120174 w 319346"/>
                  <a:gd name="connsiteY240" fmla="*/ 114972 h 192206"/>
                  <a:gd name="connsiteX241" fmla="*/ 119557 w 319346"/>
                  <a:gd name="connsiteY241" fmla="*/ 113473 h 192206"/>
                  <a:gd name="connsiteX242" fmla="*/ 117529 w 319346"/>
                  <a:gd name="connsiteY242" fmla="*/ 113473 h 192206"/>
                  <a:gd name="connsiteX243" fmla="*/ 118058 w 319346"/>
                  <a:gd name="connsiteY243" fmla="*/ 116118 h 192206"/>
                  <a:gd name="connsiteX244" fmla="*/ 115501 w 319346"/>
                  <a:gd name="connsiteY244" fmla="*/ 116647 h 192206"/>
                  <a:gd name="connsiteX245" fmla="*/ 112239 w 319346"/>
                  <a:gd name="connsiteY245" fmla="*/ 116118 h 192206"/>
                  <a:gd name="connsiteX246" fmla="*/ 111710 w 319346"/>
                  <a:gd name="connsiteY246" fmla="*/ 115236 h 192206"/>
                  <a:gd name="connsiteX247" fmla="*/ 108800 w 319346"/>
                  <a:gd name="connsiteY247" fmla="*/ 113473 h 192206"/>
                  <a:gd name="connsiteX248" fmla="*/ 108800 w 319346"/>
                  <a:gd name="connsiteY248" fmla="*/ 114972 h 192206"/>
                  <a:gd name="connsiteX249" fmla="*/ 107037 w 319346"/>
                  <a:gd name="connsiteY249" fmla="*/ 116118 h 192206"/>
                  <a:gd name="connsiteX250" fmla="*/ 105890 w 319346"/>
                  <a:gd name="connsiteY250" fmla="*/ 114972 h 192206"/>
                  <a:gd name="connsiteX251" fmla="*/ 102893 w 319346"/>
                  <a:gd name="connsiteY251" fmla="*/ 114972 h 192206"/>
                  <a:gd name="connsiteX252" fmla="*/ 100953 w 319346"/>
                  <a:gd name="connsiteY252" fmla="*/ 116647 h 192206"/>
                  <a:gd name="connsiteX253" fmla="*/ 101129 w 319346"/>
                  <a:gd name="connsiteY253" fmla="*/ 116999 h 192206"/>
                  <a:gd name="connsiteX254" fmla="*/ 102893 w 319346"/>
                  <a:gd name="connsiteY254" fmla="*/ 117881 h 192206"/>
                  <a:gd name="connsiteX255" fmla="*/ 101482 w 319346"/>
                  <a:gd name="connsiteY255" fmla="*/ 119027 h 192206"/>
                  <a:gd name="connsiteX256" fmla="*/ 100953 w 319346"/>
                  <a:gd name="connsiteY256" fmla="*/ 119644 h 192206"/>
                  <a:gd name="connsiteX257" fmla="*/ 98573 w 319346"/>
                  <a:gd name="connsiteY257" fmla="*/ 119027 h 192206"/>
                  <a:gd name="connsiteX258" fmla="*/ 95663 w 319346"/>
                  <a:gd name="connsiteY258" fmla="*/ 119644 h 192206"/>
                  <a:gd name="connsiteX259" fmla="*/ 93018 w 319346"/>
                  <a:gd name="connsiteY259" fmla="*/ 119027 h 192206"/>
                  <a:gd name="connsiteX260" fmla="*/ 92753 w 319346"/>
                  <a:gd name="connsiteY260" fmla="*/ 119027 h 192206"/>
                  <a:gd name="connsiteX261" fmla="*/ 91872 w 319346"/>
                  <a:gd name="connsiteY261" fmla="*/ 118410 h 192206"/>
                  <a:gd name="connsiteX262" fmla="*/ 89491 w 319346"/>
                  <a:gd name="connsiteY262" fmla="*/ 117881 h 192206"/>
                  <a:gd name="connsiteX263" fmla="*/ 83672 w 319346"/>
                  <a:gd name="connsiteY263" fmla="*/ 119027 h 192206"/>
                  <a:gd name="connsiteX264" fmla="*/ 83672 w 319346"/>
                  <a:gd name="connsiteY264" fmla="*/ 121055 h 192206"/>
                  <a:gd name="connsiteX265" fmla="*/ 81380 w 319346"/>
                  <a:gd name="connsiteY265" fmla="*/ 121320 h 192206"/>
                  <a:gd name="connsiteX266" fmla="*/ 78735 w 319346"/>
                  <a:gd name="connsiteY266" fmla="*/ 122201 h 192206"/>
                  <a:gd name="connsiteX267" fmla="*/ 75825 w 319346"/>
                  <a:gd name="connsiteY267" fmla="*/ 125993 h 192206"/>
                  <a:gd name="connsiteX268" fmla="*/ 73797 w 319346"/>
                  <a:gd name="connsiteY268" fmla="*/ 126874 h 192206"/>
                  <a:gd name="connsiteX269" fmla="*/ 72034 w 319346"/>
                  <a:gd name="connsiteY269" fmla="*/ 129519 h 192206"/>
                  <a:gd name="connsiteX270" fmla="*/ 74679 w 319346"/>
                  <a:gd name="connsiteY270" fmla="*/ 131283 h 192206"/>
                  <a:gd name="connsiteX271" fmla="*/ 72651 w 319346"/>
                  <a:gd name="connsiteY271" fmla="*/ 132429 h 192206"/>
                  <a:gd name="connsiteX272" fmla="*/ 72298 w 319346"/>
                  <a:gd name="connsiteY272" fmla="*/ 134192 h 192206"/>
                  <a:gd name="connsiteX273" fmla="*/ 68860 w 319346"/>
                  <a:gd name="connsiteY273" fmla="*/ 134192 h 192206"/>
                  <a:gd name="connsiteX274" fmla="*/ 65597 w 319346"/>
                  <a:gd name="connsiteY274" fmla="*/ 137719 h 192206"/>
                  <a:gd name="connsiteX275" fmla="*/ 63834 w 319346"/>
                  <a:gd name="connsiteY275" fmla="*/ 136837 h 192206"/>
                  <a:gd name="connsiteX276" fmla="*/ 63570 w 319346"/>
                  <a:gd name="connsiteY276" fmla="*/ 137983 h 192206"/>
                  <a:gd name="connsiteX277" fmla="*/ 55987 w 319346"/>
                  <a:gd name="connsiteY277" fmla="*/ 137719 h 192206"/>
                  <a:gd name="connsiteX278" fmla="*/ 55635 w 319346"/>
                  <a:gd name="connsiteY278" fmla="*/ 136837 h 192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</a:cxnLst>
                <a:rect l="l" t="t" r="r" b="b"/>
                <a:pathLst>
                  <a:path w="319346" h="192206">
                    <a:moveTo>
                      <a:pt x="56251" y="131283"/>
                    </a:moveTo>
                    <a:lnTo>
                      <a:pt x="52460" y="123965"/>
                    </a:lnTo>
                    <a:lnTo>
                      <a:pt x="50168" y="115236"/>
                    </a:lnTo>
                    <a:lnTo>
                      <a:pt x="49022" y="107654"/>
                    </a:lnTo>
                    <a:lnTo>
                      <a:pt x="50168" y="98925"/>
                    </a:lnTo>
                    <a:lnTo>
                      <a:pt x="49286" y="97691"/>
                    </a:lnTo>
                    <a:lnTo>
                      <a:pt x="46641" y="96280"/>
                    </a:lnTo>
                    <a:lnTo>
                      <a:pt x="42850" y="94517"/>
                    </a:lnTo>
                    <a:lnTo>
                      <a:pt x="41968" y="90725"/>
                    </a:lnTo>
                    <a:lnTo>
                      <a:pt x="41704" y="90725"/>
                    </a:lnTo>
                    <a:lnTo>
                      <a:pt x="38794" y="88697"/>
                    </a:lnTo>
                    <a:lnTo>
                      <a:pt x="33240" y="88962"/>
                    </a:lnTo>
                    <a:lnTo>
                      <a:pt x="33504" y="91607"/>
                    </a:lnTo>
                    <a:lnTo>
                      <a:pt x="29713" y="87199"/>
                    </a:lnTo>
                    <a:lnTo>
                      <a:pt x="31741" y="81379"/>
                    </a:lnTo>
                    <a:lnTo>
                      <a:pt x="32358" y="84289"/>
                    </a:lnTo>
                    <a:lnTo>
                      <a:pt x="35003" y="84289"/>
                    </a:lnTo>
                    <a:lnTo>
                      <a:pt x="38177" y="84906"/>
                    </a:lnTo>
                    <a:lnTo>
                      <a:pt x="40822" y="84906"/>
                    </a:lnTo>
                    <a:lnTo>
                      <a:pt x="37913" y="84289"/>
                    </a:lnTo>
                    <a:lnTo>
                      <a:pt x="40205" y="82261"/>
                    </a:lnTo>
                    <a:lnTo>
                      <a:pt x="37031" y="80498"/>
                    </a:lnTo>
                    <a:lnTo>
                      <a:pt x="34651" y="80498"/>
                    </a:lnTo>
                    <a:lnTo>
                      <a:pt x="35797" y="74943"/>
                    </a:lnTo>
                    <a:lnTo>
                      <a:pt x="32622" y="71769"/>
                    </a:lnTo>
                    <a:lnTo>
                      <a:pt x="29977" y="72386"/>
                    </a:lnTo>
                    <a:lnTo>
                      <a:pt x="27068" y="72386"/>
                    </a:lnTo>
                    <a:lnTo>
                      <a:pt x="26804" y="73268"/>
                    </a:lnTo>
                    <a:lnTo>
                      <a:pt x="23630" y="71505"/>
                    </a:lnTo>
                    <a:lnTo>
                      <a:pt x="25393" y="78734"/>
                    </a:lnTo>
                    <a:lnTo>
                      <a:pt x="17810" y="71505"/>
                    </a:lnTo>
                    <a:lnTo>
                      <a:pt x="16576" y="67096"/>
                    </a:lnTo>
                    <a:lnTo>
                      <a:pt x="15694" y="62688"/>
                    </a:lnTo>
                    <a:lnTo>
                      <a:pt x="18075" y="57221"/>
                    </a:lnTo>
                    <a:lnTo>
                      <a:pt x="17810" y="55458"/>
                    </a:lnTo>
                    <a:lnTo>
                      <a:pt x="18604" y="49903"/>
                    </a:lnTo>
                    <a:lnTo>
                      <a:pt x="18956" y="49903"/>
                    </a:lnTo>
                    <a:lnTo>
                      <a:pt x="22130" y="51667"/>
                    </a:lnTo>
                    <a:lnTo>
                      <a:pt x="24159" y="51667"/>
                    </a:lnTo>
                    <a:lnTo>
                      <a:pt x="25393" y="51667"/>
                    </a:lnTo>
                    <a:lnTo>
                      <a:pt x="28302" y="51667"/>
                    </a:lnTo>
                    <a:lnTo>
                      <a:pt x="31476" y="55193"/>
                    </a:lnTo>
                    <a:lnTo>
                      <a:pt x="30330" y="49903"/>
                    </a:lnTo>
                    <a:lnTo>
                      <a:pt x="32975" y="49903"/>
                    </a:lnTo>
                    <a:lnTo>
                      <a:pt x="34651" y="57221"/>
                    </a:lnTo>
                    <a:lnTo>
                      <a:pt x="40822" y="56869"/>
                    </a:lnTo>
                    <a:lnTo>
                      <a:pt x="45230" y="54312"/>
                    </a:lnTo>
                    <a:lnTo>
                      <a:pt x="46377" y="55193"/>
                    </a:lnTo>
                    <a:lnTo>
                      <a:pt x="49022" y="54312"/>
                    </a:lnTo>
                    <a:lnTo>
                      <a:pt x="46024" y="53695"/>
                    </a:lnTo>
                    <a:lnTo>
                      <a:pt x="45230" y="49903"/>
                    </a:lnTo>
                    <a:lnTo>
                      <a:pt x="47170" y="49286"/>
                    </a:lnTo>
                    <a:lnTo>
                      <a:pt x="50168" y="49286"/>
                    </a:lnTo>
                    <a:lnTo>
                      <a:pt x="50697" y="51667"/>
                    </a:lnTo>
                    <a:lnTo>
                      <a:pt x="54224" y="51667"/>
                    </a:lnTo>
                    <a:lnTo>
                      <a:pt x="53342" y="48140"/>
                    </a:lnTo>
                    <a:lnTo>
                      <a:pt x="52460" y="44349"/>
                    </a:lnTo>
                    <a:lnTo>
                      <a:pt x="48669" y="42585"/>
                    </a:lnTo>
                    <a:lnTo>
                      <a:pt x="42233" y="37912"/>
                    </a:lnTo>
                    <a:lnTo>
                      <a:pt x="35267" y="32358"/>
                    </a:lnTo>
                    <a:lnTo>
                      <a:pt x="33240" y="24511"/>
                    </a:lnTo>
                    <a:lnTo>
                      <a:pt x="29977" y="23100"/>
                    </a:lnTo>
                    <a:lnTo>
                      <a:pt x="29713" y="21337"/>
                    </a:lnTo>
                    <a:lnTo>
                      <a:pt x="25657" y="19309"/>
                    </a:lnTo>
                    <a:lnTo>
                      <a:pt x="12785" y="22747"/>
                    </a:lnTo>
                    <a:lnTo>
                      <a:pt x="11109" y="29184"/>
                    </a:lnTo>
                    <a:lnTo>
                      <a:pt x="11903" y="30594"/>
                    </a:lnTo>
                    <a:lnTo>
                      <a:pt x="14548" y="31829"/>
                    </a:lnTo>
                    <a:lnTo>
                      <a:pt x="16311" y="39147"/>
                    </a:lnTo>
                    <a:lnTo>
                      <a:pt x="17193" y="42585"/>
                    </a:lnTo>
                    <a:lnTo>
                      <a:pt x="15429" y="45230"/>
                    </a:lnTo>
                    <a:lnTo>
                      <a:pt x="14900" y="45230"/>
                    </a:lnTo>
                    <a:lnTo>
                      <a:pt x="13402" y="39676"/>
                    </a:lnTo>
                    <a:lnTo>
                      <a:pt x="8112" y="38265"/>
                    </a:lnTo>
                    <a:lnTo>
                      <a:pt x="6966" y="33592"/>
                    </a:lnTo>
                    <a:lnTo>
                      <a:pt x="5819" y="30947"/>
                    </a:lnTo>
                    <a:lnTo>
                      <a:pt x="2910" y="28302"/>
                    </a:lnTo>
                    <a:lnTo>
                      <a:pt x="794" y="22747"/>
                    </a:lnTo>
                    <a:lnTo>
                      <a:pt x="0" y="17810"/>
                    </a:lnTo>
                    <a:lnTo>
                      <a:pt x="4938" y="15782"/>
                    </a:lnTo>
                    <a:lnTo>
                      <a:pt x="12785" y="14900"/>
                    </a:lnTo>
                    <a:lnTo>
                      <a:pt x="17810" y="11726"/>
                    </a:lnTo>
                    <a:lnTo>
                      <a:pt x="26539" y="12255"/>
                    </a:lnTo>
                    <a:lnTo>
                      <a:pt x="34651" y="8464"/>
                    </a:lnTo>
                    <a:lnTo>
                      <a:pt x="39059" y="5555"/>
                    </a:lnTo>
                    <a:lnTo>
                      <a:pt x="43467" y="9081"/>
                    </a:lnTo>
                    <a:lnTo>
                      <a:pt x="48405" y="14283"/>
                    </a:lnTo>
                    <a:lnTo>
                      <a:pt x="55635" y="19838"/>
                    </a:lnTo>
                    <a:lnTo>
                      <a:pt x="57133" y="24775"/>
                    </a:lnTo>
                    <a:lnTo>
                      <a:pt x="63834" y="33592"/>
                    </a:lnTo>
                    <a:lnTo>
                      <a:pt x="68860" y="35355"/>
                    </a:lnTo>
                    <a:lnTo>
                      <a:pt x="73180" y="32358"/>
                    </a:lnTo>
                    <a:lnTo>
                      <a:pt x="78999" y="33857"/>
                    </a:lnTo>
                    <a:lnTo>
                      <a:pt x="90726" y="32975"/>
                    </a:lnTo>
                    <a:lnTo>
                      <a:pt x="96544" y="34738"/>
                    </a:lnTo>
                    <a:lnTo>
                      <a:pt x="93900" y="26010"/>
                    </a:lnTo>
                    <a:lnTo>
                      <a:pt x="93018" y="20984"/>
                    </a:lnTo>
                    <a:lnTo>
                      <a:pt x="94781" y="17545"/>
                    </a:lnTo>
                    <a:lnTo>
                      <a:pt x="103774" y="16664"/>
                    </a:lnTo>
                    <a:lnTo>
                      <a:pt x="110563" y="11109"/>
                    </a:lnTo>
                    <a:lnTo>
                      <a:pt x="116911" y="8464"/>
                    </a:lnTo>
                    <a:lnTo>
                      <a:pt x="115501" y="0"/>
                    </a:lnTo>
                    <a:lnTo>
                      <a:pt x="121937" y="0"/>
                    </a:lnTo>
                    <a:lnTo>
                      <a:pt x="132694" y="0"/>
                    </a:lnTo>
                    <a:lnTo>
                      <a:pt x="136749" y="6701"/>
                    </a:lnTo>
                    <a:lnTo>
                      <a:pt x="149005" y="6701"/>
                    </a:lnTo>
                    <a:lnTo>
                      <a:pt x="158703" y="21337"/>
                    </a:lnTo>
                    <a:lnTo>
                      <a:pt x="157733" y="28037"/>
                    </a:lnTo>
                    <a:lnTo>
                      <a:pt x="158703" y="31829"/>
                    </a:lnTo>
                    <a:lnTo>
                      <a:pt x="179335" y="37031"/>
                    </a:lnTo>
                    <a:lnTo>
                      <a:pt x="186917" y="37031"/>
                    </a:lnTo>
                    <a:lnTo>
                      <a:pt x="189298" y="37031"/>
                    </a:lnTo>
                    <a:lnTo>
                      <a:pt x="194764" y="37031"/>
                    </a:lnTo>
                    <a:lnTo>
                      <a:pt x="204198" y="53430"/>
                    </a:lnTo>
                    <a:lnTo>
                      <a:pt x="212574" y="59778"/>
                    </a:lnTo>
                    <a:lnTo>
                      <a:pt x="213456" y="63305"/>
                    </a:lnTo>
                    <a:lnTo>
                      <a:pt x="225711" y="72651"/>
                    </a:lnTo>
                    <a:lnTo>
                      <a:pt x="243257" y="80762"/>
                    </a:lnTo>
                    <a:lnTo>
                      <a:pt x="257276" y="93370"/>
                    </a:lnTo>
                    <a:lnTo>
                      <a:pt x="263095" y="93370"/>
                    </a:lnTo>
                    <a:lnTo>
                      <a:pt x="290780" y="107654"/>
                    </a:lnTo>
                    <a:lnTo>
                      <a:pt x="293425" y="111092"/>
                    </a:lnTo>
                    <a:lnTo>
                      <a:pt x="298979" y="111092"/>
                    </a:lnTo>
                    <a:lnTo>
                      <a:pt x="315819" y="114972"/>
                    </a:lnTo>
                    <a:lnTo>
                      <a:pt x="319346" y="116999"/>
                    </a:lnTo>
                    <a:lnTo>
                      <a:pt x="316172" y="120173"/>
                    </a:lnTo>
                    <a:lnTo>
                      <a:pt x="313792" y="123965"/>
                    </a:lnTo>
                    <a:lnTo>
                      <a:pt x="316789" y="132164"/>
                    </a:lnTo>
                    <a:lnTo>
                      <a:pt x="317054" y="138248"/>
                    </a:lnTo>
                    <a:lnTo>
                      <a:pt x="311499" y="138601"/>
                    </a:lnTo>
                    <a:lnTo>
                      <a:pt x="298362" y="131283"/>
                    </a:lnTo>
                    <a:lnTo>
                      <a:pt x="297481" y="132429"/>
                    </a:lnTo>
                    <a:lnTo>
                      <a:pt x="296863" y="137719"/>
                    </a:lnTo>
                    <a:lnTo>
                      <a:pt x="296334" y="139747"/>
                    </a:lnTo>
                    <a:lnTo>
                      <a:pt x="286371" y="139747"/>
                    </a:lnTo>
                    <a:lnTo>
                      <a:pt x="281698" y="143803"/>
                    </a:lnTo>
                    <a:lnTo>
                      <a:pt x="282580" y="147858"/>
                    </a:lnTo>
                    <a:lnTo>
                      <a:pt x="281169" y="154912"/>
                    </a:lnTo>
                    <a:lnTo>
                      <a:pt x="282315" y="160731"/>
                    </a:lnTo>
                    <a:lnTo>
                      <a:pt x="280288" y="164258"/>
                    </a:lnTo>
                    <a:lnTo>
                      <a:pt x="277643" y="165668"/>
                    </a:lnTo>
                    <a:lnTo>
                      <a:pt x="276761" y="167696"/>
                    </a:lnTo>
                    <a:lnTo>
                      <a:pt x="274997" y="166550"/>
                    </a:lnTo>
                    <a:lnTo>
                      <a:pt x="271559" y="167696"/>
                    </a:lnTo>
                    <a:lnTo>
                      <a:pt x="271559" y="170606"/>
                    </a:lnTo>
                    <a:lnTo>
                      <a:pt x="262742" y="171223"/>
                    </a:lnTo>
                    <a:lnTo>
                      <a:pt x="257540" y="174133"/>
                    </a:lnTo>
                    <a:lnTo>
                      <a:pt x="254014" y="173868"/>
                    </a:lnTo>
                    <a:lnTo>
                      <a:pt x="254895" y="176778"/>
                    </a:lnTo>
                    <a:lnTo>
                      <a:pt x="258069" y="178541"/>
                    </a:lnTo>
                    <a:lnTo>
                      <a:pt x="254895" y="180569"/>
                    </a:lnTo>
                    <a:lnTo>
                      <a:pt x="256041" y="185242"/>
                    </a:lnTo>
                    <a:lnTo>
                      <a:pt x="246431" y="190444"/>
                    </a:lnTo>
                    <a:lnTo>
                      <a:pt x="243786" y="188416"/>
                    </a:lnTo>
                    <a:lnTo>
                      <a:pt x="240347" y="192207"/>
                    </a:lnTo>
                    <a:lnTo>
                      <a:pt x="239466" y="188416"/>
                    </a:lnTo>
                    <a:lnTo>
                      <a:pt x="233294" y="184977"/>
                    </a:lnTo>
                    <a:lnTo>
                      <a:pt x="224565" y="184977"/>
                    </a:lnTo>
                    <a:lnTo>
                      <a:pt x="219892" y="181098"/>
                    </a:lnTo>
                    <a:lnTo>
                      <a:pt x="219892" y="180569"/>
                    </a:lnTo>
                    <a:lnTo>
                      <a:pt x="216983" y="180569"/>
                    </a:lnTo>
                    <a:lnTo>
                      <a:pt x="216983" y="181098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983" y="181098"/>
                    </a:lnTo>
                    <a:lnTo>
                      <a:pt x="216366" y="178541"/>
                    </a:lnTo>
                    <a:lnTo>
                      <a:pt x="215837" y="175014"/>
                    </a:lnTo>
                    <a:lnTo>
                      <a:pt x="215219" y="172986"/>
                    </a:lnTo>
                    <a:lnTo>
                      <a:pt x="212927" y="172369"/>
                    </a:lnTo>
                    <a:lnTo>
                      <a:pt x="212045" y="171223"/>
                    </a:lnTo>
                    <a:lnTo>
                      <a:pt x="212574" y="170606"/>
                    </a:lnTo>
                    <a:lnTo>
                      <a:pt x="212310" y="170077"/>
                    </a:lnTo>
                    <a:lnTo>
                      <a:pt x="212310" y="169460"/>
                    </a:lnTo>
                    <a:lnTo>
                      <a:pt x="214073" y="167696"/>
                    </a:lnTo>
                    <a:lnTo>
                      <a:pt x="211163" y="163905"/>
                    </a:lnTo>
                    <a:lnTo>
                      <a:pt x="210811" y="163376"/>
                    </a:lnTo>
                    <a:lnTo>
                      <a:pt x="210282" y="160731"/>
                    </a:lnTo>
                    <a:lnTo>
                      <a:pt x="210282" y="160466"/>
                    </a:lnTo>
                    <a:lnTo>
                      <a:pt x="210017" y="158703"/>
                    </a:lnTo>
                    <a:lnTo>
                      <a:pt x="209400" y="156940"/>
                    </a:lnTo>
                    <a:lnTo>
                      <a:pt x="208783" y="154030"/>
                    </a:lnTo>
                    <a:lnTo>
                      <a:pt x="193618" y="154030"/>
                    </a:lnTo>
                    <a:lnTo>
                      <a:pt x="191061" y="154030"/>
                    </a:lnTo>
                    <a:lnTo>
                      <a:pt x="190708" y="153413"/>
                    </a:lnTo>
                    <a:lnTo>
                      <a:pt x="190444" y="152267"/>
                    </a:lnTo>
                    <a:lnTo>
                      <a:pt x="187270" y="149357"/>
                    </a:lnTo>
                    <a:lnTo>
                      <a:pt x="183126" y="144949"/>
                    </a:lnTo>
                    <a:lnTo>
                      <a:pt x="182244" y="144949"/>
                    </a:lnTo>
                    <a:lnTo>
                      <a:pt x="179335" y="143185"/>
                    </a:lnTo>
                    <a:lnTo>
                      <a:pt x="177307" y="143185"/>
                    </a:lnTo>
                    <a:lnTo>
                      <a:pt x="176425" y="142392"/>
                    </a:lnTo>
                    <a:lnTo>
                      <a:pt x="174133" y="143185"/>
                    </a:lnTo>
                    <a:lnTo>
                      <a:pt x="173780" y="141510"/>
                    </a:lnTo>
                    <a:lnTo>
                      <a:pt x="173516" y="140629"/>
                    </a:lnTo>
                    <a:lnTo>
                      <a:pt x="173780" y="141158"/>
                    </a:lnTo>
                    <a:lnTo>
                      <a:pt x="170870" y="140629"/>
                    </a:lnTo>
                    <a:lnTo>
                      <a:pt x="170870" y="139747"/>
                    </a:lnTo>
                    <a:lnTo>
                      <a:pt x="169724" y="138601"/>
                    </a:lnTo>
                    <a:lnTo>
                      <a:pt x="168314" y="135691"/>
                    </a:lnTo>
                    <a:lnTo>
                      <a:pt x="168843" y="135691"/>
                    </a:lnTo>
                    <a:lnTo>
                      <a:pt x="168578" y="133928"/>
                    </a:lnTo>
                    <a:lnTo>
                      <a:pt x="165933" y="132429"/>
                    </a:lnTo>
                    <a:lnTo>
                      <a:pt x="165316" y="132429"/>
                    </a:lnTo>
                    <a:lnTo>
                      <a:pt x="159497" y="130401"/>
                    </a:lnTo>
                    <a:lnTo>
                      <a:pt x="158086" y="129519"/>
                    </a:lnTo>
                    <a:lnTo>
                      <a:pt x="156587" y="129519"/>
                    </a:lnTo>
                    <a:lnTo>
                      <a:pt x="156323" y="128373"/>
                    </a:lnTo>
                    <a:lnTo>
                      <a:pt x="155706" y="129519"/>
                    </a:lnTo>
                    <a:lnTo>
                      <a:pt x="153413" y="129519"/>
                    </a:lnTo>
                    <a:lnTo>
                      <a:pt x="150151" y="128373"/>
                    </a:lnTo>
                    <a:lnTo>
                      <a:pt x="149886" y="129519"/>
                    </a:lnTo>
                    <a:lnTo>
                      <a:pt x="147241" y="130401"/>
                    </a:lnTo>
                    <a:lnTo>
                      <a:pt x="146360" y="129519"/>
                    </a:lnTo>
                    <a:lnTo>
                      <a:pt x="143186" y="128902"/>
                    </a:lnTo>
                    <a:lnTo>
                      <a:pt x="141158" y="126610"/>
                    </a:lnTo>
                    <a:lnTo>
                      <a:pt x="140893" y="125993"/>
                    </a:lnTo>
                    <a:lnTo>
                      <a:pt x="137895" y="125993"/>
                    </a:lnTo>
                    <a:lnTo>
                      <a:pt x="137102" y="125111"/>
                    </a:lnTo>
                    <a:lnTo>
                      <a:pt x="136485" y="124846"/>
                    </a:lnTo>
                    <a:lnTo>
                      <a:pt x="134722" y="124846"/>
                    </a:lnTo>
                    <a:lnTo>
                      <a:pt x="132429" y="123965"/>
                    </a:lnTo>
                    <a:lnTo>
                      <a:pt x="131812" y="123965"/>
                    </a:lnTo>
                    <a:lnTo>
                      <a:pt x="131548" y="122818"/>
                    </a:lnTo>
                    <a:lnTo>
                      <a:pt x="129167" y="123436"/>
                    </a:lnTo>
                    <a:lnTo>
                      <a:pt x="128638" y="122818"/>
                    </a:lnTo>
                    <a:lnTo>
                      <a:pt x="127756" y="122818"/>
                    </a:lnTo>
                    <a:lnTo>
                      <a:pt x="124847" y="122818"/>
                    </a:lnTo>
                    <a:lnTo>
                      <a:pt x="124229" y="121320"/>
                    </a:lnTo>
                    <a:lnTo>
                      <a:pt x="123612" y="119027"/>
                    </a:lnTo>
                    <a:lnTo>
                      <a:pt x="121585" y="117881"/>
                    </a:lnTo>
                    <a:lnTo>
                      <a:pt x="121320" y="116999"/>
                    </a:lnTo>
                    <a:lnTo>
                      <a:pt x="121320" y="116647"/>
                    </a:lnTo>
                    <a:lnTo>
                      <a:pt x="120438" y="116118"/>
                    </a:lnTo>
                    <a:lnTo>
                      <a:pt x="120174" y="114972"/>
                    </a:lnTo>
                    <a:lnTo>
                      <a:pt x="119557" y="113473"/>
                    </a:lnTo>
                    <a:lnTo>
                      <a:pt x="117529" y="113473"/>
                    </a:lnTo>
                    <a:lnTo>
                      <a:pt x="118058" y="116118"/>
                    </a:lnTo>
                    <a:lnTo>
                      <a:pt x="115501" y="116647"/>
                    </a:lnTo>
                    <a:lnTo>
                      <a:pt x="112239" y="116118"/>
                    </a:lnTo>
                    <a:lnTo>
                      <a:pt x="111710" y="115236"/>
                    </a:lnTo>
                    <a:lnTo>
                      <a:pt x="108800" y="113473"/>
                    </a:lnTo>
                    <a:lnTo>
                      <a:pt x="108800" y="114972"/>
                    </a:lnTo>
                    <a:lnTo>
                      <a:pt x="107037" y="116118"/>
                    </a:lnTo>
                    <a:lnTo>
                      <a:pt x="105890" y="114972"/>
                    </a:lnTo>
                    <a:lnTo>
                      <a:pt x="102893" y="114972"/>
                    </a:lnTo>
                    <a:lnTo>
                      <a:pt x="100953" y="116647"/>
                    </a:lnTo>
                    <a:lnTo>
                      <a:pt x="101129" y="116999"/>
                    </a:lnTo>
                    <a:lnTo>
                      <a:pt x="102893" y="117881"/>
                    </a:lnTo>
                    <a:lnTo>
                      <a:pt x="101482" y="119027"/>
                    </a:lnTo>
                    <a:lnTo>
                      <a:pt x="100953" y="119644"/>
                    </a:lnTo>
                    <a:lnTo>
                      <a:pt x="98573" y="119027"/>
                    </a:lnTo>
                    <a:lnTo>
                      <a:pt x="95663" y="119644"/>
                    </a:lnTo>
                    <a:lnTo>
                      <a:pt x="93018" y="119027"/>
                    </a:lnTo>
                    <a:lnTo>
                      <a:pt x="92753" y="119027"/>
                    </a:lnTo>
                    <a:lnTo>
                      <a:pt x="91872" y="118410"/>
                    </a:lnTo>
                    <a:lnTo>
                      <a:pt x="89491" y="117881"/>
                    </a:lnTo>
                    <a:lnTo>
                      <a:pt x="83672" y="119027"/>
                    </a:lnTo>
                    <a:lnTo>
                      <a:pt x="83672" y="121055"/>
                    </a:lnTo>
                    <a:lnTo>
                      <a:pt x="81380" y="121320"/>
                    </a:lnTo>
                    <a:lnTo>
                      <a:pt x="78735" y="122201"/>
                    </a:lnTo>
                    <a:lnTo>
                      <a:pt x="75825" y="125993"/>
                    </a:lnTo>
                    <a:lnTo>
                      <a:pt x="73797" y="126874"/>
                    </a:lnTo>
                    <a:lnTo>
                      <a:pt x="72034" y="129519"/>
                    </a:lnTo>
                    <a:lnTo>
                      <a:pt x="74679" y="131283"/>
                    </a:lnTo>
                    <a:lnTo>
                      <a:pt x="72651" y="132429"/>
                    </a:lnTo>
                    <a:lnTo>
                      <a:pt x="72298" y="134192"/>
                    </a:lnTo>
                    <a:lnTo>
                      <a:pt x="68860" y="134192"/>
                    </a:lnTo>
                    <a:lnTo>
                      <a:pt x="65597" y="137719"/>
                    </a:lnTo>
                    <a:lnTo>
                      <a:pt x="63834" y="136837"/>
                    </a:lnTo>
                    <a:lnTo>
                      <a:pt x="63570" y="137983"/>
                    </a:lnTo>
                    <a:lnTo>
                      <a:pt x="55987" y="137719"/>
                    </a:lnTo>
                    <a:lnTo>
                      <a:pt x="55635" y="1368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7" name="Freihandform: Form 1906">
                <a:extLst>
                  <a:ext uri="{FF2B5EF4-FFF2-40B4-BE49-F238E27FC236}">
                    <a16:creationId xmlns:a16="http://schemas.microsoft.com/office/drawing/2014/main" id="{5A5C5F8F-1392-F01B-10C7-D4E960DAC03A}"/>
                  </a:ext>
                </a:extLst>
              </p:cNvPr>
              <p:cNvSpPr/>
              <p:nvPr/>
            </p:nvSpPr>
            <p:spPr>
              <a:xfrm>
                <a:off x="4428951" y="2776289"/>
                <a:ext cx="62687" cy="28831"/>
              </a:xfrm>
              <a:custGeom>
                <a:avLst/>
                <a:gdLst>
                  <a:gd name="connsiteX0" fmla="*/ 22747 w 62687"/>
                  <a:gd name="connsiteY0" fmla="*/ 27685 h 28831"/>
                  <a:gd name="connsiteX1" fmla="*/ 9610 w 62687"/>
                  <a:gd name="connsiteY1" fmla="*/ 26803 h 28831"/>
                  <a:gd name="connsiteX2" fmla="*/ 0 w 62687"/>
                  <a:gd name="connsiteY2" fmla="*/ 25393 h 28831"/>
                  <a:gd name="connsiteX3" fmla="*/ 264 w 62687"/>
                  <a:gd name="connsiteY3" fmla="*/ 24775 h 28831"/>
                  <a:gd name="connsiteX4" fmla="*/ 793 w 62687"/>
                  <a:gd name="connsiteY4" fmla="*/ 24511 h 28831"/>
                  <a:gd name="connsiteX5" fmla="*/ 793 w 62687"/>
                  <a:gd name="connsiteY5" fmla="*/ 23894 h 28831"/>
                  <a:gd name="connsiteX6" fmla="*/ 264 w 62687"/>
                  <a:gd name="connsiteY6" fmla="*/ 23629 h 28831"/>
                  <a:gd name="connsiteX7" fmla="*/ 529 w 62687"/>
                  <a:gd name="connsiteY7" fmla="*/ 23012 h 28831"/>
                  <a:gd name="connsiteX8" fmla="*/ 1146 w 62687"/>
                  <a:gd name="connsiteY8" fmla="*/ 23012 h 28831"/>
                  <a:gd name="connsiteX9" fmla="*/ 1146 w 62687"/>
                  <a:gd name="connsiteY9" fmla="*/ 21866 h 28831"/>
                  <a:gd name="connsiteX10" fmla="*/ 1410 w 62687"/>
                  <a:gd name="connsiteY10" fmla="*/ 21866 h 28831"/>
                  <a:gd name="connsiteX11" fmla="*/ 1675 w 62687"/>
                  <a:gd name="connsiteY11" fmla="*/ 22130 h 28831"/>
                  <a:gd name="connsiteX12" fmla="*/ 2028 w 62687"/>
                  <a:gd name="connsiteY12" fmla="*/ 21249 h 28831"/>
                  <a:gd name="connsiteX13" fmla="*/ 2028 w 62687"/>
                  <a:gd name="connsiteY13" fmla="*/ 20367 h 28831"/>
                  <a:gd name="connsiteX14" fmla="*/ 2557 w 62687"/>
                  <a:gd name="connsiteY14" fmla="*/ 20102 h 28831"/>
                  <a:gd name="connsiteX15" fmla="*/ 2557 w 62687"/>
                  <a:gd name="connsiteY15" fmla="*/ 20720 h 28831"/>
                  <a:gd name="connsiteX16" fmla="*/ 2909 w 62687"/>
                  <a:gd name="connsiteY16" fmla="*/ 20984 h 28831"/>
                  <a:gd name="connsiteX17" fmla="*/ 4056 w 62687"/>
                  <a:gd name="connsiteY17" fmla="*/ 20720 h 28831"/>
                  <a:gd name="connsiteX18" fmla="*/ 4320 w 62687"/>
                  <a:gd name="connsiteY18" fmla="*/ 20367 h 28831"/>
                  <a:gd name="connsiteX19" fmla="*/ 5202 w 62687"/>
                  <a:gd name="connsiteY19" fmla="*/ 20720 h 28831"/>
                  <a:gd name="connsiteX20" fmla="*/ 6701 w 62687"/>
                  <a:gd name="connsiteY20" fmla="*/ 20367 h 28831"/>
                  <a:gd name="connsiteX21" fmla="*/ 6701 w 62687"/>
                  <a:gd name="connsiteY21" fmla="*/ 19838 h 28831"/>
                  <a:gd name="connsiteX22" fmla="*/ 6965 w 62687"/>
                  <a:gd name="connsiteY22" fmla="*/ 18956 h 28831"/>
                  <a:gd name="connsiteX23" fmla="*/ 6701 w 62687"/>
                  <a:gd name="connsiteY23" fmla="*/ 18075 h 28831"/>
                  <a:gd name="connsiteX24" fmla="*/ 6348 w 62687"/>
                  <a:gd name="connsiteY24" fmla="*/ 17193 h 28831"/>
                  <a:gd name="connsiteX25" fmla="*/ 4056 w 62687"/>
                  <a:gd name="connsiteY25" fmla="*/ 16047 h 28831"/>
                  <a:gd name="connsiteX26" fmla="*/ 1146 w 62687"/>
                  <a:gd name="connsiteY26" fmla="*/ 18075 h 28831"/>
                  <a:gd name="connsiteX27" fmla="*/ 0 w 62687"/>
                  <a:gd name="connsiteY27" fmla="*/ 17810 h 28831"/>
                  <a:gd name="connsiteX28" fmla="*/ 2292 w 62687"/>
                  <a:gd name="connsiteY28" fmla="*/ 15694 h 28831"/>
                  <a:gd name="connsiteX29" fmla="*/ 3791 w 62687"/>
                  <a:gd name="connsiteY29" fmla="*/ 14283 h 28831"/>
                  <a:gd name="connsiteX30" fmla="*/ 3174 w 62687"/>
                  <a:gd name="connsiteY30" fmla="*/ 14283 h 28831"/>
                  <a:gd name="connsiteX31" fmla="*/ 6348 w 62687"/>
                  <a:gd name="connsiteY31" fmla="*/ 13666 h 28831"/>
                  <a:gd name="connsiteX32" fmla="*/ 6965 w 62687"/>
                  <a:gd name="connsiteY32" fmla="*/ 13402 h 28831"/>
                  <a:gd name="connsiteX33" fmla="*/ 8993 w 62687"/>
                  <a:gd name="connsiteY33" fmla="*/ 11638 h 28831"/>
                  <a:gd name="connsiteX34" fmla="*/ 11374 w 62687"/>
                  <a:gd name="connsiteY34" fmla="*/ 10757 h 28831"/>
                  <a:gd name="connsiteX35" fmla="*/ 14283 w 62687"/>
                  <a:gd name="connsiteY35" fmla="*/ 10139 h 28831"/>
                  <a:gd name="connsiteX36" fmla="*/ 16840 w 62687"/>
                  <a:gd name="connsiteY36" fmla="*/ 9610 h 28831"/>
                  <a:gd name="connsiteX37" fmla="*/ 19485 w 62687"/>
                  <a:gd name="connsiteY37" fmla="*/ 8729 h 28831"/>
                  <a:gd name="connsiteX38" fmla="*/ 20984 w 62687"/>
                  <a:gd name="connsiteY38" fmla="*/ 6348 h 28831"/>
                  <a:gd name="connsiteX39" fmla="*/ 22395 w 62687"/>
                  <a:gd name="connsiteY39" fmla="*/ 2645 h 28831"/>
                  <a:gd name="connsiteX40" fmla="*/ 23012 w 62687"/>
                  <a:gd name="connsiteY40" fmla="*/ 0 h 28831"/>
                  <a:gd name="connsiteX41" fmla="*/ 23276 w 62687"/>
                  <a:gd name="connsiteY41" fmla="*/ 2645 h 28831"/>
                  <a:gd name="connsiteX42" fmla="*/ 22130 w 62687"/>
                  <a:gd name="connsiteY42" fmla="*/ 6084 h 28831"/>
                  <a:gd name="connsiteX43" fmla="*/ 20984 w 62687"/>
                  <a:gd name="connsiteY43" fmla="*/ 8464 h 28831"/>
                  <a:gd name="connsiteX44" fmla="*/ 19485 w 62687"/>
                  <a:gd name="connsiteY44" fmla="*/ 10492 h 28831"/>
                  <a:gd name="connsiteX45" fmla="*/ 17193 w 62687"/>
                  <a:gd name="connsiteY45" fmla="*/ 10757 h 28831"/>
                  <a:gd name="connsiteX46" fmla="*/ 15165 w 62687"/>
                  <a:gd name="connsiteY46" fmla="*/ 11903 h 28831"/>
                  <a:gd name="connsiteX47" fmla="*/ 11021 w 62687"/>
                  <a:gd name="connsiteY47" fmla="*/ 12784 h 28831"/>
                  <a:gd name="connsiteX48" fmla="*/ 9258 w 62687"/>
                  <a:gd name="connsiteY48" fmla="*/ 13137 h 28831"/>
                  <a:gd name="connsiteX49" fmla="*/ 9875 w 62687"/>
                  <a:gd name="connsiteY49" fmla="*/ 15165 h 28831"/>
                  <a:gd name="connsiteX50" fmla="*/ 11021 w 62687"/>
                  <a:gd name="connsiteY50" fmla="*/ 16047 h 28831"/>
                  <a:gd name="connsiteX51" fmla="*/ 11374 w 62687"/>
                  <a:gd name="connsiteY51" fmla="*/ 14900 h 28831"/>
                  <a:gd name="connsiteX52" fmla="*/ 12520 w 62687"/>
                  <a:gd name="connsiteY52" fmla="*/ 15429 h 28831"/>
                  <a:gd name="connsiteX53" fmla="*/ 13401 w 62687"/>
                  <a:gd name="connsiteY53" fmla="*/ 13666 h 28831"/>
                  <a:gd name="connsiteX54" fmla="*/ 14812 w 62687"/>
                  <a:gd name="connsiteY54" fmla="*/ 13402 h 28831"/>
                  <a:gd name="connsiteX55" fmla="*/ 16311 w 62687"/>
                  <a:gd name="connsiteY55" fmla="*/ 13137 h 28831"/>
                  <a:gd name="connsiteX56" fmla="*/ 18956 w 62687"/>
                  <a:gd name="connsiteY56" fmla="*/ 13402 h 28831"/>
                  <a:gd name="connsiteX57" fmla="*/ 19750 w 62687"/>
                  <a:gd name="connsiteY57" fmla="*/ 14283 h 28831"/>
                  <a:gd name="connsiteX58" fmla="*/ 20984 w 62687"/>
                  <a:gd name="connsiteY58" fmla="*/ 15165 h 28831"/>
                  <a:gd name="connsiteX59" fmla="*/ 23012 w 62687"/>
                  <a:gd name="connsiteY59" fmla="*/ 14548 h 28831"/>
                  <a:gd name="connsiteX60" fmla="*/ 24158 w 62687"/>
                  <a:gd name="connsiteY60" fmla="*/ 14283 h 28831"/>
                  <a:gd name="connsiteX61" fmla="*/ 25569 w 62687"/>
                  <a:gd name="connsiteY61" fmla="*/ 13931 h 28831"/>
                  <a:gd name="connsiteX62" fmla="*/ 26803 w 62687"/>
                  <a:gd name="connsiteY62" fmla="*/ 12784 h 28831"/>
                  <a:gd name="connsiteX63" fmla="*/ 26538 w 62687"/>
                  <a:gd name="connsiteY63" fmla="*/ 12255 h 28831"/>
                  <a:gd name="connsiteX64" fmla="*/ 27067 w 62687"/>
                  <a:gd name="connsiteY64" fmla="*/ 11638 h 28831"/>
                  <a:gd name="connsiteX65" fmla="*/ 31211 w 62687"/>
                  <a:gd name="connsiteY65" fmla="*/ 10492 h 28831"/>
                  <a:gd name="connsiteX66" fmla="*/ 36149 w 62687"/>
                  <a:gd name="connsiteY66" fmla="*/ 9346 h 28831"/>
                  <a:gd name="connsiteX67" fmla="*/ 40822 w 62687"/>
                  <a:gd name="connsiteY67" fmla="*/ 10492 h 28831"/>
                  <a:gd name="connsiteX68" fmla="*/ 46024 w 62687"/>
                  <a:gd name="connsiteY68" fmla="*/ 9875 h 28831"/>
                  <a:gd name="connsiteX69" fmla="*/ 49815 w 62687"/>
                  <a:gd name="connsiteY69" fmla="*/ 11021 h 28831"/>
                  <a:gd name="connsiteX70" fmla="*/ 52460 w 62687"/>
                  <a:gd name="connsiteY70" fmla="*/ 12255 h 28831"/>
                  <a:gd name="connsiteX71" fmla="*/ 52460 w 62687"/>
                  <a:gd name="connsiteY71" fmla="*/ 10757 h 28831"/>
                  <a:gd name="connsiteX72" fmla="*/ 54224 w 62687"/>
                  <a:gd name="connsiteY72" fmla="*/ 10757 h 28831"/>
                  <a:gd name="connsiteX73" fmla="*/ 54841 w 62687"/>
                  <a:gd name="connsiteY73" fmla="*/ 11903 h 28831"/>
                  <a:gd name="connsiteX74" fmla="*/ 58015 w 62687"/>
                  <a:gd name="connsiteY74" fmla="*/ 13931 h 28831"/>
                  <a:gd name="connsiteX75" fmla="*/ 57133 w 62687"/>
                  <a:gd name="connsiteY75" fmla="*/ 15165 h 28831"/>
                  <a:gd name="connsiteX76" fmla="*/ 59425 w 62687"/>
                  <a:gd name="connsiteY76" fmla="*/ 18339 h 28831"/>
                  <a:gd name="connsiteX77" fmla="*/ 62688 w 62687"/>
                  <a:gd name="connsiteY77" fmla="*/ 22395 h 28831"/>
                  <a:gd name="connsiteX78" fmla="*/ 61806 w 62687"/>
                  <a:gd name="connsiteY78" fmla="*/ 24775 h 28831"/>
                  <a:gd name="connsiteX79" fmla="*/ 62688 w 62687"/>
                  <a:gd name="connsiteY79" fmla="*/ 28831 h 28831"/>
                  <a:gd name="connsiteX80" fmla="*/ 42850 w 62687"/>
                  <a:gd name="connsiteY80" fmla="*/ 28831 h 28831"/>
                  <a:gd name="connsiteX81" fmla="*/ 36149 w 62687"/>
                  <a:gd name="connsiteY81" fmla="*/ 28567 h 28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62687" h="28831">
                    <a:moveTo>
                      <a:pt x="22747" y="27685"/>
                    </a:moveTo>
                    <a:lnTo>
                      <a:pt x="9610" y="26803"/>
                    </a:lnTo>
                    <a:lnTo>
                      <a:pt x="0" y="25393"/>
                    </a:lnTo>
                    <a:lnTo>
                      <a:pt x="264" y="24775"/>
                    </a:lnTo>
                    <a:lnTo>
                      <a:pt x="793" y="24511"/>
                    </a:lnTo>
                    <a:lnTo>
                      <a:pt x="793" y="23894"/>
                    </a:lnTo>
                    <a:lnTo>
                      <a:pt x="264" y="23629"/>
                    </a:lnTo>
                    <a:lnTo>
                      <a:pt x="529" y="23012"/>
                    </a:lnTo>
                    <a:lnTo>
                      <a:pt x="1146" y="23012"/>
                    </a:lnTo>
                    <a:lnTo>
                      <a:pt x="1146" y="21866"/>
                    </a:lnTo>
                    <a:lnTo>
                      <a:pt x="1410" y="21866"/>
                    </a:lnTo>
                    <a:lnTo>
                      <a:pt x="1675" y="22130"/>
                    </a:lnTo>
                    <a:lnTo>
                      <a:pt x="2028" y="21249"/>
                    </a:lnTo>
                    <a:lnTo>
                      <a:pt x="2028" y="20367"/>
                    </a:lnTo>
                    <a:lnTo>
                      <a:pt x="2557" y="20102"/>
                    </a:lnTo>
                    <a:lnTo>
                      <a:pt x="2557" y="20720"/>
                    </a:lnTo>
                    <a:lnTo>
                      <a:pt x="2909" y="20984"/>
                    </a:lnTo>
                    <a:lnTo>
                      <a:pt x="4056" y="20720"/>
                    </a:lnTo>
                    <a:lnTo>
                      <a:pt x="4320" y="20367"/>
                    </a:lnTo>
                    <a:lnTo>
                      <a:pt x="5202" y="20720"/>
                    </a:lnTo>
                    <a:lnTo>
                      <a:pt x="6701" y="20367"/>
                    </a:lnTo>
                    <a:lnTo>
                      <a:pt x="6701" y="19838"/>
                    </a:lnTo>
                    <a:lnTo>
                      <a:pt x="6965" y="18956"/>
                    </a:lnTo>
                    <a:lnTo>
                      <a:pt x="6701" y="18075"/>
                    </a:lnTo>
                    <a:lnTo>
                      <a:pt x="6348" y="17193"/>
                    </a:lnTo>
                    <a:lnTo>
                      <a:pt x="4056" y="16047"/>
                    </a:lnTo>
                    <a:lnTo>
                      <a:pt x="1146" y="18075"/>
                    </a:lnTo>
                    <a:lnTo>
                      <a:pt x="0" y="17810"/>
                    </a:lnTo>
                    <a:lnTo>
                      <a:pt x="2292" y="15694"/>
                    </a:lnTo>
                    <a:lnTo>
                      <a:pt x="3791" y="14283"/>
                    </a:lnTo>
                    <a:lnTo>
                      <a:pt x="3174" y="14283"/>
                    </a:lnTo>
                    <a:lnTo>
                      <a:pt x="6348" y="13666"/>
                    </a:lnTo>
                    <a:lnTo>
                      <a:pt x="6965" y="13402"/>
                    </a:lnTo>
                    <a:lnTo>
                      <a:pt x="8993" y="11638"/>
                    </a:lnTo>
                    <a:lnTo>
                      <a:pt x="11374" y="10757"/>
                    </a:lnTo>
                    <a:lnTo>
                      <a:pt x="14283" y="10139"/>
                    </a:lnTo>
                    <a:lnTo>
                      <a:pt x="16840" y="9610"/>
                    </a:lnTo>
                    <a:lnTo>
                      <a:pt x="19485" y="8729"/>
                    </a:lnTo>
                    <a:lnTo>
                      <a:pt x="20984" y="6348"/>
                    </a:lnTo>
                    <a:lnTo>
                      <a:pt x="22395" y="2645"/>
                    </a:lnTo>
                    <a:lnTo>
                      <a:pt x="23012" y="0"/>
                    </a:lnTo>
                    <a:lnTo>
                      <a:pt x="23276" y="2645"/>
                    </a:lnTo>
                    <a:lnTo>
                      <a:pt x="22130" y="6084"/>
                    </a:lnTo>
                    <a:lnTo>
                      <a:pt x="20984" y="8464"/>
                    </a:lnTo>
                    <a:lnTo>
                      <a:pt x="19485" y="10492"/>
                    </a:lnTo>
                    <a:lnTo>
                      <a:pt x="17193" y="10757"/>
                    </a:lnTo>
                    <a:lnTo>
                      <a:pt x="15165" y="11903"/>
                    </a:lnTo>
                    <a:lnTo>
                      <a:pt x="11021" y="12784"/>
                    </a:lnTo>
                    <a:lnTo>
                      <a:pt x="9258" y="13137"/>
                    </a:lnTo>
                    <a:lnTo>
                      <a:pt x="9875" y="15165"/>
                    </a:lnTo>
                    <a:lnTo>
                      <a:pt x="11021" y="16047"/>
                    </a:lnTo>
                    <a:lnTo>
                      <a:pt x="11374" y="14900"/>
                    </a:lnTo>
                    <a:lnTo>
                      <a:pt x="12520" y="15429"/>
                    </a:lnTo>
                    <a:lnTo>
                      <a:pt x="13401" y="13666"/>
                    </a:lnTo>
                    <a:lnTo>
                      <a:pt x="14812" y="13402"/>
                    </a:lnTo>
                    <a:lnTo>
                      <a:pt x="16311" y="13137"/>
                    </a:lnTo>
                    <a:lnTo>
                      <a:pt x="18956" y="13402"/>
                    </a:lnTo>
                    <a:lnTo>
                      <a:pt x="19750" y="14283"/>
                    </a:lnTo>
                    <a:lnTo>
                      <a:pt x="20984" y="15165"/>
                    </a:lnTo>
                    <a:lnTo>
                      <a:pt x="23012" y="14548"/>
                    </a:lnTo>
                    <a:lnTo>
                      <a:pt x="24158" y="14283"/>
                    </a:lnTo>
                    <a:lnTo>
                      <a:pt x="25569" y="13931"/>
                    </a:lnTo>
                    <a:lnTo>
                      <a:pt x="26803" y="12784"/>
                    </a:lnTo>
                    <a:lnTo>
                      <a:pt x="26538" y="12255"/>
                    </a:lnTo>
                    <a:lnTo>
                      <a:pt x="27067" y="11638"/>
                    </a:lnTo>
                    <a:lnTo>
                      <a:pt x="31211" y="10492"/>
                    </a:lnTo>
                    <a:lnTo>
                      <a:pt x="36149" y="9346"/>
                    </a:lnTo>
                    <a:lnTo>
                      <a:pt x="40822" y="10492"/>
                    </a:lnTo>
                    <a:lnTo>
                      <a:pt x="46024" y="9875"/>
                    </a:lnTo>
                    <a:lnTo>
                      <a:pt x="49815" y="11021"/>
                    </a:lnTo>
                    <a:lnTo>
                      <a:pt x="52460" y="12255"/>
                    </a:lnTo>
                    <a:lnTo>
                      <a:pt x="52460" y="10757"/>
                    </a:lnTo>
                    <a:lnTo>
                      <a:pt x="54224" y="10757"/>
                    </a:lnTo>
                    <a:lnTo>
                      <a:pt x="54841" y="11903"/>
                    </a:lnTo>
                    <a:lnTo>
                      <a:pt x="58015" y="13931"/>
                    </a:lnTo>
                    <a:lnTo>
                      <a:pt x="57133" y="15165"/>
                    </a:lnTo>
                    <a:lnTo>
                      <a:pt x="59425" y="18339"/>
                    </a:lnTo>
                    <a:lnTo>
                      <a:pt x="62688" y="22395"/>
                    </a:lnTo>
                    <a:lnTo>
                      <a:pt x="61806" y="24775"/>
                    </a:lnTo>
                    <a:lnTo>
                      <a:pt x="62688" y="28831"/>
                    </a:lnTo>
                    <a:lnTo>
                      <a:pt x="42850" y="28831"/>
                    </a:lnTo>
                    <a:lnTo>
                      <a:pt x="36149" y="285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8" name="Freihandform: Form 1907">
                <a:extLst>
                  <a:ext uri="{FF2B5EF4-FFF2-40B4-BE49-F238E27FC236}">
                    <a16:creationId xmlns:a16="http://schemas.microsoft.com/office/drawing/2014/main" id="{4BE0FA0D-4CB7-D0DF-450C-FD338B38A302}"/>
                  </a:ext>
                </a:extLst>
              </p:cNvPr>
              <p:cNvSpPr/>
              <p:nvPr/>
            </p:nvSpPr>
            <p:spPr>
              <a:xfrm>
                <a:off x="7144448" y="2788897"/>
                <a:ext cx="17810" cy="7758"/>
              </a:xfrm>
              <a:custGeom>
                <a:avLst/>
                <a:gdLst>
                  <a:gd name="connsiteX0" fmla="*/ 8729 w 17810"/>
                  <a:gd name="connsiteY0" fmla="*/ 1675 h 7758"/>
                  <a:gd name="connsiteX1" fmla="*/ 264 w 17810"/>
                  <a:gd name="connsiteY1" fmla="*/ 0 h 7758"/>
                  <a:gd name="connsiteX2" fmla="*/ 0 w 17810"/>
                  <a:gd name="connsiteY2" fmla="*/ 1675 h 7758"/>
                  <a:gd name="connsiteX3" fmla="*/ 3527 w 17810"/>
                  <a:gd name="connsiteY3" fmla="*/ 4849 h 7758"/>
                  <a:gd name="connsiteX4" fmla="*/ 8993 w 17810"/>
                  <a:gd name="connsiteY4" fmla="*/ 7230 h 7758"/>
                  <a:gd name="connsiteX5" fmla="*/ 12520 w 17810"/>
                  <a:gd name="connsiteY5" fmla="*/ 7230 h 7758"/>
                  <a:gd name="connsiteX6" fmla="*/ 17810 w 17810"/>
                  <a:gd name="connsiteY6" fmla="*/ 7759 h 7758"/>
                  <a:gd name="connsiteX7" fmla="*/ 10492 w 17810"/>
                  <a:gd name="connsiteY7" fmla="*/ 3703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810" h="7758">
                    <a:moveTo>
                      <a:pt x="8729" y="1675"/>
                    </a:moveTo>
                    <a:lnTo>
                      <a:pt x="264" y="0"/>
                    </a:lnTo>
                    <a:lnTo>
                      <a:pt x="0" y="1675"/>
                    </a:lnTo>
                    <a:lnTo>
                      <a:pt x="3527" y="4849"/>
                    </a:lnTo>
                    <a:lnTo>
                      <a:pt x="8993" y="7230"/>
                    </a:lnTo>
                    <a:lnTo>
                      <a:pt x="12520" y="7230"/>
                    </a:lnTo>
                    <a:lnTo>
                      <a:pt x="17810" y="7759"/>
                    </a:lnTo>
                    <a:lnTo>
                      <a:pt x="10492" y="370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9" name="Freihandform: Form 1908">
                <a:extLst>
                  <a:ext uri="{FF2B5EF4-FFF2-40B4-BE49-F238E27FC236}">
                    <a16:creationId xmlns:a16="http://schemas.microsoft.com/office/drawing/2014/main" id="{C86AB490-D66E-D840-FEF6-70BCBB44DF28}"/>
                  </a:ext>
                </a:extLst>
              </p:cNvPr>
              <p:cNvSpPr/>
              <p:nvPr/>
            </p:nvSpPr>
            <p:spPr>
              <a:xfrm>
                <a:off x="7103274" y="2776818"/>
                <a:ext cx="26009" cy="14635"/>
              </a:xfrm>
              <a:custGeom>
                <a:avLst/>
                <a:gdLst>
                  <a:gd name="connsiteX0" fmla="*/ 23717 w 26009"/>
                  <a:gd name="connsiteY0" fmla="*/ 9346 h 14635"/>
                  <a:gd name="connsiteX1" fmla="*/ 18427 w 26009"/>
                  <a:gd name="connsiteY1" fmla="*/ 4673 h 14635"/>
                  <a:gd name="connsiteX2" fmla="*/ 11374 w 26009"/>
                  <a:gd name="connsiteY2" fmla="*/ 4144 h 14635"/>
                  <a:gd name="connsiteX3" fmla="*/ 11374 w 26009"/>
                  <a:gd name="connsiteY3" fmla="*/ 0 h 14635"/>
                  <a:gd name="connsiteX4" fmla="*/ 7318 w 26009"/>
                  <a:gd name="connsiteY4" fmla="*/ 2645 h 14635"/>
                  <a:gd name="connsiteX5" fmla="*/ 2997 w 26009"/>
                  <a:gd name="connsiteY5" fmla="*/ 1499 h 14635"/>
                  <a:gd name="connsiteX6" fmla="*/ 0 w 26009"/>
                  <a:gd name="connsiteY6" fmla="*/ 1499 h 14635"/>
                  <a:gd name="connsiteX7" fmla="*/ 5555 w 26009"/>
                  <a:gd name="connsiteY7" fmla="*/ 7318 h 14635"/>
                  <a:gd name="connsiteX8" fmla="*/ 9346 w 26009"/>
                  <a:gd name="connsiteY8" fmla="*/ 6172 h 14635"/>
                  <a:gd name="connsiteX9" fmla="*/ 13754 w 26009"/>
                  <a:gd name="connsiteY9" fmla="*/ 10845 h 14635"/>
                  <a:gd name="connsiteX10" fmla="*/ 16663 w 26009"/>
                  <a:gd name="connsiteY10" fmla="*/ 11374 h 14635"/>
                  <a:gd name="connsiteX11" fmla="*/ 24511 w 26009"/>
                  <a:gd name="connsiteY11" fmla="*/ 14636 h 14635"/>
                  <a:gd name="connsiteX12" fmla="*/ 21954 w 26009"/>
                  <a:gd name="connsiteY12" fmla="*/ 13137 h 14635"/>
                  <a:gd name="connsiteX13" fmla="*/ 26009 w 26009"/>
                  <a:gd name="connsiteY13" fmla="*/ 12608 h 14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009" h="14635">
                    <a:moveTo>
                      <a:pt x="23717" y="9346"/>
                    </a:moveTo>
                    <a:lnTo>
                      <a:pt x="18427" y="4673"/>
                    </a:lnTo>
                    <a:lnTo>
                      <a:pt x="11374" y="4144"/>
                    </a:lnTo>
                    <a:lnTo>
                      <a:pt x="11374" y="0"/>
                    </a:lnTo>
                    <a:lnTo>
                      <a:pt x="7318" y="2645"/>
                    </a:lnTo>
                    <a:lnTo>
                      <a:pt x="2997" y="1499"/>
                    </a:lnTo>
                    <a:lnTo>
                      <a:pt x="0" y="1499"/>
                    </a:lnTo>
                    <a:lnTo>
                      <a:pt x="5555" y="7318"/>
                    </a:lnTo>
                    <a:lnTo>
                      <a:pt x="9346" y="6172"/>
                    </a:lnTo>
                    <a:lnTo>
                      <a:pt x="13754" y="10845"/>
                    </a:lnTo>
                    <a:lnTo>
                      <a:pt x="16663" y="11374"/>
                    </a:lnTo>
                    <a:lnTo>
                      <a:pt x="24511" y="14636"/>
                    </a:lnTo>
                    <a:lnTo>
                      <a:pt x="21954" y="13137"/>
                    </a:lnTo>
                    <a:lnTo>
                      <a:pt x="26009" y="126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0" name="Freihandform: Form 1909">
                <a:extLst>
                  <a:ext uri="{FF2B5EF4-FFF2-40B4-BE49-F238E27FC236}">
                    <a16:creationId xmlns:a16="http://schemas.microsoft.com/office/drawing/2014/main" id="{26C2CF74-4C47-BF6C-98FB-80866930DD33}"/>
                  </a:ext>
                </a:extLst>
              </p:cNvPr>
              <p:cNvSpPr/>
              <p:nvPr/>
            </p:nvSpPr>
            <p:spPr>
              <a:xfrm>
                <a:off x="7144184" y="2788809"/>
                <a:ext cx="528" cy="88"/>
              </a:xfrm>
              <a:custGeom>
                <a:avLst/>
                <a:gdLst>
                  <a:gd name="connsiteX0" fmla="*/ 0 w 528"/>
                  <a:gd name="connsiteY0" fmla="*/ 0 h 88"/>
                  <a:gd name="connsiteX1" fmla="*/ 529 w 528"/>
                  <a:gd name="connsiteY1" fmla="*/ 88 h 88"/>
                  <a:gd name="connsiteX2" fmla="*/ 529 w 528"/>
                  <a:gd name="connsiteY2" fmla="*/ 0 h 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" h="88">
                    <a:moveTo>
                      <a:pt x="0" y="0"/>
                    </a:moveTo>
                    <a:lnTo>
                      <a:pt x="529" y="88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1" name="Freihandform: Form 1910">
                <a:extLst>
                  <a:ext uri="{FF2B5EF4-FFF2-40B4-BE49-F238E27FC236}">
                    <a16:creationId xmlns:a16="http://schemas.microsoft.com/office/drawing/2014/main" id="{42A81EB1-A414-725F-8610-1E96D6F9708B}"/>
                  </a:ext>
                </a:extLst>
              </p:cNvPr>
              <p:cNvSpPr/>
              <p:nvPr/>
            </p:nvSpPr>
            <p:spPr>
              <a:xfrm>
                <a:off x="7296098" y="2595455"/>
                <a:ext cx="2380" cy="881"/>
              </a:xfrm>
              <a:custGeom>
                <a:avLst/>
                <a:gdLst>
                  <a:gd name="connsiteX0" fmla="*/ 617 w 2380"/>
                  <a:gd name="connsiteY0" fmla="*/ 0 h 881"/>
                  <a:gd name="connsiteX1" fmla="*/ 0 w 2380"/>
                  <a:gd name="connsiteY1" fmla="*/ 617 h 881"/>
                  <a:gd name="connsiteX2" fmla="*/ 2380 w 2380"/>
                  <a:gd name="connsiteY2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80" h="881">
                    <a:moveTo>
                      <a:pt x="617" y="0"/>
                    </a:moveTo>
                    <a:lnTo>
                      <a:pt x="0" y="617"/>
                    </a:lnTo>
                    <a:lnTo>
                      <a:pt x="238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2" name="Freihandform: Form 1911">
                <a:extLst>
                  <a:ext uri="{FF2B5EF4-FFF2-40B4-BE49-F238E27FC236}">
                    <a16:creationId xmlns:a16="http://schemas.microsoft.com/office/drawing/2014/main" id="{78C64716-750E-6872-EF0C-C8934D3D59C1}"/>
                  </a:ext>
                </a:extLst>
              </p:cNvPr>
              <p:cNvSpPr/>
              <p:nvPr/>
            </p:nvSpPr>
            <p:spPr>
              <a:xfrm>
                <a:off x="7268678" y="2595191"/>
                <a:ext cx="34385" cy="8376"/>
              </a:xfrm>
              <a:custGeom>
                <a:avLst/>
                <a:gdLst>
                  <a:gd name="connsiteX0" fmla="*/ 32093 w 34385"/>
                  <a:gd name="connsiteY0" fmla="*/ 3703 h 8376"/>
                  <a:gd name="connsiteX1" fmla="*/ 25392 w 34385"/>
                  <a:gd name="connsiteY1" fmla="*/ 3439 h 8376"/>
                  <a:gd name="connsiteX2" fmla="*/ 27420 w 34385"/>
                  <a:gd name="connsiteY2" fmla="*/ 882 h 8376"/>
                  <a:gd name="connsiteX3" fmla="*/ 23364 w 34385"/>
                  <a:gd name="connsiteY3" fmla="*/ 529 h 8376"/>
                  <a:gd name="connsiteX4" fmla="*/ 20719 w 34385"/>
                  <a:gd name="connsiteY4" fmla="*/ 0 h 8376"/>
                  <a:gd name="connsiteX5" fmla="*/ 15782 w 34385"/>
                  <a:gd name="connsiteY5" fmla="*/ 264 h 8376"/>
                  <a:gd name="connsiteX6" fmla="*/ 12520 w 34385"/>
                  <a:gd name="connsiteY6" fmla="*/ 1146 h 8376"/>
                  <a:gd name="connsiteX7" fmla="*/ 10580 w 34385"/>
                  <a:gd name="connsiteY7" fmla="*/ 2028 h 8376"/>
                  <a:gd name="connsiteX8" fmla="*/ 7935 w 34385"/>
                  <a:gd name="connsiteY8" fmla="*/ 794 h 8376"/>
                  <a:gd name="connsiteX9" fmla="*/ 7318 w 34385"/>
                  <a:gd name="connsiteY9" fmla="*/ 2292 h 8376"/>
                  <a:gd name="connsiteX10" fmla="*/ 4144 w 34385"/>
                  <a:gd name="connsiteY10" fmla="*/ 529 h 8376"/>
                  <a:gd name="connsiteX11" fmla="*/ 1146 w 34385"/>
                  <a:gd name="connsiteY11" fmla="*/ 1146 h 8376"/>
                  <a:gd name="connsiteX12" fmla="*/ 0 w 34385"/>
                  <a:gd name="connsiteY12" fmla="*/ 3439 h 8376"/>
                  <a:gd name="connsiteX13" fmla="*/ 1499 w 34385"/>
                  <a:gd name="connsiteY13" fmla="*/ 4585 h 8376"/>
                  <a:gd name="connsiteX14" fmla="*/ 4408 w 34385"/>
                  <a:gd name="connsiteY14" fmla="*/ 5466 h 8376"/>
                  <a:gd name="connsiteX15" fmla="*/ 7935 w 34385"/>
                  <a:gd name="connsiteY15" fmla="*/ 6084 h 8376"/>
                  <a:gd name="connsiteX16" fmla="*/ 10845 w 34385"/>
                  <a:gd name="connsiteY16" fmla="*/ 6701 h 8376"/>
                  <a:gd name="connsiteX17" fmla="*/ 12872 w 34385"/>
                  <a:gd name="connsiteY17" fmla="*/ 6701 h 8376"/>
                  <a:gd name="connsiteX18" fmla="*/ 17545 w 34385"/>
                  <a:gd name="connsiteY18" fmla="*/ 8376 h 8376"/>
                  <a:gd name="connsiteX19" fmla="*/ 21337 w 34385"/>
                  <a:gd name="connsiteY19" fmla="*/ 8111 h 8376"/>
                  <a:gd name="connsiteX20" fmla="*/ 25657 w 34385"/>
                  <a:gd name="connsiteY20" fmla="*/ 7582 h 8376"/>
                  <a:gd name="connsiteX21" fmla="*/ 30065 w 34385"/>
                  <a:gd name="connsiteY21" fmla="*/ 6348 h 8376"/>
                  <a:gd name="connsiteX22" fmla="*/ 33239 w 34385"/>
                  <a:gd name="connsiteY22" fmla="*/ 5466 h 8376"/>
                  <a:gd name="connsiteX23" fmla="*/ 34385 w 34385"/>
                  <a:gd name="connsiteY23" fmla="*/ 6965 h 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385" h="8376">
                    <a:moveTo>
                      <a:pt x="32093" y="3703"/>
                    </a:moveTo>
                    <a:lnTo>
                      <a:pt x="25392" y="3439"/>
                    </a:lnTo>
                    <a:lnTo>
                      <a:pt x="27420" y="882"/>
                    </a:lnTo>
                    <a:lnTo>
                      <a:pt x="23364" y="529"/>
                    </a:lnTo>
                    <a:lnTo>
                      <a:pt x="20719" y="0"/>
                    </a:lnTo>
                    <a:lnTo>
                      <a:pt x="15782" y="264"/>
                    </a:lnTo>
                    <a:lnTo>
                      <a:pt x="12520" y="1146"/>
                    </a:lnTo>
                    <a:lnTo>
                      <a:pt x="10580" y="2028"/>
                    </a:lnTo>
                    <a:lnTo>
                      <a:pt x="7935" y="794"/>
                    </a:lnTo>
                    <a:lnTo>
                      <a:pt x="7318" y="2292"/>
                    </a:lnTo>
                    <a:lnTo>
                      <a:pt x="4144" y="529"/>
                    </a:lnTo>
                    <a:lnTo>
                      <a:pt x="1146" y="1146"/>
                    </a:lnTo>
                    <a:lnTo>
                      <a:pt x="0" y="3439"/>
                    </a:lnTo>
                    <a:lnTo>
                      <a:pt x="1499" y="4585"/>
                    </a:lnTo>
                    <a:lnTo>
                      <a:pt x="4408" y="5466"/>
                    </a:lnTo>
                    <a:lnTo>
                      <a:pt x="7935" y="6084"/>
                    </a:lnTo>
                    <a:lnTo>
                      <a:pt x="10845" y="6701"/>
                    </a:lnTo>
                    <a:lnTo>
                      <a:pt x="12872" y="6701"/>
                    </a:lnTo>
                    <a:lnTo>
                      <a:pt x="17545" y="8376"/>
                    </a:lnTo>
                    <a:lnTo>
                      <a:pt x="21337" y="8111"/>
                    </a:lnTo>
                    <a:lnTo>
                      <a:pt x="25657" y="7582"/>
                    </a:lnTo>
                    <a:lnTo>
                      <a:pt x="30065" y="6348"/>
                    </a:lnTo>
                    <a:lnTo>
                      <a:pt x="33239" y="5466"/>
                    </a:lnTo>
                    <a:lnTo>
                      <a:pt x="34385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3" name="Freihandform: Form 1912">
                <a:extLst>
                  <a:ext uri="{FF2B5EF4-FFF2-40B4-BE49-F238E27FC236}">
                    <a16:creationId xmlns:a16="http://schemas.microsoft.com/office/drawing/2014/main" id="{5464ED4B-61D0-7B70-E19E-A8A4E31A45B0}"/>
                  </a:ext>
                </a:extLst>
              </p:cNvPr>
              <p:cNvSpPr/>
              <p:nvPr/>
            </p:nvSpPr>
            <p:spPr>
              <a:xfrm>
                <a:off x="5326945" y="3191297"/>
                <a:ext cx="282667" cy="225710"/>
              </a:xfrm>
              <a:custGeom>
                <a:avLst/>
                <a:gdLst>
                  <a:gd name="connsiteX0" fmla="*/ 133928 w 282667"/>
                  <a:gd name="connsiteY0" fmla="*/ 30947 h 225710"/>
                  <a:gd name="connsiteX1" fmla="*/ 134545 w 282667"/>
                  <a:gd name="connsiteY1" fmla="*/ 34121 h 225710"/>
                  <a:gd name="connsiteX2" fmla="*/ 137455 w 282667"/>
                  <a:gd name="connsiteY2" fmla="*/ 32710 h 225710"/>
                  <a:gd name="connsiteX3" fmla="*/ 145919 w 282667"/>
                  <a:gd name="connsiteY3" fmla="*/ 34121 h 225710"/>
                  <a:gd name="connsiteX4" fmla="*/ 152619 w 282667"/>
                  <a:gd name="connsiteY4" fmla="*/ 31476 h 225710"/>
                  <a:gd name="connsiteX5" fmla="*/ 152267 w 282667"/>
                  <a:gd name="connsiteY5" fmla="*/ 29801 h 225710"/>
                  <a:gd name="connsiteX6" fmla="*/ 155177 w 282667"/>
                  <a:gd name="connsiteY6" fmla="*/ 30065 h 225710"/>
                  <a:gd name="connsiteX7" fmla="*/ 154912 w 282667"/>
                  <a:gd name="connsiteY7" fmla="*/ 28302 h 225710"/>
                  <a:gd name="connsiteX8" fmla="*/ 156411 w 282667"/>
                  <a:gd name="connsiteY8" fmla="*/ 29801 h 225710"/>
                  <a:gd name="connsiteX9" fmla="*/ 156058 w 282667"/>
                  <a:gd name="connsiteY9" fmla="*/ 28302 h 225710"/>
                  <a:gd name="connsiteX10" fmla="*/ 158703 w 282667"/>
                  <a:gd name="connsiteY10" fmla="*/ 28919 h 225710"/>
                  <a:gd name="connsiteX11" fmla="*/ 165669 w 282667"/>
                  <a:gd name="connsiteY11" fmla="*/ 34121 h 225710"/>
                  <a:gd name="connsiteX12" fmla="*/ 168314 w 282667"/>
                  <a:gd name="connsiteY12" fmla="*/ 31829 h 225710"/>
                  <a:gd name="connsiteX13" fmla="*/ 168049 w 282667"/>
                  <a:gd name="connsiteY13" fmla="*/ 30947 h 225710"/>
                  <a:gd name="connsiteX14" fmla="*/ 167520 w 282667"/>
                  <a:gd name="connsiteY14" fmla="*/ 28919 h 225710"/>
                  <a:gd name="connsiteX15" fmla="*/ 165404 w 282667"/>
                  <a:gd name="connsiteY15" fmla="*/ 28037 h 225710"/>
                  <a:gd name="connsiteX16" fmla="*/ 165404 w 282667"/>
                  <a:gd name="connsiteY16" fmla="*/ 27156 h 225710"/>
                  <a:gd name="connsiteX17" fmla="*/ 164523 w 282667"/>
                  <a:gd name="connsiteY17" fmla="*/ 24511 h 225710"/>
                  <a:gd name="connsiteX18" fmla="*/ 168666 w 282667"/>
                  <a:gd name="connsiteY18" fmla="*/ 21601 h 225710"/>
                  <a:gd name="connsiteX19" fmla="*/ 175896 w 282667"/>
                  <a:gd name="connsiteY19" fmla="*/ 21601 h 225710"/>
                  <a:gd name="connsiteX20" fmla="*/ 178277 w 282667"/>
                  <a:gd name="connsiteY20" fmla="*/ 22483 h 225710"/>
                  <a:gd name="connsiteX21" fmla="*/ 180833 w 282667"/>
                  <a:gd name="connsiteY21" fmla="*/ 22747 h 225710"/>
                  <a:gd name="connsiteX22" fmla="*/ 182332 w 282667"/>
                  <a:gd name="connsiteY22" fmla="*/ 20984 h 225710"/>
                  <a:gd name="connsiteX23" fmla="*/ 182949 w 282667"/>
                  <a:gd name="connsiteY23" fmla="*/ 18692 h 225710"/>
                  <a:gd name="connsiteX24" fmla="*/ 178541 w 282667"/>
                  <a:gd name="connsiteY24" fmla="*/ 13137 h 225710"/>
                  <a:gd name="connsiteX25" fmla="*/ 180304 w 282667"/>
                  <a:gd name="connsiteY25" fmla="*/ 13137 h 225710"/>
                  <a:gd name="connsiteX26" fmla="*/ 184360 w 282667"/>
                  <a:gd name="connsiteY26" fmla="*/ 8729 h 225710"/>
                  <a:gd name="connsiteX27" fmla="*/ 185859 w 282667"/>
                  <a:gd name="connsiteY27" fmla="*/ 882 h 225710"/>
                  <a:gd name="connsiteX28" fmla="*/ 193177 w 282667"/>
                  <a:gd name="connsiteY28" fmla="*/ 0 h 225710"/>
                  <a:gd name="connsiteX29" fmla="*/ 200142 w 282667"/>
                  <a:gd name="connsiteY29" fmla="*/ 3791 h 225710"/>
                  <a:gd name="connsiteX30" fmla="*/ 201024 w 282667"/>
                  <a:gd name="connsiteY30" fmla="*/ 7318 h 225710"/>
                  <a:gd name="connsiteX31" fmla="*/ 201024 w 282667"/>
                  <a:gd name="connsiteY31" fmla="*/ 11638 h 225710"/>
                  <a:gd name="connsiteX32" fmla="*/ 201289 w 282667"/>
                  <a:gd name="connsiteY32" fmla="*/ 13754 h 225710"/>
                  <a:gd name="connsiteX33" fmla="*/ 207107 w 282667"/>
                  <a:gd name="connsiteY33" fmla="*/ 12520 h 225710"/>
                  <a:gd name="connsiteX34" fmla="*/ 208871 w 282667"/>
                  <a:gd name="connsiteY34" fmla="*/ 14283 h 225710"/>
                  <a:gd name="connsiteX35" fmla="*/ 210899 w 282667"/>
                  <a:gd name="connsiteY35" fmla="*/ 37912 h 225710"/>
                  <a:gd name="connsiteX36" fmla="*/ 216453 w 282667"/>
                  <a:gd name="connsiteY36" fmla="*/ 43731 h 225710"/>
                  <a:gd name="connsiteX37" fmla="*/ 221744 w 282667"/>
                  <a:gd name="connsiteY37" fmla="*/ 43731 h 225710"/>
                  <a:gd name="connsiteX38" fmla="*/ 228709 w 282667"/>
                  <a:gd name="connsiteY38" fmla="*/ 36502 h 225710"/>
                  <a:gd name="connsiteX39" fmla="*/ 236291 w 282667"/>
                  <a:gd name="connsiteY39" fmla="*/ 35884 h 225710"/>
                  <a:gd name="connsiteX40" fmla="*/ 238584 w 282667"/>
                  <a:gd name="connsiteY40" fmla="*/ 30947 h 225710"/>
                  <a:gd name="connsiteX41" fmla="*/ 241846 w 282667"/>
                  <a:gd name="connsiteY41" fmla="*/ 28919 h 225710"/>
                  <a:gd name="connsiteX42" fmla="*/ 246519 w 282667"/>
                  <a:gd name="connsiteY42" fmla="*/ 24511 h 225710"/>
                  <a:gd name="connsiteX43" fmla="*/ 256394 w 282667"/>
                  <a:gd name="connsiteY43" fmla="*/ 26010 h 225710"/>
                  <a:gd name="connsiteX44" fmla="*/ 257275 w 282667"/>
                  <a:gd name="connsiteY44" fmla="*/ 28302 h 225710"/>
                  <a:gd name="connsiteX45" fmla="*/ 254101 w 282667"/>
                  <a:gd name="connsiteY45" fmla="*/ 29801 h 225710"/>
                  <a:gd name="connsiteX46" fmla="*/ 256129 w 282667"/>
                  <a:gd name="connsiteY46" fmla="*/ 30947 h 225710"/>
                  <a:gd name="connsiteX47" fmla="*/ 266092 w 282667"/>
                  <a:gd name="connsiteY47" fmla="*/ 28302 h 225710"/>
                  <a:gd name="connsiteX48" fmla="*/ 266092 w 282667"/>
                  <a:gd name="connsiteY48" fmla="*/ 26539 h 225710"/>
                  <a:gd name="connsiteX49" fmla="*/ 269002 w 282667"/>
                  <a:gd name="connsiteY49" fmla="*/ 26010 h 225710"/>
                  <a:gd name="connsiteX50" fmla="*/ 275350 w 282667"/>
                  <a:gd name="connsiteY50" fmla="*/ 26539 h 225710"/>
                  <a:gd name="connsiteX51" fmla="*/ 282404 w 282667"/>
                  <a:gd name="connsiteY51" fmla="*/ 31212 h 225710"/>
                  <a:gd name="connsiteX52" fmla="*/ 282668 w 282667"/>
                  <a:gd name="connsiteY52" fmla="*/ 38177 h 225710"/>
                  <a:gd name="connsiteX53" fmla="*/ 276232 w 282667"/>
                  <a:gd name="connsiteY53" fmla="*/ 41968 h 225710"/>
                  <a:gd name="connsiteX54" fmla="*/ 271030 w 282667"/>
                  <a:gd name="connsiteY54" fmla="*/ 36766 h 225710"/>
                  <a:gd name="connsiteX55" fmla="*/ 269531 w 282667"/>
                  <a:gd name="connsiteY55" fmla="*/ 38794 h 225710"/>
                  <a:gd name="connsiteX56" fmla="*/ 265211 w 282667"/>
                  <a:gd name="connsiteY56" fmla="*/ 40822 h 225710"/>
                  <a:gd name="connsiteX57" fmla="*/ 256394 w 282667"/>
                  <a:gd name="connsiteY57" fmla="*/ 38794 h 225710"/>
                  <a:gd name="connsiteX58" fmla="*/ 251192 w 282667"/>
                  <a:gd name="connsiteY58" fmla="*/ 39676 h 225710"/>
                  <a:gd name="connsiteX59" fmla="*/ 249693 w 282667"/>
                  <a:gd name="connsiteY59" fmla="*/ 39676 h 225710"/>
                  <a:gd name="connsiteX60" fmla="*/ 245902 w 282667"/>
                  <a:gd name="connsiteY60" fmla="*/ 39411 h 225710"/>
                  <a:gd name="connsiteX61" fmla="*/ 243874 w 282667"/>
                  <a:gd name="connsiteY61" fmla="*/ 39676 h 225710"/>
                  <a:gd name="connsiteX62" fmla="*/ 241846 w 282667"/>
                  <a:gd name="connsiteY62" fmla="*/ 40293 h 225710"/>
                  <a:gd name="connsiteX63" fmla="*/ 228709 w 282667"/>
                  <a:gd name="connsiteY63" fmla="*/ 43202 h 225710"/>
                  <a:gd name="connsiteX64" fmla="*/ 229062 w 282667"/>
                  <a:gd name="connsiteY64" fmla="*/ 45230 h 225710"/>
                  <a:gd name="connsiteX65" fmla="*/ 226416 w 282667"/>
                  <a:gd name="connsiteY65" fmla="*/ 45230 h 225710"/>
                  <a:gd name="connsiteX66" fmla="*/ 226945 w 282667"/>
                  <a:gd name="connsiteY66" fmla="*/ 46994 h 225710"/>
                  <a:gd name="connsiteX67" fmla="*/ 221126 w 282667"/>
                  <a:gd name="connsiteY67" fmla="*/ 49903 h 225710"/>
                  <a:gd name="connsiteX68" fmla="*/ 221479 w 282667"/>
                  <a:gd name="connsiteY68" fmla="*/ 51049 h 225710"/>
                  <a:gd name="connsiteX69" fmla="*/ 218217 w 282667"/>
                  <a:gd name="connsiteY69" fmla="*/ 49903 h 225710"/>
                  <a:gd name="connsiteX70" fmla="*/ 218482 w 282667"/>
                  <a:gd name="connsiteY70" fmla="*/ 51049 h 225710"/>
                  <a:gd name="connsiteX71" fmla="*/ 217599 w 282667"/>
                  <a:gd name="connsiteY71" fmla="*/ 52548 h 225710"/>
                  <a:gd name="connsiteX72" fmla="*/ 218834 w 282667"/>
                  <a:gd name="connsiteY72" fmla="*/ 53959 h 225710"/>
                  <a:gd name="connsiteX73" fmla="*/ 215572 w 282667"/>
                  <a:gd name="connsiteY73" fmla="*/ 55987 h 225710"/>
                  <a:gd name="connsiteX74" fmla="*/ 213808 w 282667"/>
                  <a:gd name="connsiteY74" fmla="*/ 55987 h 225710"/>
                  <a:gd name="connsiteX75" fmla="*/ 213279 w 282667"/>
                  <a:gd name="connsiteY75" fmla="*/ 58632 h 225710"/>
                  <a:gd name="connsiteX76" fmla="*/ 211781 w 282667"/>
                  <a:gd name="connsiteY76" fmla="*/ 59778 h 225710"/>
                  <a:gd name="connsiteX77" fmla="*/ 215307 w 282667"/>
                  <a:gd name="connsiteY77" fmla="*/ 61541 h 225710"/>
                  <a:gd name="connsiteX78" fmla="*/ 217071 w 282667"/>
                  <a:gd name="connsiteY78" fmla="*/ 62423 h 225710"/>
                  <a:gd name="connsiteX79" fmla="*/ 221479 w 282667"/>
                  <a:gd name="connsiteY79" fmla="*/ 68242 h 225710"/>
                  <a:gd name="connsiteX80" fmla="*/ 220509 w 282667"/>
                  <a:gd name="connsiteY80" fmla="*/ 70887 h 225710"/>
                  <a:gd name="connsiteX81" fmla="*/ 223771 w 282667"/>
                  <a:gd name="connsiteY81" fmla="*/ 71769 h 225710"/>
                  <a:gd name="connsiteX82" fmla="*/ 224653 w 282667"/>
                  <a:gd name="connsiteY82" fmla="*/ 75560 h 225710"/>
                  <a:gd name="connsiteX83" fmla="*/ 223771 w 282667"/>
                  <a:gd name="connsiteY83" fmla="*/ 77324 h 225710"/>
                  <a:gd name="connsiteX84" fmla="*/ 225270 w 282667"/>
                  <a:gd name="connsiteY84" fmla="*/ 79881 h 225710"/>
                  <a:gd name="connsiteX85" fmla="*/ 225799 w 282667"/>
                  <a:gd name="connsiteY85" fmla="*/ 82261 h 225710"/>
                  <a:gd name="connsiteX86" fmla="*/ 225270 w 282667"/>
                  <a:gd name="connsiteY86" fmla="*/ 83143 h 225710"/>
                  <a:gd name="connsiteX87" fmla="*/ 224653 w 282667"/>
                  <a:gd name="connsiteY87" fmla="*/ 87199 h 225710"/>
                  <a:gd name="connsiteX88" fmla="*/ 222273 w 282667"/>
                  <a:gd name="connsiteY88" fmla="*/ 89843 h 225710"/>
                  <a:gd name="connsiteX89" fmla="*/ 219099 w 282667"/>
                  <a:gd name="connsiteY89" fmla="*/ 94516 h 225710"/>
                  <a:gd name="connsiteX90" fmla="*/ 219099 w 282667"/>
                  <a:gd name="connsiteY90" fmla="*/ 96544 h 225710"/>
                  <a:gd name="connsiteX91" fmla="*/ 216718 w 282667"/>
                  <a:gd name="connsiteY91" fmla="*/ 97161 h 225710"/>
                  <a:gd name="connsiteX92" fmla="*/ 220509 w 282667"/>
                  <a:gd name="connsiteY92" fmla="*/ 101482 h 225710"/>
                  <a:gd name="connsiteX93" fmla="*/ 222273 w 282667"/>
                  <a:gd name="connsiteY93" fmla="*/ 102363 h 225710"/>
                  <a:gd name="connsiteX94" fmla="*/ 222273 w 282667"/>
                  <a:gd name="connsiteY94" fmla="*/ 106772 h 225710"/>
                  <a:gd name="connsiteX95" fmla="*/ 222890 w 282667"/>
                  <a:gd name="connsiteY95" fmla="*/ 108800 h 225710"/>
                  <a:gd name="connsiteX96" fmla="*/ 216189 w 282667"/>
                  <a:gd name="connsiteY96" fmla="*/ 111974 h 225710"/>
                  <a:gd name="connsiteX97" fmla="*/ 197762 w 282667"/>
                  <a:gd name="connsiteY97" fmla="*/ 109946 h 225710"/>
                  <a:gd name="connsiteX98" fmla="*/ 196615 w 282667"/>
                  <a:gd name="connsiteY98" fmla="*/ 112591 h 225710"/>
                  <a:gd name="connsiteX99" fmla="*/ 201641 w 282667"/>
                  <a:gd name="connsiteY99" fmla="*/ 117264 h 225710"/>
                  <a:gd name="connsiteX100" fmla="*/ 204198 w 282667"/>
                  <a:gd name="connsiteY100" fmla="*/ 117264 h 225710"/>
                  <a:gd name="connsiteX101" fmla="*/ 207107 w 282667"/>
                  <a:gd name="connsiteY101" fmla="*/ 124229 h 225710"/>
                  <a:gd name="connsiteX102" fmla="*/ 208871 w 282667"/>
                  <a:gd name="connsiteY102" fmla="*/ 125375 h 225710"/>
                  <a:gd name="connsiteX103" fmla="*/ 210899 w 282667"/>
                  <a:gd name="connsiteY103" fmla="*/ 128020 h 225710"/>
                  <a:gd name="connsiteX104" fmla="*/ 207107 w 282667"/>
                  <a:gd name="connsiteY104" fmla="*/ 130930 h 225710"/>
                  <a:gd name="connsiteX105" fmla="*/ 203316 w 282667"/>
                  <a:gd name="connsiteY105" fmla="*/ 134192 h 225710"/>
                  <a:gd name="connsiteX106" fmla="*/ 199261 w 282667"/>
                  <a:gd name="connsiteY106" fmla="*/ 132693 h 225710"/>
                  <a:gd name="connsiteX107" fmla="*/ 193706 w 282667"/>
                  <a:gd name="connsiteY107" fmla="*/ 134721 h 225710"/>
                  <a:gd name="connsiteX108" fmla="*/ 196615 w 282667"/>
                  <a:gd name="connsiteY108" fmla="*/ 139747 h 225710"/>
                  <a:gd name="connsiteX109" fmla="*/ 192824 w 282667"/>
                  <a:gd name="connsiteY109" fmla="*/ 149622 h 225710"/>
                  <a:gd name="connsiteX110" fmla="*/ 194323 w 282667"/>
                  <a:gd name="connsiteY110" fmla="*/ 156940 h 225710"/>
                  <a:gd name="connsiteX111" fmla="*/ 196880 w 282667"/>
                  <a:gd name="connsiteY111" fmla="*/ 162494 h 225710"/>
                  <a:gd name="connsiteX112" fmla="*/ 195117 w 282667"/>
                  <a:gd name="connsiteY112" fmla="*/ 164522 h 225710"/>
                  <a:gd name="connsiteX113" fmla="*/ 192207 w 282667"/>
                  <a:gd name="connsiteY113" fmla="*/ 169724 h 225710"/>
                  <a:gd name="connsiteX114" fmla="*/ 187623 w 282667"/>
                  <a:gd name="connsiteY114" fmla="*/ 170958 h 225710"/>
                  <a:gd name="connsiteX115" fmla="*/ 183478 w 282667"/>
                  <a:gd name="connsiteY115" fmla="*/ 166285 h 225710"/>
                  <a:gd name="connsiteX116" fmla="*/ 183214 w 282667"/>
                  <a:gd name="connsiteY116" fmla="*/ 166285 h 225710"/>
                  <a:gd name="connsiteX117" fmla="*/ 181803 w 282667"/>
                  <a:gd name="connsiteY117" fmla="*/ 165404 h 225710"/>
                  <a:gd name="connsiteX118" fmla="*/ 181451 w 282667"/>
                  <a:gd name="connsiteY118" fmla="*/ 164787 h 225710"/>
                  <a:gd name="connsiteX119" fmla="*/ 178806 w 282667"/>
                  <a:gd name="connsiteY119" fmla="*/ 165404 h 225710"/>
                  <a:gd name="connsiteX120" fmla="*/ 182068 w 282667"/>
                  <a:gd name="connsiteY120" fmla="*/ 166550 h 225710"/>
                  <a:gd name="connsiteX121" fmla="*/ 180833 w 282667"/>
                  <a:gd name="connsiteY121" fmla="*/ 167432 h 225710"/>
                  <a:gd name="connsiteX122" fmla="*/ 177660 w 282667"/>
                  <a:gd name="connsiteY122" fmla="*/ 166550 h 225710"/>
                  <a:gd name="connsiteX123" fmla="*/ 174750 w 282667"/>
                  <a:gd name="connsiteY123" fmla="*/ 166285 h 225710"/>
                  <a:gd name="connsiteX124" fmla="*/ 172986 w 282667"/>
                  <a:gd name="connsiteY124" fmla="*/ 165404 h 225710"/>
                  <a:gd name="connsiteX125" fmla="*/ 172457 w 282667"/>
                  <a:gd name="connsiteY125" fmla="*/ 167696 h 225710"/>
                  <a:gd name="connsiteX126" fmla="*/ 171576 w 282667"/>
                  <a:gd name="connsiteY126" fmla="*/ 167961 h 225710"/>
                  <a:gd name="connsiteX127" fmla="*/ 169812 w 282667"/>
                  <a:gd name="connsiteY127" fmla="*/ 169724 h 225710"/>
                  <a:gd name="connsiteX128" fmla="*/ 166903 w 282667"/>
                  <a:gd name="connsiteY128" fmla="*/ 169724 h 225710"/>
                  <a:gd name="connsiteX129" fmla="*/ 167167 w 282667"/>
                  <a:gd name="connsiteY129" fmla="*/ 170958 h 225710"/>
                  <a:gd name="connsiteX130" fmla="*/ 162847 w 282667"/>
                  <a:gd name="connsiteY130" fmla="*/ 172986 h 225710"/>
                  <a:gd name="connsiteX131" fmla="*/ 165140 w 282667"/>
                  <a:gd name="connsiteY131" fmla="*/ 176160 h 225710"/>
                  <a:gd name="connsiteX132" fmla="*/ 166285 w 282667"/>
                  <a:gd name="connsiteY132" fmla="*/ 176160 h 225710"/>
                  <a:gd name="connsiteX133" fmla="*/ 166903 w 282667"/>
                  <a:gd name="connsiteY133" fmla="*/ 177924 h 225710"/>
                  <a:gd name="connsiteX134" fmla="*/ 158174 w 282667"/>
                  <a:gd name="connsiteY134" fmla="*/ 180216 h 225710"/>
                  <a:gd name="connsiteX135" fmla="*/ 151473 w 282667"/>
                  <a:gd name="connsiteY135" fmla="*/ 179687 h 225710"/>
                  <a:gd name="connsiteX136" fmla="*/ 153148 w 282667"/>
                  <a:gd name="connsiteY136" fmla="*/ 178188 h 225710"/>
                  <a:gd name="connsiteX137" fmla="*/ 147947 w 282667"/>
                  <a:gd name="connsiteY137" fmla="*/ 178188 h 225710"/>
                  <a:gd name="connsiteX138" fmla="*/ 145302 w 282667"/>
                  <a:gd name="connsiteY138" fmla="*/ 180216 h 225710"/>
                  <a:gd name="connsiteX139" fmla="*/ 143803 w 282667"/>
                  <a:gd name="connsiteY139" fmla="*/ 186388 h 225710"/>
                  <a:gd name="connsiteX140" fmla="*/ 140893 w 282667"/>
                  <a:gd name="connsiteY140" fmla="*/ 187270 h 225710"/>
                  <a:gd name="connsiteX141" fmla="*/ 139747 w 282667"/>
                  <a:gd name="connsiteY141" fmla="*/ 197144 h 225710"/>
                  <a:gd name="connsiteX142" fmla="*/ 141158 w 282667"/>
                  <a:gd name="connsiteY142" fmla="*/ 200054 h 225710"/>
                  <a:gd name="connsiteX143" fmla="*/ 142127 w 282667"/>
                  <a:gd name="connsiteY143" fmla="*/ 204727 h 225710"/>
                  <a:gd name="connsiteX144" fmla="*/ 140011 w 282667"/>
                  <a:gd name="connsiteY144" fmla="*/ 209135 h 225710"/>
                  <a:gd name="connsiteX145" fmla="*/ 143538 w 282667"/>
                  <a:gd name="connsiteY145" fmla="*/ 211780 h 225710"/>
                  <a:gd name="connsiteX146" fmla="*/ 140893 w 282667"/>
                  <a:gd name="connsiteY146" fmla="*/ 214690 h 225710"/>
                  <a:gd name="connsiteX147" fmla="*/ 118498 w 282667"/>
                  <a:gd name="connsiteY147" fmla="*/ 224036 h 225710"/>
                  <a:gd name="connsiteX148" fmla="*/ 114355 w 282667"/>
                  <a:gd name="connsiteY148" fmla="*/ 221655 h 225710"/>
                  <a:gd name="connsiteX149" fmla="*/ 109152 w 282667"/>
                  <a:gd name="connsiteY149" fmla="*/ 221391 h 225710"/>
                  <a:gd name="connsiteX150" fmla="*/ 102452 w 282667"/>
                  <a:gd name="connsiteY150" fmla="*/ 221920 h 225710"/>
                  <a:gd name="connsiteX151" fmla="*/ 100424 w 282667"/>
                  <a:gd name="connsiteY151" fmla="*/ 223154 h 225710"/>
                  <a:gd name="connsiteX152" fmla="*/ 98660 w 282667"/>
                  <a:gd name="connsiteY152" fmla="*/ 225711 h 225710"/>
                  <a:gd name="connsiteX153" fmla="*/ 86670 w 282667"/>
                  <a:gd name="connsiteY153" fmla="*/ 223419 h 225710"/>
                  <a:gd name="connsiteX154" fmla="*/ 63658 w 282667"/>
                  <a:gd name="connsiteY154" fmla="*/ 225446 h 225710"/>
                  <a:gd name="connsiteX155" fmla="*/ 30683 w 282667"/>
                  <a:gd name="connsiteY155" fmla="*/ 213544 h 225710"/>
                  <a:gd name="connsiteX156" fmla="*/ 44084 w 282667"/>
                  <a:gd name="connsiteY156" fmla="*/ 190179 h 225710"/>
                  <a:gd name="connsiteX157" fmla="*/ 42938 w 282667"/>
                  <a:gd name="connsiteY157" fmla="*/ 187270 h 225710"/>
                  <a:gd name="connsiteX158" fmla="*/ 44084 w 282667"/>
                  <a:gd name="connsiteY158" fmla="*/ 184624 h 225710"/>
                  <a:gd name="connsiteX159" fmla="*/ 41704 w 282667"/>
                  <a:gd name="connsiteY159" fmla="*/ 179687 h 225710"/>
                  <a:gd name="connsiteX160" fmla="*/ 40822 w 282667"/>
                  <a:gd name="connsiteY160" fmla="*/ 177659 h 225710"/>
                  <a:gd name="connsiteX161" fmla="*/ 39412 w 282667"/>
                  <a:gd name="connsiteY161" fmla="*/ 176513 h 225710"/>
                  <a:gd name="connsiteX162" fmla="*/ 20720 w 282667"/>
                  <a:gd name="connsiteY162" fmla="*/ 173515 h 225710"/>
                  <a:gd name="connsiteX163" fmla="*/ 18074 w 282667"/>
                  <a:gd name="connsiteY163" fmla="*/ 162494 h 225710"/>
                  <a:gd name="connsiteX164" fmla="*/ 17810 w 282667"/>
                  <a:gd name="connsiteY164" fmla="*/ 158968 h 225710"/>
                  <a:gd name="connsiteX165" fmla="*/ 17545 w 282667"/>
                  <a:gd name="connsiteY165" fmla="*/ 155176 h 225710"/>
                  <a:gd name="connsiteX166" fmla="*/ 7318 w 282667"/>
                  <a:gd name="connsiteY166" fmla="*/ 132429 h 225710"/>
                  <a:gd name="connsiteX167" fmla="*/ 13754 w 282667"/>
                  <a:gd name="connsiteY167" fmla="*/ 122466 h 225710"/>
                  <a:gd name="connsiteX168" fmla="*/ 7318 w 282667"/>
                  <a:gd name="connsiteY168" fmla="*/ 121055 h 225710"/>
                  <a:gd name="connsiteX169" fmla="*/ 4144 w 282667"/>
                  <a:gd name="connsiteY169" fmla="*/ 120791 h 225710"/>
                  <a:gd name="connsiteX170" fmla="*/ 1763 w 282667"/>
                  <a:gd name="connsiteY170" fmla="*/ 117264 h 225710"/>
                  <a:gd name="connsiteX171" fmla="*/ 0 w 282667"/>
                  <a:gd name="connsiteY171" fmla="*/ 107918 h 225710"/>
                  <a:gd name="connsiteX172" fmla="*/ 4144 w 282667"/>
                  <a:gd name="connsiteY172" fmla="*/ 102981 h 225710"/>
                  <a:gd name="connsiteX173" fmla="*/ 7935 w 282667"/>
                  <a:gd name="connsiteY173" fmla="*/ 102981 h 225710"/>
                  <a:gd name="connsiteX174" fmla="*/ 6172 w 282667"/>
                  <a:gd name="connsiteY174" fmla="*/ 100071 h 225710"/>
                  <a:gd name="connsiteX175" fmla="*/ 8200 w 282667"/>
                  <a:gd name="connsiteY175" fmla="*/ 98925 h 225710"/>
                  <a:gd name="connsiteX176" fmla="*/ 3527 w 282667"/>
                  <a:gd name="connsiteY176" fmla="*/ 97426 h 225710"/>
                  <a:gd name="connsiteX177" fmla="*/ 7935 w 282667"/>
                  <a:gd name="connsiteY177" fmla="*/ 94516 h 225710"/>
                  <a:gd name="connsiteX178" fmla="*/ 9346 w 282667"/>
                  <a:gd name="connsiteY178" fmla="*/ 88080 h 225710"/>
                  <a:gd name="connsiteX179" fmla="*/ 9082 w 282667"/>
                  <a:gd name="connsiteY179" fmla="*/ 85435 h 225710"/>
                  <a:gd name="connsiteX180" fmla="*/ 8817 w 282667"/>
                  <a:gd name="connsiteY180" fmla="*/ 84289 h 225710"/>
                  <a:gd name="connsiteX181" fmla="*/ 9346 w 282667"/>
                  <a:gd name="connsiteY181" fmla="*/ 83143 h 225710"/>
                  <a:gd name="connsiteX182" fmla="*/ 9082 w 282667"/>
                  <a:gd name="connsiteY182" fmla="*/ 82525 h 225710"/>
                  <a:gd name="connsiteX183" fmla="*/ 8200 w 282667"/>
                  <a:gd name="connsiteY183" fmla="*/ 81644 h 225710"/>
                  <a:gd name="connsiteX184" fmla="*/ 8200 w 282667"/>
                  <a:gd name="connsiteY184" fmla="*/ 80762 h 225710"/>
                  <a:gd name="connsiteX185" fmla="*/ 9082 w 282667"/>
                  <a:gd name="connsiteY185" fmla="*/ 71416 h 225710"/>
                  <a:gd name="connsiteX186" fmla="*/ 9082 w 282667"/>
                  <a:gd name="connsiteY186" fmla="*/ 70887 h 225710"/>
                  <a:gd name="connsiteX187" fmla="*/ 11991 w 282667"/>
                  <a:gd name="connsiteY187" fmla="*/ 70887 h 225710"/>
                  <a:gd name="connsiteX188" fmla="*/ 11991 w 282667"/>
                  <a:gd name="connsiteY188" fmla="*/ 71416 h 225710"/>
                  <a:gd name="connsiteX189" fmla="*/ 16664 w 282667"/>
                  <a:gd name="connsiteY189" fmla="*/ 75296 h 225710"/>
                  <a:gd name="connsiteX190" fmla="*/ 25393 w 282667"/>
                  <a:gd name="connsiteY190" fmla="*/ 75296 h 225710"/>
                  <a:gd name="connsiteX191" fmla="*/ 31564 w 282667"/>
                  <a:gd name="connsiteY191" fmla="*/ 78734 h 225710"/>
                  <a:gd name="connsiteX192" fmla="*/ 32446 w 282667"/>
                  <a:gd name="connsiteY192" fmla="*/ 82525 h 225710"/>
                  <a:gd name="connsiteX193" fmla="*/ 35885 w 282667"/>
                  <a:gd name="connsiteY193" fmla="*/ 78734 h 225710"/>
                  <a:gd name="connsiteX194" fmla="*/ 38530 w 282667"/>
                  <a:gd name="connsiteY194" fmla="*/ 80762 h 225710"/>
                  <a:gd name="connsiteX195" fmla="*/ 48140 w 282667"/>
                  <a:gd name="connsiteY195" fmla="*/ 75560 h 225710"/>
                  <a:gd name="connsiteX196" fmla="*/ 46994 w 282667"/>
                  <a:gd name="connsiteY196" fmla="*/ 70887 h 225710"/>
                  <a:gd name="connsiteX197" fmla="*/ 50168 w 282667"/>
                  <a:gd name="connsiteY197" fmla="*/ 68859 h 225710"/>
                  <a:gd name="connsiteX198" fmla="*/ 46994 w 282667"/>
                  <a:gd name="connsiteY198" fmla="*/ 67096 h 225710"/>
                  <a:gd name="connsiteX199" fmla="*/ 46112 w 282667"/>
                  <a:gd name="connsiteY199" fmla="*/ 64187 h 225710"/>
                  <a:gd name="connsiteX200" fmla="*/ 49639 w 282667"/>
                  <a:gd name="connsiteY200" fmla="*/ 64451 h 225710"/>
                  <a:gd name="connsiteX201" fmla="*/ 54841 w 282667"/>
                  <a:gd name="connsiteY201" fmla="*/ 61541 h 225710"/>
                  <a:gd name="connsiteX202" fmla="*/ 63658 w 282667"/>
                  <a:gd name="connsiteY202" fmla="*/ 60924 h 225710"/>
                  <a:gd name="connsiteX203" fmla="*/ 63658 w 282667"/>
                  <a:gd name="connsiteY203" fmla="*/ 58015 h 225710"/>
                  <a:gd name="connsiteX204" fmla="*/ 67096 w 282667"/>
                  <a:gd name="connsiteY204" fmla="*/ 56869 h 225710"/>
                  <a:gd name="connsiteX205" fmla="*/ 68859 w 282667"/>
                  <a:gd name="connsiteY205" fmla="*/ 58015 h 225710"/>
                  <a:gd name="connsiteX206" fmla="*/ 69741 w 282667"/>
                  <a:gd name="connsiteY206" fmla="*/ 55987 h 225710"/>
                  <a:gd name="connsiteX207" fmla="*/ 72386 w 282667"/>
                  <a:gd name="connsiteY207" fmla="*/ 54576 h 225710"/>
                  <a:gd name="connsiteX208" fmla="*/ 74414 w 282667"/>
                  <a:gd name="connsiteY208" fmla="*/ 51049 h 225710"/>
                  <a:gd name="connsiteX209" fmla="*/ 73268 w 282667"/>
                  <a:gd name="connsiteY209" fmla="*/ 45230 h 225710"/>
                  <a:gd name="connsiteX210" fmla="*/ 74679 w 282667"/>
                  <a:gd name="connsiteY210" fmla="*/ 38177 h 225710"/>
                  <a:gd name="connsiteX211" fmla="*/ 73797 w 282667"/>
                  <a:gd name="connsiteY211" fmla="*/ 34121 h 225710"/>
                  <a:gd name="connsiteX212" fmla="*/ 78470 w 282667"/>
                  <a:gd name="connsiteY212" fmla="*/ 30065 h 225710"/>
                  <a:gd name="connsiteX213" fmla="*/ 88433 w 282667"/>
                  <a:gd name="connsiteY213" fmla="*/ 30065 h 225710"/>
                  <a:gd name="connsiteX214" fmla="*/ 88962 w 282667"/>
                  <a:gd name="connsiteY214" fmla="*/ 28037 h 225710"/>
                  <a:gd name="connsiteX215" fmla="*/ 89579 w 282667"/>
                  <a:gd name="connsiteY215" fmla="*/ 22747 h 225710"/>
                  <a:gd name="connsiteX216" fmla="*/ 90461 w 282667"/>
                  <a:gd name="connsiteY216" fmla="*/ 21601 h 225710"/>
                  <a:gd name="connsiteX217" fmla="*/ 103598 w 282667"/>
                  <a:gd name="connsiteY217" fmla="*/ 28919 h 225710"/>
                  <a:gd name="connsiteX218" fmla="*/ 109152 w 282667"/>
                  <a:gd name="connsiteY218" fmla="*/ 28566 h 225710"/>
                  <a:gd name="connsiteX219" fmla="*/ 117617 w 282667"/>
                  <a:gd name="connsiteY219" fmla="*/ 27156 h 225710"/>
                  <a:gd name="connsiteX220" fmla="*/ 124318 w 282667"/>
                  <a:gd name="connsiteY220" fmla="*/ 31829 h 225710"/>
                  <a:gd name="connsiteX221" fmla="*/ 127492 w 282667"/>
                  <a:gd name="connsiteY221" fmla="*/ 29801 h 225710"/>
                  <a:gd name="connsiteX222" fmla="*/ 129519 w 282667"/>
                  <a:gd name="connsiteY222" fmla="*/ 30947 h 225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</a:cxnLst>
                <a:rect l="l" t="t" r="r" b="b"/>
                <a:pathLst>
                  <a:path w="282667" h="225710">
                    <a:moveTo>
                      <a:pt x="133928" y="30947"/>
                    </a:moveTo>
                    <a:lnTo>
                      <a:pt x="134545" y="34121"/>
                    </a:lnTo>
                    <a:lnTo>
                      <a:pt x="137455" y="32710"/>
                    </a:lnTo>
                    <a:lnTo>
                      <a:pt x="145919" y="34121"/>
                    </a:lnTo>
                    <a:lnTo>
                      <a:pt x="152619" y="31476"/>
                    </a:lnTo>
                    <a:lnTo>
                      <a:pt x="152267" y="29801"/>
                    </a:lnTo>
                    <a:lnTo>
                      <a:pt x="155177" y="30065"/>
                    </a:lnTo>
                    <a:lnTo>
                      <a:pt x="154912" y="28302"/>
                    </a:lnTo>
                    <a:lnTo>
                      <a:pt x="156411" y="29801"/>
                    </a:lnTo>
                    <a:lnTo>
                      <a:pt x="156058" y="28302"/>
                    </a:lnTo>
                    <a:lnTo>
                      <a:pt x="158703" y="28919"/>
                    </a:lnTo>
                    <a:lnTo>
                      <a:pt x="165669" y="34121"/>
                    </a:lnTo>
                    <a:lnTo>
                      <a:pt x="168314" y="31829"/>
                    </a:lnTo>
                    <a:lnTo>
                      <a:pt x="168049" y="30947"/>
                    </a:lnTo>
                    <a:lnTo>
                      <a:pt x="167520" y="28919"/>
                    </a:lnTo>
                    <a:lnTo>
                      <a:pt x="165404" y="28037"/>
                    </a:lnTo>
                    <a:lnTo>
                      <a:pt x="165404" y="27156"/>
                    </a:lnTo>
                    <a:lnTo>
                      <a:pt x="164523" y="24511"/>
                    </a:lnTo>
                    <a:lnTo>
                      <a:pt x="168666" y="21601"/>
                    </a:lnTo>
                    <a:lnTo>
                      <a:pt x="175896" y="21601"/>
                    </a:lnTo>
                    <a:lnTo>
                      <a:pt x="178277" y="22483"/>
                    </a:lnTo>
                    <a:lnTo>
                      <a:pt x="180833" y="22747"/>
                    </a:lnTo>
                    <a:lnTo>
                      <a:pt x="182332" y="20984"/>
                    </a:lnTo>
                    <a:lnTo>
                      <a:pt x="182949" y="18692"/>
                    </a:lnTo>
                    <a:lnTo>
                      <a:pt x="178541" y="13137"/>
                    </a:lnTo>
                    <a:lnTo>
                      <a:pt x="180304" y="13137"/>
                    </a:lnTo>
                    <a:lnTo>
                      <a:pt x="184360" y="8729"/>
                    </a:lnTo>
                    <a:lnTo>
                      <a:pt x="185859" y="882"/>
                    </a:lnTo>
                    <a:lnTo>
                      <a:pt x="193177" y="0"/>
                    </a:lnTo>
                    <a:lnTo>
                      <a:pt x="200142" y="3791"/>
                    </a:lnTo>
                    <a:lnTo>
                      <a:pt x="201024" y="7318"/>
                    </a:lnTo>
                    <a:lnTo>
                      <a:pt x="201024" y="11638"/>
                    </a:lnTo>
                    <a:lnTo>
                      <a:pt x="201289" y="13754"/>
                    </a:lnTo>
                    <a:lnTo>
                      <a:pt x="207107" y="12520"/>
                    </a:lnTo>
                    <a:lnTo>
                      <a:pt x="208871" y="14283"/>
                    </a:lnTo>
                    <a:lnTo>
                      <a:pt x="210899" y="37912"/>
                    </a:lnTo>
                    <a:lnTo>
                      <a:pt x="216453" y="43731"/>
                    </a:lnTo>
                    <a:lnTo>
                      <a:pt x="221744" y="43731"/>
                    </a:lnTo>
                    <a:lnTo>
                      <a:pt x="228709" y="36502"/>
                    </a:lnTo>
                    <a:lnTo>
                      <a:pt x="236291" y="35884"/>
                    </a:lnTo>
                    <a:lnTo>
                      <a:pt x="238584" y="30947"/>
                    </a:lnTo>
                    <a:lnTo>
                      <a:pt x="241846" y="28919"/>
                    </a:lnTo>
                    <a:lnTo>
                      <a:pt x="246519" y="24511"/>
                    </a:lnTo>
                    <a:lnTo>
                      <a:pt x="256394" y="26010"/>
                    </a:lnTo>
                    <a:lnTo>
                      <a:pt x="257275" y="28302"/>
                    </a:lnTo>
                    <a:lnTo>
                      <a:pt x="254101" y="29801"/>
                    </a:lnTo>
                    <a:lnTo>
                      <a:pt x="256129" y="30947"/>
                    </a:lnTo>
                    <a:lnTo>
                      <a:pt x="266092" y="28302"/>
                    </a:lnTo>
                    <a:lnTo>
                      <a:pt x="266092" y="26539"/>
                    </a:lnTo>
                    <a:lnTo>
                      <a:pt x="269002" y="26010"/>
                    </a:lnTo>
                    <a:lnTo>
                      <a:pt x="275350" y="26539"/>
                    </a:lnTo>
                    <a:lnTo>
                      <a:pt x="282404" y="31212"/>
                    </a:lnTo>
                    <a:lnTo>
                      <a:pt x="282668" y="38177"/>
                    </a:lnTo>
                    <a:lnTo>
                      <a:pt x="276232" y="41968"/>
                    </a:lnTo>
                    <a:lnTo>
                      <a:pt x="271030" y="36766"/>
                    </a:lnTo>
                    <a:lnTo>
                      <a:pt x="269531" y="38794"/>
                    </a:lnTo>
                    <a:lnTo>
                      <a:pt x="265211" y="40822"/>
                    </a:lnTo>
                    <a:lnTo>
                      <a:pt x="256394" y="38794"/>
                    </a:lnTo>
                    <a:lnTo>
                      <a:pt x="251192" y="39676"/>
                    </a:lnTo>
                    <a:lnTo>
                      <a:pt x="249693" y="39676"/>
                    </a:lnTo>
                    <a:lnTo>
                      <a:pt x="245902" y="39411"/>
                    </a:lnTo>
                    <a:lnTo>
                      <a:pt x="243874" y="39676"/>
                    </a:lnTo>
                    <a:lnTo>
                      <a:pt x="241846" y="40293"/>
                    </a:lnTo>
                    <a:lnTo>
                      <a:pt x="228709" y="43202"/>
                    </a:lnTo>
                    <a:lnTo>
                      <a:pt x="229062" y="45230"/>
                    </a:lnTo>
                    <a:lnTo>
                      <a:pt x="226416" y="45230"/>
                    </a:lnTo>
                    <a:lnTo>
                      <a:pt x="226945" y="46994"/>
                    </a:lnTo>
                    <a:lnTo>
                      <a:pt x="221126" y="49903"/>
                    </a:lnTo>
                    <a:lnTo>
                      <a:pt x="221479" y="51049"/>
                    </a:lnTo>
                    <a:lnTo>
                      <a:pt x="218217" y="49903"/>
                    </a:lnTo>
                    <a:lnTo>
                      <a:pt x="218482" y="51049"/>
                    </a:lnTo>
                    <a:lnTo>
                      <a:pt x="217599" y="52548"/>
                    </a:lnTo>
                    <a:lnTo>
                      <a:pt x="218834" y="53959"/>
                    </a:lnTo>
                    <a:lnTo>
                      <a:pt x="215572" y="55987"/>
                    </a:lnTo>
                    <a:lnTo>
                      <a:pt x="213808" y="55987"/>
                    </a:lnTo>
                    <a:lnTo>
                      <a:pt x="213279" y="58632"/>
                    </a:lnTo>
                    <a:lnTo>
                      <a:pt x="211781" y="59778"/>
                    </a:lnTo>
                    <a:lnTo>
                      <a:pt x="215307" y="61541"/>
                    </a:lnTo>
                    <a:lnTo>
                      <a:pt x="217071" y="62423"/>
                    </a:lnTo>
                    <a:lnTo>
                      <a:pt x="221479" y="68242"/>
                    </a:lnTo>
                    <a:lnTo>
                      <a:pt x="220509" y="70887"/>
                    </a:lnTo>
                    <a:lnTo>
                      <a:pt x="223771" y="71769"/>
                    </a:lnTo>
                    <a:lnTo>
                      <a:pt x="224653" y="75560"/>
                    </a:lnTo>
                    <a:lnTo>
                      <a:pt x="223771" y="77324"/>
                    </a:lnTo>
                    <a:lnTo>
                      <a:pt x="225270" y="79881"/>
                    </a:lnTo>
                    <a:lnTo>
                      <a:pt x="225799" y="82261"/>
                    </a:lnTo>
                    <a:lnTo>
                      <a:pt x="225270" y="83143"/>
                    </a:lnTo>
                    <a:lnTo>
                      <a:pt x="224653" y="87199"/>
                    </a:lnTo>
                    <a:lnTo>
                      <a:pt x="222273" y="89843"/>
                    </a:lnTo>
                    <a:lnTo>
                      <a:pt x="219099" y="94516"/>
                    </a:lnTo>
                    <a:lnTo>
                      <a:pt x="219099" y="96544"/>
                    </a:lnTo>
                    <a:lnTo>
                      <a:pt x="216718" y="97161"/>
                    </a:lnTo>
                    <a:lnTo>
                      <a:pt x="220509" y="101482"/>
                    </a:lnTo>
                    <a:lnTo>
                      <a:pt x="222273" y="102363"/>
                    </a:lnTo>
                    <a:lnTo>
                      <a:pt x="222273" y="106772"/>
                    </a:lnTo>
                    <a:lnTo>
                      <a:pt x="222890" y="108800"/>
                    </a:lnTo>
                    <a:lnTo>
                      <a:pt x="216189" y="111974"/>
                    </a:lnTo>
                    <a:lnTo>
                      <a:pt x="197762" y="109946"/>
                    </a:lnTo>
                    <a:lnTo>
                      <a:pt x="196615" y="112591"/>
                    </a:lnTo>
                    <a:lnTo>
                      <a:pt x="201641" y="117264"/>
                    </a:lnTo>
                    <a:lnTo>
                      <a:pt x="204198" y="117264"/>
                    </a:lnTo>
                    <a:lnTo>
                      <a:pt x="207107" y="124229"/>
                    </a:lnTo>
                    <a:lnTo>
                      <a:pt x="208871" y="125375"/>
                    </a:lnTo>
                    <a:lnTo>
                      <a:pt x="210899" y="128020"/>
                    </a:lnTo>
                    <a:lnTo>
                      <a:pt x="207107" y="130930"/>
                    </a:lnTo>
                    <a:lnTo>
                      <a:pt x="203316" y="134192"/>
                    </a:lnTo>
                    <a:lnTo>
                      <a:pt x="199261" y="132693"/>
                    </a:lnTo>
                    <a:lnTo>
                      <a:pt x="193706" y="134721"/>
                    </a:lnTo>
                    <a:lnTo>
                      <a:pt x="196615" y="139747"/>
                    </a:lnTo>
                    <a:lnTo>
                      <a:pt x="192824" y="149622"/>
                    </a:lnTo>
                    <a:lnTo>
                      <a:pt x="194323" y="156940"/>
                    </a:lnTo>
                    <a:lnTo>
                      <a:pt x="196880" y="162494"/>
                    </a:lnTo>
                    <a:lnTo>
                      <a:pt x="195117" y="164522"/>
                    </a:lnTo>
                    <a:lnTo>
                      <a:pt x="192207" y="169724"/>
                    </a:lnTo>
                    <a:lnTo>
                      <a:pt x="187623" y="170958"/>
                    </a:lnTo>
                    <a:lnTo>
                      <a:pt x="183478" y="166285"/>
                    </a:lnTo>
                    <a:lnTo>
                      <a:pt x="183214" y="166285"/>
                    </a:lnTo>
                    <a:lnTo>
                      <a:pt x="181803" y="165404"/>
                    </a:lnTo>
                    <a:lnTo>
                      <a:pt x="181451" y="164787"/>
                    </a:lnTo>
                    <a:lnTo>
                      <a:pt x="178806" y="165404"/>
                    </a:lnTo>
                    <a:lnTo>
                      <a:pt x="182068" y="166550"/>
                    </a:lnTo>
                    <a:lnTo>
                      <a:pt x="180833" y="167432"/>
                    </a:lnTo>
                    <a:lnTo>
                      <a:pt x="177660" y="166550"/>
                    </a:lnTo>
                    <a:lnTo>
                      <a:pt x="174750" y="166285"/>
                    </a:lnTo>
                    <a:lnTo>
                      <a:pt x="172986" y="165404"/>
                    </a:lnTo>
                    <a:lnTo>
                      <a:pt x="172457" y="167696"/>
                    </a:lnTo>
                    <a:lnTo>
                      <a:pt x="171576" y="167961"/>
                    </a:lnTo>
                    <a:lnTo>
                      <a:pt x="169812" y="169724"/>
                    </a:lnTo>
                    <a:lnTo>
                      <a:pt x="166903" y="169724"/>
                    </a:lnTo>
                    <a:lnTo>
                      <a:pt x="167167" y="170958"/>
                    </a:lnTo>
                    <a:lnTo>
                      <a:pt x="162847" y="172986"/>
                    </a:lnTo>
                    <a:lnTo>
                      <a:pt x="165140" y="176160"/>
                    </a:lnTo>
                    <a:lnTo>
                      <a:pt x="166285" y="176160"/>
                    </a:lnTo>
                    <a:lnTo>
                      <a:pt x="166903" y="177924"/>
                    </a:lnTo>
                    <a:lnTo>
                      <a:pt x="158174" y="180216"/>
                    </a:lnTo>
                    <a:lnTo>
                      <a:pt x="151473" y="179687"/>
                    </a:lnTo>
                    <a:lnTo>
                      <a:pt x="153148" y="178188"/>
                    </a:lnTo>
                    <a:lnTo>
                      <a:pt x="147947" y="178188"/>
                    </a:lnTo>
                    <a:lnTo>
                      <a:pt x="145302" y="180216"/>
                    </a:lnTo>
                    <a:lnTo>
                      <a:pt x="143803" y="186388"/>
                    </a:lnTo>
                    <a:lnTo>
                      <a:pt x="140893" y="187270"/>
                    </a:lnTo>
                    <a:lnTo>
                      <a:pt x="139747" y="197144"/>
                    </a:lnTo>
                    <a:lnTo>
                      <a:pt x="141158" y="200054"/>
                    </a:lnTo>
                    <a:lnTo>
                      <a:pt x="142127" y="204727"/>
                    </a:lnTo>
                    <a:lnTo>
                      <a:pt x="140011" y="209135"/>
                    </a:lnTo>
                    <a:lnTo>
                      <a:pt x="143538" y="211780"/>
                    </a:lnTo>
                    <a:lnTo>
                      <a:pt x="140893" y="214690"/>
                    </a:lnTo>
                    <a:lnTo>
                      <a:pt x="118498" y="224036"/>
                    </a:lnTo>
                    <a:lnTo>
                      <a:pt x="114355" y="221655"/>
                    </a:lnTo>
                    <a:lnTo>
                      <a:pt x="109152" y="221391"/>
                    </a:lnTo>
                    <a:lnTo>
                      <a:pt x="102452" y="221920"/>
                    </a:lnTo>
                    <a:lnTo>
                      <a:pt x="100424" y="223154"/>
                    </a:lnTo>
                    <a:lnTo>
                      <a:pt x="98660" y="225711"/>
                    </a:lnTo>
                    <a:lnTo>
                      <a:pt x="86670" y="223419"/>
                    </a:lnTo>
                    <a:lnTo>
                      <a:pt x="63658" y="225446"/>
                    </a:lnTo>
                    <a:lnTo>
                      <a:pt x="30683" y="213544"/>
                    </a:lnTo>
                    <a:lnTo>
                      <a:pt x="44084" y="190179"/>
                    </a:lnTo>
                    <a:lnTo>
                      <a:pt x="42938" y="187270"/>
                    </a:lnTo>
                    <a:lnTo>
                      <a:pt x="44084" y="184624"/>
                    </a:lnTo>
                    <a:lnTo>
                      <a:pt x="41704" y="179687"/>
                    </a:lnTo>
                    <a:lnTo>
                      <a:pt x="40822" y="177659"/>
                    </a:lnTo>
                    <a:lnTo>
                      <a:pt x="39412" y="176513"/>
                    </a:lnTo>
                    <a:lnTo>
                      <a:pt x="20720" y="173515"/>
                    </a:lnTo>
                    <a:lnTo>
                      <a:pt x="18074" y="162494"/>
                    </a:lnTo>
                    <a:lnTo>
                      <a:pt x="17810" y="158968"/>
                    </a:lnTo>
                    <a:lnTo>
                      <a:pt x="17545" y="155176"/>
                    </a:lnTo>
                    <a:lnTo>
                      <a:pt x="7318" y="132429"/>
                    </a:lnTo>
                    <a:lnTo>
                      <a:pt x="13754" y="122466"/>
                    </a:lnTo>
                    <a:lnTo>
                      <a:pt x="7318" y="121055"/>
                    </a:lnTo>
                    <a:lnTo>
                      <a:pt x="4144" y="120791"/>
                    </a:lnTo>
                    <a:lnTo>
                      <a:pt x="1763" y="117264"/>
                    </a:lnTo>
                    <a:lnTo>
                      <a:pt x="0" y="107918"/>
                    </a:lnTo>
                    <a:lnTo>
                      <a:pt x="4144" y="102981"/>
                    </a:lnTo>
                    <a:lnTo>
                      <a:pt x="7935" y="102981"/>
                    </a:lnTo>
                    <a:lnTo>
                      <a:pt x="6172" y="100071"/>
                    </a:lnTo>
                    <a:lnTo>
                      <a:pt x="8200" y="98925"/>
                    </a:lnTo>
                    <a:lnTo>
                      <a:pt x="3527" y="97426"/>
                    </a:lnTo>
                    <a:lnTo>
                      <a:pt x="7935" y="94516"/>
                    </a:lnTo>
                    <a:lnTo>
                      <a:pt x="9346" y="88080"/>
                    </a:lnTo>
                    <a:lnTo>
                      <a:pt x="9082" y="85435"/>
                    </a:lnTo>
                    <a:lnTo>
                      <a:pt x="8817" y="84289"/>
                    </a:lnTo>
                    <a:lnTo>
                      <a:pt x="9346" y="83143"/>
                    </a:lnTo>
                    <a:lnTo>
                      <a:pt x="9082" y="82525"/>
                    </a:lnTo>
                    <a:lnTo>
                      <a:pt x="8200" y="81644"/>
                    </a:lnTo>
                    <a:lnTo>
                      <a:pt x="8200" y="80762"/>
                    </a:lnTo>
                    <a:lnTo>
                      <a:pt x="9082" y="71416"/>
                    </a:lnTo>
                    <a:lnTo>
                      <a:pt x="9082" y="70887"/>
                    </a:lnTo>
                    <a:lnTo>
                      <a:pt x="11991" y="70887"/>
                    </a:lnTo>
                    <a:lnTo>
                      <a:pt x="11991" y="71416"/>
                    </a:lnTo>
                    <a:lnTo>
                      <a:pt x="16664" y="75296"/>
                    </a:lnTo>
                    <a:lnTo>
                      <a:pt x="25393" y="75296"/>
                    </a:lnTo>
                    <a:lnTo>
                      <a:pt x="31564" y="78734"/>
                    </a:lnTo>
                    <a:lnTo>
                      <a:pt x="32446" y="82525"/>
                    </a:lnTo>
                    <a:lnTo>
                      <a:pt x="35885" y="78734"/>
                    </a:lnTo>
                    <a:lnTo>
                      <a:pt x="38530" y="80762"/>
                    </a:lnTo>
                    <a:lnTo>
                      <a:pt x="48140" y="75560"/>
                    </a:lnTo>
                    <a:lnTo>
                      <a:pt x="46994" y="70887"/>
                    </a:lnTo>
                    <a:lnTo>
                      <a:pt x="50168" y="68859"/>
                    </a:lnTo>
                    <a:lnTo>
                      <a:pt x="46994" y="67096"/>
                    </a:lnTo>
                    <a:lnTo>
                      <a:pt x="46112" y="64187"/>
                    </a:lnTo>
                    <a:lnTo>
                      <a:pt x="49639" y="64451"/>
                    </a:lnTo>
                    <a:lnTo>
                      <a:pt x="54841" y="61541"/>
                    </a:lnTo>
                    <a:lnTo>
                      <a:pt x="63658" y="60924"/>
                    </a:lnTo>
                    <a:lnTo>
                      <a:pt x="63658" y="58015"/>
                    </a:lnTo>
                    <a:lnTo>
                      <a:pt x="67096" y="56869"/>
                    </a:lnTo>
                    <a:lnTo>
                      <a:pt x="68859" y="58015"/>
                    </a:lnTo>
                    <a:lnTo>
                      <a:pt x="69741" y="55987"/>
                    </a:lnTo>
                    <a:lnTo>
                      <a:pt x="72386" y="54576"/>
                    </a:lnTo>
                    <a:lnTo>
                      <a:pt x="74414" y="51049"/>
                    </a:lnTo>
                    <a:lnTo>
                      <a:pt x="73268" y="45230"/>
                    </a:lnTo>
                    <a:lnTo>
                      <a:pt x="74679" y="38177"/>
                    </a:lnTo>
                    <a:lnTo>
                      <a:pt x="73797" y="34121"/>
                    </a:lnTo>
                    <a:lnTo>
                      <a:pt x="78470" y="30065"/>
                    </a:lnTo>
                    <a:lnTo>
                      <a:pt x="88433" y="30065"/>
                    </a:lnTo>
                    <a:lnTo>
                      <a:pt x="88962" y="28037"/>
                    </a:lnTo>
                    <a:lnTo>
                      <a:pt x="89579" y="22747"/>
                    </a:lnTo>
                    <a:lnTo>
                      <a:pt x="90461" y="21601"/>
                    </a:lnTo>
                    <a:lnTo>
                      <a:pt x="103598" y="28919"/>
                    </a:lnTo>
                    <a:lnTo>
                      <a:pt x="109152" y="28566"/>
                    </a:lnTo>
                    <a:lnTo>
                      <a:pt x="117617" y="27156"/>
                    </a:lnTo>
                    <a:lnTo>
                      <a:pt x="124318" y="31829"/>
                    </a:lnTo>
                    <a:lnTo>
                      <a:pt x="127492" y="29801"/>
                    </a:lnTo>
                    <a:lnTo>
                      <a:pt x="129519" y="309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1" name="Grafik 9">
              <a:extLst>
                <a:ext uri="{FF2B5EF4-FFF2-40B4-BE49-F238E27FC236}">
                  <a16:creationId xmlns:a16="http://schemas.microsoft.com/office/drawing/2014/main" id="{F9A48BDD-10CD-B7DC-3230-44CD0E9B7530}"/>
                </a:ext>
              </a:extLst>
            </p:cNvPr>
            <p:cNvGrpSpPr/>
            <p:nvPr/>
          </p:nvGrpSpPr>
          <p:grpSpPr>
            <a:xfrm>
              <a:off x="3688336" y="3101718"/>
              <a:ext cx="1729070" cy="2359122"/>
              <a:chOff x="3688336" y="3101718"/>
              <a:chExt cx="1729070" cy="2359122"/>
            </a:xfrm>
            <a:solidFill>
              <a:schemeClr val="accent6"/>
            </a:solidFill>
          </p:grpSpPr>
          <p:sp>
            <p:nvSpPr>
              <p:cNvPr id="1780" name="Freihandform: Form 1779">
                <a:extLst>
                  <a:ext uri="{FF2B5EF4-FFF2-40B4-BE49-F238E27FC236}">
                    <a16:creationId xmlns:a16="http://schemas.microsoft.com/office/drawing/2014/main" id="{42A9DBE9-F31F-954F-A1DB-7384476E1EE1}"/>
                  </a:ext>
                </a:extLst>
              </p:cNvPr>
              <p:cNvSpPr/>
              <p:nvPr/>
            </p:nvSpPr>
            <p:spPr>
              <a:xfrm>
                <a:off x="4964221" y="3159998"/>
                <a:ext cx="453185" cy="364488"/>
              </a:xfrm>
              <a:custGeom>
                <a:avLst/>
                <a:gdLst>
                  <a:gd name="connsiteX0" fmla="*/ 130313 w 453185"/>
                  <a:gd name="connsiteY0" fmla="*/ 243080 h 364488"/>
                  <a:gd name="connsiteX1" fmla="*/ 130842 w 453185"/>
                  <a:gd name="connsiteY1" fmla="*/ 243080 h 364488"/>
                  <a:gd name="connsiteX2" fmla="*/ 132605 w 453185"/>
                  <a:gd name="connsiteY2" fmla="*/ 243080 h 364488"/>
                  <a:gd name="connsiteX3" fmla="*/ 133223 w 453185"/>
                  <a:gd name="connsiteY3" fmla="*/ 242199 h 364488"/>
                  <a:gd name="connsiteX4" fmla="*/ 131723 w 453185"/>
                  <a:gd name="connsiteY4" fmla="*/ 241581 h 364488"/>
                  <a:gd name="connsiteX5" fmla="*/ 132341 w 453185"/>
                  <a:gd name="connsiteY5" fmla="*/ 240435 h 364488"/>
                  <a:gd name="connsiteX6" fmla="*/ 132958 w 453185"/>
                  <a:gd name="connsiteY6" fmla="*/ 241581 h 364488"/>
                  <a:gd name="connsiteX7" fmla="*/ 136132 w 453185"/>
                  <a:gd name="connsiteY7" fmla="*/ 241581 h 364488"/>
                  <a:gd name="connsiteX8" fmla="*/ 138512 w 453185"/>
                  <a:gd name="connsiteY8" fmla="*/ 237526 h 364488"/>
                  <a:gd name="connsiteX9" fmla="*/ 135250 w 453185"/>
                  <a:gd name="connsiteY9" fmla="*/ 235762 h 364488"/>
                  <a:gd name="connsiteX10" fmla="*/ 134986 w 453185"/>
                  <a:gd name="connsiteY10" fmla="*/ 234352 h 364488"/>
                  <a:gd name="connsiteX11" fmla="*/ 134986 w 453185"/>
                  <a:gd name="connsiteY11" fmla="*/ 233734 h 364488"/>
                  <a:gd name="connsiteX12" fmla="*/ 134986 w 453185"/>
                  <a:gd name="connsiteY12" fmla="*/ 233205 h 364488"/>
                  <a:gd name="connsiteX13" fmla="*/ 134721 w 453185"/>
                  <a:gd name="connsiteY13" fmla="*/ 232059 h 364488"/>
                  <a:gd name="connsiteX14" fmla="*/ 137895 w 453185"/>
                  <a:gd name="connsiteY14" fmla="*/ 232059 h 364488"/>
                  <a:gd name="connsiteX15" fmla="*/ 137895 w 453185"/>
                  <a:gd name="connsiteY15" fmla="*/ 231442 h 364488"/>
                  <a:gd name="connsiteX16" fmla="*/ 137631 w 453185"/>
                  <a:gd name="connsiteY16" fmla="*/ 230296 h 364488"/>
                  <a:gd name="connsiteX17" fmla="*/ 137366 w 453185"/>
                  <a:gd name="connsiteY17" fmla="*/ 228885 h 364488"/>
                  <a:gd name="connsiteX18" fmla="*/ 140011 w 453185"/>
                  <a:gd name="connsiteY18" fmla="*/ 229502 h 364488"/>
                  <a:gd name="connsiteX19" fmla="*/ 139659 w 453185"/>
                  <a:gd name="connsiteY19" fmla="*/ 228885 h 364488"/>
                  <a:gd name="connsiteX20" fmla="*/ 140540 w 453185"/>
                  <a:gd name="connsiteY20" fmla="*/ 229502 h 364488"/>
                  <a:gd name="connsiteX21" fmla="*/ 140540 w 453185"/>
                  <a:gd name="connsiteY21" fmla="*/ 230384 h 364488"/>
                  <a:gd name="connsiteX22" fmla="*/ 140805 w 453185"/>
                  <a:gd name="connsiteY22" fmla="*/ 229502 h 364488"/>
                  <a:gd name="connsiteX23" fmla="*/ 143715 w 453185"/>
                  <a:gd name="connsiteY23" fmla="*/ 231530 h 364488"/>
                  <a:gd name="connsiteX24" fmla="*/ 143450 w 453185"/>
                  <a:gd name="connsiteY24" fmla="*/ 232412 h 364488"/>
                  <a:gd name="connsiteX25" fmla="*/ 143450 w 453185"/>
                  <a:gd name="connsiteY25" fmla="*/ 233293 h 364488"/>
                  <a:gd name="connsiteX26" fmla="*/ 140276 w 453185"/>
                  <a:gd name="connsiteY26" fmla="*/ 232147 h 364488"/>
                  <a:gd name="connsiteX27" fmla="*/ 137895 w 453185"/>
                  <a:gd name="connsiteY27" fmla="*/ 232412 h 364488"/>
                  <a:gd name="connsiteX28" fmla="*/ 137895 w 453185"/>
                  <a:gd name="connsiteY28" fmla="*/ 232147 h 364488"/>
                  <a:gd name="connsiteX29" fmla="*/ 134986 w 453185"/>
                  <a:gd name="connsiteY29" fmla="*/ 232412 h 364488"/>
                  <a:gd name="connsiteX30" fmla="*/ 137895 w 453185"/>
                  <a:gd name="connsiteY30" fmla="*/ 233293 h 364488"/>
                  <a:gd name="connsiteX31" fmla="*/ 138160 w 453185"/>
                  <a:gd name="connsiteY31" fmla="*/ 234440 h 364488"/>
                  <a:gd name="connsiteX32" fmla="*/ 140452 w 453185"/>
                  <a:gd name="connsiteY32" fmla="*/ 235057 h 364488"/>
                  <a:gd name="connsiteX33" fmla="*/ 140717 w 453185"/>
                  <a:gd name="connsiteY33" fmla="*/ 235939 h 364488"/>
                  <a:gd name="connsiteX34" fmla="*/ 141334 w 453185"/>
                  <a:gd name="connsiteY34" fmla="*/ 235939 h 364488"/>
                  <a:gd name="connsiteX35" fmla="*/ 141334 w 453185"/>
                  <a:gd name="connsiteY35" fmla="*/ 237085 h 364488"/>
                  <a:gd name="connsiteX36" fmla="*/ 141334 w 453185"/>
                  <a:gd name="connsiteY36" fmla="*/ 236203 h 364488"/>
                  <a:gd name="connsiteX37" fmla="*/ 143626 w 453185"/>
                  <a:gd name="connsiteY37" fmla="*/ 235057 h 364488"/>
                  <a:gd name="connsiteX38" fmla="*/ 143979 w 453185"/>
                  <a:gd name="connsiteY38" fmla="*/ 237085 h 364488"/>
                  <a:gd name="connsiteX39" fmla="*/ 144596 w 453185"/>
                  <a:gd name="connsiteY39" fmla="*/ 237085 h 364488"/>
                  <a:gd name="connsiteX40" fmla="*/ 144596 w 453185"/>
                  <a:gd name="connsiteY40" fmla="*/ 237966 h 364488"/>
                  <a:gd name="connsiteX41" fmla="*/ 146889 w 453185"/>
                  <a:gd name="connsiteY41" fmla="*/ 237702 h 364488"/>
                  <a:gd name="connsiteX42" fmla="*/ 147770 w 453185"/>
                  <a:gd name="connsiteY42" fmla="*/ 237702 h 364488"/>
                  <a:gd name="connsiteX43" fmla="*/ 149534 w 453185"/>
                  <a:gd name="connsiteY43" fmla="*/ 237966 h 364488"/>
                  <a:gd name="connsiteX44" fmla="*/ 149798 w 453185"/>
                  <a:gd name="connsiteY44" fmla="*/ 240611 h 364488"/>
                  <a:gd name="connsiteX45" fmla="*/ 150944 w 453185"/>
                  <a:gd name="connsiteY45" fmla="*/ 242375 h 364488"/>
                  <a:gd name="connsiteX46" fmla="*/ 159408 w 453185"/>
                  <a:gd name="connsiteY46" fmla="*/ 237085 h 364488"/>
                  <a:gd name="connsiteX47" fmla="*/ 162053 w 453185"/>
                  <a:gd name="connsiteY47" fmla="*/ 237085 h 364488"/>
                  <a:gd name="connsiteX48" fmla="*/ 162582 w 453185"/>
                  <a:gd name="connsiteY48" fmla="*/ 237966 h 364488"/>
                  <a:gd name="connsiteX49" fmla="*/ 162582 w 453185"/>
                  <a:gd name="connsiteY49" fmla="*/ 238848 h 364488"/>
                  <a:gd name="connsiteX50" fmla="*/ 162847 w 453185"/>
                  <a:gd name="connsiteY50" fmla="*/ 240611 h 364488"/>
                  <a:gd name="connsiteX51" fmla="*/ 163111 w 453185"/>
                  <a:gd name="connsiteY51" fmla="*/ 242375 h 364488"/>
                  <a:gd name="connsiteX52" fmla="*/ 163111 w 453185"/>
                  <a:gd name="connsiteY52" fmla="*/ 243257 h 364488"/>
                  <a:gd name="connsiteX53" fmla="*/ 163376 w 453185"/>
                  <a:gd name="connsiteY53" fmla="*/ 244491 h 364488"/>
                  <a:gd name="connsiteX54" fmla="*/ 166638 w 453185"/>
                  <a:gd name="connsiteY54" fmla="*/ 246254 h 364488"/>
                  <a:gd name="connsiteX55" fmla="*/ 170165 w 453185"/>
                  <a:gd name="connsiteY55" fmla="*/ 251544 h 364488"/>
                  <a:gd name="connsiteX56" fmla="*/ 170429 w 453185"/>
                  <a:gd name="connsiteY56" fmla="*/ 251809 h 364488"/>
                  <a:gd name="connsiteX57" fmla="*/ 173956 w 453185"/>
                  <a:gd name="connsiteY57" fmla="*/ 255600 h 364488"/>
                  <a:gd name="connsiteX58" fmla="*/ 175720 w 453185"/>
                  <a:gd name="connsiteY58" fmla="*/ 254983 h 364488"/>
                  <a:gd name="connsiteX59" fmla="*/ 175984 w 453185"/>
                  <a:gd name="connsiteY59" fmla="*/ 255600 h 364488"/>
                  <a:gd name="connsiteX60" fmla="*/ 176249 w 453185"/>
                  <a:gd name="connsiteY60" fmla="*/ 257099 h 364488"/>
                  <a:gd name="connsiteX61" fmla="*/ 176513 w 453185"/>
                  <a:gd name="connsiteY61" fmla="*/ 259127 h 364488"/>
                  <a:gd name="connsiteX62" fmla="*/ 176778 w 453185"/>
                  <a:gd name="connsiteY62" fmla="*/ 260008 h 364488"/>
                  <a:gd name="connsiteX63" fmla="*/ 176778 w 453185"/>
                  <a:gd name="connsiteY63" fmla="*/ 260890 h 364488"/>
                  <a:gd name="connsiteX64" fmla="*/ 176513 w 453185"/>
                  <a:gd name="connsiteY64" fmla="*/ 260890 h 364488"/>
                  <a:gd name="connsiteX65" fmla="*/ 176778 w 453185"/>
                  <a:gd name="connsiteY65" fmla="*/ 262301 h 364488"/>
                  <a:gd name="connsiteX66" fmla="*/ 176778 w 453185"/>
                  <a:gd name="connsiteY66" fmla="*/ 263447 h 364488"/>
                  <a:gd name="connsiteX67" fmla="*/ 177395 w 453185"/>
                  <a:gd name="connsiteY67" fmla="*/ 264593 h 364488"/>
                  <a:gd name="connsiteX68" fmla="*/ 178012 w 453185"/>
                  <a:gd name="connsiteY68" fmla="*/ 263447 h 364488"/>
                  <a:gd name="connsiteX69" fmla="*/ 180392 w 453185"/>
                  <a:gd name="connsiteY69" fmla="*/ 263447 h 364488"/>
                  <a:gd name="connsiteX70" fmla="*/ 180657 w 453185"/>
                  <a:gd name="connsiteY70" fmla="*/ 265475 h 364488"/>
                  <a:gd name="connsiteX71" fmla="*/ 182156 w 453185"/>
                  <a:gd name="connsiteY71" fmla="*/ 266092 h 364488"/>
                  <a:gd name="connsiteX72" fmla="*/ 184448 w 453185"/>
                  <a:gd name="connsiteY72" fmla="*/ 266092 h 364488"/>
                  <a:gd name="connsiteX73" fmla="*/ 184448 w 453185"/>
                  <a:gd name="connsiteY73" fmla="*/ 267326 h 364488"/>
                  <a:gd name="connsiteX74" fmla="*/ 182156 w 453185"/>
                  <a:gd name="connsiteY74" fmla="*/ 267944 h 364488"/>
                  <a:gd name="connsiteX75" fmla="*/ 182420 w 453185"/>
                  <a:gd name="connsiteY75" fmla="*/ 268561 h 364488"/>
                  <a:gd name="connsiteX76" fmla="*/ 180657 w 453185"/>
                  <a:gd name="connsiteY76" fmla="*/ 267415 h 364488"/>
                  <a:gd name="connsiteX77" fmla="*/ 181010 w 453185"/>
                  <a:gd name="connsiteY77" fmla="*/ 268032 h 364488"/>
                  <a:gd name="connsiteX78" fmla="*/ 181010 w 453185"/>
                  <a:gd name="connsiteY78" fmla="*/ 269178 h 364488"/>
                  <a:gd name="connsiteX79" fmla="*/ 181274 w 453185"/>
                  <a:gd name="connsiteY79" fmla="*/ 270941 h 364488"/>
                  <a:gd name="connsiteX80" fmla="*/ 185066 w 453185"/>
                  <a:gd name="connsiteY80" fmla="*/ 272440 h 364488"/>
                  <a:gd name="connsiteX81" fmla="*/ 186212 w 453185"/>
                  <a:gd name="connsiteY81" fmla="*/ 274468 h 364488"/>
                  <a:gd name="connsiteX82" fmla="*/ 188592 w 453185"/>
                  <a:gd name="connsiteY82" fmla="*/ 280023 h 364488"/>
                  <a:gd name="connsiteX83" fmla="*/ 189738 w 453185"/>
                  <a:gd name="connsiteY83" fmla="*/ 283549 h 364488"/>
                  <a:gd name="connsiteX84" fmla="*/ 193000 w 453185"/>
                  <a:gd name="connsiteY84" fmla="*/ 286459 h 364488"/>
                  <a:gd name="connsiteX85" fmla="*/ 193265 w 453185"/>
                  <a:gd name="connsiteY85" fmla="*/ 287605 h 364488"/>
                  <a:gd name="connsiteX86" fmla="*/ 193529 w 453185"/>
                  <a:gd name="connsiteY86" fmla="*/ 289369 h 364488"/>
                  <a:gd name="connsiteX87" fmla="*/ 193529 w 453185"/>
                  <a:gd name="connsiteY87" fmla="*/ 290867 h 364488"/>
                  <a:gd name="connsiteX88" fmla="*/ 196703 w 453185"/>
                  <a:gd name="connsiteY88" fmla="*/ 291485 h 364488"/>
                  <a:gd name="connsiteX89" fmla="*/ 196968 w 453185"/>
                  <a:gd name="connsiteY89" fmla="*/ 293777 h 364488"/>
                  <a:gd name="connsiteX90" fmla="*/ 200230 w 453185"/>
                  <a:gd name="connsiteY90" fmla="*/ 295276 h 364488"/>
                  <a:gd name="connsiteX91" fmla="*/ 200230 w 453185"/>
                  <a:gd name="connsiteY91" fmla="*/ 296422 h 364488"/>
                  <a:gd name="connsiteX92" fmla="*/ 202875 w 453185"/>
                  <a:gd name="connsiteY92" fmla="*/ 296422 h 364488"/>
                  <a:gd name="connsiteX93" fmla="*/ 206314 w 453185"/>
                  <a:gd name="connsiteY93" fmla="*/ 296422 h 364488"/>
                  <a:gd name="connsiteX94" fmla="*/ 209576 w 453185"/>
                  <a:gd name="connsiteY94" fmla="*/ 296422 h 364488"/>
                  <a:gd name="connsiteX95" fmla="*/ 214778 w 453185"/>
                  <a:gd name="connsiteY95" fmla="*/ 300213 h 364488"/>
                  <a:gd name="connsiteX96" fmla="*/ 219098 w 453185"/>
                  <a:gd name="connsiteY96" fmla="*/ 300830 h 364488"/>
                  <a:gd name="connsiteX97" fmla="*/ 220862 w 453185"/>
                  <a:gd name="connsiteY97" fmla="*/ 301977 h 364488"/>
                  <a:gd name="connsiteX98" fmla="*/ 222625 w 453185"/>
                  <a:gd name="connsiteY98" fmla="*/ 303740 h 364488"/>
                  <a:gd name="connsiteX99" fmla="*/ 222890 w 453185"/>
                  <a:gd name="connsiteY99" fmla="*/ 305768 h 364488"/>
                  <a:gd name="connsiteX100" fmla="*/ 225270 w 453185"/>
                  <a:gd name="connsiteY100" fmla="*/ 305768 h 364488"/>
                  <a:gd name="connsiteX101" fmla="*/ 225535 w 453185"/>
                  <a:gd name="connsiteY101" fmla="*/ 307531 h 364488"/>
                  <a:gd name="connsiteX102" fmla="*/ 222890 w 453185"/>
                  <a:gd name="connsiteY102" fmla="*/ 307531 h 364488"/>
                  <a:gd name="connsiteX103" fmla="*/ 223154 w 453185"/>
                  <a:gd name="connsiteY103" fmla="*/ 308413 h 364488"/>
                  <a:gd name="connsiteX104" fmla="*/ 223154 w 453185"/>
                  <a:gd name="connsiteY104" fmla="*/ 308677 h 364488"/>
                  <a:gd name="connsiteX105" fmla="*/ 226417 w 453185"/>
                  <a:gd name="connsiteY105" fmla="*/ 310441 h 364488"/>
                  <a:gd name="connsiteX106" fmla="*/ 229679 w 453185"/>
                  <a:gd name="connsiteY106" fmla="*/ 311940 h 364488"/>
                  <a:gd name="connsiteX107" fmla="*/ 229943 w 453185"/>
                  <a:gd name="connsiteY107" fmla="*/ 312204 h 364488"/>
                  <a:gd name="connsiteX108" fmla="*/ 232324 w 453185"/>
                  <a:gd name="connsiteY108" fmla="*/ 313086 h 364488"/>
                  <a:gd name="connsiteX109" fmla="*/ 232588 w 453185"/>
                  <a:gd name="connsiteY109" fmla="*/ 314232 h 364488"/>
                  <a:gd name="connsiteX110" fmla="*/ 235762 w 453185"/>
                  <a:gd name="connsiteY110" fmla="*/ 314849 h 364488"/>
                  <a:gd name="connsiteX111" fmla="*/ 239289 w 453185"/>
                  <a:gd name="connsiteY111" fmla="*/ 317494 h 364488"/>
                  <a:gd name="connsiteX112" fmla="*/ 241934 w 453185"/>
                  <a:gd name="connsiteY112" fmla="*/ 317494 h 364488"/>
                  <a:gd name="connsiteX113" fmla="*/ 242551 w 453185"/>
                  <a:gd name="connsiteY113" fmla="*/ 318376 h 364488"/>
                  <a:gd name="connsiteX114" fmla="*/ 242551 w 453185"/>
                  <a:gd name="connsiteY114" fmla="*/ 318641 h 364488"/>
                  <a:gd name="connsiteX115" fmla="*/ 242551 w 453185"/>
                  <a:gd name="connsiteY115" fmla="*/ 319434 h 364488"/>
                  <a:gd name="connsiteX116" fmla="*/ 244843 w 453185"/>
                  <a:gd name="connsiteY116" fmla="*/ 320580 h 364488"/>
                  <a:gd name="connsiteX117" fmla="*/ 245726 w 453185"/>
                  <a:gd name="connsiteY117" fmla="*/ 321462 h 364488"/>
                  <a:gd name="connsiteX118" fmla="*/ 248635 w 453185"/>
                  <a:gd name="connsiteY118" fmla="*/ 323490 h 364488"/>
                  <a:gd name="connsiteX119" fmla="*/ 248635 w 453185"/>
                  <a:gd name="connsiteY119" fmla="*/ 324900 h 364488"/>
                  <a:gd name="connsiteX120" fmla="*/ 254807 w 453185"/>
                  <a:gd name="connsiteY120" fmla="*/ 324900 h 364488"/>
                  <a:gd name="connsiteX121" fmla="*/ 255424 w 453185"/>
                  <a:gd name="connsiteY121" fmla="*/ 323490 h 364488"/>
                  <a:gd name="connsiteX122" fmla="*/ 258598 w 453185"/>
                  <a:gd name="connsiteY122" fmla="*/ 324900 h 364488"/>
                  <a:gd name="connsiteX123" fmla="*/ 260890 w 453185"/>
                  <a:gd name="connsiteY123" fmla="*/ 324900 h 364488"/>
                  <a:gd name="connsiteX124" fmla="*/ 261507 w 453185"/>
                  <a:gd name="connsiteY124" fmla="*/ 324019 h 364488"/>
                  <a:gd name="connsiteX125" fmla="*/ 263271 w 453185"/>
                  <a:gd name="connsiteY125" fmla="*/ 324900 h 364488"/>
                  <a:gd name="connsiteX126" fmla="*/ 265034 w 453185"/>
                  <a:gd name="connsiteY126" fmla="*/ 326928 h 364488"/>
                  <a:gd name="connsiteX127" fmla="*/ 267326 w 453185"/>
                  <a:gd name="connsiteY127" fmla="*/ 326928 h 364488"/>
                  <a:gd name="connsiteX128" fmla="*/ 267326 w 453185"/>
                  <a:gd name="connsiteY128" fmla="*/ 327810 h 364488"/>
                  <a:gd name="connsiteX129" fmla="*/ 267591 w 453185"/>
                  <a:gd name="connsiteY129" fmla="*/ 328956 h 364488"/>
                  <a:gd name="connsiteX130" fmla="*/ 270765 w 453185"/>
                  <a:gd name="connsiteY130" fmla="*/ 329573 h 364488"/>
                  <a:gd name="connsiteX131" fmla="*/ 271294 w 453185"/>
                  <a:gd name="connsiteY131" fmla="*/ 329573 h 364488"/>
                  <a:gd name="connsiteX132" fmla="*/ 273675 w 453185"/>
                  <a:gd name="connsiteY132" fmla="*/ 329573 h 364488"/>
                  <a:gd name="connsiteX133" fmla="*/ 276584 w 453185"/>
                  <a:gd name="connsiteY133" fmla="*/ 326928 h 364488"/>
                  <a:gd name="connsiteX134" fmla="*/ 277201 w 453185"/>
                  <a:gd name="connsiteY134" fmla="*/ 326664 h 364488"/>
                  <a:gd name="connsiteX135" fmla="*/ 278700 w 453185"/>
                  <a:gd name="connsiteY135" fmla="*/ 326047 h 364488"/>
                  <a:gd name="connsiteX136" fmla="*/ 279318 w 453185"/>
                  <a:gd name="connsiteY136" fmla="*/ 324900 h 364488"/>
                  <a:gd name="connsiteX137" fmla="*/ 279934 w 453185"/>
                  <a:gd name="connsiteY137" fmla="*/ 324019 h 364488"/>
                  <a:gd name="connsiteX138" fmla="*/ 282844 w 453185"/>
                  <a:gd name="connsiteY138" fmla="*/ 321374 h 364488"/>
                  <a:gd name="connsiteX139" fmla="*/ 284608 w 453185"/>
                  <a:gd name="connsiteY139" fmla="*/ 321374 h 364488"/>
                  <a:gd name="connsiteX140" fmla="*/ 285225 w 453185"/>
                  <a:gd name="connsiteY140" fmla="*/ 322255 h 364488"/>
                  <a:gd name="connsiteX141" fmla="*/ 286106 w 453185"/>
                  <a:gd name="connsiteY141" fmla="*/ 323402 h 364488"/>
                  <a:gd name="connsiteX142" fmla="*/ 286106 w 453185"/>
                  <a:gd name="connsiteY142" fmla="*/ 322255 h 364488"/>
                  <a:gd name="connsiteX143" fmla="*/ 288134 w 453185"/>
                  <a:gd name="connsiteY143" fmla="*/ 321109 h 364488"/>
                  <a:gd name="connsiteX144" fmla="*/ 287870 w 453185"/>
                  <a:gd name="connsiteY144" fmla="*/ 318464 h 364488"/>
                  <a:gd name="connsiteX145" fmla="*/ 290779 w 453185"/>
                  <a:gd name="connsiteY145" fmla="*/ 317582 h 364488"/>
                  <a:gd name="connsiteX146" fmla="*/ 291397 w 453185"/>
                  <a:gd name="connsiteY146" fmla="*/ 316701 h 364488"/>
                  <a:gd name="connsiteX147" fmla="*/ 291661 w 453185"/>
                  <a:gd name="connsiteY147" fmla="*/ 317582 h 364488"/>
                  <a:gd name="connsiteX148" fmla="*/ 294306 w 453185"/>
                  <a:gd name="connsiteY148" fmla="*/ 316172 h 364488"/>
                  <a:gd name="connsiteX149" fmla="*/ 297480 w 453185"/>
                  <a:gd name="connsiteY149" fmla="*/ 316172 h 364488"/>
                  <a:gd name="connsiteX150" fmla="*/ 297216 w 453185"/>
                  <a:gd name="connsiteY150" fmla="*/ 315026 h 364488"/>
                  <a:gd name="connsiteX151" fmla="*/ 298891 w 453185"/>
                  <a:gd name="connsiteY151" fmla="*/ 313527 h 364488"/>
                  <a:gd name="connsiteX152" fmla="*/ 300125 w 453185"/>
                  <a:gd name="connsiteY152" fmla="*/ 312998 h 364488"/>
                  <a:gd name="connsiteX153" fmla="*/ 304798 w 453185"/>
                  <a:gd name="connsiteY153" fmla="*/ 311499 h 364488"/>
                  <a:gd name="connsiteX154" fmla="*/ 305680 w 453185"/>
                  <a:gd name="connsiteY154" fmla="*/ 312381 h 364488"/>
                  <a:gd name="connsiteX155" fmla="*/ 307972 w 453185"/>
                  <a:gd name="connsiteY155" fmla="*/ 312381 h 364488"/>
                  <a:gd name="connsiteX156" fmla="*/ 308589 w 453185"/>
                  <a:gd name="connsiteY156" fmla="*/ 312998 h 364488"/>
                  <a:gd name="connsiteX157" fmla="*/ 312116 w 453185"/>
                  <a:gd name="connsiteY157" fmla="*/ 312998 h 364488"/>
                  <a:gd name="connsiteX158" fmla="*/ 312116 w 453185"/>
                  <a:gd name="connsiteY158" fmla="*/ 313527 h 364488"/>
                  <a:gd name="connsiteX159" fmla="*/ 312997 w 453185"/>
                  <a:gd name="connsiteY159" fmla="*/ 313527 h 364488"/>
                  <a:gd name="connsiteX160" fmla="*/ 315378 w 453185"/>
                  <a:gd name="connsiteY160" fmla="*/ 313527 h 364488"/>
                  <a:gd name="connsiteX161" fmla="*/ 315378 w 453185"/>
                  <a:gd name="connsiteY161" fmla="*/ 314144 h 364488"/>
                  <a:gd name="connsiteX162" fmla="*/ 315378 w 453185"/>
                  <a:gd name="connsiteY162" fmla="*/ 315026 h 364488"/>
                  <a:gd name="connsiteX163" fmla="*/ 315378 w 453185"/>
                  <a:gd name="connsiteY163" fmla="*/ 315290 h 364488"/>
                  <a:gd name="connsiteX164" fmla="*/ 315643 w 453185"/>
                  <a:gd name="connsiteY164" fmla="*/ 316701 h 364488"/>
                  <a:gd name="connsiteX165" fmla="*/ 315643 w 453185"/>
                  <a:gd name="connsiteY165" fmla="*/ 316084 h 364488"/>
                  <a:gd name="connsiteX166" fmla="*/ 317671 w 453185"/>
                  <a:gd name="connsiteY166" fmla="*/ 317494 h 364488"/>
                  <a:gd name="connsiteX167" fmla="*/ 318817 w 453185"/>
                  <a:gd name="connsiteY167" fmla="*/ 316613 h 364488"/>
                  <a:gd name="connsiteX168" fmla="*/ 318817 w 453185"/>
                  <a:gd name="connsiteY168" fmla="*/ 317494 h 364488"/>
                  <a:gd name="connsiteX169" fmla="*/ 318817 w 453185"/>
                  <a:gd name="connsiteY169" fmla="*/ 317759 h 364488"/>
                  <a:gd name="connsiteX170" fmla="*/ 318552 w 453185"/>
                  <a:gd name="connsiteY170" fmla="*/ 317759 h 364488"/>
                  <a:gd name="connsiteX171" fmla="*/ 319081 w 453185"/>
                  <a:gd name="connsiteY171" fmla="*/ 320404 h 364488"/>
                  <a:gd name="connsiteX172" fmla="*/ 321727 w 453185"/>
                  <a:gd name="connsiteY172" fmla="*/ 325077 h 364488"/>
                  <a:gd name="connsiteX173" fmla="*/ 322608 w 453185"/>
                  <a:gd name="connsiteY173" fmla="*/ 327722 h 364488"/>
                  <a:gd name="connsiteX174" fmla="*/ 322608 w 453185"/>
                  <a:gd name="connsiteY174" fmla="*/ 330631 h 364488"/>
                  <a:gd name="connsiteX175" fmla="*/ 322608 w 453185"/>
                  <a:gd name="connsiteY175" fmla="*/ 331160 h 364488"/>
                  <a:gd name="connsiteX176" fmla="*/ 323754 w 453185"/>
                  <a:gd name="connsiteY176" fmla="*/ 332307 h 364488"/>
                  <a:gd name="connsiteX177" fmla="*/ 324019 w 453185"/>
                  <a:gd name="connsiteY177" fmla="*/ 334952 h 364488"/>
                  <a:gd name="connsiteX178" fmla="*/ 326311 w 453185"/>
                  <a:gd name="connsiteY178" fmla="*/ 336715 h 364488"/>
                  <a:gd name="connsiteX179" fmla="*/ 324283 w 453185"/>
                  <a:gd name="connsiteY179" fmla="*/ 337861 h 364488"/>
                  <a:gd name="connsiteX180" fmla="*/ 324548 w 453185"/>
                  <a:gd name="connsiteY180" fmla="*/ 339272 h 364488"/>
                  <a:gd name="connsiteX181" fmla="*/ 326840 w 453185"/>
                  <a:gd name="connsiteY181" fmla="*/ 341035 h 364488"/>
                  <a:gd name="connsiteX182" fmla="*/ 326840 w 453185"/>
                  <a:gd name="connsiteY182" fmla="*/ 341917 h 364488"/>
                  <a:gd name="connsiteX183" fmla="*/ 327457 w 453185"/>
                  <a:gd name="connsiteY183" fmla="*/ 343680 h 364488"/>
                  <a:gd name="connsiteX184" fmla="*/ 328339 w 453185"/>
                  <a:gd name="connsiteY184" fmla="*/ 346590 h 364488"/>
                  <a:gd name="connsiteX185" fmla="*/ 330984 w 453185"/>
                  <a:gd name="connsiteY185" fmla="*/ 346590 h 364488"/>
                  <a:gd name="connsiteX186" fmla="*/ 330984 w 453185"/>
                  <a:gd name="connsiteY186" fmla="*/ 347736 h 364488"/>
                  <a:gd name="connsiteX187" fmla="*/ 330984 w 453185"/>
                  <a:gd name="connsiteY187" fmla="*/ 346590 h 364488"/>
                  <a:gd name="connsiteX188" fmla="*/ 330984 w 453185"/>
                  <a:gd name="connsiteY188" fmla="*/ 347736 h 364488"/>
                  <a:gd name="connsiteX189" fmla="*/ 334158 w 453185"/>
                  <a:gd name="connsiteY189" fmla="*/ 348618 h 364488"/>
                  <a:gd name="connsiteX190" fmla="*/ 337685 w 453185"/>
                  <a:gd name="connsiteY190" fmla="*/ 347736 h 364488"/>
                  <a:gd name="connsiteX191" fmla="*/ 338567 w 453185"/>
                  <a:gd name="connsiteY191" fmla="*/ 349235 h 364488"/>
                  <a:gd name="connsiteX192" fmla="*/ 338831 w 453185"/>
                  <a:gd name="connsiteY192" fmla="*/ 350381 h 364488"/>
                  <a:gd name="connsiteX193" fmla="*/ 341211 w 453185"/>
                  <a:gd name="connsiteY193" fmla="*/ 349235 h 364488"/>
                  <a:gd name="connsiteX194" fmla="*/ 343504 w 453185"/>
                  <a:gd name="connsiteY194" fmla="*/ 349235 h 364488"/>
                  <a:gd name="connsiteX195" fmla="*/ 344121 w 453185"/>
                  <a:gd name="connsiteY195" fmla="*/ 349235 h 364488"/>
                  <a:gd name="connsiteX196" fmla="*/ 344385 w 453185"/>
                  <a:gd name="connsiteY196" fmla="*/ 350381 h 364488"/>
                  <a:gd name="connsiteX197" fmla="*/ 344385 w 453185"/>
                  <a:gd name="connsiteY197" fmla="*/ 352145 h 364488"/>
                  <a:gd name="connsiteX198" fmla="*/ 347648 w 453185"/>
                  <a:gd name="connsiteY198" fmla="*/ 353026 h 364488"/>
                  <a:gd name="connsiteX199" fmla="*/ 349411 w 453185"/>
                  <a:gd name="connsiteY199" fmla="*/ 353026 h 364488"/>
                  <a:gd name="connsiteX200" fmla="*/ 349411 w 453185"/>
                  <a:gd name="connsiteY200" fmla="*/ 352145 h 364488"/>
                  <a:gd name="connsiteX201" fmla="*/ 350028 w 453185"/>
                  <a:gd name="connsiteY201" fmla="*/ 352145 h 364488"/>
                  <a:gd name="connsiteX202" fmla="*/ 350646 w 453185"/>
                  <a:gd name="connsiteY202" fmla="*/ 351527 h 364488"/>
                  <a:gd name="connsiteX203" fmla="*/ 352409 w 453185"/>
                  <a:gd name="connsiteY203" fmla="*/ 351527 h 364488"/>
                  <a:gd name="connsiteX204" fmla="*/ 353026 w 453185"/>
                  <a:gd name="connsiteY204" fmla="*/ 351527 h 364488"/>
                  <a:gd name="connsiteX205" fmla="*/ 353908 w 453185"/>
                  <a:gd name="connsiteY205" fmla="*/ 351527 h 364488"/>
                  <a:gd name="connsiteX206" fmla="*/ 356817 w 453185"/>
                  <a:gd name="connsiteY206" fmla="*/ 351527 h 364488"/>
                  <a:gd name="connsiteX207" fmla="*/ 360080 w 453185"/>
                  <a:gd name="connsiteY207" fmla="*/ 352145 h 364488"/>
                  <a:gd name="connsiteX208" fmla="*/ 360080 w 453185"/>
                  <a:gd name="connsiteY208" fmla="*/ 353026 h 364488"/>
                  <a:gd name="connsiteX209" fmla="*/ 363254 w 453185"/>
                  <a:gd name="connsiteY209" fmla="*/ 352145 h 364488"/>
                  <a:gd name="connsiteX210" fmla="*/ 363254 w 453185"/>
                  <a:gd name="connsiteY210" fmla="*/ 353026 h 364488"/>
                  <a:gd name="connsiteX211" fmla="*/ 365017 w 453185"/>
                  <a:gd name="connsiteY211" fmla="*/ 353291 h 364488"/>
                  <a:gd name="connsiteX212" fmla="*/ 366692 w 453185"/>
                  <a:gd name="connsiteY212" fmla="*/ 356465 h 364488"/>
                  <a:gd name="connsiteX213" fmla="*/ 369602 w 453185"/>
                  <a:gd name="connsiteY213" fmla="*/ 356465 h 364488"/>
                  <a:gd name="connsiteX214" fmla="*/ 374892 w 453185"/>
                  <a:gd name="connsiteY214" fmla="*/ 353820 h 364488"/>
                  <a:gd name="connsiteX215" fmla="*/ 378154 w 453185"/>
                  <a:gd name="connsiteY215" fmla="*/ 354701 h 364488"/>
                  <a:gd name="connsiteX216" fmla="*/ 379036 w 453185"/>
                  <a:gd name="connsiteY216" fmla="*/ 355848 h 364488"/>
                  <a:gd name="connsiteX217" fmla="*/ 379036 w 453185"/>
                  <a:gd name="connsiteY217" fmla="*/ 356465 h 364488"/>
                  <a:gd name="connsiteX218" fmla="*/ 384855 w 453185"/>
                  <a:gd name="connsiteY218" fmla="*/ 355848 h 364488"/>
                  <a:gd name="connsiteX219" fmla="*/ 384855 w 453185"/>
                  <a:gd name="connsiteY219" fmla="*/ 357611 h 364488"/>
                  <a:gd name="connsiteX220" fmla="*/ 386883 w 453185"/>
                  <a:gd name="connsiteY220" fmla="*/ 356994 h 364488"/>
                  <a:gd name="connsiteX221" fmla="*/ 387765 w 453185"/>
                  <a:gd name="connsiteY221" fmla="*/ 356377 h 364488"/>
                  <a:gd name="connsiteX222" fmla="*/ 390674 w 453185"/>
                  <a:gd name="connsiteY222" fmla="*/ 356377 h 364488"/>
                  <a:gd name="connsiteX223" fmla="*/ 390674 w 453185"/>
                  <a:gd name="connsiteY223" fmla="*/ 357523 h 364488"/>
                  <a:gd name="connsiteX224" fmla="*/ 391291 w 453185"/>
                  <a:gd name="connsiteY224" fmla="*/ 358404 h 364488"/>
                  <a:gd name="connsiteX225" fmla="*/ 393055 w 453185"/>
                  <a:gd name="connsiteY225" fmla="*/ 356906 h 364488"/>
                  <a:gd name="connsiteX226" fmla="*/ 393584 w 453185"/>
                  <a:gd name="connsiteY226" fmla="*/ 356288 h 364488"/>
                  <a:gd name="connsiteX227" fmla="*/ 393848 w 453185"/>
                  <a:gd name="connsiteY227" fmla="*/ 357435 h 364488"/>
                  <a:gd name="connsiteX228" fmla="*/ 397375 w 453185"/>
                  <a:gd name="connsiteY228" fmla="*/ 358316 h 364488"/>
                  <a:gd name="connsiteX229" fmla="*/ 398257 w 453185"/>
                  <a:gd name="connsiteY229" fmla="*/ 359198 h 364488"/>
                  <a:gd name="connsiteX230" fmla="*/ 397375 w 453185"/>
                  <a:gd name="connsiteY230" fmla="*/ 358316 h 364488"/>
                  <a:gd name="connsiteX231" fmla="*/ 397375 w 453185"/>
                  <a:gd name="connsiteY231" fmla="*/ 357435 h 364488"/>
                  <a:gd name="connsiteX232" fmla="*/ 397110 w 453185"/>
                  <a:gd name="connsiteY232" fmla="*/ 356288 h 364488"/>
                  <a:gd name="connsiteX233" fmla="*/ 397110 w 453185"/>
                  <a:gd name="connsiteY233" fmla="*/ 354878 h 364488"/>
                  <a:gd name="connsiteX234" fmla="*/ 400020 w 453185"/>
                  <a:gd name="connsiteY234" fmla="*/ 354878 h 364488"/>
                  <a:gd name="connsiteX235" fmla="*/ 400284 w 453185"/>
                  <a:gd name="connsiteY235" fmla="*/ 356288 h 364488"/>
                  <a:gd name="connsiteX236" fmla="*/ 400284 w 453185"/>
                  <a:gd name="connsiteY236" fmla="*/ 357435 h 364488"/>
                  <a:gd name="connsiteX237" fmla="*/ 401166 w 453185"/>
                  <a:gd name="connsiteY237" fmla="*/ 358581 h 364488"/>
                  <a:gd name="connsiteX238" fmla="*/ 400549 w 453185"/>
                  <a:gd name="connsiteY238" fmla="*/ 358581 h 364488"/>
                  <a:gd name="connsiteX239" fmla="*/ 400549 w 453185"/>
                  <a:gd name="connsiteY239" fmla="*/ 359198 h 364488"/>
                  <a:gd name="connsiteX240" fmla="*/ 413069 w 453185"/>
                  <a:gd name="connsiteY240" fmla="*/ 361843 h 364488"/>
                  <a:gd name="connsiteX241" fmla="*/ 415714 w 453185"/>
                  <a:gd name="connsiteY241" fmla="*/ 362989 h 364488"/>
                  <a:gd name="connsiteX242" fmla="*/ 419505 w 453185"/>
                  <a:gd name="connsiteY242" fmla="*/ 364488 h 364488"/>
                  <a:gd name="connsiteX243" fmla="*/ 419505 w 453185"/>
                  <a:gd name="connsiteY243" fmla="*/ 363518 h 364488"/>
                  <a:gd name="connsiteX244" fmla="*/ 420122 w 453185"/>
                  <a:gd name="connsiteY244" fmla="*/ 363518 h 364488"/>
                  <a:gd name="connsiteX245" fmla="*/ 420122 w 453185"/>
                  <a:gd name="connsiteY245" fmla="*/ 362372 h 364488"/>
                  <a:gd name="connsiteX246" fmla="*/ 419858 w 453185"/>
                  <a:gd name="connsiteY246" fmla="*/ 360873 h 364488"/>
                  <a:gd name="connsiteX247" fmla="*/ 422150 w 453185"/>
                  <a:gd name="connsiteY247" fmla="*/ 360873 h 364488"/>
                  <a:gd name="connsiteX248" fmla="*/ 421533 w 453185"/>
                  <a:gd name="connsiteY248" fmla="*/ 360873 h 364488"/>
                  <a:gd name="connsiteX249" fmla="*/ 422150 w 453185"/>
                  <a:gd name="connsiteY249" fmla="*/ 360609 h 364488"/>
                  <a:gd name="connsiteX250" fmla="*/ 422150 w 453185"/>
                  <a:gd name="connsiteY250" fmla="*/ 360873 h 364488"/>
                  <a:gd name="connsiteX251" fmla="*/ 424178 w 453185"/>
                  <a:gd name="connsiteY251" fmla="*/ 358845 h 364488"/>
                  <a:gd name="connsiteX252" fmla="*/ 423561 w 453185"/>
                  <a:gd name="connsiteY252" fmla="*/ 353555 h 364488"/>
                  <a:gd name="connsiteX253" fmla="*/ 423296 w 453185"/>
                  <a:gd name="connsiteY253" fmla="*/ 348882 h 364488"/>
                  <a:gd name="connsiteX254" fmla="*/ 425324 w 453185"/>
                  <a:gd name="connsiteY254" fmla="*/ 348882 h 364488"/>
                  <a:gd name="connsiteX255" fmla="*/ 426823 w 453185"/>
                  <a:gd name="connsiteY255" fmla="*/ 348001 h 364488"/>
                  <a:gd name="connsiteX256" fmla="*/ 426471 w 453185"/>
                  <a:gd name="connsiteY256" fmla="*/ 346854 h 364488"/>
                  <a:gd name="connsiteX257" fmla="*/ 425589 w 453185"/>
                  <a:gd name="connsiteY257" fmla="*/ 345708 h 364488"/>
                  <a:gd name="connsiteX258" fmla="*/ 426206 w 453185"/>
                  <a:gd name="connsiteY258" fmla="*/ 345091 h 364488"/>
                  <a:gd name="connsiteX259" fmla="*/ 426206 w 453185"/>
                  <a:gd name="connsiteY259" fmla="*/ 343945 h 364488"/>
                  <a:gd name="connsiteX260" fmla="*/ 425324 w 453185"/>
                  <a:gd name="connsiteY260" fmla="*/ 342181 h 364488"/>
                  <a:gd name="connsiteX261" fmla="*/ 425941 w 453185"/>
                  <a:gd name="connsiteY261" fmla="*/ 341300 h 364488"/>
                  <a:gd name="connsiteX262" fmla="*/ 425677 w 453185"/>
                  <a:gd name="connsiteY262" fmla="*/ 339536 h 364488"/>
                  <a:gd name="connsiteX263" fmla="*/ 425148 w 453185"/>
                  <a:gd name="connsiteY263" fmla="*/ 335128 h 364488"/>
                  <a:gd name="connsiteX264" fmla="*/ 428058 w 453185"/>
                  <a:gd name="connsiteY264" fmla="*/ 334246 h 364488"/>
                  <a:gd name="connsiteX265" fmla="*/ 427793 w 453185"/>
                  <a:gd name="connsiteY265" fmla="*/ 332483 h 364488"/>
                  <a:gd name="connsiteX266" fmla="*/ 429821 w 453185"/>
                  <a:gd name="connsiteY266" fmla="*/ 333982 h 364488"/>
                  <a:gd name="connsiteX267" fmla="*/ 430438 w 453185"/>
                  <a:gd name="connsiteY267" fmla="*/ 334246 h 364488"/>
                  <a:gd name="connsiteX268" fmla="*/ 433700 w 453185"/>
                  <a:gd name="connsiteY268" fmla="*/ 334246 h 364488"/>
                  <a:gd name="connsiteX269" fmla="*/ 433700 w 453185"/>
                  <a:gd name="connsiteY269" fmla="*/ 333982 h 364488"/>
                  <a:gd name="connsiteX270" fmla="*/ 433436 w 453185"/>
                  <a:gd name="connsiteY270" fmla="*/ 332483 h 364488"/>
                  <a:gd name="connsiteX271" fmla="*/ 433436 w 453185"/>
                  <a:gd name="connsiteY271" fmla="*/ 331337 h 364488"/>
                  <a:gd name="connsiteX272" fmla="*/ 433171 w 453185"/>
                  <a:gd name="connsiteY272" fmla="*/ 330455 h 364488"/>
                  <a:gd name="connsiteX273" fmla="*/ 433171 w 453185"/>
                  <a:gd name="connsiteY273" fmla="*/ 329573 h 364488"/>
                  <a:gd name="connsiteX274" fmla="*/ 434317 w 453185"/>
                  <a:gd name="connsiteY274" fmla="*/ 327810 h 364488"/>
                  <a:gd name="connsiteX275" fmla="*/ 436610 w 453185"/>
                  <a:gd name="connsiteY275" fmla="*/ 327810 h 364488"/>
                  <a:gd name="connsiteX276" fmla="*/ 439519 w 453185"/>
                  <a:gd name="connsiteY276" fmla="*/ 326928 h 364488"/>
                  <a:gd name="connsiteX277" fmla="*/ 441812 w 453185"/>
                  <a:gd name="connsiteY277" fmla="*/ 326664 h 364488"/>
                  <a:gd name="connsiteX278" fmla="*/ 442341 w 453185"/>
                  <a:gd name="connsiteY278" fmla="*/ 326928 h 364488"/>
                  <a:gd name="connsiteX279" fmla="*/ 442341 w 453185"/>
                  <a:gd name="connsiteY279" fmla="*/ 326664 h 364488"/>
                  <a:gd name="connsiteX280" fmla="*/ 445250 w 453185"/>
                  <a:gd name="connsiteY280" fmla="*/ 326047 h 364488"/>
                  <a:gd name="connsiteX281" fmla="*/ 450540 w 453185"/>
                  <a:gd name="connsiteY281" fmla="*/ 326047 h 364488"/>
                  <a:gd name="connsiteX282" fmla="*/ 451158 w 453185"/>
                  <a:gd name="connsiteY282" fmla="*/ 324019 h 364488"/>
                  <a:gd name="connsiteX283" fmla="*/ 450011 w 453185"/>
                  <a:gd name="connsiteY283" fmla="*/ 321109 h 364488"/>
                  <a:gd name="connsiteX284" fmla="*/ 453185 w 453185"/>
                  <a:gd name="connsiteY284" fmla="*/ 320492 h 364488"/>
                  <a:gd name="connsiteX285" fmla="*/ 452304 w 453185"/>
                  <a:gd name="connsiteY285" fmla="*/ 314056 h 364488"/>
                  <a:gd name="connsiteX286" fmla="*/ 453185 w 453185"/>
                  <a:gd name="connsiteY286" fmla="*/ 313439 h 364488"/>
                  <a:gd name="connsiteX287" fmla="*/ 452304 w 453185"/>
                  <a:gd name="connsiteY287" fmla="*/ 311146 h 364488"/>
                  <a:gd name="connsiteX288" fmla="*/ 452039 w 453185"/>
                  <a:gd name="connsiteY288" fmla="*/ 311146 h 364488"/>
                  <a:gd name="connsiteX289" fmla="*/ 451158 w 453185"/>
                  <a:gd name="connsiteY289" fmla="*/ 310000 h 364488"/>
                  <a:gd name="connsiteX290" fmla="*/ 449394 w 453185"/>
                  <a:gd name="connsiteY290" fmla="*/ 309118 h 364488"/>
                  <a:gd name="connsiteX291" fmla="*/ 446220 w 453185"/>
                  <a:gd name="connsiteY291" fmla="*/ 310617 h 364488"/>
                  <a:gd name="connsiteX292" fmla="*/ 445956 w 453185"/>
                  <a:gd name="connsiteY292" fmla="*/ 311234 h 364488"/>
                  <a:gd name="connsiteX293" fmla="*/ 443311 w 453185"/>
                  <a:gd name="connsiteY293" fmla="*/ 311234 h 364488"/>
                  <a:gd name="connsiteX294" fmla="*/ 441812 w 453185"/>
                  <a:gd name="connsiteY294" fmla="*/ 309735 h 364488"/>
                  <a:gd name="connsiteX295" fmla="*/ 442341 w 453185"/>
                  <a:gd name="connsiteY295" fmla="*/ 308589 h 364488"/>
                  <a:gd name="connsiteX296" fmla="*/ 441459 w 453185"/>
                  <a:gd name="connsiteY296" fmla="*/ 307972 h 364488"/>
                  <a:gd name="connsiteX297" fmla="*/ 442341 w 453185"/>
                  <a:gd name="connsiteY297" fmla="*/ 305063 h 364488"/>
                  <a:gd name="connsiteX298" fmla="*/ 441459 w 453185"/>
                  <a:gd name="connsiteY298" fmla="*/ 297745 h 364488"/>
                  <a:gd name="connsiteX299" fmla="*/ 437403 w 453185"/>
                  <a:gd name="connsiteY299" fmla="*/ 290779 h 364488"/>
                  <a:gd name="connsiteX300" fmla="*/ 438285 w 453185"/>
                  <a:gd name="connsiteY300" fmla="*/ 285842 h 364488"/>
                  <a:gd name="connsiteX301" fmla="*/ 438285 w 453185"/>
                  <a:gd name="connsiteY301" fmla="*/ 285225 h 364488"/>
                  <a:gd name="connsiteX302" fmla="*/ 433348 w 453185"/>
                  <a:gd name="connsiteY302" fmla="*/ 285225 h 364488"/>
                  <a:gd name="connsiteX303" fmla="*/ 433348 w 453185"/>
                  <a:gd name="connsiteY303" fmla="*/ 284167 h 364488"/>
                  <a:gd name="connsiteX304" fmla="*/ 430703 w 453185"/>
                  <a:gd name="connsiteY304" fmla="*/ 283020 h 364488"/>
                  <a:gd name="connsiteX305" fmla="*/ 429556 w 453185"/>
                  <a:gd name="connsiteY305" fmla="*/ 280375 h 364488"/>
                  <a:gd name="connsiteX306" fmla="*/ 426029 w 453185"/>
                  <a:gd name="connsiteY306" fmla="*/ 280375 h 364488"/>
                  <a:gd name="connsiteX307" fmla="*/ 420211 w 453185"/>
                  <a:gd name="connsiteY307" fmla="*/ 278612 h 364488"/>
                  <a:gd name="connsiteX308" fmla="*/ 417037 w 453185"/>
                  <a:gd name="connsiteY308" fmla="*/ 277466 h 364488"/>
                  <a:gd name="connsiteX309" fmla="*/ 416155 w 453185"/>
                  <a:gd name="connsiteY309" fmla="*/ 275702 h 364488"/>
                  <a:gd name="connsiteX310" fmla="*/ 413510 w 453185"/>
                  <a:gd name="connsiteY310" fmla="*/ 273939 h 364488"/>
                  <a:gd name="connsiteX311" fmla="*/ 412363 w 453185"/>
                  <a:gd name="connsiteY311" fmla="*/ 271911 h 364488"/>
                  <a:gd name="connsiteX312" fmla="*/ 409718 w 453185"/>
                  <a:gd name="connsiteY312" fmla="*/ 270412 h 364488"/>
                  <a:gd name="connsiteX313" fmla="*/ 409718 w 453185"/>
                  <a:gd name="connsiteY313" fmla="*/ 268120 h 364488"/>
                  <a:gd name="connsiteX314" fmla="*/ 407955 w 453185"/>
                  <a:gd name="connsiteY314" fmla="*/ 266974 h 364488"/>
                  <a:gd name="connsiteX315" fmla="*/ 407603 w 453185"/>
                  <a:gd name="connsiteY315" fmla="*/ 265211 h 364488"/>
                  <a:gd name="connsiteX316" fmla="*/ 406103 w 453185"/>
                  <a:gd name="connsiteY316" fmla="*/ 263183 h 364488"/>
                  <a:gd name="connsiteX317" fmla="*/ 405574 w 453185"/>
                  <a:gd name="connsiteY317" fmla="*/ 263183 h 364488"/>
                  <a:gd name="connsiteX318" fmla="*/ 405574 w 453185"/>
                  <a:gd name="connsiteY318" fmla="*/ 262036 h 364488"/>
                  <a:gd name="connsiteX319" fmla="*/ 407074 w 453185"/>
                  <a:gd name="connsiteY319" fmla="*/ 257628 h 364488"/>
                  <a:gd name="connsiteX320" fmla="*/ 403547 w 453185"/>
                  <a:gd name="connsiteY320" fmla="*/ 257364 h 364488"/>
                  <a:gd name="connsiteX321" fmla="*/ 393584 w 453185"/>
                  <a:gd name="connsiteY321" fmla="*/ 244844 h 364488"/>
                  <a:gd name="connsiteX322" fmla="*/ 407074 w 453185"/>
                  <a:gd name="connsiteY322" fmla="*/ 221479 h 364488"/>
                  <a:gd name="connsiteX323" fmla="*/ 405839 w 453185"/>
                  <a:gd name="connsiteY323" fmla="*/ 218569 h 364488"/>
                  <a:gd name="connsiteX324" fmla="*/ 407074 w 453185"/>
                  <a:gd name="connsiteY324" fmla="*/ 215924 h 364488"/>
                  <a:gd name="connsiteX325" fmla="*/ 404693 w 453185"/>
                  <a:gd name="connsiteY325" fmla="*/ 210899 h 364488"/>
                  <a:gd name="connsiteX326" fmla="*/ 403811 w 453185"/>
                  <a:gd name="connsiteY326" fmla="*/ 208871 h 364488"/>
                  <a:gd name="connsiteX327" fmla="*/ 402312 w 453185"/>
                  <a:gd name="connsiteY327" fmla="*/ 207725 h 364488"/>
                  <a:gd name="connsiteX328" fmla="*/ 383709 w 453185"/>
                  <a:gd name="connsiteY328" fmla="*/ 204815 h 364488"/>
                  <a:gd name="connsiteX329" fmla="*/ 381064 w 453185"/>
                  <a:gd name="connsiteY329" fmla="*/ 193706 h 364488"/>
                  <a:gd name="connsiteX330" fmla="*/ 380799 w 453185"/>
                  <a:gd name="connsiteY330" fmla="*/ 190179 h 364488"/>
                  <a:gd name="connsiteX331" fmla="*/ 380535 w 453185"/>
                  <a:gd name="connsiteY331" fmla="*/ 186388 h 364488"/>
                  <a:gd name="connsiteX332" fmla="*/ 370307 w 453185"/>
                  <a:gd name="connsiteY332" fmla="*/ 163640 h 364488"/>
                  <a:gd name="connsiteX333" fmla="*/ 376744 w 453185"/>
                  <a:gd name="connsiteY333" fmla="*/ 153766 h 364488"/>
                  <a:gd name="connsiteX334" fmla="*/ 370307 w 453185"/>
                  <a:gd name="connsiteY334" fmla="*/ 152267 h 364488"/>
                  <a:gd name="connsiteX335" fmla="*/ 367133 w 453185"/>
                  <a:gd name="connsiteY335" fmla="*/ 152002 h 364488"/>
                  <a:gd name="connsiteX336" fmla="*/ 364841 w 453185"/>
                  <a:gd name="connsiteY336" fmla="*/ 148476 h 364488"/>
                  <a:gd name="connsiteX337" fmla="*/ 363078 w 453185"/>
                  <a:gd name="connsiteY337" fmla="*/ 139130 h 364488"/>
                  <a:gd name="connsiteX338" fmla="*/ 367221 w 453185"/>
                  <a:gd name="connsiteY338" fmla="*/ 134192 h 364488"/>
                  <a:gd name="connsiteX339" fmla="*/ 371012 w 453185"/>
                  <a:gd name="connsiteY339" fmla="*/ 134192 h 364488"/>
                  <a:gd name="connsiteX340" fmla="*/ 369249 w 453185"/>
                  <a:gd name="connsiteY340" fmla="*/ 131283 h 364488"/>
                  <a:gd name="connsiteX341" fmla="*/ 371277 w 453185"/>
                  <a:gd name="connsiteY341" fmla="*/ 130136 h 364488"/>
                  <a:gd name="connsiteX342" fmla="*/ 366604 w 453185"/>
                  <a:gd name="connsiteY342" fmla="*/ 128638 h 364488"/>
                  <a:gd name="connsiteX343" fmla="*/ 371012 w 453185"/>
                  <a:gd name="connsiteY343" fmla="*/ 125728 h 364488"/>
                  <a:gd name="connsiteX344" fmla="*/ 372511 w 453185"/>
                  <a:gd name="connsiteY344" fmla="*/ 119292 h 364488"/>
                  <a:gd name="connsiteX345" fmla="*/ 372247 w 453185"/>
                  <a:gd name="connsiteY345" fmla="*/ 116647 h 364488"/>
                  <a:gd name="connsiteX346" fmla="*/ 371894 w 453185"/>
                  <a:gd name="connsiteY346" fmla="*/ 115501 h 364488"/>
                  <a:gd name="connsiteX347" fmla="*/ 372511 w 453185"/>
                  <a:gd name="connsiteY347" fmla="*/ 114354 h 364488"/>
                  <a:gd name="connsiteX348" fmla="*/ 372247 w 453185"/>
                  <a:gd name="connsiteY348" fmla="*/ 113737 h 364488"/>
                  <a:gd name="connsiteX349" fmla="*/ 371365 w 453185"/>
                  <a:gd name="connsiteY349" fmla="*/ 112591 h 364488"/>
                  <a:gd name="connsiteX350" fmla="*/ 371365 w 453185"/>
                  <a:gd name="connsiteY350" fmla="*/ 111974 h 364488"/>
                  <a:gd name="connsiteX351" fmla="*/ 372247 w 453185"/>
                  <a:gd name="connsiteY351" fmla="*/ 102628 h 364488"/>
                  <a:gd name="connsiteX352" fmla="*/ 371630 w 453185"/>
                  <a:gd name="connsiteY352" fmla="*/ 99983 h 364488"/>
                  <a:gd name="connsiteX353" fmla="*/ 371012 w 453185"/>
                  <a:gd name="connsiteY353" fmla="*/ 96456 h 364488"/>
                  <a:gd name="connsiteX354" fmla="*/ 370395 w 453185"/>
                  <a:gd name="connsiteY354" fmla="*/ 94428 h 364488"/>
                  <a:gd name="connsiteX355" fmla="*/ 368015 w 453185"/>
                  <a:gd name="connsiteY355" fmla="*/ 93811 h 364488"/>
                  <a:gd name="connsiteX356" fmla="*/ 367133 w 453185"/>
                  <a:gd name="connsiteY356" fmla="*/ 92665 h 364488"/>
                  <a:gd name="connsiteX357" fmla="*/ 367750 w 453185"/>
                  <a:gd name="connsiteY357" fmla="*/ 92048 h 364488"/>
                  <a:gd name="connsiteX358" fmla="*/ 367486 w 453185"/>
                  <a:gd name="connsiteY358" fmla="*/ 91519 h 364488"/>
                  <a:gd name="connsiteX359" fmla="*/ 367486 w 453185"/>
                  <a:gd name="connsiteY359" fmla="*/ 90902 h 364488"/>
                  <a:gd name="connsiteX360" fmla="*/ 369249 w 453185"/>
                  <a:gd name="connsiteY360" fmla="*/ 89138 h 364488"/>
                  <a:gd name="connsiteX361" fmla="*/ 366340 w 453185"/>
                  <a:gd name="connsiteY361" fmla="*/ 85347 h 364488"/>
                  <a:gd name="connsiteX362" fmla="*/ 365987 w 453185"/>
                  <a:gd name="connsiteY362" fmla="*/ 84730 h 364488"/>
                  <a:gd name="connsiteX363" fmla="*/ 365458 w 453185"/>
                  <a:gd name="connsiteY363" fmla="*/ 82085 h 364488"/>
                  <a:gd name="connsiteX364" fmla="*/ 365458 w 453185"/>
                  <a:gd name="connsiteY364" fmla="*/ 81820 h 364488"/>
                  <a:gd name="connsiteX365" fmla="*/ 365194 w 453185"/>
                  <a:gd name="connsiteY365" fmla="*/ 80057 h 364488"/>
                  <a:gd name="connsiteX366" fmla="*/ 364576 w 453185"/>
                  <a:gd name="connsiteY366" fmla="*/ 78293 h 364488"/>
                  <a:gd name="connsiteX367" fmla="*/ 363959 w 453185"/>
                  <a:gd name="connsiteY367" fmla="*/ 75384 h 364488"/>
                  <a:gd name="connsiteX368" fmla="*/ 348794 w 453185"/>
                  <a:gd name="connsiteY368" fmla="*/ 75384 h 364488"/>
                  <a:gd name="connsiteX369" fmla="*/ 346149 w 453185"/>
                  <a:gd name="connsiteY369" fmla="*/ 75384 h 364488"/>
                  <a:gd name="connsiteX370" fmla="*/ 345885 w 453185"/>
                  <a:gd name="connsiteY370" fmla="*/ 74767 h 364488"/>
                  <a:gd name="connsiteX371" fmla="*/ 345620 w 453185"/>
                  <a:gd name="connsiteY371" fmla="*/ 73621 h 364488"/>
                  <a:gd name="connsiteX372" fmla="*/ 342358 w 453185"/>
                  <a:gd name="connsiteY372" fmla="*/ 70711 h 364488"/>
                  <a:gd name="connsiteX373" fmla="*/ 338302 w 453185"/>
                  <a:gd name="connsiteY373" fmla="*/ 66303 h 364488"/>
                  <a:gd name="connsiteX374" fmla="*/ 337420 w 453185"/>
                  <a:gd name="connsiteY374" fmla="*/ 66303 h 364488"/>
                  <a:gd name="connsiteX375" fmla="*/ 334511 w 453185"/>
                  <a:gd name="connsiteY375" fmla="*/ 64539 h 364488"/>
                  <a:gd name="connsiteX376" fmla="*/ 332483 w 453185"/>
                  <a:gd name="connsiteY376" fmla="*/ 64539 h 364488"/>
                  <a:gd name="connsiteX377" fmla="*/ 331601 w 453185"/>
                  <a:gd name="connsiteY377" fmla="*/ 63658 h 364488"/>
                  <a:gd name="connsiteX378" fmla="*/ 329309 w 453185"/>
                  <a:gd name="connsiteY378" fmla="*/ 64539 h 364488"/>
                  <a:gd name="connsiteX379" fmla="*/ 329044 w 453185"/>
                  <a:gd name="connsiteY379" fmla="*/ 62776 h 364488"/>
                  <a:gd name="connsiteX380" fmla="*/ 328692 w 453185"/>
                  <a:gd name="connsiteY380" fmla="*/ 61894 h 364488"/>
                  <a:gd name="connsiteX381" fmla="*/ 329044 w 453185"/>
                  <a:gd name="connsiteY381" fmla="*/ 62511 h 364488"/>
                  <a:gd name="connsiteX382" fmla="*/ 326135 w 453185"/>
                  <a:gd name="connsiteY382" fmla="*/ 61894 h 364488"/>
                  <a:gd name="connsiteX383" fmla="*/ 326135 w 453185"/>
                  <a:gd name="connsiteY383" fmla="*/ 61013 h 364488"/>
                  <a:gd name="connsiteX384" fmla="*/ 324989 w 453185"/>
                  <a:gd name="connsiteY384" fmla="*/ 59866 h 364488"/>
                  <a:gd name="connsiteX385" fmla="*/ 323490 w 453185"/>
                  <a:gd name="connsiteY385" fmla="*/ 56957 h 364488"/>
                  <a:gd name="connsiteX386" fmla="*/ 324107 w 453185"/>
                  <a:gd name="connsiteY386" fmla="*/ 56957 h 364488"/>
                  <a:gd name="connsiteX387" fmla="*/ 323843 w 453185"/>
                  <a:gd name="connsiteY387" fmla="*/ 55193 h 364488"/>
                  <a:gd name="connsiteX388" fmla="*/ 321198 w 453185"/>
                  <a:gd name="connsiteY388" fmla="*/ 53695 h 364488"/>
                  <a:gd name="connsiteX389" fmla="*/ 320580 w 453185"/>
                  <a:gd name="connsiteY389" fmla="*/ 53695 h 364488"/>
                  <a:gd name="connsiteX390" fmla="*/ 314761 w 453185"/>
                  <a:gd name="connsiteY390" fmla="*/ 51667 h 364488"/>
                  <a:gd name="connsiteX391" fmla="*/ 313262 w 453185"/>
                  <a:gd name="connsiteY391" fmla="*/ 50785 h 364488"/>
                  <a:gd name="connsiteX392" fmla="*/ 311764 w 453185"/>
                  <a:gd name="connsiteY392" fmla="*/ 50785 h 364488"/>
                  <a:gd name="connsiteX393" fmla="*/ 311499 w 453185"/>
                  <a:gd name="connsiteY393" fmla="*/ 49639 h 364488"/>
                  <a:gd name="connsiteX394" fmla="*/ 310970 w 453185"/>
                  <a:gd name="connsiteY394" fmla="*/ 50785 h 364488"/>
                  <a:gd name="connsiteX395" fmla="*/ 308589 w 453185"/>
                  <a:gd name="connsiteY395" fmla="*/ 50785 h 364488"/>
                  <a:gd name="connsiteX396" fmla="*/ 305415 w 453185"/>
                  <a:gd name="connsiteY396" fmla="*/ 49639 h 364488"/>
                  <a:gd name="connsiteX397" fmla="*/ 305151 w 453185"/>
                  <a:gd name="connsiteY397" fmla="*/ 50785 h 364488"/>
                  <a:gd name="connsiteX398" fmla="*/ 302594 w 453185"/>
                  <a:gd name="connsiteY398" fmla="*/ 51667 h 364488"/>
                  <a:gd name="connsiteX399" fmla="*/ 301712 w 453185"/>
                  <a:gd name="connsiteY399" fmla="*/ 50785 h 364488"/>
                  <a:gd name="connsiteX400" fmla="*/ 298538 w 453185"/>
                  <a:gd name="connsiteY400" fmla="*/ 50168 h 364488"/>
                  <a:gd name="connsiteX401" fmla="*/ 296510 w 453185"/>
                  <a:gd name="connsiteY401" fmla="*/ 47875 h 364488"/>
                  <a:gd name="connsiteX402" fmla="*/ 296246 w 453185"/>
                  <a:gd name="connsiteY402" fmla="*/ 47258 h 364488"/>
                  <a:gd name="connsiteX403" fmla="*/ 293336 w 453185"/>
                  <a:gd name="connsiteY403" fmla="*/ 47258 h 364488"/>
                  <a:gd name="connsiteX404" fmla="*/ 292455 w 453185"/>
                  <a:gd name="connsiteY404" fmla="*/ 46377 h 364488"/>
                  <a:gd name="connsiteX405" fmla="*/ 291926 w 453185"/>
                  <a:gd name="connsiteY405" fmla="*/ 46112 h 364488"/>
                  <a:gd name="connsiteX406" fmla="*/ 290162 w 453185"/>
                  <a:gd name="connsiteY406" fmla="*/ 46112 h 364488"/>
                  <a:gd name="connsiteX407" fmla="*/ 287870 w 453185"/>
                  <a:gd name="connsiteY407" fmla="*/ 45230 h 364488"/>
                  <a:gd name="connsiteX408" fmla="*/ 287252 w 453185"/>
                  <a:gd name="connsiteY408" fmla="*/ 45230 h 364488"/>
                  <a:gd name="connsiteX409" fmla="*/ 286988 w 453185"/>
                  <a:gd name="connsiteY409" fmla="*/ 44084 h 364488"/>
                  <a:gd name="connsiteX410" fmla="*/ 284608 w 453185"/>
                  <a:gd name="connsiteY410" fmla="*/ 44701 h 364488"/>
                  <a:gd name="connsiteX411" fmla="*/ 283990 w 453185"/>
                  <a:gd name="connsiteY411" fmla="*/ 44084 h 364488"/>
                  <a:gd name="connsiteX412" fmla="*/ 283109 w 453185"/>
                  <a:gd name="connsiteY412" fmla="*/ 44084 h 364488"/>
                  <a:gd name="connsiteX413" fmla="*/ 280199 w 453185"/>
                  <a:gd name="connsiteY413" fmla="*/ 44084 h 364488"/>
                  <a:gd name="connsiteX414" fmla="*/ 279582 w 453185"/>
                  <a:gd name="connsiteY414" fmla="*/ 42673 h 364488"/>
                  <a:gd name="connsiteX415" fmla="*/ 278965 w 453185"/>
                  <a:gd name="connsiteY415" fmla="*/ 40293 h 364488"/>
                  <a:gd name="connsiteX416" fmla="*/ 276937 w 453185"/>
                  <a:gd name="connsiteY416" fmla="*/ 39147 h 364488"/>
                  <a:gd name="connsiteX417" fmla="*/ 276584 w 453185"/>
                  <a:gd name="connsiteY417" fmla="*/ 38265 h 364488"/>
                  <a:gd name="connsiteX418" fmla="*/ 276584 w 453185"/>
                  <a:gd name="connsiteY418" fmla="*/ 38001 h 364488"/>
                  <a:gd name="connsiteX419" fmla="*/ 275702 w 453185"/>
                  <a:gd name="connsiteY419" fmla="*/ 37383 h 364488"/>
                  <a:gd name="connsiteX420" fmla="*/ 275438 w 453185"/>
                  <a:gd name="connsiteY420" fmla="*/ 36237 h 364488"/>
                  <a:gd name="connsiteX421" fmla="*/ 274821 w 453185"/>
                  <a:gd name="connsiteY421" fmla="*/ 34738 h 364488"/>
                  <a:gd name="connsiteX422" fmla="*/ 272793 w 453185"/>
                  <a:gd name="connsiteY422" fmla="*/ 34738 h 364488"/>
                  <a:gd name="connsiteX423" fmla="*/ 273410 w 453185"/>
                  <a:gd name="connsiteY423" fmla="*/ 37383 h 364488"/>
                  <a:gd name="connsiteX424" fmla="*/ 270765 w 453185"/>
                  <a:gd name="connsiteY424" fmla="*/ 38001 h 364488"/>
                  <a:gd name="connsiteX425" fmla="*/ 267503 w 453185"/>
                  <a:gd name="connsiteY425" fmla="*/ 37383 h 364488"/>
                  <a:gd name="connsiteX426" fmla="*/ 266886 w 453185"/>
                  <a:gd name="connsiteY426" fmla="*/ 36502 h 364488"/>
                  <a:gd name="connsiteX427" fmla="*/ 263976 w 453185"/>
                  <a:gd name="connsiteY427" fmla="*/ 34738 h 364488"/>
                  <a:gd name="connsiteX428" fmla="*/ 263976 w 453185"/>
                  <a:gd name="connsiteY428" fmla="*/ 36237 h 364488"/>
                  <a:gd name="connsiteX429" fmla="*/ 262213 w 453185"/>
                  <a:gd name="connsiteY429" fmla="*/ 37383 h 364488"/>
                  <a:gd name="connsiteX430" fmla="*/ 261067 w 453185"/>
                  <a:gd name="connsiteY430" fmla="*/ 36237 h 364488"/>
                  <a:gd name="connsiteX431" fmla="*/ 258157 w 453185"/>
                  <a:gd name="connsiteY431" fmla="*/ 36237 h 364488"/>
                  <a:gd name="connsiteX432" fmla="*/ 256129 w 453185"/>
                  <a:gd name="connsiteY432" fmla="*/ 38001 h 364488"/>
                  <a:gd name="connsiteX433" fmla="*/ 256394 w 453185"/>
                  <a:gd name="connsiteY433" fmla="*/ 38265 h 364488"/>
                  <a:gd name="connsiteX434" fmla="*/ 258157 w 453185"/>
                  <a:gd name="connsiteY434" fmla="*/ 39147 h 364488"/>
                  <a:gd name="connsiteX435" fmla="*/ 256658 w 453185"/>
                  <a:gd name="connsiteY435" fmla="*/ 40293 h 364488"/>
                  <a:gd name="connsiteX436" fmla="*/ 256129 w 453185"/>
                  <a:gd name="connsiteY436" fmla="*/ 40910 h 364488"/>
                  <a:gd name="connsiteX437" fmla="*/ 253749 w 453185"/>
                  <a:gd name="connsiteY437" fmla="*/ 40293 h 364488"/>
                  <a:gd name="connsiteX438" fmla="*/ 250839 w 453185"/>
                  <a:gd name="connsiteY438" fmla="*/ 40910 h 364488"/>
                  <a:gd name="connsiteX439" fmla="*/ 248194 w 453185"/>
                  <a:gd name="connsiteY439" fmla="*/ 40293 h 364488"/>
                  <a:gd name="connsiteX440" fmla="*/ 247930 w 453185"/>
                  <a:gd name="connsiteY440" fmla="*/ 40293 h 364488"/>
                  <a:gd name="connsiteX441" fmla="*/ 247048 w 453185"/>
                  <a:gd name="connsiteY441" fmla="*/ 39676 h 364488"/>
                  <a:gd name="connsiteX442" fmla="*/ 244755 w 453185"/>
                  <a:gd name="connsiteY442" fmla="*/ 39059 h 364488"/>
                  <a:gd name="connsiteX443" fmla="*/ 238936 w 453185"/>
                  <a:gd name="connsiteY443" fmla="*/ 40205 h 364488"/>
                  <a:gd name="connsiteX444" fmla="*/ 238936 w 453185"/>
                  <a:gd name="connsiteY444" fmla="*/ 42233 h 364488"/>
                  <a:gd name="connsiteX445" fmla="*/ 236644 w 453185"/>
                  <a:gd name="connsiteY445" fmla="*/ 42585 h 364488"/>
                  <a:gd name="connsiteX446" fmla="*/ 233999 w 453185"/>
                  <a:gd name="connsiteY446" fmla="*/ 43467 h 364488"/>
                  <a:gd name="connsiteX447" fmla="*/ 231089 w 453185"/>
                  <a:gd name="connsiteY447" fmla="*/ 47258 h 364488"/>
                  <a:gd name="connsiteX448" fmla="*/ 229062 w 453185"/>
                  <a:gd name="connsiteY448" fmla="*/ 48140 h 364488"/>
                  <a:gd name="connsiteX449" fmla="*/ 227298 w 453185"/>
                  <a:gd name="connsiteY449" fmla="*/ 50785 h 364488"/>
                  <a:gd name="connsiteX450" fmla="*/ 229943 w 453185"/>
                  <a:gd name="connsiteY450" fmla="*/ 52548 h 364488"/>
                  <a:gd name="connsiteX451" fmla="*/ 227915 w 453185"/>
                  <a:gd name="connsiteY451" fmla="*/ 53695 h 364488"/>
                  <a:gd name="connsiteX452" fmla="*/ 227562 w 453185"/>
                  <a:gd name="connsiteY452" fmla="*/ 55458 h 364488"/>
                  <a:gd name="connsiteX453" fmla="*/ 224124 w 453185"/>
                  <a:gd name="connsiteY453" fmla="*/ 55458 h 364488"/>
                  <a:gd name="connsiteX454" fmla="*/ 220862 w 453185"/>
                  <a:gd name="connsiteY454" fmla="*/ 58985 h 364488"/>
                  <a:gd name="connsiteX455" fmla="*/ 219098 w 453185"/>
                  <a:gd name="connsiteY455" fmla="*/ 58103 h 364488"/>
                  <a:gd name="connsiteX456" fmla="*/ 218834 w 453185"/>
                  <a:gd name="connsiteY456" fmla="*/ 59249 h 364488"/>
                  <a:gd name="connsiteX457" fmla="*/ 211251 w 453185"/>
                  <a:gd name="connsiteY457" fmla="*/ 58985 h 364488"/>
                  <a:gd name="connsiteX458" fmla="*/ 210987 w 453185"/>
                  <a:gd name="connsiteY458" fmla="*/ 58103 h 364488"/>
                  <a:gd name="connsiteX459" fmla="*/ 211604 w 453185"/>
                  <a:gd name="connsiteY459" fmla="*/ 60748 h 364488"/>
                  <a:gd name="connsiteX460" fmla="*/ 214249 w 453185"/>
                  <a:gd name="connsiteY460" fmla="*/ 62776 h 364488"/>
                  <a:gd name="connsiteX461" fmla="*/ 214867 w 453185"/>
                  <a:gd name="connsiteY461" fmla="*/ 65068 h 364488"/>
                  <a:gd name="connsiteX462" fmla="*/ 215131 w 453185"/>
                  <a:gd name="connsiteY462" fmla="*/ 66832 h 364488"/>
                  <a:gd name="connsiteX463" fmla="*/ 215131 w 453185"/>
                  <a:gd name="connsiteY463" fmla="*/ 67449 h 364488"/>
                  <a:gd name="connsiteX464" fmla="*/ 215396 w 453185"/>
                  <a:gd name="connsiteY464" fmla="*/ 68066 h 364488"/>
                  <a:gd name="connsiteX465" fmla="*/ 215396 w 453185"/>
                  <a:gd name="connsiteY465" fmla="*/ 68948 h 364488"/>
                  <a:gd name="connsiteX466" fmla="*/ 215660 w 453185"/>
                  <a:gd name="connsiteY466" fmla="*/ 69565 h 364488"/>
                  <a:gd name="connsiteX467" fmla="*/ 205785 w 453185"/>
                  <a:gd name="connsiteY467" fmla="*/ 69829 h 364488"/>
                  <a:gd name="connsiteX468" fmla="*/ 200230 w 453185"/>
                  <a:gd name="connsiteY468" fmla="*/ 70976 h 364488"/>
                  <a:gd name="connsiteX469" fmla="*/ 193265 w 453185"/>
                  <a:gd name="connsiteY469" fmla="*/ 73621 h 364488"/>
                  <a:gd name="connsiteX470" fmla="*/ 189738 w 453185"/>
                  <a:gd name="connsiteY470" fmla="*/ 74238 h 364488"/>
                  <a:gd name="connsiteX471" fmla="*/ 187358 w 453185"/>
                  <a:gd name="connsiteY471" fmla="*/ 74855 h 364488"/>
                  <a:gd name="connsiteX472" fmla="*/ 184448 w 453185"/>
                  <a:gd name="connsiteY472" fmla="*/ 74855 h 364488"/>
                  <a:gd name="connsiteX473" fmla="*/ 178894 w 453185"/>
                  <a:gd name="connsiteY473" fmla="*/ 77147 h 364488"/>
                  <a:gd name="connsiteX474" fmla="*/ 175984 w 453185"/>
                  <a:gd name="connsiteY474" fmla="*/ 78029 h 364488"/>
                  <a:gd name="connsiteX475" fmla="*/ 173074 w 453185"/>
                  <a:gd name="connsiteY475" fmla="*/ 78029 h 364488"/>
                  <a:gd name="connsiteX476" fmla="*/ 163728 w 453185"/>
                  <a:gd name="connsiteY476" fmla="*/ 74855 h 364488"/>
                  <a:gd name="connsiteX477" fmla="*/ 157645 w 453185"/>
                  <a:gd name="connsiteY477" fmla="*/ 73709 h 364488"/>
                  <a:gd name="connsiteX478" fmla="*/ 154471 w 453185"/>
                  <a:gd name="connsiteY478" fmla="*/ 72827 h 364488"/>
                  <a:gd name="connsiteX479" fmla="*/ 150680 w 453185"/>
                  <a:gd name="connsiteY479" fmla="*/ 71064 h 364488"/>
                  <a:gd name="connsiteX480" fmla="*/ 141334 w 453185"/>
                  <a:gd name="connsiteY480" fmla="*/ 66391 h 364488"/>
                  <a:gd name="connsiteX481" fmla="*/ 140188 w 453185"/>
                  <a:gd name="connsiteY481" fmla="*/ 64627 h 364488"/>
                  <a:gd name="connsiteX482" fmla="*/ 138160 w 453185"/>
                  <a:gd name="connsiteY482" fmla="*/ 63746 h 364488"/>
                  <a:gd name="connsiteX483" fmla="*/ 137631 w 453185"/>
                  <a:gd name="connsiteY483" fmla="*/ 60836 h 364488"/>
                  <a:gd name="connsiteX484" fmla="*/ 136396 w 453185"/>
                  <a:gd name="connsiteY484" fmla="*/ 58191 h 364488"/>
                  <a:gd name="connsiteX485" fmla="*/ 134104 w 453185"/>
                  <a:gd name="connsiteY485" fmla="*/ 58191 h 364488"/>
                  <a:gd name="connsiteX486" fmla="*/ 130577 w 453185"/>
                  <a:gd name="connsiteY486" fmla="*/ 55546 h 364488"/>
                  <a:gd name="connsiteX487" fmla="*/ 130577 w 453185"/>
                  <a:gd name="connsiteY487" fmla="*/ 55281 h 364488"/>
                  <a:gd name="connsiteX488" fmla="*/ 127403 w 453185"/>
                  <a:gd name="connsiteY488" fmla="*/ 55546 h 364488"/>
                  <a:gd name="connsiteX489" fmla="*/ 119292 w 453185"/>
                  <a:gd name="connsiteY489" fmla="*/ 55281 h 364488"/>
                  <a:gd name="connsiteX490" fmla="*/ 115765 w 453185"/>
                  <a:gd name="connsiteY490" fmla="*/ 53518 h 364488"/>
                  <a:gd name="connsiteX491" fmla="*/ 112591 w 453185"/>
                  <a:gd name="connsiteY491" fmla="*/ 51755 h 364488"/>
                  <a:gd name="connsiteX492" fmla="*/ 109065 w 453185"/>
                  <a:gd name="connsiteY492" fmla="*/ 48228 h 364488"/>
                  <a:gd name="connsiteX493" fmla="*/ 108800 w 453185"/>
                  <a:gd name="connsiteY493" fmla="*/ 47346 h 364488"/>
                  <a:gd name="connsiteX494" fmla="*/ 108800 w 453185"/>
                  <a:gd name="connsiteY494" fmla="*/ 46465 h 364488"/>
                  <a:gd name="connsiteX495" fmla="*/ 108535 w 453185"/>
                  <a:gd name="connsiteY495" fmla="*/ 45319 h 364488"/>
                  <a:gd name="connsiteX496" fmla="*/ 108271 w 453185"/>
                  <a:gd name="connsiteY496" fmla="*/ 43555 h 364488"/>
                  <a:gd name="connsiteX497" fmla="*/ 105097 w 453185"/>
                  <a:gd name="connsiteY497" fmla="*/ 41792 h 364488"/>
                  <a:gd name="connsiteX498" fmla="*/ 103598 w 453185"/>
                  <a:gd name="connsiteY498" fmla="*/ 34826 h 364488"/>
                  <a:gd name="connsiteX499" fmla="*/ 103069 w 453185"/>
                  <a:gd name="connsiteY499" fmla="*/ 31035 h 364488"/>
                  <a:gd name="connsiteX500" fmla="*/ 101570 w 453185"/>
                  <a:gd name="connsiteY500" fmla="*/ 31035 h 364488"/>
                  <a:gd name="connsiteX501" fmla="*/ 100071 w 453185"/>
                  <a:gd name="connsiteY501" fmla="*/ 31917 h 364488"/>
                  <a:gd name="connsiteX502" fmla="*/ 98925 w 453185"/>
                  <a:gd name="connsiteY502" fmla="*/ 32446 h 364488"/>
                  <a:gd name="connsiteX503" fmla="*/ 93635 w 453185"/>
                  <a:gd name="connsiteY503" fmla="*/ 29007 h 364488"/>
                  <a:gd name="connsiteX504" fmla="*/ 93370 w 453185"/>
                  <a:gd name="connsiteY504" fmla="*/ 27244 h 364488"/>
                  <a:gd name="connsiteX505" fmla="*/ 92224 w 453185"/>
                  <a:gd name="connsiteY505" fmla="*/ 27508 h 364488"/>
                  <a:gd name="connsiteX506" fmla="*/ 90196 w 453185"/>
                  <a:gd name="connsiteY506" fmla="*/ 26362 h 364488"/>
                  <a:gd name="connsiteX507" fmla="*/ 90196 w 453185"/>
                  <a:gd name="connsiteY507" fmla="*/ 25745 h 364488"/>
                  <a:gd name="connsiteX508" fmla="*/ 89932 w 453185"/>
                  <a:gd name="connsiteY508" fmla="*/ 24599 h 364488"/>
                  <a:gd name="connsiteX509" fmla="*/ 87022 w 453185"/>
                  <a:gd name="connsiteY509" fmla="*/ 23717 h 364488"/>
                  <a:gd name="connsiteX510" fmla="*/ 82966 w 453185"/>
                  <a:gd name="connsiteY510" fmla="*/ 21954 h 364488"/>
                  <a:gd name="connsiteX511" fmla="*/ 82614 w 453185"/>
                  <a:gd name="connsiteY511" fmla="*/ 20191 h 364488"/>
                  <a:gd name="connsiteX512" fmla="*/ 85523 w 453185"/>
                  <a:gd name="connsiteY512" fmla="*/ 19573 h 364488"/>
                  <a:gd name="connsiteX513" fmla="*/ 85259 w 453185"/>
                  <a:gd name="connsiteY513" fmla="*/ 18956 h 364488"/>
                  <a:gd name="connsiteX514" fmla="*/ 88786 w 453185"/>
                  <a:gd name="connsiteY514" fmla="*/ 18075 h 364488"/>
                  <a:gd name="connsiteX515" fmla="*/ 90284 w 453185"/>
                  <a:gd name="connsiteY515" fmla="*/ 17193 h 364488"/>
                  <a:gd name="connsiteX516" fmla="*/ 88257 w 453185"/>
                  <a:gd name="connsiteY516" fmla="*/ 14548 h 364488"/>
                  <a:gd name="connsiteX517" fmla="*/ 87375 w 453185"/>
                  <a:gd name="connsiteY517" fmla="*/ 13401 h 364488"/>
                  <a:gd name="connsiteX518" fmla="*/ 84730 w 453185"/>
                  <a:gd name="connsiteY518" fmla="*/ 11991 h 364488"/>
                  <a:gd name="connsiteX519" fmla="*/ 84377 w 453185"/>
                  <a:gd name="connsiteY519" fmla="*/ 10845 h 364488"/>
                  <a:gd name="connsiteX520" fmla="*/ 84377 w 453185"/>
                  <a:gd name="connsiteY520" fmla="*/ 10227 h 364488"/>
                  <a:gd name="connsiteX521" fmla="*/ 84730 w 453185"/>
                  <a:gd name="connsiteY521" fmla="*/ 9081 h 364488"/>
                  <a:gd name="connsiteX522" fmla="*/ 87110 w 453185"/>
                  <a:gd name="connsiteY522" fmla="*/ 8464 h 364488"/>
                  <a:gd name="connsiteX523" fmla="*/ 89138 w 453185"/>
                  <a:gd name="connsiteY523" fmla="*/ 7847 h 364488"/>
                  <a:gd name="connsiteX524" fmla="*/ 88257 w 453185"/>
                  <a:gd name="connsiteY524" fmla="*/ 6436 h 364488"/>
                  <a:gd name="connsiteX525" fmla="*/ 83054 w 453185"/>
                  <a:gd name="connsiteY525" fmla="*/ 2910 h 364488"/>
                  <a:gd name="connsiteX526" fmla="*/ 80410 w 453185"/>
                  <a:gd name="connsiteY526" fmla="*/ 1146 h 364488"/>
                  <a:gd name="connsiteX527" fmla="*/ 78999 w 453185"/>
                  <a:gd name="connsiteY527" fmla="*/ 0 h 364488"/>
                  <a:gd name="connsiteX528" fmla="*/ 79263 w 453185"/>
                  <a:gd name="connsiteY528" fmla="*/ 1146 h 364488"/>
                  <a:gd name="connsiteX529" fmla="*/ 75472 w 453185"/>
                  <a:gd name="connsiteY529" fmla="*/ 1146 h 364488"/>
                  <a:gd name="connsiteX530" fmla="*/ 75737 w 453185"/>
                  <a:gd name="connsiteY530" fmla="*/ 1763 h 364488"/>
                  <a:gd name="connsiteX531" fmla="*/ 71681 w 453185"/>
                  <a:gd name="connsiteY531" fmla="*/ 4408 h 364488"/>
                  <a:gd name="connsiteX532" fmla="*/ 70535 w 453185"/>
                  <a:gd name="connsiteY532" fmla="*/ 4673 h 364488"/>
                  <a:gd name="connsiteX533" fmla="*/ 69036 w 453185"/>
                  <a:gd name="connsiteY533" fmla="*/ 6084 h 364488"/>
                  <a:gd name="connsiteX534" fmla="*/ 66391 w 453185"/>
                  <a:gd name="connsiteY534" fmla="*/ 7847 h 364488"/>
                  <a:gd name="connsiteX535" fmla="*/ 64098 w 453185"/>
                  <a:gd name="connsiteY535" fmla="*/ 10227 h 364488"/>
                  <a:gd name="connsiteX536" fmla="*/ 63481 w 453185"/>
                  <a:gd name="connsiteY536" fmla="*/ 10845 h 364488"/>
                  <a:gd name="connsiteX537" fmla="*/ 60836 w 453185"/>
                  <a:gd name="connsiteY537" fmla="*/ 12873 h 364488"/>
                  <a:gd name="connsiteX538" fmla="*/ 61101 w 453185"/>
                  <a:gd name="connsiteY538" fmla="*/ 13401 h 364488"/>
                  <a:gd name="connsiteX539" fmla="*/ 58720 w 453185"/>
                  <a:gd name="connsiteY539" fmla="*/ 13401 h 364488"/>
                  <a:gd name="connsiteX540" fmla="*/ 56075 w 453185"/>
                  <a:gd name="connsiteY540" fmla="*/ 15782 h 364488"/>
                  <a:gd name="connsiteX541" fmla="*/ 56339 w 453185"/>
                  <a:gd name="connsiteY541" fmla="*/ 17281 h 364488"/>
                  <a:gd name="connsiteX542" fmla="*/ 56075 w 453185"/>
                  <a:gd name="connsiteY542" fmla="*/ 17545 h 364488"/>
                  <a:gd name="connsiteX543" fmla="*/ 56339 w 453185"/>
                  <a:gd name="connsiteY543" fmla="*/ 18163 h 364488"/>
                  <a:gd name="connsiteX544" fmla="*/ 54047 w 453185"/>
                  <a:gd name="connsiteY544" fmla="*/ 20191 h 364488"/>
                  <a:gd name="connsiteX545" fmla="*/ 54312 w 453185"/>
                  <a:gd name="connsiteY545" fmla="*/ 21689 h 364488"/>
                  <a:gd name="connsiteX546" fmla="*/ 51138 w 453185"/>
                  <a:gd name="connsiteY546" fmla="*/ 20808 h 364488"/>
                  <a:gd name="connsiteX547" fmla="*/ 48845 w 453185"/>
                  <a:gd name="connsiteY547" fmla="*/ 20191 h 364488"/>
                  <a:gd name="connsiteX548" fmla="*/ 46200 w 453185"/>
                  <a:gd name="connsiteY548" fmla="*/ 21954 h 364488"/>
                  <a:gd name="connsiteX549" fmla="*/ 42673 w 453185"/>
                  <a:gd name="connsiteY549" fmla="*/ 20808 h 364488"/>
                  <a:gd name="connsiteX550" fmla="*/ 42056 w 453185"/>
                  <a:gd name="connsiteY550" fmla="*/ 20808 h 364488"/>
                  <a:gd name="connsiteX551" fmla="*/ 39764 w 453185"/>
                  <a:gd name="connsiteY551" fmla="*/ 20808 h 364488"/>
                  <a:gd name="connsiteX552" fmla="*/ 38265 w 453185"/>
                  <a:gd name="connsiteY552" fmla="*/ 19662 h 364488"/>
                  <a:gd name="connsiteX553" fmla="*/ 35356 w 453185"/>
                  <a:gd name="connsiteY553" fmla="*/ 19044 h 364488"/>
                  <a:gd name="connsiteX554" fmla="*/ 33328 w 453185"/>
                  <a:gd name="connsiteY554" fmla="*/ 18163 h 364488"/>
                  <a:gd name="connsiteX555" fmla="*/ 32710 w 453185"/>
                  <a:gd name="connsiteY555" fmla="*/ 18163 h 364488"/>
                  <a:gd name="connsiteX556" fmla="*/ 30330 w 453185"/>
                  <a:gd name="connsiteY556" fmla="*/ 18163 h 364488"/>
                  <a:gd name="connsiteX557" fmla="*/ 30330 w 453185"/>
                  <a:gd name="connsiteY557" fmla="*/ 17545 h 364488"/>
                  <a:gd name="connsiteX558" fmla="*/ 30065 w 453185"/>
                  <a:gd name="connsiteY558" fmla="*/ 16399 h 364488"/>
                  <a:gd name="connsiteX559" fmla="*/ 29801 w 453185"/>
                  <a:gd name="connsiteY559" fmla="*/ 14636 h 364488"/>
                  <a:gd name="connsiteX560" fmla="*/ 29184 w 453185"/>
                  <a:gd name="connsiteY560" fmla="*/ 13754 h 364488"/>
                  <a:gd name="connsiteX561" fmla="*/ 28919 w 453185"/>
                  <a:gd name="connsiteY561" fmla="*/ 13490 h 364488"/>
                  <a:gd name="connsiteX562" fmla="*/ 27420 w 453185"/>
                  <a:gd name="connsiteY562" fmla="*/ 13490 h 364488"/>
                  <a:gd name="connsiteX563" fmla="*/ 27156 w 453185"/>
                  <a:gd name="connsiteY563" fmla="*/ 12961 h 364488"/>
                  <a:gd name="connsiteX564" fmla="*/ 26539 w 453185"/>
                  <a:gd name="connsiteY564" fmla="*/ 12961 h 364488"/>
                  <a:gd name="connsiteX565" fmla="*/ 22747 w 453185"/>
                  <a:gd name="connsiteY565" fmla="*/ 12079 h 364488"/>
                  <a:gd name="connsiteX566" fmla="*/ 22483 w 453185"/>
                  <a:gd name="connsiteY566" fmla="*/ 10316 h 364488"/>
                  <a:gd name="connsiteX567" fmla="*/ 21601 w 453185"/>
                  <a:gd name="connsiteY567" fmla="*/ 8552 h 364488"/>
                  <a:gd name="connsiteX568" fmla="*/ 17810 w 453185"/>
                  <a:gd name="connsiteY568" fmla="*/ 4761 h 364488"/>
                  <a:gd name="connsiteX569" fmla="*/ 11109 w 453185"/>
                  <a:gd name="connsiteY569" fmla="*/ 4761 h 364488"/>
                  <a:gd name="connsiteX570" fmla="*/ 8200 w 453185"/>
                  <a:gd name="connsiteY570" fmla="*/ 2733 h 364488"/>
                  <a:gd name="connsiteX571" fmla="*/ 9346 w 453185"/>
                  <a:gd name="connsiteY571" fmla="*/ 7406 h 364488"/>
                  <a:gd name="connsiteX572" fmla="*/ 9346 w 453185"/>
                  <a:gd name="connsiteY572" fmla="*/ 9698 h 364488"/>
                  <a:gd name="connsiteX573" fmla="*/ 5555 w 453185"/>
                  <a:gd name="connsiteY573" fmla="*/ 9698 h 364488"/>
                  <a:gd name="connsiteX574" fmla="*/ 3791 w 453185"/>
                  <a:gd name="connsiteY574" fmla="*/ 9169 h 364488"/>
                  <a:gd name="connsiteX575" fmla="*/ 0 w 453185"/>
                  <a:gd name="connsiteY575" fmla="*/ 8905 h 364488"/>
                  <a:gd name="connsiteX576" fmla="*/ 1234 w 453185"/>
                  <a:gd name="connsiteY576" fmla="*/ 11197 h 364488"/>
                  <a:gd name="connsiteX577" fmla="*/ 1763 w 453185"/>
                  <a:gd name="connsiteY577" fmla="*/ 14724 h 364488"/>
                  <a:gd name="connsiteX578" fmla="*/ 8200 w 453185"/>
                  <a:gd name="connsiteY578" fmla="*/ 15606 h 364488"/>
                  <a:gd name="connsiteX579" fmla="*/ 4673 w 453185"/>
                  <a:gd name="connsiteY579" fmla="*/ 18515 h 364488"/>
                  <a:gd name="connsiteX580" fmla="*/ 8464 w 453185"/>
                  <a:gd name="connsiteY580" fmla="*/ 19397 h 364488"/>
                  <a:gd name="connsiteX581" fmla="*/ 5555 w 453185"/>
                  <a:gd name="connsiteY581" fmla="*/ 20543 h 364488"/>
                  <a:gd name="connsiteX582" fmla="*/ 8111 w 453185"/>
                  <a:gd name="connsiteY582" fmla="*/ 21425 h 364488"/>
                  <a:gd name="connsiteX583" fmla="*/ 8993 w 453185"/>
                  <a:gd name="connsiteY583" fmla="*/ 26098 h 364488"/>
                  <a:gd name="connsiteX584" fmla="*/ 10404 w 453185"/>
                  <a:gd name="connsiteY584" fmla="*/ 31652 h 364488"/>
                  <a:gd name="connsiteX585" fmla="*/ 13578 w 453185"/>
                  <a:gd name="connsiteY585" fmla="*/ 31652 h 364488"/>
                  <a:gd name="connsiteX586" fmla="*/ 14724 w 453185"/>
                  <a:gd name="connsiteY586" fmla="*/ 35179 h 364488"/>
                  <a:gd name="connsiteX587" fmla="*/ 14724 w 453185"/>
                  <a:gd name="connsiteY587" fmla="*/ 37207 h 364488"/>
                  <a:gd name="connsiteX588" fmla="*/ 13578 w 453185"/>
                  <a:gd name="connsiteY588" fmla="*/ 38970 h 364488"/>
                  <a:gd name="connsiteX589" fmla="*/ 12696 w 453185"/>
                  <a:gd name="connsiteY589" fmla="*/ 40734 h 364488"/>
                  <a:gd name="connsiteX590" fmla="*/ 12961 w 453185"/>
                  <a:gd name="connsiteY590" fmla="*/ 43114 h 364488"/>
                  <a:gd name="connsiteX591" fmla="*/ 14988 w 453185"/>
                  <a:gd name="connsiteY591" fmla="*/ 44878 h 364488"/>
                  <a:gd name="connsiteX592" fmla="*/ 17369 w 453185"/>
                  <a:gd name="connsiteY592" fmla="*/ 44878 h 364488"/>
                  <a:gd name="connsiteX593" fmla="*/ 17634 w 453185"/>
                  <a:gd name="connsiteY593" fmla="*/ 47787 h 364488"/>
                  <a:gd name="connsiteX594" fmla="*/ 20279 w 453185"/>
                  <a:gd name="connsiteY594" fmla="*/ 46641 h 364488"/>
                  <a:gd name="connsiteX595" fmla="*/ 22571 w 453185"/>
                  <a:gd name="connsiteY595" fmla="*/ 46906 h 364488"/>
                  <a:gd name="connsiteX596" fmla="*/ 24070 w 453185"/>
                  <a:gd name="connsiteY596" fmla="*/ 48316 h 364488"/>
                  <a:gd name="connsiteX597" fmla="*/ 19397 w 453185"/>
                  <a:gd name="connsiteY597" fmla="*/ 50344 h 364488"/>
                  <a:gd name="connsiteX598" fmla="*/ 23188 w 453185"/>
                  <a:gd name="connsiteY598" fmla="*/ 50344 h 364488"/>
                  <a:gd name="connsiteX599" fmla="*/ 20279 w 453185"/>
                  <a:gd name="connsiteY599" fmla="*/ 51226 h 364488"/>
                  <a:gd name="connsiteX600" fmla="*/ 20896 w 453185"/>
                  <a:gd name="connsiteY600" fmla="*/ 55017 h 364488"/>
                  <a:gd name="connsiteX601" fmla="*/ 22924 w 453185"/>
                  <a:gd name="connsiteY601" fmla="*/ 58191 h 364488"/>
                  <a:gd name="connsiteX602" fmla="*/ 22924 w 453185"/>
                  <a:gd name="connsiteY602" fmla="*/ 57662 h 364488"/>
                  <a:gd name="connsiteX603" fmla="*/ 26098 w 453185"/>
                  <a:gd name="connsiteY603" fmla="*/ 59073 h 364488"/>
                  <a:gd name="connsiteX604" fmla="*/ 24070 w 453185"/>
                  <a:gd name="connsiteY604" fmla="*/ 60572 h 364488"/>
                  <a:gd name="connsiteX605" fmla="*/ 25569 w 453185"/>
                  <a:gd name="connsiteY605" fmla="*/ 62335 h 364488"/>
                  <a:gd name="connsiteX606" fmla="*/ 25569 w 453185"/>
                  <a:gd name="connsiteY606" fmla="*/ 64716 h 364488"/>
                  <a:gd name="connsiteX607" fmla="*/ 29095 w 453185"/>
                  <a:gd name="connsiteY607" fmla="*/ 66479 h 364488"/>
                  <a:gd name="connsiteX608" fmla="*/ 27068 w 453185"/>
                  <a:gd name="connsiteY608" fmla="*/ 68242 h 364488"/>
                  <a:gd name="connsiteX609" fmla="*/ 27332 w 453185"/>
                  <a:gd name="connsiteY609" fmla="*/ 69388 h 364488"/>
                  <a:gd name="connsiteX610" fmla="*/ 27332 w 453185"/>
                  <a:gd name="connsiteY610" fmla="*/ 70006 h 364488"/>
                  <a:gd name="connsiteX611" fmla="*/ 27597 w 453185"/>
                  <a:gd name="connsiteY611" fmla="*/ 71152 h 364488"/>
                  <a:gd name="connsiteX612" fmla="*/ 27597 w 453185"/>
                  <a:gd name="connsiteY612" fmla="*/ 72034 h 364488"/>
                  <a:gd name="connsiteX613" fmla="*/ 27949 w 453185"/>
                  <a:gd name="connsiteY613" fmla="*/ 72651 h 364488"/>
                  <a:gd name="connsiteX614" fmla="*/ 29713 w 453185"/>
                  <a:gd name="connsiteY614" fmla="*/ 72651 h 364488"/>
                  <a:gd name="connsiteX615" fmla="*/ 31212 w 453185"/>
                  <a:gd name="connsiteY615" fmla="*/ 76177 h 364488"/>
                  <a:gd name="connsiteX616" fmla="*/ 32975 w 453185"/>
                  <a:gd name="connsiteY616" fmla="*/ 75031 h 364488"/>
                  <a:gd name="connsiteX617" fmla="*/ 32975 w 453185"/>
                  <a:gd name="connsiteY617" fmla="*/ 75648 h 364488"/>
                  <a:gd name="connsiteX618" fmla="*/ 31829 w 453185"/>
                  <a:gd name="connsiteY618" fmla="*/ 77412 h 364488"/>
                  <a:gd name="connsiteX619" fmla="*/ 31829 w 453185"/>
                  <a:gd name="connsiteY619" fmla="*/ 78558 h 364488"/>
                  <a:gd name="connsiteX620" fmla="*/ 32093 w 453185"/>
                  <a:gd name="connsiteY620" fmla="*/ 79440 h 364488"/>
                  <a:gd name="connsiteX621" fmla="*/ 33857 w 453185"/>
                  <a:gd name="connsiteY621" fmla="*/ 80321 h 364488"/>
                  <a:gd name="connsiteX622" fmla="*/ 33857 w 453185"/>
                  <a:gd name="connsiteY622" fmla="*/ 81203 h 364488"/>
                  <a:gd name="connsiteX623" fmla="*/ 37648 w 453185"/>
                  <a:gd name="connsiteY623" fmla="*/ 82085 h 364488"/>
                  <a:gd name="connsiteX624" fmla="*/ 38530 w 453185"/>
                  <a:gd name="connsiteY624" fmla="*/ 82966 h 364488"/>
                  <a:gd name="connsiteX625" fmla="*/ 38794 w 453185"/>
                  <a:gd name="connsiteY625" fmla="*/ 85611 h 364488"/>
                  <a:gd name="connsiteX626" fmla="*/ 39147 w 453185"/>
                  <a:gd name="connsiteY626" fmla="*/ 85876 h 364488"/>
                  <a:gd name="connsiteX627" fmla="*/ 39764 w 453185"/>
                  <a:gd name="connsiteY627" fmla="*/ 86758 h 364488"/>
                  <a:gd name="connsiteX628" fmla="*/ 40381 w 453185"/>
                  <a:gd name="connsiteY628" fmla="*/ 89403 h 364488"/>
                  <a:gd name="connsiteX629" fmla="*/ 42144 w 453185"/>
                  <a:gd name="connsiteY629" fmla="*/ 90284 h 364488"/>
                  <a:gd name="connsiteX630" fmla="*/ 40734 w 453185"/>
                  <a:gd name="connsiteY630" fmla="*/ 91783 h 364488"/>
                  <a:gd name="connsiteX631" fmla="*/ 42497 w 453185"/>
                  <a:gd name="connsiteY631" fmla="*/ 92929 h 364488"/>
                  <a:gd name="connsiteX632" fmla="*/ 43379 w 453185"/>
                  <a:gd name="connsiteY632" fmla="*/ 92929 h 364488"/>
                  <a:gd name="connsiteX633" fmla="*/ 44260 w 453185"/>
                  <a:gd name="connsiteY633" fmla="*/ 92312 h 364488"/>
                  <a:gd name="connsiteX634" fmla="*/ 47170 w 453185"/>
                  <a:gd name="connsiteY634" fmla="*/ 93458 h 364488"/>
                  <a:gd name="connsiteX635" fmla="*/ 51579 w 453185"/>
                  <a:gd name="connsiteY635" fmla="*/ 96632 h 364488"/>
                  <a:gd name="connsiteX636" fmla="*/ 52725 w 453185"/>
                  <a:gd name="connsiteY636" fmla="*/ 96632 h 364488"/>
                  <a:gd name="connsiteX637" fmla="*/ 54488 w 453185"/>
                  <a:gd name="connsiteY637" fmla="*/ 95751 h 364488"/>
                  <a:gd name="connsiteX638" fmla="*/ 56516 w 453185"/>
                  <a:gd name="connsiteY638" fmla="*/ 95751 h 364488"/>
                  <a:gd name="connsiteX639" fmla="*/ 58015 w 453185"/>
                  <a:gd name="connsiteY639" fmla="*/ 95486 h 364488"/>
                  <a:gd name="connsiteX640" fmla="*/ 58632 w 453185"/>
                  <a:gd name="connsiteY640" fmla="*/ 96632 h 364488"/>
                  <a:gd name="connsiteX641" fmla="*/ 59514 w 453185"/>
                  <a:gd name="connsiteY641" fmla="*/ 98396 h 364488"/>
                  <a:gd name="connsiteX642" fmla="*/ 61542 w 453185"/>
                  <a:gd name="connsiteY642" fmla="*/ 96632 h 364488"/>
                  <a:gd name="connsiteX643" fmla="*/ 62071 w 453185"/>
                  <a:gd name="connsiteY643" fmla="*/ 95751 h 364488"/>
                  <a:gd name="connsiteX644" fmla="*/ 62335 w 453185"/>
                  <a:gd name="connsiteY644" fmla="*/ 98396 h 364488"/>
                  <a:gd name="connsiteX645" fmla="*/ 61806 w 453185"/>
                  <a:gd name="connsiteY645" fmla="*/ 99542 h 364488"/>
                  <a:gd name="connsiteX646" fmla="*/ 61542 w 453185"/>
                  <a:gd name="connsiteY646" fmla="*/ 99542 h 364488"/>
                  <a:gd name="connsiteX647" fmla="*/ 59249 w 453185"/>
                  <a:gd name="connsiteY647" fmla="*/ 100159 h 364488"/>
                  <a:gd name="connsiteX648" fmla="*/ 56339 w 453185"/>
                  <a:gd name="connsiteY648" fmla="*/ 100159 h 364488"/>
                  <a:gd name="connsiteX649" fmla="*/ 55810 w 453185"/>
                  <a:gd name="connsiteY649" fmla="*/ 100159 h 364488"/>
                  <a:gd name="connsiteX650" fmla="*/ 56339 w 453185"/>
                  <a:gd name="connsiteY650" fmla="*/ 103069 h 364488"/>
                  <a:gd name="connsiteX651" fmla="*/ 56604 w 453185"/>
                  <a:gd name="connsiteY651" fmla="*/ 104568 h 364488"/>
                  <a:gd name="connsiteX652" fmla="*/ 56604 w 453185"/>
                  <a:gd name="connsiteY652" fmla="*/ 105185 h 364488"/>
                  <a:gd name="connsiteX653" fmla="*/ 57486 w 453185"/>
                  <a:gd name="connsiteY653" fmla="*/ 107213 h 364488"/>
                  <a:gd name="connsiteX654" fmla="*/ 60395 w 453185"/>
                  <a:gd name="connsiteY654" fmla="*/ 108359 h 364488"/>
                  <a:gd name="connsiteX655" fmla="*/ 60660 w 453185"/>
                  <a:gd name="connsiteY655" fmla="*/ 109505 h 364488"/>
                  <a:gd name="connsiteX656" fmla="*/ 60924 w 453185"/>
                  <a:gd name="connsiteY656" fmla="*/ 111268 h 364488"/>
                  <a:gd name="connsiteX657" fmla="*/ 63834 w 453185"/>
                  <a:gd name="connsiteY657" fmla="*/ 112150 h 364488"/>
                  <a:gd name="connsiteX658" fmla="*/ 61806 w 453185"/>
                  <a:gd name="connsiteY658" fmla="*/ 113649 h 364488"/>
                  <a:gd name="connsiteX659" fmla="*/ 61542 w 453185"/>
                  <a:gd name="connsiteY659" fmla="*/ 115060 h 364488"/>
                  <a:gd name="connsiteX660" fmla="*/ 61806 w 453185"/>
                  <a:gd name="connsiteY660" fmla="*/ 115677 h 364488"/>
                  <a:gd name="connsiteX661" fmla="*/ 58279 w 453185"/>
                  <a:gd name="connsiteY661" fmla="*/ 115677 h 364488"/>
                  <a:gd name="connsiteX662" fmla="*/ 57398 w 453185"/>
                  <a:gd name="connsiteY662" fmla="*/ 114531 h 364488"/>
                  <a:gd name="connsiteX663" fmla="*/ 57398 w 453185"/>
                  <a:gd name="connsiteY663" fmla="*/ 115677 h 364488"/>
                  <a:gd name="connsiteX664" fmla="*/ 55987 w 453185"/>
                  <a:gd name="connsiteY664" fmla="*/ 116823 h 364488"/>
                  <a:gd name="connsiteX665" fmla="*/ 58015 w 453185"/>
                  <a:gd name="connsiteY665" fmla="*/ 118586 h 364488"/>
                  <a:gd name="connsiteX666" fmla="*/ 56516 w 453185"/>
                  <a:gd name="connsiteY666" fmla="*/ 119468 h 364488"/>
                  <a:gd name="connsiteX667" fmla="*/ 56516 w 453185"/>
                  <a:gd name="connsiteY667" fmla="*/ 119997 h 364488"/>
                  <a:gd name="connsiteX668" fmla="*/ 55017 w 453185"/>
                  <a:gd name="connsiteY668" fmla="*/ 119468 h 364488"/>
                  <a:gd name="connsiteX669" fmla="*/ 55281 w 453185"/>
                  <a:gd name="connsiteY669" fmla="*/ 121232 h 364488"/>
                  <a:gd name="connsiteX670" fmla="*/ 53783 w 453185"/>
                  <a:gd name="connsiteY670" fmla="*/ 122378 h 364488"/>
                  <a:gd name="connsiteX671" fmla="*/ 54047 w 453185"/>
                  <a:gd name="connsiteY671" fmla="*/ 123877 h 364488"/>
                  <a:gd name="connsiteX672" fmla="*/ 53430 w 453185"/>
                  <a:gd name="connsiteY672" fmla="*/ 124141 h 364488"/>
                  <a:gd name="connsiteX673" fmla="*/ 54312 w 453185"/>
                  <a:gd name="connsiteY673" fmla="*/ 125904 h 364488"/>
                  <a:gd name="connsiteX674" fmla="*/ 54576 w 453185"/>
                  <a:gd name="connsiteY674" fmla="*/ 127315 h 364488"/>
                  <a:gd name="connsiteX675" fmla="*/ 54576 w 453185"/>
                  <a:gd name="connsiteY675" fmla="*/ 127932 h 364488"/>
                  <a:gd name="connsiteX676" fmla="*/ 54576 w 453185"/>
                  <a:gd name="connsiteY676" fmla="*/ 128550 h 364488"/>
                  <a:gd name="connsiteX677" fmla="*/ 54047 w 453185"/>
                  <a:gd name="connsiteY677" fmla="*/ 127932 h 364488"/>
                  <a:gd name="connsiteX678" fmla="*/ 53166 w 453185"/>
                  <a:gd name="connsiteY678" fmla="*/ 127932 h 364488"/>
                  <a:gd name="connsiteX679" fmla="*/ 51667 w 453185"/>
                  <a:gd name="connsiteY679" fmla="*/ 127932 h 364488"/>
                  <a:gd name="connsiteX680" fmla="*/ 50785 w 453185"/>
                  <a:gd name="connsiteY680" fmla="*/ 127315 h 364488"/>
                  <a:gd name="connsiteX681" fmla="*/ 51402 w 453185"/>
                  <a:gd name="connsiteY681" fmla="*/ 130842 h 364488"/>
                  <a:gd name="connsiteX682" fmla="*/ 52284 w 453185"/>
                  <a:gd name="connsiteY682" fmla="*/ 131106 h 364488"/>
                  <a:gd name="connsiteX683" fmla="*/ 49110 w 453185"/>
                  <a:gd name="connsiteY683" fmla="*/ 131106 h 364488"/>
                  <a:gd name="connsiteX684" fmla="*/ 51138 w 453185"/>
                  <a:gd name="connsiteY684" fmla="*/ 133751 h 364488"/>
                  <a:gd name="connsiteX685" fmla="*/ 51755 w 453185"/>
                  <a:gd name="connsiteY685" fmla="*/ 133751 h 364488"/>
                  <a:gd name="connsiteX686" fmla="*/ 52637 w 453185"/>
                  <a:gd name="connsiteY686" fmla="*/ 134898 h 364488"/>
                  <a:gd name="connsiteX687" fmla="*/ 52901 w 453185"/>
                  <a:gd name="connsiteY687" fmla="*/ 135779 h 364488"/>
                  <a:gd name="connsiteX688" fmla="*/ 53166 w 453185"/>
                  <a:gd name="connsiteY688" fmla="*/ 137190 h 364488"/>
                  <a:gd name="connsiteX689" fmla="*/ 53430 w 453185"/>
                  <a:gd name="connsiteY689" fmla="*/ 139218 h 364488"/>
                  <a:gd name="connsiteX690" fmla="*/ 52284 w 453185"/>
                  <a:gd name="connsiteY690" fmla="*/ 140100 h 364488"/>
                  <a:gd name="connsiteX691" fmla="*/ 52548 w 453185"/>
                  <a:gd name="connsiteY691" fmla="*/ 142127 h 364488"/>
                  <a:gd name="connsiteX692" fmla="*/ 50785 w 453185"/>
                  <a:gd name="connsiteY692" fmla="*/ 143274 h 364488"/>
                  <a:gd name="connsiteX693" fmla="*/ 53077 w 453185"/>
                  <a:gd name="connsiteY693" fmla="*/ 143274 h 364488"/>
                  <a:gd name="connsiteX694" fmla="*/ 55987 w 453185"/>
                  <a:gd name="connsiteY694" fmla="*/ 146800 h 364488"/>
                  <a:gd name="connsiteX695" fmla="*/ 56868 w 453185"/>
                  <a:gd name="connsiteY695" fmla="*/ 147682 h 364488"/>
                  <a:gd name="connsiteX696" fmla="*/ 57133 w 453185"/>
                  <a:gd name="connsiteY696" fmla="*/ 149445 h 364488"/>
                  <a:gd name="connsiteX697" fmla="*/ 58015 w 453185"/>
                  <a:gd name="connsiteY697" fmla="*/ 150592 h 364488"/>
                  <a:gd name="connsiteX698" fmla="*/ 58015 w 453185"/>
                  <a:gd name="connsiteY698" fmla="*/ 152090 h 364488"/>
                  <a:gd name="connsiteX699" fmla="*/ 59778 w 453185"/>
                  <a:gd name="connsiteY699" fmla="*/ 152355 h 364488"/>
                  <a:gd name="connsiteX700" fmla="*/ 61277 w 453185"/>
                  <a:gd name="connsiteY700" fmla="*/ 152090 h 364488"/>
                  <a:gd name="connsiteX701" fmla="*/ 62688 w 453185"/>
                  <a:gd name="connsiteY701" fmla="*/ 152090 h 364488"/>
                  <a:gd name="connsiteX702" fmla="*/ 63834 w 453185"/>
                  <a:gd name="connsiteY702" fmla="*/ 153854 h 364488"/>
                  <a:gd name="connsiteX703" fmla="*/ 61453 w 453185"/>
                  <a:gd name="connsiteY703" fmla="*/ 153854 h 364488"/>
                  <a:gd name="connsiteX704" fmla="*/ 61453 w 453185"/>
                  <a:gd name="connsiteY704" fmla="*/ 155000 h 364488"/>
                  <a:gd name="connsiteX705" fmla="*/ 63834 w 453185"/>
                  <a:gd name="connsiteY705" fmla="*/ 155000 h 364488"/>
                  <a:gd name="connsiteX706" fmla="*/ 64716 w 453185"/>
                  <a:gd name="connsiteY706" fmla="*/ 156499 h 364488"/>
                  <a:gd name="connsiteX707" fmla="*/ 64980 w 453185"/>
                  <a:gd name="connsiteY707" fmla="*/ 157645 h 364488"/>
                  <a:gd name="connsiteX708" fmla="*/ 68154 w 453185"/>
                  <a:gd name="connsiteY708" fmla="*/ 159673 h 364488"/>
                  <a:gd name="connsiteX709" fmla="*/ 70182 w 453185"/>
                  <a:gd name="connsiteY709" fmla="*/ 160555 h 364488"/>
                  <a:gd name="connsiteX710" fmla="*/ 70799 w 453185"/>
                  <a:gd name="connsiteY710" fmla="*/ 163729 h 364488"/>
                  <a:gd name="connsiteX711" fmla="*/ 65862 w 453185"/>
                  <a:gd name="connsiteY711" fmla="*/ 163993 h 364488"/>
                  <a:gd name="connsiteX712" fmla="*/ 65862 w 453185"/>
                  <a:gd name="connsiteY712" fmla="*/ 164875 h 364488"/>
                  <a:gd name="connsiteX713" fmla="*/ 66215 w 453185"/>
                  <a:gd name="connsiteY713" fmla="*/ 165492 h 364488"/>
                  <a:gd name="connsiteX714" fmla="*/ 68859 w 453185"/>
                  <a:gd name="connsiteY714" fmla="*/ 165492 h 364488"/>
                  <a:gd name="connsiteX715" fmla="*/ 69388 w 453185"/>
                  <a:gd name="connsiteY715" fmla="*/ 169900 h 364488"/>
                  <a:gd name="connsiteX716" fmla="*/ 72033 w 453185"/>
                  <a:gd name="connsiteY716" fmla="*/ 167873 h 364488"/>
                  <a:gd name="connsiteX717" fmla="*/ 75208 w 453185"/>
                  <a:gd name="connsiteY717" fmla="*/ 169283 h 364488"/>
                  <a:gd name="connsiteX718" fmla="*/ 81909 w 453185"/>
                  <a:gd name="connsiteY718" fmla="*/ 172810 h 364488"/>
                  <a:gd name="connsiteX719" fmla="*/ 83936 w 453185"/>
                  <a:gd name="connsiteY719" fmla="*/ 173956 h 364488"/>
                  <a:gd name="connsiteX720" fmla="*/ 85082 w 453185"/>
                  <a:gd name="connsiteY720" fmla="*/ 175102 h 364488"/>
                  <a:gd name="connsiteX721" fmla="*/ 87727 w 453185"/>
                  <a:gd name="connsiteY721" fmla="*/ 176601 h 364488"/>
                  <a:gd name="connsiteX722" fmla="*/ 92136 w 453185"/>
                  <a:gd name="connsiteY722" fmla="*/ 181010 h 364488"/>
                  <a:gd name="connsiteX723" fmla="*/ 95046 w 453185"/>
                  <a:gd name="connsiteY723" fmla="*/ 181010 h 364488"/>
                  <a:gd name="connsiteX724" fmla="*/ 97426 w 453185"/>
                  <a:gd name="connsiteY724" fmla="*/ 181010 h 364488"/>
                  <a:gd name="connsiteX725" fmla="*/ 98308 w 453185"/>
                  <a:gd name="connsiteY725" fmla="*/ 182156 h 364488"/>
                  <a:gd name="connsiteX726" fmla="*/ 98572 w 453185"/>
                  <a:gd name="connsiteY726" fmla="*/ 184801 h 364488"/>
                  <a:gd name="connsiteX727" fmla="*/ 100600 w 453185"/>
                  <a:gd name="connsiteY727" fmla="*/ 187975 h 364488"/>
                  <a:gd name="connsiteX728" fmla="*/ 102363 w 453185"/>
                  <a:gd name="connsiteY728" fmla="*/ 189386 h 364488"/>
                  <a:gd name="connsiteX729" fmla="*/ 103862 w 453185"/>
                  <a:gd name="connsiteY729" fmla="*/ 190267 h 364488"/>
                  <a:gd name="connsiteX730" fmla="*/ 105009 w 453185"/>
                  <a:gd name="connsiteY730" fmla="*/ 192031 h 364488"/>
                  <a:gd name="connsiteX731" fmla="*/ 105890 w 453185"/>
                  <a:gd name="connsiteY731" fmla="*/ 192031 h 364488"/>
                  <a:gd name="connsiteX732" fmla="*/ 105890 w 453185"/>
                  <a:gd name="connsiteY732" fmla="*/ 193794 h 364488"/>
                  <a:gd name="connsiteX733" fmla="*/ 107654 w 453185"/>
                  <a:gd name="connsiteY733" fmla="*/ 194411 h 364488"/>
                  <a:gd name="connsiteX734" fmla="*/ 107918 w 453185"/>
                  <a:gd name="connsiteY734" fmla="*/ 195910 h 364488"/>
                  <a:gd name="connsiteX735" fmla="*/ 109417 w 453185"/>
                  <a:gd name="connsiteY735" fmla="*/ 196792 h 364488"/>
                  <a:gd name="connsiteX736" fmla="*/ 107918 w 453185"/>
                  <a:gd name="connsiteY736" fmla="*/ 207548 h 364488"/>
                  <a:gd name="connsiteX737" fmla="*/ 109065 w 453185"/>
                  <a:gd name="connsiteY737" fmla="*/ 217159 h 364488"/>
                  <a:gd name="connsiteX738" fmla="*/ 115765 w 453185"/>
                  <a:gd name="connsiteY738" fmla="*/ 217159 h 364488"/>
                  <a:gd name="connsiteX739" fmla="*/ 117793 w 453185"/>
                  <a:gd name="connsiteY739" fmla="*/ 230296 h 364488"/>
                  <a:gd name="connsiteX740" fmla="*/ 119292 w 453185"/>
                  <a:gd name="connsiteY740" fmla="*/ 230296 h 364488"/>
                  <a:gd name="connsiteX741" fmla="*/ 121055 w 453185"/>
                  <a:gd name="connsiteY741" fmla="*/ 232059 h 364488"/>
                  <a:gd name="connsiteX742" fmla="*/ 122819 w 453185"/>
                  <a:gd name="connsiteY742" fmla="*/ 233822 h 364488"/>
                  <a:gd name="connsiteX743" fmla="*/ 123700 w 453185"/>
                  <a:gd name="connsiteY743" fmla="*/ 233822 h 364488"/>
                  <a:gd name="connsiteX744" fmla="*/ 126962 w 453185"/>
                  <a:gd name="connsiteY744" fmla="*/ 236997 h 364488"/>
                  <a:gd name="connsiteX745" fmla="*/ 127227 w 453185"/>
                  <a:gd name="connsiteY745" fmla="*/ 237614 h 364488"/>
                  <a:gd name="connsiteX746" fmla="*/ 127227 w 453185"/>
                  <a:gd name="connsiteY746" fmla="*/ 238760 h 364488"/>
                  <a:gd name="connsiteX747" fmla="*/ 127491 w 453185"/>
                  <a:gd name="connsiteY747" fmla="*/ 240523 h 364488"/>
                  <a:gd name="connsiteX748" fmla="*/ 127756 w 453185"/>
                  <a:gd name="connsiteY748" fmla="*/ 242287 h 364488"/>
                  <a:gd name="connsiteX749" fmla="*/ 131547 w 453185"/>
                  <a:gd name="connsiteY749" fmla="*/ 243168 h 364488"/>
                  <a:gd name="connsiteX750" fmla="*/ 130313 w 453185"/>
                  <a:gd name="connsiteY750" fmla="*/ 243168 h 364488"/>
                  <a:gd name="connsiteX751" fmla="*/ 303828 w 453185"/>
                  <a:gd name="connsiteY751" fmla="*/ 318023 h 364488"/>
                  <a:gd name="connsiteX752" fmla="*/ 304093 w 453185"/>
                  <a:gd name="connsiteY752" fmla="*/ 318023 h 364488"/>
                  <a:gd name="connsiteX753" fmla="*/ 300918 w 453185"/>
                  <a:gd name="connsiteY753" fmla="*/ 318641 h 364488"/>
                  <a:gd name="connsiteX754" fmla="*/ 300918 w 453185"/>
                  <a:gd name="connsiteY754" fmla="*/ 320668 h 364488"/>
                  <a:gd name="connsiteX755" fmla="*/ 299772 w 453185"/>
                  <a:gd name="connsiteY755" fmla="*/ 321550 h 364488"/>
                  <a:gd name="connsiteX756" fmla="*/ 298362 w 453185"/>
                  <a:gd name="connsiteY756" fmla="*/ 323578 h 364488"/>
                  <a:gd name="connsiteX757" fmla="*/ 298627 w 453185"/>
                  <a:gd name="connsiteY757" fmla="*/ 324989 h 364488"/>
                  <a:gd name="connsiteX758" fmla="*/ 295717 w 453185"/>
                  <a:gd name="connsiteY758" fmla="*/ 324989 h 364488"/>
                  <a:gd name="connsiteX759" fmla="*/ 295452 w 453185"/>
                  <a:gd name="connsiteY759" fmla="*/ 323578 h 364488"/>
                  <a:gd name="connsiteX760" fmla="*/ 292807 w 453185"/>
                  <a:gd name="connsiteY760" fmla="*/ 324989 h 364488"/>
                  <a:gd name="connsiteX761" fmla="*/ 292543 w 453185"/>
                  <a:gd name="connsiteY761" fmla="*/ 324989 h 364488"/>
                  <a:gd name="connsiteX762" fmla="*/ 288134 w 453185"/>
                  <a:gd name="connsiteY762" fmla="*/ 327017 h 364488"/>
                  <a:gd name="connsiteX763" fmla="*/ 286723 w 453185"/>
                  <a:gd name="connsiteY763" fmla="*/ 327017 h 364488"/>
                  <a:gd name="connsiteX764" fmla="*/ 286106 w 453185"/>
                  <a:gd name="connsiteY764" fmla="*/ 327898 h 364488"/>
                  <a:gd name="connsiteX765" fmla="*/ 285225 w 453185"/>
                  <a:gd name="connsiteY765" fmla="*/ 327898 h 364488"/>
                  <a:gd name="connsiteX766" fmla="*/ 283461 w 453185"/>
                  <a:gd name="connsiteY766" fmla="*/ 327898 h 364488"/>
                  <a:gd name="connsiteX767" fmla="*/ 283461 w 453185"/>
                  <a:gd name="connsiteY767" fmla="*/ 326135 h 364488"/>
                  <a:gd name="connsiteX768" fmla="*/ 285754 w 453185"/>
                  <a:gd name="connsiteY768" fmla="*/ 326135 h 364488"/>
                  <a:gd name="connsiteX769" fmla="*/ 286371 w 453185"/>
                  <a:gd name="connsiteY769" fmla="*/ 324989 h 364488"/>
                  <a:gd name="connsiteX770" fmla="*/ 288663 w 453185"/>
                  <a:gd name="connsiteY770" fmla="*/ 324107 h 364488"/>
                  <a:gd name="connsiteX771" fmla="*/ 291308 w 453185"/>
                  <a:gd name="connsiteY771" fmla="*/ 322344 h 364488"/>
                  <a:gd name="connsiteX772" fmla="*/ 292190 w 453185"/>
                  <a:gd name="connsiteY772" fmla="*/ 321462 h 364488"/>
                  <a:gd name="connsiteX773" fmla="*/ 292190 w 453185"/>
                  <a:gd name="connsiteY773" fmla="*/ 320580 h 364488"/>
                  <a:gd name="connsiteX774" fmla="*/ 291837 w 453185"/>
                  <a:gd name="connsiteY774" fmla="*/ 318552 h 364488"/>
                  <a:gd name="connsiteX775" fmla="*/ 292455 w 453185"/>
                  <a:gd name="connsiteY775" fmla="*/ 318552 h 364488"/>
                  <a:gd name="connsiteX776" fmla="*/ 294747 w 453185"/>
                  <a:gd name="connsiteY776" fmla="*/ 318552 h 364488"/>
                  <a:gd name="connsiteX777" fmla="*/ 295011 w 453185"/>
                  <a:gd name="connsiteY777" fmla="*/ 318552 h 364488"/>
                  <a:gd name="connsiteX778" fmla="*/ 297656 w 453185"/>
                  <a:gd name="connsiteY778" fmla="*/ 317671 h 364488"/>
                  <a:gd name="connsiteX779" fmla="*/ 300566 w 453185"/>
                  <a:gd name="connsiteY779" fmla="*/ 316789 h 364488"/>
                  <a:gd name="connsiteX780" fmla="*/ 302947 w 453185"/>
                  <a:gd name="connsiteY780" fmla="*/ 316789 h 364488"/>
                  <a:gd name="connsiteX781" fmla="*/ 303828 w 453185"/>
                  <a:gd name="connsiteY781" fmla="*/ 317671 h 364488"/>
                  <a:gd name="connsiteX782" fmla="*/ 303828 w 453185"/>
                  <a:gd name="connsiteY782" fmla="*/ 318023 h 364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</a:cxnLst>
                <a:rect l="l" t="t" r="r" b="b"/>
                <a:pathLst>
                  <a:path w="453185" h="364488">
                    <a:moveTo>
                      <a:pt x="130313" y="243080"/>
                    </a:moveTo>
                    <a:lnTo>
                      <a:pt x="130842" y="243080"/>
                    </a:lnTo>
                    <a:lnTo>
                      <a:pt x="132605" y="243080"/>
                    </a:lnTo>
                    <a:lnTo>
                      <a:pt x="133223" y="242199"/>
                    </a:lnTo>
                    <a:lnTo>
                      <a:pt x="131723" y="241581"/>
                    </a:lnTo>
                    <a:lnTo>
                      <a:pt x="132341" y="240435"/>
                    </a:lnTo>
                    <a:lnTo>
                      <a:pt x="132958" y="241581"/>
                    </a:lnTo>
                    <a:lnTo>
                      <a:pt x="136132" y="241581"/>
                    </a:lnTo>
                    <a:lnTo>
                      <a:pt x="138512" y="237526"/>
                    </a:lnTo>
                    <a:lnTo>
                      <a:pt x="135250" y="235762"/>
                    </a:lnTo>
                    <a:lnTo>
                      <a:pt x="134986" y="234352"/>
                    </a:lnTo>
                    <a:lnTo>
                      <a:pt x="134986" y="233734"/>
                    </a:lnTo>
                    <a:lnTo>
                      <a:pt x="134986" y="233205"/>
                    </a:lnTo>
                    <a:lnTo>
                      <a:pt x="134721" y="232059"/>
                    </a:lnTo>
                    <a:lnTo>
                      <a:pt x="137895" y="232059"/>
                    </a:lnTo>
                    <a:lnTo>
                      <a:pt x="137895" y="231442"/>
                    </a:lnTo>
                    <a:lnTo>
                      <a:pt x="137631" y="230296"/>
                    </a:lnTo>
                    <a:lnTo>
                      <a:pt x="137366" y="228885"/>
                    </a:lnTo>
                    <a:lnTo>
                      <a:pt x="140011" y="229502"/>
                    </a:lnTo>
                    <a:lnTo>
                      <a:pt x="139659" y="228885"/>
                    </a:lnTo>
                    <a:lnTo>
                      <a:pt x="140540" y="229502"/>
                    </a:lnTo>
                    <a:lnTo>
                      <a:pt x="140540" y="230384"/>
                    </a:lnTo>
                    <a:lnTo>
                      <a:pt x="140805" y="229502"/>
                    </a:lnTo>
                    <a:lnTo>
                      <a:pt x="143715" y="231530"/>
                    </a:lnTo>
                    <a:lnTo>
                      <a:pt x="143450" y="232412"/>
                    </a:lnTo>
                    <a:lnTo>
                      <a:pt x="143450" y="233293"/>
                    </a:lnTo>
                    <a:lnTo>
                      <a:pt x="140276" y="232147"/>
                    </a:lnTo>
                    <a:lnTo>
                      <a:pt x="137895" y="232412"/>
                    </a:lnTo>
                    <a:lnTo>
                      <a:pt x="137895" y="232147"/>
                    </a:lnTo>
                    <a:lnTo>
                      <a:pt x="134986" y="232412"/>
                    </a:lnTo>
                    <a:lnTo>
                      <a:pt x="137895" y="233293"/>
                    </a:lnTo>
                    <a:lnTo>
                      <a:pt x="138160" y="234440"/>
                    </a:lnTo>
                    <a:lnTo>
                      <a:pt x="140452" y="235057"/>
                    </a:lnTo>
                    <a:lnTo>
                      <a:pt x="140717" y="235939"/>
                    </a:lnTo>
                    <a:lnTo>
                      <a:pt x="141334" y="235939"/>
                    </a:lnTo>
                    <a:lnTo>
                      <a:pt x="141334" y="237085"/>
                    </a:lnTo>
                    <a:lnTo>
                      <a:pt x="141334" y="236203"/>
                    </a:lnTo>
                    <a:lnTo>
                      <a:pt x="143626" y="235057"/>
                    </a:lnTo>
                    <a:lnTo>
                      <a:pt x="143979" y="237085"/>
                    </a:lnTo>
                    <a:lnTo>
                      <a:pt x="144596" y="237085"/>
                    </a:lnTo>
                    <a:lnTo>
                      <a:pt x="144596" y="237966"/>
                    </a:lnTo>
                    <a:lnTo>
                      <a:pt x="146889" y="237702"/>
                    </a:lnTo>
                    <a:lnTo>
                      <a:pt x="147770" y="237702"/>
                    </a:lnTo>
                    <a:lnTo>
                      <a:pt x="149534" y="237966"/>
                    </a:lnTo>
                    <a:lnTo>
                      <a:pt x="149798" y="240611"/>
                    </a:lnTo>
                    <a:lnTo>
                      <a:pt x="150944" y="242375"/>
                    </a:lnTo>
                    <a:lnTo>
                      <a:pt x="159408" y="237085"/>
                    </a:lnTo>
                    <a:lnTo>
                      <a:pt x="162053" y="237085"/>
                    </a:lnTo>
                    <a:lnTo>
                      <a:pt x="162582" y="237966"/>
                    </a:lnTo>
                    <a:lnTo>
                      <a:pt x="162582" y="238848"/>
                    </a:lnTo>
                    <a:lnTo>
                      <a:pt x="162847" y="240611"/>
                    </a:lnTo>
                    <a:lnTo>
                      <a:pt x="163111" y="242375"/>
                    </a:lnTo>
                    <a:lnTo>
                      <a:pt x="163111" y="243257"/>
                    </a:lnTo>
                    <a:lnTo>
                      <a:pt x="163376" y="244491"/>
                    </a:lnTo>
                    <a:lnTo>
                      <a:pt x="166638" y="246254"/>
                    </a:lnTo>
                    <a:lnTo>
                      <a:pt x="170165" y="251544"/>
                    </a:lnTo>
                    <a:lnTo>
                      <a:pt x="170429" y="251809"/>
                    </a:lnTo>
                    <a:lnTo>
                      <a:pt x="173956" y="255600"/>
                    </a:lnTo>
                    <a:lnTo>
                      <a:pt x="175720" y="254983"/>
                    </a:lnTo>
                    <a:lnTo>
                      <a:pt x="175984" y="255600"/>
                    </a:lnTo>
                    <a:lnTo>
                      <a:pt x="176249" y="257099"/>
                    </a:lnTo>
                    <a:lnTo>
                      <a:pt x="176513" y="259127"/>
                    </a:lnTo>
                    <a:lnTo>
                      <a:pt x="176778" y="260008"/>
                    </a:lnTo>
                    <a:lnTo>
                      <a:pt x="176778" y="260890"/>
                    </a:lnTo>
                    <a:lnTo>
                      <a:pt x="176513" y="260890"/>
                    </a:lnTo>
                    <a:lnTo>
                      <a:pt x="176778" y="262301"/>
                    </a:lnTo>
                    <a:lnTo>
                      <a:pt x="176778" y="263447"/>
                    </a:lnTo>
                    <a:lnTo>
                      <a:pt x="177395" y="264593"/>
                    </a:lnTo>
                    <a:lnTo>
                      <a:pt x="178012" y="263447"/>
                    </a:lnTo>
                    <a:lnTo>
                      <a:pt x="180392" y="263447"/>
                    </a:lnTo>
                    <a:lnTo>
                      <a:pt x="180657" y="265475"/>
                    </a:lnTo>
                    <a:lnTo>
                      <a:pt x="182156" y="266092"/>
                    </a:lnTo>
                    <a:lnTo>
                      <a:pt x="184448" y="266092"/>
                    </a:lnTo>
                    <a:lnTo>
                      <a:pt x="184448" y="267326"/>
                    </a:lnTo>
                    <a:lnTo>
                      <a:pt x="182156" y="267944"/>
                    </a:lnTo>
                    <a:lnTo>
                      <a:pt x="182420" y="268561"/>
                    </a:lnTo>
                    <a:lnTo>
                      <a:pt x="180657" y="267415"/>
                    </a:lnTo>
                    <a:lnTo>
                      <a:pt x="181010" y="268032"/>
                    </a:lnTo>
                    <a:lnTo>
                      <a:pt x="181010" y="269178"/>
                    </a:lnTo>
                    <a:lnTo>
                      <a:pt x="181274" y="270941"/>
                    </a:lnTo>
                    <a:lnTo>
                      <a:pt x="185066" y="272440"/>
                    </a:lnTo>
                    <a:lnTo>
                      <a:pt x="186212" y="274468"/>
                    </a:lnTo>
                    <a:lnTo>
                      <a:pt x="188592" y="280023"/>
                    </a:lnTo>
                    <a:lnTo>
                      <a:pt x="189738" y="283549"/>
                    </a:lnTo>
                    <a:lnTo>
                      <a:pt x="193000" y="286459"/>
                    </a:lnTo>
                    <a:lnTo>
                      <a:pt x="193265" y="287605"/>
                    </a:lnTo>
                    <a:lnTo>
                      <a:pt x="193529" y="289369"/>
                    </a:lnTo>
                    <a:lnTo>
                      <a:pt x="193529" y="290867"/>
                    </a:lnTo>
                    <a:lnTo>
                      <a:pt x="196703" y="291485"/>
                    </a:lnTo>
                    <a:lnTo>
                      <a:pt x="196968" y="293777"/>
                    </a:lnTo>
                    <a:lnTo>
                      <a:pt x="200230" y="295276"/>
                    </a:lnTo>
                    <a:lnTo>
                      <a:pt x="200230" y="296422"/>
                    </a:lnTo>
                    <a:lnTo>
                      <a:pt x="202875" y="296422"/>
                    </a:lnTo>
                    <a:lnTo>
                      <a:pt x="206314" y="296422"/>
                    </a:lnTo>
                    <a:lnTo>
                      <a:pt x="209576" y="296422"/>
                    </a:lnTo>
                    <a:lnTo>
                      <a:pt x="214778" y="300213"/>
                    </a:lnTo>
                    <a:lnTo>
                      <a:pt x="219098" y="300830"/>
                    </a:lnTo>
                    <a:lnTo>
                      <a:pt x="220862" y="301977"/>
                    </a:lnTo>
                    <a:lnTo>
                      <a:pt x="222625" y="303740"/>
                    </a:lnTo>
                    <a:lnTo>
                      <a:pt x="222890" y="305768"/>
                    </a:lnTo>
                    <a:lnTo>
                      <a:pt x="225270" y="305768"/>
                    </a:lnTo>
                    <a:lnTo>
                      <a:pt x="225535" y="307531"/>
                    </a:lnTo>
                    <a:lnTo>
                      <a:pt x="222890" y="307531"/>
                    </a:lnTo>
                    <a:lnTo>
                      <a:pt x="223154" y="308413"/>
                    </a:lnTo>
                    <a:lnTo>
                      <a:pt x="223154" y="308677"/>
                    </a:lnTo>
                    <a:lnTo>
                      <a:pt x="226417" y="310441"/>
                    </a:lnTo>
                    <a:lnTo>
                      <a:pt x="229679" y="311940"/>
                    </a:lnTo>
                    <a:lnTo>
                      <a:pt x="229943" y="312204"/>
                    </a:lnTo>
                    <a:lnTo>
                      <a:pt x="232324" y="313086"/>
                    </a:lnTo>
                    <a:lnTo>
                      <a:pt x="232588" y="314232"/>
                    </a:lnTo>
                    <a:lnTo>
                      <a:pt x="235762" y="314849"/>
                    </a:lnTo>
                    <a:lnTo>
                      <a:pt x="239289" y="317494"/>
                    </a:lnTo>
                    <a:lnTo>
                      <a:pt x="241934" y="317494"/>
                    </a:lnTo>
                    <a:lnTo>
                      <a:pt x="242551" y="318376"/>
                    </a:lnTo>
                    <a:lnTo>
                      <a:pt x="242551" y="318641"/>
                    </a:lnTo>
                    <a:lnTo>
                      <a:pt x="242551" y="319434"/>
                    </a:lnTo>
                    <a:lnTo>
                      <a:pt x="244843" y="320580"/>
                    </a:lnTo>
                    <a:lnTo>
                      <a:pt x="245726" y="321462"/>
                    </a:lnTo>
                    <a:lnTo>
                      <a:pt x="248635" y="323490"/>
                    </a:lnTo>
                    <a:lnTo>
                      <a:pt x="248635" y="324900"/>
                    </a:lnTo>
                    <a:lnTo>
                      <a:pt x="254807" y="324900"/>
                    </a:lnTo>
                    <a:lnTo>
                      <a:pt x="255424" y="323490"/>
                    </a:lnTo>
                    <a:lnTo>
                      <a:pt x="258598" y="324900"/>
                    </a:lnTo>
                    <a:lnTo>
                      <a:pt x="260890" y="324900"/>
                    </a:lnTo>
                    <a:lnTo>
                      <a:pt x="261507" y="324019"/>
                    </a:lnTo>
                    <a:lnTo>
                      <a:pt x="263271" y="324900"/>
                    </a:lnTo>
                    <a:lnTo>
                      <a:pt x="265034" y="326928"/>
                    </a:lnTo>
                    <a:lnTo>
                      <a:pt x="267326" y="326928"/>
                    </a:lnTo>
                    <a:lnTo>
                      <a:pt x="267326" y="327810"/>
                    </a:lnTo>
                    <a:lnTo>
                      <a:pt x="267591" y="328956"/>
                    </a:lnTo>
                    <a:lnTo>
                      <a:pt x="270765" y="329573"/>
                    </a:lnTo>
                    <a:lnTo>
                      <a:pt x="271294" y="329573"/>
                    </a:lnTo>
                    <a:lnTo>
                      <a:pt x="273675" y="329573"/>
                    </a:lnTo>
                    <a:lnTo>
                      <a:pt x="276584" y="326928"/>
                    </a:lnTo>
                    <a:lnTo>
                      <a:pt x="277201" y="326664"/>
                    </a:lnTo>
                    <a:lnTo>
                      <a:pt x="278700" y="326047"/>
                    </a:lnTo>
                    <a:lnTo>
                      <a:pt x="279318" y="324900"/>
                    </a:lnTo>
                    <a:lnTo>
                      <a:pt x="279934" y="324019"/>
                    </a:lnTo>
                    <a:lnTo>
                      <a:pt x="282844" y="321374"/>
                    </a:lnTo>
                    <a:lnTo>
                      <a:pt x="284608" y="321374"/>
                    </a:lnTo>
                    <a:lnTo>
                      <a:pt x="285225" y="322255"/>
                    </a:lnTo>
                    <a:lnTo>
                      <a:pt x="286106" y="323402"/>
                    </a:lnTo>
                    <a:lnTo>
                      <a:pt x="286106" y="322255"/>
                    </a:lnTo>
                    <a:lnTo>
                      <a:pt x="288134" y="321109"/>
                    </a:lnTo>
                    <a:lnTo>
                      <a:pt x="287870" y="318464"/>
                    </a:lnTo>
                    <a:lnTo>
                      <a:pt x="290779" y="317582"/>
                    </a:lnTo>
                    <a:lnTo>
                      <a:pt x="291397" y="316701"/>
                    </a:lnTo>
                    <a:lnTo>
                      <a:pt x="291661" y="317582"/>
                    </a:lnTo>
                    <a:lnTo>
                      <a:pt x="294306" y="316172"/>
                    </a:lnTo>
                    <a:lnTo>
                      <a:pt x="297480" y="316172"/>
                    </a:lnTo>
                    <a:lnTo>
                      <a:pt x="297216" y="315026"/>
                    </a:lnTo>
                    <a:lnTo>
                      <a:pt x="298891" y="313527"/>
                    </a:lnTo>
                    <a:lnTo>
                      <a:pt x="300125" y="312998"/>
                    </a:lnTo>
                    <a:lnTo>
                      <a:pt x="304798" y="311499"/>
                    </a:lnTo>
                    <a:lnTo>
                      <a:pt x="305680" y="312381"/>
                    </a:lnTo>
                    <a:lnTo>
                      <a:pt x="307972" y="312381"/>
                    </a:lnTo>
                    <a:lnTo>
                      <a:pt x="308589" y="312998"/>
                    </a:lnTo>
                    <a:lnTo>
                      <a:pt x="312116" y="312998"/>
                    </a:lnTo>
                    <a:lnTo>
                      <a:pt x="312116" y="313527"/>
                    </a:lnTo>
                    <a:lnTo>
                      <a:pt x="312997" y="313527"/>
                    </a:lnTo>
                    <a:lnTo>
                      <a:pt x="315378" y="313527"/>
                    </a:lnTo>
                    <a:lnTo>
                      <a:pt x="315378" y="314144"/>
                    </a:lnTo>
                    <a:lnTo>
                      <a:pt x="315378" y="315026"/>
                    </a:lnTo>
                    <a:lnTo>
                      <a:pt x="315378" y="315290"/>
                    </a:lnTo>
                    <a:lnTo>
                      <a:pt x="315643" y="316701"/>
                    </a:lnTo>
                    <a:lnTo>
                      <a:pt x="315643" y="316084"/>
                    </a:lnTo>
                    <a:lnTo>
                      <a:pt x="317671" y="317494"/>
                    </a:lnTo>
                    <a:lnTo>
                      <a:pt x="318817" y="316613"/>
                    </a:lnTo>
                    <a:lnTo>
                      <a:pt x="318817" y="317494"/>
                    </a:lnTo>
                    <a:lnTo>
                      <a:pt x="318817" y="317759"/>
                    </a:lnTo>
                    <a:lnTo>
                      <a:pt x="318552" y="317759"/>
                    </a:lnTo>
                    <a:lnTo>
                      <a:pt x="319081" y="320404"/>
                    </a:lnTo>
                    <a:lnTo>
                      <a:pt x="321727" y="325077"/>
                    </a:lnTo>
                    <a:lnTo>
                      <a:pt x="322608" y="327722"/>
                    </a:lnTo>
                    <a:lnTo>
                      <a:pt x="322608" y="330631"/>
                    </a:lnTo>
                    <a:lnTo>
                      <a:pt x="322608" y="331160"/>
                    </a:lnTo>
                    <a:lnTo>
                      <a:pt x="323754" y="332307"/>
                    </a:lnTo>
                    <a:lnTo>
                      <a:pt x="324019" y="334952"/>
                    </a:lnTo>
                    <a:lnTo>
                      <a:pt x="326311" y="336715"/>
                    </a:lnTo>
                    <a:lnTo>
                      <a:pt x="324283" y="337861"/>
                    </a:lnTo>
                    <a:lnTo>
                      <a:pt x="324548" y="339272"/>
                    </a:lnTo>
                    <a:lnTo>
                      <a:pt x="326840" y="341035"/>
                    </a:lnTo>
                    <a:lnTo>
                      <a:pt x="326840" y="341917"/>
                    </a:lnTo>
                    <a:lnTo>
                      <a:pt x="327457" y="343680"/>
                    </a:lnTo>
                    <a:lnTo>
                      <a:pt x="328339" y="346590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4158" y="348618"/>
                    </a:lnTo>
                    <a:lnTo>
                      <a:pt x="337685" y="347736"/>
                    </a:lnTo>
                    <a:lnTo>
                      <a:pt x="338567" y="349235"/>
                    </a:lnTo>
                    <a:lnTo>
                      <a:pt x="338831" y="350381"/>
                    </a:lnTo>
                    <a:lnTo>
                      <a:pt x="341211" y="349235"/>
                    </a:lnTo>
                    <a:lnTo>
                      <a:pt x="343504" y="349235"/>
                    </a:lnTo>
                    <a:lnTo>
                      <a:pt x="344121" y="349235"/>
                    </a:lnTo>
                    <a:lnTo>
                      <a:pt x="344385" y="350381"/>
                    </a:lnTo>
                    <a:lnTo>
                      <a:pt x="344385" y="352145"/>
                    </a:lnTo>
                    <a:lnTo>
                      <a:pt x="347648" y="353026"/>
                    </a:lnTo>
                    <a:lnTo>
                      <a:pt x="349411" y="353026"/>
                    </a:lnTo>
                    <a:lnTo>
                      <a:pt x="349411" y="352145"/>
                    </a:lnTo>
                    <a:lnTo>
                      <a:pt x="350028" y="352145"/>
                    </a:lnTo>
                    <a:lnTo>
                      <a:pt x="350646" y="351527"/>
                    </a:lnTo>
                    <a:lnTo>
                      <a:pt x="352409" y="351527"/>
                    </a:lnTo>
                    <a:lnTo>
                      <a:pt x="353026" y="351527"/>
                    </a:lnTo>
                    <a:lnTo>
                      <a:pt x="353908" y="351527"/>
                    </a:lnTo>
                    <a:lnTo>
                      <a:pt x="356817" y="351527"/>
                    </a:lnTo>
                    <a:lnTo>
                      <a:pt x="360080" y="352145"/>
                    </a:lnTo>
                    <a:lnTo>
                      <a:pt x="360080" y="353026"/>
                    </a:lnTo>
                    <a:lnTo>
                      <a:pt x="363254" y="352145"/>
                    </a:lnTo>
                    <a:lnTo>
                      <a:pt x="363254" y="353026"/>
                    </a:lnTo>
                    <a:lnTo>
                      <a:pt x="365017" y="353291"/>
                    </a:lnTo>
                    <a:lnTo>
                      <a:pt x="366692" y="356465"/>
                    </a:lnTo>
                    <a:lnTo>
                      <a:pt x="369602" y="356465"/>
                    </a:lnTo>
                    <a:lnTo>
                      <a:pt x="374892" y="353820"/>
                    </a:lnTo>
                    <a:lnTo>
                      <a:pt x="378154" y="354701"/>
                    </a:lnTo>
                    <a:lnTo>
                      <a:pt x="379036" y="355848"/>
                    </a:lnTo>
                    <a:lnTo>
                      <a:pt x="379036" y="356465"/>
                    </a:lnTo>
                    <a:lnTo>
                      <a:pt x="384855" y="355848"/>
                    </a:lnTo>
                    <a:lnTo>
                      <a:pt x="384855" y="357611"/>
                    </a:lnTo>
                    <a:lnTo>
                      <a:pt x="386883" y="356994"/>
                    </a:lnTo>
                    <a:lnTo>
                      <a:pt x="387765" y="356377"/>
                    </a:lnTo>
                    <a:lnTo>
                      <a:pt x="390674" y="356377"/>
                    </a:lnTo>
                    <a:lnTo>
                      <a:pt x="390674" y="357523"/>
                    </a:lnTo>
                    <a:lnTo>
                      <a:pt x="391291" y="358404"/>
                    </a:lnTo>
                    <a:lnTo>
                      <a:pt x="393055" y="356906"/>
                    </a:lnTo>
                    <a:lnTo>
                      <a:pt x="393584" y="356288"/>
                    </a:lnTo>
                    <a:lnTo>
                      <a:pt x="393848" y="357435"/>
                    </a:lnTo>
                    <a:lnTo>
                      <a:pt x="397375" y="358316"/>
                    </a:lnTo>
                    <a:lnTo>
                      <a:pt x="398257" y="359198"/>
                    </a:lnTo>
                    <a:lnTo>
                      <a:pt x="397375" y="358316"/>
                    </a:lnTo>
                    <a:lnTo>
                      <a:pt x="397375" y="357435"/>
                    </a:lnTo>
                    <a:lnTo>
                      <a:pt x="397110" y="356288"/>
                    </a:lnTo>
                    <a:lnTo>
                      <a:pt x="397110" y="354878"/>
                    </a:lnTo>
                    <a:lnTo>
                      <a:pt x="400020" y="354878"/>
                    </a:lnTo>
                    <a:lnTo>
                      <a:pt x="400284" y="356288"/>
                    </a:lnTo>
                    <a:lnTo>
                      <a:pt x="400284" y="357435"/>
                    </a:lnTo>
                    <a:lnTo>
                      <a:pt x="401166" y="358581"/>
                    </a:lnTo>
                    <a:lnTo>
                      <a:pt x="400549" y="358581"/>
                    </a:lnTo>
                    <a:lnTo>
                      <a:pt x="400549" y="359198"/>
                    </a:lnTo>
                    <a:lnTo>
                      <a:pt x="413069" y="361843"/>
                    </a:lnTo>
                    <a:lnTo>
                      <a:pt x="415714" y="362989"/>
                    </a:lnTo>
                    <a:lnTo>
                      <a:pt x="419505" y="364488"/>
                    </a:lnTo>
                    <a:lnTo>
                      <a:pt x="419505" y="363518"/>
                    </a:lnTo>
                    <a:lnTo>
                      <a:pt x="420122" y="363518"/>
                    </a:lnTo>
                    <a:lnTo>
                      <a:pt x="420122" y="362372"/>
                    </a:lnTo>
                    <a:lnTo>
                      <a:pt x="419858" y="360873"/>
                    </a:lnTo>
                    <a:lnTo>
                      <a:pt x="422150" y="360873"/>
                    </a:lnTo>
                    <a:lnTo>
                      <a:pt x="421533" y="360873"/>
                    </a:lnTo>
                    <a:lnTo>
                      <a:pt x="422150" y="360609"/>
                    </a:lnTo>
                    <a:lnTo>
                      <a:pt x="422150" y="360873"/>
                    </a:lnTo>
                    <a:lnTo>
                      <a:pt x="424178" y="358845"/>
                    </a:lnTo>
                    <a:lnTo>
                      <a:pt x="423561" y="353555"/>
                    </a:lnTo>
                    <a:lnTo>
                      <a:pt x="423296" y="348882"/>
                    </a:lnTo>
                    <a:lnTo>
                      <a:pt x="425324" y="348882"/>
                    </a:lnTo>
                    <a:lnTo>
                      <a:pt x="426823" y="348001"/>
                    </a:lnTo>
                    <a:lnTo>
                      <a:pt x="426471" y="346854"/>
                    </a:lnTo>
                    <a:lnTo>
                      <a:pt x="425589" y="345708"/>
                    </a:lnTo>
                    <a:lnTo>
                      <a:pt x="426206" y="345091"/>
                    </a:lnTo>
                    <a:lnTo>
                      <a:pt x="426206" y="343945"/>
                    </a:lnTo>
                    <a:lnTo>
                      <a:pt x="425324" y="342181"/>
                    </a:lnTo>
                    <a:lnTo>
                      <a:pt x="425941" y="341300"/>
                    </a:lnTo>
                    <a:lnTo>
                      <a:pt x="425677" y="339536"/>
                    </a:lnTo>
                    <a:lnTo>
                      <a:pt x="425148" y="335128"/>
                    </a:lnTo>
                    <a:lnTo>
                      <a:pt x="428058" y="334246"/>
                    </a:lnTo>
                    <a:lnTo>
                      <a:pt x="427793" y="332483"/>
                    </a:lnTo>
                    <a:lnTo>
                      <a:pt x="429821" y="333982"/>
                    </a:lnTo>
                    <a:lnTo>
                      <a:pt x="430438" y="334246"/>
                    </a:lnTo>
                    <a:lnTo>
                      <a:pt x="433700" y="334246"/>
                    </a:lnTo>
                    <a:lnTo>
                      <a:pt x="433700" y="333982"/>
                    </a:lnTo>
                    <a:lnTo>
                      <a:pt x="433436" y="332483"/>
                    </a:lnTo>
                    <a:lnTo>
                      <a:pt x="433436" y="331337"/>
                    </a:lnTo>
                    <a:lnTo>
                      <a:pt x="433171" y="330455"/>
                    </a:lnTo>
                    <a:lnTo>
                      <a:pt x="433171" y="329573"/>
                    </a:lnTo>
                    <a:lnTo>
                      <a:pt x="434317" y="327810"/>
                    </a:lnTo>
                    <a:lnTo>
                      <a:pt x="436610" y="327810"/>
                    </a:lnTo>
                    <a:lnTo>
                      <a:pt x="439519" y="326928"/>
                    </a:lnTo>
                    <a:lnTo>
                      <a:pt x="441812" y="326664"/>
                    </a:lnTo>
                    <a:lnTo>
                      <a:pt x="442341" y="326928"/>
                    </a:lnTo>
                    <a:lnTo>
                      <a:pt x="442341" y="326664"/>
                    </a:lnTo>
                    <a:lnTo>
                      <a:pt x="445250" y="326047"/>
                    </a:lnTo>
                    <a:lnTo>
                      <a:pt x="450540" y="326047"/>
                    </a:lnTo>
                    <a:lnTo>
                      <a:pt x="451158" y="324019"/>
                    </a:lnTo>
                    <a:lnTo>
                      <a:pt x="450011" y="321109"/>
                    </a:lnTo>
                    <a:lnTo>
                      <a:pt x="453185" y="320492"/>
                    </a:lnTo>
                    <a:lnTo>
                      <a:pt x="452304" y="314056"/>
                    </a:lnTo>
                    <a:lnTo>
                      <a:pt x="453185" y="313439"/>
                    </a:lnTo>
                    <a:lnTo>
                      <a:pt x="452304" y="311146"/>
                    </a:lnTo>
                    <a:lnTo>
                      <a:pt x="452039" y="311146"/>
                    </a:lnTo>
                    <a:lnTo>
                      <a:pt x="451158" y="310000"/>
                    </a:lnTo>
                    <a:lnTo>
                      <a:pt x="449394" y="309118"/>
                    </a:lnTo>
                    <a:lnTo>
                      <a:pt x="446220" y="310617"/>
                    </a:lnTo>
                    <a:lnTo>
                      <a:pt x="445956" y="311234"/>
                    </a:lnTo>
                    <a:lnTo>
                      <a:pt x="443311" y="311234"/>
                    </a:lnTo>
                    <a:lnTo>
                      <a:pt x="441812" y="309735"/>
                    </a:lnTo>
                    <a:lnTo>
                      <a:pt x="442341" y="308589"/>
                    </a:lnTo>
                    <a:lnTo>
                      <a:pt x="441459" y="307972"/>
                    </a:lnTo>
                    <a:lnTo>
                      <a:pt x="442341" y="305063"/>
                    </a:lnTo>
                    <a:lnTo>
                      <a:pt x="441459" y="297745"/>
                    </a:lnTo>
                    <a:lnTo>
                      <a:pt x="437403" y="290779"/>
                    </a:lnTo>
                    <a:lnTo>
                      <a:pt x="438285" y="285842"/>
                    </a:lnTo>
                    <a:lnTo>
                      <a:pt x="438285" y="285225"/>
                    </a:lnTo>
                    <a:lnTo>
                      <a:pt x="433348" y="285225"/>
                    </a:lnTo>
                    <a:lnTo>
                      <a:pt x="433348" y="284167"/>
                    </a:lnTo>
                    <a:lnTo>
                      <a:pt x="430703" y="283020"/>
                    </a:lnTo>
                    <a:lnTo>
                      <a:pt x="429556" y="280375"/>
                    </a:lnTo>
                    <a:lnTo>
                      <a:pt x="426029" y="280375"/>
                    </a:lnTo>
                    <a:lnTo>
                      <a:pt x="420211" y="278612"/>
                    </a:lnTo>
                    <a:lnTo>
                      <a:pt x="417037" y="277466"/>
                    </a:lnTo>
                    <a:lnTo>
                      <a:pt x="416155" y="275702"/>
                    </a:lnTo>
                    <a:lnTo>
                      <a:pt x="413510" y="273939"/>
                    </a:lnTo>
                    <a:lnTo>
                      <a:pt x="412363" y="271911"/>
                    </a:lnTo>
                    <a:lnTo>
                      <a:pt x="409718" y="270412"/>
                    </a:lnTo>
                    <a:lnTo>
                      <a:pt x="409718" y="268120"/>
                    </a:lnTo>
                    <a:lnTo>
                      <a:pt x="407955" y="266974"/>
                    </a:lnTo>
                    <a:lnTo>
                      <a:pt x="407603" y="265211"/>
                    </a:lnTo>
                    <a:lnTo>
                      <a:pt x="406103" y="263183"/>
                    </a:lnTo>
                    <a:lnTo>
                      <a:pt x="405574" y="263183"/>
                    </a:lnTo>
                    <a:lnTo>
                      <a:pt x="405574" y="262036"/>
                    </a:lnTo>
                    <a:lnTo>
                      <a:pt x="407074" y="257628"/>
                    </a:lnTo>
                    <a:lnTo>
                      <a:pt x="403547" y="257364"/>
                    </a:lnTo>
                    <a:lnTo>
                      <a:pt x="393584" y="244844"/>
                    </a:lnTo>
                    <a:lnTo>
                      <a:pt x="407074" y="221479"/>
                    </a:lnTo>
                    <a:lnTo>
                      <a:pt x="405839" y="218569"/>
                    </a:lnTo>
                    <a:lnTo>
                      <a:pt x="407074" y="215924"/>
                    </a:lnTo>
                    <a:lnTo>
                      <a:pt x="404693" y="210899"/>
                    </a:lnTo>
                    <a:lnTo>
                      <a:pt x="403811" y="208871"/>
                    </a:lnTo>
                    <a:lnTo>
                      <a:pt x="402312" y="207725"/>
                    </a:lnTo>
                    <a:lnTo>
                      <a:pt x="383709" y="204815"/>
                    </a:lnTo>
                    <a:lnTo>
                      <a:pt x="381064" y="193706"/>
                    </a:lnTo>
                    <a:lnTo>
                      <a:pt x="380799" y="190179"/>
                    </a:lnTo>
                    <a:lnTo>
                      <a:pt x="380535" y="186388"/>
                    </a:lnTo>
                    <a:lnTo>
                      <a:pt x="370307" y="163640"/>
                    </a:lnTo>
                    <a:lnTo>
                      <a:pt x="376744" y="153766"/>
                    </a:lnTo>
                    <a:lnTo>
                      <a:pt x="370307" y="152267"/>
                    </a:lnTo>
                    <a:lnTo>
                      <a:pt x="367133" y="152002"/>
                    </a:lnTo>
                    <a:lnTo>
                      <a:pt x="364841" y="148476"/>
                    </a:lnTo>
                    <a:lnTo>
                      <a:pt x="363078" y="139130"/>
                    </a:lnTo>
                    <a:lnTo>
                      <a:pt x="367221" y="134192"/>
                    </a:lnTo>
                    <a:lnTo>
                      <a:pt x="371012" y="134192"/>
                    </a:lnTo>
                    <a:lnTo>
                      <a:pt x="369249" y="131283"/>
                    </a:lnTo>
                    <a:lnTo>
                      <a:pt x="371277" y="130136"/>
                    </a:lnTo>
                    <a:lnTo>
                      <a:pt x="366604" y="128638"/>
                    </a:lnTo>
                    <a:lnTo>
                      <a:pt x="371012" y="125728"/>
                    </a:lnTo>
                    <a:lnTo>
                      <a:pt x="372511" y="119292"/>
                    </a:lnTo>
                    <a:lnTo>
                      <a:pt x="372247" y="116647"/>
                    </a:lnTo>
                    <a:lnTo>
                      <a:pt x="371894" y="115501"/>
                    </a:lnTo>
                    <a:lnTo>
                      <a:pt x="372511" y="114354"/>
                    </a:lnTo>
                    <a:lnTo>
                      <a:pt x="372247" y="113737"/>
                    </a:lnTo>
                    <a:lnTo>
                      <a:pt x="371365" y="112591"/>
                    </a:lnTo>
                    <a:lnTo>
                      <a:pt x="371365" y="111974"/>
                    </a:lnTo>
                    <a:lnTo>
                      <a:pt x="372247" y="102628"/>
                    </a:lnTo>
                    <a:lnTo>
                      <a:pt x="371630" y="99983"/>
                    </a:lnTo>
                    <a:lnTo>
                      <a:pt x="371012" y="96456"/>
                    </a:lnTo>
                    <a:lnTo>
                      <a:pt x="370395" y="94428"/>
                    </a:lnTo>
                    <a:lnTo>
                      <a:pt x="368015" y="93811"/>
                    </a:lnTo>
                    <a:lnTo>
                      <a:pt x="367133" y="92665"/>
                    </a:lnTo>
                    <a:lnTo>
                      <a:pt x="367750" y="92048"/>
                    </a:lnTo>
                    <a:lnTo>
                      <a:pt x="367486" y="91519"/>
                    </a:lnTo>
                    <a:lnTo>
                      <a:pt x="367486" y="90902"/>
                    </a:lnTo>
                    <a:lnTo>
                      <a:pt x="369249" y="89138"/>
                    </a:lnTo>
                    <a:lnTo>
                      <a:pt x="366340" y="85347"/>
                    </a:lnTo>
                    <a:lnTo>
                      <a:pt x="365987" y="84730"/>
                    </a:lnTo>
                    <a:lnTo>
                      <a:pt x="365458" y="82085"/>
                    </a:lnTo>
                    <a:lnTo>
                      <a:pt x="365458" y="81820"/>
                    </a:lnTo>
                    <a:lnTo>
                      <a:pt x="365194" y="80057"/>
                    </a:lnTo>
                    <a:lnTo>
                      <a:pt x="364576" y="78293"/>
                    </a:lnTo>
                    <a:lnTo>
                      <a:pt x="363959" y="75384"/>
                    </a:lnTo>
                    <a:lnTo>
                      <a:pt x="348794" y="75384"/>
                    </a:lnTo>
                    <a:lnTo>
                      <a:pt x="346149" y="75384"/>
                    </a:lnTo>
                    <a:lnTo>
                      <a:pt x="345885" y="74767"/>
                    </a:lnTo>
                    <a:lnTo>
                      <a:pt x="345620" y="73621"/>
                    </a:lnTo>
                    <a:lnTo>
                      <a:pt x="342358" y="70711"/>
                    </a:lnTo>
                    <a:lnTo>
                      <a:pt x="338302" y="66303"/>
                    </a:lnTo>
                    <a:lnTo>
                      <a:pt x="337420" y="66303"/>
                    </a:lnTo>
                    <a:lnTo>
                      <a:pt x="334511" y="64539"/>
                    </a:lnTo>
                    <a:lnTo>
                      <a:pt x="332483" y="64539"/>
                    </a:lnTo>
                    <a:lnTo>
                      <a:pt x="331601" y="63658"/>
                    </a:lnTo>
                    <a:lnTo>
                      <a:pt x="329309" y="64539"/>
                    </a:lnTo>
                    <a:lnTo>
                      <a:pt x="329044" y="62776"/>
                    </a:lnTo>
                    <a:lnTo>
                      <a:pt x="328692" y="61894"/>
                    </a:lnTo>
                    <a:lnTo>
                      <a:pt x="329044" y="62511"/>
                    </a:lnTo>
                    <a:lnTo>
                      <a:pt x="326135" y="61894"/>
                    </a:lnTo>
                    <a:lnTo>
                      <a:pt x="326135" y="61013"/>
                    </a:lnTo>
                    <a:lnTo>
                      <a:pt x="324989" y="59866"/>
                    </a:lnTo>
                    <a:lnTo>
                      <a:pt x="323490" y="56957"/>
                    </a:lnTo>
                    <a:lnTo>
                      <a:pt x="324107" y="56957"/>
                    </a:lnTo>
                    <a:lnTo>
                      <a:pt x="323843" y="55193"/>
                    </a:lnTo>
                    <a:lnTo>
                      <a:pt x="321198" y="53695"/>
                    </a:lnTo>
                    <a:lnTo>
                      <a:pt x="320580" y="53695"/>
                    </a:lnTo>
                    <a:lnTo>
                      <a:pt x="314761" y="51667"/>
                    </a:lnTo>
                    <a:lnTo>
                      <a:pt x="313262" y="50785"/>
                    </a:lnTo>
                    <a:lnTo>
                      <a:pt x="311764" y="50785"/>
                    </a:lnTo>
                    <a:lnTo>
                      <a:pt x="311499" y="49639"/>
                    </a:lnTo>
                    <a:lnTo>
                      <a:pt x="310970" y="50785"/>
                    </a:lnTo>
                    <a:lnTo>
                      <a:pt x="308589" y="50785"/>
                    </a:lnTo>
                    <a:lnTo>
                      <a:pt x="305415" y="49639"/>
                    </a:lnTo>
                    <a:lnTo>
                      <a:pt x="305151" y="50785"/>
                    </a:lnTo>
                    <a:lnTo>
                      <a:pt x="302594" y="51667"/>
                    </a:lnTo>
                    <a:lnTo>
                      <a:pt x="301712" y="50785"/>
                    </a:lnTo>
                    <a:lnTo>
                      <a:pt x="298538" y="50168"/>
                    </a:lnTo>
                    <a:lnTo>
                      <a:pt x="296510" y="47875"/>
                    </a:lnTo>
                    <a:lnTo>
                      <a:pt x="296246" y="47258"/>
                    </a:lnTo>
                    <a:lnTo>
                      <a:pt x="293336" y="47258"/>
                    </a:lnTo>
                    <a:lnTo>
                      <a:pt x="292455" y="46377"/>
                    </a:lnTo>
                    <a:lnTo>
                      <a:pt x="291926" y="46112"/>
                    </a:lnTo>
                    <a:lnTo>
                      <a:pt x="290162" y="46112"/>
                    </a:lnTo>
                    <a:lnTo>
                      <a:pt x="287870" y="45230"/>
                    </a:lnTo>
                    <a:lnTo>
                      <a:pt x="287252" y="45230"/>
                    </a:lnTo>
                    <a:lnTo>
                      <a:pt x="286988" y="44084"/>
                    </a:lnTo>
                    <a:lnTo>
                      <a:pt x="284608" y="44701"/>
                    </a:lnTo>
                    <a:lnTo>
                      <a:pt x="283990" y="44084"/>
                    </a:lnTo>
                    <a:lnTo>
                      <a:pt x="283109" y="44084"/>
                    </a:lnTo>
                    <a:lnTo>
                      <a:pt x="280199" y="44084"/>
                    </a:lnTo>
                    <a:lnTo>
                      <a:pt x="279582" y="42673"/>
                    </a:lnTo>
                    <a:lnTo>
                      <a:pt x="278965" y="40293"/>
                    </a:lnTo>
                    <a:lnTo>
                      <a:pt x="276937" y="39147"/>
                    </a:lnTo>
                    <a:lnTo>
                      <a:pt x="276584" y="38265"/>
                    </a:lnTo>
                    <a:lnTo>
                      <a:pt x="276584" y="38001"/>
                    </a:lnTo>
                    <a:lnTo>
                      <a:pt x="275702" y="37383"/>
                    </a:lnTo>
                    <a:lnTo>
                      <a:pt x="275438" y="36237"/>
                    </a:lnTo>
                    <a:lnTo>
                      <a:pt x="274821" y="34738"/>
                    </a:lnTo>
                    <a:lnTo>
                      <a:pt x="272793" y="34738"/>
                    </a:lnTo>
                    <a:lnTo>
                      <a:pt x="273410" y="37383"/>
                    </a:lnTo>
                    <a:lnTo>
                      <a:pt x="270765" y="38001"/>
                    </a:lnTo>
                    <a:lnTo>
                      <a:pt x="267503" y="37383"/>
                    </a:lnTo>
                    <a:lnTo>
                      <a:pt x="266886" y="36502"/>
                    </a:lnTo>
                    <a:lnTo>
                      <a:pt x="263976" y="34738"/>
                    </a:lnTo>
                    <a:lnTo>
                      <a:pt x="263976" y="36237"/>
                    </a:lnTo>
                    <a:lnTo>
                      <a:pt x="262213" y="37383"/>
                    </a:lnTo>
                    <a:lnTo>
                      <a:pt x="261067" y="36237"/>
                    </a:lnTo>
                    <a:lnTo>
                      <a:pt x="258157" y="36237"/>
                    </a:lnTo>
                    <a:lnTo>
                      <a:pt x="256129" y="38001"/>
                    </a:lnTo>
                    <a:lnTo>
                      <a:pt x="256394" y="38265"/>
                    </a:lnTo>
                    <a:lnTo>
                      <a:pt x="258157" y="39147"/>
                    </a:lnTo>
                    <a:lnTo>
                      <a:pt x="256658" y="40293"/>
                    </a:lnTo>
                    <a:lnTo>
                      <a:pt x="256129" y="40910"/>
                    </a:lnTo>
                    <a:lnTo>
                      <a:pt x="253749" y="40293"/>
                    </a:lnTo>
                    <a:lnTo>
                      <a:pt x="250839" y="40910"/>
                    </a:lnTo>
                    <a:lnTo>
                      <a:pt x="248194" y="40293"/>
                    </a:lnTo>
                    <a:lnTo>
                      <a:pt x="247930" y="40293"/>
                    </a:lnTo>
                    <a:lnTo>
                      <a:pt x="247048" y="39676"/>
                    </a:lnTo>
                    <a:lnTo>
                      <a:pt x="244755" y="39059"/>
                    </a:lnTo>
                    <a:lnTo>
                      <a:pt x="238936" y="40205"/>
                    </a:lnTo>
                    <a:lnTo>
                      <a:pt x="238936" y="42233"/>
                    </a:lnTo>
                    <a:lnTo>
                      <a:pt x="236644" y="42585"/>
                    </a:lnTo>
                    <a:lnTo>
                      <a:pt x="233999" y="43467"/>
                    </a:lnTo>
                    <a:lnTo>
                      <a:pt x="231089" y="47258"/>
                    </a:lnTo>
                    <a:lnTo>
                      <a:pt x="229062" y="48140"/>
                    </a:lnTo>
                    <a:lnTo>
                      <a:pt x="227298" y="50785"/>
                    </a:lnTo>
                    <a:lnTo>
                      <a:pt x="229943" y="52548"/>
                    </a:lnTo>
                    <a:lnTo>
                      <a:pt x="227915" y="53695"/>
                    </a:lnTo>
                    <a:lnTo>
                      <a:pt x="227562" y="55458"/>
                    </a:lnTo>
                    <a:lnTo>
                      <a:pt x="224124" y="55458"/>
                    </a:lnTo>
                    <a:lnTo>
                      <a:pt x="220862" y="58985"/>
                    </a:lnTo>
                    <a:lnTo>
                      <a:pt x="219098" y="58103"/>
                    </a:lnTo>
                    <a:lnTo>
                      <a:pt x="218834" y="59249"/>
                    </a:lnTo>
                    <a:lnTo>
                      <a:pt x="211251" y="58985"/>
                    </a:lnTo>
                    <a:lnTo>
                      <a:pt x="210987" y="58103"/>
                    </a:lnTo>
                    <a:lnTo>
                      <a:pt x="211604" y="60748"/>
                    </a:lnTo>
                    <a:lnTo>
                      <a:pt x="214249" y="62776"/>
                    </a:lnTo>
                    <a:lnTo>
                      <a:pt x="214867" y="65068"/>
                    </a:lnTo>
                    <a:lnTo>
                      <a:pt x="215131" y="66832"/>
                    </a:lnTo>
                    <a:lnTo>
                      <a:pt x="215131" y="67449"/>
                    </a:lnTo>
                    <a:lnTo>
                      <a:pt x="215396" y="68066"/>
                    </a:lnTo>
                    <a:lnTo>
                      <a:pt x="215396" y="68948"/>
                    </a:lnTo>
                    <a:lnTo>
                      <a:pt x="215660" y="69565"/>
                    </a:lnTo>
                    <a:lnTo>
                      <a:pt x="205785" y="69829"/>
                    </a:lnTo>
                    <a:lnTo>
                      <a:pt x="200230" y="70976"/>
                    </a:lnTo>
                    <a:lnTo>
                      <a:pt x="193265" y="73621"/>
                    </a:lnTo>
                    <a:lnTo>
                      <a:pt x="189738" y="74238"/>
                    </a:lnTo>
                    <a:lnTo>
                      <a:pt x="187358" y="74855"/>
                    </a:lnTo>
                    <a:lnTo>
                      <a:pt x="184448" y="74855"/>
                    </a:lnTo>
                    <a:lnTo>
                      <a:pt x="178894" y="77147"/>
                    </a:lnTo>
                    <a:lnTo>
                      <a:pt x="175984" y="78029"/>
                    </a:lnTo>
                    <a:lnTo>
                      <a:pt x="173074" y="78029"/>
                    </a:lnTo>
                    <a:lnTo>
                      <a:pt x="163728" y="74855"/>
                    </a:lnTo>
                    <a:lnTo>
                      <a:pt x="157645" y="73709"/>
                    </a:lnTo>
                    <a:lnTo>
                      <a:pt x="154471" y="72827"/>
                    </a:lnTo>
                    <a:lnTo>
                      <a:pt x="150680" y="71064"/>
                    </a:lnTo>
                    <a:lnTo>
                      <a:pt x="141334" y="66391"/>
                    </a:lnTo>
                    <a:lnTo>
                      <a:pt x="140188" y="64627"/>
                    </a:lnTo>
                    <a:lnTo>
                      <a:pt x="138160" y="63746"/>
                    </a:lnTo>
                    <a:lnTo>
                      <a:pt x="137631" y="60836"/>
                    </a:lnTo>
                    <a:lnTo>
                      <a:pt x="136396" y="58191"/>
                    </a:lnTo>
                    <a:lnTo>
                      <a:pt x="134104" y="58191"/>
                    </a:lnTo>
                    <a:lnTo>
                      <a:pt x="130577" y="55546"/>
                    </a:lnTo>
                    <a:lnTo>
                      <a:pt x="130577" y="55281"/>
                    </a:lnTo>
                    <a:lnTo>
                      <a:pt x="127403" y="55546"/>
                    </a:lnTo>
                    <a:lnTo>
                      <a:pt x="119292" y="55281"/>
                    </a:lnTo>
                    <a:lnTo>
                      <a:pt x="115765" y="53518"/>
                    </a:lnTo>
                    <a:lnTo>
                      <a:pt x="112591" y="51755"/>
                    </a:lnTo>
                    <a:lnTo>
                      <a:pt x="109065" y="48228"/>
                    </a:lnTo>
                    <a:lnTo>
                      <a:pt x="108800" y="47346"/>
                    </a:lnTo>
                    <a:lnTo>
                      <a:pt x="108800" y="46465"/>
                    </a:lnTo>
                    <a:lnTo>
                      <a:pt x="108535" y="45319"/>
                    </a:lnTo>
                    <a:lnTo>
                      <a:pt x="108271" y="43555"/>
                    </a:lnTo>
                    <a:lnTo>
                      <a:pt x="105097" y="41792"/>
                    </a:lnTo>
                    <a:lnTo>
                      <a:pt x="103598" y="34826"/>
                    </a:lnTo>
                    <a:lnTo>
                      <a:pt x="103069" y="31035"/>
                    </a:lnTo>
                    <a:lnTo>
                      <a:pt x="101570" y="31035"/>
                    </a:lnTo>
                    <a:lnTo>
                      <a:pt x="100071" y="31917"/>
                    </a:lnTo>
                    <a:lnTo>
                      <a:pt x="98925" y="32446"/>
                    </a:lnTo>
                    <a:lnTo>
                      <a:pt x="93635" y="29007"/>
                    </a:lnTo>
                    <a:lnTo>
                      <a:pt x="93370" y="27244"/>
                    </a:lnTo>
                    <a:lnTo>
                      <a:pt x="92224" y="27508"/>
                    </a:lnTo>
                    <a:lnTo>
                      <a:pt x="90196" y="26362"/>
                    </a:lnTo>
                    <a:lnTo>
                      <a:pt x="90196" y="25745"/>
                    </a:lnTo>
                    <a:lnTo>
                      <a:pt x="89932" y="24599"/>
                    </a:lnTo>
                    <a:lnTo>
                      <a:pt x="87022" y="23717"/>
                    </a:lnTo>
                    <a:lnTo>
                      <a:pt x="82966" y="21954"/>
                    </a:lnTo>
                    <a:lnTo>
                      <a:pt x="82614" y="20191"/>
                    </a:lnTo>
                    <a:lnTo>
                      <a:pt x="85523" y="19573"/>
                    </a:lnTo>
                    <a:lnTo>
                      <a:pt x="85259" y="18956"/>
                    </a:lnTo>
                    <a:lnTo>
                      <a:pt x="88786" y="18075"/>
                    </a:lnTo>
                    <a:lnTo>
                      <a:pt x="90284" y="17193"/>
                    </a:lnTo>
                    <a:lnTo>
                      <a:pt x="88257" y="14548"/>
                    </a:lnTo>
                    <a:lnTo>
                      <a:pt x="87375" y="13401"/>
                    </a:lnTo>
                    <a:lnTo>
                      <a:pt x="84730" y="11991"/>
                    </a:lnTo>
                    <a:lnTo>
                      <a:pt x="84377" y="10845"/>
                    </a:lnTo>
                    <a:lnTo>
                      <a:pt x="84377" y="10227"/>
                    </a:lnTo>
                    <a:lnTo>
                      <a:pt x="84730" y="9081"/>
                    </a:lnTo>
                    <a:lnTo>
                      <a:pt x="87110" y="8464"/>
                    </a:lnTo>
                    <a:lnTo>
                      <a:pt x="89138" y="7847"/>
                    </a:lnTo>
                    <a:lnTo>
                      <a:pt x="88257" y="6436"/>
                    </a:lnTo>
                    <a:lnTo>
                      <a:pt x="83054" y="2910"/>
                    </a:lnTo>
                    <a:lnTo>
                      <a:pt x="80410" y="1146"/>
                    </a:lnTo>
                    <a:lnTo>
                      <a:pt x="78999" y="0"/>
                    </a:lnTo>
                    <a:lnTo>
                      <a:pt x="79263" y="1146"/>
                    </a:lnTo>
                    <a:lnTo>
                      <a:pt x="75472" y="1146"/>
                    </a:lnTo>
                    <a:lnTo>
                      <a:pt x="75737" y="1763"/>
                    </a:lnTo>
                    <a:lnTo>
                      <a:pt x="71681" y="4408"/>
                    </a:lnTo>
                    <a:lnTo>
                      <a:pt x="70535" y="4673"/>
                    </a:lnTo>
                    <a:lnTo>
                      <a:pt x="69036" y="6084"/>
                    </a:lnTo>
                    <a:lnTo>
                      <a:pt x="66391" y="7847"/>
                    </a:lnTo>
                    <a:lnTo>
                      <a:pt x="64098" y="10227"/>
                    </a:lnTo>
                    <a:lnTo>
                      <a:pt x="63481" y="10845"/>
                    </a:lnTo>
                    <a:lnTo>
                      <a:pt x="60836" y="12873"/>
                    </a:lnTo>
                    <a:lnTo>
                      <a:pt x="61101" y="13401"/>
                    </a:lnTo>
                    <a:lnTo>
                      <a:pt x="58720" y="13401"/>
                    </a:lnTo>
                    <a:lnTo>
                      <a:pt x="56075" y="15782"/>
                    </a:lnTo>
                    <a:lnTo>
                      <a:pt x="56339" y="17281"/>
                    </a:lnTo>
                    <a:lnTo>
                      <a:pt x="56075" y="17545"/>
                    </a:lnTo>
                    <a:lnTo>
                      <a:pt x="56339" y="18163"/>
                    </a:lnTo>
                    <a:lnTo>
                      <a:pt x="54047" y="20191"/>
                    </a:lnTo>
                    <a:lnTo>
                      <a:pt x="54312" y="21689"/>
                    </a:lnTo>
                    <a:lnTo>
                      <a:pt x="51138" y="20808"/>
                    </a:lnTo>
                    <a:lnTo>
                      <a:pt x="48845" y="20191"/>
                    </a:lnTo>
                    <a:lnTo>
                      <a:pt x="46200" y="21954"/>
                    </a:lnTo>
                    <a:lnTo>
                      <a:pt x="42673" y="20808"/>
                    </a:lnTo>
                    <a:lnTo>
                      <a:pt x="42056" y="20808"/>
                    </a:lnTo>
                    <a:lnTo>
                      <a:pt x="39764" y="20808"/>
                    </a:lnTo>
                    <a:lnTo>
                      <a:pt x="38265" y="19662"/>
                    </a:lnTo>
                    <a:lnTo>
                      <a:pt x="35356" y="19044"/>
                    </a:lnTo>
                    <a:lnTo>
                      <a:pt x="33328" y="18163"/>
                    </a:lnTo>
                    <a:lnTo>
                      <a:pt x="32710" y="18163"/>
                    </a:lnTo>
                    <a:lnTo>
                      <a:pt x="30330" y="18163"/>
                    </a:lnTo>
                    <a:lnTo>
                      <a:pt x="30330" y="17545"/>
                    </a:lnTo>
                    <a:lnTo>
                      <a:pt x="30065" y="16399"/>
                    </a:lnTo>
                    <a:lnTo>
                      <a:pt x="29801" y="14636"/>
                    </a:lnTo>
                    <a:lnTo>
                      <a:pt x="29184" y="13754"/>
                    </a:lnTo>
                    <a:lnTo>
                      <a:pt x="28919" y="13490"/>
                    </a:lnTo>
                    <a:lnTo>
                      <a:pt x="27420" y="13490"/>
                    </a:lnTo>
                    <a:lnTo>
                      <a:pt x="27156" y="12961"/>
                    </a:lnTo>
                    <a:lnTo>
                      <a:pt x="26539" y="12961"/>
                    </a:lnTo>
                    <a:lnTo>
                      <a:pt x="22747" y="12079"/>
                    </a:lnTo>
                    <a:lnTo>
                      <a:pt x="22483" y="10316"/>
                    </a:lnTo>
                    <a:lnTo>
                      <a:pt x="21601" y="8552"/>
                    </a:lnTo>
                    <a:lnTo>
                      <a:pt x="17810" y="4761"/>
                    </a:lnTo>
                    <a:lnTo>
                      <a:pt x="11109" y="4761"/>
                    </a:lnTo>
                    <a:lnTo>
                      <a:pt x="8200" y="2733"/>
                    </a:lnTo>
                    <a:lnTo>
                      <a:pt x="9346" y="7406"/>
                    </a:lnTo>
                    <a:lnTo>
                      <a:pt x="9346" y="9698"/>
                    </a:lnTo>
                    <a:lnTo>
                      <a:pt x="5555" y="9698"/>
                    </a:lnTo>
                    <a:lnTo>
                      <a:pt x="3791" y="9169"/>
                    </a:lnTo>
                    <a:lnTo>
                      <a:pt x="0" y="8905"/>
                    </a:lnTo>
                    <a:lnTo>
                      <a:pt x="1234" y="11197"/>
                    </a:lnTo>
                    <a:lnTo>
                      <a:pt x="1763" y="14724"/>
                    </a:lnTo>
                    <a:lnTo>
                      <a:pt x="8200" y="15606"/>
                    </a:lnTo>
                    <a:lnTo>
                      <a:pt x="4673" y="18515"/>
                    </a:lnTo>
                    <a:lnTo>
                      <a:pt x="8464" y="19397"/>
                    </a:lnTo>
                    <a:lnTo>
                      <a:pt x="5555" y="20543"/>
                    </a:lnTo>
                    <a:lnTo>
                      <a:pt x="8111" y="21425"/>
                    </a:lnTo>
                    <a:lnTo>
                      <a:pt x="8993" y="26098"/>
                    </a:lnTo>
                    <a:lnTo>
                      <a:pt x="10404" y="31652"/>
                    </a:lnTo>
                    <a:lnTo>
                      <a:pt x="13578" y="31652"/>
                    </a:lnTo>
                    <a:lnTo>
                      <a:pt x="14724" y="35179"/>
                    </a:lnTo>
                    <a:lnTo>
                      <a:pt x="14724" y="37207"/>
                    </a:lnTo>
                    <a:lnTo>
                      <a:pt x="13578" y="38970"/>
                    </a:lnTo>
                    <a:lnTo>
                      <a:pt x="12696" y="40734"/>
                    </a:lnTo>
                    <a:lnTo>
                      <a:pt x="12961" y="43114"/>
                    </a:lnTo>
                    <a:lnTo>
                      <a:pt x="14988" y="44878"/>
                    </a:lnTo>
                    <a:lnTo>
                      <a:pt x="17369" y="44878"/>
                    </a:lnTo>
                    <a:lnTo>
                      <a:pt x="17634" y="47787"/>
                    </a:lnTo>
                    <a:lnTo>
                      <a:pt x="20279" y="46641"/>
                    </a:lnTo>
                    <a:lnTo>
                      <a:pt x="22571" y="46906"/>
                    </a:lnTo>
                    <a:lnTo>
                      <a:pt x="24070" y="48316"/>
                    </a:lnTo>
                    <a:lnTo>
                      <a:pt x="19397" y="50344"/>
                    </a:lnTo>
                    <a:lnTo>
                      <a:pt x="23188" y="50344"/>
                    </a:lnTo>
                    <a:lnTo>
                      <a:pt x="20279" y="51226"/>
                    </a:lnTo>
                    <a:lnTo>
                      <a:pt x="20896" y="55017"/>
                    </a:lnTo>
                    <a:lnTo>
                      <a:pt x="22924" y="58191"/>
                    </a:lnTo>
                    <a:lnTo>
                      <a:pt x="22924" y="57662"/>
                    </a:lnTo>
                    <a:lnTo>
                      <a:pt x="26098" y="59073"/>
                    </a:lnTo>
                    <a:lnTo>
                      <a:pt x="24070" y="60572"/>
                    </a:lnTo>
                    <a:lnTo>
                      <a:pt x="25569" y="62335"/>
                    </a:lnTo>
                    <a:lnTo>
                      <a:pt x="25569" y="64716"/>
                    </a:lnTo>
                    <a:lnTo>
                      <a:pt x="29095" y="66479"/>
                    </a:lnTo>
                    <a:lnTo>
                      <a:pt x="27068" y="68242"/>
                    </a:lnTo>
                    <a:lnTo>
                      <a:pt x="27332" y="69388"/>
                    </a:lnTo>
                    <a:lnTo>
                      <a:pt x="27332" y="70006"/>
                    </a:lnTo>
                    <a:lnTo>
                      <a:pt x="27597" y="71152"/>
                    </a:lnTo>
                    <a:lnTo>
                      <a:pt x="27597" y="72034"/>
                    </a:lnTo>
                    <a:lnTo>
                      <a:pt x="27949" y="72651"/>
                    </a:lnTo>
                    <a:lnTo>
                      <a:pt x="29713" y="72651"/>
                    </a:lnTo>
                    <a:lnTo>
                      <a:pt x="31212" y="76177"/>
                    </a:lnTo>
                    <a:lnTo>
                      <a:pt x="32975" y="75031"/>
                    </a:lnTo>
                    <a:lnTo>
                      <a:pt x="32975" y="75648"/>
                    </a:lnTo>
                    <a:lnTo>
                      <a:pt x="31829" y="77412"/>
                    </a:lnTo>
                    <a:lnTo>
                      <a:pt x="31829" y="78558"/>
                    </a:lnTo>
                    <a:lnTo>
                      <a:pt x="32093" y="79440"/>
                    </a:lnTo>
                    <a:lnTo>
                      <a:pt x="33857" y="80321"/>
                    </a:lnTo>
                    <a:lnTo>
                      <a:pt x="33857" y="81203"/>
                    </a:lnTo>
                    <a:lnTo>
                      <a:pt x="37648" y="82085"/>
                    </a:lnTo>
                    <a:lnTo>
                      <a:pt x="38530" y="82966"/>
                    </a:lnTo>
                    <a:lnTo>
                      <a:pt x="38794" y="85611"/>
                    </a:lnTo>
                    <a:lnTo>
                      <a:pt x="39147" y="85876"/>
                    </a:lnTo>
                    <a:lnTo>
                      <a:pt x="39764" y="86758"/>
                    </a:lnTo>
                    <a:lnTo>
                      <a:pt x="40381" y="89403"/>
                    </a:lnTo>
                    <a:lnTo>
                      <a:pt x="42144" y="90284"/>
                    </a:lnTo>
                    <a:lnTo>
                      <a:pt x="40734" y="91783"/>
                    </a:lnTo>
                    <a:lnTo>
                      <a:pt x="42497" y="92929"/>
                    </a:lnTo>
                    <a:lnTo>
                      <a:pt x="43379" y="92929"/>
                    </a:lnTo>
                    <a:lnTo>
                      <a:pt x="44260" y="92312"/>
                    </a:lnTo>
                    <a:lnTo>
                      <a:pt x="47170" y="93458"/>
                    </a:lnTo>
                    <a:lnTo>
                      <a:pt x="51579" y="96632"/>
                    </a:lnTo>
                    <a:lnTo>
                      <a:pt x="52725" y="96632"/>
                    </a:lnTo>
                    <a:lnTo>
                      <a:pt x="54488" y="95751"/>
                    </a:lnTo>
                    <a:lnTo>
                      <a:pt x="56516" y="95751"/>
                    </a:lnTo>
                    <a:lnTo>
                      <a:pt x="58015" y="95486"/>
                    </a:lnTo>
                    <a:lnTo>
                      <a:pt x="58632" y="96632"/>
                    </a:lnTo>
                    <a:lnTo>
                      <a:pt x="59514" y="98396"/>
                    </a:lnTo>
                    <a:lnTo>
                      <a:pt x="61542" y="96632"/>
                    </a:lnTo>
                    <a:lnTo>
                      <a:pt x="62071" y="95751"/>
                    </a:lnTo>
                    <a:lnTo>
                      <a:pt x="62335" y="98396"/>
                    </a:lnTo>
                    <a:lnTo>
                      <a:pt x="61806" y="99542"/>
                    </a:lnTo>
                    <a:lnTo>
                      <a:pt x="61542" y="99542"/>
                    </a:lnTo>
                    <a:lnTo>
                      <a:pt x="59249" y="100159"/>
                    </a:lnTo>
                    <a:lnTo>
                      <a:pt x="56339" y="100159"/>
                    </a:lnTo>
                    <a:lnTo>
                      <a:pt x="55810" y="100159"/>
                    </a:lnTo>
                    <a:lnTo>
                      <a:pt x="56339" y="103069"/>
                    </a:lnTo>
                    <a:lnTo>
                      <a:pt x="56604" y="104568"/>
                    </a:lnTo>
                    <a:lnTo>
                      <a:pt x="56604" y="105185"/>
                    </a:lnTo>
                    <a:lnTo>
                      <a:pt x="57486" y="107213"/>
                    </a:lnTo>
                    <a:lnTo>
                      <a:pt x="60395" y="108359"/>
                    </a:lnTo>
                    <a:lnTo>
                      <a:pt x="60660" y="109505"/>
                    </a:lnTo>
                    <a:lnTo>
                      <a:pt x="60924" y="111268"/>
                    </a:lnTo>
                    <a:lnTo>
                      <a:pt x="63834" y="112150"/>
                    </a:lnTo>
                    <a:lnTo>
                      <a:pt x="61806" y="113649"/>
                    </a:lnTo>
                    <a:lnTo>
                      <a:pt x="61542" y="115060"/>
                    </a:lnTo>
                    <a:lnTo>
                      <a:pt x="61806" y="115677"/>
                    </a:lnTo>
                    <a:lnTo>
                      <a:pt x="58279" y="115677"/>
                    </a:lnTo>
                    <a:lnTo>
                      <a:pt x="57398" y="114531"/>
                    </a:lnTo>
                    <a:lnTo>
                      <a:pt x="57398" y="115677"/>
                    </a:lnTo>
                    <a:lnTo>
                      <a:pt x="55987" y="116823"/>
                    </a:lnTo>
                    <a:lnTo>
                      <a:pt x="58015" y="118586"/>
                    </a:lnTo>
                    <a:lnTo>
                      <a:pt x="56516" y="119468"/>
                    </a:lnTo>
                    <a:lnTo>
                      <a:pt x="56516" y="119997"/>
                    </a:lnTo>
                    <a:lnTo>
                      <a:pt x="55017" y="119468"/>
                    </a:lnTo>
                    <a:lnTo>
                      <a:pt x="55281" y="121232"/>
                    </a:lnTo>
                    <a:lnTo>
                      <a:pt x="53783" y="122378"/>
                    </a:lnTo>
                    <a:lnTo>
                      <a:pt x="54047" y="123877"/>
                    </a:lnTo>
                    <a:lnTo>
                      <a:pt x="53430" y="124141"/>
                    </a:lnTo>
                    <a:lnTo>
                      <a:pt x="54312" y="125904"/>
                    </a:lnTo>
                    <a:lnTo>
                      <a:pt x="54576" y="127315"/>
                    </a:lnTo>
                    <a:lnTo>
                      <a:pt x="54576" y="127932"/>
                    </a:lnTo>
                    <a:lnTo>
                      <a:pt x="54576" y="128550"/>
                    </a:lnTo>
                    <a:lnTo>
                      <a:pt x="54047" y="127932"/>
                    </a:lnTo>
                    <a:lnTo>
                      <a:pt x="53166" y="127932"/>
                    </a:lnTo>
                    <a:lnTo>
                      <a:pt x="51667" y="127932"/>
                    </a:lnTo>
                    <a:lnTo>
                      <a:pt x="50785" y="127315"/>
                    </a:lnTo>
                    <a:lnTo>
                      <a:pt x="51402" y="130842"/>
                    </a:lnTo>
                    <a:lnTo>
                      <a:pt x="52284" y="131106"/>
                    </a:lnTo>
                    <a:lnTo>
                      <a:pt x="49110" y="131106"/>
                    </a:lnTo>
                    <a:lnTo>
                      <a:pt x="51138" y="133751"/>
                    </a:lnTo>
                    <a:lnTo>
                      <a:pt x="51755" y="133751"/>
                    </a:lnTo>
                    <a:lnTo>
                      <a:pt x="52637" y="134898"/>
                    </a:lnTo>
                    <a:lnTo>
                      <a:pt x="52901" y="135779"/>
                    </a:lnTo>
                    <a:lnTo>
                      <a:pt x="53166" y="137190"/>
                    </a:lnTo>
                    <a:lnTo>
                      <a:pt x="53430" y="139218"/>
                    </a:lnTo>
                    <a:lnTo>
                      <a:pt x="52284" y="140100"/>
                    </a:lnTo>
                    <a:lnTo>
                      <a:pt x="52548" y="142127"/>
                    </a:lnTo>
                    <a:lnTo>
                      <a:pt x="50785" y="143274"/>
                    </a:lnTo>
                    <a:lnTo>
                      <a:pt x="53077" y="143274"/>
                    </a:lnTo>
                    <a:lnTo>
                      <a:pt x="55987" y="146800"/>
                    </a:lnTo>
                    <a:lnTo>
                      <a:pt x="56868" y="147682"/>
                    </a:lnTo>
                    <a:lnTo>
                      <a:pt x="57133" y="149445"/>
                    </a:lnTo>
                    <a:lnTo>
                      <a:pt x="58015" y="150592"/>
                    </a:lnTo>
                    <a:lnTo>
                      <a:pt x="58015" y="152090"/>
                    </a:lnTo>
                    <a:lnTo>
                      <a:pt x="59778" y="152355"/>
                    </a:lnTo>
                    <a:lnTo>
                      <a:pt x="61277" y="152090"/>
                    </a:lnTo>
                    <a:lnTo>
                      <a:pt x="62688" y="152090"/>
                    </a:lnTo>
                    <a:lnTo>
                      <a:pt x="63834" y="153854"/>
                    </a:lnTo>
                    <a:lnTo>
                      <a:pt x="61453" y="153854"/>
                    </a:lnTo>
                    <a:lnTo>
                      <a:pt x="61453" y="155000"/>
                    </a:lnTo>
                    <a:lnTo>
                      <a:pt x="63834" y="155000"/>
                    </a:lnTo>
                    <a:lnTo>
                      <a:pt x="64716" y="156499"/>
                    </a:lnTo>
                    <a:lnTo>
                      <a:pt x="64980" y="157645"/>
                    </a:lnTo>
                    <a:lnTo>
                      <a:pt x="68154" y="159673"/>
                    </a:lnTo>
                    <a:lnTo>
                      <a:pt x="70182" y="160555"/>
                    </a:lnTo>
                    <a:lnTo>
                      <a:pt x="70799" y="163729"/>
                    </a:lnTo>
                    <a:lnTo>
                      <a:pt x="65862" y="163993"/>
                    </a:lnTo>
                    <a:lnTo>
                      <a:pt x="65862" y="164875"/>
                    </a:lnTo>
                    <a:lnTo>
                      <a:pt x="66215" y="165492"/>
                    </a:lnTo>
                    <a:lnTo>
                      <a:pt x="68859" y="165492"/>
                    </a:lnTo>
                    <a:lnTo>
                      <a:pt x="69388" y="169900"/>
                    </a:lnTo>
                    <a:lnTo>
                      <a:pt x="72033" y="167873"/>
                    </a:lnTo>
                    <a:lnTo>
                      <a:pt x="75208" y="169283"/>
                    </a:lnTo>
                    <a:lnTo>
                      <a:pt x="81909" y="172810"/>
                    </a:lnTo>
                    <a:lnTo>
                      <a:pt x="83936" y="173956"/>
                    </a:lnTo>
                    <a:lnTo>
                      <a:pt x="85082" y="175102"/>
                    </a:lnTo>
                    <a:lnTo>
                      <a:pt x="87727" y="176601"/>
                    </a:lnTo>
                    <a:lnTo>
                      <a:pt x="92136" y="181010"/>
                    </a:lnTo>
                    <a:lnTo>
                      <a:pt x="95046" y="181010"/>
                    </a:lnTo>
                    <a:lnTo>
                      <a:pt x="97426" y="181010"/>
                    </a:lnTo>
                    <a:lnTo>
                      <a:pt x="98308" y="182156"/>
                    </a:lnTo>
                    <a:lnTo>
                      <a:pt x="98572" y="184801"/>
                    </a:lnTo>
                    <a:lnTo>
                      <a:pt x="100600" y="187975"/>
                    </a:lnTo>
                    <a:lnTo>
                      <a:pt x="102363" y="189386"/>
                    </a:lnTo>
                    <a:lnTo>
                      <a:pt x="103862" y="190267"/>
                    </a:lnTo>
                    <a:lnTo>
                      <a:pt x="105009" y="192031"/>
                    </a:lnTo>
                    <a:lnTo>
                      <a:pt x="105890" y="192031"/>
                    </a:lnTo>
                    <a:lnTo>
                      <a:pt x="105890" y="193794"/>
                    </a:lnTo>
                    <a:lnTo>
                      <a:pt x="107654" y="194411"/>
                    </a:lnTo>
                    <a:lnTo>
                      <a:pt x="107918" y="195910"/>
                    </a:lnTo>
                    <a:lnTo>
                      <a:pt x="109417" y="196792"/>
                    </a:lnTo>
                    <a:lnTo>
                      <a:pt x="107918" y="207548"/>
                    </a:lnTo>
                    <a:lnTo>
                      <a:pt x="109065" y="217159"/>
                    </a:lnTo>
                    <a:lnTo>
                      <a:pt x="115765" y="217159"/>
                    </a:lnTo>
                    <a:lnTo>
                      <a:pt x="117793" y="230296"/>
                    </a:lnTo>
                    <a:lnTo>
                      <a:pt x="119292" y="230296"/>
                    </a:lnTo>
                    <a:lnTo>
                      <a:pt x="121055" y="232059"/>
                    </a:lnTo>
                    <a:lnTo>
                      <a:pt x="122819" y="233822"/>
                    </a:lnTo>
                    <a:lnTo>
                      <a:pt x="123700" y="233822"/>
                    </a:lnTo>
                    <a:lnTo>
                      <a:pt x="126962" y="236997"/>
                    </a:lnTo>
                    <a:lnTo>
                      <a:pt x="127227" y="237614"/>
                    </a:lnTo>
                    <a:lnTo>
                      <a:pt x="127227" y="238760"/>
                    </a:lnTo>
                    <a:lnTo>
                      <a:pt x="127491" y="240523"/>
                    </a:lnTo>
                    <a:lnTo>
                      <a:pt x="127756" y="242287"/>
                    </a:lnTo>
                    <a:lnTo>
                      <a:pt x="131547" y="243168"/>
                    </a:lnTo>
                    <a:lnTo>
                      <a:pt x="130313" y="243168"/>
                    </a:lnTo>
                    <a:close/>
                    <a:moveTo>
                      <a:pt x="303828" y="318023"/>
                    </a:moveTo>
                    <a:lnTo>
                      <a:pt x="304093" y="318023"/>
                    </a:lnTo>
                    <a:lnTo>
                      <a:pt x="300918" y="318641"/>
                    </a:lnTo>
                    <a:lnTo>
                      <a:pt x="300918" y="320668"/>
                    </a:lnTo>
                    <a:lnTo>
                      <a:pt x="299772" y="321550"/>
                    </a:lnTo>
                    <a:lnTo>
                      <a:pt x="298362" y="323578"/>
                    </a:lnTo>
                    <a:lnTo>
                      <a:pt x="298627" y="324989"/>
                    </a:lnTo>
                    <a:lnTo>
                      <a:pt x="295717" y="324989"/>
                    </a:lnTo>
                    <a:lnTo>
                      <a:pt x="295452" y="323578"/>
                    </a:lnTo>
                    <a:lnTo>
                      <a:pt x="292807" y="324989"/>
                    </a:lnTo>
                    <a:lnTo>
                      <a:pt x="292543" y="324989"/>
                    </a:lnTo>
                    <a:lnTo>
                      <a:pt x="288134" y="327017"/>
                    </a:lnTo>
                    <a:lnTo>
                      <a:pt x="286723" y="327017"/>
                    </a:lnTo>
                    <a:lnTo>
                      <a:pt x="286106" y="327898"/>
                    </a:lnTo>
                    <a:lnTo>
                      <a:pt x="285225" y="327898"/>
                    </a:lnTo>
                    <a:lnTo>
                      <a:pt x="283461" y="327898"/>
                    </a:lnTo>
                    <a:lnTo>
                      <a:pt x="283461" y="326135"/>
                    </a:lnTo>
                    <a:lnTo>
                      <a:pt x="285754" y="326135"/>
                    </a:lnTo>
                    <a:lnTo>
                      <a:pt x="286371" y="324989"/>
                    </a:lnTo>
                    <a:lnTo>
                      <a:pt x="288663" y="324107"/>
                    </a:lnTo>
                    <a:lnTo>
                      <a:pt x="291308" y="322344"/>
                    </a:lnTo>
                    <a:lnTo>
                      <a:pt x="292190" y="321462"/>
                    </a:lnTo>
                    <a:lnTo>
                      <a:pt x="292190" y="320580"/>
                    </a:lnTo>
                    <a:lnTo>
                      <a:pt x="291837" y="318552"/>
                    </a:lnTo>
                    <a:lnTo>
                      <a:pt x="292455" y="318552"/>
                    </a:lnTo>
                    <a:lnTo>
                      <a:pt x="294747" y="318552"/>
                    </a:lnTo>
                    <a:lnTo>
                      <a:pt x="295011" y="318552"/>
                    </a:lnTo>
                    <a:lnTo>
                      <a:pt x="297656" y="317671"/>
                    </a:lnTo>
                    <a:lnTo>
                      <a:pt x="300566" y="316789"/>
                    </a:lnTo>
                    <a:lnTo>
                      <a:pt x="302947" y="316789"/>
                    </a:lnTo>
                    <a:lnTo>
                      <a:pt x="303828" y="317671"/>
                    </a:lnTo>
                    <a:lnTo>
                      <a:pt x="303828" y="318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1" name="Freihandform: Form 1780">
                <a:extLst>
                  <a:ext uri="{FF2B5EF4-FFF2-40B4-BE49-F238E27FC236}">
                    <a16:creationId xmlns:a16="http://schemas.microsoft.com/office/drawing/2014/main" id="{F918E489-02B3-7622-9C81-EEA8100CE5B7}"/>
                  </a:ext>
                </a:extLst>
              </p:cNvPr>
              <p:cNvSpPr/>
              <p:nvPr/>
            </p:nvSpPr>
            <p:spPr>
              <a:xfrm>
                <a:off x="4616485" y="4539656"/>
                <a:ext cx="170605" cy="167960"/>
              </a:xfrm>
              <a:custGeom>
                <a:avLst/>
                <a:gdLst>
                  <a:gd name="connsiteX0" fmla="*/ 84553 w 170605"/>
                  <a:gd name="connsiteY0" fmla="*/ 163640 h 167960"/>
                  <a:gd name="connsiteX1" fmla="*/ 82790 w 170605"/>
                  <a:gd name="connsiteY1" fmla="*/ 160378 h 167960"/>
                  <a:gd name="connsiteX2" fmla="*/ 81644 w 170605"/>
                  <a:gd name="connsiteY2" fmla="*/ 160996 h 167960"/>
                  <a:gd name="connsiteX3" fmla="*/ 79352 w 170605"/>
                  <a:gd name="connsiteY3" fmla="*/ 159232 h 167960"/>
                  <a:gd name="connsiteX4" fmla="*/ 78470 w 170605"/>
                  <a:gd name="connsiteY4" fmla="*/ 155794 h 167960"/>
                  <a:gd name="connsiteX5" fmla="*/ 80498 w 170605"/>
                  <a:gd name="connsiteY5" fmla="*/ 154912 h 167960"/>
                  <a:gd name="connsiteX6" fmla="*/ 79352 w 170605"/>
                  <a:gd name="connsiteY6" fmla="*/ 154030 h 167960"/>
                  <a:gd name="connsiteX7" fmla="*/ 77853 w 170605"/>
                  <a:gd name="connsiteY7" fmla="*/ 153413 h 167960"/>
                  <a:gd name="connsiteX8" fmla="*/ 75208 w 170605"/>
                  <a:gd name="connsiteY8" fmla="*/ 152531 h 167960"/>
                  <a:gd name="connsiteX9" fmla="*/ 70887 w 170605"/>
                  <a:gd name="connsiteY9" fmla="*/ 151121 h 167960"/>
                  <a:gd name="connsiteX10" fmla="*/ 70535 w 170605"/>
                  <a:gd name="connsiteY10" fmla="*/ 149975 h 167960"/>
                  <a:gd name="connsiteX11" fmla="*/ 67096 w 170605"/>
                  <a:gd name="connsiteY11" fmla="*/ 150239 h 167960"/>
                  <a:gd name="connsiteX12" fmla="*/ 62688 w 170605"/>
                  <a:gd name="connsiteY12" fmla="*/ 148123 h 167960"/>
                  <a:gd name="connsiteX13" fmla="*/ 57133 w 170605"/>
                  <a:gd name="connsiteY13" fmla="*/ 147858 h 167960"/>
                  <a:gd name="connsiteX14" fmla="*/ 55370 w 170605"/>
                  <a:gd name="connsiteY14" fmla="*/ 146095 h 167960"/>
                  <a:gd name="connsiteX15" fmla="*/ 55105 w 170605"/>
                  <a:gd name="connsiteY15" fmla="*/ 142039 h 167960"/>
                  <a:gd name="connsiteX16" fmla="*/ 52460 w 170605"/>
                  <a:gd name="connsiteY16" fmla="*/ 138248 h 167960"/>
                  <a:gd name="connsiteX17" fmla="*/ 49815 w 170605"/>
                  <a:gd name="connsiteY17" fmla="*/ 136220 h 167960"/>
                  <a:gd name="connsiteX18" fmla="*/ 51050 w 170605"/>
                  <a:gd name="connsiteY18" fmla="*/ 134192 h 167960"/>
                  <a:gd name="connsiteX19" fmla="*/ 50168 w 170605"/>
                  <a:gd name="connsiteY19" fmla="*/ 132164 h 167960"/>
                  <a:gd name="connsiteX20" fmla="*/ 50432 w 170605"/>
                  <a:gd name="connsiteY20" fmla="*/ 130401 h 167960"/>
                  <a:gd name="connsiteX21" fmla="*/ 51843 w 170605"/>
                  <a:gd name="connsiteY21" fmla="*/ 127227 h 167960"/>
                  <a:gd name="connsiteX22" fmla="*/ 51050 w 170605"/>
                  <a:gd name="connsiteY22" fmla="*/ 120791 h 167960"/>
                  <a:gd name="connsiteX23" fmla="*/ 46377 w 170605"/>
                  <a:gd name="connsiteY23" fmla="*/ 120174 h 167960"/>
                  <a:gd name="connsiteX24" fmla="*/ 43379 w 170605"/>
                  <a:gd name="connsiteY24" fmla="*/ 120174 h 167960"/>
                  <a:gd name="connsiteX25" fmla="*/ 42321 w 170605"/>
                  <a:gd name="connsiteY25" fmla="*/ 121320 h 167960"/>
                  <a:gd name="connsiteX26" fmla="*/ 42585 w 170605"/>
                  <a:gd name="connsiteY26" fmla="*/ 114883 h 167960"/>
                  <a:gd name="connsiteX27" fmla="*/ 41086 w 170605"/>
                  <a:gd name="connsiteY27" fmla="*/ 111445 h 167960"/>
                  <a:gd name="connsiteX28" fmla="*/ 37295 w 170605"/>
                  <a:gd name="connsiteY28" fmla="*/ 109064 h 167960"/>
                  <a:gd name="connsiteX29" fmla="*/ 36149 w 170605"/>
                  <a:gd name="connsiteY29" fmla="*/ 109329 h 167960"/>
                  <a:gd name="connsiteX30" fmla="*/ 34121 w 170605"/>
                  <a:gd name="connsiteY30" fmla="*/ 108800 h 167960"/>
                  <a:gd name="connsiteX31" fmla="*/ 32622 w 170605"/>
                  <a:gd name="connsiteY31" fmla="*/ 107654 h 167960"/>
                  <a:gd name="connsiteX32" fmla="*/ 30859 w 170605"/>
                  <a:gd name="connsiteY32" fmla="*/ 107037 h 167960"/>
                  <a:gd name="connsiteX33" fmla="*/ 28566 w 170605"/>
                  <a:gd name="connsiteY33" fmla="*/ 104744 h 167960"/>
                  <a:gd name="connsiteX34" fmla="*/ 27685 w 170605"/>
                  <a:gd name="connsiteY34" fmla="*/ 103598 h 167960"/>
                  <a:gd name="connsiteX35" fmla="*/ 26539 w 170605"/>
                  <a:gd name="connsiteY35" fmla="*/ 102716 h 167960"/>
                  <a:gd name="connsiteX36" fmla="*/ 24775 w 170605"/>
                  <a:gd name="connsiteY36" fmla="*/ 102363 h 167960"/>
                  <a:gd name="connsiteX37" fmla="*/ 23894 w 170605"/>
                  <a:gd name="connsiteY37" fmla="*/ 100336 h 167960"/>
                  <a:gd name="connsiteX38" fmla="*/ 22395 w 170605"/>
                  <a:gd name="connsiteY38" fmla="*/ 100071 h 167960"/>
                  <a:gd name="connsiteX39" fmla="*/ 22659 w 170605"/>
                  <a:gd name="connsiteY39" fmla="*/ 98308 h 167960"/>
                  <a:gd name="connsiteX40" fmla="*/ 18956 w 170605"/>
                  <a:gd name="connsiteY40" fmla="*/ 96809 h 167960"/>
                  <a:gd name="connsiteX41" fmla="*/ 15165 w 170605"/>
                  <a:gd name="connsiteY41" fmla="*/ 86317 h 167960"/>
                  <a:gd name="connsiteX42" fmla="*/ 14900 w 170605"/>
                  <a:gd name="connsiteY42" fmla="*/ 81644 h 167960"/>
                  <a:gd name="connsiteX43" fmla="*/ 11991 w 170605"/>
                  <a:gd name="connsiteY43" fmla="*/ 78999 h 167960"/>
                  <a:gd name="connsiteX44" fmla="*/ 11638 w 170605"/>
                  <a:gd name="connsiteY44" fmla="*/ 74414 h 167960"/>
                  <a:gd name="connsiteX45" fmla="*/ 9258 w 170605"/>
                  <a:gd name="connsiteY45" fmla="*/ 73180 h 167960"/>
                  <a:gd name="connsiteX46" fmla="*/ 6348 w 170605"/>
                  <a:gd name="connsiteY46" fmla="*/ 69124 h 167960"/>
                  <a:gd name="connsiteX47" fmla="*/ 0 w 170605"/>
                  <a:gd name="connsiteY47" fmla="*/ 55370 h 167960"/>
                  <a:gd name="connsiteX48" fmla="*/ 1146 w 170605"/>
                  <a:gd name="connsiteY48" fmla="*/ 53959 h 167960"/>
                  <a:gd name="connsiteX49" fmla="*/ 3174 w 170605"/>
                  <a:gd name="connsiteY49" fmla="*/ 55370 h 167960"/>
                  <a:gd name="connsiteX50" fmla="*/ 6965 w 170605"/>
                  <a:gd name="connsiteY50" fmla="*/ 55370 h 167960"/>
                  <a:gd name="connsiteX51" fmla="*/ 8729 w 170605"/>
                  <a:gd name="connsiteY51" fmla="*/ 55105 h 167960"/>
                  <a:gd name="connsiteX52" fmla="*/ 9610 w 170605"/>
                  <a:gd name="connsiteY52" fmla="*/ 54224 h 167960"/>
                  <a:gd name="connsiteX53" fmla="*/ 11021 w 170605"/>
                  <a:gd name="connsiteY53" fmla="*/ 55105 h 167960"/>
                  <a:gd name="connsiteX54" fmla="*/ 12520 w 170605"/>
                  <a:gd name="connsiteY54" fmla="*/ 55987 h 167960"/>
                  <a:gd name="connsiteX55" fmla="*/ 13401 w 170605"/>
                  <a:gd name="connsiteY55" fmla="*/ 56869 h 167960"/>
                  <a:gd name="connsiteX56" fmla="*/ 14283 w 170605"/>
                  <a:gd name="connsiteY56" fmla="*/ 58896 h 167960"/>
                  <a:gd name="connsiteX57" fmla="*/ 16311 w 170605"/>
                  <a:gd name="connsiteY57" fmla="*/ 58896 h 167960"/>
                  <a:gd name="connsiteX58" fmla="*/ 19221 w 170605"/>
                  <a:gd name="connsiteY58" fmla="*/ 58367 h 167960"/>
                  <a:gd name="connsiteX59" fmla="*/ 19221 w 170605"/>
                  <a:gd name="connsiteY59" fmla="*/ 57486 h 167960"/>
                  <a:gd name="connsiteX60" fmla="*/ 22130 w 170605"/>
                  <a:gd name="connsiteY60" fmla="*/ 55987 h 167960"/>
                  <a:gd name="connsiteX61" fmla="*/ 22130 w 170605"/>
                  <a:gd name="connsiteY61" fmla="*/ 57133 h 167960"/>
                  <a:gd name="connsiteX62" fmla="*/ 25393 w 170605"/>
                  <a:gd name="connsiteY62" fmla="*/ 57486 h 167960"/>
                  <a:gd name="connsiteX63" fmla="*/ 32358 w 170605"/>
                  <a:gd name="connsiteY63" fmla="*/ 61013 h 167960"/>
                  <a:gd name="connsiteX64" fmla="*/ 34650 w 170605"/>
                  <a:gd name="connsiteY64" fmla="*/ 58896 h 167960"/>
                  <a:gd name="connsiteX65" fmla="*/ 39323 w 170605"/>
                  <a:gd name="connsiteY65" fmla="*/ 58367 h 167960"/>
                  <a:gd name="connsiteX66" fmla="*/ 46377 w 170605"/>
                  <a:gd name="connsiteY66" fmla="*/ 48757 h 167960"/>
                  <a:gd name="connsiteX67" fmla="*/ 52460 w 170605"/>
                  <a:gd name="connsiteY67" fmla="*/ 42585 h 167960"/>
                  <a:gd name="connsiteX68" fmla="*/ 53342 w 170605"/>
                  <a:gd name="connsiteY68" fmla="*/ 39676 h 167960"/>
                  <a:gd name="connsiteX69" fmla="*/ 57750 w 170605"/>
                  <a:gd name="connsiteY69" fmla="*/ 32975 h 167960"/>
                  <a:gd name="connsiteX70" fmla="*/ 67361 w 170605"/>
                  <a:gd name="connsiteY70" fmla="*/ 27156 h 167960"/>
                  <a:gd name="connsiteX71" fmla="*/ 76089 w 170605"/>
                  <a:gd name="connsiteY71" fmla="*/ 23365 h 167960"/>
                  <a:gd name="connsiteX72" fmla="*/ 78470 w 170605"/>
                  <a:gd name="connsiteY72" fmla="*/ 22130 h 167960"/>
                  <a:gd name="connsiteX73" fmla="*/ 80145 w 170605"/>
                  <a:gd name="connsiteY73" fmla="*/ 21337 h 167960"/>
                  <a:gd name="connsiteX74" fmla="*/ 80498 w 170605"/>
                  <a:gd name="connsiteY74" fmla="*/ 18956 h 167960"/>
                  <a:gd name="connsiteX75" fmla="*/ 81291 w 170605"/>
                  <a:gd name="connsiteY75" fmla="*/ 10228 h 167960"/>
                  <a:gd name="connsiteX76" fmla="*/ 83055 w 170605"/>
                  <a:gd name="connsiteY76" fmla="*/ 8200 h 167960"/>
                  <a:gd name="connsiteX77" fmla="*/ 84818 w 170605"/>
                  <a:gd name="connsiteY77" fmla="*/ 8200 h 167960"/>
                  <a:gd name="connsiteX78" fmla="*/ 86052 w 170605"/>
                  <a:gd name="connsiteY78" fmla="*/ 6436 h 167960"/>
                  <a:gd name="connsiteX79" fmla="*/ 88080 w 170605"/>
                  <a:gd name="connsiteY79" fmla="*/ 5202 h 167960"/>
                  <a:gd name="connsiteX80" fmla="*/ 89579 w 170605"/>
                  <a:gd name="connsiteY80" fmla="*/ 3791 h 167960"/>
                  <a:gd name="connsiteX81" fmla="*/ 96192 w 170605"/>
                  <a:gd name="connsiteY81" fmla="*/ 882 h 167960"/>
                  <a:gd name="connsiteX82" fmla="*/ 102011 w 170605"/>
                  <a:gd name="connsiteY82" fmla="*/ 0 h 167960"/>
                  <a:gd name="connsiteX83" fmla="*/ 110828 w 170605"/>
                  <a:gd name="connsiteY83" fmla="*/ 882 h 167960"/>
                  <a:gd name="connsiteX84" fmla="*/ 115148 w 170605"/>
                  <a:gd name="connsiteY84" fmla="*/ 264 h 167960"/>
                  <a:gd name="connsiteX85" fmla="*/ 114883 w 170605"/>
                  <a:gd name="connsiteY85" fmla="*/ 9610 h 167960"/>
                  <a:gd name="connsiteX86" fmla="*/ 126522 w 170605"/>
                  <a:gd name="connsiteY86" fmla="*/ 9346 h 167960"/>
                  <a:gd name="connsiteX87" fmla="*/ 126257 w 170605"/>
                  <a:gd name="connsiteY87" fmla="*/ 10228 h 167960"/>
                  <a:gd name="connsiteX88" fmla="*/ 128902 w 170605"/>
                  <a:gd name="connsiteY88" fmla="*/ 9963 h 167960"/>
                  <a:gd name="connsiteX89" fmla="*/ 129784 w 170605"/>
                  <a:gd name="connsiteY89" fmla="*/ 9963 h 167960"/>
                  <a:gd name="connsiteX90" fmla="*/ 130666 w 170605"/>
                  <a:gd name="connsiteY90" fmla="*/ 9346 h 167960"/>
                  <a:gd name="connsiteX91" fmla="*/ 134457 w 170605"/>
                  <a:gd name="connsiteY91" fmla="*/ 10228 h 167960"/>
                  <a:gd name="connsiteX92" fmla="*/ 135339 w 170605"/>
                  <a:gd name="connsiteY92" fmla="*/ 11991 h 167960"/>
                  <a:gd name="connsiteX93" fmla="*/ 136749 w 170605"/>
                  <a:gd name="connsiteY93" fmla="*/ 13401 h 167960"/>
                  <a:gd name="connsiteX94" fmla="*/ 138512 w 170605"/>
                  <a:gd name="connsiteY94" fmla="*/ 13401 h 167960"/>
                  <a:gd name="connsiteX95" fmla="*/ 139394 w 170605"/>
                  <a:gd name="connsiteY95" fmla="*/ 14548 h 167960"/>
                  <a:gd name="connsiteX96" fmla="*/ 142921 w 170605"/>
                  <a:gd name="connsiteY96" fmla="*/ 14548 h 167960"/>
                  <a:gd name="connsiteX97" fmla="*/ 146360 w 170605"/>
                  <a:gd name="connsiteY97" fmla="*/ 18074 h 167960"/>
                  <a:gd name="connsiteX98" fmla="*/ 146360 w 170605"/>
                  <a:gd name="connsiteY98" fmla="*/ 19838 h 167960"/>
                  <a:gd name="connsiteX99" fmla="*/ 150503 w 170605"/>
                  <a:gd name="connsiteY99" fmla="*/ 20720 h 167960"/>
                  <a:gd name="connsiteX100" fmla="*/ 154295 w 170605"/>
                  <a:gd name="connsiteY100" fmla="*/ 20455 h 167960"/>
                  <a:gd name="connsiteX101" fmla="*/ 157204 w 170605"/>
                  <a:gd name="connsiteY101" fmla="*/ 20720 h 167960"/>
                  <a:gd name="connsiteX102" fmla="*/ 163552 w 170605"/>
                  <a:gd name="connsiteY102" fmla="*/ 23894 h 167960"/>
                  <a:gd name="connsiteX103" fmla="*/ 163552 w 170605"/>
                  <a:gd name="connsiteY103" fmla="*/ 26274 h 167960"/>
                  <a:gd name="connsiteX104" fmla="*/ 165051 w 170605"/>
                  <a:gd name="connsiteY104" fmla="*/ 27156 h 167960"/>
                  <a:gd name="connsiteX105" fmla="*/ 168842 w 170605"/>
                  <a:gd name="connsiteY105" fmla="*/ 26803 h 167960"/>
                  <a:gd name="connsiteX106" fmla="*/ 170341 w 170605"/>
                  <a:gd name="connsiteY106" fmla="*/ 27156 h 167960"/>
                  <a:gd name="connsiteX107" fmla="*/ 168578 w 170605"/>
                  <a:gd name="connsiteY107" fmla="*/ 30594 h 167960"/>
                  <a:gd name="connsiteX108" fmla="*/ 166815 w 170605"/>
                  <a:gd name="connsiteY108" fmla="*/ 32358 h 167960"/>
                  <a:gd name="connsiteX109" fmla="*/ 169195 w 170605"/>
                  <a:gd name="connsiteY109" fmla="*/ 37912 h 167960"/>
                  <a:gd name="connsiteX110" fmla="*/ 169724 w 170605"/>
                  <a:gd name="connsiteY110" fmla="*/ 41704 h 167960"/>
                  <a:gd name="connsiteX111" fmla="*/ 170606 w 170605"/>
                  <a:gd name="connsiteY111" fmla="*/ 43202 h 167960"/>
                  <a:gd name="connsiteX112" fmla="*/ 169460 w 170605"/>
                  <a:gd name="connsiteY112" fmla="*/ 45759 h 167960"/>
                  <a:gd name="connsiteX113" fmla="*/ 168842 w 170605"/>
                  <a:gd name="connsiteY113" fmla="*/ 47787 h 167960"/>
                  <a:gd name="connsiteX114" fmla="*/ 170341 w 170605"/>
                  <a:gd name="connsiteY114" fmla="*/ 48757 h 167960"/>
                  <a:gd name="connsiteX115" fmla="*/ 169724 w 170605"/>
                  <a:gd name="connsiteY115" fmla="*/ 51931 h 167960"/>
                  <a:gd name="connsiteX116" fmla="*/ 169460 w 170605"/>
                  <a:gd name="connsiteY116" fmla="*/ 53959 h 167960"/>
                  <a:gd name="connsiteX117" fmla="*/ 168578 w 170605"/>
                  <a:gd name="connsiteY117" fmla="*/ 53959 h 167960"/>
                  <a:gd name="connsiteX118" fmla="*/ 167961 w 170605"/>
                  <a:gd name="connsiteY118" fmla="*/ 55987 h 167960"/>
                  <a:gd name="connsiteX119" fmla="*/ 168225 w 170605"/>
                  <a:gd name="connsiteY119" fmla="*/ 57486 h 167960"/>
                  <a:gd name="connsiteX120" fmla="*/ 168225 w 170605"/>
                  <a:gd name="connsiteY120" fmla="*/ 58367 h 167960"/>
                  <a:gd name="connsiteX121" fmla="*/ 167961 w 170605"/>
                  <a:gd name="connsiteY121" fmla="*/ 58632 h 167960"/>
                  <a:gd name="connsiteX122" fmla="*/ 168225 w 170605"/>
                  <a:gd name="connsiteY122" fmla="*/ 58896 h 167960"/>
                  <a:gd name="connsiteX123" fmla="*/ 167961 w 170605"/>
                  <a:gd name="connsiteY123" fmla="*/ 60660 h 167960"/>
                  <a:gd name="connsiteX124" fmla="*/ 168842 w 170605"/>
                  <a:gd name="connsiteY124" fmla="*/ 63834 h 167960"/>
                  <a:gd name="connsiteX125" fmla="*/ 167961 w 170605"/>
                  <a:gd name="connsiteY125" fmla="*/ 65068 h 167960"/>
                  <a:gd name="connsiteX126" fmla="*/ 169724 w 170605"/>
                  <a:gd name="connsiteY126" fmla="*/ 67978 h 167960"/>
                  <a:gd name="connsiteX127" fmla="*/ 169460 w 170605"/>
                  <a:gd name="connsiteY127" fmla="*/ 68242 h 167960"/>
                  <a:gd name="connsiteX128" fmla="*/ 168578 w 170605"/>
                  <a:gd name="connsiteY128" fmla="*/ 69124 h 167960"/>
                  <a:gd name="connsiteX129" fmla="*/ 168842 w 170605"/>
                  <a:gd name="connsiteY129" fmla="*/ 70887 h 167960"/>
                  <a:gd name="connsiteX130" fmla="*/ 165668 w 170605"/>
                  <a:gd name="connsiteY130" fmla="*/ 72915 h 167960"/>
                  <a:gd name="connsiteX131" fmla="*/ 167079 w 170605"/>
                  <a:gd name="connsiteY131" fmla="*/ 76442 h 167960"/>
                  <a:gd name="connsiteX132" fmla="*/ 166197 w 170605"/>
                  <a:gd name="connsiteY132" fmla="*/ 78205 h 167960"/>
                  <a:gd name="connsiteX133" fmla="*/ 165668 w 170605"/>
                  <a:gd name="connsiteY133" fmla="*/ 78470 h 167960"/>
                  <a:gd name="connsiteX134" fmla="*/ 161260 w 170605"/>
                  <a:gd name="connsiteY134" fmla="*/ 79881 h 167960"/>
                  <a:gd name="connsiteX135" fmla="*/ 161260 w 170605"/>
                  <a:gd name="connsiteY135" fmla="*/ 84024 h 167960"/>
                  <a:gd name="connsiteX136" fmla="*/ 163905 w 170605"/>
                  <a:gd name="connsiteY136" fmla="*/ 84289 h 167960"/>
                  <a:gd name="connsiteX137" fmla="*/ 165051 w 170605"/>
                  <a:gd name="connsiteY137" fmla="*/ 86317 h 167960"/>
                  <a:gd name="connsiteX138" fmla="*/ 162406 w 170605"/>
                  <a:gd name="connsiteY138" fmla="*/ 95398 h 167960"/>
                  <a:gd name="connsiteX139" fmla="*/ 163905 w 170605"/>
                  <a:gd name="connsiteY139" fmla="*/ 96544 h 167960"/>
                  <a:gd name="connsiteX140" fmla="*/ 163552 w 170605"/>
                  <a:gd name="connsiteY140" fmla="*/ 101217 h 167960"/>
                  <a:gd name="connsiteX141" fmla="*/ 165051 w 170605"/>
                  <a:gd name="connsiteY141" fmla="*/ 101217 h 167960"/>
                  <a:gd name="connsiteX142" fmla="*/ 166197 w 170605"/>
                  <a:gd name="connsiteY142" fmla="*/ 100071 h 167960"/>
                  <a:gd name="connsiteX143" fmla="*/ 166197 w 170605"/>
                  <a:gd name="connsiteY143" fmla="*/ 102363 h 167960"/>
                  <a:gd name="connsiteX144" fmla="*/ 167961 w 170605"/>
                  <a:gd name="connsiteY144" fmla="*/ 103862 h 167960"/>
                  <a:gd name="connsiteX145" fmla="*/ 166815 w 170605"/>
                  <a:gd name="connsiteY145" fmla="*/ 107037 h 167960"/>
                  <a:gd name="connsiteX146" fmla="*/ 167432 w 170605"/>
                  <a:gd name="connsiteY146" fmla="*/ 109329 h 167960"/>
                  <a:gd name="connsiteX147" fmla="*/ 165404 w 170605"/>
                  <a:gd name="connsiteY147" fmla="*/ 109329 h 167960"/>
                  <a:gd name="connsiteX148" fmla="*/ 165404 w 170605"/>
                  <a:gd name="connsiteY148" fmla="*/ 110828 h 167960"/>
                  <a:gd name="connsiteX149" fmla="*/ 163905 w 170605"/>
                  <a:gd name="connsiteY149" fmla="*/ 111445 h 167960"/>
                  <a:gd name="connsiteX150" fmla="*/ 163552 w 170605"/>
                  <a:gd name="connsiteY150" fmla="*/ 114883 h 167960"/>
                  <a:gd name="connsiteX151" fmla="*/ 158350 w 170605"/>
                  <a:gd name="connsiteY151" fmla="*/ 122554 h 167960"/>
                  <a:gd name="connsiteX152" fmla="*/ 156058 w 170605"/>
                  <a:gd name="connsiteY152" fmla="*/ 122554 h 167960"/>
                  <a:gd name="connsiteX153" fmla="*/ 154824 w 170605"/>
                  <a:gd name="connsiteY153" fmla="*/ 123700 h 167960"/>
                  <a:gd name="connsiteX154" fmla="*/ 154824 w 170605"/>
                  <a:gd name="connsiteY154" fmla="*/ 131812 h 167960"/>
                  <a:gd name="connsiteX155" fmla="*/ 153677 w 170605"/>
                  <a:gd name="connsiteY155" fmla="*/ 133840 h 167960"/>
                  <a:gd name="connsiteX156" fmla="*/ 151385 w 170605"/>
                  <a:gd name="connsiteY156" fmla="*/ 136749 h 167960"/>
                  <a:gd name="connsiteX157" fmla="*/ 152531 w 170605"/>
                  <a:gd name="connsiteY157" fmla="*/ 137983 h 167960"/>
                  <a:gd name="connsiteX158" fmla="*/ 151650 w 170605"/>
                  <a:gd name="connsiteY158" fmla="*/ 139130 h 167960"/>
                  <a:gd name="connsiteX159" fmla="*/ 153942 w 170605"/>
                  <a:gd name="connsiteY159" fmla="*/ 142656 h 167960"/>
                  <a:gd name="connsiteX160" fmla="*/ 152531 w 170605"/>
                  <a:gd name="connsiteY160" fmla="*/ 142039 h 167960"/>
                  <a:gd name="connsiteX161" fmla="*/ 151032 w 170605"/>
                  <a:gd name="connsiteY161" fmla="*/ 142656 h 167960"/>
                  <a:gd name="connsiteX162" fmla="*/ 127139 w 170605"/>
                  <a:gd name="connsiteY162" fmla="*/ 165404 h 167960"/>
                  <a:gd name="connsiteX163" fmla="*/ 123347 w 170605"/>
                  <a:gd name="connsiteY163" fmla="*/ 165668 h 167960"/>
                  <a:gd name="connsiteX164" fmla="*/ 119821 w 170605"/>
                  <a:gd name="connsiteY164" fmla="*/ 164169 h 167960"/>
                  <a:gd name="connsiteX165" fmla="*/ 107918 w 170605"/>
                  <a:gd name="connsiteY165" fmla="*/ 167432 h 167960"/>
                  <a:gd name="connsiteX166" fmla="*/ 105890 w 170605"/>
                  <a:gd name="connsiteY166" fmla="*/ 167961 h 167960"/>
                  <a:gd name="connsiteX167" fmla="*/ 104127 w 170605"/>
                  <a:gd name="connsiteY167" fmla="*/ 166285 h 167960"/>
                  <a:gd name="connsiteX168" fmla="*/ 101482 w 170605"/>
                  <a:gd name="connsiteY168" fmla="*/ 166285 h 167960"/>
                  <a:gd name="connsiteX169" fmla="*/ 97073 w 170605"/>
                  <a:gd name="connsiteY169" fmla="*/ 163288 h 167960"/>
                  <a:gd name="connsiteX170" fmla="*/ 91519 w 170605"/>
                  <a:gd name="connsiteY170" fmla="*/ 161877 h 167960"/>
                  <a:gd name="connsiteX171" fmla="*/ 88080 w 170605"/>
                  <a:gd name="connsiteY171" fmla="*/ 163640 h 167960"/>
                  <a:gd name="connsiteX172" fmla="*/ 86317 w 170605"/>
                  <a:gd name="connsiteY172" fmla="*/ 163023 h 167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</a:cxnLst>
                <a:rect l="l" t="t" r="r" b="b"/>
                <a:pathLst>
                  <a:path w="170605" h="167960">
                    <a:moveTo>
                      <a:pt x="84553" y="163640"/>
                    </a:moveTo>
                    <a:lnTo>
                      <a:pt x="82790" y="160378"/>
                    </a:lnTo>
                    <a:lnTo>
                      <a:pt x="81644" y="160996"/>
                    </a:lnTo>
                    <a:lnTo>
                      <a:pt x="79352" y="159232"/>
                    </a:lnTo>
                    <a:lnTo>
                      <a:pt x="78470" y="155794"/>
                    </a:lnTo>
                    <a:lnTo>
                      <a:pt x="80498" y="154912"/>
                    </a:lnTo>
                    <a:lnTo>
                      <a:pt x="79352" y="154030"/>
                    </a:lnTo>
                    <a:lnTo>
                      <a:pt x="77853" y="153413"/>
                    </a:lnTo>
                    <a:lnTo>
                      <a:pt x="75208" y="152531"/>
                    </a:lnTo>
                    <a:lnTo>
                      <a:pt x="70887" y="151121"/>
                    </a:lnTo>
                    <a:lnTo>
                      <a:pt x="70535" y="149975"/>
                    </a:lnTo>
                    <a:lnTo>
                      <a:pt x="67096" y="150239"/>
                    </a:lnTo>
                    <a:lnTo>
                      <a:pt x="62688" y="148123"/>
                    </a:lnTo>
                    <a:lnTo>
                      <a:pt x="57133" y="147858"/>
                    </a:lnTo>
                    <a:lnTo>
                      <a:pt x="55370" y="146095"/>
                    </a:lnTo>
                    <a:lnTo>
                      <a:pt x="55105" y="142039"/>
                    </a:lnTo>
                    <a:lnTo>
                      <a:pt x="52460" y="138248"/>
                    </a:lnTo>
                    <a:lnTo>
                      <a:pt x="49815" y="136220"/>
                    </a:lnTo>
                    <a:lnTo>
                      <a:pt x="51050" y="134192"/>
                    </a:lnTo>
                    <a:lnTo>
                      <a:pt x="50168" y="132164"/>
                    </a:lnTo>
                    <a:lnTo>
                      <a:pt x="50432" y="130401"/>
                    </a:lnTo>
                    <a:lnTo>
                      <a:pt x="51843" y="127227"/>
                    </a:lnTo>
                    <a:lnTo>
                      <a:pt x="51050" y="120791"/>
                    </a:lnTo>
                    <a:lnTo>
                      <a:pt x="46377" y="120174"/>
                    </a:lnTo>
                    <a:lnTo>
                      <a:pt x="43379" y="120174"/>
                    </a:lnTo>
                    <a:lnTo>
                      <a:pt x="42321" y="121320"/>
                    </a:lnTo>
                    <a:lnTo>
                      <a:pt x="42585" y="114883"/>
                    </a:lnTo>
                    <a:lnTo>
                      <a:pt x="41086" y="111445"/>
                    </a:lnTo>
                    <a:lnTo>
                      <a:pt x="37295" y="109064"/>
                    </a:lnTo>
                    <a:lnTo>
                      <a:pt x="36149" y="109329"/>
                    </a:lnTo>
                    <a:lnTo>
                      <a:pt x="34121" y="108800"/>
                    </a:lnTo>
                    <a:lnTo>
                      <a:pt x="32622" y="107654"/>
                    </a:lnTo>
                    <a:lnTo>
                      <a:pt x="30859" y="107037"/>
                    </a:lnTo>
                    <a:lnTo>
                      <a:pt x="28566" y="104744"/>
                    </a:lnTo>
                    <a:lnTo>
                      <a:pt x="27685" y="103598"/>
                    </a:lnTo>
                    <a:lnTo>
                      <a:pt x="26539" y="102716"/>
                    </a:lnTo>
                    <a:lnTo>
                      <a:pt x="24775" y="102363"/>
                    </a:lnTo>
                    <a:lnTo>
                      <a:pt x="23894" y="100336"/>
                    </a:lnTo>
                    <a:lnTo>
                      <a:pt x="22395" y="100071"/>
                    </a:lnTo>
                    <a:lnTo>
                      <a:pt x="22659" y="98308"/>
                    </a:lnTo>
                    <a:lnTo>
                      <a:pt x="18956" y="96809"/>
                    </a:lnTo>
                    <a:lnTo>
                      <a:pt x="15165" y="86317"/>
                    </a:lnTo>
                    <a:lnTo>
                      <a:pt x="14900" y="81644"/>
                    </a:lnTo>
                    <a:lnTo>
                      <a:pt x="11991" y="78999"/>
                    </a:lnTo>
                    <a:lnTo>
                      <a:pt x="11638" y="74414"/>
                    </a:lnTo>
                    <a:lnTo>
                      <a:pt x="9258" y="73180"/>
                    </a:lnTo>
                    <a:lnTo>
                      <a:pt x="6348" y="69124"/>
                    </a:lnTo>
                    <a:lnTo>
                      <a:pt x="0" y="55370"/>
                    </a:lnTo>
                    <a:lnTo>
                      <a:pt x="1146" y="53959"/>
                    </a:lnTo>
                    <a:lnTo>
                      <a:pt x="3174" y="55370"/>
                    </a:lnTo>
                    <a:lnTo>
                      <a:pt x="6965" y="55370"/>
                    </a:lnTo>
                    <a:lnTo>
                      <a:pt x="8729" y="55105"/>
                    </a:lnTo>
                    <a:lnTo>
                      <a:pt x="9610" y="54224"/>
                    </a:lnTo>
                    <a:lnTo>
                      <a:pt x="11021" y="55105"/>
                    </a:lnTo>
                    <a:lnTo>
                      <a:pt x="12520" y="55987"/>
                    </a:lnTo>
                    <a:lnTo>
                      <a:pt x="13401" y="56869"/>
                    </a:lnTo>
                    <a:lnTo>
                      <a:pt x="14283" y="58896"/>
                    </a:lnTo>
                    <a:lnTo>
                      <a:pt x="16311" y="58896"/>
                    </a:lnTo>
                    <a:lnTo>
                      <a:pt x="19221" y="58367"/>
                    </a:lnTo>
                    <a:lnTo>
                      <a:pt x="19221" y="57486"/>
                    </a:lnTo>
                    <a:lnTo>
                      <a:pt x="22130" y="55987"/>
                    </a:lnTo>
                    <a:lnTo>
                      <a:pt x="22130" y="57133"/>
                    </a:lnTo>
                    <a:lnTo>
                      <a:pt x="25393" y="57486"/>
                    </a:lnTo>
                    <a:lnTo>
                      <a:pt x="32358" y="61013"/>
                    </a:lnTo>
                    <a:lnTo>
                      <a:pt x="34650" y="58896"/>
                    </a:lnTo>
                    <a:lnTo>
                      <a:pt x="39323" y="58367"/>
                    </a:lnTo>
                    <a:lnTo>
                      <a:pt x="46377" y="48757"/>
                    </a:lnTo>
                    <a:lnTo>
                      <a:pt x="52460" y="42585"/>
                    </a:lnTo>
                    <a:lnTo>
                      <a:pt x="53342" y="39676"/>
                    </a:lnTo>
                    <a:lnTo>
                      <a:pt x="57750" y="32975"/>
                    </a:lnTo>
                    <a:lnTo>
                      <a:pt x="67361" y="27156"/>
                    </a:lnTo>
                    <a:lnTo>
                      <a:pt x="76089" y="23365"/>
                    </a:lnTo>
                    <a:lnTo>
                      <a:pt x="78470" y="22130"/>
                    </a:lnTo>
                    <a:lnTo>
                      <a:pt x="80145" y="21337"/>
                    </a:lnTo>
                    <a:lnTo>
                      <a:pt x="80498" y="18956"/>
                    </a:lnTo>
                    <a:lnTo>
                      <a:pt x="81291" y="10228"/>
                    </a:lnTo>
                    <a:lnTo>
                      <a:pt x="83055" y="8200"/>
                    </a:lnTo>
                    <a:lnTo>
                      <a:pt x="84818" y="8200"/>
                    </a:lnTo>
                    <a:lnTo>
                      <a:pt x="86052" y="6436"/>
                    </a:lnTo>
                    <a:lnTo>
                      <a:pt x="88080" y="5202"/>
                    </a:lnTo>
                    <a:lnTo>
                      <a:pt x="89579" y="3791"/>
                    </a:lnTo>
                    <a:lnTo>
                      <a:pt x="96192" y="882"/>
                    </a:lnTo>
                    <a:lnTo>
                      <a:pt x="102011" y="0"/>
                    </a:lnTo>
                    <a:lnTo>
                      <a:pt x="110828" y="882"/>
                    </a:lnTo>
                    <a:lnTo>
                      <a:pt x="115148" y="264"/>
                    </a:lnTo>
                    <a:lnTo>
                      <a:pt x="114883" y="9610"/>
                    </a:lnTo>
                    <a:lnTo>
                      <a:pt x="126522" y="9346"/>
                    </a:lnTo>
                    <a:lnTo>
                      <a:pt x="126257" y="10228"/>
                    </a:lnTo>
                    <a:lnTo>
                      <a:pt x="128902" y="9963"/>
                    </a:lnTo>
                    <a:lnTo>
                      <a:pt x="129784" y="9963"/>
                    </a:lnTo>
                    <a:lnTo>
                      <a:pt x="130666" y="9346"/>
                    </a:lnTo>
                    <a:lnTo>
                      <a:pt x="134457" y="10228"/>
                    </a:lnTo>
                    <a:lnTo>
                      <a:pt x="135339" y="11991"/>
                    </a:lnTo>
                    <a:lnTo>
                      <a:pt x="136749" y="13401"/>
                    </a:lnTo>
                    <a:lnTo>
                      <a:pt x="138512" y="13401"/>
                    </a:lnTo>
                    <a:lnTo>
                      <a:pt x="139394" y="14548"/>
                    </a:lnTo>
                    <a:lnTo>
                      <a:pt x="142921" y="14548"/>
                    </a:lnTo>
                    <a:lnTo>
                      <a:pt x="146360" y="18074"/>
                    </a:lnTo>
                    <a:lnTo>
                      <a:pt x="146360" y="19838"/>
                    </a:lnTo>
                    <a:lnTo>
                      <a:pt x="150503" y="20720"/>
                    </a:lnTo>
                    <a:lnTo>
                      <a:pt x="154295" y="20455"/>
                    </a:lnTo>
                    <a:lnTo>
                      <a:pt x="157204" y="20720"/>
                    </a:lnTo>
                    <a:lnTo>
                      <a:pt x="163552" y="23894"/>
                    </a:lnTo>
                    <a:lnTo>
                      <a:pt x="163552" y="26274"/>
                    </a:lnTo>
                    <a:lnTo>
                      <a:pt x="165051" y="27156"/>
                    </a:lnTo>
                    <a:lnTo>
                      <a:pt x="168842" y="26803"/>
                    </a:lnTo>
                    <a:lnTo>
                      <a:pt x="170341" y="27156"/>
                    </a:lnTo>
                    <a:lnTo>
                      <a:pt x="168578" y="30594"/>
                    </a:lnTo>
                    <a:lnTo>
                      <a:pt x="166815" y="32358"/>
                    </a:lnTo>
                    <a:lnTo>
                      <a:pt x="169195" y="37912"/>
                    </a:lnTo>
                    <a:lnTo>
                      <a:pt x="169724" y="41704"/>
                    </a:lnTo>
                    <a:lnTo>
                      <a:pt x="170606" y="43202"/>
                    </a:lnTo>
                    <a:lnTo>
                      <a:pt x="169460" y="45759"/>
                    </a:lnTo>
                    <a:lnTo>
                      <a:pt x="168842" y="47787"/>
                    </a:lnTo>
                    <a:lnTo>
                      <a:pt x="170341" y="48757"/>
                    </a:lnTo>
                    <a:lnTo>
                      <a:pt x="169724" y="51931"/>
                    </a:lnTo>
                    <a:lnTo>
                      <a:pt x="169460" y="53959"/>
                    </a:lnTo>
                    <a:lnTo>
                      <a:pt x="168578" y="53959"/>
                    </a:lnTo>
                    <a:lnTo>
                      <a:pt x="167961" y="55987"/>
                    </a:lnTo>
                    <a:lnTo>
                      <a:pt x="168225" y="57486"/>
                    </a:lnTo>
                    <a:lnTo>
                      <a:pt x="168225" y="58367"/>
                    </a:lnTo>
                    <a:lnTo>
                      <a:pt x="167961" y="58632"/>
                    </a:lnTo>
                    <a:lnTo>
                      <a:pt x="168225" y="58896"/>
                    </a:lnTo>
                    <a:lnTo>
                      <a:pt x="167961" y="60660"/>
                    </a:lnTo>
                    <a:lnTo>
                      <a:pt x="168842" y="63834"/>
                    </a:lnTo>
                    <a:lnTo>
                      <a:pt x="167961" y="65068"/>
                    </a:lnTo>
                    <a:lnTo>
                      <a:pt x="169724" y="67978"/>
                    </a:lnTo>
                    <a:lnTo>
                      <a:pt x="169460" y="68242"/>
                    </a:lnTo>
                    <a:lnTo>
                      <a:pt x="168578" y="69124"/>
                    </a:lnTo>
                    <a:lnTo>
                      <a:pt x="168842" y="70887"/>
                    </a:lnTo>
                    <a:lnTo>
                      <a:pt x="165668" y="72915"/>
                    </a:lnTo>
                    <a:lnTo>
                      <a:pt x="167079" y="76442"/>
                    </a:lnTo>
                    <a:lnTo>
                      <a:pt x="166197" y="78205"/>
                    </a:lnTo>
                    <a:lnTo>
                      <a:pt x="165668" y="78470"/>
                    </a:lnTo>
                    <a:lnTo>
                      <a:pt x="161260" y="79881"/>
                    </a:lnTo>
                    <a:lnTo>
                      <a:pt x="161260" y="84024"/>
                    </a:lnTo>
                    <a:lnTo>
                      <a:pt x="163905" y="84289"/>
                    </a:lnTo>
                    <a:lnTo>
                      <a:pt x="165051" y="86317"/>
                    </a:lnTo>
                    <a:lnTo>
                      <a:pt x="162406" y="95398"/>
                    </a:lnTo>
                    <a:lnTo>
                      <a:pt x="163905" y="96544"/>
                    </a:lnTo>
                    <a:lnTo>
                      <a:pt x="163552" y="101217"/>
                    </a:lnTo>
                    <a:lnTo>
                      <a:pt x="165051" y="101217"/>
                    </a:lnTo>
                    <a:lnTo>
                      <a:pt x="166197" y="100071"/>
                    </a:lnTo>
                    <a:lnTo>
                      <a:pt x="166197" y="102363"/>
                    </a:lnTo>
                    <a:lnTo>
                      <a:pt x="167961" y="103862"/>
                    </a:lnTo>
                    <a:lnTo>
                      <a:pt x="166815" y="107037"/>
                    </a:lnTo>
                    <a:lnTo>
                      <a:pt x="167432" y="109329"/>
                    </a:lnTo>
                    <a:lnTo>
                      <a:pt x="165404" y="109329"/>
                    </a:lnTo>
                    <a:lnTo>
                      <a:pt x="165404" y="110828"/>
                    </a:lnTo>
                    <a:lnTo>
                      <a:pt x="163905" y="111445"/>
                    </a:lnTo>
                    <a:lnTo>
                      <a:pt x="163552" y="114883"/>
                    </a:lnTo>
                    <a:lnTo>
                      <a:pt x="158350" y="122554"/>
                    </a:lnTo>
                    <a:lnTo>
                      <a:pt x="156058" y="122554"/>
                    </a:lnTo>
                    <a:lnTo>
                      <a:pt x="154824" y="123700"/>
                    </a:lnTo>
                    <a:lnTo>
                      <a:pt x="154824" y="131812"/>
                    </a:lnTo>
                    <a:lnTo>
                      <a:pt x="153677" y="133840"/>
                    </a:lnTo>
                    <a:lnTo>
                      <a:pt x="151385" y="136749"/>
                    </a:lnTo>
                    <a:lnTo>
                      <a:pt x="152531" y="137983"/>
                    </a:lnTo>
                    <a:lnTo>
                      <a:pt x="151650" y="139130"/>
                    </a:lnTo>
                    <a:lnTo>
                      <a:pt x="153942" y="142656"/>
                    </a:lnTo>
                    <a:lnTo>
                      <a:pt x="152531" y="142039"/>
                    </a:lnTo>
                    <a:lnTo>
                      <a:pt x="151032" y="142656"/>
                    </a:lnTo>
                    <a:lnTo>
                      <a:pt x="127139" y="165404"/>
                    </a:lnTo>
                    <a:lnTo>
                      <a:pt x="123347" y="165668"/>
                    </a:lnTo>
                    <a:lnTo>
                      <a:pt x="119821" y="164169"/>
                    </a:lnTo>
                    <a:lnTo>
                      <a:pt x="107918" y="167432"/>
                    </a:lnTo>
                    <a:lnTo>
                      <a:pt x="105890" y="167961"/>
                    </a:lnTo>
                    <a:lnTo>
                      <a:pt x="104127" y="166285"/>
                    </a:lnTo>
                    <a:lnTo>
                      <a:pt x="101482" y="166285"/>
                    </a:lnTo>
                    <a:lnTo>
                      <a:pt x="97073" y="163288"/>
                    </a:lnTo>
                    <a:lnTo>
                      <a:pt x="91519" y="161877"/>
                    </a:lnTo>
                    <a:lnTo>
                      <a:pt x="88080" y="163640"/>
                    </a:lnTo>
                    <a:lnTo>
                      <a:pt x="86317" y="163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2" name="Freihandform: Form 1781">
                <a:extLst>
                  <a:ext uri="{FF2B5EF4-FFF2-40B4-BE49-F238E27FC236}">
                    <a16:creationId xmlns:a16="http://schemas.microsoft.com/office/drawing/2014/main" id="{C850316F-B11A-855D-97D1-31284650812E}"/>
                  </a:ext>
                </a:extLst>
              </p:cNvPr>
              <p:cNvSpPr/>
              <p:nvPr/>
            </p:nvSpPr>
            <p:spPr>
              <a:xfrm>
                <a:off x="4547890" y="4353268"/>
                <a:ext cx="259303" cy="247400"/>
              </a:xfrm>
              <a:custGeom>
                <a:avLst/>
                <a:gdLst>
                  <a:gd name="connsiteX0" fmla="*/ 243609 w 259303"/>
                  <a:gd name="connsiteY0" fmla="*/ 29801 h 247400"/>
                  <a:gd name="connsiteX1" fmla="*/ 245637 w 259303"/>
                  <a:gd name="connsiteY1" fmla="*/ 33240 h 247400"/>
                  <a:gd name="connsiteX2" fmla="*/ 245020 w 259303"/>
                  <a:gd name="connsiteY2" fmla="*/ 36502 h 247400"/>
                  <a:gd name="connsiteX3" fmla="*/ 246519 w 259303"/>
                  <a:gd name="connsiteY3" fmla="*/ 36502 h 247400"/>
                  <a:gd name="connsiteX4" fmla="*/ 248282 w 259303"/>
                  <a:gd name="connsiteY4" fmla="*/ 37913 h 247400"/>
                  <a:gd name="connsiteX5" fmla="*/ 246783 w 259303"/>
                  <a:gd name="connsiteY5" fmla="*/ 35620 h 247400"/>
                  <a:gd name="connsiteX6" fmla="*/ 249076 w 259303"/>
                  <a:gd name="connsiteY6" fmla="*/ 35620 h 247400"/>
                  <a:gd name="connsiteX7" fmla="*/ 251192 w 259303"/>
                  <a:gd name="connsiteY7" fmla="*/ 40558 h 247400"/>
                  <a:gd name="connsiteX8" fmla="*/ 252602 w 259303"/>
                  <a:gd name="connsiteY8" fmla="*/ 40822 h 247400"/>
                  <a:gd name="connsiteX9" fmla="*/ 252867 w 259303"/>
                  <a:gd name="connsiteY9" fmla="*/ 43467 h 247400"/>
                  <a:gd name="connsiteX10" fmla="*/ 251456 w 259303"/>
                  <a:gd name="connsiteY10" fmla="*/ 46377 h 247400"/>
                  <a:gd name="connsiteX11" fmla="*/ 255865 w 259303"/>
                  <a:gd name="connsiteY11" fmla="*/ 51050 h 247400"/>
                  <a:gd name="connsiteX12" fmla="*/ 256129 w 259303"/>
                  <a:gd name="connsiteY12" fmla="*/ 55458 h 247400"/>
                  <a:gd name="connsiteX13" fmla="*/ 259303 w 259303"/>
                  <a:gd name="connsiteY13" fmla="*/ 59514 h 247400"/>
                  <a:gd name="connsiteX14" fmla="*/ 255512 w 259303"/>
                  <a:gd name="connsiteY14" fmla="*/ 63041 h 247400"/>
                  <a:gd name="connsiteX15" fmla="*/ 254630 w 259303"/>
                  <a:gd name="connsiteY15" fmla="*/ 65068 h 247400"/>
                  <a:gd name="connsiteX16" fmla="*/ 252073 w 259303"/>
                  <a:gd name="connsiteY16" fmla="*/ 65686 h 247400"/>
                  <a:gd name="connsiteX17" fmla="*/ 250839 w 259303"/>
                  <a:gd name="connsiteY17" fmla="*/ 66567 h 247400"/>
                  <a:gd name="connsiteX18" fmla="*/ 249957 w 259303"/>
                  <a:gd name="connsiteY18" fmla="*/ 66567 h 247400"/>
                  <a:gd name="connsiteX19" fmla="*/ 249957 w 259303"/>
                  <a:gd name="connsiteY19" fmla="*/ 67714 h 247400"/>
                  <a:gd name="connsiteX20" fmla="*/ 252602 w 259303"/>
                  <a:gd name="connsiteY20" fmla="*/ 74414 h 247400"/>
                  <a:gd name="connsiteX21" fmla="*/ 250574 w 259303"/>
                  <a:gd name="connsiteY21" fmla="*/ 79969 h 247400"/>
                  <a:gd name="connsiteX22" fmla="*/ 248811 w 259303"/>
                  <a:gd name="connsiteY22" fmla="*/ 81115 h 247400"/>
                  <a:gd name="connsiteX23" fmla="*/ 249428 w 259303"/>
                  <a:gd name="connsiteY23" fmla="*/ 84289 h 247400"/>
                  <a:gd name="connsiteX24" fmla="*/ 248547 w 259303"/>
                  <a:gd name="connsiteY24" fmla="*/ 84289 h 247400"/>
                  <a:gd name="connsiteX25" fmla="*/ 250310 w 259303"/>
                  <a:gd name="connsiteY25" fmla="*/ 86052 h 247400"/>
                  <a:gd name="connsiteX26" fmla="*/ 250839 w 259303"/>
                  <a:gd name="connsiteY26" fmla="*/ 93635 h 247400"/>
                  <a:gd name="connsiteX27" fmla="*/ 249076 w 259303"/>
                  <a:gd name="connsiteY27" fmla="*/ 98572 h 247400"/>
                  <a:gd name="connsiteX28" fmla="*/ 251192 w 259303"/>
                  <a:gd name="connsiteY28" fmla="*/ 104392 h 247400"/>
                  <a:gd name="connsiteX29" fmla="*/ 253220 w 259303"/>
                  <a:gd name="connsiteY29" fmla="*/ 103510 h 247400"/>
                  <a:gd name="connsiteX30" fmla="*/ 254101 w 259303"/>
                  <a:gd name="connsiteY30" fmla="*/ 105009 h 247400"/>
                  <a:gd name="connsiteX31" fmla="*/ 252867 w 259303"/>
                  <a:gd name="connsiteY31" fmla="*/ 107301 h 247400"/>
                  <a:gd name="connsiteX32" fmla="*/ 246783 w 259303"/>
                  <a:gd name="connsiteY32" fmla="*/ 110828 h 247400"/>
                  <a:gd name="connsiteX33" fmla="*/ 243874 w 259303"/>
                  <a:gd name="connsiteY33" fmla="*/ 110563 h 247400"/>
                  <a:gd name="connsiteX34" fmla="*/ 242110 w 259303"/>
                  <a:gd name="connsiteY34" fmla="*/ 114354 h 247400"/>
                  <a:gd name="connsiteX35" fmla="*/ 242110 w 259303"/>
                  <a:gd name="connsiteY35" fmla="*/ 116382 h 247400"/>
                  <a:gd name="connsiteX36" fmla="*/ 243257 w 259303"/>
                  <a:gd name="connsiteY36" fmla="*/ 117264 h 247400"/>
                  <a:gd name="connsiteX37" fmla="*/ 241229 w 259303"/>
                  <a:gd name="connsiteY37" fmla="*/ 122202 h 247400"/>
                  <a:gd name="connsiteX38" fmla="*/ 242992 w 259303"/>
                  <a:gd name="connsiteY38" fmla="*/ 125464 h 247400"/>
                  <a:gd name="connsiteX39" fmla="*/ 240964 w 259303"/>
                  <a:gd name="connsiteY39" fmla="*/ 126874 h 247400"/>
                  <a:gd name="connsiteX40" fmla="*/ 238584 w 259303"/>
                  <a:gd name="connsiteY40" fmla="*/ 133311 h 247400"/>
                  <a:gd name="connsiteX41" fmla="*/ 235057 w 259303"/>
                  <a:gd name="connsiteY41" fmla="*/ 134810 h 247400"/>
                  <a:gd name="connsiteX42" fmla="*/ 234528 w 259303"/>
                  <a:gd name="connsiteY42" fmla="*/ 136220 h 247400"/>
                  <a:gd name="connsiteX43" fmla="*/ 238319 w 259303"/>
                  <a:gd name="connsiteY43" fmla="*/ 137719 h 247400"/>
                  <a:gd name="connsiteX44" fmla="*/ 236291 w 259303"/>
                  <a:gd name="connsiteY44" fmla="*/ 140011 h 247400"/>
                  <a:gd name="connsiteX45" fmla="*/ 239465 w 259303"/>
                  <a:gd name="connsiteY45" fmla="*/ 140893 h 247400"/>
                  <a:gd name="connsiteX46" fmla="*/ 242375 w 259303"/>
                  <a:gd name="connsiteY46" fmla="*/ 146448 h 247400"/>
                  <a:gd name="connsiteX47" fmla="*/ 243257 w 259303"/>
                  <a:gd name="connsiteY47" fmla="*/ 144949 h 247400"/>
                  <a:gd name="connsiteX48" fmla="*/ 244756 w 259303"/>
                  <a:gd name="connsiteY48" fmla="*/ 144684 h 247400"/>
                  <a:gd name="connsiteX49" fmla="*/ 244756 w 259303"/>
                  <a:gd name="connsiteY49" fmla="*/ 142921 h 247400"/>
                  <a:gd name="connsiteX50" fmla="*/ 246783 w 259303"/>
                  <a:gd name="connsiteY50" fmla="*/ 146183 h 247400"/>
                  <a:gd name="connsiteX51" fmla="*/ 222537 w 259303"/>
                  <a:gd name="connsiteY51" fmla="*/ 154559 h 247400"/>
                  <a:gd name="connsiteX52" fmla="*/ 207725 w 259303"/>
                  <a:gd name="connsiteY52" fmla="*/ 161348 h 247400"/>
                  <a:gd name="connsiteX53" fmla="*/ 194588 w 259303"/>
                  <a:gd name="connsiteY53" fmla="*/ 165051 h 247400"/>
                  <a:gd name="connsiteX54" fmla="*/ 188151 w 259303"/>
                  <a:gd name="connsiteY54" fmla="*/ 167696 h 247400"/>
                  <a:gd name="connsiteX55" fmla="*/ 182861 w 259303"/>
                  <a:gd name="connsiteY55" fmla="*/ 169724 h 247400"/>
                  <a:gd name="connsiteX56" fmla="*/ 179952 w 259303"/>
                  <a:gd name="connsiteY56" fmla="*/ 170341 h 247400"/>
                  <a:gd name="connsiteX57" fmla="*/ 179952 w 259303"/>
                  <a:gd name="connsiteY57" fmla="*/ 173251 h 247400"/>
                  <a:gd name="connsiteX58" fmla="*/ 180304 w 259303"/>
                  <a:gd name="connsiteY58" fmla="*/ 176161 h 247400"/>
                  <a:gd name="connsiteX59" fmla="*/ 182861 w 259303"/>
                  <a:gd name="connsiteY59" fmla="*/ 178541 h 247400"/>
                  <a:gd name="connsiteX60" fmla="*/ 183214 w 259303"/>
                  <a:gd name="connsiteY60" fmla="*/ 182597 h 247400"/>
                  <a:gd name="connsiteX61" fmla="*/ 182597 w 259303"/>
                  <a:gd name="connsiteY61" fmla="*/ 184360 h 247400"/>
                  <a:gd name="connsiteX62" fmla="*/ 183214 w 259303"/>
                  <a:gd name="connsiteY62" fmla="*/ 185506 h 247400"/>
                  <a:gd name="connsiteX63" fmla="*/ 183743 w 259303"/>
                  <a:gd name="connsiteY63" fmla="*/ 186653 h 247400"/>
                  <a:gd name="connsiteX64" fmla="*/ 179423 w 259303"/>
                  <a:gd name="connsiteY64" fmla="*/ 187270 h 247400"/>
                  <a:gd name="connsiteX65" fmla="*/ 170606 w 259303"/>
                  <a:gd name="connsiteY65" fmla="*/ 186388 h 247400"/>
                  <a:gd name="connsiteX66" fmla="*/ 164787 w 259303"/>
                  <a:gd name="connsiteY66" fmla="*/ 187270 h 247400"/>
                  <a:gd name="connsiteX67" fmla="*/ 158174 w 259303"/>
                  <a:gd name="connsiteY67" fmla="*/ 190179 h 247400"/>
                  <a:gd name="connsiteX68" fmla="*/ 156675 w 259303"/>
                  <a:gd name="connsiteY68" fmla="*/ 191590 h 247400"/>
                  <a:gd name="connsiteX69" fmla="*/ 154647 w 259303"/>
                  <a:gd name="connsiteY69" fmla="*/ 192824 h 247400"/>
                  <a:gd name="connsiteX70" fmla="*/ 153413 w 259303"/>
                  <a:gd name="connsiteY70" fmla="*/ 194588 h 247400"/>
                  <a:gd name="connsiteX71" fmla="*/ 151650 w 259303"/>
                  <a:gd name="connsiteY71" fmla="*/ 194588 h 247400"/>
                  <a:gd name="connsiteX72" fmla="*/ 149886 w 259303"/>
                  <a:gd name="connsiteY72" fmla="*/ 196616 h 247400"/>
                  <a:gd name="connsiteX73" fmla="*/ 149093 w 259303"/>
                  <a:gd name="connsiteY73" fmla="*/ 205344 h 247400"/>
                  <a:gd name="connsiteX74" fmla="*/ 148740 w 259303"/>
                  <a:gd name="connsiteY74" fmla="*/ 207725 h 247400"/>
                  <a:gd name="connsiteX75" fmla="*/ 147065 w 259303"/>
                  <a:gd name="connsiteY75" fmla="*/ 208518 h 247400"/>
                  <a:gd name="connsiteX76" fmla="*/ 144684 w 259303"/>
                  <a:gd name="connsiteY76" fmla="*/ 209753 h 247400"/>
                  <a:gd name="connsiteX77" fmla="*/ 135955 w 259303"/>
                  <a:gd name="connsiteY77" fmla="*/ 213544 h 247400"/>
                  <a:gd name="connsiteX78" fmla="*/ 126345 w 259303"/>
                  <a:gd name="connsiteY78" fmla="*/ 219363 h 247400"/>
                  <a:gd name="connsiteX79" fmla="*/ 121937 w 259303"/>
                  <a:gd name="connsiteY79" fmla="*/ 226064 h 247400"/>
                  <a:gd name="connsiteX80" fmla="*/ 121055 w 259303"/>
                  <a:gd name="connsiteY80" fmla="*/ 228973 h 247400"/>
                  <a:gd name="connsiteX81" fmla="*/ 114972 w 259303"/>
                  <a:gd name="connsiteY81" fmla="*/ 235145 h 247400"/>
                  <a:gd name="connsiteX82" fmla="*/ 107918 w 259303"/>
                  <a:gd name="connsiteY82" fmla="*/ 244756 h 247400"/>
                  <a:gd name="connsiteX83" fmla="*/ 103245 w 259303"/>
                  <a:gd name="connsiteY83" fmla="*/ 245285 h 247400"/>
                  <a:gd name="connsiteX84" fmla="*/ 100953 w 259303"/>
                  <a:gd name="connsiteY84" fmla="*/ 247401 h 247400"/>
                  <a:gd name="connsiteX85" fmla="*/ 93988 w 259303"/>
                  <a:gd name="connsiteY85" fmla="*/ 243874 h 247400"/>
                  <a:gd name="connsiteX86" fmla="*/ 90725 w 259303"/>
                  <a:gd name="connsiteY86" fmla="*/ 243521 h 247400"/>
                  <a:gd name="connsiteX87" fmla="*/ 90725 w 259303"/>
                  <a:gd name="connsiteY87" fmla="*/ 242375 h 247400"/>
                  <a:gd name="connsiteX88" fmla="*/ 87816 w 259303"/>
                  <a:gd name="connsiteY88" fmla="*/ 243874 h 247400"/>
                  <a:gd name="connsiteX89" fmla="*/ 87816 w 259303"/>
                  <a:gd name="connsiteY89" fmla="*/ 244756 h 247400"/>
                  <a:gd name="connsiteX90" fmla="*/ 84906 w 259303"/>
                  <a:gd name="connsiteY90" fmla="*/ 245285 h 247400"/>
                  <a:gd name="connsiteX91" fmla="*/ 82878 w 259303"/>
                  <a:gd name="connsiteY91" fmla="*/ 245285 h 247400"/>
                  <a:gd name="connsiteX92" fmla="*/ 81996 w 259303"/>
                  <a:gd name="connsiteY92" fmla="*/ 243257 h 247400"/>
                  <a:gd name="connsiteX93" fmla="*/ 81115 w 259303"/>
                  <a:gd name="connsiteY93" fmla="*/ 242375 h 247400"/>
                  <a:gd name="connsiteX94" fmla="*/ 79616 w 259303"/>
                  <a:gd name="connsiteY94" fmla="*/ 241493 h 247400"/>
                  <a:gd name="connsiteX95" fmla="*/ 78205 w 259303"/>
                  <a:gd name="connsiteY95" fmla="*/ 240612 h 247400"/>
                  <a:gd name="connsiteX96" fmla="*/ 77324 w 259303"/>
                  <a:gd name="connsiteY96" fmla="*/ 241493 h 247400"/>
                  <a:gd name="connsiteX97" fmla="*/ 75560 w 259303"/>
                  <a:gd name="connsiteY97" fmla="*/ 241758 h 247400"/>
                  <a:gd name="connsiteX98" fmla="*/ 71769 w 259303"/>
                  <a:gd name="connsiteY98" fmla="*/ 241758 h 247400"/>
                  <a:gd name="connsiteX99" fmla="*/ 69741 w 259303"/>
                  <a:gd name="connsiteY99" fmla="*/ 240347 h 247400"/>
                  <a:gd name="connsiteX100" fmla="*/ 69124 w 259303"/>
                  <a:gd name="connsiteY100" fmla="*/ 239730 h 247400"/>
                  <a:gd name="connsiteX101" fmla="*/ 67978 w 259303"/>
                  <a:gd name="connsiteY101" fmla="*/ 239730 h 247400"/>
                  <a:gd name="connsiteX102" fmla="*/ 67713 w 259303"/>
                  <a:gd name="connsiteY102" fmla="*/ 237702 h 247400"/>
                  <a:gd name="connsiteX103" fmla="*/ 66479 w 259303"/>
                  <a:gd name="connsiteY103" fmla="*/ 237967 h 247400"/>
                  <a:gd name="connsiteX104" fmla="*/ 66479 w 259303"/>
                  <a:gd name="connsiteY104" fmla="*/ 236027 h 247400"/>
                  <a:gd name="connsiteX105" fmla="*/ 64804 w 259303"/>
                  <a:gd name="connsiteY105" fmla="*/ 235145 h 247400"/>
                  <a:gd name="connsiteX106" fmla="*/ 63834 w 259303"/>
                  <a:gd name="connsiteY106" fmla="*/ 235145 h 247400"/>
                  <a:gd name="connsiteX107" fmla="*/ 63305 w 259303"/>
                  <a:gd name="connsiteY107" fmla="*/ 234175 h 247400"/>
                  <a:gd name="connsiteX108" fmla="*/ 61542 w 259303"/>
                  <a:gd name="connsiteY108" fmla="*/ 233382 h 247400"/>
                  <a:gd name="connsiteX109" fmla="*/ 59249 w 259303"/>
                  <a:gd name="connsiteY109" fmla="*/ 233382 h 247400"/>
                  <a:gd name="connsiteX110" fmla="*/ 57221 w 259303"/>
                  <a:gd name="connsiteY110" fmla="*/ 233029 h 247400"/>
                  <a:gd name="connsiteX111" fmla="*/ 56604 w 259303"/>
                  <a:gd name="connsiteY111" fmla="*/ 233029 h 247400"/>
                  <a:gd name="connsiteX112" fmla="*/ 55458 w 259303"/>
                  <a:gd name="connsiteY112" fmla="*/ 233646 h 247400"/>
                  <a:gd name="connsiteX113" fmla="*/ 54841 w 259303"/>
                  <a:gd name="connsiteY113" fmla="*/ 233646 h 247400"/>
                  <a:gd name="connsiteX114" fmla="*/ 52548 w 259303"/>
                  <a:gd name="connsiteY114" fmla="*/ 232765 h 247400"/>
                  <a:gd name="connsiteX115" fmla="*/ 50521 w 259303"/>
                  <a:gd name="connsiteY115" fmla="*/ 231883 h 247400"/>
                  <a:gd name="connsiteX116" fmla="*/ 49639 w 259303"/>
                  <a:gd name="connsiteY116" fmla="*/ 232765 h 247400"/>
                  <a:gd name="connsiteX117" fmla="*/ 49022 w 259303"/>
                  <a:gd name="connsiteY117" fmla="*/ 232765 h 247400"/>
                  <a:gd name="connsiteX118" fmla="*/ 48140 w 259303"/>
                  <a:gd name="connsiteY118" fmla="*/ 233029 h 247400"/>
                  <a:gd name="connsiteX119" fmla="*/ 46112 w 259303"/>
                  <a:gd name="connsiteY119" fmla="*/ 233029 h 247400"/>
                  <a:gd name="connsiteX120" fmla="*/ 31212 w 259303"/>
                  <a:gd name="connsiteY120" fmla="*/ 236556 h 247400"/>
                  <a:gd name="connsiteX121" fmla="*/ 25128 w 259303"/>
                  <a:gd name="connsiteY121" fmla="*/ 232765 h 247400"/>
                  <a:gd name="connsiteX122" fmla="*/ 22483 w 259303"/>
                  <a:gd name="connsiteY122" fmla="*/ 228356 h 247400"/>
                  <a:gd name="connsiteX123" fmla="*/ 15165 w 259303"/>
                  <a:gd name="connsiteY123" fmla="*/ 221391 h 247400"/>
                  <a:gd name="connsiteX124" fmla="*/ 9963 w 259303"/>
                  <a:gd name="connsiteY124" fmla="*/ 214690 h 247400"/>
                  <a:gd name="connsiteX125" fmla="*/ 6436 w 259303"/>
                  <a:gd name="connsiteY125" fmla="*/ 211163 h 247400"/>
                  <a:gd name="connsiteX126" fmla="*/ 5555 w 259303"/>
                  <a:gd name="connsiteY126" fmla="*/ 210282 h 247400"/>
                  <a:gd name="connsiteX127" fmla="*/ 2909 w 259303"/>
                  <a:gd name="connsiteY127" fmla="*/ 207989 h 247400"/>
                  <a:gd name="connsiteX128" fmla="*/ 2909 w 259303"/>
                  <a:gd name="connsiteY128" fmla="*/ 203934 h 247400"/>
                  <a:gd name="connsiteX129" fmla="*/ 1763 w 259303"/>
                  <a:gd name="connsiteY129" fmla="*/ 202699 h 247400"/>
                  <a:gd name="connsiteX130" fmla="*/ 0 w 259303"/>
                  <a:gd name="connsiteY130" fmla="*/ 199790 h 247400"/>
                  <a:gd name="connsiteX131" fmla="*/ 1763 w 259303"/>
                  <a:gd name="connsiteY131" fmla="*/ 120791 h 247400"/>
                  <a:gd name="connsiteX132" fmla="*/ 46112 w 259303"/>
                  <a:gd name="connsiteY132" fmla="*/ 120791 h 247400"/>
                  <a:gd name="connsiteX133" fmla="*/ 43202 w 259303"/>
                  <a:gd name="connsiteY133" fmla="*/ 115501 h 247400"/>
                  <a:gd name="connsiteX134" fmla="*/ 44701 w 259303"/>
                  <a:gd name="connsiteY134" fmla="*/ 109417 h 247400"/>
                  <a:gd name="connsiteX135" fmla="*/ 47258 w 259303"/>
                  <a:gd name="connsiteY135" fmla="*/ 105273 h 247400"/>
                  <a:gd name="connsiteX136" fmla="*/ 46729 w 259303"/>
                  <a:gd name="connsiteY136" fmla="*/ 102716 h 247400"/>
                  <a:gd name="connsiteX137" fmla="*/ 45495 w 259303"/>
                  <a:gd name="connsiteY137" fmla="*/ 100953 h 247400"/>
                  <a:gd name="connsiteX138" fmla="*/ 45848 w 259303"/>
                  <a:gd name="connsiteY138" fmla="*/ 92753 h 247400"/>
                  <a:gd name="connsiteX139" fmla="*/ 46994 w 259303"/>
                  <a:gd name="connsiteY139" fmla="*/ 91607 h 247400"/>
                  <a:gd name="connsiteX140" fmla="*/ 45495 w 259303"/>
                  <a:gd name="connsiteY140" fmla="*/ 87816 h 247400"/>
                  <a:gd name="connsiteX141" fmla="*/ 47258 w 259303"/>
                  <a:gd name="connsiteY141" fmla="*/ 84289 h 247400"/>
                  <a:gd name="connsiteX142" fmla="*/ 47258 w 259303"/>
                  <a:gd name="connsiteY142" fmla="*/ 81997 h 247400"/>
                  <a:gd name="connsiteX143" fmla="*/ 48404 w 259303"/>
                  <a:gd name="connsiteY143" fmla="*/ 80851 h 247400"/>
                  <a:gd name="connsiteX144" fmla="*/ 47523 w 259303"/>
                  <a:gd name="connsiteY144" fmla="*/ 76707 h 247400"/>
                  <a:gd name="connsiteX145" fmla="*/ 47875 w 259303"/>
                  <a:gd name="connsiteY145" fmla="*/ 73268 h 247400"/>
                  <a:gd name="connsiteX146" fmla="*/ 45848 w 259303"/>
                  <a:gd name="connsiteY146" fmla="*/ 69741 h 247400"/>
                  <a:gd name="connsiteX147" fmla="*/ 48757 w 259303"/>
                  <a:gd name="connsiteY147" fmla="*/ 70270 h 247400"/>
                  <a:gd name="connsiteX148" fmla="*/ 49903 w 259303"/>
                  <a:gd name="connsiteY148" fmla="*/ 71769 h 247400"/>
                  <a:gd name="connsiteX149" fmla="*/ 51050 w 259303"/>
                  <a:gd name="connsiteY149" fmla="*/ 72386 h 247400"/>
                  <a:gd name="connsiteX150" fmla="*/ 50168 w 259303"/>
                  <a:gd name="connsiteY150" fmla="*/ 73533 h 247400"/>
                  <a:gd name="connsiteX151" fmla="*/ 53695 w 259303"/>
                  <a:gd name="connsiteY151" fmla="*/ 73533 h 247400"/>
                  <a:gd name="connsiteX152" fmla="*/ 55722 w 259303"/>
                  <a:gd name="connsiteY152" fmla="*/ 74414 h 247400"/>
                  <a:gd name="connsiteX153" fmla="*/ 57221 w 259303"/>
                  <a:gd name="connsiteY153" fmla="*/ 79969 h 247400"/>
                  <a:gd name="connsiteX154" fmla="*/ 55987 w 259303"/>
                  <a:gd name="connsiteY154" fmla="*/ 80851 h 247400"/>
                  <a:gd name="connsiteX155" fmla="*/ 53959 w 259303"/>
                  <a:gd name="connsiteY155" fmla="*/ 81115 h 247400"/>
                  <a:gd name="connsiteX156" fmla="*/ 54841 w 259303"/>
                  <a:gd name="connsiteY156" fmla="*/ 82526 h 247400"/>
                  <a:gd name="connsiteX157" fmla="*/ 56339 w 259303"/>
                  <a:gd name="connsiteY157" fmla="*/ 84642 h 247400"/>
                  <a:gd name="connsiteX158" fmla="*/ 58015 w 259303"/>
                  <a:gd name="connsiteY158" fmla="*/ 85171 h 247400"/>
                  <a:gd name="connsiteX159" fmla="*/ 60748 w 259303"/>
                  <a:gd name="connsiteY159" fmla="*/ 85171 h 247400"/>
                  <a:gd name="connsiteX160" fmla="*/ 62423 w 259303"/>
                  <a:gd name="connsiteY160" fmla="*/ 83407 h 247400"/>
                  <a:gd name="connsiteX161" fmla="*/ 64451 w 259303"/>
                  <a:gd name="connsiteY161" fmla="*/ 81380 h 247400"/>
                  <a:gd name="connsiteX162" fmla="*/ 66215 w 259303"/>
                  <a:gd name="connsiteY162" fmla="*/ 81380 h 247400"/>
                  <a:gd name="connsiteX163" fmla="*/ 70270 w 259303"/>
                  <a:gd name="connsiteY163" fmla="*/ 79616 h 247400"/>
                  <a:gd name="connsiteX164" fmla="*/ 75296 w 259303"/>
                  <a:gd name="connsiteY164" fmla="*/ 79352 h 247400"/>
                  <a:gd name="connsiteX165" fmla="*/ 78823 w 259303"/>
                  <a:gd name="connsiteY165" fmla="*/ 77941 h 247400"/>
                  <a:gd name="connsiteX166" fmla="*/ 78823 w 259303"/>
                  <a:gd name="connsiteY166" fmla="*/ 79616 h 247400"/>
                  <a:gd name="connsiteX167" fmla="*/ 77588 w 259303"/>
                  <a:gd name="connsiteY167" fmla="*/ 80233 h 247400"/>
                  <a:gd name="connsiteX168" fmla="*/ 76442 w 259303"/>
                  <a:gd name="connsiteY168" fmla="*/ 83672 h 247400"/>
                  <a:gd name="connsiteX169" fmla="*/ 77059 w 259303"/>
                  <a:gd name="connsiteY169" fmla="*/ 85435 h 247400"/>
                  <a:gd name="connsiteX170" fmla="*/ 77324 w 259303"/>
                  <a:gd name="connsiteY170" fmla="*/ 87199 h 247400"/>
                  <a:gd name="connsiteX171" fmla="*/ 79969 w 259303"/>
                  <a:gd name="connsiteY171" fmla="*/ 89227 h 247400"/>
                  <a:gd name="connsiteX172" fmla="*/ 81644 w 259303"/>
                  <a:gd name="connsiteY172" fmla="*/ 90990 h 247400"/>
                  <a:gd name="connsiteX173" fmla="*/ 82878 w 259303"/>
                  <a:gd name="connsiteY173" fmla="*/ 90196 h 247400"/>
                  <a:gd name="connsiteX174" fmla="*/ 84377 w 259303"/>
                  <a:gd name="connsiteY174" fmla="*/ 90461 h 247400"/>
                  <a:gd name="connsiteX175" fmla="*/ 87551 w 259303"/>
                  <a:gd name="connsiteY175" fmla="*/ 90461 h 247400"/>
                  <a:gd name="connsiteX176" fmla="*/ 89315 w 259303"/>
                  <a:gd name="connsiteY176" fmla="*/ 92224 h 247400"/>
                  <a:gd name="connsiteX177" fmla="*/ 89844 w 259303"/>
                  <a:gd name="connsiteY177" fmla="*/ 93106 h 247400"/>
                  <a:gd name="connsiteX178" fmla="*/ 94252 w 259303"/>
                  <a:gd name="connsiteY178" fmla="*/ 93106 h 247400"/>
                  <a:gd name="connsiteX179" fmla="*/ 95398 w 259303"/>
                  <a:gd name="connsiteY179" fmla="*/ 94252 h 247400"/>
                  <a:gd name="connsiteX180" fmla="*/ 97690 w 259303"/>
                  <a:gd name="connsiteY180" fmla="*/ 94252 h 247400"/>
                  <a:gd name="connsiteX181" fmla="*/ 98043 w 259303"/>
                  <a:gd name="connsiteY181" fmla="*/ 93106 h 247400"/>
                  <a:gd name="connsiteX182" fmla="*/ 100953 w 259303"/>
                  <a:gd name="connsiteY182" fmla="*/ 93106 h 247400"/>
                  <a:gd name="connsiteX183" fmla="*/ 100953 w 259303"/>
                  <a:gd name="connsiteY183" fmla="*/ 94517 h 247400"/>
                  <a:gd name="connsiteX184" fmla="*/ 104744 w 259303"/>
                  <a:gd name="connsiteY184" fmla="*/ 94781 h 247400"/>
                  <a:gd name="connsiteX185" fmla="*/ 105626 w 259303"/>
                  <a:gd name="connsiteY185" fmla="*/ 96544 h 247400"/>
                  <a:gd name="connsiteX186" fmla="*/ 107389 w 259303"/>
                  <a:gd name="connsiteY186" fmla="*/ 94517 h 247400"/>
                  <a:gd name="connsiteX187" fmla="*/ 109946 w 259303"/>
                  <a:gd name="connsiteY187" fmla="*/ 94517 h 247400"/>
                  <a:gd name="connsiteX188" fmla="*/ 111709 w 259303"/>
                  <a:gd name="connsiteY188" fmla="*/ 92224 h 247400"/>
                  <a:gd name="connsiteX189" fmla="*/ 111709 w 259303"/>
                  <a:gd name="connsiteY189" fmla="*/ 89844 h 247400"/>
                  <a:gd name="connsiteX190" fmla="*/ 112944 w 259303"/>
                  <a:gd name="connsiteY190" fmla="*/ 88433 h 247400"/>
                  <a:gd name="connsiteX191" fmla="*/ 112591 w 259303"/>
                  <a:gd name="connsiteY191" fmla="*/ 86052 h 247400"/>
                  <a:gd name="connsiteX192" fmla="*/ 115501 w 259303"/>
                  <a:gd name="connsiteY192" fmla="*/ 85435 h 247400"/>
                  <a:gd name="connsiteX193" fmla="*/ 116382 w 259303"/>
                  <a:gd name="connsiteY193" fmla="*/ 84906 h 247400"/>
                  <a:gd name="connsiteX194" fmla="*/ 117264 w 259303"/>
                  <a:gd name="connsiteY194" fmla="*/ 86052 h 247400"/>
                  <a:gd name="connsiteX195" fmla="*/ 117528 w 259303"/>
                  <a:gd name="connsiteY195" fmla="*/ 90461 h 247400"/>
                  <a:gd name="connsiteX196" fmla="*/ 122554 w 259303"/>
                  <a:gd name="connsiteY196" fmla="*/ 94781 h 247400"/>
                  <a:gd name="connsiteX197" fmla="*/ 123083 w 259303"/>
                  <a:gd name="connsiteY197" fmla="*/ 97691 h 247400"/>
                  <a:gd name="connsiteX198" fmla="*/ 123965 w 259303"/>
                  <a:gd name="connsiteY198" fmla="*/ 98925 h 247400"/>
                  <a:gd name="connsiteX199" fmla="*/ 123965 w 259303"/>
                  <a:gd name="connsiteY199" fmla="*/ 100953 h 247400"/>
                  <a:gd name="connsiteX200" fmla="*/ 125464 w 259303"/>
                  <a:gd name="connsiteY200" fmla="*/ 102364 h 247400"/>
                  <a:gd name="connsiteX201" fmla="*/ 125993 w 259303"/>
                  <a:gd name="connsiteY201" fmla="*/ 103245 h 247400"/>
                  <a:gd name="connsiteX202" fmla="*/ 128373 w 259303"/>
                  <a:gd name="connsiteY202" fmla="*/ 103510 h 247400"/>
                  <a:gd name="connsiteX203" fmla="*/ 130137 w 259303"/>
                  <a:gd name="connsiteY203" fmla="*/ 103510 h 247400"/>
                  <a:gd name="connsiteX204" fmla="*/ 130137 w 259303"/>
                  <a:gd name="connsiteY204" fmla="*/ 101835 h 247400"/>
                  <a:gd name="connsiteX205" fmla="*/ 133046 w 259303"/>
                  <a:gd name="connsiteY205" fmla="*/ 103510 h 247400"/>
                  <a:gd name="connsiteX206" fmla="*/ 132782 w 259303"/>
                  <a:gd name="connsiteY206" fmla="*/ 105009 h 247400"/>
                  <a:gd name="connsiteX207" fmla="*/ 135955 w 259303"/>
                  <a:gd name="connsiteY207" fmla="*/ 105009 h 247400"/>
                  <a:gd name="connsiteX208" fmla="*/ 136573 w 259303"/>
                  <a:gd name="connsiteY208" fmla="*/ 106508 h 247400"/>
                  <a:gd name="connsiteX209" fmla="*/ 137366 w 259303"/>
                  <a:gd name="connsiteY209" fmla="*/ 105273 h 247400"/>
                  <a:gd name="connsiteX210" fmla="*/ 139747 w 259303"/>
                  <a:gd name="connsiteY210" fmla="*/ 106772 h 247400"/>
                  <a:gd name="connsiteX211" fmla="*/ 141510 w 259303"/>
                  <a:gd name="connsiteY211" fmla="*/ 106508 h 247400"/>
                  <a:gd name="connsiteX212" fmla="*/ 143538 w 259303"/>
                  <a:gd name="connsiteY212" fmla="*/ 108271 h 247400"/>
                  <a:gd name="connsiteX213" fmla="*/ 143538 w 259303"/>
                  <a:gd name="connsiteY213" fmla="*/ 110828 h 247400"/>
                  <a:gd name="connsiteX214" fmla="*/ 144067 w 259303"/>
                  <a:gd name="connsiteY214" fmla="*/ 111709 h 247400"/>
                  <a:gd name="connsiteX215" fmla="*/ 144949 w 259303"/>
                  <a:gd name="connsiteY215" fmla="*/ 113473 h 247400"/>
                  <a:gd name="connsiteX216" fmla="*/ 143538 w 259303"/>
                  <a:gd name="connsiteY216" fmla="*/ 114972 h 247400"/>
                  <a:gd name="connsiteX217" fmla="*/ 145302 w 259303"/>
                  <a:gd name="connsiteY217" fmla="*/ 116647 h 247400"/>
                  <a:gd name="connsiteX218" fmla="*/ 146448 w 259303"/>
                  <a:gd name="connsiteY218" fmla="*/ 116118 h 247400"/>
                  <a:gd name="connsiteX219" fmla="*/ 148476 w 259303"/>
                  <a:gd name="connsiteY219" fmla="*/ 118146 h 247400"/>
                  <a:gd name="connsiteX220" fmla="*/ 151120 w 259303"/>
                  <a:gd name="connsiteY220" fmla="*/ 119027 h 247400"/>
                  <a:gd name="connsiteX221" fmla="*/ 150856 w 259303"/>
                  <a:gd name="connsiteY221" fmla="*/ 120526 h 247400"/>
                  <a:gd name="connsiteX222" fmla="*/ 152267 w 259303"/>
                  <a:gd name="connsiteY222" fmla="*/ 122554 h 247400"/>
                  <a:gd name="connsiteX223" fmla="*/ 152531 w 259303"/>
                  <a:gd name="connsiteY223" fmla="*/ 125111 h 247400"/>
                  <a:gd name="connsiteX224" fmla="*/ 153766 w 259303"/>
                  <a:gd name="connsiteY224" fmla="*/ 129255 h 247400"/>
                  <a:gd name="connsiteX225" fmla="*/ 154912 w 259303"/>
                  <a:gd name="connsiteY225" fmla="*/ 130401 h 247400"/>
                  <a:gd name="connsiteX226" fmla="*/ 157204 w 259303"/>
                  <a:gd name="connsiteY226" fmla="*/ 130666 h 247400"/>
                  <a:gd name="connsiteX227" fmla="*/ 157204 w 259303"/>
                  <a:gd name="connsiteY227" fmla="*/ 131547 h 247400"/>
                  <a:gd name="connsiteX228" fmla="*/ 159320 w 259303"/>
                  <a:gd name="connsiteY228" fmla="*/ 131283 h 247400"/>
                  <a:gd name="connsiteX229" fmla="*/ 161613 w 259303"/>
                  <a:gd name="connsiteY229" fmla="*/ 129519 h 247400"/>
                  <a:gd name="connsiteX230" fmla="*/ 163640 w 259303"/>
                  <a:gd name="connsiteY230" fmla="*/ 128638 h 247400"/>
                  <a:gd name="connsiteX231" fmla="*/ 164787 w 259303"/>
                  <a:gd name="connsiteY231" fmla="*/ 128021 h 247400"/>
                  <a:gd name="connsiteX232" fmla="*/ 166285 w 259303"/>
                  <a:gd name="connsiteY232" fmla="*/ 126345 h 247400"/>
                  <a:gd name="connsiteX233" fmla="*/ 168049 w 259303"/>
                  <a:gd name="connsiteY233" fmla="*/ 125993 h 247400"/>
                  <a:gd name="connsiteX234" fmla="*/ 168313 w 259303"/>
                  <a:gd name="connsiteY234" fmla="*/ 126874 h 247400"/>
                  <a:gd name="connsiteX235" fmla="*/ 169460 w 259303"/>
                  <a:gd name="connsiteY235" fmla="*/ 127756 h 247400"/>
                  <a:gd name="connsiteX236" fmla="*/ 168931 w 259303"/>
                  <a:gd name="connsiteY236" fmla="*/ 129519 h 247400"/>
                  <a:gd name="connsiteX237" fmla="*/ 167432 w 259303"/>
                  <a:gd name="connsiteY237" fmla="*/ 130401 h 247400"/>
                  <a:gd name="connsiteX238" fmla="*/ 168578 w 259303"/>
                  <a:gd name="connsiteY238" fmla="*/ 132165 h 247400"/>
                  <a:gd name="connsiteX239" fmla="*/ 170077 w 259303"/>
                  <a:gd name="connsiteY239" fmla="*/ 131812 h 247400"/>
                  <a:gd name="connsiteX240" fmla="*/ 172369 w 259303"/>
                  <a:gd name="connsiteY240" fmla="*/ 131283 h 247400"/>
                  <a:gd name="connsiteX241" fmla="*/ 173251 w 259303"/>
                  <a:gd name="connsiteY241" fmla="*/ 99807 h 247400"/>
                  <a:gd name="connsiteX242" fmla="*/ 172105 w 259303"/>
                  <a:gd name="connsiteY242" fmla="*/ 99189 h 247400"/>
                  <a:gd name="connsiteX243" fmla="*/ 171223 w 259303"/>
                  <a:gd name="connsiteY243" fmla="*/ 100336 h 247400"/>
                  <a:gd name="connsiteX244" fmla="*/ 169812 w 259303"/>
                  <a:gd name="connsiteY244" fmla="*/ 102099 h 247400"/>
                  <a:gd name="connsiteX245" fmla="*/ 168931 w 259303"/>
                  <a:gd name="connsiteY245" fmla="*/ 100336 h 247400"/>
                  <a:gd name="connsiteX246" fmla="*/ 168313 w 259303"/>
                  <a:gd name="connsiteY246" fmla="*/ 99454 h 247400"/>
                  <a:gd name="connsiteX247" fmla="*/ 167432 w 259303"/>
                  <a:gd name="connsiteY247" fmla="*/ 100600 h 247400"/>
                  <a:gd name="connsiteX248" fmla="*/ 166021 w 259303"/>
                  <a:gd name="connsiteY248" fmla="*/ 101835 h 247400"/>
                  <a:gd name="connsiteX249" fmla="*/ 165139 w 259303"/>
                  <a:gd name="connsiteY249" fmla="*/ 102364 h 247400"/>
                  <a:gd name="connsiteX250" fmla="*/ 165668 w 259303"/>
                  <a:gd name="connsiteY250" fmla="*/ 105273 h 247400"/>
                  <a:gd name="connsiteX251" fmla="*/ 166903 w 259303"/>
                  <a:gd name="connsiteY251" fmla="*/ 107037 h 247400"/>
                  <a:gd name="connsiteX252" fmla="*/ 168049 w 259303"/>
                  <a:gd name="connsiteY252" fmla="*/ 107654 h 247400"/>
                  <a:gd name="connsiteX253" fmla="*/ 166903 w 259303"/>
                  <a:gd name="connsiteY253" fmla="*/ 109065 h 247400"/>
                  <a:gd name="connsiteX254" fmla="*/ 164787 w 259303"/>
                  <a:gd name="connsiteY254" fmla="*/ 109065 h 247400"/>
                  <a:gd name="connsiteX255" fmla="*/ 161877 w 259303"/>
                  <a:gd name="connsiteY255" fmla="*/ 107301 h 247400"/>
                  <a:gd name="connsiteX256" fmla="*/ 158968 w 259303"/>
                  <a:gd name="connsiteY256" fmla="*/ 107301 h 247400"/>
                  <a:gd name="connsiteX257" fmla="*/ 156411 w 259303"/>
                  <a:gd name="connsiteY257" fmla="*/ 107301 h 247400"/>
                  <a:gd name="connsiteX258" fmla="*/ 154912 w 259303"/>
                  <a:gd name="connsiteY258" fmla="*/ 103245 h 247400"/>
                  <a:gd name="connsiteX259" fmla="*/ 154030 w 259303"/>
                  <a:gd name="connsiteY259" fmla="*/ 100953 h 247400"/>
                  <a:gd name="connsiteX260" fmla="*/ 152531 w 259303"/>
                  <a:gd name="connsiteY260" fmla="*/ 98925 h 247400"/>
                  <a:gd name="connsiteX261" fmla="*/ 151120 w 259303"/>
                  <a:gd name="connsiteY261" fmla="*/ 97691 h 247400"/>
                  <a:gd name="connsiteX262" fmla="*/ 150239 w 259303"/>
                  <a:gd name="connsiteY262" fmla="*/ 96897 h 247400"/>
                  <a:gd name="connsiteX263" fmla="*/ 149357 w 259303"/>
                  <a:gd name="connsiteY263" fmla="*/ 95663 h 247400"/>
                  <a:gd name="connsiteX264" fmla="*/ 147065 w 259303"/>
                  <a:gd name="connsiteY264" fmla="*/ 94517 h 247400"/>
                  <a:gd name="connsiteX265" fmla="*/ 146712 w 259303"/>
                  <a:gd name="connsiteY265" fmla="*/ 93106 h 247400"/>
                  <a:gd name="connsiteX266" fmla="*/ 144420 w 259303"/>
                  <a:gd name="connsiteY266" fmla="*/ 91872 h 247400"/>
                  <a:gd name="connsiteX267" fmla="*/ 144067 w 259303"/>
                  <a:gd name="connsiteY267" fmla="*/ 90725 h 247400"/>
                  <a:gd name="connsiteX268" fmla="*/ 142392 w 259303"/>
                  <a:gd name="connsiteY268" fmla="*/ 82261 h 247400"/>
                  <a:gd name="connsiteX269" fmla="*/ 144067 w 259303"/>
                  <a:gd name="connsiteY269" fmla="*/ 79616 h 247400"/>
                  <a:gd name="connsiteX270" fmla="*/ 146448 w 259303"/>
                  <a:gd name="connsiteY270" fmla="*/ 66567 h 247400"/>
                  <a:gd name="connsiteX271" fmla="*/ 150856 w 259303"/>
                  <a:gd name="connsiteY271" fmla="*/ 62159 h 247400"/>
                  <a:gd name="connsiteX272" fmla="*/ 148211 w 259303"/>
                  <a:gd name="connsiteY272" fmla="*/ 58985 h 247400"/>
                  <a:gd name="connsiteX273" fmla="*/ 148476 w 259303"/>
                  <a:gd name="connsiteY273" fmla="*/ 53078 h 247400"/>
                  <a:gd name="connsiteX274" fmla="*/ 147329 w 259303"/>
                  <a:gd name="connsiteY274" fmla="*/ 51314 h 247400"/>
                  <a:gd name="connsiteX275" fmla="*/ 150856 w 259303"/>
                  <a:gd name="connsiteY275" fmla="*/ 40558 h 247400"/>
                  <a:gd name="connsiteX276" fmla="*/ 149622 w 259303"/>
                  <a:gd name="connsiteY276" fmla="*/ 36766 h 247400"/>
                  <a:gd name="connsiteX277" fmla="*/ 148211 w 259303"/>
                  <a:gd name="connsiteY277" fmla="*/ 35267 h 247400"/>
                  <a:gd name="connsiteX278" fmla="*/ 147329 w 259303"/>
                  <a:gd name="connsiteY278" fmla="*/ 32711 h 247400"/>
                  <a:gd name="connsiteX279" fmla="*/ 146183 w 259303"/>
                  <a:gd name="connsiteY279" fmla="*/ 29448 h 247400"/>
                  <a:gd name="connsiteX280" fmla="*/ 145831 w 259303"/>
                  <a:gd name="connsiteY280" fmla="*/ 26274 h 247400"/>
                  <a:gd name="connsiteX281" fmla="*/ 148740 w 259303"/>
                  <a:gd name="connsiteY281" fmla="*/ 23629 h 247400"/>
                  <a:gd name="connsiteX282" fmla="*/ 154912 w 259303"/>
                  <a:gd name="connsiteY282" fmla="*/ 17810 h 247400"/>
                  <a:gd name="connsiteX283" fmla="*/ 156675 w 259303"/>
                  <a:gd name="connsiteY283" fmla="*/ 14019 h 247400"/>
                  <a:gd name="connsiteX284" fmla="*/ 155793 w 259303"/>
                  <a:gd name="connsiteY284" fmla="*/ 9346 h 247400"/>
                  <a:gd name="connsiteX285" fmla="*/ 196615 w 259303"/>
                  <a:gd name="connsiteY285" fmla="*/ 0 h 247400"/>
                  <a:gd name="connsiteX286" fmla="*/ 198908 w 259303"/>
                  <a:gd name="connsiteY286" fmla="*/ 5907 h 247400"/>
                  <a:gd name="connsiteX287" fmla="*/ 201553 w 259303"/>
                  <a:gd name="connsiteY287" fmla="*/ 9963 h 247400"/>
                  <a:gd name="connsiteX288" fmla="*/ 203934 w 259303"/>
                  <a:gd name="connsiteY288" fmla="*/ 11991 h 247400"/>
                  <a:gd name="connsiteX289" fmla="*/ 206226 w 259303"/>
                  <a:gd name="connsiteY289" fmla="*/ 11991 h 247400"/>
                  <a:gd name="connsiteX290" fmla="*/ 210017 w 259303"/>
                  <a:gd name="connsiteY290" fmla="*/ 11991 h 247400"/>
                  <a:gd name="connsiteX291" fmla="*/ 213808 w 259303"/>
                  <a:gd name="connsiteY291" fmla="*/ 13755 h 247400"/>
                  <a:gd name="connsiteX292" fmla="*/ 213808 w 259303"/>
                  <a:gd name="connsiteY292" fmla="*/ 16664 h 247400"/>
                  <a:gd name="connsiteX293" fmla="*/ 217071 w 259303"/>
                  <a:gd name="connsiteY293" fmla="*/ 19309 h 247400"/>
                  <a:gd name="connsiteX294" fmla="*/ 218746 w 259303"/>
                  <a:gd name="connsiteY294" fmla="*/ 18075 h 247400"/>
                  <a:gd name="connsiteX295" fmla="*/ 222008 w 259303"/>
                  <a:gd name="connsiteY295" fmla="*/ 19309 h 247400"/>
                  <a:gd name="connsiteX296" fmla="*/ 221743 w 259303"/>
                  <a:gd name="connsiteY296" fmla="*/ 21866 h 247400"/>
                  <a:gd name="connsiteX297" fmla="*/ 222890 w 259303"/>
                  <a:gd name="connsiteY297" fmla="*/ 22748 h 247400"/>
                  <a:gd name="connsiteX298" fmla="*/ 224036 w 259303"/>
                  <a:gd name="connsiteY298" fmla="*/ 21866 h 247400"/>
                  <a:gd name="connsiteX299" fmla="*/ 229326 w 259303"/>
                  <a:gd name="connsiteY299" fmla="*/ 23629 h 247400"/>
                  <a:gd name="connsiteX300" fmla="*/ 234263 w 259303"/>
                  <a:gd name="connsiteY300" fmla="*/ 23629 h 247400"/>
                  <a:gd name="connsiteX301" fmla="*/ 236291 w 259303"/>
                  <a:gd name="connsiteY301" fmla="*/ 26010 h 247400"/>
                  <a:gd name="connsiteX302" fmla="*/ 239465 w 259303"/>
                  <a:gd name="connsiteY302" fmla="*/ 26274 h 247400"/>
                  <a:gd name="connsiteX303" fmla="*/ 240083 w 259303"/>
                  <a:gd name="connsiteY303" fmla="*/ 27773 h 24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</a:cxnLst>
                <a:rect l="l" t="t" r="r" b="b"/>
                <a:pathLst>
                  <a:path w="259303" h="247400">
                    <a:moveTo>
                      <a:pt x="243609" y="29801"/>
                    </a:moveTo>
                    <a:lnTo>
                      <a:pt x="245637" y="33240"/>
                    </a:lnTo>
                    <a:lnTo>
                      <a:pt x="245020" y="36502"/>
                    </a:lnTo>
                    <a:lnTo>
                      <a:pt x="246519" y="36502"/>
                    </a:lnTo>
                    <a:lnTo>
                      <a:pt x="248282" y="37913"/>
                    </a:lnTo>
                    <a:lnTo>
                      <a:pt x="246783" y="35620"/>
                    </a:lnTo>
                    <a:lnTo>
                      <a:pt x="249076" y="35620"/>
                    </a:lnTo>
                    <a:lnTo>
                      <a:pt x="251192" y="40558"/>
                    </a:lnTo>
                    <a:lnTo>
                      <a:pt x="252602" y="40822"/>
                    </a:lnTo>
                    <a:lnTo>
                      <a:pt x="252867" y="43467"/>
                    </a:lnTo>
                    <a:lnTo>
                      <a:pt x="251456" y="46377"/>
                    </a:lnTo>
                    <a:lnTo>
                      <a:pt x="255865" y="51050"/>
                    </a:lnTo>
                    <a:lnTo>
                      <a:pt x="256129" y="55458"/>
                    </a:lnTo>
                    <a:lnTo>
                      <a:pt x="259303" y="59514"/>
                    </a:lnTo>
                    <a:lnTo>
                      <a:pt x="255512" y="63041"/>
                    </a:lnTo>
                    <a:lnTo>
                      <a:pt x="254630" y="65068"/>
                    </a:lnTo>
                    <a:lnTo>
                      <a:pt x="252073" y="65686"/>
                    </a:lnTo>
                    <a:lnTo>
                      <a:pt x="250839" y="66567"/>
                    </a:lnTo>
                    <a:lnTo>
                      <a:pt x="249957" y="66567"/>
                    </a:lnTo>
                    <a:lnTo>
                      <a:pt x="249957" y="67714"/>
                    </a:lnTo>
                    <a:lnTo>
                      <a:pt x="252602" y="74414"/>
                    </a:lnTo>
                    <a:lnTo>
                      <a:pt x="250574" y="79969"/>
                    </a:lnTo>
                    <a:lnTo>
                      <a:pt x="248811" y="81115"/>
                    </a:lnTo>
                    <a:lnTo>
                      <a:pt x="249428" y="84289"/>
                    </a:lnTo>
                    <a:lnTo>
                      <a:pt x="248547" y="84289"/>
                    </a:lnTo>
                    <a:lnTo>
                      <a:pt x="250310" y="86052"/>
                    </a:lnTo>
                    <a:lnTo>
                      <a:pt x="250839" y="93635"/>
                    </a:lnTo>
                    <a:lnTo>
                      <a:pt x="249076" y="98572"/>
                    </a:lnTo>
                    <a:lnTo>
                      <a:pt x="251192" y="104392"/>
                    </a:lnTo>
                    <a:lnTo>
                      <a:pt x="253220" y="103510"/>
                    </a:lnTo>
                    <a:lnTo>
                      <a:pt x="254101" y="105009"/>
                    </a:lnTo>
                    <a:lnTo>
                      <a:pt x="252867" y="107301"/>
                    </a:lnTo>
                    <a:lnTo>
                      <a:pt x="246783" y="110828"/>
                    </a:lnTo>
                    <a:lnTo>
                      <a:pt x="243874" y="110563"/>
                    </a:lnTo>
                    <a:lnTo>
                      <a:pt x="242110" y="114354"/>
                    </a:lnTo>
                    <a:lnTo>
                      <a:pt x="242110" y="116382"/>
                    </a:lnTo>
                    <a:lnTo>
                      <a:pt x="243257" y="117264"/>
                    </a:lnTo>
                    <a:lnTo>
                      <a:pt x="241229" y="122202"/>
                    </a:lnTo>
                    <a:lnTo>
                      <a:pt x="242992" y="125464"/>
                    </a:lnTo>
                    <a:lnTo>
                      <a:pt x="240964" y="126874"/>
                    </a:lnTo>
                    <a:lnTo>
                      <a:pt x="238584" y="133311"/>
                    </a:lnTo>
                    <a:lnTo>
                      <a:pt x="235057" y="134810"/>
                    </a:lnTo>
                    <a:lnTo>
                      <a:pt x="234528" y="136220"/>
                    </a:lnTo>
                    <a:lnTo>
                      <a:pt x="238319" y="137719"/>
                    </a:lnTo>
                    <a:lnTo>
                      <a:pt x="236291" y="140011"/>
                    </a:lnTo>
                    <a:lnTo>
                      <a:pt x="239465" y="140893"/>
                    </a:lnTo>
                    <a:lnTo>
                      <a:pt x="242375" y="146448"/>
                    </a:lnTo>
                    <a:lnTo>
                      <a:pt x="243257" y="144949"/>
                    </a:lnTo>
                    <a:lnTo>
                      <a:pt x="244756" y="144684"/>
                    </a:lnTo>
                    <a:lnTo>
                      <a:pt x="244756" y="142921"/>
                    </a:lnTo>
                    <a:lnTo>
                      <a:pt x="246783" y="146183"/>
                    </a:lnTo>
                    <a:lnTo>
                      <a:pt x="222537" y="154559"/>
                    </a:lnTo>
                    <a:lnTo>
                      <a:pt x="207725" y="161348"/>
                    </a:lnTo>
                    <a:lnTo>
                      <a:pt x="194588" y="165051"/>
                    </a:lnTo>
                    <a:lnTo>
                      <a:pt x="188151" y="167696"/>
                    </a:lnTo>
                    <a:lnTo>
                      <a:pt x="182861" y="169724"/>
                    </a:lnTo>
                    <a:lnTo>
                      <a:pt x="179952" y="170341"/>
                    </a:lnTo>
                    <a:lnTo>
                      <a:pt x="179952" y="173251"/>
                    </a:lnTo>
                    <a:lnTo>
                      <a:pt x="180304" y="176161"/>
                    </a:lnTo>
                    <a:lnTo>
                      <a:pt x="182861" y="178541"/>
                    </a:lnTo>
                    <a:lnTo>
                      <a:pt x="183214" y="182597"/>
                    </a:lnTo>
                    <a:lnTo>
                      <a:pt x="182597" y="184360"/>
                    </a:lnTo>
                    <a:lnTo>
                      <a:pt x="183214" y="185506"/>
                    </a:lnTo>
                    <a:lnTo>
                      <a:pt x="183743" y="186653"/>
                    </a:lnTo>
                    <a:lnTo>
                      <a:pt x="179423" y="187270"/>
                    </a:lnTo>
                    <a:lnTo>
                      <a:pt x="170606" y="186388"/>
                    </a:lnTo>
                    <a:lnTo>
                      <a:pt x="164787" y="187270"/>
                    </a:lnTo>
                    <a:lnTo>
                      <a:pt x="158174" y="190179"/>
                    </a:lnTo>
                    <a:lnTo>
                      <a:pt x="156675" y="191590"/>
                    </a:lnTo>
                    <a:lnTo>
                      <a:pt x="154647" y="192824"/>
                    </a:lnTo>
                    <a:lnTo>
                      <a:pt x="153413" y="194588"/>
                    </a:lnTo>
                    <a:lnTo>
                      <a:pt x="151650" y="194588"/>
                    </a:lnTo>
                    <a:lnTo>
                      <a:pt x="149886" y="196616"/>
                    </a:lnTo>
                    <a:lnTo>
                      <a:pt x="149093" y="205344"/>
                    </a:lnTo>
                    <a:lnTo>
                      <a:pt x="148740" y="207725"/>
                    </a:lnTo>
                    <a:lnTo>
                      <a:pt x="147065" y="208518"/>
                    </a:lnTo>
                    <a:lnTo>
                      <a:pt x="144684" y="209753"/>
                    </a:lnTo>
                    <a:lnTo>
                      <a:pt x="135955" y="213544"/>
                    </a:lnTo>
                    <a:lnTo>
                      <a:pt x="126345" y="219363"/>
                    </a:lnTo>
                    <a:lnTo>
                      <a:pt x="121937" y="226064"/>
                    </a:lnTo>
                    <a:lnTo>
                      <a:pt x="121055" y="228973"/>
                    </a:lnTo>
                    <a:lnTo>
                      <a:pt x="114972" y="235145"/>
                    </a:lnTo>
                    <a:lnTo>
                      <a:pt x="107918" y="244756"/>
                    </a:lnTo>
                    <a:lnTo>
                      <a:pt x="103245" y="245285"/>
                    </a:lnTo>
                    <a:lnTo>
                      <a:pt x="100953" y="247401"/>
                    </a:lnTo>
                    <a:lnTo>
                      <a:pt x="93988" y="243874"/>
                    </a:lnTo>
                    <a:lnTo>
                      <a:pt x="90725" y="243521"/>
                    </a:lnTo>
                    <a:lnTo>
                      <a:pt x="90725" y="242375"/>
                    </a:lnTo>
                    <a:lnTo>
                      <a:pt x="87816" y="243874"/>
                    </a:lnTo>
                    <a:lnTo>
                      <a:pt x="87816" y="244756"/>
                    </a:lnTo>
                    <a:lnTo>
                      <a:pt x="84906" y="245285"/>
                    </a:lnTo>
                    <a:lnTo>
                      <a:pt x="82878" y="245285"/>
                    </a:lnTo>
                    <a:lnTo>
                      <a:pt x="81996" y="243257"/>
                    </a:lnTo>
                    <a:lnTo>
                      <a:pt x="81115" y="242375"/>
                    </a:lnTo>
                    <a:lnTo>
                      <a:pt x="79616" y="241493"/>
                    </a:lnTo>
                    <a:lnTo>
                      <a:pt x="78205" y="240612"/>
                    </a:lnTo>
                    <a:lnTo>
                      <a:pt x="77324" y="241493"/>
                    </a:lnTo>
                    <a:lnTo>
                      <a:pt x="75560" y="241758"/>
                    </a:lnTo>
                    <a:lnTo>
                      <a:pt x="71769" y="241758"/>
                    </a:lnTo>
                    <a:lnTo>
                      <a:pt x="69741" y="240347"/>
                    </a:lnTo>
                    <a:lnTo>
                      <a:pt x="69124" y="239730"/>
                    </a:lnTo>
                    <a:lnTo>
                      <a:pt x="67978" y="239730"/>
                    </a:lnTo>
                    <a:lnTo>
                      <a:pt x="67713" y="237702"/>
                    </a:lnTo>
                    <a:lnTo>
                      <a:pt x="66479" y="237967"/>
                    </a:lnTo>
                    <a:lnTo>
                      <a:pt x="66479" y="236027"/>
                    </a:lnTo>
                    <a:lnTo>
                      <a:pt x="64804" y="235145"/>
                    </a:lnTo>
                    <a:lnTo>
                      <a:pt x="63834" y="235145"/>
                    </a:lnTo>
                    <a:lnTo>
                      <a:pt x="63305" y="234175"/>
                    </a:lnTo>
                    <a:lnTo>
                      <a:pt x="61542" y="233382"/>
                    </a:lnTo>
                    <a:lnTo>
                      <a:pt x="59249" y="233382"/>
                    </a:lnTo>
                    <a:lnTo>
                      <a:pt x="57221" y="233029"/>
                    </a:lnTo>
                    <a:lnTo>
                      <a:pt x="56604" y="233029"/>
                    </a:lnTo>
                    <a:lnTo>
                      <a:pt x="55458" y="233646"/>
                    </a:lnTo>
                    <a:lnTo>
                      <a:pt x="54841" y="233646"/>
                    </a:lnTo>
                    <a:lnTo>
                      <a:pt x="52548" y="232765"/>
                    </a:lnTo>
                    <a:lnTo>
                      <a:pt x="50521" y="231883"/>
                    </a:lnTo>
                    <a:lnTo>
                      <a:pt x="49639" y="232765"/>
                    </a:lnTo>
                    <a:lnTo>
                      <a:pt x="49022" y="232765"/>
                    </a:lnTo>
                    <a:lnTo>
                      <a:pt x="48140" y="233029"/>
                    </a:lnTo>
                    <a:lnTo>
                      <a:pt x="46112" y="233029"/>
                    </a:lnTo>
                    <a:lnTo>
                      <a:pt x="31212" y="236556"/>
                    </a:lnTo>
                    <a:lnTo>
                      <a:pt x="25128" y="232765"/>
                    </a:lnTo>
                    <a:lnTo>
                      <a:pt x="22483" y="228356"/>
                    </a:lnTo>
                    <a:lnTo>
                      <a:pt x="15165" y="221391"/>
                    </a:lnTo>
                    <a:lnTo>
                      <a:pt x="9963" y="214690"/>
                    </a:lnTo>
                    <a:lnTo>
                      <a:pt x="6436" y="211163"/>
                    </a:lnTo>
                    <a:lnTo>
                      <a:pt x="5555" y="210282"/>
                    </a:lnTo>
                    <a:lnTo>
                      <a:pt x="2909" y="207989"/>
                    </a:lnTo>
                    <a:lnTo>
                      <a:pt x="2909" y="203934"/>
                    </a:lnTo>
                    <a:lnTo>
                      <a:pt x="1763" y="202699"/>
                    </a:lnTo>
                    <a:lnTo>
                      <a:pt x="0" y="199790"/>
                    </a:lnTo>
                    <a:lnTo>
                      <a:pt x="1763" y="120791"/>
                    </a:lnTo>
                    <a:lnTo>
                      <a:pt x="46112" y="120791"/>
                    </a:lnTo>
                    <a:lnTo>
                      <a:pt x="43202" y="115501"/>
                    </a:lnTo>
                    <a:lnTo>
                      <a:pt x="44701" y="109417"/>
                    </a:lnTo>
                    <a:lnTo>
                      <a:pt x="47258" y="105273"/>
                    </a:lnTo>
                    <a:lnTo>
                      <a:pt x="46729" y="102716"/>
                    </a:lnTo>
                    <a:lnTo>
                      <a:pt x="45495" y="100953"/>
                    </a:lnTo>
                    <a:lnTo>
                      <a:pt x="45848" y="92753"/>
                    </a:lnTo>
                    <a:lnTo>
                      <a:pt x="46994" y="91607"/>
                    </a:lnTo>
                    <a:lnTo>
                      <a:pt x="45495" y="87816"/>
                    </a:lnTo>
                    <a:lnTo>
                      <a:pt x="47258" y="84289"/>
                    </a:lnTo>
                    <a:lnTo>
                      <a:pt x="47258" y="81997"/>
                    </a:lnTo>
                    <a:lnTo>
                      <a:pt x="48404" y="80851"/>
                    </a:lnTo>
                    <a:lnTo>
                      <a:pt x="47523" y="76707"/>
                    </a:lnTo>
                    <a:lnTo>
                      <a:pt x="47875" y="73268"/>
                    </a:lnTo>
                    <a:lnTo>
                      <a:pt x="45848" y="69741"/>
                    </a:lnTo>
                    <a:lnTo>
                      <a:pt x="48757" y="70270"/>
                    </a:lnTo>
                    <a:lnTo>
                      <a:pt x="49903" y="71769"/>
                    </a:lnTo>
                    <a:lnTo>
                      <a:pt x="51050" y="72386"/>
                    </a:lnTo>
                    <a:lnTo>
                      <a:pt x="50168" y="73533"/>
                    </a:lnTo>
                    <a:lnTo>
                      <a:pt x="53695" y="73533"/>
                    </a:lnTo>
                    <a:lnTo>
                      <a:pt x="55722" y="74414"/>
                    </a:lnTo>
                    <a:lnTo>
                      <a:pt x="57221" y="79969"/>
                    </a:lnTo>
                    <a:lnTo>
                      <a:pt x="55987" y="80851"/>
                    </a:lnTo>
                    <a:lnTo>
                      <a:pt x="53959" y="81115"/>
                    </a:lnTo>
                    <a:lnTo>
                      <a:pt x="54841" y="82526"/>
                    </a:lnTo>
                    <a:lnTo>
                      <a:pt x="56339" y="84642"/>
                    </a:lnTo>
                    <a:lnTo>
                      <a:pt x="58015" y="85171"/>
                    </a:lnTo>
                    <a:lnTo>
                      <a:pt x="60748" y="85171"/>
                    </a:lnTo>
                    <a:lnTo>
                      <a:pt x="62423" y="83407"/>
                    </a:lnTo>
                    <a:lnTo>
                      <a:pt x="64451" y="81380"/>
                    </a:lnTo>
                    <a:lnTo>
                      <a:pt x="66215" y="81380"/>
                    </a:lnTo>
                    <a:lnTo>
                      <a:pt x="70270" y="79616"/>
                    </a:lnTo>
                    <a:lnTo>
                      <a:pt x="75296" y="79352"/>
                    </a:lnTo>
                    <a:lnTo>
                      <a:pt x="78823" y="77941"/>
                    </a:lnTo>
                    <a:lnTo>
                      <a:pt x="78823" y="79616"/>
                    </a:lnTo>
                    <a:lnTo>
                      <a:pt x="77588" y="80233"/>
                    </a:lnTo>
                    <a:lnTo>
                      <a:pt x="76442" y="83672"/>
                    </a:lnTo>
                    <a:lnTo>
                      <a:pt x="77059" y="85435"/>
                    </a:lnTo>
                    <a:lnTo>
                      <a:pt x="77324" y="87199"/>
                    </a:lnTo>
                    <a:lnTo>
                      <a:pt x="79969" y="89227"/>
                    </a:lnTo>
                    <a:lnTo>
                      <a:pt x="81644" y="90990"/>
                    </a:lnTo>
                    <a:lnTo>
                      <a:pt x="82878" y="90196"/>
                    </a:lnTo>
                    <a:lnTo>
                      <a:pt x="84377" y="90461"/>
                    </a:lnTo>
                    <a:lnTo>
                      <a:pt x="87551" y="90461"/>
                    </a:lnTo>
                    <a:lnTo>
                      <a:pt x="89315" y="92224"/>
                    </a:lnTo>
                    <a:lnTo>
                      <a:pt x="89844" y="93106"/>
                    </a:lnTo>
                    <a:lnTo>
                      <a:pt x="94252" y="93106"/>
                    </a:lnTo>
                    <a:lnTo>
                      <a:pt x="95398" y="94252"/>
                    </a:lnTo>
                    <a:lnTo>
                      <a:pt x="97690" y="94252"/>
                    </a:lnTo>
                    <a:lnTo>
                      <a:pt x="98043" y="93106"/>
                    </a:lnTo>
                    <a:lnTo>
                      <a:pt x="100953" y="93106"/>
                    </a:lnTo>
                    <a:lnTo>
                      <a:pt x="100953" y="94517"/>
                    </a:lnTo>
                    <a:lnTo>
                      <a:pt x="104744" y="94781"/>
                    </a:lnTo>
                    <a:lnTo>
                      <a:pt x="105626" y="96544"/>
                    </a:lnTo>
                    <a:lnTo>
                      <a:pt x="107389" y="94517"/>
                    </a:lnTo>
                    <a:lnTo>
                      <a:pt x="109946" y="94517"/>
                    </a:lnTo>
                    <a:lnTo>
                      <a:pt x="111709" y="92224"/>
                    </a:lnTo>
                    <a:lnTo>
                      <a:pt x="111709" y="89844"/>
                    </a:lnTo>
                    <a:lnTo>
                      <a:pt x="112944" y="88433"/>
                    </a:lnTo>
                    <a:lnTo>
                      <a:pt x="112591" y="86052"/>
                    </a:lnTo>
                    <a:lnTo>
                      <a:pt x="115501" y="85435"/>
                    </a:lnTo>
                    <a:lnTo>
                      <a:pt x="116382" y="84906"/>
                    </a:lnTo>
                    <a:lnTo>
                      <a:pt x="117264" y="86052"/>
                    </a:lnTo>
                    <a:lnTo>
                      <a:pt x="117528" y="90461"/>
                    </a:lnTo>
                    <a:lnTo>
                      <a:pt x="122554" y="94781"/>
                    </a:lnTo>
                    <a:lnTo>
                      <a:pt x="123083" y="97691"/>
                    </a:lnTo>
                    <a:lnTo>
                      <a:pt x="123965" y="98925"/>
                    </a:lnTo>
                    <a:lnTo>
                      <a:pt x="123965" y="100953"/>
                    </a:lnTo>
                    <a:lnTo>
                      <a:pt x="125464" y="102364"/>
                    </a:lnTo>
                    <a:lnTo>
                      <a:pt x="125993" y="103245"/>
                    </a:lnTo>
                    <a:lnTo>
                      <a:pt x="128373" y="103510"/>
                    </a:lnTo>
                    <a:lnTo>
                      <a:pt x="130137" y="103510"/>
                    </a:lnTo>
                    <a:lnTo>
                      <a:pt x="130137" y="101835"/>
                    </a:lnTo>
                    <a:lnTo>
                      <a:pt x="133046" y="103510"/>
                    </a:lnTo>
                    <a:lnTo>
                      <a:pt x="132782" y="105009"/>
                    </a:lnTo>
                    <a:lnTo>
                      <a:pt x="135955" y="105009"/>
                    </a:lnTo>
                    <a:lnTo>
                      <a:pt x="136573" y="106508"/>
                    </a:lnTo>
                    <a:lnTo>
                      <a:pt x="137366" y="105273"/>
                    </a:lnTo>
                    <a:lnTo>
                      <a:pt x="139747" y="106772"/>
                    </a:lnTo>
                    <a:lnTo>
                      <a:pt x="141510" y="106508"/>
                    </a:lnTo>
                    <a:lnTo>
                      <a:pt x="143538" y="108271"/>
                    </a:lnTo>
                    <a:lnTo>
                      <a:pt x="143538" y="110828"/>
                    </a:lnTo>
                    <a:lnTo>
                      <a:pt x="144067" y="111709"/>
                    </a:lnTo>
                    <a:lnTo>
                      <a:pt x="144949" y="113473"/>
                    </a:lnTo>
                    <a:lnTo>
                      <a:pt x="143538" y="114972"/>
                    </a:lnTo>
                    <a:lnTo>
                      <a:pt x="145302" y="116647"/>
                    </a:lnTo>
                    <a:lnTo>
                      <a:pt x="146448" y="116118"/>
                    </a:lnTo>
                    <a:lnTo>
                      <a:pt x="148476" y="118146"/>
                    </a:lnTo>
                    <a:lnTo>
                      <a:pt x="151120" y="119027"/>
                    </a:lnTo>
                    <a:lnTo>
                      <a:pt x="150856" y="120526"/>
                    </a:lnTo>
                    <a:lnTo>
                      <a:pt x="152267" y="122554"/>
                    </a:lnTo>
                    <a:lnTo>
                      <a:pt x="152531" y="125111"/>
                    </a:lnTo>
                    <a:lnTo>
                      <a:pt x="153766" y="129255"/>
                    </a:lnTo>
                    <a:lnTo>
                      <a:pt x="154912" y="130401"/>
                    </a:lnTo>
                    <a:lnTo>
                      <a:pt x="157204" y="130666"/>
                    </a:lnTo>
                    <a:lnTo>
                      <a:pt x="157204" y="131547"/>
                    </a:lnTo>
                    <a:lnTo>
                      <a:pt x="159320" y="131283"/>
                    </a:lnTo>
                    <a:lnTo>
                      <a:pt x="161613" y="129519"/>
                    </a:lnTo>
                    <a:lnTo>
                      <a:pt x="163640" y="128638"/>
                    </a:lnTo>
                    <a:lnTo>
                      <a:pt x="164787" y="128021"/>
                    </a:lnTo>
                    <a:lnTo>
                      <a:pt x="166285" y="126345"/>
                    </a:lnTo>
                    <a:lnTo>
                      <a:pt x="168049" y="125993"/>
                    </a:lnTo>
                    <a:lnTo>
                      <a:pt x="168313" y="126874"/>
                    </a:lnTo>
                    <a:lnTo>
                      <a:pt x="169460" y="127756"/>
                    </a:lnTo>
                    <a:lnTo>
                      <a:pt x="168931" y="129519"/>
                    </a:lnTo>
                    <a:lnTo>
                      <a:pt x="167432" y="130401"/>
                    </a:lnTo>
                    <a:lnTo>
                      <a:pt x="168578" y="132165"/>
                    </a:lnTo>
                    <a:lnTo>
                      <a:pt x="170077" y="131812"/>
                    </a:lnTo>
                    <a:lnTo>
                      <a:pt x="172369" y="131283"/>
                    </a:lnTo>
                    <a:lnTo>
                      <a:pt x="173251" y="99807"/>
                    </a:lnTo>
                    <a:lnTo>
                      <a:pt x="172105" y="99189"/>
                    </a:lnTo>
                    <a:lnTo>
                      <a:pt x="171223" y="100336"/>
                    </a:lnTo>
                    <a:lnTo>
                      <a:pt x="169812" y="102099"/>
                    </a:lnTo>
                    <a:lnTo>
                      <a:pt x="168931" y="100336"/>
                    </a:lnTo>
                    <a:lnTo>
                      <a:pt x="168313" y="99454"/>
                    </a:lnTo>
                    <a:lnTo>
                      <a:pt x="167432" y="100600"/>
                    </a:lnTo>
                    <a:lnTo>
                      <a:pt x="166021" y="101835"/>
                    </a:lnTo>
                    <a:lnTo>
                      <a:pt x="165139" y="102364"/>
                    </a:lnTo>
                    <a:lnTo>
                      <a:pt x="165668" y="105273"/>
                    </a:lnTo>
                    <a:lnTo>
                      <a:pt x="166903" y="107037"/>
                    </a:lnTo>
                    <a:lnTo>
                      <a:pt x="168049" y="107654"/>
                    </a:lnTo>
                    <a:lnTo>
                      <a:pt x="166903" y="109065"/>
                    </a:lnTo>
                    <a:lnTo>
                      <a:pt x="164787" y="109065"/>
                    </a:lnTo>
                    <a:lnTo>
                      <a:pt x="161877" y="107301"/>
                    </a:lnTo>
                    <a:lnTo>
                      <a:pt x="158968" y="107301"/>
                    </a:lnTo>
                    <a:lnTo>
                      <a:pt x="156411" y="107301"/>
                    </a:lnTo>
                    <a:lnTo>
                      <a:pt x="154912" y="103245"/>
                    </a:lnTo>
                    <a:lnTo>
                      <a:pt x="154030" y="100953"/>
                    </a:lnTo>
                    <a:lnTo>
                      <a:pt x="152531" y="98925"/>
                    </a:lnTo>
                    <a:lnTo>
                      <a:pt x="151120" y="97691"/>
                    </a:lnTo>
                    <a:lnTo>
                      <a:pt x="150239" y="96897"/>
                    </a:lnTo>
                    <a:lnTo>
                      <a:pt x="149357" y="95663"/>
                    </a:lnTo>
                    <a:lnTo>
                      <a:pt x="147065" y="94517"/>
                    </a:lnTo>
                    <a:lnTo>
                      <a:pt x="146712" y="93106"/>
                    </a:lnTo>
                    <a:lnTo>
                      <a:pt x="144420" y="91872"/>
                    </a:lnTo>
                    <a:lnTo>
                      <a:pt x="144067" y="90725"/>
                    </a:lnTo>
                    <a:lnTo>
                      <a:pt x="142392" y="82261"/>
                    </a:lnTo>
                    <a:lnTo>
                      <a:pt x="144067" y="79616"/>
                    </a:lnTo>
                    <a:lnTo>
                      <a:pt x="146448" y="66567"/>
                    </a:lnTo>
                    <a:lnTo>
                      <a:pt x="150856" y="62159"/>
                    </a:lnTo>
                    <a:lnTo>
                      <a:pt x="148211" y="58985"/>
                    </a:lnTo>
                    <a:lnTo>
                      <a:pt x="148476" y="53078"/>
                    </a:lnTo>
                    <a:lnTo>
                      <a:pt x="147329" y="51314"/>
                    </a:lnTo>
                    <a:lnTo>
                      <a:pt x="150856" y="40558"/>
                    </a:lnTo>
                    <a:lnTo>
                      <a:pt x="149622" y="36766"/>
                    </a:lnTo>
                    <a:lnTo>
                      <a:pt x="148211" y="35267"/>
                    </a:lnTo>
                    <a:lnTo>
                      <a:pt x="147329" y="32711"/>
                    </a:lnTo>
                    <a:lnTo>
                      <a:pt x="146183" y="29448"/>
                    </a:lnTo>
                    <a:lnTo>
                      <a:pt x="145831" y="26274"/>
                    </a:lnTo>
                    <a:lnTo>
                      <a:pt x="148740" y="23629"/>
                    </a:lnTo>
                    <a:lnTo>
                      <a:pt x="154912" y="17810"/>
                    </a:lnTo>
                    <a:lnTo>
                      <a:pt x="156675" y="14019"/>
                    </a:lnTo>
                    <a:lnTo>
                      <a:pt x="155793" y="9346"/>
                    </a:lnTo>
                    <a:lnTo>
                      <a:pt x="196615" y="0"/>
                    </a:lnTo>
                    <a:lnTo>
                      <a:pt x="198908" y="5907"/>
                    </a:lnTo>
                    <a:lnTo>
                      <a:pt x="201553" y="9963"/>
                    </a:lnTo>
                    <a:lnTo>
                      <a:pt x="203934" y="11991"/>
                    </a:lnTo>
                    <a:lnTo>
                      <a:pt x="206226" y="11991"/>
                    </a:lnTo>
                    <a:lnTo>
                      <a:pt x="210017" y="11991"/>
                    </a:lnTo>
                    <a:lnTo>
                      <a:pt x="213808" y="13755"/>
                    </a:lnTo>
                    <a:lnTo>
                      <a:pt x="213808" y="16664"/>
                    </a:lnTo>
                    <a:lnTo>
                      <a:pt x="217071" y="19309"/>
                    </a:lnTo>
                    <a:lnTo>
                      <a:pt x="218746" y="18075"/>
                    </a:lnTo>
                    <a:lnTo>
                      <a:pt x="222008" y="19309"/>
                    </a:lnTo>
                    <a:lnTo>
                      <a:pt x="221743" y="21866"/>
                    </a:lnTo>
                    <a:lnTo>
                      <a:pt x="222890" y="22748"/>
                    </a:lnTo>
                    <a:lnTo>
                      <a:pt x="224036" y="21866"/>
                    </a:lnTo>
                    <a:lnTo>
                      <a:pt x="229326" y="23629"/>
                    </a:lnTo>
                    <a:lnTo>
                      <a:pt x="234263" y="23629"/>
                    </a:lnTo>
                    <a:lnTo>
                      <a:pt x="236291" y="26010"/>
                    </a:lnTo>
                    <a:lnTo>
                      <a:pt x="239465" y="26274"/>
                    </a:lnTo>
                    <a:lnTo>
                      <a:pt x="240083" y="277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3" name="Freihandform: Form 1782">
                <a:extLst>
                  <a:ext uri="{FF2B5EF4-FFF2-40B4-BE49-F238E27FC236}">
                    <a16:creationId xmlns:a16="http://schemas.microsoft.com/office/drawing/2014/main" id="{C2DF758B-8C17-1E7A-E2F7-11E7964A6E5F}"/>
                  </a:ext>
                </a:extLst>
              </p:cNvPr>
              <p:cNvSpPr/>
              <p:nvPr/>
            </p:nvSpPr>
            <p:spPr>
              <a:xfrm>
                <a:off x="4418017" y="4701004"/>
                <a:ext cx="351968" cy="317229"/>
              </a:xfrm>
              <a:custGeom>
                <a:avLst/>
                <a:gdLst>
                  <a:gd name="connsiteX0" fmla="*/ 243962 w 351968"/>
                  <a:gd name="connsiteY0" fmla="*/ 213985 h 317229"/>
                  <a:gd name="connsiteX1" fmla="*/ 243080 w 351968"/>
                  <a:gd name="connsiteY1" fmla="*/ 212839 h 317229"/>
                  <a:gd name="connsiteX2" fmla="*/ 236379 w 351968"/>
                  <a:gd name="connsiteY2" fmla="*/ 210546 h 317229"/>
                  <a:gd name="connsiteX3" fmla="*/ 231442 w 351968"/>
                  <a:gd name="connsiteY3" fmla="*/ 202964 h 317229"/>
                  <a:gd name="connsiteX4" fmla="*/ 229679 w 351968"/>
                  <a:gd name="connsiteY4" fmla="*/ 202964 h 317229"/>
                  <a:gd name="connsiteX5" fmla="*/ 229943 w 351968"/>
                  <a:gd name="connsiteY5" fmla="*/ 199173 h 317229"/>
                  <a:gd name="connsiteX6" fmla="*/ 228444 w 351968"/>
                  <a:gd name="connsiteY6" fmla="*/ 199437 h 317229"/>
                  <a:gd name="connsiteX7" fmla="*/ 222890 w 351968"/>
                  <a:gd name="connsiteY7" fmla="*/ 189827 h 317229"/>
                  <a:gd name="connsiteX8" fmla="*/ 222625 w 351968"/>
                  <a:gd name="connsiteY8" fmla="*/ 188063 h 317229"/>
                  <a:gd name="connsiteX9" fmla="*/ 224124 w 351968"/>
                  <a:gd name="connsiteY9" fmla="*/ 186653 h 317229"/>
                  <a:gd name="connsiteX10" fmla="*/ 231971 w 351968"/>
                  <a:gd name="connsiteY10" fmla="*/ 181980 h 317229"/>
                  <a:gd name="connsiteX11" fmla="*/ 231354 w 351968"/>
                  <a:gd name="connsiteY11" fmla="*/ 180216 h 317229"/>
                  <a:gd name="connsiteX12" fmla="*/ 232853 w 351968"/>
                  <a:gd name="connsiteY12" fmla="*/ 179952 h 317229"/>
                  <a:gd name="connsiteX13" fmla="*/ 233999 w 351968"/>
                  <a:gd name="connsiteY13" fmla="*/ 179070 h 317229"/>
                  <a:gd name="connsiteX14" fmla="*/ 234263 w 351968"/>
                  <a:gd name="connsiteY14" fmla="*/ 178188 h 317229"/>
                  <a:gd name="connsiteX15" fmla="*/ 234263 w 351968"/>
                  <a:gd name="connsiteY15" fmla="*/ 177307 h 317229"/>
                  <a:gd name="connsiteX16" fmla="*/ 236291 w 351968"/>
                  <a:gd name="connsiteY16" fmla="*/ 175279 h 317229"/>
                  <a:gd name="connsiteX17" fmla="*/ 237173 w 351968"/>
                  <a:gd name="connsiteY17" fmla="*/ 173516 h 317229"/>
                  <a:gd name="connsiteX18" fmla="*/ 236908 w 351968"/>
                  <a:gd name="connsiteY18" fmla="*/ 172898 h 317229"/>
                  <a:gd name="connsiteX19" fmla="*/ 237526 w 351968"/>
                  <a:gd name="connsiteY19" fmla="*/ 172634 h 317229"/>
                  <a:gd name="connsiteX20" fmla="*/ 238143 w 351968"/>
                  <a:gd name="connsiteY20" fmla="*/ 172634 h 317229"/>
                  <a:gd name="connsiteX21" fmla="*/ 238143 w 351968"/>
                  <a:gd name="connsiteY21" fmla="*/ 171752 h 317229"/>
                  <a:gd name="connsiteX22" fmla="*/ 239025 w 351968"/>
                  <a:gd name="connsiteY22" fmla="*/ 171752 h 317229"/>
                  <a:gd name="connsiteX23" fmla="*/ 239025 w 351968"/>
                  <a:gd name="connsiteY23" fmla="*/ 170606 h 317229"/>
                  <a:gd name="connsiteX24" fmla="*/ 239289 w 351968"/>
                  <a:gd name="connsiteY24" fmla="*/ 170341 h 317229"/>
                  <a:gd name="connsiteX25" fmla="*/ 239554 w 351968"/>
                  <a:gd name="connsiteY25" fmla="*/ 169460 h 317229"/>
                  <a:gd name="connsiteX26" fmla="*/ 242199 w 351968"/>
                  <a:gd name="connsiteY26" fmla="*/ 169460 h 317229"/>
                  <a:gd name="connsiteX27" fmla="*/ 243080 w 351968"/>
                  <a:gd name="connsiteY27" fmla="*/ 168049 h 317229"/>
                  <a:gd name="connsiteX28" fmla="*/ 243698 w 351968"/>
                  <a:gd name="connsiteY28" fmla="*/ 167784 h 317229"/>
                  <a:gd name="connsiteX29" fmla="*/ 244315 w 351968"/>
                  <a:gd name="connsiteY29" fmla="*/ 168402 h 317229"/>
                  <a:gd name="connsiteX30" fmla="*/ 245461 w 351968"/>
                  <a:gd name="connsiteY30" fmla="*/ 168402 h 317229"/>
                  <a:gd name="connsiteX31" fmla="*/ 245461 w 351968"/>
                  <a:gd name="connsiteY31" fmla="*/ 167784 h 317229"/>
                  <a:gd name="connsiteX32" fmla="*/ 246871 w 351968"/>
                  <a:gd name="connsiteY32" fmla="*/ 167432 h 317229"/>
                  <a:gd name="connsiteX33" fmla="*/ 247753 w 351968"/>
                  <a:gd name="connsiteY33" fmla="*/ 165139 h 317229"/>
                  <a:gd name="connsiteX34" fmla="*/ 249252 w 351968"/>
                  <a:gd name="connsiteY34" fmla="*/ 164258 h 317229"/>
                  <a:gd name="connsiteX35" fmla="*/ 249869 w 351968"/>
                  <a:gd name="connsiteY35" fmla="*/ 164258 h 317229"/>
                  <a:gd name="connsiteX36" fmla="*/ 253396 w 351968"/>
                  <a:gd name="connsiteY36" fmla="*/ 164258 h 317229"/>
                  <a:gd name="connsiteX37" fmla="*/ 254278 w 351968"/>
                  <a:gd name="connsiteY37" fmla="*/ 162495 h 317229"/>
                  <a:gd name="connsiteX38" fmla="*/ 257805 w 351968"/>
                  <a:gd name="connsiteY38" fmla="*/ 162230 h 317229"/>
                  <a:gd name="connsiteX39" fmla="*/ 259832 w 351968"/>
                  <a:gd name="connsiteY39" fmla="*/ 161084 h 317229"/>
                  <a:gd name="connsiteX40" fmla="*/ 260714 w 351968"/>
                  <a:gd name="connsiteY40" fmla="*/ 162230 h 317229"/>
                  <a:gd name="connsiteX41" fmla="*/ 262477 w 351968"/>
                  <a:gd name="connsiteY41" fmla="*/ 163640 h 317229"/>
                  <a:gd name="connsiteX42" fmla="*/ 263888 w 351968"/>
                  <a:gd name="connsiteY42" fmla="*/ 165139 h 317229"/>
                  <a:gd name="connsiteX43" fmla="*/ 265387 w 351968"/>
                  <a:gd name="connsiteY43" fmla="*/ 168666 h 317229"/>
                  <a:gd name="connsiteX44" fmla="*/ 266798 w 351968"/>
                  <a:gd name="connsiteY44" fmla="*/ 169812 h 317229"/>
                  <a:gd name="connsiteX45" fmla="*/ 267679 w 351968"/>
                  <a:gd name="connsiteY45" fmla="*/ 170430 h 317229"/>
                  <a:gd name="connsiteX46" fmla="*/ 269707 w 351968"/>
                  <a:gd name="connsiteY46" fmla="*/ 171311 h 317229"/>
                  <a:gd name="connsiteX47" fmla="*/ 269972 w 351968"/>
                  <a:gd name="connsiteY47" fmla="*/ 172193 h 317229"/>
                  <a:gd name="connsiteX48" fmla="*/ 271118 w 351968"/>
                  <a:gd name="connsiteY48" fmla="*/ 173075 h 317229"/>
                  <a:gd name="connsiteX49" fmla="*/ 272881 w 351968"/>
                  <a:gd name="connsiteY49" fmla="*/ 173692 h 317229"/>
                  <a:gd name="connsiteX50" fmla="*/ 272617 w 351968"/>
                  <a:gd name="connsiteY50" fmla="*/ 175455 h 317229"/>
                  <a:gd name="connsiteX51" fmla="*/ 273763 w 351968"/>
                  <a:gd name="connsiteY51" fmla="*/ 176072 h 317229"/>
                  <a:gd name="connsiteX52" fmla="*/ 274909 w 351968"/>
                  <a:gd name="connsiteY52" fmla="*/ 180745 h 317229"/>
                  <a:gd name="connsiteX53" fmla="*/ 274644 w 351968"/>
                  <a:gd name="connsiteY53" fmla="*/ 181362 h 317229"/>
                  <a:gd name="connsiteX54" fmla="*/ 274380 w 351968"/>
                  <a:gd name="connsiteY54" fmla="*/ 182861 h 317229"/>
                  <a:gd name="connsiteX55" fmla="*/ 272970 w 351968"/>
                  <a:gd name="connsiteY55" fmla="*/ 183478 h 317229"/>
                  <a:gd name="connsiteX56" fmla="*/ 271823 w 351968"/>
                  <a:gd name="connsiteY56" fmla="*/ 184008 h 317229"/>
                  <a:gd name="connsiteX57" fmla="*/ 271559 w 351968"/>
                  <a:gd name="connsiteY57" fmla="*/ 185506 h 317229"/>
                  <a:gd name="connsiteX58" fmla="*/ 271559 w 351968"/>
                  <a:gd name="connsiteY58" fmla="*/ 186124 h 317229"/>
                  <a:gd name="connsiteX59" fmla="*/ 271559 w 351968"/>
                  <a:gd name="connsiteY59" fmla="*/ 188416 h 317229"/>
                  <a:gd name="connsiteX60" fmla="*/ 268914 w 351968"/>
                  <a:gd name="connsiteY60" fmla="*/ 188152 h 317229"/>
                  <a:gd name="connsiteX61" fmla="*/ 268032 w 351968"/>
                  <a:gd name="connsiteY61" fmla="*/ 188769 h 317229"/>
                  <a:gd name="connsiteX62" fmla="*/ 267767 w 351968"/>
                  <a:gd name="connsiteY62" fmla="*/ 191149 h 317229"/>
                  <a:gd name="connsiteX63" fmla="*/ 267150 w 351968"/>
                  <a:gd name="connsiteY63" fmla="*/ 192912 h 317229"/>
                  <a:gd name="connsiteX64" fmla="*/ 268032 w 351968"/>
                  <a:gd name="connsiteY64" fmla="*/ 193441 h 317229"/>
                  <a:gd name="connsiteX65" fmla="*/ 267767 w 351968"/>
                  <a:gd name="connsiteY65" fmla="*/ 194588 h 317229"/>
                  <a:gd name="connsiteX66" fmla="*/ 267150 w 351968"/>
                  <a:gd name="connsiteY66" fmla="*/ 195205 h 317229"/>
                  <a:gd name="connsiteX67" fmla="*/ 265740 w 351968"/>
                  <a:gd name="connsiteY67" fmla="*/ 196968 h 317229"/>
                  <a:gd name="connsiteX68" fmla="*/ 261331 w 351968"/>
                  <a:gd name="connsiteY68" fmla="*/ 198996 h 317229"/>
                  <a:gd name="connsiteX69" fmla="*/ 258422 w 351968"/>
                  <a:gd name="connsiteY69" fmla="*/ 199349 h 317229"/>
                  <a:gd name="connsiteX70" fmla="*/ 257011 w 351968"/>
                  <a:gd name="connsiteY70" fmla="*/ 200231 h 317229"/>
                  <a:gd name="connsiteX71" fmla="*/ 254719 w 351968"/>
                  <a:gd name="connsiteY71" fmla="*/ 199349 h 317229"/>
                  <a:gd name="connsiteX72" fmla="*/ 253572 w 351968"/>
                  <a:gd name="connsiteY72" fmla="*/ 200760 h 317229"/>
                  <a:gd name="connsiteX73" fmla="*/ 252073 w 351968"/>
                  <a:gd name="connsiteY73" fmla="*/ 200142 h 317229"/>
                  <a:gd name="connsiteX74" fmla="*/ 251544 w 351968"/>
                  <a:gd name="connsiteY74" fmla="*/ 200760 h 317229"/>
                  <a:gd name="connsiteX75" fmla="*/ 249781 w 351968"/>
                  <a:gd name="connsiteY75" fmla="*/ 202258 h 317229"/>
                  <a:gd name="connsiteX76" fmla="*/ 248282 w 351968"/>
                  <a:gd name="connsiteY76" fmla="*/ 201377 h 317229"/>
                  <a:gd name="connsiteX77" fmla="*/ 247665 w 351968"/>
                  <a:gd name="connsiteY77" fmla="*/ 202258 h 317229"/>
                  <a:gd name="connsiteX78" fmla="*/ 248547 w 351968"/>
                  <a:gd name="connsiteY78" fmla="*/ 204551 h 317229"/>
                  <a:gd name="connsiteX79" fmla="*/ 247929 w 351968"/>
                  <a:gd name="connsiteY79" fmla="*/ 206314 h 317229"/>
                  <a:gd name="connsiteX80" fmla="*/ 245637 w 351968"/>
                  <a:gd name="connsiteY80" fmla="*/ 208077 h 317229"/>
                  <a:gd name="connsiteX81" fmla="*/ 246254 w 351968"/>
                  <a:gd name="connsiteY81" fmla="*/ 209224 h 317229"/>
                  <a:gd name="connsiteX82" fmla="*/ 245373 w 351968"/>
                  <a:gd name="connsiteY82" fmla="*/ 210634 h 317229"/>
                  <a:gd name="connsiteX83" fmla="*/ 244227 w 351968"/>
                  <a:gd name="connsiteY83" fmla="*/ 211516 h 317229"/>
                  <a:gd name="connsiteX84" fmla="*/ 244227 w 351968"/>
                  <a:gd name="connsiteY84" fmla="*/ 213985 h 317229"/>
                  <a:gd name="connsiteX85" fmla="*/ 203934 w 351968"/>
                  <a:gd name="connsiteY85" fmla="*/ 290427 h 317229"/>
                  <a:gd name="connsiteX86" fmla="*/ 201289 w 351968"/>
                  <a:gd name="connsiteY86" fmla="*/ 290162 h 317229"/>
                  <a:gd name="connsiteX87" fmla="*/ 199878 w 351968"/>
                  <a:gd name="connsiteY87" fmla="*/ 290427 h 317229"/>
                  <a:gd name="connsiteX88" fmla="*/ 198732 w 351968"/>
                  <a:gd name="connsiteY88" fmla="*/ 290427 h 317229"/>
                  <a:gd name="connsiteX89" fmla="*/ 195558 w 351968"/>
                  <a:gd name="connsiteY89" fmla="*/ 288928 h 317229"/>
                  <a:gd name="connsiteX90" fmla="*/ 192912 w 351968"/>
                  <a:gd name="connsiteY90" fmla="*/ 288928 h 317229"/>
                  <a:gd name="connsiteX91" fmla="*/ 190884 w 351968"/>
                  <a:gd name="connsiteY91" fmla="*/ 289545 h 317229"/>
                  <a:gd name="connsiteX92" fmla="*/ 189739 w 351968"/>
                  <a:gd name="connsiteY92" fmla="*/ 289810 h 317229"/>
                  <a:gd name="connsiteX93" fmla="*/ 187711 w 351968"/>
                  <a:gd name="connsiteY93" fmla="*/ 290427 h 317229"/>
                  <a:gd name="connsiteX94" fmla="*/ 186829 w 351968"/>
                  <a:gd name="connsiteY94" fmla="*/ 291044 h 317229"/>
                  <a:gd name="connsiteX95" fmla="*/ 185947 w 351968"/>
                  <a:gd name="connsiteY95" fmla="*/ 292543 h 317229"/>
                  <a:gd name="connsiteX96" fmla="*/ 185330 w 351968"/>
                  <a:gd name="connsiteY96" fmla="*/ 294571 h 317229"/>
                  <a:gd name="connsiteX97" fmla="*/ 186212 w 351968"/>
                  <a:gd name="connsiteY97" fmla="*/ 296334 h 317229"/>
                  <a:gd name="connsiteX98" fmla="*/ 186829 w 351968"/>
                  <a:gd name="connsiteY98" fmla="*/ 297480 h 317229"/>
                  <a:gd name="connsiteX99" fmla="*/ 186212 w 351968"/>
                  <a:gd name="connsiteY99" fmla="*/ 298097 h 317229"/>
                  <a:gd name="connsiteX100" fmla="*/ 185595 w 351968"/>
                  <a:gd name="connsiteY100" fmla="*/ 297745 h 317229"/>
                  <a:gd name="connsiteX101" fmla="*/ 183567 w 351968"/>
                  <a:gd name="connsiteY101" fmla="*/ 297745 h 317229"/>
                  <a:gd name="connsiteX102" fmla="*/ 182068 w 351968"/>
                  <a:gd name="connsiteY102" fmla="*/ 297480 h 317229"/>
                  <a:gd name="connsiteX103" fmla="*/ 180304 w 351968"/>
                  <a:gd name="connsiteY103" fmla="*/ 297480 h 317229"/>
                  <a:gd name="connsiteX104" fmla="*/ 177130 w 351968"/>
                  <a:gd name="connsiteY104" fmla="*/ 295717 h 317229"/>
                  <a:gd name="connsiteX105" fmla="*/ 172722 w 351968"/>
                  <a:gd name="connsiteY105" fmla="*/ 295717 h 317229"/>
                  <a:gd name="connsiteX106" fmla="*/ 170694 w 351968"/>
                  <a:gd name="connsiteY106" fmla="*/ 296246 h 317229"/>
                  <a:gd name="connsiteX107" fmla="*/ 169812 w 351968"/>
                  <a:gd name="connsiteY107" fmla="*/ 296863 h 317229"/>
                  <a:gd name="connsiteX108" fmla="*/ 170077 w 351968"/>
                  <a:gd name="connsiteY108" fmla="*/ 298009 h 317229"/>
                  <a:gd name="connsiteX109" fmla="*/ 169812 w 351968"/>
                  <a:gd name="connsiteY109" fmla="*/ 298538 h 317229"/>
                  <a:gd name="connsiteX110" fmla="*/ 169548 w 351968"/>
                  <a:gd name="connsiteY110" fmla="*/ 299420 h 317229"/>
                  <a:gd name="connsiteX111" fmla="*/ 169019 w 351968"/>
                  <a:gd name="connsiteY111" fmla="*/ 300301 h 317229"/>
                  <a:gd name="connsiteX112" fmla="*/ 168754 w 351968"/>
                  <a:gd name="connsiteY112" fmla="*/ 300919 h 317229"/>
                  <a:gd name="connsiteX113" fmla="*/ 168490 w 351968"/>
                  <a:gd name="connsiteY113" fmla="*/ 301448 h 317229"/>
                  <a:gd name="connsiteX114" fmla="*/ 167608 w 351968"/>
                  <a:gd name="connsiteY114" fmla="*/ 302065 h 317229"/>
                  <a:gd name="connsiteX115" fmla="*/ 166109 w 351968"/>
                  <a:gd name="connsiteY115" fmla="*/ 301448 h 317229"/>
                  <a:gd name="connsiteX116" fmla="*/ 164963 w 351968"/>
                  <a:gd name="connsiteY116" fmla="*/ 300919 h 317229"/>
                  <a:gd name="connsiteX117" fmla="*/ 163817 w 351968"/>
                  <a:gd name="connsiteY117" fmla="*/ 300919 h 317229"/>
                  <a:gd name="connsiteX118" fmla="*/ 161789 w 351968"/>
                  <a:gd name="connsiteY118" fmla="*/ 300654 h 317229"/>
                  <a:gd name="connsiteX119" fmla="*/ 159144 w 351968"/>
                  <a:gd name="connsiteY119" fmla="*/ 298891 h 317229"/>
                  <a:gd name="connsiteX120" fmla="*/ 157116 w 351968"/>
                  <a:gd name="connsiteY120" fmla="*/ 298891 h 317229"/>
                  <a:gd name="connsiteX121" fmla="*/ 154824 w 351968"/>
                  <a:gd name="connsiteY121" fmla="*/ 297745 h 317229"/>
                  <a:gd name="connsiteX122" fmla="*/ 150768 w 351968"/>
                  <a:gd name="connsiteY122" fmla="*/ 297480 h 317229"/>
                  <a:gd name="connsiteX123" fmla="*/ 144949 w 351968"/>
                  <a:gd name="connsiteY123" fmla="*/ 296334 h 317229"/>
                  <a:gd name="connsiteX124" fmla="*/ 142039 w 351968"/>
                  <a:gd name="connsiteY124" fmla="*/ 296334 h 317229"/>
                  <a:gd name="connsiteX125" fmla="*/ 139394 w 351968"/>
                  <a:gd name="connsiteY125" fmla="*/ 297480 h 317229"/>
                  <a:gd name="connsiteX126" fmla="*/ 139130 w 351968"/>
                  <a:gd name="connsiteY126" fmla="*/ 297745 h 317229"/>
                  <a:gd name="connsiteX127" fmla="*/ 138513 w 351968"/>
                  <a:gd name="connsiteY127" fmla="*/ 298097 h 317229"/>
                  <a:gd name="connsiteX128" fmla="*/ 138865 w 351968"/>
                  <a:gd name="connsiteY128" fmla="*/ 297480 h 317229"/>
                  <a:gd name="connsiteX129" fmla="*/ 138513 w 351968"/>
                  <a:gd name="connsiteY129" fmla="*/ 297480 h 317229"/>
                  <a:gd name="connsiteX130" fmla="*/ 138248 w 351968"/>
                  <a:gd name="connsiteY130" fmla="*/ 297745 h 317229"/>
                  <a:gd name="connsiteX131" fmla="*/ 138248 w 351968"/>
                  <a:gd name="connsiteY131" fmla="*/ 298097 h 317229"/>
                  <a:gd name="connsiteX132" fmla="*/ 138865 w 351968"/>
                  <a:gd name="connsiteY132" fmla="*/ 298979 h 317229"/>
                  <a:gd name="connsiteX133" fmla="*/ 139130 w 351968"/>
                  <a:gd name="connsiteY133" fmla="*/ 299244 h 317229"/>
                  <a:gd name="connsiteX134" fmla="*/ 138865 w 351968"/>
                  <a:gd name="connsiteY134" fmla="*/ 299508 h 317229"/>
                  <a:gd name="connsiteX135" fmla="*/ 137983 w 351968"/>
                  <a:gd name="connsiteY135" fmla="*/ 299508 h 317229"/>
                  <a:gd name="connsiteX136" fmla="*/ 134192 w 351968"/>
                  <a:gd name="connsiteY136" fmla="*/ 298627 h 317229"/>
                  <a:gd name="connsiteX137" fmla="*/ 132165 w 351968"/>
                  <a:gd name="connsiteY137" fmla="*/ 298097 h 317229"/>
                  <a:gd name="connsiteX138" fmla="*/ 131900 w 351968"/>
                  <a:gd name="connsiteY138" fmla="*/ 297745 h 317229"/>
                  <a:gd name="connsiteX139" fmla="*/ 131018 w 351968"/>
                  <a:gd name="connsiteY139" fmla="*/ 297480 h 317229"/>
                  <a:gd name="connsiteX140" fmla="*/ 131018 w 351968"/>
                  <a:gd name="connsiteY140" fmla="*/ 298362 h 317229"/>
                  <a:gd name="connsiteX141" fmla="*/ 130666 w 351968"/>
                  <a:gd name="connsiteY141" fmla="*/ 298627 h 317229"/>
                  <a:gd name="connsiteX142" fmla="*/ 130048 w 351968"/>
                  <a:gd name="connsiteY142" fmla="*/ 298627 h 317229"/>
                  <a:gd name="connsiteX143" fmla="*/ 129519 w 351968"/>
                  <a:gd name="connsiteY143" fmla="*/ 298362 h 317229"/>
                  <a:gd name="connsiteX144" fmla="*/ 125993 w 351968"/>
                  <a:gd name="connsiteY144" fmla="*/ 297480 h 317229"/>
                  <a:gd name="connsiteX145" fmla="*/ 121584 w 351968"/>
                  <a:gd name="connsiteY145" fmla="*/ 297216 h 317229"/>
                  <a:gd name="connsiteX146" fmla="*/ 117793 w 351968"/>
                  <a:gd name="connsiteY146" fmla="*/ 297745 h 317229"/>
                  <a:gd name="connsiteX147" fmla="*/ 116030 w 351968"/>
                  <a:gd name="connsiteY147" fmla="*/ 297745 h 317229"/>
                  <a:gd name="connsiteX148" fmla="*/ 113120 w 351968"/>
                  <a:gd name="connsiteY148" fmla="*/ 298891 h 317229"/>
                  <a:gd name="connsiteX149" fmla="*/ 111621 w 351968"/>
                  <a:gd name="connsiteY149" fmla="*/ 300301 h 317229"/>
                  <a:gd name="connsiteX150" fmla="*/ 109594 w 351968"/>
                  <a:gd name="connsiteY150" fmla="*/ 301183 h 317229"/>
                  <a:gd name="connsiteX151" fmla="*/ 108447 w 351968"/>
                  <a:gd name="connsiteY151" fmla="*/ 302594 h 317229"/>
                  <a:gd name="connsiteX152" fmla="*/ 107301 w 351968"/>
                  <a:gd name="connsiteY152" fmla="*/ 303740 h 317229"/>
                  <a:gd name="connsiteX153" fmla="*/ 107037 w 351968"/>
                  <a:gd name="connsiteY153" fmla="*/ 304622 h 317229"/>
                  <a:gd name="connsiteX154" fmla="*/ 106772 w 351968"/>
                  <a:gd name="connsiteY154" fmla="*/ 305504 h 317229"/>
                  <a:gd name="connsiteX155" fmla="*/ 105009 w 351968"/>
                  <a:gd name="connsiteY155" fmla="*/ 306385 h 317229"/>
                  <a:gd name="connsiteX156" fmla="*/ 102628 w 351968"/>
                  <a:gd name="connsiteY156" fmla="*/ 306650 h 317229"/>
                  <a:gd name="connsiteX157" fmla="*/ 100865 w 351968"/>
                  <a:gd name="connsiteY157" fmla="*/ 306033 h 317229"/>
                  <a:gd name="connsiteX158" fmla="*/ 99983 w 351968"/>
                  <a:gd name="connsiteY158" fmla="*/ 305680 h 317229"/>
                  <a:gd name="connsiteX159" fmla="*/ 99101 w 351968"/>
                  <a:gd name="connsiteY159" fmla="*/ 305415 h 317229"/>
                  <a:gd name="connsiteX160" fmla="*/ 98220 w 351968"/>
                  <a:gd name="connsiteY160" fmla="*/ 305680 h 317229"/>
                  <a:gd name="connsiteX161" fmla="*/ 96721 w 351968"/>
                  <a:gd name="connsiteY161" fmla="*/ 306297 h 317229"/>
                  <a:gd name="connsiteX162" fmla="*/ 96721 w 351968"/>
                  <a:gd name="connsiteY162" fmla="*/ 306562 h 317229"/>
                  <a:gd name="connsiteX163" fmla="*/ 96456 w 351968"/>
                  <a:gd name="connsiteY163" fmla="*/ 306826 h 317229"/>
                  <a:gd name="connsiteX164" fmla="*/ 93811 w 351968"/>
                  <a:gd name="connsiteY164" fmla="*/ 307443 h 317229"/>
                  <a:gd name="connsiteX165" fmla="*/ 92312 w 351968"/>
                  <a:gd name="connsiteY165" fmla="*/ 307179 h 317229"/>
                  <a:gd name="connsiteX166" fmla="*/ 90020 w 351968"/>
                  <a:gd name="connsiteY166" fmla="*/ 306033 h 317229"/>
                  <a:gd name="connsiteX167" fmla="*/ 88257 w 351968"/>
                  <a:gd name="connsiteY167" fmla="*/ 305680 h 317229"/>
                  <a:gd name="connsiteX168" fmla="*/ 85964 w 351968"/>
                  <a:gd name="connsiteY168" fmla="*/ 306033 h 317229"/>
                  <a:gd name="connsiteX169" fmla="*/ 84818 w 351968"/>
                  <a:gd name="connsiteY169" fmla="*/ 306650 h 317229"/>
                  <a:gd name="connsiteX170" fmla="*/ 84201 w 351968"/>
                  <a:gd name="connsiteY170" fmla="*/ 307531 h 317229"/>
                  <a:gd name="connsiteX171" fmla="*/ 83672 w 351968"/>
                  <a:gd name="connsiteY171" fmla="*/ 308149 h 317229"/>
                  <a:gd name="connsiteX172" fmla="*/ 81380 w 351968"/>
                  <a:gd name="connsiteY172" fmla="*/ 307884 h 317229"/>
                  <a:gd name="connsiteX173" fmla="*/ 77853 w 351968"/>
                  <a:gd name="connsiteY173" fmla="*/ 308149 h 317229"/>
                  <a:gd name="connsiteX174" fmla="*/ 76707 w 351968"/>
                  <a:gd name="connsiteY174" fmla="*/ 308766 h 317229"/>
                  <a:gd name="connsiteX175" fmla="*/ 75560 w 351968"/>
                  <a:gd name="connsiteY175" fmla="*/ 310177 h 317229"/>
                  <a:gd name="connsiteX176" fmla="*/ 73268 w 351968"/>
                  <a:gd name="connsiteY176" fmla="*/ 312204 h 317229"/>
                  <a:gd name="connsiteX177" fmla="*/ 71769 w 351968"/>
                  <a:gd name="connsiteY177" fmla="*/ 313086 h 317229"/>
                  <a:gd name="connsiteX178" fmla="*/ 70358 w 351968"/>
                  <a:gd name="connsiteY178" fmla="*/ 313968 h 317229"/>
                  <a:gd name="connsiteX179" fmla="*/ 68595 w 351968"/>
                  <a:gd name="connsiteY179" fmla="*/ 314849 h 317229"/>
                  <a:gd name="connsiteX180" fmla="*/ 67978 w 351968"/>
                  <a:gd name="connsiteY180" fmla="*/ 315466 h 317229"/>
                  <a:gd name="connsiteX181" fmla="*/ 67361 w 351968"/>
                  <a:gd name="connsiteY181" fmla="*/ 316348 h 317229"/>
                  <a:gd name="connsiteX182" fmla="*/ 66744 w 351968"/>
                  <a:gd name="connsiteY182" fmla="*/ 316965 h 317229"/>
                  <a:gd name="connsiteX183" fmla="*/ 66126 w 351968"/>
                  <a:gd name="connsiteY183" fmla="*/ 317230 h 317229"/>
                  <a:gd name="connsiteX184" fmla="*/ 64980 w 351968"/>
                  <a:gd name="connsiteY184" fmla="*/ 316613 h 317229"/>
                  <a:gd name="connsiteX185" fmla="*/ 64275 w 351968"/>
                  <a:gd name="connsiteY185" fmla="*/ 316084 h 317229"/>
                  <a:gd name="connsiteX186" fmla="*/ 63393 w 351968"/>
                  <a:gd name="connsiteY186" fmla="*/ 315555 h 317229"/>
                  <a:gd name="connsiteX187" fmla="*/ 60219 w 351968"/>
                  <a:gd name="connsiteY187" fmla="*/ 315819 h 317229"/>
                  <a:gd name="connsiteX188" fmla="*/ 59690 w 351968"/>
                  <a:gd name="connsiteY188" fmla="*/ 315819 h 317229"/>
                  <a:gd name="connsiteX189" fmla="*/ 59690 w 351968"/>
                  <a:gd name="connsiteY189" fmla="*/ 316436 h 317229"/>
                  <a:gd name="connsiteX190" fmla="*/ 59073 w 351968"/>
                  <a:gd name="connsiteY190" fmla="*/ 316084 h 317229"/>
                  <a:gd name="connsiteX191" fmla="*/ 57045 w 351968"/>
                  <a:gd name="connsiteY191" fmla="*/ 314585 h 317229"/>
                  <a:gd name="connsiteX192" fmla="*/ 56428 w 351968"/>
                  <a:gd name="connsiteY192" fmla="*/ 313703 h 317229"/>
                  <a:gd name="connsiteX193" fmla="*/ 55546 w 351968"/>
                  <a:gd name="connsiteY193" fmla="*/ 313086 h 317229"/>
                  <a:gd name="connsiteX194" fmla="*/ 54665 w 351968"/>
                  <a:gd name="connsiteY194" fmla="*/ 312469 h 317229"/>
                  <a:gd name="connsiteX195" fmla="*/ 53783 w 351968"/>
                  <a:gd name="connsiteY195" fmla="*/ 311852 h 317229"/>
                  <a:gd name="connsiteX196" fmla="*/ 52637 w 351968"/>
                  <a:gd name="connsiteY196" fmla="*/ 311587 h 317229"/>
                  <a:gd name="connsiteX197" fmla="*/ 53254 w 351968"/>
                  <a:gd name="connsiteY197" fmla="*/ 310970 h 317229"/>
                  <a:gd name="connsiteX198" fmla="*/ 53871 w 351968"/>
                  <a:gd name="connsiteY198" fmla="*/ 310088 h 317229"/>
                  <a:gd name="connsiteX199" fmla="*/ 53871 w 351968"/>
                  <a:gd name="connsiteY199" fmla="*/ 309207 h 317229"/>
                  <a:gd name="connsiteX200" fmla="*/ 53254 w 351968"/>
                  <a:gd name="connsiteY200" fmla="*/ 308060 h 317229"/>
                  <a:gd name="connsiteX201" fmla="*/ 52372 w 351968"/>
                  <a:gd name="connsiteY201" fmla="*/ 306914 h 317229"/>
                  <a:gd name="connsiteX202" fmla="*/ 51755 w 351968"/>
                  <a:gd name="connsiteY202" fmla="*/ 306914 h 317229"/>
                  <a:gd name="connsiteX203" fmla="*/ 51138 w 351968"/>
                  <a:gd name="connsiteY203" fmla="*/ 307179 h 317229"/>
                  <a:gd name="connsiteX204" fmla="*/ 50521 w 351968"/>
                  <a:gd name="connsiteY204" fmla="*/ 307443 h 317229"/>
                  <a:gd name="connsiteX205" fmla="*/ 48493 w 351968"/>
                  <a:gd name="connsiteY205" fmla="*/ 306826 h 317229"/>
                  <a:gd name="connsiteX206" fmla="*/ 48228 w 351968"/>
                  <a:gd name="connsiteY206" fmla="*/ 305944 h 317229"/>
                  <a:gd name="connsiteX207" fmla="*/ 47964 w 351968"/>
                  <a:gd name="connsiteY207" fmla="*/ 305327 h 317229"/>
                  <a:gd name="connsiteX208" fmla="*/ 47699 w 351968"/>
                  <a:gd name="connsiteY208" fmla="*/ 305327 h 317229"/>
                  <a:gd name="connsiteX209" fmla="*/ 46817 w 351968"/>
                  <a:gd name="connsiteY209" fmla="*/ 305327 h 317229"/>
                  <a:gd name="connsiteX210" fmla="*/ 45671 w 351968"/>
                  <a:gd name="connsiteY210" fmla="*/ 305327 h 317229"/>
                  <a:gd name="connsiteX211" fmla="*/ 44790 w 351968"/>
                  <a:gd name="connsiteY211" fmla="*/ 305327 h 317229"/>
                  <a:gd name="connsiteX212" fmla="*/ 43379 w 351968"/>
                  <a:gd name="connsiteY212" fmla="*/ 305944 h 317229"/>
                  <a:gd name="connsiteX213" fmla="*/ 43114 w 351968"/>
                  <a:gd name="connsiteY213" fmla="*/ 306209 h 317229"/>
                  <a:gd name="connsiteX214" fmla="*/ 42497 w 351968"/>
                  <a:gd name="connsiteY214" fmla="*/ 305944 h 317229"/>
                  <a:gd name="connsiteX215" fmla="*/ 42762 w 351968"/>
                  <a:gd name="connsiteY215" fmla="*/ 305063 h 317229"/>
                  <a:gd name="connsiteX216" fmla="*/ 43026 w 351968"/>
                  <a:gd name="connsiteY216" fmla="*/ 304445 h 317229"/>
                  <a:gd name="connsiteX217" fmla="*/ 43291 w 351968"/>
                  <a:gd name="connsiteY217" fmla="*/ 303564 h 317229"/>
                  <a:gd name="connsiteX218" fmla="*/ 43555 w 351968"/>
                  <a:gd name="connsiteY218" fmla="*/ 302418 h 317229"/>
                  <a:gd name="connsiteX219" fmla="*/ 44172 w 351968"/>
                  <a:gd name="connsiteY219" fmla="*/ 300390 h 317229"/>
                  <a:gd name="connsiteX220" fmla="*/ 43908 w 351968"/>
                  <a:gd name="connsiteY220" fmla="*/ 299773 h 317229"/>
                  <a:gd name="connsiteX221" fmla="*/ 43291 w 351968"/>
                  <a:gd name="connsiteY221" fmla="*/ 298627 h 317229"/>
                  <a:gd name="connsiteX222" fmla="*/ 42144 w 351968"/>
                  <a:gd name="connsiteY222" fmla="*/ 297745 h 317229"/>
                  <a:gd name="connsiteX223" fmla="*/ 39235 w 351968"/>
                  <a:gd name="connsiteY223" fmla="*/ 297392 h 317229"/>
                  <a:gd name="connsiteX224" fmla="*/ 36061 w 351968"/>
                  <a:gd name="connsiteY224" fmla="*/ 298538 h 317229"/>
                  <a:gd name="connsiteX225" fmla="*/ 35444 w 351968"/>
                  <a:gd name="connsiteY225" fmla="*/ 299156 h 317229"/>
                  <a:gd name="connsiteX226" fmla="*/ 34827 w 351968"/>
                  <a:gd name="connsiteY226" fmla="*/ 300654 h 317229"/>
                  <a:gd name="connsiteX227" fmla="*/ 35091 w 351968"/>
                  <a:gd name="connsiteY227" fmla="*/ 300919 h 317229"/>
                  <a:gd name="connsiteX228" fmla="*/ 35091 w 351968"/>
                  <a:gd name="connsiteY228" fmla="*/ 301183 h 317229"/>
                  <a:gd name="connsiteX229" fmla="*/ 35708 w 351968"/>
                  <a:gd name="connsiteY229" fmla="*/ 301800 h 317229"/>
                  <a:gd name="connsiteX230" fmla="*/ 35708 w 351968"/>
                  <a:gd name="connsiteY230" fmla="*/ 302418 h 317229"/>
                  <a:gd name="connsiteX231" fmla="*/ 35708 w 351968"/>
                  <a:gd name="connsiteY231" fmla="*/ 304181 h 317229"/>
                  <a:gd name="connsiteX232" fmla="*/ 35708 w 351968"/>
                  <a:gd name="connsiteY232" fmla="*/ 305327 h 317229"/>
                  <a:gd name="connsiteX233" fmla="*/ 35091 w 351968"/>
                  <a:gd name="connsiteY233" fmla="*/ 305063 h 317229"/>
                  <a:gd name="connsiteX234" fmla="*/ 34209 w 351968"/>
                  <a:gd name="connsiteY234" fmla="*/ 304445 h 317229"/>
                  <a:gd name="connsiteX235" fmla="*/ 33945 w 351968"/>
                  <a:gd name="connsiteY235" fmla="*/ 302947 h 317229"/>
                  <a:gd name="connsiteX236" fmla="*/ 33680 w 351968"/>
                  <a:gd name="connsiteY236" fmla="*/ 302329 h 317229"/>
                  <a:gd name="connsiteX237" fmla="*/ 33416 w 351968"/>
                  <a:gd name="connsiteY237" fmla="*/ 300919 h 317229"/>
                  <a:gd name="connsiteX238" fmla="*/ 33151 w 351968"/>
                  <a:gd name="connsiteY238" fmla="*/ 300301 h 317229"/>
                  <a:gd name="connsiteX239" fmla="*/ 32799 w 351968"/>
                  <a:gd name="connsiteY239" fmla="*/ 299156 h 317229"/>
                  <a:gd name="connsiteX240" fmla="*/ 32534 w 351968"/>
                  <a:gd name="connsiteY240" fmla="*/ 298891 h 317229"/>
                  <a:gd name="connsiteX241" fmla="*/ 32534 w 351968"/>
                  <a:gd name="connsiteY241" fmla="*/ 298009 h 317229"/>
                  <a:gd name="connsiteX242" fmla="*/ 32534 w 351968"/>
                  <a:gd name="connsiteY242" fmla="*/ 297745 h 317229"/>
                  <a:gd name="connsiteX243" fmla="*/ 32799 w 351968"/>
                  <a:gd name="connsiteY243" fmla="*/ 297128 h 317229"/>
                  <a:gd name="connsiteX244" fmla="*/ 33151 w 351968"/>
                  <a:gd name="connsiteY244" fmla="*/ 296246 h 317229"/>
                  <a:gd name="connsiteX245" fmla="*/ 33416 w 351968"/>
                  <a:gd name="connsiteY245" fmla="*/ 295364 h 317229"/>
                  <a:gd name="connsiteX246" fmla="*/ 33680 w 351968"/>
                  <a:gd name="connsiteY246" fmla="*/ 294747 h 317229"/>
                  <a:gd name="connsiteX247" fmla="*/ 34298 w 351968"/>
                  <a:gd name="connsiteY247" fmla="*/ 293865 h 317229"/>
                  <a:gd name="connsiteX248" fmla="*/ 35179 w 351968"/>
                  <a:gd name="connsiteY248" fmla="*/ 294130 h 317229"/>
                  <a:gd name="connsiteX249" fmla="*/ 35444 w 351968"/>
                  <a:gd name="connsiteY249" fmla="*/ 294394 h 317229"/>
                  <a:gd name="connsiteX250" fmla="*/ 35444 w 351968"/>
                  <a:gd name="connsiteY250" fmla="*/ 293777 h 317229"/>
                  <a:gd name="connsiteX251" fmla="*/ 35708 w 351968"/>
                  <a:gd name="connsiteY251" fmla="*/ 292895 h 317229"/>
                  <a:gd name="connsiteX252" fmla="*/ 35973 w 351968"/>
                  <a:gd name="connsiteY252" fmla="*/ 291749 h 317229"/>
                  <a:gd name="connsiteX253" fmla="*/ 35973 w 351968"/>
                  <a:gd name="connsiteY253" fmla="*/ 289986 h 317229"/>
                  <a:gd name="connsiteX254" fmla="*/ 35973 w 351968"/>
                  <a:gd name="connsiteY254" fmla="*/ 288487 h 317229"/>
                  <a:gd name="connsiteX255" fmla="*/ 35356 w 351968"/>
                  <a:gd name="connsiteY255" fmla="*/ 286724 h 317229"/>
                  <a:gd name="connsiteX256" fmla="*/ 34474 w 351968"/>
                  <a:gd name="connsiteY256" fmla="*/ 286459 h 317229"/>
                  <a:gd name="connsiteX257" fmla="*/ 33592 w 351968"/>
                  <a:gd name="connsiteY257" fmla="*/ 286195 h 317229"/>
                  <a:gd name="connsiteX258" fmla="*/ 33328 w 351968"/>
                  <a:gd name="connsiteY258" fmla="*/ 285313 h 317229"/>
                  <a:gd name="connsiteX259" fmla="*/ 33592 w 351968"/>
                  <a:gd name="connsiteY259" fmla="*/ 283285 h 317229"/>
                  <a:gd name="connsiteX260" fmla="*/ 33328 w 351968"/>
                  <a:gd name="connsiteY260" fmla="*/ 282668 h 317229"/>
                  <a:gd name="connsiteX261" fmla="*/ 31829 w 351968"/>
                  <a:gd name="connsiteY261" fmla="*/ 281522 h 317229"/>
                  <a:gd name="connsiteX262" fmla="*/ 30418 w 351968"/>
                  <a:gd name="connsiteY262" fmla="*/ 279494 h 317229"/>
                  <a:gd name="connsiteX263" fmla="*/ 30683 w 351968"/>
                  <a:gd name="connsiteY263" fmla="*/ 279229 h 317229"/>
                  <a:gd name="connsiteX264" fmla="*/ 29272 w 351968"/>
                  <a:gd name="connsiteY264" fmla="*/ 276320 h 317229"/>
                  <a:gd name="connsiteX265" fmla="*/ 30418 w 351968"/>
                  <a:gd name="connsiteY265" fmla="*/ 275703 h 317229"/>
                  <a:gd name="connsiteX266" fmla="*/ 29536 w 351968"/>
                  <a:gd name="connsiteY266" fmla="*/ 274821 h 317229"/>
                  <a:gd name="connsiteX267" fmla="*/ 28038 w 351968"/>
                  <a:gd name="connsiteY267" fmla="*/ 273322 h 317229"/>
                  <a:gd name="connsiteX268" fmla="*/ 28038 w 351968"/>
                  <a:gd name="connsiteY268" fmla="*/ 271823 h 317229"/>
                  <a:gd name="connsiteX269" fmla="*/ 27156 w 351968"/>
                  <a:gd name="connsiteY269" fmla="*/ 270942 h 317229"/>
                  <a:gd name="connsiteX270" fmla="*/ 26892 w 351968"/>
                  <a:gd name="connsiteY270" fmla="*/ 271294 h 317229"/>
                  <a:gd name="connsiteX271" fmla="*/ 26892 w 351968"/>
                  <a:gd name="connsiteY271" fmla="*/ 271823 h 317229"/>
                  <a:gd name="connsiteX272" fmla="*/ 26010 w 351968"/>
                  <a:gd name="connsiteY272" fmla="*/ 271823 h 317229"/>
                  <a:gd name="connsiteX273" fmla="*/ 25481 w 351968"/>
                  <a:gd name="connsiteY273" fmla="*/ 271823 h 317229"/>
                  <a:gd name="connsiteX274" fmla="*/ 25481 w 351968"/>
                  <a:gd name="connsiteY274" fmla="*/ 271294 h 317229"/>
                  <a:gd name="connsiteX275" fmla="*/ 25481 w 351968"/>
                  <a:gd name="connsiteY275" fmla="*/ 270942 h 317229"/>
                  <a:gd name="connsiteX276" fmla="*/ 25481 w 351968"/>
                  <a:gd name="connsiteY276" fmla="*/ 269178 h 317229"/>
                  <a:gd name="connsiteX277" fmla="*/ 25216 w 351968"/>
                  <a:gd name="connsiteY277" fmla="*/ 268826 h 317229"/>
                  <a:gd name="connsiteX278" fmla="*/ 25481 w 351968"/>
                  <a:gd name="connsiteY278" fmla="*/ 267415 h 317229"/>
                  <a:gd name="connsiteX279" fmla="*/ 24864 w 351968"/>
                  <a:gd name="connsiteY279" fmla="*/ 266533 h 317229"/>
                  <a:gd name="connsiteX280" fmla="*/ 25745 w 351968"/>
                  <a:gd name="connsiteY280" fmla="*/ 265916 h 317229"/>
                  <a:gd name="connsiteX281" fmla="*/ 25745 w 351968"/>
                  <a:gd name="connsiteY281" fmla="*/ 264241 h 317229"/>
                  <a:gd name="connsiteX282" fmla="*/ 26627 w 351968"/>
                  <a:gd name="connsiteY282" fmla="*/ 263624 h 317229"/>
                  <a:gd name="connsiteX283" fmla="*/ 27244 w 351968"/>
                  <a:gd name="connsiteY283" fmla="*/ 263624 h 317229"/>
                  <a:gd name="connsiteX284" fmla="*/ 27508 w 351968"/>
                  <a:gd name="connsiteY284" fmla="*/ 263624 h 317229"/>
                  <a:gd name="connsiteX285" fmla="*/ 27773 w 351968"/>
                  <a:gd name="connsiteY285" fmla="*/ 264241 h 317229"/>
                  <a:gd name="connsiteX286" fmla="*/ 28919 w 351968"/>
                  <a:gd name="connsiteY286" fmla="*/ 265651 h 317229"/>
                  <a:gd name="connsiteX287" fmla="*/ 30947 w 351968"/>
                  <a:gd name="connsiteY287" fmla="*/ 265651 h 317229"/>
                  <a:gd name="connsiteX288" fmla="*/ 33328 w 351968"/>
                  <a:gd name="connsiteY288" fmla="*/ 263006 h 317229"/>
                  <a:gd name="connsiteX289" fmla="*/ 34209 w 351968"/>
                  <a:gd name="connsiteY289" fmla="*/ 261507 h 317229"/>
                  <a:gd name="connsiteX290" fmla="*/ 35091 w 351968"/>
                  <a:gd name="connsiteY290" fmla="*/ 257716 h 317229"/>
                  <a:gd name="connsiteX291" fmla="*/ 35091 w 351968"/>
                  <a:gd name="connsiteY291" fmla="*/ 254190 h 317229"/>
                  <a:gd name="connsiteX292" fmla="*/ 36237 w 351968"/>
                  <a:gd name="connsiteY292" fmla="*/ 253043 h 317229"/>
                  <a:gd name="connsiteX293" fmla="*/ 35356 w 351968"/>
                  <a:gd name="connsiteY293" fmla="*/ 248106 h 317229"/>
                  <a:gd name="connsiteX294" fmla="*/ 35356 w 351968"/>
                  <a:gd name="connsiteY294" fmla="*/ 247224 h 317229"/>
                  <a:gd name="connsiteX295" fmla="*/ 35091 w 351968"/>
                  <a:gd name="connsiteY295" fmla="*/ 244579 h 317229"/>
                  <a:gd name="connsiteX296" fmla="*/ 35091 w 351968"/>
                  <a:gd name="connsiteY296" fmla="*/ 243433 h 317229"/>
                  <a:gd name="connsiteX297" fmla="*/ 34209 w 351968"/>
                  <a:gd name="connsiteY297" fmla="*/ 241670 h 317229"/>
                  <a:gd name="connsiteX298" fmla="*/ 34209 w 351968"/>
                  <a:gd name="connsiteY298" fmla="*/ 239642 h 317229"/>
                  <a:gd name="connsiteX299" fmla="*/ 33063 w 351968"/>
                  <a:gd name="connsiteY299" fmla="*/ 238231 h 317229"/>
                  <a:gd name="connsiteX300" fmla="*/ 30154 w 351968"/>
                  <a:gd name="connsiteY300" fmla="*/ 232059 h 317229"/>
                  <a:gd name="connsiteX301" fmla="*/ 28390 w 351968"/>
                  <a:gd name="connsiteY301" fmla="*/ 230296 h 317229"/>
                  <a:gd name="connsiteX302" fmla="*/ 26892 w 351968"/>
                  <a:gd name="connsiteY302" fmla="*/ 227122 h 317229"/>
                  <a:gd name="connsiteX303" fmla="*/ 26010 w 351968"/>
                  <a:gd name="connsiteY303" fmla="*/ 226240 h 317229"/>
                  <a:gd name="connsiteX304" fmla="*/ 23365 w 351968"/>
                  <a:gd name="connsiteY304" fmla="*/ 221832 h 317229"/>
                  <a:gd name="connsiteX305" fmla="*/ 21866 w 351968"/>
                  <a:gd name="connsiteY305" fmla="*/ 218922 h 317229"/>
                  <a:gd name="connsiteX306" fmla="*/ 21601 w 351968"/>
                  <a:gd name="connsiteY306" fmla="*/ 215748 h 317229"/>
                  <a:gd name="connsiteX307" fmla="*/ 20720 w 351968"/>
                  <a:gd name="connsiteY307" fmla="*/ 214602 h 317229"/>
                  <a:gd name="connsiteX308" fmla="*/ 19838 w 351968"/>
                  <a:gd name="connsiteY308" fmla="*/ 213456 h 317229"/>
                  <a:gd name="connsiteX309" fmla="*/ 18956 w 351968"/>
                  <a:gd name="connsiteY309" fmla="*/ 210546 h 317229"/>
                  <a:gd name="connsiteX310" fmla="*/ 15782 w 351968"/>
                  <a:gd name="connsiteY310" fmla="*/ 204463 h 317229"/>
                  <a:gd name="connsiteX311" fmla="*/ 15518 w 351968"/>
                  <a:gd name="connsiteY311" fmla="*/ 202964 h 317229"/>
                  <a:gd name="connsiteX312" fmla="*/ 14900 w 351968"/>
                  <a:gd name="connsiteY312" fmla="*/ 199790 h 317229"/>
                  <a:gd name="connsiteX313" fmla="*/ 13754 w 351968"/>
                  <a:gd name="connsiteY313" fmla="*/ 195381 h 317229"/>
                  <a:gd name="connsiteX314" fmla="*/ 12608 w 351968"/>
                  <a:gd name="connsiteY314" fmla="*/ 191943 h 317229"/>
                  <a:gd name="connsiteX315" fmla="*/ 11462 w 351968"/>
                  <a:gd name="connsiteY315" fmla="*/ 188152 h 317229"/>
                  <a:gd name="connsiteX316" fmla="*/ 10580 w 351968"/>
                  <a:gd name="connsiteY316" fmla="*/ 185242 h 317229"/>
                  <a:gd name="connsiteX317" fmla="*/ 10580 w 351968"/>
                  <a:gd name="connsiteY317" fmla="*/ 184096 h 317229"/>
                  <a:gd name="connsiteX318" fmla="*/ 9963 w 351968"/>
                  <a:gd name="connsiteY318" fmla="*/ 180569 h 317229"/>
                  <a:gd name="connsiteX319" fmla="*/ 8200 w 351968"/>
                  <a:gd name="connsiteY319" fmla="*/ 178541 h 317229"/>
                  <a:gd name="connsiteX320" fmla="*/ 8200 w 351968"/>
                  <a:gd name="connsiteY320" fmla="*/ 177660 h 317229"/>
                  <a:gd name="connsiteX321" fmla="*/ 8464 w 351968"/>
                  <a:gd name="connsiteY321" fmla="*/ 176778 h 317229"/>
                  <a:gd name="connsiteX322" fmla="*/ 7318 w 351968"/>
                  <a:gd name="connsiteY322" fmla="*/ 172987 h 317229"/>
                  <a:gd name="connsiteX323" fmla="*/ 6436 w 351968"/>
                  <a:gd name="connsiteY323" fmla="*/ 172105 h 317229"/>
                  <a:gd name="connsiteX324" fmla="*/ 5907 w 351968"/>
                  <a:gd name="connsiteY324" fmla="*/ 170959 h 317229"/>
                  <a:gd name="connsiteX325" fmla="*/ 4408 w 351968"/>
                  <a:gd name="connsiteY325" fmla="*/ 168578 h 317229"/>
                  <a:gd name="connsiteX326" fmla="*/ 3262 w 351968"/>
                  <a:gd name="connsiteY326" fmla="*/ 167432 h 317229"/>
                  <a:gd name="connsiteX327" fmla="*/ 2381 w 351968"/>
                  <a:gd name="connsiteY327" fmla="*/ 165404 h 317229"/>
                  <a:gd name="connsiteX328" fmla="*/ 2381 w 351968"/>
                  <a:gd name="connsiteY328" fmla="*/ 163640 h 317229"/>
                  <a:gd name="connsiteX329" fmla="*/ 0 w 351968"/>
                  <a:gd name="connsiteY329" fmla="*/ 162495 h 317229"/>
                  <a:gd name="connsiteX330" fmla="*/ 882 w 351968"/>
                  <a:gd name="connsiteY330" fmla="*/ 160996 h 317229"/>
                  <a:gd name="connsiteX331" fmla="*/ 3527 w 351968"/>
                  <a:gd name="connsiteY331" fmla="*/ 160114 h 317229"/>
                  <a:gd name="connsiteX332" fmla="*/ 4673 w 351968"/>
                  <a:gd name="connsiteY332" fmla="*/ 158351 h 317229"/>
                  <a:gd name="connsiteX333" fmla="*/ 7054 w 351968"/>
                  <a:gd name="connsiteY333" fmla="*/ 158615 h 317229"/>
                  <a:gd name="connsiteX334" fmla="*/ 8464 w 351968"/>
                  <a:gd name="connsiteY334" fmla="*/ 159232 h 317229"/>
                  <a:gd name="connsiteX335" fmla="*/ 9346 w 351968"/>
                  <a:gd name="connsiteY335" fmla="*/ 158086 h 317229"/>
                  <a:gd name="connsiteX336" fmla="*/ 7054 w 351968"/>
                  <a:gd name="connsiteY336" fmla="*/ 155176 h 317229"/>
                  <a:gd name="connsiteX337" fmla="*/ 8464 w 351968"/>
                  <a:gd name="connsiteY337" fmla="*/ 154559 h 317229"/>
                  <a:gd name="connsiteX338" fmla="*/ 8200 w 351968"/>
                  <a:gd name="connsiteY338" fmla="*/ 153060 h 317229"/>
                  <a:gd name="connsiteX339" fmla="*/ 9081 w 351968"/>
                  <a:gd name="connsiteY339" fmla="*/ 151914 h 317229"/>
                  <a:gd name="connsiteX340" fmla="*/ 9081 w 351968"/>
                  <a:gd name="connsiteY340" fmla="*/ 150415 h 317229"/>
                  <a:gd name="connsiteX341" fmla="*/ 8200 w 351968"/>
                  <a:gd name="connsiteY341" fmla="*/ 149269 h 317229"/>
                  <a:gd name="connsiteX342" fmla="*/ 9346 w 351968"/>
                  <a:gd name="connsiteY342" fmla="*/ 148388 h 317229"/>
                  <a:gd name="connsiteX343" fmla="*/ 10492 w 351968"/>
                  <a:gd name="connsiteY343" fmla="*/ 149005 h 317229"/>
                  <a:gd name="connsiteX344" fmla="*/ 11374 w 351968"/>
                  <a:gd name="connsiteY344" fmla="*/ 146712 h 317229"/>
                  <a:gd name="connsiteX345" fmla="*/ 12256 w 351968"/>
                  <a:gd name="connsiteY345" fmla="*/ 145566 h 317229"/>
                  <a:gd name="connsiteX346" fmla="*/ 14019 w 351968"/>
                  <a:gd name="connsiteY346" fmla="*/ 145831 h 317229"/>
                  <a:gd name="connsiteX347" fmla="*/ 15165 w 351968"/>
                  <a:gd name="connsiteY347" fmla="*/ 147594 h 317229"/>
                  <a:gd name="connsiteX348" fmla="*/ 16047 w 351968"/>
                  <a:gd name="connsiteY348" fmla="*/ 147594 h 317229"/>
                  <a:gd name="connsiteX349" fmla="*/ 16928 w 351968"/>
                  <a:gd name="connsiteY349" fmla="*/ 149357 h 317229"/>
                  <a:gd name="connsiteX350" fmla="*/ 17281 w 351968"/>
                  <a:gd name="connsiteY350" fmla="*/ 150503 h 317229"/>
                  <a:gd name="connsiteX351" fmla="*/ 16928 w 351968"/>
                  <a:gd name="connsiteY351" fmla="*/ 152002 h 317229"/>
                  <a:gd name="connsiteX352" fmla="*/ 19309 w 351968"/>
                  <a:gd name="connsiteY352" fmla="*/ 150856 h 317229"/>
                  <a:gd name="connsiteX353" fmla="*/ 20455 w 351968"/>
                  <a:gd name="connsiteY353" fmla="*/ 151473 h 317229"/>
                  <a:gd name="connsiteX354" fmla="*/ 21072 w 351968"/>
                  <a:gd name="connsiteY354" fmla="*/ 152884 h 317229"/>
                  <a:gd name="connsiteX355" fmla="*/ 20455 w 351968"/>
                  <a:gd name="connsiteY355" fmla="*/ 155529 h 317229"/>
                  <a:gd name="connsiteX356" fmla="*/ 18692 w 351968"/>
                  <a:gd name="connsiteY356" fmla="*/ 157293 h 317229"/>
                  <a:gd name="connsiteX357" fmla="*/ 19573 w 351968"/>
                  <a:gd name="connsiteY357" fmla="*/ 159056 h 317229"/>
                  <a:gd name="connsiteX358" fmla="*/ 21072 w 351968"/>
                  <a:gd name="connsiteY358" fmla="*/ 160555 h 317229"/>
                  <a:gd name="connsiteX359" fmla="*/ 19926 w 351968"/>
                  <a:gd name="connsiteY359" fmla="*/ 161966 h 317229"/>
                  <a:gd name="connsiteX360" fmla="*/ 19662 w 351968"/>
                  <a:gd name="connsiteY360" fmla="*/ 163376 h 317229"/>
                  <a:gd name="connsiteX361" fmla="*/ 21160 w 351968"/>
                  <a:gd name="connsiteY361" fmla="*/ 163993 h 317229"/>
                  <a:gd name="connsiteX362" fmla="*/ 23806 w 351968"/>
                  <a:gd name="connsiteY362" fmla="*/ 163729 h 317229"/>
                  <a:gd name="connsiteX363" fmla="*/ 24070 w 351968"/>
                  <a:gd name="connsiteY363" fmla="*/ 165757 h 317229"/>
                  <a:gd name="connsiteX364" fmla="*/ 25216 w 351968"/>
                  <a:gd name="connsiteY364" fmla="*/ 166021 h 317229"/>
                  <a:gd name="connsiteX365" fmla="*/ 27508 w 351968"/>
                  <a:gd name="connsiteY365" fmla="*/ 165139 h 317229"/>
                  <a:gd name="connsiteX366" fmla="*/ 30683 w 351968"/>
                  <a:gd name="connsiteY366" fmla="*/ 165757 h 317229"/>
                  <a:gd name="connsiteX367" fmla="*/ 33328 w 351968"/>
                  <a:gd name="connsiteY367" fmla="*/ 167255 h 317229"/>
                  <a:gd name="connsiteX368" fmla="*/ 36855 w 351968"/>
                  <a:gd name="connsiteY368" fmla="*/ 169283 h 317229"/>
                  <a:gd name="connsiteX369" fmla="*/ 37472 w 351968"/>
                  <a:gd name="connsiteY369" fmla="*/ 168402 h 317229"/>
                  <a:gd name="connsiteX370" fmla="*/ 40117 w 351968"/>
                  <a:gd name="connsiteY370" fmla="*/ 168402 h 317229"/>
                  <a:gd name="connsiteX371" fmla="*/ 41615 w 351968"/>
                  <a:gd name="connsiteY371" fmla="*/ 168666 h 317229"/>
                  <a:gd name="connsiteX372" fmla="*/ 48581 w 351968"/>
                  <a:gd name="connsiteY372" fmla="*/ 166638 h 317229"/>
                  <a:gd name="connsiteX373" fmla="*/ 53254 w 351968"/>
                  <a:gd name="connsiteY373" fmla="*/ 168137 h 317229"/>
                  <a:gd name="connsiteX374" fmla="*/ 54136 w 351968"/>
                  <a:gd name="connsiteY374" fmla="*/ 169019 h 317229"/>
                  <a:gd name="connsiteX375" fmla="*/ 54753 w 351968"/>
                  <a:gd name="connsiteY375" fmla="*/ 171399 h 317229"/>
                  <a:gd name="connsiteX376" fmla="*/ 57927 w 351968"/>
                  <a:gd name="connsiteY376" fmla="*/ 170253 h 317229"/>
                  <a:gd name="connsiteX377" fmla="*/ 60572 w 351968"/>
                  <a:gd name="connsiteY377" fmla="*/ 169989 h 317229"/>
                  <a:gd name="connsiteX378" fmla="*/ 59161 w 351968"/>
                  <a:gd name="connsiteY378" fmla="*/ 167961 h 317229"/>
                  <a:gd name="connsiteX379" fmla="*/ 60043 w 351968"/>
                  <a:gd name="connsiteY379" fmla="*/ 165316 h 317229"/>
                  <a:gd name="connsiteX380" fmla="*/ 62423 w 351968"/>
                  <a:gd name="connsiteY380" fmla="*/ 164787 h 317229"/>
                  <a:gd name="connsiteX381" fmla="*/ 63834 w 351968"/>
                  <a:gd name="connsiteY381" fmla="*/ 163288 h 317229"/>
                  <a:gd name="connsiteX382" fmla="*/ 65597 w 351968"/>
                  <a:gd name="connsiteY382" fmla="*/ 161877 h 317229"/>
                  <a:gd name="connsiteX383" fmla="*/ 67096 w 351968"/>
                  <a:gd name="connsiteY383" fmla="*/ 160731 h 317229"/>
                  <a:gd name="connsiteX384" fmla="*/ 68771 w 351968"/>
                  <a:gd name="connsiteY384" fmla="*/ 160114 h 317229"/>
                  <a:gd name="connsiteX385" fmla="*/ 69388 w 351968"/>
                  <a:gd name="connsiteY385" fmla="*/ 161260 h 317229"/>
                  <a:gd name="connsiteX386" fmla="*/ 70535 w 351968"/>
                  <a:gd name="connsiteY386" fmla="*/ 160378 h 317229"/>
                  <a:gd name="connsiteX387" fmla="*/ 71945 w 351968"/>
                  <a:gd name="connsiteY387" fmla="*/ 158615 h 317229"/>
                  <a:gd name="connsiteX388" fmla="*/ 72563 w 351968"/>
                  <a:gd name="connsiteY388" fmla="*/ 157733 h 317229"/>
                  <a:gd name="connsiteX389" fmla="*/ 73444 w 351968"/>
                  <a:gd name="connsiteY389" fmla="*/ 157116 h 317229"/>
                  <a:gd name="connsiteX390" fmla="*/ 76089 w 351968"/>
                  <a:gd name="connsiteY390" fmla="*/ 157116 h 317229"/>
                  <a:gd name="connsiteX391" fmla="*/ 80145 w 351968"/>
                  <a:gd name="connsiteY391" fmla="*/ 67008 h 317229"/>
                  <a:gd name="connsiteX392" fmla="*/ 85435 w 351968"/>
                  <a:gd name="connsiteY392" fmla="*/ 70799 h 317229"/>
                  <a:gd name="connsiteX393" fmla="*/ 89491 w 351968"/>
                  <a:gd name="connsiteY393" fmla="*/ 72827 h 317229"/>
                  <a:gd name="connsiteX394" fmla="*/ 90902 w 351968"/>
                  <a:gd name="connsiteY394" fmla="*/ 76883 h 317229"/>
                  <a:gd name="connsiteX395" fmla="*/ 90637 w 351968"/>
                  <a:gd name="connsiteY395" fmla="*/ 77765 h 317229"/>
                  <a:gd name="connsiteX396" fmla="*/ 91783 w 351968"/>
                  <a:gd name="connsiteY396" fmla="*/ 78911 h 317229"/>
                  <a:gd name="connsiteX397" fmla="*/ 91783 w 351968"/>
                  <a:gd name="connsiteY397" fmla="*/ 80939 h 317229"/>
                  <a:gd name="connsiteX398" fmla="*/ 92665 w 351968"/>
                  <a:gd name="connsiteY398" fmla="*/ 84994 h 317229"/>
                  <a:gd name="connsiteX399" fmla="*/ 93811 w 351968"/>
                  <a:gd name="connsiteY399" fmla="*/ 85876 h 317229"/>
                  <a:gd name="connsiteX400" fmla="*/ 93194 w 351968"/>
                  <a:gd name="connsiteY400" fmla="*/ 87375 h 317229"/>
                  <a:gd name="connsiteX401" fmla="*/ 94076 w 351968"/>
                  <a:gd name="connsiteY401" fmla="*/ 90549 h 317229"/>
                  <a:gd name="connsiteX402" fmla="*/ 94958 w 351968"/>
                  <a:gd name="connsiteY402" fmla="*/ 92841 h 317229"/>
                  <a:gd name="connsiteX403" fmla="*/ 95839 w 351968"/>
                  <a:gd name="connsiteY403" fmla="*/ 93106 h 317229"/>
                  <a:gd name="connsiteX404" fmla="*/ 95839 w 351968"/>
                  <a:gd name="connsiteY404" fmla="*/ 96015 h 317229"/>
                  <a:gd name="connsiteX405" fmla="*/ 96985 w 351968"/>
                  <a:gd name="connsiteY405" fmla="*/ 96633 h 317229"/>
                  <a:gd name="connsiteX406" fmla="*/ 97250 w 351968"/>
                  <a:gd name="connsiteY406" fmla="*/ 98396 h 317229"/>
                  <a:gd name="connsiteX407" fmla="*/ 98396 w 351968"/>
                  <a:gd name="connsiteY407" fmla="*/ 99895 h 317229"/>
                  <a:gd name="connsiteX408" fmla="*/ 95222 w 351968"/>
                  <a:gd name="connsiteY408" fmla="*/ 103422 h 317229"/>
                  <a:gd name="connsiteX409" fmla="*/ 92930 w 351968"/>
                  <a:gd name="connsiteY409" fmla="*/ 106331 h 317229"/>
                  <a:gd name="connsiteX410" fmla="*/ 91431 w 351968"/>
                  <a:gd name="connsiteY410" fmla="*/ 108095 h 317229"/>
                  <a:gd name="connsiteX411" fmla="*/ 90814 w 351968"/>
                  <a:gd name="connsiteY411" fmla="*/ 110387 h 317229"/>
                  <a:gd name="connsiteX412" fmla="*/ 91431 w 351968"/>
                  <a:gd name="connsiteY412" fmla="*/ 110916 h 317229"/>
                  <a:gd name="connsiteX413" fmla="*/ 90549 w 351968"/>
                  <a:gd name="connsiteY413" fmla="*/ 113825 h 317229"/>
                  <a:gd name="connsiteX414" fmla="*/ 93459 w 351968"/>
                  <a:gd name="connsiteY414" fmla="*/ 118763 h 317229"/>
                  <a:gd name="connsiteX415" fmla="*/ 96103 w 351968"/>
                  <a:gd name="connsiteY415" fmla="*/ 116382 h 317229"/>
                  <a:gd name="connsiteX416" fmla="*/ 97602 w 351968"/>
                  <a:gd name="connsiteY416" fmla="*/ 116118 h 317229"/>
                  <a:gd name="connsiteX417" fmla="*/ 101129 w 351968"/>
                  <a:gd name="connsiteY417" fmla="*/ 118146 h 317229"/>
                  <a:gd name="connsiteX418" fmla="*/ 107213 w 351968"/>
                  <a:gd name="connsiteY418" fmla="*/ 117264 h 317229"/>
                  <a:gd name="connsiteX419" fmla="*/ 113914 w 351968"/>
                  <a:gd name="connsiteY419" fmla="*/ 118410 h 317229"/>
                  <a:gd name="connsiteX420" fmla="*/ 116559 w 351968"/>
                  <a:gd name="connsiteY420" fmla="*/ 118146 h 317229"/>
                  <a:gd name="connsiteX421" fmla="*/ 117969 w 351968"/>
                  <a:gd name="connsiteY421" fmla="*/ 117264 h 317229"/>
                  <a:gd name="connsiteX422" fmla="*/ 118234 w 351968"/>
                  <a:gd name="connsiteY422" fmla="*/ 115765 h 317229"/>
                  <a:gd name="connsiteX423" fmla="*/ 117617 w 351968"/>
                  <a:gd name="connsiteY423" fmla="*/ 112856 h 317229"/>
                  <a:gd name="connsiteX424" fmla="*/ 119380 w 351968"/>
                  <a:gd name="connsiteY424" fmla="*/ 111974 h 317229"/>
                  <a:gd name="connsiteX425" fmla="*/ 122290 w 351968"/>
                  <a:gd name="connsiteY425" fmla="*/ 111709 h 317229"/>
                  <a:gd name="connsiteX426" fmla="*/ 124053 w 351968"/>
                  <a:gd name="connsiteY426" fmla="*/ 111445 h 317229"/>
                  <a:gd name="connsiteX427" fmla="*/ 128109 w 351968"/>
                  <a:gd name="connsiteY427" fmla="*/ 103245 h 317229"/>
                  <a:gd name="connsiteX428" fmla="*/ 131018 w 351968"/>
                  <a:gd name="connsiteY428" fmla="*/ 102981 h 317229"/>
                  <a:gd name="connsiteX429" fmla="*/ 131900 w 351968"/>
                  <a:gd name="connsiteY429" fmla="*/ 102099 h 317229"/>
                  <a:gd name="connsiteX430" fmla="*/ 134545 w 351968"/>
                  <a:gd name="connsiteY430" fmla="*/ 99807 h 317229"/>
                  <a:gd name="connsiteX431" fmla="*/ 135691 w 351968"/>
                  <a:gd name="connsiteY431" fmla="*/ 98308 h 317229"/>
                  <a:gd name="connsiteX432" fmla="*/ 136838 w 351968"/>
                  <a:gd name="connsiteY432" fmla="*/ 96280 h 317229"/>
                  <a:gd name="connsiteX433" fmla="*/ 136220 w 351968"/>
                  <a:gd name="connsiteY433" fmla="*/ 95134 h 317229"/>
                  <a:gd name="connsiteX434" fmla="*/ 137983 w 351968"/>
                  <a:gd name="connsiteY434" fmla="*/ 92753 h 317229"/>
                  <a:gd name="connsiteX435" fmla="*/ 137102 w 351968"/>
                  <a:gd name="connsiteY435" fmla="*/ 90990 h 317229"/>
                  <a:gd name="connsiteX436" fmla="*/ 139394 w 351968"/>
                  <a:gd name="connsiteY436" fmla="*/ 85788 h 317229"/>
                  <a:gd name="connsiteX437" fmla="*/ 140011 w 351968"/>
                  <a:gd name="connsiteY437" fmla="*/ 84024 h 317229"/>
                  <a:gd name="connsiteX438" fmla="*/ 141158 w 351968"/>
                  <a:gd name="connsiteY438" fmla="*/ 84024 h 317229"/>
                  <a:gd name="connsiteX439" fmla="*/ 144067 w 351968"/>
                  <a:gd name="connsiteY439" fmla="*/ 78735 h 317229"/>
                  <a:gd name="connsiteX440" fmla="*/ 149269 w 351968"/>
                  <a:gd name="connsiteY440" fmla="*/ 78735 h 317229"/>
                  <a:gd name="connsiteX441" fmla="*/ 154824 w 351968"/>
                  <a:gd name="connsiteY441" fmla="*/ 78735 h 317229"/>
                  <a:gd name="connsiteX442" fmla="*/ 161260 w 351968"/>
                  <a:gd name="connsiteY442" fmla="*/ 84554 h 317229"/>
                  <a:gd name="connsiteX443" fmla="*/ 161525 w 351968"/>
                  <a:gd name="connsiteY443" fmla="*/ 86846 h 317229"/>
                  <a:gd name="connsiteX444" fmla="*/ 163553 w 351968"/>
                  <a:gd name="connsiteY444" fmla="*/ 86846 h 317229"/>
                  <a:gd name="connsiteX445" fmla="*/ 163553 w 351968"/>
                  <a:gd name="connsiteY445" fmla="*/ 88874 h 317229"/>
                  <a:gd name="connsiteX446" fmla="*/ 165580 w 351968"/>
                  <a:gd name="connsiteY446" fmla="*/ 87110 h 317229"/>
                  <a:gd name="connsiteX447" fmla="*/ 167608 w 351968"/>
                  <a:gd name="connsiteY447" fmla="*/ 87110 h 317229"/>
                  <a:gd name="connsiteX448" fmla="*/ 169019 w 351968"/>
                  <a:gd name="connsiteY448" fmla="*/ 88257 h 317229"/>
                  <a:gd name="connsiteX449" fmla="*/ 172810 w 351968"/>
                  <a:gd name="connsiteY449" fmla="*/ 90549 h 317229"/>
                  <a:gd name="connsiteX450" fmla="*/ 173692 w 351968"/>
                  <a:gd name="connsiteY450" fmla="*/ 89403 h 317229"/>
                  <a:gd name="connsiteX451" fmla="*/ 175720 w 351968"/>
                  <a:gd name="connsiteY451" fmla="*/ 90285 h 317229"/>
                  <a:gd name="connsiteX452" fmla="*/ 177747 w 351968"/>
                  <a:gd name="connsiteY452" fmla="*/ 91519 h 317229"/>
                  <a:gd name="connsiteX453" fmla="*/ 183302 w 351968"/>
                  <a:gd name="connsiteY453" fmla="*/ 91783 h 317229"/>
                  <a:gd name="connsiteX454" fmla="*/ 187358 w 351968"/>
                  <a:gd name="connsiteY454" fmla="*/ 89403 h 317229"/>
                  <a:gd name="connsiteX455" fmla="*/ 194323 w 351968"/>
                  <a:gd name="connsiteY455" fmla="*/ 90020 h 317229"/>
                  <a:gd name="connsiteX456" fmla="*/ 199261 w 351968"/>
                  <a:gd name="connsiteY456" fmla="*/ 87110 h 317229"/>
                  <a:gd name="connsiteX457" fmla="*/ 201906 w 351968"/>
                  <a:gd name="connsiteY457" fmla="*/ 78029 h 317229"/>
                  <a:gd name="connsiteX458" fmla="*/ 202787 w 351968"/>
                  <a:gd name="connsiteY458" fmla="*/ 75384 h 317229"/>
                  <a:gd name="connsiteX459" fmla="*/ 205168 w 351968"/>
                  <a:gd name="connsiteY459" fmla="*/ 69300 h 317229"/>
                  <a:gd name="connsiteX460" fmla="*/ 205432 w 351968"/>
                  <a:gd name="connsiteY460" fmla="*/ 64892 h 317229"/>
                  <a:gd name="connsiteX461" fmla="*/ 216806 w 351968"/>
                  <a:gd name="connsiteY461" fmla="*/ 62600 h 317229"/>
                  <a:gd name="connsiteX462" fmla="*/ 220333 w 351968"/>
                  <a:gd name="connsiteY462" fmla="*/ 57398 h 317229"/>
                  <a:gd name="connsiteX463" fmla="*/ 222361 w 351968"/>
                  <a:gd name="connsiteY463" fmla="*/ 55370 h 317229"/>
                  <a:gd name="connsiteX464" fmla="*/ 227034 w 351968"/>
                  <a:gd name="connsiteY464" fmla="*/ 53342 h 317229"/>
                  <a:gd name="connsiteX465" fmla="*/ 229943 w 351968"/>
                  <a:gd name="connsiteY465" fmla="*/ 39059 h 317229"/>
                  <a:gd name="connsiteX466" fmla="*/ 231090 w 351968"/>
                  <a:gd name="connsiteY466" fmla="*/ 38177 h 317229"/>
                  <a:gd name="connsiteX467" fmla="*/ 231706 w 351968"/>
                  <a:gd name="connsiteY467" fmla="*/ 39676 h 317229"/>
                  <a:gd name="connsiteX468" fmla="*/ 232588 w 351968"/>
                  <a:gd name="connsiteY468" fmla="*/ 37913 h 317229"/>
                  <a:gd name="connsiteX469" fmla="*/ 234087 w 351968"/>
                  <a:gd name="connsiteY469" fmla="*/ 37648 h 317229"/>
                  <a:gd name="connsiteX470" fmla="*/ 234352 w 351968"/>
                  <a:gd name="connsiteY470" fmla="*/ 35885 h 317229"/>
                  <a:gd name="connsiteX471" fmla="*/ 235762 w 351968"/>
                  <a:gd name="connsiteY471" fmla="*/ 35532 h 317229"/>
                  <a:gd name="connsiteX472" fmla="*/ 237261 w 351968"/>
                  <a:gd name="connsiteY472" fmla="*/ 34915 h 317229"/>
                  <a:gd name="connsiteX473" fmla="*/ 239025 w 351968"/>
                  <a:gd name="connsiteY473" fmla="*/ 32005 h 317229"/>
                  <a:gd name="connsiteX474" fmla="*/ 240523 w 351968"/>
                  <a:gd name="connsiteY474" fmla="*/ 30859 h 317229"/>
                  <a:gd name="connsiteX475" fmla="*/ 241405 w 351968"/>
                  <a:gd name="connsiteY475" fmla="*/ 31741 h 317229"/>
                  <a:gd name="connsiteX476" fmla="*/ 243169 w 351968"/>
                  <a:gd name="connsiteY476" fmla="*/ 30242 h 317229"/>
                  <a:gd name="connsiteX477" fmla="*/ 243433 w 351968"/>
                  <a:gd name="connsiteY477" fmla="*/ 27949 h 317229"/>
                  <a:gd name="connsiteX478" fmla="*/ 244932 w 351968"/>
                  <a:gd name="connsiteY478" fmla="*/ 25305 h 317229"/>
                  <a:gd name="connsiteX479" fmla="*/ 247841 w 351968"/>
                  <a:gd name="connsiteY479" fmla="*/ 24687 h 317229"/>
                  <a:gd name="connsiteX480" fmla="*/ 251897 w 351968"/>
                  <a:gd name="connsiteY480" fmla="*/ 23188 h 317229"/>
                  <a:gd name="connsiteX481" fmla="*/ 250751 w 351968"/>
                  <a:gd name="connsiteY481" fmla="*/ 20279 h 317229"/>
                  <a:gd name="connsiteX482" fmla="*/ 253661 w 351968"/>
                  <a:gd name="connsiteY482" fmla="*/ 19662 h 317229"/>
                  <a:gd name="connsiteX483" fmla="*/ 253925 w 351968"/>
                  <a:gd name="connsiteY483" fmla="*/ 17369 h 317229"/>
                  <a:gd name="connsiteX484" fmla="*/ 254190 w 351968"/>
                  <a:gd name="connsiteY484" fmla="*/ 16223 h 317229"/>
                  <a:gd name="connsiteX485" fmla="*/ 255953 w 351968"/>
                  <a:gd name="connsiteY485" fmla="*/ 15694 h 317229"/>
                  <a:gd name="connsiteX486" fmla="*/ 255336 w 351968"/>
                  <a:gd name="connsiteY486" fmla="*/ 14195 h 317229"/>
                  <a:gd name="connsiteX487" fmla="*/ 257099 w 351968"/>
                  <a:gd name="connsiteY487" fmla="*/ 14195 h 317229"/>
                  <a:gd name="connsiteX488" fmla="*/ 261772 w 351968"/>
                  <a:gd name="connsiteY488" fmla="*/ 10669 h 317229"/>
                  <a:gd name="connsiteX489" fmla="*/ 267944 w 351968"/>
                  <a:gd name="connsiteY489" fmla="*/ 10140 h 317229"/>
                  <a:gd name="connsiteX490" fmla="*/ 273146 w 351968"/>
                  <a:gd name="connsiteY490" fmla="*/ 7847 h 317229"/>
                  <a:gd name="connsiteX491" fmla="*/ 274292 w 351968"/>
                  <a:gd name="connsiteY491" fmla="*/ 4056 h 317229"/>
                  <a:gd name="connsiteX492" fmla="*/ 277819 w 351968"/>
                  <a:gd name="connsiteY492" fmla="*/ 2910 h 317229"/>
                  <a:gd name="connsiteX493" fmla="*/ 282756 w 351968"/>
                  <a:gd name="connsiteY493" fmla="*/ 1763 h 317229"/>
                  <a:gd name="connsiteX494" fmla="*/ 284520 w 351968"/>
                  <a:gd name="connsiteY494" fmla="*/ 1146 h 317229"/>
                  <a:gd name="connsiteX495" fmla="*/ 286283 w 351968"/>
                  <a:gd name="connsiteY495" fmla="*/ 1763 h 317229"/>
                  <a:gd name="connsiteX496" fmla="*/ 289809 w 351968"/>
                  <a:gd name="connsiteY496" fmla="*/ 0 h 317229"/>
                  <a:gd name="connsiteX497" fmla="*/ 295364 w 351968"/>
                  <a:gd name="connsiteY497" fmla="*/ 1499 h 317229"/>
                  <a:gd name="connsiteX498" fmla="*/ 299772 w 351968"/>
                  <a:gd name="connsiteY498" fmla="*/ 4408 h 317229"/>
                  <a:gd name="connsiteX499" fmla="*/ 302418 w 351968"/>
                  <a:gd name="connsiteY499" fmla="*/ 4408 h 317229"/>
                  <a:gd name="connsiteX500" fmla="*/ 304181 w 351968"/>
                  <a:gd name="connsiteY500" fmla="*/ 6172 h 317229"/>
                  <a:gd name="connsiteX501" fmla="*/ 306209 w 351968"/>
                  <a:gd name="connsiteY501" fmla="*/ 5555 h 317229"/>
                  <a:gd name="connsiteX502" fmla="*/ 318200 w 351968"/>
                  <a:gd name="connsiteY502" fmla="*/ 2292 h 317229"/>
                  <a:gd name="connsiteX503" fmla="*/ 321727 w 351968"/>
                  <a:gd name="connsiteY503" fmla="*/ 3791 h 317229"/>
                  <a:gd name="connsiteX504" fmla="*/ 325518 w 351968"/>
                  <a:gd name="connsiteY504" fmla="*/ 3527 h 317229"/>
                  <a:gd name="connsiteX505" fmla="*/ 329838 w 351968"/>
                  <a:gd name="connsiteY505" fmla="*/ 26539 h 317229"/>
                  <a:gd name="connsiteX506" fmla="*/ 329221 w 351968"/>
                  <a:gd name="connsiteY506" fmla="*/ 32093 h 317229"/>
                  <a:gd name="connsiteX507" fmla="*/ 329221 w 351968"/>
                  <a:gd name="connsiteY507" fmla="*/ 33857 h 317229"/>
                  <a:gd name="connsiteX508" fmla="*/ 331866 w 351968"/>
                  <a:gd name="connsiteY508" fmla="*/ 37031 h 317229"/>
                  <a:gd name="connsiteX509" fmla="*/ 331601 w 351968"/>
                  <a:gd name="connsiteY509" fmla="*/ 38442 h 317229"/>
                  <a:gd name="connsiteX510" fmla="*/ 333894 w 351968"/>
                  <a:gd name="connsiteY510" fmla="*/ 43114 h 317229"/>
                  <a:gd name="connsiteX511" fmla="*/ 335657 w 351968"/>
                  <a:gd name="connsiteY511" fmla="*/ 44878 h 317229"/>
                  <a:gd name="connsiteX512" fmla="*/ 335304 w 351968"/>
                  <a:gd name="connsiteY512" fmla="*/ 50432 h 317229"/>
                  <a:gd name="connsiteX513" fmla="*/ 337597 w 351968"/>
                  <a:gd name="connsiteY513" fmla="*/ 55722 h 317229"/>
                  <a:gd name="connsiteX514" fmla="*/ 336980 w 351968"/>
                  <a:gd name="connsiteY514" fmla="*/ 63041 h 317229"/>
                  <a:gd name="connsiteX515" fmla="*/ 336362 w 351968"/>
                  <a:gd name="connsiteY515" fmla="*/ 76178 h 317229"/>
                  <a:gd name="connsiteX516" fmla="*/ 335481 w 351968"/>
                  <a:gd name="connsiteY516" fmla="*/ 88433 h 317229"/>
                  <a:gd name="connsiteX517" fmla="*/ 333717 w 351968"/>
                  <a:gd name="connsiteY517" fmla="*/ 91960 h 317229"/>
                  <a:gd name="connsiteX518" fmla="*/ 334864 w 351968"/>
                  <a:gd name="connsiteY518" fmla="*/ 95134 h 317229"/>
                  <a:gd name="connsiteX519" fmla="*/ 332571 w 351968"/>
                  <a:gd name="connsiteY519" fmla="*/ 96897 h 317229"/>
                  <a:gd name="connsiteX520" fmla="*/ 322608 w 351968"/>
                  <a:gd name="connsiteY520" fmla="*/ 89050 h 317229"/>
                  <a:gd name="connsiteX521" fmla="*/ 320580 w 351968"/>
                  <a:gd name="connsiteY521" fmla="*/ 90549 h 317229"/>
                  <a:gd name="connsiteX522" fmla="*/ 316524 w 351968"/>
                  <a:gd name="connsiteY522" fmla="*/ 94605 h 317229"/>
                  <a:gd name="connsiteX523" fmla="*/ 314497 w 351968"/>
                  <a:gd name="connsiteY523" fmla="*/ 99542 h 317229"/>
                  <a:gd name="connsiteX524" fmla="*/ 309559 w 351968"/>
                  <a:gd name="connsiteY524" fmla="*/ 105979 h 317229"/>
                  <a:gd name="connsiteX525" fmla="*/ 308413 w 351968"/>
                  <a:gd name="connsiteY525" fmla="*/ 108624 h 317229"/>
                  <a:gd name="connsiteX526" fmla="*/ 308149 w 351968"/>
                  <a:gd name="connsiteY526" fmla="*/ 117352 h 317229"/>
                  <a:gd name="connsiteX527" fmla="*/ 310177 w 351968"/>
                  <a:gd name="connsiteY527" fmla="*/ 115853 h 317229"/>
                  <a:gd name="connsiteX528" fmla="*/ 310441 w 351968"/>
                  <a:gd name="connsiteY528" fmla="*/ 117617 h 317229"/>
                  <a:gd name="connsiteX529" fmla="*/ 311058 w 351968"/>
                  <a:gd name="connsiteY529" fmla="*/ 119645 h 317229"/>
                  <a:gd name="connsiteX530" fmla="*/ 314585 w 351968"/>
                  <a:gd name="connsiteY530" fmla="*/ 125816 h 317229"/>
                  <a:gd name="connsiteX531" fmla="*/ 321550 w 351968"/>
                  <a:gd name="connsiteY531" fmla="*/ 128990 h 317229"/>
                  <a:gd name="connsiteX532" fmla="*/ 332042 w 351968"/>
                  <a:gd name="connsiteY532" fmla="*/ 129255 h 317229"/>
                  <a:gd name="connsiteX533" fmla="*/ 333188 w 351968"/>
                  <a:gd name="connsiteY533" fmla="*/ 116735 h 317229"/>
                  <a:gd name="connsiteX534" fmla="*/ 335569 w 351968"/>
                  <a:gd name="connsiteY534" fmla="*/ 116735 h 317229"/>
                  <a:gd name="connsiteX535" fmla="*/ 336451 w 351968"/>
                  <a:gd name="connsiteY535" fmla="*/ 117352 h 317229"/>
                  <a:gd name="connsiteX536" fmla="*/ 341741 w 351968"/>
                  <a:gd name="connsiteY536" fmla="*/ 118234 h 317229"/>
                  <a:gd name="connsiteX537" fmla="*/ 351968 w 351968"/>
                  <a:gd name="connsiteY537" fmla="*/ 118234 h 317229"/>
                  <a:gd name="connsiteX538" fmla="*/ 350822 w 351968"/>
                  <a:gd name="connsiteY538" fmla="*/ 124670 h 317229"/>
                  <a:gd name="connsiteX539" fmla="*/ 349940 w 351968"/>
                  <a:gd name="connsiteY539" fmla="*/ 125287 h 317229"/>
                  <a:gd name="connsiteX540" fmla="*/ 345885 w 351968"/>
                  <a:gd name="connsiteY540" fmla="*/ 135780 h 317229"/>
                  <a:gd name="connsiteX541" fmla="*/ 344474 w 351968"/>
                  <a:gd name="connsiteY541" fmla="*/ 143362 h 317229"/>
                  <a:gd name="connsiteX542" fmla="*/ 344474 w 351968"/>
                  <a:gd name="connsiteY542" fmla="*/ 144773 h 317229"/>
                  <a:gd name="connsiteX543" fmla="*/ 342710 w 351968"/>
                  <a:gd name="connsiteY543" fmla="*/ 150592 h 317229"/>
                  <a:gd name="connsiteX544" fmla="*/ 340066 w 351968"/>
                  <a:gd name="connsiteY544" fmla="*/ 155882 h 317229"/>
                  <a:gd name="connsiteX545" fmla="*/ 339801 w 351968"/>
                  <a:gd name="connsiteY545" fmla="*/ 156146 h 317229"/>
                  <a:gd name="connsiteX546" fmla="*/ 339801 w 351968"/>
                  <a:gd name="connsiteY546" fmla="*/ 156411 h 317229"/>
                  <a:gd name="connsiteX547" fmla="*/ 339272 w 351968"/>
                  <a:gd name="connsiteY547" fmla="*/ 157293 h 317229"/>
                  <a:gd name="connsiteX548" fmla="*/ 338655 w 351968"/>
                  <a:gd name="connsiteY548" fmla="*/ 159938 h 317229"/>
                  <a:gd name="connsiteX549" fmla="*/ 336362 w 351968"/>
                  <a:gd name="connsiteY549" fmla="*/ 161966 h 317229"/>
                  <a:gd name="connsiteX550" fmla="*/ 335216 w 351968"/>
                  <a:gd name="connsiteY550" fmla="*/ 162847 h 317229"/>
                  <a:gd name="connsiteX551" fmla="*/ 333717 w 351968"/>
                  <a:gd name="connsiteY551" fmla="*/ 165139 h 317229"/>
                  <a:gd name="connsiteX552" fmla="*/ 333100 w 351968"/>
                  <a:gd name="connsiteY552" fmla="*/ 166021 h 317229"/>
                  <a:gd name="connsiteX553" fmla="*/ 332219 w 351968"/>
                  <a:gd name="connsiteY553" fmla="*/ 166286 h 317229"/>
                  <a:gd name="connsiteX554" fmla="*/ 331337 w 351968"/>
                  <a:gd name="connsiteY554" fmla="*/ 166021 h 317229"/>
                  <a:gd name="connsiteX555" fmla="*/ 330720 w 351968"/>
                  <a:gd name="connsiteY555" fmla="*/ 166286 h 317229"/>
                  <a:gd name="connsiteX556" fmla="*/ 330720 w 351968"/>
                  <a:gd name="connsiteY556" fmla="*/ 166815 h 317229"/>
                  <a:gd name="connsiteX557" fmla="*/ 330720 w 351968"/>
                  <a:gd name="connsiteY557" fmla="*/ 167432 h 317229"/>
                  <a:gd name="connsiteX558" fmla="*/ 329573 w 351968"/>
                  <a:gd name="connsiteY558" fmla="*/ 168314 h 317229"/>
                  <a:gd name="connsiteX559" fmla="*/ 327281 w 351968"/>
                  <a:gd name="connsiteY559" fmla="*/ 169812 h 317229"/>
                  <a:gd name="connsiteX560" fmla="*/ 326400 w 351968"/>
                  <a:gd name="connsiteY560" fmla="*/ 170077 h 317229"/>
                  <a:gd name="connsiteX561" fmla="*/ 324901 w 351968"/>
                  <a:gd name="connsiteY561" fmla="*/ 170077 h 317229"/>
                  <a:gd name="connsiteX562" fmla="*/ 324372 w 351968"/>
                  <a:gd name="connsiteY562" fmla="*/ 170077 h 317229"/>
                  <a:gd name="connsiteX563" fmla="*/ 320580 w 351968"/>
                  <a:gd name="connsiteY563" fmla="*/ 176161 h 317229"/>
                  <a:gd name="connsiteX564" fmla="*/ 315907 w 351968"/>
                  <a:gd name="connsiteY564" fmla="*/ 179952 h 317229"/>
                  <a:gd name="connsiteX565" fmla="*/ 310617 w 351968"/>
                  <a:gd name="connsiteY565" fmla="*/ 187270 h 317229"/>
                  <a:gd name="connsiteX566" fmla="*/ 310000 w 351968"/>
                  <a:gd name="connsiteY566" fmla="*/ 187534 h 317229"/>
                  <a:gd name="connsiteX567" fmla="*/ 309471 w 351968"/>
                  <a:gd name="connsiteY567" fmla="*/ 187270 h 317229"/>
                  <a:gd name="connsiteX568" fmla="*/ 309118 w 351968"/>
                  <a:gd name="connsiteY568" fmla="*/ 188769 h 317229"/>
                  <a:gd name="connsiteX569" fmla="*/ 308237 w 351968"/>
                  <a:gd name="connsiteY569" fmla="*/ 189650 h 317229"/>
                  <a:gd name="connsiteX570" fmla="*/ 308237 w 351968"/>
                  <a:gd name="connsiteY570" fmla="*/ 191414 h 317229"/>
                  <a:gd name="connsiteX571" fmla="*/ 307972 w 351968"/>
                  <a:gd name="connsiteY571" fmla="*/ 192031 h 317229"/>
                  <a:gd name="connsiteX572" fmla="*/ 307708 w 351968"/>
                  <a:gd name="connsiteY572" fmla="*/ 192295 h 317229"/>
                  <a:gd name="connsiteX573" fmla="*/ 306826 w 351968"/>
                  <a:gd name="connsiteY573" fmla="*/ 192295 h 317229"/>
                  <a:gd name="connsiteX574" fmla="*/ 306562 w 351968"/>
                  <a:gd name="connsiteY574" fmla="*/ 192912 h 317229"/>
                  <a:gd name="connsiteX575" fmla="*/ 306297 w 351968"/>
                  <a:gd name="connsiteY575" fmla="*/ 193530 h 317229"/>
                  <a:gd name="connsiteX576" fmla="*/ 306297 w 351968"/>
                  <a:gd name="connsiteY576" fmla="*/ 194059 h 317229"/>
                  <a:gd name="connsiteX577" fmla="*/ 306297 w 351968"/>
                  <a:gd name="connsiteY577" fmla="*/ 194676 h 317229"/>
                  <a:gd name="connsiteX578" fmla="*/ 306914 w 351968"/>
                  <a:gd name="connsiteY578" fmla="*/ 194059 h 317229"/>
                  <a:gd name="connsiteX579" fmla="*/ 307531 w 351968"/>
                  <a:gd name="connsiteY579" fmla="*/ 194059 h 317229"/>
                  <a:gd name="connsiteX580" fmla="*/ 307796 w 351968"/>
                  <a:gd name="connsiteY580" fmla="*/ 193794 h 317229"/>
                  <a:gd name="connsiteX581" fmla="*/ 308060 w 351968"/>
                  <a:gd name="connsiteY581" fmla="*/ 194059 h 317229"/>
                  <a:gd name="connsiteX582" fmla="*/ 308060 w 351968"/>
                  <a:gd name="connsiteY582" fmla="*/ 194323 h 317229"/>
                  <a:gd name="connsiteX583" fmla="*/ 307796 w 351968"/>
                  <a:gd name="connsiteY583" fmla="*/ 194588 h 317229"/>
                  <a:gd name="connsiteX584" fmla="*/ 307179 w 351968"/>
                  <a:gd name="connsiteY584" fmla="*/ 194852 h 317229"/>
                  <a:gd name="connsiteX585" fmla="*/ 303652 w 351968"/>
                  <a:gd name="connsiteY585" fmla="*/ 198026 h 317229"/>
                  <a:gd name="connsiteX586" fmla="*/ 300478 w 351968"/>
                  <a:gd name="connsiteY586" fmla="*/ 204198 h 317229"/>
                  <a:gd name="connsiteX587" fmla="*/ 298186 w 351968"/>
                  <a:gd name="connsiteY587" fmla="*/ 207725 h 317229"/>
                  <a:gd name="connsiteX588" fmla="*/ 297304 w 351968"/>
                  <a:gd name="connsiteY588" fmla="*/ 208606 h 317229"/>
                  <a:gd name="connsiteX589" fmla="*/ 295276 w 351968"/>
                  <a:gd name="connsiteY589" fmla="*/ 212398 h 317229"/>
                  <a:gd name="connsiteX590" fmla="*/ 292631 w 351968"/>
                  <a:gd name="connsiteY590" fmla="*/ 216806 h 317229"/>
                  <a:gd name="connsiteX591" fmla="*/ 290250 w 351968"/>
                  <a:gd name="connsiteY591" fmla="*/ 219098 h 317229"/>
                  <a:gd name="connsiteX592" fmla="*/ 289633 w 351968"/>
                  <a:gd name="connsiteY592" fmla="*/ 219980 h 317229"/>
                  <a:gd name="connsiteX593" fmla="*/ 288487 w 351968"/>
                  <a:gd name="connsiteY593" fmla="*/ 221391 h 317229"/>
                  <a:gd name="connsiteX594" fmla="*/ 286724 w 351968"/>
                  <a:gd name="connsiteY594" fmla="*/ 223419 h 317229"/>
                  <a:gd name="connsiteX595" fmla="*/ 284960 w 351968"/>
                  <a:gd name="connsiteY595" fmla="*/ 225447 h 317229"/>
                  <a:gd name="connsiteX596" fmla="*/ 284431 w 351968"/>
                  <a:gd name="connsiteY596" fmla="*/ 226328 h 317229"/>
                  <a:gd name="connsiteX597" fmla="*/ 282051 w 351968"/>
                  <a:gd name="connsiteY597" fmla="*/ 228709 h 317229"/>
                  <a:gd name="connsiteX598" fmla="*/ 279141 w 351968"/>
                  <a:gd name="connsiteY598" fmla="*/ 231354 h 317229"/>
                  <a:gd name="connsiteX599" fmla="*/ 277113 w 351968"/>
                  <a:gd name="connsiteY599" fmla="*/ 232236 h 317229"/>
                  <a:gd name="connsiteX600" fmla="*/ 274204 w 351968"/>
                  <a:gd name="connsiteY600" fmla="*/ 234881 h 317229"/>
                  <a:gd name="connsiteX601" fmla="*/ 273939 w 351968"/>
                  <a:gd name="connsiteY601" fmla="*/ 235410 h 317229"/>
                  <a:gd name="connsiteX602" fmla="*/ 272529 w 351968"/>
                  <a:gd name="connsiteY602" fmla="*/ 236291 h 317229"/>
                  <a:gd name="connsiteX603" fmla="*/ 272264 w 351968"/>
                  <a:gd name="connsiteY603" fmla="*/ 236909 h 317229"/>
                  <a:gd name="connsiteX604" fmla="*/ 270501 w 351968"/>
                  <a:gd name="connsiteY604" fmla="*/ 238055 h 317229"/>
                  <a:gd name="connsiteX605" fmla="*/ 269619 w 351968"/>
                  <a:gd name="connsiteY605" fmla="*/ 238319 h 317229"/>
                  <a:gd name="connsiteX606" fmla="*/ 269002 w 351968"/>
                  <a:gd name="connsiteY606" fmla="*/ 239465 h 317229"/>
                  <a:gd name="connsiteX607" fmla="*/ 268385 w 351968"/>
                  <a:gd name="connsiteY607" fmla="*/ 239818 h 317229"/>
                  <a:gd name="connsiteX608" fmla="*/ 268120 w 351968"/>
                  <a:gd name="connsiteY608" fmla="*/ 240435 h 317229"/>
                  <a:gd name="connsiteX609" fmla="*/ 266886 w 351968"/>
                  <a:gd name="connsiteY609" fmla="*/ 240700 h 317229"/>
                  <a:gd name="connsiteX610" fmla="*/ 264858 w 351968"/>
                  <a:gd name="connsiteY610" fmla="*/ 244756 h 317229"/>
                  <a:gd name="connsiteX611" fmla="*/ 263359 w 351968"/>
                  <a:gd name="connsiteY611" fmla="*/ 245637 h 317229"/>
                  <a:gd name="connsiteX612" fmla="*/ 262213 w 351968"/>
                  <a:gd name="connsiteY612" fmla="*/ 247665 h 317229"/>
                  <a:gd name="connsiteX613" fmla="*/ 258686 w 351968"/>
                  <a:gd name="connsiteY613" fmla="*/ 250927 h 317229"/>
                  <a:gd name="connsiteX614" fmla="*/ 256658 w 351968"/>
                  <a:gd name="connsiteY614" fmla="*/ 253220 h 317229"/>
                  <a:gd name="connsiteX615" fmla="*/ 254895 w 351968"/>
                  <a:gd name="connsiteY615" fmla="*/ 254719 h 317229"/>
                  <a:gd name="connsiteX616" fmla="*/ 253484 w 351968"/>
                  <a:gd name="connsiteY616" fmla="*/ 255865 h 317229"/>
                  <a:gd name="connsiteX617" fmla="*/ 251985 w 351968"/>
                  <a:gd name="connsiteY617" fmla="*/ 256747 h 317229"/>
                  <a:gd name="connsiteX618" fmla="*/ 251368 w 351968"/>
                  <a:gd name="connsiteY618" fmla="*/ 257628 h 317229"/>
                  <a:gd name="connsiteX619" fmla="*/ 249605 w 351968"/>
                  <a:gd name="connsiteY619" fmla="*/ 259127 h 317229"/>
                  <a:gd name="connsiteX620" fmla="*/ 248723 w 351968"/>
                  <a:gd name="connsiteY620" fmla="*/ 260890 h 317229"/>
                  <a:gd name="connsiteX621" fmla="*/ 245549 w 351968"/>
                  <a:gd name="connsiteY621" fmla="*/ 263183 h 317229"/>
                  <a:gd name="connsiteX622" fmla="*/ 245020 w 351968"/>
                  <a:gd name="connsiteY622" fmla="*/ 263800 h 317229"/>
                  <a:gd name="connsiteX623" fmla="*/ 243257 w 351968"/>
                  <a:gd name="connsiteY623" fmla="*/ 264417 h 317229"/>
                  <a:gd name="connsiteX624" fmla="*/ 242992 w 351968"/>
                  <a:gd name="connsiteY624" fmla="*/ 264682 h 317229"/>
                  <a:gd name="connsiteX625" fmla="*/ 242375 w 351968"/>
                  <a:gd name="connsiteY625" fmla="*/ 264946 h 317229"/>
                  <a:gd name="connsiteX626" fmla="*/ 241758 w 351968"/>
                  <a:gd name="connsiteY626" fmla="*/ 265563 h 317229"/>
                  <a:gd name="connsiteX627" fmla="*/ 240347 w 351968"/>
                  <a:gd name="connsiteY627" fmla="*/ 266092 h 317229"/>
                  <a:gd name="connsiteX628" fmla="*/ 239201 w 351968"/>
                  <a:gd name="connsiteY628" fmla="*/ 266709 h 317229"/>
                  <a:gd name="connsiteX629" fmla="*/ 238672 w 351968"/>
                  <a:gd name="connsiteY629" fmla="*/ 267856 h 317229"/>
                  <a:gd name="connsiteX630" fmla="*/ 238407 w 351968"/>
                  <a:gd name="connsiteY630" fmla="*/ 268737 h 317229"/>
                  <a:gd name="connsiteX631" fmla="*/ 236908 w 351968"/>
                  <a:gd name="connsiteY631" fmla="*/ 269355 h 317229"/>
                  <a:gd name="connsiteX632" fmla="*/ 236027 w 351968"/>
                  <a:gd name="connsiteY632" fmla="*/ 271118 h 317229"/>
                  <a:gd name="connsiteX633" fmla="*/ 234881 w 351968"/>
                  <a:gd name="connsiteY633" fmla="*/ 272000 h 317229"/>
                  <a:gd name="connsiteX634" fmla="*/ 231090 w 351968"/>
                  <a:gd name="connsiteY634" fmla="*/ 274027 h 317229"/>
                  <a:gd name="connsiteX635" fmla="*/ 228709 w 351968"/>
                  <a:gd name="connsiteY635" fmla="*/ 276055 h 317229"/>
                  <a:gd name="connsiteX636" fmla="*/ 226681 w 351968"/>
                  <a:gd name="connsiteY636" fmla="*/ 276937 h 317229"/>
                  <a:gd name="connsiteX637" fmla="*/ 226152 w 351968"/>
                  <a:gd name="connsiteY637" fmla="*/ 277730 h 317229"/>
                  <a:gd name="connsiteX638" fmla="*/ 225535 w 351968"/>
                  <a:gd name="connsiteY638" fmla="*/ 277730 h 317229"/>
                  <a:gd name="connsiteX639" fmla="*/ 224918 w 351968"/>
                  <a:gd name="connsiteY639" fmla="*/ 277995 h 317229"/>
                  <a:gd name="connsiteX640" fmla="*/ 223507 w 351968"/>
                  <a:gd name="connsiteY640" fmla="*/ 279494 h 317229"/>
                  <a:gd name="connsiteX641" fmla="*/ 222008 w 351968"/>
                  <a:gd name="connsiteY641" fmla="*/ 280111 h 317229"/>
                  <a:gd name="connsiteX642" fmla="*/ 221126 w 351968"/>
                  <a:gd name="connsiteY642" fmla="*/ 281257 h 317229"/>
                  <a:gd name="connsiteX643" fmla="*/ 219627 w 351968"/>
                  <a:gd name="connsiteY643" fmla="*/ 282139 h 317229"/>
                  <a:gd name="connsiteX644" fmla="*/ 217335 w 351968"/>
                  <a:gd name="connsiteY644" fmla="*/ 283285 h 317229"/>
                  <a:gd name="connsiteX645" fmla="*/ 216718 w 351968"/>
                  <a:gd name="connsiteY645" fmla="*/ 284431 h 317229"/>
                  <a:gd name="connsiteX646" fmla="*/ 214690 w 351968"/>
                  <a:gd name="connsiteY646" fmla="*/ 285313 h 317229"/>
                  <a:gd name="connsiteX647" fmla="*/ 212662 w 351968"/>
                  <a:gd name="connsiteY647" fmla="*/ 286195 h 317229"/>
                  <a:gd name="connsiteX648" fmla="*/ 211516 w 351968"/>
                  <a:gd name="connsiteY648" fmla="*/ 286812 h 317229"/>
                  <a:gd name="connsiteX649" fmla="*/ 209135 w 351968"/>
                  <a:gd name="connsiteY649" fmla="*/ 286812 h 317229"/>
                  <a:gd name="connsiteX650" fmla="*/ 207637 w 351968"/>
                  <a:gd name="connsiteY650" fmla="*/ 287693 h 317229"/>
                  <a:gd name="connsiteX651" fmla="*/ 207108 w 351968"/>
                  <a:gd name="connsiteY651" fmla="*/ 288575 h 317229"/>
                  <a:gd name="connsiteX652" fmla="*/ 205609 w 351968"/>
                  <a:gd name="connsiteY652" fmla="*/ 288575 h 317229"/>
                  <a:gd name="connsiteX653" fmla="*/ 204727 w 351968"/>
                  <a:gd name="connsiteY653" fmla="*/ 289721 h 317229"/>
                  <a:gd name="connsiteX654" fmla="*/ 203934 w 351968"/>
                  <a:gd name="connsiteY654" fmla="*/ 290427 h 317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</a:cxnLst>
                <a:rect l="l" t="t" r="r" b="b"/>
                <a:pathLst>
                  <a:path w="351968" h="317229">
                    <a:moveTo>
                      <a:pt x="243962" y="213985"/>
                    </a:moveTo>
                    <a:lnTo>
                      <a:pt x="243080" y="212839"/>
                    </a:lnTo>
                    <a:lnTo>
                      <a:pt x="236379" y="210546"/>
                    </a:lnTo>
                    <a:lnTo>
                      <a:pt x="231442" y="202964"/>
                    </a:lnTo>
                    <a:lnTo>
                      <a:pt x="229679" y="202964"/>
                    </a:lnTo>
                    <a:lnTo>
                      <a:pt x="229943" y="199173"/>
                    </a:lnTo>
                    <a:lnTo>
                      <a:pt x="228444" y="199437"/>
                    </a:lnTo>
                    <a:lnTo>
                      <a:pt x="222890" y="189827"/>
                    </a:lnTo>
                    <a:lnTo>
                      <a:pt x="222625" y="188063"/>
                    </a:lnTo>
                    <a:lnTo>
                      <a:pt x="224124" y="186653"/>
                    </a:lnTo>
                    <a:lnTo>
                      <a:pt x="231971" y="181980"/>
                    </a:lnTo>
                    <a:lnTo>
                      <a:pt x="231354" y="180216"/>
                    </a:lnTo>
                    <a:lnTo>
                      <a:pt x="232853" y="179952"/>
                    </a:lnTo>
                    <a:lnTo>
                      <a:pt x="233999" y="179070"/>
                    </a:lnTo>
                    <a:lnTo>
                      <a:pt x="234263" y="178188"/>
                    </a:lnTo>
                    <a:lnTo>
                      <a:pt x="234263" y="177307"/>
                    </a:lnTo>
                    <a:lnTo>
                      <a:pt x="236291" y="175279"/>
                    </a:lnTo>
                    <a:lnTo>
                      <a:pt x="237173" y="173516"/>
                    </a:lnTo>
                    <a:lnTo>
                      <a:pt x="236908" y="172898"/>
                    </a:lnTo>
                    <a:lnTo>
                      <a:pt x="237526" y="172634"/>
                    </a:lnTo>
                    <a:lnTo>
                      <a:pt x="238143" y="172634"/>
                    </a:lnTo>
                    <a:lnTo>
                      <a:pt x="238143" y="171752"/>
                    </a:lnTo>
                    <a:lnTo>
                      <a:pt x="239025" y="171752"/>
                    </a:lnTo>
                    <a:lnTo>
                      <a:pt x="239025" y="170606"/>
                    </a:lnTo>
                    <a:lnTo>
                      <a:pt x="239289" y="170341"/>
                    </a:lnTo>
                    <a:lnTo>
                      <a:pt x="239554" y="169460"/>
                    </a:lnTo>
                    <a:lnTo>
                      <a:pt x="242199" y="169460"/>
                    </a:lnTo>
                    <a:lnTo>
                      <a:pt x="243080" y="168049"/>
                    </a:lnTo>
                    <a:lnTo>
                      <a:pt x="243698" y="167784"/>
                    </a:lnTo>
                    <a:lnTo>
                      <a:pt x="244315" y="168402"/>
                    </a:lnTo>
                    <a:lnTo>
                      <a:pt x="245461" y="168402"/>
                    </a:lnTo>
                    <a:lnTo>
                      <a:pt x="245461" y="167784"/>
                    </a:lnTo>
                    <a:lnTo>
                      <a:pt x="246871" y="167432"/>
                    </a:lnTo>
                    <a:lnTo>
                      <a:pt x="247753" y="165139"/>
                    </a:lnTo>
                    <a:lnTo>
                      <a:pt x="249252" y="164258"/>
                    </a:lnTo>
                    <a:lnTo>
                      <a:pt x="249869" y="164258"/>
                    </a:lnTo>
                    <a:lnTo>
                      <a:pt x="253396" y="164258"/>
                    </a:lnTo>
                    <a:lnTo>
                      <a:pt x="254278" y="162495"/>
                    </a:lnTo>
                    <a:lnTo>
                      <a:pt x="257805" y="162230"/>
                    </a:lnTo>
                    <a:lnTo>
                      <a:pt x="259832" y="161084"/>
                    </a:lnTo>
                    <a:lnTo>
                      <a:pt x="260714" y="162230"/>
                    </a:lnTo>
                    <a:lnTo>
                      <a:pt x="262477" y="163640"/>
                    </a:lnTo>
                    <a:lnTo>
                      <a:pt x="263888" y="165139"/>
                    </a:lnTo>
                    <a:lnTo>
                      <a:pt x="265387" y="168666"/>
                    </a:lnTo>
                    <a:lnTo>
                      <a:pt x="266798" y="169812"/>
                    </a:lnTo>
                    <a:lnTo>
                      <a:pt x="267679" y="170430"/>
                    </a:lnTo>
                    <a:lnTo>
                      <a:pt x="269707" y="171311"/>
                    </a:lnTo>
                    <a:lnTo>
                      <a:pt x="269972" y="172193"/>
                    </a:lnTo>
                    <a:lnTo>
                      <a:pt x="271118" y="173075"/>
                    </a:lnTo>
                    <a:lnTo>
                      <a:pt x="272881" y="173692"/>
                    </a:lnTo>
                    <a:lnTo>
                      <a:pt x="272617" y="175455"/>
                    </a:lnTo>
                    <a:lnTo>
                      <a:pt x="273763" y="176072"/>
                    </a:lnTo>
                    <a:lnTo>
                      <a:pt x="274909" y="180745"/>
                    </a:lnTo>
                    <a:lnTo>
                      <a:pt x="274644" y="181362"/>
                    </a:lnTo>
                    <a:lnTo>
                      <a:pt x="274380" y="182861"/>
                    </a:lnTo>
                    <a:lnTo>
                      <a:pt x="272970" y="183478"/>
                    </a:lnTo>
                    <a:lnTo>
                      <a:pt x="271823" y="184008"/>
                    </a:lnTo>
                    <a:lnTo>
                      <a:pt x="271559" y="185506"/>
                    </a:lnTo>
                    <a:lnTo>
                      <a:pt x="271559" y="186124"/>
                    </a:lnTo>
                    <a:lnTo>
                      <a:pt x="271559" y="188416"/>
                    </a:lnTo>
                    <a:lnTo>
                      <a:pt x="268914" y="188152"/>
                    </a:lnTo>
                    <a:lnTo>
                      <a:pt x="268032" y="188769"/>
                    </a:lnTo>
                    <a:lnTo>
                      <a:pt x="267767" y="191149"/>
                    </a:lnTo>
                    <a:lnTo>
                      <a:pt x="267150" y="192912"/>
                    </a:lnTo>
                    <a:lnTo>
                      <a:pt x="268032" y="193441"/>
                    </a:lnTo>
                    <a:lnTo>
                      <a:pt x="267767" y="194588"/>
                    </a:lnTo>
                    <a:lnTo>
                      <a:pt x="267150" y="195205"/>
                    </a:lnTo>
                    <a:lnTo>
                      <a:pt x="265740" y="196968"/>
                    </a:lnTo>
                    <a:lnTo>
                      <a:pt x="261331" y="198996"/>
                    </a:lnTo>
                    <a:lnTo>
                      <a:pt x="258422" y="199349"/>
                    </a:lnTo>
                    <a:lnTo>
                      <a:pt x="257011" y="200231"/>
                    </a:lnTo>
                    <a:lnTo>
                      <a:pt x="254719" y="199349"/>
                    </a:lnTo>
                    <a:lnTo>
                      <a:pt x="253572" y="200760"/>
                    </a:lnTo>
                    <a:lnTo>
                      <a:pt x="252073" y="200142"/>
                    </a:lnTo>
                    <a:lnTo>
                      <a:pt x="251544" y="200760"/>
                    </a:lnTo>
                    <a:lnTo>
                      <a:pt x="249781" y="202258"/>
                    </a:lnTo>
                    <a:lnTo>
                      <a:pt x="248282" y="201377"/>
                    </a:lnTo>
                    <a:lnTo>
                      <a:pt x="247665" y="202258"/>
                    </a:lnTo>
                    <a:lnTo>
                      <a:pt x="248547" y="204551"/>
                    </a:lnTo>
                    <a:lnTo>
                      <a:pt x="247929" y="206314"/>
                    </a:lnTo>
                    <a:lnTo>
                      <a:pt x="245637" y="208077"/>
                    </a:lnTo>
                    <a:lnTo>
                      <a:pt x="246254" y="209224"/>
                    </a:lnTo>
                    <a:lnTo>
                      <a:pt x="245373" y="210634"/>
                    </a:lnTo>
                    <a:lnTo>
                      <a:pt x="244227" y="211516"/>
                    </a:lnTo>
                    <a:lnTo>
                      <a:pt x="244227" y="213985"/>
                    </a:lnTo>
                    <a:close/>
                    <a:moveTo>
                      <a:pt x="203934" y="290427"/>
                    </a:moveTo>
                    <a:lnTo>
                      <a:pt x="201289" y="290162"/>
                    </a:lnTo>
                    <a:lnTo>
                      <a:pt x="199878" y="290427"/>
                    </a:lnTo>
                    <a:lnTo>
                      <a:pt x="198732" y="290427"/>
                    </a:lnTo>
                    <a:lnTo>
                      <a:pt x="195558" y="288928"/>
                    </a:lnTo>
                    <a:lnTo>
                      <a:pt x="192912" y="288928"/>
                    </a:lnTo>
                    <a:lnTo>
                      <a:pt x="190884" y="289545"/>
                    </a:lnTo>
                    <a:lnTo>
                      <a:pt x="189739" y="289810"/>
                    </a:lnTo>
                    <a:lnTo>
                      <a:pt x="187711" y="290427"/>
                    </a:lnTo>
                    <a:lnTo>
                      <a:pt x="186829" y="291044"/>
                    </a:lnTo>
                    <a:lnTo>
                      <a:pt x="185947" y="292543"/>
                    </a:lnTo>
                    <a:lnTo>
                      <a:pt x="185330" y="294571"/>
                    </a:lnTo>
                    <a:lnTo>
                      <a:pt x="186212" y="296334"/>
                    </a:lnTo>
                    <a:lnTo>
                      <a:pt x="186829" y="297480"/>
                    </a:lnTo>
                    <a:lnTo>
                      <a:pt x="186212" y="298097"/>
                    </a:lnTo>
                    <a:lnTo>
                      <a:pt x="185595" y="297745"/>
                    </a:lnTo>
                    <a:lnTo>
                      <a:pt x="183567" y="297745"/>
                    </a:lnTo>
                    <a:lnTo>
                      <a:pt x="182068" y="297480"/>
                    </a:lnTo>
                    <a:lnTo>
                      <a:pt x="180304" y="297480"/>
                    </a:lnTo>
                    <a:lnTo>
                      <a:pt x="177130" y="295717"/>
                    </a:lnTo>
                    <a:lnTo>
                      <a:pt x="172722" y="295717"/>
                    </a:lnTo>
                    <a:lnTo>
                      <a:pt x="170694" y="296246"/>
                    </a:lnTo>
                    <a:lnTo>
                      <a:pt x="169812" y="296863"/>
                    </a:lnTo>
                    <a:lnTo>
                      <a:pt x="170077" y="298009"/>
                    </a:lnTo>
                    <a:lnTo>
                      <a:pt x="169812" y="298538"/>
                    </a:lnTo>
                    <a:lnTo>
                      <a:pt x="169548" y="299420"/>
                    </a:lnTo>
                    <a:lnTo>
                      <a:pt x="169019" y="300301"/>
                    </a:lnTo>
                    <a:lnTo>
                      <a:pt x="168754" y="300919"/>
                    </a:lnTo>
                    <a:lnTo>
                      <a:pt x="168490" y="301448"/>
                    </a:lnTo>
                    <a:lnTo>
                      <a:pt x="167608" y="302065"/>
                    </a:lnTo>
                    <a:lnTo>
                      <a:pt x="166109" y="301448"/>
                    </a:lnTo>
                    <a:lnTo>
                      <a:pt x="164963" y="300919"/>
                    </a:lnTo>
                    <a:lnTo>
                      <a:pt x="163817" y="300919"/>
                    </a:lnTo>
                    <a:lnTo>
                      <a:pt x="161789" y="300654"/>
                    </a:lnTo>
                    <a:lnTo>
                      <a:pt x="159144" y="298891"/>
                    </a:lnTo>
                    <a:lnTo>
                      <a:pt x="157116" y="298891"/>
                    </a:lnTo>
                    <a:lnTo>
                      <a:pt x="154824" y="297745"/>
                    </a:lnTo>
                    <a:lnTo>
                      <a:pt x="150768" y="297480"/>
                    </a:lnTo>
                    <a:lnTo>
                      <a:pt x="144949" y="296334"/>
                    </a:lnTo>
                    <a:lnTo>
                      <a:pt x="142039" y="296334"/>
                    </a:lnTo>
                    <a:lnTo>
                      <a:pt x="139394" y="297480"/>
                    </a:lnTo>
                    <a:lnTo>
                      <a:pt x="139130" y="297745"/>
                    </a:lnTo>
                    <a:lnTo>
                      <a:pt x="138513" y="298097"/>
                    </a:lnTo>
                    <a:lnTo>
                      <a:pt x="138865" y="297480"/>
                    </a:lnTo>
                    <a:lnTo>
                      <a:pt x="138513" y="297480"/>
                    </a:lnTo>
                    <a:lnTo>
                      <a:pt x="138248" y="297745"/>
                    </a:lnTo>
                    <a:lnTo>
                      <a:pt x="138248" y="298097"/>
                    </a:lnTo>
                    <a:lnTo>
                      <a:pt x="138865" y="298979"/>
                    </a:lnTo>
                    <a:lnTo>
                      <a:pt x="139130" y="299244"/>
                    </a:lnTo>
                    <a:lnTo>
                      <a:pt x="138865" y="299508"/>
                    </a:lnTo>
                    <a:lnTo>
                      <a:pt x="137983" y="299508"/>
                    </a:lnTo>
                    <a:lnTo>
                      <a:pt x="134192" y="298627"/>
                    </a:lnTo>
                    <a:lnTo>
                      <a:pt x="132165" y="298097"/>
                    </a:lnTo>
                    <a:lnTo>
                      <a:pt x="131900" y="297745"/>
                    </a:lnTo>
                    <a:lnTo>
                      <a:pt x="131018" y="297480"/>
                    </a:lnTo>
                    <a:lnTo>
                      <a:pt x="131018" y="298362"/>
                    </a:lnTo>
                    <a:lnTo>
                      <a:pt x="130666" y="298627"/>
                    </a:lnTo>
                    <a:lnTo>
                      <a:pt x="130048" y="298627"/>
                    </a:lnTo>
                    <a:lnTo>
                      <a:pt x="129519" y="298362"/>
                    </a:lnTo>
                    <a:lnTo>
                      <a:pt x="125993" y="297480"/>
                    </a:lnTo>
                    <a:lnTo>
                      <a:pt x="121584" y="297216"/>
                    </a:lnTo>
                    <a:lnTo>
                      <a:pt x="117793" y="297745"/>
                    </a:lnTo>
                    <a:lnTo>
                      <a:pt x="116030" y="297745"/>
                    </a:lnTo>
                    <a:lnTo>
                      <a:pt x="113120" y="298891"/>
                    </a:lnTo>
                    <a:lnTo>
                      <a:pt x="111621" y="300301"/>
                    </a:lnTo>
                    <a:lnTo>
                      <a:pt x="109594" y="301183"/>
                    </a:lnTo>
                    <a:lnTo>
                      <a:pt x="108447" y="302594"/>
                    </a:lnTo>
                    <a:lnTo>
                      <a:pt x="107301" y="303740"/>
                    </a:lnTo>
                    <a:lnTo>
                      <a:pt x="107037" y="304622"/>
                    </a:lnTo>
                    <a:lnTo>
                      <a:pt x="106772" y="305504"/>
                    </a:lnTo>
                    <a:lnTo>
                      <a:pt x="105009" y="306385"/>
                    </a:lnTo>
                    <a:lnTo>
                      <a:pt x="102628" y="306650"/>
                    </a:lnTo>
                    <a:lnTo>
                      <a:pt x="100865" y="306033"/>
                    </a:lnTo>
                    <a:lnTo>
                      <a:pt x="99983" y="305680"/>
                    </a:lnTo>
                    <a:lnTo>
                      <a:pt x="99101" y="305415"/>
                    </a:lnTo>
                    <a:lnTo>
                      <a:pt x="98220" y="305680"/>
                    </a:lnTo>
                    <a:lnTo>
                      <a:pt x="96721" y="306297"/>
                    </a:lnTo>
                    <a:lnTo>
                      <a:pt x="96721" y="306562"/>
                    </a:lnTo>
                    <a:lnTo>
                      <a:pt x="96456" y="306826"/>
                    </a:lnTo>
                    <a:lnTo>
                      <a:pt x="93811" y="307443"/>
                    </a:lnTo>
                    <a:lnTo>
                      <a:pt x="92312" y="307179"/>
                    </a:lnTo>
                    <a:lnTo>
                      <a:pt x="90020" y="306033"/>
                    </a:lnTo>
                    <a:lnTo>
                      <a:pt x="88257" y="305680"/>
                    </a:lnTo>
                    <a:lnTo>
                      <a:pt x="85964" y="306033"/>
                    </a:lnTo>
                    <a:lnTo>
                      <a:pt x="84818" y="306650"/>
                    </a:lnTo>
                    <a:lnTo>
                      <a:pt x="84201" y="307531"/>
                    </a:lnTo>
                    <a:lnTo>
                      <a:pt x="83672" y="308149"/>
                    </a:lnTo>
                    <a:lnTo>
                      <a:pt x="81380" y="307884"/>
                    </a:lnTo>
                    <a:lnTo>
                      <a:pt x="77853" y="308149"/>
                    </a:lnTo>
                    <a:lnTo>
                      <a:pt x="76707" y="308766"/>
                    </a:lnTo>
                    <a:lnTo>
                      <a:pt x="75560" y="310177"/>
                    </a:lnTo>
                    <a:lnTo>
                      <a:pt x="73268" y="312204"/>
                    </a:lnTo>
                    <a:lnTo>
                      <a:pt x="71769" y="313086"/>
                    </a:lnTo>
                    <a:lnTo>
                      <a:pt x="70358" y="313968"/>
                    </a:lnTo>
                    <a:lnTo>
                      <a:pt x="68595" y="314849"/>
                    </a:lnTo>
                    <a:lnTo>
                      <a:pt x="67978" y="315466"/>
                    </a:lnTo>
                    <a:lnTo>
                      <a:pt x="67361" y="316348"/>
                    </a:lnTo>
                    <a:lnTo>
                      <a:pt x="66744" y="316965"/>
                    </a:lnTo>
                    <a:lnTo>
                      <a:pt x="66126" y="317230"/>
                    </a:lnTo>
                    <a:lnTo>
                      <a:pt x="64980" y="316613"/>
                    </a:lnTo>
                    <a:lnTo>
                      <a:pt x="64275" y="316084"/>
                    </a:lnTo>
                    <a:lnTo>
                      <a:pt x="63393" y="315555"/>
                    </a:lnTo>
                    <a:lnTo>
                      <a:pt x="60219" y="315819"/>
                    </a:lnTo>
                    <a:lnTo>
                      <a:pt x="59690" y="315819"/>
                    </a:lnTo>
                    <a:lnTo>
                      <a:pt x="59690" y="316436"/>
                    </a:lnTo>
                    <a:lnTo>
                      <a:pt x="59073" y="316084"/>
                    </a:lnTo>
                    <a:lnTo>
                      <a:pt x="57045" y="314585"/>
                    </a:lnTo>
                    <a:lnTo>
                      <a:pt x="56428" y="313703"/>
                    </a:lnTo>
                    <a:lnTo>
                      <a:pt x="55546" y="313086"/>
                    </a:lnTo>
                    <a:lnTo>
                      <a:pt x="54665" y="312469"/>
                    </a:lnTo>
                    <a:lnTo>
                      <a:pt x="53783" y="311852"/>
                    </a:lnTo>
                    <a:lnTo>
                      <a:pt x="52637" y="311587"/>
                    </a:lnTo>
                    <a:lnTo>
                      <a:pt x="53254" y="310970"/>
                    </a:lnTo>
                    <a:lnTo>
                      <a:pt x="53871" y="310088"/>
                    </a:lnTo>
                    <a:lnTo>
                      <a:pt x="53871" y="309207"/>
                    </a:lnTo>
                    <a:lnTo>
                      <a:pt x="53254" y="308060"/>
                    </a:lnTo>
                    <a:lnTo>
                      <a:pt x="52372" y="306914"/>
                    </a:lnTo>
                    <a:lnTo>
                      <a:pt x="51755" y="306914"/>
                    </a:lnTo>
                    <a:lnTo>
                      <a:pt x="51138" y="307179"/>
                    </a:lnTo>
                    <a:lnTo>
                      <a:pt x="50521" y="307443"/>
                    </a:lnTo>
                    <a:lnTo>
                      <a:pt x="48493" y="306826"/>
                    </a:lnTo>
                    <a:lnTo>
                      <a:pt x="48228" y="305944"/>
                    </a:lnTo>
                    <a:lnTo>
                      <a:pt x="47964" y="305327"/>
                    </a:lnTo>
                    <a:lnTo>
                      <a:pt x="47699" y="305327"/>
                    </a:lnTo>
                    <a:lnTo>
                      <a:pt x="46817" y="305327"/>
                    </a:lnTo>
                    <a:lnTo>
                      <a:pt x="45671" y="305327"/>
                    </a:lnTo>
                    <a:lnTo>
                      <a:pt x="44790" y="305327"/>
                    </a:lnTo>
                    <a:lnTo>
                      <a:pt x="43379" y="305944"/>
                    </a:lnTo>
                    <a:lnTo>
                      <a:pt x="43114" y="306209"/>
                    </a:lnTo>
                    <a:lnTo>
                      <a:pt x="42497" y="305944"/>
                    </a:lnTo>
                    <a:lnTo>
                      <a:pt x="42762" y="305063"/>
                    </a:lnTo>
                    <a:lnTo>
                      <a:pt x="43026" y="304445"/>
                    </a:lnTo>
                    <a:lnTo>
                      <a:pt x="43291" y="303564"/>
                    </a:lnTo>
                    <a:lnTo>
                      <a:pt x="43555" y="302418"/>
                    </a:lnTo>
                    <a:lnTo>
                      <a:pt x="44172" y="300390"/>
                    </a:lnTo>
                    <a:lnTo>
                      <a:pt x="43908" y="299773"/>
                    </a:lnTo>
                    <a:lnTo>
                      <a:pt x="43291" y="298627"/>
                    </a:lnTo>
                    <a:lnTo>
                      <a:pt x="42144" y="297745"/>
                    </a:lnTo>
                    <a:lnTo>
                      <a:pt x="39235" y="297392"/>
                    </a:lnTo>
                    <a:lnTo>
                      <a:pt x="36061" y="298538"/>
                    </a:lnTo>
                    <a:lnTo>
                      <a:pt x="35444" y="299156"/>
                    </a:lnTo>
                    <a:lnTo>
                      <a:pt x="34827" y="300654"/>
                    </a:lnTo>
                    <a:lnTo>
                      <a:pt x="35091" y="300919"/>
                    </a:lnTo>
                    <a:lnTo>
                      <a:pt x="35091" y="301183"/>
                    </a:lnTo>
                    <a:lnTo>
                      <a:pt x="35708" y="301800"/>
                    </a:lnTo>
                    <a:lnTo>
                      <a:pt x="35708" y="302418"/>
                    </a:lnTo>
                    <a:lnTo>
                      <a:pt x="35708" y="304181"/>
                    </a:lnTo>
                    <a:lnTo>
                      <a:pt x="35708" y="305327"/>
                    </a:lnTo>
                    <a:lnTo>
                      <a:pt x="35091" y="305063"/>
                    </a:lnTo>
                    <a:lnTo>
                      <a:pt x="34209" y="304445"/>
                    </a:lnTo>
                    <a:lnTo>
                      <a:pt x="33945" y="302947"/>
                    </a:lnTo>
                    <a:lnTo>
                      <a:pt x="33680" y="302329"/>
                    </a:lnTo>
                    <a:lnTo>
                      <a:pt x="33416" y="300919"/>
                    </a:lnTo>
                    <a:lnTo>
                      <a:pt x="33151" y="300301"/>
                    </a:lnTo>
                    <a:lnTo>
                      <a:pt x="32799" y="299156"/>
                    </a:lnTo>
                    <a:lnTo>
                      <a:pt x="32534" y="298891"/>
                    </a:lnTo>
                    <a:lnTo>
                      <a:pt x="32534" y="298009"/>
                    </a:lnTo>
                    <a:lnTo>
                      <a:pt x="32534" y="297745"/>
                    </a:lnTo>
                    <a:lnTo>
                      <a:pt x="32799" y="297128"/>
                    </a:lnTo>
                    <a:lnTo>
                      <a:pt x="33151" y="296246"/>
                    </a:lnTo>
                    <a:lnTo>
                      <a:pt x="33416" y="295364"/>
                    </a:lnTo>
                    <a:lnTo>
                      <a:pt x="33680" y="294747"/>
                    </a:lnTo>
                    <a:lnTo>
                      <a:pt x="34298" y="293865"/>
                    </a:lnTo>
                    <a:lnTo>
                      <a:pt x="35179" y="294130"/>
                    </a:lnTo>
                    <a:lnTo>
                      <a:pt x="35444" y="294394"/>
                    </a:lnTo>
                    <a:lnTo>
                      <a:pt x="35444" y="293777"/>
                    </a:lnTo>
                    <a:lnTo>
                      <a:pt x="35708" y="292895"/>
                    </a:lnTo>
                    <a:lnTo>
                      <a:pt x="35973" y="291749"/>
                    </a:lnTo>
                    <a:lnTo>
                      <a:pt x="35973" y="289986"/>
                    </a:lnTo>
                    <a:lnTo>
                      <a:pt x="35973" y="288487"/>
                    </a:lnTo>
                    <a:lnTo>
                      <a:pt x="35356" y="286724"/>
                    </a:lnTo>
                    <a:lnTo>
                      <a:pt x="34474" y="286459"/>
                    </a:lnTo>
                    <a:lnTo>
                      <a:pt x="33592" y="286195"/>
                    </a:lnTo>
                    <a:lnTo>
                      <a:pt x="33328" y="285313"/>
                    </a:lnTo>
                    <a:lnTo>
                      <a:pt x="33592" y="283285"/>
                    </a:lnTo>
                    <a:lnTo>
                      <a:pt x="33328" y="282668"/>
                    </a:lnTo>
                    <a:lnTo>
                      <a:pt x="31829" y="281522"/>
                    </a:lnTo>
                    <a:lnTo>
                      <a:pt x="30418" y="279494"/>
                    </a:lnTo>
                    <a:lnTo>
                      <a:pt x="30683" y="279229"/>
                    </a:lnTo>
                    <a:lnTo>
                      <a:pt x="29272" y="276320"/>
                    </a:lnTo>
                    <a:lnTo>
                      <a:pt x="30418" y="275703"/>
                    </a:lnTo>
                    <a:lnTo>
                      <a:pt x="29536" y="274821"/>
                    </a:lnTo>
                    <a:lnTo>
                      <a:pt x="28038" y="273322"/>
                    </a:lnTo>
                    <a:lnTo>
                      <a:pt x="28038" y="271823"/>
                    </a:lnTo>
                    <a:lnTo>
                      <a:pt x="27156" y="270942"/>
                    </a:lnTo>
                    <a:lnTo>
                      <a:pt x="26892" y="271294"/>
                    </a:lnTo>
                    <a:lnTo>
                      <a:pt x="26892" y="271823"/>
                    </a:lnTo>
                    <a:lnTo>
                      <a:pt x="26010" y="271823"/>
                    </a:lnTo>
                    <a:lnTo>
                      <a:pt x="25481" y="271823"/>
                    </a:lnTo>
                    <a:lnTo>
                      <a:pt x="25481" y="271294"/>
                    </a:lnTo>
                    <a:lnTo>
                      <a:pt x="25481" y="270942"/>
                    </a:lnTo>
                    <a:lnTo>
                      <a:pt x="25481" y="269178"/>
                    </a:lnTo>
                    <a:lnTo>
                      <a:pt x="25216" y="268826"/>
                    </a:lnTo>
                    <a:lnTo>
                      <a:pt x="25481" y="267415"/>
                    </a:lnTo>
                    <a:lnTo>
                      <a:pt x="24864" y="266533"/>
                    </a:lnTo>
                    <a:lnTo>
                      <a:pt x="25745" y="265916"/>
                    </a:lnTo>
                    <a:lnTo>
                      <a:pt x="25745" y="264241"/>
                    </a:lnTo>
                    <a:lnTo>
                      <a:pt x="26627" y="263624"/>
                    </a:lnTo>
                    <a:lnTo>
                      <a:pt x="27244" y="263624"/>
                    </a:lnTo>
                    <a:lnTo>
                      <a:pt x="27508" y="263624"/>
                    </a:lnTo>
                    <a:lnTo>
                      <a:pt x="27773" y="264241"/>
                    </a:lnTo>
                    <a:lnTo>
                      <a:pt x="28919" y="265651"/>
                    </a:lnTo>
                    <a:lnTo>
                      <a:pt x="30947" y="265651"/>
                    </a:lnTo>
                    <a:lnTo>
                      <a:pt x="33328" y="263006"/>
                    </a:lnTo>
                    <a:lnTo>
                      <a:pt x="34209" y="261507"/>
                    </a:lnTo>
                    <a:lnTo>
                      <a:pt x="35091" y="257716"/>
                    </a:lnTo>
                    <a:lnTo>
                      <a:pt x="35091" y="254190"/>
                    </a:lnTo>
                    <a:lnTo>
                      <a:pt x="36237" y="253043"/>
                    </a:lnTo>
                    <a:lnTo>
                      <a:pt x="35356" y="248106"/>
                    </a:lnTo>
                    <a:lnTo>
                      <a:pt x="35356" y="247224"/>
                    </a:lnTo>
                    <a:lnTo>
                      <a:pt x="35091" y="244579"/>
                    </a:lnTo>
                    <a:lnTo>
                      <a:pt x="35091" y="243433"/>
                    </a:lnTo>
                    <a:lnTo>
                      <a:pt x="34209" y="241670"/>
                    </a:lnTo>
                    <a:lnTo>
                      <a:pt x="34209" y="239642"/>
                    </a:lnTo>
                    <a:lnTo>
                      <a:pt x="33063" y="238231"/>
                    </a:lnTo>
                    <a:lnTo>
                      <a:pt x="30154" y="232059"/>
                    </a:lnTo>
                    <a:lnTo>
                      <a:pt x="28390" y="230296"/>
                    </a:lnTo>
                    <a:lnTo>
                      <a:pt x="26892" y="227122"/>
                    </a:lnTo>
                    <a:lnTo>
                      <a:pt x="26010" y="226240"/>
                    </a:lnTo>
                    <a:lnTo>
                      <a:pt x="23365" y="221832"/>
                    </a:lnTo>
                    <a:lnTo>
                      <a:pt x="21866" y="218922"/>
                    </a:lnTo>
                    <a:lnTo>
                      <a:pt x="21601" y="215748"/>
                    </a:lnTo>
                    <a:lnTo>
                      <a:pt x="20720" y="214602"/>
                    </a:lnTo>
                    <a:lnTo>
                      <a:pt x="19838" y="213456"/>
                    </a:lnTo>
                    <a:lnTo>
                      <a:pt x="18956" y="210546"/>
                    </a:lnTo>
                    <a:lnTo>
                      <a:pt x="15782" y="204463"/>
                    </a:lnTo>
                    <a:lnTo>
                      <a:pt x="15518" y="202964"/>
                    </a:lnTo>
                    <a:lnTo>
                      <a:pt x="14900" y="199790"/>
                    </a:lnTo>
                    <a:lnTo>
                      <a:pt x="13754" y="195381"/>
                    </a:lnTo>
                    <a:lnTo>
                      <a:pt x="12608" y="191943"/>
                    </a:lnTo>
                    <a:lnTo>
                      <a:pt x="11462" y="188152"/>
                    </a:lnTo>
                    <a:lnTo>
                      <a:pt x="10580" y="185242"/>
                    </a:lnTo>
                    <a:lnTo>
                      <a:pt x="10580" y="184096"/>
                    </a:lnTo>
                    <a:lnTo>
                      <a:pt x="9963" y="180569"/>
                    </a:lnTo>
                    <a:lnTo>
                      <a:pt x="8200" y="178541"/>
                    </a:lnTo>
                    <a:lnTo>
                      <a:pt x="8200" y="177660"/>
                    </a:lnTo>
                    <a:lnTo>
                      <a:pt x="8464" y="176778"/>
                    </a:lnTo>
                    <a:lnTo>
                      <a:pt x="7318" y="172987"/>
                    </a:lnTo>
                    <a:lnTo>
                      <a:pt x="6436" y="172105"/>
                    </a:lnTo>
                    <a:lnTo>
                      <a:pt x="5907" y="170959"/>
                    </a:lnTo>
                    <a:lnTo>
                      <a:pt x="4408" y="168578"/>
                    </a:lnTo>
                    <a:lnTo>
                      <a:pt x="3262" y="167432"/>
                    </a:lnTo>
                    <a:lnTo>
                      <a:pt x="2381" y="165404"/>
                    </a:lnTo>
                    <a:lnTo>
                      <a:pt x="2381" y="163640"/>
                    </a:lnTo>
                    <a:lnTo>
                      <a:pt x="0" y="162495"/>
                    </a:lnTo>
                    <a:lnTo>
                      <a:pt x="882" y="160996"/>
                    </a:lnTo>
                    <a:lnTo>
                      <a:pt x="3527" y="160114"/>
                    </a:lnTo>
                    <a:lnTo>
                      <a:pt x="4673" y="158351"/>
                    </a:lnTo>
                    <a:lnTo>
                      <a:pt x="7054" y="158615"/>
                    </a:lnTo>
                    <a:lnTo>
                      <a:pt x="8464" y="159232"/>
                    </a:lnTo>
                    <a:lnTo>
                      <a:pt x="9346" y="158086"/>
                    </a:lnTo>
                    <a:lnTo>
                      <a:pt x="7054" y="155176"/>
                    </a:lnTo>
                    <a:lnTo>
                      <a:pt x="8464" y="154559"/>
                    </a:lnTo>
                    <a:lnTo>
                      <a:pt x="8200" y="153060"/>
                    </a:lnTo>
                    <a:lnTo>
                      <a:pt x="9081" y="151914"/>
                    </a:lnTo>
                    <a:lnTo>
                      <a:pt x="9081" y="150415"/>
                    </a:lnTo>
                    <a:lnTo>
                      <a:pt x="8200" y="149269"/>
                    </a:lnTo>
                    <a:lnTo>
                      <a:pt x="9346" y="148388"/>
                    </a:lnTo>
                    <a:lnTo>
                      <a:pt x="10492" y="149005"/>
                    </a:lnTo>
                    <a:lnTo>
                      <a:pt x="11374" y="146712"/>
                    </a:lnTo>
                    <a:lnTo>
                      <a:pt x="12256" y="145566"/>
                    </a:lnTo>
                    <a:lnTo>
                      <a:pt x="14019" y="145831"/>
                    </a:lnTo>
                    <a:lnTo>
                      <a:pt x="15165" y="147594"/>
                    </a:lnTo>
                    <a:lnTo>
                      <a:pt x="16047" y="147594"/>
                    </a:lnTo>
                    <a:lnTo>
                      <a:pt x="16928" y="149357"/>
                    </a:lnTo>
                    <a:lnTo>
                      <a:pt x="17281" y="150503"/>
                    </a:lnTo>
                    <a:lnTo>
                      <a:pt x="16928" y="152002"/>
                    </a:lnTo>
                    <a:lnTo>
                      <a:pt x="19309" y="150856"/>
                    </a:lnTo>
                    <a:lnTo>
                      <a:pt x="20455" y="151473"/>
                    </a:lnTo>
                    <a:lnTo>
                      <a:pt x="21072" y="152884"/>
                    </a:lnTo>
                    <a:lnTo>
                      <a:pt x="20455" y="155529"/>
                    </a:lnTo>
                    <a:lnTo>
                      <a:pt x="18692" y="157293"/>
                    </a:lnTo>
                    <a:lnTo>
                      <a:pt x="19573" y="159056"/>
                    </a:lnTo>
                    <a:lnTo>
                      <a:pt x="21072" y="160555"/>
                    </a:lnTo>
                    <a:lnTo>
                      <a:pt x="19926" y="161966"/>
                    </a:lnTo>
                    <a:lnTo>
                      <a:pt x="19662" y="163376"/>
                    </a:lnTo>
                    <a:lnTo>
                      <a:pt x="21160" y="163993"/>
                    </a:lnTo>
                    <a:lnTo>
                      <a:pt x="23806" y="163729"/>
                    </a:lnTo>
                    <a:lnTo>
                      <a:pt x="24070" y="165757"/>
                    </a:lnTo>
                    <a:lnTo>
                      <a:pt x="25216" y="166021"/>
                    </a:lnTo>
                    <a:lnTo>
                      <a:pt x="27508" y="165139"/>
                    </a:lnTo>
                    <a:lnTo>
                      <a:pt x="30683" y="165757"/>
                    </a:lnTo>
                    <a:lnTo>
                      <a:pt x="33328" y="167255"/>
                    </a:lnTo>
                    <a:lnTo>
                      <a:pt x="36855" y="169283"/>
                    </a:lnTo>
                    <a:lnTo>
                      <a:pt x="37472" y="168402"/>
                    </a:lnTo>
                    <a:lnTo>
                      <a:pt x="40117" y="168402"/>
                    </a:lnTo>
                    <a:lnTo>
                      <a:pt x="41615" y="168666"/>
                    </a:lnTo>
                    <a:lnTo>
                      <a:pt x="48581" y="166638"/>
                    </a:lnTo>
                    <a:lnTo>
                      <a:pt x="53254" y="168137"/>
                    </a:lnTo>
                    <a:lnTo>
                      <a:pt x="54136" y="169019"/>
                    </a:lnTo>
                    <a:lnTo>
                      <a:pt x="54753" y="171399"/>
                    </a:lnTo>
                    <a:lnTo>
                      <a:pt x="57927" y="170253"/>
                    </a:lnTo>
                    <a:lnTo>
                      <a:pt x="60572" y="169989"/>
                    </a:lnTo>
                    <a:lnTo>
                      <a:pt x="59161" y="167961"/>
                    </a:lnTo>
                    <a:lnTo>
                      <a:pt x="60043" y="165316"/>
                    </a:lnTo>
                    <a:lnTo>
                      <a:pt x="62423" y="164787"/>
                    </a:lnTo>
                    <a:lnTo>
                      <a:pt x="63834" y="163288"/>
                    </a:lnTo>
                    <a:lnTo>
                      <a:pt x="65597" y="161877"/>
                    </a:lnTo>
                    <a:lnTo>
                      <a:pt x="67096" y="160731"/>
                    </a:lnTo>
                    <a:lnTo>
                      <a:pt x="68771" y="160114"/>
                    </a:lnTo>
                    <a:lnTo>
                      <a:pt x="69388" y="161260"/>
                    </a:lnTo>
                    <a:lnTo>
                      <a:pt x="70535" y="160378"/>
                    </a:lnTo>
                    <a:lnTo>
                      <a:pt x="71945" y="158615"/>
                    </a:lnTo>
                    <a:lnTo>
                      <a:pt x="72563" y="157733"/>
                    </a:lnTo>
                    <a:lnTo>
                      <a:pt x="73444" y="157116"/>
                    </a:lnTo>
                    <a:lnTo>
                      <a:pt x="76089" y="157116"/>
                    </a:lnTo>
                    <a:lnTo>
                      <a:pt x="80145" y="67008"/>
                    </a:lnTo>
                    <a:lnTo>
                      <a:pt x="85435" y="70799"/>
                    </a:lnTo>
                    <a:lnTo>
                      <a:pt x="89491" y="72827"/>
                    </a:lnTo>
                    <a:lnTo>
                      <a:pt x="90902" y="76883"/>
                    </a:lnTo>
                    <a:lnTo>
                      <a:pt x="90637" y="77765"/>
                    </a:lnTo>
                    <a:lnTo>
                      <a:pt x="91783" y="78911"/>
                    </a:lnTo>
                    <a:lnTo>
                      <a:pt x="91783" y="80939"/>
                    </a:lnTo>
                    <a:lnTo>
                      <a:pt x="92665" y="84994"/>
                    </a:lnTo>
                    <a:lnTo>
                      <a:pt x="93811" y="85876"/>
                    </a:lnTo>
                    <a:lnTo>
                      <a:pt x="93194" y="87375"/>
                    </a:lnTo>
                    <a:lnTo>
                      <a:pt x="94076" y="90549"/>
                    </a:lnTo>
                    <a:lnTo>
                      <a:pt x="94958" y="92841"/>
                    </a:lnTo>
                    <a:lnTo>
                      <a:pt x="95839" y="93106"/>
                    </a:lnTo>
                    <a:lnTo>
                      <a:pt x="95839" y="96015"/>
                    </a:lnTo>
                    <a:lnTo>
                      <a:pt x="96985" y="96633"/>
                    </a:lnTo>
                    <a:lnTo>
                      <a:pt x="97250" y="98396"/>
                    </a:lnTo>
                    <a:lnTo>
                      <a:pt x="98396" y="99895"/>
                    </a:lnTo>
                    <a:lnTo>
                      <a:pt x="95222" y="103422"/>
                    </a:lnTo>
                    <a:lnTo>
                      <a:pt x="92930" y="106331"/>
                    </a:lnTo>
                    <a:lnTo>
                      <a:pt x="91431" y="108095"/>
                    </a:lnTo>
                    <a:lnTo>
                      <a:pt x="90814" y="110387"/>
                    </a:lnTo>
                    <a:lnTo>
                      <a:pt x="91431" y="110916"/>
                    </a:lnTo>
                    <a:lnTo>
                      <a:pt x="90549" y="113825"/>
                    </a:lnTo>
                    <a:lnTo>
                      <a:pt x="93459" y="118763"/>
                    </a:lnTo>
                    <a:lnTo>
                      <a:pt x="96103" y="116382"/>
                    </a:lnTo>
                    <a:lnTo>
                      <a:pt x="97602" y="116118"/>
                    </a:lnTo>
                    <a:lnTo>
                      <a:pt x="101129" y="118146"/>
                    </a:lnTo>
                    <a:lnTo>
                      <a:pt x="107213" y="117264"/>
                    </a:lnTo>
                    <a:lnTo>
                      <a:pt x="113914" y="118410"/>
                    </a:lnTo>
                    <a:lnTo>
                      <a:pt x="116559" y="118146"/>
                    </a:lnTo>
                    <a:lnTo>
                      <a:pt x="117969" y="117264"/>
                    </a:lnTo>
                    <a:lnTo>
                      <a:pt x="118234" y="115765"/>
                    </a:lnTo>
                    <a:lnTo>
                      <a:pt x="117617" y="112856"/>
                    </a:lnTo>
                    <a:lnTo>
                      <a:pt x="119380" y="111974"/>
                    </a:lnTo>
                    <a:lnTo>
                      <a:pt x="122290" y="111709"/>
                    </a:lnTo>
                    <a:lnTo>
                      <a:pt x="124053" y="111445"/>
                    </a:lnTo>
                    <a:lnTo>
                      <a:pt x="128109" y="103245"/>
                    </a:lnTo>
                    <a:lnTo>
                      <a:pt x="131018" y="102981"/>
                    </a:lnTo>
                    <a:lnTo>
                      <a:pt x="131900" y="102099"/>
                    </a:lnTo>
                    <a:lnTo>
                      <a:pt x="134545" y="99807"/>
                    </a:lnTo>
                    <a:lnTo>
                      <a:pt x="135691" y="98308"/>
                    </a:lnTo>
                    <a:lnTo>
                      <a:pt x="136838" y="96280"/>
                    </a:lnTo>
                    <a:lnTo>
                      <a:pt x="136220" y="95134"/>
                    </a:lnTo>
                    <a:lnTo>
                      <a:pt x="137983" y="92753"/>
                    </a:lnTo>
                    <a:lnTo>
                      <a:pt x="137102" y="90990"/>
                    </a:lnTo>
                    <a:lnTo>
                      <a:pt x="139394" y="85788"/>
                    </a:lnTo>
                    <a:lnTo>
                      <a:pt x="140011" y="84024"/>
                    </a:lnTo>
                    <a:lnTo>
                      <a:pt x="141158" y="84024"/>
                    </a:lnTo>
                    <a:lnTo>
                      <a:pt x="144067" y="78735"/>
                    </a:lnTo>
                    <a:lnTo>
                      <a:pt x="149269" y="78735"/>
                    </a:lnTo>
                    <a:lnTo>
                      <a:pt x="154824" y="78735"/>
                    </a:lnTo>
                    <a:lnTo>
                      <a:pt x="161260" y="84554"/>
                    </a:lnTo>
                    <a:lnTo>
                      <a:pt x="161525" y="86846"/>
                    </a:lnTo>
                    <a:lnTo>
                      <a:pt x="163553" y="86846"/>
                    </a:lnTo>
                    <a:lnTo>
                      <a:pt x="163553" y="88874"/>
                    </a:lnTo>
                    <a:lnTo>
                      <a:pt x="165580" y="87110"/>
                    </a:lnTo>
                    <a:lnTo>
                      <a:pt x="167608" y="87110"/>
                    </a:lnTo>
                    <a:lnTo>
                      <a:pt x="169019" y="88257"/>
                    </a:lnTo>
                    <a:lnTo>
                      <a:pt x="172810" y="90549"/>
                    </a:lnTo>
                    <a:lnTo>
                      <a:pt x="173692" y="89403"/>
                    </a:lnTo>
                    <a:lnTo>
                      <a:pt x="175720" y="90285"/>
                    </a:lnTo>
                    <a:lnTo>
                      <a:pt x="177747" y="91519"/>
                    </a:lnTo>
                    <a:lnTo>
                      <a:pt x="183302" y="91783"/>
                    </a:lnTo>
                    <a:lnTo>
                      <a:pt x="187358" y="89403"/>
                    </a:lnTo>
                    <a:lnTo>
                      <a:pt x="194323" y="90020"/>
                    </a:lnTo>
                    <a:lnTo>
                      <a:pt x="199261" y="87110"/>
                    </a:lnTo>
                    <a:lnTo>
                      <a:pt x="201906" y="78029"/>
                    </a:lnTo>
                    <a:lnTo>
                      <a:pt x="202787" y="75384"/>
                    </a:lnTo>
                    <a:lnTo>
                      <a:pt x="205168" y="69300"/>
                    </a:lnTo>
                    <a:lnTo>
                      <a:pt x="205432" y="64892"/>
                    </a:lnTo>
                    <a:lnTo>
                      <a:pt x="216806" y="62600"/>
                    </a:lnTo>
                    <a:lnTo>
                      <a:pt x="220333" y="57398"/>
                    </a:lnTo>
                    <a:lnTo>
                      <a:pt x="222361" y="55370"/>
                    </a:lnTo>
                    <a:lnTo>
                      <a:pt x="227034" y="53342"/>
                    </a:lnTo>
                    <a:lnTo>
                      <a:pt x="229943" y="39059"/>
                    </a:lnTo>
                    <a:lnTo>
                      <a:pt x="231090" y="38177"/>
                    </a:lnTo>
                    <a:lnTo>
                      <a:pt x="231706" y="39676"/>
                    </a:lnTo>
                    <a:lnTo>
                      <a:pt x="232588" y="37913"/>
                    </a:lnTo>
                    <a:lnTo>
                      <a:pt x="234087" y="37648"/>
                    </a:lnTo>
                    <a:lnTo>
                      <a:pt x="234352" y="35885"/>
                    </a:lnTo>
                    <a:lnTo>
                      <a:pt x="235762" y="35532"/>
                    </a:lnTo>
                    <a:lnTo>
                      <a:pt x="237261" y="34915"/>
                    </a:lnTo>
                    <a:lnTo>
                      <a:pt x="239025" y="32005"/>
                    </a:lnTo>
                    <a:lnTo>
                      <a:pt x="240523" y="30859"/>
                    </a:lnTo>
                    <a:lnTo>
                      <a:pt x="241405" y="31741"/>
                    </a:lnTo>
                    <a:lnTo>
                      <a:pt x="243169" y="30242"/>
                    </a:lnTo>
                    <a:lnTo>
                      <a:pt x="243433" y="27949"/>
                    </a:lnTo>
                    <a:lnTo>
                      <a:pt x="244932" y="25305"/>
                    </a:lnTo>
                    <a:lnTo>
                      <a:pt x="247841" y="24687"/>
                    </a:lnTo>
                    <a:lnTo>
                      <a:pt x="251897" y="23188"/>
                    </a:lnTo>
                    <a:lnTo>
                      <a:pt x="250751" y="20279"/>
                    </a:lnTo>
                    <a:lnTo>
                      <a:pt x="253661" y="19662"/>
                    </a:lnTo>
                    <a:lnTo>
                      <a:pt x="253925" y="17369"/>
                    </a:lnTo>
                    <a:lnTo>
                      <a:pt x="254190" y="16223"/>
                    </a:lnTo>
                    <a:lnTo>
                      <a:pt x="255953" y="15694"/>
                    </a:lnTo>
                    <a:lnTo>
                      <a:pt x="255336" y="14195"/>
                    </a:lnTo>
                    <a:lnTo>
                      <a:pt x="257099" y="14195"/>
                    </a:lnTo>
                    <a:lnTo>
                      <a:pt x="261772" y="10669"/>
                    </a:lnTo>
                    <a:lnTo>
                      <a:pt x="267944" y="10140"/>
                    </a:lnTo>
                    <a:lnTo>
                      <a:pt x="273146" y="7847"/>
                    </a:lnTo>
                    <a:lnTo>
                      <a:pt x="274292" y="4056"/>
                    </a:lnTo>
                    <a:lnTo>
                      <a:pt x="277819" y="2910"/>
                    </a:lnTo>
                    <a:lnTo>
                      <a:pt x="282756" y="1763"/>
                    </a:lnTo>
                    <a:lnTo>
                      <a:pt x="284520" y="1146"/>
                    </a:lnTo>
                    <a:lnTo>
                      <a:pt x="286283" y="1763"/>
                    </a:lnTo>
                    <a:lnTo>
                      <a:pt x="289809" y="0"/>
                    </a:lnTo>
                    <a:lnTo>
                      <a:pt x="295364" y="1499"/>
                    </a:lnTo>
                    <a:lnTo>
                      <a:pt x="299772" y="4408"/>
                    </a:lnTo>
                    <a:lnTo>
                      <a:pt x="302418" y="4408"/>
                    </a:lnTo>
                    <a:lnTo>
                      <a:pt x="304181" y="6172"/>
                    </a:lnTo>
                    <a:lnTo>
                      <a:pt x="306209" y="5555"/>
                    </a:lnTo>
                    <a:lnTo>
                      <a:pt x="318200" y="2292"/>
                    </a:lnTo>
                    <a:lnTo>
                      <a:pt x="321727" y="3791"/>
                    </a:lnTo>
                    <a:lnTo>
                      <a:pt x="325518" y="3527"/>
                    </a:lnTo>
                    <a:lnTo>
                      <a:pt x="329838" y="26539"/>
                    </a:lnTo>
                    <a:lnTo>
                      <a:pt x="329221" y="32093"/>
                    </a:lnTo>
                    <a:lnTo>
                      <a:pt x="329221" y="33857"/>
                    </a:lnTo>
                    <a:lnTo>
                      <a:pt x="331866" y="37031"/>
                    </a:lnTo>
                    <a:lnTo>
                      <a:pt x="331601" y="38442"/>
                    </a:lnTo>
                    <a:lnTo>
                      <a:pt x="333894" y="43114"/>
                    </a:lnTo>
                    <a:lnTo>
                      <a:pt x="335657" y="44878"/>
                    </a:lnTo>
                    <a:lnTo>
                      <a:pt x="335304" y="50432"/>
                    </a:lnTo>
                    <a:lnTo>
                      <a:pt x="337597" y="55722"/>
                    </a:lnTo>
                    <a:lnTo>
                      <a:pt x="336980" y="63041"/>
                    </a:lnTo>
                    <a:lnTo>
                      <a:pt x="336362" y="76178"/>
                    </a:lnTo>
                    <a:lnTo>
                      <a:pt x="335481" y="88433"/>
                    </a:lnTo>
                    <a:lnTo>
                      <a:pt x="333717" y="91960"/>
                    </a:lnTo>
                    <a:lnTo>
                      <a:pt x="334864" y="95134"/>
                    </a:lnTo>
                    <a:lnTo>
                      <a:pt x="332571" y="96897"/>
                    </a:lnTo>
                    <a:lnTo>
                      <a:pt x="322608" y="89050"/>
                    </a:lnTo>
                    <a:lnTo>
                      <a:pt x="320580" y="90549"/>
                    </a:lnTo>
                    <a:lnTo>
                      <a:pt x="316524" y="94605"/>
                    </a:lnTo>
                    <a:lnTo>
                      <a:pt x="314497" y="99542"/>
                    </a:lnTo>
                    <a:lnTo>
                      <a:pt x="309559" y="105979"/>
                    </a:lnTo>
                    <a:lnTo>
                      <a:pt x="308413" y="108624"/>
                    </a:lnTo>
                    <a:lnTo>
                      <a:pt x="308149" y="117352"/>
                    </a:lnTo>
                    <a:lnTo>
                      <a:pt x="310177" y="115853"/>
                    </a:lnTo>
                    <a:lnTo>
                      <a:pt x="310441" y="117617"/>
                    </a:lnTo>
                    <a:lnTo>
                      <a:pt x="311058" y="119645"/>
                    </a:lnTo>
                    <a:lnTo>
                      <a:pt x="314585" y="125816"/>
                    </a:lnTo>
                    <a:lnTo>
                      <a:pt x="321550" y="128990"/>
                    </a:lnTo>
                    <a:lnTo>
                      <a:pt x="332042" y="129255"/>
                    </a:lnTo>
                    <a:lnTo>
                      <a:pt x="333188" y="116735"/>
                    </a:lnTo>
                    <a:lnTo>
                      <a:pt x="335569" y="116735"/>
                    </a:lnTo>
                    <a:lnTo>
                      <a:pt x="336451" y="117352"/>
                    </a:lnTo>
                    <a:lnTo>
                      <a:pt x="341741" y="118234"/>
                    </a:lnTo>
                    <a:lnTo>
                      <a:pt x="351968" y="118234"/>
                    </a:lnTo>
                    <a:lnTo>
                      <a:pt x="350822" y="124670"/>
                    </a:lnTo>
                    <a:lnTo>
                      <a:pt x="349940" y="125287"/>
                    </a:lnTo>
                    <a:lnTo>
                      <a:pt x="345885" y="135780"/>
                    </a:lnTo>
                    <a:lnTo>
                      <a:pt x="344474" y="143362"/>
                    </a:lnTo>
                    <a:lnTo>
                      <a:pt x="344474" y="144773"/>
                    </a:lnTo>
                    <a:lnTo>
                      <a:pt x="342710" y="150592"/>
                    </a:lnTo>
                    <a:lnTo>
                      <a:pt x="340066" y="155882"/>
                    </a:lnTo>
                    <a:lnTo>
                      <a:pt x="339801" y="156146"/>
                    </a:lnTo>
                    <a:lnTo>
                      <a:pt x="339801" y="156411"/>
                    </a:lnTo>
                    <a:lnTo>
                      <a:pt x="339272" y="157293"/>
                    </a:lnTo>
                    <a:lnTo>
                      <a:pt x="338655" y="159938"/>
                    </a:lnTo>
                    <a:lnTo>
                      <a:pt x="336362" y="161966"/>
                    </a:lnTo>
                    <a:lnTo>
                      <a:pt x="335216" y="162847"/>
                    </a:lnTo>
                    <a:lnTo>
                      <a:pt x="333717" y="165139"/>
                    </a:lnTo>
                    <a:lnTo>
                      <a:pt x="333100" y="166021"/>
                    </a:lnTo>
                    <a:lnTo>
                      <a:pt x="332219" y="166286"/>
                    </a:lnTo>
                    <a:lnTo>
                      <a:pt x="331337" y="166021"/>
                    </a:lnTo>
                    <a:lnTo>
                      <a:pt x="330720" y="166286"/>
                    </a:lnTo>
                    <a:lnTo>
                      <a:pt x="330720" y="166815"/>
                    </a:lnTo>
                    <a:lnTo>
                      <a:pt x="330720" y="167432"/>
                    </a:lnTo>
                    <a:lnTo>
                      <a:pt x="329573" y="168314"/>
                    </a:lnTo>
                    <a:lnTo>
                      <a:pt x="327281" y="169812"/>
                    </a:lnTo>
                    <a:lnTo>
                      <a:pt x="326400" y="170077"/>
                    </a:lnTo>
                    <a:lnTo>
                      <a:pt x="324901" y="170077"/>
                    </a:lnTo>
                    <a:lnTo>
                      <a:pt x="324372" y="170077"/>
                    </a:lnTo>
                    <a:lnTo>
                      <a:pt x="320580" y="176161"/>
                    </a:lnTo>
                    <a:lnTo>
                      <a:pt x="315907" y="179952"/>
                    </a:lnTo>
                    <a:lnTo>
                      <a:pt x="310617" y="187270"/>
                    </a:lnTo>
                    <a:lnTo>
                      <a:pt x="310000" y="187534"/>
                    </a:lnTo>
                    <a:lnTo>
                      <a:pt x="309471" y="187270"/>
                    </a:lnTo>
                    <a:lnTo>
                      <a:pt x="309118" y="188769"/>
                    </a:lnTo>
                    <a:lnTo>
                      <a:pt x="308237" y="189650"/>
                    </a:lnTo>
                    <a:lnTo>
                      <a:pt x="308237" y="191414"/>
                    </a:lnTo>
                    <a:lnTo>
                      <a:pt x="307972" y="192031"/>
                    </a:lnTo>
                    <a:lnTo>
                      <a:pt x="307708" y="192295"/>
                    </a:lnTo>
                    <a:lnTo>
                      <a:pt x="306826" y="192295"/>
                    </a:lnTo>
                    <a:lnTo>
                      <a:pt x="306562" y="192912"/>
                    </a:lnTo>
                    <a:lnTo>
                      <a:pt x="306297" y="193530"/>
                    </a:lnTo>
                    <a:lnTo>
                      <a:pt x="306297" y="194059"/>
                    </a:lnTo>
                    <a:lnTo>
                      <a:pt x="306297" y="194676"/>
                    </a:lnTo>
                    <a:lnTo>
                      <a:pt x="306914" y="194059"/>
                    </a:lnTo>
                    <a:lnTo>
                      <a:pt x="307531" y="194059"/>
                    </a:lnTo>
                    <a:lnTo>
                      <a:pt x="307796" y="193794"/>
                    </a:lnTo>
                    <a:lnTo>
                      <a:pt x="308060" y="194059"/>
                    </a:lnTo>
                    <a:lnTo>
                      <a:pt x="308060" y="194323"/>
                    </a:lnTo>
                    <a:lnTo>
                      <a:pt x="307796" y="194588"/>
                    </a:lnTo>
                    <a:lnTo>
                      <a:pt x="307179" y="194852"/>
                    </a:lnTo>
                    <a:lnTo>
                      <a:pt x="303652" y="198026"/>
                    </a:lnTo>
                    <a:lnTo>
                      <a:pt x="300478" y="204198"/>
                    </a:lnTo>
                    <a:lnTo>
                      <a:pt x="298186" y="207725"/>
                    </a:lnTo>
                    <a:lnTo>
                      <a:pt x="297304" y="208606"/>
                    </a:lnTo>
                    <a:lnTo>
                      <a:pt x="295276" y="212398"/>
                    </a:lnTo>
                    <a:lnTo>
                      <a:pt x="292631" y="216806"/>
                    </a:lnTo>
                    <a:lnTo>
                      <a:pt x="290250" y="219098"/>
                    </a:lnTo>
                    <a:lnTo>
                      <a:pt x="289633" y="219980"/>
                    </a:lnTo>
                    <a:lnTo>
                      <a:pt x="288487" y="221391"/>
                    </a:lnTo>
                    <a:lnTo>
                      <a:pt x="286724" y="223419"/>
                    </a:lnTo>
                    <a:lnTo>
                      <a:pt x="284960" y="225447"/>
                    </a:lnTo>
                    <a:lnTo>
                      <a:pt x="284431" y="226328"/>
                    </a:lnTo>
                    <a:lnTo>
                      <a:pt x="282051" y="228709"/>
                    </a:lnTo>
                    <a:lnTo>
                      <a:pt x="279141" y="231354"/>
                    </a:lnTo>
                    <a:lnTo>
                      <a:pt x="277113" y="232236"/>
                    </a:lnTo>
                    <a:lnTo>
                      <a:pt x="274204" y="234881"/>
                    </a:lnTo>
                    <a:lnTo>
                      <a:pt x="273939" y="235410"/>
                    </a:lnTo>
                    <a:lnTo>
                      <a:pt x="272529" y="236291"/>
                    </a:lnTo>
                    <a:lnTo>
                      <a:pt x="272264" y="236909"/>
                    </a:lnTo>
                    <a:lnTo>
                      <a:pt x="270501" y="238055"/>
                    </a:lnTo>
                    <a:lnTo>
                      <a:pt x="269619" y="238319"/>
                    </a:lnTo>
                    <a:lnTo>
                      <a:pt x="269002" y="239465"/>
                    </a:lnTo>
                    <a:lnTo>
                      <a:pt x="268385" y="239818"/>
                    </a:lnTo>
                    <a:lnTo>
                      <a:pt x="268120" y="240435"/>
                    </a:lnTo>
                    <a:lnTo>
                      <a:pt x="266886" y="240700"/>
                    </a:lnTo>
                    <a:lnTo>
                      <a:pt x="264858" y="244756"/>
                    </a:lnTo>
                    <a:lnTo>
                      <a:pt x="263359" y="245637"/>
                    </a:lnTo>
                    <a:lnTo>
                      <a:pt x="262213" y="247665"/>
                    </a:lnTo>
                    <a:lnTo>
                      <a:pt x="258686" y="250927"/>
                    </a:lnTo>
                    <a:lnTo>
                      <a:pt x="256658" y="253220"/>
                    </a:lnTo>
                    <a:lnTo>
                      <a:pt x="254895" y="254719"/>
                    </a:lnTo>
                    <a:lnTo>
                      <a:pt x="253484" y="255865"/>
                    </a:lnTo>
                    <a:lnTo>
                      <a:pt x="251985" y="256747"/>
                    </a:lnTo>
                    <a:lnTo>
                      <a:pt x="251368" y="257628"/>
                    </a:lnTo>
                    <a:lnTo>
                      <a:pt x="249605" y="259127"/>
                    </a:lnTo>
                    <a:lnTo>
                      <a:pt x="248723" y="260890"/>
                    </a:lnTo>
                    <a:lnTo>
                      <a:pt x="245549" y="263183"/>
                    </a:lnTo>
                    <a:lnTo>
                      <a:pt x="245020" y="263800"/>
                    </a:lnTo>
                    <a:lnTo>
                      <a:pt x="243257" y="264417"/>
                    </a:lnTo>
                    <a:lnTo>
                      <a:pt x="242992" y="264682"/>
                    </a:lnTo>
                    <a:lnTo>
                      <a:pt x="242375" y="264946"/>
                    </a:lnTo>
                    <a:lnTo>
                      <a:pt x="241758" y="265563"/>
                    </a:lnTo>
                    <a:lnTo>
                      <a:pt x="240347" y="266092"/>
                    </a:lnTo>
                    <a:lnTo>
                      <a:pt x="239201" y="266709"/>
                    </a:lnTo>
                    <a:lnTo>
                      <a:pt x="238672" y="267856"/>
                    </a:lnTo>
                    <a:lnTo>
                      <a:pt x="238407" y="268737"/>
                    </a:lnTo>
                    <a:lnTo>
                      <a:pt x="236908" y="269355"/>
                    </a:lnTo>
                    <a:lnTo>
                      <a:pt x="236027" y="271118"/>
                    </a:lnTo>
                    <a:lnTo>
                      <a:pt x="234881" y="272000"/>
                    </a:lnTo>
                    <a:lnTo>
                      <a:pt x="231090" y="274027"/>
                    </a:lnTo>
                    <a:lnTo>
                      <a:pt x="228709" y="276055"/>
                    </a:lnTo>
                    <a:lnTo>
                      <a:pt x="226681" y="276937"/>
                    </a:lnTo>
                    <a:lnTo>
                      <a:pt x="226152" y="277730"/>
                    </a:lnTo>
                    <a:lnTo>
                      <a:pt x="225535" y="277730"/>
                    </a:lnTo>
                    <a:lnTo>
                      <a:pt x="224918" y="277995"/>
                    </a:lnTo>
                    <a:lnTo>
                      <a:pt x="223507" y="279494"/>
                    </a:lnTo>
                    <a:lnTo>
                      <a:pt x="222008" y="280111"/>
                    </a:lnTo>
                    <a:lnTo>
                      <a:pt x="221126" y="281257"/>
                    </a:lnTo>
                    <a:lnTo>
                      <a:pt x="219627" y="282139"/>
                    </a:lnTo>
                    <a:lnTo>
                      <a:pt x="217335" y="283285"/>
                    </a:lnTo>
                    <a:lnTo>
                      <a:pt x="216718" y="284431"/>
                    </a:lnTo>
                    <a:lnTo>
                      <a:pt x="214690" y="285313"/>
                    </a:lnTo>
                    <a:lnTo>
                      <a:pt x="212662" y="286195"/>
                    </a:lnTo>
                    <a:lnTo>
                      <a:pt x="211516" y="286812"/>
                    </a:lnTo>
                    <a:lnTo>
                      <a:pt x="209135" y="286812"/>
                    </a:lnTo>
                    <a:lnTo>
                      <a:pt x="207637" y="287693"/>
                    </a:lnTo>
                    <a:lnTo>
                      <a:pt x="207108" y="288575"/>
                    </a:lnTo>
                    <a:lnTo>
                      <a:pt x="205609" y="288575"/>
                    </a:lnTo>
                    <a:lnTo>
                      <a:pt x="204727" y="289721"/>
                    </a:lnTo>
                    <a:lnTo>
                      <a:pt x="203934" y="29042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4" name="Freihandform: Form 1783">
                <a:extLst>
                  <a:ext uri="{FF2B5EF4-FFF2-40B4-BE49-F238E27FC236}">
                    <a16:creationId xmlns:a16="http://schemas.microsoft.com/office/drawing/2014/main" id="{B599A29B-9062-66BD-08F1-8D07AB135585}"/>
                  </a:ext>
                </a:extLst>
              </p:cNvPr>
              <p:cNvSpPr/>
              <p:nvPr/>
            </p:nvSpPr>
            <p:spPr>
              <a:xfrm>
                <a:off x="4720611" y="4044414"/>
                <a:ext cx="120438" cy="143185"/>
              </a:xfrm>
              <a:custGeom>
                <a:avLst/>
                <a:gdLst>
                  <a:gd name="connsiteX0" fmla="*/ 0 w 120438"/>
                  <a:gd name="connsiteY0" fmla="*/ 140276 h 143185"/>
                  <a:gd name="connsiteX1" fmla="*/ 5202 w 120438"/>
                  <a:gd name="connsiteY1" fmla="*/ 138513 h 143185"/>
                  <a:gd name="connsiteX2" fmla="*/ 7230 w 120438"/>
                  <a:gd name="connsiteY2" fmla="*/ 143186 h 143185"/>
                  <a:gd name="connsiteX3" fmla="*/ 8729 w 120438"/>
                  <a:gd name="connsiteY3" fmla="*/ 142304 h 143185"/>
                  <a:gd name="connsiteX4" fmla="*/ 15429 w 120438"/>
                  <a:gd name="connsiteY4" fmla="*/ 136220 h 143185"/>
                  <a:gd name="connsiteX5" fmla="*/ 17810 w 120438"/>
                  <a:gd name="connsiteY5" fmla="*/ 131547 h 143185"/>
                  <a:gd name="connsiteX6" fmla="*/ 20102 w 120438"/>
                  <a:gd name="connsiteY6" fmla="*/ 132429 h 143185"/>
                  <a:gd name="connsiteX7" fmla="*/ 25040 w 120438"/>
                  <a:gd name="connsiteY7" fmla="*/ 129519 h 143185"/>
                  <a:gd name="connsiteX8" fmla="*/ 97073 w 120438"/>
                  <a:gd name="connsiteY8" fmla="*/ 129519 h 143185"/>
                  <a:gd name="connsiteX9" fmla="*/ 95046 w 120438"/>
                  <a:gd name="connsiteY9" fmla="*/ 120703 h 143185"/>
                  <a:gd name="connsiteX10" fmla="*/ 95046 w 120438"/>
                  <a:gd name="connsiteY10" fmla="*/ 115501 h 143185"/>
                  <a:gd name="connsiteX11" fmla="*/ 97690 w 120438"/>
                  <a:gd name="connsiteY11" fmla="*/ 109681 h 143185"/>
                  <a:gd name="connsiteX12" fmla="*/ 95398 w 120438"/>
                  <a:gd name="connsiteY12" fmla="*/ 103245 h 143185"/>
                  <a:gd name="connsiteX13" fmla="*/ 97955 w 120438"/>
                  <a:gd name="connsiteY13" fmla="*/ 97955 h 143185"/>
                  <a:gd name="connsiteX14" fmla="*/ 99189 w 120438"/>
                  <a:gd name="connsiteY14" fmla="*/ 96544 h 143185"/>
                  <a:gd name="connsiteX15" fmla="*/ 98837 w 120438"/>
                  <a:gd name="connsiteY15" fmla="*/ 94781 h 143185"/>
                  <a:gd name="connsiteX16" fmla="*/ 101217 w 120438"/>
                  <a:gd name="connsiteY16" fmla="*/ 90373 h 143185"/>
                  <a:gd name="connsiteX17" fmla="*/ 103510 w 120438"/>
                  <a:gd name="connsiteY17" fmla="*/ 89227 h 143185"/>
                  <a:gd name="connsiteX18" fmla="*/ 104127 w 120438"/>
                  <a:gd name="connsiteY18" fmla="*/ 87199 h 143185"/>
                  <a:gd name="connsiteX19" fmla="*/ 106155 w 120438"/>
                  <a:gd name="connsiteY19" fmla="*/ 86052 h 143185"/>
                  <a:gd name="connsiteX20" fmla="*/ 108447 w 120438"/>
                  <a:gd name="connsiteY20" fmla="*/ 83143 h 143185"/>
                  <a:gd name="connsiteX21" fmla="*/ 108183 w 120438"/>
                  <a:gd name="connsiteY21" fmla="*/ 81115 h 143185"/>
                  <a:gd name="connsiteX22" fmla="*/ 108183 w 120438"/>
                  <a:gd name="connsiteY22" fmla="*/ 79352 h 143185"/>
                  <a:gd name="connsiteX23" fmla="*/ 110210 w 120438"/>
                  <a:gd name="connsiteY23" fmla="*/ 79616 h 143185"/>
                  <a:gd name="connsiteX24" fmla="*/ 110210 w 120438"/>
                  <a:gd name="connsiteY24" fmla="*/ 78470 h 143185"/>
                  <a:gd name="connsiteX25" fmla="*/ 112855 w 120438"/>
                  <a:gd name="connsiteY25" fmla="*/ 76442 h 143185"/>
                  <a:gd name="connsiteX26" fmla="*/ 112855 w 120438"/>
                  <a:gd name="connsiteY26" fmla="*/ 75560 h 143185"/>
                  <a:gd name="connsiteX27" fmla="*/ 115765 w 120438"/>
                  <a:gd name="connsiteY27" fmla="*/ 72651 h 143185"/>
                  <a:gd name="connsiteX28" fmla="*/ 114883 w 120438"/>
                  <a:gd name="connsiteY28" fmla="*/ 72298 h 143185"/>
                  <a:gd name="connsiteX29" fmla="*/ 114883 w 120438"/>
                  <a:gd name="connsiteY29" fmla="*/ 71152 h 143185"/>
                  <a:gd name="connsiteX30" fmla="*/ 116030 w 120438"/>
                  <a:gd name="connsiteY30" fmla="*/ 70535 h 143185"/>
                  <a:gd name="connsiteX31" fmla="*/ 116647 w 120438"/>
                  <a:gd name="connsiteY31" fmla="*/ 67096 h 143185"/>
                  <a:gd name="connsiteX32" fmla="*/ 118058 w 120438"/>
                  <a:gd name="connsiteY32" fmla="*/ 65597 h 143185"/>
                  <a:gd name="connsiteX33" fmla="*/ 119292 w 120438"/>
                  <a:gd name="connsiteY33" fmla="*/ 63570 h 143185"/>
                  <a:gd name="connsiteX34" fmla="*/ 119292 w 120438"/>
                  <a:gd name="connsiteY34" fmla="*/ 58279 h 143185"/>
                  <a:gd name="connsiteX35" fmla="*/ 119821 w 120438"/>
                  <a:gd name="connsiteY35" fmla="*/ 57133 h 143185"/>
                  <a:gd name="connsiteX36" fmla="*/ 118939 w 120438"/>
                  <a:gd name="connsiteY36" fmla="*/ 56251 h 143185"/>
                  <a:gd name="connsiteX37" fmla="*/ 118939 w 120438"/>
                  <a:gd name="connsiteY37" fmla="*/ 54576 h 143185"/>
                  <a:gd name="connsiteX38" fmla="*/ 120438 w 120438"/>
                  <a:gd name="connsiteY38" fmla="*/ 53959 h 143185"/>
                  <a:gd name="connsiteX39" fmla="*/ 116382 w 120438"/>
                  <a:gd name="connsiteY39" fmla="*/ 45759 h 143185"/>
                  <a:gd name="connsiteX40" fmla="*/ 117793 w 120438"/>
                  <a:gd name="connsiteY40" fmla="*/ 44613 h 143185"/>
                  <a:gd name="connsiteX41" fmla="*/ 117793 w 120438"/>
                  <a:gd name="connsiteY41" fmla="*/ 42850 h 143185"/>
                  <a:gd name="connsiteX42" fmla="*/ 116647 w 120438"/>
                  <a:gd name="connsiteY42" fmla="*/ 41439 h 143185"/>
                  <a:gd name="connsiteX43" fmla="*/ 114619 w 120438"/>
                  <a:gd name="connsiteY43" fmla="*/ 38794 h 143185"/>
                  <a:gd name="connsiteX44" fmla="*/ 114619 w 120438"/>
                  <a:gd name="connsiteY44" fmla="*/ 36149 h 143185"/>
                  <a:gd name="connsiteX45" fmla="*/ 114002 w 120438"/>
                  <a:gd name="connsiteY45" fmla="*/ 35885 h 143185"/>
                  <a:gd name="connsiteX46" fmla="*/ 112591 w 120438"/>
                  <a:gd name="connsiteY46" fmla="*/ 36766 h 143185"/>
                  <a:gd name="connsiteX47" fmla="*/ 111357 w 120438"/>
                  <a:gd name="connsiteY47" fmla="*/ 36414 h 143185"/>
                  <a:gd name="connsiteX48" fmla="*/ 110210 w 120438"/>
                  <a:gd name="connsiteY48" fmla="*/ 32093 h 143185"/>
                  <a:gd name="connsiteX49" fmla="*/ 109681 w 120438"/>
                  <a:gd name="connsiteY49" fmla="*/ 28038 h 143185"/>
                  <a:gd name="connsiteX50" fmla="*/ 107566 w 120438"/>
                  <a:gd name="connsiteY50" fmla="*/ 27156 h 143185"/>
                  <a:gd name="connsiteX51" fmla="*/ 106419 w 120438"/>
                  <a:gd name="connsiteY51" fmla="*/ 25393 h 143185"/>
                  <a:gd name="connsiteX52" fmla="*/ 106772 w 120438"/>
                  <a:gd name="connsiteY52" fmla="*/ 23894 h 143185"/>
                  <a:gd name="connsiteX53" fmla="*/ 106419 w 120438"/>
                  <a:gd name="connsiteY53" fmla="*/ 21866 h 143185"/>
                  <a:gd name="connsiteX54" fmla="*/ 105538 w 120438"/>
                  <a:gd name="connsiteY54" fmla="*/ 21337 h 143185"/>
                  <a:gd name="connsiteX55" fmla="*/ 106155 w 120438"/>
                  <a:gd name="connsiteY55" fmla="*/ 19573 h 143185"/>
                  <a:gd name="connsiteX56" fmla="*/ 105802 w 120438"/>
                  <a:gd name="connsiteY56" fmla="*/ 18339 h 143185"/>
                  <a:gd name="connsiteX57" fmla="*/ 106772 w 120438"/>
                  <a:gd name="connsiteY57" fmla="*/ 17457 h 143185"/>
                  <a:gd name="connsiteX58" fmla="*/ 106155 w 120438"/>
                  <a:gd name="connsiteY58" fmla="*/ 14284 h 143185"/>
                  <a:gd name="connsiteX59" fmla="*/ 105538 w 120438"/>
                  <a:gd name="connsiteY59" fmla="*/ 13137 h 143185"/>
                  <a:gd name="connsiteX60" fmla="*/ 104127 w 120438"/>
                  <a:gd name="connsiteY60" fmla="*/ 11374 h 143185"/>
                  <a:gd name="connsiteX61" fmla="*/ 101482 w 120438"/>
                  <a:gd name="connsiteY61" fmla="*/ 11374 h 143185"/>
                  <a:gd name="connsiteX62" fmla="*/ 103245 w 120438"/>
                  <a:gd name="connsiteY62" fmla="*/ 9875 h 143185"/>
                  <a:gd name="connsiteX63" fmla="*/ 103245 w 120438"/>
                  <a:gd name="connsiteY63" fmla="*/ 8464 h 143185"/>
                  <a:gd name="connsiteX64" fmla="*/ 102364 w 120438"/>
                  <a:gd name="connsiteY64" fmla="*/ 8200 h 143185"/>
                  <a:gd name="connsiteX65" fmla="*/ 100953 w 120438"/>
                  <a:gd name="connsiteY65" fmla="*/ 9081 h 143185"/>
                  <a:gd name="connsiteX66" fmla="*/ 99983 w 120438"/>
                  <a:gd name="connsiteY66" fmla="*/ 9611 h 143185"/>
                  <a:gd name="connsiteX67" fmla="*/ 99189 w 120438"/>
                  <a:gd name="connsiteY67" fmla="*/ 8200 h 143185"/>
                  <a:gd name="connsiteX68" fmla="*/ 100336 w 120438"/>
                  <a:gd name="connsiteY68" fmla="*/ 7318 h 143185"/>
                  <a:gd name="connsiteX69" fmla="*/ 99454 w 120438"/>
                  <a:gd name="connsiteY69" fmla="*/ 5819 h 143185"/>
                  <a:gd name="connsiteX70" fmla="*/ 98837 w 120438"/>
                  <a:gd name="connsiteY70" fmla="*/ 3527 h 143185"/>
                  <a:gd name="connsiteX71" fmla="*/ 97955 w 120438"/>
                  <a:gd name="connsiteY71" fmla="*/ 2910 h 143185"/>
                  <a:gd name="connsiteX72" fmla="*/ 97955 w 120438"/>
                  <a:gd name="connsiteY72" fmla="*/ 2645 h 143185"/>
                  <a:gd name="connsiteX73" fmla="*/ 98308 w 120438"/>
                  <a:gd name="connsiteY73" fmla="*/ 1411 h 143185"/>
                  <a:gd name="connsiteX74" fmla="*/ 96544 w 120438"/>
                  <a:gd name="connsiteY74" fmla="*/ 0 h 143185"/>
                  <a:gd name="connsiteX75" fmla="*/ 85700 w 120438"/>
                  <a:gd name="connsiteY75" fmla="*/ 11638 h 143185"/>
                  <a:gd name="connsiteX76" fmla="*/ 78117 w 120438"/>
                  <a:gd name="connsiteY76" fmla="*/ 11374 h 143185"/>
                  <a:gd name="connsiteX77" fmla="*/ 74943 w 120438"/>
                  <a:gd name="connsiteY77" fmla="*/ 8464 h 143185"/>
                  <a:gd name="connsiteX78" fmla="*/ 72298 w 120438"/>
                  <a:gd name="connsiteY78" fmla="*/ 10228 h 143185"/>
                  <a:gd name="connsiteX79" fmla="*/ 68771 w 120438"/>
                  <a:gd name="connsiteY79" fmla="*/ 11638 h 143185"/>
                  <a:gd name="connsiteX80" fmla="*/ 61542 w 120438"/>
                  <a:gd name="connsiteY80" fmla="*/ 11638 h 143185"/>
                  <a:gd name="connsiteX81" fmla="*/ 57398 w 120438"/>
                  <a:gd name="connsiteY81" fmla="*/ 15429 h 143185"/>
                  <a:gd name="connsiteX82" fmla="*/ 57398 w 120438"/>
                  <a:gd name="connsiteY82" fmla="*/ 17810 h 143185"/>
                  <a:gd name="connsiteX83" fmla="*/ 55105 w 120438"/>
                  <a:gd name="connsiteY83" fmla="*/ 17457 h 143185"/>
                  <a:gd name="connsiteX84" fmla="*/ 54224 w 120438"/>
                  <a:gd name="connsiteY84" fmla="*/ 16311 h 143185"/>
                  <a:gd name="connsiteX85" fmla="*/ 51579 w 120438"/>
                  <a:gd name="connsiteY85" fmla="*/ 15782 h 143185"/>
                  <a:gd name="connsiteX86" fmla="*/ 51314 w 120438"/>
                  <a:gd name="connsiteY86" fmla="*/ 13666 h 143185"/>
                  <a:gd name="connsiteX87" fmla="*/ 48669 w 120438"/>
                  <a:gd name="connsiteY87" fmla="*/ 10228 h 143185"/>
                  <a:gd name="connsiteX88" fmla="*/ 48404 w 120438"/>
                  <a:gd name="connsiteY88" fmla="*/ 10228 h 143185"/>
                  <a:gd name="connsiteX89" fmla="*/ 46112 w 120438"/>
                  <a:gd name="connsiteY89" fmla="*/ 12873 h 143185"/>
                  <a:gd name="connsiteX90" fmla="*/ 43731 w 120438"/>
                  <a:gd name="connsiteY90" fmla="*/ 13666 h 143185"/>
                  <a:gd name="connsiteX91" fmla="*/ 42585 w 120438"/>
                  <a:gd name="connsiteY91" fmla="*/ 14284 h 143185"/>
                  <a:gd name="connsiteX92" fmla="*/ 37031 w 120438"/>
                  <a:gd name="connsiteY92" fmla="*/ 10228 h 143185"/>
                  <a:gd name="connsiteX93" fmla="*/ 34650 w 120438"/>
                  <a:gd name="connsiteY93" fmla="*/ 10228 h 143185"/>
                  <a:gd name="connsiteX94" fmla="*/ 31476 w 120438"/>
                  <a:gd name="connsiteY94" fmla="*/ 13402 h 143185"/>
                  <a:gd name="connsiteX95" fmla="*/ 29977 w 120438"/>
                  <a:gd name="connsiteY95" fmla="*/ 13666 h 143185"/>
                  <a:gd name="connsiteX96" fmla="*/ 28831 w 120438"/>
                  <a:gd name="connsiteY96" fmla="*/ 14548 h 143185"/>
                  <a:gd name="connsiteX97" fmla="*/ 28566 w 120438"/>
                  <a:gd name="connsiteY97" fmla="*/ 16664 h 143185"/>
                  <a:gd name="connsiteX98" fmla="*/ 29977 w 120438"/>
                  <a:gd name="connsiteY98" fmla="*/ 17193 h 143185"/>
                  <a:gd name="connsiteX99" fmla="*/ 29184 w 120438"/>
                  <a:gd name="connsiteY99" fmla="*/ 18339 h 143185"/>
                  <a:gd name="connsiteX100" fmla="*/ 29184 w 120438"/>
                  <a:gd name="connsiteY100" fmla="*/ 20455 h 143185"/>
                  <a:gd name="connsiteX101" fmla="*/ 27685 w 120438"/>
                  <a:gd name="connsiteY101" fmla="*/ 22130 h 143185"/>
                  <a:gd name="connsiteX102" fmla="*/ 26803 w 120438"/>
                  <a:gd name="connsiteY102" fmla="*/ 23365 h 143185"/>
                  <a:gd name="connsiteX103" fmla="*/ 26803 w 120438"/>
                  <a:gd name="connsiteY103" fmla="*/ 24511 h 143185"/>
                  <a:gd name="connsiteX104" fmla="*/ 25393 w 120438"/>
                  <a:gd name="connsiteY104" fmla="*/ 29448 h 143185"/>
                  <a:gd name="connsiteX105" fmla="*/ 27685 w 120438"/>
                  <a:gd name="connsiteY105" fmla="*/ 31212 h 143185"/>
                  <a:gd name="connsiteX106" fmla="*/ 27949 w 120438"/>
                  <a:gd name="connsiteY106" fmla="*/ 33240 h 143185"/>
                  <a:gd name="connsiteX107" fmla="*/ 28214 w 120438"/>
                  <a:gd name="connsiteY107" fmla="*/ 35885 h 143185"/>
                  <a:gd name="connsiteX108" fmla="*/ 26539 w 120438"/>
                  <a:gd name="connsiteY108" fmla="*/ 36149 h 143185"/>
                  <a:gd name="connsiteX109" fmla="*/ 26539 w 120438"/>
                  <a:gd name="connsiteY109" fmla="*/ 37295 h 143185"/>
                  <a:gd name="connsiteX110" fmla="*/ 26186 w 120438"/>
                  <a:gd name="connsiteY110" fmla="*/ 39059 h 143185"/>
                  <a:gd name="connsiteX111" fmla="*/ 25040 w 120438"/>
                  <a:gd name="connsiteY111" fmla="*/ 40293 h 143185"/>
                  <a:gd name="connsiteX112" fmla="*/ 25393 w 120438"/>
                  <a:gd name="connsiteY112" fmla="*/ 41704 h 143185"/>
                  <a:gd name="connsiteX113" fmla="*/ 25040 w 120438"/>
                  <a:gd name="connsiteY113" fmla="*/ 43203 h 143185"/>
                  <a:gd name="connsiteX114" fmla="*/ 26803 w 120438"/>
                  <a:gd name="connsiteY114" fmla="*/ 44349 h 143185"/>
                  <a:gd name="connsiteX115" fmla="*/ 27068 w 120438"/>
                  <a:gd name="connsiteY115" fmla="*/ 45759 h 143185"/>
                  <a:gd name="connsiteX116" fmla="*/ 28831 w 120438"/>
                  <a:gd name="connsiteY116" fmla="*/ 46994 h 143185"/>
                  <a:gd name="connsiteX117" fmla="*/ 29713 w 120438"/>
                  <a:gd name="connsiteY117" fmla="*/ 48405 h 143185"/>
                  <a:gd name="connsiteX118" fmla="*/ 32093 w 120438"/>
                  <a:gd name="connsiteY118" fmla="*/ 48140 h 143185"/>
                  <a:gd name="connsiteX119" fmla="*/ 33239 w 120438"/>
                  <a:gd name="connsiteY119" fmla="*/ 48405 h 143185"/>
                  <a:gd name="connsiteX120" fmla="*/ 35003 w 120438"/>
                  <a:gd name="connsiteY120" fmla="*/ 48140 h 143185"/>
                  <a:gd name="connsiteX121" fmla="*/ 35003 w 120438"/>
                  <a:gd name="connsiteY121" fmla="*/ 49551 h 143185"/>
                  <a:gd name="connsiteX122" fmla="*/ 37031 w 120438"/>
                  <a:gd name="connsiteY122" fmla="*/ 51314 h 143185"/>
                  <a:gd name="connsiteX123" fmla="*/ 31212 w 120438"/>
                  <a:gd name="connsiteY123" fmla="*/ 62159 h 143185"/>
                  <a:gd name="connsiteX124" fmla="*/ 23894 w 120438"/>
                  <a:gd name="connsiteY124" fmla="*/ 68243 h 143185"/>
                  <a:gd name="connsiteX125" fmla="*/ 18604 w 120438"/>
                  <a:gd name="connsiteY125" fmla="*/ 74679 h 143185"/>
                  <a:gd name="connsiteX126" fmla="*/ 17810 w 120438"/>
                  <a:gd name="connsiteY126" fmla="*/ 75825 h 143185"/>
                  <a:gd name="connsiteX127" fmla="*/ 16576 w 120438"/>
                  <a:gd name="connsiteY127" fmla="*/ 74943 h 143185"/>
                  <a:gd name="connsiteX128" fmla="*/ 16576 w 120438"/>
                  <a:gd name="connsiteY128" fmla="*/ 76442 h 143185"/>
                  <a:gd name="connsiteX129" fmla="*/ 13666 w 120438"/>
                  <a:gd name="connsiteY129" fmla="*/ 76707 h 143185"/>
                  <a:gd name="connsiteX130" fmla="*/ 12785 w 120438"/>
                  <a:gd name="connsiteY130" fmla="*/ 77588 h 143185"/>
                  <a:gd name="connsiteX131" fmla="*/ 12785 w 120438"/>
                  <a:gd name="connsiteY131" fmla="*/ 80233 h 143185"/>
                  <a:gd name="connsiteX132" fmla="*/ 11021 w 120438"/>
                  <a:gd name="connsiteY132" fmla="*/ 82790 h 143185"/>
                  <a:gd name="connsiteX133" fmla="*/ 9610 w 120438"/>
                  <a:gd name="connsiteY133" fmla="*/ 83143 h 143185"/>
                  <a:gd name="connsiteX134" fmla="*/ 7847 w 120438"/>
                  <a:gd name="connsiteY134" fmla="*/ 84554 h 143185"/>
                  <a:gd name="connsiteX135" fmla="*/ 7583 w 120438"/>
                  <a:gd name="connsiteY135" fmla="*/ 86934 h 143185"/>
                  <a:gd name="connsiteX136" fmla="*/ 7230 w 120438"/>
                  <a:gd name="connsiteY136" fmla="*/ 89844 h 143185"/>
                  <a:gd name="connsiteX137" fmla="*/ 7847 w 120438"/>
                  <a:gd name="connsiteY137" fmla="*/ 92753 h 143185"/>
                  <a:gd name="connsiteX138" fmla="*/ 5555 w 120438"/>
                  <a:gd name="connsiteY138" fmla="*/ 95927 h 143185"/>
                  <a:gd name="connsiteX139" fmla="*/ 4056 w 120438"/>
                  <a:gd name="connsiteY139" fmla="*/ 99189 h 143185"/>
                  <a:gd name="connsiteX140" fmla="*/ 3791 w 120438"/>
                  <a:gd name="connsiteY140" fmla="*/ 100865 h 143185"/>
                  <a:gd name="connsiteX141" fmla="*/ 4585 w 120438"/>
                  <a:gd name="connsiteY141" fmla="*/ 105009 h 143185"/>
                  <a:gd name="connsiteX142" fmla="*/ 2292 w 120438"/>
                  <a:gd name="connsiteY142" fmla="*/ 104392 h 143185"/>
                  <a:gd name="connsiteX143" fmla="*/ 2028 w 120438"/>
                  <a:gd name="connsiteY143" fmla="*/ 106155 h 143185"/>
                  <a:gd name="connsiteX144" fmla="*/ 2909 w 120438"/>
                  <a:gd name="connsiteY144" fmla="*/ 106772 h 143185"/>
                  <a:gd name="connsiteX145" fmla="*/ 1763 w 120438"/>
                  <a:gd name="connsiteY145" fmla="*/ 116118 h 143185"/>
                  <a:gd name="connsiteX146" fmla="*/ 2028 w 120438"/>
                  <a:gd name="connsiteY146" fmla="*/ 117793 h 143185"/>
                  <a:gd name="connsiteX147" fmla="*/ 2909 w 120438"/>
                  <a:gd name="connsiteY147" fmla="*/ 119292 h 143185"/>
                  <a:gd name="connsiteX148" fmla="*/ 2028 w 120438"/>
                  <a:gd name="connsiteY148" fmla="*/ 121584 h 143185"/>
                  <a:gd name="connsiteX149" fmla="*/ 529 w 120438"/>
                  <a:gd name="connsiteY149" fmla="*/ 126610 h 143185"/>
                  <a:gd name="connsiteX150" fmla="*/ 264 w 120438"/>
                  <a:gd name="connsiteY150" fmla="*/ 130666 h 143185"/>
                  <a:gd name="connsiteX151" fmla="*/ 1146 w 120438"/>
                  <a:gd name="connsiteY151" fmla="*/ 131547 h 143185"/>
                  <a:gd name="connsiteX152" fmla="*/ 264 w 120438"/>
                  <a:gd name="connsiteY152" fmla="*/ 133575 h 143185"/>
                  <a:gd name="connsiteX153" fmla="*/ 1146 w 120438"/>
                  <a:gd name="connsiteY153" fmla="*/ 135074 h 143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20438" h="143185">
                    <a:moveTo>
                      <a:pt x="0" y="140276"/>
                    </a:moveTo>
                    <a:lnTo>
                      <a:pt x="5202" y="138513"/>
                    </a:lnTo>
                    <a:lnTo>
                      <a:pt x="7230" y="143186"/>
                    </a:lnTo>
                    <a:lnTo>
                      <a:pt x="8729" y="142304"/>
                    </a:lnTo>
                    <a:lnTo>
                      <a:pt x="15429" y="136220"/>
                    </a:lnTo>
                    <a:lnTo>
                      <a:pt x="17810" y="131547"/>
                    </a:lnTo>
                    <a:lnTo>
                      <a:pt x="20102" y="132429"/>
                    </a:lnTo>
                    <a:lnTo>
                      <a:pt x="25040" y="129519"/>
                    </a:lnTo>
                    <a:lnTo>
                      <a:pt x="97073" y="129519"/>
                    </a:lnTo>
                    <a:lnTo>
                      <a:pt x="95046" y="120703"/>
                    </a:lnTo>
                    <a:lnTo>
                      <a:pt x="95046" y="115501"/>
                    </a:lnTo>
                    <a:lnTo>
                      <a:pt x="97690" y="109681"/>
                    </a:lnTo>
                    <a:lnTo>
                      <a:pt x="95398" y="103245"/>
                    </a:lnTo>
                    <a:lnTo>
                      <a:pt x="97955" y="97955"/>
                    </a:lnTo>
                    <a:lnTo>
                      <a:pt x="99189" y="96544"/>
                    </a:lnTo>
                    <a:lnTo>
                      <a:pt x="98837" y="94781"/>
                    </a:lnTo>
                    <a:lnTo>
                      <a:pt x="101217" y="90373"/>
                    </a:lnTo>
                    <a:lnTo>
                      <a:pt x="103510" y="89227"/>
                    </a:lnTo>
                    <a:lnTo>
                      <a:pt x="104127" y="87199"/>
                    </a:lnTo>
                    <a:lnTo>
                      <a:pt x="106155" y="86052"/>
                    </a:lnTo>
                    <a:lnTo>
                      <a:pt x="108447" y="83143"/>
                    </a:lnTo>
                    <a:lnTo>
                      <a:pt x="108183" y="81115"/>
                    </a:lnTo>
                    <a:lnTo>
                      <a:pt x="108183" y="79352"/>
                    </a:lnTo>
                    <a:lnTo>
                      <a:pt x="110210" y="79616"/>
                    </a:lnTo>
                    <a:lnTo>
                      <a:pt x="110210" y="78470"/>
                    </a:lnTo>
                    <a:lnTo>
                      <a:pt x="112855" y="76442"/>
                    </a:lnTo>
                    <a:lnTo>
                      <a:pt x="112855" y="75560"/>
                    </a:lnTo>
                    <a:lnTo>
                      <a:pt x="115765" y="72651"/>
                    </a:lnTo>
                    <a:lnTo>
                      <a:pt x="114883" y="72298"/>
                    </a:lnTo>
                    <a:lnTo>
                      <a:pt x="114883" y="71152"/>
                    </a:lnTo>
                    <a:lnTo>
                      <a:pt x="116030" y="70535"/>
                    </a:lnTo>
                    <a:lnTo>
                      <a:pt x="116647" y="67096"/>
                    </a:lnTo>
                    <a:lnTo>
                      <a:pt x="118058" y="65597"/>
                    </a:lnTo>
                    <a:lnTo>
                      <a:pt x="119292" y="63570"/>
                    </a:lnTo>
                    <a:lnTo>
                      <a:pt x="119292" y="58279"/>
                    </a:lnTo>
                    <a:lnTo>
                      <a:pt x="119821" y="57133"/>
                    </a:lnTo>
                    <a:lnTo>
                      <a:pt x="118939" y="56251"/>
                    </a:lnTo>
                    <a:lnTo>
                      <a:pt x="118939" y="54576"/>
                    </a:lnTo>
                    <a:lnTo>
                      <a:pt x="120438" y="53959"/>
                    </a:lnTo>
                    <a:lnTo>
                      <a:pt x="116382" y="45759"/>
                    </a:lnTo>
                    <a:lnTo>
                      <a:pt x="117793" y="44613"/>
                    </a:lnTo>
                    <a:lnTo>
                      <a:pt x="117793" y="42850"/>
                    </a:lnTo>
                    <a:lnTo>
                      <a:pt x="116647" y="41439"/>
                    </a:lnTo>
                    <a:lnTo>
                      <a:pt x="114619" y="38794"/>
                    </a:lnTo>
                    <a:lnTo>
                      <a:pt x="114619" y="36149"/>
                    </a:lnTo>
                    <a:lnTo>
                      <a:pt x="114002" y="35885"/>
                    </a:lnTo>
                    <a:lnTo>
                      <a:pt x="112591" y="36766"/>
                    </a:lnTo>
                    <a:lnTo>
                      <a:pt x="111357" y="36414"/>
                    </a:lnTo>
                    <a:lnTo>
                      <a:pt x="110210" y="32093"/>
                    </a:lnTo>
                    <a:lnTo>
                      <a:pt x="109681" y="28038"/>
                    </a:lnTo>
                    <a:lnTo>
                      <a:pt x="107566" y="27156"/>
                    </a:lnTo>
                    <a:lnTo>
                      <a:pt x="106419" y="25393"/>
                    </a:lnTo>
                    <a:lnTo>
                      <a:pt x="106772" y="23894"/>
                    </a:lnTo>
                    <a:lnTo>
                      <a:pt x="106419" y="21866"/>
                    </a:lnTo>
                    <a:lnTo>
                      <a:pt x="105538" y="21337"/>
                    </a:lnTo>
                    <a:lnTo>
                      <a:pt x="106155" y="19573"/>
                    </a:lnTo>
                    <a:lnTo>
                      <a:pt x="105802" y="18339"/>
                    </a:lnTo>
                    <a:lnTo>
                      <a:pt x="106772" y="17457"/>
                    </a:lnTo>
                    <a:lnTo>
                      <a:pt x="106155" y="14284"/>
                    </a:lnTo>
                    <a:lnTo>
                      <a:pt x="105538" y="13137"/>
                    </a:lnTo>
                    <a:lnTo>
                      <a:pt x="104127" y="11374"/>
                    </a:lnTo>
                    <a:lnTo>
                      <a:pt x="101482" y="11374"/>
                    </a:lnTo>
                    <a:lnTo>
                      <a:pt x="103245" y="9875"/>
                    </a:lnTo>
                    <a:lnTo>
                      <a:pt x="103245" y="8464"/>
                    </a:lnTo>
                    <a:lnTo>
                      <a:pt x="102364" y="8200"/>
                    </a:lnTo>
                    <a:lnTo>
                      <a:pt x="100953" y="9081"/>
                    </a:lnTo>
                    <a:lnTo>
                      <a:pt x="99983" y="9611"/>
                    </a:lnTo>
                    <a:lnTo>
                      <a:pt x="99189" y="8200"/>
                    </a:lnTo>
                    <a:lnTo>
                      <a:pt x="100336" y="7318"/>
                    </a:lnTo>
                    <a:lnTo>
                      <a:pt x="99454" y="5819"/>
                    </a:lnTo>
                    <a:lnTo>
                      <a:pt x="98837" y="3527"/>
                    </a:lnTo>
                    <a:lnTo>
                      <a:pt x="97955" y="2910"/>
                    </a:lnTo>
                    <a:lnTo>
                      <a:pt x="97955" y="2645"/>
                    </a:lnTo>
                    <a:lnTo>
                      <a:pt x="98308" y="1411"/>
                    </a:lnTo>
                    <a:lnTo>
                      <a:pt x="96544" y="0"/>
                    </a:lnTo>
                    <a:lnTo>
                      <a:pt x="85700" y="11638"/>
                    </a:lnTo>
                    <a:lnTo>
                      <a:pt x="78117" y="11374"/>
                    </a:lnTo>
                    <a:lnTo>
                      <a:pt x="74943" y="8464"/>
                    </a:lnTo>
                    <a:lnTo>
                      <a:pt x="72298" y="10228"/>
                    </a:lnTo>
                    <a:lnTo>
                      <a:pt x="68771" y="11638"/>
                    </a:lnTo>
                    <a:lnTo>
                      <a:pt x="61542" y="11638"/>
                    </a:lnTo>
                    <a:lnTo>
                      <a:pt x="57398" y="15429"/>
                    </a:lnTo>
                    <a:lnTo>
                      <a:pt x="57398" y="17810"/>
                    </a:lnTo>
                    <a:lnTo>
                      <a:pt x="55105" y="17457"/>
                    </a:lnTo>
                    <a:lnTo>
                      <a:pt x="54224" y="16311"/>
                    </a:lnTo>
                    <a:lnTo>
                      <a:pt x="51579" y="15782"/>
                    </a:lnTo>
                    <a:lnTo>
                      <a:pt x="51314" y="13666"/>
                    </a:lnTo>
                    <a:lnTo>
                      <a:pt x="48669" y="10228"/>
                    </a:lnTo>
                    <a:lnTo>
                      <a:pt x="48404" y="10228"/>
                    </a:lnTo>
                    <a:lnTo>
                      <a:pt x="46112" y="12873"/>
                    </a:lnTo>
                    <a:lnTo>
                      <a:pt x="43731" y="13666"/>
                    </a:lnTo>
                    <a:lnTo>
                      <a:pt x="42585" y="14284"/>
                    </a:lnTo>
                    <a:lnTo>
                      <a:pt x="37031" y="10228"/>
                    </a:lnTo>
                    <a:lnTo>
                      <a:pt x="34650" y="10228"/>
                    </a:lnTo>
                    <a:lnTo>
                      <a:pt x="31476" y="13402"/>
                    </a:lnTo>
                    <a:lnTo>
                      <a:pt x="29977" y="13666"/>
                    </a:lnTo>
                    <a:lnTo>
                      <a:pt x="28831" y="14548"/>
                    </a:lnTo>
                    <a:lnTo>
                      <a:pt x="28566" y="16664"/>
                    </a:lnTo>
                    <a:lnTo>
                      <a:pt x="29977" y="17193"/>
                    </a:lnTo>
                    <a:lnTo>
                      <a:pt x="29184" y="18339"/>
                    </a:lnTo>
                    <a:lnTo>
                      <a:pt x="29184" y="20455"/>
                    </a:lnTo>
                    <a:lnTo>
                      <a:pt x="27685" y="22130"/>
                    </a:lnTo>
                    <a:lnTo>
                      <a:pt x="26803" y="23365"/>
                    </a:lnTo>
                    <a:lnTo>
                      <a:pt x="26803" y="24511"/>
                    </a:lnTo>
                    <a:lnTo>
                      <a:pt x="25393" y="29448"/>
                    </a:lnTo>
                    <a:lnTo>
                      <a:pt x="27685" y="31212"/>
                    </a:lnTo>
                    <a:lnTo>
                      <a:pt x="27949" y="33240"/>
                    </a:lnTo>
                    <a:lnTo>
                      <a:pt x="28214" y="35885"/>
                    </a:lnTo>
                    <a:lnTo>
                      <a:pt x="26539" y="36149"/>
                    </a:lnTo>
                    <a:lnTo>
                      <a:pt x="26539" y="37295"/>
                    </a:lnTo>
                    <a:lnTo>
                      <a:pt x="26186" y="39059"/>
                    </a:lnTo>
                    <a:lnTo>
                      <a:pt x="25040" y="40293"/>
                    </a:lnTo>
                    <a:lnTo>
                      <a:pt x="25393" y="41704"/>
                    </a:lnTo>
                    <a:lnTo>
                      <a:pt x="25040" y="43203"/>
                    </a:lnTo>
                    <a:lnTo>
                      <a:pt x="26803" y="44349"/>
                    </a:lnTo>
                    <a:lnTo>
                      <a:pt x="27068" y="45759"/>
                    </a:lnTo>
                    <a:lnTo>
                      <a:pt x="28831" y="46994"/>
                    </a:lnTo>
                    <a:lnTo>
                      <a:pt x="29713" y="48405"/>
                    </a:lnTo>
                    <a:lnTo>
                      <a:pt x="32093" y="48140"/>
                    </a:lnTo>
                    <a:lnTo>
                      <a:pt x="33239" y="48405"/>
                    </a:lnTo>
                    <a:lnTo>
                      <a:pt x="35003" y="48140"/>
                    </a:lnTo>
                    <a:lnTo>
                      <a:pt x="35003" y="49551"/>
                    </a:lnTo>
                    <a:lnTo>
                      <a:pt x="37031" y="51314"/>
                    </a:lnTo>
                    <a:lnTo>
                      <a:pt x="31212" y="62159"/>
                    </a:lnTo>
                    <a:lnTo>
                      <a:pt x="23894" y="68243"/>
                    </a:lnTo>
                    <a:lnTo>
                      <a:pt x="18604" y="74679"/>
                    </a:lnTo>
                    <a:lnTo>
                      <a:pt x="17810" y="75825"/>
                    </a:lnTo>
                    <a:lnTo>
                      <a:pt x="16576" y="74943"/>
                    </a:lnTo>
                    <a:lnTo>
                      <a:pt x="16576" y="76442"/>
                    </a:lnTo>
                    <a:lnTo>
                      <a:pt x="13666" y="76707"/>
                    </a:lnTo>
                    <a:lnTo>
                      <a:pt x="12785" y="77588"/>
                    </a:lnTo>
                    <a:lnTo>
                      <a:pt x="12785" y="80233"/>
                    </a:lnTo>
                    <a:lnTo>
                      <a:pt x="11021" y="82790"/>
                    </a:lnTo>
                    <a:lnTo>
                      <a:pt x="9610" y="83143"/>
                    </a:lnTo>
                    <a:lnTo>
                      <a:pt x="7847" y="84554"/>
                    </a:lnTo>
                    <a:lnTo>
                      <a:pt x="7583" y="86934"/>
                    </a:lnTo>
                    <a:lnTo>
                      <a:pt x="7230" y="89844"/>
                    </a:lnTo>
                    <a:lnTo>
                      <a:pt x="7847" y="92753"/>
                    </a:lnTo>
                    <a:lnTo>
                      <a:pt x="5555" y="95927"/>
                    </a:lnTo>
                    <a:lnTo>
                      <a:pt x="4056" y="99189"/>
                    </a:lnTo>
                    <a:lnTo>
                      <a:pt x="3791" y="100865"/>
                    </a:lnTo>
                    <a:lnTo>
                      <a:pt x="4585" y="105009"/>
                    </a:lnTo>
                    <a:lnTo>
                      <a:pt x="2292" y="104392"/>
                    </a:lnTo>
                    <a:lnTo>
                      <a:pt x="2028" y="106155"/>
                    </a:lnTo>
                    <a:lnTo>
                      <a:pt x="2909" y="106772"/>
                    </a:lnTo>
                    <a:lnTo>
                      <a:pt x="1763" y="116118"/>
                    </a:lnTo>
                    <a:lnTo>
                      <a:pt x="2028" y="117793"/>
                    </a:lnTo>
                    <a:lnTo>
                      <a:pt x="2909" y="119292"/>
                    </a:lnTo>
                    <a:lnTo>
                      <a:pt x="2028" y="121584"/>
                    </a:lnTo>
                    <a:lnTo>
                      <a:pt x="529" y="126610"/>
                    </a:lnTo>
                    <a:lnTo>
                      <a:pt x="264" y="130666"/>
                    </a:lnTo>
                    <a:lnTo>
                      <a:pt x="1146" y="131547"/>
                    </a:lnTo>
                    <a:lnTo>
                      <a:pt x="264" y="133575"/>
                    </a:lnTo>
                    <a:lnTo>
                      <a:pt x="1146" y="1350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5" name="Freihandform: Form 1784">
                <a:extLst>
                  <a:ext uri="{FF2B5EF4-FFF2-40B4-BE49-F238E27FC236}">
                    <a16:creationId xmlns:a16="http://schemas.microsoft.com/office/drawing/2014/main" id="{7B7139D0-7831-F3A6-B48E-CC060B1AD77A}"/>
                  </a:ext>
                </a:extLst>
              </p:cNvPr>
              <p:cNvSpPr/>
              <p:nvPr/>
            </p:nvSpPr>
            <p:spPr>
              <a:xfrm>
                <a:off x="4713558" y="4173758"/>
                <a:ext cx="241845" cy="268296"/>
              </a:xfrm>
              <a:custGeom>
                <a:avLst/>
                <a:gdLst>
                  <a:gd name="connsiteX0" fmla="*/ 32093 w 241845"/>
                  <a:gd name="connsiteY0" fmla="*/ 176 h 268296"/>
                  <a:gd name="connsiteX1" fmla="*/ 27156 w 241845"/>
                  <a:gd name="connsiteY1" fmla="*/ 3086 h 268296"/>
                  <a:gd name="connsiteX2" fmla="*/ 26274 w 241845"/>
                  <a:gd name="connsiteY2" fmla="*/ 3615 h 268296"/>
                  <a:gd name="connsiteX3" fmla="*/ 26538 w 241845"/>
                  <a:gd name="connsiteY3" fmla="*/ 5643 h 268296"/>
                  <a:gd name="connsiteX4" fmla="*/ 27420 w 241845"/>
                  <a:gd name="connsiteY4" fmla="*/ 5995 h 268296"/>
                  <a:gd name="connsiteX5" fmla="*/ 28302 w 241845"/>
                  <a:gd name="connsiteY5" fmla="*/ 9170 h 268296"/>
                  <a:gd name="connsiteX6" fmla="*/ 32358 w 241845"/>
                  <a:gd name="connsiteY6" fmla="*/ 12344 h 268296"/>
                  <a:gd name="connsiteX7" fmla="*/ 34650 w 241845"/>
                  <a:gd name="connsiteY7" fmla="*/ 17898 h 268296"/>
                  <a:gd name="connsiteX8" fmla="*/ 33768 w 241845"/>
                  <a:gd name="connsiteY8" fmla="*/ 24070 h 268296"/>
                  <a:gd name="connsiteX9" fmla="*/ 35796 w 241845"/>
                  <a:gd name="connsiteY9" fmla="*/ 28126 h 268296"/>
                  <a:gd name="connsiteX10" fmla="*/ 34650 w 241845"/>
                  <a:gd name="connsiteY10" fmla="*/ 30771 h 268296"/>
                  <a:gd name="connsiteX11" fmla="*/ 34650 w 241845"/>
                  <a:gd name="connsiteY11" fmla="*/ 35179 h 268296"/>
                  <a:gd name="connsiteX12" fmla="*/ 33504 w 241845"/>
                  <a:gd name="connsiteY12" fmla="*/ 36325 h 268296"/>
                  <a:gd name="connsiteX13" fmla="*/ 30594 w 241845"/>
                  <a:gd name="connsiteY13" fmla="*/ 34827 h 268296"/>
                  <a:gd name="connsiteX14" fmla="*/ 29360 w 241845"/>
                  <a:gd name="connsiteY14" fmla="*/ 37119 h 268296"/>
                  <a:gd name="connsiteX15" fmla="*/ 28214 w 241845"/>
                  <a:gd name="connsiteY15" fmla="*/ 40645 h 268296"/>
                  <a:gd name="connsiteX16" fmla="*/ 25569 w 241845"/>
                  <a:gd name="connsiteY16" fmla="*/ 43291 h 268296"/>
                  <a:gd name="connsiteX17" fmla="*/ 26451 w 241845"/>
                  <a:gd name="connsiteY17" fmla="*/ 43908 h 268296"/>
                  <a:gd name="connsiteX18" fmla="*/ 25304 w 241845"/>
                  <a:gd name="connsiteY18" fmla="*/ 44789 h 268296"/>
                  <a:gd name="connsiteX19" fmla="*/ 25040 w 241845"/>
                  <a:gd name="connsiteY19" fmla="*/ 47964 h 268296"/>
                  <a:gd name="connsiteX20" fmla="*/ 26803 w 241845"/>
                  <a:gd name="connsiteY20" fmla="*/ 49727 h 268296"/>
                  <a:gd name="connsiteX21" fmla="*/ 28214 w 241845"/>
                  <a:gd name="connsiteY21" fmla="*/ 48316 h 268296"/>
                  <a:gd name="connsiteX22" fmla="*/ 31123 w 241845"/>
                  <a:gd name="connsiteY22" fmla="*/ 49727 h 268296"/>
                  <a:gd name="connsiteX23" fmla="*/ 34650 w 241845"/>
                  <a:gd name="connsiteY23" fmla="*/ 50609 h 268296"/>
                  <a:gd name="connsiteX24" fmla="*/ 33151 w 241845"/>
                  <a:gd name="connsiteY24" fmla="*/ 52372 h 268296"/>
                  <a:gd name="connsiteX25" fmla="*/ 34297 w 241845"/>
                  <a:gd name="connsiteY25" fmla="*/ 53783 h 268296"/>
                  <a:gd name="connsiteX26" fmla="*/ 34562 w 241845"/>
                  <a:gd name="connsiteY26" fmla="*/ 56957 h 268296"/>
                  <a:gd name="connsiteX27" fmla="*/ 29889 w 241845"/>
                  <a:gd name="connsiteY27" fmla="*/ 58720 h 268296"/>
                  <a:gd name="connsiteX28" fmla="*/ 28743 w 241845"/>
                  <a:gd name="connsiteY28" fmla="*/ 60483 h 268296"/>
                  <a:gd name="connsiteX29" fmla="*/ 29624 w 241845"/>
                  <a:gd name="connsiteY29" fmla="*/ 61894 h 268296"/>
                  <a:gd name="connsiteX30" fmla="*/ 27596 w 241845"/>
                  <a:gd name="connsiteY30" fmla="*/ 64275 h 268296"/>
                  <a:gd name="connsiteX31" fmla="*/ 25833 w 241845"/>
                  <a:gd name="connsiteY31" fmla="*/ 64539 h 268296"/>
                  <a:gd name="connsiteX32" fmla="*/ 24952 w 241845"/>
                  <a:gd name="connsiteY32" fmla="*/ 70711 h 268296"/>
                  <a:gd name="connsiteX33" fmla="*/ 22307 w 241845"/>
                  <a:gd name="connsiteY33" fmla="*/ 71593 h 268296"/>
                  <a:gd name="connsiteX34" fmla="*/ 18780 w 241845"/>
                  <a:gd name="connsiteY34" fmla="*/ 78911 h 268296"/>
                  <a:gd name="connsiteX35" fmla="*/ 17016 w 241845"/>
                  <a:gd name="connsiteY35" fmla="*/ 81820 h 268296"/>
                  <a:gd name="connsiteX36" fmla="*/ 14988 w 241845"/>
                  <a:gd name="connsiteY36" fmla="*/ 83319 h 268296"/>
                  <a:gd name="connsiteX37" fmla="*/ 11462 w 241845"/>
                  <a:gd name="connsiteY37" fmla="*/ 84201 h 268296"/>
                  <a:gd name="connsiteX38" fmla="*/ 9698 w 241845"/>
                  <a:gd name="connsiteY38" fmla="*/ 87375 h 268296"/>
                  <a:gd name="connsiteX39" fmla="*/ 5025 w 241845"/>
                  <a:gd name="connsiteY39" fmla="*/ 87110 h 268296"/>
                  <a:gd name="connsiteX40" fmla="*/ 2380 w 241845"/>
                  <a:gd name="connsiteY40" fmla="*/ 86229 h 268296"/>
                  <a:gd name="connsiteX41" fmla="*/ 2645 w 241845"/>
                  <a:gd name="connsiteY41" fmla="*/ 89138 h 268296"/>
                  <a:gd name="connsiteX42" fmla="*/ 0 w 241845"/>
                  <a:gd name="connsiteY42" fmla="*/ 95574 h 268296"/>
                  <a:gd name="connsiteX43" fmla="*/ 0 w 241845"/>
                  <a:gd name="connsiteY43" fmla="*/ 99101 h 268296"/>
                  <a:gd name="connsiteX44" fmla="*/ 1146 w 241845"/>
                  <a:gd name="connsiteY44" fmla="*/ 103157 h 268296"/>
                  <a:gd name="connsiteX45" fmla="*/ 2909 w 241845"/>
                  <a:gd name="connsiteY45" fmla="*/ 105449 h 268296"/>
                  <a:gd name="connsiteX46" fmla="*/ 4056 w 241845"/>
                  <a:gd name="connsiteY46" fmla="*/ 111533 h 268296"/>
                  <a:gd name="connsiteX47" fmla="*/ 6084 w 241845"/>
                  <a:gd name="connsiteY47" fmla="*/ 115060 h 268296"/>
                  <a:gd name="connsiteX48" fmla="*/ 6348 w 241845"/>
                  <a:gd name="connsiteY48" fmla="*/ 117969 h 268296"/>
                  <a:gd name="connsiteX49" fmla="*/ 6348 w 241845"/>
                  <a:gd name="connsiteY49" fmla="*/ 120614 h 268296"/>
                  <a:gd name="connsiteX50" fmla="*/ 3703 w 241845"/>
                  <a:gd name="connsiteY50" fmla="*/ 124141 h 268296"/>
                  <a:gd name="connsiteX51" fmla="*/ 3703 w 241845"/>
                  <a:gd name="connsiteY51" fmla="*/ 125023 h 268296"/>
                  <a:gd name="connsiteX52" fmla="*/ 3703 w 241845"/>
                  <a:gd name="connsiteY52" fmla="*/ 126786 h 268296"/>
                  <a:gd name="connsiteX53" fmla="*/ 3703 w 241845"/>
                  <a:gd name="connsiteY53" fmla="*/ 129960 h 268296"/>
                  <a:gd name="connsiteX54" fmla="*/ 4320 w 241845"/>
                  <a:gd name="connsiteY54" fmla="*/ 132341 h 268296"/>
                  <a:gd name="connsiteX55" fmla="*/ 6877 w 241845"/>
                  <a:gd name="connsiteY55" fmla="*/ 136749 h 268296"/>
                  <a:gd name="connsiteX56" fmla="*/ 7406 w 241845"/>
                  <a:gd name="connsiteY56" fmla="*/ 139923 h 268296"/>
                  <a:gd name="connsiteX57" fmla="*/ 8288 w 241845"/>
                  <a:gd name="connsiteY57" fmla="*/ 141069 h 268296"/>
                  <a:gd name="connsiteX58" fmla="*/ 11197 w 241845"/>
                  <a:gd name="connsiteY58" fmla="*/ 143979 h 268296"/>
                  <a:gd name="connsiteX59" fmla="*/ 14371 w 241845"/>
                  <a:gd name="connsiteY59" fmla="*/ 146007 h 268296"/>
                  <a:gd name="connsiteX60" fmla="*/ 15870 w 241845"/>
                  <a:gd name="connsiteY60" fmla="*/ 147153 h 268296"/>
                  <a:gd name="connsiteX61" fmla="*/ 17634 w 241845"/>
                  <a:gd name="connsiteY61" fmla="*/ 149181 h 268296"/>
                  <a:gd name="connsiteX62" fmla="*/ 21160 w 241845"/>
                  <a:gd name="connsiteY62" fmla="*/ 153589 h 268296"/>
                  <a:gd name="connsiteX63" fmla="*/ 23188 w 241845"/>
                  <a:gd name="connsiteY63" fmla="*/ 159761 h 268296"/>
                  <a:gd name="connsiteX64" fmla="*/ 23541 w 241845"/>
                  <a:gd name="connsiteY64" fmla="*/ 164434 h 268296"/>
                  <a:gd name="connsiteX65" fmla="*/ 28214 w 241845"/>
                  <a:gd name="connsiteY65" fmla="*/ 173251 h 268296"/>
                  <a:gd name="connsiteX66" fmla="*/ 28743 w 241845"/>
                  <a:gd name="connsiteY66" fmla="*/ 175543 h 268296"/>
                  <a:gd name="connsiteX67" fmla="*/ 30506 w 241845"/>
                  <a:gd name="connsiteY67" fmla="*/ 179599 h 268296"/>
                  <a:gd name="connsiteX68" fmla="*/ 32799 w 241845"/>
                  <a:gd name="connsiteY68" fmla="*/ 185506 h 268296"/>
                  <a:gd name="connsiteX69" fmla="*/ 35444 w 241845"/>
                  <a:gd name="connsiteY69" fmla="*/ 189562 h 268296"/>
                  <a:gd name="connsiteX70" fmla="*/ 37736 w 241845"/>
                  <a:gd name="connsiteY70" fmla="*/ 191590 h 268296"/>
                  <a:gd name="connsiteX71" fmla="*/ 40117 w 241845"/>
                  <a:gd name="connsiteY71" fmla="*/ 191590 h 268296"/>
                  <a:gd name="connsiteX72" fmla="*/ 43908 w 241845"/>
                  <a:gd name="connsiteY72" fmla="*/ 191590 h 268296"/>
                  <a:gd name="connsiteX73" fmla="*/ 47699 w 241845"/>
                  <a:gd name="connsiteY73" fmla="*/ 193353 h 268296"/>
                  <a:gd name="connsiteX74" fmla="*/ 47699 w 241845"/>
                  <a:gd name="connsiteY74" fmla="*/ 196175 h 268296"/>
                  <a:gd name="connsiteX75" fmla="*/ 50873 w 241845"/>
                  <a:gd name="connsiteY75" fmla="*/ 198820 h 268296"/>
                  <a:gd name="connsiteX76" fmla="*/ 52637 w 241845"/>
                  <a:gd name="connsiteY76" fmla="*/ 197674 h 268296"/>
                  <a:gd name="connsiteX77" fmla="*/ 55810 w 241845"/>
                  <a:gd name="connsiteY77" fmla="*/ 198820 h 268296"/>
                  <a:gd name="connsiteX78" fmla="*/ 55546 w 241845"/>
                  <a:gd name="connsiteY78" fmla="*/ 201465 h 268296"/>
                  <a:gd name="connsiteX79" fmla="*/ 56692 w 241845"/>
                  <a:gd name="connsiteY79" fmla="*/ 202347 h 268296"/>
                  <a:gd name="connsiteX80" fmla="*/ 57838 w 241845"/>
                  <a:gd name="connsiteY80" fmla="*/ 201465 h 268296"/>
                  <a:gd name="connsiteX81" fmla="*/ 63129 w 241845"/>
                  <a:gd name="connsiteY81" fmla="*/ 203228 h 268296"/>
                  <a:gd name="connsiteX82" fmla="*/ 68066 w 241845"/>
                  <a:gd name="connsiteY82" fmla="*/ 203228 h 268296"/>
                  <a:gd name="connsiteX83" fmla="*/ 70094 w 241845"/>
                  <a:gd name="connsiteY83" fmla="*/ 205520 h 268296"/>
                  <a:gd name="connsiteX84" fmla="*/ 73268 w 241845"/>
                  <a:gd name="connsiteY84" fmla="*/ 205873 h 268296"/>
                  <a:gd name="connsiteX85" fmla="*/ 73885 w 241845"/>
                  <a:gd name="connsiteY85" fmla="*/ 207284 h 268296"/>
                  <a:gd name="connsiteX86" fmla="*/ 77412 w 241845"/>
                  <a:gd name="connsiteY86" fmla="*/ 209312 h 268296"/>
                  <a:gd name="connsiteX87" fmla="*/ 79792 w 241845"/>
                  <a:gd name="connsiteY87" fmla="*/ 209312 h 268296"/>
                  <a:gd name="connsiteX88" fmla="*/ 82966 w 241845"/>
                  <a:gd name="connsiteY88" fmla="*/ 212486 h 268296"/>
                  <a:gd name="connsiteX89" fmla="*/ 85611 w 241845"/>
                  <a:gd name="connsiteY89" fmla="*/ 211957 h 268296"/>
                  <a:gd name="connsiteX90" fmla="*/ 88521 w 241845"/>
                  <a:gd name="connsiteY90" fmla="*/ 215484 h 268296"/>
                  <a:gd name="connsiteX91" fmla="*/ 91431 w 241845"/>
                  <a:gd name="connsiteY91" fmla="*/ 214866 h 268296"/>
                  <a:gd name="connsiteX92" fmla="*/ 93723 w 241845"/>
                  <a:gd name="connsiteY92" fmla="*/ 215484 h 268296"/>
                  <a:gd name="connsiteX93" fmla="*/ 94869 w 241845"/>
                  <a:gd name="connsiteY93" fmla="*/ 214866 h 268296"/>
                  <a:gd name="connsiteX94" fmla="*/ 98043 w 241845"/>
                  <a:gd name="connsiteY94" fmla="*/ 217512 h 268296"/>
                  <a:gd name="connsiteX95" fmla="*/ 99189 w 241845"/>
                  <a:gd name="connsiteY95" fmla="*/ 213191 h 268296"/>
                  <a:gd name="connsiteX96" fmla="*/ 100953 w 241845"/>
                  <a:gd name="connsiteY96" fmla="*/ 212045 h 268296"/>
                  <a:gd name="connsiteX97" fmla="*/ 107125 w 241845"/>
                  <a:gd name="connsiteY97" fmla="*/ 218746 h 268296"/>
                  <a:gd name="connsiteX98" fmla="*/ 107125 w 241845"/>
                  <a:gd name="connsiteY98" fmla="*/ 219892 h 268296"/>
                  <a:gd name="connsiteX99" fmla="*/ 111533 w 241845"/>
                  <a:gd name="connsiteY99" fmla="*/ 225447 h 268296"/>
                  <a:gd name="connsiteX100" fmla="*/ 112944 w 241845"/>
                  <a:gd name="connsiteY100" fmla="*/ 231883 h 268296"/>
                  <a:gd name="connsiteX101" fmla="*/ 112679 w 241845"/>
                  <a:gd name="connsiteY101" fmla="*/ 239201 h 268296"/>
                  <a:gd name="connsiteX102" fmla="*/ 114707 w 241845"/>
                  <a:gd name="connsiteY102" fmla="*/ 243521 h 268296"/>
                  <a:gd name="connsiteX103" fmla="*/ 112679 w 241845"/>
                  <a:gd name="connsiteY103" fmla="*/ 253131 h 268296"/>
                  <a:gd name="connsiteX104" fmla="*/ 115589 w 241845"/>
                  <a:gd name="connsiteY104" fmla="*/ 254895 h 268296"/>
                  <a:gd name="connsiteX105" fmla="*/ 115324 w 241845"/>
                  <a:gd name="connsiteY105" fmla="*/ 257540 h 268296"/>
                  <a:gd name="connsiteX106" fmla="*/ 116206 w 241845"/>
                  <a:gd name="connsiteY106" fmla="*/ 259303 h 268296"/>
                  <a:gd name="connsiteX107" fmla="*/ 116823 w 241845"/>
                  <a:gd name="connsiteY107" fmla="*/ 258422 h 268296"/>
                  <a:gd name="connsiteX108" fmla="*/ 118851 w 241845"/>
                  <a:gd name="connsiteY108" fmla="*/ 259568 h 268296"/>
                  <a:gd name="connsiteX109" fmla="*/ 119997 w 241845"/>
                  <a:gd name="connsiteY109" fmla="*/ 263976 h 268296"/>
                  <a:gd name="connsiteX110" fmla="*/ 130489 w 241845"/>
                  <a:gd name="connsiteY110" fmla="*/ 263623 h 268296"/>
                  <a:gd name="connsiteX111" fmla="*/ 130489 w 241845"/>
                  <a:gd name="connsiteY111" fmla="*/ 265122 h 268296"/>
                  <a:gd name="connsiteX112" fmla="*/ 134545 w 241845"/>
                  <a:gd name="connsiteY112" fmla="*/ 265122 h 268296"/>
                  <a:gd name="connsiteX113" fmla="*/ 136573 w 241845"/>
                  <a:gd name="connsiteY113" fmla="*/ 261331 h 268296"/>
                  <a:gd name="connsiteX114" fmla="*/ 139482 w 241845"/>
                  <a:gd name="connsiteY114" fmla="*/ 260449 h 268296"/>
                  <a:gd name="connsiteX115" fmla="*/ 142127 w 241845"/>
                  <a:gd name="connsiteY115" fmla="*/ 261331 h 268296"/>
                  <a:gd name="connsiteX116" fmla="*/ 142392 w 241845"/>
                  <a:gd name="connsiteY116" fmla="*/ 263094 h 268296"/>
                  <a:gd name="connsiteX117" fmla="*/ 145566 w 241845"/>
                  <a:gd name="connsiteY117" fmla="*/ 263712 h 268296"/>
                  <a:gd name="connsiteX118" fmla="*/ 146712 w 241845"/>
                  <a:gd name="connsiteY118" fmla="*/ 267767 h 268296"/>
                  <a:gd name="connsiteX119" fmla="*/ 153148 w 241845"/>
                  <a:gd name="connsiteY119" fmla="*/ 267150 h 268296"/>
                  <a:gd name="connsiteX120" fmla="*/ 154295 w 241845"/>
                  <a:gd name="connsiteY120" fmla="*/ 268296 h 268296"/>
                  <a:gd name="connsiteX121" fmla="*/ 157557 w 241845"/>
                  <a:gd name="connsiteY121" fmla="*/ 268032 h 268296"/>
                  <a:gd name="connsiteX122" fmla="*/ 161084 w 241845"/>
                  <a:gd name="connsiteY122" fmla="*/ 263976 h 268296"/>
                  <a:gd name="connsiteX123" fmla="*/ 162230 w 241845"/>
                  <a:gd name="connsiteY123" fmla="*/ 265122 h 268296"/>
                  <a:gd name="connsiteX124" fmla="*/ 165404 w 241845"/>
                  <a:gd name="connsiteY124" fmla="*/ 265122 h 268296"/>
                  <a:gd name="connsiteX125" fmla="*/ 165668 w 241845"/>
                  <a:gd name="connsiteY125" fmla="*/ 263976 h 268296"/>
                  <a:gd name="connsiteX126" fmla="*/ 167696 w 241845"/>
                  <a:gd name="connsiteY126" fmla="*/ 267150 h 268296"/>
                  <a:gd name="connsiteX127" fmla="*/ 169989 w 241845"/>
                  <a:gd name="connsiteY127" fmla="*/ 267767 h 268296"/>
                  <a:gd name="connsiteX128" fmla="*/ 172369 w 241845"/>
                  <a:gd name="connsiteY128" fmla="*/ 267150 h 268296"/>
                  <a:gd name="connsiteX129" fmla="*/ 174397 w 241845"/>
                  <a:gd name="connsiteY129" fmla="*/ 268296 h 268296"/>
                  <a:gd name="connsiteX130" fmla="*/ 177659 w 241845"/>
                  <a:gd name="connsiteY130" fmla="*/ 265651 h 268296"/>
                  <a:gd name="connsiteX131" fmla="*/ 178805 w 241845"/>
                  <a:gd name="connsiteY131" fmla="*/ 266533 h 268296"/>
                  <a:gd name="connsiteX132" fmla="*/ 179422 w 241845"/>
                  <a:gd name="connsiteY132" fmla="*/ 265034 h 268296"/>
                  <a:gd name="connsiteX133" fmla="*/ 182949 w 241845"/>
                  <a:gd name="connsiteY133" fmla="*/ 263888 h 268296"/>
                  <a:gd name="connsiteX134" fmla="*/ 186123 w 241845"/>
                  <a:gd name="connsiteY134" fmla="*/ 256923 h 268296"/>
                  <a:gd name="connsiteX135" fmla="*/ 192560 w 241845"/>
                  <a:gd name="connsiteY135" fmla="*/ 256923 h 268296"/>
                  <a:gd name="connsiteX136" fmla="*/ 194940 w 241845"/>
                  <a:gd name="connsiteY136" fmla="*/ 259568 h 268296"/>
                  <a:gd name="connsiteX137" fmla="*/ 197585 w 241845"/>
                  <a:gd name="connsiteY137" fmla="*/ 260449 h 268296"/>
                  <a:gd name="connsiteX138" fmla="*/ 200759 w 241845"/>
                  <a:gd name="connsiteY138" fmla="*/ 256923 h 268296"/>
                  <a:gd name="connsiteX139" fmla="*/ 203404 w 241845"/>
                  <a:gd name="connsiteY139" fmla="*/ 256923 h 268296"/>
                  <a:gd name="connsiteX140" fmla="*/ 206578 w 241845"/>
                  <a:gd name="connsiteY140" fmla="*/ 254013 h 268296"/>
                  <a:gd name="connsiteX141" fmla="*/ 215043 w 241845"/>
                  <a:gd name="connsiteY141" fmla="*/ 254013 h 268296"/>
                  <a:gd name="connsiteX142" fmla="*/ 220244 w 241845"/>
                  <a:gd name="connsiteY142" fmla="*/ 250486 h 268296"/>
                  <a:gd name="connsiteX143" fmla="*/ 231354 w 241845"/>
                  <a:gd name="connsiteY143" fmla="*/ 245285 h 268296"/>
                  <a:gd name="connsiteX144" fmla="*/ 235674 w 241845"/>
                  <a:gd name="connsiteY144" fmla="*/ 240259 h 268296"/>
                  <a:gd name="connsiteX145" fmla="*/ 240082 w 241845"/>
                  <a:gd name="connsiteY145" fmla="*/ 237614 h 268296"/>
                  <a:gd name="connsiteX146" fmla="*/ 241846 w 241845"/>
                  <a:gd name="connsiteY146" fmla="*/ 234704 h 268296"/>
                  <a:gd name="connsiteX147" fmla="*/ 241317 w 241845"/>
                  <a:gd name="connsiteY147" fmla="*/ 233558 h 268296"/>
                  <a:gd name="connsiteX148" fmla="*/ 240700 w 241845"/>
                  <a:gd name="connsiteY148" fmla="*/ 232676 h 268296"/>
                  <a:gd name="connsiteX149" fmla="*/ 240082 w 241845"/>
                  <a:gd name="connsiteY149" fmla="*/ 232676 h 268296"/>
                  <a:gd name="connsiteX150" fmla="*/ 240082 w 241845"/>
                  <a:gd name="connsiteY150" fmla="*/ 232941 h 268296"/>
                  <a:gd name="connsiteX151" fmla="*/ 240082 w 241845"/>
                  <a:gd name="connsiteY151" fmla="*/ 233558 h 268296"/>
                  <a:gd name="connsiteX152" fmla="*/ 240082 w 241845"/>
                  <a:gd name="connsiteY152" fmla="*/ 234704 h 268296"/>
                  <a:gd name="connsiteX153" fmla="*/ 239201 w 241845"/>
                  <a:gd name="connsiteY153" fmla="*/ 234704 h 268296"/>
                  <a:gd name="connsiteX154" fmla="*/ 238319 w 241845"/>
                  <a:gd name="connsiteY154" fmla="*/ 233558 h 268296"/>
                  <a:gd name="connsiteX155" fmla="*/ 238055 w 241845"/>
                  <a:gd name="connsiteY155" fmla="*/ 232676 h 268296"/>
                  <a:gd name="connsiteX156" fmla="*/ 236908 w 241845"/>
                  <a:gd name="connsiteY156" fmla="*/ 230649 h 268296"/>
                  <a:gd name="connsiteX157" fmla="*/ 236291 w 241845"/>
                  <a:gd name="connsiteY157" fmla="*/ 230384 h 268296"/>
                  <a:gd name="connsiteX158" fmla="*/ 235674 w 241845"/>
                  <a:gd name="connsiteY158" fmla="*/ 230913 h 268296"/>
                  <a:gd name="connsiteX159" fmla="*/ 235409 w 241845"/>
                  <a:gd name="connsiteY159" fmla="*/ 231795 h 268296"/>
                  <a:gd name="connsiteX160" fmla="*/ 236027 w 241845"/>
                  <a:gd name="connsiteY160" fmla="*/ 232324 h 268296"/>
                  <a:gd name="connsiteX161" fmla="*/ 235762 w 241845"/>
                  <a:gd name="connsiteY161" fmla="*/ 232588 h 268296"/>
                  <a:gd name="connsiteX162" fmla="*/ 235145 w 241845"/>
                  <a:gd name="connsiteY162" fmla="*/ 232588 h 268296"/>
                  <a:gd name="connsiteX163" fmla="*/ 233911 w 241845"/>
                  <a:gd name="connsiteY163" fmla="*/ 231971 h 268296"/>
                  <a:gd name="connsiteX164" fmla="*/ 233911 w 241845"/>
                  <a:gd name="connsiteY164" fmla="*/ 231089 h 268296"/>
                  <a:gd name="connsiteX165" fmla="*/ 234792 w 241845"/>
                  <a:gd name="connsiteY165" fmla="*/ 230208 h 268296"/>
                  <a:gd name="connsiteX166" fmla="*/ 234440 w 241845"/>
                  <a:gd name="connsiteY166" fmla="*/ 229591 h 268296"/>
                  <a:gd name="connsiteX167" fmla="*/ 233822 w 241845"/>
                  <a:gd name="connsiteY167" fmla="*/ 229326 h 268296"/>
                  <a:gd name="connsiteX168" fmla="*/ 231530 w 241845"/>
                  <a:gd name="connsiteY168" fmla="*/ 228444 h 268296"/>
                  <a:gd name="connsiteX169" fmla="*/ 231265 w 241845"/>
                  <a:gd name="connsiteY169" fmla="*/ 228709 h 268296"/>
                  <a:gd name="connsiteX170" fmla="*/ 231265 w 241845"/>
                  <a:gd name="connsiteY170" fmla="*/ 229591 h 268296"/>
                  <a:gd name="connsiteX171" fmla="*/ 231001 w 241845"/>
                  <a:gd name="connsiteY171" fmla="*/ 230208 h 268296"/>
                  <a:gd name="connsiteX172" fmla="*/ 230119 w 241845"/>
                  <a:gd name="connsiteY172" fmla="*/ 228709 h 268296"/>
                  <a:gd name="connsiteX173" fmla="*/ 230119 w 241845"/>
                  <a:gd name="connsiteY173" fmla="*/ 227827 h 268296"/>
                  <a:gd name="connsiteX174" fmla="*/ 230119 w 241845"/>
                  <a:gd name="connsiteY174" fmla="*/ 227210 h 268296"/>
                  <a:gd name="connsiteX175" fmla="*/ 230384 w 241845"/>
                  <a:gd name="connsiteY175" fmla="*/ 226328 h 268296"/>
                  <a:gd name="connsiteX176" fmla="*/ 229238 w 241845"/>
                  <a:gd name="connsiteY176" fmla="*/ 225182 h 268296"/>
                  <a:gd name="connsiteX177" fmla="*/ 227739 w 241845"/>
                  <a:gd name="connsiteY177" fmla="*/ 224565 h 268296"/>
                  <a:gd name="connsiteX178" fmla="*/ 226857 w 241845"/>
                  <a:gd name="connsiteY178" fmla="*/ 224300 h 268296"/>
                  <a:gd name="connsiteX179" fmla="*/ 225711 w 241845"/>
                  <a:gd name="connsiteY179" fmla="*/ 224565 h 268296"/>
                  <a:gd name="connsiteX180" fmla="*/ 225446 w 241845"/>
                  <a:gd name="connsiteY180" fmla="*/ 225182 h 268296"/>
                  <a:gd name="connsiteX181" fmla="*/ 225446 w 241845"/>
                  <a:gd name="connsiteY181" fmla="*/ 225799 h 268296"/>
                  <a:gd name="connsiteX182" fmla="*/ 224829 w 241845"/>
                  <a:gd name="connsiteY182" fmla="*/ 225799 h 268296"/>
                  <a:gd name="connsiteX183" fmla="*/ 224565 w 241845"/>
                  <a:gd name="connsiteY183" fmla="*/ 225535 h 268296"/>
                  <a:gd name="connsiteX184" fmla="*/ 224565 w 241845"/>
                  <a:gd name="connsiteY184" fmla="*/ 224389 h 268296"/>
                  <a:gd name="connsiteX185" fmla="*/ 224829 w 241845"/>
                  <a:gd name="connsiteY185" fmla="*/ 223507 h 268296"/>
                  <a:gd name="connsiteX186" fmla="*/ 225446 w 241845"/>
                  <a:gd name="connsiteY186" fmla="*/ 222890 h 268296"/>
                  <a:gd name="connsiteX187" fmla="*/ 226328 w 241845"/>
                  <a:gd name="connsiteY187" fmla="*/ 222890 h 268296"/>
                  <a:gd name="connsiteX188" fmla="*/ 226328 w 241845"/>
                  <a:gd name="connsiteY188" fmla="*/ 222361 h 268296"/>
                  <a:gd name="connsiteX189" fmla="*/ 225799 w 241845"/>
                  <a:gd name="connsiteY189" fmla="*/ 221743 h 268296"/>
                  <a:gd name="connsiteX190" fmla="*/ 226328 w 241845"/>
                  <a:gd name="connsiteY190" fmla="*/ 221126 h 268296"/>
                  <a:gd name="connsiteX191" fmla="*/ 226681 w 241845"/>
                  <a:gd name="connsiteY191" fmla="*/ 221126 h 268296"/>
                  <a:gd name="connsiteX192" fmla="*/ 227298 w 241845"/>
                  <a:gd name="connsiteY192" fmla="*/ 221126 h 268296"/>
                  <a:gd name="connsiteX193" fmla="*/ 227563 w 241845"/>
                  <a:gd name="connsiteY193" fmla="*/ 220509 h 268296"/>
                  <a:gd name="connsiteX194" fmla="*/ 227563 w 241845"/>
                  <a:gd name="connsiteY194" fmla="*/ 219627 h 268296"/>
                  <a:gd name="connsiteX195" fmla="*/ 226681 w 241845"/>
                  <a:gd name="connsiteY195" fmla="*/ 219010 h 268296"/>
                  <a:gd name="connsiteX196" fmla="*/ 226064 w 241845"/>
                  <a:gd name="connsiteY196" fmla="*/ 219010 h 268296"/>
                  <a:gd name="connsiteX197" fmla="*/ 225799 w 241845"/>
                  <a:gd name="connsiteY197" fmla="*/ 219010 h 268296"/>
                  <a:gd name="connsiteX198" fmla="*/ 226064 w 241845"/>
                  <a:gd name="connsiteY198" fmla="*/ 216365 h 268296"/>
                  <a:gd name="connsiteX199" fmla="*/ 226681 w 241845"/>
                  <a:gd name="connsiteY199" fmla="*/ 214955 h 268296"/>
                  <a:gd name="connsiteX200" fmla="*/ 226328 w 241845"/>
                  <a:gd name="connsiteY200" fmla="*/ 212927 h 268296"/>
                  <a:gd name="connsiteX201" fmla="*/ 226064 w 241845"/>
                  <a:gd name="connsiteY201" fmla="*/ 212574 h 268296"/>
                  <a:gd name="connsiteX202" fmla="*/ 224653 w 241845"/>
                  <a:gd name="connsiteY202" fmla="*/ 211428 h 268296"/>
                  <a:gd name="connsiteX203" fmla="*/ 223154 w 241845"/>
                  <a:gd name="connsiteY203" fmla="*/ 211428 h 268296"/>
                  <a:gd name="connsiteX204" fmla="*/ 222272 w 241845"/>
                  <a:gd name="connsiteY204" fmla="*/ 211428 h 268296"/>
                  <a:gd name="connsiteX205" fmla="*/ 222008 w 241845"/>
                  <a:gd name="connsiteY205" fmla="*/ 210546 h 268296"/>
                  <a:gd name="connsiteX206" fmla="*/ 222537 w 241845"/>
                  <a:gd name="connsiteY206" fmla="*/ 209664 h 268296"/>
                  <a:gd name="connsiteX207" fmla="*/ 222801 w 241845"/>
                  <a:gd name="connsiteY207" fmla="*/ 209929 h 268296"/>
                  <a:gd name="connsiteX208" fmla="*/ 223066 w 241845"/>
                  <a:gd name="connsiteY208" fmla="*/ 210811 h 268296"/>
                  <a:gd name="connsiteX209" fmla="*/ 223948 w 241845"/>
                  <a:gd name="connsiteY209" fmla="*/ 210193 h 268296"/>
                  <a:gd name="connsiteX210" fmla="*/ 224565 w 241845"/>
                  <a:gd name="connsiteY210" fmla="*/ 209312 h 268296"/>
                  <a:gd name="connsiteX211" fmla="*/ 224829 w 241845"/>
                  <a:gd name="connsiteY211" fmla="*/ 208165 h 268296"/>
                  <a:gd name="connsiteX212" fmla="*/ 224565 w 241845"/>
                  <a:gd name="connsiteY212" fmla="*/ 206667 h 268296"/>
                  <a:gd name="connsiteX213" fmla="*/ 223948 w 241845"/>
                  <a:gd name="connsiteY213" fmla="*/ 207019 h 268296"/>
                  <a:gd name="connsiteX214" fmla="*/ 223683 w 241845"/>
                  <a:gd name="connsiteY214" fmla="*/ 206667 h 268296"/>
                  <a:gd name="connsiteX215" fmla="*/ 223683 w 241845"/>
                  <a:gd name="connsiteY215" fmla="*/ 205520 h 268296"/>
                  <a:gd name="connsiteX216" fmla="*/ 223948 w 241845"/>
                  <a:gd name="connsiteY216" fmla="*/ 205168 h 268296"/>
                  <a:gd name="connsiteX217" fmla="*/ 224212 w 241845"/>
                  <a:gd name="connsiteY217" fmla="*/ 205168 h 268296"/>
                  <a:gd name="connsiteX218" fmla="*/ 224477 w 241845"/>
                  <a:gd name="connsiteY218" fmla="*/ 205168 h 268296"/>
                  <a:gd name="connsiteX219" fmla="*/ 224741 w 241845"/>
                  <a:gd name="connsiteY219" fmla="*/ 204551 h 268296"/>
                  <a:gd name="connsiteX220" fmla="*/ 224124 w 241845"/>
                  <a:gd name="connsiteY220" fmla="*/ 203669 h 268296"/>
                  <a:gd name="connsiteX221" fmla="*/ 222361 w 241845"/>
                  <a:gd name="connsiteY221" fmla="*/ 202523 h 268296"/>
                  <a:gd name="connsiteX222" fmla="*/ 221214 w 241845"/>
                  <a:gd name="connsiteY222" fmla="*/ 202876 h 268296"/>
                  <a:gd name="connsiteX223" fmla="*/ 219715 w 241845"/>
                  <a:gd name="connsiteY223" fmla="*/ 201377 h 268296"/>
                  <a:gd name="connsiteX224" fmla="*/ 220244 w 241845"/>
                  <a:gd name="connsiteY224" fmla="*/ 199084 h 268296"/>
                  <a:gd name="connsiteX225" fmla="*/ 221126 w 241845"/>
                  <a:gd name="connsiteY225" fmla="*/ 198467 h 268296"/>
                  <a:gd name="connsiteX226" fmla="*/ 221126 w 241845"/>
                  <a:gd name="connsiteY226" fmla="*/ 197850 h 268296"/>
                  <a:gd name="connsiteX227" fmla="*/ 220773 w 241845"/>
                  <a:gd name="connsiteY227" fmla="*/ 197233 h 268296"/>
                  <a:gd name="connsiteX228" fmla="*/ 220156 w 241845"/>
                  <a:gd name="connsiteY228" fmla="*/ 197233 h 268296"/>
                  <a:gd name="connsiteX229" fmla="*/ 219627 w 241845"/>
                  <a:gd name="connsiteY229" fmla="*/ 197497 h 268296"/>
                  <a:gd name="connsiteX230" fmla="*/ 218746 w 241845"/>
                  <a:gd name="connsiteY230" fmla="*/ 197497 h 268296"/>
                  <a:gd name="connsiteX231" fmla="*/ 218217 w 241845"/>
                  <a:gd name="connsiteY231" fmla="*/ 197497 h 268296"/>
                  <a:gd name="connsiteX232" fmla="*/ 218746 w 241845"/>
                  <a:gd name="connsiteY232" fmla="*/ 197233 h 268296"/>
                  <a:gd name="connsiteX233" fmla="*/ 219098 w 241845"/>
                  <a:gd name="connsiteY233" fmla="*/ 196968 h 268296"/>
                  <a:gd name="connsiteX234" fmla="*/ 219098 w 241845"/>
                  <a:gd name="connsiteY234" fmla="*/ 196704 h 268296"/>
                  <a:gd name="connsiteX235" fmla="*/ 219715 w 241845"/>
                  <a:gd name="connsiteY235" fmla="*/ 196086 h 268296"/>
                  <a:gd name="connsiteX236" fmla="*/ 220597 w 241845"/>
                  <a:gd name="connsiteY236" fmla="*/ 196086 h 268296"/>
                  <a:gd name="connsiteX237" fmla="*/ 221214 w 241845"/>
                  <a:gd name="connsiteY237" fmla="*/ 196704 h 268296"/>
                  <a:gd name="connsiteX238" fmla="*/ 221743 w 241845"/>
                  <a:gd name="connsiteY238" fmla="*/ 197585 h 268296"/>
                  <a:gd name="connsiteX239" fmla="*/ 222272 w 241845"/>
                  <a:gd name="connsiteY239" fmla="*/ 198203 h 268296"/>
                  <a:gd name="connsiteX240" fmla="*/ 222537 w 241845"/>
                  <a:gd name="connsiteY240" fmla="*/ 197585 h 268296"/>
                  <a:gd name="connsiteX241" fmla="*/ 222008 w 241845"/>
                  <a:gd name="connsiteY241" fmla="*/ 197321 h 268296"/>
                  <a:gd name="connsiteX242" fmla="*/ 221743 w 241845"/>
                  <a:gd name="connsiteY242" fmla="*/ 197056 h 268296"/>
                  <a:gd name="connsiteX243" fmla="*/ 221743 w 241845"/>
                  <a:gd name="connsiteY243" fmla="*/ 196792 h 268296"/>
                  <a:gd name="connsiteX244" fmla="*/ 221214 w 241845"/>
                  <a:gd name="connsiteY244" fmla="*/ 195293 h 268296"/>
                  <a:gd name="connsiteX245" fmla="*/ 220597 w 241845"/>
                  <a:gd name="connsiteY245" fmla="*/ 194147 h 268296"/>
                  <a:gd name="connsiteX246" fmla="*/ 218569 w 241845"/>
                  <a:gd name="connsiteY246" fmla="*/ 193001 h 268296"/>
                  <a:gd name="connsiteX247" fmla="*/ 218305 w 241845"/>
                  <a:gd name="connsiteY247" fmla="*/ 192383 h 268296"/>
                  <a:gd name="connsiteX248" fmla="*/ 218569 w 241845"/>
                  <a:gd name="connsiteY248" fmla="*/ 191502 h 268296"/>
                  <a:gd name="connsiteX249" fmla="*/ 218569 w 241845"/>
                  <a:gd name="connsiteY249" fmla="*/ 188857 h 268296"/>
                  <a:gd name="connsiteX250" fmla="*/ 218305 w 241845"/>
                  <a:gd name="connsiteY250" fmla="*/ 188592 h 268296"/>
                  <a:gd name="connsiteX251" fmla="*/ 217952 w 241845"/>
                  <a:gd name="connsiteY251" fmla="*/ 188592 h 268296"/>
                  <a:gd name="connsiteX252" fmla="*/ 217423 w 241845"/>
                  <a:gd name="connsiteY252" fmla="*/ 188592 h 268296"/>
                  <a:gd name="connsiteX253" fmla="*/ 217158 w 241845"/>
                  <a:gd name="connsiteY253" fmla="*/ 187975 h 268296"/>
                  <a:gd name="connsiteX254" fmla="*/ 217776 w 241845"/>
                  <a:gd name="connsiteY254" fmla="*/ 185594 h 268296"/>
                  <a:gd name="connsiteX255" fmla="*/ 217776 w 241845"/>
                  <a:gd name="connsiteY255" fmla="*/ 182685 h 268296"/>
                  <a:gd name="connsiteX256" fmla="*/ 217776 w 241845"/>
                  <a:gd name="connsiteY256" fmla="*/ 181803 h 268296"/>
                  <a:gd name="connsiteX257" fmla="*/ 218657 w 241845"/>
                  <a:gd name="connsiteY257" fmla="*/ 181803 h 268296"/>
                  <a:gd name="connsiteX258" fmla="*/ 219275 w 241845"/>
                  <a:gd name="connsiteY258" fmla="*/ 181186 h 268296"/>
                  <a:gd name="connsiteX259" fmla="*/ 219275 w 241845"/>
                  <a:gd name="connsiteY259" fmla="*/ 179423 h 268296"/>
                  <a:gd name="connsiteX260" fmla="*/ 218922 w 241845"/>
                  <a:gd name="connsiteY260" fmla="*/ 178012 h 268296"/>
                  <a:gd name="connsiteX261" fmla="*/ 219275 w 241845"/>
                  <a:gd name="connsiteY261" fmla="*/ 176249 h 268296"/>
                  <a:gd name="connsiteX262" fmla="*/ 220773 w 241845"/>
                  <a:gd name="connsiteY262" fmla="*/ 175632 h 268296"/>
                  <a:gd name="connsiteX263" fmla="*/ 221655 w 241845"/>
                  <a:gd name="connsiteY263" fmla="*/ 173868 h 268296"/>
                  <a:gd name="connsiteX264" fmla="*/ 221391 w 241845"/>
                  <a:gd name="connsiteY264" fmla="*/ 172457 h 268296"/>
                  <a:gd name="connsiteX265" fmla="*/ 220773 w 241845"/>
                  <a:gd name="connsiteY265" fmla="*/ 170165 h 268296"/>
                  <a:gd name="connsiteX266" fmla="*/ 219627 w 241845"/>
                  <a:gd name="connsiteY266" fmla="*/ 168666 h 268296"/>
                  <a:gd name="connsiteX267" fmla="*/ 218481 w 241845"/>
                  <a:gd name="connsiteY267" fmla="*/ 168402 h 268296"/>
                  <a:gd name="connsiteX268" fmla="*/ 217864 w 241845"/>
                  <a:gd name="connsiteY268" fmla="*/ 168402 h 268296"/>
                  <a:gd name="connsiteX269" fmla="*/ 218481 w 241845"/>
                  <a:gd name="connsiteY269" fmla="*/ 168931 h 268296"/>
                  <a:gd name="connsiteX270" fmla="*/ 218746 w 241845"/>
                  <a:gd name="connsiteY270" fmla="*/ 169548 h 268296"/>
                  <a:gd name="connsiteX271" fmla="*/ 217599 w 241845"/>
                  <a:gd name="connsiteY271" fmla="*/ 170165 h 268296"/>
                  <a:gd name="connsiteX272" fmla="*/ 217335 w 241845"/>
                  <a:gd name="connsiteY272" fmla="*/ 169283 h 268296"/>
                  <a:gd name="connsiteX273" fmla="*/ 217071 w 241845"/>
                  <a:gd name="connsiteY273" fmla="*/ 169283 h 268296"/>
                  <a:gd name="connsiteX274" fmla="*/ 217688 w 241845"/>
                  <a:gd name="connsiteY274" fmla="*/ 168666 h 268296"/>
                  <a:gd name="connsiteX275" fmla="*/ 217071 w 241845"/>
                  <a:gd name="connsiteY275" fmla="*/ 166903 h 268296"/>
                  <a:gd name="connsiteX276" fmla="*/ 217335 w 241845"/>
                  <a:gd name="connsiteY276" fmla="*/ 163993 h 268296"/>
                  <a:gd name="connsiteX277" fmla="*/ 218834 w 241845"/>
                  <a:gd name="connsiteY277" fmla="*/ 161436 h 268296"/>
                  <a:gd name="connsiteX278" fmla="*/ 219715 w 241845"/>
                  <a:gd name="connsiteY278" fmla="*/ 160555 h 268296"/>
                  <a:gd name="connsiteX279" fmla="*/ 219098 w 241845"/>
                  <a:gd name="connsiteY279" fmla="*/ 159408 h 268296"/>
                  <a:gd name="connsiteX280" fmla="*/ 219451 w 241845"/>
                  <a:gd name="connsiteY280" fmla="*/ 158527 h 268296"/>
                  <a:gd name="connsiteX281" fmla="*/ 218217 w 241845"/>
                  <a:gd name="connsiteY281" fmla="*/ 158262 h 268296"/>
                  <a:gd name="connsiteX282" fmla="*/ 218834 w 241845"/>
                  <a:gd name="connsiteY282" fmla="*/ 158262 h 268296"/>
                  <a:gd name="connsiteX283" fmla="*/ 219715 w 241845"/>
                  <a:gd name="connsiteY283" fmla="*/ 157645 h 268296"/>
                  <a:gd name="connsiteX284" fmla="*/ 220333 w 241845"/>
                  <a:gd name="connsiteY284" fmla="*/ 156499 h 268296"/>
                  <a:gd name="connsiteX285" fmla="*/ 220950 w 241845"/>
                  <a:gd name="connsiteY285" fmla="*/ 154471 h 268296"/>
                  <a:gd name="connsiteX286" fmla="*/ 222449 w 241845"/>
                  <a:gd name="connsiteY286" fmla="*/ 153854 h 268296"/>
                  <a:gd name="connsiteX287" fmla="*/ 223595 w 241845"/>
                  <a:gd name="connsiteY287" fmla="*/ 153237 h 268296"/>
                  <a:gd name="connsiteX288" fmla="*/ 224124 w 241845"/>
                  <a:gd name="connsiteY288" fmla="*/ 151209 h 268296"/>
                  <a:gd name="connsiteX289" fmla="*/ 223595 w 241845"/>
                  <a:gd name="connsiteY289" fmla="*/ 149710 h 268296"/>
                  <a:gd name="connsiteX290" fmla="*/ 223595 w 241845"/>
                  <a:gd name="connsiteY290" fmla="*/ 148828 h 268296"/>
                  <a:gd name="connsiteX291" fmla="*/ 221832 w 241845"/>
                  <a:gd name="connsiteY291" fmla="*/ 146800 h 268296"/>
                  <a:gd name="connsiteX292" fmla="*/ 219186 w 241845"/>
                  <a:gd name="connsiteY292" fmla="*/ 145654 h 268296"/>
                  <a:gd name="connsiteX293" fmla="*/ 218305 w 241845"/>
                  <a:gd name="connsiteY293" fmla="*/ 146271 h 268296"/>
                  <a:gd name="connsiteX294" fmla="*/ 218040 w 241845"/>
                  <a:gd name="connsiteY294" fmla="*/ 143979 h 268296"/>
                  <a:gd name="connsiteX295" fmla="*/ 217423 w 241845"/>
                  <a:gd name="connsiteY295" fmla="*/ 143362 h 268296"/>
                  <a:gd name="connsiteX296" fmla="*/ 216013 w 241845"/>
                  <a:gd name="connsiteY296" fmla="*/ 141334 h 268296"/>
                  <a:gd name="connsiteX297" fmla="*/ 216630 w 241845"/>
                  <a:gd name="connsiteY297" fmla="*/ 140805 h 268296"/>
                  <a:gd name="connsiteX298" fmla="*/ 215131 w 241845"/>
                  <a:gd name="connsiteY298" fmla="*/ 137014 h 268296"/>
                  <a:gd name="connsiteX299" fmla="*/ 214249 w 241845"/>
                  <a:gd name="connsiteY299" fmla="*/ 136749 h 268296"/>
                  <a:gd name="connsiteX300" fmla="*/ 213367 w 241845"/>
                  <a:gd name="connsiteY300" fmla="*/ 135868 h 268296"/>
                  <a:gd name="connsiteX301" fmla="*/ 212838 w 241845"/>
                  <a:gd name="connsiteY301" fmla="*/ 135868 h 268296"/>
                  <a:gd name="connsiteX302" fmla="*/ 212838 w 241845"/>
                  <a:gd name="connsiteY302" fmla="*/ 136132 h 268296"/>
                  <a:gd name="connsiteX303" fmla="*/ 212574 w 241845"/>
                  <a:gd name="connsiteY303" fmla="*/ 136749 h 268296"/>
                  <a:gd name="connsiteX304" fmla="*/ 211692 w 241845"/>
                  <a:gd name="connsiteY304" fmla="*/ 137014 h 268296"/>
                  <a:gd name="connsiteX305" fmla="*/ 209929 w 241845"/>
                  <a:gd name="connsiteY305" fmla="*/ 136485 h 268296"/>
                  <a:gd name="connsiteX306" fmla="*/ 209047 w 241845"/>
                  <a:gd name="connsiteY306" fmla="*/ 134721 h 268296"/>
                  <a:gd name="connsiteX307" fmla="*/ 208430 w 241845"/>
                  <a:gd name="connsiteY307" fmla="*/ 132341 h 268296"/>
                  <a:gd name="connsiteX308" fmla="*/ 209047 w 241845"/>
                  <a:gd name="connsiteY308" fmla="*/ 129696 h 268296"/>
                  <a:gd name="connsiteX309" fmla="*/ 208165 w 241845"/>
                  <a:gd name="connsiteY309" fmla="*/ 127668 h 268296"/>
                  <a:gd name="connsiteX310" fmla="*/ 207636 w 241845"/>
                  <a:gd name="connsiteY310" fmla="*/ 126522 h 268296"/>
                  <a:gd name="connsiteX311" fmla="*/ 208518 w 241845"/>
                  <a:gd name="connsiteY311" fmla="*/ 124141 h 268296"/>
                  <a:gd name="connsiteX312" fmla="*/ 208518 w 241845"/>
                  <a:gd name="connsiteY312" fmla="*/ 122378 h 268296"/>
                  <a:gd name="connsiteX313" fmla="*/ 208254 w 241845"/>
                  <a:gd name="connsiteY313" fmla="*/ 120879 h 268296"/>
                  <a:gd name="connsiteX314" fmla="*/ 210281 w 241845"/>
                  <a:gd name="connsiteY314" fmla="*/ 115324 h 268296"/>
                  <a:gd name="connsiteX315" fmla="*/ 212662 w 241845"/>
                  <a:gd name="connsiteY315" fmla="*/ 111268 h 268296"/>
                  <a:gd name="connsiteX316" fmla="*/ 212045 w 241845"/>
                  <a:gd name="connsiteY316" fmla="*/ 110739 h 268296"/>
                  <a:gd name="connsiteX317" fmla="*/ 211780 w 241845"/>
                  <a:gd name="connsiteY317" fmla="*/ 110387 h 268296"/>
                  <a:gd name="connsiteX318" fmla="*/ 212045 w 241845"/>
                  <a:gd name="connsiteY318" fmla="*/ 110122 h 268296"/>
                  <a:gd name="connsiteX319" fmla="*/ 212927 w 241845"/>
                  <a:gd name="connsiteY319" fmla="*/ 109505 h 268296"/>
                  <a:gd name="connsiteX320" fmla="*/ 214337 w 241845"/>
                  <a:gd name="connsiteY320" fmla="*/ 105978 h 268296"/>
                  <a:gd name="connsiteX321" fmla="*/ 214073 w 241845"/>
                  <a:gd name="connsiteY321" fmla="*/ 105449 h 268296"/>
                  <a:gd name="connsiteX322" fmla="*/ 213456 w 241845"/>
                  <a:gd name="connsiteY322" fmla="*/ 105449 h 268296"/>
                  <a:gd name="connsiteX323" fmla="*/ 214073 w 241845"/>
                  <a:gd name="connsiteY323" fmla="*/ 104832 h 268296"/>
                  <a:gd name="connsiteX324" fmla="*/ 214954 w 241845"/>
                  <a:gd name="connsiteY324" fmla="*/ 104303 h 268296"/>
                  <a:gd name="connsiteX325" fmla="*/ 215572 w 241845"/>
                  <a:gd name="connsiteY325" fmla="*/ 103422 h 268296"/>
                  <a:gd name="connsiteX326" fmla="*/ 215572 w 241845"/>
                  <a:gd name="connsiteY326" fmla="*/ 102893 h 268296"/>
                  <a:gd name="connsiteX327" fmla="*/ 214337 w 241845"/>
                  <a:gd name="connsiteY327" fmla="*/ 101394 h 268296"/>
                  <a:gd name="connsiteX328" fmla="*/ 215572 w 241845"/>
                  <a:gd name="connsiteY328" fmla="*/ 100247 h 268296"/>
                  <a:gd name="connsiteX329" fmla="*/ 214954 w 241845"/>
                  <a:gd name="connsiteY329" fmla="*/ 99983 h 268296"/>
                  <a:gd name="connsiteX330" fmla="*/ 215572 w 241845"/>
                  <a:gd name="connsiteY330" fmla="*/ 98572 h 268296"/>
                  <a:gd name="connsiteX331" fmla="*/ 216101 w 241845"/>
                  <a:gd name="connsiteY331" fmla="*/ 96544 h 268296"/>
                  <a:gd name="connsiteX332" fmla="*/ 216718 w 241845"/>
                  <a:gd name="connsiteY332" fmla="*/ 96280 h 268296"/>
                  <a:gd name="connsiteX333" fmla="*/ 216101 w 241845"/>
                  <a:gd name="connsiteY333" fmla="*/ 98925 h 268296"/>
                  <a:gd name="connsiteX334" fmla="*/ 216982 w 241845"/>
                  <a:gd name="connsiteY334" fmla="*/ 98660 h 268296"/>
                  <a:gd name="connsiteX335" fmla="*/ 217247 w 241845"/>
                  <a:gd name="connsiteY335" fmla="*/ 97779 h 268296"/>
                  <a:gd name="connsiteX336" fmla="*/ 217864 w 241845"/>
                  <a:gd name="connsiteY336" fmla="*/ 96368 h 268296"/>
                  <a:gd name="connsiteX337" fmla="*/ 217599 w 241845"/>
                  <a:gd name="connsiteY337" fmla="*/ 95751 h 268296"/>
                  <a:gd name="connsiteX338" fmla="*/ 217335 w 241845"/>
                  <a:gd name="connsiteY338" fmla="*/ 95134 h 268296"/>
                  <a:gd name="connsiteX339" fmla="*/ 216806 w 241845"/>
                  <a:gd name="connsiteY339" fmla="*/ 94869 h 268296"/>
                  <a:gd name="connsiteX340" fmla="*/ 217688 w 241845"/>
                  <a:gd name="connsiteY340" fmla="*/ 93723 h 268296"/>
                  <a:gd name="connsiteX341" fmla="*/ 217952 w 241845"/>
                  <a:gd name="connsiteY341" fmla="*/ 93723 h 268296"/>
                  <a:gd name="connsiteX342" fmla="*/ 217688 w 241845"/>
                  <a:gd name="connsiteY342" fmla="*/ 92841 h 268296"/>
                  <a:gd name="connsiteX343" fmla="*/ 217688 w 241845"/>
                  <a:gd name="connsiteY343" fmla="*/ 91695 h 268296"/>
                  <a:gd name="connsiteX344" fmla="*/ 216806 w 241845"/>
                  <a:gd name="connsiteY344" fmla="*/ 91078 h 268296"/>
                  <a:gd name="connsiteX345" fmla="*/ 183302 w 241845"/>
                  <a:gd name="connsiteY345" fmla="*/ 62776 h 268296"/>
                  <a:gd name="connsiteX346" fmla="*/ 184977 w 241845"/>
                  <a:gd name="connsiteY346" fmla="*/ 61013 h 268296"/>
                  <a:gd name="connsiteX347" fmla="*/ 185594 w 241845"/>
                  <a:gd name="connsiteY347" fmla="*/ 59514 h 268296"/>
                  <a:gd name="connsiteX348" fmla="*/ 185242 w 241845"/>
                  <a:gd name="connsiteY348" fmla="*/ 56869 h 268296"/>
                  <a:gd name="connsiteX349" fmla="*/ 182068 w 241845"/>
                  <a:gd name="connsiteY349" fmla="*/ 52813 h 268296"/>
                  <a:gd name="connsiteX350" fmla="*/ 103862 w 241845"/>
                  <a:gd name="connsiteY350" fmla="*/ 1146 h 268296"/>
                  <a:gd name="connsiteX351" fmla="*/ 103862 w 241845"/>
                  <a:gd name="connsiteY351" fmla="*/ 0 h 268296"/>
                  <a:gd name="connsiteX352" fmla="*/ 32093 w 241845"/>
                  <a:gd name="connsiteY352" fmla="*/ 0 h 268296"/>
                  <a:gd name="connsiteX353" fmla="*/ 216718 w 241845"/>
                  <a:gd name="connsiteY353" fmla="*/ 124141 h 268296"/>
                  <a:gd name="connsiteX354" fmla="*/ 216718 w 241845"/>
                  <a:gd name="connsiteY354" fmla="*/ 125904 h 268296"/>
                  <a:gd name="connsiteX355" fmla="*/ 217599 w 241845"/>
                  <a:gd name="connsiteY355" fmla="*/ 127051 h 268296"/>
                  <a:gd name="connsiteX356" fmla="*/ 217599 w 241845"/>
                  <a:gd name="connsiteY356" fmla="*/ 127932 h 268296"/>
                  <a:gd name="connsiteX357" fmla="*/ 217071 w 241845"/>
                  <a:gd name="connsiteY357" fmla="*/ 131106 h 268296"/>
                  <a:gd name="connsiteX358" fmla="*/ 218217 w 241845"/>
                  <a:gd name="connsiteY358" fmla="*/ 132605 h 268296"/>
                  <a:gd name="connsiteX359" fmla="*/ 219098 w 241845"/>
                  <a:gd name="connsiteY359" fmla="*/ 133752 h 268296"/>
                  <a:gd name="connsiteX360" fmla="*/ 219098 w 241845"/>
                  <a:gd name="connsiteY360" fmla="*/ 131106 h 268296"/>
                  <a:gd name="connsiteX361" fmla="*/ 219980 w 241845"/>
                  <a:gd name="connsiteY361" fmla="*/ 132253 h 268296"/>
                  <a:gd name="connsiteX362" fmla="*/ 220244 w 241845"/>
                  <a:gd name="connsiteY362" fmla="*/ 134281 h 268296"/>
                  <a:gd name="connsiteX363" fmla="*/ 220597 w 241845"/>
                  <a:gd name="connsiteY363" fmla="*/ 133663 h 268296"/>
                  <a:gd name="connsiteX364" fmla="*/ 221479 w 241845"/>
                  <a:gd name="connsiteY364" fmla="*/ 133399 h 268296"/>
                  <a:gd name="connsiteX365" fmla="*/ 221743 w 241845"/>
                  <a:gd name="connsiteY365" fmla="*/ 134898 h 268296"/>
                  <a:gd name="connsiteX366" fmla="*/ 222625 w 241845"/>
                  <a:gd name="connsiteY366" fmla="*/ 136925 h 268296"/>
                  <a:gd name="connsiteX367" fmla="*/ 223154 w 241845"/>
                  <a:gd name="connsiteY367" fmla="*/ 136308 h 268296"/>
                  <a:gd name="connsiteX368" fmla="*/ 223771 w 241845"/>
                  <a:gd name="connsiteY368" fmla="*/ 135427 h 268296"/>
                  <a:gd name="connsiteX369" fmla="*/ 224036 w 241845"/>
                  <a:gd name="connsiteY369" fmla="*/ 133928 h 268296"/>
                  <a:gd name="connsiteX370" fmla="*/ 224300 w 241845"/>
                  <a:gd name="connsiteY370" fmla="*/ 129872 h 268296"/>
                  <a:gd name="connsiteX371" fmla="*/ 224565 w 241845"/>
                  <a:gd name="connsiteY371" fmla="*/ 128726 h 268296"/>
                  <a:gd name="connsiteX372" fmla="*/ 224036 w 241845"/>
                  <a:gd name="connsiteY372" fmla="*/ 128109 h 268296"/>
                  <a:gd name="connsiteX373" fmla="*/ 223419 w 241845"/>
                  <a:gd name="connsiteY373" fmla="*/ 128373 h 268296"/>
                  <a:gd name="connsiteX374" fmla="*/ 223154 w 241845"/>
                  <a:gd name="connsiteY374" fmla="*/ 129784 h 268296"/>
                  <a:gd name="connsiteX375" fmla="*/ 222272 w 241845"/>
                  <a:gd name="connsiteY375" fmla="*/ 130313 h 268296"/>
                  <a:gd name="connsiteX376" fmla="*/ 222008 w 241845"/>
                  <a:gd name="connsiteY376" fmla="*/ 129784 h 268296"/>
                  <a:gd name="connsiteX377" fmla="*/ 221391 w 241845"/>
                  <a:gd name="connsiteY377" fmla="*/ 128020 h 268296"/>
                  <a:gd name="connsiteX378" fmla="*/ 221038 w 241845"/>
                  <a:gd name="connsiteY378" fmla="*/ 122818 h 268296"/>
                  <a:gd name="connsiteX379" fmla="*/ 220509 w 241845"/>
                  <a:gd name="connsiteY379" fmla="*/ 120438 h 268296"/>
                  <a:gd name="connsiteX380" fmla="*/ 220156 w 241845"/>
                  <a:gd name="connsiteY380" fmla="*/ 119292 h 268296"/>
                  <a:gd name="connsiteX381" fmla="*/ 219539 w 241845"/>
                  <a:gd name="connsiteY381" fmla="*/ 118675 h 268296"/>
                  <a:gd name="connsiteX382" fmla="*/ 219539 w 241845"/>
                  <a:gd name="connsiteY382" fmla="*/ 119556 h 268296"/>
                  <a:gd name="connsiteX383" fmla="*/ 219539 w 241845"/>
                  <a:gd name="connsiteY383" fmla="*/ 120703 h 268296"/>
                  <a:gd name="connsiteX384" fmla="*/ 219275 w 241845"/>
                  <a:gd name="connsiteY384" fmla="*/ 121320 h 268296"/>
                  <a:gd name="connsiteX385" fmla="*/ 218657 w 241845"/>
                  <a:gd name="connsiteY385" fmla="*/ 122466 h 268296"/>
                  <a:gd name="connsiteX386" fmla="*/ 216718 w 241845"/>
                  <a:gd name="connsiteY386" fmla="*/ 124141 h 268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</a:cxnLst>
                <a:rect l="l" t="t" r="r" b="b"/>
                <a:pathLst>
                  <a:path w="241845" h="268296">
                    <a:moveTo>
                      <a:pt x="32093" y="176"/>
                    </a:moveTo>
                    <a:lnTo>
                      <a:pt x="27156" y="3086"/>
                    </a:lnTo>
                    <a:lnTo>
                      <a:pt x="26274" y="3615"/>
                    </a:lnTo>
                    <a:lnTo>
                      <a:pt x="26538" y="5643"/>
                    </a:lnTo>
                    <a:lnTo>
                      <a:pt x="27420" y="5995"/>
                    </a:lnTo>
                    <a:lnTo>
                      <a:pt x="28302" y="9170"/>
                    </a:lnTo>
                    <a:lnTo>
                      <a:pt x="32358" y="12344"/>
                    </a:lnTo>
                    <a:lnTo>
                      <a:pt x="34650" y="17898"/>
                    </a:lnTo>
                    <a:lnTo>
                      <a:pt x="33768" y="24070"/>
                    </a:lnTo>
                    <a:lnTo>
                      <a:pt x="35796" y="28126"/>
                    </a:lnTo>
                    <a:lnTo>
                      <a:pt x="34650" y="30771"/>
                    </a:lnTo>
                    <a:lnTo>
                      <a:pt x="34650" y="35179"/>
                    </a:lnTo>
                    <a:lnTo>
                      <a:pt x="33504" y="36325"/>
                    </a:lnTo>
                    <a:lnTo>
                      <a:pt x="30594" y="34827"/>
                    </a:lnTo>
                    <a:lnTo>
                      <a:pt x="29360" y="37119"/>
                    </a:lnTo>
                    <a:lnTo>
                      <a:pt x="28214" y="40645"/>
                    </a:lnTo>
                    <a:lnTo>
                      <a:pt x="25569" y="43291"/>
                    </a:lnTo>
                    <a:lnTo>
                      <a:pt x="26451" y="43908"/>
                    </a:lnTo>
                    <a:lnTo>
                      <a:pt x="25304" y="44789"/>
                    </a:lnTo>
                    <a:lnTo>
                      <a:pt x="25040" y="47964"/>
                    </a:lnTo>
                    <a:lnTo>
                      <a:pt x="26803" y="49727"/>
                    </a:lnTo>
                    <a:lnTo>
                      <a:pt x="28214" y="48316"/>
                    </a:lnTo>
                    <a:lnTo>
                      <a:pt x="31123" y="49727"/>
                    </a:lnTo>
                    <a:lnTo>
                      <a:pt x="34650" y="50609"/>
                    </a:lnTo>
                    <a:lnTo>
                      <a:pt x="33151" y="52372"/>
                    </a:lnTo>
                    <a:lnTo>
                      <a:pt x="34297" y="53783"/>
                    </a:lnTo>
                    <a:lnTo>
                      <a:pt x="34562" y="56957"/>
                    </a:lnTo>
                    <a:lnTo>
                      <a:pt x="29889" y="58720"/>
                    </a:lnTo>
                    <a:lnTo>
                      <a:pt x="28743" y="60483"/>
                    </a:lnTo>
                    <a:lnTo>
                      <a:pt x="29624" y="61894"/>
                    </a:lnTo>
                    <a:lnTo>
                      <a:pt x="27596" y="64275"/>
                    </a:lnTo>
                    <a:lnTo>
                      <a:pt x="25833" y="64539"/>
                    </a:lnTo>
                    <a:lnTo>
                      <a:pt x="24952" y="70711"/>
                    </a:lnTo>
                    <a:lnTo>
                      <a:pt x="22307" y="71593"/>
                    </a:lnTo>
                    <a:lnTo>
                      <a:pt x="18780" y="78911"/>
                    </a:lnTo>
                    <a:lnTo>
                      <a:pt x="17016" y="81820"/>
                    </a:lnTo>
                    <a:lnTo>
                      <a:pt x="14988" y="83319"/>
                    </a:lnTo>
                    <a:lnTo>
                      <a:pt x="11462" y="84201"/>
                    </a:lnTo>
                    <a:lnTo>
                      <a:pt x="9698" y="87375"/>
                    </a:lnTo>
                    <a:lnTo>
                      <a:pt x="5025" y="87110"/>
                    </a:lnTo>
                    <a:lnTo>
                      <a:pt x="2380" y="86229"/>
                    </a:lnTo>
                    <a:lnTo>
                      <a:pt x="2645" y="89138"/>
                    </a:lnTo>
                    <a:lnTo>
                      <a:pt x="0" y="95574"/>
                    </a:lnTo>
                    <a:lnTo>
                      <a:pt x="0" y="99101"/>
                    </a:lnTo>
                    <a:lnTo>
                      <a:pt x="1146" y="103157"/>
                    </a:lnTo>
                    <a:lnTo>
                      <a:pt x="2909" y="105449"/>
                    </a:lnTo>
                    <a:lnTo>
                      <a:pt x="4056" y="111533"/>
                    </a:lnTo>
                    <a:lnTo>
                      <a:pt x="6084" y="115060"/>
                    </a:lnTo>
                    <a:lnTo>
                      <a:pt x="6348" y="117969"/>
                    </a:lnTo>
                    <a:lnTo>
                      <a:pt x="6348" y="120614"/>
                    </a:lnTo>
                    <a:lnTo>
                      <a:pt x="3703" y="124141"/>
                    </a:lnTo>
                    <a:lnTo>
                      <a:pt x="3703" y="125023"/>
                    </a:lnTo>
                    <a:lnTo>
                      <a:pt x="3703" y="126786"/>
                    </a:lnTo>
                    <a:lnTo>
                      <a:pt x="3703" y="129960"/>
                    </a:lnTo>
                    <a:lnTo>
                      <a:pt x="4320" y="132341"/>
                    </a:lnTo>
                    <a:lnTo>
                      <a:pt x="6877" y="136749"/>
                    </a:lnTo>
                    <a:lnTo>
                      <a:pt x="7406" y="139923"/>
                    </a:lnTo>
                    <a:lnTo>
                      <a:pt x="8288" y="141069"/>
                    </a:lnTo>
                    <a:lnTo>
                      <a:pt x="11197" y="143979"/>
                    </a:lnTo>
                    <a:lnTo>
                      <a:pt x="14371" y="146007"/>
                    </a:lnTo>
                    <a:lnTo>
                      <a:pt x="15870" y="147153"/>
                    </a:lnTo>
                    <a:lnTo>
                      <a:pt x="17634" y="149181"/>
                    </a:lnTo>
                    <a:lnTo>
                      <a:pt x="21160" y="153589"/>
                    </a:lnTo>
                    <a:lnTo>
                      <a:pt x="23188" y="159761"/>
                    </a:lnTo>
                    <a:lnTo>
                      <a:pt x="23541" y="164434"/>
                    </a:lnTo>
                    <a:lnTo>
                      <a:pt x="28214" y="173251"/>
                    </a:lnTo>
                    <a:lnTo>
                      <a:pt x="28743" y="175543"/>
                    </a:lnTo>
                    <a:lnTo>
                      <a:pt x="30506" y="179599"/>
                    </a:lnTo>
                    <a:lnTo>
                      <a:pt x="32799" y="185506"/>
                    </a:lnTo>
                    <a:lnTo>
                      <a:pt x="35444" y="189562"/>
                    </a:lnTo>
                    <a:lnTo>
                      <a:pt x="37736" y="191590"/>
                    </a:lnTo>
                    <a:lnTo>
                      <a:pt x="40117" y="191590"/>
                    </a:lnTo>
                    <a:lnTo>
                      <a:pt x="43908" y="191590"/>
                    </a:lnTo>
                    <a:lnTo>
                      <a:pt x="47699" y="193353"/>
                    </a:lnTo>
                    <a:lnTo>
                      <a:pt x="47699" y="196175"/>
                    </a:lnTo>
                    <a:lnTo>
                      <a:pt x="50873" y="198820"/>
                    </a:lnTo>
                    <a:lnTo>
                      <a:pt x="52637" y="197674"/>
                    </a:lnTo>
                    <a:lnTo>
                      <a:pt x="55810" y="198820"/>
                    </a:lnTo>
                    <a:lnTo>
                      <a:pt x="55546" y="201465"/>
                    </a:lnTo>
                    <a:lnTo>
                      <a:pt x="56692" y="202347"/>
                    </a:lnTo>
                    <a:lnTo>
                      <a:pt x="57838" y="201465"/>
                    </a:lnTo>
                    <a:lnTo>
                      <a:pt x="63129" y="203228"/>
                    </a:lnTo>
                    <a:lnTo>
                      <a:pt x="68066" y="203228"/>
                    </a:lnTo>
                    <a:lnTo>
                      <a:pt x="70094" y="205520"/>
                    </a:lnTo>
                    <a:lnTo>
                      <a:pt x="73268" y="205873"/>
                    </a:lnTo>
                    <a:lnTo>
                      <a:pt x="73885" y="207284"/>
                    </a:lnTo>
                    <a:lnTo>
                      <a:pt x="77412" y="209312"/>
                    </a:lnTo>
                    <a:lnTo>
                      <a:pt x="79792" y="209312"/>
                    </a:lnTo>
                    <a:lnTo>
                      <a:pt x="82966" y="212486"/>
                    </a:lnTo>
                    <a:lnTo>
                      <a:pt x="85611" y="211957"/>
                    </a:lnTo>
                    <a:lnTo>
                      <a:pt x="88521" y="215484"/>
                    </a:lnTo>
                    <a:lnTo>
                      <a:pt x="91431" y="214866"/>
                    </a:lnTo>
                    <a:lnTo>
                      <a:pt x="93723" y="215484"/>
                    </a:lnTo>
                    <a:lnTo>
                      <a:pt x="94869" y="214866"/>
                    </a:lnTo>
                    <a:lnTo>
                      <a:pt x="98043" y="217512"/>
                    </a:lnTo>
                    <a:lnTo>
                      <a:pt x="99189" y="213191"/>
                    </a:lnTo>
                    <a:lnTo>
                      <a:pt x="100953" y="212045"/>
                    </a:lnTo>
                    <a:lnTo>
                      <a:pt x="107125" y="218746"/>
                    </a:lnTo>
                    <a:lnTo>
                      <a:pt x="107125" y="219892"/>
                    </a:lnTo>
                    <a:lnTo>
                      <a:pt x="111533" y="225447"/>
                    </a:lnTo>
                    <a:lnTo>
                      <a:pt x="112944" y="231883"/>
                    </a:lnTo>
                    <a:lnTo>
                      <a:pt x="112679" y="239201"/>
                    </a:lnTo>
                    <a:lnTo>
                      <a:pt x="114707" y="243521"/>
                    </a:lnTo>
                    <a:lnTo>
                      <a:pt x="112679" y="253131"/>
                    </a:lnTo>
                    <a:lnTo>
                      <a:pt x="115589" y="254895"/>
                    </a:lnTo>
                    <a:lnTo>
                      <a:pt x="115324" y="257540"/>
                    </a:lnTo>
                    <a:lnTo>
                      <a:pt x="116206" y="259303"/>
                    </a:lnTo>
                    <a:lnTo>
                      <a:pt x="116823" y="258422"/>
                    </a:lnTo>
                    <a:lnTo>
                      <a:pt x="118851" y="259568"/>
                    </a:lnTo>
                    <a:lnTo>
                      <a:pt x="119997" y="263976"/>
                    </a:lnTo>
                    <a:lnTo>
                      <a:pt x="130489" y="263623"/>
                    </a:lnTo>
                    <a:lnTo>
                      <a:pt x="130489" y="265122"/>
                    </a:lnTo>
                    <a:lnTo>
                      <a:pt x="134545" y="265122"/>
                    </a:lnTo>
                    <a:lnTo>
                      <a:pt x="136573" y="261331"/>
                    </a:lnTo>
                    <a:lnTo>
                      <a:pt x="139482" y="260449"/>
                    </a:lnTo>
                    <a:lnTo>
                      <a:pt x="142127" y="261331"/>
                    </a:lnTo>
                    <a:lnTo>
                      <a:pt x="142392" y="263094"/>
                    </a:lnTo>
                    <a:lnTo>
                      <a:pt x="145566" y="263712"/>
                    </a:lnTo>
                    <a:lnTo>
                      <a:pt x="146712" y="267767"/>
                    </a:lnTo>
                    <a:lnTo>
                      <a:pt x="153148" y="267150"/>
                    </a:lnTo>
                    <a:lnTo>
                      <a:pt x="154295" y="268296"/>
                    </a:lnTo>
                    <a:lnTo>
                      <a:pt x="157557" y="268032"/>
                    </a:lnTo>
                    <a:lnTo>
                      <a:pt x="161084" y="263976"/>
                    </a:lnTo>
                    <a:lnTo>
                      <a:pt x="162230" y="265122"/>
                    </a:lnTo>
                    <a:lnTo>
                      <a:pt x="165404" y="265122"/>
                    </a:lnTo>
                    <a:lnTo>
                      <a:pt x="165668" y="263976"/>
                    </a:lnTo>
                    <a:lnTo>
                      <a:pt x="167696" y="267150"/>
                    </a:lnTo>
                    <a:lnTo>
                      <a:pt x="169989" y="267767"/>
                    </a:lnTo>
                    <a:lnTo>
                      <a:pt x="172369" y="267150"/>
                    </a:lnTo>
                    <a:lnTo>
                      <a:pt x="174397" y="268296"/>
                    </a:lnTo>
                    <a:lnTo>
                      <a:pt x="177659" y="265651"/>
                    </a:lnTo>
                    <a:lnTo>
                      <a:pt x="178805" y="266533"/>
                    </a:lnTo>
                    <a:lnTo>
                      <a:pt x="179422" y="265034"/>
                    </a:lnTo>
                    <a:lnTo>
                      <a:pt x="182949" y="263888"/>
                    </a:lnTo>
                    <a:lnTo>
                      <a:pt x="186123" y="256923"/>
                    </a:lnTo>
                    <a:lnTo>
                      <a:pt x="192560" y="256923"/>
                    </a:lnTo>
                    <a:lnTo>
                      <a:pt x="194940" y="259568"/>
                    </a:lnTo>
                    <a:lnTo>
                      <a:pt x="197585" y="260449"/>
                    </a:lnTo>
                    <a:lnTo>
                      <a:pt x="200759" y="256923"/>
                    </a:lnTo>
                    <a:lnTo>
                      <a:pt x="203404" y="256923"/>
                    </a:lnTo>
                    <a:lnTo>
                      <a:pt x="206578" y="254013"/>
                    </a:lnTo>
                    <a:lnTo>
                      <a:pt x="215043" y="254013"/>
                    </a:lnTo>
                    <a:lnTo>
                      <a:pt x="220244" y="250486"/>
                    </a:lnTo>
                    <a:lnTo>
                      <a:pt x="231354" y="245285"/>
                    </a:lnTo>
                    <a:lnTo>
                      <a:pt x="235674" y="240259"/>
                    </a:lnTo>
                    <a:lnTo>
                      <a:pt x="240082" y="237614"/>
                    </a:lnTo>
                    <a:lnTo>
                      <a:pt x="241846" y="234704"/>
                    </a:lnTo>
                    <a:lnTo>
                      <a:pt x="241317" y="233558"/>
                    </a:lnTo>
                    <a:lnTo>
                      <a:pt x="240700" y="232676"/>
                    </a:lnTo>
                    <a:lnTo>
                      <a:pt x="240082" y="232676"/>
                    </a:lnTo>
                    <a:lnTo>
                      <a:pt x="240082" y="232941"/>
                    </a:lnTo>
                    <a:lnTo>
                      <a:pt x="240082" y="233558"/>
                    </a:lnTo>
                    <a:lnTo>
                      <a:pt x="240082" y="234704"/>
                    </a:lnTo>
                    <a:lnTo>
                      <a:pt x="239201" y="234704"/>
                    </a:lnTo>
                    <a:lnTo>
                      <a:pt x="238319" y="233558"/>
                    </a:lnTo>
                    <a:lnTo>
                      <a:pt x="238055" y="232676"/>
                    </a:lnTo>
                    <a:lnTo>
                      <a:pt x="236908" y="230649"/>
                    </a:lnTo>
                    <a:lnTo>
                      <a:pt x="236291" y="230384"/>
                    </a:lnTo>
                    <a:lnTo>
                      <a:pt x="235674" y="230913"/>
                    </a:lnTo>
                    <a:lnTo>
                      <a:pt x="235409" y="231795"/>
                    </a:lnTo>
                    <a:lnTo>
                      <a:pt x="236027" y="232324"/>
                    </a:lnTo>
                    <a:lnTo>
                      <a:pt x="235762" y="232588"/>
                    </a:lnTo>
                    <a:lnTo>
                      <a:pt x="235145" y="232588"/>
                    </a:lnTo>
                    <a:lnTo>
                      <a:pt x="233911" y="231971"/>
                    </a:lnTo>
                    <a:lnTo>
                      <a:pt x="233911" y="231089"/>
                    </a:lnTo>
                    <a:lnTo>
                      <a:pt x="234792" y="230208"/>
                    </a:lnTo>
                    <a:lnTo>
                      <a:pt x="234440" y="229591"/>
                    </a:lnTo>
                    <a:lnTo>
                      <a:pt x="233822" y="229326"/>
                    </a:lnTo>
                    <a:lnTo>
                      <a:pt x="231530" y="228444"/>
                    </a:lnTo>
                    <a:lnTo>
                      <a:pt x="231265" y="228709"/>
                    </a:lnTo>
                    <a:lnTo>
                      <a:pt x="231265" y="229591"/>
                    </a:lnTo>
                    <a:lnTo>
                      <a:pt x="231001" y="230208"/>
                    </a:lnTo>
                    <a:lnTo>
                      <a:pt x="230119" y="228709"/>
                    </a:lnTo>
                    <a:lnTo>
                      <a:pt x="230119" y="227827"/>
                    </a:lnTo>
                    <a:lnTo>
                      <a:pt x="230119" y="227210"/>
                    </a:lnTo>
                    <a:lnTo>
                      <a:pt x="230384" y="226328"/>
                    </a:lnTo>
                    <a:lnTo>
                      <a:pt x="229238" y="225182"/>
                    </a:lnTo>
                    <a:lnTo>
                      <a:pt x="227739" y="224565"/>
                    </a:lnTo>
                    <a:lnTo>
                      <a:pt x="226857" y="224300"/>
                    </a:lnTo>
                    <a:lnTo>
                      <a:pt x="225711" y="224565"/>
                    </a:lnTo>
                    <a:lnTo>
                      <a:pt x="225446" y="225182"/>
                    </a:lnTo>
                    <a:lnTo>
                      <a:pt x="225446" y="225799"/>
                    </a:lnTo>
                    <a:lnTo>
                      <a:pt x="224829" y="225799"/>
                    </a:lnTo>
                    <a:lnTo>
                      <a:pt x="224565" y="225535"/>
                    </a:lnTo>
                    <a:lnTo>
                      <a:pt x="224565" y="224389"/>
                    </a:lnTo>
                    <a:lnTo>
                      <a:pt x="224829" y="223507"/>
                    </a:lnTo>
                    <a:lnTo>
                      <a:pt x="225446" y="222890"/>
                    </a:lnTo>
                    <a:lnTo>
                      <a:pt x="226328" y="222890"/>
                    </a:lnTo>
                    <a:lnTo>
                      <a:pt x="226328" y="222361"/>
                    </a:lnTo>
                    <a:lnTo>
                      <a:pt x="225799" y="221743"/>
                    </a:lnTo>
                    <a:lnTo>
                      <a:pt x="226328" y="221126"/>
                    </a:lnTo>
                    <a:lnTo>
                      <a:pt x="226681" y="221126"/>
                    </a:lnTo>
                    <a:lnTo>
                      <a:pt x="227298" y="221126"/>
                    </a:lnTo>
                    <a:lnTo>
                      <a:pt x="227563" y="220509"/>
                    </a:lnTo>
                    <a:lnTo>
                      <a:pt x="227563" y="219627"/>
                    </a:lnTo>
                    <a:lnTo>
                      <a:pt x="226681" y="219010"/>
                    </a:lnTo>
                    <a:lnTo>
                      <a:pt x="226064" y="219010"/>
                    </a:lnTo>
                    <a:lnTo>
                      <a:pt x="225799" y="219010"/>
                    </a:lnTo>
                    <a:lnTo>
                      <a:pt x="226064" y="216365"/>
                    </a:lnTo>
                    <a:lnTo>
                      <a:pt x="226681" y="214955"/>
                    </a:lnTo>
                    <a:lnTo>
                      <a:pt x="226328" y="212927"/>
                    </a:lnTo>
                    <a:lnTo>
                      <a:pt x="226064" y="212574"/>
                    </a:lnTo>
                    <a:lnTo>
                      <a:pt x="224653" y="211428"/>
                    </a:lnTo>
                    <a:lnTo>
                      <a:pt x="223154" y="211428"/>
                    </a:lnTo>
                    <a:lnTo>
                      <a:pt x="222272" y="211428"/>
                    </a:lnTo>
                    <a:lnTo>
                      <a:pt x="222008" y="210546"/>
                    </a:lnTo>
                    <a:lnTo>
                      <a:pt x="222537" y="209664"/>
                    </a:lnTo>
                    <a:lnTo>
                      <a:pt x="222801" y="209929"/>
                    </a:lnTo>
                    <a:lnTo>
                      <a:pt x="223066" y="210811"/>
                    </a:lnTo>
                    <a:lnTo>
                      <a:pt x="223948" y="210193"/>
                    </a:lnTo>
                    <a:lnTo>
                      <a:pt x="224565" y="209312"/>
                    </a:lnTo>
                    <a:lnTo>
                      <a:pt x="224829" y="208165"/>
                    </a:lnTo>
                    <a:lnTo>
                      <a:pt x="224565" y="206667"/>
                    </a:lnTo>
                    <a:lnTo>
                      <a:pt x="223948" y="207019"/>
                    </a:lnTo>
                    <a:lnTo>
                      <a:pt x="223683" y="206667"/>
                    </a:lnTo>
                    <a:lnTo>
                      <a:pt x="223683" y="205520"/>
                    </a:lnTo>
                    <a:lnTo>
                      <a:pt x="223948" y="205168"/>
                    </a:lnTo>
                    <a:lnTo>
                      <a:pt x="224212" y="205168"/>
                    </a:lnTo>
                    <a:lnTo>
                      <a:pt x="224477" y="205168"/>
                    </a:lnTo>
                    <a:lnTo>
                      <a:pt x="224741" y="204551"/>
                    </a:lnTo>
                    <a:lnTo>
                      <a:pt x="224124" y="203669"/>
                    </a:lnTo>
                    <a:lnTo>
                      <a:pt x="222361" y="202523"/>
                    </a:lnTo>
                    <a:lnTo>
                      <a:pt x="221214" y="202876"/>
                    </a:lnTo>
                    <a:lnTo>
                      <a:pt x="219715" y="201377"/>
                    </a:lnTo>
                    <a:lnTo>
                      <a:pt x="220244" y="199084"/>
                    </a:lnTo>
                    <a:lnTo>
                      <a:pt x="221126" y="198467"/>
                    </a:lnTo>
                    <a:lnTo>
                      <a:pt x="221126" y="197850"/>
                    </a:lnTo>
                    <a:lnTo>
                      <a:pt x="220773" y="197233"/>
                    </a:lnTo>
                    <a:lnTo>
                      <a:pt x="220156" y="197233"/>
                    </a:lnTo>
                    <a:lnTo>
                      <a:pt x="219627" y="197497"/>
                    </a:lnTo>
                    <a:lnTo>
                      <a:pt x="218746" y="197497"/>
                    </a:lnTo>
                    <a:lnTo>
                      <a:pt x="218217" y="197497"/>
                    </a:lnTo>
                    <a:lnTo>
                      <a:pt x="218746" y="197233"/>
                    </a:lnTo>
                    <a:lnTo>
                      <a:pt x="219098" y="196968"/>
                    </a:lnTo>
                    <a:lnTo>
                      <a:pt x="219098" y="196704"/>
                    </a:lnTo>
                    <a:lnTo>
                      <a:pt x="219715" y="196086"/>
                    </a:lnTo>
                    <a:lnTo>
                      <a:pt x="220597" y="196086"/>
                    </a:lnTo>
                    <a:lnTo>
                      <a:pt x="221214" y="196704"/>
                    </a:lnTo>
                    <a:lnTo>
                      <a:pt x="221743" y="197585"/>
                    </a:lnTo>
                    <a:lnTo>
                      <a:pt x="222272" y="198203"/>
                    </a:lnTo>
                    <a:lnTo>
                      <a:pt x="222537" y="197585"/>
                    </a:lnTo>
                    <a:lnTo>
                      <a:pt x="222008" y="197321"/>
                    </a:lnTo>
                    <a:lnTo>
                      <a:pt x="221743" y="197056"/>
                    </a:lnTo>
                    <a:lnTo>
                      <a:pt x="221743" y="196792"/>
                    </a:lnTo>
                    <a:lnTo>
                      <a:pt x="221214" y="195293"/>
                    </a:lnTo>
                    <a:lnTo>
                      <a:pt x="220597" y="194147"/>
                    </a:lnTo>
                    <a:lnTo>
                      <a:pt x="218569" y="193001"/>
                    </a:lnTo>
                    <a:lnTo>
                      <a:pt x="218305" y="192383"/>
                    </a:lnTo>
                    <a:lnTo>
                      <a:pt x="218569" y="191502"/>
                    </a:lnTo>
                    <a:lnTo>
                      <a:pt x="218569" y="188857"/>
                    </a:lnTo>
                    <a:lnTo>
                      <a:pt x="218305" y="188592"/>
                    </a:lnTo>
                    <a:lnTo>
                      <a:pt x="217952" y="188592"/>
                    </a:lnTo>
                    <a:lnTo>
                      <a:pt x="217423" y="188592"/>
                    </a:lnTo>
                    <a:lnTo>
                      <a:pt x="217158" y="187975"/>
                    </a:lnTo>
                    <a:lnTo>
                      <a:pt x="217776" y="185594"/>
                    </a:lnTo>
                    <a:lnTo>
                      <a:pt x="217776" y="182685"/>
                    </a:lnTo>
                    <a:lnTo>
                      <a:pt x="217776" y="181803"/>
                    </a:lnTo>
                    <a:lnTo>
                      <a:pt x="218657" y="181803"/>
                    </a:lnTo>
                    <a:lnTo>
                      <a:pt x="219275" y="181186"/>
                    </a:lnTo>
                    <a:lnTo>
                      <a:pt x="219275" y="179423"/>
                    </a:lnTo>
                    <a:lnTo>
                      <a:pt x="218922" y="178012"/>
                    </a:lnTo>
                    <a:lnTo>
                      <a:pt x="219275" y="176249"/>
                    </a:lnTo>
                    <a:lnTo>
                      <a:pt x="220773" y="175632"/>
                    </a:lnTo>
                    <a:lnTo>
                      <a:pt x="221655" y="173868"/>
                    </a:lnTo>
                    <a:lnTo>
                      <a:pt x="221391" y="172457"/>
                    </a:lnTo>
                    <a:lnTo>
                      <a:pt x="220773" y="170165"/>
                    </a:lnTo>
                    <a:lnTo>
                      <a:pt x="219627" y="168666"/>
                    </a:lnTo>
                    <a:lnTo>
                      <a:pt x="218481" y="168402"/>
                    </a:lnTo>
                    <a:lnTo>
                      <a:pt x="217864" y="168402"/>
                    </a:lnTo>
                    <a:lnTo>
                      <a:pt x="218481" y="168931"/>
                    </a:lnTo>
                    <a:lnTo>
                      <a:pt x="218746" y="169548"/>
                    </a:lnTo>
                    <a:lnTo>
                      <a:pt x="217599" y="170165"/>
                    </a:lnTo>
                    <a:lnTo>
                      <a:pt x="217335" y="169283"/>
                    </a:lnTo>
                    <a:lnTo>
                      <a:pt x="217071" y="169283"/>
                    </a:lnTo>
                    <a:lnTo>
                      <a:pt x="217688" y="168666"/>
                    </a:lnTo>
                    <a:lnTo>
                      <a:pt x="217071" y="166903"/>
                    </a:lnTo>
                    <a:lnTo>
                      <a:pt x="217335" y="163993"/>
                    </a:lnTo>
                    <a:lnTo>
                      <a:pt x="218834" y="161436"/>
                    </a:lnTo>
                    <a:lnTo>
                      <a:pt x="219715" y="160555"/>
                    </a:lnTo>
                    <a:lnTo>
                      <a:pt x="219098" y="159408"/>
                    </a:lnTo>
                    <a:lnTo>
                      <a:pt x="219451" y="158527"/>
                    </a:lnTo>
                    <a:lnTo>
                      <a:pt x="218217" y="158262"/>
                    </a:lnTo>
                    <a:lnTo>
                      <a:pt x="218834" y="158262"/>
                    </a:lnTo>
                    <a:lnTo>
                      <a:pt x="219715" y="157645"/>
                    </a:lnTo>
                    <a:lnTo>
                      <a:pt x="220333" y="156499"/>
                    </a:lnTo>
                    <a:lnTo>
                      <a:pt x="220950" y="154471"/>
                    </a:lnTo>
                    <a:lnTo>
                      <a:pt x="222449" y="153854"/>
                    </a:lnTo>
                    <a:lnTo>
                      <a:pt x="223595" y="153237"/>
                    </a:lnTo>
                    <a:lnTo>
                      <a:pt x="224124" y="151209"/>
                    </a:lnTo>
                    <a:lnTo>
                      <a:pt x="223595" y="149710"/>
                    </a:lnTo>
                    <a:lnTo>
                      <a:pt x="223595" y="148828"/>
                    </a:lnTo>
                    <a:lnTo>
                      <a:pt x="221832" y="146800"/>
                    </a:lnTo>
                    <a:lnTo>
                      <a:pt x="219186" y="145654"/>
                    </a:lnTo>
                    <a:lnTo>
                      <a:pt x="218305" y="146271"/>
                    </a:lnTo>
                    <a:lnTo>
                      <a:pt x="218040" y="143979"/>
                    </a:lnTo>
                    <a:lnTo>
                      <a:pt x="217423" y="143362"/>
                    </a:lnTo>
                    <a:lnTo>
                      <a:pt x="216013" y="141334"/>
                    </a:lnTo>
                    <a:lnTo>
                      <a:pt x="216630" y="140805"/>
                    </a:lnTo>
                    <a:lnTo>
                      <a:pt x="215131" y="137014"/>
                    </a:lnTo>
                    <a:lnTo>
                      <a:pt x="214249" y="136749"/>
                    </a:lnTo>
                    <a:lnTo>
                      <a:pt x="213367" y="135868"/>
                    </a:lnTo>
                    <a:lnTo>
                      <a:pt x="212838" y="135868"/>
                    </a:lnTo>
                    <a:lnTo>
                      <a:pt x="212838" y="136132"/>
                    </a:lnTo>
                    <a:lnTo>
                      <a:pt x="212574" y="136749"/>
                    </a:lnTo>
                    <a:lnTo>
                      <a:pt x="211692" y="137014"/>
                    </a:lnTo>
                    <a:lnTo>
                      <a:pt x="209929" y="136485"/>
                    </a:lnTo>
                    <a:lnTo>
                      <a:pt x="209047" y="134721"/>
                    </a:lnTo>
                    <a:lnTo>
                      <a:pt x="208430" y="132341"/>
                    </a:lnTo>
                    <a:lnTo>
                      <a:pt x="209047" y="129696"/>
                    </a:lnTo>
                    <a:lnTo>
                      <a:pt x="208165" y="127668"/>
                    </a:lnTo>
                    <a:lnTo>
                      <a:pt x="207636" y="126522"/>
                    </a:lnTo>
                    <a:lnTo>
                      <a:pt x="208518" y="124141"/>
                    </a:lnTo>
                    <a:lnTo>
                      <a:pt x="208518" y="122378"/>
                    </a:lnTo>
                    <a:lnTo>
                      <a:pt x="208254" y="120879"/>
                    </a:lnTo>
                    <a:lnTo>
                      <a:pt x="210281" y="115324"/>
                    </a:lnTo>
                    <a:lnTo>
                      <a:pt x="212662" y="111268"/>
                    </a:lnTo>
                    <a:lnTo>
                      <a:pt x="212045" y="110739"/>
                    </a:lnTo>
                    <a:lnTo>
                      <a:pt x="211780" y="110387"/>
                    </a:lnTo>
                    <a:lnTo>
                      <a:pt x="212045" y="110122"/>
                    </a:lnTo>
                    <a:lnTo>
                      <a:pt x="212927" y="109505"/>
                    </a:lnTo>
                    <a:lnTo>
                      <a:pt x="214337" y="105978"/>
                    </a:lnTo>
                    <a:lnTo>
                      <a:pt x="214073" y="105449"/>
                    </a:lnTo>
                    <a:lnTo>
                      <a:pt x="213456" y="105449"/>
                    </a:lnTo>
                    <a:lnTo>
                      <a:pt x="214073" y="104832"/>
                    </a:lnTo>
                    <a:lnTo>
                      <a:pt x="214954" y="104303"/>
                    </a:lnTo>
                    <a:lnTo>
                      <a:pt x="215572" y="103422"/>
                    </a:lnTo>
                    <a:lnTo>
                      <a:pt x="215572" y="102893"/>
                    </a:lnTo>
                    <a:lnTo>
                      <a:pt x="214337" y="101394"/>
                    </a:lnTo>
                    <a:lnTo>
                      <a:pt x="215572" y="100247"/>
                    </a:lnTo>
                    <a:lnTo>
                      <a:pt x="214954" y="99983"/>
                    </a:lnTo>
                    <a:lnTo>
                      <a:pt x="215572" y="98572"/>
                    </a:lnTo>
                    <a:lnTo>
                      <a:pt x="216101" y="96544"/>
                    </a:lnTo>
                    <a:lnTo>
                      <a:pt x="216718" y="96280"/>
                    </a:lnTo>
                    <a:lnTo>
                      <a:pt x="216101" y="98925"/>
                    </a:lnTo>
                    <a:lnTo>
                      <a:pt x="216982" y="98660"/>
                    </a:lnTo>
                    <a:lnTo>
                      <a:pt x="217247" y="97779"/>
                    </a:lnTo>
                    <a:lnTo>
                      <a:pt x="217864" y="96368"/>
                    </a:lnTo>
                    <a:lnTo>
                      <a:pt x="217599" y="95751"/>
                    </a:lnTo>
                    <a:lnTo>
                      <a:pt x="217335" y="95134"/>
                    </a:lnTo>
                    <a:lnTo>
                      <a:pt x="216806" y="94869"/>
                    </a:lnTo>
                    <a:lnTo>
                      <a:pt x="217688" y="93723"/>
                    </a:lnTo>
                    <a:lnTo>
                      <a:pt x="217952" y="93723"/>
                    </a:lnTo>
                    <a:lnTo>
                      <a:pt x="217688" y="92841"/>
                    </a:lnTo>
                    <a:lnTo>
                      <a:pt x="217688" y="91695"/>
                    </a:lnTo>
                    <a:lnTo>
                      <a:pt x="216806" y="91078"/>
                    </a:lnTo>
                    <a:lnTo>
                      <a:pt x="183302" y="62776"/>
                    </a:lnTo>
                    <a:lnTo>
                      <a:pt x="184977" y="61013"/>
                    </a:lnTo>
                    <a:lnTo>
                      <a:pt x="185594" y="59514"/>
                    </a:lnTo>
                    <a:lnTo>
                      <a:pt x="185242" y="56869"/>
                    </a:lnTo>
                    <a:lnTo>
                      <a:pt x="182068" y="52813"/>
                    </a:lnTo>
                    <a:lnTo>
                      <a:pt x="103862" y="1146"/>
                    </a:lnTo>
                    <a:lnTo>
                      <a:pt x="103862" y="0"/>
                    </a:lnTo>
                    <a:lnTo>
                      <a:pt x="32093" y="0"/>
                    </a:lnTo>
                    <a:close/>
                    <a:moveTo>
                      <a:pt x="216718" y="124141"/>
                    </a:moveTo>
                    <a:lnTo>
                      <a:pt x="216718" y="125904"/>
                    </a:lnTo>
                    <a:lnTo>
                      <a:pt x="217599" y="127051"/>
                    </a:lnTo>
                    <a:lnTo>
                      <a:pt x="217599" y="127932"/>
                    </a:lnTo>
                    <a:lnTo>
                      <a:pt x="217071" y="131106"/>
                    </a:lnTo>
                    <a:lnTo>
                      <a:pt x="218217" y="132605"/>
                    </a:lnTo>
                    <a:lnTo>
                      <a:pt x="219098" y="133752"/>
                    </a:lnTo>
                    <a:lnTo>
                      <a:pt x="219098" y="131106"/>
                    </a:lnTo>
                    <a:lnTo>
                      <a:pt x="219980" y="132253"/>
                    </a:lnTo>
                    <a:lnTo>
                      <a:pt x="220244" y="134281"/>
                    </a:lnTo>
                    <a:lnTo>
                      <a:pt x="220597" y="133663"/>
                    </a:lnTo>
                    <a:lnTo>
                      <a:pt x="221479" y="133399"/>
                    </a:lnTo>
                    <a:lnTo>
                      <a:pt x="221743" y="134898"/>
                    </a:lnTo>
                    <a:lnTo>
                      <a:pt x="222625" y="136925"/>
                    </a:lnTo>
                    <a:lnTo>
                      <a:pt x="223154" y="136308"/>
                    </a:lnTo>
                    <a:lnTo>
                      <a:pt x="223771" y="135427"/>
                    </a:lnTo>
                    <a:lnTo>
                      <a:pt x="224036" y="133928"/>
                    </a:lnTo>
                    <a:lnTo>
                      <a:pt x="224300" y="129872"/>
                    </a:lnTo>
                    <a:lnTo>
                      <a:pt x="224565" y="128726"/>
                    </a:lnTo>
                    <a:lnTo>
                      <a:pt x="224036" y="128109"/>
                    </a:lnTo>
                    <a:lnTo>
                      <a:pt x="223419" y="128373"/>
                    </a:lnTo>
                    <a:lnTo>
                      <a:pt x="223154" y="129784"/>
                    </a:lnTo>
                    <a:lnTo>
                      <a:pt x="222272" y="130313"/>
                    </a:lnTo>
                    <a:lnTo>
                      <a:pt x="222008" y="129784"/>
                    </a:lnTo>
                    <a:lnTo>
                      <a:pt x="221391" y="128020"/>
                    </a:lnTo>
                    <a:lnTo>
                      <a:pt x="221038" y="122818"/>
                    </a:lnTo>
                    <a:lnTo>
                      <a:pt x="220509" y="120438"/>
                    </a:lnTo>
                    <a:lnTo>
                      <a:pt x="220156" y="119292"/>
                    </a:lnTo>
                    <a:lnTo>
                      <a:pt x="219539" y="118675"/>
                    </a:lnTo>
                    <a:lnTo>
                      <a:pt x="219539" y="119556"/>
                    </a:lnTo>
                    <a:lnTo>
                      <a:pt x="219539" y="120703"/>
                    </a:lnTo>
                    <a:lnTo>
                      <a:pt x="219275" y="121320"/>
                    </a:lnTo>
                    <a:lnTo>
                      <a:pt x="218657" y="122466"/>
                    </a:lnTo>
                    <a:lnTo>
                      <a:pt x="216718" y="1241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6" name="Freihandform: Form 1785">
                <a:extLst>
                  <a:ext uri="{FF2B5EF4-FFF2-40B4-BE49-F238E27FC236}">
                    <a16:creationId xmlns:a16="http://schemas.microsoft.com/office/drawing/2014/main" id="{2C9EED02-DD50-DD86-E7C5-CE8B08C2EEDE}"/>
                  </a:ext>
                </a:extLst>
              </p:cNvPr>
              <p:cNvSpPr/>
              <p:nvPr/>
            </p:nvSpPr>
            <p:spPr>
              <a:xfrm>
                <a:off x="4066931" y="3872927"/>
                <a:ext cx="41438" cy="125110"/>
              </a:xfrm>
              <a:custGeom>
                <a:avLst/>
                <a:gdLst>
                  <a:gd name="connsiteX0" fmla="*/ 4673 w 41438"/>
                  <a:gd name="connsiteY0" fmla="*/ 0 h 125110"/>
                  <a:gd name="connsiteX1" fmla="*/ 2380 w 41438"/>
                  <a:gd name="connsiteY1" fmla="*/ 5819 h 125110"/>
                  <a:gd name="connsiteX2" fmla="*/ 0 w 41438"/>
                  <a:gd name="connsiteY2" fmla="*/ 9875 h 125110"/>
                  <a:gd name="connsiteX3" fmla="*/ 3527 w 41438"/>
                  <a:gd name="connsiteY3" fmla="*/ 13137 h 125110"/>
                  <a:gd name="connsiteX4" fmla="*/ 8464 w 41438"/>
                  <a:gd name="connsiteY4" fmla="*/ 16928 h 125110"/>
                  <a:gd name="connsiteX5" fmla="*/ 11991 w 41438"/>
                  <a:gd name="connsiteY5" fmla="*/ 20984 h 125110"/>
                  <a:gd name="connsiteX6" fmla="*/ 10227 w 41438"/>
                  <a:gd name="connsiteY6" fmla="*/ 25393 h 125110"/>
                  <a:gd name="connsiteX7" fmla="*/ 10227 w 41438"/>
                  <a:gd name="connsiteY7" fmla="*/ 26803 h 125110"/>
                  <a:gd name="connsiteX8" fmla="*/ 11109 w 41438"/>
                  <a:gd name="connsiteY8" fmla="*/ 30594 h 125110"/>
                  <a:gd name="connsiteX9" fmla="*/ 8729 w 41438"/>
                  <a:gd name="connsiteY9" fmla="*/ 34386 h 125110"/>
                  <a:gd name="connsiteX10" fmla="*/ 9610 w 41438"/>
                  <a:gd name="connsiteY10" fmla="*/ 35620 h 125110"/>
                  <a:gd name="connsiteX11" fmla="*/ 9346 w 41438"/>
                  <a:gd name="connsiteY11" fmla="*/ 37912 h 125110"/>
                  <a:gd name="connsiteX12" fmla="*/ 5290 w 41438"/>
                  <a:gd name="connsiteY12" fmla="*/ 39059 h 125110"/>
                  <a:gd name="connsiteX13" fmla="*/ 5290 w 41438"/>
                  <a:gd name="connsiteY13" fmla="*/ 40205 h 125110"/>
                  <a:gd name="connsiteX14" fmla="*/ 5554 w 41438"/>
                  <a:gd name="connsiteY14" fmla="*/ 41968 h 125110"/>
                  <a:gd name="connsiteX15" fmla="*/ 9346 w 41438"/>
                  <a:gd name="connsiteY15" fmla="*/ 41439 h 125110"/>
                  <a:gd name="connsiteX16" fmla="*/ 14283 w 41438"/>
                  <a:gd name="connsiteY16" fmla="*/ 41968 h 125110"/>
                  <a:gd name="connsiteX17" fmla="*/ 13137 w 41438"/>
                  <a:gd name="connsiteY17" fmla="*/ 46377 h 125110"/>
                  <a:gd name="connsiteX18" fmla="*/ 11991 w 41438"/>
                  <a:gd name="connsiteY18" fmla="*/ 51931 h 125110"/>
                  <a:gd name="connsiteX19" fmla="*/ 12873 w 41438"/>
                  <a:gd name="connsiteY19" fmla="*/ 58896 h 125110"/>
                  <a:gd name="connsiteX20" fmla="*/ 12520 w 41438"/>
                  <a:gd name="connsiteY20" fmla="*/ 62423 h 125110"/>
                  <a:gd name="connsiteX21" fmla="*/ 16046 w 41438"/>
                  <a:gd name="connsiteY21" fmla="*/ 65333 h 125110"/>
                  <a:gd name="connsiteX22" fmla="*/ 18074 w 41438"/>
                  <a:gd name="connsiteY22" fmla="*/ 72033 h 125110"/>
                  <a:gd name="connsiteX23" fmla="*/ 16046 w 41438"/>
                  <a:gd name="connsiteY23" fmla="*/ 73180 h 125110"/>
                  <a:gd name="connsiteX24" fmla="*/ 14900 w 41438"/>
                  <a:gd name="connsiteY24" fmla="*/ 74326 h 125110"/>
                  <a:gd name="connsiteX25" fmla="*/ 16046 w 41438"/>
                  <a:gd name="connsiteY25" fmla="*/ 82790 h 125110"/>
                  <a:gd name="connsiteX26" fmla="*/ 16046 w 41438"/>
                  <a:gd name="connsiteY26" fmla="*/ 85171 h 125110"/>
                  <a:gd name="connsiteX27" fmla="*/ 13754 w 41438"/>
                  <a:gd name="connsiteY27" fmla="*/ 90990 h 125110"/>
                  <a:gd name="connsiteX28" fmla="*/ 16664 w 41438"/>
                  <a:gd name="connsiteY28" fmla="*/ 93018 h 125110"/>
                  <a:gd name="connsiteX29" fmla="*/ 16046 w 41438"/>
                  <a:gd name="connsiteY29" fmla="*/ 97426 h 125110"/>
                  <a:gd name="connsiteX30" fmla="*/ 15782 w 41438"/>
                  <a:gd name="connsiteY30" fmla="*/ 102363 h 125110"/>
                  <a:gd name="connsiteX31" fmla="*/ 14900 w 41438"/>
                  <a:gd name="connsiteY31" fmla="*/ 108535 h 125110"/>
                  <a:gd name="connsiteX32" fmla="*/ 16664 w 41438"/>
                  <a:gd name="connsiteY32" fmla="*/ 111974 h 125110"/>
                  <a:gd name="connsiteX33" fmla="*/ 18956 w 41438"/>
                  <a:gd name="connsiteY33" fmla="*/ 112855 h 125110"/>
                  <a:gd name="connsiteX34" fmla="*/ 21866 w 41438"/>
                  <a:gd name="connsiteY34" fmla="*/ 119292 h 125110"/>
                  <a:gd name="connsiteX35" fmla="*/ 25921 w 41438"/>
                  <a:gd name="connsiteY35" fmla="*/ 123347 h 125110"/>
                  <a:gd name="connsiteX36" fmla="*/ 28302 w 41438"/>
                  <a:gd name="connsiteY36" fmla="*/ 125111 h 125110"/>
                  <a:gd name="connsiteX37" fmla="*/ 38530 w 41438"/>
                  <a:gd name="connsiteY37" fmla="*/ 121937 h 125110"/>
                  <a:gd name="connsiteX38" fmla="*/ 38530 w 41438"/>
                  <a:gd name="connsiteY38" fmla="*/ 120703 h 125110"/>
                  <a:gd name="connsiteX39" fmla="*/ 41439 w 41438"/>
                  <a:gd name="connsiteY39" fmla="*/ 120174 h 125110"/>
                  <a:gd name="connsiteX40" fmla="*/ 37295 w 41438"/>
                  <a:gd name="connsiteY40" fmla="*/ 111974 h 125110"/>
                  <a:gd name="connsiteX41" fmla="*/ 36149 w 41438"/>
                  <a:gd name="connsiteY41" fmla="*/ 102363 h 125110"/>
                  <a:gd name="connsiteX42" fmla="*/ 37648 w 41438"/>
                  <a:gd name="connsiteY42" fmla="*/ 68242 h 125110"/>
                  <a:gd name="connsiteX43" fmla="*/ 37648 w 41438"/>
                  <a:gd name="connsiteY43" fmla="*/ 64187 h 125110"/>
                  <a:gd name="connsiteX44" fmla="*/ 36766 w 41438"/>
                  <a:gd name="connsiteY44" fmla="*/ 48140 h 125110"/>
                  <a:gd name="connsiteX45" fmla="*/ 31211 w 41438"/>
                  <a:gd name="connsiteY45" fmla="*/ 39323 h 125110"/>
                  <a:gd name="connsiteX46" fmla="*/ 18956 w 41438"/>
                  <a:gd name="connsiteY46" fmla="*/ 18074 h 125110"/>
                  <a:gd name="connsiteX47" fmla="*/ 20984 w 41438"/>
                  <a:gd name="connsiteY47" fmla="*/ 7318 h 125110"/>
                  <a:gd name="connsiteX48" fmla="*/ 21337 w 41438"/>
                  <a:gd name="connsiteY48" fmla="*/ 5202 h 125110"/>
                  <a:gd name="connsiteX49" fmla="*/ 21337 w 41438"/>
                  <a:gd name="connsiteY49" fmla="*/ 2910 h 125110"/>
                  <a:gd name="connsiteX50" fmla="*/ 17193 w 41438"/>
                  <a:gd name="connsiteY50" fmla="*/ 3174 h 125110"/>
                  <a:gd name="connsiteX51" fmla="*/ 13137 w 41438"/>
                  <a:gd name="connsiteY51" fmla="*/ 1763 h 125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438" h="125110">
                    <a:moveTo>
                      <a:pt x="4673" y="0"/>
                    </a:moveTo>
                    <a:lnTo>
                      <a:pt x="2380" y="5819"/>
                    </a:lnTo>
                    <a:lnTo>
                      <a:pt x="0" y="9875"/>
                    </a:lnTo>
                    <a:lnTo>
                      <a:pt x="3527" y="13137"/>
                    </a:lnTo>
                    <a:lnTo>
                      <a:pt x="8464" y="16928"/>
                    </a:lnTo>
                    <a:lnTo>
                      <a:pt x="11991" y="20984"/>
                    </a:lnTo>
                    <a:lnTo>
                      <a:pt x="10227" y="25393"/>
                    </a:lnTo>
                    <a:lnTo>
                      <a:pt x="10227" y="26803"/>
                    </a:lnTo>
                    <a:lnTo>
                      <a:pt x="11109" y="30594"/>
                    </a:lnTo>
                    <a:lnTo>
                      <a:pt x="8729" y="34386"/>
                    </a:lnTo>
                    <a:lnTo>
                      <a:pt x="9610" y="35620"/>
                    </a:lnTo>
                    <a:lnTo>
                      <a:pt x="9346" y="37912"/>
                    </a:lnTo>
                    <a:lnTo>
                      <a:pt x="5290" y="39059"/>
                    </a:lnTo>
                    <a:lnTo>
                      <a:pt x="5290" y="40205"/>
                    </a:lnTo>
                    <a:lnTo>
                      <a:pt x="5554" y="41968"/>
                    </a:lnTo>
                    <a:lnTo>
                      <a:pt x="9346" y="41439"/>
                    </a:lnTo>
                    <a:lnTo>
                      <a:pt x="14283" y="41968"/>
                    </a:lnTo>
                    <a:lnTo>
                      <a:pt x="13137" y="46377"/>
                    </a:lnTo>
                    <a:lnTo>
                      <a:pt x="11991" y="51931"/>
                    </a:lnTo>
                    <a:lnTo>
                      <a:pt x="12873" y="58896"/>
                    </a:lnTo>
                    <a:lnTo>
                      <a:pt x="12520" y="62423"/>
                    </a:lnTo>
                    <a:lnTo>
                      <a:pt x="16046" y="65333"/>
                    </a:lnTo>
                    <a:lnTo>
                      <a:pt x="18074" y="72033"/>
                    </a:lnTo>
                    <a:lnTo>
                      <a:pt x="16046" y="73180"/>
                    </a:lnTo>
                    <a:lnTo>
                      <a:pt x="14900" y="74326"/>
                    </a:lnTo>
                    <a:lnTo>
                      <a:pt x="16046" y="82790"/>
                    </a:lnTo>
                    <a:lnTo>
                      <a:pt x="16046" y="85171"/>
                    </a:lnTo>
                    <a:lnTo>
                      <a:pt x="13754" y="90990"/>
                    </a:lnTo>
                    <a:lnTo>
                      <a:pt x="16664" y="93018"/>
                    </a:lnTo>
                    <a:lnTo>
                      <a:pt x="16046" y="97426"/>
                    </a:lnTo>
                    <a:lnTo>
                      <a:pt x="15782" y="102363"/>
                    </a:lnTo>
                    <a:lnTo>
                      <a:pt x="14900" y="108535"/>
                    </a:lnTo>
                    <a:lnTo>
                      <a:pt x="16664" y="111974"/>
                    </a:lnTo>
                    <a:lnTo>
                      <a:pt x="18956" y="112855"/>
                    </a:lnTo>
                    <a:lnTo>
                      <a:pt x="21866" y="119292"/>
                    </a:lnTo>
                    <a:lnTo>
                      <a:pt x="25921" y="123347"/>
                    </a:lnTo>
                    <a:lnTo>
                      <a:pt x="28302" y="125111"/>
                    </a:lnTo>
                    <a:lnTo>
                      <a:pt x="38530" y="121937"/>
                    </a:lnTo>
                    <a:lnTo>
                      <a:pt x="38530" y="120703"/>
                    </a:lnTo>
                    <a:lnTo>
                      <a:pt x="41439" y="120174"/>
                    </a:lnTo>
                    <a:lnTo>
                      <a:pt x="37295" y="111974"/>
                    </a:lnTo>
                    <a:lnTo>
                      <a:pt x="36149" y="102363"/>
                    </a:lnTo>
                    <a:lnTo>
                      <a:pt x="37648" y="68242"/>
                    </a:lnTo>
                    <a:lnTo>
                      <a:pt x="37648" y="64187"/>
                    </a:lnTo>
                    <a:lnTo>
                      <a:pt x="36766" y="48140"/>
                    </a:lnTo>
                    <a:lnTo>
                      <a:pt x="31211" y="39323"/>
                    </a:lnTo>
                    <a:lnTo>
                      <a:pt x="18956" y="18074"/>
                    </a:lnTo>
                    <a:lnTo>
                      <a:pt x="20984" y="7318"/>
                    </a:lnTo>
                    <a:lnTo>
                      <a:pt x="21337" y="5202"/>
                    </a:lnTo>
                    <a:lnTo>
                      <a:pt x="21337" y="2910"/>
                    </a:lnTo>
                    <a:lnTo>
                      <a:pt x="17193" y="3174"/>
                    </a:lnTo>
                    <a:lnTo>
                      <a:pt x="13137" y="17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7" name="Freihandform: Form 1786">
                <a:extLst>
                  <a:ext uri="{FF2B5EF4-FFF2-40B4-BE49-F238E27FC236}">
                    <a16:creationId xmlns:a16="http://schemas.microsoft.com/office/drawing/2014/main" id="{B3F21B63-23CB-C8B6-D9AF-602157266462}"/>
                  </a:ext>
                </a:extLst>
              </p:cNvPr>
              <p:cNvSpPr/>
              <p:nvPr/>
            </p:nvSpPr>
            <p:spPr>
              <a:xfrm>
                <a:off x="4363000" y="3569628"/>
                <a:ext cx="228620" cy="394906"/>
              </a:xfrm>
              <a:custGeom>
                <a:avLst/>
                <a:gdLst>
                  <a:gd name="connsiteX0" fmla="*/ 225711 w 228620"/>
                  <a:gd name="connsiteY0" fmla="*/ 97338 h 394906"/>
                  <a:gd name="connsiteX1" fmla="*/ 113737 w 228620"/>
                  <a:gd name="connsiteY1" fmla="*/ 35003 h 394906"/>
                  <a:gd name="connsiteX2" fmla="*/ 45759 w 228620"/>
                  <a:gd name="connsiteY2" fmla="*/ 0 h 394906"/>
                  <a:gd name="connsiteX3" fmla="*/ 29448 w 228620"/>
                  <a:gd name="connsiteY3" fmla="*/ 7847 h 394906"/>
                  <a:gd name="connsiteX4" fmla="*/ 33857 w 228620"/>
                  <a:gd name="connsiteY4" fmla="*/ 31476 h 394906"/>
                  <a:gd name="connsiteX5" fmla="*/ 33504 w 228620"/>
                  <a:gd name="connsiteY5" fmla="*/ 44613 h 394906"/>
                  <a:gd name="connsiteX6" fmla="*/ 35885 w 228620"/>
                  <a:gd name="connsiteY6" fmla="*/ 46024 h 394906"/>
                  <a:gd name="connsiteX7" fmla="*/ 43114 w 228620"/>
                  <a:gd name="connsiteY7" fmla="*/ 58279 h 394906"/>
                  <a:gd name="connsiteX8" fmla="*/ 42850 w 228620"/>
                  <a:gd name="connsiteY8" fmla="*/ 59514 h 394906"/>
                  <a:gd name="connsiteX9" fmla="*/ 41439 w 228620"/>
                  <a:gd name="connsiteY9" fmla="*/ 60660 h 394906"/>
                  <a:gd name="connsiteX10" fmla="*/ 44613 w 228620"/>
                  <a:gd name="connsiteY10" fmla="*/ 64716 h 394906"/>
                  <a:gd name="connsiteX11" fmla="*/ 52196 w 228620"/>
                  <a:gd name="connsiteY11" fmla="*/ 73180 h 394906"/>
                  <a:gd name="connsiteX12" fmla="*/ 46641 w 228620"/>
                  <a:gd name="connsiteY12" fmla="*/ 83672 h 394906"/>
                  <a:gd name="connsiteX13" fmla="*/ 43996 w 228620"/>
                  <a:gd name="connsiteY13" fmla="*/ 112503 h 394906"/>
                  <a:gd name="connsiteX14" fmla="*/ 43114 w 228620"/>
                  <a:gd name="connsiteY14" fmla="*/ 159497 h 394906"/>
                  <a:gd name="connsiteX15" fmla="*/ 19221 w 228620"/>
                  <a:gd name="connsiteY15" fmla="*/ 188063 h 394906"/>
                  <a:gd name="connsiteX16" fmla="*/ 11374 w 228620"/>
                  <a:gd name="connsiteY16" fmla="*/ 202082 h 394906"/>
                  <a:gd name="connsiteX17" fmla="*/ 6701 w 228620"/>
                  <a:gd name="connsiteY17" fmla="*/ 209929 h 394906"/>
                  <a:gd name="connsiteX18" fmla="*/ 7582 w 228620"/>
                  <a:gd name="connsiteY18" fmla="*/ 213191 h 394906"/>
                  <a:gd name="connsiteX19" fmla="*/ 3791 w 228620"/>
                  <a:gd name="connsiteY19" fmla="*/ 214955 h 394906"/>
                  <a:gd name="connsiteX20" fmla="*/ 4056 w 228620"/>
                  <a:gd name="connsiteY20" fmla="*/ 217864 h 394906"/>
                  <a:gd name="connsiteX21" fmla="*/ 0 w 228620"/>
                  <a:gd name="connsiteY21" fmla="*/ 220774 h 394906"/>
                  <a:gd name="connsiteX22" fmla="*/ 4673 w 228620"/>
                  <a:gd name="connsiteY22" fmla="*/ 237085 h 394906"/>
                  <a:gd name="connsiteX23" fmla="*/ 6436 w 228620"/>
                  <a:gd name="connsiteY23" fmla="*/ 245285 h 394906"/>
                  <a:gd name="connsiteX24" fmla="*/ 10757 w 228620"/>
                  <a:gd name="connsiteY24" fmla="*/ 252867 h 394906"/>
                  <a:gd name="connsiteX25" fmla="*/ 13137 w 228620"/>
                  <a:gd name="connsiteY25" fmla="*/ 254895 h 394906"/>
                  <a:gd name="connsiteX26" fmla="*/ 21601 w 228620"/>
                  <a:gd name="connsiteY26" fmla="*/ 254278 h 394906"/>
                  <a:gd name="connsiteX27" fmla="*/ 23629 w 228620"/>
                  <a:gd name="connsiteY27" fmla="*/ 256923 h 394906"/>
                  <a:gd name="connsiteX28" fmla="*/ 22483 w 228620"/>
                  <a:gd name="connsiteY28" fmla="*/ 259568 h 394906"/>
                  <a:gd name="connsiteX29" fmla="*/ 23276 w 228620"/>
                  <a:gd name="connsiteY29" fmla="*/ 262125 h 394906"/>
                  <a:gd name="connsiteX30" fmla="*/ 24158 w 228620"/>
                  <a:gd name="connsiteY30" fmla="*/ 262742 h 394906"/>
                  <a:gd name="connsiteX31" fmla="*/ 25393 w 228620"/>
                  <a:gd name="connsiteY31" fmla="*/ 261860 h 394906"/>
                  <a:gd name="connsiteX32" fmla="*/ 26539 w 228620"/>
                  <a:gd name="connsiteY32" fmla="*/ 263359 h 394906"/>
                  <a:gd name="connsiteX33" fmla="*/ 27685 w 228620"/>
                  <a:gd name="connsiteY33" fmla="*/ 263359 h 394906"/>
                  <a:gd name="connsiteX34" fmla="*/ 27068 w 228620"/>
                  <a:gd name="connsiteY34" fmla="*/ 265387 h 394906"/>
                  <a:gd name="connsiteX35" fmla="*/ 28302 w 228620"/>
                  <a:gd name="connsiteY35" fmla="*/ 264241 h 394906"/>
                  <a:gd name="connsiteX36" fmla="*/ 30065 w 228620"/>
                  <a:gd name="connsiteY36" fmla="*/ 264770 h 394906"/>
                  <a:gd name="connsiteX37" fmla="*/ 31212 w 228620"/>
                  <a:gd name="connsiteY37" fmla="*/ 268296 h 394906"/>
                  <a:gd name="connsiteX38" fmla="*/ 30330 w 228620"/>
                  <a:gd name="connsiteY38" fmla="*/ 269707 h 394906"/>
                  <a:gd name="connsiteX39" fmla="*/ 31741 w 228620"/>
                  <a:gd name="connsiteY39" fmla="*/ 271471 h 394906"/>
                  <a:gd name="connsiteX40" fmla="*/ 31476 w 228620"/>
                  <a:gd name="connsiteY40" fmla="*/ 277025 h 394906"/>
                  <a:gd name="connsiteX41" fmla="*/ 35267 w 228620"/>
                  <a:gd name="connsiteY41" fmla="*/ 278789 h 394906"/>
                  <a:gd name="connsiteX42" fmla="*/ 35532 w 228620"/>
                  <a:gd name="connsiteY42" fmla="*/ 280199 h 394906"/>
                  <a:gd name="connsiteX43" fmla="*/ 35003 w 228620"/>
                  <a:gd name="connsiteY43" fmla="*/ 282580 h 394906"/>
                  <a:gd name="connsiteX44" fmla="*/ 34738 w 228620"/>
                  <a:gd name="connsiteY44" fmla="*/ 284079 h 394906"/>
                  <a:gd name="connsiteX45" fmla="*/ 35885 w 228620"/>
                  <a:gd name="connsiteY45" fmla="*/ 284608 h 394906"/>
                  <a:gd name="connsiteX46" fmla="*/ 36766 w 228620"/>
                  <a:gd name="connsiteY46" fmla="*/ 286636 h 394906"/>
                  <a:gd name="connsiteX47" fmla="*/ 35885 w 228620"/>
                  <a:gd name="connsiteY47" fmla="*/ 289016 h 394906"/>
                  <a:gd name="connsiteX48" fmla="*/ 37031 w 228620"/>
                  <a:gd name="connsiteY48" fmla="*/ 292455 h 394906"/>
                  <a:gd name="connsiteX49" fmla="*/ 35885 w 228620"/>
                  <a:gd name="connsiteY49" fmla="*/ 295981 h 394906"/>
                  <a:gd name="connsiteX50" fmla="*/ 35003 w 228620"/>
                  <a:gd name="connsiteY50" fmla="*/ 301800 h 394906"/>
                  <a:gd name="connsiteX51" fmla="*/ 35003 w 228620"/>
                  <a:gd name="connsiteY51" fmla="*/ 306209 h 394906"/>
                  <a:gd name="connsiteX52" fmla="*/ 36149 w 228620"/>
                  <a:gd name="connsiteY52" fmla="*/ 307972 h 394906"/>
                  <a:gd name="connsiteX53" fmla="*/ 35885 w 228620"/>
                  <a:gd name="connsiteY53" fmla="*/ 310617 h 394906"/>
                  <a:gd name="connsiteX54" fmla="*/ 37912 w 228620"/>
                  <a:gd name="connsiteY54" fmla="*/ 316084 h 394906"/>
                  <a:gd name="connsiteX55" fmla="*/ 37912 w 228620"/>
                  <a:gd name="connsiteY55" fmla="*/ 318464 h 394906"/>
                  <a:gd name="connsiteX56" fmla="*/ 38794 w 228620"/>
                  <a:gd name="connsiteY56" fmla="*/ 318464 h 394906"/>
                  <a:gd name="connsiteX57" fmla="*/ 43467 w 228620"/>
                  <a:gd name="connsiteY57" fmla="*/ 323137 h 394906"/>
                  <a:gd name="connsiteX58" fmla="*/ 45759 w 228620"/>
                  <a:gd name="connsiteY58" fmla="*/ 328339 h 394906"/>
                  <a:gd name="connsiteX59" fmla="*/ 49551 w 228620"/>
                  <a:gd name="connsiteY59" fmla="*/ 330720 h 394906"/>
                  <a:gd name="connsiteX60" fmla="*/ 43731 w 228620"/>
                  <a:gd name="connsiteY60" fmla="*/ 332130 h 394906"/>
                  <a:gd name="connsiteX61" fmla="*/ 39940 w 228620"/>
                  <a:gd name="connsiteY61" fmla="*/ 330720 h 394906"/>
                  <a:gd name="connsiteX62" fmla="*/ 36414 w 228620"/>
                  <a:gd name="connsiteY62" fmla="*/ 329573 h 394906"/>
                  <a:gd name="connsiteX63" fmla="*/ 36414 w 228620"/>
                  <a:gd name="connsiteY63" fmla="*/ 332130 h 394906"/>
                  <a:gd name="connsiteX64" fmla="*/ 32622 w 228620"/>
                  <a:gd name="connsiteY64" fmla="*/ 330984 h 394906"/>
                  <a:gd name="connsiteX65" fmla="*/ 29713 w 228620"/>
                  <a:gd name="connsiteY65" fmla="*/ 333365 h 394906"/>
                  <a:gd name="connsiteX66" fmla="*/ 24511 w 228620"/>
                  <a:gd name="connsiteY66" fmla="*/ 330720 h 394906"/>
                  <a:gd name="connsiteX67" fmla="*/ 16928 w 228620"/>
                  <a:gd name="connsiteY67" fmla="*/ 330720 h 394906"/>
                  <a:gd name="connsiteX68" fmla="*/ 15782 w 228620"/>
                  <a:gd name="connsiteY68" fmla="*/ 334775 h 394906"/>
                  <a:gd name="connsiteX69" fmla="*/ 12255 w 228620"/>
                  <a:gd name="connsiteY69" fmla="*/ 340947 h 394906"/>
                  <a:gd name="connsiteX70" fmla="*/ 25393 w 228620"/>
                  <a:gd name="connsiteY70" fmla="*/ 355759 h 394906"/>
                  <a:gd name="connsiteX71" fmla="*/ 36766 w 228620"/>
                  <a:gd name="connsiteY71" fmla="*/ 364224 h 394906"/>
                  <a:gd name="connsiteX72" fmla="*/ 39059 w 228620"/>
                  <a:gd name="connsiteY72" fmla="*/ 368632 h 394906"/>
                  <a:gd name="connsiteX73" fmla="*/ 43467 w 228620"/>
                  <a:gd name="connsiteY73" fmla="*/ 377978 h 394906"/>
                  <a:gd name="connsiteX74" fmla="*/ 43467 w 228620"/>
                  <a:gd name="connsiteY74" fmla="*/ 380535 h 394906"/>
                  <a:gd name="connsiteX75" fmla="*/ 46377 w 228620"/>
                  <a:gd name="connsiteY75" fmla="*/ 386442 h 394906"/>
                  <a:gd name="connsiteX76" fmla="*/ 47787 w 228620"/>
                  <a:gd name="connsiteY76" fmla="*/ 386442 h 394906"/>
                  <a:gd name="connsiteX77" fmla="*/ 47523 w 228620"/>
                  <a:gd name="connsiteY77" fmla="*/ 389616 h 394906"/>
                  <a:gd name="connsiteX78" fmla="*/ 46377 w 228620"/>
                  <a:gd name="connsiteY78" fmla="*/ 392261 h 394906"/>
                  <a:gd name="connsiteX79" fmla="*/ 51050 w 228620"/>
                  <a:gd name="connsiteY79" fmla="*/ 392526 h 394906"/>
                  <a:gd name="connsiteX80" fmla="*/ 52813 w 228620"/>
                  <a:gd name="connsiteY80" fmla="*/ 394906 h 394906"/>
                  <a:gd name="connsiteX81" fmla="*/ 56869 w 228620"/>
                  <a:gd name="connsiteY81" fmla="*/ 392790 h 394906"/>
                  <a:gd name="connsiteX82" fmla="*/ 59161 w 228620"/>
                  <a:gd name="connsiteY82" fmla="*/ 390762 h 394906"/>
                  <a:gd name="connsiteX83" fmla="*/ 66215 w 228620"/>
                  <a:gd name="connsiteY83" fmla="*/ 389087 h 394906"/>
                  <a:gd name="connsiteX84" fmla="*/ 66479 w 228620"/>
                  <a:gd name="connsiteY84" fmla="*/ 386089 h 394906"/>
                  <a:gd name="connsiteX85" fmla="*/ 67625 w 228620"/>
                  <a:gd name="connsiteY85" fmla="*/ 386442 h 394906"/>
                  <a:gd name="connsiteX86" fmla="*/ 68507 w 228620"/>
                  <a:gd name="connsiteY86" fmla="*/ 384326 h 394906"/>
                  <a:gd name="connsiteX87" fmla="*/ 69388 w 228620"/>
                  <a:gd name="connsiteY87" fmla="*/ 384062 h 394906"/>
                  <a:gd name="connsiteX88" fmla="*/ 69388 w 228620"/>
                  <a:gd name="connsiteY88" fmla="*/ 386442 h 394906"/>
                  <a:gd name="connsiteX89" fmla="*/ 71152 w 228620"/>
                  <a:gd name="connsiteY89" fmla="*/ 387588 h 394906"/>
                  <a:gd name="connsiteX90" fmla="*/ 72915 w 228620"/>
                  <a:gd name="connsiteY90" fmla="*/ 389616 h 394906"/>
                  <a:gd name="connsiteX91" fmla="*/ 74943 w 228620"/>
                  <a:gd name="connsiteY91" fmla="*/ 391997 h 394906"/>
                  <a:gd name="connsiteX92" fmla="*/ 76442 w 228620"/>
                  <a:gd name="connsiteY92" fmla="*/ 392526 h 394906"/>
                  <a:gd name="connsiteX93" fmla="*/ 76442 w 228620"/>
                  <a:gd name="connsiteY93" fmla="*/ 389616 h 394906"/>
                  <a:gd name="connsiteX94" fmla="*/ 79616 w 228620"/>
                  <a:gd name="connsiteY94" fmla="*/ 389352 h 394906"/>
                  <a:gd name="connsiteX95" fmla="*/ 81115 w 228620"/>
                  <a:gd name="connsiteY95" fmla="*/ 389352 h 394906"/>
                  <a:gd name="connsiteX96" fmla="*/ 82261 w 228620"/>
                  <a:gd name="connsiteY96" fmla="*/ 388735 h 394906"/>
                  <a:gd name="connsiteX97" fmla="*/ 85171 w 228620"/>
                  <a:gd name="connsiteY97" fmla="*/ 385296 h 394906"/>
                  <a:gd name="connsiteX98" fmla="*/ 86317 w 228620"/>
                  <a:gd name="connsiteY98" fmla="*/ 384679 h 394906"/>
                  <a:gd name="connsiteX99" fmla="*/ 87816 w 228620"/>
                  <a:gd name="connsiteY99" fmla="*/ 383797 h 394906"/>
                  <a:gd name="connsiteX100" fmla="*/ 90108 w 228620"/>
                  <a:gd name="connsiteY100" fmla="*/ 382298 h 394906"/>
                  <a:gd name="connsiteX101" fmla="*/ 94164 w 228620"/>
                  <a:gd name="connsiteY101" fmla="*/ 381769 h 394906"/>
                  <a:gd name="connsiteX102" fmla="*/ 98308 w 228620"/>
                  <a:gd name="connsiteY102" fmla="*/ 382034 h 394906"/>
                  <a:gd name="connsiteX103" fmla="*/ 101746 w 228620"/>
                  <a:gd name="connsiteY103" fmla="*/ 380535 h 394906"/>
                  <a:gd name="connsiteX104" fmla="*/ 113120 w 228620"/>
                  <a:gd name="connsiteY104" fmla="*/ 380006 h 394906"/>
                  <a:gd name="connsiteX105" fmla="*/ 115765 w 228620"/>
                  <a:gd name="connsiteY105" fmla="*/ 375950 h 394906"/>
                  <a:gd name="connsiteX106" fmla="*/ 119027 w 228620"/>
                  <a:gd name="connsiteY106" fmla="*/ 374716 h 394906"/>
                  <a:gd name="connsiteX107" fmla="*/ 121320 w 228620"/>
                  <a:gd name="connsiteY107" fmla="*/ 370043 h 394906"/>
                  <a:gd name="connsiteX108" fmla="*/ 124846 w 228620"/>
                  <a:gd name="connsiteY108" fmla="*/ 367133 h 394906"/>
                  <a:gd name="connsiteX109" fmla="*/ 126610 w 228620"/>
                  <a:gd name="connsiteY109" fmla="*/ 364224 h 394906"/>
                  <a:gd name="connsiteX110" fmla="*/ 121320 w 228620"/>
                  <a:gd name="connsiteY110" fmla="*/ 361050 h 394906"/>
                  <a:gd name="connsiteX111" fmla="*/ 120438 w 228620"/>
                  <a:gd name="connsiteY111" fmla="*/ 358405 h 394906"/>
                  <a:gd name="connsiteX112" fmla="*/ 124846 w 228620"/>
                  <a:gd name="connsiteY112" fmla="*/ 355495 h 394906"/>
                  <a:gd name="connsiteX113" fmla="*/ 130048 w 228620"/>
                  <a:gd name="connsiteY113" fmla="*/ 355759 h 394906"/>
                  <a:gd name="connsiteX114" fmla="*/ 132958 w 228620"/>
                  <a:gd name="connsiteY114" fmla="*/ 355759 h 394906"/>
                  <a:gd name="connsiteX115" fmla="*/ 135603 w 228620"/>
                  <a:gd name="connsiteY115" fmla="*/ 354878 h 394906"/>
                  <a:gd name="connsiteX116" fmla="*/ 137631 w 228620"/>
                  <a:gd name="connsiteY116" fmla="*/ 355495 h 394906"/>
                  <a:gd name="connsiteX117" fmla="*/ 140276 w 228620"/>
                  <a:gd name="connsiteY117" fmla="*/ 354613 h 394906"/>
                  <a:gd name="connsiteX118" fmla="*/ 145831 w 228620"/>
                  <a:gd name="connsiteY118" fmla="*/ 354349 h 394906"/>
                  <a:gd name="connsiteX119" fmla="*/ 146095 w 228620"/>
                  <a:gd name="connsiteY119" fmla="*/ 352585 h 394906"/>
                  <a:gd name="connsiteX120" fmla="*/ 148123 w 228620"/>
                  <a:gd name="connsiteY120" fmla="*/ 353467 h 394906"/>
                  <a:gd name="connsiteX121" fmla="*/ 149005 w 228620"/>
                  <a:gd name="connsiteY121" fmla="*/ 352321 h 394906"/>
                  <a:gd name="connsiteX122" fmla="*/ 152531 w 228620"/>
                  <a:gd name="connsiteY122" fmla="*/ 353732 h 394906"/>
                  <a:gd name="connsiteX123" fmla="*/ 154030 w 228620"/>
                  <a:gd name="connsiteY123" fmla="*/ 352321 h 394906"/>
                  <a:gd name="connsiteX124" fmla="*/ 156058 w 228620"/>
                  <a:gd name="connsiteY124" fmla="*/ 350822 h 394906"/>
                  <a:gd name="connsiteX125" fmla="*/ 156058 w 228620"/>
                  <a:gd name="connsiteY125" fmla="*/ 349059 h 394906"/>
                  <a:gd name="connsiteX126" fmla="*/ 156587 w 228620"/>
                  <a:gd name="connsiteY126" fmla="*/ 348177 h 394906"/>
                  <a:gd name="connsiteX127" fmla="*/ 158703 w 228620"/>
                  <a:gd name="connsiteY127" fmla="*/ 349059 h 394906"/>
                  <a:gd name="connsiteX128" fmla="*/ 159232 w 228620"/>
                  <a:gd name="connsiteY128" fmla="*/ 346766 h 394906"/>
                  <a:gd name="connsiteX129" fmla="*/ 161525 w 228620"/>
                  <a:gd name="connsiteY129" fmla="*/ 346149 h 394906"/>
                  <a:gd name="connsiteX130" fmla="*/ 165933 w 228620"/>
                  <a:gd name="connsiteY130" fmla="*/ 341212 h 394906"/>
                  <a:gd name="connsiteX131" fmla="*/ 168313 w 228620"/>
                  <a:gd name="connsiteY131" fmla="*/ 340947 h 394906"/>
                  <a:gd name="connsiteX132" fmla="*/ 166550 w 228620"/>
                  <a:gd name="connsiteY132" fmla="*/ 339713 h 394906"/>
                  <a:gd name="connsiteX133" fmla="*/ 166815 w 228620"/>
                  <a:gd name="connsiteY133" fmla="*/ 337156 h 394906"/>
                  <a:gd name="connsiteX134" fmla="*/ 167961 w 228620"/>
                  <a:gd name="connsiteY134" fmla="*/ 337156 h 394906"/>
                  <a:gd name="connsiteX135" fmla="*/ 172105 w 228620"/>
                  <a:gd name="connsiteY135" fmla="*/ 330367 h 394906"/>
                  <a:gd name="connsiteX136" fmla="*/ 173780 w 228620"/>
                  <a:gd name="connsiteY136" fmla="*/ 332130 h 394906"/>
                  <a:gd name="connsiteX137" fmla="*/ 174397 w 228620"/>
                  <a:gd name="connsiteY137" fmla="*/ 331866 h 394906"/>
                  <a:gd name="connsiteX138" fmla="*/ 177924 w 228620"/>
                  <a:gd name="connsiteY138" fmla="*/ 326311 h 394906"/>
                  <a:gd name="connsiteX139" fmla="*/ 182244 w 228620"/>
                  <a:gd name="connsiteY139" fmla="*/ 323666 h 394906"/>
                  <a:gd name="connsiteX140" fmla="*/ 183126 w 228620"/>
                  <a:gd name="connsiteY140" fmla="*/ 321374 h 394906"/>
                  <a:gd name="connsiteX141" fmla="*/ 181715 w 228620"/>
                  <a:gd name="connsiteY141" fmla="*/ 317847 h 394906"/>
                  <a:gd name="connsiteX142" fmla="*/ 182244 w 228620"/>
                  <a:gd name="connsiteY142" fmla="*/ 315555 h 394906"/>
                  <a:gd name="connsiteX143" fmla="*/ 183743 w 228620"/>
                  <a:gd name="connsiteY143" fmla="*/ 313791 h 394906"/>
                  <a:gd name="connsiteX144" fmla="*/ 184889 w 228620"/>
                  <a:gd name="connsiteY144" fmla="*/ 314673 h 394906"/>
                  <a:gd name="connsiteX145" fmla="*/ 186123 w 228620"/>
                  <a:gd name="connsiteY145" fmla="*/ 312910 h 394906"/>
                  <a:gd name="connsiteX146" fmla="*/ 188151 w 228620"/>
                  <a:gd name="connsiteY146" fmla="*/ 312910 h 394906"/>
                  <a:gd name="connsiteX147" fmla="*/ 188151 w 228620"/>
                  <a:gd name="connsiteY147" fmla="*/ 310882 h 394906"/>
                  <a:gd name="connsiteX148" fmla="*/ 188945 w 228620"/>
                  <a:gd name="connsiteY148" fmla="*/ 310265 h 394906"/>
                  <a:gd name="connsiteX149" fmla="*/ 192207 w 228620"/>
                  <a:gd name="connsiteY149" fmla="*/ 310617 h 394906"/>
                  <a:gd name="connsiteX150" fmla="*/ 193706 w 228620"/>
                  <a:gd name="connsiteY150" fmla="*/ 307355 h 394906"/>
                  <a:gd name="connsiteX151" fmla="*/ 196263 w 228620"/>
                  <a:gd name="connsiteY151" fmla="*/ 307355 h 394906"/>
                  <a:gd name="connsiteX152" fmla="*/ 198026 w 228620"/>
                  <a:gd name="connsiteY152" fmla="*/ 308237 h 394906"/>
                  <a:gd name="connsiteX153" fmla="*/ 198291 w 228620"/>
                  <a:gd name="connsiteY153" fmla="*/ 305944 h 394906"/>
                  <a:gd name="connsiteX154" fmla="*/ 202082 w 228620"/>
                  <a:gd name="connsiteY154" fmla="*/ 307090 h 394906"/>
                  <a:gd name="connsiteX155" fmla="*/ 207636 w 228620"/>
                  <a:gd name="connsiteY155" fmla="*/ 307708 h 394906"/>
                  <a:gd name="connsiteX156" fmla="*/ 207989 w 228620"/>
                  <a:gd name="connsiteY156" fmla="*/ 304710 h 394906"/>
                  <a:gd name="connsiteX157" fmla="*/ 209135 w 228620"/>
                  <a:gd name="connsiteY157" fmla="*/ 300654 h 394906"/>
                  <a:gd name="connsiteX158" fmla="*/ 208871 w 228620"/>
                  <a:gd name="connsiteY158" fmla="*/ 298891 h 394906"/>
                  <a:gd name="connsiteX159" fmla="*/ 208871 w 228620"/>
                  <a:gd name="connsiteY159" fmla="*/ 298362 h 394906"/>
                  <a:gd name="connsiteX160" fmla="*/ 208518 w 228620"/>
                  <a:gd name="connsiteY160" fmla="*/ 295981 h 394906"/>
                  <a:gd name="connsiteX161" fmla="*/ 205080 w 228620"/>
                  <a:gd name="connsiteY161" fmla="*/ 296246 h 394906"/>
                  <a:gd name="connsiteX162" fmla="*/ 205080 w 228620"/>
                  <a:gd name="connsiteY162" fmla="*/ 295981 h 394906"/>
                  <a:gd name="connsiteX163" fmla="*/ 205080 w 228620"/>
                  <a:gd name="connsiteY163" fmla="*/ 294571 h 394906"/>
                  <a:gd name="connsiteX164" fmla="*/ 201817 w 228620"/>
                  <a:gd name="connsiteY164" fmla="*/ 293072 h 394906"/>
                  <a:gd name="connsiteX165" fmla="*/ 200054 w 228620"/>
                  <a:gd name="connsiteY165" fmla="*/ 290427 h 394906"/>
                  <a:gd name="connsiteX166" fmla="*/ 200054 w 228620"/>
                  <a:gd name="connsiteY166" fmla="*/ 289545 h 394906"/>
                  <a:gd name="connsiteX167" fmla="*/ 200671 w 228620"/>
                  <a:gd name="connsiteY167" fmla="*/ 285754 h 394906"/>
                  <a:gd name="connsiteX168" fmla="*/ 200936 w 228620"/>
                  <a:gd name="connsiteY168" fmla="*/ 281433 h 394906"/>
                  <a:gd name="connsiteX169" fmla="*/ 201200 w 228620"/>
                  <a:gd name="connsiteY169" fmla="*/ 279406 h 394906"/>
                  <a:gd name="connsiteX170" fmla="*/ 201200 w 228620"/>
                  <a:gd name="connsiteY170" fmla="*/ 278789 h 394906"/>
                  <a:gd name="connsiteX171" fmla="*/ 200936 w 228620"/>
                  <a:gd name="connsiteY171" fmla="*/ 279406 h 394906"/>
                  <a:gd name="connsiteX172" fmla="*/ 200671 w 228620"/>
                  <a:gd name="connsiteY172" fmla="*/ 278789 h 394906"/>
                  <a:gd name="connsiteX173" fmla="*/ 199790 w 228620"/>
                  <a:gd name="connsiteY173" fmla="*/ 279406 h 394906"/>
                  <a:gd name="connsiteX174" fmla="*/ 198291 w 228620"/>
                  <a:gd name="connsiteY174" fmla="*/ 280552 h 394906"/>
                  <a:gd name="connsiteX175" fmla="*/ 198291 w 228620"/>
                  <a:gd name="connsiteY175" fmla="*/ 280199 h 394906"/>
                  <a:gd name="connsiteX176" fmla="*/ 198643 w 228620"/>
                  <a:gd name="connsiteY176" fmla="*/ 276496 h 394906"/>
                  <a:gd name="connsiteX177" fmla="*/ 196615 w 228620"/>
                  <a:gd name="connsiteY177" fmla="*/ 272352 h 394906"/>
                  <a:gd name="connsiteX178" fmla="*/ 196615 w 228620"/>
                  <a:gd name="connsiteY178" fmla="*/ 271471 h 394906"/>
                  <a:gd name="connsiteX179" fmla="*/ 195734 w 228620"/>
                  <a:gd name="connsiteY179" fmla="*/ 269707 h 394906"/>
                  <a:gd name="connsiteX180" fmla="*/ 196615 w 228620"/>
                  <a:gd name="connsiteY180" fmla="*/ 269443 h 394906"/>
                  <a:gd name="connsiteX181" fmla="*/ 197144 w 228620"/>
                  <a:gd name="connsiteY181" fmla="*/ 265916 h 394906"/>
                  <a:gd name="connsiteX182" fmla="*/ 194235 w 228620"/>
                  <a:gd name="connsiteY182" fmla="*/ 264770 h 394906"/>
                  <a:gd name="connsiteX183" fmla="*/ 191942 w 228620"/>
                  <a:gd name="connsiteY183" fmla="*/ 262477 h 394906"/>
                  <a:gd name="connsiteX184" fmla="*/ 190444 w 228620"/>
                  <a:gd name="connsiteY184" fmla="*/ 264770 h 394906"/>
                  <a:gd name="connsiteX185" fmla="*/ 188151 w 228620"/>
                  <a:gd name="connsiteY185" fmla="*/ 265122 h 394906"/>
                  <a:gd name="connsiteX186" fmla="*/ 185771 w 228620"/>
                  <a:gd name="connsiteY186" fmla="*/ 264770 h 394906"/>
                  <a:gd name="connsiteX187" fmla="*/ 184889 w 228620"/>
                  <a:gd name="connsiteY187" fmla="*/ 264505 h 394906"/>
                  <a:gd name="connsiteX188" fmla="*/ 183478 w 228620"/>
                  <a:gd name="connsiteY188" fmla="*/ 261331 h 394906"/>
                  <a:gd name="connsiteX189" fmla="*/ 184889 w 228620"/>
                  <a:gd name="connsiteY189" fmla="*/ 257187 h 394906"/>
                  <a:gd name="connsiteX190" fmla="*/ 185771 w 228620"/>
                  <a:gd name="connsiteY190" fmla="*/ 255424 h 394906"/>
                  <a:gd name="connsiteX191" fmla="*/ 187270 w 228620"/>
                  <a:gd name="connsiteY191" fmla="*/ 252867 h 394906"/>
                  <a:gd name="connsiteX192" fmla="*/ 190444 w 228620"/>
                  <a:gd name="connsiteY192" fmla="*/ 251985 h 394906"/>
                  <a:gd name="connsiteX193" fmla="*/ 193353 w 228620"/>
                  <a:gd name="connsiteY193" fmla="*/ 247312 h 394906"/>
                  <a:gd name="connsiteX194" fmla="*/ 193353 w 228620"/>
                  <a:gd name="connsiteY194" fmla="*/ 246695 h 394906"/>
                  <a:gd name="connsiteX195" fmla="*/ 191942 w 228620"/>
                  <a:gd name="connsiteY195" fmla="*/ 244050 h 394906"/>
                  <a:gd name="connsiteX196" fmla="*/ 191325 w 228620"/>
                  <a:gd name="connsiteY196" fmla="*/ 242375 h 394906"/>
                  <a:gd name="connsiteX197" fmla="*/ 190179 w 228620"/>
                  <a:gd name="connsiteY197" fmla="*/ 240259 h 394906"/>
                  <a:gd name="connsiteX198" fmla="*/ 189915 w 228620"/>
                  <a:gd name="connsiteY198" fmla="*/ 239994 h 394906"/>
                  <a:gd name="connsiteX199" fmla="*/ 189915 w 228620"/>
                  <a:gd name="connsiteY199" fmla="*/ 238231 h 394906"/>
                  <a:gd name="connsiteX200" fmla="*/ 188416 w 228620"/>
                  <a:gd name="connsiteY200" fmla="*/ 236468 h 394906"/>
                  <a:gd name="connsiteX201" fmla="*/ 191590 w 228620"/>
                  <a:gd name="connsiteY201" fmla="*/ 232147 h 394906"/>
                  <a:gd name="connsiteX202" fmla="*/ 193089 w 228620"/>
                  <a:gd name="connsiteY202" fmla="*/ 231001 h 394906"/>
                  <a:gd name="connsiteX203" fmla="*/ 193970 w 228620"/>
                  <a:gd name="connsiteY203" fmla="*/ 231001 h 394906"/>
                  <a:gd name="connsiteX204" fmla="*/ 194852 w 228620"/>
                  <a:gd name="connsiteY204" fmla="*/ 230031 h 394906"/>
                  <a:gd name="connsiteX205" fmla="*/ 195734 w 228620"/>
                  <a:gd name="connsiteY205" fmla="*/ 230031 h 394906"/>
                  <a:gd name="connsiteX206" fmla="*/ 197144 w 228620"/>
                  <a:gd name="connsiteY206" fmla="*/ 229238 h 394906"/>
                  <a:gd name="connsiteX207" fmla="*/ 198643 w 228620"/>
                  <a:gd name="connsiteY207" fmla="*/ 228003 h 394906"/>
                  <a:gd name="connsiteX208" fmla="*/ 198643 w 228620"/>
                  <a:gd name="connsiteY208" fmla="*/ 227210 h 394906"/>
                  <a:gd name="connsiteX209" fmla="*/ 198643 w 228620"/>
                  <a:gd name="connsiteY209" fmla="*/ 225711 h 394906"/>
                  <a:gd name="connsiteX210" fmla="*/ 196263 w 228620"/>
                  <a:gd name="connsiteY210" fmla="*/ 225094 h 394906"/>
                  <a:gd name="connsiteX211" fmla="*/ 195998 w 228620"/>
                  <a:gd name="connsiteY211" fmla="*/ 224212 h 394906"/>
                  <a:gd name="connsiteX212" fmla="*/ 195734 w 228620"/>
                  <a:gd name="connsiteY212" fmla="*/ 223419 h 394906"/>
                  <a:gd name="connsiteX213" fmla="*/ 196263 w 228620"/>
                  <a:gd name="connsiteY213" fmla="*/ 223066 h 394906"/>
                  <a:gd name="connsiteX214" fmla="*/ 195998 w 228620"/>
                  <a:gd name="connsiteY214" fmla="*/ 221920 h 394906"/>
                  <a:gd name="connsiteX215" fmla="*/ 195734 w 228620"/>
                  <a:gd name="connsiteY215" fmla="*/ 219539 h 394906"/>
                  <a:gd name="connsiteX216" fmla="*/ 194499 w 228620"/>
                  <a:gd name="connsiteY216" fmla="*/ 218746 h 394906"/>
                  <a:gd name="connsiteX217" fmla="*/ 194499 w 228620"/>
                  <a:gd name="connsiteY217" fmla="*/ 217247 h 394906"/>
                  <a:gd name="connsiteX218" fmla="*/ 194499 w 228620"/>
                  <a:gd name="connsiteY218" fmla="*/ 216365 h 394906"/>
                  <a:gd name="connsiteX219" fmla="*/ 195998 w 228620"/>
                  <a:gd name="connsiteY219" fmla="*/ 215484 h 394906"/>
                  <a:gd name="connsiteX220" fmla="*/ 200936 w 228620"/>
                  <a:gd name="connsiteY220" fmla="*/ 214337 h 394906"/>
                  <a:gd name="connsiteX221" fmla="*/ 200671 w 228620"/>
                  <a:gd name="connsiteY221" fmla="*/ 212309 h 394906"/>
                  <a:gd name="connsiteX222" fmla="*/ 200054 w 228620"/>
                  <a:gd name="connsiteY222" fmla="*/ 209664 h 394906"/>
                  <a:gd name="connsiteX223" fmla="*/ 201817 w 228620"/>
                  <a:gd name="connsiteY223" fmla="*/ 208783 h 394906"/>
                  <a:gd name="connsiteX224" fmla="*/ 202082 w 228620"/>
                  <a:gd name="connsiteY224" fmla="*/ 206490 h 394906"/>
                  <a:gd name="connsiteX225" fmla="*/ 204198 w 228620"/>
                  <a:gd name="connsiteY225" fmla="*/ 204374 h 394906"/>
                  <a:gd name="connsiteX226" fmla="*/ 206226 w 228620"/>
                  <a:gd name="connsiteY226" fmla="*/ 203228 h 394906"/>
                  <a:gd name="connsiteX227" fmla="*/ 206755 w 228620"/>
                  <a:gd name="connsiteY227" fmla="*/ 202699 h 394906"/>
                  <a:gd name="connsiteX228" fmla="*/ 206755 w 228620"/>
                  <a:gd name="connsiteY228" fmla="*/ 201200 h 394906"/>
                  <a:gd name="connsiteX229" fmla="*/ 207636 w 228620"/>
                  <a:gd name="connsiteY229" fmla="*/ 197409 h 394906"/>
                  <a:gd name="connsiteX230" fmla="*/ 206755 w 228620"/>
                  <a:gd name="connsiteY230" fmla="*/ 195646 h 394906"/>
                  <a:gd name="connsiteX231" fmla="*/ 205609 w 228620"/>
                  <a:gd name="connsiteY231" fmla="*/ 194235 h 394906"/>
                  <a:gd name="connsiteX232" fmla="*/ 205961 w 228620"/>
                  <a:gd name="connsiteY232" fmla="*/ 192736 h 394906"/>
                  <a:gd name="connsiteX233" fmla="*/ 207636 w 228620"/>
                  <a:gd name="connsiteY233" fmla="*/ 191854 h 394906"/>
                  <a:gd name="connsiteX234" fmla="*/ 209400 w 228620"/>
                  <a:gd name="connsiteY234" fmla="*/ 188416 h 394906"/>
                  <a:gd name="connsiteX235" fmla="*/ 214955 w 228620"/>
                  <a:gd name="connsiteY235" fmla="*/ 189562 h 394906"/>
                  <a:gd name="connsiteX236" fmla="*/ 216982 w 228620"/>
                  <a:gd name="connsiteY236" fmla="*/ 188416 h 394906"/>
                  <a:gd name="connsiteX237" fmla="*/ 220509 w 228620"/>
                  <a:gd name="connsiteY237" fmla="*/ 187182 h 394906"/>
                  <a:gd name="connsiteX238" fmla="*/ 224300 w 228620"/>
                  <a:gd name="connsiteY238" fmla="*/ 187799 h 394906"/>
                  <a:gd name="connsiteX239" fmla="*/ 228621 w 228620"/>
                  <a:gd name="connsiteY239" fmla="*/ 188945 h 394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</a:cxnLst>
                <a:rect l="l" t="t" r="r" b="b"/>
                <a:pathLst>
                  <a:path w="228620" h="394906">
                    <a:moveTo>
                      <a:pt x="225711" y="97338"/>
                    </a:moveTo>
                    <a:lnTo>
                      <a:pt x="113737" y="35003"/>
                    </a:lnTo>
                    <a:lnTo>
                      <a:pt x="45759" y="0"/>
                    </a:lnTo>
                    <a:lnTo>
                      <a:pt x="29448" y="7847"/>
                    </a:lnTo>
                    <a:lnTo>
                      <a:pt x="33857" y="31476"/>
                    </a:lnTo>
                    <a:lnTo>
                      <a:pt x="33504" y="44613"/>
                    </a:lnTo>
                    <a:lnTo>
                      <a:pt x="35885" y="46024"/>
                    </a:lnTo>
                    <a:lnTo>
                      <a:pt x="43114" y="58279"/>
                    </a:lnTo>
                    <a:lnTo>
                      <a:pt x="42850" y="59514"/>
                    </a:lnTo>
                    <a:lnTo>
                      <a:pt x="41439" y="60660"/>
                    </a:lnTo>
                    <a:lnTo>
                      <a:pt x="44613" y="64716"/>
                    </a:lnTo>
                    <a:lnTo>
                      <a:pt x="52196" y="73180"/>
                    </a:lnTo>
                    <a:lnTo>
                      <a:pt x="46641" y="83672"/>
                    </a:lnTo>
                    <a:lnTo>
                      <a:pt x="43996" y="112503"/>
                    </a:lnTo>
                    <a:lnTo>
                      <a:pt x="43114" y="159497"/>
                    </a:lnTo>
                    <a:lnTo>
                      <a:pt x="19221" y="188063"/>
                    </a:lnTo>
                    <a:lnTo>
                      <a:pt x="11374" y="202082"/>
                    </a:lnTo>
                    <a:lnTo>
                      <a:pt x="6701" y="209929"/>
                    </a:lnTo>
                    <a:lnTo>
                      <a:pt x="7582" y="213191"/>
                    </a:lnTo>
                    <a:lnTo>
                      <a:pt x="3791" y="214955"/>
                    </a:lnTo>
                    <a:lnTo>
                      <a:pt x="4056" y="217864"/>
                    </a:lnTo>
                    <a:lnTo>
                      <a:pt x="0" y="220774"/>
                    </a:lnTo>
                    <a:lnTo>
                      <a:pt x="4673" y="237085"/>
                    </a:lnTo>
                    <a:lnTo>
                      <a:pt x="6436" y="245285"/>
                    </a:lnTo>
                    <a:lnTo>
                      <a:pt x="10757" y="252867"/>
                    </a:lnTo>
                    <a:lnTo>
                      <a:pt x="13137" y="254895"/>
                    </a:lnTo>
                    <a:lnTo>
                      <a:pt x="21601" y="254278"/>
                    </a:lnTo>
                    <a:lnTo>
                      <a:pt x="23629" y="256923"/>
                    </a:lnTo>
                    <a:lnTo>
                      <a:pt x="22483" y="259568"/>
                    </a:lnTo>
                    <a:lnTo>
                      <a:pt x="23276" y="262125"/>
                    </a:lnTo>
                    <a:lnTo>
                      <a:pt x="24158" y="262742"/>
                    </a:lnTo>
                    <a:lnTo>
                      <a:pt x="25393" y="261860"/>
                    </a:lnTo>
                    <a:lnTo>
                      <a:pt x="26539" y="263359"/>
                    </a:lnTo>
                    <a:lnTo>
                      <a:pt x="27685" y="263359"/>
                    </a:lnTo>
                    <a:lnTo>
                      <a:pt x="27068" y="265387"/>
                    </a:lnTo>
                    <a:lnTo>
                      <a:pt x="28302" y="264241"/>
                    </a:lnTo>
                    <a:lnTo>
                      <a:pt x="30065" y="264770"/>
                    </a:lnTo>
                    <a:lnTo>
                      <a:pt x="31212" y="268296"/>
                    </a:lnTo>
                    <a:lnTo>
                      <a:pt x="30330" y="269707"/>
                    </a:lnTo>
                    <a:lnTo>
                      <a:pt x="31741" y="271471"/>
                    </a:lnTo>
                    <a:lnTo>
                      <a:pt x="31476" y="277025"/>
                    </a:lnTo>
                    <a:lnTo>
                      <a:pt x="35267" y="278789"/>
                    </a:lnTo>
                    <a:lnTo>
                      <a:pt x="35532" y="280199"/>
                    </a:lnTo>
                    <a:lnTo>
                      <a:pt x="35003" y="282580"/>
                    </a:lnTo>
                    <a:lnTo>
                      <a:pt x="34738" y="284079"/>
                    </a:lnTo>
                    <a:lnTo>
                      <a:pt x="35885" y="284608"/>
                    </a:lnTo>
                    <a:lnTo>
                      <a:pt x="36766" y="286636"/>
                    </a:lnTo>
                    <a:lnTo>
                      <a:pt x="35885" y="289016"/>
                    </a:lnTo>
                    <a:lnTo>
                      <a:pt x="37031" y="292455"/>
                    </a:lnTo>
                    <a:lnTo>
                      <a:pt x="35885" y="295981"/>
                    </a:lnTo>
                    <a:lnTo>
                      <a:pt x="35003" y="301800"/>
                    </a:lnTo>
                    <a:lnTo>
                      <a:pt x="35003" y="306209"/>
                    </a:lnTo>
                    <a:lnTo>
                      <a:pt x="36149" y="307972"/>
                    </a:lnTo>
                    <a:lnTo>
                      <a:pt x="35885" y="310617"/>
                    </a:lnTo>
                    <a:lnTo>
                      <a:pt x="37912" y="316084"/>
                    </a:lnTo>
                    <a:lnTo>
                      <a:pt x="37912" y="318464"/>
                    </a:lnTo>
                    <a:lnTo>
                      <a:pt x="38794" y="318464"/>
                    </a:lnTo>
                    <a:lnTo>
                      <a:pt x="43467" y="323137"/>
                    </a:lnTo>
                    <a:lnTo>
                      <a:pt x="45759" y="328339"/>
                    </a:lnTo>
                    <a:lnTo>
                      <a:pt x="49551" y="330720"/>
                    </a:lnTo>
                    <a:lnTo>
                      <a:pt x="43731" y="332130"/>
                    </a:lnTo>
                    <a:lnTo>
                      <a:pt x="39940" y="330720"/>
                    </a:lnTo>
                    <a:lnTo>
                      <a:pt x="36414" y="329573"/>
                    </a:lnTo>
                    <a:lnTo>
                      <a:pt x="36414" y="332130"/>
                    </a:lnTo>
                    <a:lnTo>
                      <a:pt x="32622" y="330984"/>
                    </a:lnTo>
                    <a:lnTo>
                      <a:pt x="29713" y="333365"/>
                    </a:lnTo>
                    <a:lnTo>
                      <a:pt x="24511" y="330720"/>
                    </a:lnTo>
                    <a:lnTo>
                      <a:pt x="16928" y="330720"/>
                    </a:lnTo>
                    <a:lnTo>
                      <a:pt x="15782" y="334775"/>
                    </a:lnTo>
                    <a:lnTo>
                      <a:pt x="12255" y="340947"/>
                    </a:lnTo>
                    <a:lnTo>
                      <a:pt x="25393" y="355759"/>
                    </a:lnTo>
                    <a:lnTo>
                      <a:pt x="36766" y="364224"/>
                    </a:lnTo>
                    <a:lnTo>
                      <a:pt x="39059" y="368632"/>
                    </a:lnTo>
                    <a:lnTo>
                      <a:pt x="43467" y="377978"/>
                    </a:lnTo>
                    <a:lnTo>
                      <a:pt x="43467" y="380535"/>
                    </a:lnTo>
                    <a:lnTo>
                      <a:pt x="46377" y="386442"/>
                    </a:lnTo>
                    <a:lnTo>
                      <a:pt x="47787" y="386442"/>
                    </a:lnTo>
                    <a:lnTo>
                      <a:pt x="47523" y="389616"/>
                    </a:lnTo>
                    <a:lnTo>
                      <a:pt x="46377" y="392261"/>
                    </a:lnTo>
                    <a:lnTo>
                      <a:pt x="51050" y="392526"/>
                    </a:lnTo>
                    <a:lnTo>
                      <a:pt x="52813" y="394906"/>
                    </a:lnTo>
                    <a:lnTo>
                      <a:pt x="56869" y="392790"/>
                    </a:lnTo>
                    <a:lnTo>
                      <a:pt x="59161" y="390762"/>
                    </a:lnTo>
                    <a:lnTo>
                      <a:pt x="66215" y="389087"/>
                    </a:lnTo>
                    <a:lnTo>
                      <a:pt x="66479" y="386089"/>
                    </a:lnTo>
                    <a:lnTo>
                      <a:pt x="67625" y="386442"/>
                    </a:lnTo>
                    <a:lnTo>
                      <a:pt x="68507" y="384326"/>
                    </a:lnTo>
                    <a:lnTo>
                      <a:pt x="69388" y="384062"/>
                    </a:lnTo>
                    <a:lnTo>
                      <a:pt x="69388" y="386442"/>
                    </a:lnTo>
                    <a:lnTo>
                      <a:pt x="71152" y="387588"/>
                    </a:lnTo>
                    <a:lnTo>
                      <a:pt x="72915" y="389616"/>
                    </a:lnTo>
                    <a:lnTo>
                      <a:pt x="74943" y="391997"/>
                    </a:lnTo>
                    <a:lnTo>
                      <a:pt x="76442" y="392526"/>
                    </a:lnTo>
                    <a:lnTo>
                      <a:pt x="76442" y="389616"/>
                    </a:lnTo>
                    <a:lnTo>
                      <a:pt x="79616" y="389352"/>
                    </a:lnTo>
                    <a:lnTo>
                      <a:pt x="81115" y="389352"/>
                    </a:lnTo>
                    <a:lnTo>
                      <a:pt x="82261" y="388735"/>
                    </a:lnTo>
                    <a:lnTo>
                      <a:pt x="85171" y="385296"/>
                    </a:lnTo>
                    <a:lnTo>
                      <a:pt x="86317" y="384679"/>
                    </a:lnTo>
                    <a:lnTo>
                      <a:pt x="87816" y="383797"/>
                    </a:lnTo>
                    <a:lnTo>
                      <a:pt x="90108" y="382298"/>
                    </a:lnTo>
                    <a:lnTo>
                      <a:pt x="94164" y="381769"/>
                    </a:lnTo>
                    <a:lnTo>
                      <a:pt x="98308" y="382034"/>
                    </a:lnTo>
                    <a:lnTo>
                      <a:pt x="101746" y="380535"/>
                    </a:lnTo>
                    <a:lnTo>
                      <a:pt x="113120" y="380006"/>
                    </a:lnTo>
                    <a:lnTo>
                      <a:pt x="115765" y="375950"/>
                    </a:lnTo>
                    <a:lnTo>
                      <a:pt x="119027" y="374716"/>
                    </a:lnTo>
                    <a:lnTo>
                      <a:pt x="121320" y="370043"/>
                    </a:lnTo>
                    <a:lnTo>
                      <a:pt x="124846" y="367133"/>
                    </a:lnTo>
                    <a:lnTo>
                      <a:pt x="126610" y="364224"/>
                    </a:lnTo>
                    <a:lnTo>
                      <a:pt x="121320" y="361050"/>
                    </a:lnTo>
                    <a:lnTo>
                      <a:pt x="120438" y="358405"/>
                    </a:lnTo>
                    <a:lnTo>
                      <a:pt x="124846" y="355495"/>
                    </a:lnTo>
                    <a:lnTo>
                      <a:pt x="130048" y="355759"/>
                    </a:lnTo>
                    <a:lnTo>
                      <a:pt x="132958" y="355759"/>
                    </a:lnTo>
                    <a:lnTo>
                      <a:pt x="135603" y="354878"/>
                    </a:lnTo>
                    <a:lnTo>
                      <a:pt x="137631" y="355495"/>
                    </a:lnTo>
                    <a:lnTo>
                      <a:pt x="140276" y="354613"/>
                    </a:lnTo>
                    <a:lnTo>
                      <a:pt x="145831" y="354349"/>
                    </a:lnTo>
                    <a:lnTo>
                      <a:pt x="146095" y="352585"/>
                    </a:lnTo>
                    <a:lnTo>
                      <a:pt x="148123" y="353467"/>
                    </a:lnTo>
                    <a:lnTo>
                      <a:pt x="149005" y="352321"/>
                    </a:lnTo>
                    <a:lnTo>
                      <a:pt x="152531" y="353732"/>
                    </a:lnTo>
                    <a:lnTo>
                      <a:pt x="154030" y="352321"/>
                    </a:lnTo>
                    <a:lnTo>
                      <a:pt x="156058" y="350822"/>
                    </a:lnTo>
                    <a:lnTo>
                      <a:pt x="156058" y="349059"/>
                    </a:lnTo>
                    <a:lnTo>
                      <a:pt x="156587" y="348177"/>
                    </a:lnTo>
                    <a:lnTo>
                      <a:pt x="158703" y="349059"/>
                    </a:lnTo>
                    <a:lnTo>
                      <a:pt x="159232" y="346766"/>
                    </a:lnTo>
                    <a:lnTo>
                      <a:pt x="161525" y="346149"/>
                    </a:lnTo>
                    <a:lnTo>
                      <a:pt x="165933" y="341212"/>
                    </a:lnTo>
                    <a:lnTo>
                      <a:pt x="168313" y="340947"/>
                    </a:lnTo>
                    <a:lnTo>
                      <a:pt x="166550" y="339713"/>
                    </a:lnTo>
                    <a:lnTo>
                      <a:pt x="166815" y="337156"/>
                    </a:lnTo>
                    <a:lnTo>
                      <a:pt x="167961" y="337156"/>
                    </a:lnTo>
                    <a:lnTo>
                      <a:pt x="172105" y="330367"/>
                    </a:lnTo>
                    <a:lnTo>
                      <a:pt x="173780" y="332130"/>
                    </a:lnTo>
                    <a:lnTo>
                      <a:pt x="174397" y="331866"/>
                    </a:lnTo>
                    <a:lnTo>
                      <a:pt x="177924" y="326311"/>
                    </a:lnTo>
                    <a:lnTo>
                      <a:pt x="182244" y="323666"/>
                    </a:lnTo>
                    <a:lnTo>
                      <a:pt x="183126" y="321374"/>
                    </a:lnTo>
                    <a:lnTo>
                      <a:pt x="181715" y="317847"/>
                    </a:lnTo>
                    <a:lnTo>
                      <a:pt x="182244" y="315555"/>
                    </a:lnTo>
                    <a:lnTo>
                      <a:pt x="183743" y="313791"/>
                    </a:lnTo>
                    <a:lnTo>
                      <a:pt x="184889" y="314673"/>
                    </a:lnTo>
                    <a:lnTo>
                      <a:pt x="186123" y="312910"/>
                    </a:lnTo>
                    <a:lnTo>
                      <a:pt x="188151" y="312910"/>
                    </a:lnTo>
                    <a:lnTo>
                      <a:pt x="188151" y="310882"/>
                    </a:lnTo>
                    <a:lnTo>
                      <a:pt x="188945" y="310265"/>
                    </a:lnTo>
                    <a:lnTo>
                      <a:pt x="192207" y="310617"/>
                    </a:lnTo>
                    <a:lnTo>
                      <a:pt x="193706" y="307355"/>
                    </a:lnTo>
                    <a:lnTo>
                      <a:pt x="196263" y="307355"/>
                    </a:lnTo>
                    <a:lnTo>
                      <a:pt x="198026" y="308237"/>
                    </a:lnTo>
                    <a:lnTo>
                      <a:pt x="198291" y="305944"/>
                    </a:lnTo>
                    <a:lnTo>
                      <a:pt x="202082" y="307090"/>
                    </a:lnTo>
                    <a:lnTo>
                      <a:pt x="207636" y="307708"/>
                    </a:lnTo>
                    <a:lnTo>
                      <a:pt x="207989" y="304710"/>
                    </a:lnTo>
                    <a:lnTo>
                      <a:pt x="209135" y="300654"/>
                    </a:lnTo>
                    <a:lnTo>
                      <a:pt x="208871" y="298891"/>
                    </a:lnTo>
                    <a:lnTo>
                      <a:pt x="208871" y="298362"/>
                    </a:lnTo>
                    <a:lnTo>
                      <a:pt x="208518" y="295981"/>
                    </a:lnTo>
                    <a:lnTo>
                      <a:pt x="205080" y="296246"/>
                    </a:lnTo>
                    <a:lnTo>
                      <a:pt x="205080" y="295981"/>
                    </a:lnTo>
                    <a:lnTo>
                      <a:pt x="205080" y="294571"/>
                    </a:lnTo>
                    <a:lnTo>
                      <a:pt x="201817" y="293072"/>
                    </a:lnTo>
                    <a:lnTo>
                      <a:pt x="200054" y="290427"/>
                    </a:lnTo>
                    <a:lnTo>
                      <a:pt x="200054" y="289545"/>
                    </a:lnTo>
                    <a:lnTo>
                      <a:pt x="200671" y="285754"/>
                    </a:lnTo>
                    <a:lnTo>
                      <a:pt x="200936" y="281433"/>
                    </a:lnTo>
                    <a:lnTo>
                      <a:pt x="201200" y="279406"/>
                    </a:lnTo>
                    <a:lnTo>
                      <a:pt x="201200" y="278789"/>
                    </a:lnTo>
                    <a:lnTo>
                      <a:pt x="200936" y="279406"/>
                    </a:lnTo>
                    <a:lnTo>
                      <a:pt x="200671" y="278789"/>
                    </a:lnTo>
                    <a:lnTo>
                      <a:pt x="199790" y="279406"/>
                    </a:lnTo>
                    <a:lnTo>
                      <a:pt x="198291" y="280552"/>
                    </a:lnTo>
                    <a:lnTo>
                      <a:pt x="198291" y="280199"/>
                    </a:lnTo>
                    <a:lnTo>
                      <a:pt x="198643" y="276496"/>
                    </a:lnTo>
                    <a:lnTo>
                      <a:pt x="196615" y="272352"/>
                    </a:lnTo>
                    <a:lnTo>
                      <a:pt x="196615" y="271471"/>
                    </a:lnTo>
                    <a:lnTo>
                      <a:pt x="195734" y="269707"/>
                    </a:lnTo>
                    <a:lnTo>
                      <a:pt x="196615" y="269443"/>
                    </a:lnTo>
                    <a:lnTo>
                      <a:pt x="197144" y="265916"/>
                    </a:lnTo>
                    <a:lnTo>
                      <a:pt x="194235" y="264770"/>
                    </a:lnTo>
                    <a:lnTo>
                      <a:pt x="191942" y="262477"/>
                    </a:lnTo>
                    <a:lnTo>
                      <a:pt x="190444" y="264770"/>
                    </a:lnTo>
                    <a:lnTo>
                      <a:pt x="188151" y="265122"/>
                    </a:lnTo>
                    <a:lnTo>
                      <a:pt x="185771" y="264770"/>
                    </a:lnTo>
                    <a:lnTo>
                      <a:pt x="184889" y="264505"/>
                    </a:lnTo>
                    <a:lnTo>
                      <a:pt x="183478" y="261331"/>
                    </a:lnTo>
                    <a:lnTo>
                      <a:pt x="184889" y="257187"/>
                    </a:lnTo>
                    <a:lnTo>
                      <a:pt x="185771" y="255424"/>
                    </a:lnTo>
                    <a:lnTo>
                      <a:pt x="187270" y="252867"/>
                    </a:lnTo>
                    <a:lnTo>
                      <a:pt x="190444" y="251985"/>
                    </a:lnTo>
                    <a:lnTo>
                      <a:pt x="193353" y="247312"/>
                    </a:lnTo>
                    <a:lnTo>
                      <a:pt x="193353" y="246695"/>
                    </a:lnTo>
                    <a:lnTo>
                      <a:pt x="191942" y="244050"/>
                    </a:lnTo>
                    <a:lnTo>
                      <a:pt x="191325" y="242375"/>
                    </a:lnTo>
                    <a:lnTo>
                      <a:pt x="190179" y="240259"/>
                    </a:lnTo>
                    <a:lnTo>
                      <a:pt x="189915" y="239994"/>
                    </a:lnTo>
                    <a:lnTo>
                      <a:pt x="189915" y="238231"/>
                    </a:lnTo>
                    <a:lnTo>
                      <a:pt x="188416" y="236468"/>
                    </a:lnTo>
                    <a:lnTo>
                      <a:pt x="191590" y="232147"/>
                    </a:lnTo>
                    <a:lnTo>
                      <a:pt x="193089" y="231001"/>
                    </a:lnTo>
                    <a:lnTo>
                      <a:pt x="193970" y="231001"/>
                    </a:lnTo>
                    <a:lnTo>
                      <a:pt x="194852" y="230031"/>
                    </a:lnTo>
                    <a:lnTo>
                      <a:pt x="195734" y="230031"/>
                    </a:lnTo>
                    <a:lnTo>
                      <a:pt x="197144" y="229238"/>
                    </a:lnTo>
                    <a:lnTo>
                      <a:pt x="198643" y="228003"/>
                    </a:lnTo>
                    <a:lnTo>
                      <a:pt x="198643" y="227210"/>
                    </a:lnTo>
                    <a:lnTo>
                      <a:pt x="198643" y="225711"/>
                    </a:lnTo>
                    <a:lnTo>
                      <a:pt x="196263" y="225094"/>
                    </a:lnTo>
                    <a:lnTo>
                      <a:pt x="195998" y="224212"/>
                    </a:lnTo>
                    <a:lnTo>
                      <a:pt x="195734" y="223419"/>
                    </a:lnTo>
                    <a:lnTo>
                      <a:pt x="196263" y="223066"/>
                    </a:lnTo>
                    <a:lnTo>
                      <a:pt x="195998" y="221920"/>
                    </a:lnTo>
                    <a:lnTo>
                      <a:pt x="195734" y="219539"/>
                    </a:lnTo>
                    <a:lnTo>
                      <a:pt x="194499" y="218746"/>
                    </a:lnTo>
                    <a:lnTo>
                      <a:pt x="194499" y="217247"/>
                    </a:lnTo>
                    <a:lnTo>
                      <a:pt x="194499" y="216365"/>
                    </a:lnTo>
                    <a:lnTo>
                      <a:pt x="195998" y="215484"/>
                    </a:lnTo>
                    <a:lnTo>
                      <a:pt x="200936" y="214337"/>
                    </a:lnTo>
                    <a:lnTo>
                      <a:pt x="200671" y="212309"/>
                    </a:lnTo>
                    <a:lnTo>
                      <a:pt x="200054" y="209664"/>
                    </a:lnTo>
                    <a:lnTo>
                      <a:pt x="201817" y="208783"/>
                    </a:lnTo>
                    <a:lnTo>
                      <a:pt x="202082" y="206490"/>
                    </a:lnTo>
                    <a:lnTo>
                      <a:pt x="204198" y="204374"/>
                    </a:lnTo>
                    <a:lnTo>
                      <a:pt x="206226" y="203228"/>
                    </a:lnTo>
                    <a:lnTo>
                      <a:pt x="206755" y="202699"/>
                    </a:lnTo>
                    <a:lnTo>
                      <a:pt x="206755" y="201200"/>
                    </a:lnTo>
                    <a:lnTo>
                      <a:pt x="207636" y="197409"/>
                    </a:lnTo>
                    <a:lnTo>
                      <a:pt x="206755" y="195646"/>
                    </a:lnTo>
                    <a:lnTo>
                      <a:pt x="205609" y="194235"/>
                    </a:lnTo>
                    <a:lnTo>
                      <a:pt x="205961" y="192736"/>
                    </a:lnTo>
                    <a:lnTo>
                      <a:pt x="207636" y="191854"/>
                    </a:lnTo>
                    <a:lnTo>
                      <a:pt x="209400" y="188416"/>
                    </a:lnTo>
                    <a:lnTo>
                      <a:pt x="214955" y="189562"/>
                    </a:lnTo>
                    <a:lnTo>
                      <a:pt x="216982" y="188416"/>
                    </a:lnTo>
                    <a:lnTo>
                      <a:pt x="220509" y="187182"/>
                    </a:lnTo>
                    <a:lnTo>
                      <a:pt x="224300" y="187799"/>
                    </a:lnTo>
                    <a:lnTo>
                      <a:pt x="228621" y="1889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8" name="Freihandform: Form 1787">
                <a:extLst>
                  <a:ext uri="{FF2B5EF4-FFF2-40B4-BE49-F238E27FC236}">
                    <a16:creationId xmlns:a16="http://schemas.microsoft.com/office/drawing/2014/main" id="{61ED8BEE-9AB5-2A96-0F83-37C35807C2C7}"/>
                  </a:ext>
                </a:extLst>
              </p:cNvPr>
              <p:cNvSpPr/>
              <p:nvPr/>
            </p:nvSpPr>
            <p:spPr>
              <a:xfrm>
                <a:off x="4726431" y="4790496"/>
                <a:ext cx="28830" cy="40204"/>
              </a:xfrm>
              <a:custGeom>
                <a:avLst/>
                <a:gdLst>
                  <a:gd name="connsiteX0" fmla="*/ 24511 w 28830"/>
                  <a:gd name="connsiteY0" fmla="*/ 7847 h 40204"/>
                  <a:gd name="connsiteX1" fmla="*/ 14548 w 28830"/>
                  <a:gd name="connsiteY1" fmla="*/ 0 h 40204"/>
                  <a:gd name="connsiteX2" fmla="*/ 12520 w 28830"/>
                  <a:gd name="connsiteY2" fmla="*/ 1410 h 40204"/>
                  <a:gd name="connsiteX3" fmla="*/ 8464 w 28830"/>
                  <a:gd name="connsiteY3" fmla="*/ 5554 h 40204"/>
                  <a:gd name="connsiteX4" fmla="*/ 6436 w 28830"/>
                  <a:gd name="connsiteY4" fmla="*/ 10492 h 40204"/>
                  <a:gd name="connsiteX5" fmla="*/ 1411 w 28830"/>
                  <a:gd name="connsiteY5" fmla="*/ 17193 h 40204"/>
                  <a:gd name="connsiteX6" fmla="*/ 264 w 28830"/>
                  <a:gd name="connsiteY6" fmla="*/ 19573 h 40204"/>
                  <a:gd name="connsiteX7" fmla="*/ 0 w 28830"/>
                  <a:gd name="connsiteY7" fmla="*/ 28302 h 40204"/>
                  <a:gd name="connsiteX8" fmla="*/ 2028 w 28830"/>
                  <a:gd name="connsiteY8" fmla="*/ 26803 h 40204"/>
                  <a:gd name="connsiteX9" fmla="*/ 2292 w 28830"/>
                  <a:gd name="connsiteY9" fmla="*/ 28566 h 40204"/>
                  <a:gd name="connsiteX10" fmla="*/ 2909 w 28830"/>
                  <a:gd name="connsiteY10" fmla="*/ 30330 h 40204"/>
                  <a:gd name="connsiteX11" fmla="*/ 6436 w 28830"/>
                  <a:gd name="connsiteY11" fmla="*/ 36766 h 40204"/>
                  <a:gd name="connsiteX12" fmla="*/ 13401 w 28830"/>
                  <a:gd name="connsiteY12" fmla="*/ 39940 h 40204"/>
                  <a:gd name="connsiteX13" fmla="*/ 23894 w 28830"/>
                  <a:gd name="connsiteY13" fmla="*/ 40205 h 40204"/>
                  <a:gd name="connsiteX14" fmla="*/ 25040 w 28830"/>
                  <a:gd name="connsiteY14" fmla="*/ 27685 h 40204"/>
                  <a:gd name="connsiteX15" fmla="*/ 27420 w 28830"/>
                  <a:gd name="connsiteY15" fmla="*/ 27685 h 40204"/>
                  <a:gd name="connsiteX16" fmla="*/ 28302 w 28830"/>
                  <a:gd name="connsiteY16" fmla="*/ 28302 h 40204"/>
                  <a:gd name="connsiteX17" fmla="*/ 28831 w 28830"/>
                  <a:gd name="connsiteY17" fmla="*/ 20102 h 40204"/>
                  <a:gd name="connsiteX18" fmla="*/ 27685 w 28830"/>
                  <a:gd name="connsiteY18" fmla="*/ 18074 h 40204"/>
                  <a:gd name="connsiteX19" fmla="*/ 27949 w 28830"/>
                  <a:gd name="connsiteY19" fmla="*/ 14283 h 40204"/>
                  <a:gd name="connsiteX20" fmla="*/ 28302 w 28830"/>
                  <a:gd name="connsiteY20" fmla="*/ 8111 h 40204"/>
                  <a:gd name="connsiteX21" fmla="*/ 26803 w 28830"/>
                  <a:gd name="connsiteY21" fmla="*/ 6172 h 4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8830" h="40204">
                    <a:moveTo>
                      <a:pt x="24511" y="7847"/>
                    </a:moveTo>
                    <a:lnTo>
                      <a:pt x="14548" y="0"/>
                    </a:lnTo>
                    <a:lnTo>
                      <a:pt x="12520" y="1410"/>
                    </a:lnTo>
                    <a:lnTo>
                      <a:pt x="8464" y="5554"/>
                    </a:lnTo>
                    <a:lnTo>
                      <a:pt x="6436" y="10492"/>
                    </a:lnTo>
                    <a:lnTo>
                      <a:pt x="1411" y="17193"/>
                    </a:lnTo>
                    <a:lnTo>
                      <a:pt x="264" y="19573"/>
                    </a:lnTo>
                    <a:lnTo>
                      <a:pt x="0" y="28302"/>
                    </a:lnTo>
                    <a:lnTo>
                      <a:pt x="2028" y="26803"/>
                    </a:lnTo>
                    <a:lnTo>
                      <a:pt x="2292" y="28566"/>
                    </a:lnTo>
                    <a:lnTo>
                      <a:pt x="2909" y="30330"/>
                    </a:lnTo>
                    <a:lnTo>
                      <a:pt x="6436" y="36766"/>
                    </a:lnTo>
                    <a:lnTo>
                      <a:pt x="13401" y="39940"/>
                    </a:lnTo>
                    <a:lnTo>
                      <a:pt x="23894" y="40205"/>
                    </a:lnTo>
                    <a:lnTo>
                      <a:pt x="25040" y="27685"/>
                    </a:lnTo>
                    <a:lnTo>
                      <a:pt x="27420" y="27685"/>
                    </a:lnTo>
                    <a:lnTo>
                      <a:pt x="28302" y="28302"/>
                    </a:lnTo>
                    <a:lnTo>
                      <a:pt x="28831" y="20102"/>
                    </a:lnTo>
                    <a:lnTo>
                      <a:pt x="27685" y="18074"/>
                    </a:lnTo>
                    <a:lnTo>
                      <a:pt x="27949" y="14283"/>
                    </a:lnTo>
                    <a:lnTo>
                      <a:pt x="28302" y="8111"/>
                    </a:lnTo>
                    <a:lnTo>
                      <a:pt x="26803" y="61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9" name="Freihandform: Form 1788">
                <a:extLst>
                  <a:ext uri="{FF2B5EF4-FFF2-40B4-BE49-F238E27FC236}">
                    <a16:creationId xmlns:a16="http://schemas.microsoft.com/office/drawing/2014/main" id="{BCF65B47-B364-109D-DA1F-D30FD355A8A1}"/>
                  </a:ext>
                </a:extLst>
              </p:cNvPr>
              <p:cNvSpPr/>
              <p:nvPr/>
            </p:nvSpPr>
            <p:spPr>
              <a:xfrm>
                <a:off x="4192306" y="4106485"/>
                <a:ext cx="39411" cy="80233"/>
              </a:xfrm>
              <a:custGeom>
                <a:avLst/>
                <a:gdLst>
                  <a:gd name="connsiteX0" fmla="*/ 23982 w 39411"/>
                  <a:gd name="connsiteY0" fmla="*/ 32093 h 80233"/>
                  <a:gd name="connsiteX1" fmla="*/ 24864 w 39411"/>
                  <a:gd name="connsiteY1" fmla="*/ 37383 h 80233"/>
                  <a:gd name="connsiteX2" fmla="*/ 20191 w 39411"/>
                  <a:gd name="connsiteY2" fmla="*/ 39676 h 80233"/>
                  <a:gd name="connsiteX3" fmla="*/ 19044 w 39411"/>
                  <a:gd name="connsiteY3" fmla="*/ 35267 h 80233"/>
                  <a:gd name="connsiteX4" fmla="*/ 21954 w 39411"/>
                  <a:gd name="connsiteY4" fmla="*/ 32005 h 80233"/>
                  <a:gd name="connsiteX5" fmla="*/ 22219 w 39411"/>
                  <a:gd name="connsiteY5" fmla="*/ 32005 h 80233"/>
                  <a:gd name="connsiteX6" fmla="*/ 23982 w 39411"/>
                  <a:gd name="connsiteY6" fmla="*/ 32005 h 80233"/>
                  <a:gd name="connsiteX7" fmla="*/ 1763 w 39411"/>
                  <a:gd name="connsiteY7" fmla="*/ 79352 h 80233"/>
                  <a:gd name="connsiteX8" fmla="*/ 265 w 39411"/>
                  <a:gd name="connsiteY8" fmla="*/ 80233 h 80233"/>
                  <a:gd name="connsiteX9" fmla="*/ 0 w 39411"/>
                  <a:gd name="connsiteY9" fmla="*/ 77941 h 80233"/>
                  <a:gd name="connsiteX10" fmla="*/ 1763 w 39411"/>
                  <a:gd name="connsiteY10" fmla="*/ 79352 h 80233"/>
                  <a:gd name="connsiteX11" fmla="*/ 39411 w 39411"/>
                  <a:gd name="connsiteY11" fmla="*/ 1499 h 80233"/>
                  <a:gd name="connsiteX12" fmla="*/ 37031 w 39411"/>
                  <a:gd name="connsiteY12" fmla="*/ 5290 h 80233"/>
                  <a:gd name="connsiteX13" fmla="*/ 36766 w 39411"/>
                  <a:gd name="connsiteY13" fmla="*/ 0 h 80233"/>
                  <a:gd name="connsiteX14" fmla="*/ 38265 w 39411"/>
                  <a:gd name="connsiteY14" fmla="*/ 0 h 80233"/>
                  <a:gd name="connsiteX15" fmla="*/ 39411 w 39411"/>
                  <a:gd name="connsiteY15" fmla="*/ 1499 h 80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411" h="80233">
                    <a:moveTo>
                      <a:pt x="23982" y="32093"/>
                    </a:moveTo>
                    <a:lnTo>
                      <a:pt x="24864" y="37383"/>
                    </a:lnTo>
                    <a:lnTo>
                      <a:pt x="20191" y="39676"/>
                    </a:lnTo>
                    <a:lnTo>
                      <a:pt x="19044" y="35267"/>
                    </a:lnTo>
                    <a:lnTo>
                      <a:pt x="21954" y="32005"/>
                    </a:lnTo>
                    <a:lnTo>
                      <a:pt x="22219" y="32005"/>
                    </a:lnTo>
                    <a:lnTo>
                      <a:pt x="23982" y="32005"/>
                    </a:lnTo>
                    <a:close/>
                    <a:moveTo>
                      <a:pt x="1763" y="79352"/>
                    </a:moveTo>
                    <a:lnTo>
                      <a:pt x="265" y="80233"/>
                    </a:lnTo>
                    <a:lnTo>
                      <a:pt x="0" y="77941"/>
                    </a:lnTo>
                    <a:lnTo>
                      <a:pt x="1763" y="79352"/>
                    </a:lnTo>
                    <a:close/>
                    <a:moveTo>
                      <a:pt x="39411" y="1499"/>
                    </a:moveTo>
                    <a:lnTo>
                      <a:pt x="37031" y="5290"/>
                    </a:lnTo>
                    <a:lnTo>
                      <a:pt x="36766" y="0"/>
                    </a:lnTo>
                    <a:lnTo>
                      <a:pt x="38265" y="0"/>
                    </a:lnTo>
                    <a:lnTo>
                      <a:pt x="39411" y="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0" name="Freihandform: Form 1789">
                <a:extLst>
                  <a:ext uri="{FF2B5EF4-FFF2-40B4-BE49-F238E27FC236}">
                    <a16:creationId xmlns:a16="http://schemas.microsoft.com/office/drawing/2014/main" id="{88790DEA-36FA-51EF-C4C9-4F3D0204746D}"/>
                  </a:ext>
                </a:extLst>
              </p:cNvPr>
              <p:cNvSpPr/>
              <p:nvPr/>
            </p:nvSpPr>
            <p:spPr>
              <a:xfrm>
                <a:off x="4971715" y="3851061"/>
                <a:ext cx="223418" cy="342093"/>
              </a:xfrm>
              <a:custGeom>
                <a:avLst/>
                <a:gdLst>
                  <a:gd name="connsiteX0" fmla="*/ 44878 w 223418"/>
                  <a:gd name="connsiteY0" fmla="*/ 12255 h 342093"/>
                  <a:gd name="connsiteX1" fmla="*/ 45230 w 223418"/>
                  <a:gd name="connsiteY1" fmla="*/ 13402 h 342093"/>
                  <a:gd name="connsiteX2" fmla="*/ 46641 w 223418"/>
                  <a:gd name="connsiteY2" fmla="*/ 15165 h 342093"/>
                  <a:gd name="connsiteX3" fmla="*/ 49022 w 223418"/>
                  <a:gd name="connsiteY3" fmla="*/ 15694 h 342093"/>
                  <a:gd name="connsiteX4" fmla="*/ 49639 w 223418"/>
                  <a:gd name="connsiteY4" fmla="*/ 16928 h 342093"/>
                  <a:gd name="connsiteX5" fmla="*/ 49903 w 223418"/>
                  <a:gd name="connsiteY5" fmla="*/ 19221 h 342093"/>
                  <a:gd name="connsiteX6" fmla="*/ 53342 w 223418"/>
                  <a:gd name="connsiteY6" fmla="*/ 25657 h 342093"/>
                  <a:gd name="connsiteX7" fmla="*/ 59778 w 223418"/>
                  <a:gd name="connsiteY7" fmla="*/ 32622 h 342093"/>
                  <a:gd name="connsiteX8" fmla="*/ 63569 w 223418"/>
                  <a:gd name="connsiteY8" fmla="*/ 35267 h 342093"/>
                  <a:gd name="connsiteX9" fmla="*/ 67713 w 223418"/>
                  <a:gd name="connsiteY9" fmla="*/ 38794 h 342093"/>
                  <a:gd name="connsiteX10" fmla="*/ 69388 w 223418"/>
                  <a:gd name="connsiteY10" fmla="*/ 39323 h 342093"/>
                  <a:gd name="connsiteX11" fmla="*/ 70887 w 223418"/>
                  <a:gd name="connsiteY11" fmla="*/ 39059 h 342093"/>
                  <a:gd name="connsiteX12" fmla="*/ 73797 w 223418"/>
                  <a:gd name="connsiteY12" fmla="*/ 39323 h 342093"/>
                  <a:gd name="connsiteX13" fmla="*/ 76089 w 223418"/>
                  <a:gd name="connsiteY13" fmla="*/ 39940 h 342093"/>
                  <a:gd name="connsiteX14" fmla="*/ 81644 w 223418"/>
                  <a:gd name="connsiteY14" fmla="*/ 39323 h 342093"/>
                  <a:gd name="connsiteX15" fmla="*/ 83143 w 223418"/>
                  <a:gd name="connsiteY15" fmla="*/ 38441 h 342093"/>
                  <a:gd name="connsiteX16" fmla="*/ 84024 w 223418"/>
                  <a:gd name="connsiteY16" fmla="*/ 38177 h 342093"/>
                  <a:gd name="connsiteX17" fmla="*/ 86934 w 223418"/>
                  <a:gd name="connsiteY17" fmla="*/ 36414 h 342093"/>
                  <a:gd name="connsiteX18" fmla="*/ 88345 w 223418"/>
                  <a:gd name="connsiteY18" fmla="*/ 35267 h 342093"/>
                  <a:gd name="connsiteX19" fmla="*/ 91871 w 223418"/>
                  <a:gd name="connsiteY19" fmla="*/ 33857 h 342093"/>
                  <a:gd name="connsiteX20" fmla="*/ 95398 w 223418"/>
                  <a:gd name="connsiteY20" fmla="*/ 31741 h 342093"/>
                  <a:gd name="connsiteX21" fmla="*/ 96280 w 223418"/>
                  <a:gd name="connsiteY21" fmla="*/ 30859 h 342093"/>
                  <a:gd name="connsiteX22" fmla="*/ 97690 w 223418"/>
                  <a:gd name="connsiteY22" fmla="*/ 28567 h 342093"/>
                  <a:gd name="connsiteX23" fmla="*/ 98925 w 223418"/>
                  <a:gd name="connsiteY23" fmla="*/ 28302 h 342093"/>
                  <a:gd name="connsiteX24" fmla="*/ 99718 w 223418"/>
                  <a:gd name="connsiteY24" fmla="*/ 28567 h 342093"/>
                  <a:gd name="connsiteX25" fmla="*/ 100688 w 223418"/>
                  <a:gd name="connsiteY25" fmla="*/ 28302 h 342093"/>
                  <a:gd name="connsiteX26" fmla="*/ 101482 w 223418"/>
                  <a:gd name="connsiteY26" fmla="*/ 29713 h 342093"/>
                  <a:gd name="connsiteX27" fmla="*/ 102099 w 223418"/>
                  <a:gd name="connsiteY27" fmla="*/ 29184 h 342093"/>
                  <a:gd name="connsiteX28" fmla="*/ 102716 w 223418"/>
                  <a:gd name="connsiteY28" fmla="*/ 28831 h 342093"/>
                  <a:gd name="connsiteX29" fmla="*/ 104391 w 223418"/>
                  <a:gd name="connsiteY29" fmla="*/ 30065 h 342093"/>
                  <a:gd name="connsiteX30" fmla="*/ 110299 w 223418"/>
                  <a:gd name="connsiteY30" fmla="*/ 30065 h 342093"/>
                  <a:gd name="connsiteX31" fmla="*/ 114619 w 223418"/>
                  <a:gd name="connsiteY31" fmla="*/ 32622 h 342093"/>
                  <a:gd name="connsiteX32" fmla="*/ 119292 w 223418"/>
                  <a:gd name="connsiteY32" fmla="*/ 31212 h 342093"/>
                  <a:gd name="connsiteX33" fmla="*/ 123965 w 223418"/>
                  <a:gd name="connsiteY33" fmla="*/ 27420 h 342093"/>
                  <a:gd name="connsiteX34" fmla="*/ 127139 w 223418"/>
                  <a:gd name="connsiteY34" fmla="*/ 25922 h 342093"/>
                  <a:gd name="connsiteX35" fmla="*/ 130048 w 223418"/>
                  <a:gd name="connsiteY35" fmla="*/ 24158 h 342093"/>
                  <a:gd name="connsiteX36" fmla="*/ 131547 w 223418"/>
                  <a:gd name="connsiteY36" fmla="*/ 22395 h 342093"/>
                  <a:gd name="connsiteX37" fmla="*/ 137631 w 223418"/>
                  <a:gd name="connsiteY37" fmla="*/ 20720 h 342093"/>
                  <a:gd name="connsiteX38" fmla="*/ 141510 w 223418"/>
                  <a:gd name="connsiteY38" fmla="*/ 22395 h 342093"/>
                  <a:gd name="connsiteX39" fmla="*/ 145566 w 223418"/>
                  <a:gd name="connsiteY39" fmla="*/ 22130 h 342093"/>
                  <a:gd name="connsiteX40" fmla="*/ 147329 w 223418"/>
                  <a:gd name="connsiteY40" fmla="*/ 22130 h 342093"/>
                  <a:gd name="connsiteX41" fmla="*/ 151914 w 223418"/>
                  <a:gd name="connsiteY41" fmla="*/ 20984 h 342093"/>
                  <a:gd name="connsiteX42" fmla="*/ 154912 w 223418"/>
                  <a:gd name="connsiteY42" fmla="*/ 19221 h 342093"/>
                  <a:gd name="connsiteX43" fmla="*/ 158703 w 223418"/>
                  <a:gd name="connsiteY43" fmla="*/ 17457 h 342093"/>
                  <a:gd name="connsiteX44" fmla="*/ 162494 w 223418"/>
                  <a:gd name="connsiteY44" fmla="*/ 16928 h 342093"/>
                  <a:gd name="connsiteX45" fmla="*/ 165139 w 223418"/>
                  <a:gd name="connsiteY45" fmla="*/ 18075 h 342093"/>
                  <a:gd name="connsiteX46" fmla="*/ 169724 w 223418"/>
                  <a:gd name="connsiteY46" fmla="*/ 18604 h 342093"/>
                  <a:gd name="connsiteX47" fmla="*/ 173515 w 223418"/>
                  <a:gd name="connsiteY47" fmla="*/ 17457 h 342093"/>
                  <a:gd name="connsiteX48" fmla="*/ 175279 w 223418"/>
                  <a:gd name="connsiteY48" fmla="*/ 17193 h 342093"/>
                  <a:gd name="connsiteX49" fmla="*/ 177924 w 223418"/>
                  <a:gd name="connsiteY49" fmla="*/ 16928 h 342093"/>
                  <a:gd name="connsiteX50" fmla="*/ 180833 w 223418"/>
                  <a:gd name="connsiteY50" fmla="*/ 17810 h 342093"/>
                  <a:gd name="connsiteX51" fmla="*/ 183478 w 223418"/>
                  <a:gd name="connsiteY51" fmla="*/ 19221 h 342093"/>
                  <a:gd name="connsiteX52" fmla="*/ 184889 w 223418"/>
                  <a:gd name="connsiteY52" fmla="*/ 17457 h 342093"/>
                  <a:gd name="connsiteX53" fmla="*/ 184007 w 223418"/>
                  <a:gd name="connsiteY53" fmla="*/ 14548 h 342093"/>
                  <a:gd name="connsiteX54" fmla="*/ 184889 w 223418"/>
                  <a:gd name="connsiteY54" fmla="*/ 13402 h 342093"/>
                  <a:gd name="connsiteX55" fmla="*/ 186123 w 223418"/>
                  <a:gd name="connsiteY55" fmla="*/ 13137 h 342093"/>
                  <a:gd name="connsiteX56" fmla="*/ 189033 w 223418"/>
                  <a:gd name="connsiteY56" fmla="*/ 13137 h 342093"/>
                  <a:gd name="connsiteX57" fmla="*/ 193706 w 223418"/>
                  <a:gd name="connsiteY57" fmla="*/ 12255 h 342093"/>
                  <a:gd name="connsiteX58" fmla="*/ 197144 w 223418"/>
                  <a:gd name="connsiteY58" fmla="*/ 10228 h 342093"/>
                  <a:gd name="connsiteX59" fmla="*/ 199525 w 223418"/>
                  <a:gd name="connsiteY59" fmla="*/ 9610 h 342093"/>
                  <a:gd name="connsiteX60" fmla="*/ 200936 w 223418"/>
                  <a:gd name="connsiteY60" fmla="*/ 7847 h 342093"/>
                  <a:gd name="connsiteX61" fmla="*/ 202964 w 223418"/>
                  <a:gd name="connsiteY61" fmla="*/ 3439 h 342093"/>
                  <a:gd name="connsiteX62" fmla="*/ 205080 w 223418"/>
                  <a:gd name="connsiteY62" fmla="*/ 1146 h 342093"/>
                  <a:gd name="connsiteX63" fmla="*/ 208518 w 223418"/>
                  <a:gd name="connsiteY63" fmla="*/ 0 h 342093"/>
                  <a:gd name="connsiteX64" fmla="*/ 212397 w 223418"/>
                  <a:gd name="connsiteY64" fmla="*/ 1763 h 342093"/>
                  <a:gd name="connsiteX65" fmla="*/ 213191 w 223418"/>
                  <a:gd name="connsiteY65" fmla="*/ 2028 h 342093"/>
                  <a:gd name="connsiteX66" fmla="*/ 214690 w 223418"/>
                  <a:gd name="connsiteY66" fmla="*/ 3174 h 342093"/>
                  <a:gd name="connsiteX67" fmla="*/ 216718 w 223418"/>
                  <a:gd name="connsiteY67" fmla="*/ 3439 h 342093"/>
                  <a:gd name="connsiteX68" fmla="*/ 217599 w 223418"/>
                  <a:gd name="connsiteY68" fmla="*/ 3791 h 342093"/>
                  <a:gd name="connsiteX69" fmla="*/ 218217 w 223418"/>
                  <a:gd name="connsiteY69" fmla="*/ 3791 h 342093"/>
                  <a:gd name="connsiteX70" fmla="*/ 219363 w 223418"/>
                  <a:gd name="connsiteY70" fmla="*/ 4056 h 342093"/>
                  <a:gd name="connsiteX71" fmla="*/ 219363 w 223418"/>
                  <a:gd name="connsiteY71" fmla="*/ 5202 h 342093"/>
                  <a:gd name="connsiteX72" fmla="*/ 218746 w 223418"/>
                  <a:gd name="connsiteY72" fmla="*/ 5819 h 342093"/>
                  <a:gd name="connsiteX73" fmla="*/ 218217 w 223418"/>
                  <a:gd name="connsiteY73" fmla="*/ 8112 h 342093"/>
                  <a:gd name="connsiteX74" fmla="*/ 217599 w 223418"/>
                  <a:gd name="connsiteY74" fmla="*/ 9875 h 342093"/>
                  <a:gd name="connsiteX75" fmla="*/ 217335 w 223418"/>
                  <a:gd name="connsiteY75" fmla="*/ 11638 h 342093"/>
                  <a:gd name="connsiteX76" fmla="*/ 215836 w 223418"/>
                  <a:gd name="connsiteY76" fmla="*/ 13402 h 342093"/>
                  <a:gd name="connsiteX77" fmla="*/ 215219 w 223418"/>
                  <a:gd name="connsiteY77" fmla="*/ 18339 h 342093"/>
                  <a:gd name="connsiteX78" fmla="*/ 215836 w 223418"/>
                  <a:gd name="connsiteY78" fmla="*/ 20720 h 342093"/>
                  <a:gd name="connsiteX79" fmla="*/ 217599 w 223418"/>
                  <a:gd name="connsiteY79" fmla="*/ 20984 h 342093"/>
                  <a:gd name="connsiteX80" fmla="*/ 218217 w 223418"/>
                  <a:gd name="connsiteY80" fmla="*/ 23894 h 342093"/>
                  <a:gd name="connsiteX81" fmla="*/ 218217 w 223418"/>
                  <a:gd name="connsiteY81" fmla="*/ 28302 h 342093"/>
                  <a:gd name="connsiteX82" fmla="*/ 217599 w 223418"/>
                  <a:gd name="connsiteY82" fmla="*/ 32358 h 342093"/>
                  <a:gd name="connsiteX83" fmla="*/ 216718 w 223418"/>
                  <a:gd name="connsiteY83" fmla="*/ 35267 h 342093"/>
                  <a:gd name="connsiteX84" fmla="*/ 216453 w 223418"/>
                  <a:gd name="connsiteY84" fmla="*/ 37295 h 342093"/>
                  <a:gd name="connsiteX85" fmla="*/ 215572 w 223418"/>
                  <a:gd name="connsiteY85" fmla="*/ 38177 h 342093"/>
                  <a:gd name="connsiteX86" fmla="*/ 215572 w 223418"/>
                  <a:gd name="connsiteY86" fmla="*/ 39323 h 342093"/>
                  <a:gd name="connsiteX87" fmla="*/ 217599 w 223418"/>
                  <a:gd name="connsiteY87" fmla="*/ 38794 h 342093"/>
                  <a:gd name="connsiteX88" fmla="*/ 219980 w 223418"/>
                  <a:gd name="connsiteY88" fmla="*/ 38794 h 342093"/>
                  <a:gd name="connsiteX89" fmla="*/ 219363 w 223418"/>
                  <a:gd name="connsiteY89" fmla="*/ 37648 h 342093"/>
                  <a:gd name="connsiteX90" fmla="*/ 218217 w 223418"/>
                  <a:gd name="connsiteY90" fmla="*/ 36149 h 342093"/>
                  <a:gd name="connsiteX91" fmla="*/ 218217 w 223418"/>
                  <a:gd name="connsiteY91" fmla="*/ 35267 h 342093"/>
                  <a:gd name="connsiteX92" fmla="*/ 222008 w 223418"/>
                  <a:gd name="connsiteY92" fmla="*/ 36766 h 342093"/>
                  <a:gd name="connsiteX93" fmla="*/ 222802 w 223418"/>
                  <a:gd name="connsiteY93" fmla="*/ 37648 h 342093"/>
                  <a:gd name="connsiteX94" fmla="*/ 223418 w 223418"/>
                  <a:gd name="connsiteY94" fmla="*/ 39323 h 342093"/>
                  <a:gd name="connsiteX95" fmla="*/ 223154 w 223418"/>
                  <a:gd name="connsiteY95" fmla="*/ 40822 h 342093"/>
                  <a:gd name="connsiteX96" fmla="*/ 221655 w 223418"/>
                  <a:gd name="connsiteY96" fmla="*/ 40822 h 342093"/>
                  <a:gd name="connsiteX97" fmla="*/ 220244 w 223418"/>
                  <a:gd name="connsiteY97" fmla="*/ 39323 h 342093"/>
                  <a:gd name="connsiteX98" fmla="*/ 215836 w 223418"/>
                  <a:gd name="connsiteY98" fmla="*/ 40205 h 342093"/>
                  <a:gd name="connsiteX99" fmla="*/ 214955 w 223418"/>
                  <a:gd name="connsiteY99" fmla="*/ 40205 h 342093"/>
                  <a:gd name="connsiteX100" fmla="*/ 213191 w 223418"/>
                  <a:gd name="connsiteY100" fmla="*/ 45495 h 342093"/>
                  <a:gd name="connsiteX101" fmla="*/ 213808 w 223418"/>
                  <a:gd name="connsiteY101" fmla="*/ 47523 h 342093"/>
                  <a:gd name="connsiteX102" fmla="*/ 213544 w 223418"/>
                  <a:gd name="connsiteY102" fmla="*/ 49815 h 342093"/>
                  <a:gd name="connsiteX103" fmla="*/ 212045 w 223418"/>
                  <a:gd name="connsiteY103" fmla="*/ 51931 h 342093"/>
                  <a:gd name="connsiteX104" fmla="*/ 211781 w 223418"/>
                  <a:gd name="connsiteY104" fmla="*/ 57486 h 342093"/>
                  <a:gd name="connsiteX105" fmla="*/ 212397 w 223418"/>
                  <a:gd name="connsiteY105" fmla="*/ 61806 h 342093"/>
                  <a:gd name="connsiteX106" fmla="*/ 212397 w 223418"/>
                  <a:gd name="connsiteY106" fmla="*/ 63305 h 342093"/>
                  <a:gd name="connsiteX107" fmla="*/ 212045 w 223418"/>
                  <a:gd name="connsiteY107" fmla="*/ 64716 h 342093"/>
                  <a:gd name="connsiteX108" fmla="*/ 211163 w 223418"/>
                  <a:gd name="connsiteY108" fmla="*/ 66744 h 342093"/>
                  <a:gd name="connsiteX109" fmla="*/ 209135 w 223418"/>
                  <a:gd name="connsiteY109" fmla="*/ 69124 h 342093"/>
                  <a:gd name="connsiteX110" fmla="*/ 208254 w 223418"/>
                  <a:gd name="connsiteY110" fmla="*/ 70270 h 342093"/>
                  <a:gd name="connsiteX111" fmla="*/ 207989 w 223418"/>
                  <a:gd name="connsiteY111" fmla="*/ 73180 h 342093"/>
                  <a:gd name="connsiteX112" fmla="*/ 206490 w 223418"/>
                  <a:gd name="connsiteY112" fmla="*/ 75208 h 342093"/>
                  <a:gd name="connsiteX113" fmla="*/ 205344 w 223418"/>
                  <a:gd name="connsiteY113" fmla="*/ 77588 h 342093"/>
                  <a:gd name="connsiteX114" fmla="*/ 203845 w 223418"/>
                  <a:gd name="connsiteY114" fmla="*/ 78117 h 342093"/>
                  <a:gd name="connsiteX115" fmla="*/ 203316 w 223418"/>
                  <a:gd name="connsiteY115" fmla="*/ 78999 h 342093"/>
                  <a:gd name="connsiteX116" fmla="*/ 202964 w 223418"/>
                  <a:gd name="connsiteY116" fmla="*/ 81644 h 342093"/>
                  <a:gd name="connsiteX117" fmla="*/ 204727 w 223418"/>
                  <a:gd name="connsiteY117" fmla="*/ 82261 h 342093"/>
                  <a:gd name="connsiteX118" fmla="*/ 205609 w 223418"/>
                  <a:gd name="connsiteY118" fmla="*/ 83055 h 342093"/>
                  <a:gd name="connsiteX119" fmla="*/ 205873 w 223418"/>
                  <a:gd name="connsiteY119" fmla="*/ 83672 h 342093"/>
                  <a:gd name="connsiteX120" fmla="*/ 203580 w 223418"/>
                  <a:gd name="connsiteY120" fmla="*/ 85435 h 342093"/>
                  <a:gd name="connsiteX121" fmla="*/ 199789 w 223418"/>
                  <a:gd name="connsiteY121" fmla="*/ 88345 h 342093"/>
                  <a:gd name="connsiteX122" fmla="*/ 198908 w 223418"/>
                  <a:gd name="connsiteY122" fmla="*/ 90108 h 342093"/>
                  <a:gd name="connsiteX123" fmla="*/ 199525 w 223418"/>
                  <a:gd name="connsiteY123" fmla="*/ 91254 h 342093"/>
                  <a:gd name="connsiteX124" fmla="*/ 198908 w 223418"/>
                  <a:gd name="connsiteY124" fmla="*/ 93899 h 342093"/>
                  <a:gd name="connsiteX125" fmla="*/ 197762 w 223418"/>
                  <a:gd name="connsiteY125" fmla="*/ 95663 h 342093"/>
                  <a:gd name="connsiteX126" fmla="*/ 196351 w 223418"/>
                  <a:gd name="connsiteY126" fmla="*/ 96192 h 342093"/>
                  <a:gd name="connsiteX127" fmla="*/ 194235 w 223418"/>
                  <a:gd name="connsiteY127" fmla="*/ 97073 h 342093"/>
                  <a:gd name="connsiteX128" fmla="*/ 192207 w 223418"/>
                  <a:gd name="connsiteY128" fmla="*/ 96809 h 342093"/>
                  <a:gd name="connsiteX129" fmla="*/ 190179 w 223418"/>
                  <a:gd name="connsiteY129" fmla="*/ 97073 h 342093"/>
                  <a:gd name="connsiteX130" fmla="*/ 189562 w 223418"/>
                  <a:gd name="connsiteY130" fmla="*/ 97426 h 342093"/>
                  <a:gd name="connsiteX131" fmla="*/ 189914 w 223418"/>
                  <a:gd name="connsiteY131" fmla="*/ 98572 h 342093"/>
                  <a:gd name="connsiteX132" fmla="*/ 191061 w 223418"/>
                  <a:gd name="connsiteY132" fmla="*/ 100865 h 342093"/>
                  <a:gd name="connsiteX133" fmla="*/ 190443 w 223418"/>
                  <a:gd name="connsiteY133" fmla="*/ 104391 h 342093"/>
                  <a:gd name="connsiteX134" fmla="*/ 190797 w 223418"/>
                  <a:gd name="connsiteY134" fmla="*/ 106419 h 342093"/>
                  <a:gd name="connsiteX135" fmla="*/ 191061 w 223418"/>
                  <a:gd name="connsiteY135" fmla="*/ 108800 h 342093"/>
                  <a:gd name="connsiteX136" fmla="*/ 191061 w 223418"/>
                  <a:gd name="connsiteY136" fmla="*/ 112856 h 342093"/>
                  <a:gd name="connsiteX137" fmla="*/ 190179 w 223418"/>
                  <a:gd name="connsiteY137" fmla="*/ 114619 h 342093"/>
                  <a:gd name="connsiteX138" fmla="*/ 189562 w 223418"/>
                  <a:gd name="connsiteY138" fmla="*/ 115765 h 342093"/>
                  <a:gd name="connsiteX139" fmla="*/ 187799 w 223418"/>
                  <a:gd name="connsiteY139" fmla="*/ 116382 h 342093"/>
                  <a:gd name="connsiteX140" fmla="*/ 184889 w 223418"/>
                  <a:gd name="connsiteY140" fmla="*/ 118675 h 342093"/>
                  <a:gd name="connsiteX141" fmla="*/ 181186 w 223418"/>
                  <a:gd name="connsiteY141" fmla="*/ 127403 h 342093"/>
                  <a:gd name="connsiteX142" fmla="*/ 180304 w 223418"/>
                  <a:gd name="connsiteY142" fmla="*/ 128902 h 342093"/>
                  <a:gd name="connsiteX143" fmla="*/ 178805 w 223418"/>
                  <a:gd name="connsiteY143" fmla="*/ 130666 h 342093"/>
                  <a:gd name="connsiteX144" fmla="*/ 177042 w 223418"/>
                  <a:gd name="connsiteY144" fmla="*/ 131812 h 342093"/>
                  <a:gd name="connsiteX145" fmla="*/ 174397 w 223418"/>
                  <a:gd name="connsiteY145" fmla="*/ 135868 h 342093"/>
                  <a:gd name="connsiteX146" fmla="*/ 175631 w 223418"/>
                  <a:gd name="connsiteY146" fmla="*/ 139394 h 342093"/>
                  <a:gd name="connsiteX147" fmla="*/ 175014 w 223418"/>
                  <a:gd name="connsiteY147" fmla="*/ 145831 h 342093"/>
                  <a:gd name="connsiteX148" fmla="*/ 173251 w 223418"/>
                  <a:gd name="connsiteY148" fmla="*/ 149005 h 342093"/>
                  <a:gd name="connsiteX149" fmla="*/ 172722 w 223418"/>
                  <a:gd name="connsiteY149" fmla="*/ 149269 h 342093"/>
                  <a:gd name="connsiteX150" fmla="*/ 171223 w 223418"/>
                  <a:gd name="connsiteY150" fmla="*/ 148740 h 342093"/>
                  <a:gd name="connsiteX151" fmla="*/ 170606 w 223418"/>
                  <a:gd name="connsiteY151" fmla="*/ 149269 h 342093"/>
                  <a:gd name="connsiteX152" fmla="*/ 171223 w 223418"/>
                  <a:gd name="connsiteY152" fmla="*/ 150151 h 342093"/>
                  <a:gd name="connsiteX153" fmla="*/ 171223 w 223418"/>
                  <a:gd name="connsiteY153" fmla="*/ 154295 h 342093"/>
                  <a:gd name="connsiteX154" fmla="*/ 166550 w 223418"/>
                  <a:gd name="connsiteY154" fmla="*/ 162759 h 342093"/>
                  <a:gd name="connsiteX155" fmla="*/ 160996 w 223418"/>
                  <a:gd name="connsiteY155" fmla="*/ 164169 h 342093"/>
                  <a:gd name="connsiteX156" fmla="*/ 159232 w 223418"/>
                  <a:gd name="connsiteY156" fmla="*/ 165316 h 342093"/>
                  <a:gd name="connsiteX157" fmla="*/ 157469 w 223418"/>
                  <a:gd name="connsiteY157" fmla="*/ 164169 h 342093"/>
                  <a:gd name="connsiteX158" fmla="*/ 159585 w 223418"/>
                  <a:gd name="connsiteY158" fmla="*/ 172898 h 342093"/>
                  <a:gd name="connsiteX159" fmla="*/ 161613 w 223418"/>
                  <a:gd name="connsiteY159" fmla="*/ 175543 h 342093"/>
                  <a:gd name="connsiteX160" fmla="*/ 156322 w 223418"/>
                  <a:gd name="connsiteY160" fmla="*/ 179599 h 342093"/>
                  <a:gd name="connsiteX161" fmla="*/ 156058 w 223418"/>
                  <a:gd name="connsiteY161" fmla="*/ 181098 h 342093"/>
                  <a:gd name="connsiteX162" fmla="*/ 154912 w 223418"/>
                  <a:gd name="connsiteY162" fmla="*/ 185154 h 342093"/>
                  <a:gd name="connsiteX163" fmla="*/ 153413 w 223418"/>
                  <a:gd name="connsiteY163" fmla="*/ 186035 h 342093"/>
                  <a:gd name="connsiteX164" fmla="*/ 151914 w 223418"/>
                  <a:gd name="connsiteY164" fmla="*/ 184625 h 342093"/>
                  <a:gd name="connsiteX165" fmla="*/ 151914 w 223418"/>
                  <a:gd name="connsiteY165" fmla="*/ 182861 h 342093"/>
                  <a:gd name="connsiteX166" fmla="*/ 151121 w 223418"/>
                  <a:gd name="connsiteY166" fmla="*/ 182597 h 342093"/>
                  <a:gd name="connsiteX167" fmla="*/ 149975 w 223418"/>
                  <a:gd name="connsiteY167" fmla="*/ 184625 h 342093"/>
                  <a:gd name="connsiteX168" fmla="*/ 149357 w 223418"/>
                  <a:gd name="connsiteY168" fmla="*/ 189562 h 342093"/>
                  <a:gd name="connsiteX169" fmla="*/ 148123 w 223418"/>
                  <a:gd name="connsiteY169" fmla="*/ 192736 h 342093"/>
                  <a:gd name="connsiteX170" fmla="*/ 146712 w 223418"/>
                  <a:gd name="connsiteY170" fmla="*/ 194764 h 342093"/>
                  <a:gd name="connsiteX171" fmla="*/ 146712 w 223418"/>
                  <a:gd name="connsiteY171" fmla="*/ 196263 h 342093"/>
                  <a:gd name="connsiteX172" fmla="*/ 144684 w 223418"/>
                  <a:gd name="connsiteY172" fmla="*/ 197762 h 342093"/>
                  <a:gd name="connsiteX173" fmla="*/ 141158 w 223418"/>
                  <a:gd name="connsiteY173" fmla="*/ 200407 h 342093"/>
                  <a:gd name="connsiteX174" fmla="*/ 139129 w 223418"/>
                  <a:gd name="connsiteY174" fmla="*/ 200936 h 342093"/>
                  <a:gd name="connsiteX175" fmla="*/ 137102 w 223418"/>
                  <a:gd name="connsiteY175" fmla="*/ 199790 h 342093"/>
                  <a:gd name="connsiteX176" fmla="*/ 135955 w 223418"/>
                  <a:gd name="connsiteY176" fmla="*/ 199790 h 342093"/>
                  <a:gd name="connsiteX177" fmla="*/ 135338 w 223418"/>
                  <a:gd name="connsiteY177" fmla="*/ 200671 h 342093"/>
                  <a:gd name="connsiteX178" fmla="*/ 134721 w 223418"/>
                  <a:gd name="connsiteY178" fmla="*/ 202435 h 342093"/>
                  <a:gd name="connsiteX179" fmla="*/ 133046 w 223418"/>
                  <a:gd name="connsiteY179" fmla="*/ 209664 h 342093"/>
                  <a:gd name="connsiteX180" fmla="*/ 132164 w 223418"/>
                  <a:gd name="connsiteY180" fmla="*/ 210282 h 342093"/>
                  <a:gd name="connsiteX181" fmla="*/ 131018 w 223418"/>
                  <a:gd name="connsiteY181" fmla="*/ 210017 h 342093"/>
                  <a:gd name="connsiteX182" fmla="*/ 130401 w 223418"/>
                  <a:gd name="connsiteY182" fmla="*/ 210546 h 342093"/>
                  <a:gd name="connsiteX183" fmla="*/ 129784 w 223418"/>
                  <a:gd name="connsiteY183" fmla="*/ 211692 h 342093"/>
                  <a:gd name="connsiteX184" fmla="*/ 130048 w 223418"/>
                  <a:gd name="connsiteY184" fmla="*/ 212310 h 342093"/>
                  <a:gd name="connsiteX185" fmla="*/ 130048 w 223418"/>
                  <a:gd name="connsiteY185" fmla="*/ 213456 h 342093"/>
                  <a:gd name="connsiteX186" fmla="*/ 129784 w 223418"/>
                  <a:gd name="connsiteY186" fmla="*/ 216365 h 342093"/>
                  <a:gd name="connsiteX187" fmla="*/ 127756 w 223418"/>
                  <a:gd name="connsiteY187" fmla="*/ 218129 h 342093"/>
                  <a:gd name="connsiteX188" fmla="*/ 125375 w 223418"/>
                  <a:gd name="connsiteY188" fmla="*/ 220774 h 342093"/>
                  <a:gd name="connsiteX189" fmla="*/ 117793 w 223418"/>
                  <a:gd name="connsiteY189" fmla="*/ 229502 h 342093"/>
                  <a:gd name="connsiteX190" fmla="*/ 117000 w 223418"/>
                  <a:gd name="connsiteY190" fmla="*/ 230649 h 342093"/>
                  <a:gd name="connsiteX191" fmla="*/ 114883 w 223418"/>
                  <a:gd name="connsiteY191" fmla="*/ 232764 h 342093"/>
                  <a:gd name="connsiteX192" fmla="*/ 114619 w 223418"/>
                  <a:gd name="connsiteY192" fmla="*/ 233911 h 342093"/>
                  <a:gd name="connsiteX193" fmla="*/ 112855 w 223418"/>
                  <a:gd name="connsiteY193" fmla="*/ 234792 h 342093"/>
                  <a:gd name="connsiteX194" fmla="*/ 111974 w 223418"/>
                  <a:gd name="connsiteY194" fmla="*/ 236556 h 342093"/>
                  <a:gd name="connsiteX195" fmla="*/ 110299 w 223418"/>
                  <a:gd name="connsiteY195" fmla="*/ 238231 h 342093"/>
                  <a:gd name="connsiteX196" fmla="*/ 109417 w 223418"/>
                  <a:gd name="connsiteY196" fmla="*/ 237702 h 342093"/>
                  <a:gd name="connsiteX197" fmla="*/ 107653 w 223418"/>
                  <a:gd name="connsiteY197" fmla="*/ 235057 h 342093"/>
                  <a:gd name="connsiteX198" fmla="*/ 104391 w 223418"/>
                  <a:gd name="connsiteY198" fmla="*/ 235321 h 342093"/>
                  <a:gd name="connsiteX199" fmla="*/ 102981 w 223418"/>
                  <a:gd name="connsiteY199" fmla="*/ 237349 h 342093"/>
                  <a:gd name="connsiteX200" fmla="*/ 97955 w 223418"/>
                  <a:gd name="connsiteY200" fmla="*/ 246431 h 342093"/>
                  <a:gd name="connsiteX201" fmla="*/ 97161 w 223418"/>
                  <a:gd name="connsiteY201" fmla="*/ 246695 h 342093"/>
                  <a:gd name="connsiteX202" fmla="*/ 96280 w 223418"/>
                  <a:gd name="connsiteY202" fmla="*/ 246166 h 342093"/>
                  <a:gd name="connsiteX203" fmla="*/ 94781 w 223418"/>
                  <a:gd name="connsiteY203" fmla="*/ 246695 h 342093"/>
                  <a:gd name="connsiteX204" fmla="*/ 95133 w 223418"/>
                  <a:gd name="connsiteY204" fmla="*/ 251368 h 342093"/>
                  <a:gd name="connsiteX205" fmla="*/ 93899 w 223418"/>
                  <a:gd name="connsiteY205" fmla="*/ 251633 h 342093"/>
                  <a:gd name="connsiteX206" fmla="*/ 91607 w 223418"/>
                  <a:gd name="connsiteY206" fmla="*/ 251104 h 342093"/>
                  <a:gd name="connsiteX207" fmla="*/ 85171 w 223418"/>
                  <a:gd name="connsiteY207" fmla="*/ 254630 h 342093"/>
                  <a:gd name="connsiteX208" fmla="*/ 83143 w 223418"/>
                  <a:gd name="connsiteY208" fmla="*/ 256041 h 342093"/>
                  <a:gd name="connsiteX209" fmla="*/ 79881 w 223418"/>
                  <a:gd name="connsiteY209" fmla="*/ 259832 h 342093"/>
                  <a:gd name="connsiteX210" fmla="*/ 75560 w 223418"/>
                  <a:gd name="connsiteY210" fmla="*/ 263888 h 342093"/>
                  <a:gd name="connsiteX211" fmla="*/ 70887 w 223418"/>
                  <a:gd name="connsiteY211" fmla="*/ 267150 h 342093"/>
                  <a:gd name="connsiteX212" fmla="*/ 70006 w 223418"/>
                  <a:gd name="connsiteY212" fmla="*/ 268649 h 342093"/>
                  <a:gd name="connsiteX213" fmla="*/ 69124 w 223418"/>
                  <a:gd name="connsiteY213" fmla="*/ 269443 h 342093"/>
                  <a:gd name="connsiteX214" fmla="*/ 68242 w 223418"/>
                  <a:gd name="connsiteY214" fmla="*/ 271206 h 342093"/>
                  <a:gd name="connsiteX215" fmla="*/ 66832 w 223418"/>
                  <a:gd name="connsiteY215" fmla="*/ 271823 h 342093"/>
                  <a:gd name="connsiteX216" fmla="*/ 65068 w 223418"/>
                  <a:gd name="connsiteY216" fmla="*/ 271206 h 342093"/>
                  <a:gd name="connsiteX217" fmla="*/ 63569 w 223418"/>
                  <a:gd name="connsiteY217" fmla="*/ 271206 h 342093"/>
                  <a:gd name="connsiteX218" fmla="*/ 62688 w 223418"/>
                  <a:gd name="connsiteY218" fmla="*/ 270942 h 342093"/>
                  <a:gd name="connsiteX219" fmla="*/ 61806 w 223418"/>
                  <a:gd name="connsiteY219" fmla="*/ 271823 h 342093"/>
                  <a:gd name="connsiteX220" fmla="*/ 62688 w 223418"/>
                  <a:gd name="connsiteY220" fmla="*/ 272705 h 342093"/>
                  <a:gd name="connsiteX221" fmla="*/ 63569 w 223418"/>
                  <a:gd name="connsiteY221" fmla="*/ 272705 h 342093"/>
                  <a:gd name="connsiteX222" fmla="*/ 64716 w 223418"/>
                  <a:gd name="connsiteY222" fmla="*/ 273586 h 342093"/>
                  <a:gd name="connsiteX223" fmla="*/ 64451 w 223418"/>
                  <a:gd name="connsiteY223" fmla="*/ 274733 h 342093"/>
                  <a:gd name="connsiteX224" fmla="*/ 61806 w 223418"/>
                  <a:gd name="connsiteY224" fmla="*/ 276143 h 342093"/>
                  <a:gd name="connsiteX225" fmla="*/ 59249 w 223418"/>
                  <a:gd name="connsiteY225" fmla="*/ 282051 h 342093"/>
                  <a:gd name="connsiteX226" fmla="*/ 59249 w 223418"/>
                  <a:gd name="connsiteY226" fmla="*/ 283461 h 342093"/>
                  <a:gd name="connsiteX227" fmla="*/ 55193 w 223418"/>
                  <a:gd name="connsiteY227" fmla="*/ 289016 h 342093"/>
                  <a:gd name="connsiteX228" fmla="*/ 46994 w 223418"/>
                  <a:gd name="connsiteY228" fmla="*/ 297745 h 342093"/>
                  <a:gd name="connsiteX229" fmla="*/ 46376 w 223418"/>
                  <a:gd name="connsiteY229" fmla="*/ 298626 h 342093"/>
                  <a:gd name="connsiteX230" fmla="*/ 44613 w 223418"/>
                  <a:gd name="connsiteY230" fmla="*/ 299773 h 342093"/>
                  <a:gd name="connsiteX231" fmla="*/ 35267 w 223418"/>
                  <a:gd name="connsiteY231" fmla="*/ 305327 h 342093"/>
                  <a:gd name="connsiteX232" fmla="*/ 34738 w 223418"/>
                  <a:gd name="connsiteY232" fmla="*/ 306562 h 342093"/>
                  <a:gd name="connsiteX233" fmla="*/ 33592 w 223418"/>
                  <a:gd name="connsiteY233" fmla="*/ 307972 h 342093"/>
                  <a:gd name="connsiteX234" fmla="*/ 34386 w 223418"/>
                  <a:gd name="connsiteY234" fmla="*/ 308589 h 342093"/>
                  <a:gd name="connsiteX235" fmla="*/ 32975 w 223418"/>
                  <a:gd name="connsiteY235" fmla="*/ 310265 h 342093"/>
                  <a:gd name="connsiteX236" fmla="*/ 31476 w 223418"/>
                  <a:gd name="connsiteY236" fmla="*/ 311499 h 342093"/>
                  <a:gd name="connsiteX237" fmla="*/ 27420 w 223418"/>
                  <a:gd name="connsiteY237" fmla="*/ 317583 h 342093"/>
                  <a:gd name="connsiteX238" fmla="*/ 26274 w 223418"/>
                  <a:gd name="connsiteY238" fmla="*/ 318817 h 342093"/>
                  <a:gd name="connsiteX239" fmla="*/ 24775 w 223418"/>
                  <a:gd name="connsiteY239" fmla="*/ 319081 h 342093"/>
                  <a:gd name="connsiteX240" fmla="*/ 23894 w 223418"/>
                  <a:gd name="connsiteY240" fmla="*/ 319610 h 342093"/>
                  <a:gd name="connsiteX241" fmla="*/ 23894 w 223418"/>
                  <a:gd name="connsiteY241" fmla="*/ 321638 h 342093"/>
                  <a:gd name="connsiteX242" fmla="*/ 23629 w 223418"/>
                  <a:gd name="connsiteY242" fmla="*/ 322873 h 342093"/>
                  <a:gd name="connsiteX243" fmla="*/ 22483 w 223418"/>
                  <a:gd name="connsiteY243" fmla="*/ 323402 h 342093"/>
                  <a:gd name="connsiteX244" fmla="*/ 21866 w 223418"/>
                  <a:gd name="connsiteY244" fmla="*/ 322520 h 342093"/>
                  <a:gd name="connsiteX245" fmla="*/ 20984 w 223418"/>
                  <a:gd name="connsiteY245" fmla="*/ 321638 h 342093"/>
                  <a:gd name="connsiteX246" fmla="*/ 20719 w 223418"/>
                  <a:gd name="connsiteY246" fmla="*/ 322520 h 342093"/>
                  <a:gd name="connsiteX247" fmla="*/ 20984 w 223418"/>
                  <a:gd name="connsiteY247" fmla="*/ 324019 h 342093"/>
                  <a:gd name="connsiteX248" fmla="*/ 20984 w 223418"/>
                  <a:gd name="connsiteY248" fmla="*/ 326047 h 342093"/>
                  <a:gd name="connsiteX249" fmla="*/ 20455 w 223418"/>
                  <a:gd name="connsiteY249" fmla="*/ 328427 h 342093"/>
                  <a:gd name="connsiteX250" fmla="*/ 19838 w 223418"/>
                  <a:gd name="connsiteY250" fmla="*/ 328692 h 342093"/>
                  <a:gd name="connsiteX251" fmla="*/ 19221 w 223418"/>
                  <a:gd name="connsiteY251" fmla="*/ 328956 h 342093"/>
                  <a:gd name="connsiteX252" fmla="*/ 18692 w 223418"/>
                  <a:gd name="connsiteY252" fmla="*/ 328692 h 342093"/>
                  <a:gd name="connsiteX253" fmla="*/ 18692 w 223418"/>
                  <a:gd name="connsiteY253" fmla="*/ 329573 h 342093"/>
                  <a:gd name="connsiteX254" fmla="*/ 18692 w 223418"/>
                  <a:gd name="connsiteY254" fmla="*/ 329838 h 342093"/>
                  <a:gd name="connsiteX255" fmla="*/ 14548 w 223418"/>
                  <a:gd name="connsiteY255" fmla="*/ 338302 h 342093"/>
                  <a:gd name="connsiteX256" fmla="*/ 11991 w 223418"/>
                  <a:gd name="connsiteY256" fmla="*/ 342093 h 342093"/>
                  <a:gd name="connsiteX257" fmla="*/ 0 w 223418"/>
                  <a:gd name="connsiteY257" fmla="*/ 320492 h 342093"/>
                  <a:gd name="connsiteX258" fmla="*/ 6701 w 223418"/>
                  <a:gd name="connsiteY258" fmla="*/ 218129 h 342093"/>
                  <a:gd name="connsiteX259" fmla="*/ 12873 w 223418"/>
                  <a:gd name="connsiteY259" fmla="*/ 209400 h 342093"/>
                  <a:gd name="connsiteX260" fmla="*/ 18339 w 223418"/>
                  <a:gd name="connsiteY260" fmla="*/ 200936 h 342093"/>
                  <a:gd name="connsiteX261" fmla="*/ 22130 w 223418"/>
                  <a:gd name="connsiteY261" fmla="*/ 195381 h 342093"/>
                  <a:gd name="connsiteX262" fmla="*/ 23894 w 223418"/>
                  <a:gd name="connsiteY262" fmla="*/ 193970 h 342093"/>
                  <a:gd name="connsiteX263" fmla="*/ 29801 w 223418"/>
                  <a:gd name="connsiteY263" fmla="*/ 194235 h 342093"/>
                  <a:gd name="connsiteX264" fmla="*/ 38265 w 223418"/>
                  <a:gd name="connsiteY264" fmla="*/ 191854 h 342093"/>
                  <a:gd name="connsiteX265" fmla="*/ 41968 w 223418"/>
                  <a:gd name="connsiteY265" fmla="*/ 189827 h 342093"/>
                  <a:gd name="connsiteX266" fmla="*/ 43467 w 223418"/>
                  <a:gd name="connsiteY266" fmla="*/ 185154 h 342093"/>
                  <a:gd name="connsiteX267" fmla="*/ 51049 w 223418"/>
                  <a:gd name="connsiteY267" fmla="*/ 180481 h 342093"/>
                  <a:gd name="connsiteX268" fmla="*/ 61806 w 223418"/>
                  <a:gd name="connsiteY268" fmla="*/ 176425 h 342093"/>
                  <a:gd name="connsiteX269" fmla="*/ 85788 w 223418"/>
                  <a:gd name="connsiteY269" fmla="*/ 177042 h 342093"/>
                  <a:gd name="connsiteX270" fmla="*/ 129255 w 223418"/>
                  <a:gd name="connsiteY270" fmla="*/ 123083 h 342093"/>
                  <a:gd name="connsiteX271" fmla="*/ 128902 w 223418"/>
                  <a:gd name="connsiteY271" fmla="*/ 99101 h 342093"/>
                  <a:gd name="connsiteX272" fmla="*/ 56604 w 223418"/>
                  <a:gd name="connsiteY272" fmla="*/ 67361 h 342093"/>
                  <a:gd name="connsiteX273" fmla="*/ 50168 w 223418"/>
                  <a:gd name="connsiteY273" fmla="*/ 63834 h 342093"/>
                  <a:gd name="connsiteX274" fmla="*/ 48404 w 223418"/>
                  <a:gd name="connsiteY274" fmla="*/ 62071 h 342093"/>
                  <a:gd name="connsiteX275" fmla="*/ 47523 w 223418"/>
                  <a:gd name="connsiteY275" fmla="*/ 59161 h 342093"/>
                  <a:gd name="connsiteX276" fmla="*/ 44878 w 223418"/>
                  <a:gd name="connsiteY276" fmla="*/ 52460 h 342093"/>
                  <a:gd name="connsiteX277" fmla="*/ 40822 w 223418"/>
                  <a:gd name="connsiteY277" fmla="*/ 52460 h 342093"/>
                  <a:gd name="connsiteX278" fmla="*/ 40557 w 223418"/>
                  <a:gd name="connsiteY278" fmla="*/ 47258 h 342093"/>
                  <a:gd name="connsiteX279" fmla="*/ 37912 w 223418"/>
                  <a:gd name="connsiteY279" fmla="*/ 45759 h 342093"/>
                  <a:gd name="connsiteX280" fmla="*/ 35003 w 223418"/>
                  <a:gd name="connsiteY280" fmla="*/ 38177 h 342093"/>
                  <a:gd name="connsiteX281" fmla="*/ 32358 w 223418"/>
                  <a:gd name="connsiteY281" fmla="*/ 34121 h 342093"/>
                  <a:gd name="connsiteX282" fmla="*/ 34121 w 223418"/>
                  <a:gd name="connsiteY282" fmla="*/ 29713 h 342093"/>
                  <a:gd name="connsiteX283" fmla="*/ 36149 w 223418"/>
                  <a:gd name="connsiteY283" fmla="*/ 27420 h 342093"/>
                  <a:gd name="connsiteX284" fmla="*/ 37383 w 223418"/>
                  <a:gd name="connsiteY284" fmla="*/ 26539 h 342093"/>
                  <a:gd name="connsiteX285" fmla="*/ 38265 w 223418"/>
                  <a:gd name="connsiteY285" fmla="*/ 24775 h 342093"/>
                  <a:gd name="connsiteX286" fmla="*/ 44084 w 223418"/>
                  <a:gd name="connsiteY286" fmla="*/ 13137 h 34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</a:cxnLst>
                <a:rect l="l" t="t" r="r" b="b"/>
                <a:pathLst>
                  <a:path w="223418" h="342093">
                    <a:moveTo>
                      <a:pt x="44878" y="12255"/>
                    </a:moveTo>
                    <a:lnTo>
                      <a:pt x="45230" y="13402"/>
                    </a:lnTo>
                    <a:lnTo>
                      <a:pt x="46641" y="15165"/>
                    </a:lnTo>
                    <a:lnTo>
                      <a:pt x="49022" y="15694"/>
                    </a:lnTo>
                    <a:lnTo>
                      <a:pt x="49639" y="16928"/>
                    </a:lnTo>
                    <a:lnTo>
                      <a:pt x="49903" y="19221"/>
                    </a:lnTo>
                    <a:lnTo>
                      <a:pt x="53342" y="25657"/>
                    </a:lnTo>
                    <a:lnTo>
                      <a:pt x="59778" y="32622"/>
                    </a:lnTo>
                    <a:lnTo>
                      <a:pt x="63569" y="35267"/>
                    </a:lnTo>
                    <a:lnTo>
                      <a:pt x="67713" y="38794"/>
                    </a:lnTo>
                    <a:lnTo>
                      <a:pt x="69388" y="39323"/>
                    </a:lnTo>
                    <a:lnTo>
                      <a:pt x="70887" y="39059"/>
                    </a:lnTo>
                    <a:lnTo>
                      <a:pt x="73797" y="39323"/>
                    </a:lnTo>
                    <a:lnTo>
                      <a:pt x="76089" y="39940"/>
                    </a:lnTo>
                    <a:lnTo>
                      <a:pt x="81644" y="39323"/>
                    </a:lnTo>
                    <a:lnTo>
                      <a:pt x="83143" y="38441"/>
                    </a:lnTo>
                    <a:lnTo>
                      <a:pt x="84024" y="38177"/>
                    </a:lnTo>
                    <a:lnTo>
                      <a:pt x="86934" y="36414"/>
                    </a:lnTo>
                    <a:lnTo>
                      <a:pt x="88345" y="35267"/>
                    </a:lnTo>
                    <a:lnTo>
                      <a:pt x="91871" y="33857"/>
                    </a:lnTo>
                    <a:lnTo>
                      <a:pt x="95398" y="31741"/>
                    </a:lnTo>
                    <a:lnTo>
                      <a:pt x="96280" y="30859"/>
                    </a:lnTo>
                    <a:lnTo>
                      <a:pt x="97690" y="28567"/>
                    </a:lnTo>
                    <a:lnTo>
                      <a:pt x="98925" y="28302"/>
                    </a:lnTo>
                    <a:lnTo>
                      <a:pt x="99718" y="28567"/>
                    </a:lnTo>
                    <a:lnTo>
                      <a:pt x="100688" y="28302"/>
                    </a:lnTo>
                    <a:lnTo>
                      <a:pt x="101482" y="29713"/>
                    </a:lnTo>
                    <a:lnTo>
                      <a:pt x="102099" y="29184"/>
                    </a:lnTo>
                    <a:lnTo>
                      <a:pt x="102716" y="28831"/>
                    </a:lnTo>
                    <a:lnTo>
                      <a:pt x="104391" y="30065"/>
                    </a:lnTo>
                    <a:lnTo>
                      <a:pt x="110299" y="30065"/>
                    </a:lnTo>
                    <a:lnTo>
                      <a:pt x="114619" y="32622"/>
                    </a:lnTo>
                    <a:lnTo>
                      <a:pt x="119292" y="31212"/>
                    </a:lnTo>
                    <a:lnTo>
                      <a:pt x="123965" y="27420"/>
                    </a:lnTo>
                    <a:lnTo>
                      <a:pt x="127139" y="25922"/>
                    </a:lnTo>
                    <a:lnTo>
                      <a:pt x="130048" y="24158"/>
                    </a:lnTo>
                    <a:lnTo>
                      <a:pt x="131547" y="22395"/>
                    </a:lnTo>
                    <a:lnTo>
                      <a:pt x="137631" y="20720"/>
                    </a:lnTo>
                    <a:lnTo>
                      <a:pt x="141510" y="22395"/>
                    </a:lnTo>
                    <a:lnTo>
                      <a:pt x="145566" y="22130"/>
                    </a:lnTo>
                    <a:lnTo>
                      <a:pt x="147329" y="22130"/>
                    </a:lnTo>
                    <a:lnTo>
                      <a:pt x="151914" y="20984"/>
                    </a:lnTo>
                    <a:lnTo>
                      <a:pt x="154912" y="19221"/>
                    </a:lnTo>
                    <a:lnTo>
                      <a:pt x="158703" y="17457"/>
                    </a:lnTo>
                    <a:lnTo>
                      <a:pt x="162494" y="16928"/>
                    </a:lnTo>
                    <a:lnTo>
                      <a:pt x="165139" y="18075"/>
                    </a:lnTo>
                    <a:lnTo>
                      <a:pt x="169724" y="18604"/>
                    </a:lnTo>
                    <a:lnTo>
                      <a:pt x="173515" y="17457"/>
                    </a:lnTo>
                    <a:lnTo>
                      <a:pt x="175279" y="17193"/>
                    </a:lnTo>
                    <a:lnTo>
                      <a:pt x="177924" y="16928"/>
                    </a:lnTo>
                    <a:lnTo>
                      <a:pt x="180833" y="17810"/>
                    </a:lnTo>
                    <a:lnTo>
                      <a:pt x="183478" y="19221"/>
                    </a:lnTo>
                    <a:lnTo>
                      <a:pt x="184889" y="17457"/>
                    </a:lnTo>
                    <a:lnTo>
                      <a:pt x="184007" y="14548"/>
                    </a:lnTo>
                    <a:lnTo>
                      <a:pt x="184889" y="13402"/>
                    </a:lnTo>
                    <a:lnTo>
                      <a:pt x="186123" y="13137"/>
                    </a:lnTo>
                    <a:lnTo>
                      <a:pt x="189033" y="13137"/>
                    </a:lnTo>
                    <a:lnTo>
                      <a:pt x="193706" y="12255"/>
                    </a:lnTo>
                    <a:lnTo>
                      <a:pt x="197144" y="10228"/>
                    </a:lnTo>
                    <a:lnTo>
                      <a:pt x="199525" y="9610"/>
                    </a:lnTo>
                    <a:lnTo>
                      <a:pt x="200936" y="7847"/>
                    </a:lnTo>
                    <a:lnTo>
                      <a:pt x="202964" y="3439"/>
                    </a:lnTo>
                    <a:lnTo>
                      <a:pt x="205080" y="1146"/>
                    </a:lnTo>
                    <a:lnTo>
                      <a:pt x="208518" y="0"/>
                    </a:lnTo>
                    <a:lnTo>
                      <a:pt x="212397" y="1763"/>
                    </a:lnTo>
                    <a:lnTo>
                      <a:pt x="213191" y="2028"/>
                    </a:lnTo>
                    <a:lnTo>
                      <a:pt x="214690" y="3174"/>
                    </a:lnTo>
                    <a:lnTo>
                      <a:pt x="216718" y="3439"/>
                    </a:lnTo>
                    <a:lnTo>
                      <a:pt x="217599" y="3791"/>
                    </a:lnTo>
                    <a:lnTo>
                      <a:pt x="218217" y="3791"/>
                    </a:lnTo>
                    <a:lnTo>
                      <a:pt x="219363" y="4056"/>
                    </a:lnTo>
                    <a:lnTo>
                      <a:pt x="219363" y="5202"/>
                    </a:lnTo>
                    <a:lnTo>
                      <a:pt x="218746" y="5819"/>
                    </a:lnTo>
                    <a:lnTo>
                      <a:pt x="218217" y="8112"/>
                    </a:lnTo>
                    <a:lnTo>
                      <a:pt x="217599" y="9875"/>
                    </a:lnTo>
                    <a:lnTo>
                      <a:pt x="217335" y="11638"/>
                    </a:lnTo>
                    <a:lnTo>
                      <a:pt x="215836" y="13402"/>
                    </a:lnTo>
                    <a:lnTo>
                      <a:pt x="215219" y="18339"/>
                    </a:lnTo>
                    <a:lnTo>
                      <a:pt x="215836" y="20720"/>
                    </a:lnTo>
                    <a:lnTo>
                      <a:pt x="217599" y="20984"/>
                    </a:lnTo>
                    <a:lnTo>
                      <a:pt x="218217" y="23894"/>
                    </a:lnTo>
                    <a:lnTo>
                      <a:pt x="218217" y="28302"/>
                    </a:lnTo>
                    <a:lnTo>
                      <a:pt x="217599" y="32358"/>
                    </a:lnTo>
                    <a:lnTo>
                      <a:pt x="216718" y="35267"/>
                    </a:lnTo>
                    <a:lnTo>
                      <a:pt x="216453" y="37295"/>
                    </a:lnTo>
                    <a:lnTo>
                      <a:pt x="215572" y="38177"/>
                    </a:lnTo>
                    <a:lnTo>
                      <a:pt x="215572" y="39323"/>
                    </a:lnTo>
                    <a:lnTo>
                      <a:pt x="217599" y="38794"/>
                    </a:lnTo>
                    <a:lnTo>
                      <a:pt x="219980" y="38794"/>
                    </a:lnTo>
                    <a:lnTo>
                      <a:pt x="219363" y="37648"/>
                    </a:lnTo>
                    <a:lnTo>
                      <a:pt x="218217" y="36149"/>
                    </a:lnTo>
                    <a:lnTo>
                      <a:pt x="218217" y="35267"/>
                    </a:lnTo>
                    <a:lnTo>
                      <a:pt x="222008" y="36766"/>
                    </a:lnTo>
                    <a:lnTo>
                      <a:pt x="222802" y="37648"/>
                    </a:lnTo>
                    <a:lnTo>
                      <a:pt x="223418" y="39323"/>
                    </a:lnTo>
                    <a:lnTo>
                      <a:pt x="223154" y="40822"/>
                    </a:lnTo>
                    <a:lnTo>
                      <a:pt x="221655" y="40822"/>
                    </a:lnTo>
                    <a:lnTo>
                      <a:pt x="220244" y="39323"/>
                    </a:lnTo>
                    <a:lnTo>
                      <a:pt x="215836" y="40205"/>
                    </a:lnTo>
                    <a:lnTo>
                      <a:pt x="214955" y="40205"/>
                    </a:lnTo>
                    <a:lnTo>
                      <a:pt x="213191" y="45495"/>
                    </a:lnTo>
                    <a:lnTo>
                      <a:pt x="213808" y="47523"/>
                    </a:lnTo>
                    <a:lnTo>
                      <a:pt x="213544" y="49815"/>
                    </a:lnTo>
                    <a:lnTo>
                      <a:pt x="212045" y="51931"/>
                    </a:lnTo>
                    <a:lnTo>
                      <a:pt x="211781" y="57486"/>
                    </a:lnTo>
                    <a:lnTo>
                      <a:pt x="212397" y="61806"/>
                    </a:lnTo>
                    <a:lnTo>
                      <a:pt x="212397" y="63305"/>
                    </a:lnTo>
                    <a:lnTo>
                      <a:pt x="212045" y="64716"/>
                    </a:lnTo>
                    <a:lnTo>
                      <a:pt x="211163" y="66744"/>
                    </a:lnTo>
                    <a:lnTo>
                      <a:pt x="209135" y="69124"/>
                    </a:lnTo>
                    <a:lnTo>
                      <a:pt x="208254" y="70270"/>
                    </a:lnTo>
                    <a:lnTo>
                      <a:pt x="207989" y="73180"/>
                    </a:lnTo>
                    <a:lnTo>
                      <a:pt x="206490" y="75208"/>
                    </a:lnTo>
                    <a:lnTo>
                      <a:pt x="205344" y="77588"/>
                    </a:lnTo>
                    <a:lnTo>
                      <a:pt x="203845" y="78117"/>
                    </a:lnTo>
                    <a:lnTo>
                      <a:pt x="203316" y="78999"/>
                    </a:lnTo>
                    <a:lnTo>
                      <a:pt x="202964" y="81644"/>
                    </a:lnTo>
                    <a:lnTo>
                      <a:pt x="204727" y="82261"/>
                    </a:lnTo>
                    <a:lnTo>
                      <a:pt x="205609" y="83055"/>
                    </a:lnTo>
                    <a:lnTo>
                      <a:pt x="205873" y="83672"/>
                    </a:lnTo>
                    <a:lnTo>
                      <a:pt x="203580" y="85435"/>
                    </a:lnTo>
                    <a:lnTo>
                      <a:pt x="199789" y="88345"/>
                    </a:lnTo>
                    <a:lnTo>
                      <a:pt x="198908" y="90108"/>
                    </a:lnTo>
                    <a:lnTo>
                      <a:pt x="199525" y="91254"/>
                    </a:lnTo>
                    <a:lnTo>
                      <a:pt x="198908" y="93899"/>
                    </a:lnTo>
                    <a:lnTo>
                      <a:pt x="197762" y="95663"/>
                    </a:lnTo>
                    <a:lnTo>
                      <a:pt x="196351" y="96192"/>
                    </a:lnTo>
                    <a:lnTo>
                      <a:pt x="194235" y="97073"/>
                    </a:lnTo>
                    <a:lnTo>
                      <a:pt x="192207" y="96809"/>
                    </a:lnTo>
                    <a:lnTo>
                      <a:pt x="190179" y="97073"/>
                    </a:lnTo>
                    <a:lnTo>
                      <a:pt x="189562" y="97426"/>
                    </a:lnTo>
                    <a:lnTo>
                      <a:pt x="189914" y="98572"/>
                    </a:lnTo>
                    <a:lnTo>
                      <a:pt x="191061" y="100865"/>
                    </a:lnTo>
                    <a:lnTo>
                      <a:pt x="190443" y="104391"/>
                    </a:lnTo>
                    <a:lnTo>
                      <a:pt x="190797" y="106419"/>
                    </a:lnTo>
                    <a:lnTo>
                      <a:pt x="191061" y="108800"/>
                    </a:lnTo>
                    <a:lnTo>
                      <a:pt x="191061" y="112856"/>
                    </a:lnTo>
                    <a:lnTo>
                      <a:pt x="190179" y="114619"/>
                    </a:lnTo>
                    <a:lnTo>
                      <a:pt x="189562" y="115765"/>
                    </a:lnTo>
                    <a:lnTo>
                      <a:pt x="187799" y="116382"/>
                    </a:lnTo>
                    <a:lnTo>
                      <a:pt x="184889" y="118675"/>
                    </a:lnTo>
                    <a:lnTo>
                      <a:pt x="181186" y="127403"/>
                    </a:lnTo>
                    <a:lnTo>
                      <a:pt x="180304" y="128902"/>
                    </a:lnTo>
                    <a:lnTo>
                      <a:pt x="178805" y="130666"/>
                    </a:lnTo>
                    <a:lnTo>
                      <a:pt x="177042" y="131812"/>
                    </a:lnTo>
                    <a:lnTo>
                      <a:pt x="174397" y="135868"/>
                    </a:lnTo>
                    <a:lnTo>
                      <a:pt x="175631" y="139394"/>
                    </a:lnTo>
                    <a:lnTo>
                      <a:pt x="175014" y="145831"/>
                    </a:lnTo>
                    <a:lnTo>
                      <a:pt x="173251" y="149005"/>
                    </a:lnTo>
                    <a:lnTo>
                      <a:pt x="172722" y="149269"/>
                    </a:lnTo>
                    <a:lnTo>
                      <a:pt x="171223" y="148740"/>
                    </a:lnTo>
                    <a:lnTo>
                      <a:pt x="170606" y="149269"/>
                    </a:lnTo>
                    <a:lnTo>
                      <a:pt x="171223" y="150151"/>
                    </a:lnTo>
                    <a:lnTo>
                      <a:pt x="171223" y="154295"/>
                    </a:lnTo>
                    <a:lnTo>
                      <a:pt x="166550" y="162759"/>
                    </a:lnTo>
                    <a:lnTo>
                      <a:pt x="160996" y="164169"/>
                    </a:lnTo>
                    <a:lnTo>
                      <a:pt x="159232" y="165316"/>
                    </a:lnTo>
                    <a:lnTo>
                      <a:pt x="157469" y="164169"/>
                    </a:lnTo>
                    <a:lnTo>
                      <a:pt x="159585" y="172898"/>
                    </a:lnTo>
                    <a:lnTo>
                      <a:pt x="161613" y="175543"/>
                    </a:lnTo>
                    <a:lnTo>
                      <a:pt x="156322" y="179599"/>
                    </a:lnTo>
                    <a:lnTo>
                      <a:pt x="156058" y="181098"/>
                    </a:lnTo>
                    <a:lnTo>
                      <a:pt x="154912" y="185154"/>
                    </a:lnTo>
                    <a:lnTo>
                      <a:pt x="153413" y="186035"/>
                    </a:lnTo>
                    <a:lnTo>
                      <a:pt x="151914" y="184625"/>
                    </a:lnTo>
                    <a:lnTo>
                      <a:pt x="151914" y="182861"/>
                    </a:lnTo>
                    <a:lnTo>
                      <a:pt x="151121" y="182597"/>
                    </a:lnTo>
                    <a:lnTo>
                      <a:pt x="149975" y="184625"/>
                    </a:lnTo>
                    <a:lnTo>
                      <a:pt x="149357" y="189562"/>
                    </a:lnTo>
                    <a:lnTo>
                      <a:pt x="148123" y="192736"/>
                    </a:lnTo>
                    <a:lnTo>
                      <a:pt x="146712" y="194764"/>
                    </a:lnTo>
                    <a:lnTo>
                      <a:pt x="146712" y="196263"/>
                    </a:lnTo>
                    <a:lnTo>
                      <a:pt x="144684" y="197762"/>
                    </a:lnTo>
                    <a:lnTo>
                      <a:pt x="141158" y="200407"/>
                    </a:lnTo>
                    <a:lnTo>
                      <a:pt x="139129" y="200936"/>
                    </a:lnTo>
                    <a:lnTo>
                      <a:pt x="137102" y="199790"/>
                    </a:lnTo>
                    <a:lnTo>
                      <a:pt x="135955" y="199790"/>
                    </a:lnTo>
                    <a:lnTo>
                      <a:pt x="135338" y="200671"/>
                    </a:lnTo>
                    <a:lnTo>
                      <a:pt x="134721" y="202435"/>
                    </a:lnTo>
                    <a:lnTo>
                      <a:pt x="133046" y="209664"/>
                    </a:lnTo>
                    <a:lnTo>
                      <a:pt x="132164" y="210282"/>
                    </a:lnTo>
                    <a:lnTo>
                      <a:pt x="131018" y="210017"/>
                    </a:lnTo>
                    <a:lnTo>
                      <a:pt x="130401" y="210546"/>
                    </a:lnTo>
                    <a:lnTo>
                      <a:pt x="129784" y="211692"/>
                    </a:lnTo>
                    <a:lnTo>
                      <a:pt x="130048" y="212310"/>
                    </a:lnTo>
                    <a:lnTo>
                      <a:pt x="130048" y="213456"/>
                    </a:lnTo>
                    <a:lnTo>
                      <a:pt x="129784" y="216365"/>
                    </a:lnTo>
                    <a:lnTo>
                      <a:pt x="127756" y="218129"/>
                    </a:lnTo>
                    <a:lnTo>
                      <a:pt x="125375" y="220774"/>
                    </a:lnTo>
                    <a:lnTo>
                      <a:pt x="117793" y="229502"/>
                    </a:lnTo>
                    <a:lnTo>
                      <a:pt x="117000" y="230649"/>
                    </a:lnTo>
                    <a:lnTo>
                      <a:pt x="114883" y="232764"/>
                    </a:lnTo>
                    <a:lnTo>
                      <a:pt x="114619" y="233911"/>
                    </a:lnTo>
                    <a:lnTo>
                      <a:pt x="112855" y="234792"/>
                    </a:lnTo>
                    <a:lnTo>
                      <a:pt x="111974" y="236556"/>
                    </a:lnTo>
                    <a:lnTo>
                      <a:pt x="110299" y="238231"/>
                    </a:lnTo>
                    <a:lnTo>
                      <a:pt x="109417" y="237702"/>
                    </a:lnTo>
                    <a:lnTo>
                      <a:pt x="107653" y="235057"/>
                    </a:lnTo>
                    <a:lnTo>
                      <a:pt x="104391" y="235321"/>
                    </a:lnTo>
                    <a:lnTo>
                      <a:pt x="102981" y="237349"/>
                    </a:lnTo>
                    <a:lnTo>
                      <a:pt x="97955" y="246431"/>
                    </a:lnTo>
                    <a:lnTo>
                      <a:pt x="97161" y="246695"/>
                    </a:lnTo>
                    <a:lnTo>
                      <a:pt x="96280" y="246166"/>
                    </a:lnTo>
                    <a:lnTo>
                      <a:pt x="94781" y="246695"/>
                    </a:lnTo>
                    <a:lnTo>
                      <a:pt x="95133" y="251368"/>
                    </a:lnTo>
                    <a:lnTo>
                      <a:pt x="93899" y="251633"/>
                    </a:lnTo>
                    <a:lnTo>
                      <a:pt x="91607" y="251104"/>
                    </a:lnTo>
                    <a:lnTo>
                      <a:pt x="85171" y="254630"/>
                    </a:lnTo>
                    <a:lnTo>
                      <a:pt x="83143" y="256041"/>
                    </a:lnTo>
                    <a:lnTo>
                      <a:pt x="79881" y="259832"/>
                    </a:lnTo>
                    <a:lnTo>
                      <a:pt x="75560" y="263888"/>
                    </a:lnTo>
                    <a:lnTo>
                      <a:pt x="70887" y="267150"/>
                    </a:lnTo>
                    <a:lnTo>
                      <a:pt x="70006" y="268649"/>
                    </a:lnTo>
                    <a:lnTo>
                      <a:pt x="69124" y="269443"/>
                    </a:lnTo>
                    <a:lnTo>
                      <a:pt x="68242" y="271206"/>
                    </a:lnTo>
                    <a:lnTo>
                      <a:pt x="66832" y="271823"/>
                    </a:lnTo>
                    <a:lnTo>
                      <a:pt x="65068" y="271206"/>
                    </a:lnTo>
                    <a:lnTo>
                      <a:pt x="63569" y="271206"/>
                    </a:lnTo>
                    <a:lnTo>
                      <a:pt x="62688" y="270942"/>
                    </a:lnTo>
                    <a:lnTo>
                      <a:pt x="61806" y="271823"/>
                    </a:lnTo>
                    <a:lnTo>
                      <a:pt x="62688" y="272705"/>
                    </a:lnTo>
                    <a:lnTo>
                      <a:pt x="63569" y="272705"/>
                    </a:lnTo>
                    <a:lnTo>
                      <a:pt x="64716" y="273586"/>
                    </a:lnTo>
                    <a:lnTo>
                      <a:pt x="64451" y="274733"/>
                    </a:lnTo>
                    <a:lnTo>
                      <a:pt x="61806" y="276143"/>
                    </a:lnTo>
                    <a:lnTo>
                      <a:pt x="59249" y="282051"/>
                    </a:lnTo>
                    <a:lnTo>
                      <a:pt x="59249" y="283461"/>
                    </a:lnTo>
                    <a:lnTo>
                      <a:pt x="55193" y="289016"/>
                    </a:lnTo>
                    <a:lnTo>
                      <a:pt x="46994" y="297745"/>
                    </a:lnTo>
                    <a:lnTo>
                      <a:pt x="46376" y="298626"/>
                    </a:lnTo>
                    <a:lnTo>
                      <a:pt x="44613" y="299773"/>
                    </a:lnTo>
                    <a:lnTo>
                      <a:pt x="35267" y="305327"/>
                    </a:lnTo>
                    <a:lnTo>
                      <a:pt x="34738" y="306562"/>
                    </a:lnTo>
                    <a:lnTo>
                      <a:pt x="33592" y="307972"/>
                    </a:lnTo>
                    <a:lnTo>
                      <a:pt x="34386" y="308589"/>
                    </a:lnTo>
                    <a:lnTo>
                      <a:pt x="32975" y="310265"/>
                    </a:lnTo>
                    <a:lnTo>
                      <a:pt x="31476" y="311499"/>
                    </a:lnTo>
                    <a:lnTo>
                      <a:pt x="27420" y="317583"/>
                    </a:lnTo>
                    <a:lnTo>
                      <a:pt x="26274" y="318817"/>
                    </a:lnTo>
                    <a:lnTo>
                      <a:pt x="24775" y="319081"/>
                    </a:lnTo>
                    <a:lnTo>
                      <a:pt x="23894" y="319610"/>
                    </a:lnTo>
                    <a:lnTo>
                      <a:pt x="23894" y="321638"/>
                    </a:lnTo>
                    <a:lnTo>
                      <a:pt x="23629" y="322873"/>
                    </a:lnTo>
                    <a:lnTo>
                      <a:pt x="22483" y="323402"/>
                    </a:lnTo>
                    <a:lnTo>
                      <a:pt x="21866" y="322520"/>
                    </a:lnTo>
                    <a:lnTo>
                      <a:pt x="20984" y="321638"/>
                    </a:lnTo>
                    <a:lnTo>
                      <a:pt x="20719" y="322520"/>
                    </a:lnTo>
                    <a:lnTo>
                      <a:pt x="20984" y="324019"/>
                    </a:lnTo>
                    <a:lnTo>
                      <a:pt x="20984" y="326047"/>
                    </a:lnTo>
                    <a:lnTo>
                      <a:pt x="20455" y="328427"/>
                    </a:lnTo>
                    <a:lnTo>
                      <a:pt x="19838" y="328692"/>
                    </a:lnTo>
                    <a:lnTo>
                      <a:pt x="19221" y="328956"/>
                    </a:lnTo>
                    <a:lnTo>
                      <a:pt x="18692" y="328692"/>
                    </a:lnTo>
                    <a:lnTo>
                      <a:pt x="18692" y="329573"/>
                    </a:lnTo>
                    <a:lnTo>
                      <a:pt x="18692" y="329838"/>
                    </a:lnTo>
                    <a:lnTo>
                      <a:pt x="14548" y="338302"/>
                    </a:lnTo>
                    <a:lnTo>
                      <a:pt x="11991" y="342093"/>
                    </a:lnTo>
                    <a:lnTo>
                      <a:pt x="0" y="320492"/>
                    </a:lnTo>
                    <a:lnTo>
                      <a:pt x="6701" y="218129"/>
                    </a:lnTo>
                    <a:lnTo>
                      <a:pt x="12873" y="209400"/>
                    </a:lnTo>
                    <a:lnTo>
                      <a:pt x="18339" y="200936"/>
                    </a:lnTo>
                    <a:lnTo>
                      <a:pt x="22130" y="195381"/>
                    </a:lnTo>
                    <a:lnTo>
                      <a:pt x="23894" y="193970"/>
                    </a:lnTo>
                    <a:lnTo>
                      <a:pt x="29801" y="194235"/>
                    </a:lnTo>
                    <a:lnTo>
                      <a:pt x="38265" y="191854"/>
                    </a:lnTo>
                    <a:lnTo>
                      <a:pt x="41968" y="189827"/>
                    </a:lnTo>
                    <a:lnTo>
                      <a:pt x="43467" y="185154"/>
                    </a:lnTo>
                    <a:lnTo>
                      <a:pt x="51049" y="180481"/>
                    </a:lnTo>
                    <a:lnTo>
                      <a:pt x="61806" y="176425"/>
                    </a:lnTo>
                    <a:lnTo>
                      <a:pt x="85788" y="177042"/>
                    </a:lnTo>
                    <a:lnTo>
                      <a:pt x="129255" y="123083"/>
                    </a:lnTo>
                    <a:lnTo>
                      <a:pt x="128902" y="99101"/>
                    </a:lnTo>
                    <a:lnTo>
                      <a:pt x="56604" y="67361"/>
                    </a:lnTo>
                    <a:lnTo>
                      <a:pt x="50168" y="63834"/>
                    </a:lnTo>
                    <a:lnTo>
                      <a:pt x="48404" y="62071"/>
                    </a:lnTo>
                    <a:lnTo>
                      <a:pt x="47523" y="59161"/>
                    </a:lnTo>
                    <a:lnTo>
                      <a:pt x="44878" y="52460"/>
                    </a:lnTo>
                    <a:lnTo>
                      <a:pt x="40822" y="52460"/>
                    </a:lnTo>
                    <a:lnTo>
                      <a:pt x="40557" y="47258"/>
                    </a:lnTo>
                    <a:lnTo>
                      <a:pt x="37912" y="45759"/>
                    </a:lnTo>
                    <a:lnTo>
                      <a:pt x="35003" y="38177"/>
                    </a:lnTo>
                    <a:lnTo>
                      <a:pt x="32358" y="34121"/>
                    </a:lnTo>
                    <a:lnTo>
                      <a:pt x="34121" y="29713"/>
                    </a:lnTo>
                    <a:lnTo>
                      <a:pt x="36149" y="27420"/>
                    </a:lnTo>
                    <a:lnTo>
                      <a:pt x="37383" y="26539"/>
                    </a:lnTo>
                    <a:lnTo>
                      <a:pt x="38265" y="24775"/>
                    </a:lnTo>
                    <a:lnTo>
                      <a:pt x="44084" y="131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1" name="Freihandform: Form 1790">
                <a:extLst>
                  <a:ext uri="{FF2B5EF4-FFF2-40B4-BE49-F238E27FC236}">
                    <a16:creationId xmlns:a16="http://schemas.microsoft.com/office/drawing/2014/main" id="{C993F119-904F-1B0F-335D-EC9375FEF913}"/>
                  </a:ext>
                </a:extLst>
              </p:cNvPr>
              <p:cNvSpPr/>
              <p:nvPr/>
            </p:nvSpPr>
            <p:spPr>
              <a:xfrm>
                <a:off x="3776681" y="3900876"/>
                <a:ext cx="67713" cy="76177"/>
              </a:xfrm>
              <a:custGeom>
                <a:avLst/>
                <a:gdLst>
                  <a:gd name="connsiteX0" fmla="*/ 67713 w 67713"/>
                  <a:gd name="connsiteY0" fmla="*/ 37384 h 76177"/>
                  <a:gd name="connsiteX1" fmla="*/ 64187 w 67713"/>
                  <a:gd name="connsiteY1" fmla="*/ 37384 h 76177"/>
                  <a:gd name="connsiteX2" fmla="*/ 61542 w 67713"/>
                  <a:gd name="connsiteY2" fmla="*/ 41792 h 76177"/>
                  <a:gd name="connsiteX3" fmla="*/ 57750 w 67713"/>
                  <a:gd name="connsiteY3" fmla="*/ 42938 h 76177"/>
                  <a:gd name="connsiteX4" fmla="*/ 63040 w 67713"/>
                  <a:gd name="connsiteY4" fmla="*/ 33240 h 76177"/>
                  <a:gd name="connsiteX5" fmla="*/ 60660 w 67713"/>
                  <a:gd name="connsiteY5" fmla="*/ 23100 h 76177"/>
                  <a:gd name="connsiteX6" fmla="*/ 56869 w 67713"/>
                  <a:gd name="connsiteY6" fmla="*/ 19838 h 76177"/>
                  <a:gd name="connsiteX7" fmla="*/ 58632 w 67713"/>
                  <a:gd name="connsiteY7" fmla="*/ 17281 h 76177"/>
                  <a:gd name="connsiteX8" fmla="*/ 53959 w 67713"/>
                  <a:gd name="connsiteY8" fmla="*/ 10228 h 76177"/>
                  <a:gd name="connsiteX9" fmla="*/ 51050 w 67713"/>
                  <a:gd name="connsiteY9" fmla="*/ 5907 h 76177"/>
                  <a:gd name="connsiteX10" fmla="*/ 48140 w 67713"/>
                  <a:gd name="connsiteY10" fmla="*/ 882 h 76177"/>
                  <a:gd name="connsiteX11" fmla="*/ 31829 w 67713"/>
                  <a:gd name="connsiteY11" fmla="*/ 0 h 76177"/>
                  <a:gd name="connsiteX12" fmla="*/ 27420 w 67713"/>
                  <a:gd name="connsiteY12" fmla="*/ 2381 h 76177"/>
                  <a:gd name="connsiteX13" fmla="*/ 23982 w 67713"/>
                  <a:gd name="connsiteY13" fmla="*/ 1499 h 76177"/>
                  <a:gd name="connsiteX14" fmla="*/ 18074 w 67713"/>
                  <a:gd name="connsiteY14" fmla="*/ 2998 h 76177"/>
                  <a:gd name="connsiteX15" fmla="*/ 16928 w 67713"/>
                  <a:gd name="connsiteY15" fmla="*/ 7671 h 76177"/>
                  <a:gd name="connsiteX16" fmla="*/ 13137 w 67713"/>
                  <a:gd name="connsiteY16" fmla="*/ 14900 h 76177"/>
                  <a:gd name="connsiteX17" fmla="*/ 8464 w 67713"/>
                  <a:gd name="connsiteY17" fmla="*/ 17546 h 76177"/>
                  <a:gd name="connsiteX18" fmla="*/ 8817 w 67713"/>
                  <a:gd name="connsiteY18" fmla="*/ 19838 h 76177"/>
                  <a:gd name="connsiteX19" fmla="*/ 5290 w 67713"/>
                  <a:gd name="connsiteY19" fmla="*/ 23365 h 76177"/>
                  <a:gd name="connsiteX20" fmla="*/ 2909 w 67713"/>
                  <a:gd name="connsiteY20" fmla="*/ 24246 h 76177"/>
                  <a:gd name="connsiteX21" fmla="*/ 617 w 67713"/>
                  <a:gd name="connsiteY21" fmla="*/ 24246 h 76177"/>
                  <a:gd name="connsiteX22" fmla="*/ 882 w 67713"/>
                  <a:gd name="connsiteY22" fmla="*/ 26274 h 76177"/>
                  <a:gd name="connsiteX23" fmla="*/ 1499 w 67713"/>
                  <a:gd name="connsiteY23" fmla="*/ 25745 h 76177"/>
                  <a:gd name="connsiteX24" fmla="*/ 2380 w 67713"/>
                  <a:gd name="connsiteY24" fmla="*/ 26010 h 76177"/>
                  <a:gd name="connsiteX25" fmla="*/ 2909 w 67713"/>
                  <a:gd name="connsiteY25" fmla="*/ 27156 h 76177"/>
                  <a:gd name="connsiteX26" fmla="*/ 3791 w 67713"/>
                  <a:gd name="connsiteY26" fmla="*/ 26539 h 76177"/>
                  <a:gd name="connsiteX27" fmla="*/ 5555 w 67713"/>
                  <a:gd name="connsiteY27" fmla="*/ 26539 h 76177"/>
                  <a:gd name="connsiteX28" fmla="*/ 5026 w 67713"/>
                  <a:gd name="connsiteY28" fmla="*/ 27156 h 76177"/>
                  <a:gd name="connsiteX29" fmla="*/ 3791 w 67713"/>
                  <a:gd name="connsiteY29" fmla="*/ 27773 h 76177"/>
                  <a:gd name="connsiteX30" fmla="*/ 5907 w 67713"/>
                  <a:gd name="connsiteY30" fmla="*/ 28038 h 76177"/>
                  <a:gd name="connsiteX31" fmla="*/ 7935 w 67713"/>
                  <a:gd name="connsiteY31" fmla="*/ 28655 h 76177"/>
                  <a:gd name="connsiteX32" fmla="*/ 5555 w 67713"/>
                  <a:gd name="connsiteY32" fmla="*/ 28919 h 76177"/>
                  <a:gd name="connsiteX33" fmla="*/ 2909 w 67713"/>
                  <a:gd name="connsiteY33" fmla="*/ 28302 h 76177"/>
                  <a:gd name="connsiteX34" fmla="*/ 2380 w 67713"/>
                  <a:gd name="connsiteY34" fmla="*/ 32975 h 76177"/>
                  <a:gd name="connsiteX35" fmla="*/ 2028 w 67713"/>
                  <a:gd name="connsiteY35" fmla="*/ 34738 h 76177"/>
                  <a:gd name="connsiteX36" fmla="*/ 3791 w 67713"/>
                  <a:gd name="connsiteY36" fmla="*/ 36766 h 76177"/>
                  <a:gd name="connsiteX37" fmla="*/ 5026 w 67713"/>
                  <a:gd name="connsiteY37" fmla="*/ 35356 h 76177"/>
                  <a:gd name="connsiteX38" fmla="*/ 4144 w 67713"/>
                  <a:gd name="connsiteY38" fmla="*/ 32975 h 76177"/>
                  <a:gd name="connsiteX39" fmla="*/ 5026 w 67713"/>
                  <a:gd name="connsiteY39" fmla="*/ 33857 h 76177"/>
                  <a:gd name="connsiteX40" fmla="*/ 6172 w 67713"/>
                  <a:gd name="connsiteY40" fmla="*/ 32975 h 76177"/>
                  <a:gd name="connsiteX41" fmla="*/ 7053 w 67713"/>
                  <a:gd name="connsiteY41" fmla="*/ 33857 h 76177"/>
                  <a:gd name="connsiteX42" fmla="*/ 6172 w 67713"/>
                  <a:gd name="connsiteY42" fmla="*/ 34474 h 76177"/>
                  <a:gd name="connsiteX43" fmla="*/ 5907 w 67713"/>
                  <a:gd name="connsiteY43" fmla="*/ 34209 h 76177"/>
                  <a:gd name="connsiteX44" fmla="*/ 5026 w 67713"/>
                  <a:gd name="connsiteY44" fmla="*/ 34474 h 76177"/>
                  <a:gd name="connsiteX45" fmla="*/ 6172 w 67713"/>
                  <a:gd name="connsiteY45" fmla="*/ 35356 h 76177"/>
                  <a:gd name="connsiteX46" fmla="*/ 8464 w 67713"/>
                  <a:gd name="connsiteY46" fmla="*/ 34474 h 76177"/>
                  <a:gd name="connsiteX47" fmla="*/ 9610 w 67713"/>
                  <a:gd name="connsiteY47" fmla="*/ 32711 h 76177"/>
                  <a:gd name="connsiteX48" fmla="*/ 8464 w 67713"/>
                  <a:gd name="connsiteY48" fmla="*/ 35356 h 76177"/>
                  <a:gd name="connsiteX49" fmla="*/ 9963 w 67713"/>
                  <a:gd name="connsiteY49" fmla="*/ 34474 h 76177"/>
                  <a:gd name="connsiteX50" fmla="*/ 10228 w 67713"/>
                  <a:gd name="connsiteY50" fmla="*/ 35620 h 76177"/>
                  <a:gd name="connsiteX51" fmla="*/ 8464 w 67713"/>
                  <a:gd name="connsiteY51" fmla="*/ 36502 h 76177"/>
                  <a:gd name="connsiteX52" fmla="*/ 6436 w 67713"/>
                  <a:gd name="connsiteY52" fmla="*/ 36237 h 76177"/>
                  <a:gd name="connsiteX53" fmla="*/ 6172 w 67713"/>
                  <a:gd name="connsiteY53" fmla="*/ 37384 h 76177"/>
                  <a:gd name="connsiteX54" fmla="*/ 4673 w 67713"/>
                  <a:gd name="connsiteY54" fmla="*/ 38265 h 76177"/>
                  <a:gd name="connsiteX55" fmla="*/ 6172 w 67713"/>
                  <a:gd name="connsiteY55" fmla="*/ 39147 h 76177"/>
                  <a:gd name="connsiteX56" fmla="*/ 6436 w 67713"/>
                  <a:gd name="connsiteY56" fmla="*/ 40293 h 76177"/>
                  <a:gd name="connsiteX57" fmla="*/ 4408 w 67713"/>
                  <a:gd name="connsiteY57" fmla="*/ 39411 h 76177"/>
                  <a:gd name="connsiteX58" fmla="*/ 2909 w 67713"/>
                  <a:gd name="connsiteY58" fmla="*/ 37384 h 76177"/>
                  <a:gd name="connsiteX59" fmla="*/ 1763 w 67713"/>
                  <a:gd name="connsiteY59" fmla="*/ 36766 h 76177"/>
                  <a:gd name="connsiteX60" fmla="*/ 882 w 67713"/>
                  <a:gd name="connsiteY60" fmla="*/ 37384 h 76177"/>
                  <a:gd name="connsiteX61" fmla="*/ 0 w 67713"/>
                  <a:gd name="connsiteY61" fmla="*/ 38265 h 76177"/>
                  <a:gd name="connsiteX62" fmla="*/ 0 w 67713"/>
                  <a:gd name="connsiteY62" fmla="*/ 39411 h 76177"/>
                  <a:gd name="connsiteX63" fmla="*/ 3527 w 67713"/>
                  <a:gd name="connsiteY63" fmla="*/ 43203 h 76177"/>
                  <a:gd name="connsiteX64" fmla="*/ 3527 w 67713"/>
                  <a:gd name="connsiteY64" fmla="*/ 45495 h 76177"/>
                  <a:gd name="connsiteX65" fmla="*/ 5290 w 67713"/>
                  <a:gd name="connsiteY65" fmla="*/ 45230 h 76177"/>
                  <a:gd name="connsiteX66" fmla="*/ 6436 w 67713"/>
                  <a:gd name="connsiteY66" fmla="*/ 43467 h 76177"/>
                  <a:gd name="connsiteX67" fmla="*/ 7582 w 67713"/>
                  <a:gd name="connsiteY67" fmla="*/ 43467 h 76177"/>
                  <a:gd name="connsiteX68" fmla="*/ 8200 w 67713"/>
                  <a:gd name="connsiteY68" fmla="*/ 44349 h 76177"/>
                  <a:gd name="connsiteX69" fmla="*/ 7582 w 67713"/>
                  <a:gd name="connsiteY69" fmla="*/ 45230 h 76177"/>
                  <a:gd name="connsiteX70" fmla="*/ 8464 w 67713"/>
                  <a:gd name="connsiteY70" fmla="*/ 46377 h 76177"/>
                  <a:gd name="connsiteX71" fmla="*/ 9610 w 67713"/>
                  <a:gd name="connsiteY71" fmla="*/ 47611 h 76177"/>
                  <a:gd name="connsiteX72" fmla="*/ 9081 w 67713"/>
                  <a:gd name="connsiteY72" fmla="*/ 49286 h 76177"/>
                  <a:gd name="connsiteX73" fmla="*/ 11374 w 67713"/>
                  <a:gd name="connsiteY73" fmla="*/ 51667 h 76177"/>
                  <a:gd name="connsiteX74" fmla="*/ 9610 w 67713"/>
                  <a:gd name="connsiteY74" fmla="*/ 51050 h 76177"/>
                  <a:gd name="connsiteX75" fmla="*/ 7935 w 67713"/>
                  <a:gd name="connsiteY75" fmla="*/ 52284 h 76177"/>
                  <a:gd name="connsiteX76" fmla="*/ 8200 w 67713"/>
                  <a:gd name="connsiteY76" fmla="*/ 53078 h 76177"/>
                  <a:gd name="connsiteX77" fmla="*/ 10845 w 67713"/>
                  <a:gd name="connsiteY77" fmla="*/ 54841 h 76177"/>
                  <a:gd name="connsiteX78" fmla="*/ 11726 w 67713"/>
                  <a:gd name="connsiteY78" fmla="*/ 54576 h 76177"/>
                  <a:gd name="connsiteX79" fmla="*/ 12255 w 67713"/>
                  <a:gd name="connsiteY79" fmla="*/ 55458 h 76177"/>
                  <a:gd name="connsiteX80" fmla="*/ 11726 w 67713"/>
                  <a:gd name="connsiteY80" fmla="*/ 56340 h 76177"/>
                  <a:gd name="connsiteX81" fmla="*/ 14019 w 67713"/>
                  <a:gd name="connsiteY81" fmla="*/ 57486 h 76177"/>
                  <a:gd name="connsiteX82" fmla="*/ 15518 w 67713"/>
                  <a:gd name="connsiteY82" fmla="*/ 57838 h 76177"/>
                  <a:gd name="connsiteX83" fmla="*/ 17193 w 67713"/>
                  <a:gd name="connsiteY83" fmla="*/ 57486 h 76177"/>
                  <a:gd name="connsiteX84" fmla="*/ 18692 w 67713"/>
                  <a:gd name="connsiteY84" fmla="*/ 55193 h 76177"/>
                  <a:gd name="connsiteX85" fmla="*/ 18956 w 67713"/>
                  <a:gd name="connsiteY85" fmla="*/ 55722 h 76177"/>
                  <a:gd name="connsiteX86" fmla="*/ 18692 w 67713"/>
                  <a:gd name="connsiteY86" fmla="*/ 57221 h 76177"/>
                  <a:gd name="connsiteX87" fmla="*/ 18074 w 67713"/>
                  <a:gd name="connsiteY87" fmla="*/ 58103 h 76177"/>
                  <a:gd name="connsiteX88" fmla="*/ 17545 w 67713"/>
                  <a:gd name="connsiteY88" fmla="*/ 58632 h 76177"/>
                  <a:gd name="connsiteX89" fmla="*/ 18692 w 67713"/>
                  <a:gd name="connsiteY89" fmla="*/ 58632 h 76177"/>
                  <a:gd name="connsiteX90" fmla="*/ 17193 w 67713"/>
                  <a:gd name="connsiteY90" fmla="*/ 59514 h 76177"/>
                  <a:gd name="connsiteX91" fmla="*/ 18692 w 67713"/>
                  <a:gd name="connsiteY91" fmla="*/ 60748 h 76177"/>
                  <a:gd name="connsiteX92" fmla="*/ 20455 w 67713"/>
                  <a:gd name="connsiteY92" fmla="*/ 60131 h 76177"/>
                  <a:gd name="connsiteX93" fmla="*/ 21866 w 67713"/>
                  <a:gd name="connsiteY93" fmla="*/ 60748 h 76177"/>
                  <a:gd name="connsiteX94" fmla="*/ 23629 w 67713"/>
                  <a:gd name="connsiteY94" fmla="*/ 59249 h 76177"/>
                  <a:gd name="connsiteX95" fmla="*/ 24864 w 67713"/>
                  <a:gd name="connsiteY95" fmla="*/ 59514 h 76177"/>
                  <a:gd name="connsiteX96" fmla="*/ 24246 w 67713"/>
                  <a:gd name="connsiteY96" fmla="*/ 60395 h 76177"/>
                  <a:gd name="connsiteX97" fmla="*/ 21866 w 67713"/>
                  <a:gd name="connsiteY97" fmla="*/ 61542 h 76177"/>
                  <a:gd name="connsiteX98" fmla="*/ 20720 w 67713"/>
                  <a:gd name="connsiteY98" fmla="*/ 61894 h 76177"/>
                  <a:gd name="connsiteX99" fmla="*/ 19838 w 67713"/>
                  <a:gd name="connsiteY99" fmla="*/ 61542 h 76177"/>
                  <a:gd name="connsiteX100" fmla="*/ 17810 w 67713"/>
                  <a:gd name="connsiteY100" fmla="*/ 63041 h 76177"/>
                  <a:gd name="connsiteX101" fmla="*/ 17545 w 67713"/>
                  <a:gd name="connsiteY101" fmla="*/ 63570 h 76177"/>
                  <a:gd name="connsiteX102" fmla="*/ 19838 w 67713"/>
                  <a:gd name="connsiteY102" fmla="*/ 63922 h 76177"/>
                  <a:gd name="connsiteX103" fmla="*/ 21337 w 67713"/>
                  <a:gd name="connsiteY103" fmla="*/ 64451 h 76177"/>
                  <a:gd name="connsiteX104" fmla="*/ 20720 w 67713"/>
                  <a:gd name="connsiteY104" fmla="*/ 65333 h 76177"/>
                  <a:gd name="connsiteX105" fmla="*/ 19838 w 67713"/>
                  <a:gd name="connsiteY105" fmla="*/ 64451 h 76177"/>
                  <a:gd name="connsiteX106" fmla="*/ 18074 w 67713"/>
                  <a:gd name="connsiteY106" fmla="*/ 64451 h 76177"/>
                  <a:gd name="connsiteX107" fmla="*/ 17545 w 67713"/>
                  <a:gd name="connsiteY107" fmla="*/ 65333 h 76177"/>
                  <a:gd name="connsiteX108" fmla="*/ 18692 w 67713"/>
                  <a:gd name="connsiteY108" fmla="*/ 66215 h 76177"/>
                  <a:gd name="connsiteX109" fmla="*/ 22747 w 67713"/>
                  <a:gd name="connsiteY109" fmla="*/ 68595 h 76177"/>
                  <a:gd name="connsiteX110" fmla="*/ 26539 w 67713"/>
                  <a:gd name="connsiteY110" fmla="*/ 68330 h 76177"/>
                  <a:gd name="connsiteX111" fmla="*/ 32710 w 67713"/>
                  <a:gd name="connsiteY111" fmla="*/ 70623 h 76177"/>
                  <a:gd name="connsiteX112" fmla="*/ 35620 w 67713"/>
                  <a:gd name="connsiteY112" fmla="*/ 72122 h 76177"/>
                  <a:gd name="connsiteX113" fmla="*/ 36502 w 67713"/>
                  <a:gd name="connsiteY113" fmla="*/ 74414 h 76177"/>
                  <a:gd name="connsiteX114" fmla="*/ 39411 w 67713"/>
                  <a:gd name="connsiteY114" fmla="*/ 76178 h 76177"/>
                  <a:gd name="connsiteX115" fmla="*/ 40293 w 67713"/>
                  <a:gd name="connsiteY115" fmla="*/ 76178 h 76177"/>
                  <a:gd name="connsiteX116" fmla="*/ 41704 w 67713"/>
                  <a:gd name="connsiteY116" fmla="*/ 76178 h 76177"/>
                  <a:gd name="connsiteX117" fmla="*/ 41175 w 67713"/>
                  <a:gd name="connsiteY117" fmla="*/ 75560 h 76177"/>
                  <a:gd name="connsiteX118" fmla="*/ 44349 w 67713"/>
                  <a:gd name="connsiteY118" fmla="*/ 69124 h 76177"/>
                  <a:gd name="connsiteX119" fmla="*/ 46729 w 67713"/>
                  <a:gd name="connsiteY119" fmla="*/ 68595 h 76177"/>
                  <a:gd name="connsiteX120" fmla="*/ 57750 w 67713"/>
                  <a:gd name="connsiteY120" fmla="*/ 56604 h 76177"/>
                  <a:gd name="connsiteX121" fmla="*/ 59514 w 67713"/>
                  <a:gd name="connsiteY121" fmla="*/ 55458 h 76177"/>
                  <a:gd name="connsiteX122" fmla="*/ 59514 w 67713"/>
                  <a:gd name="connsiteY122" fmla="*/ 49022 h 76177"/>
                  <a:gd name="connsiteX123" fmla="*/ 61894 w 67713"/>
                  <a:gd name="connsiteY123" fmla="*/ 46377 h 76177"/>
                  <a:gd name="connsiteX124" fmla="*/ 66567 w 67713"/>
                  <a:gd name="connsiteY124" fmla="*/ 45230 h 76177"/>
                  <a:gd name="connsiteX125" fmla="*/ 67449 w 67713"/>
                  <a:gd name="connsiteY125" fmla="*/ 38794 h 76177"/>
                  <a:gd name="connsiteX126" fmla="*/ 67449 w 67713"/>
                  <a:gd name="connsiteY126" fmla="*/ 37384 h 76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</a:cxnLst>
                <a:rect l="l" t="t" r="r" b="b"/>
                <a:pathLst>
                  <a:path w="67713" h="76177">
                    <a:moveTo>
                      <a:pt x="67713" y="37384"/>
                    </a:moveTo>
                    <a:lnTo>
                      <a:pt x="64187" y="37384"/>
                    </a:lnTo>
                    <a:lnTo>
                      <a:pt x="61542" y="41792"/>
                    </a:lnTo>
                    <a:lnTo>
                      <a:pt x="57750" y="42938"/>
                    </a:lnTo>
                    <a:lnTo>
                      <a:pt x="63040" y="33240"/>
                    </a:lnTo>
                    <a:lnTo>
                      <a:pt x="60660" y="23100"/>
                    </a:lnTo>
                    <a:lnTo>
                      <a:pt x="56869" y="19838"/>
                    </a:lnTo>
                    <a:lnTo>
                      <a:pt x="58632" y="17281"/>
                    </a:lnTo>
                    <a:lnTo>
                      <a:pt x="53959" y="10228"/>
                    </a:lnTo>
                    <a:lnTo>
                      <a:pt x="51050" y="5907"/>
                    </a:lnTo>
                    <a:lnTo>
                      <a:pt x="48140" y="882"/>
                    </a:lnTo>
                    <a:lnTo>
                      <a:pt x="31829" y="0"/>
                    </a:lnTo>
                    <a:lnTo>
                      <a:pt x="27420" y="2381"/>
                    </a:lnTo>
                    <a:lnTo>
                      <a:pt x="23982" y="1499"/>
                    </a:lnTo>
                    <a:lnTo>
                      <a:pt x="18074" y="2998"/>
                    </a:lnTo>
                    <a:lnTo>
                      <a:pt x="16928" y="7671"/>
                    </a:lnTo>
                    <a:lnTo>
                      <a:pt x="13137" y="14900"/>
                    </a:lnTo>
                    <a:lnTo>
                      <a:pt x="8464" y="17546"/>
                    </a:lnTo>
                    <a:lnTo>
                      <a:pt x="8817" y="19838"/>
                    </a:lnTo>
                    <a:lnTo>
                      <a:pt x="5290" y="23365"/>
                    </a:lnTo>
                    <a:lnTo>
                      <a:pt x="2909" y="24246"/>
                    </a:lnTo>
                    <a:lnTo>
                      <a:pt x="617" y="24246"/>
                    </a:lnTo>
                    <a:lnTo>
                      <a:pt x="882" y="26274"/>
                    </a:lnTo>
                    <a:lnTo>
                      <a:pt x="1499" y="25745"/>
                    </a:lnTo>
                    <a:lnTo>
                      <a:pt x="2380" y="26010"/>
                    </a:lnTo>
                    <a:lnTo>
                      <a:pt x="2909" y="27156"/>
                    </a:lnTo>
                    <a:lnTo>
                      <a:pt x="3791" y="26539"/>
                    </a:lnTo>
                    <a:lnTo>
                      <a:pt x="5555" y="26539"/>
                    </a:lnTo>
                    <a:lnTo>
                      <a:pt x="5026" y="27156"/>
                    </a:lnTo>
                    <a:lnTo>
                      <a:pt x="3791" y="27773"/>
                    </a:lnTo>
                    <a:lnTo>
                      <a:pt x="5907" y="28038"/>
                    </a:lnTo>
                    <a:lnTo>
                      <a:pt x="7935" y="28655"/>
                    </a:lnTo>
                    <a:lnTo>
                      <a:pt x="5555" y="28919"/>
                    </a:lnTo>
                    <a:lnTo>
                      <a:pt x="2909" y="28302"/>
                    </a:lnTo>
                    <a:lnTo>
                      <a:pt x="2380" y="32975"/>
                    </a:lnTo>
                    <a:lnTo>
                      <a:pt x="2028" y="34738"/>
                    </a:lnTo>
                    <a:lnTo>
                      <a:pt x="3791" y="36766"/>
                    </a:lnTo>
                    <a:lnTo>
                      <a:pt x="5026" y="35356"/>
                    </a:lnTo>
                    <a:lnTo>
                      <a:pt x="4144" y="32975"/>
                    </a:lnTo>
                    <a:lnTo>
                      <a:pt x="5026" y="33857"/>
                    </a:lnTo>
                    <a:lnTo>
                      <a:pt x="6172" y="32975"/>
                    </a:lnTo>
                    <a:lnTo>
                      <a:pt x="7053" y="33857"/>
                    </a:lnTo>
                    <a:lnTo>
                      <a:pt x="6172" y="34474"/>
                    </a:lnTo>
                    <a:lnTo>
                      <a:pt x="5907" y="34209"/>
                    </a:lnTo>
                    <a:lnTo>
                      <a:pt x="5026" y="34474"/>
                    </a:lnTo>
                    <a:lnTo>
                      <a:pt x="6172" y="35356"/>
                    </a:lnTo>
                    <a:lnTo>
                      <a:pt x="8464" y="34474"/>
                    </a:lnTo>
                    <a:lnTo>
                      <a:pt x="9610" y="32711"/>
                    </a:lnTo>
                    <a:lnTo>
                      <a:pt x="8464" y="35356"/>
                    </a:lnTo>
                    <a:lnTo>
                      <a:pt x="9963" y="34474"/>
                    </a:lnTo>
                    <a:lnTo>
                      <a:pt x="10228" y="35620"/>
                    </a:lnTo>
                    <a:lnTo>
                      <a:pt x="8464" y="36502"/>
                    </a:lnTo>
                    <a:lnTo>
                      <a:pt x="6436" y="36237"/>
                    </a:lnTo>
                    <a:lnTo>
                      <a:pt x="6172" y="37384"/>
                    </a:lnTo>
                    <a:lnTo>
                      <a:pt x="4673" y="38265"/>
                    </a:lnTo>
                    <a:lnTo>
                      <a:pt x="6172" y="39147"/>
                    </a:lnTo>
                    <a:lnTo>
                      <a:pt x="6436" y="40293"/>
                    </a:lnTo>
                    <a:lnTo>
                      <a:pt x="4408" y="39411"/>
                    </a:lnTo>
                    <a:lnTo>
                      <a:pt x="2909" y="37384"/>
                    </a:lnTo>
                    <a:lnTo>
                      <a:pt x="1763" y="36766"/>
                    </a:lnTo>
                    <a:lnTo>
                      <a:pt x="882" y="37384"/>
                    </a:lnTo>
                    <a:lnTo>
                      <a:pt x="0" y="38265"/>
                    </a:lnTo>
                    <a:lnTo>
                      <a:pt x="0" y="39411"/>
                    </a:lnTo>
                    <a:lnTo>
                      <a:pt x="3527" y="43203"/>
                    </a:lnTo>
                    <a:lnTo>
                      <a:pt x="3527" y="45495"/>
                    </a:lnTo>
                    <a:lnTo>
                      <a:pt x="5290" y="45230"/>
                    </a:lnTo>
                    <a:lnTo>
                      <a:pt x="6436" y="43467"/>
                    </a:lnTo>
                    <a:lnTo>
                      <a:pt x="7582" y="43467"/>
                    </a:lnTo>
                    <a:lnTo>
                      <a:pt x="8200" y="44349"/>
                    </a:lnTo>
                    <a:lnTo>
                      <a:pt x="7582" y="45230"/>
                    </a:lnTo>
                    <a:lnTo>
                      <a:pt x="8464" y="46377"/>
                    </a:lnTo>
                    <a:lnTo>
                      <a:pt x="9610" y="47611"/>
                    </a:lnTo>
                    <a:lnTo>
                      <a:pt x="9081" y="49286"/>
                    </a:lnTo>
                    <a:lnTo>
                      <a:pt x="11374" y="51667"/>
                    </a:lnTo>
                    <a:lnTo>
                      <a:pt x="9610" y="51050"/>
                    </a:lnTo>
                    <a:lnTo>
                      <a:pt x="7935" y="52284"/>
                    </a:lnTo>
                    <a:lnTo>
                      <a:pt x="8200" y="53078"/>
                    </a:lnTo>
                    <a:lnTo>
                      <a:pt x="10845" y="54841"/>
                    </a:lnTo>
                    <a:lnTo>
                      <a:pt x="11726" y="54576"/>
                    </a:lnTo>
                    <a:lnTo>
                      <a:pt x="12255" y="55458"/>
                    </a:lnTo>
                    <a:lnTo>
                      <a:pt x="11726" y="56340"/>
                    </a:lnTo>
                    <a:lnTo>
                      <a:pt x="14019" y="57486"/>
                    </a:lnTo>
                    <a:lnTo>
                      <a:pt x="15518" y="57838"/>
                    </a:lnTo>
                    <a:lnTo>
                      <a:pt x="17193" y="57486"/>
                    </a:lnTo>
                    <a:lnTo>
                      <a:pt x="18692" y="55193"/>
                    </a:lnTo>
                    <a:lnTo>
                      <a:pt x="18956" y="55722"/>
                    </a:lnTo>
                    <a:lnTo>
                      <a:pt x="18692" y="57221"/>
                    </a:lnTo>
                    <a:lnTo>
                      <a:pt x="18074" y="58103"/>
                    </a:lnTo>
                    <a:lnTo>
                      <a:pt x="17545" y="58632"/>
                    </a:lnTo>
                    <a:lnTo>
                      <a:pt x="18692" y="58632"/>
                    </a:lnTo>
                    <a:lnTo>
                      <a:pt x="17193" y="59514"/>
                    </a:lnTo>
                    <a:lnTo>
                      <a:pt x="18692" y="60748"/>
                    </a:lnTo>
                    <a:lnTo>
                      <a:pt x="20455" y="60131"/>
                    </a:lnTo>
                    <a:lnTo>
                      <a:pt x="21866" y="60748"/>
                    </a:lnTo>
                    <a:lnTo>
                      <a:pt x="23629" y="59249"/>
                    </a:lnTo>
                    <a:lnTo>
                      <a:pt x="24864" y="59514"/>
                    </a:lnTo>
                    <a:lnTo>
                      <a:pt x="24246" y="60395"/>
                    </a:lnTo>
                    <a:lnTo>
                      <a:pt x="21866" y="61542"/>
                    </a:lnTo>
                    <a:lnTo>
                      <a:pt x="20720" y="61894"/>
                    </a:lnTo>
                    <a:lnTo>
                      <a:pt x="19838" y="61542"/>
                    </a:lnTo>
                    <a:lnTo>
                      <a:pt x="17810" y="63041"/>
                    </a:lnTo>
                    <a:lnTo>
                      <a:pt x="17545" y="63570"/>
                    </a:lnTo>
                    <a:lnTo>
                      <a:pt x="19838" y="63922"/>
                    </a:lnTo>
                    <a:lnTo>
                      <a:pt x="21337" y="64451"/>
                    </a:lnTo>
                    <a:lnTo>
                      <a:pt x="20720" y="65333"/>
                    </a:lnTo>
                    <a:lnTo>
                      <a:pt x="19838" y="64451"/>
                    </a:lnTo>
                    <a:lnTo>
                      <a:pt x="18074" y="64451"/>
                    </a:lnTo>
                    <a:lnTo>
                      <a:pt x="17545" y="65333"/>
                    </a:lnTo>
                    <a:lnTo>
                      <a:pt x="18692" y="66215"/>
                    </a:lnTo>
                    <a:lnTo>
                      <a:pt x="22747" y="68595"/>
                    </a:lnTo>
                    <a:lnTo>
                      <a:pt x="26539" y="68330"/>
                    </a:lnTo>
                    <a:lnTo>
                      <a:pt x="32710" y="70623"/>
                    </a:lnTo>
                    <a:lnTo>
                      <a:pt x="35620" y="72122"/>
                    </a:lnTo>
                    <a:lnTo>
                      <a:pt x="36502" y="74414"/>
                    </a:lnTo>
                    <a:lnTo>
                      <a:pt x="39411" y="76178"/>
                    </a:lnTo>
                    <a:lnTo>
                      <a:pt x="40293" y="76178"/>
                    </a:lnTo>
                    <a:lnTo>
                      <a:pt x="41704" y="76178"/>
                    </a:lnTo>
                    <a:lnTo>
                      <a:pt x="41175" y="75560"/>
                    </a:lnTo>
                    <a:lnTo>
                      <a:pt x="44349" y="69124"/>
                    </a:lnTo>
                    <a:lnTo>
                      <a:pt x="46729" y="68595"/>
                    </a:lnTo>
                    <a:lnTo>
                      <a:pt x="57750" y="56604"/>
                    </a:lnTo>
                    <a:lnTo>
                      <a:pt x="59514" y="55458"/>
                    </a:lnTo>
                    <a:lnTo>
                      <a:pt x="59514" y="49022"/>
                    </a:lnTo>
                    <a:lnTo>
                      <a:pt x="61894" y="46377"/>
                    </a:lnTo>
                    <a:lnTo>
                      <a:pt x="66567" y="45230"/>
                    </a:lnTo>
                    <a:lnTo>
                      <a:pt x="67449" y="38794"/>
                    </a:lnTo>
                    <a:lnTo>
                      <a:pt x="67449" y="373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2" name="Freihandform: Form 1791">
                <a:extLst>
                  <a:ext uri="{FF2B5EF4-FFF2-40B4-BE49-F238E27FC236}">
                    <a16:creationId xmlns:a16="http://schemas.microsoft.com/office/drawing/2014/main" id="{DB5734E4-FEB4-E7DE-AB0E-C7C4CF5541BF}"/>
                  </a:ext>
                </a:extLst>
              </p:cNvPr>
              <p:cNvSpPr/>
              <p:nvPr/>
            </p:nvSpPr>
            <p:spPr>
              <a:xfrm>
                <a:off x="4598939" y="3849386"/>
                <a:ext cx="261948" cy="212838"/>
              </a:xfrm>
              <a:custGeom>
                <a:avLst/>
                <a:gdLst>
                  <a:gd name="connsiteX0" fmla="*/ 210370 w 261948"/>
                  <a:gd name="connsiteY0" fmla="*/ 68330 h 212838"/>
                  <a:gd name="connsiteX1" fmla="*/ 209752 w 261948"/>
                  <a:gd name="connsiteY1" fmla="*/ 66214 h 212838"/>
                  <a:gd name="connsiteX2" fmla="*/ 210458 w 261948"/>
                  <a:gd name="connsiteY2" fmla="*/ 63305 h 212838"/>
                  <a:gd name="connsiteX3" fmla="*/ 211869 w 261948"/>
                  <a:gd name="connsiteY3" fmla="*/ 59690 h 212838"/>
                  <a:gd name="connsiteX4" fmla="*/ 211428 w 261948"/>
                  <a:gd name="connsiteY4" fmla="*/ 56780 h 212838"/>
                  <a:gd name="connsiteX5" fmla="*/ 211428 w 261948"/>
                  <a:gd name="connsiteY5" fmla="*/ 52548 h 212838"/>
                  <a:gd name="connsiteX6" fmla="*/ 209312 w 261948"/>
                  <a:gd name="connsiteY6" fmla="*/ 49815 h 212838"/>
                  <a:gd name="connsiteX7" fmla="*/ 205344 w 261948"/>
                  <a:gd name="connsiteY7" fmla="*/ 46729 h 212838"/>
                  <a:gd name="connsiteX8" fmla="*/ 201994 w 261948"/>
                  <a:gd name="connsiteY8" fmla="*/ 43379 h 212838"/>
                  <a:gd name="connsiteX9" fmla="*/ 200319 w 261948"/>
                  <a:gd name="connsiteY9" fmla="*/ 40469 h 212838"/>
                  <a:gd name="connsiteX10" fmla="*/ 195116 w 261948"/>
                  <a:gd name="connsiteY10" fmla="*/ 38353 h 212838"/>
                  <a:gd name="connsiteX11" fmla="*/ 192383 w 261948"/>
                  <a:gd name="connsiteY11" fmla="*/ 35796 h 212838"/>
                  <a:gd name="connsiteX12" fmla="*/ 193794 w 261948"/>
                  <a:gd name="connsiteY12" fmla="*/ 34826 h 212838"/>
                  <a:gd name="connsiteX13" fmla="*/ 193794 w 261948"/>
                  <a:gd name="connsiteY13" fmla="*/ 29977 h 212838"/>
                  <a:gd name="connsiteX14" fmla="*/ 192736 w 261948"/>
                  <a:gd name="connsiteY14" fmla="*/ 27861 h 212838"/>
                  <a:gd name="connsiteX15" fmla="*/ 191502 w 261948"/>
                  <a:gd name="connsiteY15" fmla="*/ 22395 h 212838"/>
                  <a:gd name="connsiteX16" fmla="*/ 191325 w 261948"/>
                  <a:gd name="connsiteY16" fmla="*/ 15518 h 212838"/>
                  <a:gd name="connsiteX17" fmla="*/ 192383 w 261948"/>
                  <a:gd name="connsiteY17" fmla="*/ 11550 h 212838"/>
                  <a:gd name="connsiteX18" fmla="*/ 193177 w 261948"/>
                  <a:gd name="connsiteY18" fmla="*/ 7142 h 212838"/>
                  <a:gd name="connsiteX19" fmla="*/ 193794 w 261948"/>
                  <a:gd name="connsiteY19" fmla="*/ 2116 h 212838"/>
                  <a:gd name="connsiteX20" fmla="*/ 192383 w 261948"/>
                  <a:gd name="connsiteY20" fmla="*/ 0 h 212838"/>
                  <a:gd name="connsiteX21" fmla="*/ 182949 w 261948"/>
                  <a:gd name="connsiteY21" fmla="*/ 793 h 212838"/>
                  <a:gd name="connsiteX22" fmla="*/ 184007 w 261948"/>
                  <a:gd name="connsiteY22" fmla="*/ 4320 h 212838"/>
                  <a:gd name="connsiteX23" fmla="*/ 169989 w 261948"/>
                  <a:gd name="connsiteY23" fmla="*/ 5202 h 212838"/>
                  <a:gd name="connsiteX24" fmla="*/ 173956 w 261948"/>
                  <a:gd name="connsiteY24" fmla="*/ 10668 h 212838"/>
                  <a:gd name="connsiteX25" fmla="*/ 175191 w 261948"/>
                  <a:gd name="connsiteY25" fmla="*/ 12344 h 212838"/>
                  <a:gd name="connsiteX26" fmla="*/ 175191 w 261948"/>
                  <a:gd name="connsiteY26" fmla="*/ 15429 h 212838"/>
                  <a:gd name="connsiteX27" fmla="*/ 175014 w 261948"/>
                  <a:gd name="connsiteY27" fmla="*/ 18868 h 212838"/>
                  <a:gd name="connsiteX28" fmla="*/ 176425 w 261948"/>
                  <a:gd name="connsiteY28" fmla="*/ 22218 h 212838"/>
                  <a:gd name="connsiteX29" fmla="*/ 176249 w 261948"/>
                  <a:gd name="connsiteY29" fmla="*/ 25833 h 212838"/>
                  <a:gd name="connsiteX30" fmla="*/ 176425 w 261948"/>
                  <a:gd name="connsiteY30" fmla="*/ 27861 h 212838"/>
                  <a:gd name="connsiteX31" fmla="*/ 174926 w 261948"/>
                  <a:gd name="connsiteY31" fmla="*/ 29360 h 212838"/>
                  <a:gd name="connsiteX32" fmla="*/ 172281 w 261948"/>
                  <a:gd name="connsiteY32" fmla="*/ 30947 h 212838"/>
                  <a:gd name="connsiteX33" fmla="*/ 170958 w 261948"/>
                  <a:gd name="connsiteY33" fmla="*/ 33504 h 212838"/>
                  <a:gd name="connsiteX34" fmla="*/ 169460 w 261948"/>
                  <a:gd name="connsiteY34" fmla="*/ 35973 h 212838"/>
                  <a:gd name="connsiteX35" fmla="*/ 168401 w 261948"/>
                  <a:gd name="connsiteY35" fmla="*/ 36678 h 212838"/>
                  <a:gd name="connsiteX36" fmla="*/ 166197 w 261948"/>
                  <a:gd name="connsiteY36" fmla="*/ 37472 h 212838"/>
                  <a:gd name="connsiteX37" fmla="*/ 166197 w 261948"/>
                  <a:gd name="connsiteY37" fmla="*/ 39323 h 212838"/>
                  <a:gd name="connsiteX38" fmla="*/ 165756 w 261948"/>
                  <a:gd name="connsiteY38" fmla="*/ 40998 h 212838"/>
                  <a:gd name="connsiteX39" fmla="*/ 164698 w 261948"/>
                  <a:gd name="connsiteY39" fmla="*/ 43555 h 212838"/>
                  <a:gd name="connsiteX40" fmla="*/ 163376 w 261948"/>
                  <a:gd name="connsiteY40" fmla="*/ 45407 h 212838"/>
                  <a:gd name="connsiteX41" fmla="*/ 161172 w 261948"/>
                  <a:gd name="connsiteY41" fmla="*/ 47170 h 212838"/>
                  <a:gd name="connsiteX42" fmla="*/ 159408 w 261948"/>
                  <a:gd name="connsiteY42" fmla="*/ 50080 h 212838"/>
                  <a:gd name="connsiteX43" fmla="*/ 157557 w 261948"/>
                  <a:gd name="connsiteY43" fmla="*/ 52196 h 212838"/>
                  <a:gd name="connsiteX44" fmla="*/ 153854 w 261948"/>
                  <a:gd name="connsiteY44" fmla="*/ 55546 h 212838"/>
                  <a:gd name="connsiteX45" fmla="*/ 153854 w 261948"/>
                  <a:gd name="connsiteY45" fmla="*/ 56604 h 212838"/>
                  <a:gd name="connsiteX46" fmla="*/ 152090 w 261948"/>
                  <a:gd name="connsiteY46" fmla="*/ 58720 h 212838"/>
                  <a:gd name="connsiteX47" fmla="*/ 149974 w 261948"/>
                  <a:gd name="connsiteY47" fmla="*/ 60924 h 212838"/>
                  <a:gd name="connsiteX48" fmla="*/ 148387 w 261948"/>
                  <a:gd name="connsiteY48" fmla="*/ 61365 h 212838"/>
                  <a:gd name="connsiteX49" fmla="*/ 146624 w 261948"/>
                  <a:gd name="connsiteY49" fmla="*/ 61365 h 212838"/>
                  <a:gd name="connsiteX50" fmla="*/ 142656 w 261948"/>
                  <a:gd name="connsiteY50" fmla="*/ 61365 h 212838"/>
                  <a:gd name="connsiteX51" fmla="*/ 141246 w 261948"/>
                  <a:gd name="connsiteY51" fmla="*/ 61982 h 212838"/>
                  <a:gd name="connsiteX52" fmla="*/ 139747 w 261948"/>
                  <a:gd name="connsiteY52" fmla="*/ 61453 h 212838"/>
                  <a:gd name="connsiteX53" fmla="*/ 138689 w 261948"/>
                  <a:gd name="connsiteY53" fmla="*/ 60395 h 212838"/>
                  <a:gd name="connsiteX54" fmla="*/ 137190 w 261948"/>
                  <a:gd name="connsiteY54" fmla="*/ 58279 h 212838"/>
                  <a:gd name="connsiteX55" fmla="*/ 135779 w 261948"/>
                  <a:gd name="connsiteY55" fmla="*/ 57221 h 212838"/>
                  <a:gd name="connsiteX56" fmla="*/ 134986 w 261948"/>
                  <a:gd name="connsiteY56" fmla="*/ 55722 h 212838"/>
                  <a:gd name="connsiteX57" fmla="*/ 133663 w 261948"/>
                  <a:gd name="connsiteY57" fmla="*/ 54929 h 212838"/>
                  <a:gd name="connsiteX58" fmla="*/ 131812 w 261948"/>
                  <a:gd name="connsiteY58" fmla="*/ 53518 h 212838"/>
                  <a:gd name="connsiteX59" fmla="*/ 131812 w 261948"/>
                  <a:gd name="connsiteY59" fmla="*/ 52548 h 212838"/>
                  <a:gd name="connsiteX60" fmla="*/ 129519 w 261948"/>
                  <a:gd name="connsiteY60" fmla="*/ 50873 h 212838"/>
                  <a:gd name="connsiteX61" fmla="*/ 128020 w 261948"/>
                  <a:gd name="connsiteY61" fmla="*/ 50873 h 212838"/>
                  <a:gd name="connsiteX62" fmla="*/ 125023 w 261948"/>
                  <a:gd name="connsiteY62" fmla="*/ 49815 h 212838"/>
                  <a:gd name="connsiteX63" fmla="*/ 122730 w 261948"/>
                  <a:gd name="connsiteY63" fmla="*/ 49815 h 212838"/>
                  <a:gd name="connsiteX64" fmla="*/ 120614 w 261948"/>
                  <a:gd name="connsiteY64" fmla="*/ 49815 h 212838"/>
                  <a:gd name="connsiteX65" fmla="*/ 118410 w 261948"/>
                  <a:gd name="connsiteY65" fmla="*/ 50873 h 212838"/>
                  <a:gd name="connsiteX66" fmla="*/ 116647 w 261948"/>
                  <a:gd name="connsiteY66" fmla="*/ 51490 h 212838"/>
                  <a:gd name="connsiteX67" fmla="*/ 115148 w 261948"/>
                  <a:gd name="connsiteY67" fmla="*/ 54841 h 212838"/>
                  <a:gd name="connsiteX68" fmla="*/ 115148 w 261948"/>
                  <a:gd name="connsiteY68" fmla="*/ 55899 h 212838"/>
                  <a:gd name="connsiteX69" fmla="*/ 113737 w 261948"/>
                  <a:gd name="connsiteY69" fmla="*/ 59073 h 212838"/>
                  <a:gd name="connsiteX70" fmla="*/ 109769 w 261948"/>
                  <a:gd name="connsiteY70" fmla="*/ 61630 h 212838"/>
                  <a:gd name="connsiteX71" fmla="*/ 107477 w 261948"/>
                  <a:gd name="connsiteY71" fmla="*/ 62070 h 212838"/>
                  <a:gd name="connsiteX72" fmla="*/ 104568 w 261948"/>
                  <a:gd name="connsiteY72" fmla="*/ 63481 h 212838"/>
                  <a:gd name="connsiteX73" fmla="*/ 102981 w 261948"/>
                  <a:gd name="connsiteY73" fmla="*/ 64539 h 212838"/>
                  <a:gd name="connsiteX74" fmla="*/ 101394 w 261948"/>
                  <a:gd name="connsiteY74" fmla="*/ 65333 h 212838"/>
                  <a:gd name="connsiteX75" fmla="*/ 98484 w 261948"/>
                  <a:gd name="connsiteY75" fmla="*/ 69036 h 212838"/>
                  <a:gd name="connsiteX76" fmla="*/ 97867 w 261948"/>
                  <a:gd name="connsiteY76" fmla="*/ 70006 h 212838"/>
                  <a:gd name="connsiteX77" fmla="*/ 98219 w 261948"/>
                  <a:gd name="connsiteY77" fmla="*/ 70799 h 212838"/>
                  <a:gd name="connsiteX78" fmla="*/ 98484 w 261948"/>
                  <a:gd name="connsiteY78" fmla="*/ 72122 h 212838"/>
                  <a:gd name="connsiteX79" fmla="*/ 95662 w 261948"/>
                  <a:gd name="connsiteY79" fmla="*/ 72122 h 212838"/>
                  <a:gd name="connsiteX80" fmla="*/ 92753 w 261948"/>
                  <a:gd name="connsiteY80" fmla="*/ 72034 h 212838"/>
                  <a:gd name="connsiteX81" fmla="*/ 89403 w 261948"/>
                  <a:gd name="connsiteY81" fmla="*/ 71681 h 212838"/>
                  <a:gd name="connsiteX82" fmla="*/ 87287 w 261948"/>
                  <a:gd name="connsiteY82" fmla="*/ 70799 h 212838"/>
                  <a:gd name="connsiteX83" fmla="*/ 84377 w 261948"/>
                  <a:gd name="connsiteY83" fmla="*/ 70887 h 212838"/>
                  <a:gd name="connsiteX84" fmla="*/ 81467 w 261948"/>
                  <a:gd name="connsiteY84" fmla="*/ 70623 h 212838"/>
                  <a:gd name="connsiteX85" fmla="*/ 78911 w 261948"/>
                  <a:gd name="connsiteY85" fmla="*/ 70623 h 212838"/>
                  <a:gd name="connsiteX86" fmla="*/ 75384 w 261948"/>
                  <a:gd name="connsiteY86" fmla="*/ 66655 h 212838"/>
                  <a:gd name="connsiteX87" fmla="*/ 73268 w 261948"/>
                  <a:gd name="connsiteY87" fmla="*/ 67008 h 212838"/>
                  <a:gd name="connsiteX88" fmla="*/ 71240 w 261948"/>
                  <a:gd name="connsiteY88" fmla="*/ 65068 h 212838"/>
                  <a:gd name="connsiteX89" fmla="*/ 67008 w 261948"/>
                  <a:gd name="connsiteY89" fmla="*/ 65068 h 212838"/>
                  <a:gd name="connsiteX90" fmla="*/ 63481 w 261948"/>
                  <a:gd name="connsiteY90" fmla="*/ 65068 h 212838"/>
                  <a:gd name="connsiteX91" fmla="*/ 60483 w 261948"/>
                  <a:gd name="connsiteY91" fmla="*/ 65333 h 212838"/>
                  <a:gd name="connsiteX92" fmla="*/ 58367 w 261948"/>
                  <a:gd name="connsiteY92" fmla="*/ 66038 h 212838"/>
                  <a:gd name="connsiteX93" fmla="*/ 56075 w 261948"/>
                  <a:gd name="connsiteY93" fmla="*/ 66655 h 212838"/>
                  <a:gd name="connsiteX94" fmla="*/ 52901 w 261948"/>
                  <a:gd name="connsiteY94" fmla="*/ 66655 h 212838"/>
                  <a:gd name="connsiteX95" fmla="*/ 51314 w 261948"/>
                  <a:gd name="connsiteY95" fmla="*/ 67890 h 212838"/>
                  <a:gd name="connsiteX96" fmla="*/ 49815 w 261948"/>
                  <a:gd name="connsiteY96" fmla="*/ 67890 h 212838"/>
                  <a:gd name="connsiteX97" fmla="*/ 48493 w 261948"/>
                  <a:gd name="connsiteY97" fmla="*/ 67272 h 212838"/>
                  <a:gd name="connsiteX98" fmla="*/ 47082 w 261948"/>
                  <a:gd name="connsiteY98" fmla="*/ 67008 h 212838"/>
                  <a:gd name="connsiteX99" fmla="*/ 46024 w 261948"/>
                  <a:gd name="connsiteY99" fmla="*/ 65421 h 212838"/>
                  <a:gd name="connsiteX100" fmla="*/ 44966 w 261948"/>
                  <a:gd name="connsiteY100" fmla="*/ 63305 h 212838"/>
                  <a:gd name="connsiteX101" fmla="*/ 42673 w 261948"/>
                  <a:gd name="connsiteY101" fmla="*/ 60748 h 212838"/>
                  <a:gd name="connsiteX102" fmla="*/ 41615 w 261948"/>
                  <a:gd name="connsiteY102" fmla="*/ 58897 h 212838"/>
                  <a:gd name="connsiteX103" fmla="*/ 40205 w 261948"/>
                  <a:gd name="connsiteY103" fmla="*/ 57221 h 212838"/>
                  <a:gd name="connsiteX104" fmla="*/ 38001 w 261948"/>
                  <a:gd name="connsiteY104" fmla="*/ 55370 h 212838"/>
                  <a:gd name="connsiteX105" fmla="*/ 36590 w 261948"/>
                  <a:gd name="connsiteY105" fmla="*/ 53077 h 212838"/>
                  <a:gd name="connsiteX106" fmla="*/ 36590 w 261948"/>
                  <a:gd name="connsiteY106" fmla="*/ 52548 h 212838"/>
                  <a:gd name="connsiteX107" fmla="*/ 35091 w 261948"/>
                  <a:gd name="connsiteY107" fmla="*/ 51314 h 212838"/>
                  <a:gd name="connsiteX108" fmla="*/ 33680 w 261948"/>
                  <a:gd name="connsiteY108" fmla="*/ 50256 h 212838"/>
                  <a:gd name="connsiteX109" fmla="*/ 32975 w 261948"/>
                  <a:gd name="connsiteY109" fmla="*/ 48140 h 212838"/>
                  <a:gd name="connsiteX110" fmla="*/ 31917 w 261948"/>
                  <a:gd name="connsiteY110" fmla="*/ 46288 h 212838"/>
                  <a:gd name="connsiteX111" fmla="*/ 30771 w 261948"/>
                  <a:gd name="connsiteY111" fmla="*/ 44878 h 212838"/>
                  <a:gd name="connsiteX112" fmla="*/ 29272 w 261948"/>
                  <a:gd name="connsiteY112" fmla="*/ 44878 h 212838"/>
                  <a:gd name="connsiteX113" fmla="*/ 27596 w 261948"/>
                  <a:gd name="connsiteY113" fmla="*/ 44878 h 212838"/>
                  <a:gd name="connsiteX114" fmla="*/ 24599 w 261948"/>
                  <a:gd name="connsiteY114" fmla="*/ 46465 h 212838"/>
                  <a:gd name="connsiteX115" fmla="*/ 22747 w 261948"/>
                  <a:gd name="connsiteY115" fmla="*/ 46465 h 212838"/>
                  <a:gd name="connsiteX116" fmla="*/ 21866 w 261948"/>
                  <a:gd name="connsiteY116" fmla="*/ 46465 h 212838"/>
                  <a:gd name="connsiteX117" fmla="*/ 19838 w 261948"/>
                  <a:gd name="connsiteY117" fmla="*/ 47523 h 212838"/>
                  <a:gd name="connsiteX118" fmla="*/ 16928 w 261948"/>
                  <a:gd name="connsiteY118" fmla="*/ 47523 h 212838"/>
                  <a:gd name="connsiteX119" fmla="*/ 14195 w 261948"/>
                  <a:gd name="connsiteY119" fmla="*/ 48140 h 212838"/>
                  <a:gd name="connsiteX120" fmla="*/ 14195 w 261948"/>
                  <a:gd name="connsiteY120" fmla="*/ 50961 h 212838"/>
                  <a:gd name="connsiteX121" fmla="*/ 12432 w 261948"/>
                  <a:gd name="connsiteY121" fmla="*/ 55899 h 212838"/>
                  <a:gd name="connsiteX122" fmla="*/ 8729 w 261948"/>
                  <a:gd name="connsiteY122" fmla="*/ 60395 h 212838"/>
                  <a:gd name="connsiteX123" fmla="*/ 8729 w 261948"/>
                  <a:gd name="connsiteY123" fmla="*/ 66391 h 212838"/>
                  <a:gd name="connsiteX124" fmla="*/ 6436 w 261948"/>
                  <a:gd name="connsiteY124" fmla="*/ 70623 h 212838"/>
                  <a:gd name="connsiteX125" fmla="*/ 6436 w 261948"/>
                  <a:gd name="connsiteY125" fmla="*/ 73709 h 212838"/>
                  <a:gd name="connsiteX126" fmla="*/ 5378 w 261948"/>
                  <a:gd name="connsiteY126" fmla="*/ 75472 h 212838"/>
                  <a:gd name="connsiteX127" fmla="*/ 5114 w 261948"/>
                  <a:gd name="connsiteY127" fmla="*/ 78999 h 212838"/>
                  <a:gd name="connsiteX128" fmla="*/ 4496 w 261948"/>
                  <a:gd name="connsiteY128" fmla="*/ 81291 h 212838"/>
                  <a:gd name="connsiteX129" fmla="*/ 4496 w 261948"/>
                  <a:gd name="connsiteY129" fmla="*/ 84201 h 212838"/>
                  <a:gd name="connsiteX130" fmla="*/ 3615 w 261948"/>
                  <a:gd name="connsiteY130" fmla="*/ 84201 h 212838"/>
                  <a:gd name="connsiteX131" fmla="*/ 3791 w 261948"/>
                  <a:gd name="connsiteY131" fmla="*/ 85964 h 212838"/>
                  <a:gd name="connsiteX132" fmla="*/ 1763 w 261948"/>
                  <a:gd name="connsiteY132" fmla="*/ 86493 h 212838"/>
                  <a:gd name="connsiteX133" fmla="*/ 617 w 261948"/>
                  <a:gd name="connsiteY133" fmla="*/ 88874 h 212838"/>
                  <a:gd name="connsiteX134" fmla="*/ 0 w 261948"/>
                  <a:gd name="connsiteY134" fmla="*/ 91519 h 212838"/>
                  <a:gd name="connsiteX135" fmla="*/ 881 w 261948"/>
                  <a:gd name="connsiteY135" fmla="*/ 92929 h 212838"/>
                  <a:gd name="connsiteX136" fmla="*/ 4144 w 261948"/>
                  <a:gd name="connsiteY136" fmla="*/ 94957 h 212838"/>
                  <a:gd name="connsiteX137" fmla="*/ 6701 w 261948"/>
                  <a:gd name="connsiteY137" fmla="*/ 94693 h 212838"/>
                  <a:gd name="connsiteX138" fmla="*/ 8200 w 261948"/>
                  <a:gd name="connsiteY138" fmla="*/ 96192 h 212838"/>
                  <a:gd name="connsiteX139" fmla="*/ 10492 w 261948"/>
                  <a:gd name="connsiteY139" fmla="*/ 95574 h 212838"/>
                  <a:gd name="connsiteX140" fmla="*/ 15429 w 261948"/>
                  <a:gd name="connsiteY140" fmla="*/ 96721 h 212838"/>
                  <a:gd name="connsiteX141" fmla="*/ 16928 w 261948"/>
                  <a:gd name="connsiteY141" fmla="*/ 100777 h 212838"/>
                  <a:gd name="connsiteX142" fmla="*/ 20719 w 261948"/>
                  <a:gd name="connsiteY142" fmla="*/ 103157 h 212838"/>
                  <a:gd name="connsiteX143" fmla="*/ 23894 w 261948"/>
                  <a:gd name="connsiteY143" fmla="*/ 104039 h 212838"/>
                  <a:gd name="connsiteX144" fmla="*/ 25128 w 261948"/>
                  <a:gd name="connsiteY144" fmla="*/ 106331 h 212838"/>
                  <a:gd name="connsiteX145" fmla="*/ 25392 w 261948"/>
                  <a:gd name="connsiteY145" fmla="*/ 109329 h 212838"/>
                  <a:gd name="connsiteX146" fmla="*/ 23894 w 261948"/>
                  <a:gd name="connsiteY146" fmla="*/ 111004 h 212838"/>
                  <a:gd name="connsiteX147" fmla="*/ 23012 w 261948"/>
                  <a:gd name="connsiteY147" fmla="*/ 113032 h 212838"/>
                  <a:gd name="connsiteX148" fmla="*/ 25657 w 261948"/>
                  <a:gd name="connsiteY148" fmla="*/ 114531 h 212838"/>
                  <a:gd name="connsiteX149" fmla="*/ 29801 w 261948"/>
                  <a:gd name="connsiteY149" fmla="*/ 119468 h 212838"/>
                  <a:gd name="connsiteX150" fmla="*/ 35884 w 261948"/>
                  <a:gd name="connsiteY150" fmla="*/ 121849 h 212838"/>
                  <a:gd name="connsiteX151" fmla="*/ 40822 w 261948"/>
                  <a:gd name="connsiteY151" fmla="*/ 126169 h 212838"/>
                  <a:gd name="connsiteX152" fmla="*/ 42938 w 261948"/>
                  <a:gd name="connsiteY152" fmla="*/ 128197 h 212838"/>
                  <a:gd name="connsiteX153" fmla="*/ 43731 w 261948"/>
                  <a:gd name="connsiteY153" fmla="*/ 129696 h 212838"/>
                  <a:gd name="connsiteX154" fmla="*/ 47523 w 261948"/>
                  <a:gd name="connsiteY154" fmla="*/ 132870 h 212838"/>
                  <a:gd name="connsiteX155" fmla="*/ 50432 w 261948"/>
                  <a:gd name="connsiteY155" fmla="*/ 134633 h 212838"/>
                  <a:gd name="connsiteX156" fmla="*/ 48757 w 261948"/>
                  <a:gd name="connsiteY156" fmla="*/ 136661 h 212838"/>
                  <a:gd name="connsiteX157" fmla="*/ 49022 w 261948"/>
                  <a:gd name="connsiteY157" fmla="*/ 142833 h 212838"/>
                  <a:gd name="connsiteX158" fmla="*/ 52548 w 261948"/>
                  <a:gd name="connsiteY158" fmla="*/ 143714 h 212838"/>
                  <a:gd name="connsiteX159" fmla="*/ 53959 w 261948"/>
                  <a:gd name="connsiteY159" fmla="*/ 146007 h 212838"/>
                  <a:gd name="connsiteX160" fmla="*/ 52548 w 261948"/>
                  <a:gd name="connsiteY160" fmla="*/ 148652 h 212838"/>
                  <a:gd name="connsiteX161" fmla="*/ 53959 w 261948"/>
                  <a:gd name="connsiteY161" fmla="*/ 148652 h 212838"/>
                  <a:gd name="connsiteX162" fmla="*/ 56339 w 261948"/>
                  <a:gd name="connsiteY162" fmla="*/ 151561 h 212838"/>
                  <a:gd name="connsiteX163" fmla="*/ 59249 w 261948"/>
                  <a:gd name="connsiteY163" fmla="*/ 151561 h 212838"/>
                  <a:gd name="connsiteX164" fmla="*/ 68859 w 261948"/>
                  <a:gd name="connsiteY164" fmla="*/ 158879 h 212838"/>
                  <a:gd name="connsiteX165" fmla="*/ 68859 w 261948"/>
                  <a:gd name="connsiteY165" fmla="*/ 160643 h 212838"/>
                  <a:gd name="connsiteX166" fmla="*/ 70358 w 261948"/>
                  <a:gd name="connsiteY166" fmla="*/ 161436 h 212838"/>
                  <a:gd name="connsiteX167" fmla="*/ 68859 w 261948"/>
                  <a:gd name="connsiteY167" fmla="*/ 164699 h 212838"/>
                  <a:gd name="connsiteX168" fmla="*/ 69388 w 261948"/>
                  <a:gd name="connsiteY168" fmla="*/ 168754 h 212838"/>
                  <a:gd name="connsiteX169" fmla="*/ 74061 w 261948"/>
                  <a:gd name="connsiteY169" fmla="*/ 173427 h 212838"/>
                  <a:gd name="connsiteX170" fmla="*/ 73797 w 261948"/>
                  <a:gd name="connsiteY170" fmla="*/ 174309 h 212838"/>
                  <a:gd name="connsiteX171" fmla="*/ 75296 w 261948"/>
                  <a:gd name="connsiteY171" fmla="*/ 177218 h 212838"/>
                  <a:gd name="connsiteX172" fmla="*/ 76442 w 261948"/>
                  <a:gd name="connsiteY172" fmla="*/ 177483 h 212838"/>
                  <a:gd name="connsiteX173" fmla="*/ 77324 w 261948"/>
                  <a:gd name="connsiteY173" fmla="*/ 177836 h 212838"/>
                  <a:gd name="connsiteX174" fmla="*/ 78205 w 261948"/>
                  <a:gd name="connsiteY174" fmla="*/ 180128 h 212838"/>
                  <a:gd name="connsiteX175" fmla="*/ 79087 w 261948"/>
                  <a:gd name="connsiteY175" fmla="*/ 180128 h 212838"/>
                  <a:gd name="connsiteX176" fmla="*/ 80762 w 261948"/>
                  <a:gd name="connsiteY176" fmla="*/ 182156 h 212838"/>
                  <a:gd name="connsiteX177" fmla="*/ 79969 w 261948"/>
                  <a:gd name="connsiteY177" fmla="*/ 183655 h 212838"/>
                  <a:gd name="connsiteX178" fmla="*/ 80233 w 261948"/>
                  <a:gd name="connsiteY178" fmla="*/ 184801 h 212838"/>
                  <a:gd name="connsiteX179" fmla="*/ 81379 w 261948"/>
                  <a:gd name="connsiteY179" fmla="*/ 185418 h 212838"/>
                  <a:gd name="connsiteX180" fmla="*/ 82525 w 261948"/>
                  <a:gd name="connsiteY180" fmla="*/ 187446 h 212838"/>
                  <a:gd name="connsiteX181" fmla="*/ 84641 w 261948"/>
                  <a:gd name="connsiteY181" fmla="*/ 187446 h 212838"/>
                  <a:gd name="connsiteX182" fmla="*/ 86317 w 261948"/>
                  <a:gd name="connsiteY182" fmla="*/ 188857 h 212838"/>
                  <a:gd name="connsiteX183" fmla="*/ 88080 w 261948"/>
                  <a:gd name="connsiteY183" fmla="*/ 187710 h 212838"/>
                  <a:gd name="connsiteX184" fmla="*/ 88433 w 261948"/>
                  <a:gd name="connsiteY184" fmla="*/ 192119 h 212838"/>
                  <a:gd name="connsiteX185" fmla="*/ 89226 w 261948"/>
                  <a:gd name="connsiteY185" fmla="*/ 191854 h 212838"/>
                  <a:gd name="connsiteX186" fmla="*/ 90461 w 261948"/>
                  <a:gd name="connsiteY186" fmla="*/ 190620 h 212838"/>
                  <a:gd name="connsiteX187" fmla="*/ 90725 w 261948"/>
                  <a:gd name="connsiteY187" fmla="*/ 192119 h 212838"/>
                  <a:gd name="connsiteX188" fmla="*/ 94252 w 261948"/>
                  <a:gd name="connsiteY188" fmla="*/ 192383 h 212838"/>
                  <a:gd name="connsiteX189" fmla="*/ 94781 w 261948"/>
                  <a:gd name="connsiteY189" fmla="*/ 193530 h 212838"/>
                  <a:gd name="connsiteX190" fmla="*/ 97161 w 261948"/>
                  <a:gd name="connsiteY190" fmla="*/ 193530 h 212838"/>
                  <a:gd name="connsiteX191" fmla="*/ 98308 w 261948"/>
                  <a:gd name="connsiteY191" fmla="*/ 192119 h 212838"/>
                  <a:gd name="connsiteX192" fmla="*/ 100335 w 261948"/>
                  <a:gd name="connsiteY192" fmla="*/ 191854 h 212838"/>
                  <a:gd name="connsiteX193" fmla="*/ 101570 w 261948"/>
                  <a:gd name="connsiteY193" fmla="*/ 188592 h 212838"/>
                  <a:gd name="connsiteX194" fmla="*/ 102981 w 261948"/>
                  <a:gd name="connsiteY194" fmla="*/ 188592 h 212838"/>
                  <a:gd name="connsiteX195" fmla="*/ 102981 w 261948"/>
                  <a:gd name="connsiteY195" fmla="*/ 186564 h 212838"/>
                  <a:gd name="connsiteX196" fmla="*/ 103862 w 261948"/>
                  <a:gd name="connsiteY196" fmla="*/ 188063 h 212838"/>
                  <a:gd name="connsiteX197" fmla="*/ 105626 w 261948"/>
                  <a:gd name="connsiteY197" fmla="*/ 188063 h 212838"/>
                  <a:gd name="connsiteX198" fmla="*/ 107036 w 261948"/>
                  <a:gd name="connsiteY198" fmla="*/ 188063 h 212838"/>
                  <a:gd name="connsiteX199" fmla="*/ 109417 w 261948"/>
                  <a:gd name="connsiteY199" fmla="*/ 189738 h 212838"/>
                  <a:gd name="connsiteX200" fmla="*/ 110298 w 261948"/>
                  <a:gd name="connsiteY200" fmla="*/ 188592 h 212838"/>
                  <a:gd name="connsiteX201" fmla="*/ 113208 w 261948"/>
                  <a:gd name="connsiteY201" fmla="*/ 192119 h 212838"/>
                  <a:gd name="connsiteX202" fmla="*/ 113208 w 261948"/>
                  <a:gd name="connsiteY202" fmla="*/ 193530 h 212838"/>
                  <a:gd name="connsiteX203" fmla="*/ 116647 w 261948"/>
                  <a:gd name="connsiteY203" fmla="*/ 188857 h 212838"/>
                  <a:gd name="connsiteX204" fmla="*/ 119027 w 261948"/>
                  <a:gd name="connsiteY204" fmla="*/ 185065 h 212838"/>
                  <a:gd name="connsiteX205" fmla="*/ 120173 w 261948"/>
                  <a:gd name="connsiteY205" fmla="*/ 183390 h 212838"/>
                  <a:gd name="connsiteX206" fmla="*/ 122466 w 261948"/>
                  <a:gd name="connsiteY206" fmla="*/ 184536 h 212838"/>
                  <a:gd name="connsiteX207" fmla="*/ 125992 w 261948"/>
                  <a:gd name="connsiteY207" fmla="*/ 185418 h 212838"/>
                  <a:gd name="connsiteX208" fmla="*/ 125992 w 261948"/>
                  <a:gd name="connsiteY208" fmla="*/ 187710 h 212838"/>
                  <a:gd name="connsiteX209" fmla="*/ 125463 w 261948"/>
                  <a:gd name="connsiteY209" fmla="*/ 188857 h 212838"/>
                  <a:gd name="connsiteX210" fmla="*/ 125728 w 261948"/>
                  <a:gd name="connsiteY210" fmla="*/ 192736 h 212838"/>
                  <a:gd name="connsiteX211" fmla="*/ 128638 w 261948"/>
                  <a:gd name="connsiteY211" fmla="*/ 193001 h 212838"/>
                  <a:gd name="connsiteX212" fmla="*/ 128902 w 261948"/>
                  <a:gd name="connsiteY212" fmla="*/ 194147 h 212838"/>
                  <a:gd name="connsiteX213" fmla="*/ 130401 w 261948"/>
                  <a:gd name="connsiteY213" fmla="*/ 195646 h 212838"/>
                  <a:gd name="connsiteX214" fmla="*/ 132164 w 261948"/>
                  <a:gd name="connsiteY214" fmla="*/ 197056 h 212838"/>
                  <a:gd name="connsiteX215" fmla="*/ 133575 w 261948"/>
                  <a:gd name="connsiteY215" fmla="*/ 198202 h 212838"/>
                  <a:gd name="connsiteX216" fmla="*/ 133575 w 261948"/>
                  <a:gd name="connsiteY216" fmla="*/ 199437 h 212838"/>
                  <a:gd name="connsiteX217" fmla="*/ 134721 w 261948"/>
                  <a:gd name="connsiteY217" fmla="*/ 200583 h 212838"/>
                  <a:gd name="connsiteX218" fmla="*/ 134721 w 261948"/>
                  <a:gd name="connsiteY218" fmla="*/ 201465 h 212838"/>
                  <a:gd name="connsiteX219" fmla="*/ 136837 w 261948"/>
                  <a:gd name="connsiteY219" fmla="*/ 201465 h 212838"/>
                  <a:gd name="connsiteX220" fmla="*/ 137719 w 261948"/>
                  <a:gd name="connsiteY220" fmla="*/ 202611 h 212838"/>
                  <a:gd name="connsiteX221" fmla="*/ 139482 w 261948"/>
                  <a:gd name="connsiteY221" fmla="*/ 204374 h 212838"/>
                  <a:gd name="connsiteX222" fmla="*/ 141157 w 261948"/>
                  <a:gd name="connsiteY222" fmla="*/ 203757 h 212838"/>
                  <a:gd name="connsiteX223" fmla="*/ 143274 w 261948"/>
                  <a:gd name="connsiteY223" fmla="*/ 203493 h 212838"/>
                  <a:gd name="connsiteX224" fmla="*/ 143538 w 261948"/>
                  <a:gd name="connsiteY224" fmla="*/ 205520 h 212838"/>
                  <a:gd name="connsiteX225" fmla="*/ 143538 w 261948"/>
                  <a:gd name="connsiteY225" fmla="*/ 211692 h 212838"/>
                  <a:gd name="connsiteX226" fmla="*/ 145301 w 261948"/>
                  <a:gd name="connsiteY226" fmla="*/ 211075 h 212838"/>
                  <a:gd name="connsiteX227" fmla="*/ 146448 w 261948"/>
                  <a:gd name="connsiteY227" fmla="*/ 209047 h 212838"/>
                  <a:gd name="connsiteX228" fmla="*/ 147065 w 261948"/>
                  <a:gd name="connsiteY228" fmla="*/ 210193 h 212838"/>
                  <a:gd name="connsiteX229" fmla="*/ 147329 w 261948"/>
                  <a:gd name="connsiteY229" fmla="*/ 209047 h 212838"/>
                  <a:gd name="connsiteX230" fmla="*/ 148211 w 261948"/>
                  <a:gd name="connsiteY230" fmla="*/ 209047 h 212838"/>
                  <a:gd name="connsiteX231" fmla="*/ 148740 w 261948"/>
                  <a:gd name="connsiteY231" fmla="*/ 210193 h 212838"/>
                  <a:gd name="connsiteX232" fmla="*/ 149093 w 261948"/>
                  <a:gd name="connsiteY232" fmla="*/ 212838 h 212838"/>
                  <a:gd name="connsiteX233" fmla="*/ 150239 w 261948"/>
                  <a:gd name="connsiteY233" fmla="*/ 211692 h 212838"/>
                  <a:gd name="connsiteX234" fmla="*/ 150503 w 261948"/>
                  <a:gd name="connsiteY234" fmla="*/ 209576 h 212838"/>
                  <a:gd name="connsiteX235" fmla="*/ 151649 w 261948"/>
                  <a:gd name="connsiteY235" fmla="*/ 208695 h 212838"/>
                  <a:gd name="connsiteX236" fmla="*/ 153148 w 261948"/>
                  <a:gd name="connsiteY236" fmla="*/ 208430 h 212838"/>
                  <a:gd name="connsiteX237" fmla="*/ 156322 w 261948"/>
                  <a:gd name="connsiteY237" fmla="*/ 205256 h 212838"/>
                  <a:gd name="connsiteX238" fmla="*/ 158703 w 261948"/>
                  <a:gd name="connsiteY238" fmla="*/ 205256 h 212838"/>
                  <a:gd name="connsiteX239" fmla="*/ 164257 w 261948"/>
                  <a:gd name="connsiteY239" fmla="*/ 209312 h 212838"/>
                  <a:gd name="connsiteX240" fmla="*/ 165404 w 261948"/>
                  <a:gd name="connsiteY240" fmla="*/ 208695 h 212838"/>
                  <a:gd name="connsiteX241" fmla="*/ 167784 w 261948"/>
                  <a:gd name="connsiteY241" fmla="*/ 207901 h 212838"/>
                  <a:gd name="connsiteX242" fmla="*/ 170077 w 261948"/>
                  <a:gd name="connsiteY242" fmla="*/ 205256 h 212838"/>
                  <a:gd name="connsiteX243" fmla="*/ 170341 w 261948"/>
                  <a:gd name="connsiteY243" fmla="*/ 205256 h 212838"/>
                  <a:gd name="connsiteX244" fmla="*/ 172986 w 261948"/>
                  <a:gd name="connsiteY244" fmla="*/ 208695 h 212838"/>
                  <a:gd name="connsiteX245" fmla="*/ 173251 w 261948"/>
                  <a:gd name="connsiteY245" fmla="*/ 210811 h 212838"/>
                  <a:gd name="connsiteX246" fmla="*/ 175896 w 261948"/>
                  <a:gd name="connsiteY246" fmla="*/ 211339 h 212838"/>
                  <a:gd name="connsiteX247" fmla="*/ 176777 w 261948"/>
                  <a:gd name="connsiteY247" fmla="*/ 212486 h 212838"/>
                  <a:gd name="connsiteX248" fmla="*/ 179070 w 261948"/>
                  <a:gd name="connsiteY248" fmla="*/ 212838 h 212838"/>
                  <a:gd name="connsiteX249" fmla="*/ 179070 w 261948"/>
                  <a:gd name="connsiteY249" fmla="*/ 210458 h 212838"/>
                  <a:gd name="connsiteX250" fmla="*/ 183214 w 261948"/>
                  <a:gd name="connsiteY250" fmla="*/ 206667 h 212838"/>
                  <a:gd name="connsiteX251" fmla="*/ 190443 w 261948"/>
                  <a:gd name="connsiteY251" fmla="*/ 206667 h 212838"/>
                  <a:gd name="connsiteX252" fmla="*/ 193970 w 261948"/>
                  <a:gd name="connsiteY252" fmla="*/ 205256 h 212838"/>
                  <a:gd name="connsiteX253" fmla="*/ 196615 w 261948"/>
                  <a:gd name="connsiteY253" fmla="*/ 203493 h 212838"/>
                  <a:gd name="connsiteX254" fmla="*/ 199790 w 261948"/>
                  <a:gd name="connsiteY254" fmla="*/ 206402 h 212838"/>
                  <a:gd name="connsiteX255" fmla="*/ 207372 w 261948"/>
                  <a:gd name="connsiteY255" fmla="*/ 206667 h 212838"/>
                  <a:gd name="connsiteX256" fmla="*/ 218217 w 261948"/>
                  <a:gd name="connsiteY256" fmla="*/ 194764 h 212838"/>
                  <a:gd name="connsiteX257" fmla="*/ 226064 w 261948"/>
                  <a:gd name="connsiteY257" fmla="*/ 185418 h 212838"/>
                  <a:gd name="connsiteX258" fmla="*/ 261948 w 261948"/>
                  <a:gd name="connsiteY258" fmla="*/ 185418 h 212838"/>
                  <a:gd name="connsiteX259" fmla="*/ 256394 w 261948"/>
                  <a:gd name="connsiteY259" fmla="*/ 180745 h 212838"/>
                  <a:gd name="connsiteX260" fmla="*/ 256041 w 261948"/>
                  <a:gd name="connsiteY260" fmla="*/ 173692 h 212838"/>
                  <a:gd name="connsiteX261" fmla="*/ 257893 w 261948"/>
                  <a:gd name="connsiteY261" fmla="*/ 172016 h 212838"/>
                  <a:gd name="connsiteX262" fmla="*/ 257275 w 261948"/>
                  <a:gd name="connsiteY262" fmla="*/ 170253 h 212838"/>
                  <a:gd name="connsiteX263" fmla="*/ 257275 w 261948"/>
                  <a:gd name="connsiteY263" fmla="*/ 168754 h 212838"/>
                  <a:gd name="connsiteX264" fmla="*/ 257893 w 261948"/>
                  <a:gd name="connsiteY264" fmla="*/ 168225 h 212838"/>
                  <a:gd name="connsiteX265" fmla="*/ 256394 w 261948"/>
                  <a:gd name="connsiteY265" fmla="*/ 166991 h 212838"/>
                  <a:gd name="connsiteX266" fmla="*/ 254630 w 261948"/>
                  <a:gd name="connsiteY266" fmla="*/ 166109 h 212838"/>
                  <a:gd name="connsiteX267" fmla="*/ 252955 w 261948"/>
                  <a:gd name="connsiteY267" fmla="*/ 166726 h 212838"/>
                  <a:gd name="connsiteX268" fmla="*/ 251985 w 261948"/>
                  <a:gd name="connsiteY268" fmla="*/ 164963 h 212838"/>
                  <a:gd name="connsiteX269" fmla="*/ 250574 w 261948"/>
                  <a:gd name="connsiteY269" fmla="*/ 164699 h 212838"/>
                  <a:gd name="connsiteX270" fmla="*/ 249693 w 261948"/>
                  <a:gd name="connsiteY270" fmla="*/ 164699 h 212838"/>
                  <a:gd name="connsiteX271" fmla="*/ 247312 w 261948"/>
                  <a:gd name="connsiteY271" fmla="*/ 166991 h 212838"/>
                  <a:gd name="connsiteX272" fmla="*/ 246519 w 261948"/>
                  <a:gd name="connsiteY272" fmla="*/ 166726 h 212838"/>
                  <a:gd name="connsiteX273" fmla="*/ 245637 w 261948"/>
                  <a:gd name="connsiteY273" fmla="*/ 164699 h 212838"/>
                  <a:gd name="connsiteX274" fmla="*/ 246519 w 261948"/>
                  <a:gd name="connsiteY274" fmla="*/ 163817 h 212838"/>
                  <a:gd name="connsiteX275" fmla="*/ 245901 w 261948"/>
                  <a:gd name="connsiteY275" fmla="*/ 163200 h 212838"/>
                  <a:gd name="connsiteX276" fmla="*/ 241493 w 261948"/>
                  <a:gd name="connsiteY276" fmla="*/ 159496 h 212838"/>
                  <a:gd name="connsiteX277" fmla="*/ 241493 w 261948"/>
                  <a:gd name="connsiteY277" fmla="*/ 157998 h 212838"/>
                  <a:gd name="connsiteX278" fmla="*/ 240347 w 261948"/>
                  <a:gd name="connsiteY278" fmla="*/ 153589 h 212838"/>
                  <a:gd name="connsiteX279" fmla="*/ 239730 w 261948"/>
                  <a:gd name="connsiteY279" fmla="*/ 152708 h 212838"/>
                  <a:gd name="connsiteX280" fmla="*/ 239465 w 261948"/>
                  <a:gd name="connsiteY280" fmla="*/ 152179 h 212838"/>
                  <a:gd name="connsiteX281" fmla="*/ 239465 w 261948"/>
                  <a:gd name="connsiteY281" fmla="*/ 150680 h 212838"/>
                  <a:gd name="connsiteX282" fmla="*/ 239465 w 261948"/>
                  <a:gd name="connsiteY282" fmla="*/ 149798 h 212838"/>
                  <a:gd name="connsiteX283" fmla="*/ 238055 w 261948"/>
                  <a:gd name="connsiteY283" fmla="*/ 148035 h 212838"/>
                  <a:gd name="connsiteX284" fmla="*/ 237173 w 261948"/>
                  <a:gd name="connsiteY284" fmla="*/ 146271 h 212838"/>
                  <a:gd name="connsiteX285" fmla="*/ 236291 w 261948"/>
                  <a:gd name="connsiteY285" fmla="*/ 145125 h 212838"/>
                  <a:gd name="connsiteX286" fmla="*/ 235938 w 261948"/>
                  <a:gd name="connsiteY286" fmla="*/ 141951 h 212838"/>
                  <a:gd name="connsiteX287" fmla="*/ 235057 w 261948"/>
                  <a:gd name="connsiteY287" fmla="*/ 139659 h 212838"/>
                  <a:gd name="connsiteX288" fmla="*/ 234792 w 261948"/>
                  <a:gd name="connsiteY288" fmla="*/ 138424 h 212838"/>
                  <a:gd name="connsiteX289" fmla="*/ 234263 w 261948"/>
                  <a:gd name="connsiteY289" fmla="*/ 136132 h 212838"/>
                  <a:gd name="connsiteX290" fmla="*/ 233029 w 261948"/>
                  <a:gd name="connsiteY290" fmla="*/ 135515 h 212838"/>
                  <a:gd name="connsiteX291" fmla="*/ 233029 w 261948"/>
                  <a:gd name="connsiteY291" fmla="*/ 134104 h 212838"/>
                  <a:gd name="connsiteX292" fmla="*/ 231618 w 261948"/>
                  <a:gd name="connsiteY292" fmla="*/ 132605 h 212838"/>
                  <a:gd name="connsiteX293" fmla="*/ 228709 w 261948"/>
                  <a:gd name="connsiteY293" fmla="*/ 132341 h 212838"/>
                  <a:gd name="connsiteX294" fmla="*/ 227210 w 261948"/>
                  <a:gd name="connsiteY294" fmla="*/ 128197 h 212838"/>
                  <a:gd name="connsiteX295" fmla="*/ 225182 w 261948"/>
                  <a:gd name="connsiteY295" fmla="*/ 126786 h 212838"/>
                  <a:gd name="connsiteX296" fmla="*/ 223683 w 261948"/>
                  <a:gd name="connsiteY296" fmla="*/ 126786 h 212838"/>
                  <a:gd name="connsiteX297" fmla="*/ 222890 w 261948"/>
                  <a:gd name="connsiteY297" fmla="*/ 125904 h 212838"/>
                  <a:gd name="connsiteX298" fmla="*/ 222008 w 261948"/>
                  <a:gd name="connsiteY298" fmla="*/ 124758 h 212838"/>
                  <a:gd name="connsiteX299" fmla="*/ 224036 w 261948"/>
                  <a:gd name="connsiteY299" fmla="*/ 123877 h 212838"/>
                  <a:gd name="connsiteX300" fmla="*/ 221126 w 261948"/>
                  <a:gd name="connsiteY300" fmla="*/ 122995 h 212838"/>
                  <a:gd name="connsiteX301" fmla="*/ 220862 w 261948"/>
                  <a:gd name="connsiteY301" fmla="*/ 121496 h 212838"/>
                  <a:gd name="connsiteX302" fmla="*/ 219363 w 261948"/>
                  <a:gd name="connsiteY302" fmla="*/ 121849 h 212838"/>
                  <a:gd name="connsiteX303" fmla="*/ 218481 w 261948"/>
                  <a:gd name="connsiteY303" fmla="*/ 120614 h 212838"/>
                  <a:gd name="connsiteX304" fmla="*/ 217335 w 261948"/>
                  <a:gd name="connsiteY304" fmla="*/ 120085 h 212838"/>
                  <a:gd name="connsiteX305" fmla="*/ 217599 w 261948"/>
                  <a:gd name="connsiteY305" fmla="*/ 116823 h 212838"/>
                  <a:gd name="connsiteX306" fmla="*/ 214337 w 261948"/>
                  <a:gd name="connsiteY306" fmla="*/ 112767 h 212838"/>
                  <a:gd name="connsiteX307" fmla="*/ 212309 w 261948"/>
                  <a:gd name="connsiteY307" fmla="*/ 112238 h 212838"/>
                  <a:gd name="connsiteX308" fmla="*/ 210281 w 261948"/>
                  <a:gd name="connsiteY308" fmla="*/ 109858 h 212838"/>
                  <a:gd name="connsiteX309" fmla="*/ 209752 w 261948"/>
                  <a:gd name="connsiteY309" fmla="*/ 109593 h 212838"/>
                  <a:gd name="connsiteX310" fmla="*/ 209135 w 261948"/>
                  <a:gd name="connsiteY310" fmla="*/ 109329 h 212838"/>
                  <a:gd name="connsiteX311" fmla="*/ 206578 w 261948"/>
                  <a:gd name="connsiteY311" fmla="*/ 109329 h 212838"/>
                  <a:gd name="connsiteX312" fmla="*/ 205608 w 261948"/>
                  <a:gd name="connsiteY312" fmla="*/ 108094 h 212838"/>
                  <a:gd name="connsiteX313" fmla="*/ 205079 w 261948"/>
                  <a:gd name="connsiteY313" fmla="*/ 107213 h 212838"/>
                  <a:gd name="connsiteX314" fmla="*/ 203581 w 261948"/>
                  <a:gd name="connsiteY314" fmla="*/ 107830 h 212838"/>
                  <a:gd name="connsiteX315" fmla="*/ 202170 w 261948"/>
                  <a:gd name="connsiteY315" fmla="*/ 108094 h 212838"/>
                  <a:gd name="connsiteX316" fmla="*/ 200671 w 261948"/>
                  <a:gd name="connsiteY316" fmla="*/ 107213 h 212838"/>
                  <a:gd name="connsiteX317" fmla="*/ 200671 w 261948"/>
                  <a:gd name="connsiteY317" fmla="*/ 106948 h 212838"/>
                  <a:gd name="connsiteX318" fmla="*/ 198026 w 261948"/>
                  <a:gd name="connsiteY318" fmla="*/ 106331 h 212838"/>
                  <a:gd name="connsiteX319" fmla="*/ 197233 w 261948"/>
                  <a:gd name="connsiteY319" fmla="*/ 106684 h 212838"/>
                  <a:gd name="connsiteX320" fmla="*/ 195734 w 261948"/>
                  <a:gd name="connsiteY320" fmla="*/ 106684 h 212838"/>
                  <a:gd name="connsiteX321" fmla="*/ 195116 w 261948"/>
                  <a:gd name="connsiteY321" fmla="*/ 104568 h 212838"/>
                  <a:gd name="connsiteX322" fmla="*/ 194587 w 261948"/>
                  <a:gd name="connsiteY322" fmla="*/ 102892 h 212838"/>
                  <a:gd name="connsiteX323" fmla="*/ 195116 w 261948"/>
                  <a:gd name="connsiteY323" fmla="*/ 102011 h 212838"/>
                  <a:gd name="connsiteX324" fmla="*/ 195116 w 261948"/>
                  <a:gd name="connsiteY324" fmla="*/ 100777 h 212838"/>
                  <a:gd name="connsiteX325" fmla="*/ 195734 w 261948"/>
                  <a:gd name="connsiteY325" fmla="*/ 99983 h 212838"/>
                  <a:gd name="connsiteX326" fmla="*/ 196880 w 261948"/>
                  <a:gd name="connsiteY326" fmla="*/ 98220 h 212838"/>
                  <a:gd name="connsiteX327" fmla="*/ 198026 w 261948"/>
                  <a:gd name="connsiteY327" fmla="*/ 99366 h 212838"/>
                  <a:gd name="connsiteX328" fmla="*/ 198643 w 261948"/>
                  <a:gd name="connsiteY328" fmla="*/ 98220 h 212838"/>
                  <a:gd name="connsiteX329" fmla="*/ 198026 w 261948"/>
                  <a:gd name="connsiteY329" fmla="*/ 96192 h 212838"/>
                  <a:gd name="connsiteX330" fmla="*/ 199525 w 261948"/>
                  <a:gd name="connsiteY330" fmla="*/ 94957 h 212838"/>
                  <a:gd name="connsiteX331" fmla="*/ 197762 w 261948"/>
                  <a:gd name="connsiteY331" fmla="*/ 94428 h 212838"/>
                  <a:gd name="connsiteX332" fmla="*/ 198026 w 261948"/>
                  <a:gd name="connsiteY332" fmla="*/ 92312 h 212838"/>
                  <a:gd name="connsiteX333" fmla="*/ 197762 w 261948"/>
                  <a:gd name="connsiteY333" fmla="*/ 91783 h 212838"/>
                  <a:gd name="connsiteX334" fmla="*/ 197762 w 261948"/>
                  <a:gd name="connsiteY334" fmla="*/ 90901 h 212838"/>
                  <a:gd name="connsiteX335" fmla="*/ 198643 w 261948"/>
                  <a:gd name="connsiteY335" fmla="*/ 90020 h 212838"/>
                  <a:gd name="connsiteX336" fmla="*/ 199260 w 261948"/>
                  <a:gd name="connsiteY336" fmla="*/ 89755 h 212838"/>
                  <a:gd name="connsiteX337" fmla="*/ 199790 w 261948"/>
                  <a:gd name="connsiteY337" fmla="*/ 88874 h 212838"/>
                  <a:gd name="connsiteX338" fmla="*/ 200407 w 261948"/>
                  <a:gd name="connsiteY338" fmla="*/ 89491 h 212838"/>
                  <a:gd name="connsiteX339" fmla="*/ 203052 w 261948"/>
                  <a:gd name="connsiteY339" fmla="*/ 90284 h 212838"/>
                  <a:gd name="connsiteX340" fmla="*/ 203933 w 261948"/>
                  <a:gd name="connsiteY340" fmla="*/ 90020 h 212838"/>
                  <a:gd name="connsiteX341" fmla="*/ 205079 w 261948"/>
                  <a:gd name="connsiteY341" fmla="*/ 89491 h 212838"/>
                  <a:gd name="connsiteX342" fmla="*/ 205344 w 261948"/>
                  <a:gd name="connsiteY342" fmla="*/ 88874 h 212838"/>
                  <a:gd name="connsiteX343" fmla="*/ 207107 w 261948"/>
                  <a:gd name="connsiteY343" fmla="*/ 90020 h 212838"/>
                  <a:gd name="connsiteX344" fmla="*/ 208606 w 261948"/>
                  <a:gd name="connsiteY344" fmla="*/ 89491 h 212838"/>
                  <a:gd name="connsiteX345" fmla="*/ 209135 w 261948"/>
                  <a:gd name="connsiteY345" fmla="*/ 90284 h 212838"/>
                  <a:gd name="connsiteX346" fmla="*/ 210017 w 261948"/>
                  <a:gd name="connsiteY346" fmla="*/ 91519 h 212838"/>
                  <a:gd name="connsiteX347" fmla="*/ 211780 w 261948"/>
                  <a:gd name="connsiteY347" fmla="*/ 91783 h 212838"/>
                  <a:gd name="connsiteX348" fmla="*/ 212309 w 261948"/>
                  <a:gd name="connsiteY348" fmla="*/ 90637 h 212838"/>
                  <a:gd name="connsiteX349" fmla="*/ 213191 w 261948"/>
                  <a:gd name="connsiteY349" fmla="*/ 90284 h 212838"/>
                  <a:gd name="connsiteX350" fmla="*/ 215572 w 261948"/>
                  <a:gd name="connsiteY350" fmla="*/ 90284 h 212838"/>
                  <a:gd name="connsiteX351" fmla="*/ 218481 w 261948"/>
                  <a:gd name="connsiteY351" fmla="*/ 86846 h 212838"/>
                  <a:gd name="connsiteX352" fmla="*/ 219098 w 261948"/>
                  <a:gd name="connsiteY352" fmla="*/ 77500 h 212838"/>
                  <a:gd name="connsiteX353" fmla="*/ 218481 w 261948"/>
                  <a:gd name="connsiteY353" fmla="*/ 69477 h 212838"/>
                  <a:gd name="connsiteX354" fmla="*/ 211869 w 261948"/>
                  <a:gd name="connsiteY354" fmla="*/ 69124 h 212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</a:cxnLst>
                <a:rect l="l" t="t" r="r" b="b"/>
                <a:pathLst>
                  <a:path w="261948" h="212838">
                    <a:moveTo>
                      <a:pt x="210370" y="68330"/>
                    </a:moveTo>
                    <a:lnTo>
                      <a:pt x="209752" y="66214"/>
                    </a:lnTo>
                    <a:lnTo>
                      <a:pt x="210458" y="63305"/>
                    </a:lnTo>
                    <a:lnTo>
                      <a:pt x="211869" y="59690"/>
                    </a:lnTo>
                    <a:lnTo>
                      <a:pt x="211428" y="56780"/>
                    </a:lnTo>
                    <a:lnTo>
                      <a:pt x="211428" y="52548"/>
                    </a:lnTo>
                    <a:lnTo>
                      <a:pt x="209312" y="49815"/>
                    </a:lnTo>
                    <a:lnTo>
                      <a:pt x="205344" y="46729"/>
                    </a:lnTo>
                    <a:lnTo>
                      <a:pt x="201994" y="43379"/>
                    </a:lnTo>
                    <a:lnTo>
                      <a:pt x="200319" y="40469"/>
                    </a:lnTo>
                    <a:lnTo>
                      <a:pt x="195116" y="38353"/>
                    </a:lnTo>
                    <a:lnTo>
                      <a:pt x="192383" y="35796"/>
                    </a:lnTo>
                    <a:lnTo>
                      <a:pt x="193794" y="34826"/>
                    </a:lnTo>
                    <a:lnTo>
                      <a:pt x="193794" y="29977"/>
                    </a:lnTo>
                    <a:lnTo>
                      <a:pt x="192736" y="27861"/>
                    </a:lnTo>
                    <a:lnTo>
                      <a:pt x="191502" y="22395"/>
                    </a:lnTo>
                    <a:lnTo>
                      <a:pt x="191325" y="15518"/>
                    </a:lnTo>
                    <a:lnTo>
                      <a:pt x="192383" y="11550"/>
                    </a:lnTo>
                    <a:lnTo>
                      <a:pt x="193177" y="7142"/>
                    </a:lnTo>
                    <a:lnTo>
                      <a:pt x="193794" y="2116"/>
                    </a:lnTo>
                    <a:lnTo>
                      <a:pt x="192383" y="0"/>
                    </a:lnTo>
                    <a:lnTo>
                      <a:pt x="182949" y="793"/>
                    </a:lnTo>
                    <a:lnTo>
                      <a:pt x="184007" y="4320"/>
                    </a:lnTo>
                    <a:lnTo>
                      <a:pt x="169989" y="5202"/>
                    </a:lnTo>
                    <a:lnTo>
                      <a:pt x="173956" y="10668"/>
                    </a:lnTo>
                    <a:lnTo>
                      <a:pt x="175191" y="12344"/>
                    </a:lnTo>
                    <a:lnTo>
                      <a:pt x="175191" y="15429"/>
                    </a:lnTo>
                    <a:lnTo>
                      <a:pt x="175014" y="18868"/>
                    </a:lnTo>
                    <a:lnTo>
                      <a:pt x="176425" y="22218"/>
                    </a:lnTo>
                    <a:lnTo>
                      <a:pt x="176249" y="25833"/>
                    </a:lnTo>
                    <a:lnTo>
                      <a:pt x="176425" y="27861"/>
                    </a:lnTo>
                    <a:lnTo>
                      <a:pt x="174926" y="29360"/>
                    </a:lnTo>
                    <a:lnTo>
                      <a:pt x="172281" y="30947"/>
                    </a:lnTo>
                    <a:lnTo>
                      <a:pt x="170958" y="33504"/>
                    </a:lnTo>
                    <a:lnTo>
                      <a:pt x="169460" y="35973"/>
                    </a:lnTo>
                    <a:lnTo>
                      <a:pt x="168401" y="36678"/>
                    </a:lnTo>
                    <a:lnTo>
                      <a:pt x="166197" y="37472"/>
                    </a:lnTo>
                    <a:lnTo>
                      <a:pt x="166197" y="39323"/>
                    </a:lnTo>
                    <a:lnTo>
                      <a:pt x="165756" y="40998"/>
                    </a:lnTo>
                    <a:lnTo>
                      <a:pt x="164698" y="43555"/>
                    </a:lnTo>
                    <a:lnTo>
                      <a:pt x="163376" y="45407"/>
                    </a:lnTo>
                    <a:lnTo>
                      <a:pt x="161172" y="47170"/>
                    </a:lnTo>
                    <a:lnTo>
                      <a:pt x="159408" y="50080"/>
                    </a:lnTo>
                    <a:lnTo>
                      <a:pt x="157557" y="52196"/>
                    </a:lnTo>
                    <a:lnTo>
                      <a:pt x="153854" y="55546"/>
                    </a:lnTo>
                    <a:lnTo>
                      <a:pt x="153854" y="56604"/>
                    </a:lnTo>
                    <a:lnTo>
                      <a:pt x="152090" y="58720"/>
                    </a:lnTo>
                    <a:lnTo>
                      <a:pt x="149974" y="60924"/>
                    </a:lnTo>
                    <a:lnTo>
                      <a:pt x="148387" y="61365"/>
                    </a:lnTo>
                    <a:lnTo>
                      <a:pt x="146624" y="61365"/>
                    </a:lnTo>
                    <a:lnTo>
                      <a:pt x="142656" y="61365"/>
                    </a:lnTo>
                    <a:lnTo>
                      <a:pt x="141246" y="61982"/>
                    </a:lnTo>
                    <a:lnTo>
                      <a:pt x="139747" y="61453"/>
                    </a:lnTo>
                    <a:lnTo>
                      <a:pt x="138689" y="60395"/>
                    </a:lnTo>
                    <a:lnTo>
                      <a:pt x="137190" y="58279"/>
                    </a:lnTo>
                    <a:lnTo>
                      <a:pt x="135779" y="57221"/>
                    </a:lnTo>
                    <a:lnTo>
                      <a:pt x="134986" y="55722"/>
                    </a:lnTo>
                    <a:lnTo>
                      <a:pt x="133663" y="54929"/>
                    </a:lnTo>
                    <a:lnTo>
                      <a:pt x="131812" y="53518"/>
                    </a:lnTo>
                    <a:lnTo>
                      <a:pt x="131812" y="52548"/>
                    </a:lnTo>
                    <a:lnTo>
                      <a:pt x="129519" y="50873"/>
                    </a:lnTo>
                    <a:lnTo>
                      <a:pt x="128020" y="50873"/>
                    </a:lnTo>
                    <a:lnTo>
                      <a:pt x="125023" y="49815"/>
                    </a:lnTo>
                    <a:lnTo>
                      <a:pt x="122730" y="49815"/>
                    </a:lnTo>
                    <a:lnTo>
                      <a:pt x="120614" y="49815"/>
                    </a:lnTo>
                    <a:lnTo>
                      <a:pt x="118410" y="50873"/>
                    </a:lnTo>
                    <a:lnTo>
                      <a:pt x="116647" y="51490"/>
                    </a:lnTo>
                    <a:lnTo>
                      <a:pt x="115148" y="54841"/>
                    </a:lnTo>
                    <a:lnTo>
                      <a:pt x="115148" y="55899"/>
                    </a:lnTo>
                    <a:lnTo>
                      <a:pt x="113737" y="59073"/>
                    </a:lnTo>
                    <a:lnTo>
                      <a:pt x="109769" y="61630"/>
                    </a:lnTo>
                    <a:lnTo>
                      <a:pt x="107477" y="62070"/>
                    </a:lnTo>
                    <a:lnTo>
                      <a:pt x="104568" y="63481"/>
                    </a:lnTo>
                    <a:lnTo>
                      <a:pt x="102981" y="64539"/>
                    </a:lnTo>
                    <a:lnTo>
                      <a:pt x="101394" y="65333"/>
                    </a:lnTo>
                    <a:lnTo>
                      <a:pt x="98484" y="69036"/>
                    </a:lnTo>
                    <a:lnTo>
                      <a:pt x="97867" y="70006"/>
                    </a:lnTo>
                    <a:lnTo>
                      <a:pt x="98219" y="70799"/>
                    </a:lnTo>
                    <a:lnTo>
                      <a:pt x="98484" y="72122"/>
                    </a:lnTo>
                    <a:lnTo>
                      <a:pt x="95662" y="72122"/>
                    </a:lnTo>
                    <a:lnTo>
                      <a:pt x="92753" y="72034"/>
                    </a:lnTo>
                    <a:lnTo>
                      <a:pt x="89403" y="71681"/>
                    </a:lnTo>
                    <a:lnTo>
                      <a:pt x="87287" y="70799"/>
                    </a:lnTo>
                    <a:lnTo>
                      <a:pt x="84377" y="70887"/>
                    </a:lnTo>
                    <a:lnTo>
                      <a:pt x="81467" y="70623"/>
                    </a:lnTo>
                    <a:lnTo>
                      <a:pt x="78911" y="70623"/>
                    </a:lnTo>
                    <a:lnTo>
                      <a:pt x="75384" y="66655"/>
                    </a:lnTo>
                    <a:lnTo>
                      <a:pt x="73268" y="67008"/>
                    </a:lnTo>
                    <a:lnTo>
                      <a:pt x="71240" y="65068"/>
                    </a:lnTo>
                    <a:lnTo>
                      <a:pt x="67008" y="65068"/>
                    </a:lnTo>
                    <a:lnTo>
                      <a:pt x="63481" y="65068"/>
                    </a:lnTo>
                    <a:lnTo>
                      <a:pt x="60483" y="65333"/>
                    </a:lnTo>
                    <a:lnTo>
                      <a:pt x="58367" y="66038"/>
                    </a:lnTo>
                    <a:lnTo>
                      <a:pt x="56075" y="66655"/>
                    </a:lnTo>
                    <a:lnTo>
                      <a:pt x="52901" y="66655"/>
                    </a:lnTo>
                    <a:lnTo>
                      <a:pt x="51314" y="67890"/>
                    </a:lnTo>
                    <a:lnTo>
                      <a:pt x="49815" y="67890"/>
                    </a:lnTo>
                    <a:lnTo>
                      <a:pt x="48493" y="67272"/>
                    </a:lnTo>
                    <a:lnTo>
                      <a:pt x="47082" y="67008"/>
                    </a:lnTo>
                    <a:lnTo>
                      <a:pt x="46024" y="65421"/>
                    </a:lnTo>
                    <a:lnTo>
                      <a:pt x="44966" y="63305"/>
                    </a:lnTo>
                    <a:lnTo>
                      <a:pt x="42673" y="60748"/>
                    </a:lnTo>
                    <a:lnTo>
                      <a:pt x="41615" y="58897"/>
                    </a:lnTo>
                    <a:lnTo>
                      <a:pt x="40205" y="57221"/>
                    </a:lnTo>
                    <a:lnTo>
                      <a:pt x="38001" y="55370"/>
                    </a:lnTo>
                    <a:lnTo>
                      <a:pt x="36590" y="53077"/>
                    </a:lnTo>
                    <a:lnTo>
                      <a:pt x="36590" y="52548"/>
                    </a:lnTo>
                    <a:lnTo>
                      <a:pt x="35091" y="51314"/>
                    </a:lnTo>
                    <a:lnTo>
                      <a:pt x="33680" y="50256"/>
                    </a:lnTo>
                    <a:lnTo>
                      <a:pt x="32975" y="48140"/>
                    </a:lnTo>
                    <a:lnTo>
                      <a:pt x="31917" y="46288"/>
                    </a:lnTo>
                    <a:lnTo>
                      <a:pt x="30771" y="44878"/>
                    </a:lnTo>
                    <a:lnTo>
                      <a:pt x="29272" y="44878"/>
                    </a:lnTo>
                    <a:lnTo>
                      <a:pt x="27596" y="44878"/>
                    </a:lnTo>
                    <a:lnTo>
                      <a:pt x="24599" y="46465"/>
                    </a:lnTo>
                    <a:lnTo>
                      <a:pt x="22747" y="46465"/>
                    </a:lnTo>
                    <a:lnTo>
                      <a:pt x="21866" y="46465"/>
                    </a:lnTo>
                    <a:lnTo>
                      <a:pt x="19838" y="47523"/>
                    </a:lnTo>
                    <a:lnTo>
                      <a:pt x="16928" y="47523"/>
                    </a:lnTo>
                    <a:lnTo>
                      <a:pt x="14195" y="48140"/>
                    </a:lnTo>
                    <a:lnTo>
                      <a:pt x="14195" y="50961"/>
                    </a:lnTo>
                    <a:lnTo>
                      <a:pt x="12432" y="55899"/>
                    </a:lnTo>
                    <a:lnTo>
                      <a:pt x="8729" y="60395"/>
                    </a:lnTo>
                    <a:lnTo>
                      <a:pt x="8729" y="66391"/>
                    </a:lnTo>
                    <a:lnTo>
                      <a:pt x="6436" y="70623"/>
                    </a:lnTo>
                    <a:lnTo>
                      <a:pt x="6436" y="73709"/>
                    </a:lnTo>
                    <a:lnTo>
                      <a:pt x="5378" y="75472"/>
                    </a:lnTo>
                    <a:lnTo>
                      <a:pt x="5114" y="78999"/>
                    </a:lnTo>
                    <a:lnTo>
                      <a:pt x="4496" y="81291"/>
                    </a:lnTo>
                    <a:lnTo>
                      <a:pt x="4496" y="84201"/>
                    </a:lnTo>
                    <a:lnTo>
                      <a:pt x="3615" y="84201"/>
                    </a:lnTo>
                    <a:lnTo>
                      <a:pt x="3791" y="85964"/>
                    </a:lnTo>
                    <a:lnTo>
                      <a:pt x="1763" y="86493"/>
                    </a:lnTo>
                    <a:lnTo>
                      <a:pt x="617" y="88874"/>
                    </a:lnTo>
                    <a:lnTo>
                      <a:pt x="0" y="91519"/>
                    </a:lnTo>
                    <a:lnTo>
                      <a:pt x="881" y="92929"/>
                    </a:lnTo>
                    <a:lnTo>
                      <a:pt x="4144" y="94957"/>
                    </a:lnTo>
                    <a:lnTo>
                      <a:pt x="6701" y="94693"/>
                    </a:lnTo>
                    <a:lnTo>
                      <a:pt x="8200" y="96192"/>
                    </a:lnTo>
                    <a:lnTo>
                      <a:pt x="10492" y="95574"/>
                    </a:lnTo>
                    <a:lnTo>
                      <a:pt x="15429" y="96721"/>
                    </a:lnTo>
                    <a:lnTo>
                      <a:pt x="16928" y="100777"/>
                    </a:lnTo>
                    <a:lnTo>
                      <a:pt x="20719" y="103157"/>
                    </a:lnTo>
                    <a:lnTo>
                      <a:pt x="23894" y="104039"/>
                    </a:lnTo>
                    <a:lnTo>
                      <a:pt x="25128" y="106331"/>
                    </a:lnTo>
                    <a:lnTo>
                      <a:pt x="25392" y="109329"/>
                    </a:lnTo>
                    <a:lnTo>
                      <a:pt x="23894" y="111004"/>
                    </a:lnTo>
                    <a:lnTo>
                      <a:pt x="23012" y="113032"/>
                    </a:lnTo>
                    <a:lnTo>
                      <a:pt x="25657" y="114531"/>
                    </a:lnTo>
                    <a:lnTo>
                      <a:pt x="29801" y="119468"/>
                    </a:lnTo>
                    <a:lnTo>
                      <a:pt x="35884" y="121849"/>
                    </a:lnTo>
                    <a:lnTo>
                      <a:pt x="40822" y="126169"/>
                    </a:lnTo>
                    <a:lnTo>
                      <a:pt x="42938" y="128197"/>
                    </a:lnTo>
                    <a:lnTo>
                      <a:pt x="43731" y="129696"/>
                    </a:lnTo>
                    <a:lnTo>
                      <a:pt x="47523" y="132870"/>
                    </a:lnTo>
                    <a:lnTo>
                      <a:pt x="50432" y="134633"/>
                    </a:lnTo>
                    <a:lnTo>
                      <a:pt x="48757" y="136661"/>
                    </a:lnTo>
                    <a:lnTo>
                      <a:pt x="49022" y="142833"/>
                    </a:lnTo>
                    <a:lnTo>
                      <a:pt x="52548" y="143714"/>
                    </a:lnTo>
                    <a:lnTo>
                      <a:pt x="53959" y="146007"/>
                    </a:lnTo>
                    <a:lnTo>
                      <a:pt x="52548" y="148652"/>
                    </a:lnTo>
                    <a:lnTo>
                      <a:pt x="53959" y="148652"/>
                    </a:lnTo>
                    <a:lnTo>
                      <a:pt x="56339" y="151561"/>
                    </a:lnTo>
                    <a:lnTo>
                      <a:pt x="59249" y="151561"/>
                    </a:lnTo>
                    <a:lnTo>
                      <a:pt x="68859" y="158879"/>
                    </a:lnTo>
                    <a:lnTo>
                      <a:pt x="68859" y="160643"/>
                    </a:lnTo>
                    <a:lnTo>
                      <a:pt x="70358" y="161436"/>
                    </a:lnTo>
                    <a:lnTo>
                      <a:pt x="68859" y="164699"/>
                    </a:lnTo>
                    <a:lnTo>
                      <a:pt x="69388" y="168754"/>
                    </a:lnTo>
                    <a:lnTo>
                      <a:pt x="74061" y="173427"/>
                    </a:lnTo>
                    <a:lnTo>
                      <a:pt x="73797" y="174309"/>
                    </a:lnTo>
                    <a:lnTo>
                      <a:pt x="75296" y="177218"/>
                    </a:lnTo>
                    <a:lnTo>
                      <a:pt x="76442" y="177483"/>
                    </a:lnTo>
                    <a:lnTo>
                      <a:pt x="77324" y="177836"/>
                    </a:lnTo>
                    <a:lnTo>
                      <a:pt x="78205" y="180128"/>
                    </a:lnTo>
                    <a:lnTo>
                      <a:pt x="79087" y="180128"/>
                    </a:lnTo>
                    <a:lnTo>
                      <a:pt x="80762" y="182156"/>
                    </a:lnTo>
                    <a:lnTo>
                      <a:pt x="79969" y="183655"/>
                    </a:lnTo>
                    <a:lnTo>
                      <a:pt x="80233" y="184801"/>
                    </a:lnTo>
                    <a:lnTo>
                      <a:pt x="81379" y="185418"/>
                    </a:lnTo>
                    <a:lnTo>
                      <a:pt x="82525" y="187446"/>
                    </a:lnTo>
                    <a:lnTo>
                      <a:pt x="84641" y="187446"/>
                    </a:lnTo>
                    <a:lnTo>
                      <a:pt x="86317" y="188857"/>
                    </a:lnTo>
                    <a:lnTo>
                      <a:pt x="88080" y="187710"/>
                    </a:lnTo>
                    <a:lnTo>
                      <a:pt x="88433" y="192119"/>
                    </a:lnTo>
                    <a:lnTo>
                      <a:pt x="89226" y="191854"/>
                    </a:lnTo>
                    <a:lnTo>
                      <a:pt x="90461" y="190620"/>
                    </a:lnTo>
                    <a:lnTo>
                      <a:pt x="90725" y="192119"/>
                    </a:lnTo>
                    <a:lnTo>
                      <a:pt x="94252" y="192383"/>
                    </a:lnTo>
                    <a:lnTo>
                      <a:pt x="94781" y="193530"/>
                    </a:lnTo>
                    <a:lnTo>
                      <a:pt x="97161" y="193530"/>
                    </a:lnTo>
                    <a:lnTo>
                      <a:pt x="98308" y="192119"/>
                    </a:lnTo>
                    <a:lnTo>
                      <a:pt x="100335" y="191854"/>
                    </a:lnTo>
                    <a:lnTo>
                      <a:pt x="101570" y="188592"/>
                    </a:lnTo>
                    <a:lnTo>
                      <a:pt x="102981" y="188592"/>
                    </a:lnTo>
                    <a:lnTo>
                      <a:pt x="102981" y="186564"/>
                    </a:lnTo>
                    <a:lnTo>
                      <a:pt x="103862" y="188063"/>
                    </a:lnTo>
                    <a:lnTo>
                      <a:pt x="105626" y="188063"/>
                    </a:lnTo>
                    <a:lnTo>
                      <a:pt x="107036" y="188063"/>
                    </a:lnTo>
                    <a:lnTo>
                      <a:pt x="109417" y="189738"/>
                    </a:lnTo>
                    <a:lnTo>
                      <a:pt x="110298" y="188592"/>
                    </a:lnTo>
                    <a:lnTo>
                      <a:pt x="113208" y="192119"/>
                    </a:lnTo>
                    <a:lnTo>
                      <a:pt x="113208" y="193530"/>
                    </a:lnTo>
                    <a:lnTo>
                      <a:pt x="116647" y="188857"/>
                    </a:lnTo>
                    <a:lnTo>
                      <a:pt x="119027" y="185065"/>
                    </a:lnTo>
                    <a:lnTo>
                      <a:pt x="120173" y="183390"/>
                    </a:lnTo>
                    <a:lnTo>
                      <a:pt x="122466" y="184536"/>
                    </a:lnTo>
                    <a:lnTo>
                      <a:pt x="125992" y="185418"/>
                    </a:lnTo>
                    <a:lnTo>
                      <a:pt x="125992" y="187710"/>
                    </a:lnTo>
                    <a:lnTo>
                      <a:pt x="125463" y="188857"/>
                    </a:lnTo>
                    <a:lnTo>
                      <a:pt x="125728" y="192736"/>
                    </a:lnTo>
                    <a:lnTo>
                      <a:pt x="128638" y="193001"/>
                    </a:lnTo>
                    <a:lnTo>
                      <a:pt x="128902" y="194147"/>
                    </a:lnTo>
                    <a:lnTo>
                      <a:pt x="130401" y="195646"/>
                    </a:lnTo>
                    <a:lnTo>
                      <a:pt x="132164" y="197056"/>
                    </a:lnTo>
                    <a:lnTo>
                      <a:pt x="133575" y="198202"/>
                    </a:lnTo>
                    <a:lnTo>
                      <a:pt x="133575" y="199437"/>
                    </a:lnTo>
                    <a:lnTo>
                      <a:pt x="134721" y="200583"/>
                    </a:lnTo>
                    <a:lnTo>
                      <a:pt x="134721" y="201465"/>
                    </a:lnTo>
                    <a:lnTo>
                      <a:pt x="136837" y="201465"/>
                    </a:lnTo>
                    <a:lnTo>
                      <a:pt x="137719" y="202611"/>
                    </a:lnTo>
                    <a:lnTo>
                      <a:pt x="139482" y="204374"/>
                    </a:lnTo>
                    <a:lnTo>
                      <a:pt x="141157" y="203757"/>
                    </a:lnTo>
                    <a:lnTo>
                      <a:pt x="143274" y="203493"/>
                    </a:lnTo>
                    <a:lnTo>
                      <a:pt x="143538" y="205520"/>
                    </a:lnTo>
                    <a:lnTo>
                      <a:pt x="143538" y="211692"/>
                    </a:lnTo>
                    <a:lnTo>
                      <a:pt x="145301" y="211075"/>
                    </a:lnTo>
                    <a:lnTo>
                      <a:pt x="146448" y="209047"/>
                    </a:lnTo>
                    <a:lnTo>
                      <a:pt x="147065" y="210193"/>
                    </a:lnTo>
                    <a:lnTo>
                      <a:pt x="147329" y="209047"/>
                    </a:lnTo>
                    <a:lnTo>
                      <a:pt x="148211" y="209047"/>
                    </a:lnTo>
                    <a:lnTo>
                      <a:pt x="148740" y="210193"/>
                    </a:lnTo>
                    <a:lnTo>
                      <a:pt x="149093" y="212838"/>
                    </a:lnTo>
                    <a:lnTo>
                      <a:pt x="150239" y="211692"/>
                    </a:lnTo>
                    <a:lnTo>
                      <a:pt x="150503" y="209576"/>
                    </a:lnTo>
                    <a:lnTo>
                      <a:pt x="151649" y="208695"/>
                    </a:lnTo>
                    <a:lnTo>
                      <a:pt x="153148" y="208430"/>
                    </a:lnTo>
                    <a:lnTo>
                      <a:pt x="156322" y="205256"/>
                    </a:lnTo>
                    <a:lnTo>
                      <a:pt x="158703" y="205256"/>
                    </a:lnTo>
                    <a:lnTo>
                      <a:pt x="164257" y="209312"/>
                    </a:lnTo>
                    <a:lnTo>
                      <a:pt x="165404" y="208695"/>
                    </a:lnTo>
                    <a:lnTo>
                      <a:pt x="167784" y="207901"/>
                    </a:lnTo>
                    <a:lnTo>
                      <a:pt x="170077" y="205256"/>
                    </a:lnTo>
                    <a:lnTo>
                      <a:pt x="170341" y="205256"/>
                    </a:lnTo>
                    <a:lnTo>
                      <a:pt x="172986" y="208695"/>
                    </a:lnTo>
                    <a:lnTo>
                      <a:pt x="173251" y="210811"/>
                    </a:lnTo>
                    <a:lnTo>
                      <a:pt x="175896" y="211339"/>
                    </a:lnTo>
                    <a:lnTo>
                      <a:pt x="176777" y="212486"/>
                    </a:lnTo>
                    <a:lnTo>
                      <a:pt x="179070" y="212838"/>
                    </a:lnTo>
                    <a:lnTo>
                      <a:pt x="179070" y="210458"/>
                    </a:lnTo>
                    <a:lnTo>
                      <a:pt x="183214" y="206667"/>
                    </a:lnTo>
                    <a:lnTo>
                      <a:pt x="190443" y="206667"/>
                    </a:lnTo>
                    <a:lnTo>
                      <a:pt x="193970" y="205256"/>
                    </a:lnTo>
                    <a:lnTo>
                      <a:pt x="196615" y="203493"/>
                    </a:lnTo>
                    <a:lnTo>
                      <a:pt x="199790" y="206402"/>
                    </a:lnTo>
                    <a:lnTo>
                      <a:pt x="207372" y="206667"/>
                    </a:lnTo>
                    <a:lnTo>
                      <a:pt x="218217" y="194764"/>
                    </a:lnTo>
                    <a:lnTo>
                      <a:pt x="226064" y="185418"/>
                    </a:lnTo>
                    <a:lnTo>
                      <a:pt x="261948" y="185418"/>
                    </a:lnTo>
                    <a:lnTo>
                      <a:pt x="256394" y="180745"/>
                    </a:lnTo>
                    <a:lnTo>
                      <a:pt x="256041" y="173692"/>
                    </a:lnTo>
                    <a:lnTo>
                      <a:pt x="257893" y="172016"/>
                    </a:lnTo>
                    <a:lnTo>
                      <a:pt x="257275" y="170253"/>
                    </a:lnTo>
                    <a:lnTo>
                      <a:pt x="257275" y="168754"/>
                    </a:lnTo>
                    <a:lnTo>
                      <a:pt x="257893" y="168225"/>
                    </a:lnTo>
                    <a:lnTo>
                      <a:pt x="256394" y="166991"/>
                    </a:lnTo>
                    <a:lnTo>
                      <a:pt x="254630" y="166109"/>
                    </a:lnTo>
                    <a:lnTo>
                      <a:pt x="252955" y="166726"/>
                    </a:lnTo>
                    <a:lnTo>
                      <a:pt x="251985" y="164963"/>
                    </a:lnTo>
                    <a:lnTo>
                      <a:pt x="250574" y="164699"/>
                    </a:lnTo>
                    <a:lnTo>
                      <a:pt x="249693" y="164699"/>
                    </a:lnTo>
                    <a:lnTo>
                      <a:pt x="247312" y="166991"/>
                    </a:lnTo>
                    <a:lnTo>
                      <a:pt x="246519" y="166726"/>
                    </a:lnTo>
                    <a:lnTo>
                      <a:pt x="245637" y="164699"/>
                    </a:lnTo>
                    <a:lnTo>
                      <a:pt x="246519" y="163817"/>
                    </a:lnTo>
                    <a:lnTo>
                      <a:pt x="245901" y="163200"/>
                    </a:lnTo>
                    <a:lnTo>
                      <a:pt x="241493" y="159496"/>
                    </a:lnTo>
                    <a:lnTo>
                      <a:pt x="241493" y="157998"/>
                    </a:lnTo>
                    <a:lnTo>
                      <a:pt x="240347" y="153589"/>
                    </a:lnTo>
                    <a:lnTo>
                      <a:pt x="239730" y="152708"/>
                    </a:lnTo>
                    <a:lnTo>
                      <a:pt x="239465" y="152179"/>
                    </a:lnTo>
                    <a:lnTo>
                      <a:pt x="239465" y="150680"/>
                    </a:lnTo>
                    <a:lnTo>
                      <a:pt x="239465" y="149798"/>
                    </a:lnTo>
                    <a:lnTo>
                      <a:pt x="238055" y="148035"/>
                    </a:lnTo>
                    <a:lnTo>
                      <a:pt x="237173" y="146271"/>
                    </a:lnTo>
                    <a:lnTo>
                      <a:pt x="236291" y="145125"/>
                    </a:lnTo>
                    <a:lnTo>
                      <a:pt x="235938" y="141951"/>
                    </a:lnTo>
                    <a:lnTo>
                      <a:pt x="235057" y="139659"/>
                    </a:lnTo>
                    <a:lnTo>
                      <a:pt x="234792" y="138424"/>
                    </a:lnTo>
                    <a:lnTo>
                      <a:pt x="234263" y="136132"/>
                    </a:lnTo>
                    <a:lnTo>
                      <a:pt x="233029" y="135515"/>
                    </a:lnTo>
                    <a:lnTo>
                      <a:pt x="233029" y="134104"/>
                    </a:lnTo>
                    <a:lnTo>
                      <a:pt x="231618" y="132605"/>
                    </a:lnTo>
                    <a:lnTo>
                      <a:pt x="228709" y="132341"/>
                    </a:lnTo>
                    <a:lnTo>
                      <a:pt x="227210" y="128197"/>
                    </a:lnTo>
                    <a:lnTo>
                      <a:pt x="225182" y="126786"/>
                    </a:lnTo>
                    <a:lnTo>
                      <a:pt x="223683" y="126786"/>
                    </a:lnTo>
                    <a:lnTo>
                      <a:pt x="222890" y="125904"/>
                    </a:lnTo>
                    <a:lnTo>
                      <a:pt x="222008" y="124758"/>
                    </a:lnTo>
                    <a:lnTo>
                      <a:pt x="224036" y="123877"/>
                    </a:lnTo>
                    <a:lnTo>
                      <a:pt x="221126" y="122995"/>
                    </a:lnTo>
                    <a:lnTo>
                      <a:pt x="220862" y="121496"/>
                    </a:lnTo>
                    <a:lnTo>
                      <a:pt x="219363" y="121849"/>
                    </a:lnTo>
                    <a:lnTo>
                      <a:pt x="218481" y="120614"/>
                    </a:lnTo>
                    <a:lnTo>
                      <a:pt x="217335" y="120085"/>
                    </a:lnTo>
                    <a:lnTo>
                      <a:pt x="217599" y="116823"/>
                    </a:lnTo>
                    <a:lnTo>
                      <a:pt x="214337" y="112767"/>
                    </a:lnTo>
                    <a:lnTo>
                      <a:pt x="212309" y="112238"/>
                    </a:lnTo>
                    <a:lnTo>
                      <a:pt x="210281" y="109858"/>
                    </a:lnTo>
                    <a:lnTo>
                      <a:pt x="209752" y="109593"/>
                    </a:lnTo>
                    <a:lnTo>
                      <a:pt x="209135" y="109329"/>
                    </a:lnTo>
                    <a:lnTo>
                      <a:pt x="206578" y="109329"/>
                    </a:lnTo>
                    <a:lnTo>
                      <a:pt x="205608" y="108094"/>
                    </a:lnTo>
                    <a:lnTo>
                      <a:pt x="205079" y="107213"/>
                    </a:lnTo>
                    <a:lnTo>
                      <a:pt x="203581" y="107830"/>
                    </a:lnTo>
                    <a:lnTo>
                      <a:pt x="202170" y="108094"/>
                    </a:lnTo>
                    <a:lnTo>
                      <a:pt x="200671" y="107213"/>
                    </a:lnTo>
                    <a:lnTo>
                      <a:pt x="200671" y="106948"/>
                    </a:lnTo>
                    <a:lnTo>
                      <a:pt x="198026" y="106331"/>
                    </a:lnTo>
                    <a:lnTo>
                      <a:pt x="197233" y="106684"/>
                    </a:lnTo>
                    <a:lnTo>
                      <a:pt x="195734" y="106684"/>
                    </a:lnTo>
                    <a:lnTo>
                      <a:pt x="195116" y="104568"/>
                    </a:lnTo>
                    <a:lnTo>
                      <a:pt x="194587" y="102892"/>
                    </a:lnTo>
                    <a:lnTo>
                      <a:pt x="195116" y="102011"/>
                    </a:lnTo>
                    <a:lnTo>
                      <a:pt x="195116" y="100777"/>
                    </a:lnTo>
                    <a:lnTo>
                      <a:pt x="195734" y="99983"/>
                    </a:lnTo>
                    <a:lnTo>
                      <a:pt x="196880" y="98220"/>
                    </a:lnTo>
                    <a:lnTo>
                      <a:pt x="198026" y="99366"/>
                    </a:lnTo>
                    <a:lnTo>
                      <a:pt x="198643" y="98220"/>
                    </a:lnTo>
                    <a:lnTo>
                      <a:pt x="198026" y="96192"/>
                    </a:lnTo>
                    <a:lnTo>
                      <a:pt x="199525" y="94957"/>
                    </a:lnTo>
                    <a:lnTo>
                      <a:pt x="197762" y="94428"/>
                    </a:lnTo>
                    <a:lnTo>
                      <a:pt x="198026" y="92312"/>
                    </a:lnTo>
                    <a:lnTo>
                      <a:pt x="197762" y="91783"/>
                    </a:lnTo>
                    <a:lnTo>
                      <a:pt x="197762" y="90901"/>
                    </a:lnTo>
                    <a:lnTo>
                      <a:pt x="198643" y="90020"/>
                    </a:lnTo>
                    <a:lnTo>
                      <a:pt x="199260" y="89755"/>
                    </a:lnTo>
                    <a:lnTo>
                      <a:pt x="199790" y="88874"/>
                    </a:lnTo>
                    <a:lnTo>
                      <a:pt x="200407" y="89491"/>
                    </a:lnTo>
                    <a:lnTo>
                      <a:pt x="203052" y="90284"/>
                    </a:lnTo>
                    <a:lnTo>
                      <a:pt x="203933" y="90020"/>
                    </a:lnTo>
                    <a:lnTo>
                      <a:pt x="205079" y="89491"/>
                    </a:lnTo>
                    <a:lnTo>
                      <a:pt x="205344" y="88874"/>
                    </a:lnTo>
                    <a:lnTo>
                      <a:pt x="207107" y="90020"/>
                    </a:lnTo>
                    <a:lnTo>
                      <a:pt x="208606" y="89491"/>
                    </a:lnTo>
                    <a:lnTo>
                      <a:pt x="209135" y="90284"/>
                    </a:lnTo>
                    <a:lnTo>
                      <a:pt x="210017" y="91519"/>
                    </a:lnTo>
                    <a:lnTo>
                      <a:pt x="211780" y="91783"/>
                    </a:lnTo>
                    <a:lnTo>
                      <a:pt x="212309" y="90637"/>
                    </a:lnTo>
                    <a:lnTo>
                      <a:pt x="213191" y="90284"/>
                    </a:lnTo>
                    <a:lnTo>
                      <a:pt x="215572" y="90284"/>
                    </a:lnTo>
                    <a:lnTo>
                      <a:pt x="218481" y="86846"/>
                    </a:lnTo>
                    <a:lnTo>
                      <a:pt x="219098" y="77500"/>
                    </a:lnTo>
                    <a:lnTo>
                      <a:pt x="218481" y="69477"/>
                    </a:lnTo>
                    <a:lnTo>
                      <a:pt x="211869" y="691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3" name="Freihandform: Form 1792">
                <a:extLst>
                  <a:ext uri="{FF2B5EF4-FFF2-40B4-BE49-F238E27FC236}">
                    <a16:creationId xmlns:a16="http://schemas.microsoft.com/office/drawing/2014/main" id="{5F989061-E00D-5F5B-0240-DD4814868B5B}"/>
                  </a:ext>
                </a:extLst>
              </p:cNvPr>
              <p:cNvSpPr/>
              <p:nvPr/>
            </p:nvSpPr>
            <p:spPr>
              <a:xfrm>
                <a:off x="4546479" y="3573684"/>
                <a:ext cx="360785" cy="359903"/>
              </a:xfrm>
              <a:custGeom>
                <a:avLst/>
                <a:gdLst>
                  <a:gd name="connsiteX0" fmla="*/ 359903 w 360785"/>
                  <a:gd name="connsiteY0" fmla="*/ 126610 h 359903"/>
                  <a:gd name="connsiteX1" fmla="*/ 359903 w 360785"/>
                  <a:gd name="connsiteY1" fmla="*/ 125993 h 359903"/>
                  <a:gd name="connsiteX2" fmla="*/ 359022 w 360785"/>
                  <a:gd name="connsiteY2" fmla="*/ 124846 h 359903"/>
                  <a:gd name="connsiteX3" fmla="*/ 359022 w 360785"/>
                  <a:gd name="connsiteY3" fmla="*/ 125375 h 359903"/>
                  <a:gd name="connsiteX4" fmla="*/ 358757 w 360785"/>
                  <a:gd name="connsiteY4" fmla="*/ 125728 h 359903"/>
                  <a:gd name="connsiteX5" fmla="*/ 358404 w 360785"/>
                  <a:gd name="connsiteY5" fmla="*/ 125993 h 359903"/>
                  <a:gd name="connsiteX6" fmla="*/ 357875 w 360785"/>
                  <a:gd name="connsiteY6" fmla="*/ 125728 h 359903"/>
                  <a:gd name="connsiteX7" fmla="*/ 358140 w 360785"/>
                  <a:gd name="connsiteY7" fmla="*/ 124494 h 359903"/>
                  <a:gd name="connsiteX8" fmla="*/ 357523 w 360785"/>
                  <a:gd name="connsiteY8" fmla="*/ 125111 h 359903"/>
                  <a:gd name="connsiteX9" fmla="*/ 357258 w 360785"/>
                  <a:gd name="connsiteY9" fmla="*/ 124846 h 359903"/>
                  <a:gd name="connsiteX10" fmla="*/ 356994 w 360785"/>
                  <a:gd name="connsiteY10" fmla="*/ 124494 h 359903"/>
                  <a:gd name="connsiteX11" fmla="*/ 356994 w 360785"/>
                  <a:gd name="connsiteY11" fmla="*/ 123612 h 359903"/>
                  <a:gd name="connsiteX12" fmla="*/ 356729 w 360785"/>
                  <a:gd name="connsiteY12" fmla="*/ 123612 h 359903"/>
                  <a:gd name="connsiteX13" fmla="*/ 356994 w 360785"/>
                  <a:gd name="connsiteY13" fmla="*/ 123347 h 359903"/>
                  <a:gd name="connsiteX14" fmla="*/ 356729 w 360785"/>
                  <a:gd name="connsiteY14" fmla="*/ 123083 h 359903"/>
                  <a:gd name="connsiteX15" fmla="*/ 356112 w 360785"/>
                  <a:gd name="connsiteY15" fmla="*/ 122201 h 359903"/>
                  <a:gd name="connsiteX16" fmla="*/ 355848 w 360785"/>
                  <a:gd name="connsiteY16" fmla="*/ 122201 h 359903"/>
                  <a:gd name="connsiteX17" fmla="*/ 355583 w 360785"/>
                  <a:gd name="connsiteY17" fmla="*/ 122201 h 359903"/>
                  <a:gd name="connsiteX18" fmla="*/ 355230 w 360785"/>
                  <a:gd name="connsiteY18" fmla="*/ 122201 h 359903"/>
                  <a:gd name="connsiteX19" fmla="*/ 355583 w 360785"/>
                  <a:gd name="connsiteY19" fmla="*/ 122466 h 359903"/>
                  <a:gd name="connsiteX20" fmla="*/ 355583 w 360785"/>
                  <a:gd name="connsiteY20" fmla="*/ 123083 h 359903"/>
                  <a:gd name="connsiteX21" fmla="*/ 355230 w 360785"/>
                  <a:gd name="connsiteY21" fmla="*/ 123083 h 359903"/>
                  <a:gd name="connsiteX22" fmla="*/ 353467 w 360785"/>
                  <a:gd name="connsiteY22" fmla="*/ 122201 h 359903"/>
                  <a:gd name="connsiteX23" fmla="*/ 352585 w 360785"/>
                  <a:gd name="connsiteY23" fmla="*/ 122201 h 359903"/>
                  <a:gd name="connsiteX24" fmla="*/ 352056 w 360785"/>
                  <a:gd name="connsiteY24" fmla="*/ 122201 h 359903"/>
                  <a:gd name="connsiteX25" fmla="*/ 351792 w 360785"/>
                  <a:gd name="connsiteY25" fmla="*/ 122201 h 359903"/>
                  <a:gd name="connsiteX26" fmla="*/ 352938 w 360785"/>
                  <a:gd name="connsiteY26" fmla="*/ 121937 h 359903"/>
                  <a:gd name="connsiteX27" fmla="*/ 353203 w 360785"/>
                  <a:gd name="connsiteY27" fmla="*/ 121584 h 359903"/>
                  <a:gd name="connsiteX28" fmla="*/ 353467 w 360785"/>
                  <a:gd name="connsiteY28" fmla="*/ 121320 h 359903"/>
                  <a:gd name="connsiteX29" fmla="*/ 353467 w 360785"/>
                  <a:gd name="connsiteY29" fmla="*/ 120703 h 359903"/>
                  <a:gd name="connsiteX30" fmla="*/ 353820 w 360785"/>
                  <a:gd name="connsiteY30" fmla="*/ 120703 h 359903"/>
                  <a:gd name="connsiteX31" fmla="*/ 353820 w 360785"/>
                  <a:gd name="connsiteY31" fmla="*/ 120438 h 359903"/>
                  <a:gd name="connsiteX32" fmla="*/ 352585 w 360785"/>
                  <a:gd name="connsiteY32" fmla="*/ 120703 h 359903"/>
                  <a:gd name="connsiteX33" fmla="*/ 352585 w 360785"/>
                  <a:gd name="connsiteY33" fmla="*/ 121320 h 359903"/>
                  <a:gd name="connsiteX34" fmla="*/ 351792 w 360785"/>
                  <a:gd name="connsiteY34" fmla="*/ 121937 h 359903"/>
                  <a:gd name="connsiteX35" fmla="*/ 350910 w 360785"/>
                  <a:gd name="connsiteY35" fmla="*/ 121937 h 359903"/>
                  <a:gd name="connsiteX36" fmla="*/ 349147 w 360785"/>
                  <a:gd name="connsiteY36" fmla="*/ 120703 h 359903"/>
                  <a:gd name="connsiteX37" fmla="*/ 348794 w 360785"/>
                  <a:gd name="connsiteY37" fmla="*/ 120438 h 359903"/>
                  <a:gd name="connsiteX38" fmla="*/ 348794 w 360785"/>
                  <a:gd name="connsiteY38" fmla="*/ 119821 h 359903"/>
                  <a:gd name="connsiteX39" fmla="*/ 350029 w 360785"/>
                  <a:gd name="connsiteY39" fmla="*/ 118939 h 359903"/>
                  <a:gd name="connsiteX40" fmla="*/ 349676 w 360785"/>
                  <a:gd name="connsiteY40" fmla="*/ 118410 h 359903"/>
                  <a:gd name="connsiteX41" fmla="*/ 349411 w 360785"/>
                  <a:gd name="connsiteY41" fmla="*/ 117793 h 359903"/>
                  <a:gd name="connsiteX42" fmla="*/ 348794 w 360785"/>
                  <a:gd name="connsiteY42" fmla="*/ 117264 h 359903"/>
                  <a:gd name="connsiteX43" fmla="*/ 348265 w 360785"/>
                  <a:gd name="connsiteY43" fmla="*/ 117264 h 359903"/>
                  <a:gd name="connsiteX44" fmla="*/ 347912 w 360785"/>
                  <a:gd name="connsiteY44" fmla="*/ 116911 h 359903"/>
                  <a:gd name="connsiteX45" fmla="*/ 347648 w 360785"/>
                  <a:gd name="connsiteY45" fmla="*/ 116647 h 359903"/>
                  <a:gd name="connsiteX46" fmla="*/ 347383 w 360785"/>
                  <a:gd name="connsiteY46" fmla="*/ 116030 h 359903"/>
                  <a:gd name="connsiteX47" fmla="*/ 345620 w 360785"/>
                  <a:gd name="connsiteY47" fmla="*/ 114619 h 359903"/>
                  <a:gd name="connsiteX48" fmla="*/ 342093 w 360785"/>
                  <a:gd name="connsiteY48" fmla="*/ 112591 h 359903"/>
                  <a:gd name="connsiteX49" fmla="*/ 342358 w 360785"/>
                  <a:gd name="connsiteY49" fmla="*/ 112238 h 359903"/>
                  <a:gd name="connsiteX50" fmla="*/ 342358 w 360785"/>
                  <a:gd name="connsiteY50" fmla="*/ 111709 h 359903"/>
                  <a:gd name="connsiteX51" fmla="*/ 342093 w 360785"/>
                  <a:gd name="connsiteY51" fmla="*/ 110563 h 359903"/>
                  <a:gd name="connsiteX52" fmla="*/ 342093 w 360785"/>
                  <a:gd name="connsiteY52" fmla="*/ 111092 h 359903"/>
                  <a:gd name="connsiteX53" fmla="*/ 341829 w 360785"/>
                  <a:gd name="connsiteY53" fmla="*/ 112591 h 359903"/>
                  <a:gd name="connsiteX54" fmla="*/ 341212 w 360785"/>
                  <a:gd name="connsiteY54" fmla="*/ 112591 h 359903"/>
                  <a:gd name="connsiteX55" fmla="*/ 340947 w 360785"/>
                  <a:gd name="connsiteY55" fmla="*/ 111709 h 359903"/>
                  <a:gd name="connsiteX56" fmla="*/ 340947 w 360785"/>
                  <a:gd name="connsiteY56" fmla="*/ 111092 h 359903"/>
                  <a:gd name="connsiteX57" fmla="*/ 341212 w 360785"/>
                  <a:gd name="connsiteY57" fmla="*/ 110828 h 359903"/>
                  <a:gd name="connsiteX58" fmla="*/ 341829 w 360785"/>
                  <a:gd name="connsiteY58" fmla="*/ 109946 h 359903"/>
                  <a:gd name="connsiteX59" fmla="*/ 341212 w 360785"/>
                  <a:gd name="connsiteY59" fmla="*/ 109681 h 359903"/>
                  <a:gd name="connsiteX60" fmla="*/ 339448 w 360785"/>
                  <a:gd name="connsiteY60" fmla="*/ 109946 h 359903"/>
                  <a:gd name="connsiteX61" fmla="*/ 339184 w 360785"/>
                  <a:gd name="connsiteY61" fmla="*/ 109329 h 359903"/>
                  <a:gd name="connsiteX62" fmla="*/ 337685 w 360785"/>
                  <a:gd name="connsiteY62" fmla="*/ 109681 h 359903"/>
                  <a:gd name="connsiteX63" fmla="*/ 337420 w 360785"/>
                  <a:gd name="connsiteY63" fmla="*/ 110210 h 359903"/>
                  <a:gd name="connsiteX64" fmla="*/ 336539 w 360785"/>
                  <a:gd name="connsiteY64" fmla="*/ 109946 h 359903"/>
                  <a:gd name="connsiteX65" fmla="*/ 336010 w 360785"/>
                  <a:gd name="connsiteY65" fmla="*/ 109681 h 359903"/>
                  <a:gd name="connsiteX66" fmla="*/ 334864 w 360785"/>
                  <a:gd name="connsiteY66" fmla="*/ 107654 h 359903"/>
                  <a:gd name="connsiteX67" fmla="*/ 333894 w 360785"/>
                  <a:gd name="connsiteY67" fmla="*/ 105890 h 359903"/>
                  <a:gd name="connsiteX68" fmla="*/ 333894 w 360785"/>
                  <a:gd name="connsiteY68" fmla="*/ 104656 h 359903"/>
                  <a:gd name="connsiteX69" fmla="*/ 333100 w 360785"/>
                  <a:gd name="connsiteY69" fmla="*/ 104127 h 359903"/>
                  <a:gd name="connsiteX70" fmla="*/ 333629 w 360785"/>
                  <a:gd name="connsiteY70" fmla="*/ 102628 h 359903"/>
                  <a:gd name="connsiteX71" fmla="*/ 333629 w 360785"/>
                  <a:gd name="connsiteY71" fmla="*/ 101217 h 359903"/>
                  <a:gd name="connsiteX72" fmla="*/ 331954 w 360785"/>
                  <a:gd name="connsiteY72" fmla="*/ 97691 h 359903"/>
                  <a:gd name="connsiteX73" fmla="*/ 331337 w 360785"/>
                  <a:gd name="connsiteY73" fmla="*/ 94781 h 359903"/>
                  <a:gd name="connsiteX74" fmla="*/ 330720 w 360785"/>
                  <a:gd name="connsiteY74" fmla="*/ 93018 h 359903"/>
                  <a:gd name="connsiteX75" fmla="*/ 330191 w 360785"/>
                  <a:gd name="connsiteY75" fmla="*/ 90373 h 359903"/>
                  <a:gd name="connsiteX76" fmla="*/ 328692 w 360785"/>
                  <a:gd name="connsiteY76" fmla="*/ 88962 h 359903"/>
                  <a:gd name="connsiteX77" fmla="*/ 328427 w 360785"/>
                  <a:gd name="connsiteY77" fmla="*/ 87816 h 359903"/>
                  <a:gd name="connsiteX78" fmla="*/ 328163 w 360785"/>
                  <a:gd name="connsiteY78" fmla="*/ 87199 h 359903"/>
                  <a:gd name="connsiteX79" fmla="*/ 328427 w 360785"/>
                  <a:gd name="connsiteY79" fmla="*/ 87199 h 359903"/>
                  <a:gd name="connsiteX80" fmla="*/ 328163 w 360785"/>
                  <a:gd name="connsiteY80" fmla="*/ 86934 h 359903"/>
                  <a:gd name="connsiteX81" fmla="*/ 328427 w 360785"/>
                  <a:gd name="connsiteY81" fmla="*/ 87199 h 359903"/>
                  <a:gd name="connsiteX82" fmla="*/ 328427 w 360785"/>
                  <a:gd name="connsiteY82" fmla="*/ 85700 h 359903"/>
                  <a:gd name="connsiteX83" fmla="*/ 329044 w 360785"/>
                  <a:gd name="connsiteY83" fmla="*/ 85700 h 359903"/>
                  <a:gd name="connsiteX84" fmla="*/ 329309 w 360785"/>
                  <a:gd name="connsiteY84" fmla="*/ 85700 h 359903"/>
                  <a:gd name="connsiteX85" fmla="*/ 329309 w 360785"/>
                  <a:gd name="connsiteY85" fmla="*/ 85171 h 359903"/>
                  <a:gd name="connsiteX86" fmla="*/ 329573 w 360785"/>
                  <a:gd name="connsiteY86" fmla="*/ 84553 h 359903"/>
                  <a:gd name="connsiteX87" fmla="*/ 329309 w 360785"/>
                  <a:gd name="connsiteY87" fmla="*/ 84024 h 359903"/>
                  <a:gd name="connsiteX88" fmla="*/ 329044 w 360785"/>
                  <a:gd name="connsiteY88" fmla="*/ 82261 h 359903"/>
                  <a:gd name="connsiteX89" fmla="*/ 329044 w 360785"/>
                  <a:gd name="connsiteY89" fmla="*/ 81027 h 359903"/>
                  <a:gd name="connsiteX90" fmla="*/ 327810 w 360785"/>
                  <a:gd name="connsiteY90" fmla="*/ 78999 h 359903"/>
                  <a:gd name="connsiteX91" fmla="*/ 327545 w 360785"/>
                  <a:gd name="connsiteY91" fmla="*/ 77588 h 359903"/>
                  <a:gd name="connsiteX92" fmla="*/ 327545 w 360785"/>
                  <a:gd name="connsiteY92" fmla="*/ 77235 h 359903"/>
                  <a:gd name="connsiteX93" fmla="*/ 327545 w 360785"/>
                  <a:gd name="connsiteY93" fmla="*/ 76442 h 359903"/>
                  <a:gd name="connsiteX94" fmla="*/ 326664 w 360785"/>
                  <a:gd name="connsiteY94" fmla="*/ 72915 h 359903"/>
                  <a:gd name="connsiteX95" fmla="*/ 326399 w 360785"/>
                  <a:gd name="connsiteY95" fmla="*/ 69124 h 359903"/>
                  <a:gd name="connsiteX96" fmla="*/ 326399 w 360785"/>
                  <a:gd name="connsiteY96" fmla="*/ 68507 h 359903"/>
                  <a:gd name="connsiteX97" fmla="*/ 326664 w 360785"/>
                  <a:gd name="connsiteY97" fmla="*/ 67978 h 359903"/>
                  <a:gd name="connsiteX98" fmla="*/ 326399 w 360785"/>
                  <a:gd name="connsiteY98" fmla="*/ 66743 h 359903"/>
                  <a:gd name="connsiteX99" fmla="*/ 326047 w 360785"/>
                  <a:gd name="connsiteY99" fmla="*/ 66479 h 359903"/>
                  <a:gd name="connsiteX100" fmla="*/ 326399 w 360785"/>
                  <a:gd name="connsiteY100" fmla="*/ 66214 h 359903"/>
                  <a:gd name="connsiteX101" fmla="*/ 326399 w 360785"/>
                  <a:gd name="connsiteY101" fmla="*/ 65950 h 359903"/>
                  <a:gd name="connsiteX102" fmla="*/ 326928 w 360785"/>
                  <a:gd name="connsiteY102" fmla="*/ 66214 h 359903"/>
                  <a:gd name="connsiteX103" fmla="*/ 327193 w 360785"/>
                  <a:gd name="connsiteY103" fmla="*/ 66743 h 359903"/>
                  <a:gd name="connsiteX104" fmla="*/ 327545 w 360785"/>
                  <a:gd name="connsiteY104" fmla="*/ 66214 h 359903"/>
                  <a:gd name="connsiteX105" fmla="*/ 327193 w 360785"/>
                  <a:gd name="connsiteY105" fmla="*/ 64980 h 359903"/>
                  <a:gd name="connsiteX106" fmla="*/ 326928 w 360785"/>
                  <a:gd name="connsiteY106" fmla="*/ 64451 h 359903"/>
                  <a:gd name="connsiteX107" fmla="*/ 325782 w 360785"/>
                  <a:gd name="connsiteY107" fmla="*/ 62423 h 359903"/>
                  <a:gd name="connsiteX108" fmla="*/ 326047 w 360785"/>
                  <a:gd name="connsiteY108" fmla="*/ 61806 h 359903"/>
                  <a:gd name="connsiteX109" fmla="*/ 325518 w 360785"/>
                  <a:gd name="connsiteY109" fmla="*/ 61189 h 359903"/>
                  <a:gd name="connsiteX110" fmla="*/ 325518 w 360785"/>
                  <a:gd name="connsiteY110" fmla="*/ 60395 h 359903"/>
                  <a:gd name="connsiteX111" fmla="*/ 325165 w 360785"/>
                  <a:gd name="connsiteY111" fmla="*/ 59778 h 359903"/>
                  <a:gd name="connsiteX112" fmla="*/ 324636 w 360785"/>
                  <a:gd name="connsiteY112" fmla="*/ 56251 h 359903"/>
                  <a:gd name="connsiteX113" fmla="*/ 323137 w 360785"/>
                  <a:gd name="connsiteY113" fmla="*/ 53342 h 359903"/>
                  <a:gd name="connsiteX114" fmla="*/ 323137 w 360785"/>
                  <a:gd name="connsiteY114" fmla="*/ 52725 h 359903"/>
                  <a:gd name="connsiteX115" fmla="*/ 322873 w 360785"/>
                  <a:gd name="connsiteY115" fmla="*/ 52196 h 359903"/>
                  <a:gd name="connsiteX116" fmla="*/ 322255 w 360785"/>
                  <a:gd name="connsiteY116" fmla="*/ 51931 h 359903"/>
                  <a:gd name="connsiteX117" fmla="*/ 322255 w 360785"/>
                  <a:gd name="connsiteY117" fmla="*/ 51314 h 359903"/>
                  <a:gd name="connsiteX118" fmla="*/ 322608 w 360785"/>
                  <a:gd name="connsiteY118" fmla="*/ 51049 h 359903"/>
                  <a:gd name="connsiteX119" fmla="*/ 323490 w 360785"/>
                  <a:gd name="connsiteY119" fmla="*/ 51314 h 359903"/>
                  <a:gd name="connsiteX120" fmla="*/ 323754 w 360785"/>
                  <a:gd name="connsiteY120" fmla="*/ 51049 h 359903"/>
                  <a:gd name="connsiteX121" fmla="*/ 324283 w 360785"/>
                  <a:gd name="connsiteY121" fmla="*/ 49022 h 359903"/>
                  <a:gd name="connsiteX122" fmla="*/ 324283 w 360785"/>
                  <a:gd name="connsiteY122" fmla="*/ 48669 h 359903"/>
                  <a:gd name="connsiteX123" fmla="*/ 324283 w 360785"/>
                  <a:gd name="connsiteY123" fmla="*/ 48140 h 359903"/>
                  <a:gd name="connsiteX124" fmla="*/ 324901 w 360785"/>
                  <a:gd name="connsiteY124" fmla="*/ 48140 h 359903"/>
                  <a:gd name="connsiteX125" fmla="*/ 325165 w 360785"/>
                  <a:gd name="connsiteY125" fmla="*/ 49551 h 359903"/>
                  <a:gd name="connsiteX126" fmla="*/ 325165 w 360785"/>
                  <a:gd name="connsiteY126" fmla="*/ 50168 h 359903"/>
                  <a:gd name="connsiteX127" fmla="*/ 326047 w 360785"/>
                  <a:gd name="connsiteY127" fmla="*/ 51931 h 359903"/>
                  <a:gd name="connsiteX128" fmla="*/ 326047 w 360785"/>
                  <a:gd name="connsiteY128" fmla="*/ 51049 h 359903"/>
                  <a:gd name="connsiteX129" fmla="*/ 326399 w 360785"/>
                  <a:gd name="connsiteY129" fmla="*/ 51578 h 359903"/>
                  <a:gd name="connsiteX130" fmla="*/ 326399 w 360785"/>
                  <a:gd name="connsiteY130" fmla="*/ 52196 h 359903"/>
                  <a:gd name="connsiteX131" fmla="*/ 327193 w 360785"/>
                  <a:gd name="connsiteY131" fmla="*/ 51578 h 359903"/>
                  <a:gd name="connsiteX132" fmla="*/ 327193 w 360785"/>
                  <a:gd name="connsiteY132" fmla="*/ 51049 h 359903"/>
                  <a:gd name="connsiteX133" fmla="*/ 326928 w 360785"/>
                  <a:gd name="connsiteY133" fmla="*/ 49903 h 359903"/>
                  <a:gd name="connsiteX134" fmla="*/ 326399 w 360785"/>
                  <a:gd name="connsiteY134" fmla="*/ 49551 h 359903"/>
                  <a:gd name="connsiteX135" fmla="*/ 326047 w 360785"/>
                  <a:gd name="connsiteY135" fmla="*/ 48669 h 359903"/>
                  <a:gd name="connsiteX136" fmla="*/ 323490 w 360785"/>
                  <a:gd name="connsiteY136" fmla="*/ 46112 h 359903"/>
                  <a:gd name="connsiteX137" fmla="*/ 322873 w 360785"/>
                  <a:gd name="connsiteY137" fmla="*/ 45495 h 359903"/>
                  <a:gd name="connsiteX138" fmla="*/ 322873 w 360785"/>
                  <a:gd name="connsiteY138" fmla="*/ 44878 h 359903"/>
                  <a:gd name="connsiteX139" fmla="*/ 321109 w 360785"/>
                  <a:gd name="connsiteY139" fmla="*/ 41439 h 359903"/>
                  <a:gd name="connsiteX140" fmla="*/ 320492 w 360785"/>
                  <a:gd name="connsiteY140" fmla="*/ 40822 h 359903"/>
                  <a:gd name="connsiteX141" fmla="*/ 320228 w 360785"/>
                  <a:gd name="connsiteY141" fmla="*/ 39676 h 359903"/>
                  <a:gd name="connsiteX142" fmla="*/ 320228 w 360785"/>
                  <a:gd name="connsiteY142" fmla="*/ 38530 h 359903"/>
                  <a:gd name="connsiteX143" fmla="*/ 319346 w 360785"/>
                  <a:gd name="connsiteY143" fmla="*/ 38530 h 359903"/>
                  <a:gd name="connsiteX144" fmla="*/ 319346 w 360785"/>
                  <a:gd name="connsiteY144" fmla="*/ 37912 h 359903"/>
                  <a:gd name="connsiteX145" fmla="*/ 319346 w 360785"/>
                  <a:gd name="connsiteY145" fmla="*/ 37648 h 359903"/>
                  <a:gd name="connsiteX146" fmla="*/ 318817 w 360785"/>
                  <a:gd name="connsiteY146" fmla="*/ 37912 h 359903"/>
                  <a:gd name="connsiteX147" fmla="*/ 318200 w 360785"/>
                  <a:gd name="connsiteY147" fmla="*/ 37295 h 359903"/>
                  <a:gd name="connsiteX148" fmla="*/ 318464 w 360785"/>
                  <a:gd name="connsiteY148" fmla="*/ 37031 h 359903"/>
                  <a:gd name="connsiteX149" fmla="*/ 319081 w 360785"/>
                  <a:gd name="connsiteY149" fmla="*/ 37031 h 359903"/>
                  <a:gd name="connsiteX150" fmla="*/ 319081 w 360785"/>
                  <a:gd name="connsiteY150" fmla="*/ 36149 h 359903"/>
                  <a:gd name="connsiteX151" fmla="*/ 318200 w 360785"/>
                  <a:gd name="connsiteY151" fmla="*/ 35532 h 359903"/>
                  <a:gd name="connsiteX152" fmla="*/ 317582 w 360785"/>
                  <a:gd name="connsiteY152" fmla="*/ 34386 h 359903"/>
                  <a:gd name="connsiteX153" fmla="*/ 317935 w 360785"/>
                  <a:gd name="connsiteY153" fmla="*/ 33857 h 359903"/>
                  <a:gd name="connsiteX154" fmla="*/ 317582 w 360785"/>
                  <a:gd name="connsiteY154" fmla="*/ 33857 h 359903"/>
                  <a:gd name="connsiteX155" fmla="*/ 317318 w 360785"/>
                  <a:gd name="connsiteY155" fmla="*/ 33857 h 359903"/>
                  <a:gd name="connsiteX156" fmla="*/ 317582 w 360785"/>
                  <a:gd name="connsiteY156" fmla="*/ 33504 h 359903"/>
                  <a:gd name="connsiteX157" fmla="*/ 317582 w 360785"/>
                  <a:gd name="connsiteY157" fmla="*/ 33240 h 359903"/>
                  <a:gd name="connsiteX158" fmla="*/ 317935 w 360785"/>
                  <a:gd name="connsiteY158" fmla="*/ 33504 h 359903"/>
                  <a:gd name="connsiteX159" fmla="*/ 317935 w 360785"/>
                  <a:gd name="connsiteY159" fmla="*/ 32358 h 359903"/>
                  <a:gd name="connsiteX160" fmla="*/ 317318 w 360785"/>
                  <a:gd name="connsiteY160" fmla="*/ 32622 h 359903"/>
                  <a:gd name="connsiteX161" fmla="*/ 317318 w 360785"/>
                  <a:gd name="connsiteY161" fmla="*/ 32358 h 359903"/>
                  <a:gd name="connsiteX162" fmla="*/ 316436 w 360785"/>
                  <a:gd name="connsiteY162" fmla="*/ 31741 h 359903"/>
                  <a:gd name="connsiteX163" fmla="*/ 317318 w 360785"/>
                  <a:gd name="connsiteY163" fmla="*/ 31741 h 359903"/>
                  <a:gd name="connsiteX164" fmla="*/ 317935 w 360785"/>
                  <a:gd name="connsiteY164" fmla="*/ 31741 h 359903"/>
                  <a:gd name="connsiteX165" fmla="*/ 317053 w 360785"/>
                  <a:gd name="connsiteY165" fmla="*/ 31212 h 359903"/>
                  <a:gd name="connsiteX166" fmla="*/ 317318 w 360785"/>
                  <a:gd name="connsiteY166" fmla="*/ 30594 h 359903"/>
                  <a:gd name="connsiteX167" fmla="*/ 317582 w 360785"/>
                  <a:gd name="connsiteY167" fmla="*/ 29713 h 359903"/>
                  <a:gd name="connsiteX168" fmla="*/ 317318 w 360785"/>
                  <a:gd name="connsiteY168" fmla="*/ 29448 h 359903"/>
                  <a:gd name="connsiteX169" fmla="*/ 316172 w 360785"/>
                  <a:gd name="connsiteY169" fmla="*/ 28302 h 359903"/>
                  <a:gd name="connsiteX170" fmla="*/ 317053 w 360785"/>
                  <a:gd name="connsiteY170" fmla="*/ 28302 h 359903"/>
                  <a:gd name="connsiteX171" fmla="*/ 317582 w 360785"/>
                  <a:gd name="connsiteY171" fmla="*/ 28302 h 359903"/>
                  <a:gd name="connsiteX172" fmla="*/ 317935 w 360785"/>
                  <a:gd name="connsiteY172" fmla="*/ 27949 h 359903"/>
                  <a:gd name="connsiteX173" fmla="*/ 317582 w 360785"/>
                  <a:gd name="connsiteY173" fmla="*/ 27685 h 359903"/>
                  <a:gd name="connsiteX174" fmla="*/ 317582 w 360785"/>
                  <a:gd name="connsiteY174" fmla="*/ 27420 h 359903"/>
                  <a:gd name="connsiteX175" fmla="*/ 317318 w 360785"/>
                  <a:gd name="connsiteY175" fmla="*/ 27068 h 359903"/>
                  <a:gd name="connsiteX176" fmla="*/ 317053 w 360785"/>
                  <a:gd name="connsiteY176" fmla="*/ 26274 h 359903"/>
                  <a:gd name="connsiteX177" fmla="*/ 316172 w 360785"/>
                  <a:gd name="connsiteY177" fmla="*/ 24511 h 359903"/>
                  <a:gd name="connsiteX178" fmla="*/ 315026 w 360785"/>
                  <a:gd name="connsiteY178" fmla="*/ 23894 h 359903"/>
                  <a:gd name="connsiteX179" fmla="*/ 315290 w 360785"/>
                  <a:gd name="connsiteY179" fmla="*/ 23365 h 359903"/>
                  <a:gd name="connsiteX180" fmla="*/ 315026 w 360785"/>
                  <a:gd name="connsiteY180" fmla="*/ 22747 h 359903"/>
                  <a:gd name="connsiteX181" fmla="*/ 314408 w 360785"/>
                  <a:gd name="connsiteY181" fmla="*/ 22747 h 359903"/>
                  <a:gd name="connsiteX182" fmla="*/ 313791 w 360785"/>
                  <a:gd name="connsiteY182" fmla="*/ 22747 h 359903"/>
                  <a:gd name="connsiteX183" fmla="*/ 311234 w 360785"/>
                  <a:gd name="connsiteY183" fmla="*/ 21249 h 359903"/>
                  <a:gd name="connsiteX184" fmla="*/ 307972 w 360785"/>
                  <a:gd name="connsiteY184" fmla="*/ 20102 h 359903"/>
                  <a:gd name="connsiteX185" fmla="*/ 305944 w 360785"/>
                  <a:gd name="connsiteY185" fmla="*/ 16928 h 359903"/>
                  <a:gd name="connsiteX186" fmla="*/ 305944 w 360785"/>
                  <a:gd name="connsiteY186" fmla="*/ 16576 h 359903"/>
                  <a:gd name="connsiteX187" fmla="*/ 304181 w 360785"/>
                  <a:gd name="connsiteY187" fmla="*/ 15429 h 359903"/>
                  <a:gd name="connsiteX188" fmla="*/ 303916 w 360785"/>
                  <a:gd name="connsiteY188" fmla="*/ 13137 h 359903"/>
                  <a:gd name="connsiteX189" fmla="*/ 302417 w 360785"/>
                  <a:gd name="connsiteY189" fmla="*/ 11638 h 359903"/>
                  <a:gd name="connsiteX190" fmla="*/ 301007 w 360785"/>
                  <a:gd name="connsiteY190" fmla="*/ 11109 h 359903"/>
                  <a:gd name="connsiteX191" fmla="*/ 298362 w 360785"/>
                  <a:gd name="connsiteY191" fmla="*/ 11109 h 359903"/>
                  <a:gd name="connsiteX192" fmla="*/ 297216 w 360785"/>
                  <a:gd name="connsiteY192" fmla="*/ 10757 h 359903"/>
                  <a:gd name="connsiteX193" fmla="*/ 296951 w 360785"/>
                  <a:gd name="connsiteY193" fmla="*/ 11109 h 359903"/>
                  <a:gd name="connsiteX194" fmla="*/ 296599 w 360785"/>
                  <a:gd name="connsiteY194" fmla="*/ 11109 h 359903"/>
                  <a:gd name="connsiteX195" fmla="*/ 294835 w 360785"/>
                  <a:gd name="connsiteY195" fmla="*/ 9346 h 359903"/>
                  <a:gd name="connsiteX196" fmla="*/ 293424 w 360785"/>
                  <a:gd name="connsiteY196" fmla="*/ 7582 h 359903"/>
                  <a:gd name="connsiteX197" fmla="*/ 292543 w 360785"/>
                  <a:gd name="connsiteY197" fmla="*/ 7318 h 359903"/>
                  <a:gd name="connsiteX198" fmla="*/ 292807 w 360785"/>
                  <a:gd name="connsiteY198" fmla="*/ 7847 h 359903"/>
                  <a:gd name="connsiteX199" fmla="*/ 292543 w 360785"/>
                  <a:gd name="connsiteY199" fmla="*/ 8111 h 359903"/>
                  <a:gd name="connsiteX200" fmla="*/ 291926 w 360785"/>
                  <a:gd name="connsiteY200" fmla="*/ 7318 h 359903"/>
                  <a:gd name="connsiteX201" fmla="*/ 291661 w 360785"/>
                  <a:gd name="connsiteY201" fmla="*/ 7582 h 359903"/>
                  <a:gd name="connsiteX202" fmla="*/ 291661 w 360785"/>
                  <a:gd name="connsiteY202" fmla="*/ 7318 h 359903"/>
                  <a:gd name="connsiteX203" fmla="*/ 291396 w 360785"/>
                  <a:gd name="connsiteY203" fmla="*/ 6965 h 359903"/>
                  <a:gd name="connsiteX204" fmla="*/ 291661 w 360785"/>
                  <a:gd name="connsiteY204" fmla="*/ 6701 h 359903"/>
                  <a:gd name="connsiteX205" fmla="*/ 291661 w 360785"/>
                  <a:gd name="connsiteY205" fmla="*/ 6436 h 359903"/>
                  <a:gd name="connsiteX206" fmla="*/ 291926 w 360785"/>
                  <a:gd name="connsiteY206" fmla="*/ 6084 h 359903"/>
                  <a:gd name="connsiteX207" fmla="*/ 292190 w 360785"/>
                  <a:gd name="connsiteY207" fmla="*/ 6436 h 359903"/>
                  <a:gd name="connsiteX208" fmla="*/ 292543 w 360785"/>
                  <a:gd name="connsiteY208" fmla="*/ 6701 h 359903"/>
                  <a:gd name="connsiteX209" fmla="*/ 292543 w 360785"/>
                  <a:gd name="connsiteY209" fmla="*/ 6436 h 359903"/>
                  <a:gd name="connsiteX210" fmla="*/ 292190 w 360785"/>
                  <a:gd name="connsiteY210" fmla="*/ 6084 h 359903"/>
                  <a:gd name="connsiteX211" fmla="*/ 291926 w 360785"/>
                  <a:gd name="connsiteY211" fmla="*/ 5555 h 359903"/>
                  <a:gd name="connsiteX212" fmla="*/ 291396 w 360785"/>
                  <a:gd name="connsiteY212" fmla="*/ 5202 h 359903"/>
                  <a:gd name="connsiteX213" fmla="*/ 291661 w 360785"/>
                  <a:gd name="connsiteY213" fmla="*/ 5202 h 359903"/>
                  <a:gd name="connsiteX214" fmla="*/ 291926 w 360785"/>
                  <a:gd name="connsiteY214" fmla="*/ 5202 h 359903"/>
                  <a:gd name="connsiteX215" fmla="*/ 291661 w 360785"/>
                  <a:gd name="connsiteY215" fmla="*/ 4673 h 359903"/>
                  <a:gd name="connsiteX216" fmla="*/ 291396 w 360785"/>
                  <a:gd name="connsiteY216" fmla="*/ 4673 h 359903"/>
                  <a:gd name="connsiteX217" fmla="*/ 291661 w 360785"/>
                  <a:gd name="connsiteY217" fmla="*/ 3791 h 359903"/>
                  <a:gd name="connsiteX218" fmla="*/ 291396 w 360785"/>
                  <a:gd name="connsiteY218" fmla="*/ 3174 h 359903"/>
                  <a:gd name="connsiteX219" fmla="*/ 290779 w 360785"/>
                  <a:gd name="connsiteY219" fmla="*/ 3174 h 359903"/>
                  <a:gd name="connsiteX220" fmla="*/ 290515 w 360785"/>
                  <a:gd name="connsiteY220" fmla="*/ 2910 h 359903"/>
                  <a:gd name="connsiteX221" fmla="*/ 290779 w 360785"/>
                  <a:gd name="connsiteY221" fmla="*/ 2028 h 359903"/>
                  <a:gd name="connsiteX222" fmla="*/ 290162 w 360785"/>
                  <a:gd name="connsiteY222" fmla="*/ 1146 h 359903"/>
                  <a:gd name="connsiteX223" fmla="*/ 288134 w 360785"/>
                  <a:gd name="connsiteY223" fmla="*/ 0 h 359903"/>
                  <a:gd name="connsiteX224" fmla="*/ 282315 w 360785"/>
                  <a:gd name="connsiteY224" fmla="*/ 6965 h 359903"/>
                  <a:gd name="connsiteX225" fmla="*/ 280905 w 360785"/>
                  <a:gd name="connsiteY225" fmla="*/ 9346 h 359903"/>
                  <a:gd name="connsiteX226" fmla="*/ 274733 w 360785"/>
                  <a:gd name="connsiteY226" fmla="*/ 6965 h 359903"/>
                  <a:gd name="connsiteX227" fmla="*/ 270677 w 360785"/>
                  <a:gd name="connsiteY227" fmla="*/ 21249 h 359903"/>
                  <a:gd name="connsiteX228" fmla="*/ 258686 w 360785"/>
                  <a:gd name="connsiteY228" fmla="*/ 22747 h 359903"/>
                  <a:gd name="connsiteX229" fmla="*/ 256394 w 360785"/>
                  <a:gd name="connsiteY229" fmla="*/ 33857 h 359903"/>
                  <a:gd name="connsiteX230" fmla="*/ 254278 w 360785"/>
                  <a:gd name="connsiteY230" fmla="*/ 34650 h 359903"/>
                  <a:gd name="connsiteX231" fmla="*/ 246431 w 360785"/>
                  <a:gd name="connsiteY231" fmla="*/ 35003 h 359903"/>
                  <a:gd name="connsiteX232" fmla="*/ 237702 w 360785"/>
                  <a:gd name="connsiteY232" fmla="*/ 28302 h 359903"/>
                  <a:gd name="connsiteX233" fmla="*/ 234175 w 360785"/>
                  <a:gd name="connsiteY233" fmla="*/ 28302 h 359903"/>
                  <a:gd name="connsiteX234" fmla="*/ 200319 w 360785"/>
                  <a:gd name="connsiteY234" fmla="*/ 28302 h 359903"/>
                  <a:gd name="connsiteX235" fmla="*/ 201553 w 360785"/>
                  <a:gd name="connsiteY235" fmla="*/ 24158 h 359903"/>
                  <a:gd name="connsiteX236" fmla="*/ 201200 w 360785"/>
                  <a:gd name="connsiteY236" fmla="*/ 22747 h 359903"/>
                  <a:gd name="connsiteX237" fmla="*/ 199525 w 360785"/>
                  <a:gd name="connsiteY237" fmla="*/ 22483 h 359903"/>
                  <a:gd name="connsiteX238" fmla="*/ 198291 w 360785"/>
                  <a:gd name="connsiteY238" fmla="*/ 23629 h 359903"/>
                  <a:gd name="connsiteX239" fmla="*/ 196880 w 360785"/>
                  <a:gd name="connsiteY239" fmla="*/ 27949 h 359903"/>
                  <a:gd name="connsiteX240" fmla="*/ 61189 w 360785"/>
                  <a:gd name="connsiteY240" fmla="*/ 27949 h 359903"/>
                  <a:gd name="connsiteX241" fmla="*/ 62952 w 360785"/>
                  <a:gd name="connsiteY241" fmla="*/ 77588 h 359903"/>
                  <a:gd name="connsiteX242" fmla="*/ 41351 w 360785"/>
                  <a:gd name="connsiteY242" fmla="*/ 76706 h 359903"/>
                  <a:gd name="connsiteX243" fmla="*/ 42233 w 360785"/>
                  <a:gd name="connsiteY243" fmla="*/ 93282 h 359903"/>
                  <a:gd name="connsiteX244" fmla="*/ 45230 w 360785"/>
                  <a:gd name="connsiteY244" fmla="*/ 184889 h 359903"/>
                  <a:gd name="connsiteX245" fmla="*/ 40822 w 360785"/>
                  <a:gd name="connsiteY245" fmla="*/ 183743 h 359903"/>
                  <a:gd name="connsiteX246" fmla="*/ 37031 w 360785"/>
                  <a:gd name="connsiteY246" fmla="*/ 183126 h 359903"/>
                  <a:gd name="connsiteX247" fmla="*/ 33504 w 360785"/>
                  <a:gd name="connsiteY247" fmla="*/ 184360 h 359903"/>
                  <a:gd name="connsiteX248" fmla="*/ 31476 w 360785"/>
                  <a:gd name="connsiteY248" fmla="*/ 185506 h 359903"/>
                  <a:gd name="connsiteX249" fmla="*/ 25922 w 360785"/>
                  <a:gd name="connsiteY249" fmla="*/ 184360 h 359903"/>
                  <a:gd name="connsiteX250" fmla="*/ 24158 w 360785"/>
                  <a:gd name="connsiteY250" fmla="*/ 187799 h 359903"/>
                  <a:gd name="connsiteX251" fmla="*/ 22483 w 360785"/>
                  <a:gd name="connsiteY251" fmla="*/ 188680 h 359903"/>
                  <a:gd name="connsiteX252" fmla="*/ 22130 w 360785"/>
                  <a:gd name="connsiteY252" fmla="*/ 190179 h 359903"/>
                  <a:gd name="connsiteX253" fmla="*/ 23277 w 360785"/>
                  <a:gd name="connsiteY253" fmla="*/ 191590 h 359903"/>
                  <a:gd name="connsiteX254" fmla="*/ 24158 w 360785"/>
                  <a:gd name="connsiteY254" fmla="*/ 193353 h 359903"/>
                  <a:gd name="connsiteX255" fmla="*/ 23277 w 360785"/>
                  <a:gd name="connsiteY255" fmla="*/ 197145 h 359903"/>
                  <a:gd name="connsiteX256" fmla="*/ 23277 w 360785"/>
                  <a:gd name="connsiteY256" fmla="*/ 198643 h 359903"/>
                  <a:gd name="connsiteX257" fmla="*/ 22747 w 360785"/>
                  <a:gd name="connsiteY257" fmla="*/ 199172 h 359903"/>
                  <a:gd name="connsiteX258" fmla="*/ 20720 w 360785"/>
                  <a:gd name="connsiteY258" fmla="*/ 200319 h 359903"/>
                  <a:gd name="connsiteX259" fmla="*/ 18604 w 360785"/>
                  <a:gd name="connsiteY259" fmla="*/ 202435 h 359903"/>
                  <a:gd name="connsiteX260" fmla="*/ 18339 w 360785"/>
                  <a:gd name="connsiteY260" fmla="*/ 204727 h 359903"/>
                  <a:gd name="connsiteX261" fmla="*/ 16576 w 360785"/>
                  <a:gd name="connsiteY261" fmla="*/ 205609 h 359903"/>
                  <a:gd name="connsiteX262" fmla="*/ 17193 w 360785"/>
                  <a:gd name="connsiteY262" fmla="*/ 208254 h 359903"/>
                  <a:gd name="connsiteX263" fmla="*/ 17457 w 360785"/>
                  <a:gd name="connsiteY263" fmla="*/ 210282 h 359903"/>
                  <a:gd name="connsiteX264" fmla="*/ 12520 w 360785"/>
                  <a:gd name="connsiteY264" fmla="*/ 211428 h 359903"/>
                  <a:gd name="connsiteX265" fmla="*/ 11021 w 360785"/>
                  <a:gd name="connsiteY265" fmla="*/ 212309 h 359903"/>
                  <a:gd name="connsiteX266" fmla="*/ 11021 w 360785"/>
                  <a:gd name="connsiteY266" fmla="*/ 213191 h 359903"/>
                  <a:gd name="connsiteX267" fmla="*/ 11021 w 360785"/>
                  <a:gd name="connsiteY267" fmla="*/ 214690 h 359903"/>
                  <a:gd name="connsiteX268" fmla="*/ 12256 w 360785"/>
                  <a:gd name="connsiteY268" fmla="*/ 215484 h 359903"/>
                  <a:gd name="connsiteX269" fmla="*/ 12520 w 360785"/>
                  <a:gd name="connsiteY269" fmla="*/ 217864 h 359903"/>
                  <a:gd name="connsiteX270" fmla="*/ 12785 w 360785"/>
                  <a:gd name="connsiteY270" fmla="*/ 219010 h 359903"/>
                  <a:gd name="connsiteX271" fmla="*/ 12256 w 360785"/>
                  <a:gd name="connsiteY271" fmla="*/ 219363 h 359903"/>
                  <a:gd name="connsiteX272" fmla="*/ 12520 w 360785"/>
                  <a:gd name="connsiteY272" fmla="*/ 220156 h 359903"/>
                  <a:gd name="connsiteX273" fmla="*/ 12785 w 360785"/>
                  <a:gd name="connsiteY273" fmla="*/ 221038 h 359903"/>
                  <a:gd name="connsiteX274" fmla="*/ 15165 w 360785"/>
                  <a:gd name="connsiteY274" fmla="*/ 221655 h 359903"/>
                  <a:gd name="connsiteX275" fmla="*/ 15165 w 360785"/>
                  <a:gd name="connsiteY275" fmla="*/ 223154 h 359903"/>
                  <a:gd name="connsiteX276" fmla="*/ 15165 w 360785"/>
                  <a:gd name="connsiteY276" fmla="*/ 223948 h 359903"/>
                  <a:gd name="connsiteX277" fmla="*/ 13666 w 360785"/>
                  <a:gd name="connsiteY277" fmla="*/ 225182 h 359903"/>
                  <a:gd name="connsiteX278" fmla="*/ 12256 w 360785"/>
                  <a:gd name="connsiteY278" fmla="*/ 225976 h 359903"/>
                  <a:gd name="connsiteX279" fmla="*/ 11374 w 360785"/>
                  <a:gd name="connsiteY279" fmla="*/ 225976 h 359903"/>
                  <a:gd name="connsiteX280" fmla="*/ 10492 w 360785"/>
                  <a:gd name="connsiteY280" fmla="*/ 226945 h 359903"/>
                  <a:gd name="connsiteX281" fmla="*/ 9610 w 360785"/>
                  <a:gd name="connsiteY281" fmla="*/ 226945 h 359903"/>
                  <a:gd name="connsiteX282" fmla="*/ 8112 w 360785"/>
                  <a:gd name="connsiteY282" fmla="*/ 228092 h 359903"/>
                  <a:gd name="connsiteX283" fmla="*/ 4937 w 360785"/>
                  <a:gd name="connsiteY283" fmla="*/ 232412 h 359903"/>
                  <a:gd name="connsiteX284" fmla="*/ 6436 w 360785"/>
                  <a:gd name="connsiteY284" fmla="*/ 234175 h 359903"/>
                  <a:gd name="connsiteX285" fmla="*/ 6436 w 360785"/>
                  <a:gd name="connsiteY285" fmla="*/ 235939 h 359903"/>
                  <a:gd name="connsiteX286" fmla="*/ 6701 w 360785"/>
                  <a:gd name="connsiteY286" fmla="*/ 236203 h 359903"/>
                  <a:gd name="connsiteX287" fmla="*/ 7847 w 360785"/>
                  <a:gd name="connsiteY287" fmla="*/ 238319 h 359903"/>
                  <a:gd name="connsiteX288" fmla="*/ 8464 w 360785"/>
                  <a:gd name="connsiteY288" fmla="*/ 239994 h 359903"/>
                  <a:gd name="connsiteX289" fmla="*/ 9875 w 360785"/>
                  <a:gd name="connsiteY289" fmla="*/ 242639 h 359903"/>
                  <a:gd name="connsiteX290" fmla="*/ 9875 w 360785"/>
                  <a:gd name="connsiteY290" fmla="*/ 243257 h 359903"/>
                  <a:gd name="connsiteX291" fmla="*/ 6965 w 360785"/>
                  <a:gd name="connsiteY291" fmla="*/ 247929 h 359903"/>
                  <a:gd name="connsiteX292" fmla="*/ 3791 w 360785"/>
                  <a:gd name="connsiteY292" fmla="*/ 248811 h 359903"/>
                  <a:gd name="connsiteX293" fmla="*/ 2292 w 360785"/>
                  <a:gd name="connsiteY293" fmla="*/ 251368 h 359903"/>
                  <a:gd name="connsiteX294" fmla="*/ 1411 w 360785"/>
                  <a:gd name="connsiteY294" fmla="*/ 253131 h 359903"/>
                  <a:gd name="connsiteX295" fmla="*/ 0 w 360785"/>
                  <a:gd name="connsiteY295" fmla="*/ 257275 h 359903"/>
                  <a:gd name="connsiteX296" fmla="*/ 1411 w 360785"/>
                  <a:gd name="connsiteY296" fmla="*/ 260449 h 359903"/>
                  <a:gd name="connsiteX297" fmla="*/ 2292 w 360785"/>
                  <a:gd name="connsiteY297" fmla="*/ 260714 h 359903"/>
                  <a:gd name="connsiteX298" fmla="*/ 4673 w 360785"/>
                  <a:gd name="connsiteY298" fmla="*/ 261067 h 359903"/>
                  <a:gd name="connsiteX299" fmla="*/ 6965 w 360785"/>
                  <a:gd name="connsiteY299" fmla="*/ 260714 h 359903"/>
                  <a:gd name="connsiteX300" fmla="*/ 8464 w 360785"/>
                  <a:gd name="connsiteY300" fmla="*/ 258422 h 359903"/>
                  <a:gd name="connsiteX301" fmla="*/ 10757 w 360785"/>
                  <a:gd name="connsiteY301" fmla="*/ 260714 h 359903"/>
                  <a:gd name="connsiteX302" fmla="*/ 13666 w 360785"/>
                  <a:gd name="connsiteY302" fmla="*/ 261860 h 359903"/>
                  <a:gd name="connsiteX303" fmla="*/ 13137 w 360785"/>
                  <a:gd name="connsiteY303" fmla="*/ 265387 h 359903"/>
                  <a:gd name="connsiteX304" fmla="*/ 12256 w 360785"/>
                  <a:gd name="connsiteY304" fmla="*/ 265651 h 359903"/>
                  <a:gd name="connsiteX305" fmla="*/ 13137 w 360785"/>
                  <a:gd name="connsiteY305" fmla="*/ 267415 h 359903"/>
                  <a:gd name="connsiteX306" fmla="*/ 13137 w 360785"/>
                  <a:gd name="connsiteY306" fmla="*/ 268296 h 359903"/>
                  <a:gd name="connsiteX307" fmla="*/ 15165 w 360785"/>
                  <a:gd name="connsiteY307" fmla="*/ 272440 h 359903"/>
                  <a:gd name="connsiteX308" fmla="*/ 14812 w 360785"/>
                  <a:gd name="connsiteY308" fmla="*/ 276143 h 359903"/>
                  <a:gd name="connsiteX309" fmla="*/ 14812 w 360785"/>
                  <a:gd name="connsiteY309" fmla="*/ 276496 h 359903"/>
                  <a:gd name="connsiteX310" fmla="*/ 16311 w 360785"/>
                  <a:gd name="connsiteY310" fmla="*/ 275350 h 359903"/>
                  <a:gd name="connsiteX311" fmla="*/ 17193 w 360785"/>
                  <a:gd name="connsiteY311" fmla="*/ 274733 h 359903"/>
                  <a:gd name="connsiteX312" fmla="*/ 17457 w 360785"/>
                  <a:gd name="connsiteY312" fmla="*/ 275350 h 359903"/>
                  <a:gd name="connsiteX313" fmla="*/ 17722 w 360785"/>
                  <a:gd name="connsiteY313" fmla="*/ 274733 h 359903"/>
                  <a:gd name="connsiteX314" fmla="*/ 17722 w 360785"/>
                  <a:gd name="connsiteY314" fmla="*/ 275350 h 359903"/>
                  <a:gd name="connsiteX315" fmla="*/ 17457 w 360785"/>
                  <a:gd name="connsiteY315" fmla="*/ 277378 h 359903"/>
                  <a:gd name="connsiteX316" fmla="*/ 17193 w 360785"/>
                  <a:gd name="connsiteY316" fmla="*/ 281698 h 359903"/>
                  <a:gd name="connsiteX317" fmla="*/ 16576 w 360785"/>
                  <a:gd name="connsiteY317" fmla="*/ 285489 h 359903"/>
                  <a:gd name="connsiteX318" fmla="*/ 16576 w 360785"/>
                  <a:gd name="connsiteY318" fmla="*/ 286371 h 359903"/>
                  <a:gd name="connsiteX319" fmla="*/ 18339 w 360785"/>
                  <a:gd name="connsiteY319" fmla="*/ 289016 h 359903"/>
                  <a:gd name="connsiteX320" fmla="*/ 21601 w 360785"/>
                  <a:gd name="connsiteY320" fmla="*/ 290515 h 359903"/>
                  <a:gd name="connsiteX321" fmla="*/ 21601 w 360785"/>
                  <a:gd name="connsiteY321" fmla="*/ 291926 h 359903"/>
                  <a:gd name="connsiteX322" fmla="*/ 21601 w 360785"/>
                  <a:gd name="connsiteY322" fmla="*/ 292190 h 359903"/>
                  <a:gd name="connsiteX323" fmla="*/ 25040 w 360785"/>
                  <a:gd name="connsiteY323" fmla="*/ 291926 h 359903"/>
                  <a:gd name="connsiteX324" fmla="*/ 25304 w 360785"/>
                  <a:gd name="connsiteY324" fmla="*/ 294306 h 359903"/>
                  <a:gd name="connsiteX325" fmla="*/ 25304 w 360785"/>
                  <a:gd name="connsiteY325" fmla="*/ 294835 h 359903"/>
                  <a:gd name="connsiteX326" fmla="*/ 25657 w 360785"/>
                  <a:gd name="connsiteY326" fmla="*/ 296598 h 359903"/>
                  <a:gd name="connsiteX327" fmla="*/ 24511 w 360785"/>
                  <a:gd name="connsiteY327" fmla="*/ 300654 h 359903"/>
                  <a:gd name="connsiteX328" fmla="*/ 24158 w 360785"/>
                  <a:gd name="connsiteY328" fmla="*/ 303652 h 359903"/>
                  <a:gd name="connsiteX329" fmla="*/ 31212 w 360785"/>
                  <a:gd name="connsiteY329" fmla="*/ 314144 h 359903"/>
                  <a:gd name="connsiteX330" fmla="*/ 32622 w 360785"/>
                  <a:gd name="connsiteY330" fmla="*/ 315026 h 359903"/>
                  <a:gd name="connsiteX331" fmla="*/ 41704 w 360785"/>
                  <a:gd name="connsiteY331" fmla="*/ 329838 h 359903"/>
                  <a:gd name="connsiteX332" fmla="*/ 41704 w 360785"/>
                  <a:gd name="connsiteY332" fmla="*/ 335128 h 359903"/>
                  <a:gd name="connsiteX333" fmla="*/ 40822 w 360785"/>
                  <a:gd name="connsiteY333" fmla="*/ 338567 h 359903"/>
                  <a:gd name="connsiteX334" fmla="*/ 40558 w 360785"/>
                  <a:gd name="connsiteY334" fmla="*/ 340330 h 359903"/>
                  <a:gd name="connsiteX335" fmla="*/ 41704 w 360785"/>
                  <a:gd name="connsiteY335" fmla="*/ 340947 h 359903"/>
                  <a:gd name="connsiteX336" fmla="*/ 41351 w 360785"/>
                  <a:gd name="connsiteY336" fmla="*/ 344474 h 359903"/>
                  <a:gd name="connsiteX337" fmla="*/ 38177 w 360785"/>
                  <a:gd name="connsiteY337" fmla="*/ 347383 h 359903"/>
                  <a:gd name="connsiteX338" fmla="*/ 36414 w 360785"/>
                  <a:gd name="connsiteY338" fmla="*/ 351439 h 359903"/>
                  <a:gd name="connsiteX339" fmla="*/ 37560 w 360785"/>
                  <a:gd name="connsiteY339" fmla="*/ 354613 h 359903"/>
                  <a:gd name="connsiteX340" fmla="*/ 39676 w 360785"/>
                  <a:gd name="connsiteY340" fmla="*/ 351704 h 359903"/>
                  <a:gd name="connsiteX341" fmla="*/ 39940 w 360785"/>
                  <a:gd name="connsiteY341" fmla="*/ 354613 h 359903"/>
                  <a:gd name="connsiteX342" fmla="*/ 38794 w 360785"/>
                  <a:gd name="connsiteY342" fmla="*/ 356376 h 359903"/>
                  <a:gd name="connsiteX343" fmla="*/ 38177 w 360785"/>
                  <a:gd name="connsiteY343" fmla="*/ 359903 h 359903"/>
                  <a:gd name="connsiteX344" fmla="*/ 39323 w 360785"/>
                  <a:gd name="connsiteY344" fmla="*/ 359022 h 359903"/>
                  <a:gd name="connsiteX345" fmla="*/ 42585 w 360785"/>
                  <a:gd name="connsiteY345" fmla="*/ 359286 h 359903"/>
                  <a:gd name="connsiteX346" fmla="*/ 55987 w 360785"/>
                  <a:gd name="connsiteY346" fmla="*/ 358757 h 359903"/>
                  <a:gd name="connsiteX347" fmla="*/ 56075 w 360785"/>
                  <a:gd name="connsiteY347" fmla="*/ 359903 h 359903"/>
                  <a:gd name="connsiteX348" fmla="*/ 56957 w 360785"/>
                  <a:gd name="connsiteY348" fmla="*/ 359903 h 359903"/>
                  <a:gd name="connsiteX349" fmla="*/ 56957 w 360785"/>
                  <a:gd name="connsiteY349" fmla="*/ 356994 h 359903"/>
                  <a:gd name="connsiteX350" fmla="*/ 57574 w 360785"/>
                  <a:gd name="connsiteY350" fmla="*/ 354702 h 359903"/>
                  <a:gd name="connsiteX351" fmla="*/ 57838 w 360785"/>
                  <a:gd name="connsiteY351" fmla="*/ 351175 h 359903"/>
                  <a:gd name="connsiteX352" fmla="*/ 58896 w 360785"/>
                  <a:gd name="connsiteY352" fmla="*/ 349411 h 359903"/>
                  <a:gd name="connsiteX353" fmla="*/ 58896 w 360785"/>
                  <a:gd name="connsiteY353" fmla="*/ 346325 h 359903"/>
                  <a:gd name="connsiteX354" fmla="*/ 61189 w 360785"/>
                  <a:gd name="connsiteY354" fmla="*/ 342093 h 359903"/>
                  <a:gd name="connsiteX355" fmla="*/ 61189 w 360785"/>
                  <a:gd name="connsiteY355" fmla="*/ 336098 h 359903"/>
                  <a:gd name="connsiteX356" fmla="*/ 64892 w 360785"/>
                  <a:gd name="connsiteY356" fmla="*/ 331601 h 359903"/>
                  <a:gd name="connsiteX357" fmla="*/ 66655 w 360785"/>
                  <a:gd name="connsiteY357" fmla="*/ 326664 h 359903"/>
                  <a:gd name="connsiteX358" fmla="*/ 66655 w 360785"/>
                  <a:gd name="connsiteY358" fmla="*/ 323843 h 359903"/>
                  <a:gd name="connsiteX359" fmla="*/ 69388 w 360785"/>
                  <a:gd name="connsiteY359" fmla="*/ 323225 h 359903"/>
                  <a:gd name="connsiteX360" fmla="*/ 72298 w 360785"/>
                  <a:gd name="connsiteY360" fmla="*/ 323225 h 359903"/>
                  <a:gd name="connsiteX361" fmla="*/ 74326 w 360785"/>
                  <a:gd name="connsiteY361" fmla="*/ 322167 h 359903"/>
                  <a:gd name="connsiteX362" fmla="*/ 75208 w 360785"/>
                  <a:gd name="connsiteY362" fmla="*/ 322167 h 359903"/>
                  <a:gd name="connsiteX363" fmla="*/ 77059 w 360785"/>
                  <a:gd name="connsiteY363" fmla="*/ 322167 h 359903"/>
                  <a:gd name="connsiteX364" fmla="*/ 80057 w 360785"/>
                  <a:gd name="connsiteY364" fmla="*/ 320580 h 359903"/>
                  <a:gd name="connsiteX365" fmla="*/ 81732 w 360785"/>
                  <a:gd name="connsiteY365" fmla="*/ 320580 h 359903"/>
                  <a:gd name="connsiteX366" fmla="*/ 83231 w 360785"/>
                  <a:gd name="connsiteY366" fmla="*/ 320580 h 359903"/>
                  <a:gd name="connsiteX367" fmla="*/ 84377 w 360785"/>
                  <a:gd name="connsiteY367" fmla="*/ 321991 h 359903"/>
                  <a:gd name="connsiteX368" fmla="*/ 85435 w 360785"/>
                  <a:gd name="connsiteY368" fmla="*/ 323843 h 359903"/>
                  <a:gd name="connsiteX369" fmla="*/ 86140 w 360785"/>
                  <a:gd name="connsiteY369" fmla="*/ 325959 h 359903"/>
                  <a:gd name="connsiteX370" fmla="*/ 87551 w 360785"/>
                  <a:gd name="connsiteY370" fmla="*/ 327017 h 359903"/>
                  <a:gd name="connsiteX371" fmla="*/ 89050 w 360785"/>
                  <a:gd name="connsiteY371" fmla="*/ 328251 h 359903"/>
                  <a:gd name="connsiteX372" fmla="*/ 89050 w 360785"/>
                  <a:gd name="connsiteY372" fmla="*/ 328780 h 359903"/>
                  <a:gd name="connsiteX373" fmla="*/ 90461 w 360785"/>
                  <a:gd name="connsiteY373" fmla="*/ 331072 h 359903"/>
                  <a:gd name="connsiteX374" fmla="*/ 92665 w 360785"/>
                  <a:gd name="connsiteY374" fmla="*/ 332924 h 359903"/>
                  <a:gd name="connsiteX375" fmla="*/ 94076 w 360785"/>
                  <a:gd name="connsiteY375" fmla="*/ 334599 h 359903"/>
                  <a:gd name="connsiteX376" fmla="*/ 95134 w 360785"/>
                  <a:gd name="connsiteY376" fmla="*/ 336451 h 359903"/>
                  <a:gd name="connsiteX377" fmla="*/ 97426 w 360785"/>
                  <a:gd name="connsiteY377" fmla="*/ 339008 h 359903"/>
                  <a:gd name="connsiteX378" fmla="*/ 98484 w 360785"/>
                  <a:gd name="connsiteY378" fmla="*/ 341123 h 359903"/>
                  <a:gd name="connsiteX379" fmla="*/ 99542 w 360785"/>
                  <a:gd name="connsiteY379" fmla="*/ 342710 h 359903"/>
                  <a:gd name="connsiteX380" fmla="*/ 100953 w 360785"/>
                  <a:gd name="connsiteY380" fmla="*/ 342975 h 359903"/>
                  <a:gd name="connsiteX381" fmla="*/ 102275 w 360785"/>
                  <a:gd name="connsiteY381" fmla="*/ 343592 h 359903"/>
                  <a:gd name="connsiteX382" fmla="*/ 103774 w 360785"/>
                  <a:gd name="connsiteY382" fmla="*/ 343592 h 359903"/>
                  <a:gd name="connsiteX383" fmla="*/ 105361 w 360785"/>
                  <a:gd name="connsiteY383" fmla="*/ 342358 h 359903"/>
                  <a:gd name="connsiteX384" fmla="*/ 108535 w 360785"/>
                  <a:gd name="connsiteY384" fmla="*/ 342358 h 359903"/>
                  <a:gd name="connsiteX385" fmla="*/ 110828 w 360785"/>
                  <a:gd name="connsiteY385" fmla="*/ 341741 h 359903"/>
                  <a:gd name="connsiteX386" fmla="*/ 112944 w 360785"/>
                  <a:gd name="connsiteY386" fmla="*/ 341035 h 359903"/>
                  <a:gd name="connsiteX387" fmla="*/ 115941 w 360785"/>
                  <a:gd name="connsiteY387" fmla="*/ 340771 h 359903"/>
                  <a:gd name="connsiteX388" fmla="*/ 119468 w 360785"/>
                  <a:gd name="connsiteY388" fmla="*/ 340771 h 359903"/>
                  <a:gd name="connsiteX389" fmla="*/ 123700 w 360785"/>
                  <a:gd name="connsiteY389" fmla="*/ 340771 h 359903"/>
                  <a:gd name="connsiteX390" fmla="*/ 125728 w 360785"/>
                  <a:gd name="connsiteY390" fmla="*/ 342710 h 359903"/>
                  <a:gd name="connsiteX391" fmla="*/ 127844 w 360785"/>
                  <a:gd name="connsiteY391" fmla="*/ 342358 h 359903"/>
                  <a:gd name="connsiteX392" fmla="*/ 131371 w 360785"/>
                  <a:gd name="connsiteY392" fmla="*/ 346325 h 359903"/>
                  <a:gd name="connsiteX393" fmla="*/ 133928 w 360785"/>
                  <a:gd name="connsiteY393" fmla="*/ 346325 h 359903"/>
                  <a:gd name="connsiteX394" fmla="*/ 136837 w 360785"/>
                  <a:gd name="connsiteY394" fmla="*/ 346590 h 359903"/>
                  <a:gd name="connsiteX395" fmla="*/ 139747 w 360785"/>
                  <a:gd name="connsiteY395" fmla="*/ 346502 h 359903"/>
                  <a:gd name="connsiteX396" fmla="*/ 141863 w 360785"/>
                  <a:gd name="connsiteY396" fmla="*/ 347383 h 359903"/>
                  <a:gd name="connsiteX397" fmla="*/ 145213 w 360785"/>
                  <a:gd name="connsiteY397" fmla="*/ 347736 h 359903"/>
                  <a:gd name="connsiteX398" fmla="*/ 148123 w 360785"/>
                  <a:gd name="connsiteY398" fmla="*/ 347824 h 359903"/>
                  <a:gd name="connsiteX399" fmla="*/ 150944 w 360785"/>
                  <a:gd name="connsiteY399" fmla="*/ 347824 h 359903"/>
                  <a:gd name="connsiteX400" fmla="*/ 150680 w 360785"/>
                  <a:gd name="connsiteY400" fmla="*/ 346502 h 359903"/>
                  <a:gd name="connsiteX401" fmla="*/ 150327 w 360785"/>
                  <a:gd name="connsiteY401" fmla="*/ 345708 h 359903"/>
                  <a:gd name="connsiteX402" fmla="*/ 150944 w 360785"/>
                  <a:gd name="connsiteY402" fmla="*/ 344738 h 359903"/>
                  <a:gd name="connsiteX403" fmla="*/ 153854 w 360785"/>
                  <a:gd name="connsiteY403" fmla="*/ 341035 h 359903"/>
                  <a:gd name="connsiteX404" fmla="*/ 155441 w 360785"/>
                  <a:gd name="connsiteY404" fmla="*/ 340242 h 359903"/>
                  <a:gd name="connsiteX405" fmla="*/ 157028 w 360785"/>
                  <a:gd name="connsiteY405" fmla="*/ 339184 h 359903"/>
                  <a:gd name="connsiteX406" fmla="*/ 159938 w 360785"/>
                  <a:gd name="connsiteY406" fmla="*/ 337773 h 359903"/>
                  <a:gd name="connsiteX407" fmla="*/ 162230 w 360785"/>
                  <a:gd name="connsiteY407" fmla="*/ 337332 h 359903"/>
                  <a:gd name="connsiteX408" fmla="*/ 166197 w 360785"/>
                  <a:gd name="connsiteY408" fmla="*/ 334775 h 359903"/>
                  <a:gd name="connsiteX409" fmla="*/ 167608 w 360785"/>
                  <a:gd name="connsiteY409" fmla="*/ 331601 h 359903"/>
                  <a:gd name="connsiteX410" fmla="*/ 167608 w 360785"/>
                  <a:gd name="connsiteY410" fmla="*/ 330543 h 359903"/>
                  <a:gd name="connsiteX411" fmla="*/ 169107 w 360785"/>
                  <a:gd name="connsiteY411" fmla="*/ 327193 h 359903"/>
                  <a:gd name="connsiteX412" fmla="*/ 170870 w 360785"/>
                  <a:gd name="connsiteY412" fmla="*/ 326576 h 359903"/>
                  <a:gd name="connsiteX413" fmla="*/ 173075 w 360785"/>
                  <a:gd name="connsiteY413" fmla="*/ 325518 h 359903"/>
                  <a:gd name="connsiteX414" fmla="*/ 175191 w 360785"/>
                  <a:gd name="connsiteY414" fmla="*/ 325518 h 359903"/>
                  <a:gd name="connsiteX415" fmla="*/ 177483 w 360785"/>
                  <a:gd name="connsiteY415" fmla="*/ 325518 h 359903"/>
                  <a:gd name="connsiteX416" fmla="*/ 180481 w 360785"/>
                  <a:gd name="connsiteY416" fmla="*/ 326576 h 359903"/>
                  <a:gd name="connsiteX417" fmla="*/ 181980 w 360785"/>
                  <a:gd name="connsiteY417" fmla="*/ 326576 h 359903"/>
                  <a:gd name="connsiteX418" fmla="*/ 184272 w 360785"/>
                  <a:gd name="connsiteY418" fmla="*/ 328251 h 359903"/>
                  <a:gd name="connsiteX419" fmla="*/ 184272 w 360785"/>
                  <a:gd name="connsiteY419" fmla="*/ 329221 h 359903"/>
                  <a:gd name="connsiteX420" fmla="*/ 186124 w 360785"/>
                  <a:gd name="connsiteY420" fmla="*/ 330631 h 359903"/>
                  <a:gd name="connsiteX421" fmla="*/ 187446 w 360785"/>
                  <a:gd name="connsiteY421" fmla="*/ 331425 h 359903"/>
                  <a:gd name="connsiteX422" fmla="*/ 188240 w 360785"/>
                  <a:gd name="connsiteY422" fmla="*/ 332924 h 359903"/>
                  <a:gd name="connsiteX423" fmla="*/ 189650 w 360785"/>
                  <a:gd name="connsiteY423" fmla="*/ 333982 h 359903"/>
                  <a:gd name="connsiteX424" fmla="*/ 191149 w 360785"/>
                  <a:gd name="connsiteY424" fmla="*/ 336098 h 359903"/>
                  <a:gd name="connsiteX425" fmla="*/ 192207 w 360785"/>
                  <a:gd name="connsiteY425" fmla="*/ 337156 h 359903"/>
                  <a:gd name="connsiteX426" fmla="*/ 193706 w 360785"/>
                  <a:gd name="connsiteY426" fmla="*/ 337685 h 359903"/>
                  <a:gd name="connsiteX427" fmla="*/ 195117 w 360785"/>
                  <a:gd name="connsiteY427" fmla="*/ 337068 h 359903"/>
                  <a:gd name="connsiteX428" fmla="*/ 199084 w 360785"/>
                  <a:gd name="connsiteY428" fmla="*/ 337068 h 359903"/>
                  <a:gd name="connsiteX429" fmla="*/ 200848 w 360785"/>
                  <a:gd name="connsiteY429" fmla="*/ 337068 h 359903"/>
                  <a:gd name="connsiteX430" fmla="*/ 202435 w 360785"/>
                  <a:gd name="connsiteY430" fmla="*/ 336627 h 359903"/>
                  <a:gd name="connsiteX431" fmla="*/ 204551 w 360785"/>
                  <a:gd name="connsiteY431" fmla="*/ 334423 h 359903"/>
                  <a:gd name="connsiteX432" fmla="*/ 206314 w 360785"/>
                  <a:gd name="connsiteY432" fmla="*/ 332307 h 359903"/>
                  <a:gd name="connsiteX433" fmla="*/ 206314 w 360785"/>
                  <a:gd name="connsiteY433" fmla="*/ 331249 h 359903"/>
                  <a:gd name="connsiteX434" fmla="*/ 210017 w 360785"/>
                  <a:gd name="connsiteY434" fmla="*/ 327898 h 359903"/>
                  <a:gd name="connsiteX435" fmla="*/ 211869 w 360785"/>
                  <a:gd name="connsiteY435" fmla="*/ 325782 h 359903"/>
                  <a:gd name="connsiteX436" fmla="*/ 213632 w 360785"/>
                  <a:gd name="connsiteY436" fmla="*/ 322873 h 359903"/>
                  <a:gd name="connsiteX437" fmla="*/ 215836 w 360785"/>
                  <a:gd name="connsiteY437" fmla="*/ 321109 h 359903"/>
                  <a:gd name="connsiteX438" fmla="*/ 217159 w 360785"/>
                  <a:gd name="connsiteY438" fmla="*/ 319258 h 359903"/>
                  <a:gd name="connsiteX439" fmla="*/ 218217 w 360785"/>
                  <a:gd name="connsiteY439" fmla="*/ 316701 h 359903"/>
                  <a:gd name="connsiteX440" fmla="*/ 218657 w 360785"/>
                  <a:gd name="connsiteY440" fmla="*/ 315026 h 359903"/>
                  <a:gd name="connsiteX441" fmla="*/ 218657 w 360785"/>
                  <a:gd name="connsiteY441" fmla="*/ 313174 h 359903"/>
                  <a:gd name="connsiteX442" fmla="*/ 220862 w 360785"/>
                  <a:gd name="connsiteY442" fmla="*/ 312381 h 359903"/>
                  <a:gd name="connsiteX443" fmla="*/ 221920 w 360785"/>
                  <a:gd name="connsiteY443" fmla="*/ 311675 h 359903"/>
                  <a:gd name="connsiteX444" fmla="*/ 223419 w 360785"/>
                  <a:gd name="connsiteY444" fmla="*/ 309206 h 359903"/>
                  <a:gd name="connsiteX445" fmla="*/ 224741 w 360785"/>
                  <a:gd name="connsiteY445" fmla="*/ 306650 h 359903"/>
                  <a:gd name="connsiteX446" fmla="*/ 227386 w 360785"/>
                  <a:gd name="connsiteY446" fmla="*/ 305063 h 359903"/>
                  <a:gd name="connsiteX447" fmla="*/ 228885 w 360785"/>
                  <a:gd name="connsiteY447" fmla="*/ 303564 h 359903"/>
                  <a:gd name="connsiteX448" fmla="*/ 228709 w 360785"/>
                  <a:gd name="connsiteY448" fmla="*/ 301536 h 359903"/>
                  <a:gd name="connsiteX449" fmla="*/ 228885 w 360785"/>
                  <a:gd name="connsiteY449" fmla="*/ 297921 h 359903"/>
                  <a:gd name="connsiteX450" fmla="*/ 227474 w 360785"/>
                  <a:gd name="connsiteY450" fmla="*/ 294571 h 359903"/>
                  <a:gd name="connsiteX451" fmla="*/ 227651 w 360785"/>
                  <a:gd name="connsiteY451" fmla="*/ 291132 h 359903"/>
                  <a:gd name="connsiteX452" fmla="*/ 227651 w 360785"/>
                  <a:gd name="connsiteY452" fmla="*/ 288046 h 359903"/>
                  <a:gd name="connsiteX453" fmla="*/ 226416 w 360785"/>
                  <a:gd name="connsiteY453" fmla="*/ 286371 h 359903"/>
                  <a:gd name="connsiteX454" fmla="*/ 222537 w 360785"/>
                  <a:gd name="connsiteY454" fmla="*/ 280904 h 359903"/>
                  <a:gd name="connsiteX455" fmla="*/ 236468 w 360785"/>
                  <a:gd name="connsiteY455" fmla="*/ 280023 h 359903"/>
                  <a:gd name="connsiteX456" fmla="*/ 235410 w 360785"/>
                  <a:gd name="connsiteY456" fmla="*/ 276496 h 359903"/>
                  <a:gd name="connsiteX457" fmla="*/ 244843 w 360785"/>
                  <a:gd name="connsiteY457" fmla="*/ 275703 h 359903"/>
                  <a:gd name="connsiteX458" fmla="*/ 246254 w 360785"/>
                  <a:gd name="connsiteY458" fmla="*/ 277819 h 359903"/>
                  <a:gd name="connsiteX459" fmla="*/ 245637 w 360785"/>
                  <a:gd name="connsiteY459" fmla="*/ 282844 h 359903"/>
                  <a:gd name="connsiteX460" fmla="*/ 244843 w 360785"/>
                  <a:gd name="connsiteY460" fmla="*/ 287253 h 359903"/>
                  <a:gd name="connsiteX461" fmla="*/ 243786 w 360785"/>
                  <a:gd name="connsiteY461" fmla="*/ 291220 h 359903"/>
                  <a:gd name="connsiteX462" fmla="*/ 243962 w 360785"/>
                  <a:gd name="connsiteY462" fmla="*/ 298097 h 359903"/>
                  <a:gd name="connsiteX463" fmla="*/ 245196 w 360785"/>
                  <a:gd name="connsiteY463" fmla="*/ 303564 h 359903"/>
                  <a:gd name="connsiteX464" fmla="*/ 246254 w 360785"/>
                  <a:gd name="connsiteY464" fmla="*/ 305680 h 359903"/>
                  <a:gd name="connsiteX465" fmla="*/ 246254 w 360785"/>
                  <a:gd name="connsiteY465" fmla="*/ 310529 h 359903"/>
                  <a:gd name="connsiteX466" fmla="*/ 244843 w 360785"/>
                  <a:gd name="connsiteY466" fmla="*/ 311499 h 359903"/>
                  <a:gd name="connsiteX467" fmla="*/ 247577 w 360785"/>
                  <a:gd name="connsiteY467" fmla="*/ 314056 h 359903"/>
                  <a:gd name="connsiteX468" fmla="*/ 252779 w 360785"/>
                  <a:gd name="connsiteY468" fmla="*/ 316172 h 359903"/>
                  <a:gd name="connsiteX469" fmla="*/ 254454 w 360785"/>
                  <a:gd name="connsiteY469" fmla="*/ 319081 h 359903"/>
                  <a:gd name="connsiteX470" fmla="*/ 257804 w 360785"/>
                  <a:gd name="connsiteY470" fmla="*/ 322432 h 359903"/>
                  <a:gd name="connsiteX471" fmla="*/ 261772 w 360785"/>
                  <a:gd name="connsiteY471" fmla="*/ 325518 h 359903"/>
                  <a:gd name="connsiteX472" fmla="*/ 263888 w 360785"/>
                  <a:gd name="connsiteY472" fmla="*/ 328251 h 359903"/>
                  <a:gd name="connsiteX473" fmla="*/ 263888 w 360785"/>
                  <a:gd name="connsiteY473" fmla="*/ 332483 h 359903"/>
                  <a:gd name="connsiteX474" fmla="*/ 264329 w 360785"/>
                  <a:gd name="connsiteY474" fmla="*/ 335393 h 359903"/>
                  <a:gd name="connsiteX475" fmla="*/ 262918 w 360785"/>
                  <a:gd name="connsiteY475" fmla="*/ 339008 h 359903"/>
                  <a:gd name="connsiteX476" fmla="*/ 262213 w 360785"/>
                  <a:gd name="connsiteY476" fmla="*/ 341917 h 359903"/>
                  <a:gd name="connsiteX477" fmla="*/ 262830 w 360785"/>
                  <a:gd name="connsiteY477" fmla="*/ 344033 h 359903"/>
                  <a:gd name="connsiteX478" fmla="*/ 264329 w 360785"/>
                  <a:gd name="connsiteY478" fmla="*/ 344826 h 359903"/>
                  <a:gd name="connsiteX479" fmla="*/ 270942 w 360785"/>
                  <a:gd name="connsiteY479" fmla="*/ 345179 h 359903"/>
                  <a:gd name="connsiteX480" fmla="*/ 270324 w 360785"/>
                  <a:gd name="connsiteY480" fmla="*/ 338302 h 359903"/>
                  <a:gd name="connsiteX481" fmla="*/ 270942 w 360785"/>
                  <a:gd name="connsiteY481" fmla="*/ 333365 h 359903"/>
                  <a:gd name="connsiteX482" fmla="*/ 272088 w 360785"/>
                  <a:gd name="connsiteY482" fmla="*/ 329573 h 359903"/>
                  <a:gd name="connsiteX483" fmla="*/ 273322 w 360785"/>
                  <a:gd name="connsiteY483" fmla="*/ 326047 h 359903"/>
                  <a:gd name="connsiteX484" fmla="*/ 274468 w 360785"/>
                  <a:gd name="connsiteY484" fmla="*/ 324019 h 359903"/>
                  <a:gd name="connsiteX485" fmla="*/ 274468 w 360785"/>
                  <a:gd name="connsiteY485" fmla="*/ 323137 h 359903"/>
                  <a:gd name="connsiteX486" fmla="*/ 275614 w 360785"/>
                  <a:gd name="connsiteY486" fmla="*/ 321109 h 359903"/>
                  <a:gd name="connsiteX487" fmla="*/ 274115 w 360785"/>
                  <a:gd name="connsiteY487" fmla="*/ 312645 h 359903"/>
                  <a:gd name="connsiteX488" fmla="*/ 275350 w 360785"/>
                  <a:gd name="connsiteY488" fmla="*/ 311499 h 359903"/>
                  <a:gd name="connsiteX489" fmla="*/ 277113 w 360785"/>
                  <a:gd name="connsiteY489" fmla="*/ 307443 h 359903"/>
                  <a:gd name="connsiteX490" fmla="*/ 280552 w 360785"/>
                  <a:gd name="connsiteY490" fmla="*/ 304798 h 359903"/>
                  <a:gd name="connsiteX491" fmla="*/ 284343 w 360785"/>
                  <a:gd name="connsiteY491" fmla="*/ 308589 h 359903"/>
                  <a:gd name="connsiteX492" fmla="*/ 284343 w 360785"/>
                  <a:gd name="connsiteY492" fmla="*/ 309736 h 359903"/>
                  <a:gd name="connsiteX493" fmla="*/ 284960 w 360785"/>
                  <a:gd name="connsiteY493" fmla="*/ 309736 h 359903"/>
                  <a:gd name="connsiteX494" fmla="*/ 285225 w 360785"/>
                  <a:gd name="connsiteY494" fmla="*/ 308854 h 359903"/>
                  <a:gd name="connsiteX495" fmla="*/ 286371 w 360785"/>
                  <a:gd name="connsiteY495" fmla="*/ 308854 h 359903"/>
                  <a:gd name="connsiteX496" fmla="*/ 286371 w 360785"/>
                  <a:gd name="connsiteY496" fmla="*/ 307443 h 359903"/>
                  <a:gd name="connsiteX497" fmla="*/ 289016 w 360785"/>
                  <a:gd name="connsiteY497" fmla="*/ 305063 h 359903"/>
                  <a:gd name="connsiteX498" fmla="*/ 289016 w 360785"/>
                  <a:gd name="connsiteY498" fmla="*/ 303652 h 359903"/>
                  <a:gd name="connsiteX499" fmla="*/ 287870 w 360785"/>
                  <a:gd name="connsiteY499" fmla="*/ 303299 h 359903"/>
                  <a:gd name="connsiteX500" fmla="*/ 289280 w 360785"/>
                  <a:gd name="connsiteY500" fmla="*/ 297480 h 359903"/>
                  <a:gd name="connsiteX501" fmla="*/ 288134 w 360785"/>
                  <a:gd name="connsiteY501" fmla="*/ 296334 h 359903"/>
                  <a:gd name="connsiteX502" fmla="*/ 288134 w 360785"/>
                  <a:gd name="connsiteY502" fmla="*/ 295717 h 359903"/>
                  <a:gd name="connsiteX503" fmla="*/ 291044 w 360785"/>
                  <a:gd name="connsiteY503" fmla="*/ 288399 h 359903"/>
                  <a:gd name="connsiteX504" fmla="*/ 290779 w 360785"/>
                  <a:gd name="connsiteY504" fmla="*/ 287253 h 359903"/>
                  <a:gd name="connsiteX505" fmla="*/ 290779 w 360785"/>
                  <a:gd name="connsiteY505" fmla="*/ 285842 h 359903"/>
                  <a:gd name="connsiteX506" fmla="*/ 289898 w 360785"/>
                  <a:gd name="connsiteY506" fmla="*/ 283461 h 359903"/>
                  <a:gd name="connsiteX507" fmla="*/ 290779 w 360785"/>
                  <a:gd name="connsiteY507" fmla="*/ 281169 h 359903"/>
                  <a:gd name="connsiteX508" fmla="*/ 291661 w 360785"/>
                  <a:gd name="connsiteY508" fmla="*/ 280552 h 359903"/>
                  <a:gd name="connsiteX509" fmla="*/ 293689 w 360785"/>
                  <a:gd name="connsiteY509" fmla="*/ 280023 h 359903"/>
                  <a:gd name="connsiteX510" fmla="*/ 294306 w 360785"/>
                  <a:gd name="connsiteY510" fmla="*/ 278524 h 359903"/>
                  <a:gd name="connsiteX511" fmla="*/ 294306 w 360785"/>
                  <a:gd name="connsiteY511" fmla="*/ 277378 h 359903"/>
                  <a:gd name="connsiteX512" fmla="*/ 295981 w 360785"/>
                  <a:gd name="connsiteY512" fmla="*/ 276761 h 359903"/>
                  <a:gd name="connsiteX513" fmla="*/ 295981 w 360785"/>
                  <a:gd name="connsiteY513" fmla="*/ 274733 h 359903"/>
                  <a:gd name="connsiteX514" fmla="*/ 296599 w 360785"/>
                  <a:gd name="connsiteY514" fmla="*/ 272705 h 359903"/>
                  <a:gd name="connsiteX515" fmla="*/ 297745 w 360785"/>
                  <a:gd name="connsiteY515" fmla="*/ 271823 h 359903"/>
                  <a:gd name="connsiteX516" fmla="*/ 298362 w 360785"/>
                  <a:gd name="connsiteY516" fmla="*/ 268296 h 359903"/>
                  <a:gd name="connsiteX517" fmla="*/ 301888 w 360785"/>
                  <a:gd name="connsiteY517" fmla="*/ 262213 h 359903"/>
                  <a:gd name="connsiteX518" fmla="*/ 302770 w 360785"/>
                  <a:gd name="connsiteY518" fmla="*/ 261860 h 359903"/>
                  <a:gd name="connsiteX519" fmla="*/ 303299 w 360785"/>
                  <a:gd name="connsiteY519" fmla="*/ 262213 h 359903"/>
                  <a:gd name="connsiteX520" fmla="*/ 303299 w 360785"/>
                  <a:gd name="connsiteY520" fmla="*/ 260714 h 359903"/>
                  <a:gd name="connsiteX521" fmla="*/ 309736 w 360785"/>
                  <a:gd name="connsiteY521" fmla="*/ 259303 h 359903"/>
                  <a:gd name="connsiteX522" fmla="*/ 310353 w 360785"/>
                  <a:gd name="connsiteY522" fmla="*/ 259303 h 359903"/>
                  <a:gd name="connsiteX523" fmla="*/ 311499 w 360785"/>
                  <a:gd name="connsiteY523" fmla="*/ 259303 h 359903"/>
                  <a:gd name="connsiteX524" fmla="*/ 312028 w 360785"/>
                  <a:gd name="connsiteY524" fmla="*/ 260185 h 359903"/>
                  <a:gd name="connsiteX525" fmla="*/ 312910 w 360785"/>
                  <a:gd name="connsiteY525" fmla="*/ 260185 h 359903"/>
                  <a:gd name="connsiteX526" fmla="*/ 313527 w 360785"/>
                  <a:gd name="connsiteY526" fmla="*/ 255512 h 359903"/>
                  <a:gd name="connsiteX527" fmla="*/ 312645 w 360785"/>
                  <a:gd name="connsiteY527" fmla="*/ 254366 h 359903"/>
                  <a:gd name="connsiteX528" fmla="*/ 312910 w 360785"/>
                  <a:gd name="connsiteY528" fmla="*/ 253131 h 359903"/>
                  <a:gd name="connsiteX529" fmla="*/ 313262 w 360785"/>
                  <a:gd name="connsiteY529" fmla="*/ 252250 h 359903"/>
                  <a:gd name="connsiteX530" fmla="*/ 313262 w 360785"/>
                  <a:gd name="connsiteY530" fmla="*/ 251368 h 359903"/>
                  <a:gd name="connsiteX531" fmla="*/ 314144 w 360785"/>
                  <a:gd name="connsiteY531" fmla="*/ 242904 h 359903"/>
                  <a:gd name="connsiteX532" fmla="*/ 317582 w 360785"/>
                  <a:gd name="connsiteY532" fmla="*/ 238848 h 359903"/>
                  <a:gd name="connsiteX533" fmla="*/ 317935 w 360785"/>
                  <a:gd name="connsiteY533" fmla="*/ 237085 h 359903"/>
                  <a:gd name="connsiteX534" fmla="*/ 317935 w 360785"/>
                  <a:gd name="connsiteY534" fmla="*/ 235939 h 359903"/>
                  <a:gd name="connsiteX535" fmla="*/ 317053 w 360785"/>
                  <a:gd name="connsiteY535" fmla="*/ 230119 h 359903"/>
                  <a:gd name="connsiteX536" fmla="*/ 319346 w 360785"/>
                  <a:gd name="connsiteY536" fmla="*/ 221920 h 359903"/>
                  <a:gd name="connsiteX537" fmla="*/ 317053 w 360785"/>
                  <a:gd name="connsiteY537" fmla="*/ 198643 h 359903"/>
                  <a:gd name="connsiteX538" fmla="*/ 319081 w 360785"/>
                  <a:gd name="connsiteY538" fmla="*/ 196616 h 359903"/>
                  <a:gd name="connsiteX539" fmla="*/ 320845 w 360785"/>
                  <a:gd name="connsiteY539" fmla="*/ 191590 h 359903"/>
                  <a:gd name="connsiteX540" fmla="*/ 321109 w 360785"/>
                  <a:gd name="connsiteY540" fmla="*/ 191061 h 359903"/>
                  <a:gd name="connsiteX541" fmla="*/ 320845 w 360785"/>
                  <a:gd name="connsiteY541" fmla="*/ 190179 h 359903"/>
                  <a:gd name="connsiteX542" fmla="*/ 322255 w 360785"/>
                  <a:gd name="connsiteY542" fmla="*/ 183743 h 359903"/>
                  <a:gd name="connsiteX543" fmla="*/ 323490 w 360785"/>
                  <a:gd name="connsiteY543" fmla="*/ 182244 h 359903"/>
                  <a:gd name="connsiteX544" fmla="*/ 326399 w 360785"/>
                  <a:gd name="connsiteY544" fmla="*/ 171752 h 359903"/>
                  <a:gd name="connsiteX545" fmla="*/ 327545 w 360785"/>
                  <a:gd name="connsiteY545" fmla="*/ 170606 h 359903"/>
                  <a:gd name="connsiteX546" fmla="*/ 326399 w 360785"/>
                  <a:gd name="connsiteY546" fmla="*/ 168578 h 359903"/>
                  <a:gd name="connsiteX547" fmla="*/ 326399 w 360785"/>
                  <a:gd name="connsiteY547" fmla="*/ 167079 h 359903"/>
                  <a:gd name="connsiteX548" fmla="*/ 326047 w 360785"/>
                  <a:gd name="connsiteY548" fmla="*/ 165316 h 359903"/>
                  <a:gd name="connsiteX549" fmla="*/ 325165 w 360785"/>
                  <a:gd name="connsiteY549" fmla="*/ 164522 h 359903"/>
                  <a:gd name="connsiteX550" fmla="*/ 326047 w 360785"/>
                  <a:gd name="connsiteY550" fmla="*/ 162759 h 359903"/>
                  <a:gd name="connsiteX551" fmla="*/ 326047 w 360785"/>
                  <a:gd name="connsiteY551" fmla="*/ 161524 h 359903"/>
                  <a:gd name="connsiteX552" fmla="*/ 327193 w 360785"/>
                  <a:gd name="connsiteY552" fmla="*/ 159849 h 359903"/>
                  <a:gd name="connsiteX553" fmla="*/ 327545 w 360785"/>
                  <a:gd name="connsiteY553" fmla="*/ 156323 h 359903"/>
                  <a:gd name="connsiteX554" fmla="*/ 327545 w 360785"/>
                  <a:gd name="connsiteY554" fmla="*/ 156058 h 359903"/>
                  <a:gd name="connsiteX555" fmla="*/ 327545 w 360785"/>
                  <a:gd name="connsiteY555" fmla="*/ 154559 h 359903"/>
                  <a:gd name="connsiteX556" fmla="*/ 326928 w 360785"/>
                  <a:gd name="connsiteY556" fmla="*/ 154030 h 359903"/>
                  <a:gd name="connsiteX557" fmla="*/ 327193 w 360785"/>
                  <a:gd name="connsiteY557" fmla="*/ 152531 h 359903"/>
                  <a:gd name="connsiteX558" fmla="*/ 326928 w 360785"/>
                  <a:gd name="connsiteY558" fmla="*/ 151650 h 359903"/>
                  <a:gd name="connsiteX559" fmla="*/ 326928 w 360785"/>
                  <a:gd name="connsiteY559" fmla="*/ 150768 h 359903"/>
                  <a:gd name="connsiteX560" fmla="*/ 329573 w 360785"/>
                  <a:gd name="connsiteY560" fmla="*/ 151650 h 359903"/>
                  <a:gd name="connsiteX561" fmla="*/ 330191 w 360785"/>
                  <a:gd name="connsiteY561" fmla="*/ 150768 h 359903"/>
                  <a:gd name="connsiteX562" fmla="*/ 330984 w 360785"/>
                  <a:gd name="connsiteY562" fmla="*/ 151914 h 359903"/>
                  <a:gd name="connsiteX563" fmla="*/ 331954 w 360785"/>
                  <a:gd name="connsiteY563" fmla="*/ 152267 h 359903"/>
                  <a:gd name="connsiteX564" fmla="*/ 333365 w 360785"/>
                  <a:gd name="connsiteY564" fmla="*/ 150768 h 359903"/>
                  <a:gd name="connsiteX565" fmla="*/ 335657 w 360785"/>
                  <a:gd name="connsiteY565" fmla="*/ 151650 h 359903"/>
                  <a:gd name="connsiteX566" fmla="*/ 336891 w 360785"/>
                  <a:gd name="connsiteY566" fmla="*/ 150768 h 359903"/>
                  <a:gd name="connsiteX567" fmla="*/ 338038 w 360785"/>
                  <a:gd name="connsiteY567" fmla="*/ 149005 h 359903"/>
                  <a:gd name="connsiteX568" fmla="*/ 338302 w 360785"/>
                  <a:gd name="connsiteY568" fmla="*/ 146359 h 359903"/>
                  <a:gd name="connsiteX569" fmla="*/ 337685 w 360785"/>
                  <a:gd name="connsiteY569" fmla="*/ 144949 h 359903"/>
                  <a:gd name="connsiteX570" fmla="*/ 338038 w 360785"/>
                  <a:gd name="connsiteY570" fmla="*/ 144332 h 359903"/>
                  <a:gd name="connsiteX571" fmla="*/ 342358 w 360785"/>
                  <a:gd name="connsiteY571" fmla="*/ 143185 h 359903"/>
                  <a:gd name="connsiteX572" fmla="*/ 343592 w 360785"/>
                  <a:gd name="connsiteY572" fmla="*/ 141158 h 359903"/>
                  <a:gd name="connsiteX573" fmla="*/ 344121 w 360785"/>
                  <a:gd name="connsiteY573" fmla="*/ 140276 h 359903"/>
                  <a:gd name="connsiteX574" fmla="*/ 345356 w 360785"/>
                  <a:gd name="connsiteY574" fmla="*/ 141158 h 359903"/>
                  <a:gd name="connsiteX575" fmla="*/ 346502 w 360785"/>
                  <a:gd name="connsiteY575" fmla="*/ 141158 h 359903"/>
                  <a:gd name="connsiteX576" fmla="*/ 347383 w 360785"/>
                  <a:gd name="connsiteY576" fmla="*/ 139659 h 359903"/>
                  <a:gd name="connsiteX577" fmla="*/ 349676 w 360785"/>
                  <a:gd name="connsiteY577" fmla="*/ 138512 h 359903"/>
                  <a:gd name="connsiteX578" fmla="*/ 349411 w 360785"/>
                  <a:gd name="connsiteY578" fmla="*/ 140540 h 359903"/>
                  <a:gd name="connsiteX579" fmla="*/ 350910 w 360785"/>
                  <a:gd name="connsiteY579" fmla="*/ 140011 h 359903"/>
                  <a:gd name="connsiteX580" fmla="*/ 351175 w 360785"/>
                  <a:gd name="connsiteY580" fmla="*/ 138512 h 359903"/>
                  <a:gd name="connsiteX581" fmla="*/ 353467 w 360785"/>
                  <a:gd name="connsiteY581" fmla="*/ 140893 h 359903"/>
                  <a:gd name="connsiteX582" fmla="*/ 353820 w 360785"/>
                  <a:gd name="connsiteY582" fmla="*/ 139659 h 359903"/>
                  <a:gd name="connsiteX583" fmla="*/ 354349 w 360785"/>
                  <a:gd name="connsiteY583" fmla="*/ 137366 h 359903"/>
                  <a:gd name="connsiteX584" fmla="*/ 355848 w 360785"/>
                  <a:gd name="connsiteY584" fmla="*/ 135956 h 359903"/>
                  <a:gd name="connsiteX585" fmla="*/ 357875 w 360785"/>
                  <a:gd name="connsiteY585" fmla="*/ 130930 h 359903"/>
                  <a:gd name="connsiteX586" fmla="*/ 360521 w 360785"/>
                  <a:gd name="connsiteY586" fmla="*/ 127403 h 359903"/>
                  <a:gd name="connsiteX587" fmla="*/ 360785 w 360785"/>
                  <a:gd name="connsiteY587" fmla="*/ 126610 h 359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</a:cxnLst>
                <a:rect l="l" t="t" r="r" b="b"/>
                <a:pathLst>
                  <a:path w="360785" h="359903">
                    <a:moveTo>
                      <a:pt x="359903" y="126610"/>
                    </a:moveTo>
                    <a:lnTo>
                      <a:pt x="359903" y="125993"/>
                    </a:lnTo>
                    <a:lnTo>
                      <a:pt x="359022" y="124846"/>
                    </a:lnTo>
                    <a:lnTo>
                      <a:pt x="359022" y="125375"/>
                    </a:lnTo>
                    <a:lnTo>
                      <a:pt x="358757" y="125728"/>
                    </a:lnTo>
                    <a:lnTo>
                      <a:pt x="358404" y="125993"/>
                    </a:lnTo>
                    <a:lnTo>
                      <a:pt x="357875" y="125728"/>
                    </a:lnTo>
                    <a:lnTo>
                      <a:pt x="358140" y="124494"/>
                    </a:lnTo>
                    <a:lnTo>
                      <a:pt x="357523" y="125111"/>
                    </a:lnTo>
                    <a:lnTo>
                      <a:pt x="357258" y="124846"/>
                    </a:lnTo>
                    <a:lnTo>
                      <a:pt x="356994" y="124494"/>
                    </a:lnTo>
                    <a:lnTo>
                      <a:pt x="356994" y="123612"/>
                    </a:lnTo>
                    <a:lnTo>
                      <a:pt x="356729" y="123612"/>
                    </a:lnTo>
                    <a:lnTo>
                      <a:pt x="356994" y="123347"/>
                    </a:lnTo>
                    <a:lnTo>
                      <a:pt x="356729" y="123083"/>
                    </a:lnTo>
                    <a:lnTo>
                      <a:pt x="356112" y="122201"/>
                    </a:lnTo>
                    <a:lnTo>
                      <a:pt x="355848" y="122201"/>
                    </a:lnTo>
                    <a:lnTo>
                      <a:pt x="355583" y="122201"/>
                    </a:lnTo>
                    <a:lnTo>
                      <a:pt x="355230" y="122201"/>
                    </a:lnTo>
                    <a:lnTo>
                      <a:pt x="355583" y="122466"/>
                    </a:lnTo>
                    <a:lnTo>
                      <a:pt x="355583" y="123083"/>
                    </a:lnTo>
                    <a:lnTo>
                      <a:pt x="355230" y="123083"/>
                    </a:lnTo>
                    <a:lnTo>
                      <a:pt x="353467" y="122201"/>
                    </a:lnTo>
                    <a:lnTo>
                      <a:pt x="352585" y="122201"/>
                    </a:lnTo>
                    <a:lnTo>
                      <a:pt x="352056" y="122201"/>
                    </a:lnTo>
                    <a:lnTo>
                      <a:pt x="351792" y="122201"/>
                    </a:lnTo>
                    <a:lnTo>
                      <a:pt x="352938" y="121937"/>
                    </a:lnTo>
                    <a:lnTo>
                      <a:pt x="353203" y="121584"/>
                    </a:lnTo>
                    <a:lnTo>
                      <a:pt x="353467" y="121320"/>
                    </a:lnTo>
                    <a:lnTo>
                      <a:pt x="353467" y="120703"/>
                    </a:lnTo>
                    <a:lnTo>
                      <a:pt x="353820" y="120703"/>
                    </a:lnTo>
                    <a:lnTo>
                      <a:pt x="353820" y="120438"/>
                    </a:lnTo>
                    <a:lnTo>
                      <a:pt x="352585" y="120703"/>
                    </a:lnTo>
                    <a:lnTo>
                      <a:pt x="352585" y="121320"/>
                    </a:lnTo>
                    <a:lnTo>
                      <a:pt x="351792" y="121937"/>
                    </a:lnTo>
                    <a:lnTo>
                      <a:pt x="350910" y="121937"/>
                    </a:lnTo>
                    <a:lnTo>
                      <a:pt x="349147" y="120703"/>
                    </a:lnTo>
                    <a:lnTo>
                      <a:pt x="348794" y="120438"/>
                    </a:lnTo>
                    <a:lnTo>
                      <a:pt x="348794" y="119821"/>
                    </a:lnTo>
                    <a:lnTo>
                      <a:pt x="350029" y="118939"/>
                    </a:lnTo>
                    <a:lnTo>
                      <a:pt x="349676" y="118410"/>
                    </a:lnTo>
                    <a:lnTo>
                      <a:pt x="349411" y="117793"/>
                    </a:lnTo>
                    <a:lnTo>
                      <a:pt x="348794" y="117264"/>
                    </a:lnTo>
                    <a:lnTo>
                      <a:pt x="348265" y="117264"/>
                    </a:lnTo>
                    <a:lnTo>
                      <a:pt x="347912" y="116911"/>
                    </a:lnTo>
                    <a:lnTo>
                      <a:pt x="347648" y="116647"/>
                    </a:lnTo>
                    <a:lnTo>
                      <a:pt x="347383" y="116030"/>
                    </a:lnTo>
                    <a:lnTo>
                      <a:pt x="345620" y="114619"/>
                    </a:lnTo>
                    <a:lnTo>
                      <a:pt x="342093" y="112591"/>
                    </a:lnTo>
                    <a:lnTo>
                      <a:pt x="342358" y="112238"/>
                    </a:lnTo>
                    <a:lnTo>
                      <a:pt x="342358" y="111709"/>
                    </a:lnTo>
                    <a:lnTo>
                      <a:pt x="342093" y="110563"/>
                    </a:lnTo>
                    <a:lnTo>
                      <a:pt x="342093" y="111092"/>
                    </a:lnTo>
                    <a:lnTo>
                      <a:pt x="341829" y="112591"/>
                    </a:lnTo>
                    <a:lnTo>
                      <a:pt x="341212" y="112591"/>
                    </a:lnTo>
                    <a:lnTo>
                      <a:pt x="340947" y="111709"/>
                    </a:lnTo>
                    <a:lnTo>
                      <a:pt x="340947" y="111092"/>
                    </a:lnTo>
                    <a:lnTo>
                      <a:pt x="341212" y="110828"/>
                    </a:lnTo>
                    <a:lnTo>
                      <a:pt x="341829" y="109946"/>
                    </a:lnTo>
                    <a:lnTo>
                      <a:pt x="341212" y="109681"/>
                    </a:lnTo>
                    <a:lnTo>
                      <a:pt x="339448" y="109946"/>
                    </a:lnTo>
                    <a:lnTo>
                      <a:pt x="339184" y="109329"/>
                    </a:lnTo>
                    <a:lnTo>
                      <a:pt x="337685" y="109681"/>
                    </a:lnTo>
                    <a:lnTo>
                      <a:pt x="337420" y="110210"/>
                    </a:lnTo>
                    <a:lnTo>
                      <a:pt x="336539" y="109946"/>
                    </a:lnTo>
                    <a:lnTo>
                      <a:pt x="336010" y="109681"/>
                    </a:lnTo>
                    <a:lnTo>
                      <a:pt x="334864" y="107654"/>
                    </a:lnTo>
                    <a:lnTo>
                      <a:pt x="333894" y="105890"/>
                    </a:lnTo>
                    <a:lnTo>
                      <a:pt x="333894" y="104656"/>
                    </a:lnTo>
                    <a:lnTo>
                      <a:pt x="333100" y="104127"/>
                    </a:lnTo>
                    <a:lnTo>
                      <a:pt x="333629" y="102628"/>
                    </a:lnTo>
                    <a:lnTo>
                      <a:pt x="333629" y="101217"/>
                    </a:lnTo>
                    <a:lnTo>
                      <a:pt x="331954" y="97691"/>
                    </a:lnTo>
                    <a:lnTo>
                      <a:pt x="331337" y="94781"/>
                    </a:lnTo>
                    <a:lnTo>
                      <a:pt x="330720" y="93018"/>
                    </a:lnTo>
                    <a:lnTo>
                      <a:pt x="330191" y="90373"/>
                    </a:lnTo>
                    <a:lnTo>
                      <a:pt x="328692" y="88962"/>
                    </a:lnTo>
                    <a:lnTo>
                      <a:pt x="328427" y="87816"/>
                    </a:lnTo>
                    <a:lnTo>
                      <a:pt x="328163" y="87199"/>
                    </a:lnTo>
                    <a:lnTo>
                      <a:pt x="328427" y="87199"/>
                    </a:lnTo>
                    <a:lnTo>
                      <a:pt x="328163" y="86934"/>
                    </a:lnTo>
                    <a:lnTo>
                      <a:pt x="328427" y="87199"/>
                    </a:lnTo>
                    <a:lnTo>
                      <a:pt x="328427" y="85700"/>
                    </a:lnTo>
                    <a:lnTo>
                      <a:pt x="329044" y="85700"/>
                    </a:lnTo>
                    <a:lnTo>
                      <a:pt x="329309" y="85700"/>
                    </a:lnTo>
                    <a:lnTo>
                      <a:pt x="329309" y="85171"/>
                    </a:lnTo>
                    <a:lnTo>
                      <a:pt x="329573" y="84553"/>
                    </a:lnTo>
                    <a:lnTo>
                      <a:pt x="329309" y="84024"/>
                    </a:lnTo>
                    <a:lnTo>
                      <a:pt x="329044" y="82261"/>
                    </a:lnTo>
                    <a:lnTo>
                      <a:pt x="329044" y="81027"/>
                    </a:lnTo>
                    <a:lnTo>
                      <a:pt x="327810" y="78999"/>
                    </a:lnTo>
                    <a:lnTo>
                      <a:pt x="327545" y="77588"/>
                    </a:lnTo>
                    <a:lnTo>
                      <a:pt x="327545" y="77235"/>
                    </a:lnTo>
                    <a:lnTo>
                      <a:pt x="327545" y="76442"/>
                    </a:lnTo>
                    <a:lnTo>
                      <a:pt x="326664" y="72915"/>
                    </a:lnTo>
                    <a:lnTo>
                      <a:pt x="326399" y="69124"/>
                    </a:lnTo>
                    <a:lnTo>
                      <a:pt x="326399" y="68507"/>
                    </a:lnTo>
                    <a:lnTo>
                      <a:pt x="326664" y="67978"/>
                    </a:lnTo>
                    <a:lnTo>
                      <a:pt x="326399" y="66743"/>
                    </a:lnTo>
                    <a:lnTo>
                      <a:pt x="326047" y="66479"/>
                    </a:lnTo>
                    <a:lnTo>
                      <a:pt x="326399" y="66214"/>
                    </a:lnTo>
                    <a:lnTo>
                      <a:pt x="326399" y="65950"/>
                    </a:lnTo>
                    <a:lnTo>
                      <a:pt x="326928" y="66214"/>
                    </a:lnTo>
                    <a:lnTo>
                      <a:pt x="327193" y="66743"/>
                    </a:lnTo>
                    <a:lnTo>
                      <a:pt x="327545" y="66214"/>
                    </a:lnTo>
                    <a:lnTo>
                      <a:pt x="327193" y="64980"/>
                    </a:lnTo>
                    <a:lnTo>
                      <a:pt x="326928" y="64451"/>
                    </a:lnTo>
                    <a:lnTo>
                      <a:pt x="325782" y="62423"/>
                    </a:lnTo>
                    <a:lnTo>
                      <a:pt x="326047" y="61806"/>
                    </a:lnTo>
                    <a:lnTo>
                      <a:pt x="325518" y="61189"/>
                    </a:lnTo>
                    <a:lnTo>
                      <a:pt x="325518" y="60395"/>
                    </a:lnTo>
                    <a:lnTo>
                      <a:pt x="325165" y="59778"/>
                    </a:lnTo>
                    <a:lnTo>
                      <a:pt x="324636" y="56251"/>
                    </a:lnTo>
                    <a:lnTo>
                      <a:pt x="323137" y="53342"/>
                    </a:lnTo>
                    <a:lnTo>
                      <a:pt x="323137" y="52725"/>
                    </a:lnTo>
                    <a:lnTo>
                      <a:pt x="322873" y="52196"/>
                    </a:lnTo>
                    <a:lnTo>
                      <a:pt x="322255" y="51931"/>
                    </a:lnTo>
                    <a:lnTo>
                      <a:pt x="322255" y="51314"/>
                    </a:lnTo>
                    <a:lnTo>
                      <a:pt x="322608" y="51049"/>
                    </a:lnTo>
                    <a:lnTo>
                      <a:pt x="323490" y="51314"/>
                    </a:lnTo>
                    <a:lnTo>
                      <a:pt x="323754" y="51049"/>
                    </a:lnTo>
                    <a:lnTo>
                      <a:pt x="324283" y="49022"/>
                    </a:lnTo>
                    <a:lnTo>
                      <a:pt x="324283" y="48669"/>
                    </a:lnTo>
                    <a:lnTo>
                      <a:pt x="324283" y="48140"/>
                    </a:lnTo>
                    <a:lnTo>
                      <a:pt x="324901" y="48140"/>
                    </a:lnTo>
                    <a:lnTo>
                      <a:pt x="325165" y="49551"/>
                    </a:lnTo>
                    <a:lnTo>
                      <a:pt x="325165" y="50168"/>
                    </a:lnTo>
                    <a:lnTo>
                      <a:pt x="326047" y="51931"/>
                    </a:lnTo>
                    <a:lnTo>
                      <a:pt x="326047" y="51049"/>
                    </a:lnTo>
                    <a:lnTo>
                      <a:pt x="326399" y="51578"/>
                    </a:lnTo>
                    <a:lnTo>
                      <a:pt x="326399" y="52196"/>
                    </a:lnTo>
                    <a:lnTo>
                      <a:pt x="327193" y="51578"/>
                    </a:lnTo>
                    <a:lnTo>
                      <a:pt x="327193" y="51049"/>
                    </a:lnTo>
                    <a:lnTo>
                      <a:pt x="326928" y="49903"/>
                    </a:lnTo>
                    <a:lnTo>
                      <a:pt x="326399" y="49551"/>
                    </a:lnTo>
                    <a:lnTo>
                      <a:pt x="326047" y="48669"/>
                    </a:lnTo>
                    <a:lnTo>
                      <a:pt x="323490" y="46112"/>
                    </a:lnTo>
                    <a:lnTo>
                      <a:pt x="322873" y="45495"/>
                    </a:lnTo>
                    <a:lnTo>
                      <a:pt x="322873" y="44878"/>
                    </a:lnTo>
                    <a:lnTo>
                      <a:pt x="321109" y="41439"/>
                    </a:lnTo>
                    <a:lnTo>
                      <a:pt x="320492" y="40822"/>
                    </a:lnTo>
                    <a:lnTo>
                      <a:pt x="320228" y="39676"/>
                    </a:lnTo>
                    <a:lnTo>
                      <a:pt x="320228" y="38530"/>
                    </a:lnTo>
                    <a:lnTo>
                      <a:pt x="319346" y="38530"/>
                    </a:lnTo>
                    <a:lnTo>
                      <a:pt x="319346" y="37912"/>
                    </a:lnTo>
                    <a:lnTo>
                      <a:pt x="319346" y="37648"/>
                    </a:lnTo>
                    <a:lnTo>
                      <a:pt x="318817" y="37912"/>
                    </a:lnTo>
                    <a:lnTo>
                      <a:pt x="318200" y="37295"/>
                    </a:lnTo>
                    <a:lnTo>
                      <a:pt x="318464" y="37031"/>
                    </a:lnTo>
                    <a:lnTo>
                      <a:pt x="319081" y="37031"/>
                    </a:lnTo>
                    <a:lnTo>
                      <a:pt x="319081" y="36149"/>
                    </a:lnTo>
                    <a:lnTo>
                      <a:pt x="318200" y="35532"/>
                    </a:lnTo>
                    <a:lnTo>
                      <a:pt x="317582" y="34386"/>
                    </a:lnTo>
                    <a:lnTo>
                      <a:pt x="317935" y="33857"/>
                    </a:lnTo>
                    <a:lnTo>
                      <a:pt x="317582" y="33857"/>
                    </a:lnTo>
                    <a:lnTo>
                      <a:pt x="317318" y="33857"/>
                    </a:lnTo>
                    <a:lnTo>
                      <a:pt x="317582" y="33504"/>
                    </a:lnTo>
                    <a:lnTo>
                      <a:pt x="317582" y="33240"/>
                    </a:lnTo>
                    <a:lnTo>
                      <a:pt x="317935" y="33504"/>
                    </a:lnTo>
                    <a:lnTo>
                      <a:pt x="317935" y="32358"/>
                    </a:lnTo>
                    <a:lnTo>
                      <a:pt x="317318" y="32622"/>
                    </a:lnTo>
                    <a:lnTo>
                      <a:pt x="317318" y="32358"/>
                    </a:lnTo>
                    <a:lnTo>
                      <a:pt x="316436" y="31741"/>
                    </a:lnTo>
                    <a:lnTo>
                      <a:pt x="317318" y="31741"/>
                    </a:lnTo>
                    <a:lnTo>
                      <a:pt x="317935" y="31741"/>
                    </a:lnTo>
                    <a:lnTo>
                      <a:pt x="317053" y="31212"/>
                    </a:lnTo>
                    <a:lnTo>
                      <a:pt x="317318" y="30594"/>
                    </a:lnTo>
                    <a:lnTo>
                      <a:pt x="317582" y="29713"/>
                    </a:lnTo>
                    <a:lnTo>
                      <a:pt x="317318" y="29448"/>
                    </a:lnTo>
                    <a:lnTo>
                      <a:pt x="316172" y="28302"/>
                    </a:lnTo>
                    <a:lnTo>
                      <a:pt x="317053" y="28302"/>
                    </a:lnTo>
                    <a:lnTo>
                      <a:pt x="317582" y="28302"/>
                    </a:lnTo>
                    <a:lnTo>
                      <a:pt x="317935" y="27949"/>
                    </a:lnTo>
                    <a:lnTo>
                      <a:pt x="317582" y="27685"/>
                    </a:lnTo>
                    <a:lnTo>
                      <a:pt x="317582" y="27420"/>
                    </a:lnTo>
                    <a:lnTo>
                      <a:pt x="317318" y="27068"/>
                    </a:lnTo>
                    <a:lnTo>
                      <a:pt x="317053" y="26274"/>
                    </a:lnTo>
                    <a:lnTo>
                      <a:pt x="316172" y="24511"/>
                    </a:lnTo>
                    <a:lnTo>
                      <a:pt x="315026" y="23894"/>
                    </a:lnTo>
                    <a:lnTo>
                      <a:pt x="315290" y="23365"/>
                    </a:lnTo>
                    <a:lnTo>
                      <a:pt x="315026" y="22747"/>
                    </a:lnTo>
                    <a:lnTo>
                      <a:pt x="314408" y="22747"/>
                    </a:lnTo>
                    <a:lnTo>
                      <a:pt x="313791" y="22747"/>
                    </a:lnTo>
                    <a:lnTo>
                      <a:pt x="311234" y="21249"/>
                    </a:lnTo>
                    <a:lnTo>
                      <a:pt x="307972" y="20102"/>
                    </a:lnTo>
                    <a:lnTo>
                      <a:pt x="305944" y="16928"/>
                    </a:lnTo>
                    <a:lnTo>
                      <a:pt x="305944" y="16576"/>
                    </a:lnTo>
                    <a:lnTo>
                      <a:pt x="304181" y="15429"/>
                    </a:lnTo>
                    <a:lnTo>
                      <a:pt x="303916" y="13137"/>
                    </a:lnTo>
                    <a:lnTo>
                      <a:pt x="302417" y="11638"/>
                    </a:lnTo>
                    <a:lnTo>
                      <a:pt x="301007" y="11109"/>
                    </a:lnTo>
                    <a:lnTo>
                      <a:pt x="298362" y="11109"/>
                    </a:lnTo>
                    <a:lnTo>
                      <a:pt x="297216" y="10757"/>
                    </a:lnTo>
                    <a:lnTo>
                      <a:pt x="296951" y="11109"/>
                    </a:lnTo>
                    <a:lnTo>
                      <a:pt x="296599" y="11109"/>
                    </a:lnTo>
                    <a:lnTo>
                      <a:pt x="294835" y="9346"/>
                    </a:lnTo>
                    <a:lnTo>
                      <a:pt x="293424" y="7582"/>
                    </a:lnTo>
                    <a:lnTo>
                      <a:pt x="292543" y="7318"/>
                    </a:lnTo>
                    <a:lnTo>
                      <a:pt x="292807" y="7847"/>
                    </a:lnTo>
                    <a:lnTo>
                      <a:pt x="292543" y="8111"/>
                    </a:lnTo>
                    <a:lnTo>
                      <a:pt x="291926" y="7318"/>
                    </a:lnTo>
                    <a:lnTo>
                      <a:pt x="291661" y="7582"/>
                    </a:lnTo>
                    <a:lnTo>
                      <a:pt x="291661" y="7318"/>
                    </a:lnTo>
                    <a:lnTo>
                      <a:pt x="291396" y="6965"/>
                    </a:lnTo>
                    <a:lnTo>
                      <a:pt x="291661" y="6701"/>
                    </a:lnTo>
                    <a:lnTo>
                      <a:pt x="291661" y="6436"/>
                    </a:lnTo>
                    <a:lnTo>
                      <a:pt x="291926" y="6084"/>
                    </a:lnTo>
                    <a:lnTo>
                      <a:pt x="292190" y="6436"/>
                    </a:lnTo>
                    <a:lnTo>
                      <a:pt x="292543" y="6701"/>
                    </a:lnTo>
                    <a:lnTo>
                      <a:pt x="292543" y="6436"/>
                    </a:lnTo>
                    <a:lnTo>
                      <a:pt x="292190" y="6084"/>
                    </a:lnTo>
                    <a:lnTo>
                      <a:pt x="291926" y="5555"/>
                    </a:lnTo>
                    <a:lnTo>
                      <a:pt x="291396" y="5202"/>
                    </a:lnTo>
                    <a:lnTo>
                      <a:pt x="291661" y="5202"/>
                    </a:lnTo>
                    <a:lnTo>
                      <a:pt x="291926" y="5202"/>
                    </a:lnTo>
                    <a:lnTo>
                      <a:pt x="291661" y="4673"/>
                    </a:lnTo>
                    <a:lnTo>
                      <a:pt x="291396" y="4673"/>
                    </a:lnTo>
                    <a:lnTo>
                      <a:pt x="291661" y="3791"/>
                    </a:lnTo>
                    <a:lnTo>
                      <a:pt x="291396" y="3174"/>
                    </a:lnTo>
                    <a:lnTo>
                      <a:pt x="290779" y="3174"/>
                    </a:lnTo>
                    <a:lnTo>
                      <a:pt x="290515" y="2910"/>
                    </a:lnTo>
                    <a:lnTo>
                      <a:pt x="290779" y="2028"/>
                    </a:lnTo>
                    <a:lnTo>
                      <a:pt x="290162" y="1146"/>
                    </a:lnTo>
                    <a:lnTo>
                      <a:pt x="288134" y="0"/>
                    </a:lnTo>
                    <a:lnTo>
                      <a:pt x="282315" y="6965"/>
                    </a:lnTo>
                    <a:lnTo>
                      <a:pt x="280905" y="9346"/>
                    </a:lnTo>
                    <a:lnTo>
                      <a:pt x="274733" y="6965"/>
                    </a:lnTo>
                    <a:lnTo>
                      <a:pt x="270677" y="21249"/>
                    </a:lnTo>
                    <a:lnTo>
                      <a:pt x="258686" y="22747"/>
                    </a:lnTo>
                    <a:lnTo>
                      <a:pt x="256394" y="33857"/>
                    </a:lnTo>
                    <a:lnTo>
                      <a:pt x="254278" y="34650"/>
                    </a:lnTo>
                    <a:lnTo>
                      <a:pt x="246431" y="35003"/>
                    </a:lnTo>
                    <a:lnTo>
                      <a:pt x="237702" y="28302"/>
                    </a:lnTo>
                    <a:lnTo>
                      <a:pt x="234175" y="28302"/>
                    </a:lnTo>
                    <a:lnTo>
                      <a:pt x="200319" y="28302"/>
                    </a:lnTo>
                    <a:lnTo>
                      <a:pt x="201553" y="24158"/>
                    </a:lnTo>
                    <a:lnTo>
                      <a:pt x="201200" y="22747"/>
                    </a:lnTo>
                    <a:lnTo>
                      <a:pt x="199525" y="22483"/>
                    </a:lnTo>
                    <a:lnTo>
                      <a:pt x="198291" y="23629"/>
                    </a:lnTo>
                    <a:lnTo>
                      <a:pt x="196880" y="27949"/>
                    </a:lnTo>
                    <a:lnTo>
                      <a:pt x="61189" y="27949"/>
                    </a:lnTo>
                    <a:lnTo>
                      <a:pt x="62952" y="77588"/>
                    </a:lnTo>
                    <a:lnTo>
                      <a:pt x="41351" y="76706"/>
                    </a:lnTo>
                    <a:lnTo>
                      <a:pt x="42233" y="93282"/>
                    </a:lnTo>
                    <a:lnTo>
                      <a:pt x="45230" y="184889"/>
                    </a:lnTo>
                    <a:lnTo>
                      <a:pt x="40822" y="183743"/>
                    </a:lnTo>
                    <a:lnTo>
                      <a:pt x="37031" y="183126"/>
                    </a:lnTo>
                    <a:lnTo>
                      <a:pt x="33504" y="184360"/>
                    </a:lnTo>
                    <a:lnTo>
                      <a:pt x="31476" y="185506"/>
                    </a:lnTo>
                    <a:lnTo>
                      <a:pt x="25922" y="184360"/>
                    </a:lnTo>
                    <a:lnTo>
                      <a:pt x="24158" y="187799"/>
                    </a:lnTo>
                    <a:lnTo>
                      <a:pt x="22483" y="188680"/>
                    </a:lnTo>
                    <a:lnTo>
                      <a:pt x="22130" y="190179"/>
                    </a:lnTo>
                    <a:lnTo>
                      <a:pt x="23277" y="191590"/>
                    </a:lnTo>
                    <a:lnTo>
                      <a:pt x="24158" y="193353"/>
                    </a:lnTo>
                    <a:lnTo>
                      <a:pt x="23277" y="197145"/>
                    </a:lnTo>
                    <a:lnTo>
                      <a:pt x="23277" y="198643"/>
                    </a:lnTo>
                    <a:lnTo>
                      <a:pt x="22747" y="199172"/>
                    </a:lnTo>
                    <a:lnTo>
                      <a:pt x="20720" y="200319"/>
                    </a:lnTo>
                    <a:lnTo>
                      <a:pt x="18604" y="202435"/>
                    </a:lnTo>
                    <a:lnTo>
                      <a:pt x="18339" y="204727"/>
                    </a:lnTo>
                    <a:lnTo>
                      <a:pt x="16576" y="205609"/>
                    </a:lnTo>
                    <a:lnTo>
                      <a:pt x="17193" y="208254"/>
                    </a:lnTo>
                    <a:lnTo>
                      <a:pt x="17457" y="210282"/>
                    </a:lnTo>
                    <a:lnTo>
                      <a:pt x="12520" y="211428"/>
                    </a:lnTo>
                    <a:lnTo>
                      <a:pt x="11021" y="212309"/>
                    </a:lnTo>
                    <a:lnTo>
                      <a:pt x="11021" y="213191"/>
                    </a:lnTo>
                    <a:lnTo>
                      <a:pt x="11021" y="214690"/>
                    </a:lnTo>
                    <a:lnTo>
                      <a:pt x="12256" y="215484"/>
                    </a:lnTo>
                    <a:lnTo>
                      <a:pt x="12520" y="217864"/>
                    </a:lnTo>
                    <a:lnTo>
                      <a:pt x="12785" y="219010"/>
                    </a:lnTo>
                    <a:lnTo>
                      <a:pt x="12256" y="219363"/>
                    </a:lnTo>
                    <a:lnTo>
                      <a:pt x="12520" y="220156"/>
                    </a:lnTo>
                    <a:lnTo>
                      <a:pt x="12785" y="221038"/>
                    </a:lnTo>
                    <a:lnTo>
                      <a:pt x="15165" y="221655"/>
                    </a:lnTo>
                    <a:lnTo>
                      <a:pt x="15165" y="223154"/>
                    </a:lnTo>
                    <a:lnTo>
                      <a:pt x="15165" y="223948"/>
                    </a:lnTo>
                    <a:lnTo>
                      <a:pt x="13666" y="225182"/>
                    </a:lnTo>
                    <a:lnTo>
                      <a:pt x="12256" y="225976"/>
                    </a:lnTo>
                    <a:lnTo>
                      <a:pt x="11374" y="225976"/>
                    </a:lnTo>
                    <a:lnTo>
                      <a:pt x="10492" y="226945"/>
                    </a:lnTo>
                    <a:lnTo>
                      <a:pt x="9610" y="226945"/>
                    </a:lnTo>
                    <a:lnTo>
                      <a:pt x="8112" y="228092"/>
                    </a:lnTo>
                    <a:lnTo>
                      <a:pt x="4937" y="232412"/>
                    </a:lnTo>
                    <a:lnTo>
                      <a:pt x="6436" y="234175"/>
                    </a:lnTo>
                    <a:lnTo>
                      <a:pt x="6436" y="235939"/>
                    </a:lnTo>
                    <a:lnTo>
                      <a:pt x="6701" y="236203"/>
                    </a:lnTo>
                    <a:lnTo>
                      <a:pt x="7847" y="238319"/>
                    </a:lnTo>
                    <a:lnTo>
                      <a:pt x="8464" y="239994"/>
                    </a:lnTo>
                    <a:lnTo>
                      <a:pt x="9875" y="242639"/>
                    </a:lnTo>
                    <a:lnTo>
                      <a:pt x="9875" y="243257"/>
                    </a:lnTo>
                    <a:lnTo>
                      <a:pt x="6965" y="247929"/>
                    </a:lnTo>
                    <a:lnTo>
                      <a:pt x="3791" y="248811"/>
                    </a:lnTo>
                    <a:lnTo>
                      <a:pt x="2292" y="251368"/>
                    </a:lnTo>
                    <a:lnTo>
                      <a:pt x="1411" y="253131"/>
                    </a:lnTo>
                    <a:lnTo>
                      <a:pt x="0" y="257275"/>
                    </a:lnTo>
                    <a:lnTo>
                      <a:pt x="1411" y="260449"/>
                    </a:lnTo>
                    <a:lnTo>
                      <a:pt x="2292" y="260714"/>
                    </a:lnTo>
                    <a:lnTo>
                      <a:pt x="4673" y="261067"/>
                    </a:lnTo>
                    <a:lnTo>
                      <a:pt x="6965" y="260714"/>
                    </a:lnTo>
                    <a:lnTo>
                      <a:pt x="8464" y="258422"/>
                    </a:lnTo>
                    <a:lnTo>
                      <a:pt x="10757" y="260714"/>
                    </a:lnTo>
                    <a:lnTo>
                      <a:pt x="13666" y="261860"/>
                    </a:lnTo>
                    <a:lnTo>
                      <a:pt x="13137" y="265387"/>
                    </a:lnTo>
                    <a:lnTo>
                      <a:pt x="12256" y="265651"/>
                    </a:lnTo>
                    <a:lnTo>
                      <a:pt x="13137" y="267415"/>
                    </a:lnTo>
                    <a:lnTo>
                      <a:pt x="13137" y="268296"/>
                    </a:lnTo>
                    <a:lnTo>
                      <a:pt x="15165" y="272440"/>
                    </a:lnTo>
                    <a:lnTo>
                      <a:pt x="14812" y="276143"/>
                    </a:lnTo>
                    <a:lnTo>
                      <a:pt x="14812" y="276496"/>
                    </a:lnTo>
                    <a:lnTo>
                      <a:pt x="16311" y="275350"/>
                    </a:lnTo>
                    <a:lnTo>
                      <a:pt x="17193" y="274733"/>
                    </a:lnTo>
                    <a:lnTo>
                      <a:pt x="17457" y="275350"/>
                    </a:lnTo>
                    <a:lnTo>
                      <a:pt x="17722" y="274733"/>
                    </a:lnTo>
                    <a:lnTo>
                      <a:pt x="17722" y="275350"/>
                    </a:lnTo>
                    <a:lnTo>
                      <a:pt x="17457" y="277378"/>
                    </a:lnTo>
                    <a:lnTo>
                      <a:pt x="17193" y="281698"/>
                    </a:lnTo>
                    <a:lnTo>
                      <a:pt x="16576" y="285489"/>
                    </a:lnTo>
                    <a:lnTo>
                      <a:pt x="16576" y="286371"/>
                    </a:lnTo>
                    <a:lnTo>
                      <a:pt x="18339" y="289016"/>
                    </a:lnTo>
                    <a:lnTo>
                      <a:pt x="21601" y="290515"/>
                    </a:lnTo>
                    <a:lnTo>
                      <a:pt x="21601" y="291926"/>
                    </a:lnTo>
                    <a:lnTo>
                      <a:pt x="21601" y="292190"/>
                    </a:lnTo>
                    <a:lnTo>
                      <a:pt x="25040" y="291926"/>
                    </a:lnTo>
                    <a:lnTo>
                      <a:pt x="25304" y="294306"/>
                    </a:lnTo>
                    <a:lnTo>
                      <a:pt x="25304" y="294835"/>
                    </a:lnTo>
                    <a:lnTo>
                      <a:pt x="25657" y="296598"/>
                    </a:lnTo>
                    <a:lnTo>
                      <a:pt x="24511" y="300654"/>
                    </a:lnTo>
                    <a:lnTo>
                      <a:pt x="24158" y="303652"/>
                    </a:lnTo>
                    <a:lnTo>
                      <a:pt x="31212" y="314144"/>
                    </a:lnTo>
                    <a:lnTo>
                      <a:pt x="32622" y="315026"/>
                    </a:lnTo>
                    <a:lnTo>
                      <a:pt x="41704" y="329838"/>
                    </a:lnTo>
                    <a:lnTo>
                      <a:pt x="41704" y="335128"/>
                    </a:lnTo>
                    <a:lnTo>
                      <a:pt x="40822" y="338567"/>
                    </a:lnTo>
                    <a:lnTo>
                      <a:pt x="40558" y="340330"/>
                    </a:lnTo>
                    <a:lnTo>
                      <a:pt x="41704" y="340947"/>
                    </a:lnTo>
                    <a:lnTo>
                      <a:pt x="41351" y="344474"/>
                    </a:lnTo>
                    <a:lnTo>
                      <a:pt x="38177" y="347383"/>
                    </a:lnTo>
                    <a:lnTo>
                      <a:pt x="36414" y="351439"/>
                    </a:lnTo>
                    <a:lnTo>
                      <a:pt x="37560" y="354613"/>
                    </a:lnTo>
                    <a:lnTo>
                      <a:pt x="39676" y="351704"/>
                    </a:lnTo>
                    <a:lnTo>
                      <a:pt x="39940" y="354613"/>
                    </a:lnTo>
                    <a:lnTo>
                      <a:pt x="38794" y="356376"/>
                    </a:lnTo>
                    <a:lnTo>
                      <a:pt x="38177" y="359903"/>
                    </a:lnTo>
                    <a:lnTo>
                      <a:pt x="39323" y="359022"/>
                    </a:lnTo>
                    <a:lnTo>
                      <a:pt x="42585" y="359286"/>
                    </a:lnTo>
                    <a:lnTo>
                      <a:pt x="55987" y="358757"/>
                    </a:lnTo>
                    <a:lnTo>
                      <a:pt x="56075" y="359903"/>
                    </a:lnTo>
                    <a:lnTo>
                      <a:pt x="56957" y="359903"/>
                    </a:lnTo>
                    <a:lnTo>
                      <a:pt x="56957" y="356994"/>
                    </a:lnTo>
                    <a:lnTo>
                      <a:pt x="57574" y="354702"/>
                    </a:lnTo>
                    <a:lnTo>
                      <a:pt x="57838" y="351175"/>
                    </a:lnTo>
                    <a:lnTo>
                      <a:pt x="58896" y="349411"/>
                    </a:lnTo>
                    <a:lnTo>
                      <a:pt x="58896" y="346325"/>
                    </a:lnTo>
                    <a:lnTo>
                      <a:pt x="61189" y="342093"/>
                    </a:lnTo>
                    <a:lnTo>
                      <a:pt x="61189" y="336098"/>
                    </a:lnTo>
                    <a:lnTo>
                      <a:pt x="64892" y="331601"/>
                    </a:lnTo>
                    <a:lnTo>
                      <a:pt x="66655" y="326664"/>
                    </a:lnTo>
                    <a:lnTo>
                      <a:pt x="66655" y="323843"/>
                    </a:lnTo>
                    <a:lnTo>
                      <a:pt x="69388" y="323225"/>
                    </a:lnTo>
                    <a:lnTo>
                      <a:pt x="72298" y="323225"/>
                    </a:lnTo>
                    <a:lnTo>
                      <a:pt x="74326" y="322167"/>
                    </a:lnTo>
                    <a:lnTo>
                      <a:pt x="75208" y="322167"/>
                    </a:lnTo>
                    <a:lnTo>
                      <a:pt x="77059" y="322167"/>
                    </a:lnTo>
                    <a:lnTo>
                      <a:pt x="80057" y="320580"/>
                    </a:lnTo>
                    <a:lnTo>
                      <a:pt x="81732" y="320580"/>
                    </a:lnTo>
                    <a:lnTo>
                      <a:pt x="83231" y="320580"/>
                    </a:lnTo>
                    <a:lnTo>
                      <a:pt x="84377" y="321991"/>
                    </a:lnTo>
                    <a:lnTo>
                      <a:pt x="85435" y="323843"/>
                    </a:lnTo>
                    <a:lnTo>
                      <a:pt x="86140" y="325959"/>
                    </a:lnTo>
                    <a:lnTo>
                      <a:pt x="87551" y="327017"/>
                    </a:lnTo>
                    <a:lnTo>
                      <a:pt x="89050" y="328251"/>
                    </a:lnTo>
                    <a:lnTo>
                      <a:pt x="89050" y="328780"/>
                    </a:lnTo>
                    <a:lnTo>
                      <a:pt x="90461" y="331072"/>
                    </a:lnTo>
                    <a:lnTo>
                      <a:pt x="92665" y="332924"/>
                    </a:lnTo>
                    <a:lnTo>
                      <a:pt x="94076" y="334599"/>
                    </a:lnTo>
                    <a:lnTo>
                      <a:pt x="95134" y="336451"/>
                    </a:lnTo>
                    <a:lnTo>
                      <a:pt x="97426" y="339008"/>
                    </a:lnTo>
                    <a:lnTo>
                      <a:pt x="98484" y="341123"/>
                    </a:lnTo>
                    <a:lnTo>
                      <a:pt x="99542" y="342710"/>
                    </a:lnTo>
                    <a:lnTo>
                      <a:pt x="100953" y="342975"/>
                    </a:lnTo>
                    <a:lnTo>
                      <a:pt x="102275" y="343592"/>
                    </a:lnTo>
                    <a:lnTo>
                      <a:pt x="103774" y="343592"/>
                    </a:lnTo>
                    <a:lnTo>
                      <a:pt x="105361" y="342358"/>
                    </a:lnTo>
                    <a:lnTo>
                      <a:pt x="108535" y="342358"/>
                    </a:lnTo>
                    <a:lnTo>
                      <a:pt x="110828" y="341741"/>
                    </a:lnTo>
                    <a:lnTo>
                      <a:pt x="112944" y="341035"/>
                    </a:lnTo>
                    <a:lnTo>
                      <a:pt x="115941" y="340771"/>
                    </a:lnTo>
                    <a:lnTo>
                      <a:pt x="119468" y="340771"/>
                    </a:lnTo>
                    <a:lnTo>
                      <a:pt x="123700" y="340771"/>
                    </a:lnTo>
                    <a:lnTo>
                      <a:pt x="125728" y="342710"/>
                    </a:lnTo>
                    <a:lnTo>
                      <a:pt x="127844" y="342358"/>
                    </a:lnTo>
                    <a:lnTo>
                      <a:pt x="131371" y="346325"/>
                    </a:lnTo>
                    <a:lnTo>
                      <a:pt x="133928" y="346325"/>
                    </a:lnTo>
                    <a:lnTo>
                      <a:pt x="136837" y="346590"/>
                    </a:lnTo>
                    <a:lnTo>
                      <a:pt x="139747" y="346502"/>
                    </a:lnTo>
                    <a:lnTo>
                      <a:pt x="141863" y="347383"/>
                    </a:lnTo>
                    <a:lnTo>
                      <a:pt x="145213" y="347736"/>
                    </a:lnTo>
                    <a:lnTo>
                      <a:pt x="148123" y="347824"/>
                    </a:lnTo>
                    <a:lnTo>
                      <a:pt x="150944" y="347824"/>
                    </a:lnTo>
                    <a:lnTo>
                      <a:pt x="150680" y="346502"/>
                    </a:lnTo>
                    <a:lnTo>
                      <a:pt x="150327" y="345708"/>
                    </a:lnTo>
                    <a:lnTo>
                      <a:pt x="150944" y="344738"/>
                    </a:lnTo>
                    <a:lnTo>
                      <a:pt x="153854" y="341035"/>
                    </a:lnTo>
                    <a:lnTo>
                      <a:pt x="155441" y="340242"/>
                    </a:lnTo>
                    <a:lnTo>
                      <a:pt x="157028" y="339184"/>
                    </a:lnTo>
                    <a:lnTo>
                      <a:pt x="159938" y="337773"/>
                    </a:lnTo>
                    <a:lnTo>
                      <a:pt x="162230" y="337332"/>
                    </a:lnTo>
                    <a:lnTo>
                      <a:pt x="166197" y="334775"/>
                    </a:lnTo>
                    <a:lnTo>
                      <a:pt x="167608" y="331601"/>
                    </a:lnTo>
                    <a:lnTo>
                      <a:pt x="167608" y="330543"/>
                    </a:lnTo>
                    <a:lnTo>
                      <a:pt x="169107" y="327193"/>
                    </a:lnTo>
                    <a:lnTo>
                      <a:pt x="170870" y="326576"/>
                    </a:lnTo>
                    <a:lnTo>
                      <a:pt x="173075" y="325518"/>
                    </a:lnTo>
                    <a:lnTo>
                      <a:pt x="175191" y="325518"/>
                    </a:lnTo>
                    <a:lnTo>
                      <a:pt x="177483" y="325518"/>
                    </a:lnTo>
                    <a:lnTo>
                      <a:pt x="180481" y="326576"/>
                    </a:lnTo>
                    <a:lnTo>
                      <a:pt x="181980" y="326576"/>
                    </a:lnTo>
                    <a:lnTo>
                      <a:pt x="184272" y="328251"/>
                    </a:lnTo>
                    <a:lnTo>
                      <a:pt x="184272" y="329221"/>
                    </a:lnTo>
                    <a:lnTo>
                      <a:pt x="186124" y="330631"/>
                    </a:lnTo>
                    <a:lnTo>
                      <a:pt x="187446" y="331425"/>
                    </a:lnTo>
                    <a:lnTo>
                      <a:pt x="188240" y="332924"/>
                    </a:lnTo>
                    <a:lnTo>
                      <a:pt x="189650" y="333982"/>
                    </a:lnTo>
                    <a:lnTo>
                      <a:pt x="191149" y="336098"/>
                    </a:lnTo>
                    <a:lnTo>
                      <a:pt x="192207" y="337156"/>
                    </a:lnTo>
                    <a:lnTo>
                      <a:pt x="193706" y="337685"/>
                    </a:lnTo>
                    <a:lnTo>
                      <a:pt x="195117" y="337068"/>
                    </a:lnTo>
                    <a:lnTo>
                      <a:pt x="199084" y="337068"/>
                    </a:lnTo>
                    <a:lnTo>
                      <a:pt x="200848" y="337068"/>
                    </a:lnTo>
                    <a:lnTo>
                      <a:pt x="202435" y="336627"/>
                    </a:lnTo>
                    <a:lnTo>
                      <a:pt x="204551" y="334423"/>
                    </a:lnTo>
                    <a:lnTo>
                      <a:pt x="206314" y="332307"/>
                    </a:lnTo>
                    <a:lnTo>
                      <a:pt x="206314" y="331249"/>
                    </a:lnTo>
                    <a:lnTo>
                      <a:pt x="210017" y="327898"/>
                    </a:lnTo>
                    <a:lnTo>
                      <a:pt x="211869" y="325782"/>
                    </a:lnTo>
                    <a:lnTo>
                      <a:pt x="213632" y="322873"/>
                    </a:lnTo>
                    <a:lnTo>
                      <a:pt x="215836" y="321109"/>
                    </a:lnTo>
                    <a:lnTo>
                      <a:pt x="217159" y="319258"/>
                    </a:lnTo>
                    <a:lnTo>
                      <a:pt x="218217" y="316701"/>
                    </a:lnTo>
                    <a:lnTo>
                      <a:pt x="218657" y="315026"/>
                    </a:lnTo>
                    <a:lnTo>
                      <a:pt x="218657" y="313174"/>
                    </a:lnTo>
                    <a:lnTo>
                      <a:pt x="220862" y="312381"/>
                    </a:lnTo>
                    <a:lnTo>
                      <a:pt x="221920" y="311675"/>
                    </a:lnTo>
                    <a:lnTo>
                      <a:pt x="223419" y="309206"/>
                    </a:lnTo>
                    <a:lnTo>
                      <a:pt x="224741" y="306650"/>
                    </a:lnTo>
                    <a:lnTo>
                      <a:pt x="227386" y="305063"/>
                    </a:lnTo>
                    <a:lnTo>
                      <a:pt x="228885" y="303564"/>
                    </a:lnTo>
                    <a:lnTo>
                      <a:pt x="228709" y="301536"/>
                    </a:lnTo>
                    <a:lnTo>
                      <a:pt x="228885" y="297921"/>
                    </a:lnTo>
                    <a:lnTo>
                      <a:pt x="227474" y="294571"/>
                    </a:lnTo>
                    <a:lnTo>
                      <a:pt x="227651" y="291132"/>
                    </a:lnTo>
                    <a:lnTo>
                      <a:pt x="227651" y="288046"/>
                    </a:lnTo>
                    <a:lnTo>
                      <a:pt x="226416" y="286371"/>
                    </a:lnTo>
                    <a:lnTo>
                      <a:pt x="222537" y="280904"/>
                    </a:lnTo>
                    <a:lnTo>
                      <a:pt x="236468" y="280023"/>
                    </a:lnTo>
                    <a:lnTo>
                      <a:pt x="235410" y="276496"/>
                    </a:lnTo>
                    <a:lnTo>
                      <a:pt x="244843" y="275703"/>
                    </a:lnTo>
                    <a:lnTo>
                      <a:pt x="246254" y="277819"/>
                    </a:lnTo>
                    <a:lnTo>
                      <a:pt x="245637" y="282844"/>
                    </a:lnTo>
                    <a:lnTo>
                      <a:pt x="244843" y="287253"/>
                    </a:lnTo>
                    <a:lnTo>
                      <a:pt x="243786" y="291220"/>
                    </a:lnTo>
                    <a:lnTo>
                      <a:pt x="243962" y="298097"/>
                    </a:lnTo>
                    <a:lnTo>
                      <a:pt x="245196" y="303564"/>
                    </a:lnTo>
                    <a:lnTo>
                      <a:pt x="246254" y="305680"/>
                    </a:lnTo>
                    <a:lnTo>
                      <a:pt x="246254" y="310529"/>
                    </a:lnTo>
                    <a:lnTo>
                      <a:pt x="244843" y="311499"/>
                    </a:lnTo>
                    <a:lnTo>
                      <a:pt x="247577" y="314056"/>
                    </a:lnTo>
                    <a:lnTo>
                      <a:pt x="252779" y="316172"/>
                    </a:lnTo>
                    <a:lnTo>
                      <a:pt x="254454" y="319081"/>
                    </a:lnTo>
                    <a:lnTo>
                      <a:pt x="257804" y="322432"/>
                    </a:lnTo>
                    <a:lnTo>
                      <a:pt x="261772" y="325518"/>
                    </a:lnTo>
                    <a:lnTo>
                      <a:pt x="263888" y="328251"/>
                    </a:lnTo>
                    <a:lnTo>
                      <a:pt x="263888" y="332483"/>
                    </a:lnTo>
                    <a:lnTo>
                      <a:pt x="264329" y="335393"/>
                    </a:lnTo>
                    <a:lnTo>
                      <a:pt x="262918" y="339008"/>
                    </a:lnTo>
                    <a:lnTo>
                      <a:pt x="262213" y="341917"/>
                    </a:lnTo>
                    <a:lnTo>
                      <a:pt x="262830" y="344033"/>
                    </a:lnTo>
                    <a:lnTo>
                      <a:pt x="264329" y="344826"/>
                    </a:lnTo>
                    <a:lnTo>
                      <a:pt x="270942" y="345179"/>
                    </a:lnTo>
                    <a:lnTo>
                      <a:pt x="270324" y="338302"/>
                    </a:lnTo>
                    <a:lnTo>
                      <a:pt x="270942" y="333365"/>
                    </a:lnTo>
                    <a:lnTo>
                      <a:pt x="272088" y="329573"/>
                    </a:lnTo>
                    <a:lnTo>
                      <a:pt x="273322" y="326047"/>
                    </a:lnTo>
                    <a:lnTo>
                      <a:pt x="274468" y="324019"/>
                    </a:lnTo>
                    <a:lnTo>
                      <a:pt x="274468" y="323137"/>
                    </a:lnTo>
                    <a:lnTo>
                      <a:pt x="275614" y="321109"/>
                    </a:lnTo>
                    <a:lnTo>
                      <a:pt x="274115" y="312645"/>
                    </a:lnTo>
                    <a:lnTo>
                      <a:pt x="275350" y="311499"/>
                    </a:lnTo>
                    <a:lnTo>
                      <a:pt x="277113" y="307443"/>
                    </a:lnTo>
                    <a:lnTo>
                      <a:pt x="280552" y="304798"/>
                    </a:lnTo>
                    <a:lnTo>
                      <a:pt x="284343" y="308589"/>
                    </a:lnTo>
                    <a:lnTo>
                      <a:pt x="284343" y="309736"/>
                    </a:lnTo>
                    <a:lnTo>
                      <a:pt x="284960" y="309736"/>
                    </a:lnTo>
                    <a:lnTo>
                      <a:pt x="285225" y="308854"/>
                    </a:lnTo>
                    <a:lnTo>
                      <a:pt x="286371" y="308854"/>
                    </a:lnTo>
                    <a:lnTo>
                      <a:pt x="286371" y="307443"/>
                    </a:lnTo>
                    <a:lnTo>
                      <a:pt x="289016" y="305063"/>
                    </a:lnTo>
                    <a:lnTo>
                      <a:pt x="289016" y="303652"/>
                    </a:lnTo>
                    <a:lnTo>
                      <a:pt x="287870" y="303299"/>
                    </a:lnTo>
                    <a:lnTo>
                      <a:pt x="289280" y="297480"/>
                    </a:lnTo>
                    <a:lnTo>
                      <a:pt x="288134" y="296334"/>
                    </a:lnTo>
                    <a:lnTo>
                      <a:pt x="288134" y="295717"/>
                    </a:lnTo>
                    <a:lnTo>
                      <a:pt x="291044" y="288399"/>
                    </a:lnTo>
                    <a:lnTo>
                      <a:pt x="290779" y="287253"/>
                    </a:lnTo>
                    <a:lnTo>
                      <a:pt x="290779" y="285842"/>
                    </a:lnTo>
                    <a:lnTo>
                      <a:pt x="289898" y="283461"/>
                    </a:lnTo>
                    <a:lnTo>
                      <a:pt x="290779" y="281169"/>
                    </a:lnTo>
                    <a:lnTo>
                      <a:pt x="291661" y="280552"/>
                    </a:lnTo>
                    <a:lnTo>
                      <a:pt x="293689" y="280023"/>
                    </a:lnTo>
                    <a:lnTo>
                      <a:pt x="294306" y="278524"/>
                    </a:lnTo>
                    <a:lnTo>
                      <a:pt x="294306" y="277378"/>
                    </a:lnTo>
                    <a:lnTo>
                      <a:pt x="295981" y="276761"/>
                    </a:lnTo>
                    <a:lnTo>
                      <a:pt x="295981" y="274733"/>
                    </a:lnTo>
                    <a:lnTo>
                      <a:pt x="296599" y="272705"/>
                    </a:lnTo>
                    <a:lnTo>
                      <a:pt x="297745" y="271823"/>
                    </a:lnTo>
                    <a:lnTo>
                      <a:pt x="298362" y="268296"/>
                    </a:lnTo>
                    <a:lnTo>
                      <a:pt x="301888" y="262213"/>
                    </a:lnTo>
                    <a:lnTo>
                      <a:pt x="302770" y="261860"/>
                    </a:lnTo>
                    <a:lnTo>
                      <a:pt x="303299" y="262213"/>
                    </a:lnTo>
                    <a:lnTo>
                      <a:pt x="303299" y="260714"/>
                    </a:lnTo>
                    <a:lnTo>
                      <a:pt x="309736" y="259303"/>
                    </a:lnTo>
                    <a:lnTo>
                      <a:pt x="310353" y="259303"/>
                    </a:lnTo>
                    <a:lnTo>
                      <a:pt x="311499" y="259303"/>
                    </a:lnTo>
                    <a:lnTo>
                      <a:pt x="312028" y="260185"/>
                    </a:lnTo>
                    <a:lnTo>
                      <a:pt x="312910" y="260185"/>
                    </a:lnTo>
                    <a:lnTo>
                      <a:pt x="313527" y="255512"/>
                    </a:lnTo>
                    <a:lnTo>
                      <a:pt x="312645" y="254366"/>
                    </a:lnTo>
                    <a:lnTo>
                      <a:pt x="312910" y="253131"/>
                    </a:lnTo>
                    <a:lnTo>
                      <a:pt x="313262" y="252250"/>
                    </a:lnTo>
                    <a:lnTo>
                      <a:pt x="313262" y="251368"/>
                    </a:lnTo>
                    <a:lnTo>
                      <a:pt x="314144" y="242904"/>
                    </a:lnTo>
                    <a:lnTo>
                      <a:pt x="317582" y="238848"/>
                    </a:lnTo>
                    <a:lnTo>
                      <a:pt x="317935" y="237085"/>
                    </a:lnTo>
                    <a:lnTo>
                      <a:pt x="317935" y="235939"/>
                    </a:lnTo>
                    <a:lnTo>
                      <a:pt x="317053" y="230119"/>
                    </a:lnTo>
                    <a:lnTo>
                      <a:pt x="319346" y="221920"/>
                    </a:lnTo>
                    <a:lnTo>
                      <a:pt x="317053" y="198643"/>
                    </a:lnTo>
                    <a:lnTo>
                      <a:pt x="319081" y="196616"/>
                    </a:lnTo>
                    <a:lnTo>
                      <a:pt x="320845" y="191590"/>
                    </a:lnTo>
                    <a:lnTo>
                      <a:pt x="321109" y="191061"/>
                    </a:lnTo>
                    <a:lnTo>
                      <a:pt x="320845" y="190179"/>
                    </a:lnTo>
                    <a:lnTo>
                      <a:pt x="322255" y="183743"/>
                    </a:lnTo>
                    <a:lnTo>
                      <a:pt x="323490" y="182244"/>
                    </a:lnTo>
                    <a:lnTo>
                      <a:pt x="326399" y="171752"/>
                    </a:lnTo>
                    <a:lnTo>
                      <a:pt x="327545" y="170606"/>
                    </a:lnTo>
                    <a:lnTo>
                      <a:pt x="326399" y="168578"/>
                    </a:lnTo>
                    <a:lnTo>
                      <a:pt x="326399" y="167079"/>
                    </a:lnTo>
                    <a:lnTo>
                      <a:pt x="326047" y="165316"/>
                    </a:lnTo>
                    <a:lnTo>
                      <a:pt x="325165" y="164522"/>
                    </a:lnTo>
                    <a:lnTo>
                      <a:pt x="326047" y="162759"/>
                    </a:lnTo>
                    <a:lnTo>
                      <a:pt x="326047" y="161524"/>
                    </a:lnTo>
                    <a:lnTo>
                      <a:pt x="327193" y="159849"/>
                    </a:lnTo>
                    <a:lnTo>
                      <a:pt x="327545" y="156323"/>
                    </a:lnTo>
                    <a:lnTo>
                      <a:pt x="327545" y="156058"/>
                    </a:lnTo>
                    <a:lnTo>
                      <a:pt x="327545" y="154559"/>
                    </a:lnTo>
                    <a:lnTo>
                      <a:pt x="326928" y="154030"/>
                    </a:lnTo>
                    <a:lnTo>
                      <a:pt x="327193" y="152531"/>
                    </a:lnTo>
                    <a:lnTo>
                      <a:pt x="326928" y="151650"/>
                    </a:lnTo>
                    <a:lnTo>
                      <a:pt x="326928" y="150768"/>
                    </a:lnTo>
                    <a:lnTo>
                      <a:pt x="329573" y="151650"/>
                    </a:lnTo>
                    <a:lnTo>
                      <a:pt x="330191" y="150768"/>
                    </a:lnTo>
                    <a:lnTo>
                      <a:pt x="330984" y="151914"/>
                    </a:lnTo>
                    <a:lnTo>
                      <a:pt x="331954" y="152267"/>
                    </a:lnTo>
                    <a:lnTo>
                      <a:pt x="333365" y="150768"/>
                    </a:lnTo>
                    <a:lnTo>
                      <a:pt x="335657" y="151650"/>
                    </a:lnTo>
                    <a:lnTo>
                      <a:pt x="336891" y="150768"/>
                    </a:lnTo>
                    <a:lnTo>
                      <a:pt x="338038" y="149005"/>
                    </a:lnTo>
                    <a:lnTo>
                      <a:pt x="338302" y="146359"/>
                    </a:lnTo>
                    <a:lnTo>
                      <a:pt x="337685" y="144949"/>
                    </a:lnTo>
                    <a:lnTo>
                      <a:pt x="338038" y="144332"/>
                    </a:lnTo>
                    <a:lnTo>
                      <a:pt x="342358" y="143185"/>
                    </a:lnTo>
                    <a:lnTo>
                      <a:pt x="343592" y="141158"/>
                    </a:lnTo>
                    <a:lnTo>
                      <a:pt x="344121" y="140276"/>
                    </a:lnTo>
                    <a:lnTo>
                      <a:pt x="345356" y="141158"/>
                    </a:lnTo>
                    <a:lnTo>
                      <a:pt x="346502" y="141158"/>
                    </a:lnTo>
                    <a:lnTo>
                      <a:pt x="347383" y="139659"/>
                    </a:lnTo>
                    <a:lnTo>
                      <a:pt x="349676" y="138512"/>
                    </a:lnTo>
                    <a:lnTo>
                      <a:pt x="349411" y="140540"/>
                    </a:lnTo>
                    <a:lnTo>
                      <a:pt x="350910" y="140011"/>
                    </a:lnTo>
                    <a:lnTo>
                      <a:pt x="351175" y="138512"/>
                    </a:lnTo>
                    <a:lnTo>
                      <a:pt x="353467" y="140893"/>
                    </a:lnTo>
                    <a:lnTo>
                      <a:pt x="353820" y="139659"/>
                    </a:lnTo>
                    <a:lnTo>
                      <a:pt x="354349" y="137366"/>
                    </a:lnTo>
                    <a:lnTo>
                      <a:pt x="355848" y="135956"/>
                    </a:lnTo>
                    <a:lnTo>
                      <a:pt x="357875" y="130930"/>
                    </a:lnTo>
                    <a:lnTo>
                      <a:pt x="360521" y="127403"/>
                    </a:lnTo>
                    <a:lnTo>
                      <a:pt x="360785" y="1266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4" name="Freihandform: Form 1793">
                <a:extLst>
                  <a:ext uri="{FF2B5EF4-FFF2-40B4-BE49-F238E27FC236}">
                    <a16:creationId xmlns:a16="http://schemas.microsoft.com/office/drawing/2014/main" id="{FBDDA5CA-1B9B-B21C-6F48-9D2DE85FDE47}"/>
                  </a:ext>
                </a:extLst>
              </p:cNvPr>
              <p:cNvSpPr/>
              <p:nvPr/>
            </p:nvSpPr>
            <p:spPr>
              <a:xfrm>
                <a:off x="5089860" y="4369051"/>
                <a:ext cx="6436" cy="1763"/>
              </a:xfrm>
              <a:custGeom>
                <a:avLst/>
                <a:gdLst>
                  <a:gd name="connsiteX0" fmla="*/ 0 w 6436"/>
                  <a:gd name="connsiteY0" fmla="*/ 1763 h 1763"/>
                  <a:gd name="connsiteX1" fmla="*/ 0 w 6436"/>
                  <a:gd name="connsiteY1" fmla="*/ 882 h 1763"/>
                  <a:gd name="connsiteX2" fmla="*/ 6437 w 6436"/>
                  <a:gd name="connsiteY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36" h="1763">
                    <a:moveTo>
                      <a:pt x="0" y="1763"/>
                    </a:moveTo>
                    <a:lnTo>
                      <a:pt x="0" y="882"/>
                    </a:lnTo>
                    <a:lnTo>
                      <a:pt x="6437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5" name="Freihandform: Form 1794">
                <a:extLst>
                  <a:ext uri="{FF2B5EF4-FFF2-40B4-BE49-F238E27FC236}">
                    <a16:creationId xmlns:a16="http://schemas.microsoft.com/office/drawing/2014/main" id="{D5574EF0-A5E1-9EF8-768A-CF3D9010915C}"/>
                  </a:ext>
                </a:extLst>
              </p:cNvPr>
              <p:cNvSpPr/>
              <p:nvPr/>
            </p:nvSpPr>
            <p:spPr>
              <a:xfrm>
                <a:off x="4704829" y="4175962"/>
                <a:ext cx="44613" cy="44613"/>
              </a:xfrm>
              <a:custGeom>
                <a:avLst/>
                <a:gdLst>
                  <a:gd name="connsiteX0" fmla="*/ 9610 w 44613"/>
                  <a:gd name="connsiteY0" fmla="*/ 40558 h 44613"/>
                  <a:gd name="connsiteX1" fmla="*/ 10757 w 44613"/>
                  <a:gd name="connsiteY1" fmla="*/ 43467 h 44613"/>
                  <a:gd name="connsiteX2" fmla="*/ 14283 w 44613"/>
                  <a:gd name="connsiteY2" fmla="*/ 44613 h 44613"/>
                  <a:gd name="connsiteX3" fmla="*/ 16928 w 44613"/>
                  <a:gd name="connsiteY3" fmla="*/ 42850 h 44613"/>
                  <a:gd name="connsiteX4" fmla="*/ 18427 w 44613"/>
                  <a:gd name="connsiteY4" fmla="*/ 43996 h 44613"/>
                  <a:gd name="connsiteX5" fmla="*/ 21866 w 44613"/>
                  <a:gd name="connsiteY5" fmla="*/ 42585 h 44613"/>
                  <a:gd name="connsiteX6" fmla="*/ 22748 w 44613"/>
                  <a:gd name="connsiteY6" fmla="*/ 40558 h 44613"/>
                  <a:gd name="connsiteX7" fmla="*/ 23629 w 44613"/>
                  <a:gd name="connsiteY7" fmla="*/ 32093 h 44613"/>
                  <a:gd name="connsiteX8" fmla="*/ 27685 w 44613"/>
                  <a:gd name="connsiteY8" fmla="*/ 34738 h 44613"/>
                  <a:gd name="connsiteX9" fmla="*/ 29448 w 44613"/>
                  <a:gd name="connsiteY9" fmla="*/ 32358 h 44613"/>
                  <a:gd name="connsiteX10" fmla="*/ 33240 w 44613"/>
                  <a:gd name="connsiteY10" fmla="*/ 32975 h 44613"/>
                  <a:gd name="connsiteX11" fmla="*/ 39411 w 44613"/>
                  <a:gd name="connsiteY11" fmla="*/ 32622 h 44613"/>
                  <a:gd name="connsiteX12" fmla="*/ 42321 w 44613"/>
                  <a:gd name="connsiteY12" fmla="*/ 34121 h 44613"/>
                  <a:gd name="connsiteX13" fmla="*/ 43467 w 44613"/>
                  <a:gd name="connsiteY13" fmla="*/ 32975 h 44613"/>
                  <a:gd name="connsiteX14" fmla="*/ 43467 w 44613"/>
                  <a:gd name="connsiteY14" fmla="*/ 28566 h 44613"/>
                  <a:gd name="connsiteX15" fmla="*/ 44613 w 44613"/>
                  <a:gd name="connsiteY15" fmla="*/ 25922 h 44613"/>
                  <a:gd name="connsiteX16" fmla="*/ 42585 w 44613"/>
                  <a:gd name="connsiteY16" fmla="*/ 21866 h 44613"/>
                  <a:gd name="connsiteX17" fmla="*/ 43467 w 44613"/>
                  <a:gd name="connsiteY17" fmla="*/ 15694 h 44613"/>
                  <a:gd name="connsiteX18" fmla="*/ 41175 w 44613"/>
                  <a:gd name="connsiteY18" fmla="*/ 10228 h 44613"/>
                  <a:gd name="connsiteX19" fmla="*/ 37031 w 44613"/>
                  <a:gd name="connsiteY19" fmla="*/ 6965 h 44613"/>
                  <a:gd name="connsiteX20" fmla="*/ 36149 w 44613"/>
                  <a:gd name="connsiteY20" fmla="*/ 3791 h 44613"/>
                  <a:gd name="connsiteX21" fmla="*/ 35267 w 44613"/>
                  <a:gd name="connsiteY21" fmla="*/ 3527 h 44613"/>
                  <a:gd name="connsiteX22" fmla="*/ 35003 w 44613"/>
                  <a:gd name="connsiteY22" fmla="*/ 1411 h 44613"/>
                  <a:gd name="connsiteX23" fmla="*/ 35885 w 44613"/>
                  <a:gd name="connsiteY23" fmla="*/ 882 h 44613"/>
                  <a:gd name="connsiteX24" fmla="*/ 33592 w 44613"/>
                  <a:gd name="connsiteY24" fmla="*/ 0 h 44613"/>
                  <a:gd name="connsiteX25" fmla="*/ 31212 w 44613"/>
                  <a:gd name="connsiteY25" fmla="*/ 4673 h 44613"/>
                  <a:gd name="connsiteX26" fmla="*/ 24511 w 44613"/>
                  <a:gd name="connsiteY26" fmla="*/ 10757 h 44613"/>
                  <a:gd name="connsiteX27" fmla="*/ 23012 w 44613"/>
                  <a:gd name="connsiteY27" fmla="*/ 11638 h 44613"/>
                  <a:gd name="connsiteX28" fmla="*/ 20984 w 44613"/>
                  <a:gd name="connsiteY28" fmla="*/ 6965 h 44613"/>
                  <a:gd name="connsiteX29" fmla="*/ 15782 w 44613"/>
                  <a:gd name="connsiteY29" fmla="*/ 8729 h 44613"/>
                  <a:gd name="connsiteX30" fmla="*/ 10228 w 44613"/>
                  <a:gd name="connsiteY30" fmla="*/ 12520 h 44613"/>
                  <a:gd name="connsiteX31" fmla="*/ 5555 w 44613"/>
                  <a:gd name="connsiteY31" fmla="*/ 20102 h 44613"/>
                  <a:gd name="connsiteX32" fmla="*/ 6084 w 44613"/>
                  <a:gd name="connsiteY32" fmla="*/ 27685 h 44613"/>
                  <a:gd name="connsiteX33" fmla="*/ 4937 w 44613"/>
                  <a:gd name="connsiteY33" fmla="*/ 30065 h 44613"/>
                  <a:gd name="connsiteX34" fmla="*/ 2645 w 44613"/>
                  <a:gd name="connsiteY34" fmla="*/ 31212 h 44613"/>
                  <a:gd name="connsiteX35" fmla="*/ 1499 w 44613"/>
                  <a:gd name="connsiteY35" fmla="*/ 33239 h 44613"/>
                  <a:gd name="connsiteX36" fmla="*/ 0 w 44613"/>
                  <a:gd name="connsiteY36" fmla="*/ 33857 h 44613"/>
                  <a:gd name="connsiteX37" fmla="*/ 0 w 44613"/>
                  <a:gd name="connsiteY37" fmla="*/ 40822 h 44613"/>
                  <a:gd name="connsiteX38" fmla="*/ 3174 w 44613"/>
                  <a:gd name="connsiteY38" fmla="*/ 41968 h 44613"/>
                  <a:gd name="connsiteX39" fmla="*/ 4673 w 44613"/>
                  <a:gd name="connsiteY39" fmla="*/ 38794 h 44613"/>
                  <a:gd name="connsiteX40" fmla="*/ 5819 w 44613"/>
                  <a:gd name="connsiteY40" fmla="*/ 38530 h 44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4613" h="44613">
                    <a:moveTo>
                      <a:pt x="9610" y="40558"/>
                    </a:moveTo>
                    <a:lnTo>
                      <a:pt x="10757" y="43467"/>
                    </a:lnTo>
                    <a:lnTo>
                      <a:pt x="14283" y="44613"/>
                    </a:lnTo>
                    <a:lnTo>
                      <a:pt x="16928" y="42850"/>
                    </a:lnTo>
                    <a:lnTo>
                      <a:pt x="18427" y="43996"/>
                    </a:lnTo>
                    <a:lnTo>
                      <a:pt x="21866" y="42585"/>
                    </a:lnTo>
                    <a:lnTo>
                      <a:pt x="22748" y="40558"/>
                    </a:lnTo>
                    <a:lnTo>
                      <a:pt x="23629" y="32093"/>
                    </a:lnTo>
                    <a:lnTo>
                      <a:pt x="27685" y="34738"/>
                    </a:lnTo>
                    <a:lnTo>
                      <a:pt x="29448" y="32358"/>
                    </a:lnTo>
                    <a:lnTo>
                      <a:pt x="33240" y="32975"/>
                    </a:lnTo>
                    <a:lnTo>
                      <a:pt x="39411" y="32622"/>
                    </a:lnTo>
                    <a:lnTo>
                      <a:pt x="42321" y="34121"/>
                    </a:lnTo>
                    <a:lnTo>
                      <a:pt x="43467" y="32975"/>
                    </a:lnTo>
                    <a:lnTo>
                      <a:pt x="43467" y="28566"/>
                    </a:lnTo>
                    <a:lnTo>
                      <a:pt x="44613" y="25922"/>
                    </a:lnTo>
                    <a:lnTo>
                      <a:pt x="42585" y="21866"/>
                    </a:lnTo>
                    <a:lnTo>
                      <a:pt x="43467" y="15694"/>
                    </a:lnTo>
                    <a:lnTo>
                      <a:pt x="41175" y="10228"/>
                    </a:lnTo>
                    <a:lnTo>
                      <a:pt x="37031" y="6965"/>
                    </a:lnTo>
                    <a:lnTo>
                      <a:pt x="36149" y="3791"/>
                    </a:lnTo>
                    <a:lnTo>
                      <a:pt x="35267" y="3527"/>
                    </a:lnTo>
                    <a:lnTo>
                      <a:pt x="35003" y="1411"/>
                    </a:lnTo>
                    <a:lnTo>
                      <a:pt x="35885" y="882"/>
                    </a:lnTo>
                    <a:lnTo>
                      <a:pt x="33592" y="0"/>
                    </a:lnTo>
                    <a:lnTo>
                      <a:pt x="31212" y="4673"/>
                    </a:lnTo>
                    <a:lnTo>
                      <a:pt x="24511" y="10757"/>
                    </a:lnTo>
                    <a:lnTo>
                      <a:pt x="23012" y="11638"/>
                    </a:lnTo>
                    <a:lnTo>
                      <a:pt x="20984" y="6965"/>
                    </a:lnTo>
                    <a:lnTo>
                      <a:pt x="15782" y="8729"/>
                    </a:lnTo>
                    <a:lnTo>
                      <a:pt x="10228" y="12520"/>
                    </a:lnTo>
                    <a:lnTo>
                      <a:pt x="5555" y="20102"/>
                    </a:lnTo>
                    <a:lnTo>
                      <a:pt x="6084" y="27685"/>
                    </a:lnTo>
                    <a:lnTo>
                      <a:pt x="4937" y="30065"/>
                    </a:lnTo>
                    <a:lnTo>
                      <a:pt x="2645" y="31212"/>
                    </a:lnTo>
                    <a:lnTo>
                      <a:pt x="1499" y="33239"/>
                    </a:lnTo>
                    <a:lnTo>
                      <a:pt x="0" y="33857"/>
                    </a:lnTo>
                    <a:lnTo>
                      <a:pt x="0" y="40822"/>
                    </a:lnTo>
                    <a:lnTo>
                      <a:pt x="3174" y="41968"/>
                    </a:lnTo>
                    <a:lnTo>
                      <a:pt x="4673" y="38794"/>
                    </a:lnTo>
                    <a:lnTo>
                      <a:pt x="5819" y="3853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6" name="Freihandform: Form 1795">
                <a:extLst>
                  <a:ext uri="{FF2B5EF4-FFF2-40B4-BE49-F238E27FC236}">
                    <a16:creationId xmlns:a16="http://schemas.microsoft.com/office/drawing/2014/main" id="{6BF0F7D0-E3E7-4571-FDC3-EF7BE17C1DAE}"/>
                  </a:ext>
                </a:extLst>
              </p:cNvPr>
              <p:cNvSpPr/>
              <p:nvPr/>
            </p:nvSpPr>
            <p:spPr>
              <a:xfrm>
                <a:off x="4128208" y="3804685"/>
                <a:ext cx="261860" cy="238230"/>
              </a:xfrm>
              <a:custGeom>
                <a:avLst/>
                <a:gdLst>
                  <a:gd name="connsiteX0" fmla="*/ 18604 w 261860"/>
                  <a:gd name="connsiteY0" fmla="*/ 53606 h 238230"/>
                  <a:gd name="connsiteX1" fmla="*/ 18604 w 261860"/>
                  <a:gd name="connsiteY1" fmla="*/ 54841 h 238230"/>
                  <a:gd name="connsiteX2" fmla="*/ 22748 w 261860"/>
                  <a:gd name="connsiteY2" fmla="*/ 67978 h 238230"/>
                  <a:gd name="connsiteX3" fmla="*/ 23012 w 261860"/>
                  <a:gd name="connsiteY3" fmla="*/ 76089 h 238230"/>
                  <a:gd name="connsiteX4" fmla="*/ 25657 w 261860"/>
                  <a:gd name="connsiteY4" fmla="*/ 78117 h 238230"/>
                  <a:gd name="connsiteX5" fmla="*/ 24158 w 261860"/>
                  <a:gd name="connsiteY5" fmla="*/ 85700 h 238230"/>
                  <a:gd name="connsiteX6" fmla="*/ 20367 w 261860"/>
                  <a:gd name="connsiteY6" fmla="*/ 85171 h 238230"/>
                  <a:gd name="connsiteX7" fmla="*/ 21513 w 261860"/>
                  <a:gd name="connsiteY7" fmla="*/ 91519 h 238230"/>
                  <a:gd name="connsiteX8" fmla="*/ 18075 w 261860"/>
                  <a:gd name="connsiteY8" fmla="*/ 99454 h 238230"/>
                  <a:gd name="connsiteX9" fmla="*/ 13666 w 261860"/>
                  <a:gd name="connsiteY9" fmla="*/ 102363 h 238230"/>
                  <a:gd name="connsiteX10" fmla="*/ 12256 w 261860"/>
                  <a:gd name="connsiteY10" fmla="*/ 104656 h 238230"/>
                  <a:gd name="connsiteX11" fmla="*/ 10228 w 261860"/>
                  <a:gd name="connsiteY11" fmla="*/ 114619 h 238230"/>
                  <a:gd name="connsiteX12" fmla="*/ 1411 w 261860"/>
                  <a:gd name="connsiteY12" fmla="*/ 119292 h 238230"/>
                  <a:gd name="connsiteX13" fmla="*/ 882 w 261860"/>
                  <a:gd name="connsiteY13" fmla="*/ 126257 h 238230"/>
                  <a:gd name="connsiteX14" fmla="*/ 264 w 261860"/>
                  <a:gd name="connsiteY14" fmla="*/ 135338 h 238230"/>
                  <a:gd name="connsiteX15" fmla="*/ 0 w 261860"/>
                  <a:gd name="connsiteY15" fmla="*/ 147858 h 238230"/>
                  <a:gd name="connsiteX16" fmla="*/ 882 w 261860"/>
                  <a:gd name="connsiteY16" fmla="*/ 156940 h 238230"/>
                  <a:gd name="connsiteX17" fmla="*/ 2292 w 261860"/>
                  <a:gd name="connsiteY17" fmla="*/ 160114 h 238230"/>
                  <a:gd name="connsiteX18" fmla="*/ 1411 w 261860"/>
                  <a:gd name="connsiteY18" fmla="*/ 167961 h 238230"/>
                  <a:gd name="connsiteX19" fmla="*/ 882 w 261860"/>
                  <a:gd name="connsiteY19" fmla="*/ 171752 h 238230"/>
                  <a:gd name="connsiteX20" fmla="*/ 1763 w 261860"/>
                  <a:gd name="connsiteY20" fmla="*/ 176778 h 238230"/>
                  <a:gd name="connsiteX21" fmla="*/ 882 w 261860"/>
                  <a:gd name="connsiteY21" fmla="*/ 180481 h 238230"/>
                  <a:gd name="connsiteX22" fmla="*/ 264 w 261860"/>
                  <a:gd name="connsiteY22" fmla="*/ 186035 h 238230"/>
                  <a:gd name="connsiteX23" fmla="*/ 5555 w 261860"/>
                  <a:gd name="connsiteY23" fmla="*/ 185771 h 238230"/>
                  <a:gd name="connsiteX24" fmla="*/ 9875 w 261860"/>
                  <a:gd name="connsiteY24" fmla="*/ 185771 h 238230"/>
                  <a:gd name="connsiteX25" fmla="*/ 11374 w 261860"/>
                  <a:gd name="connsiteY25" fmla="*/ 186035 h 238230"/>
                  <a:gd name="connsiteX26" fmla="*/ 13401 w 261860"/>
                  <a:gd name="connsiteY26" fmla="*/ 186035 h 238230"/>
                  <a:gd name="connsiteX27" fmla="*/ 15429 w 261860"/>
                  <a:gd name="connsiteY27" fmla="*/ 184889 h 238230"/>
                  <a:gd name="connsiteX28" fmla="*/ 16311 w 261860"/>
                  <a:gd name="connsiteY28" fmla="*/ 181715 h 238230"/>
                  <a:gd name="connsiteX29" fmla="*/ 17193 w 261860"/>
                  <a:gd name="connsiteY29" fmla="*/ 180833 h 238230"/>
                  <a:gd name="connsiteX30" fmla="*/ 18075 w 261860"/>
                  <a:gd name="connsiteY30" fmla="*/ 181362 h 238230"/>
                  <a:gd name="connsiteX31" fmla="*/ 18075 w 261860"/>
                  <a:gd name="connsiteY31" fmla="*/ 182861 h 238230"/>
                  <a:gd name="connsiteX32" fmla="*/ 20102 w 261860"/>
                  <a:gd name="connsiteY32" fmla="*/ 181980 h 238230"/>
                  <a:gd name="connsiteX33" fmla="*/ 23629 w 261860"/>
                  <a:gd name="connsiteY33" fmla="*/ 180481 h 238230"/>
                  <a:gd name="connsiteX34" fmla="*/ 25922 w 261860"/>
                  <a:gd name="connsiteY34" fmla="*/ 180481 h 238230"/>
                  <a:gd name="connsiteX35" fmla="*/ 27068 w 261860"/>
                  <a:gd name="connsiteY35" fmla="*/ 181362 h 238230"/>
                  <a:gd name="connsiteX36" fmla="*/ 25657 w 261860"/>
                  <a:gd name="connsiteY36" fmla="*/ 181362 h 238230"/>
                  <a:gd name="connsiteX37" fmla="*/ 23277 w 261860"/>
                  <a:gd name="connsiteY37" fmla="*/ 182244 h 238230"/>
                  <a:gd name="connsiteX38" fmla="*/ 21249 w 261860"/>
                  <a:gd name="connsiteY38" fmla="*/ 184008 h 238230"/>
                  <a:gd name="connsiteX39" fmla="*/ 18339 w 261860"/>
                  <a:gd name="connsiteY39" fmla="*/ 184624 h 238230"/>
                  <a:gd name="connsiteX40" fmla="*/ 20720 w 261860"/>
                  <a:gd name="connsiteY40" fmla="*/ 185506 h 238230"/>
                  <a:gd name="connsiteX41" fmla="*/ 22483 w 261860"/>
                  <a:gd name="connsiteY41" fmla="*/ 186035 h 238230"/>
                  <a:gd name="connsiteX42" fmla="*/ 27685 w 261860"/>
                  <a:gd name="connsiteY42" fmla="*/ 185506 h 238230"/>
                  <a:gd name="connsiteX43" fmla="*/ 30594 w 261860"/>
                  <a:gd name="connsiteY43" fmla="*/ 184889 h 238230"/>
                  <a:gd name="connsiteX44" fmla="*/ 34121 w 261860"/>
                  <a:gd name="connsiteY44" fmla="*/ 185154 h 238230"/>
                  <a:gd name="connsiteX45" fmla="*/ 37295 w 261860"/>
                  <a:gd name="connsiteY45" fmla="*/ 186035 h 238230"/>
                  <a:gd name="connsiteX46" fmla="*/ 40469 w 261860"/>
                  <a:gd name="connsiteY46" fmla="*/ 188945 h 238230"/>
                  <a:gd name="connsiteX47" fmla="*/ 44878 w 261860"/>
                  <a:gd name="connsiteY47" fmla="*/ 192207 h 238230"/>
                  <a:gd name="connsiteX48" fmla="*/ 49815 w 261860"/>
                  <a:gd name="connsiteY48" fmla="*/ 201200 h 238230"/>
                  <a:gd name="connsiteX49" fmla="*/ 50697 w 261860"/>
                  <a:gd name="connsiteY49" fmla="*/ 201817 h 238230"/>
                  <a:gd name="connsiteX50" fmla="*/ 51931 w 261860"/>
                  <a:gd name="connsiteY50" fmla="*/ 202082 h 238230"/>
                  <a:gd name="connsiteX51" fmla="*/ 53077 w 261860"/>
                  <a:gd name="connsiteY51" fmla="*/ 201200 h 238230"/>
                  <a:gd name="connsiteX52" fmla="*/ 53959 w 261860"/>
                  <a:gd name="connsiteY52" fmla="*/ 201553 h 238230"/>
                  <a:gd name="connsiteX53" fmla="*/ 54488 w 261860"/>
                  <a:gd name="connsiteY53" fmla="*/ 203228 h 238230"/>
                  <a:gd name="connsiteX54" fmla="*/ 53959 w 261860"/>
                  <a:gd name="connsiteY54" fmla="*/ 204462 h 238230"/>
                  <a:gd name="connsiteX55" fmla="*/ 53959 w 261860"/>
                  <a:gd name="connsiteY55" fmla="*/ 205344 h 238230"/>
                  <a:gd name="connsiteX56" fmla="*/ 55105 w 261860"/>
                  <a:gd name="connsiteY56" fmla="*/ 205609 h 238230"/>
                  <a:gd name="connsiteX57" fmla="*/ 56604 w 261860"/>
                  <a:gd name="connsiteY57" fmla="*/ 205344 h 238230"/>
                  <a:gd name="connsiteX58" fmla="*/ 57750 w 261860"/>
                  <a:gd name="connsiteY58" fmla="*/ 205344 h 238230"/>
                  <a:gd name="connsiteX59" fmla="*/ 59161 w 261860"/>
                  <a:gd name="connsiteY59" fmla="*/ 205344 h 238230"/>
                  <a:gd name="connsiteX60" fmla="*/ 62071 w 261860"/>
                  <a:gd name="connsiteY60" fmla="*/ 205873 h 238230"/>
                  <a:gd name="connsiteX61" fmla="*/ 58896 w 261860"/>
                  <a:gd name="connsiteY61" fmla="*/ 206138 h 238230"/>
                  <a:gd name="connsiteX62" fmla="*/ 56251 w 261860"/>
                  <a:gd name="connsiteY62" fmla="*/ 206490 h 238230"/>
                  <a:gd name="connsiteX63" fmla="*/ 54841 w 261860"/>
                  <a:gd name="connsiteY63" fmla="*/ 206138 h 238230"/>
                  <a:gd name="connsiteX64" fmla="*/ 54488 w 261860"/>
                  <a:gd name="connsiteY64" fmla="*/ 206755 h 238230"/>
                  <a:gd name="connsiteX65" fmla="*/ 55105 w 261860"/>
                  <a:gd name="connsiteY65" fmla="*/ 208254 h 238230"/>
                  <a:gd name="connsiteX66" fmla="*/ 57750 w 261860"/>
                  <a:gd name="connsiteY66" fmla="*/ 210282 h 238230"/>
                  <a:gd name="connsiteX67" fmla="*/ 58896 w 261860"/>
                  <a:gd name="connsiteY67" fmla="*/ 210811 h 238230"/>
                  <a:gd name="connsiteX68" fmla="*/ 59778 w 261860"/>
                  <a:gd name="connsiteY68" fmla="*/ 209400 h 238230"/>
                  <a:gd name="connsiteX69" fmla="*/ 60307 w 261860"/>
                  <a:gd name="connsiteY69" fmla="*/ 209400 h 238230"/>
                  <a:gd name="connsiteX70" fmla="*/ 61277 w 261860"/>
                  <a:gd name="connsiteY70" fmla="*/ 210546 h 238230"/>
                  <a:gd name="connsiteX71" fmla="*/ 63305 w 261860"/>
                  <a:gd name="connsiteY71" fmla="*/ 207372 h 238230"/>
                  <a:gd name="connsiteX72" fmla="*/ 64451 w 261860"/>
                  <a:gd name="connsiteY72" fmla="*/ 207108 h 238230"/>
                  <a:gd name="connsiteX73" fmla="*/ 63834 w 261860"/>
                  <a:gd name="connsiteY73" fmla="*/ 209135 h 238230"/>
                  <a:gd name="connsiteX74" fmla="*/ 62688 w 261860"/>
                  <a:gd name="connsiteY74" fmla="*/ 210546 h 238230"/>
                  <a:gd name="connsiteX75" fmla="*/ 62071 w 261860"/>
                  <a:gd name="connsiteY75" fmla="*/ 211163 h 238230"/>
                  <a:gd name="connsiteX76" fmla="*/ 61542 w 261860"/>
                  <a:gd name="connsiteY76" fmla="*/ 210811 h 238230"/>
                  <a:gd name="connsiteX77" fmla="*/ 60924 w 261860"/>
                  <a:gd name="connsiteY77" fmla="*/ 211163 h 238230"/>
                  <a:gd name="connsiteX78" fmla="*/ 60307 w 261860"/>
                  <a:gd name="connsiteY78" fmla="*/ 212045 h 238230"/>
                  <a:gd name="connsiteX79" fmla="*/ 59161 w 261860"/>
                  <a:gd name="connsiteY79" fmla="*/ 214954 h 238230"/>
                  <a:gd name="connsiteX80" fmla="*/ 58896 w 261860"/>
                  <a:gd name="connsiteY80" fmla="*/ 216982 h 238230"/>
                  <a:gd name="connsiteX81" fmla="*/ 59425 w 261860"/>
                  <a:gd name="connsiteY81" fmla="*/ 216101 h 238230"/>
                  <a:gd name="connsiteX82" fmla="*/ 60924 w 261860"/>
                  <a:gd name="connsiteY82" fmla="*/ 216101 h 238230"/>
                  <a:gd name="connsiteX83" fmla="*/ 61542 w 261860"/>
                  <a:gd name="connsiteY83" fmla="*/ 216365 h 238230"/>
                  <a:gd name="connsiteX84" fmla="*/ 60924 w 261860"/>
                  <a:gd name="connsiteY84" fmla="*/ 216982 h 238230"/>
                  <a:gd name="connsiteX85" fmla="*/ 60043 w 261860"/>
                  <a:gd name="connsiteY85" fmla="*/ 217600 h 238230"/>
                  <a:gd name="connsiteX86" fmla="*/ 58896 w 261860"/>
                  <a:gd name="connsiteY86" fmla="*/ 217247 h 238230"/>
                  <a:gd name="connsiteX87" fmla="*/ 60924 w 261860"/>
                  <a:gd name="connsiteY87" fmla="*/ 224300 h 238230"/>
                  <a:gd name="connsiteX88" fmla="*/ 68507 w 261860"/>
                  <a:gd name="connsiteY88" fmla="*/ 231266 h 238230"/>
                  <a:gd name="connsiteX89" fmla="*/ 69388 w 261860"/>
                  <a:gd name="connsiteY89" fmla="*/ 233294 h 238230"/>
                  <a:gd name="connsiteX90" fmla="*/ 70006 w 261860"/>
                  <a:gd name="connsiteY90" fmla="*/ 235057 h 238230"/>
                  <a:gd name="connsiteX91" fmla="*/ 70006 w 261860"/>
                  <a:gd name="connsiteY91" fmla="*/ 235674 h 238230"/>
                  <a:gd name="connsiteX92" fmla="*/ 70535 w 261860"/>
                  <a:gd name="connsiteY92" fmla="*/ 236203 h 238230"/>
                  <a:gd name="connsiteX93" fmla="*/ 71769 w 261860"/>
                  <a:gd name="connsiteY93" fmla="*/ 235939 h 238230"/>
                  <a:gd name="connsiteX94" fmla="*/ 72298 w 261860"/>
                  <a:gd name="connsiteY94" fmla="*/ 237438 h 238230"/>
                  <a:gd name="connsiteX95" fmla="*/ 72915 w 261860"/>
                  <a:gd name="connsiteY95" fmla="*/ 237438 h 238230"/>
                  <a:gd name="connsiteX96" fmla="*/ 73797 w 261860"/>
                  <a:gd name="connsiteY96" fmla="*/ 235057 h 238230"/>
                  <a:gd name="connsiteX97" fmla="*/ 74326 w 261860"/>
                  <a:gd name="connsiteY97" fmla="*/ 235321 h 238230"/>
                  <a:gd name="connsiteX98" fmla="*/ 74679 w 261860"/>
                  <a:gd name="connsiteY98" fmla="*/ 238231 h 238230"/>
                  <a:gd name="connsiteX99" fmla="*/ 75825 w 261860"/>
                  <a:gd name="connsiteY99" fmla="*/ 238231 h 238230"/>
                  <a:gd name="connsiteX100" fmla="*/ 76442 w 261860"/>
                  <a:gd name="connsiteY100" fmla="*/ 237967 h 238230"/>
                  <a:gd name="connsiteX101" fmla="*/ 76707 w 261860"/>
                  <a:gd name="connsiteY101" fmla="*/ 237438 h 238230"/>
                  <a:gd name="connsiteX102" fmla="*/ 76707 w 261860"/>
                  <a:gd name="connsiteY102" fmla="*/ 234175 h 238230"/>
                  <a:gd name="connsiteX103" fmla="*/ 77853 w 261860"/>
                  <a:gd name="connsiteY103" fmla="*/ 232765 h 238230"/>
                  <a:gd name="connsiteX104" fmla="*/ 78734 w 261860"/>
                  <a:gd name="connsiteY104" fmla="*/ 232765 h 238230"/>
                  <a:gd name="connsiteX105" fmla="*/ 80233 w 261860"/>
                  <a:gd name="connsiteY105" fmla="*/ 234175 h 238230"/>
                  <a:gd name="connsiteX106" fmla="*/ 82526 w 261860"/>
                  <a:gd name="connsiteY106" fmla="*/ 236556 h 238230"/>
                  <a:gd name="connsiteX107" fmla="*/ 84553 w 261860"/>
                  <a:gd name="connsiteY107" fmla="*/ 237702 h 238230"/>
                  <a:gd name="connsiteX108" fmla="*/ 85435 w 261860"/>
                  <a:gd name="connsiteY108" fmla="*/ 237438 h 238230"/>
                  <a:gd name="connsiteX109" fmla="*/ 84818 w 261860"/>
                  <a:gd name="connsiteY109" fmla="*/ 235674 h 238230"/>
                  <a:gd name="connsiteX110" fmla="*/ 86317 w 261860"/>
                  <a:gd name="connsiteY110" fmla="*/ 237438 h 238230"/>
                  <a:gd name="connsiteX111" fmla="*/ 87199 w 261860"/>
                  <a:gd name="connsiteY111" fmla="*/ 232765 h 238230"/>
                  <a:gd name="connsiteX112" fmla="*/ 87728 w 261860"/>
                  <a:gd name="connsiteY112" fmla="*/ 233029 h 238230"/>
                  <a:gd name="connsiteX113" fmla="*/ 88080 w 261860"/>
                  <a:gd name="connsiteY113" fmla="*/ 235057 h 238230"/>
                  <a:gd name="connsiteX114" fmla="*/ 88609 w 261860"/>
                  <a:gd name="connsiteY114" fmla="*/ 237085 h 238230"/>
                  <a:gd name="connsiteX115" fmla="*/ 89491 w 261860"/>
                  <a:gd name="connsiteY115" fmla="*/ 232765 h 238230"/>
                  <a:gd name="connsiteX116" fmla="*/ 90725 w 261860"/>
                  <a:gd name="connsiteY116" fmla="*/ 230384 h 238230"/>
                  <a:gd name="connsiteX117" fmla="*/ 89844 w 261860"/>
                  <a:gd name="connsiteY117" fmla="*/ 225446 h 238230"/>
                  <a:gd name="connsiteX118" fmla="*/ 90725 w 261860"/>
                  <a:gd name="connsiteY118" fmla="*/ 225975 h 238230"/>
                  <a:gd name="connsiteX119" fmla="*/ 91519 w 261860"/>
                  <a:gd name="connsiteY119" fmla="*/ 230384 h 238230"/>
                  <a:gd name="connsiteX120" fmla="*/ 90990 w 261860"/>
                  <a:gd name="connsiteY120" fmla="*/ 233558 h 238230"/>
                  <a:gd name="connsiteX121" fmla="*/ 91872 w 261860"/>
                  <a:gd name="connsiteY121" fmla="*/ 235939 h 238230"/>
                  <a:gd name="connsiteX122" fmla="*/ 93018 w 261860"/>
                  <a:gd name="connsiteY122" fmla="*/ 236820 h 238230"/>
                  <a:gd name="connsiteX123" fmla="*/ 94164 w 261860"/>
                  <a:gd name="connsiteY123" fmla="*/ 236820 h 238230"/>
                  <a:gd name="connsiteX124" fmla="*/ 95046 w 261860"/>
                  <a:gd name="connsiteY124" fmla="*/ 235939 h 238230"/>
                  <a:gd name="connsiteX125" fmla="*/ 93282 w 261860"/>
                  <a:gd name="connsiteY125" fmla="*/ 230384 h 238230"/>
                  <a:gd name="connsiteX126" fmla="*/ 92136 w 261860"/>
                  <a:gd name="connsiteY126" fmla="*/ 228356 h 238230"/>
                  <a:gd name="connsiteX127" fmla="*/ 93018 w 261860"/>
                  <a:gd name="connsiteY127" fmla="*/ 226593 h 238230"/>
                  <a:gd name="connsiteX128" fmla="*/ 93899 w 261860"/>
                  <a:gd name="connsiteY128" fmla="*/ 227210 h 238230"/>
                  <a:gd name="connsiteX129" fmla="*/ 94517 w 261860"/>
                  <a:gd name="connsiteY129" fmla="*/ 231001 h 238230"/>
                  <a:gd name="connsiteX130" fmla="*/ 96544 w 261860"/>
                  <a:gd name="connsiteY130" fmla="*/ 232765 h 238230"/>
                  <a:gd name="connsiteX131" fmla="*/ 97691 w 261860"/>
                  <a:gd name="connsiteY131" fmla="*/ 234175 h 238230"/>
                  <a:gd name="connsiteX132" fmla="*/ 98572 w 261860"/>
                  <a:gd name="connsiteY132" fmla="*/ 233911 h 238230"/>
                  <a:gd name="connsiteX133" fmla="*/ 96544 w 261860"/>
                  <a:gd name="connsiteY133" fmla="*/ 228621 h 238230"/>
                  <a:gd name="connsiteX134" fmla="*/ 97073 w 261860"/>
                  <a:gd name="connsiteY134" fmla="*/ 228356 h 238230"/>
                  <a:gd name="connsiteX135" fmla="*/ 98308 w 261860"/>
                  <a:gd name="connsiteY135" fmla="*/ 228621 h 238230"/>
                  <a:gd name="connsiteX136" fmla="*/ 98837 w 261860"/>
                  <a:gd name="connsiteY136" fmla="*/ 230119 h 238230"/>
                  <a:gd name="connsiteX137" fmla="*/ 100865 w 261860"/>
                  <a:gd name="connsiteY137" fmla="*/ 232765 h 238230"/>
                  <a:gd name="connsiteX138" fmla="*/ 101746 w 261860"/>
                  <a:gd name="connsiteY138" fmla="*/ 233294 h 238230"/>
                  <a:gd name="connsiteX139" fmla="*/ 102099 w 261860"/>
                  <a:gd name="connsiteY139" fmla="*/ 232765 h 238230"/>
                  <a:gd name="connsiteX140" fmla="*/ 100600 w 261860"/>
                  <a:gd name="connsiteY140" fmla="*/ 230384 h 238230"/>
                  <a:gd name="connsiteX141" fmla="*/ 100865 w 261860"/>
                  <a:gd name="connsiteY141" fmla="*/ 229238 h 238230"/>
                  <a:gd name="connsiteX142" fmla="*/ 103245 w 261860"/>
                  <a:gd name="connsiteY142" fmla="*/ 227739 h 238230"/>
                  <a:gd name="connsiteX143" fmla="*/ 104391 w 261860"/>
                  <a:gd name="connsiteY143" fmla="*/ 228356 h 238230"/>
                  <a:gd name="connsiteX144" fmla="*/ 105273 w 261860"/>
                  <a:gd name="connsiteY144" fmla="*/ 228621 h 238230"/>
                  <a:gd name="connsiteX145" fmla="*/ 106419 w 261860"/>
                  <a:gd name="connsiteY145" fmla="*/ 228356 h 238230"/>
                  <a:gd name="connsiteX146" fmla="*/ 106772 w 261860"/>
                  <a:gd name="connsiteY146" fmla="*/ 228973 h 238230"/>
                  <a:gd name="connsiteX147" fmla="*/ 107301 w 261860"/>
                  <a:gd name="connsiteY147" fmla="*/ 229767 h 238230"/>
                  <a:gd name="connsiteX148" fmla="*/ 107301 w 261860"/>
                  <a:gd name="connsiteY148" fmla="*/ 231001 h 238230"/>
                  <a:gd name="connsiteX149" fmla="*/ 106772 w 261860"/>
                  <a:gd name="connsiteY149" fmla="*/ 232147 h 238230"/>
                  <a:gd name="connsiteX150" fmla="*/ 107037 w 261860"/>
                  <a:gd name="connsiteY150" fmla="*/ 232765 h 238230"/>
                  <a:gd name="connsiteX151" fmla="*/ 107918 w 261860"/>
                  <a:gd name="connsiteY151" fmla="*/ 232765 h 238230"/>
                  <a:gd name="connsiteX152" fmla="*/ 118410 w 261860"/>
                  <a:gd name="connsiteY152" fmla="*/ 232765 h 238230"/>
                  <a:gd name="connsiteX153" fmla="*/ 120174 w 261860"/>
                  <a:gd name="connsiteY153" fmla="*/ 232765 h 238230"/>
                  <a:gd name="connsiteX154" fmla="*/ 121937 w 261860"/>
                  <a:gd name="connsiteY154" fmla="*/ 232412 h 238230"/>
                  <a:gd name="connsiteX155" fmla="*/ 123083 w 261860"/>
                  <a:gd name="connsiteY155" fmla="*/ 231530 h 238230"/>
                  <a:gd name="connsiteX156" fmla="*/ 123083 w 261860"/>
                  <a:gd name="connsiteY156" fmla="*/ 230384 h 238230"/>
                  <a:gd name="connsiteX157" fmla="*/ 122202 w 261860"/>
                  <a:gd name="connsiteY157" fmla="*/ 228621 h 238230"/>
                  <a:gd name="connsiteX158" fmla="*/ 121320 w 261860"/>
                  <a:gd name="connsiteY158" fmla="*/ 226328 h 238230"/>
                  <a:gd name="connsiteX159" fmla="*/ 121937 w 261860"/>
                  <a:gd name="connsiteY159" fmla="*/ 223066 h 238230"/>
                  <a:gd name="connsiteX160" fmla="*/ 123083 w 261860"/>
                  <a:gd name="connsiteY160" fmla="*/ 222537 h 238230"/>
                  <a:gd name="connsiteX161" fmla="*/ 123083 w 261860"/>
                  <a:gd name="connsiteY161" fmla="*/ 223419 h 238230"/>
                  <a:gd name="connsiteX162" fmla="*/ 123965 w 261860"/>
                  <a:gd name="connsiteY162" fmla="*/ 223683 h 238230"/>
                  <a:gd name="connsiteX163" fmla="*/ 123965 w 261860"/>
                  <a:gd name="connsiteY163" fmla="*/ 224565 h 238230"/>
                  <a:gd name="connsiteX164" fmla="*/ 125375 w 261860"/>
                  <a:gd name="connsiteY164" fmla="*/ 225446 h 238230"/>
                  <a:gd name="connsiteX165" fmla="*/ 125375 w 261860"/>
                  <a:gd name="connsiteY165" fmla="*/ 226857 h 238230"/>
                  <a:gd name="connsiteX166" fmla="*/ 126257 w 261860"/>
                  <a:gd name="connsiteY166" fmla="*/ 228092 h 238230"/>
                  <a:gd name="connsiteX167" fmla="*/ 126874 w 261860"/>
                  <a:gd name="connsiteY167" fmla="*/ 228356 h 238230"/>
                  <a:gd name="connsiteX168" fmla="*/ 128020 w 261860"/>
                  <a:gd name="connsiteY168" fmla="*/ 225711 h 238230"/>
                  <a:gd name="connsiteX169" fmla="*/ 128638 w 261860"/>
                  <a:gd name="connsiteY169" fmla="*/ 225975 h 238230"/>
                  <a:gd name="connsiteX170" fmla="*/ 129167 w 261860"/>
                  <a:gd name="connsiteY170" fmla="*/ 225446 h 238230"/>
                  <a:gd name="connsiteX171" fmla="*/ 130048 w 261860"/>
                  <a:gd name="connsiteY171" fmla="*/ 225182 h 238230"/>
                  <a:gd name="connsiteX172" fmla="*/ 134721 w 261860"/>
                  <a:gd name="connsiteY172" fmla="*/ 216982 h 238230"/>
                  <a:gd name="connsiteX173" fmla="*/ 134721 w 261860"/>
                  <a:gd name="connsiteY173" fmla="*/ 211428 h 238230"/>
                  <a:gd name="connsiteX174" fmla="*/ 134721 w 261860"/>
                  <a:gd name="connsiteY174" fmla="*/ 203228 h 238230"/>
                  <a:gd name="connsiteX175" fmla="*/ 135868 w 261860"/>
                  <a:gd name="connsiteY175" fmla="*/ 199789 h 238230"/>
                  <a:gd name="connsiteX176" fmla="*/ 146712 w 261860"/>
                  <a:gd name="connsiteY176" fmla="*/ 187534 h 238230"/>
                  <a:gd name="connsiteX177" fmla="*/ 152267 w 261860"/>
                  <a:gd name="connsiteY177" fmla="*/ 182861 h 238230"/>
                  <a:gd name="connsiteX178" fmla="*/ 156058 w 261860"/>
                  <a:gd name="connsiteY178" fmla="*/ 175808 h 238230"/>
                  <a:gd name="connsiteX179" fmla="*/ 163905 w 261860"/>
                  <a:gd name="connsiteY179" fmla="*/ 170341 h 238230"/>
                  <a:gd name="connsiteX180" fmla="*/ 171488 w 261860"/>
                  <a:gd name="connsiteY180" fmla="*/ 173780 h 238230"/>
                  <a:gd name="connsiteX181" fmla="*/ 173780 w 261860"/>
                  <a:gd name="connsiteY181" fmla="*/ 169989 h 238230"/>
                  <a:gd name="connsiteX182" fmla="*/ 180216 w 261860"/>
                  <a:gd name="connsiteY182" fmla="*/ 175808 h 238230"/>
                  <a:gd name="connsiteX183" fmla="*/ 183743 w 261860"/>
                  <a:gd name="connsiteY183" fmla="*/ 177307 h 238230"/>
                  <a:gd name="connsiteX184" fmla="*/ 191061 w 261860"/>
                  <a:gd name="connsiteY184" fmla="*/ 184624 h 238230"/>
                  <a:gd name="connsiteX185" fmla="*/ 194499 w 261860"/>
                  <a:gd name="connsiteY185" fmla="*/ 179335 h 238230"/>
                  <a:gd name="connsiteX186" fmla="*/ 199172 w 261860"/>
                  <a:gd name="connsiteY186" fmla="*/ 170870 h 238230"/>
                  <a:gd name="connsiteX187" fmla="*/ 201818 w 261860"/>
                  <a:gd name="connsiteY187" fmla="*/ 168578 h 238230"/>
                  <a:gd name="connsiteX188" fmla="*/ 199790 w 261860"/>
                  <a:gd name="connsiteY188" fmla="*/ 164787 h 238230"/>
                  <a:gd name="connsiteX189" fmla="*/ 204991 w 261860"/>
                  <a:gd name="connsiteY189" fmla="*/ 156940 h 238230"/>
                  <a:gd name="connsiteX190" fmla="*/ 209135 w 261860"/>
                  <a:gd name="connsiteY190" fmla="*/ 146712 h 238230"/>
                  <a:gd name="connsiteX191" fmla="*/ 209664 w 261860"/>
                  <a:gd name="connsiteY191" fmla="*/ 141158 h 238230"/>
                  <a:gd name="connsiteX192" fmla="*/ 209664 w 261860"/>
                  <a:gd name="connsiteY192" fmla="*/ 135338 h 238230"/>
                  <a:gd name="connsiteX193" fmla="*/ 213191 w 261860"/>
                  <a:gd name="connsiteY193" fmla="*/ 133575 h 238230"/>
                  <a:gd name="connsiteX194" fmla="*/ 216365 w 261860"/>
                  <a:gd name="connsiteY194" fmla="*/ 130665 h 238230"/>
                  <a:gd name="connsiteX195" fmla="*/ 220156 w 261860"/>
                  <a:gd name="connsiteY195" fmla="*/ 126257 h 238230"/>
                  <a:gd name="connsiteX196" fmla="*/ 222272 w 261860"/>
                  <a:gd name="connsiteY196" fmla="*/ 119292 h 238230"/>
                  <a:gd name="connsiteX197" fmla="*/ 223948 w 261860"/>
                  <a:gd name="connsiteY197" fmla="*/ 112238 h 238230"/>
                  <a:gd name="connsiteX198" fmla="*/ 231001 w 261860"/>
                  <a:gd name="connsiteY198" fmla="*/ 106155 h 238230"/>
                  <a:gd name="connsiteX199" fmla="*/ 231001 w 261860"/>
                  <a:gd name="connsiteY199" fmla="*/ 99190 h 238230"/>
                  <a:gd name="connsiteX200" fmla="*/ 236203 w 261860"/>
                  <a:gd name="connsiteY200" fmla="*/ 92136 h 238230"/>
                  <a:gd name="connsiteX201" fmla="*/ 237437 w 261860"/>
                  <a:gd name="connsiteY201" fmla="*/ 79616 h 238230"/>
                  <a:gd name="connsiteX202" fmla="*/ 242904 w 261860"/>
                  <a:gd name="connsiteY202" fmla="*/ 70270 h 238230"/>
                  <a:gd name="connsiteX203" fmla="*/ 251368 w 261860"/>
                  <a:gd name="connsiteY203" fmla="*/ 64980 h 238230"/>
                  <a:gd name="connsiteX204" fmla="*/ 260714 w 261860"/>
                  <a:gd name="connsiteY204" fmla="*/ 58632 h 238230"/>
                  <a:gd name="connsiteX205" fmla="*/ 259303 w 261860"/>
                  <a:gd name="connsiteY205" fmla="*/ 53077 h 238230"/>
                  <a:gd name="connsiteX206" fmla="*/ 261596 w 261860"/>
                  <a:gd name="connsiteY206" fmla="*/ 47787 h 238230"/>
                  <a:gd name="connsiteX207" fmla="*/ 261596 w 261860"/>
                  <a:gd name="connsiteY207" fmla="*/ 45142 h 238230"/>
                  <a:gd name="connsiteX208" fmla="*/ 261860 w 261860"/>
                  <a:gd name="connsiteY208" fmla="*/ 41439 h 238230"/>
                  <a:gd name="connsiteX209" fmla="*/ 257275 w 261860"/>
                  <a:gd name="connsiteY209" fmla="*/ 37912 h 238230"/>
                  <a:gd name="connsiteX210" fmla="*/ 251368 w 261860"/>
                  <a:gd name="connsiteY210" fmla="*/ 33504 h 238230"/>
                  <a:gd name="connsiteX211" fmla="*/ 247929 w 261860"/>
                  <a:gd name="connsiteY211" fmla="*/ 19838 h 238230"/>
                  <a:gd name="connsiteX212" fmla="*/ 245549 w 261860"/>
                  <a:gd name="connsiteY212" fmla="*/ 17810 h 238230"/>
                  <a:gd name="connsiteX213" fmla="*/ 241229 w 261860"/>
                  <a:gd name="connsiteY213" fmla="*/ 10228 h 238230"/>
                  <a:gd name="connsiteX214" fmla="*/ 239465 w 261860"/>
                  <a:gd name="connsiteY214" fmla="*/ 2028 h 238230"/>
                  <a:gd name="connsiteX215" fmla="*/ 232412 w 261860"/>
                  <a:gd name="connsiteY215" fmla="*/ 3527 h 238230"/>
                  <a:gd name="connsiteX216" fmla="*/ 229855 w 261860"/>
                  <a:gd name="connsiteY216" fmla="*/ 7318 h 238230"/>
                  <a:gd name="connsiteX217" fmla="*/ 235057 w 261860"/>
                  <a:gd name="connsiteY217" fmla="*/ 8464 h 238230"/>
                  <a:gd name="connsiteX218" fmla="*/ 230120 w 261860"/>
                  <a:gd name="connsiteY218" fmla="*/ 10228 h 238230"/>
                  <a:gd name="connsiteX219" fmla="*/ 226064 w 261860"/>
                  <a:gd name="connsiteY219" fmla="*/ 9346 h 238230"/>
                  <a:gd name="connsiteX220" fmla="*/ 222801 w 261860"/>
                  <a:gd name="connsiteY220" fmla="*/ 9346 h 238230"/>
                  <a:gd name="connsiteX221" fmla="*/ 219627 w 261860"/>
                  <a:gd name="connsiteY221" fmla="*/ 11374 h 238230"/>
                  <a:gd name="connsiteX222" fmla="*/ 215572 w 261860"/>
                  <a:gd name="connsiteY222" fmla="*/ 14283 h 238230"/>
                  <a:gd name="connsiteX223" fmla="*/ 214955 w 261860"/>
                  <a:gd name="connsiteY223" fmla="*/ 18075 h 238230"/>
                  <a:gd name="connsiteX224" fmla="*/ 213456 w 261860"/>
                  <a:gd name="connsiteY224" fmla="*/ 20102 h 238230"/>
                  <a:gd name="connsiteX225" fmla="*/ 206490 w 261860"/>
                  <a:gd name="connsiteY225" fmla="*/ 18604 h 238230"/>
                  <a:gd name="connsiteX226" fmla="*/ 191325 w 261860"/>
                  <a:gd name="connsiteY226" fmla="*/ 11903 h 238230"/>
                  <a:gd name="connsiteX227" fmla="*/ 162759 w 261860"/>
                  <a:gd name="connsiteY227" fmla="*/ 14812 h 238230"/>
                  <a:gd name="connsiteX228" fmla="*/ 158615 w 261860"/>
                  <a:gd name="connsiteY228" fmla="*/ 19838 h 238230"/>
                  <a:gd name="connsiteX229" fmla="*/ 151650 w 261860"/>
                  <a:gd name="connsiteY229" fmla="*/ 26539 h 238230"/>
                  <a:gd name="connsiteX230" fmla="*/ 130313 w 261860"/>
                  <a:gd name="connsiteY230" fmla="*/ 22395 h 238230"/>
                  <a:gd name="connsiteX231" fmla="*/ 119556 w 261860"/>
                  <a:gd name="connsiteY231" fmla="*/ 15429 h 238230"/>
                  <a:gd name="connsiteX232" fmla="*/ 102364 w 261860"/>
                  <a:gd name="connsiteY232" fmla="*/ 19221 h 238230"/>
                  <a:gd name="connsiteX233" fmla="*/ 95927 w 261860"/>
                  <a:gd name="connsiteY233" fmla="*/ 20984 h 238230"/>
                  <a:gd name="connsiteX234" fmla="*/ 89491 w 261860"/>
                  <a:gd name="connsiteY234" fmla="*/ 19221 h 238230"/>
                  <a:gd name="connsiteX235" fmla="*/ 81027 w 261860"/>
                  <a:gd name="connsiteY235" fmla="*/ 6436 h 238230"/>
                  <a:gd name="connsiteX236" fmla="*/ 74679 w 261860"/>
                  <a:gd name="connsiteY236" fmla="*/ 4937 h 238230"/>
                  <a:gd name="connsiteX237" fmla="*/ 58279 w 261860"/>
                  <a:gd name="connsiteY237" fmla="*/ 0 h 238230"/>
                  <a:gd name="connsiteX238" fmla="*/ 48140 w 261860"/>
                  <a:gd name="connsiteY238" fmla="*/ 3174 h 238230"/>
                  <a:gd name="connsiteX239" fmla="*/ 38442 w 261860"/>
                  <a:gd name="connsiteY239" fmla="*/ 3791 h 238230"/>
                  <a:gd name="connsiteX240" fmla="*/ 30859 w 261860"/>
                  <a:gd name="connsiteY240" fmla="*/ 8993 h 238230"/>
                  <a:gd name="connsiteX241" fmla="*/ 27685 w 261860"/>
                  <a:gd name="connsiteY241" fmla="*/ 28567 h 238230"/>
                  <a:gd name="connsiteX242" fmla="*/ 21866 w 261860"/>
                  <a:gd name="connsiteY242" fmla="*/ 36149 h 238230"/>
                  <a:gd name="connsiteX243" fmla="*/ 22748 w 261860"/>
                  <a:gd name="connsiteY243" fmla="*/ 45759 h 238230"/>
                  <a:gd name="connsiteX244" fmla="*/ 22130 w 261860"/>
                  <a:gd name="connsiteY244" fmla="*/ 51931 h 23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</a:cxnLst>
                <a:rect l="l" t="t" r="r" b="b"/>
                <a:pathLst>
                  <a:path w="261860" h="238230">
                    <a:moveTo>
                      <a:pt x="18604" y="53606"/>
                    </a:moveTo>
                    <a:lnTo>
                      <a:pt x="18604" y="54841"/>
                    </a:lnTo>
                    <a:lnTo>
                      <a:pt x="22748" y="67978"/>
                    </a:lnTo>
                    <a:lnTo>
                      <a:pt x="23012" y="76089"/>
                    </a:lnTo>
                    <a:lnTo>
                      <a:pt x="25657" y="78117"/>
                    </a:lnTo>
                    <a:lnTo>
                      <a:pt x="24158" y="85700"/>
                    </a:lnTo>
                    <a:lnTo>
                      <a:pt x="20367" y="85171"/>
                    </a:lnTo>
                    <a:lnTo>
                      <a:pt x="21513" y="91519"/>
                    </a:lnTo>
                    <a:lnTo>
                      <a:pt x="18075" y="99454"/>
                    </a:lnTo>
                    <a:lnTo>
                      <a:pt x="13666" y="102363"/>
                    </a:lnTo>
                    <a:lnTo>
                      <a:pt x="12256" y="104656"/>
                    </a:lnTo>
                    <a:lnTo>
                      <a:pt x="10228" y="114619"/>
                    </a:lnTo>
                    <a:lnTo>
                      <a:pt x="1411" y="119292"/>
                    </a:lnTo>
                    <a:lnTo>
                      <a:pt x="882" y="126257"/>
                    </a:lnTo>
                    <a:lnTo>
                      <a:pt x="264" y="135338"/>
                    </a:lnTo>
                    <a:lnTo>
                      <a:pt x="0" y="147858"/>
                    </a:lnTo>
                    <a:lnTo>
                      <a:pt x="882" y="156940"/>
                    </a:lnTo>
                    <a:lnTo>
                      <a:pt x="2292" y="160114"/>
                    </a:lnTo>
                    <a:lnTo>
                      <a:pt x="1411" y="167961"/>
                    </a:lnTo>
                    <a:lnTo>
                      <a:pt x="882" y="171752"/>
                    </a:lnTo>
                    <a:lnTo>
                      <a:pt x="1763" y="176778"/>
                    </a:lnTo>
                    <a:lnTo>
                      <a:pt x="882" y="180481"/>
                    </a:lnTo>
                    <a:lnTo>
                      <a:pt x="264" y="186035"/>
                    </a:lnTo>
                    <a:lnTo>
                      <a:pt x="5555" y="185771"/>
                    </a:lnTo>
                    <a:lnTo>
                      <a:pt x="9875" y="185771"/>
                    </a:lnTo>
                    <a:lnTo>
                      <a:pt x="11374" y="186035"/>
                    </a:lnTo>
                    <a:lnTo>
                      <a:pt x="13401" y="186035"/>
                    </a:lnTo>
                    <a:lnTo>
                      <a:pt x="15429" y="184889"/>
                    </a:lnTo>
                    <a:lnTo>
                      <a:pt x="16311" y="181715"/>
                    </a:lnTo>
                    <a:lnTo>
                      <a:pt x="17193" y="180833"/>
                    </a:lnTo>
                    <a:lnTo>
                      <a:pt x="18075" y="181362"/>
                    </a:lnTo>
                    <a:lnTo>
                      <a:pt x="18075" y="182861"/>
                    </a:lnTo>
                    <a:lnTo>
                      <a:pt x="20102" y="181980"/>
                    </a:lnTo>
                    <a:lnTo>
                      <a:pt x="23629" y="180481"/>
                    </a:lnTo>
                    <a:lnTo>
                      <a:pt x="25922" y="180481"/>
                    </a:lnTo>
                    <a:lnTo>
                      <a:pt x="27068" y="181362"/>
                    </a:lnTo>
                    <a:lnTo>
                      <a:pt x="25657" y="181362"/>
                    </a:lnTo>
                    <a:lnTo>
                      <a:pt x="23277" y="182244"/>
                    </a:lnTo>
                    <a:lnTo>
                      <a:pt x="21249" y="184008"/>
                    </a:lnTo>
                    <a:lnTo>
                      <a:pt x="18339" y="184624"/>
                    </a:lnTo>
                    <a:lnTo>
                      <a:pt x="20720" y="185506"/>
                    </a:lnTo>
                    <a:lnTo>
                      <a:pt x="22483" y="186035"/>
                    </a:lnTo>
                    <a:lnTo>
                      <a:pt x="27685" y="185506"/>
                    </a:lnTo>
                    <a:lnTo>
                      <a:pt x="30594" y="184889"/>
                    </a:lnTo>
                    <a:lnTo>
                      <a:pt x="34121" y="185154"/>
                    </a:lnTo>
                    <a:lnTo>
                      <a:pt x="37295" y="186035"/>
                    </a:lnTo>
                    <a:lnTo>
                      <a:pt x="40469" y="188945"/>
                    </a:lnTo>
                    <a:lnTo>
                      <a:pt x="44878" y="192207"/>
                    </a:lnTo>
                    <a:lnTo>
                      <a:pt x="49815" y="201200"/>
                    </a:lnTo>
                    <a:lnTo>
                      <a:pt x="50697" y="201817"/>
                    </a:lnTo>
                    <a:lnTo>
                      <a:pt x="51931" y="202082"/>
                    </a:lnTo>
                    <a:lnTo>
                      <a:pt x="53077" y="201200"/>
                    </a:lnTo>
                    <a:lnTo>
                      <a:pt x="53959" y="201553"/>
                    </a:lnTo>
                    <a:lnTo>
                      <a:pt x="54488" y="203228"/>
                    </a:lnTo>
                    <a:lnTo>
                      <a:pt x="53959" y="204462"/>
                    </a:lnTo>
                    <a:lnTo>
                      <a:pt x="53959" y="205344"/>
                    </a:lnTo>
                    <a:lnTo>
                      <a:pt x="55105" y="205609"/>
                    </a:lnTo>
                    <a:lnTo>
                      <a:pt x="56604" y="205344"/>
                    </a:lnTo>
                    <a:lnTo>
                      <a:pt x="57750" y="205344"/>
                    </a:lnTo>
                    <a:lnTo>
                      <a:pt x="59161" y="205344"/>
                    </a:lnTo>
                    <a:lnTo>
                      <a:pt x="62071" y="205873"/>
                    </a:lnTo>
                    <a:lnTo>
                      <a:pt x="58896" y="206138"/>
                    </a:lnTo>
                    <a:lnTo>
                      <a:pt x="56251" y="206490"/>
                    </a:lnTo>
                    <a:lnTo>
                      <a:pt x="54841" y="206138"/>
                    </a:lnTo>
                    <a:lnTo>
                      <a:pt x="54488" y="206755"/>
                    </a:lnTo>
                    <a:lnTo>
                      <a:pt x="55105" y="208254"/>
                    </a:lnTo>
                    <a:lnTo>
                      <a:pt x="57750" y="210282"/>
                    </a:lnTo>
                    <a:lnTo>
                      <a:pt x="58896" y="210811"/>
                    </a:lnTo>
                    <a:lnTo>
                      <a:pt x="59778" y="209400"/>
                    </a:lnTo>
                    <a:lnTo>
                      <a:pt x="60307" y="209400"/>
                    </a:lnTo>
                    <a:lnTo>
                      <a:pt x="61277" y="210546"/>
                    </a:lnTo>
                    <a:lnTo>
                      <a:pt x="63305" y="207372"/>
                    </a:lnTo>
                    <a:lnTo>
                      <a:pt x="64451" y="207108"/>
                    </a:lnTo>
                    <a:lnTo>
                      <a:pt x="63834" y="209135"/>
                    </a:lnTo>
                    <a:lnTo>
                      <a:pt x="62688" y="210546"/>
                    </a:lnTo>
                    <a:lnTo>
                      <a:pt x="62071" y="211163"/>
                    </a:lnTo>
                    <a:lnTo>
                      <a:pt x="61542" y="210811"/>
                    </a:lnTo>
                    <a:lnTo>
                      <a:pt x="60924" y="211163"/>
                    </a:lnTo>
                    <a:lnTo>
                      <a:pt x="60307" y="212045"/>
                    </a:lnTo>
                    <a:lnTo>
                      <a:pt x="59161" y="214954"/>
                    </a:lnTo>
                    <a:lnTo>
                      <a:pt x="58896" y="216982"/>
                    </a:lnTo>
                    <a:lnTo>
                      <a:pt x="59425" y="216101"/>
                    </a:lnTo>
                    <a:lnTo>
                      <a:pt x="60924" y="216101"/>
                    </a:lnTo>
                    <a:lnTo>
                      <a:pt x="61542" y="216365"/>
                    </a:lnTo>
                    <a:lnTo>
                      <a:pt x="60924" y="216982"/>
                    </a:lnTo>
                    <a:lnTo>
                      <a:pt x="60043" y="217600"/>
                    </a:lnTo>
                    <a:lnTo>
                      <a:pt x="58896" y="217247"/>
                    </a:lnTo>
                    <a:lnTo>
                      <a:pt x="60924" y="224300"/>
                    </a:lnTo>
                    <a:lnTo>
                      <a:pt x="68507" y="231266"/>
                    </a:lnTo>
                    <a:lnTo>
                      <a:pt x="69388" y="233294"/>
                    </a:lnTo>
                    <a:lnTo>
                      <a:pt x="70006" y="235057"/>
                    </a:lnTo>
                    <a:lnTo>
                      <a:pt x="70006" y="235674"/>
                    </a:lnTo>
                    <a:lnTo>
                      <a:pt x="70535" y="236203"/>
                    </a:lnTo>
                    <a:lnTo>
                      <a:pt x="71769" y="235939"/>
                    </a:lnTo>
                    <a:lnTo>
                      <a:pt x="72298" y="237438"/>
                    </a:lnTo>
                    <a:lnTo>
                      <a:pt x="72915" y="237438"/>
                    </a:lnTo>
                    <a:lnTo>
                      <a:pt x="73797" y="235057"/>
                    </a:lnTo>
                    <a:lnTo>
                      <a:pt x="74326" y="235321"/>
                    </a:lnTo>
                    <a:lnTo>
                      <a:pt x="74679" y="238231"/>
                    </a:lnTo>
                    <a:lnTo>
                      <a:pt x="75825" y="238231"/>
                    </a:lnTo>
                    <a:lnTo>
                      <a:pt x="76442" y="237967"/>
                    </a:lnTo>
                    <a:lnTo>
                      <a:pt x="76707" y="237438"/>
                    </a:lnTo>
                    <a:lnTo>
                      <a:pt x="76707" y="234175"/>
                    </a:lnTo>
                    <a:lnTo>
                      <a:pt x="77853" y="232765"/>
                    </a:lnTo>
                    <a:lnTo>
                      <a:pt x="78734" y="232765"/>
                    </a:lnTo>
                    <a:lnTo>
                      <a:pt x="80233" y="234175"/>
                    </a:lnTo>
                    <a:lnTo>
                      <a:pt x="82526" y="236556"/>
                    </a:lnTo>
                    <a:lnTo>
                      <a:pt x="84553" y="237702"/>
                    </a:lnTo>
                    <a:lnTo>
                      <a:pt x="85435" y="237438"/>
                    </a:lnTo>
                    <a:lnTo>
                      <a:pt x="84818" y="235674"/>
                    </a:lnTo>
                    <a:lnTo>
                      <a:pt x="86317" y="237438"/>
                    </a:lnTo>
                    <a:lnTo>
                      <a:pt x="87199" y="232765"/>
                    </a:lnTo>
                    <a:lnTo>
                      <a:pt x="87728" y="233029"/>
                    </a:lnTo>
                    <a:lnTo>
                      <a:pt x="88080" y="235057"/>
                    </a:lnTo>
                    <a:lnTo>
                      <a:pt x="88609" y="237085"/>
                    </a:lnTo>
                    <a:lnTo>
                      <a:pt x="89491" y="232765"/>
                    </a:lnTo>
                    <a:lnTo>
                      <a:pt x="90725" y="230384"/>
                    </a:lnTo>
                    <a:lnTo>
                      <a:pt x="89844" y="225446"/>
                    </a:lnTo>
                    <a:lnTo>
                      <a:pt x="90725" y="225975"/>
                    </a:lnTo>
                    <a:lnTo>
                      <a:pt x="91519" y="230384"/>
                    </a:lnTo>
                    <a:lnTo>
                      <a:pt x="90990" y="233558"/>
                    </a:lnTo>
                    <a:lnTo>
                      <a:pt x="91872" y="235939"/>
                    </a:lnTo>
                    <a:lnTo>
                      <a:pt x="93018" y="236820"/>
                    </a:lnTo>
                    <a:lnTo>
                      <a:pt x="94164" y="236820"/>
                    </a:lnTo>
                    <a:lnTo>
                      <a:pt x="95046" y="235939"/>
                    </a:lnTo>
                    <a:lnTo>
                      <a:pt x="93282" y="230384"/>
                    </a:lnTo>
                    <a:lnTo>
                      <a:pt x="92136" y="228356"/>
                    </a:lnTo>
                    <a:lnTo>
                      <a:pt x="93018" y="226593"/>
                    </a:lnTo>
                    <a:lnTo>
                      <a:pt x="93899" y="227210"/>
                    </a:lnTo>
                    <a:lnTo>
                      <a:pt x="94517" y="231001"/>
                    </a:lnTo>
                    <a:lnTo>
                      <a:pt x="96544" y="232765"/>
                    </a:lnTo>
                    <a:lnTo>
                      <a:pt x="97691" y="234175"/>
                    </a:lnTo>
                    <a:lnTo>
                      <a:pt x="98572" y="233911"/>
                    </a:lnTo>
                    <a:lnTo>
                      <a:pt x="96544" y="228621"/>
                    </a:lnTo>
                    <a:lnTo>
                      <a:pt x="97073" y="228356"/>
                    </a:lnTo>
                    <a:lnTo>
                      <a:pt x="98308" y="228621"/>
                    </a:lnTo>
                    <a:lnTo>
                      <a:pt x="98837" y="230119"/>
                    </a:lnTo>
                    <a:lnTo>
                      <a:pt x="100865" y="232765"/>
                    </a:lnTo>
                    <a:lnTo>
                      <a:pt x="101746" y="233294"/>
                    </a:lnTo>
                    <a:lnTo>
                      <a:pt x="102099" y="232765"/>
                    </a:lnTo>
                    <a:lnTo>
                      <a:pt x="100600" y="230384"/>
                    </a:lnTo>
                    <a:lnTo>
                      <a:pt x="100865" y="229238"/>
                    </a:lnTo>
                    <a:lnTo>
                      <a:pt x="103245" y="227739"/>
                    </a:lnTo>
                    <a:lnTo>
                      <a:pt x="104391" y="228356"/>
                    </a:lnTo>
                    <a:lnTo>
                      <a:pt x="105273" y="228621"/>
                    </a:lnTo>
                    <a:lnTo>
                      <a:pt x="106419" y="228356"/>
                    </a:lnTo>
                    <a:lnTo>
                      <a:pt x="106772" y="228973"/>
                    </a:lnTo>
                    <a:lnTo>
                      <a:pt x="107301" y="229767"/>
                    </a:lnTo>
                    <a:lnTo>
                      <a:pt x="107301" y="231001"/>
                    </a:lnTo>
                    <a:lnTo>
                      <a:pt x="106772" y="232147"/>
                    </a:lnTo>
                    <a:lnTo>
                      <a:pt x="107037" y="232765"/>
                    </a:lnTo>
                    <a:lnTo>
                      <a:pt x="107918" y="232765"/>
                    </a:lnTo>
                    <a:lnTo>
                      <a:pt x="118410" y="232765"/>
                    </a:lnTo>
                    <a:lnTo>
                      <a:pt x="120174" y="232765"/>
                    </a:lnTo>
                    <a:lnTo>
                      <a:pt x="121937" y="232412"/>
                    </a:lnTo>
                    <a:lnTo>
                      <a:pt x="123083" y="231530"/>
                    </a:lnTo>
                    <a:lnTo>
                      <a:pt x="123083" y="230384"/>
                    </a:lnTo>
                    <a:lnTo>
                      <a:pt x="122202" y="228621"/>
                    </a:lnTo>
                    <a:lnTo>
                      <a:pt x="121320" y="226328"/>
                    </a:lnTo>
                    <a:lnTo>
                      <a:pt x="121937" y="223066"/>
                    </a:lnTo>
                    <a:lnTo>
                      <a:pt x="123083" y="222537"/>
                    </a:lnTo>
                    <a:lnTo>
                      <a:pt x="123083" y="223419"/>
                    </a:lnTo>
                    <a:lnTo>
                      <a:pt x="123965" y="223683"/>
                    </a:lnTo>
                    <a:lnTo>
                      <a:pt x="123965" y="224565"/>
                    </a:lnTo>
                    <a:lnTo>
                      <a:pt x="125375" y="225446"/>
                    </a:lnTo>
                    <a:lnTo>
                      <a:pt x="125375" y="226857"/>
                    </a:lnTo>
                    <a:lnTo>
                      <a:pt x="126257" y="228092"/>
                    </a:lnTo>
                    <a:lnTo>
                      <a:pt x="126874" y="228356"/>
                    </a:lnTo>
                    <a:lnTo>
                      <a:pt x="128020" y="225711"/>
                    </a:lnTo>
                    <a:lnTo>
                      <a:pt x="128638" y="225975"/>
                    </a:lnTo>
                    <a:lnTo>
                      <a:pt x="129167" y="225446"/>
                    </a:lnTo>
                    <a:lnTo>
                      <a:pt x="130048" y="225182"/>
                    </a:lnTo>
                    <a:lnTo>
                      <a:pt x="134721" y="216982"/>
                    </a:lnTo>
                    <a:lnTo>
                      <a:pt x="134721" y="211428"/>
                    </a:lnTo>
                    <a:lnTo>
                      <a:pt x="134721" y="203228"/>
                    </a:lnTo>
                    <a:lnTo>
                      <a:pt x="135868" y="199789"/>
                    </a:lnTo>
                    <a:lnTo>
                      <a:pt x="146712" y="187534"/>
                    </a:lnTo>
                    <a:lnTo>
                      <a:pt x="152267" y="182861"/>
                    </a:lnTo>
                    <a:lnTo>
                      <a:pt x="156058" y="175808"/>
                    </a:lnTo>
                    <a:lnTo>
                      <a:pt x="163905" y="170341"/>
                    </a:lnTo>
                    <a:lnTo>
                      <a:pt x="171488" y="173780"/>
                    </a:lnTo>
                    <a:lnTo>
                      <a:pt x="173780" y="169989"/>
                    </a:lnTo>
                    <a:lnTo>
                      <a:pt x="180216" y="175808"/>
                    </a:lnTo>
                    <a:lnTo>
                      <a:pt x="183743" y="177307"/>
                    </a:lnTo>
                    <a:lnTo>
                      <a:pt x="191061" y="184624"/>
                    </a:lnTo>
                    <a:lnTo>
                      <a:pt x="194499" y="179335"/>
                    </a:lnTo>
                    <a:lnTo>
                      <a:pt x="199172" y="170870"/>
                    </a:lnTo>
                    <a:lnTo>
                      <a:pt x="201818" y="168578"/>
                    </a:lnTo>
                    <a:lnTo>
                      <a:pt x="199790" y="164787"/>
                    </a:lnTo>
                    <a:lnTo>
                      <a:pt x="204991" y="156940"/>
                    </a:lnTo>
                    <a:lnTo>
                      <a:pt x="209135" y="146712"/>
                    </a:lnTo>
                    <a:lnTo>
                      <a:pt x="209664" y="141158"/>
                    </a:lnTo>
                    <a:lnTo>
                      <a:pt x="209664" y="135338"/>
                    </a:lnTo>
                    <a:lnTo>
                      <a:pt x="213191" y="133575"/>
                    </a:lnTo>
                    <a:lnTo>
                      <a:pt x="216365" y="130665"/>
                    </a:lnTo>
                    <a:lnTo>
                      <a:pt x="220156" y="126257"/>
                    </a:lnTo>
                    <a:lnTo>
                      <a:pt x="222272" y="119292"/>
                    </a:lnTo>
                    <a:lnTo>
                      <a:pt x="223948" y="112238"/>
                    </a:lnTo>
                    <a:lnTo>
                      <a:pt x="231001" y="106155"/>
                    </a:lnTo>
                    <a:lnTo>
                      <a:pt x="231001" y="99190"/>
                    </a:lnTo>
                    <a:lnTo>
                      <a:pt x="236203" y="92136"/>
                    </a:lnTo>
                    <a:lnTo>
                      <a:pt x="237437" y="79616"/>
                    </a:lnTo>
                    <a:lnTo>
                      <a:pt x="242904" y="70270"/>
                    </a:lnTo>
                    <a:lnTo>
                      <a:pt x="251368" y="64980"/>
                    </a:lnTo>
                    <a:lnTo>
                      <a:pt x="260714" y="58632"/>
                    </a:lnTo>
                    <a:lnTo>
                      <a:pt x="259303" y="53077"/>
                    </a:lnTo>
                    <a:lnTo>
                      <a:pt x="261596" y="47787"/>
                    </a:lnTo>
                    <a:lnTo>
                      <a:pt x="261596" y="45142"/>
                    </a:lnTo>
                    <a:lnTo>
                      <a:pt x="261860" y="41439"/>
                    </a:lnTo>
                    <a:lnTo>
                      <a:pt x="257275" y="37912"/>
                    </a:lnTo>
                    <a:lnTo>
                      <a:pt x="251368" y="33504"/>
                    </a:lnTo>
                    <a:lnTo>
                      <a:pt x="247929" y="19838"/>
                    </a:lnTo>
                    <a:lnTo>
                      <a:pt x="245549" y="17810"/>
                    </a:lnTo>
                    <a:lnTo>
                      <a:pt x="241229" y="10228"/>
                    </a:lnTo>
                    <a:lnTo>
                      <a:pt x="239465" y="2028"/>
                    </a:lnTo>
                    <a:lnTo>
                      <a:pt x="232412" y="3527"/>
                    </a:lnTo>
                    <a:lnTo>
                      <a:pt x="229855" y="7318"/>
                    </a:lnTo>
                    <a:lnTo>
                      <a:pt x="235057" y="8464"/>
                    </a:lnTo>
                    <a:lnTo>
                      <a:pt x="230120" y="10228"/>
                    </a:lnTo>
                    <a:lnTo>
                      <a:pt x="226064" y="9346"/>
                    </a:lnTo>
                    <a:lnTo>
                      <a:pt x="222801" y="9346"/>
                    </a:lnTo>
                    <a:lnTo>
                      <a:pt x="219627" y="11374"/>
                    </a:lnTo>
                    <a:lnTo>
                      <a:pt x="215572" y="14283"/>
                    </a:lnTo>
                    <a:lnTo>
                      <a:pt x="214955" y="18075"/>
                    </a:lnTo>
                    <a:lnTo>
                      <a:pt x="213456" y="20102"/>
                    </a:lnTo>
                    <a:lnTo>
                      <a:pt x="206490" y="18604"/>
                    </a:lnTo>
                    <a:lnTo>
                      <a:pt x="191325" y="11903"/>
                    </a:lnTo>
                    <a:lnTo>
                      <a:pt x="162759" y="14812"/>
                    </a:lnTo>
                    <a:lnTo>
                      <a:pt x="158615" y="19838"/>
                    </a:lnTo>
                    <a:lnTo>
                      <a:pt x="151650" y="26539"/>
                    </a:lnTo>
                    <a:lnTo>
                      <a:pt x="130313" y="22395"/>
                    </a:lnTo>
                    <a:lnTo>
                      <a:pt x="119556" y="15429"/>
                    </a:lnTo>
                    <a:lnTo>
                      <a:pt x="102364" y="19221"/>
                    </a:lnTo>
                    <a:lnTo>
                      <a:pt x="95927" y="20984"/>
                    </a:lnTo>
                    <a:lnTo>
                      <a:pt x="89491" y="19221"/>
                    </a:lnTo>
                    <a:lnTo>
                      <a:pt x="81027" y="6436"/>
                    </a:lnTo>
                    <a:lnTo>
                      <a:pt x="74679" y="4937"/>
                    </a:lnTo>
                    <a:lnTo>
                      <a:pt x="58279" y="0"/>
                    </a:lnTo>
                    <a:lnTo>
                      <a:pt x="48140" y="3174"/>
                    </a:lnTo>
                    <a:lnTo>
                      <a:pt x="38442" y="3791"/>
                    </a:lnTo>
                    <a:lnTo>
                      <a:pt x="30859" y="8993"/>
                    </a:lnTo>
                    <a:lnTo>
                      <a:pt x="27685" y="28567"/>
                    </a:lnTo>
                    <a:lnTo>
                      <a:pt x="21866" y="36149"/>
                    </a:lnTo>
                    <a:lnTo>
                      <a:pt x="22748" y="45759"/>
                    </a:lnTo>
                    <a:lnTo>
                      <a:pt x="22130" y="519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7" name="Freihandform: Form 1796">
                <a:extLst>
                  <a:ext uri="{FF2B5EF4-FFF2-40B4-BE49-F238E27FC236}">
                    <a16:creationId xmlns:a16="http://schemas.microsoft.com/office/drawing/2014/main" id="{35419FCD-7FAC-F4E5-7667-7BB369B7EA62}"/>
                  </a:ext>
                </a:extLst>
              </p:cNvPr>
              <p:cNvSpPr/>
              <p:nvPr/>
            </p:nvSpPr>
            <p:spPr>
              <a:xfrm>
                <a:off x="4323942" y="4573513"/>
                <a:ext cx="293688" cy="299243"/>
              </a:xfrm>
              <a:custGeom>
                <a:avLst/>
                <a:gdLst>
                  <a:gd name="connsiteX0" fmla="*/ 56868 w 293688"/>
                  <a:gd name="connsiteY0" fmla="*/ 137895 h 299243"/>
                  <a:gd name="connsiteX1" fmla="*/ 57750 w 293688"/>
                  <a:gd name="connsiteY1" fmla="*/ 139659 h 299243"/>
                  <a:gd name="connsiteX2" fmla="*/ 57397 w 293688"/>
                  <a:gd name="connsiteY2" fmla="*/ 140276 h 299243"/>
                  <a:gd name="connsiteX3" fmla="*/ 57750 w 293688"/>
                  <a:gd name="connsiteY3" fmla="*/ 141775 h 299243"/>
                  <a:gd name="connsiteX4" fmla="*/ 57750 w 293688"/>
                  <a:gd name="connsiteY4" fmla="*/ 142921 h 299243"/>
                  <a:gd name="connsiteX5" fmla="*/ 57133 w 293688"/>
                  <a:gd name="connsiteY5" fmla="*/ 144067 h 299243"/>
                  <a:gd name="connsiteX6" fmla="*/ 57750 w 293688"/>
                  <a:gd name="connsiteY6" fmla="*/ 145831 h 299243"/>
                  <a:gd name="connsiteX7" fmla="*/ 57750 w 293688"/>
                  <a:gd name="connsiteY7" fmla="*/ 146977 h 299243"/>
                  <a:gd name="connsiteX8" fmla="*/ 57397 w 293688"/>
                  <a:gd name="connsiteY8" fmla="*/ 148123 h 299243"/>
                  <a:gd name="connsiteX9" fmla="*/ 56868 w 293688"/>
                  <a:gd name="connsiteY9" fmla="*/ 149005 h 299243"/>
                  <a:gd name="connsiteX10" fmla="*/ 56251 w 293688"/>
                  <a:gd name="connsiteY10" fmla="*/ 150768 h 299243"/>
                  <a:gd name="connsiteX11" fmla="*/ 55987 w 293688"/>
                  <a:gd name="connsiteY11" fmla="*/ 149886 h 299243"/>
                  <a:gd name="connsiteX12" fmla="*/ 56251 w 293688"/>
                  <a:gd name="connsiteY12" fmla="*/ 148740 h 299243"/>
                  <a:gd name="connsiteX13" fmla="*/ 55634 w 293688"/>
                  <a:gd name="connsiteY13" fmla="*/ 149357 h 299243"/>
                  <a:gd name="connsiteX14" fmla="*/ 55634 w 293688"/>
                  <a:gd name="connsiteY14" fmla="*/ 148740 h 299243"/>
                  <a:gd name="connsiteX15" fmla="*/ 55634 w 293688"/>
                  <a:gd name="connsiteY15" fmla="*/ 148123 h 299243"/>
                  <a:gd name="connsiteX16" fmla="*/ 55634 w 293688"/>
                  <a:gd name="connsiteY16" fmla="*/ 147594 h 299243"/>
                  <a:gd name="connsiteX17" fmla="*/ 55370 w 293688"/>
                  <a:gd name="connsiteY17" fmla="*/ 147241 h 299243"/>
                  <a:gd name="connsiteX18" fmla="*/ 55634 w 293688"/>
                  <a:gd name="connsiteY18" fmla="*/ 146977 h 299243"/>
                  <a:gd name="connsiteX19" fmla="*/ 54841 w 293688"/>
                  <a:gd name="connsiteY19" fmla="*/ 147241 h 299243"/>
                  <a:gd name="connsiteX20" fmla="*/ 55105 w 293688"/>
                  <a:gd name="connsiteY20" fmla="*/ 147858 h 299243"/>
                  <a:gd name="connsiteX21" fmla="*/ 54841 w 293688"/>
                  <a:gd name="connsiteY21" fmla="*/ 148740 h 299243"/>
                  <a:gd name="connsiteX22" fmla="*/ 54841 w 293688"/>
                  <a:gd name="connsiteY22" fmla="*/ 149886 h 299243"/>
                  <a:gd name="connsiteX23" fmla="*/ 54841 w 293688"/>
                  <a:gd name="connsiteY23" fmla="*/ 151032 h 299243"/>
                  <a:gd name="connsiteX24" fmla="*/ 54841 w 293688"/>
                  <a:gd name="connsiteY24" fmla="*/ 153148 h 299243"/>
                  <a:gd name="connsiteX25" fmla="*/ 55370 w 293688"/>
                  <a:gd name="connsiteY25" fmla="*/ 154559 h 299243"/>
                  <a:gd name="connsiteX26" fmla="*/ 55634 w 293688"/>
                  <a:gd name="connsiteY26" fmla="*/ 156058 h 299243"/>
                  <a:gd name="connsiteX27" fmla="*/ 56516 w 293688"/>
                  <a:gd name="connsiteY27" fmla="*/ 156852 h 299243"/>
                  <a:gd name="connsiteX28" fmla="*/ 56868 w 293688"/>
                  <a:gd name="connsiteY28" fmla="*/ 158086 h 299243"/>
                  <a:gd name="connsiteX29" fmla="*/ 56516 w 293688"/>
                  <a:gd name="connsiteY29" fmla="*/ 158968 h 299243"/>
                  <a:gd name="connsiteX30" fmla="*/ 56516 w 293688"/>
                  <a:gd name="connsiteY30" fmla="*/ 159849 h 299243"/>
                  <a:gd name="connsiteX31" fmla="*/ 55987 w 293688"/>
                  <a:gd name="connsiteY31" fmla="*/ 160378 h 299243"/>
                  <a:gd name="connsiteX32" fmla="*/ 55987 w 293688"/>
                  <a:gd name="connsiteY32" fmla="*/ 159849 h 299243"/>
                  <a:gd name="connsiteX33" fmla="*/ 55987 w 293688"/>
                  <a:gd name="connsiteY33" fmla="*/ 158968 h 299243"/>
                  <a:gd name="connsiteX34" fmla="*/ 55634 w 293688"/>
                  <a:gd name="connsiteY34" fmla="*/ 159585 h 299243"/>
                  <a:gd name="connsiteX35" fmla="*/ 55105 w 293688"/>
                  <a:gd name="connsiteY35" fmla="*/ 160114 h 299243"/>
                  <a:gd name="connsiteX36" fmla="*/ 55370 w 293688"/>
                  <a:gd name="connsiteY36" fmla="*/ 160996 h 299243"/>
                  <a:gd name="connsiteX37" fmla="*/ 56251 w 293688"/>
                  <a:gd name="connsiteY37" fmla="*/ 161877 h 299243"/>
                  <a:gd name="connsiteX38" fmla="*/ 56868 w 293688"/>
                  <a:gd name="connsiteY38" fmla="*/ 163023 h 299243"/>
                  <a:gd name="connsiteX39" fmla="*/ 57133 w 293688"/>
                  <a:gd name="connsiteY39" fmla="*/ 164787 h 299243"/>
                  <a:gd name="connsiteX40" fmla="*/ 57133 w 293688"/>
                  <a:gd name="connsiteY40" fmla="*/ 166462 h 299243"/>
                  <a:gd name="connsiteX41" fmla="*/ 56516 w 293688"/>
                  <a:gd name="connsiteY41" fmla="*/ 167432 h 299243"/>
                  <a:gd name="connsiteX42" fmla="*/ 55987 w 293688"/>
                  <a:gd name="connsiteY42" fmla="*/ 168578 h 299243"/>
                  <a:gd name="connsiteX43" fmla="*/ 56516 w 293688"/>
                  <a:gd name="connsiteY43" fmla="*/ 169724 h 299243"/>
                  <a:gd name="connsiteX44" fmla="*/ 56516 w 293688"/>
                  <a:gd name="connsiteY44" fmla="*/ 170341 h 299243"/>
                  <a:gd name="connsiteX45" fmla="*/ 56516 w 293688"/>
                  <a:gd name="connsiteY45" fmla="*/ 172898 h 299243"/>
                  <a:gd name="connsiteX46" fmla="*/ 56251 w 293688"/>
                  <a:gd name="connsiteY46" fmla="*/ 173251 h 299243"/>
                  <a:gd name="connsiteX47" fmla="*/ 55634 w 293688"/>
                  <a:gd name="connsiteY47" fmla="*/ 174133 h 299243"/>
                  <a:gd name="connsiteX48" fmla="*/ 55634 w 293688"/>
                  <a:gd name="connsiteY48" fmla="*/ 178188 h 299243"/>
                  <a:gd name="connsiteX49" fmla="*/ 56868 w 293688"/>
                  <a:gd name="connsiteY49" fmla="*/ 181098 h 299243"/>
                  <a:gd name="connsiteX50" fmla="*/ 58544 w 293688"/>
                  <a:gd name="connsiteY50" fmla="*/ 185771 h 299243"/>
                  <a:gd name="connsiteX51" fmla="*/ 58544 w 293688"/>
                  <a:gd name="connsiteY51" fmla="*/ 187270 h 299243"/>
                  <a:gd name="connsiteX52" fmla="*/ 58544 w 293688"/>
                  <a:gd name="connsiteY52" fmla="*/ 187534 h 299243"/>
                  <a:gd name="connsiteX53" fmla="*/ 58279 w 293688"/>
                  <a:gd name="connsiteY53" fmla="*/ 189033 h 299243"/>
                  <a:gd name="connsiteX54" fmla="*/ 61189 w 293688"/>
                  <a:gd name="connsiteY54" fmla="*/ 192736 h 299243"/>
                  <a:gd name="connsiteX55" fmla="*/ 62070 w 293688"/>
                  <a:gd name="connsiteY55" fmla="*/ 194764 h 299243"/>
                  <a:gd name="connsiteX56" fmla="*/ 62335 w 293688"/>
                  <a:gd name="connsiteY56" fmla="*/ 195998 h 299243"/>
                  <a:gd name="connsiteX57" fmla="*/ 62335 w 293688"/>
                  <a:gd name="connsiteY57" fmla="*/ 198291 h 299243"/>
                  <a:gd name="connsiteX58" fmla="*/ 63569 w 293688"/>
                  <a:gd name="connsiteY58" fmla="*/ 200936 h 299243"/>
                  <a:gd name="connsiteX59" fmla="*/ 62688 w 293688"/>
                  <a:gd name="connsiteY59" fmla="*/ 204463 h 299243"/>
                  <a:gd name="connsiteX60" fmla="*/ 62070 w 293688"/>
                  <a:gd name="connsiteY60" fmla="*/ 206755 h 299243"/>
                  <a:gd name="connsiteX61" fmla="*/ 62335 w 293688"/>
                  <a:gd name="connsiteY61" fmla="*/ 208518 h 299243"/>
                  <a:gd name="connsiteX62" fmla="*/ 62952 w 293688"/>
                  <a:gd name="connsiteY62" fmla="*/ 210282 h 299243"/>
                  <a:gd name="connsiteX63" fmla="*/ 63217 w 293688"/>
                  <a:gd name="connsiteY63" fmla="*/ 211428 h 299243"/>
                  <a:gd name="connsiteX64" fmla="*/ 63569 w 293688"/>
                  <a:gd name="connsiteY64" fmla="*/ 213456 h 299243"/>
                  <a:gd name="connsiteX65" fmla="*/ 63569 w 293688"/>
                  <a:gd name="connsiteY65" fmla="*/ 213808 h 299243"/>
                  <a:gd name="connsiteX66" fmla="*/ 62688 w 293688"/>
                  <a:gd name="connsiteY66" fmla="*/ 215219 h 299243"/>
                  <a:gd name="connsiteX67" fmla="*/ 62335 w 293688"/>
                  <a:gd name="connsiteY67" fmla="*/ 216983 h 299243"/>
                  <a:gd name="connsiteX68" fmla="*/ 62070 w 293688"/>
                  <a:gd name="connsiteY68" fmla="*/ 218393 h 299243"/>
                  <a:gd name="connsiteX69" fmla="*/ 62952 w 293688"/>
                  <a:gd name="connsiteY69" fmla="*/ 219627 h 299243"/>
                  <a:gd name="connsiteX70" fmla="*/ 64098 w 293688"/>
                  <a:gd name="connsiteY70" fmla="*/ 221038 h 299243"/>
                  <a:gd name="connsiteX71" fmla="*/ 63834 w 293688"/>
                  <a:gd name="connsiteY71" fmla="*/ 222537 h 299243"/>
                  <a:gd name="connsiteX72" fmla="*/ 64980 w 293688"/>
                  <a:gd name="connsiteY72" fmla="*/ 224565 h 299243"/>
                  <a:gd name="connsiteX73" fmla="*/ 65333 w 293688"/>
                  <a:gd name="connsiteY73" fmla="*/ 226064 h 299243"/>
                  <a:gd name="connsiteX74" fmla="*/ 65333 w 293688"/>
                  <a:gd name="connsiteY74" fmla="*/ 226857 h 299243"/>
                  <a:gd name="connsiteX75" fmla="*/ 64098 w 293688"/>
                  <a:gd name="connsiteY75" fmla="*/ 228356 h 299243"/>
                  <a:gd name="connsiteX76" fmla="*/ 64716 w 293688"/>
                  <a:gd name="connsiteY76" fmla="*/ 229767 h 299243"/>
                  <a:gd name="connsiteX77" fmla="*/ 64451 w 293688"/>
                  <a:gd name="connsiteY77" fmla="*/ 231883 h 299243"/>
                  <a:gd name="connsiteX78" fmla="*/ 67361 w 293688"/>
                  <a:gd name="connsiteY78" fmla="*/ 234528 h 299243"/>
                  <a:gd name="connsiteX79" fmla="*/ 68242 w 293688"/>
                  <a:gd name="connsiteY79" fmla="*/ 238848 h 299243"/>
                  <a:gd name="connsiteX80" fmla="*/ 68771 w 293688"/>
                  <a:gd name="connsiteY80" fmla="*/ 239465 h 299243"/>
                  <a:gd name="connsiteX81" fmla="*/ 68771 w 293688"/>
                  <a:gd name="connsiteY81" fmla="*/ 240347 h 299243"/>
                  <a:gd name="connsiteX82" fmla="*/ 68242 w 293688"/>
                  <a:gd name="connsiteY82" fmla="*/ 240347 h 299243"/>
                  <a:gd name="connsiteX83" fmla="*/ 68507 w 293688"/>
                  <a:gd name="connsiteY83" fmla="*/ 240612 h 299243"/>
                  <a:gd name="connsiteX84" fmla="*/ 68242 w 293688"/>
                  <a:gd name="connsiteY84" fmla="*/ 240876 h 299243"/>
                  <a:gd name="connsiteX85" fmla="*/ 68507 w 293688"/>
                  <a:gd name="connsiteY85" fmla="*/ 241493 h 299243"/>
                  <a:gd name="connsiteX86" fmla="*/ 67889 w 293688"/>
                  <a:gd name="connsiteY86" fmla="*/ 242022 h 299243"/>
                  <a:gd name="connsiteX87" fmla="*/ 67625 w 293688"/>
                  <a:gd name="connsiteY87" fmla="*/ 240612 h 299243"/>
                  <a:gd name="connsiteX88" fmla="*/ 67361 w 293688"/>
                  <a:gd name="connsiteY88" fmla="*/ 240612 h 299243"/>
                  <a:gd name="connsiteX89" fmla="*/ 66743 w 293688"/>
                  <a:gd name="connsiteY89" fmla="*/ 240612 h 299243"/>
                  <a:gd name="connsiteX90" fmla="*/ 66743 w 293688"/>
                  <a:gd name="connsiteY90" fmla="*/ 242022 h 299243"/>
                  <a:gd name="connsiteX91" fmla="*/ 67625 w 293688"/>
                  <a:gd name="connsiteY91" fmla="*/ 246166 h 299243"/>
                  <a:gd name="connsiteX92" fmla="*/ 68242 w 293688"/>
                  <a:gd name="connsiteY92" fmla="*/ 247312 h 299243"/>
                  <a:gd name="connsiteX93" fmla="*/ 68771 w 293688"/>
                  <a:gd name="connsiteY93" fmla="*/ 247577 h 299243"/>
                  <a:gd name="connsiteX94" fmla="*/ 69653 w 293688"/>
                  <a:gd name="connsiteY94" fmla="*/ 247841 h 299243"/>
                  <a:gd name="connsiteX95" fmla="*/ 70006 w 293688"/>
                  <a:gd name="connsiteY95" fmla="*/ 248194 h 299243"/>
                  <a:gd name="connsiteX96" fmla="*/ 70006 w 293688"/>
                  <a:gd name="connsiteY96" fmla="*/ 249957 h 299243"/>
                  <a:gd name="connsiteX97" fmla="*/ 70006 w 293688"/>
                  <a:gd name="connsiteY97" fmla="*/ 251985 h 299243"/>
                  <a:gd name="connsiteX98" fmla="*/ 70799 w 293688"/>
                  <a:gd name="connsiteY98" fmla="*/ 253749 h 299243"/>
                  <a:gd name="connsiteX99" fmla="*/ 70535 w 293688"/>
                  <a:gd name="connsiteY99" fmla="*/ 254895 h 299243"/>
                  <a:gd name="connsiteX100" fmla="*/ 70535 w 293688"/>
                  <a:gd name="connsiteY100" fmla="*/ 256041 h 299243"/>
                  <a:gd name="connsiteX101" fmla="*/ 71152 w 293688"/>
                  <a:gd name="connsiteY101" fmla="*/ 257540 h 299243"/>
                  <a:gd name="connsiteX102" fmla="*/ 72562 w 293688"/>
                  <a:gd name="connsiteY102" fmla="*/ 260449 h 299243"/>
                  <a:gd name="connsiteX103" fmla="*/ 73180 w 293688"/>
                  <a:gd name="connsiteY103" fmla="*/ 260978 h 299243"/>
                  <a:gd name="connsiteX104" fmla="*/ 74679 w 293688"/>
                  <a:gd name="connsiteY104" fmla="*/ 263359 h 299243"/>
                  <a:gd name="connsiteX105" fmla="*/ 75825 w 293688"/>
                  <a:gd name="connsiteY105" fmla="*/ 265740 h 299243"/>
                  <a:gd name="connsiteX106" fmla="*/ 75472 w 293688"/>
                  <a:gd name="connsiteY106" fmla="*/ 266886 h 299243"/>
                  <a:gd name="connsiteX107" fmla="*/ 75825 w 293688"/>
                  <a:gd name="connsiteY107" fmla="*/ 267679 h 299243"/>
                  <a:gd name="connsiteX108" fmla="*/ 78117 w 293688"/>
                  <a:gd name="connsiteY108" fmla="*/ 270942 h 299243"/>
                  <a:gd name="connsiteX109" fmla="*/ 78734 w 293688"/>
                  <a:gd name="connsiteY109" fmla="*/ 273234 h 299243"/>
                  <a:gd name="connsiteX110" fmla="*/ 80145 w 293688"/>
                  <a:gd name="connsiteY110" fmla="*/ 275262 h 299243"/>
                  <a:gd name="connsiteX111" fmla="*/ 81644 w 293688"/>
                  <a:gd name="connsiteY111" fmla="*/ 276761 h 299243"/>
                  <a:gd name="connsiteX112" fmla="*/ 83054 w 293688"/>
                  <a:gd name="connsiteY112" fmla="*/ 279053 h 299243"/>
                  <a:gd name="connsiteX113" fmla="*/ 85964 w 293688"/>
                  <a:gd name="connsiteY113" fmla="*/ 280552 h 299243"/>
                  <a:gd name="connsiteX114" fmla="*/ 89226 w 293688"/>
                  <a:gd name="connsiteY114" fmla="*/ 284343 h 299243"/>
                  <a:gd name="connsiteX115" fmla="*/ 89755 w 293688"/>
                  <a:gd name="connsiteY115" fmla="*/ 285489 h 299243"/>
                  <a:gd name="connsiteX116" fmla="*/ 92400 w 293688"/>
                  <a:gd name="connsiteY116" fmla="*/ 288751 h 299243"/>
                  <a:gd name="connsiteX117" fmla="*/ 94164 w 293688"/>
                  <a:gd name="connsiteY117" fmla="*/ 290515 h 299243"/>
                  <a:gd name="connsiteX118" fmla="*/ 95046 w 293688"/>
                  <a:gd name="connsiteY118" fmla="*/ 289016 h 299243"/>
                  <a:gd name="connsiteX119" fmla="*/ 97690 w 293688"/>
                  <a:gd name="connsiteY119" fmla="*/ 288134 h 299243"/>
                  <a:gd name="connsiteX120" fmla="*/ 98837 w 293688"/>
                  <a:gd name="connsiteY120" fmla="*/ 286371 h 299243"/>
                  <a:gd name="connsiteX121" fmla="*/ 101217 w 293688"/>
                  <a:gd name="connsiteY121" fmla="*/ 286723 h 299243"/>
                  <a:gd name="connsiteX122" fmla="*/ 102628 w 293688"/>
                  <a:gd name="connsiteY122" fmla="*/ 287253 h 299243"/>
                  <a:gd name="connsiteX123" fmla="*/ 103510 w 293688"/>
                  <a:gd name="connsiteY123" fmla="*/ 286107 h 299243"/>
                  <a:gd name="connsiteX124" fmla="*/ 101217 w 293688"/>
                  <a:gd name="connsiteY124" fmla="*/ 283197 h 299243"/>
                  <a:gd name="connsiteX125" fmla="*/ 102628 w 293688"/>
                  <a:gd name="connsiteY125" fmla="*/ 282580 h 299243"/>
                  <a:gd name="connsiteX126" fmla="*/ 102363 w 293688"/>
                  <a:gd name="connsiteY126" fmla="*/ 281169 h 299243"/>
                  <a:gd name="connsiteX127" fmla="*/ 103245 w 293688"/>
                  <a:gd name="connsiteY127" fmla="*/ 280023 h 299243"/>
                  <a:gd name="connsiteX128" fmla="*/ 103245 w 293688"/>
                  <a:gd name="connsiteY128" fmla="*/ 278524 h 299243"/>
                  <a:gd name="connsiteX129" fmla="*/ 102363 w 293688"/>
                  <a:gd name="connsiteY129" fmla="*/ 277378 h 299243"/>
                  <a:gd name="connsiteX130" fmla="*/ 103510 w 293688"/>
                  <a:gd name="connsiteY130" fmla="*/ 276496 h 299243"/>
                  <a:gd name="connsiteX131" fmla="*/ 104656 w 293688"/>
                  <a:gd name="connsiteY131" fmla="*/ 277025 h 299243"/>
                  <a:gd name="connsiteX132" fmla="*/ 105538 w 293688"/>
                  <a:gd name="connsiteY132" fmla="*/ 274733 h 299243"/>
                  <a:gd name="connsiteX133" fmla="*/ 106419 w 293688"/>
                  <a:gd name="connsiteY133" fmla="*/ 273586 h 299243"/>
                  <a:gd name="connsiteX134" fmla="*/ 108183 w 293688"/>
                  <a:gd name="connsiteY134" fmla="*/ 273851 h 299243"/>
                  <a:gd name="connsiteX135" fmla="*/ 109329 w 293688"/>
                  <a:gd name="connsiteY135" fmla="*/ 275614 h 299243"/>
                  <a:gd name="connsiteX136" fmla="*/ 110210 w 293688"/>
                  <a:gd name="connsiteY136" fmla="*/ 275614 h 299243"/>
                  <a:gd name="connsiteX137" fmla="*/ 111092 w 293688"/>
                  <a:gd name="connsiteY137" fmla="*/ 277378 h 299243"/>
                  <a:gd name="connsiteX138" fmla="*/ 111357 w 293688"/>
                  <a:gd name="connsiteY138" fmla="*/ 278524 h 299243"/>
                  <a:gd name="connsiteX139" fmla="*/ 111092 w 293688"/>
                  <a:gd name="connsiteY139" fmla="*/ 280023 h 299243"/>
                  <a:gd name="connsiteX140" fmla="*/ 113473 w 293688"/>
                  <a:gd name="connsiteY140" fmla="*/ 278788 h 299243"/>
                  <a:gd name="connsiteX141" fmla="*/ 114619 w 293688"/>
                  <a:gd name="connsiteY141" fmla="*/ 279406 h 299243"/>
                  <a:gd name="connsiteX142" fmla="*/ 115148 w 293688"/>
                  <a:gd name="connsiteY142" fmla="*/ 280816 h 299243"/>
                  <a:gd name="connsiteX143" fmla="*/ 114619 w 293688"/>
                  <a:gd name="connsiteY143" fmla="*/ 283461 h 299243"/>
                  <a:gd name="connsiteX144" fmla="*/ 112855 w 293688"/>
                  <a:gd name="connsiteY144" fmla="*/ 285225 h 299243"/>
                  <a:gd name="connsiteX145" fmla="*/ 113737 w 293688"/>
                  <a:gd name="connsiteY145" fmla="*/ 286988 h 299243"/>
                  <a:gd name="connsiteX146" fmla="*/ 115148 w 293688"/>
                  <a:gd name="connsiteY146" fmla="*/ 288487 h 299243"/>
                  <a:gd name="connsiteX147" fmla="*/ 114002 w 293688"/>
                  <a:gd name="connsiteY147" fmla="*/ 289898 h 299243"/>
                  <a:gd name="connsiteX148" fmla="*/ 113737 w 293688"/>
                  <a:gd name="connsiteY148" fmla="*/ 291308 h 299243"/>
                  <a:gd name="connsiteX149" fmla="*/ 115148 w 293688"/>
                  <a:gd name="connsiteY149" fmla="*/ 291926 h 299243"/>
                  <a:gd name="connsiteX150" fmla="*/ 117793 w 293688"/>
                  <a:gd name="connsiteY150" fmla="*/ 291661 h 299243"/>
                  <a:gd name="connsiteX151" fmla="*/ 118057 w 293688"/>
                  <a:gd name="connsiteY151" fmla="*/ 293689 h 299243"/>
                  <a:gd name="connsiteX152" fmla="*/ 119292 w 293688"/>
                  <a:gd name="connsiteY152" fmla="*/ 293953 h 299243"/>
                  <a:gd name="connsiteX153" fmla="*/ 121584 w 293688"/>
                  <a:gd name="connsiteY153" fmla="*/ 293072 h 299243"/>
                  <a:gd name="connsiteX154" fmla="*/ 124758 w 293688"/>
                  <a:gd name="connsiteY154" fmla="*/ 293689 h 299243"/>
                  <a:gd name="connsiteX155" fmla="*/ 127403 w 293688"/>
                  <a:gd name="connsiteY155" fmla="*/ 295188 h 299243"/>
                  <a:gd name="connsiteX156" fmla="*/ 130930 w 293688"/>
                  <a:gd name="connsiteY156" fmla="*/ 297128 h 299243"/>
                  <a:gd name="connsiteX157" fmla="*/ 131547 w 293688"/>
                  <a:gd name="connsiteY157" fmla="*/ 296334 h 299243"/>
                  <a:gd name="connsiteX158" fmla="*/ 134104 w 293688"/>
                  <a:gd name="connsiteY158" fmla="*/ 296334 h 299243"/>
                  <a:gd name="connsiteX159" fmla="*/ 135603 w 293688"/>
                  <a:gd name="connsiteY159" fmla="*/ 296599 h 299243"/>
                  <a:gd name="connsiteX160" fmla="*/ 142568 w 293688"/>
                  <a:gd name="connsiteY160" fmla="*/ 294571 h 299243"/>
                  <a:gd name="connsiteX161" fmla="*/ 147241 w 293688"/>
                  <a:gd name="connsiteY161" fmla="*/ 296070 h 299243"/>
                  <a:gd name="connsiteX162" fmla="*/ 148123 w 293688"/>
                  <a:gd name="connsiteY162" fmla="*/ 296863 h 299243"/>
                  <a:gd name="connsiteX163" fmla="*/ 148740 w 293688"/>
                  <a:gd name="connsiteY163" fmla="*/ 299244 h 299243"/>
                  <a:gd name="connsiteX164" fmla="*/ 151914 w 293688"/>
                  <a:gd name="connsiteY164" fmla="*/ 298097 h 299243"/>
                  <a:gd name="connsiteX165" fmla="*/ 154559 w 293688"/>
                  <a:gd name="connsiteY165" fmla="*/ 297745 h 299243"/>
                  <a:gd name="connsiteX166" fmla="*/ 153060 w 293688"/>
                  <a:gd name="connsiteY166" fmla="*/ 295717 h 299243"/>
                  <a:gd name="connsiteX167" fmla="*/ 153942 w 293688"/>
                  <a:gd name="connsiteY167" fmla="*/ 293072 h 299243"/>
                  <a:gd name="connsiteX168" fmla="*/ 156322 w 293688"/>
                  <a:gd name="connsiteY168" fmla="*/ 292543 h 299243"/>
                  <a:gd name="connsiteX169" fmla="*/ 157733 w 293688"/>
                  <a:gd name="connsiteY169" fmla="*/ 291044 h 299243"/>
                  <a:gd name="connsiteX170" fmla="*/ 159497 w 293688"/>
                  <a:gd name="connsiteY170" fmla="*/ 289633 h 299243"/>
                  <a:gd name="connsiteX171" fmla="*/ 160995 w 293688"/>
                  <a:gd name="connsiteY171" fmla="*/ 288487 h 299243"/>
                  <a:gd name="connsiteX172" fmla="*/ 162671 w 293688"/>
                  <a:gd name="connsiteY172" fmla="*/ 287870 h 299243"/>
                  <a:gd name="connsiteX173" fmla="*/ 163288 w 293688"/>
                  <a:gd name="connsiteY173" fmla="*/ 289016 h 299243"/>
                  <a:gd name="connsiteX174" fmla="*/ 164434 w 293688"/>
                  <a:gd name="connsiteY174" fmla="*/ 288134 h 299243"/>
                  <a:gd name="connsiteX175" fmla="*/ 165933 w 293688"/>
                  <a:gd name="connsiteY175" fmla="*/ 286371 h 299243"/>
                  <a:gd name="connsiteX176" fmla="*/ 166462 w 293688"/>
                  <a:gd name="connsiteY176" fmla="*/ 285489 h 299243"/>
                  <a:gd name="connsiteX177" fmla="*/ 167343 w 293688"/>
                  <a:gd name="connsiteY177" fmla="*/ 284960 h 299243"/>
                  <a:gd name="connsiteX178" fmla="*/ 169989 w 293688"/>
                  <a:gd name="connsiteY178" fmla="*/ 284960 h 299243"/>
                  <a:gd name="connsiteX179" fmla="*/ 174133 w 293688"/>
                  <a:gd name="connsiteY179" fmla="*/ 194764 h 299243"/>
                  <a:gd name="connsiteX180" fmla="*/ 176425 w 293688"/>
                  <a:gd name="connsiteY180" fmla="*/ 124846 h 299243"/>
                  <a:gd name="connsiteX181" fmla="*/ 197762 w 293688"/>
                  <a:gd name="connsiteY181" fmla="*/ 124846 h 299243"/>
                  <a:gd name="connsiteX182" fmla="*/ 200583 w 293688"/>
                  <a:gd name="connsiteY182" fmla="*/ 32975 h 299243"/>
                  <a:gd name="connsiteX183" fmla="*/ 210546 w 293688"/>
                  <a:gd name="connsiteY183" fmla="*/ 32622 h 299243"/>
                  <a:gd name="connsiteX184" fmla="*/ 245813 w 293688"/>
                  <a:gd name="connsiteY184" fmla="*/ 25040 h 299243"/>
                  <a:gd name="connsiteX185" fmla="*/ 251368 w 293688"/>
                  <a:gd name="connsiteY185" fmla="*/ 25657 h 299243"/>
                  <a:gd name="connsiteX186" fmla="*/ 251103 w 293688"/>
                  <a:gd name="connsiteY186" fmla="*/ 27421 h 299243"/>
                  <a:gd name="connsiteX187" fmla="*/ 252867 w 293688"/>
                  <a:gd name="connsiteY187" fmla="*/ 29713 h 299243"/>
                  <a:gd name="connsiteX188" fmla="*/ 253131 w 293688"/>
                  <a:gd name="connsiteY188" fmla="*/ 30859 h 299243"/>
                  <a:gd name="connsiteX189" fmla="*/ 254278 w 293688"/>
                  <a:gd name="connsiteY189" fmla="*/ 30859 h 299243"/>
                  <a:gd name="connsiteX190" fmla="*/ 255159 w 293688"/>
                  <a:gd name="connsiteY190" fmla="*/ 32005 h 299243"/>
                  <a:gd name="connsiteX191" fmla="*/ 256658 w 293688"/>
                  <a:gd name="connsiteY191" fmla="*/ 33769 h 299243"/>
                  <a:gd name="connsiteX192" fmla="*/ 256041 w 293688"/>
                  <a:gd name="connsiteY192" fmla="*/ 35267 h 299243"/>
                  <a:gd name="connsiteX193" fmla="*/ 256305 w 293688"/>
                  <a:gd name="connsiteY193" fmla="*/ 37031 h 299243"/>
                  <a:gd name="connsiteX194" fmla="*/ 258069 w 293688"/>
                  <a:gd name="connsiteY194" fmla="*/ 37560 h 299243"/>
                  <a:gd name="connsiteX195" fmla="*/ 258069 w 293688"/>
                  <a:gd name="connsiteY195" fmla="*/ 37031 h 299243"/>
                  <a:gd name="connsiteX196" fmla="*/ 258686 w 293688"/>
                  <a:gd name="connsiteY196" fmla="*/ 35885 h 299243"/>
                  <a:gd name="connsiteX197" fmla="*/ 259832 w 293688"/>
                  <a:gd name="connsiteY197" fmla="*/ 35885 h 299243"/>
                  <a:gd name="connsiteX198" fmla="*/ 263888 w 293688"/>
                  <a:gd name="connsiteY198" fmla="*/ 30330 h 299243"/>
                  <a:gd name="connsiteX199" fmla="*/ 268032 w 293688"/>
                  <a:gd name="connsiteY199" fmla="*/ 28302 h 299243"/>
                  <a:gd name="connsiteX200" fmla="*/ 271470 w 293688"/>
                  <a:gd name="connsiteY200" fmla="*/ 25040 h 299243"/>
                  <a:gd name="connsiteX201" fmla="*/ 272705 w 293688"/>
                  <a:gd name="connsiteY201" fmla="*/ 25922 h 299243"/>
                  <a:gd name="connsiteX202" fmla="*/ 273851 w 293688"/>
                  <a:gd name="connsiteY202" fmla="*/ 23629 h 299243"/>
                  <a:gd name="connsiteX203" fmla="*/ 275614 w 293688"/>
                  <a:gd name="connsiteY203" fmla="*/ 23629 h 299243"/>
                  <a:gd name="connsiteX204" fmla="*/ 277025 w 293688"/>
                  <a:gd name="connsiteY204" fmla="*/ 26803 h 299243"/>
                  <a:gd name="connsiteX205" fmla="*/ 278788 w 293688"/>
                  <a:gd name="connsiteY205" fmla="*/ 26803 h 299243"/>
                  <a:gd name="connsiteX206" fmla="*/ 279406 w 293688"/>
                  <a:gd name="connsiteY206" fmla="*/ 25657 h 299243"/>
                  <a:gd name="connsiteX207" fmla="*/ 280287 w 293688"/>
                  <a:gd name="connsiteY207" fmla="*/ 23629 h 299243"/>
                  <a:gd name="connsiteX208" fmla="*/ 281698 w 293688"/>
                  <a:gd name="connsiteY208" fmla="*/ 22483 h 299243"/>
                  <a:gd name="connsiteX209" fmla="*/ 282844 w 293688"/>
                  <a:gd name="connsiteY209" fmla="*/ 21866 h 299243"/>
                  <a:gd name="connsiteX210" fmla="*/ 285225 w 293688"/>
                  <a:gd name="connsiteY210" fmla="*/ 20720 h 299243"/>
                  <a:gd name="connsiteX211" fmla="*/ 286723 w 293688"/>
                  <a:gd name="connsiteY211" fmla="*/ 20367 h 299243"/>
                  <a:gd name="connsiteX212" fmla="*/ 288134 w 293688"/>
                  <a:gd name="connsiteY212" fmla="*/ 20102 h 299243"/>
                  <a:gd name="connsiteX213" fmla="*/ 288399 w 293688"/>
                  <a:gd name="connsiteY213" fmla="*/ 20984 h 299243"/>
                  <a:gd name="connsiteX214" fmla="*/ 290162 w 293688"/>
                  <a:gd name="connsiteY214" fmla="*/ 20984 h 299243"/>
                  <a:gd name="connsiteX215" fmla="*/ 291044 w 293688"/>
                  <a:gd name="connsiteY215" fmla="*/ 20984 h 299243"/>
                  <a:gd name="connsiteX216" fmla="*/ 291044 w 293688"/>
                  <a:gd name="connsiteY216" fmla="*/ 20102 h 299243"/>
                  <a:gd name="connsiteX217" fmla="*/ 293689 w 293688"/>
                  <a:gd name="connsiteY217" fmla="*/ 20102 h 299243"/>
                  <a:gd name="connsiteX218" fmla="*/ 293072 w 293688"/>
                  <a:gd name="connsiteY218" fmla="*/ 19485 h 299243"/>
                  <a:gd name="connsiteX219" fmla="*/ 291925 w 293688"/>
                  <a:gd name="connsiteY219" fmla="*/ 19485 h 299243"/>
                  <a:gd name="connsiteX220" fmla="*/ 291661 w 293688"/>
                  <a:gd name="connsiteY220" fmla="*/ 17457 h 299243"/>
                  <a:gd name="connsiteX221" fmla="*/ 290427 w 293688"/>
                  <a:gd name="connsiteY221" fmla="*/ 17722 h 299243"/>
                  <a:gd name="connsiteX222" fmla="*/ 290427 w 293688"/>
                  <a:gd name="connsiteY222" fmla="*/ 15782 h 299243"/>
                  <a:gd name="connsiteX223" fmla="*/ 288751 w 293688"/>
                  <a:gd name="connsiteY223" fmla="*/ 14900 h 299243"/>
                  <a:gd name="connsiteX224" fmla="*/ 287781 w 293688"/>
                  <a:gd name="connsiteY224" fmla="*/ 14900 h 299243"/>
                  <a:gd name="connsiteX225" fmla="*/ 287252 w 293688"/>
                  <a:gd name="connsiteY225" fmla="*/ 13931 h 299243"/>
                  <a:gd name="connsiteX226" fmla="*/ 285489 w 293688"/>
                  <a:gd name="connsiteY226" fmla="*/ 13137 h 299243"/>
                  <a:gd name="connsiteX227" fmla="*/ 283197 w 293688"/>
                  <a:gd name="connsiteY227" fmla="*/ 13137 h 299243"/>
                  <a:gd name="connsiteX228" fmla="*/ 281169 w 293688"/>
                  <a:gd name="connsiteY228" fmla="*/ 12785 h 299243"/>
                  <a:gd name="connsiteX229" fmla="*/ 280552 w 293688"/>
                  <a:gd name="connsiteY229" fmla="*/ 12785 h 299243"/>
                  <a:gd name="connsiteX230" fmla="*/ 279406 w 293688"/>
                  <a:gd name="connsiteY230" fmla="*/ 13401 h 299243"/>
                  <a:gd name="connsiteX231" fmla="*/ 278788 w 293688"/>
                  <a:gd name="connsiteY231" fmla="*/ 13401 h 299243"/>
                  <a:gd name="connsiteX232" fmla="*/ 276496 w 293688"/>
                  <a:gd name="connsiteY232" fmla="*/ 12520 h 299243"/>
                  <a:gd name="connsiteX233" fmla="*/ 274468 w 293688"/>
                  <a:gd name="connsiteY233" fmla="*/ 11638 h 299243"/>
                  <a:gd name="connsiteX234" fmla="*/ 273586 w 293688"/>
                  <a:gd name="connsiteY234" fmla="*/ 12520 h 299243"/>
                  <a:gd name="connsiteX235" fmla="*/ 272969 w 293688"/>
                  <a:gd name="connsiteY235" fmla="*/ 12520 h 299243"/>
                  <a:gd name="connsiteX236" fmla="*/ 272087 w 293688"/>
                  <a:gd name="connsiteY236" fmla="*/ 12785 h 299243"/>
                  <a:gd name="connsiteX237" fmla="*/ 270060 w 293688"/>
                  <a:gd name="connsiteY237" fmla="*/ 12785 h 299243"/>
                  <a:gd name="connsiteX238" fmla="*/ 255159 w 293688"/>
                  <a:gd name="connsiteY238" fmla="*/ 16311 h 299243"/>
                  <a:gd name="connsiteX239" fmla="*/ 209047 w 293688"/>
                  <a:gd name="connsiteY239" fmla="*/ 25657 h 299243"/>
                  <a:gd name="connsiteX240" fmla="*/ 206138 w 293688"/>
                  <a:gd name="connsiteY240" fmla="*/ 24511 h 299243"/>
                  <a:gd name="connsiteX241" fmla="*/ 204991 w 293688"/>
                  <a:gd name="connsiteY241" fmla="*/ 23629 h 299243"/>
                  <a:gd name="connsiteX242" fmla="*/ 200936 w 293688"/>
                  <a:gd name="connsiteY242" fmla="*/ 24158 h 299243"/>
                  <a:gd name="connsiteX243" fmla="*/ 198908 w 293688"/>
                  <a:gd name="connsiteY243" fmla="*/ 25304 h 299243"/>
                  <a:gd name="connsiteX244" fmla="*/ 196880 w 293688"/>
                  <a:gd name="connsiteY244" fmla="*/ 25922 h 299243"/>
                  <a:gd name="connsiteX245" fmla="*/ 195646 w 293688"/>
                  <a:gd name="connsiteY245" fmla="*/ 25657 h 299243"/>
                  <a:gd name="connsiteX246" fmla="*/ 195381 w 293688"/>
                  <a:gd name="connsiteY246" fmla="*/ 25040 h 299243"/>
                  <a:gd name="connsiteX247" fmla="*/ 194852 w 293688"/>
                  <a:gd name="connsiteY247" fmla="*/ 25657 h 299243"/>
                  <a:gd name="connsiteX248" fmla="*/ 193089 w 293688"/>
                  <a:gd name="connsiteY248" fmla="*/ 24775 h 299243"/>
                  <a:gd name="connsiteX249" fmla="*/ 191590 w 293688"/>
                  <a:gd name="connsiteY249" fmla="*/ 24511 h 299243"/>
                  <a:gd name="connsiteX250" fmla="*/ 190708 w 293688"/>
                  <a:gd name="connsiteY250" fmla="*/ 24775 h 299243"/>
                  <a:gd name="connsiteX251" fmla="*/ 188680 w 293688"/>
                  <a:gd name="connsiteY251" fmla="*/ 23012 h 299243"/>
                  <a:gd name="connsiteX252" fmla="*/ 185771 w 293688"/>
                  <a:gd name="connsiteY252" fmla="*/ 22130 h 299243"/>
                  <a:gd name="connsiteX253" fmla="*/ 184272 w 293688"/>
                  <a:gd name="connsiteY253" fmla="*/ 22130 h 299243"/>
                  <a:gd name="connsiteX254" fmla="*/ 182861 w 293688"/>
                  <a:gd name="connsiteY254" fmla="*/ 22130 h 299243"/>
                  <a:gd name="connsiteX255" fmla="*/ 181979 w 293688"/>
                  <a:gd name="connsiteY255" fmla="*/ 23277 h 299243"/>
                  <a:gd name="connsiteX256" fmla="*/ 181362 w 293688"/>
                  <a:gd name="connsiteY256" fmla="*/ 22483 h 299243"/>
                  <a:gd name="connsiteX257" fmla="*/ 178453 w 293688"/>
                  <a:gd name="connsiteY257" fmla="*/ 22130 h 299243"/>
                  <a:gd name="connsiteX258" fmla="*/ 177306 w 293688"/>
                  <a:gd name="connsiteY258" fmla="*/ 21866 h 299243"/>
                  <a:gd name="connsiteX259" fmla="*/ 175808 w 293688"/>
                  <a:gd name="connsiteY259" fmla="*/ 22130 h 299243"/>
                  <a:gd name="connsiteX260" fmla="*/ 174133 w 293688"/>
                  <a:gd name="connsiteY260" fmla="*/ 22130 h 299243"/>
                  <a:gd name="connsiteX261" fmla="*/ 173780 w 293688"/>
                  <a:gd name="connsiteY261" fmla="*/ 22483 h 299243"/>
                  <a:gd name="connsiteX262" fmla="*/ 173515 w 293688"/>
                  <a:gd name="connsiteY262" fmla="*/ 22130 h 299243"/>
                  <a:gd name="connsiteX263" fmla="*/ 172634 w 293688"/>
                  <a:gd name="connsiteY263" fmla="*/ 22130 h 299243"/>
                  <a:gd name="connsiteX264" fmla="*/ 172369 w 293688"/>
                  <a:gd name="connsiteY264" fmla="*/ 21513 h 299243"/>
                  <a:gd name="connsiteX265" fmla="*/ 169460 w 293688"/>
                  <a:gd name="connsiteY265" fmla="*/ 21866 h 299243"/>
                  <a:gd name="connsiteX266" fmla="*/ 164787 w 293688"/>
                  <a:gd name="connsiteY266" fmla="*/ 21513 h 299243"/>
                  <a:gd name="connsiteX267" fmla="*/ 164787 w 293688"/>
                  <a:gd name="connsiteY267" fmla="*/ 20984 h 299243"/>
                  <a:gd name="connsiteX268" fmla="*/ 162406 w 293688"/>
                  <a:gd name="connsiteY268" fmla="*/ 20984 h 299243"/>
                  <a:gd name="connsiteX269" fmla="*/ 162406 w 293688"/>
                  <a:gd name="connsiteY269" fmla="*/ 20367 h 299243"/>
                  <a:gd name="connsiteX270" fmla="*/ 161524 w 293688"/>
                  <a:gd name="connsiteY270" fmla="*/ 20367 h 299243"/>
                  <a:gd name="connsiteX271" fmla="*/ 160643 w 293688"/>
                  <a:gd name="connsiteY271" fmla="*/ 20367 h 299243"/>
                  <a:gd name="connsiteX272" fmla="*/ 160114 w 293688"/>
                  <a:gd name="connsiteY272" fmla="*/ 21866 h 299243"/>
                  <a:gd name="connsiteX273" fmla="*/ 156587 w 293688"/>
                  <a:gd name="connsiteY273" fmla="*/ 20984 h 299243"/>
                  <a:gd name="connsiteX274" fmla="*/ 152531 w 293688"/>
                  <a:gd name="connsiteY274" fmla="*/ 19221 h 299243"/>
                  <a:gd name="connsiteX275" fmla="*/ 150415 w 293688"/>
                  <a:gd name="connsiteY275" fmla="*/ 16928 h 299243"/>
                  <a:gd name="connsiteX276" fmla="*/ 149622 w 293688"/>
                  <a:gd name="connsiteY276" fmla="*/ 16311 h 299243"/>
                  <a:gd name="connsiteX277" fmla="*/ 148387 w 293688"/>
                  <a:gd name="connsiteY277" fmla="*/ 14900 h 299243"/>
                  <a:gd name="connsiteX278" fmla="*/ 147858 w 293688"/>
                  <a:gd name="connsiteY278" fmla="*/ 14548 h 299243"/>
                  <a:gd name="connsiteX279" fmla="*/ 147241 w 293688"/>
                  <a:gd name="connsiteY279" fmla="*/ 13666 h 299243"/>
                  <a:gd name="connsiteX280" fmla="*/ 146095 w 293688"/>
                  <a:gd name="connsiteY280" fmla="*/ 11374 h 299243"/>
                  <a:gd name="connsiteX281" fmla="*/ 145213 w 293688"/>
                  <a:gd name="connsiteY281" fmla="*/ 9346 h 299243"/>
                  <a:gd name="connsiteX282" fmla="*/ 93018 w 293688"/>
                  <a:gd name="connsiteY282" fmla="*/ 9610 h 299243"/>
                  <a:gd name="connsiteX283" fmla="*/ 53959 w 293688"/>
                  <a:gd name="connsiteY283" fmla="*/ 9610 h 299243"/>
                  <a:gd name="connsiteX284" fmla="*/ 52460 w 293688"/>
                  <a:gd name="connsiteY284" fmla="*/ 11109 h 299243"/>
                  <a:gd name="connsiteX285" fmla="*/ 48933 w 293688"/>
                  <a:gd name="connsiteY285" fmla="*/ 11109 h 299243"/>
                  <a:gd name="connsiteX286" fmla="*/ 47170 w 293688"/>
                  <a:gd name="connsiteY286" fmla="*/ 10228 h 299243"/>
                  <a:gd name="connsiteX287" fmla="*/ 46376 w 293688"/>
                  <a:gd name="connsiteY287" fmla="*/ 8112 h 299243"/>
                  <a:gd name="connsiteX288" fmla="*/ 43996 w 293688"/>
                  <a:gd name="connsiteY288" fmla="*/ 7318 h 299243"/>
                  <a:gd name="connsiteX289" fmla="*/ 38706 w 293688"/>
                  <a:gd name="connsiteY289" fmla="*/ 3791 h 299243"/>
                  <a:gd name="connsiteX290" fmla="*/ 39059 w 293688"/>
                  <a:gd name="connsiteY290" fmla="*/ 2645 h 299243"/>
                  <a:gd name="connsiteX291" fmla="*/ 37912 w 293688"/>
                  <a:gd name="connsiteY291" fmla="*/ 1763 h 299243"/>
                  <a:gd name="connsiteX292" fmla="*/ 36149 w 293688"/>
                  <a:gd name="connsiteY292" fmla="*/ 264 h 299243"/>
                  <a:gd name="connsiteX293" fmla="*/ 32622 w 293688"/>
                  <a:gd name="connsiteY293" fmla="*/ 264 h 299243"/>
                  <a:gd name="connsiteX294" fmla="*/ 31211 w 293688"/>
                  <a:gd name="connsiteY294" fmla="*/ 0 h 299243"/>
                  <a:gd name="connsiteX295" fmla="*/ 29448 w 293688"/>
                  <a:gd name="connsiteY295" fmla="*/ 0 h 299243"/>
                  <a:gd name="connsiteX296" fmla="*/ 27332 w 293688"/>
                  <a:gd name="connsiteY296" fmla="*/ 0 h 299243"/>
                  <a:gd name="connsiteX297" fmla="*/ 24158 w 293688"/>
                  <a:gd name="connsiteY297" fmla="*/ 1763 h 299243"/>
                  <a:gd name="connsiteX298" fmla="*/ 20984 w 293688"/>
                  <a:gd name="connsiteY298" fmla="*/ 3791 h 299243"/>
                  <a:gd name="connsiteX299" fmla="*/ 19221 w 293688"/>
                  <a:gd name="connsiteY299" fmla="*/ 4408 h 299243"/>
                  <a:gd name="connsiteX300" fmla="*/ 18603 w 293688"/>
                  <a:gd name="connsiteY300" fmla="*/ 5819 h 299243"/>
                  <a:gd name="connsiteX301" fmla="*/ 16840 w 293688"/>
                  <a:gd name="connsiteY301" fmla="*/ 6701 h 299243"/>
                  <a:gd name="connsiteX302" fmla="*/ 14283 w 293688"/>
                  <a:gd name="connsiteY302" fmla="*/ 6084 h 299243"/>
                  <a:gd name="connsiteX303" fmla="*/ 11021 w 293688"/>
                  <a:gd name="connsiteY303" fmla="*/ 6436 h 299243"/>
                  <a:gd name="connsiteX304" fmla="*/ 9875 w 293688"/>
                  <a:gd name="connsiteY304" fmla="*/ 5819 h 299243"/>
                  <a:gd name="connsiteX305" fmla="*/ 9258 w 293688"/>
                  <a:gd name="connsiteY305" fmla="*/ 4673 h 299243"/>
                  <a:gd name="connsiteX306" fmla="*/ 6701 w 293688"/>
                  <a:gd name="connsiteY306" fmla="*/ 4408 h 299243"/>
                  <a:gd name="connsiteX307" fmla="*/ 4585 w 293688"/>
                  <a:gd name="connsiteY307" fmla="*/ 5202 h 299243"/>
                  <a:gd name="connsiteX308" fmla="*/ 2909 w 293688"/>
                  <a:gd name="connsiteY308" fmla="*/ 6436 h 299243"/>
                  <a:gd name="connsiteX309" fmla="*/ 2292 w 293688"/>
                  <a:gd name="connsiteY309" fmla="*/ 6701 h 299243"/>
                  <a:gd name="connsiteX310" fmla="*/ 1675 w 293688"/>
                  <a:gd name="connsiteY310" fmla="*/ 7318 h 299243"/>
                  <a:gd name="connsiteX311" fmla="*/ 264 w 293688"/>
                  <a:gd name="connsiteY311" fmla="*/ 6436 h 299243"/>
                  <a:gd name="connsiteX312" fmla="*/ 529 w 293688"/>
                  <a:gd name="connsiteY312" fmla="*/ 7318 h 299243"/>
                  <a:gd name="connsiteX313" fmla="*/ 264 w 293688"/>
                  <a:gd name="connsiteY313" fmla="*/ 9610 h 299243"/>
                  <a:gd name="connsiteX314" fmla="*/ 264 w 293688"/>
                  <a:gd name="connsiteY314" fmla="*/ 13931 h 299243"/>
                  <a:gd name="connsiteX315" fmla="*/ 0 w 293688"/>
                  <a:gd name="connsiteY315" fmla="*/ 20102 h 299243"/>
                  <a:gd name="connsiteX316" fmla="*/ 793 w 293688"/>
                  <a:gd name="connsiteY316" fmla="*/ 21866 h 299243"/>
                  <a:gd name="connsiteX317" fmla="*/ 529 w 293688"/>
                  <a:gd name="connsiteY317" fmla="*/ 23894 h 299243"/>
                  <a:gd name="connsiteX318" fmla="*/ 1146 w 293688"/>
                  <a:gd name="connsiteY318" fmla="*/ 27156 h 299243"/>
                  <a:gd name="connsiteX319" fmla="*/ 4585 w 293688"/>
                  <a:gd name="connsiteY319" fmla="*/ 31212 h 299243"/>
                  <a:gd name="connsiteX320" fmla="*/ 4585 w 293688"/>
                  <a:gd name="connsiteY320" fmla="*/ 32975 h 299243"/>
                  <a:gd name="connsiteX321" fmla="*/ 5466 w 293688"/>
                  <a:gd name="connsiteY321" fmla="*/ 34121 h 299243"/>
                  <a:gd name="connsiteX322" fmla="*/ 5466 w 293688"/>
                  <a:gd name="connsiteY322" fmla="*/ 35885 h 299243"/>
                  <a:gd name="connsiteX323" fmla="*/ 5819 w 293688"/>
                  <a:gd name="connsiteY323" fmla="*/ 37031 h 299243"/>
                  <a:gd name="connsiteX324" fmla="*/ 8464 w 293688"/>
                  <a:gd name="connsiteY324" fmla="*/ 39676 h 299243"/>
                  <a:gd name="connsiteX325" fmla="*/ 11903 w 293688"/>
                  <a:gd name="connsiteY325" fmla="*/ 42850 h 299243"/>
                  <a:gd name="connsiteX326" fmla="*/ 15429 w 293688"/>
                  <a:gd name="connsiteY326" fmla="*/ 48669 h 299243"/>
                  <a:gd name="connsiteX327" fmla="*/ 15429 w 293688"/>
                  <a:gd name="connsiteY327" fmla="*/ 50168 h 299243"/>
                  <a:gd name="connsiteX328" fmla="*/ 16576 w 293688"/>
                  <a:gd name="connsiteY328" fmla="*/ 51314 h 299243"/>
                  <a:gd name="connsiteX329" fmla="*/ 17722 w 293688"/>
                  <a:gd name="connsiteY329" fmla="*/ 52460 h 299243"/>
                  <a:gd name="connsiteX330" fmla="*/ 18603 w 293688"/>
                  <a:gd name="connsiteY330" fmla="*/ 55987 h 299243"/>
                  <a:gd name="connsiteX331" fmla="*/ 19838 w 293688"/>
                  <a:gd name="connsiteY331" fmla="*/ 57750 h 299243"/>
                  <a:gd name="connsiteX332" fmla="*/ 20102 w 293688"/>
                  <a:gd name="connsiteY332" fmla="*/ 60395 h 299243"/>
                  <a:gd name="connsiteX333" fmla="*/ 26803 w 293688"/>
                  <a:gd name="connsiteY333" fmla="*/ 74061 h 299243"/>
                  <a:gd name="connsiteX334" fmla="*/ 27332 w 293688"/>
                  <a:gd name="connsiteY334" fmla="*/ 76354 h 299243"/>
                  <a:gd name="connsiteX335" fmla="*/ 29448 w 293688"/>
                  <a:gd name="connsiteY335" fmla="*/ 78734 h 299243"/>
                  <a:gd name="connsiteX336" fmla="*/ 30330 w 293688"/>
                  <a:gd name="connsiteY336" fmla="*/ 79352 h 299243"/>
                  <a:gd name="connsiteX337" fmla="*/ 30859 w 293688"/>
                  <a:gd name="connsiteY337" fmla="*/ 82261 h 299243"/>
                  <a:gd name="connsiteX338" fmla="*/ 31476 w 293688"/>
                  <a:gd name="connsiteY338" fmla="*/ 86317 h 299243"/>
                  <a:gd name="connsiteX339" fmla="*/ 33768 w 293688"/>
                  <a:gd name="connsiteY339" fmla="*/ 91607 h 299243"/>
                  <a:gd name="connsiteX340" fmla="*/ 33768 w 293688"/>
                  <a:gd name="connsiteY340" fmla="*/ 93370 h 299243"/>
                  <a:gd name="connsiteX341" fmla="*/ 34121 w 293688"/>
                  <a:gd name="connsiteY341" fmla="*/ 95046 h 299243"/>
                  <a:gd name="connsiteX342" fmla="*/ 34650 w 293688"/>
                  <a:gd name="connsiteY342" fmla="*/ 96192 h 299243"/>
                  <a:gd name="connsiteX343" fmla="*/ 34915 w 293688"/>
                  <a:gd name="connsiteY343" fmla="*/ 97955 h 299243"/>
                  <a:gd name="connsiteX344" fmla="*/ 35796 w 293688"/>
                  <a:gd name="connsiteY344" fmla="*/ 99101 h 299243"/>
                  <a:gd name="connsiteX345" fmla="*/ 36678 w 293688"/>
                  <a:gd name="connsiteY345" fmla="*/ 100336 h 299243"/>
                  <a:gd name="connsiteX346" fmla="*/ 37912 w 293688"/>
                  <a:gd name="connsiteY346" fmla="*/ 101482 h 299243"/>
                  <a:gd name="connsiteX347" fmla="*/ 37912 w 293688"/>
                  <a:gd name="connsiteY347" fmla="*/ 102364 h 299243"/>
                  <a:gd name="connsiteX348" fmla="*/ 37560 w 293688"/>
                  <a:gd name="connsiteY348" fmla="*/ 102893 h 299243"/>
                  <a:gd name="connsiteX349" fmla="*/ 38706 w 293688"/>
                  <a:gd name="connsiteY349" fmla="*/ 105009 h 299243"/>
                  <a:gd name="connsiteX350" fmla="*/ 40205 w 293688"/>
                  <a:gd name="connsiteY350" fmla="*/ 106419 h 299243"/>
                  <a:gd name="connsiteX351" fmla="*/ 41703 w 293688"/>
                  <a:gd name="connsiteY351" fmla="*/ 108800 h 299243"/>
                  <a:gd name="connsiteX352" fmla="*/ 43996 w 293688"/>
                  <a:gd name="connsiteY352" fmla="*/ 112238 h 299243"/>
                  <a:gd name="connsiteX353" fmla="*/ 44260 w 293688"/>
                  <a:gd name="connsiteY353" fmla="*/ 113473 h 299243"/>
                  <a:gd name="connsiteX354" fmla="*/ 44613 w 293688"/>
                  <a:gd name="connsiteY354" fmla="*/ 114883 h 299243"/>
                  <a:gd name="connsiteX355" fmla="*/ 45495 w 293688"/>
                  <a:gd name="connsiteY355" fmla="*/ 116647 h 299243"/>
                  <a:gd name="connsiteX356" fmla="*/ 46376 w 293688"/>
                  <a:gd name="connsiteY356" fmla="*/ 117793 h 299243"/>
                  <a:gd name="connsiteX357" fmla="*/ 46905 w 293688"/>
                  <a:gd name="connsiteY357" fmla="*/ 118410 h 299243"/>
                  <a:gd name="connsiteX358" fmla="*/ 46641 w 293688"/>
                  <a:gd name="connsiteY358" fmla="*/ 119027 h 299243"/>
                  <a:gd name="connsiteX359" fmla="*/ 46024 w 293688"/>
                  <a:gd name="connsiteY359" fmla="*/ 119556 h 299243"/>
                  <a:gd name="connsiteX360" fmla="*/ 47523 w 293688"/>
                  <a:gd name="connsiteY360" fmla="*/ 121055 h 299243"/>
                  <a:gd name="connsiteX361" fmla="*/ 53077 w 293688"/>
                  <a:gd name="connsiteY361" fmla="*/ 128020 h 299243"/>
                  <a:gd name="connsiteX362" fmla="*/ 53342 w 293688"/>
                  <a:gd name="connsiteY362" fmla="*/ 129431 h 299243"/>
                  <a:gd name="connsiteX363" fmla="*/ 54841 w 293688"/>
                  <a:gd name="connsiteY363" fmla="*/ 131812 h 299243"/>
                  <a:gd name="connsiteX364" fmla="*/ 56251 w 293688"/>
                  <a:gd name="connsiteY364" fmla="*/ 135603 h 299243"/>
                  <a:gd name="connsiteX365" fmla="*/ 56251 w 293688"/>
                  <a:gd name="connsiteY365" fmla="*/ 136749 h 299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</a:cxnLst>
                <a:rect l="l" t="t" r="r" b="b"/>
                <a:pathLst>
                  <a:path w="293688" h="299243">
                    <a:moveTo>
                      <a:pt x="56868" y="137895"/>
                    </a:moveTo>
                    <a:lnTo>
                      <a:pt x="57750" y="139659"/>
                    </a:lnTo>
                    <a:lnTo>
                      <a:pt x="57397" y="140276"/>
                    </a:lnTo>
                    <a:lnTo>
                      <a:pt x="57750" y="141775"/>
                    </a:lnTo>
                    <a:lnTo>
                      <a:pt x="57750" y="142921"/>
                    </a:lnTo>
                    <a:lnTo>
                      <a:pt x="57133" y="144067"/>
                    </a:lnTo>
                    <a:lnTo>
                      <a:pt x="57750" y="145831"/>
                    </a:lnTo>
                    <a:lnTo>
                      <a:pt x="57750" y="146977"/>
                    </a:lnTo>
                    <a:lnTo>
                      <a:pt x="57397" y="148123"/>
                    </a:lnTo>
                    <a:lnTo>
                      <a:pt x="56868" y="149005"/>
                    </a:lnTo>
                    <a:lnTo>
                      <a:pt x="56251" y="150768"/>
                    </a:lnTo>
                    <a:lnTo>
                      <a:pt x="55987" y="149886"/>
                    </a:lnTo>
                    <a:lnTo>
                      <a:pt x="56251" y="148740"/>
                    </a:lnTo>
                    <a:lnTo>
                      <a:pt x="55634" y="149357"/>
                    </a:lnTo>
                    <a:lnTo>
                      <a:pt x="55634" y="148740"/>
                    </a:lnTo>
                    <a:lnTo>
                      <a:pt x="55634" y="148123"/>
                    </a:lnTo>
                    <a:lnTo>
                      <a:pt x="55634" y="147594"/>
                    </a:lnTo>
                    <a:lnTo>
                      <a:pt x="55370" y="147241"/>
                    </a:lnTo>
                    <a:lnTo>
                      <a:pt x="55634" y="146977"/>
                    </a:lnTo>
                    <a:lnTo>
                      <a:pt x="54841" y="147241"/>
                    </a:lnTo>
                    <a:lnTo>
                      <a:pt x="55105" y="147858"/>
                    </a:lnTo>
                    <a:lnTo>
                      <a:pt x="54841" y="148740"/>
                    </a:lnTo>
                    <a:lnTo>
                      <a:pt x="54841" y="149886"/>
                    </a:lnTo>
                    <a:lnTo>
                      <a:pt x="54841" y="151032"/>
                    </a:lnTo>
                    <a:lnTo>
                      <a:pt x="54841" y="153148"/>
                    </a:lnTo>
                    <a:lnTo>
                      <a:pt x="55370" y="154559"/>
                    </a:lnTo>
                    <a:lnTo>
                      <a:pt x="55634" y="156058"/>
                    </a:lnTo>
                    <a:lnTo>
                      <a:pt x="56516" y="156852"/>
                    </a:lnTo>
                    <a:lnTo>
                      <a:pt x="56868" y="158086"/>
                    </a:lnTo>
                    <a:lnTo>
                      <a:pt x="56516" y="158968"/>
                    </a:lnTo>
                    <a:lnTo>
                      <a:pt x="56516" y="159849"/>
                    </a:lnTo>
                    <a:lnTo>
                      <a:pt x="55987" y="160378"/>
                    </a:lnTo>
                    <a:lnTo>
                      <a:pt x="55987" y="159849"/>
                    </a:lnTo>
                    <a:lnTo>
                      <a:pt x="55987" y="158968"/>
                    </a:lnTo>
                    <a:lnTo>
                      <a:pt x="55634" y="159585"/>
                    </a:lnTo>
                    <a:lnTo>
                      <a:pt x="55105" y="160114"/>
                    </a:lnTo>
                    <a:lnTo>
                      <a:pt x="55370" y="160996"/>
                    </a:lnTo>
                    <a:lnTo>
                      <a:pt x="56251" y="161877"/>
                    </a:lnTo>
                    <a:lnTo>
                      <a:pt x="56868" y="163023"/>
                    </a:lnTo>
                    <a:lnTo>
                      <a:pt x="57133" y="164787"/>
                    </a:lnTo>
                    <a:lnTo>
                      <a:pt x="57133" y="166462"/>
                    </a:lnTo>
                    <a:lnTo>
                      <a:pt x="56516" y="167432"/>
                    </a:lnTo>
                    <a:lnTo>
                      <a:pt x="55987" y="168578"/>
                    </a:lnTo>
                    <a:lnTo>
                      <a:pt x="56516" y="169724"/>
                    </a:lnTo>
                    <a:lnTo>
                      <a:pt x="56516" y="170341"/>
                    </a:lnTo>
                    <a:lnTo>
                      <a:pt x="56516" y="172898"/>
                    </a:lnTo>
                    <a:lnTo>
                      <a:pt x="56251" y="173251"/>
                    </a:lnTo>
                    <a:lnTo>
                      <a:pt x="55634" y="174133"/>
                    </a:lnTo>
                    <a:lnTo>
                      <a:pt x="55634" y="178188"/>
                    </a:lnTo>
                    <a:lnTo>
                      <a:pt x="56868" y="181098"/>
                    </a:lnTo>
                    <a:lnTo>
                      <a:pt x="58544" y="185771"/>
                    </a:lnTo>
                    <a:lnTo>
                      <a:pt x="58544" y="187270"/>
                    </a:lnTo>
                    <a:lnTo>
                      <a:pt x="58544" y="187534"/>
                    </a:lnTo>
                    <a:lnTo>
                      <a:pt x="58279" y="189033"/>
                    </a:lnTo>
                    <a:lnTo>
                      <a:pt x="61189" y="192736"/>
                    </a:lnTo>
                    <a:lnTo>
                      <a:pt x="62070" y="194764"/>
                    </a:lnTo>
                    <a:lnTo>
                      <a:pt x="62335" y="195998"/>
                    </a:lnTo>
                    <a:lnTo>
                      <a:pt x="62335" y="198291"/>
                    </a:lnTo>
                    <a:lnTo>
                      <a:pt x="63569" y="200936"/>
                    </a:lnTo>
                    <a:lnTo>
                      <a:pt x="62688" y="204463"/>
                    </a:lnTo>
                    <a:lnTo>
                      <a:pt x="62070" y="206755"/>
                    </a:lnTo>
                    <a:lnTo>
                      <a:pt x="62335" y="208518"/>
                    </a:lnTo>
                    <a:lnTo>
                      <a:pt x="62952" y="210282"/>
                    </a:lnTo>
                    <a:lnTo>
                      <a:pt x="63217" y="211428"/>
                    </a:lnTo>
                    <a:lnTo>
                      <a:pt x="63569" y="213456"/>
                    </a:lnTo>
                    <a:lnTo>
                      <a:pt x="63569" y="213808"/>
                    </a:lnTo>
                    <a:lnTo>
                      <a:pt x="62688" y="215219"/>
                    </a:lnTo>
                    <a:lnTo>
                      <a:pt x="62335" y="216983"/>
                    </a:lnTo>
                    <a:lnTo>
                      <a:pt x="62070" y="218393"/>
                    </a:lnTo>
                    <a:lnTo>
                      <a:pt x="62952" y="219627"/>
                    </a:lnTo>
                    <a:lnTo>
                      <a:pt x="64098" y="221038"/>
                    </a:lnTo>
                    <a:lnTo>
                      <a:pt x="63834" y="222537"/>
                    </a:lnTo>
                    <a:lnTo>
                      <a:pt x="64980" y="224565"/>
                    </a:lnTo>
                    <a:lnTo>
                      <a:pt x="65333" y="226064"/>
                    </a:lnTo>
                    <a:lnTo>
                      <a:pt x="65333" y="226857"/>
                    </a:lnTo>
                    <a:lnTo>
                      <a:pt x="64098" y="228356"/>
                    </a:lnTo>
                    <a:lnTo>
                      <a:pt x="64716" y="229767"/>
                    </a:lnTo>
                    <a:lnTo>
                      <a:pt x="64451" y="231883"/>
                    </a:lnTo>
                    <a:lnTo>
                      <a:pt x="67361" y="234528"/>
                    </a:lnTo>
                    <a:lnTo>
                      <a:pt x="68242" y="238848"/>
                    </a:lnTo>
                    <a:lnTo>
                      <a:pt x="68771" y="239465"/>
                    </a:lnTo>
                    <a:lnTo>
                      <a:pt x="68771" y="240347"/>
                    </a:lnTo>
                    <a:lnTo>
                      <a:pt x="68242" y="240347"/>
                    </a:lnTo>
                    <a:lnTo>
                      <a:pt x="68507" y="240612"/>
                    </a:lnTo>
                    <a:lnTo>
                      <a:pt x="68242" y="240876"/>
                    </a:lnTo>
                    <a:lnTo>
                      <a:pt x="68507" y="241493"/>
                    </a:lnTo>
                    <a:lnTo>
                      <a:pt x="67889" y="242022"/>
                    </a:lnTo>
                    <a:lnTo>
                      <a:pt x="67625" y="240612"/>
                    </a:lnTo>
                    <a:lnTo>
                      <a:pt x="67361" y="240612"/>
                    </a:lnTo>
                    <a:lnTo>
                      <a:pt x="66743" y="240612"/>
                    </a:lnTo>
                    <a:lnTo>
                      <a:pt x="66743" y="242022"/>
                    </a:lnTo>
                    <a:lnTo>
                      <a:pt x="67625" y="246166"/>
                    </a:lnTo>
                    <a:lnTo>
                      <a:pt x="68242" y="247312"/>
                    </a:lnTo>
                    <a:lnTo>
                      <a:pt x="68771" y="247577"/>
                    </a:lnTo>
                    <a:lnTo>
                      <a:pt x="69653" y="247841"/>
                    </a:lnTo>
                    <a:lnTo>
                      <a:pt x="70006" y="248194"/>
                    </a:lnTo>
                    <a:lnTo>
                      <a:pt x="70006" y="249957"/>
                    </a:lnTo>
                    <a:lnTo>
                      <a:pt x="70006" y="251985"/>
                    </a:lnTo>
                    <a:lnTo>
                      <a:pt x="70799" y="253749"/>
                    </a:lnTo>
                    <a:lnTo>
                      <a:pt x="70535" y="254895"/>
                    </a:lnTo>
                    <a:lnTo>
                      <a:pt x="70535" y="256041"/>
                    </a:lnTo>
                    <a:lnTo>
                      <a:pt x="71152" y="257540"/>
                    </a:lnTo>
                    <a:lnTo>
                      <a:pt x="72562" y="260449"/>
                    </a:lnTo>
                    <a:lnTo>
                      <a:pt x="73180" y="260978"/>
                    </a:lnTo>
                    <a:lnTo>
                      <a:pt x="74679" y="263359"/>
                    </a:lnTo>
                    <a:lnTo>
                      <a:pt x="75825" y="265740"/>
                    </a:lnTo>
                    <a:lnTo>
                      <a:pt x="75472" y="266886"/>
                    </a:lnTo>
                    <a:lnTo>
                      <a:pt x="75825" y="267679"/>
                    </a:lnTo>
                    <a:lnTo>
                      <a:pt x="78117" y="270942"/>
                    </a:lnTo>
                    <a:lnTo>
                      <a:pt x="78734" y="273234"/>
                    </a:lnTo>
                    <a:lnTo>
                      <a:pt x="80145" y="275262"/>
                    </a:lnTo>
                    <a:lnTo>
                      <a:pt x="81644" y="276761"/>
                    </a:lnTo>
                    <a:lnTo>
                      <a:pt x="83054" y="279053"/>
                    </a:lnTo>
                    <a:lnTo>
                      <a:pt x="85964" y="280552"/>
                    </a:lnTo>
                    <a:lnTo>
                      <a:pt x="89226" y="284343"/>
                    </a:lnTo>
                    <a:lnTo>
                      <a:pt x="89755" y="285489"/>
                    </a:lnTo>
                    <a:lnTo>
                      <a:pt x="92400" y="288751"/>
                    </a:lnTo>
                    <a:lnTo>
                      <a:pt x="94164" y="290515"/>
                    </a:lnTo>
                    <a:lnTo>
                      <a:pt x="95046" y="289016"/>
                    </a:lnTo>
                    <a:lnTo>
                      <a:pt x="97690" y="288134"/>
                    </a:lnTo>
                    <a:lnTo>
                      <a:pt x="98837" y="286371"/>
                    </a:lnTo>
                    <a:lnTo>
                      <a:pt x="101217" y="286723"/>
                    </a:lnTo>
                    <a:lnTo>
                      <a:pt x="102628" y="287253"/>
                    </a:lnTo>
                    <a:lnTo>
                      <a:pt x="103510" y="286107"/>
                    </a:lnTo>
                    <a:lnTo>
                      <a:pt x="101217" y="283197"/>
                    </a:lnTo>
                    <a:lnTo>
                      <a:pt x="102628" y="282580"/>
                    </a:lnTo>
                    <a:lnTo>
                      <a:pt x="102363" y="281169"/>
                    </a:lnTo>
                    <a:lnTo>
                      <a:pt x="103245" y="280023"/>
                    </a:lnTo>
                    <a:lnTo>
                      <a:pt x="103245" y="278524"/>
                    </a:lnTo>
                    <a:lnTo>
                      <a:pt x="102363" y="277378"/>
                    </a:lnTo>
                    <a:lnTo>
                      <a:pt x="103510" y="276496"/>
                    </a:lnTo>
                    <a:lnTo>
                      <a:pt x="104656" y="277025"/>
                    </a:lnTo>
                    <a:lnTo>
                      <a:pt x="105538" y="274733"/>
                    </a:lnTo>
                    <a:lnTo>
                      <a:pt x="106419" y="273586"/>
                    </a:lnTo>
                    <a:lnTo>
                      <a:pt x="108183" y="273851"/>
                    </a:lnTo>
                    <a:lnTo>
                      <a:pt x="109329" y="275614"/>
                    </a:lnTo>
                    <a:lnTo>
                      <a:pt x="110210" y="275614"/>
                    </a:lnTo>
                    <a:lnTo>
                      <a:pt x="111092" y="277378"/>
                    </a:lnTo>
                    <a:lnTo>
                      <a:pt x="111357" y="278524"/>
                    </a:lnTo>
                    <a:lnTo>
                      <a:pt x="111092" y="280023"/>
                    </a:lnTo>
                    <a:lnTo>
                      <a:pt x="113473" y="278788"/>
                    </a:lnTo>
                    <a:lnTo>
                      <a:pt x="114619" y="279406"/>
                    </a:lnTo>
                    <a:lnTo>
                      <a:pt x="115148" y="280816"/>
                    </a:lnTo>
                    <a:lnTo>
                      <a:pt x="114619" y="283461"/>
                    </a:lnTo>
                    <a:lnTo>
                      <a:pt x="112855" y="285225"/>
                    </a:lnTo>
                    <a:lnTo>
                      <a:pt x="113737" y="286988"/>
                    </a:lnTo>
                    <a:lnTo>
                      <a:pt x="115148" y="288487"/>
                    </a:lnTo>
                    <a:lnTo>
                      <a:pt x="114002" y="289898"/>
                    </a:lnTo>
                    <a:lnTo>
                      <a:pt x="113737" y="291308"/>
                    </a:lnTo>
                    <a:lnTo>
                      <a:pt x="115148" y="291926"/>
                    </a:lnTo>
                    <a:lnTo>
                      <a:pt x="117793" y="291661"/>
                    </a:lnTo>
                    <a:lnTo>
                      <a:pt x="118057" y="293689"/>
                    </a:lnTo>
                    <a:lnTo>
                      <a:pt x="119292" y="293953"/>
                    </a:lnTo>
                    <a:lnTo>
                      <a:pt x="121584" y="293072"/>
                    </a:lnTo>
                    <a:lnTo>
                      <a:pt x="124758" y="293689"/>
                    </a:lnTo>
                    <a:lnTo>
                      <a:pt x="127403" y="295188"/>
                    </a:lnTo>
                    <a:lnTo>
                      <a:pt x="130930" y="297128"/>
                    </a:lnTo>
                    <a:lnTo>
                      <a:pt x="131547" y="296334"/>
                    </a:lnTo>
                    <a:lnTo>
                      <a:pt x="134104" y="296334"/>
                    </a:lnTo>
                    <a:lnTo>
                      <a:pt x="135603" y="296599"/>
                    </a:lnTo>
                    <a:lnTo>
                      <a:pt x="142568" y="294571"/>
                    </a:lnTo>
                    <a:lnTo>
                      <a:pt x="147241" y="296070"/>
                    </a:lnTo>
                    <a:lnTo>
                      <a:pt x="148123" y="296863"/>
                    </a:lnTo>
                    <a:lnTo>
                      <a:pt x="148740" y="299244"/>
                    </a:lnTo>
                    <a:lnTo>
                      <a:pt x="151914" y="298097"/>
                    </a:lnTo>
                    <a:lnTo>
                      <a:pt x="154559" y="297745"/>
                    </a:lnTo>
                    <a:lnTo>
                      <a:pt x="153060" y="295717"/>
                    </a:lnTo>
                    <a:lnTo>
                      <a:pt x="153942" y="293072"/>
                    </a:lnTo>
                    <a:lnTo>
                      <a:pt x="156322" y="292543"/>
                    </a:lnTo>
                    <a:lnTo>
                      <a:pt x="157733" y="291044"/>
                    </a:lnTo>
                    <a:lnTo>
                      <a:pt x="159497" y="289633"/>
                    </a:lnTo>
                    <a:lnTo>
                      <a:pt x="160995" y="288487"/>
                    </a:lnTo>
                    <a:lnTo>
                      <a:pt x="162671" y="287870"/>
                    </a:lnTo>
                    <a:lnTo>
                      <a:pt x="163288" y="289016"/>
                    </a:lnTo>
                    <a:lnTo>
                      <a:pt x="164434" y="288134"/>
                    </a:lnTo>
                    <a:lnTo>
                      <a:pt x="165933" y="286371"/>
                    </a:lnTo>
                    <a:lnTo>
                      <a:pt x="166462" y="285489"/>
                    </a:lnTo>
                    <a:lnTo>
                      <a:pt x="167343" y="284960"/>
                    </a:lnTo>
                    <a:lnTo>
                      <a:pt x="169989" y="284960"/>
                    </a:lnTo>
                    <a:lnTo>
                      <a:pt x="174133" y="194764"/>
                    </a:lnTo>
                    <a:lnTo>
                      <a:pt x="176425" y="124846"/>
                    </a:lnTo>
                    <a:lnTo>
                      <a:pt x="197762" y="124846"/>
                    </a:lnTo>
                    <a:lnTo>
                      <a:pt x="200583" y="32975"/>
                    </a:lnTo>
                    <a:lnTo>
                      <a:pt x="210546" y="32622"/>
                    </a:lnTo>
                    <a:lnTo>
                      <a:pt x="245813" y="25040"/>
                    </a:lnTo>
                    <a:lnTo>
                      <a:pt x="251368" y="25657"/>
                    </a:lnTo>
                    <a:lnTo>
                      <a:pt x="251103" y="27421"/>
                    </a:lnTo>
                    <a:lnTo>
                      <a:pt x="252867" y="29713"/>
                    </a:lnTo>
                    <a:lnTo>
                      <a:pt x="253131" y="30859"/>
                    </a:lnTo>
                    <a:lnTo>
                      <a:pt x="254278" y="30859"/>
                    </a:lnTo>
                    <a:lnTo>
                      <a:pt x="255159" y="32005"/>
                    </a:lnTo>
                    <a:lnTo>
                      <a:pt x="256658" y="33769"/>
                    </a:lnTo>
                    <a:lnTo>
                      <a:pt x="256041" y="35267"/>
                    </a:lnTo>
                    <a:lnTo>
                      <a:pt x="256305" y="37031"/>
                    </a:lnTo>
                    <a:lnTo>
                      <a:pt x="258069" y="37560"/>
                    </a:lnTo>
                    <a:lnTo>
                      <a:pt x="258069" y="37031"/>
                    </a:lnTo>
                    <a:lnTo>
                      <a:pt x="258686" y="35885"/>
                    </a:lnTo>
                    <a:lnTo>
                      <a:pt x="259832" y="35885"/>
                    </a:lnTo>
                    <a:lnTo>
                      <a:pt x="263888" y="30330"/>
                    </a:lnTo>
                    <a:lnTo>
                      <a:pt x="268032" y="28302"/>
                    </a:lnTo>
                    <a:lnTo>
                      <a:pt x="271470" y="25040"/>
                    </a:lnTo>
                    <a:lnTo>
                      <a:pt x="272705" y="25922"/>
                    </a:lnTo>
                    <a:lnTo>
                      <a:pt x="273851" y="23629"/>
                    </a:lnTo>
                    <a:lnTo>
                      <a:pt x="275614" y="23629"/>
                    </a:lnTo>
                    <a:lnTo>
                      <a:pt x="277025" y="26803"/>
                    </a:lnTo>
                    <a:lnTo>
                      <a:pt x="278788" y="26803"/>
                    </a:lnTo>
                    <a:lnTo>
                      <a:pt x="279406" y="25657"/>
                    </a:lnTo>
                    <a:lnTo>
                      <a:pt x="280287" y="23629"/>
                    </a:lnTo>
                    <a:lnTo>
                      <a:pt x="281698" y="22483"/>
                    </a:lnTo>
                    <a:lnTo>
                      <a:pt x="282844" y="21866"/>
                    </a:lnTo>
                    <a:lnTo>
                      <a:pt x="285225" y="20720"/>
                    </a:lnTo>
                    <a:lnTo>
                      <a:pt x="286723" y="20367"/>
                    </a:lnTo>
                    <a:lnTo>
                      <a:pt x="288134" y="20102"/>
                    </a:lnTo>
                    <a:lnTo>
                      <a:pt x="288399" y="20984"/>
                    </a:lnTo>
                    <a:lnTo>
                      <a:pt x="290162" y="20984"/>
                    </a:lnTo>
                    <a:lnTo>
                      <a:pt x="291044" y="20984"/>
                    </a:lnTo>
                    <a:lnTo>
                      <a:pt x="291044" y="20102"/>
                    </a:lnTo>
                    <a:lnTo>
                      <a:pt x="293689" y="20102"/>
                    </a:lnTo>
                    <a:lnTo>
                      <a:pt x="293072" y="19485"/>
                    </a:lnTo>
                    <a:lnTo>
                      <a:pt x="291925" y="19485"/>
                    </a:lnTo>
                    <a:lnTo>
                      <a:pt x="291661" y="17457"/>
                    </a:lnTo>
                    <a:lnTo>
                      <a:pt x="290427" y="17722"/>
                    </a:lnTo>
                    <a:lnTo>
                      <a:pt x="290427" y="15782"/>
                    </a:lnTo>
                    <a:lnTo>
                      <a:pt x="288751" y="14900"/>
                    </a:lnTo>
                    <a:lnTo>
                      <a:pt x="287781" y="14900"/>
                    </a:lnTo>
                    <a:lnTo>
                      <a:pt x="287252" y="13931"/>
                    </a:lnTo>
                    <a:lnTo>
                      <a:pt x="285489" y="13137"/>
                    </a:lnTo>
                    <a:lnTo>
                      <a:pt x="283197" y="13137"/>
                    </a:lnTo>
                    <a:lnTo>
                      <a:pt x="281169" y="12785"/>
                    </a:lnTo>
                    <a:lnTo>
                      <a:pt x="280552" y="12785"/>
                    </a:lnTo>
                    <a:lnTo>
                      <a:pt x="279406" y="13401"/>
                    </a:lnTo>
                    <a:lnTo>
                      <a:pt x="278788" y="13401"/>
                    </a:lnTo>
                    <a:lnTo>
                      <a:pt x="276496" y="12520"/>
                    </a:lnTo>
                    <a:lnTo>
                      <a:pt x="274468" y="11638"/>
                    </a:lnTo>
                    <a:lnTo>
                      <a:pt x="273586" y="12520"/>
                    </a:lnTo>
                    <a:lnTo>
                      <a:pt x="272969" y="12520"/>
                    </a:lnTo>
                    <a:lnTo>
                      <a:pt x="272087" y="12785"/>
                    </a:lnTo>
                    <a:lnTo>
                      <a:pt x="270060" y="12785"/>
                    </a:lnTo>
                    <a:lnTo>
                      <a:pt x="255159" y="16311"/>
                    </a:lnTo>
                    <a:lnTo>
                      <a:pt x="209047" y="25657"/>
                    </a:lnTo>
                    <a:lnTo>
                      <a:pt x="206138" y="24511"/>
                    </a:lnTo>
                    <a:lnTo>
                      <a:pt x="204991" y="23629"/>
                    </a:lnTo>
                    <a:lnTo>
                      <a:pt x="200936" y="24158"/>
                    </a:lnTo>
                    <a:lnTo>
                      <a:pt x="198908" y="25304"/>
                    </a:lnTo>
                    <a:lnTo>
                      <a:pt x="196880" y="25922"/>
                    </a:lnTo>
                    <a:lnTo>
                      <a:pt x="195646" y="25657"/>
                    </a:lnTo>
                    <a:lnTo>
                      <a:pt x="195381" y="25040"/>
                    </a:lnTo>
                    <a:lnTo>
                      <a:pt x="194852" y="25657"/>
                    </a:lnTo>
                    <a:lnTo>
                      <a:pt x="193089" y="24775"/>
                    </a:lnTo>
                    <a:lnTo>
                      <a:pt x="191590" y="24511"/>
                    </a:lnTo>
                    <a:lnTo>
                      <a:pt x="190708" y="24775"/>
                    </a:lnTo>
                    <a:lnTo>
                      <a:pt x="188680" y="23012"/>
                    </a:lnTo>
                    <a:lnTo>
                      <a:pt x="185771" y="22130"/>
                    </a:lnTo>
                    <a:lnTo>
                      <a:pt x="184272" y="22130"/>
                    </a:lnTo>
                    <a:lnTo>
                      <a:pt x="182861" y="22130"/>
                    </a:lnTo>
                    <a:lnTo>
                      <a:pt x="181979" y="23277"/>
                    </a:lnTo>
                    <a:lnTo>
                      <a:pt x="181362" y="22483"/>
                    </a:lnTo>
                    <a:lnTo>
                      <a:pt x="178453" y="22130"/>
                    </a:lnTo>
                    <a:lnTo>
                      <a:pt x="177306" y="21866"/>
                    </a:lnTo>
                    <a:lnTo>
                      <a:pt x="175808" y="22130"/>
                    </a:lnTo>
                    <a:lnTo>
                      <a:pt x="174133" y="22130"/>
                    </a:lnTo>
                    <a:lnTo>
                      <a:pt x="173780" y="22483"/>
                    </a:lnTo>
                    <a:lnTo>
                      <a:pt x="173515" y="22130"/>
                    </a:lnTo>
                    <a:lnTo>
                      <a:pt x="172634" y="22130"/>
                    </a:lnTo>
                    <a:lnTo>
                      <a:pt x="172369" y="21513"/>
                    </a:lnTo>
                    <a:lnTo>
                      <a:pt x="169460" y="21866"/>
                    </a:lnTo>
                    <a:lnTo>
                      <a:pt x="164787" y="21513"/>
                    </a:lnTo>
                    <a:lnTo>
                      <a:pt x="164787" y="20984"/>
                    </a:lnTo>
                    <a:lnTo>
                      <a:pt x="162406" y="20984"/>
                    </a:lnTo>
                    <a:lnTo>
                      <a:pt x="162406" y="20367"/>
                    </a:lnTo>
                    <a:lnTo>
                      <a:pt x="161524" y="20367"/>
                    </a:lnTo>
                    <a:lnTo>
                      <a:pt x="160643" y="20367"/>
                    </a:lnTo>
                    <a:lnTo>
                      <a:pt x="160114" y="21866"/>
                    </a:lnTo>
                    <a:lnTo>
                      <a:pt x="156587" y="20984"/>
                    </a:lnTo>
                    <a:lnTo>
                      <a:pt x="152531" y="19221"/>
                    </a:lnTo>
                    <a:lnTo>
                      <a:pt x="150415" y="16928"/>
                    </a:lnTo>
                    <a:lnTo>
                      <a:pt x="149622" y="16311"/>
                    </a:lnTo>
                    <a:lnTo>
                      <a:pt x="148387" y="14900"/>
                    </a:lnTo>
                    <a:lnTo>
                      <a:pt x="147858" y="14548"/>
                    </a:lnTo>
                    <a:lnTo>
                      <a:pt x="147241" y="13666"/>
                    </a:lnTo>
                    <a:lnTo>
                      <a:pt x="146095" y="11374"/>
                    </a:lnTo>
                    <a:lnTo>
                      <a:pt x="145213" y="9346"/>
                    </a:lnTo>
                    <a:lnTo>
                      <a:pt x="93018" y="9610"/>
                    </a:lnTo>
                    <a:lnTo>
                      <a:pt x="53959" y="9610"/>
                    </a:lnTo>
                    <a:lnTo>
                      <a:pt x="52460" y="11109"/>
                    </a:lnTo>
                    <a:lnTo>
                      <a:pt x="48933" y="11109"/>
                    </a:lnTo>
                    <a:lnTo>
                      <a:pt x="47170" y="10228"/>
                    </a:lnTo>
                    <a:lnTo>
                      <a:pt x="46376" y="8112"/>
                    </a:lnTo>
                    <a:lnTo>
                      <a:pt x="43996" y="7318"/>
                    </a:lnTo>
                    <a:lnTo>
                      <a:pt x="38706" y="3791"/>
                    </a:lnTo>
                    <a:lnTo>
                      <a:pt x="39059" y="2645"/>
                    </a:lnTo>
                    <a:lnTo>
                      <a:pt x="37912" y="1763"/>
                    </a:lnTo>
                    <a:lnTo>
                      <a:pt x="36149" y="264"/>
                    </a:lnTo>
                    <a:lnTo>
                      <a:pt x="32622" y="264"/>
                    </a:lnTo>
                    <a:lnTo>
                      <a:pt x="31211" y="0"/>
                    </a:lnTo>
                    <a:lnTo>
                      <a:pt x="29448" y="0"/>
                    </a:lnTo>
                    <a:lnTo>
                      <a:pt x="27332" y="0"/>
                    </a:lnTo>
                    <a:lnTo>
                      <a:pt x="24158" y="1763"/>
                    </a:lnTo>
                    <a:lnTo>
                      <a:pt x="20984" y="3791"/>
                    </a:lnTo>
                    <a:lnTo>
                      <a:pt x="19221" y="4408"/>
                    </a:lnTo>
                    <a:lnTo>
                      <a:pt x="18603" y="5819"/>
                    </a:lnTo>
                    <a:lnTo>
                      <a:pt x="16840" y="6701"/>
                    </a:lnTo>
                    <a:lnTo>
                      <a:pt x="14283" y="6084"/>
                    </a:lnTo>
                    <a:lnTo>
                      <a:pt x="11021" y="6436"/>
                    </a:lnTo>
                    <a:lnTo>
                      <a:pt x="9875" y="5819"/>
                    </a:lnTo>
                    <a:lnTo>
                      <a:pt x="9258" y="4673"/>
                    </a:lnTo>
                    <a:lnTo>
                      <a:pt x="6701" y="4408"/>
                    </a:lnTo>
                    <a:lnTo>
                      <a:pt x="4585" y="5202"/>
                    </a:lnTo>
                    <a:lnTo>
                      <a:pt x="2909" y="6436"/>
                    </a:lnTo>
                    <a:lnTo>
                      <a:pt x="2292" y="6701"/>
                    </a:lnTo>
                    <a:lnTo>
                      <a:pt x="1675" y="7318"/>
                    </a:lnTo>
                    <a:lnTo>
                      <a:pt x="264" y="6436"/>
                    </a:lnTo>
                    <a:lnTo>
                      <a:pt x="529" y="7318"/>
                    </a:lnTo>
                    <a:lnTo>
                      <a:pt x="264" y="9610"/>
                    </a:lnTo>
                    <a:lnTo>
                      <a:pt x="264" y="13931"/>
                    </a:lnTo>
                    <a:lnTo>
                      <a:pt x="0" y="20102"/>
                    </a:lnTo>
                    <a:lnTo>
                      <a:pt x="793" y="21866"/>
                    </a:lnTo>
                    <a:lnTo>
                      <a:pt x="529" y="23894"/>
                    </a:lnTo>
                    <a:lnTo>
                      <a:pt x="1146" y="27156"/>
                    </a:lnTo>
                    <a:lnTo>
                      <a:pt x="4585" y="31212"/>
                    </a:lnTo>
                    <a:lnTo>
                      <a:pt x="4585" y="32975"/>
                    </a:lnTo>
                    <a:lnTo>
                      <a:pt x="5466" y="34121"/>
                    </a:lnTo>
                    <a:lnTo>
                      <a:pt x="5466" y="35885"/>
                    </a:lnTo>
                    <a:lnTo>
                      <a:pt x="5819" y="37031"/>
                    </a:lnTo>
                    <a:lnTo>
                      <a:pt x="8464" y="39676"/>
                    </a:lnTo>
                    <a:lnTo>
                      <a:pt x="11903" y="42850"/>
                    </a:lnTo>
                    <a:lnTo>
                      <a:pt x="15429" y="48669"/>
                    </a:lnTo>
                    <a:lnTo>
                      <a:pt x="15429" y="50168"/>
                    </a:lnTo>
                    <a:lnTo>
                      <a:pt x="16576" y="51314"/>
                    </a:lnTo>
                    <a:lnTo>
                      <a:pt x="17722" y="52460"/>
                    </a:lnTo>
                    <a:lnTo>
                      <a:pt x="18603" y="55987"/>
                    </a:lnTo>
                    <a:lnTo>
                      <a:pt x="19838" y="57750"/>
                    </a:lnTo>
                    <a:lnTo>
                      <a:pt x="20102" y="60395"/>
                    </a:lnTo>
                    <a:lnTo>
                      <a:pt x="26803" y="74061"/>
                    </a:lnTo>
                    <a:lnTo>
                      <a:pt x="27332" y="76354"/>
                    </a:lnTo>
                    <a:lnTo>
                      <a:pt x="29448" y="78734"/>
                    </a:lnTo>
                    <a:lnTo>
                      <a:pt x="30330" y="79352"/>
                    </a:lnTo>
                    <a:lnTo>
                      <a:pt x="30859" y="82261"/>
                    </a:lnTo>
                    <a:lnTo>
                      <a:pt x="31476" y="86317"/>
                    </a:lnTo>
                    <a:lnTo>
                      <a:pt x="33768" y="91607"/>
                    </a:lnTo>
                    <a:lnTo>
                      <a:pt x="33768" y="93370"/>
                    </a:lnTo>
                    <a:lnTo>
                      <a:pt x="34121" y="95046"/>
                    </a:lnTo>
                    <a:lnTo>
                      <a:pt x="34650" y="96192"/>
                    </a:lnTo>
                    <a:lnTo>
                      <a:pt x="34915" y="97955"/>
                    </a:lnTo>
                    <a:lnTo>
                      <a:pt x="35796" y="99101"/>
                    </a:lnTo>
                    <a:lnTo>
                      <a:pt x="36678" y="100336"/>
                    </a:lnTo>
                    <a:lnTo>
                      <a:pt x="37912" y="101482"/>
                    </a:lnTo>
                    <a:lnTo>
                      <a:pt x="37912" y="102364"/>
                    </a:lnTo>
                    <a:lnTo>
                      <a:pt x="37560" y="102893"/>
                    </a:lnTo>
                    <a:lnTo>
                      <a:pt x="38706" y="105009"/>
                    </a:lnTo>
                    <a:lnTo>
                      <a:pt x="40205" y="106419"/>
                    </a:lnTo>
                    <a:lnTo>
                      <a:pt x="41703" y="108800"/>
                    </a:lnTo>
                    <a:lnTo>
                      <a:pt x="43996" y="112238"/>
                    </a:lnTo>
                    <a:lnTo>
                      <a:pt x="44260" y="113473"/>
                    </a:lnTo>
                    <a:lnTo>
                      <a:pt x="44613" y="114883"/>
                    </a:lnTo>
                    <a:lnTo>
                      <a:pt x="45495" y="116647"/>
                    </a:lnTo>
                    <a:lnTo>
                      <a:pt x="46376" y="117793"/>
                    </a:lnTo>
                    <a:lnTo>
                      <a:pt x="46905" y="118410"/>
                    </a:lnTo>
                    <a:lnTo>
                      <a:pt x="46641" y="119027"/>
                    </a:lnTo>
                    <a:lnTo>
                      <a:pt x="46024" y="119556"/>
                    </a:lnTo>
                    <a:lnTo>
                      <a:pt x="47523" y="121055"/>
                    </a:lnTo>
                    <a:lnTo>
                      <a:pt x="53077" y="128020"/>
                    </a:lnTo>
                    <a:lnTo>
                      <a:pt x="53342" y="129431"/>
                    </a:lnTo>
                    <a:lnTo>
                      <a:pt x="54841" y="131812"/>
                    </a:lnTo>
                    <a:lnTo>
                      <a:pt x="56251" y="135603"/>
                    </a:lnTo>
                    <a:lnTo>
                      <a:pt x="56251" y="1367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8" name="Freihandform: Form 1797">
                <a:extLst>
                  <a:ext uri="{FF2B5EF4-FFF2-40B4-BE49-F238E27FC236}">
                    <a16:creationId xmlns:a16="http://schemas.microsoft.com/office/drawing/2014/main" id="{84C32FFF-19D4-003B-F5B5-0B8786AC33E6}"/>
                  </a:ext>
                </a:extLst>
              </p:cNvPr>
              <p:cNvSpPr/>
              <p:nvPr/>
            </p:nvSpPr>
            <p:spPr>
              <a:xfrm>
                <a:off x="4727841" y="4408374"/>
                <a:ext cx="231882" cy="411305"/>
              </a:xfrm>
              <a:custGeom>
                <a:avLst/>
                <a:gdLst>
                  <a:gd name="connsiteX0" fmla="*/ 42321 w 231882"/>
                  <a:gd name="connsiteY0" fmla="*/ 411306 h 411305"/>
                  <a:gd name="connsiteX1" fmla="*/ 32093 w 231882"/>
                  <a:gd name="connsiteY1" fmla="*/ 411306 h 411305"/>
                  <a:gd name="connsiteX2" fmla="*/ 26891 w 231882"/>
                  <a:gd name="connsiteY2" fmla="*/ 410424 h 411305"/>
                  <a:gd name="connsiteX3" fmla="*/ 27420 w 231882"/>
                  <a:gd name="connsiteY3" fmla="*/ 402224 h 411305"/>
                  <a:gd name="connsiteX4" fmla="*/ 26274 w 231882"/>
                  <a:gd name="connsiteY4" fmla="*/ 400196 h 411305"/>
                  <a:gd name="connsiteX5" fmla="*/ 26538 w 231882"/>
                  <a:gd name="connsiteY5" fmla="*/ 396405 h 411305"/>
                  <a:gd name="connsiteX6" fmla="*/ 26891 w 231882"/>
                  <a:gd name="connsiteY6" fmla="*/ 390233 h 411305"/>
                  <a:gd name="connsiteX7" fmla="*/ 25393 w 231882"/>
                  <a:gd name="connsiteY7" fmla="*/ 388294 h 411305"/>
                  <a:gd name="connsiteX8" fmla="*/ 24246 w 231882"/>
                  <a:gd name="connsiteY8" fmla="*/ 385031 h 411305"/>
                  <a:gd name="connsiteX9" fmla="*/ 26010 w 231882"/>
                  <a:gd name="connsiteY9" fmla="*/ 381505 h 411305"/>
                  <a:gd name="connsiteX10" fmla="*/ 26891 w 231882"/>
                  <a:gd name="connsiteY10" fmla="*/ 369249 h 411305"/>
                  <a:gd name="connsiteX11" fmla="*/ 27420 w 231882"/>
                  <a:gd name="connsiteY11" fmla="*/ 356112 h 411305"/>
                  <a:gd name="connsiteX12" fmla="*/ 28037 w 231882"/>
                  <a:gd name="connsiteY12" fmla="*/ 348882 h 411305"/>
                  <a:gd name="connsiteX13" fmla="*/ 25745 w 231882"/>
                  <a:gd name="connsiteY13" fmla="*/ 343592 h 411305"/>
                  <a:gd name="connsiteX14" fmla="*/ 26010 w 231882"/>
                  <a:gd name="connsiteY14" fmla="*/ 338038 h 411305"/>
                  <a:gd name="connsiteX15" fmla="*/ 24246 w 231882"/>
                  <a:gd name="connsiteY15" fmla="*/ 336363 h 411305"/>
                  <a:gd name="connsiteX16" fmla="*/ 21954 w 231882"/>
                  <a:gd name="connsiteY16" fmla="*/ 331601 h 411305"/>
                  <a:gd name="connsiteX17" fmla="*/ 22218 w 231882"/>
                  <a:gd name="connsiteY17" fmla="*/ 330191 h 411305"/>
                  <a:gd name="connsiteX18" fmla="*/ 19573 w 231882"/>
                  <a:gd name="connsiteY18" fmla="*/ 327017 h 411305"/>
                  <a:gd name="connsiteX19" fmla="*/ 19573 w 231882"/>
                  <a:gd name="connsiteY19" fmla="*/ 325253 h 411305"/>
                  <a:gd name="connsiteX20" fmla="*/ 20191 w 231882"/>
                  <a:gd name="connsiteY20" fmla="*/ 319699 h 411305"/>
                  <a:gd name="connsiteX21" fmla="*/ 15782 w 231882"/>
                  <a:gd name="connsiteY21" fmla="*/ 296687 h 411305"/>
                  <a:gd name="connsiteX22" fmla="*/ 39676 w 231882"/>
                  <a:gd name="connsiteY22" fmla="*/ 273939 h 411305"/>
                  <a:gd name="connsiteX23" fmla="*/ 41174 w 231882"/>
                  <a:gd name="connsiteY23" fmla="*/ 273322 h 411305"/>
                  <a:gd name="connsiteX24" fmla="*/ 42585 w 231882"/>
                  <a:gd name="connsiteY24" fmla="*/ 273939 h 411305"/>
                  <a:gd name="connsiteX25" fmla="*/ 40293 w 231882"/>
                  <a:gd name="connsiteY25" fmla="*/ 270413 h 411305"/>
                  <a:gd name="connsiteX26" fmla="*/ 41174 w 231882"/>
                  <a:gd name="connsiteY26" fmla="*/ 269266 h 411305"/>
                  <a:gd name="connsiteX27" fmla="*/ 40029 w 231882"/>
                  <a:gd name="connsiteY27" fmla="*/ 268032 h 411305"/>
                  <a:gd name="connsiteX28" fmla="*/ 42321 w 231882"/>
                  <a:gd name="connsiteY28" fmla="*/ 265122 h 411305"/>
                  <a:gd name="connsiteX29" fmla="*/ 43467 w 231882"/>
                  <a:gd name="connsiteY29" fmla="*/ 263095 h 411305"/>
                  <a:gd name="connsiteX30" fmla="*/ 43467 w 231882"/>
                  <a:gd name="connsiteY30" fmla="*/ 254895 h 411305"/>
                  <a:gd name="connsiteX31" fmla="*/ 44701 w 231882"/>
                  <a:gd name="connsiteY31" fmla="*/ 253837 h 411305"/>
                  <a:gd name="connsiteX32" fmla="*/ 46994 w 231882"/>
                  <a:gd name="connsiteY32" fmla="*/ 253837 h 411305"/>
                  <a:gd name="connsiteX33" fmla="*/ 52196 w 231882"/>
                  <a:gd name="connsiteY33" fmla="*/ 246166 h 411305"/>
                  <a:gd name="connsiteX34" fmla="*/ 52548 w 231882"/>
                  <a:gd name="connsiteY34" fmla="*/ 242728 h 411305"/>
                  <a:gd name="connsiteX35" fmla="*/ 54047 w 231882"/>
                  <a:gd name="connsiteY35" fmla="*/ 242111 h 411305"/>
                  <a:gd name="connsiteX36" fmla="*/ 54047 w 231882"/>
                  <a:gd name="connsiteY36" fmla="*/ 240612 h 411305"/>
                  <a:gd name="connsiteX37" fmla="*/ 56075 w 231882"/>
                  <a:gd name="connsiteY37" fmla="*/ 240612 h 411305"/>
                  <a:gd name="connsiteX38" fmla="*/ 55458 w 231882"/>
                  <a:gd name="connsiteY38" fmla="*/ 238319 h 411305"/>
                  <a:gd name="connsiteX39" fmla="*/ 56604 w 231882"/>
                  <a:gd name="connsiteY39" fmla="*/ 235145 h 411305"/>
                  <a:gd name="connsiteX40" fmla="*/ 54841 w 231882"/>
                  <a:gd name="connsiteY40" fmla="*/ 233646 h 411305"/>
                  <a:gd name="connsiteX41" fmla="*/ 54841 w 231882"/>
                  <a:gd name="connsiteY41" fmla="*/ 231354 h 411305"/>
                  <a:gd name="connsiteX42" fmla="*/ 53695 w 231882"/>
                  <a:gd name="connsiteY42" fmla="*/ 232500 h 411305"/>
                  <a:gd name="connsiteX43" fmla="*/ 52196 w 231882"/>
                  <a:gd name="connsiteY43" fmla="*/ 232500 h 411305"/>
                  <a:gd name="connsiteX44" fmla="*/ 52548 w 231882"/>
                  <a:gd name="connsiteY44" fmla="*/ 227827 h 411305"/>
                  <a:gd name="connsiteX45" fmla="*/ 51050 w 231882"/>
                  <a:gd name="connsiteY45" fmla="*/ 226681 h 411305"/>
                  <a:gd name="connsiteX46" fmla="*/ 53695 w 231882"/>
                  <a:gd name="connsiteY46" fmla="*/ 217600 h 411305"/>
                  <a:gd name="connsiteX47" fmla="*/ 52548 w 231882"/>
                  <a:gd name="connsiteY47" fmla="*/ 215572 h 411305"/>
                  <a:gd name="connsiteX48" fmla="*/ 49903 w 231882"/>
                  <a:gd name="connsiteY48" fmla="*/ 215307 h 411305"/>
                  <a:gd name="connsiteX49" fmla="*/ 49903 w 231882"/>
                  <a:gd name="connsiteY49" fmla="*/ 211163 h 411305"/>
                  <a:gd name="connsiteX50" fmla="*/ 54312 w 231882"/>
                  <a:gd name="connsiteY50" fmla="*/ 209753 h 411305"/>
                  <a:gd name="connsiteX51" fmla="*/ 54841 w 231882"/>
                  <a:gd name="connsiteY51" fmla="*/ 209488 h 411305"/>
                  <a:gd name="connsiteX52" fmla="*/ 55722 w 231882"/>
                  <a:gd name="connsiteY52" fmla="*/ 207725 h 411305"/>
                  <a:gd name="connsiteX53" fmla="*/ 54312 w 231882"/>
                  <a:gd name="connsiteY53" fmla="*/ 204198 h 411305"/>
                  <a:gd name="connsiteX54" fmla="*/ 57486 w 231882"/>
                  <a:gd name="connsiteY54" fmla="*/ 202170 h 411305"/>
                  <a:gd name="connsiteX55" fmla="*/ 57221 w 231882"/>
                  <a:gd name="connsiteY55" fmla="*/ 200407 h 411305"/>
                  <a:gd name="connsiteX56" fmla="*/ 58103 w 231882"/>
                  <a:gd name="connsiteY56" fmla="*/ 199525 h 411305"/>
                  <a:gd name="connsiteX57" fmla="*/ 58367 w 231882"/>
                  <a:gd name="connsiteY57" fmla="*/ 199261 h 411305"/>
                  <a:gd name="connsiteX58" fmla="*/ 56604 w 231882"/>
                  <a:gd name="connsiteY58" fmla="*/ 196351 h 411305"/>
                  <a:gd name="connsiteX59" fmla="*/ 57486 w 231882"/>
                  <a:gd name="connsiteY59" fmla="*/ 195117 h 411305"/>
                  <a:gd name="connsiteX60" fmla="*/ 56604 w 231882"/>
                  <a:gd name="connsiteY60" fmla="*/ 191943 h 411305"/>
                  <a:gd name="connsiteX61" fmla="*/ 56868 w 231882"/>
                  <a:gd name="connsiteY61" fmla="*/ 190179 h 411305"/>
                  <a:gd name="connsiteX62" fmla="*/ 56604 w 231882"/>
                  <a:gd name="connsiteY62" fmla="*/ 189915 h 411305"/>
                  <a:gd name="connsiteX63" fmla="*/ 56868 w 231882"/>
                  <a:gd name="connsiteY63" fmla="*/ 189650 h 411305"/>
                  <a:gd name="connsiteX64" fmla="*/ 56868 w 231882"/>
                  <a:gd name="connsiteY64" fmla="*/ 188769 h 411305"/>
                  <a:gd name="connsiteX65" fmla="*/ 56604 w 231882"/>
                  <a:gd name="connsiteY65" fmla="*/ 187270 h 411305"/>
                  <a:gd name="connsiteX66" fmla="*/ 57221 w 231882"/>
                  <a:gd name="connsiteY66" fmla="*/ 185242 h 411305"/>
                  <a:gd name="connsiteX67" fmla="*/ 58103 w 231882"/>
                  <a:gd name="connsiteY67" fmla="*/ 185242 h 411305"/>
                  <a:gd name="connsiteX68" fmla="*/ 58367 w 231882"/>
                  <a:gd name="connsiteY68" fmla="*/ 183214 h 411305"/>
                  <a:gd name="connsiteX69" fmla="*/ 58985 w 231882"/>
                  <a:gd name="connsiteY69" fmla="*/ 180040 h 411305"/>
                  <a:gd name="connsiteX70" fmla="*/ 57486 w 231882"/>
                  <a:gd name="connsiteY70" fmla="*/ 179070 h 411305"/>
                  <a:gd name="connsiteX71" fmla="*/ 58103 w 231882"/>
                  <a:gd name="connsiteY71" fmla="*/ 177042 h 411305"/>
                  <a:gd name="connsiteX72" fmla="*/ 59249 w 231882"/>
                  <a:gd name="connsiteY72" fmla="*/ 174485 h 411305"/>
                  <a:gd name="connsiteX73" fmla="*/ 58367 w 231882"/>
                  <a:gd name="connsiteY73" fmla="*/ 172987 h 411305"/>
                  <a:gd name="connsiteX74" fmla="*/ 57838 w 231882"/>
                  <a:gd name="connsiteY74" fmla="*/ 169195 h 411305"/>
                  <a:gd name="connsiteX75" fmla="*/ 55458 w 231882"/>
                  <a:gd name="connsiteY75" fmla="*/ 163641 h 411305"/>
                  <a:gd name="connsiteX76" fmla="*/ 57221 w 231882"/>
                  <a:gd name="connsiteY76" fmla="*/ 161877 h 411305"/>
                  <a:gd name="connsiteX77" fmla="*/ 58985 w 231882"/>
                  <a:gd name="connsiteY77" fmla="*/ 158439 h 411305"/>
                  <a:gd name="connsiteX78" fmla="*/ 57486 w 231882"/>
                  <a:gd name="connsiteY78" fmla="*/ 158086 h 411305"/>
                  <a:gd name="connsiteX79" fmla="*/ 53695 w 231882"/>
                  <a:gd name="connsiteY79" fmla="*/ 158439 h 411305"/>
                  <a:gd name="connsiteX80" fmla="*/ 52196 w 231882"/>
                  <a:gd name="connsiteY80" fmla="*/ 157557 h 411305"/>
                  <a:gd name="connsiteX81" fmla="*/ 52196 w 231882"/>
                  <a:gd name="connsiteY81" fmla="*/ 155176 h 411305"/>
                  <a:gd name="connsiteX82" fmla="*/ 45847 w 231882"/>
                  <a:gd name="connsiteY82" fmla="*/ 152002 h 411305"/>
                  <a:gd name="connsiteX83" fmla="*/ 42938 w 231882"/>
                  <a:gd name="connsiteY83" fmla="*/ 151738 h 411305"/>
                  <a:gd name="connsiteX84" fmla="*/ 39147 w 231882"/>
                  <a:gd name="connsiteY84" fmla="*/ 152002 h 411305"/>
                  <a:gd name="connsiteX85" fmla="*/ 35003 w 231882"/>
                  <a:gd name="connsiteY85" fmla="*/ 151121 h 411305"/>
                  <a:gd name="connsiteX86" fmla="*/ 35003 w 231882"/>
                  <a:gd name="connsiteY86" fmla="*/ 149357 h 411305"/>
                  <a:gd name="connsiteX87" fmla="*/ 31564 w 231882"/>
                  <a:gd name="connsiteY87" fmla="*/ 145831 h 411305"/>
                  <a:gd name="connsiteX88" fmla="*/ 28037 w 231882"/>
                  <a:gd name="connsiteY88" fmla="*/ 145831 h 411305"/>
                  <a:gd name="connsiteX89" fmla="*/ 27156 w 231882"/>
                  <a:gd name="connsiteY89" fmla="*/ 144684 h 411305"/>
                  <a:gd name="connsiteX90" fmla="*/ 25393 w 231882"/>
                  <a:gd name="connsiteY90" fmla="*/ 144684 h 411305"/>
                  <a:gd name="connsiteX91" fmla="*/ 23982 w 231882"/>
                  <a:gd name="connsiteY91" fmla="*/ 143274 h 411305"/>
                  <a:gd name="connsiteX92" fmla="*/ 23100 w 231882"/>
                  <a:gd name="connsiteY92" fmla="*/ 141510 h 411305"/>
                  <a:gd name="connsiteX93" fmla="*/ 19309 w 231882"/>
                  <a:gd name="connsiteY93" fmla="*/ 140629 h 411305"/>
                  <a:gd name="connsiteX94" fmla="*/ 18427 w 231882"/>
                  <a:gd name="connsiteY94" fmla="*/ 141246 h 411305"/>
                  <a:gd name="connsiteX95" fmla="*/ 17545 w 231882"/>
                  <a:gd name="connsiteY95" fmla="*/ 141246 h 411305"/>
                  <a:gd name="connsiteX96" fmla="*/ 14900 w 231882"/>
                  <a:gd name="connsiteY96" fmla="*/ 141510 h 411305"/>
                  <a:gd name="connsiteX97" fmla="*/ 15165 w 231882"/>
                  <a:gd name="connsiteY97" fmla="*/ 140629 h 411305"/>
                  <a:gd name="connsiteX98" fmla="*/ 3527 w 231882"/>
                  <a:gd name="connsiteY98" fmla="*/ 140893 h 411305"/>
                  <a:gd name="connsiteX99" fmla="*/ 3791 w 231882"/>
                  <a:gd name="connsiteY99" fmla="*/ 131547 h 411305"/>
                  <a:gd name="connsiteX100" fmla="*/ 3262 w 231882"/>
                  <a:gd name="connsiteY100" fmla="*/ 130401 h 411305"/>
                  <a:gd name="connsiteX101" fmla="*/ 2645 w 231882"/>
                  <a:gd name="connsiteY101" fmla="*/ 129255 h 411305"/>
                  <a:gd name="connsiteX102" fmla="*/ 3262 w 231882"/>
                  <a:gd name="connsiteY102" fmla="*/ 127492 h 411305"/>
                  <a:gd name="connsiteX103" fmla="*/ 2909 w 231882"/>
                  <a:gd name="connsiteY103" fmla="*/ 123436 h 411305"/>
                  <a:gd name="connsiteX104" fmla="*/ 353 w 231882"/>
                  <a:gd name="connsiteY104" fmla="*/ 121055 h 411305"/>
                  <a:gd name="connsiteX105" fmla="*/ 0 w 231882"/>
                  <a:gd name="connsiteY105" fmla="*/ 118146 h 411305"/>
                  <a:gd name="connsiteX106" fmla="*/ 0 w 231882"/>
                  <a:gd name="connsiteY106" fmla="*/ 115236 h 411305"/>
                  <a:gd name="connsiteX107" fmla="*/ 2909 w 231882"/>
                  <a:gd name="connsiteY107" fmla="*/ 114619 h 411305"/>
                  <a:gd name="connsiteX108" fmla="*/ 8200 w 231882"/>
                  <a:gd name="connsiteY108" fmla="*/ 112591 h 411305"/>
                  <a:gd name="connsiteX109" fmla="*/ 14636 w 231882"/>
                  <a:gd name="connsiteY109" fmla="*/ 109946 h 411305"/>
                  <a:gd name="connsiteX110" fmla="*/ 27773 w 231882"/>
                  <a:gd name="connsiteY110" fmla="*/ 106243 h 411305"/>
                  <a:gd name="connsiteX111" fmla="*/ 42585 w 231882"/>
                  <a:gd name="connsiteY111" fmla="*/ 99454 h 411305"/>
                  <a:gd name="connsiteX112" fmla="*/ 66832 w 231882"/>
                  <a:gd name="connsiteY112" fmla="*/ 91078 h 411305"/>
                  <a:gd name="connsiteX113" fmla="*/ 67978 w 231882"/>
                  <a:gd name="connsiteY113" fmla="*/ 91343 h 411305"/>
                  <a:gd name="connsiteX114" fmla="*/ 67978 w 231882"/>
                  <a:gd name="connsiteY114" fmla="*/ 93371 h 411305"/>
                  <a:gd name="connsiteX115" fmla="*/ 69741 w 231882"/>
                  <a:gd name="connsiteY115" fmla="*/ 95398 h 411305"/>
                  <a:gd name="connsiteX116" fmla="*/ 71769 w 231882"/>
                  <a:gd name="connsiteY116" fmla="*/ 100688 h 411305"/>
                  <a:gd name="connsiteX117" fmla="*/ 72651 w 231882"/>
                  <a:gd name="connsiteY117" fmla="*/ 100688 h 411305"/>
                  <a:gd name="connsiteX118" fmla="*/ 75913 w 231882"/>
                  <a:gd name="connsiteY118" fmla="*/ 105361 h 411305"/>
                  <a:gd name="connsiteX119" fmla="*/ 77059 w 231882"/>
                  <a:gd name="connsiteY119" fmla="*/ 101835 h 411305"/>
                  <a:gd name="connsiteX120" fmla="*/ 78734 w 231882"/>
                  <a:gd name="connsiteY120" fmla="*/ 103245 h 411305"/>
                  <a:gd name="connsiteX121" fmla="*/ 91078 w 231882"/>
                  <a:gd name="connsiteY121" fmla="*/ 100688 h 411305"/>
                  <a:gd name="connsiteX122" fmla="*/ 94252 w 231882"/>
                  <a:gd name="connsiteY122" fmla="*/ 105009 h 411305"/>
                  <a:gd name="connsiteX123" fmla="*/ 95751 w 231882"/>
                  <a:gd name="connsiteY123" fmla="*/ 114972 h 411305"/>
                  <a:gd name="connsiteX124" fmla="*/ 95398 w 231882"/>
                  <a:gd name="connsiteY124" fmla="*/ 121320 h 411305"/>
                  <a:gd name="connsiteX125" fmla="*/ 93370 w 231882"/>
                  <a:gd name="connsiteY125" fmla="*/ 123700 h 411305"/>
                  <a:gd name="connsiteX126" fmla="*/ 93370 w 231882"/>
                  <a:gd name="connsiteY126" fmla="*/ 125728 h 411305"/>
                  <a:gd name="connsiteX127" fmla="*/ 92224 w 231882"/>
                  <a:gd name="connsiteY127" fmla="*/ 126081 h 411305"/>
                  <a:gd name="connsiteX128" fmla="*/ 91078 w 231882"/>
                  <a:gd name="connsiteY128" fmla="*/ 132165 h 411305"/>
                  <a:gd name="connsiteX129" fmla="*/ 87287 w 231882"/>
                  <a:gd name="connsiteY129" fmla="*/ 135691 h 411305"/>
                  <a:gd name="connsiteX130" fmla="*/ 86934 w 231882"/>
                  <a:gd name="connsiteY130" fmla="*/ 137455 h 411305"/>
                  <a:gd name="connsiteX131" fmla="*/ 90725 w 231882"/>
                  <a:gd name="connsiteY131" fmla="*/ 141775 h 411305"/>
                  <a:gd name="connsiteX132" fmla="*/ 89579 w 231882"/>
                  <a:gd name="connsiteY132" fmla="*/ 144684 h 411305"/>
                  <a:gd name="connsiteX133" fmla="*/ 91078 w 231882"/>
                  <a:gd name="connsiteY133" fmla="*/ 147065 h 411305"/>
                  <a:gd name="connsiteX134" fmla="*/ 93370 w 231882"/>
                  <a:gd name="connsiteY134" fmla="*/ 147594 h 411305"/>
                  <a:gd name="connsiteX135" fmla="*/ 95134 w 231882"/>
                  <a:gd name="connsiteY135" fmla="*/ 151738 h 411305"/>
                  <a:gd name="connsiteX136" fmla="*/ 97779 w 231882"/>
                  <a:gd name="connsiteY136" fmla="*/ 153149 h 411305"/>
                  <a:gd name="connsiteX137" fmla="*/ 99542 w 231882"/>
                  <a:gd name="connsiteY137" fmla="*/ 156940 h 411305"/>
                  <a:gd name="connsiteX138" fmla="*/ 100953 w 231882"/>
                  <a:gd name="connsiteY138" fmla="*/ 157557 h 411305"/>
                  <a:gd name="connsiteX139" fmla="*/ 100336 w 231882"/>
                  <a:gd name="connsiteY139" fmla="*/ 158968 h 411305"/>
                  <a:gd name="connsiteX140" fmla="*/ 101570 w 231882"/>
                  <a:gd name="connsiteY140" fmla="*/ 158703 h 411305"/>
                  <a:gd name="connsiteX141" fmla="*/ 102099 w 231882"/>
                  <a:gd name="connsiteY141" fmla="*/ 160202 h 411305"/>
                  <a:gd name="connsiteX142" fmla="*/ 105361 w 231882"/>
                  <a:gd name="connsiteY142" fmla="*/ 160731 h 411305"/>
                  <a:gd name="connsiteX143" fmla="*/ 104127 w 231882"/>
                  <a:gd name="connsiteY143" fmla="*/ 163641 h 411305"/>
                  <a:gd name="connsiteX144" fmla="*/ 102981 w 231882"/>
                  <a:gd name="connsiteY144" fmla="*/ 165404 h 411305"/>
                  <a:gd name="connsiteX145" fmla="*/ 103598 w 231882"/>
                  <a:gd name="connsiteY145" fmla="*/ 168578 h 411305"/>
                  <a:gd name="connsiteX146" fmla="*/ 108535 w 231882"/>
                  <a:gd name="connsiteY146" fmla="*/ 168578 h 411305"/>
                  <a:gd name="connsiteX147" fmla="*/ 108800 w 231882"/>
                  <a:gd name="connsiteY147" fmla="*/ 166021 h 411305"/>
                  <a:gd name="connsiteX148" fmla="*/ 108800 w 231882"/>
                  <a:gd name="connsiteY148" fmla="*/ 164258 h 411305"/>
                  <a:gd name="connsiteX149" fmla="*/ 107654 w 231882"/>
                  <a:gd name="connsiteY149" fmla="*/ 163993 h 411305"/>
                  <a:gd name="connsiteX150" fmla="*/ 109152 w 231882"/>
                  <a:gd name="connsiteY150" fmla="*/ 160202 h 411305"/>
                  <a:gd name="connsiteX151" fmla="*/ 108535 w 231882"/>
                  <a:gd name="connsiteY151" fmla="*/ 157557 h 411305"/>
                  <a:gd name="connsiteX152" fmla="*/ 105626 w 231882"/>
                  <a:gd name="connsiteY152" fmla="*/ 153413 h 411305"/>
                  <a:gd name="connsiteX153" fmla="*/ 108006 w 231882"/>
                  <a:gd name="connsiteY153" fmla="*/ 151738 h 411305"/>
                  <a:gd name="connsiteX154" fmla="*/ 109152 w 231882"/>
                  <a:gd name="connsiteY154" fmla="*/ 145831 h 411305"/>
                  <a:gd name="connsiteX155" fmla="*/ 111709 w 231882"/>
                  <a:gd name="connsiteY155" fmla="*/ 142921 h 411305"/>
                  <a:gd name="connsiteX156" fmla="*/ 114972 w 231882"/>
                  <a:gd name="connsiteY156" fmla="*/ 144155 h 411305"/>
                  <a:gd name="connsiteX157" fmla="*/ 115236 w 231882"/>
                  <a:gd name="connsiteY157" fmla="*/ 143274 h 411305"/>
                  <a:gd name="connsiteX158" fmla="*/ 118763 w 231882"/>
                  <a:gd name="connsiteY158" fmla="*/ 142921 h 411305"/>
                  <a:gd name="connsiteX159" fmla="*/ 120791 w 231882"/>
                  <a:gd name="connsiteY159" fmla="*/ 140629 h 411305"/>
                  <a:gd name="connsiteX160" fmla="*/ 122554 w 231882"/>
                  <a:gd name="connsiteY160" fmla="*/ 125728 h 411305"/>
                  <a:gd name="connsiteX161" fmla="*/ 121408 w 231882"/>
                  <a:gd name="connsiteY161" fmla="*/ 119645 h 411305"/>
                  <a:gd name="connsiteX162" fmla="*/ 124053 w 231882"/>
                  <a:gd name="connsiteY162" fmla="*/ 111709 h 411305"/>
                  <a:gd name="connsiteX163" fmla="*/ 123700 w 231882"/>
                  <a:gd name="connsiteY163" fmla="*/ 106243 h 411305"/>
                  <a:gd name="connsiteX164" fmla="*/ 115853 w 231882"/>
                  <a:gd name="connsiteY164" fmla="*/ 93371 h 411305"/>
                  <a:gd name="connsiteX165" fmla="*/ 107654 w 231882"/>
                  <a:gd name="connsiteY165" fmla="*/ 81997 h 411305"/>
                  <a:gd name="connsiteX166" fmla="*/ 102716 w 231882"/>
                  <a:gd name="connsiteY166" fmla="*/ 77324 h 411305"/>
                  <a:gd name="connsiteX167" fmla="*/ 98308 w 231882"/>
                  <a:gd name="connsiteY167" fmla="*/ 77324 h 411305"/>
                  <a:gd name="connsiteX168" fmla="*/ 96280 w 231882"/>
                  <a:gd name="connsiteY168" fmla="*/ 73268 h 411305"/>
                  <a:gd name="connsiteX169" fmla="*/ 96632 w 231882"/>
                  <a:gd name="connsiteY169" fmla="*/ 64187 h 411305"/>
                  <a:gd name="connsiteX170" fmla="*/ 92753 w 231882"/>
                  <a:gd name="connsiteY170" fmla="*/ 46465 h 411305"/>
                  <a:gd name="connsiteX171" fmla="*/ 95134 w 231882"/>
                  <a:gd name="connsiteY171" fmla="*/ 39411 h 411305"/>
                  <a:gd name="connsiteX172" fmla="*/ 98572 w 231882"/>
                  <a:gd name="connsiteY172" fmla="*/ 34474 h 411305"/>
                  <a:gd name="connsiteX173" fmla="*/ 99189 w 231882"/>
                  <a:gd name="connsiteY173" fmla="*/ 30330 h 411305"/>
                  <a:gd name="connsiteX174" fmla="*/ 106155 w 231882"/>
                  <a:gd name="connsiteY174" fmla="*/ 29184 h 411305"/>
                  <a:gd name="connsiteX175" fmla="*/ 116735 w 231882"/>
                  <a:gd name="connsiteY175" fmla="*/ 28919 h 411305"/>
                  <a:gd name="connsiteX176" fmla="*/ 116735 w 231882"/>
                  <a:gd name="connsiteY176" fmla="*/ 30330 h 411305"/>
                  <a:gd name="connsiteX177" fmla="*/ 120791 w 231882"/>
                  <a:gd name="connsiteY177" fmla="*/ 30330 h 411305"/>
                  <a:gd name="connsiteX178" fmla="*/ 122818 w 231882"/>
                  <a:gd name="connsiteY178" fmla="*/ 26627 h 411305"/>
                  <a:gd name="connsiteX179" fmla="*/ 125728 w 231882"/>
                  <a:gd name="connsiteY179" fmla="*/ 25745 h 411305"/>
                  <a:gd name="connsiteX180" fmla="*/ 128373 w 231882"/>
                  <a:gd name="connsiteY180" fmla="*/ 26627 h 411305"/>
                  <a:gd name="connsiteX181" fmla="*/ 128638 w 231882"/>
                  <a:gd name="connsiteY181" fmla="*/ 28302 h 411305"/>
                  <a:gd name="connsiteX182" fmla="*/ 131900 w 231882"/>
                  <a:gd name="connsiteY182" fmla="*/ 28919 h 411305"/>
                  <a:gd name="connsiteX183" fmla="*/ 133046 w 231882"/>
                  <a:gd name="connsiteY183" fmla="*/ 32975 h 411305"/>
                  <a:gd name="connsiteX184" fmla="*/ 139482 w 231882"/>
                  <a:gd name="connsiteY184" fmla="*/ 32358 h 411305"/>
                  <a:gd name="connsiteX185" fmla="*/ 140628 w 231882"/>
                  <a:gd name="connsiteY185" fmla="*/ 33592 h 411305"/>
                  <a:gd name="connsiteX186" fmla="*/ 143803 w 231882"/>
                  <a:gd name="connsiteY186" fmla="*/ 33328 h 411305"/>
                  <a:gd name="connsiteX187" fmla="*/ 147329 w 231882"/>
                  <a:gd name="connsiteY187" fmla="*/ 29184 h 411305"/>
                  <a:gd name="connsiteX188" fmla="*/ 148476 w 231882"/>
                  <a:gd name="connsiteY188" fmla="*/ 30330 h 411305"/>
                  <a:gd name="connsiteX189" fmla="*/ 151738 w 231882"/>
                  <a:gd name="connsiteY189" fmla="*/ 30330 h 411305"/>
                  <a:gd name="connsiteX190" fmla="*/ 152002 w 231882"/>
                  <a:gd name="connsiteY190" fmla="*/ 29184 h 411305"/>
                  <a:gd name="connsiteX191" fmla="*/ 154030 w 231882"/>
                  <a:gd name="connsiteY191" fmla="*/ 32358 h 411305"/>
                  <a:gd name="connsiteX192" fmla="*/ 156322 w 231882"/>
                  <a:gd name="connsiteY192" fmla="*/ 32975 h 411305"/>
                  <a:gd name="connsiteX193" fmla="*/ 158703 w 231882"/>
                  <a:gd name="connsiteY193" fmla="*/ 32358 h 411305"/>
                  <a:gd name="connsiteX194" fmla="*/ 160731 w 231882"/>
                  <a:gd name="connsiteY194" fmla="*/ 33592 h 411305"/>
                  <a:gd name="connsiteX195" fmla="*/ 163993 w 231882"/>
                  <a:gd name="connsiteY195" fmla="*/ 30947 h 411305"/>
                  <a:gd name="connsiteX196" fmla="*/ 165139 w 231882"/>
                  <a:gd name="connsiteY196" fmla="*/ 31829 h 411305"/>
                  <a:gd name="connsiteX197" fmla="*/ 165668 w 231882"/>
                  <a:gd name="connsiteY197" fmla="*/ 30330 h 411305"/>
                  <a:gd name="connsiteX198" fmla="*/ 169195 w 231882"/>
                  <a:gd name="connsiteY198" fmla="*/ 29184 h 411305"/>
                  <a:gd name="connsiteX199" fmla="*/ 172457 w 231882"/>
                  <a:gd name="connsiteY199" fmla="*/ 22219 h 411305"/>
                  <a:gd name="connsiteX200" fmla="*/ 178805 w 231882"/>
                  <a:gd name="connsiteY200" fmla="*/ 22219 h 411305"/>
                  <a:gd name="connsiteX201" fmla="*/ 181186 w 231882"/>
                  <a:gd name="connsiteY201" fmla="*/ 24864 h 411305"/>
                  <a:gd name="connsiteX202" fmla="*/ 183831 w 231882"/>
                  <a:gd name="connsiteY202" fmla="*/ 25745 h 411305"/>
                  <a:gd name="connsiteX203" fmla="*/ 187005 w 231882"/>
                  <a:gd name="connsiteY203" fmla="*/ 22219 h 411305"/>
                  <a:gd name="connsiteX204" fmla="*/ 189650 w 231882"/>
                  <a:gd name="connsiteY204" fmla="*/ 22219 h 411305"/>
                  <a:gd name="connsiteX205" fmla="*/ 192824 w 231882"/>
                  <a:gd name="connsiteY205" fmla="*/ 19309 h 411305"/>
                  <a:gd name="connsiteX206" fmla="*/ 201288 w 231882"/>
                  <a:gd name="connsiteY206" fmla="*/ 19309 h 411305"/>
                  <a:gd name="connsiteX207" fmla="*/ 206490 w 231882"/>
                  <a:gd name="connsiteY207" fmla="*/ 15782 h 411305"/>
                  <a:gd name="connsiteX208" fmla="*/ 217688 w 231882"/>
                  <a:gd name="connsiteY208" fmla="*/ 10580 h 411305"/>
                  <a:gd name="connsiteX209" fmla="*/ 222008 w 231882"/>
                  <a:gd name="connsiteY209" fmla="*/ 5555 h 411305"/>
                  <a:gd name="connsiteX210" fmla="*/ 226416 w 231882"/>
                  <a:gd name="connsiteY210" fmla="*/ 2998 h 411305"/>
                  <a:gd name="connsiteX211" fmla="*/ 228092 w 231882"/>
                  <a:gd name="connsiteY211" fmla="*/ 0 h 411305"/>
                  <a:gd name="connsiteX212" fmla="*/ 228709 w 231882"/>
                  <a:gd name="connsiteY212" fmla="*/ 2645 h 411305"/>
                  <a:gd name="connsiteX213" fmla="*/ 229591 w 231882"/>
                  <a:gd name="connsiteY213" fmla="*/ 2645 h 411305"/>
                  <a:gd name="connsiteX214" fmla="*/ 229855 w 231882"/>
                  <a:gd name="connsiteY214" fmla="*/ 3527 h 411305"/>
                  <a:gd name="connsiteX215" fmla="*/ 230208 w 231882"/>
                  <a:gd name="connsiteY215" fmla="*/ 4408 h 411305"/>
                  <a:gd name="connsiteX216" fmla="*/ 228973 w 231882"/>
                  <a:gd name="connsiteY216" fmla="*/ 5026 h 411305"/>
                  <a:gd name="connsiteX217" fmla="*/ 229591 w 231882"/>
                  <a:gd name="connsiteY217" fmla="*/ 5555 h 411305"/>
                  <a:gd name="connsiteX218" fmla="*/ 230472 w 231882"/>
                  <a:gd name="connsiteY218" fmla="*/ 5555 h 411305"/>
                  <a:gd name="connsiteX219" fmla="*/ 230208 w 231882"/>
                  <a:gd name="connsiteY219" fmla="*/ 7318 h 411305"/>
                  <a:gd name="connsiteX220" fmla="*/ 230737 w 231882"/>
                  <a:gd name="connsiteY220" fmla="*/ 7671 h 411305"/>
                  <a:gd name="connsiteX221" fmla="*/ 231354 w 231882"/>
                  <a:gd name="connsiteY221" fmla="*/ 7671 h 411305"/>
                  <a:gd name="connsiteX222" fmla="*/ 231883 w 231882"/>
                  <a:gd name="connsiteY222" fmla="*/ 7935 h 411305"/>
                  <a:gd name="connsiteX223" fmla="*/ 231618 w 231882"/>
                  <a:gd name="connsiteY223" fmla="*/ 8200 h 411305"/>
                  <a:gd name="connsiteX224" fmla="*/ 231001 w 231882"/>
                  <a:gd name="connsiteY224" fmla="*/ 8200 h 411305"/>
                  <a:gd name="connsiteX225" fmla="*/ 230208 w 231882"/>
                  <a:gd name="connsiteY225" fmla="*/ 7935 h 411305"/>
                  <a:gd name="connsiteX226" fmla="*/ 229326 w 231882"/>
                  <a:gd name="connsiteY226" fmla="*/ 8200 h 411305"/>
                  <a:gd name="connsiteX227" fmla="*/ 228092 w 231882"/>
                  <a:gd name="connsiteY227" fmla="*/ 11109 h 411305"/>
                  <a:gd name="connsiteX228" fmla="*/ 228973 w 231882"/>
                  <a:gd name="connsiteY228" fmla="*/ 10845 h 411305"/>
                  <a:gd name="connsiteX229" fmla="*/ 230472 w 231882"/>
                  <a:gd name="connsiteY229" fmla="*/ 11462 h 411305"/>
                  <a:gd name="connsiteX230" fmla="*/ 230472 w 231882"/>
                  <a:gd name="connsiteY230" fmla="*/ 12608 h 411305"/>
                  <a:gd name="connsiteX231" fmla="*/ 228709 w 231882"/>
                  <a:gd name="connsiteY231" fmla="*/ 13490 h 411305"/>
                  <a:gd name="connsiteX232" fmla="*/ 226681 w 231882"/>
                  <a:gd name="connsiteY232" fmla="*/ 49286 h 411305"/>
                  <a:gd name="connsiteX233" fmla="*/ 226945 w 231882"/>
                  <a:gd name="connsiteY233" fmla="*/ 50256 h 411305"/>
                  <a:gd name="connsiteX234" fmla="*/ 227827 w 231882"/>
                  <a:gd name="connsiteY234" fmla="*/ 49903 h 411305"/>
                  <a:gd name="connsiteX235" fmla="*/ 228444 w 231882"/>
                  <a:gd name="connsiteY235" fmla="*/ 50521 h 411305"/>
                  <a:gd name="connsiteX236" fmla="*/ 229855 w 231882"/>
                  <a:gd name="connsiteY236" fmla="*/ 60131 h 411305"/>
                  <a:gd name="connsiteX237" fmla="*/ 229591 w 231882"/>
                  <a:gd name="connsiteY237" fmla="*/ 60395 h 411305"/>
                  <a:gd name="connsiteX238" fmla="*/ 228444 w 231882"/>
                  <a:gd name="connsiteY238" fmla="*/ 59866 h 411305"/>
                  <a:gd name="connsiteX239" fmla="*/ 228092 w 231882"/>
                  <a:gd name="connsiteY239" fmla="*/ 60395 h 411305"/>
                  <a:gd name="connsiteX240" fmla="*/ 228092 w 231882"/>
                  <a:gd name="connsiteY240" fmla="*/ 60748 h 411305"/>
                  <a:gd name="connsiteX241" fmla="*/ 227298 w 231882"/>
                  <a:gd name="connsiteY241" fmla="*/ 60748 h 411305"/>
                  <a:gd name="connsiteX242" fmla="*/ 226945 w 231882"/>
                  <a:gd name="connsiteY242" fmla="*/ 60748 h 411305"/>
                  <a:gd name="connsiteX243" fmla="*/ 226945 w 231882"/>
                  <a:gd name="connsiteY243" fmla="*/ 61277 h 411305"/>
                  <a:gd name="connsiteX244" fmla="*/ 227827 w 231882"/>
                  <a:gd name="connsiteY244" fmla="*/ 62159 h 411305"/>
                  <a:gd name="connsiteX245" fmla="*/ 227827 w 231882"/>
                  <a:gd name="connsiteY245" fmla="*/ 62776 h 411305"/>
                  <a:gd name="connsiteX246" fmla="*/ 227298 w 231882"/>
                  <a:gd name="connsiteY246" fmla="*/ 63305 h 411305"/>
                  <a:gd name="connsiteX247" fmla="*/ 226416 w 231882"/>
                  <a:gd name="connsiteY247" fmla="*/ 62776 h 411305"/>
                  <a:gd name="connsiteX248" fmla="*/ 225182 w 231882"/>
                  <a:gd name="connsiteY248" fmla="*/ 63041 h 411305"/>
                  <a:gd name="connsiteX249" fmla="*/ 224653 w 231882"/>
                  <a:gd name="connsiteY249" fmla="*/ 64451 h 411305"/>
                  <a:gd name="connsiteX250" fmla="*/ 224917 w 231882"/>
                  <a:gd name="connsiteY250" fmla="*/ 65686 h 411305"/>
                  <a:gd name="connsiteX251" fmla="*/ 226064 w 231882"/>
                  <a:gd name="connsiteY251" fmla="*/ 66567 h 411305"/>
                  <a:gd name="connsiteX252" fmla="*/ 226681 w 231882"/>
                  <a:gd name="connsiteY252" fmla="*/ 66215 h 411305"/>
                  <a:gd name="connsiteX253" fmla="*/ 227298 w 231882"/>
                  <a:gd name="connsiteY253" fmla="*/ 65686 h 411305"/>
                  <a:gd name="connsiteX254" fmla="*/ 226416 w 231882"/>
                  <a:gd name="connsiteY254" fmla="*/ 64451 h 411305"/>
                  <a:gd name="connsiteX255" fmla="*/ 228444 w 231882"/>
                  <a:gd name="connsiteY255" fmla="*/ 65421 h 411305"/>
                  <a:gd name="connsiteX256" fmla="*/ 228709 w 231882"/>
                  <a:gd name="connsiteY256" fmla="*/ 69741 h 411305"/>
                  <a:gd name="connsiteX257" fmla="*/ 227563 w 231882"/>
                  <a:gd name="connsiteY257" fmla="*/ 72122 h 411305"/>
                  <a:gd name="connsiteX258" fmla="*/ 227298 w 231882"/>
                  <a:gd name="connsiteY258" fmla="*/ 72651 h 411305"/>
                  <a:gd name="connsiteX259" fmla="*/ 226945 w 231882"/>
                  <a:gd name="connsiteY259" fmla="*/ 72915 h 411305"/>
                  <a:gd name="connsiteX260" fmla="*/ 227298 w 231882"/>
                  <a:gd name="connsiteY260" fmla="*/ 73268 h 411305"/>
                  <a:gd name="connsiteX261" fmla="*/ 227563 w 231882"/>
                  <a:gd name="connsiteY261" fmla="*/ 72915 h 411305"/>
                  <a:gd name="connsiteX262" fmla="*/ 228092 w 231882"/>
                  <a:gd name="connsiteY262" fmla="*/ 72915 h 411305"/>
                  <a:gd name="connsiteX263" fmla="*/ 228092 w 231882"/>
                  <a:gd name="connsiteY263" fmla="*/ 73533 h 411305"/>
                  <a:gd name="connsiteX264" fmla="*/ 227298 w 231882"/>
                  <a:gd name="connsiteY264" fmla="*/ 92753 h 411305"/>
                  <a:gd name="connsiteX265" fmla="*/ 226945 w 231882"/>
                  <a:gd name="connsiteY265" fmla="*/ 93371 h 411305"/>
                  <a:gd name="connsiteX266" fmla="*/ 227298 w 231882"/>
                  <a:gd name="connsiteY266" fmla="*/ 93988 h 411305"/>
                  <a:gd name="connsiteX267" fmla="*/ 226416 w 231882"/>
                  <a:gd name="connsiteY267" fmla="*/ 94252 h 411305"/>
                  <a:gd name="connsiteX268" fmla="*/ 226064 w 231882"/>
                  <a:gd name="connsiteY268" fmla="*/ 94869 h 411305"/>
                  <a:gd name="connsiteX269" fmla="*/ 226416 w 231882"/>
                  <a:gd name="connsiteY269" fmla="*/ 96544 h 411305"/>
                  <a:gd name="connsiteX270" fmla="*/ 226945 w 231882"/>
                  <a:gd name="connsiteY270" fmla="*/ 96015 h 411305"/>
                  <a:gd name="connsiteX271" fmla="*/ 227827 w 231882"/>
                  <a:gd name="connsiteY271" fmla="*/ 99189 h 411305"/>
                  <a:gd name="connsiteX272" fmla="*/ 227827 w 231882"/>
                  <a:gd name="connsiteY272" fmla="*/ 100336 h 411305"/>
                  <a:gd name="connsiteX273" fmla="*/ 228092 w 231882"/>
                  <a:gd name="connsiteY273" fmla="*/ 102099 h 411305"/>
                  <a:gd name="connsiteX274" fmla="*/ 227298 w 231882"/>
                  <a:gd name="connsiteY274" fmla="*/ 102452 h 411305"/>
                  <a:gd name="connsiteX275" fmla="*/ 226945 w 231882"/>
                  <a:gd name="connsiteY275" fmla="*/ 102716 h 411305"/>
                  <a:gd name="connsiteX276" fmla="*/ 227298 w 231882"/>
                  <a:gd name="connsiteY276" fmla="*/ 102981 h 411305"/>
                  <a:gd name="connsiteX277" fmla="*/ 226945 w 231882"/>
                  <a:gd name="connsiteY277" fmla="*/ 104127 h 411305"/>
                  <a:gd name="connsiteX278" fmla="*/ 227563 w 231882"/>
                  <a:gd name="connsiteY278" fmla="*/ 105009 h 411305"/>
                  <a:gd name="connsiteX279" fmla="*/ 227827 w 231882"/>
                  <a:gd name="connsiteY279" fmla="*/ 103863 h 411305"/>
                  <a:gd name="connsiteX280" fmla="*/ 227563 w 231882"/>
                  <a:gd name="connsiteY280" fmla="*/ 103598 h 411305"/>
                  <a:gd name="connsiteX281" fmla="*/ 228709 w 231882"/>
                  <a:gd name="connsiteY281" fmla="*/ 102452 h 411305"/>
                  <a:gd name="connsiteX282" fmla="*/ 228709 w 231882"/>
                  <a:gd name="connsiteY282" fmla="*/ 101570 h 411305"/>
                  <a:gd name="connsiteX283" fmla="*/ 231001 w 231882"/>
                  <a:gd name="connsiteY283" fmla="*/ 111709 h 411305"/>
                  <a:gd name="connsiteX284" fmla="*/ 230208 w 231882"/>
                  <a:gd name="connsiteY284" fmla="*/ 112327 h 411305"/>
                  <a:gd name="connsiteX285" fmla="*/ 229591 w 231882"/>
                  <a:gd name="connsiteY285" fmla="*/ 112591 h 411305"/>
                  <a:gd name="connsiteX286" fmla="*/ 227827 w 231882"/>
                  <a:gd name="connsiteY286" fmla="*/ 112062 h 411305"/>
                  <a:gd name="connsiteX287" fmla="*/ 227298 w 231882"/>
                  <a:gd name="connsiteY287" fmla="*/ 112062 h 411305"/>
                  <a:gd name="connsiteX288" fmla="*/ 227563 w 231882"/>
                  <a:gd name="connsiteY288" fmla="*/ 113208 h 411305"/>
                  <a:gd name="connsiteX289" fmla="*/ 228092 w 231882"/>
                  <a:gd name="connsiteY289" fmla="*/ 113825 h 411305"/>
                  <a:gd name="connsiteX290" fmla="*/ 229326 w 231882"/>
                  <a:gd name="connsiteY290" fmla="*/ 113473 h 411305"/>
                  <a:gd name="connsiteX291" fmla="*/ 229855 w 231882"/>
                  <a:gd name="connsiteY291" fmla="*/ 113825 h 411305"/>
                  <a:gd name="connsiteX292" fmla="*/ 230472 w 231882"/>
                  <a:gd name="connsiteY292" fmla="*/ 114354 h 411305"/>
                  <a:gd name="connsiteX293" fmla="*/ 230472 w 231882"/>
                  <a:gd name="connsiteY293" fmla="*/ 115501 h 411305"/>
                  <a:gd name="connsiteX294" fmla="*/ 229855 w 231882"/>
                  <a:gd name="connsiteY294" fmla="*/ 115501 h 411305"/>
                  <a:gd name="connsiteX295" fmla="*/ 228709 w 231882"/>
                  <a:gd name="connsiteY295" fmla="*/ 114972 h 411305"/>
                  <a:gd name="connsiteX296" fmla="*/ 227563 w 231882"/>
                  <a:gd name="connsiteY296" fmla="*/ 115501 h 411305"/>
                  <a:gd name="connsiteX297" fmla="*/ 228709 w 231882"/>
                  <a:gd name="connsiteY297" fmla="*/ 116735 h 411305"/>
                  <a:gd name="connsiteX298" fmla="*/ 228973 w 231882"/>
                  <a:gd name="connsiteY298" fmla="*/ 117617 h 411305"/>
                  <a:gd name="connsiteX299" fmla="*/ 227298 w 231882"/>
                  <a:gd name="connsiteY299" fmla="*/ 118498 h 411305"/>
                  <a:gd name="connsiteX300" fmla="*/ 223507 w 231882"/>
                  <a:gd name="connsiteY300" fmla="*/ 128638 h 411305"/>
                  <a:gd name="connsiteX301" fmla="*/ 221391 w 231882"/>
                  <a:gd name="connsiteY301" fmla="*/ 131547 h 411305"/>
                  <a:gd name="connsiteX302" fmla="*/ 220509 w 231882"/>
                  <a:gd name="connsiteY302" fmla="*/ 133311 h 411305"/>
                  <a:gd name="connsiteX303" fmla="*/ 219627 w 231882"/>
                  <a:gd name="connsiteY303" fmla="*/ 134810 h 411305"/>
                  <a:gd name="connsiteX304" fmla="*/ 213808 w 231882"/>
                  <a:gd name="connsiteY304" fmla="*/ 140011 h 411305"/>
                  <a:gd name="connsiteX305" fmla="*/ 213808 w 231882"/>
                  <a:gd name="connsiteY305" fmla="*/ 140629 h 411305"/>
                  <a:gd name="connsiteX306" fmla="*/ 215043 w 231882"/>
                  <a:gd name="connsiteY306" fmla="*/ 139747 h 411305"/>
                  <a:gd name="connsiteX307" fmla="*/ 215307 w 231882"/>
                  <a:gd name="connsiteY307" fmla="*/ 140364 h 411305"/>
                  <a:gd name="connsiteX308" fmla="*/ 215043 w 231882"/>
                  <a:gd name="connsiteY308" fmla="*/ 140629 h 411305"/>
                  <a:gd name="connsiteX309" fmla="*/ 215043 w 231882"/>
                  <a:gd name="connsiteY309" fmla="*/ 141246 h 411305"/>
                  <a:gd name="connsiteX310" fmla="*/ 212398 w 231882"/>
                  <a:gd name="connsiteY310" fmla="*/ 145831 h 411305"/>
                  <a:gd name="connsiteX311" fmla="*/ 211516 w 231882"/>
                  <a:gd name="connsiteY311" fmla="*/ 146183 h 411305"/>
                  <a:gd name="connsiteX312" fmla="*/ 206843 w 231882"/>
                  <a:gd name="connsiteY312" fmla="*/ 147947 h 411305"/>
                  <a:gd name="connsiteX313" fmla="*/ 207107 w 231882"/>
                  <a:gd name="connsiteY313" fmla="*/ 148476 h 411305"/>
                  <a:gd name="connsiteX314" fmla="*/ 208254 w 231882"/>
                  <a:gd name="connsiteY314" fmla="*/ 151738 h 411305"/>
                  <a:gd name="connsiteX315" fmla="*/ 207989 w 231882"/>
                  <a:gd name="connsiteY315" fmla="*/ 152267 h 411305"/>
                  <a:gd name="connsiteX316" fmla="*/ 207107 w 231882"/>
                  <a:gd name="connsiteY316" fmla="*/ 152267 h 411305"/>
                  <a:gd name="connsiteX317" fmla="*/ 206490 w 231882"/>
                  <a:gd name="connsiteY317" fmla="*/ 151738 h 411305"/>
                  <a:gd name="connsiteX318" fmla="*/ 205961 w 231882"/>
                  <a:gd name="connsiteY318" fmla="*/ 152002 h 411305"/>
                  <a:gd name="connsiteX319" fmla="*/ 205079 w 231882"/>
                  <a:gd name="connsiteY319" fmla="*/ 153413 h 411305"/>
                  <a:gd name="connsiteX320" fmla="*/ 199525 w 231882"/>
                  <a:gd name="connsiteY320" fmla="*/ 158439 h 411305"/>
                  <a:gd name="connsiteX321" fmla="*/ 192824 w 231882"/>
                  <a:gd name="connsiteY321" fmla="*/ 161877 h 411305"/>
                  <a:gd name="connsiteX322" fmla="*/ 191942 w 231882"/>
                  <a:gd name="connsiteY322" fmla="*/ 162495 h 411305"/>
                  <a:gd name="connsiteX323" fmla="*/ 191061 w 231882"/>
                  <a:gd name="connsiteY323" fmla="*/ 162759 h 411305"/>
                  <a:gd name="connsiteX324" fmla="*/ 191061 w 231882"/>
                  <a:gd name="connsiteY324" fmla="*/ 163376 h 411305"/>
                  <a:gd name="connsiteX325" fmla="*/ 181803 w 231882"/>
                  <a:gd name="connsiteY325" fmla="*/ 167432 h 411305"/>
                  <a:gd name="connsiteX326" fmla="*/ 180833 w 231882"/>
                  <a:gd name="connsiteY326" fmla="*/ 168049 h 411305"/>
                  <a:gd name="connsiteX327" fmla="*/ 180304 w 231882"/>
                  <a:gd name="connsiteY327" fmla="*/ 168049 h 411305"/>
                  <a:gd name="connsiteX328" fmla="*/ 180304 w 231882"/>
                  <a:gd name="connsiteY328" fmla="*/ 167167 h 411305"/>
                  <a:gd name="connsiteX329" fmla="*/ 179952 w 231882"/>
                  <a:gd name="connsiteY329" fmla="*/ 166903 h 411305"/>
                  <a:gd name="connsiteX330" fmla="*/ 178541 w 231882"/>
                  <a:gd name="connsiteY330" fmla="*/ 167432 h 411305"/>
                  <a:gd name="connsiteX331" fmla="*/ 178012 w 231882"/>
                  <a:gd name="connsiteY331" fmla="*/ 169195 h 411305"/>
                  <a:gd name="connsiteX332" fmla="*/ 177042 w 231882"/>
                  <a:gd name="connsiteY332" fmla="*/ 170694 h 411305"/>
                  <a:gd name="connsiteX333" fmla="*/ 166285 w 231882"/>
                  <a:gd name="connsiteY333" fmla="*/ 174750 h 411305"/>
                  <a:gd name="connsiteX334" fmla="*/ 161348 w 231882"/>
                  <a:gd name="connsiteY334" fmla="*/ 175896 h 411305"/>
                  <a:gd name="connsiteX335" fmla="*/ 148828 w 231882"/>
                  <a:gd name="connsiteY335" fmla="*/ 182861 h 411305"/>
                  <a:gd name="connsiteX336" fmla="*/ 148476 w 231882"/>
                  <a:gd name="connsiteY336" fmla="*/ 183479 h 411305"/>
                  <a:gd name="connsiteX337" fmla="*/ 148476 w 231882"/>
                  <a:gd name="connsiteY337" fmla="*/ 183831 h 411305"/>
                  <a:gd name="connsiteX338" fmla="*/ 149093 w 231882"/>
                  <a:gd name="connsiteY338" fmla="*/ 184625 h 411305"/>
                  <a:gd name="connsiteX339" fmla="*/ 148828 w 231882"/>
                  <a:gd name="connsiteY339" fmla="*/ 186124 h 411305"/>
                  <a:gd name="connsiteX340" fmla="*/ 148828 w 231882"/>
                  <a:gd name="connsiteY340" fmla="*/ 187623 h 411305"/>
                  <a:gd name="connsiteX341" fmla="*/ 147065 w 231882"/>
                  <a:gd name="connsiteY341" fmla="*/ 188769 h 411305"/>
                  <a:gd name="connsiteX342" fmla="*/ 146183 w 231882"/>
                  <a:gd name="connsiteY342" fmla="*/ 189298 h 411305"/>
                  <a:gd name="connsiteX343" fmla="*/ 145566 w 231882"/>
                  <a:gd name="connsiteY343" fmla="*/ 189650 h 411305"/>
                  <a:gd name="connsiteX344" fmla="*/ 145037 w 231882"/>
                  <a:gd name="connsiteY344" fmla="*/ 190179 h 411305"/>
                  <a:gd name="connsiteX345" fmla="*/ 143803 w 231882"/>
                  <a:gd name="connsiteY345" fmla="*/ 190797 h 411305"/>
                  <a:gd name="connsiteX346" fmla="*/ 143538 w 231882"/>
                  <a:gd name="connsiteY346" fmla="*/ 189033 h 411305"/>
                  <a:gd name="connsiteX347" fmla="*/ 143274 w 231882"/>
                  <a:gd name="connsiteY347" fmla="*/ 187887 h 411305"/>
                  <a:gd name="connsiteX348" fmla="*/ 142392 w 231882"/>
                  <a:gd name="connsiteY348" fmla="*/ 187270 h 411305"/>
                  <a:gd name="connsiteX349" fmla="*/ 142127 w 231882"/>
                  <a:gd name="connsiteY349" fmla="*/ 187270 h 411305"/>
                  <a:gd name="connsiteX350" fmla="*/ 141775 w 231882"/>
                  <a:gd name="connsiteY350" fmla="*/ 187623 h 411305"/>
                  <a:gd name="connsiteX351" fmla="*/ 141510 w 231882"/>
                  <a:gd name="connsiteY351" fmla="*/ 187270 h 411305"/>
                  <a:gd name="connsiteX352" fmla="*/ 141246 w 231882"/>
                  <a:gd name="connsiteY352" fmla="*/ 187623 h 411305"/>
                  <a:gd name="connsiteX353" fmla="*/ 141246 w 231882"/>
                  <a:gd name="connsiteY353" fmla="*/ 188152 h 411305"/>
                  <a:gd name="connsiteX354" fmla="*/ 141246 w 231882"/>
                  <a:gd name="connsiteY354" fmla="*/ 189033 h 411305"/>
                  <a:gd name="connsiteX355" fmla="*/ 142127 w 231882"/>
                  <a:gd name="connsiteY355" fmla="*/ 190797 h 411305"/>
                  <a:gd name="connsiteX356" fmla="*/ 142392 w 231882"/>
                  <a:gd name="connsiteY356" fmla="*/ 191678 h 411305"/>
                  <a:gd name="connsiteX357" fmla="*/ 143538 w 231882"/>
                  <a:gd name="connsiteY357" fmla="*/ 192295 h 411305"/>
                  <a:gd name="connsiteX358" fmla="*/ 142921 w 231882"/>
                  <a:gd name="connsiteY358" fmla="*/ 194323 h 411305"/>
                  <a:gd name="connsiteX359" fmla="*/ 141510 w 231882"/>
                  <a:gd name="connsiteY359" fmla="*/ 195469 h 411305"/>
                  <a:gd name="connsiteX360" fmla="*/ 140628 w 231882"/>
                  <a:gd name="connsiteY360" fmla="*/ 195117 h 411305"/>
                  <a:gd name="connsiteX361" fmla="*/ 140011 w 231882"/>
                  <a:gd name="connsiteY361" fmla="*/ 195469 h 411305"/>
                  <a:gd name="connsiteX362" fmla="*/ 139482 w 231882"/>
                  <a:gd name="connsiteY362" fmla="*/ 195998 h 411305"/>
                  <a:gd name="connsiteX363" fmla="*/ 140893 w 231882"/>
                  <a:gd name="connsiteY363" fmla="*/ 195734 h 411305"/>
                  <a:gd name="connsiteX364" fmla="*/ 140628 w 231882"/>
                  <a:gd name="connsiteY364" fmla="*/ 196351 h 411305"/>
                  <a:gd name="connsiteX365" fmla="*/ 139482 w 231882"/>
                  <a:gd name="connsiteY365" fmla="*/ 197762 h 411305"/>
                  <a:gd name="connsiteX366" fmla="*/ 130401 w 231882"/>
                  <a:gd name="connsiteY366" fmla="*/ 207460 h 411305"/>
                  <a:gd name="connsiteX367" fmla="*/ 130136 w 231882"/>
                  <a:gd name="connsiteY367" fmla="*/ 207725 h 411305"/>
                  <a:gd name="connsiteX368" fmla="*/ 130401 w 231882"/>
                  <a:gd name="connsiteY368" fmla="*/ 209488 h 411305"/>
                  <a:gd name="connsiteX369" fmla="*/ 130136 w 231882"/>
                  <a:gd name="connsiteY369" fmla="*/ 210282 h 411305"/>
                  <a:gd name="connsiteX370" fmla="*/ 128638 w 231882"/>
                  <a:gd name="connsiteY370" fmla="*/ 210017 h 411305"/>
                  <a:gd name="connsiteX371" fmla="*/ 127756 w 231882"/>
                  <a:gd name="connsiteY371" fmla="*/ 209753 h 411305"/>
                  <a:gd name="connsiteX372" fmla="*/ 127139 w 231882"/>
                  <a:gd name="connsiteY372" fmla="*/ 208254 h 411305"/>
                  <a:gd name="connsiteX373" fmla="*/ 126874 w 231882"/>
                  <a:gd name="connsiteY373" fmla="*/ 207989 h 411305"/>
                  <a:gd name="connsiteX374" fmla="*/ 126610 w 231882"/>
                  <a:gd name="connsiteY374" fmla="*/ 209135 h 411305"/>
                  <a:gd name="connsiteX375" fmla="*/ 127491 w 231882"/>
                  <a:gd name="connsiteY375" fmla="*/ 210634 h 411305"/>
                  <a:gd name="connsiteX376" fmla="*/ 127491 w 231882"/>
                  <a:gd name="connsiteY376" fmla="*/ 212133 h 411305"/>
                  <a:gd name="connsiteX377" fmla="*/ 127491 w 231882"/>
                  <a:gd name="connsiteY377" fmla="*/ 212927 h 411305"/>
                  <a:gd name="connsiteX378" fmla="*/ 127491 w 231882"/>
                  <a:gd name="connsiteY378" fmla="*/ 213279 h 411305"/>
                  <a:gd name="connsiteX379" fmla="*/ 122554 w 231882"/>
                  <a:gd name="connsiteY379" fmla="*/ 212398 h 411305"/>
                  <a:gd name="connsiteX380" fmla="*/ 121937 w 231882"/>
                  <a:gd name="connsiteY380" fmla="*/ 213279 h 411305"/>
                  <a:gd name="connsiteX381" fmla="*/ 121055 w 231882"/>
                  <a:gd name="connsiteY381" fmla="*/ 213808 h 411305"/>
                  <a:gd name="connsiteX382" fmla="*/ 120791 w 231882"/>
                  <a:gd name="connsiteY382" fmla="*/ 213808 h 411305"/>
                  <a:gd name="connsiteX383" fmla="*/ 121055 w 231882"/>
                  <a:gd name="connsiteY383" fmla="*/ 213279 h 411305"/>
                  <a:gd name="connsiteX384" fmla="*/ 120791 w 231882"/>
                  <a:gd name="connsiteY384" fmla="*/ 212662 h 411305"/>
                  <a:gd name="connsiteX385" fmla="*/ 121055 w 231882"/>
                  <a:gd name="connsiteY385" fmla="*/ 212133 h 411305"/>
                  <a:gd name="connsiteX386" fmla="*/ 120526 w 231882"/>
                  <a:gd name="connsiteY386" fmla="*/ 212662 h 411305"/>
                  <a:gd name="connsiteX387" fmla="*/ 120526 w 231882"/>
                  <a:gd name="connsiteY387" fmla="*/ 213808 h 411305"/>
                  <a:gd name="connsiteX388" fmla="*/ 120526 w 231882"/>
                  <a:gd name="connsiteY388" fmla="*/ 214426 h 411305"/>
                  <a:gd name="connsiteX389" fmla="*/ 119645 w 231882"/>
                  <a:gd name="connsiteY389" fmla="*/ 214426 h 411305"/>
                  <a:gd name="connsiteX390" fmla="*/ 118763 w 231882"/>
                  <a:gd name="connsiteY390" fmla="*/ 213808 h 411305"/>
                  <a:gd name="connsiteX391" fmla="*/ 118146 w 231882"/>
                  <a:gd name="connsiteY391" fmla="*/ 214426 h 411305"/>
                  <a:gd name="connsiteX392" fmla="*/ 118763 w 231882"/>
                  <a:gd name="connsiteY392" fmla="*/ 215043 h 411305"/>
                  <a:gd name="connsiteX393" fmla="*/ 117881 w 231882"/>
                  <a:gd name="connsiteY393" fmla="*/ 216189 h 411305"/>
                  <a:gd name="connsiteX394" fmla="*/ 113825 w 231882"/>
                  <a:gd name="connsiteY394" fmla="*/ 218482 h 411305"/>
                  <a:gd name="connsiteX395" fmla="*/ 112944 w 231882"/>
                  <a:gd name="connsiteY395" fmla="*/ 220862 h 411305"/>
                  <a:gd name="connsiteX396" fmla="*/ 110563 w 231882"/>
                  <a:gd name="connsiteY396" fmla="*/ 224300 h 411305"/>
                  <a:gd name="connsiteX397" fmla="*/ 108535 w 231882"/>
                  <a:gd name="connsiteY397" fmla="*/ 225799 h 411305"/>
                  <a:gd name="connsiteX398" fmla="*/ 100071 w 231882"/>
                  <a:gd name="connsiteY398" fmla="*/ 233117 h 411305"/>
                  <a:gd name="connsiteX399" fmla="*/ 98572 w 231882"/>
                  <a:gd name="connsiteY399" fmla="*/ 235410 h 411305"/>
                  <a:gd name="connsiteX400" fmla="*/ 97426 w 231882"/>
                  <a:gd name="connsiteY400" fmla="*/ 236291 h 411305"/>
                  <a:gd name="connsiteX401" fmla="*/ 96015 w 231882"/>
                  <a:gd name="connsiteY401" fmla="*/ 236820 h 411305"/>
                  <a:gd name="connsiteX402" fmla="*/ 94781 w 231882"/>
                  <a:gd name="connsiteY402" fmla="*/ 236291 h 411305"/>
                  <a:gd name="connsiteX403" fmla="*/ 89579 w 231882"/>
                  <a:gd name="connsiteY403" fmla="*/ 230737 h 411305"/>
                  <a:gd name="connsiteX404" fmla="*/ 89579 w 231882"/>
                  <a:gd name="connsiteY404" fmla="*/ 231354 h 411305"/>
                  <a:gd name="connsiteX405" fmla="*/ 90196 w 231882"/>
                  <a:gd name="connsiteY405" fmla="*/ 232236 h 411305"/>
                  <a:gd name="connsiteX406" fmla="*/ 91960 w 231882"/>
                  <a:gd name="connsiteY406" fmla="*/ 235674 h 411305"/>
                  <a:gd name="connsiteX407" fmla="*/ 93723 w 231882"/>
                  <a:gd name="connsiteY407" fmla="*/ 236820 h 411305"/>
                  <a:gd name="connsiteX408" fmla="*/ 92489 w 231882"/>
                  <a:gd name="connsiteY408" fmla="*/ 237438 h 411305"/>
                  <a:gd name="connsiteX409" fmla="*/ 92753 w 231882"/>
                  <a:gd name="connsiteY409" fmla="*/ 238055 h 411305"/>
                  <a:gd name="connsiteX410" fmla="*/ 93370 w 231882"/>
                  <a:gd name="connsiteY410" fmla="*/ 240964 h 411305"/>
                  <a:gd name="connsiteX411" fmla="*/ 93106 w 231882"/>
                  <a:gd name="connsiteY411" fmla="*/ 242992 h 411305"/>
                  <a:gd name="connsiteX412" fmla="*/ 92753 w 231882"/>
                  <a:gd name="connsiteY412" fmla="*/ 244491 h 411305"/>
                  <a:gd name="connsiteX413" fmla="*/ 91960 w 231882"/>
                  <a:gd name="connsiteY413" fmla="*/ 245020 h 411305"/>
                  <a:gd name="connsiteX414" fmla="*/ 92224 w 231882"/>
                  <a:gd name="connsiteY414" fmla="*/ 246166 h 411305"/>
                  <a:gd name="connsiteX415" fmla="*/ 91078 w 231882"/>
                  <a:gd name="connsiteY415" fmla="*/ 247401 h 411305"/>
                  <a:gd name="connsiteX416" fmla="*/ 91960 w 231882"/>
                  <a:gd name="connsiteY416" fmla="*/ 254366 h 411305"/>
                  <a:gd name="connsiteX417" fmla="*/ 92224 w 231882"/>
                  <a:gd name="connsiteY417" fmla="*/ 254630 h 411305"/>
                  <a:gd name="connsiteX418" fmla="*/ 92753 w 231882"/>
                  <a:gd name="connsiteY418" fmla="*/ 254366 h 411305"/>
                  <a:gd name="connsiteX419" fmla="*/ 93723 w 231882"/>
                  <a:gd name="connsiteY419" fmla="*/ 254630 h 411305"/>
                  <a:gd name="connsiteX420" fmla="*/ 93723 w 231882"/>
                  <a:gd name="connsiteY420" fmla="*/ 256129 h 411305"/>
                  <a:gd name="connsiteX421" fmla="*/ 97161 w 231882"/>
                  <a:gd name="connsiteY421" fmla="*/ 257893 h 411305"/>
                  <a:gd name="connsiteX422" fmla="*/ 97426 w 231882"/>
                  <a:gd name="connsiteY422" fmla="*/ 259656 h 411305"/>
                  <a:gd name="connsiteX423" fmla="*/ 97161 w 231882"/>
                  <a:gd name="connsiteY423" fmla="*/ 261331 h 411305"/>
                  <a:gd name="connsiteX424" fmla="*/ 97426 w 231882"/>
                  <a:gd name="connsiteY424" fmla="*/ 262830 h 411305"/>
                  <a:gd name="connsiteX425" fmla="*/ 97779 w 231882"/>
                  <a:gd name="connsiteY425" fmla="*/ 263712 h 411305"/>
                  <a:gd name="connsiteX426" fmla="*/ 98572 w 231882"/>
                  <a:gd name="connsiteY426" fmla="*/ 263712 h 411305"/>
                  <a:gd name="connsiteX427" fmla="*/ 98925 w 231882"/>
                  <a:gd name="connsiteY427" fmla="*/ 263447 h 411305"/>
                  <a:gd name="connsiteX428" fmla="*/ 99542 w 231882"/>
                  <a:gd name="connsiteY428" fmla="*/ 263712 h 411305"/>
                  <a:gd name="connsiteX429" fmla="*/ 99542 w 231882"/>
                  <a:gd name="connsiteY429" fmla="*/ 263976 h 411305"/>
                  <a:gd name="connsiteX430" fmla="*/ 99189 w 231882"/>
                  <a:gd name="connsiteY430" fmla="*/ 264593 h 411305"/>
                  <a:gd name="connsiteX431" fmla="*/ 98572 w 231882"/>
                  <a:gd name="connsiteY431" fmla="*/ 264858 h 411305"/>
                  <a:gd name="connsiteX432" fmla="*/ 98572 w 231882"/>
                  <a:gd name="connsiteY432" fmla="*/ 265740 h 411305"/>
                  <a:gd name="connsiteX433" fmla="*/ 98925 w 231882"/>
                  <a:gd name="connsiteY433" fmla="*/ 265740 h 411305"/>
                  <a:gd name="connsiteX434" fmla="*/ 98308 w 231882"/>
                  <a:gd name="connsiteY434" fmla="*/ 268032 h 411305"/>
                  <a:gd name="connsiteX435" fmla="*/ 98308 w 231882"/>
                  <a:gd name="connsiteY435" fmla="*/ 268649 h 411305"/>
                  <a:gd name="connsiteX436" fmla="*/ 97779 w 231882"/>
                  <a:gd name="connsiteY436" fmla="*/ 269795 h 411305"/>
                  <a:gd name="connsiteX437" fmla="*/ 97779 w 231882"/>
                  <a:gd name="connsiteY437" fmla="*/ 271294 h 411305"/>
                  <a:gd name="connsiteX438" fmla="*/ 98043 w 231882"/>
                  <a:gd name="connsiteY438" fmla="*/ 272176 h 411305"/>
                  <a:gd name="connsiteX439" fmla="*/ 98043 w 231882"/>
                  <a:gd name="connsiteY439" fmla="*/ 273322 h 411305"/>
                  <a:gd name="connsiteX440" fmla="*/ 98308 w 231882"/>
                  <a:gd name="connsiteY440" fmla="*/ 273322 h 411305"/>
                  <a:gd name="connsiteX441" fmla="*/ 98308 w 231882"/>
                  <a:gd name="connsiteY441" fmla="*/ 273057 h 411305"/>
                  <a:gd name="connsiteX442" fmla="*/ 98308 w 231882"/>
                  <a:gd name="connsiteY442" fmla="*/ 272441 h 411305"/>
                  <a:gd name="connsiteX443" fmla="*/ 98308 w 231882"/>
                  <a:gd name="connsiteY443" fmla="*/ 270942 h 411305"/>
                  <a:gd name="connsiteX444" fmla="*/ 98572 w 231882"/>
                  <a:gd name="connsiteY444" fmla="*/ 270148 h 411305"/>
                  <a:gd name="connsiteX445" fmla="*/ 99189 w 231882"/>
                  <a:gd name="connsiteY445" fmla="*/ 269266 h 411305"/>
                  <a:gd name="connsiteX446" fmla="*/ 99807 w 231882"/>
                  <a:gd name="connsiteY446" fmla="*/ 269266 h 411305"/>
                  <a:gd name="connsiteX447" fmla="*/ 99807 w 231882"/>
                  <a:gd name="connsiteY447" fmla="*/ 270148 h 411305"/>
                  <a:gd name="connsiteX448" fmla="*/ 100071 w 231882"/>
                  <a:gd name="connsiteY448" fmla="*/ 270677 h 411305"/>
                  <a:gd name="connsiteX449" fmla="*/ 99542 w 231882"/>
                  <a:gd name="connsiteY449" fmla="*/ 272176 h 411305"/>
                  <a:gd name="connsiteX450" fmla="*/ 99542 w 231882"/>
                  <a:gd name="connsiteY450" fmla="*/ 273057 h 411305"/>
                  <a:gd name="connsiteX451" fmla="*/ 98925 w 231882"/>
                  <a:gd name="connsiteY451" fmla="*/ 274468 h 411305"/>
                  <a:gd name="connsiteX452" fmla="*/ 98925 w 231882"/>
                  <a:gd name="connsiteY452" fmla="*/ 275350 h 411305"/>
                  <a:gd name="connsiteX453" fmla="*/ 100336 w 231882"/>
                  <a:gd name="connsiteY453" fmla="*/ 276849 h 411305"/>
                  <a:gd name="connsiteX454" fmla="*/ 101570 w 231882"/>
                  <a:gd name="connsiteY454" fmla="*/ 281257 h 411305"/>
                  <a:gd name="connsiteX455" fmla="*/ 102452 w 231882"/>
                  <a:gd name="connsiteY455" fmla="*/ 287077 h 411305"/>
                  <a:gd name="connsiteX456" fmla="*/ 102716 w 231882"/>
                  <a:gd name="connsiteY456" fmla="*/ 289986 h 411305"/>
                  <a:gd name="connsiteX457" fmla="*/ 102716 w 231882"/>
                  <a:gd name="connsiteY457" fmla="*/ 292895 h 411305"/>
                  <a:gd name="connsiteX458" fmla="*/ 101570 w 231882"/>
                  <a:gd name="connsiteY458" fmla="*/ 296687 h 411305"/>
                  <a:gd name="connsiteX459" fmla="*/ 101834 w 231882"/>
                  <a:gd name="connsiteY459" fmla="*/ 298715 h 411305"/>
                  <a:gd name="connsiteX460" fmla="*/ 101570 w 231882"/>
                  <a:gd name="connsiteY460" fmla="*/ 300214 h 411305"/>
                  <a:gd name="connsiteX461" fmla="*/ 105009 w 231882"/>
                  <a:gd name="connsiteY461" fmla="*/ 307443 h 411305"/>
                  <a:gd name="connsiteX462" fmla="*/ 105361 w 231882"/>
                  <a:gd name="connsiteY462" fmla="*/ 308589 h 411305"/>
                  <a:gd name="connsiteX463" fmla="*/ 104744 w 231882"/>
                  <a:gd name="connsiteY463" fmla="*/ 310353 h 411305"/>
                  <a:gd name="connsiteX464" fmla="*/ 105361 w 231882"/>
                  <a:gd name="connsiteY464" fmla="*/ 312733 h 411305"/>
                  <a:gd name="connsiteX465" fmla="*/ 105626 w 231882"/>
                  <a:gd name="connsiteY465" fmla="*/ 313615 h 411305"/>
                  <a:gd name="connsiteX466" fmla="*/ 105890 w 231882"/>
                  <a:gd name="connsiteY466" fmla="*/ 312998 h 411305"/>
                  <a:gd name="connsiteX467" fmla="*/ 106507 w 231882"/>
                  <a:gd name="connsiteY467" fmla="*/ 312116 h 411305"/>
                  <a:gd name="connsiteX468" fmla="*/ 107389 w 231882"/>
                  <a:gd name="connsiteY468" fmla="*/ 312998 h 411305"/>
                  <a:gd name="connsiteX469" fmla="*/ 106772 w 231882"/>
                  <a:gd name="connsiteY469" fmla="*/ 314144 h 411305"/>
                  <a:gd name="connsiteX470" fmla="*/ 105361 w 231882"/>
                  <a:gd name="connsiteY470" fmla="*/ 316172 h 411305"/>
                  <a:gd name="connsiteX471" fmla="*/ 104480 w 231882"/>
                  <a:gd name="connsiteY471" fmla="*/ 319699 h 411305"/>
                  <a:gd name="connsiteX472" fmla="*/ 105361 w 231882"/>
                  <a:gd name="connsiteY472" fmla="*/ 322873 h 411305"/>
                  <a:gd name="connsiteX473" fmla="*/ 103598 w 231882"/>
                  <a:gd name="connsiteY473" fmla="*/ 328780 h 411305"/>
                  <a:gd name="connsiteX474" fmla="*/ 102716 w 231882"/>
                  <a:gd name="connsiteY474" fmla="*/ 331954 h 411305"/>
                  <a:gd name="connsiteX475" fmla="*/ 102099 w 231882"/>
                  <a:gd name="connsiteY475" fmla="*/ 332836 h 411305"/>
                  <a:gd name="connsiteX476" fmla="*/ 101834 w 231882"/>
                  <a:gd name="connsiteY476" fmla="*/ 333453 h 411305"/>
                  <a:gd name="connsiteX477" fmla="*/ 101217 w 231882"/>
                  <a:gd name="connsiteY477" fmla="*/ 333717 h 411305"/>
                  <a:gd name="connsiteX478" fmla="*/ 101570 w 231882"/>
                  <a:gd name="connsiteY478" fmla="*/ 332219 h 411305"/>
                  <a:gd name="connsiteX479" fmla="*/ 100688 w 231882"/>
                  <a:gd name="connsiteY479" fmla="*/ 331601 h 411305"/>
                  <a:gd name="connsiteX480" fmla="*/ 100336 w 231882"/>
                  <a:gd name="connsiteY480" fmla="*/ 331601 h 411305"/>
                  <a:gd name="connsiteX481" fmla="*/ 100953 w 231882"/>
                  <a:gd name="connsiteY481" fmla="*/ 332219 h 411305"/>
                  <a:gd name="connsiteX482" fmla="*/ 100688 w 231882"/>
                  <a:gd name="connsiteY482" fmla="*/ 333453 h 411305"/>
                  <a:gd name="connsiteX483" fmla="*/ 100336 w 231882"/>
                  <a:gd name="connsiteY483" fmla="*/ 334864 h 411305"/>
                  <a:gd name="connsiteX484" fmla="*/ 104480 w 231882"/>
                  <a:gd name="connsiteY484" fmla="*/ 334864 h 411305"/>
                  <a:gd name="connsiteX485" fmla="*/ 104744 w 231882"/>
                  <a:gd name="connsiteY485" fmla="*/ 336363 h 411305"/>
                  <a:gd name="connsiteX486" fmla="*/ 104744 w 231882"/>
                  <a:gd name="connsiteY486" fmla="*/ 338655 h 411305"/>
                  <a:gd name="connsiteX487" fmla="*/ 103245 w 231882"/>
                  <a:gd name="connsiteY487" fmla="*/ 342182 h 411305"/>
                  <a:gd name="connsiteX488" fmla="*/ 101834 w 231882"/>
                  <a:gd name="connsiteY488" fmla="*/ 345620 h 411305"/>
                  <a:gd name="connsiteX489" fmla="*/ 99542 w 231882"/>
                  <a:gd name="connsiteY489" fmla="*/ 349411 h 411305"/>
                  <a:gd name="connsiteX490" fmla="*/ 97779 w 231882"/>
                  <a:gd name="connsiteY490" fmla="*/ 351175 h 411305"/>
                  <a:gd name="connsiteX491" fmla="*/ 95751 w 231882"/>
                  <a:gd name="connsiteY491" fmla="*/ 352674 h 411305"/>
                  <a:gd name="connsiteX492" fmla="*/ 92489 w 231882"/>
                  <a:gd name="connsiteY492" fmla="*/ 355848 h 411305"/>
                  <a:gd name="connsiteX493" fmla="*/ 90725 w 231882"/>
                  <a:gd name="connsiteY493" fmla="*/ 357876 h 411305"/>
                  <a:gd name="connsiteX494" fmla="*/ 86669 w 231882"/>
                  <a:gd name="connsiteY494" fmla="*/ 360521 h 411305"/>
                  <a:gd name="connsiteX495" fmla="*/ 84024 w 231882"/>
                  <a:gd name="connsiteY495" fmla="*/ 361667 h 411305"/>
                  <a:gd name="connsiteX496" fmla="*/ 80850 w 231882"/>
                  <a:gd name="connsiteY496" fmla="*/ 361138 h 411305"/>
                  <a:gd name="connsiteX497" fmla="*/ 78205 w 231882"/>
                  <a:gd name="connsiteY497" fmla="*/ 360521 h 411305"/>
                  <a:gd name="connsiteX498" fmla="*/ 76706 w 231882"/>
                  <a:gd name="connsiteY498" fmla="*/ 361138 h 411305"/>
                  <a:gd name="connsiteX499" fmla="*/ 75560 w 231882"/>
                  <a:gd name="connsiteY499" fmla="*/ 360521 h 411305"/>
                  <a:gd name="connsiteX500" fmla="*/ 75296 w 231882"/>
                  <a:gd name="connsiteY500" fmla="*/ 361138 h 411305"/>
                  <a:gd name="connsiteX501" fmla="*/ 74679 w 231882"/>
                  <a:gd name="connsiteY501" fmla="*/ 360785 h 411305"/>
                  <a:gd name="connsiteX502" fmla="*/ 74150 w 231882"/>
                  <a:gd name="connsiteY502" fmla="*/ 362020 h 411305"/>
                  <a:gd name="connsiteX503" fmla="*/ 74150 w 231882"/>
                  <a:gd name="connsiteY503" fmla="*/ 363430 h 411305"/>
                  <a:gd name="connsiteX504" fmla="*/ 72651 w 231882"/>
                  <a:gd name="connsiteY504" fmla="*/ 366075 h 411305"/>
                  <a:gd name="connsiteX505" fmla="*/ 70358 w 231882"/>
                  <a:gd name="connsiteY505" fmla="*/ 368103 h 411305"/>
                  <a:gd name="connsiteX506" fmla="*/ 69124 w 231882"/>
                  <a:gd name="connsiteY506" fmla="*/ 368985 h 411305"/>
                  <a:gd name="connsiteX507" fmla="*/ 55105 w 231882"/>
                  <a:gd name="connsiteY507" fmla="*/ 371894 h 411305"/>
                  <a:gd name="connsiteX508" fmla="*/ 54312 w 231882"/>
                  <a:gd name="connsiteY508" fmla="*/ 372159 h 411305"/>
                  <a:gd name="connsiteX509" fmla="*/ 54047 w 231882"/>
                  <a:gd name="connsiteY509" fmla="*/ 372159 h 411305"/>
                  <a:gd name="connsiteX510" fmla="*/ 53695 w 231882"/>
                  <a:gd name="connsiteY510" fmla="*/ 372159 h 411305"/>
                  <a:gd name="connsiteX511" fmla="*/ 53430 w 231882"/>
                  <a:gd name="connsiteY511" fmla="*/ 371630 h 411305"/>
                  <a:gd name="connsiteX512" fmla="*/ 50168 w 231882"/>
                  <a:gd name="connsiteY512" fmla="*/ 373393 h 411305"/>
                  <a:gd name="connsiteX513" fmla="*/ 45495 w 231882"/>
                  <a:gd name="connsiteY513" fmla="*/ 377714 h 411305"/>
                  <a:gd name="connsiteX514" fmla="*/ 43467 w 231882"/>
                  <a:gd name="connsiteY514" fmla="*/ 379477 h 411305"/>
                  <a:gd name="connsiteX515" fmla="*/ 42056 w 231882"/>
                  <a:gd name="connsiteY515" fmla="*/ 381505 h 411305"/>
                  <a:gd name="connsiteX516" fmla="*/ 42321 w 231882"/>
                  <a:gd name="connsiteY516" fmla="*/ 382122 h 411305"/>
                  <a:gd name="connsiteX517" fmla="*/ 41439 w 231882"/>
                  <a:gd name="connsiteY517" fmla="*/ 383885 h 411305"/>
                  <a:gd name="connsiteX518" fmla="*/ 41439 w 231882"/>
                  <a:gd name="connsiteY518" fmla="*/ 384150 h 411305"/>
                  <a:gd name="connsiteX519" fmla="*/ 41439 w 231882"/>
                  <a:gd name="connsiteY519" fmla="*/ 384414 h 411305"/>
                  <a:gd name="connsiteX520" fmla="*/ 41439 w 231882"/>
                  <a:gd name="connsiteY520" fmla="*/ 385560 h 411305"/>
                  <a:gd name="connsiteX521" fmla="*/ 41439 w 231882"/>
                  <a:gd name="connsiteY521" fmla="*/ 386178 h 411305"/>
                  <a:gd name="connsiteX522" fmla="*/ 41174 w 231882"/>
                  <a:gd name="connsiteY522" fmla="*/ 385296 h 411305"/>
                  <a:gd name="connsiteX523" fmla="*/ 41439 w 231882"/>
                  <a:gd name="connsiteY523" fmla="*/ 384767 h 411305"/>
                  <a:gd name="connsiteX524" fmla="*/ 40910 w 231882"/>
                  <a:gd name="connsiteY524" fmla="*/ 384767 h 411305"/>
                  <a:gd name="connsiteX525" fmla="*/ 40558 w 231882"/>
                  <a:gd name="connsiteY525" fmla="*/ 385031 h 411305"/>
                  <a:gd name="connsiteX526" fmla="*/ 40293 w 231882"/>
                  <a:gd name="connsiteY526" fmla="*/ 386178 h 411305"/>
                  <a:gd name="connsiteX527" fmla="*/ 39676 w 231882"/>
                  <a:gd name="connsiteY527" fmla="*/ 386795 h 411305"/>
                  <a:gd name="connsiteX528" fmla="*/ 39411 w 231882"/>
                  <a:gd name="connsiteY528" fmla="*/ 387676 h 411305"/>
                  <a:gd name="connsiteX529" fmla="*/ 39411 w 231882"/>
                  <a:gd name="connsiteY529" fmla="*/ 388558 h 411305"/>
                  <a:gd name="connsiteX530" fmla="*/ 38530 w 231882"/>
                  <a:gd name="connsiteY530" fmla="*/ 389087 h 411305"/>
                  <a:gd name="connsiteX531" fmla="*/ 38001 w 231882"/>
                  <a:gd name="connsiteY531" fmla="*/ 389704 h 411305"/>
                  <a:gd name="connsiteX532" fmla="*/ 37383 w 231882"/>
                  <a:gd name="connsiteY532" fmla="*/ 388558 h 411305"/>
                  <a:gd name="connsiteX533" fmla="*/ 36502 w 231882"/>
                  <a:gd name="connsiteY533" fmla="*/ 388294 h 411305"/>
                  <a:gd name="connsiteX534" fmla="*/ 35267 w 231882"/>
                  <a:gd name="connsiteY534" fmla="*/ 388558 h 411305"/>
                  <a:gd name="connsiteX535" fmla="*/ 35267 w 231882"/>
                  <a:gd name="connsiteY535" fmla="*/ 389704 h 411305"/>
                  <a:gd name="connsiteX536" fmla="*/ 36149 w 231882"/>
                  <a:gd name="connsiteY536" fmla="*/ 390233 h 411305"/>
                  <a:gd name="connsiteX537" fmla="*/ 36149 w 231882"/>
                  <a:gd name="connsiteY537" fmla="*/ 389969 h 411305"/>
                  <a:gd name="connsiteX538" fmla="*/ 36502 w 231882"/>
                  <a:gd name="connsiteY538" fmla="*/ 388823 h 411305"/>
                  <a:gd name="connsiteX539" fmla="*/ 37119 w 231882"/>
                  <a:gd name="connsiteY539" fmla="*/ 389704 h 411305"/>
                  <a:gd name="connsiteX540" fmla="*/ 40029 w 231882"/>
                  <a:gd name="connsiteY540" fmla="*/ 391997 h 411305"/>
                  <a:gd name="connsiteX541" fmla="*/ 43467 w 231882"/>
                  <a:gd name="connsiteY541" fmla="*/ 401695 h 411305"/>
                  <a:gd name="connsiteX542" fmla="*/ 40910 w 231882"/>
                  <a:gd name="connsiteY542" fmla="*/ 396141 h 411305"/>
                  <a:gd name="connsiteX543" fmla="*/ 42938 w 231882"/>
                  <a:gd name="connsiteY543" fmla="*/ 394906 h 411305"/>
                  <a:gd name="connsiteX544" fmla="*/ 42321 w 231882"/>
                  <a:gd name="connsiteY544" fmla="*/ 399315 h 411305"/>
                  <a:gd name="connsiteX545" fmla="*/ 42938 w 231882"/>
                  <a:gd name="connsiteY545" fmla="*/ 400814 h 411305"/>
                  <a:gd name="connsiteX546" fmla="*/ 43467 w 231882"/>
                  <a:gd name="connsiteY546" fmla="*/ 404869 h 411305"/>
                  <a:gd name="connsiteX547" fmla="*/ 44349 w 231882"/>
                  <a:gd name="connsiteY547" fmla="*/ 406368 h 411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</a:cxnLst>
                <a:rect l="l" t="t" r="r" b="b"/>
                <a:pathLst>
                  <a:path w="231882" h="411305">
                    <a:moveTo>
                      <a:pt x="42321" y="411306"/>
                    </a:moveTo>
                    <a:lnTo>
                      <a:pt x="32093" y="411306"/>
                    </a:lnTo>
                    <a:lnTo>
                      <a:pt x="26891" y="410424"/>
                    </a:lnTo>
                    <a:lnTo>
                      <a:pt x="27420" y="402224"/>
                    </a:lnTo>
                    <a:lnTo>
                      <a:pt x="26274" y="400196"/>
                    </a:lnTo>
                    <a:lnTo>
                      <a:pt x="26538" y="396405"/>
                    </a:lnTo>
                    <a:lnTo>
                      <a:pt x="26891" y="390233"/>
                    </a:lnTo>
                    <a:lnTo>
                      <a:pt x="25393" y="388294"/>
                    </a:lnTo>
                    <a:lnTo>
                      <a:pt x="24246" y="385031"/>
                    </a:lnTo>
                    <a:lnTo>
                      <a:pt x="26010" y="381505"/>
                    </a:lnTo>
                    <a:lnTo>
                      <a:pt x="26891" y="369249"/>
                    </a:lnTo>
                    <a:lnTo>
                      <a:pt x="27420" y="356112"/>
                    </a:lnTo>
                    <a:lnTo>
                      <a:pt x="28037" y="348882"/>
                    </a:lnTo>
                    <a:lnTo>
                      <a:pt x="25745" y="343592"/>
                    </a:lnTo>
                    <a:lnTo>
                      <a:pt x="26010" y="338038"/>
                    </a:lnTo>
                    <a:lnTo>
                      <a:pt x="24246" y="336363"/>
                    </a:lnTo>
                    <a:lnTo>
                      <a:pt x="21954" y="331601"/>
                    </a:lnTo>
                    <a:lnTo>
                      <a:pt x="22218" y="330191"/>
                    </a:lnTo>
                    <a:lnTo>
                      <a:pt x="19573" y="327017"/>
                    </a:lnTo>
                    <a:lnTo>
                      <a:pt x="19573" y="325253"/>
                    </a:lnTo>
                    <a:lnTo>
                      <a:pt x="20191" y="319699"/>
                    </a:lnTo>
                    <a:lnTo>
                      <a:pt x="15782" y="296687"/>
                    </a:lnTo>
                    <a:lnTo>
                      <a:pt x="39676" y="273939"/>
                    </a:lnTo>
                    <a:lnTo>
                      <a:pt x="41174" y="273322"/>
                    </a:lnTo>
                    <a:lnTo>
                      <a:pt x="42585" y="273939"/>
                    </a:lnTo>
                    <a:lnTo>
                      <a:pt x="40293" y="270413"/>
                    </a:lnTo>
                    <a:lnTo>
                      <a:pt x="41174" y="269266"/>
                    </a:lnTo>
                    <a:lnTo>
                      <a:pt x="40029" y="268032"/>
                    </a:lnTo>
                    <a:lnTo>
                      <a:pt x="42321" y="265122"/>
                    </a:lnTo>
                    <a:lnTo>
                      <a:pt x="43467" y="263095"/>
                    </a:lnTo>
                    <a:lnTo>
                      <a:pt x="43467" y="254895"/>
                    </a:lnTo>
                    <a:lnTo>
                      <a:pt x="44701" y="253837"/>
                    </a:lnTo>
                    <a:lnTo>
                      <a:pt x="46994" y="253837"/>
                    </a:lnTo>
                    <a:lnTo>
                      <a:pt x="52196" y="246166"/>
                    </a:lnTo>
                    <a:lnTo>
                      <a:pt x="52548" y="242728"/>
                    </a:lnTo>
                    <a:lnTo>
                      <a:pt x="54047" y="242111"/>
                    </a:lnTo>
                    <a:lnTo>
                      <a:pt x="54047" y="240612"/>
                    </a:lnTo>
                    <a:lnTo>
                      <a:pt x="56075" y="240612"/>
                    </a:lnTo>
                    <a:lnTo>
                      <a:pt x="55458" y="238319"/>
                    </a:lnTo>
                    <a:lnTo>
                      <a:pt x="56604" y="235145"/>
                    </a:lnTo>
                    <a:lnTo>
                      <a:pt x="54841" y="233646"/>
                    </a:lnTo>
                    <a:lnTo>
                      <a:pt x="54841" y="231354"/>
                    </a:lnTo>
                    <a:lnTo>
                      <a:pt x="53695" y="232500"/>
                    </a:lnTo>
                    <a:lnTo>
                      <a:pt x="52196" y="232500"/>
                    </a:lnTo>
                    <a:lnTo>
                      <a:pt x="52548" y="227827"/>
                    </a:lnTo>
                    <a:lnTo>
                      <a:pt x="51050" y="226681"/>
                    </a:lnTo>
                    <a:lnTo>
                      <a:pt x="53695" y="217600"/>
                    </a:lnTo>
                    <a:lnTo>
                      <a:pt x="52548" y="215572"/>
                    </a:lnTo>
                    <a:lnTo>
                      <a:pt x="49903" y="215307"/>
                    </a:lnTo>
                    <a:lnTo>
                      <a:pt x="49903" y="211163"/>
                    </a:lnTo>
                    <a:lnTo>
                      <a:pt x="54312" y="209753"/>
                    </a:lnTo>
                    <a:lnTo>
                      <a:pt x="54841" y="209488"/>
                    </a:lnTo>
                    <a:lnTo>
                      <a:pt x="55722" y="207725"/>
                    </a:lnTo>
                    <a:lnTo>
                      <a:pt x="54312" y="204198"/>
                    </a:lnTo>
                    <a:lnTo>
                      <a:pt x="57486" y="202170"/>
                    </a:lnTo>
                    <a:lnTo>
                      <a:pt x="57221" y="200407"/>
                    </a:lnTo>
                    <a:lnTo>
                      <a:pt x="58103" y="199525"/>
                    </a:lnTo>
                    <a:lnTo>
                      <a:pt x="58367" y="199261"/>
                    </a:lnTo>
                    <a:lnTo>
                      <a:pt x="56604" y="196351"/>
                    </a:lnTo>
                    <a:lnTo>
                      <a:pt x="57486" y="195117"/>
                    </a:lnTo>
                    <a:lnTo>
                      <a:pt x="56604" y="191943"/>
                    </a:lnTo>
                    <a:lnTo>
                      <a:pt x="56868" y="190179"/>
                    </a:lnTo>
                    <a:lnTo>
                      <a:pt x="56604" y="189915"/>
                    </a:lnTo>
                    <a:lnTo>
                      <a:pt x="56868" y="189650"/>
                    </a:lnTo>
                    <a:lnTo>
                      <a:pt x="56868" y="188769"/>
                    </a:lnTo>
                    <a:lnTo>
                      <a:pt x="56604" y="187270"/>
                    </a:lnTo>
                    <a:lnTo>
                      <a:pt x="57221" y="185242"/>
                    </a:lnTo>
                    <a:lnTo>
                      <a:pt x="58103" y="185242"/>
                    </a:lnTo>
                    <a:lnTo>
                      <a:pt x="58367" y="183214"/>
                    </a:lnTo>
                    <a:lnTo>
                      <a:pt x="58985" y="180040"/>
                    </a:lnTo>
                    <a:lnTo>
                      <a:pt x="57486" y="179070"/>
                    </a:lnTo>
                    <a:lnTo>
                      <a:pt x="58103" y="177042"/>
                    </a:lnTo>
                    <a:lnTo>
                      <a:pt x="59249" y="174485"/>
                    </a:lnTo>
                    <a:lnTo>
                      <a:pt x="58367" y="172987"/>
                    </a:lnTo>
                    <a:lnTo>
                      <a:pt x="57838" y="169195"/>
                    </a:lnTo>
                    <a:lnTo>
                      <a:pt x="55458" y="163641"/>
                    </a:lnTo>
                    <a:lnTo>
                      <a:pt x="57221" y="161877"/>
                    </a:lnTo>
                    <a:lnTo>
                      <a:pt x="58985" y="158439"/>
                    </a:lnTo>
                    <a:lnTo>
                      <a:pt x="57486" y="158086"/>
                    </a:lnTo>
                    <a:lnTo>
                      <a:pt x="53695" y="158439"/>
                    </a:lnTo>
                    <a:lnTo>
                      <a:pt x="52196" y="157557"/>
                    </a:lnTo>
                    <a:lnTo>
                      <a:pt x="52196" y="155176"/>
                    </a:lnTo>
                    <a:lnTo>
                      <a:pt x="45847" y="152002"/>
                    </a:lnTo>
                    <a:lnTo>
                      <a:pt x="42938" y="151738"/>
                    </a:lnTo>
                    <a:lnTo>
                      <a:pt x="39147" y="152002"/>
                    </a:lnTo>
                    <a:lnTo>
                      <a:pt x="35003" y="151121"/>
                    </a:lnTo>
                    <a:lnTo>
                      <a:pt x="35003" y="149357"/>
                    </a:lnTo>
                    <a:lnTo>
                      <a:pt x="31564" y="145831"/>
                    </a:lnTo>
                    <a:lnTo>
                      <a:pt x="28037" y="145831"/>
                    </a:lnTo>
                    <a:lnTo>
                      <a:pt x="27156" y="144684"/>
                    </a:lnTo>
                    <a:lnTo>
                      <a:pt x="25393" y="144684"/>
                    </a:lnTo>
                    <a:lnTo>
                      <a:pt x="23982" y="143274"/>
                    </a:lnTo>
                    <a:lnTo>
                      <a:pt x="23100" y="141510"/>
                    </a:lnTo>
                    <a:lnTo>
                      <a:pt x="19309" y="140629"/>
                    </a:lnTo>
                    <a:lnTo>
                      <a:pt x="18427" y="141246"/>
                    </a:lnTo>
                    <a:lnTo>
                      <a:pt x="17545" y="141246"/>
                    </a:lnTo>
                    <a:lnTo>
                      <a:pt x="14900" y="141510"/>
                    </a:lnTo>
                    <a:lnTo>
                      <a:pt x="15165" y="140629"/>
                    </a:lnTo>
                    <a:lnTo>
                      <a:pt x="3527" y="140893"/>
                    </a:lnTo>
                    <a:lnTo>
                      <a:pt x="3791" y="131547"/>
                    </a:lnTo>
                    <a:lnTo>
                      <a:pt x="3262" y="130401"/>
                    </a:lnTo>
                    <a:lnTo>
                      <a:pt x="2645" y="129255"/>
                    </a:lnTo>
                    <a:lnTo>
                      <a:pt x="3262" y="127492"/>
                    </a:lnTo>
                    <a:lnTo>
                      <a:pt x="2909" y="123436"/>
                    </a:lnTo>
                    <a:lnTo>
                      <a:pt x="353" y="121055"/>
                    </a:lnTo>
                    <a:lnTo>
                      <a:pt x="0" y="118146"/>
                    </a:lnTo>
                    <a:lnTo>
                      <a:pt x="0" y="115236"/>
                    </a:lnTo>
                    <a:lnTo>
                      <a:pt x="2909" y="114619"/>
                    </a:lnTo>
                    <a:lnTo>
                      <a:pt x="8200" y="112591"/>
                    </a:lnTo>
                    <a:lnTo>
                      <a:pt x="14636" y="109946"/>
                    </a:lnTo>
                    <a:lnTo>
                      <a:pt x="27773" y="106243"/>
                    </a:lnTo>
                    <a:lnTo>
                      <a:pt x="42585" y="99454"/>
                    </a:lnTo>
                    <a:lnTo>
                      <a:pt x="66832" y="91078"/>
                    </a:lnTo>
                    <a:lnTo>
                      <a:pt x="67978" y="91343"/>
                    </a:lnTo>
                    <a:lnTo>
                      <a:pt x="67978" y="93371"/>
                    </a:lnTo>
                    <a:lnTo>
                      <a:pt x="69741" y="95398"/>
                    </a:lnTo>
                    <a:lnTo>
                      <a:pt x="71769" y="100688"/>
                    </a:lnTo>
                    <a:lnTo>
                      <a:pt x="72651" y="100688"/>
                    </a:lnTo>
                    <a:lnTo>
                      <a:pt x="75913" y="105361"/>
                    </a:lnTo>
                    <a:lnTo>
                      <a:pt x="77059" y="101835"/>
                    </a:lnTo>
                    <a:lnTo>
                      <a:pt x="78734" y="103245"/>
                    </a:lnTo>
                    <a:lnTo>
                      <a:pt x="91078" y="100688"/>
                    </a:lnTo>
                    <a:lnTo>
                      <a:pt x="94252" y="105009"/>
                    </a:lnTo>
                    <a:lnTo>
                      <a:pt x="95751" y="114972"/>
                    </a:lnTo>
                    <a:lnTo>
                      <a:pt x="95398" y="121320"/>
                    </a:lnTo>
                    <a:lnTo>
                      <a:pt x="93370" y="123700"/>
                    </a:lnTo>
                    <a:lnTo>
                      <a:pt x="93370" y="125728"/>
                    </a:lnTo>
                    <a:lnTo>
                      <a:pt x="92224" y="126081"/>
                    </a:lnTo>
                    <a:lnTo>
                      <a:pt x="91078" y="132165"/>
                    </a:lnTo>
                    <a:lnTo>
                      <a:pt x="87287" y="135691"/>
                    </a:lnTo>
                    <a:lnTo>
                      <a:pt x="86934" y="137455"/>
                    </a:lnTo>
                    <a:lnTo>
                      <a:pt x="90725" y="141775"/>
                    </a:lnTo>
                    <a:lnTo>
                      <a:pt x="89579" y="144684"/>
                    </a:lnTo>
                    <a:lnTo>
                      <a:pt x="91078" y="147065"/>
                    </a:lnTo>
                    <a:lnTo>
                      <a:pt x="93370" y="147594"/>
                    </a:lnTo>
                    <a:lnTo>
                      <a:pt x="95134" y="151738"/>
                    </a:lnTo>
                    <a:lnTo>
                      <a:pt x="97779" y="153149"/>
                    </a:lnTo>
                    <a:lnTo>
                      <a:pt x="99542" y="156940"/>
                    </a:lnTo>
                    <a:lnTo>
                      <a:pt x="100953" y="157557"/>
                    </a:lnTo>
                    <a:lnTo>
                      <a:pt x="100336" y="158968"/>
                    </a:lnTo>
                    <a:lnTo>
                      <a:pt x="101570" y="158703"/>
                    </a:lnTo>
                    <a:lnTo>
                      <a:pt x="102099" y="160202"/>
                    </a:lnTo>
                    <a:lnTo>
                      <a:pt x="105361" y="160731"/>
                    </a:lnTo>
                    <a:lnTo>
                      <a:pt x="104127" y="163641"/>
                    </a:lnTo>
                    <a:lnTo>
                      <a:pt x="102981" y="165404"/>
                    </a:lnTo>
                    <a:lnTo>
                      <a:pt x="103598" y="168578"/>
                    </a:lnTo>
                    <a:lnTo>
                      <a:pt x="108535" y="168578"/>
                    </a:lnTo>
                    <a:lnTo>
                      <a:pt x="108800" y="166021"/>
                    </a:lnTo>
                    <a:lnTo>
                      <a:pt x="108800" y="164258"/>
                    </a:lnTo>
                    <a:lnTo>
                      <a:pt x="107654" y="163993"/>
                    </a:lnTo>
                    <a:lnTo>
                      <a:pt x="109152" y="160202"/>
                    </a:lnTo>
                    <a:lnTo>
                      <a:pt x="108535" y="157557"/>
                    </a:lnTo>
                    <a:lnTo>
                      <a:pt x="105626" y="153413"/>
                    </a:lnTo>
                    <a:lnTo>
                      <a:pt x="108006" y="151738"/>
                    </a:lnTo>
                    <a:lnTo>
                      <a:pt x="109152" y="145831"/>
                    </a:lnTo>
                    <a:lnTo>
                      <a:pt x="111709" y="142921"/>
                    </a:lnTo>
                    <a:lnTo>
                      <a:pt x="114972" y="144155"/>
                    </a:lnTo>
                    <a:lnTo>
                      <a:pt x="115236" y="143274"/>
                    </a:lnTo>
                    <a:lnTo>
                      <a:pt x="118763" y="142921"/>
                    </a:lnTo>
                    <a:lnTo>
                      <a:pt x="120791" y="140629"/>
                    </a:lnTo>
                    <a:lnTo>
                      <a:pt x="122554" y="125728"/>
                    </a:lnTo>
                    <a:lnTo>
                      <a:pt x="121408" y="119645"/>
                    </a:lnTo>
                    <a:lnTo>
                      <a:pt x="124053" y="111709"/>
                    </a:lnTo>
                    <a:lnTo>
                      <a:pt x="123700" y="106243"/>
                    </a:lnTo>
                    <a:lnTo>
                      <a:pt x="115853" y="93371"/>
                    </a:lnTo>
                    <a:lnTo>
                      <a:pt x="107654" y="81997"/>
                    </a:lnTo>
                    <a:lnTo>
                      <a:pt x="102716" y="77324"/>
                    </a:lnTo>
                    <a:lnTo>
                      <a:pt x="98308" y="77324"/>
                    </a:lnTo>
                    <a:lnTo>
                      <a:pt x="96280" y="73268"/>
                    </a:lnTo>
                    <a:lnTo>
                      <a:pt x="96632" y="64187"/>
                    </a:lnTo>
                    <a:lnTo>
                      <a:pt x="92753" y="46465"/>
                    </a:lnTo>
                    <a:lnTo>
                      <a:pt x="95134" y="39411"/>
                    </a:lnTo>
                    <a:lnTo>
                      <a:pt x="98572" y="34474"/>
                    </a:lnTo>
                    <a:lnTo>
                      <a:pt x="99189" y="30330"/>
                    </a:lnTo>
                    <a:lnTo>
                      <a:pt x="106155" y="29184"/>
                    </a:lnTo>
                    <a:lnTo>
                      <a:pt x="116735" y="28919"/>
                    </a:lnTo>
                    <a:lnTo>
                      <a:pt x="116735" y="30330"/>
                    </a:lnTo>
                    <a:lnTo>
                      <a:pt x="120791" y="30330"/>
                    </a:lnTo>
                    <a:lnTo>
                      <a:pt x="122818" y="26627"/>
                    </a:lnTo>
                    <a:lnTo>
                      <a:pt x="125728" y="25745"/>
                    </a:lnTo>
                    <a:lnTo>
                      <a:pt x="128373" y="26627"/>
                    </a:lnTo>
                    <a:lnTo>
                      <a:pt x="128638" y="28302"/>
                    </a:lnTo>
                    <a:lnTo>
                      <a:pt x="131900" y="28919"/>
                    </a:lnTo>
                    <a:lnTo>
                      <a:pt x="133046" y="32975"/>
                    </a:lnTo>
                    <a:lnTo>
                      <a:pt x="139482" y="32358"/>
                    </a:lnTo>
                    <a:lnTo>
                      <a:pt x="140628" y="33592"/>
                    </a:lnTo>
                    <a:lnTo>
                      <a:pt x="143803" y="33328"/>
                    </a:lnTo>
                    <a:lnTo>
                      <a:pt x="147329" y="29184"/>
                    </a:lnTo>
                    <a:lnTo>
                      <a:pt x="148476" y="30330"/>
                    </a:lnTo>
                    <a:lnTo>
                      <a:pt x="151738" y="30330"/>
                    </a:lnTo>
                    <a:lnTo>
                      <a:pt x="152002" y="29184"/>
                    </a:lnTo>
                    <a:lnTo>
                      <a:pt x="154030" y="32358"/>
                    </a:lnTo>
                    <a:lnTo>
                      <a:pt x="156322" y="32975"/>
                    </a:lnTo>
                    <a:lnTo>
                      <a:pt x="158703" y="32358"/>
                    </a:lnTo>
                    <a:lnTo>
                      <a:pt x="160731" y="33592"/>
                    </a:lnTo>
                    <a:lnTo>
                      <a:pt x="163993" y="30947"/>
                    </a:lnTo>
                    <a:lnTo>
                      <a:pt x="165139" y="31829"/>
                    </a:lnTo>
                    <a:lnTo>
                      <a:pt x="165668" y="30330"/>
                    </a:lnTo>
                    <a:lnTo>
                      <a:pt x="169195" y="29184"/>
                    </a:lnTo>
                    <a:lnTo>
                      <a:pt x="172457" y="22219"/>
                    </a:lnTo>
                    <a:lnTo>
                      <a:pt x="178805" y="22219"/>
                    </a:lnTo>
                    <a:lnTo>
                      <a:pt x="181186" y="24864"/>
                    </a:lnTo>
                    <a:lnTo>
                      <a:pt x="183831" y="25745"/>
                    </a:lnTo>
                    <a:lnTo>
                      <a:pt x="187005" y="22219"/>
                    </a:lnTo>
                    <a:lnTo>
                      <a:pt x="189650" y="22219"/>
                    </a:lnTo>
                    <a:lnTo>
                      <a:pt x="192824" y="19309"/>
                    </a:lnTo>
                    <a:lnTo>
                      <a:pt x="201288" y="19309"/>
                    </a:lnTo>
                    <a:lnTo>
                      <a:pt x="206490" y="15782"/>
                    </a:lnTo>
                    <a:lnTo>
                      <a:pt x="217688" y="10580"/>
                    </a:lnTo>
                    <a:lnTo>
                      <a:pt x="222008" y="5555"/>
                    </a:lnTo>
                    <a:lnTo>
                      <a:pt x="226416" y="2998"/>
                    </a:lnTo>
                    <a:lnTo>
                      <a:pt x="228092" y="0"/>
                    </a:lnTo>
                    <a:lnTo>
                      <a:pt x="228709" y="2645"/>
                    </a:lnTo>
                    <a:lnTo>
                      <a:pt x="229591" y="2645"/>
                    </a:lnTo>
                    <a:lnTo>
                      <a:pt x="229855" y="3527"/>
                    </a:lnTo>
                    <a:lnTo>
                      <a:pt x="230208" y="4408"/>
                    </a:lnTo>
                    <a:lnTo>
                      <a:pt x="228973" y="5026"/>
                    </a:lnTo>
                    <a:lnTo>
                      <a:pt x="229591" y="5555"/>
                    </a:lnTo>
                    <a:lnTo>
                      <a:pt x="230472" y="5555"/>
                    </a:lnTo>
                    <a:lnTo>
                      <a:pt x="230208" y="7318"/>
                    </a:lnTo>
                    <a:lnTo>
                      <a:pt x="230737" y="7671"/>
                    </a:lnTo>
                    <a:lnTo>
                      <a:pt x="231354" y="7671"/>
                    </a:lnTo>
                    <a:lnTo>
                      <a:pt x="231883" y="7935"/>
                    </a:lnTo>
                    <a:lnTo>
                      <a:pt x="231618" y="8200"/>
                    </a:lnTo>
                    <a:lnTo>
                      <a:pt x="231001" y="8200"/>
                    </a:lnTo>
                    <a:lnTo>
                      <a:pt x="230208" y="7935"/>
                    </a:lnTo>
                    <a:lnTo>
                      <a:pt x="229326" y="8200"/>
                    </a:lnTo>
                    <a:lnTo>
                      <a:pt x="228092" y="11109"/>
                    </a:lnTo>
                    <a:lnTo>
                      <a:pt x="228973" y="10845"/>
                    </a:lnTo>
                    <a:lnTo>
                      <a:pt x="230472" y="11462"/>
                    </a:lnTo>
                    <a:lnTo>
                      <a:pt x="230472" y="12608"/>
                    </a:lnTo>
                    <a:lnTo>
                      <a:pt x="228709" y="13490"/>
                    </a:lnTo>
                    <a:lnTo>
                      <a:pt x="226681" y="49286"/>
                    </a:lnTo>
                    <a:lnTo>
                      <a:pt x="226945" y="50256"/>
                    </a:lnTo>
                    <a:lnTo>
                      <a:pt x="227827" y="49903"/>
                    </a:lnTo>
                    <a:lnTo>
                      <a:pt x="228444" y="50521"/>
                    </a:lnTo>
                    <a:lnTo>
                      <a:pt x="229855" y="60131"/>
                    </a:lnTo>
                    <a:lnTo>
                      <a:pt x="229591" y="60395"/>
                    </a:lnTo>
                    <a:lnTo>
                      <a:pt x="228444" y="59866"/>
                    </a:lnTo>
                    <a:lnTo>
                      <a:pt x="228092" y="60395"/>
                    </a:lnTo>
                    <a:lnTo>
                      <a:pt x="228092" y="60748"/>
                    </a:lnTo>
                    <a:lnTo>
                      <a:pt x="227298" y="60748"/>
                    </a:lnTo>
                    <a:lnTo>
                      <a:pt x="226945" y="60748"/>
                    </a:lnTo>
                    <a:lnTo>
                      <a:pt x="226945" y="61277"/>
                    </a:lnTo>
                    <a:lnTo>
                      <a:pt x="227827" y="62159"/>
                    </a:lnTo>
                    <a:lnTo>
                      <a:pt x="227827" y="62776"/>
                    </a:lnTo>
                    <a:lnTo>
                      <a:pt x="227298" y="63305"/>
                    </a:lnTo>
                    <a:lnTo>
                      <a:pt x="226416" y="62776"/>
                    </a:lnTo>
                    <a:lnTo>
                      <a:pt x="225182" y="63041"/>
                    </a:lnTo>
                    <a:lnTo>
                      <a:pt x="224653" y="64451"/>
                    </a:lnTo>
                    <a:lnTo>
                      <a:pt x="224917" y="65686"/>
                    </a:lnTo>
                    <a:lnTo>
                      <a:pt x="226064" y="66567"/>
                    </a:lnTo>
                    <a:lnTo>
                      <a:pt x="226681" y="66215"/>
                    </a:lnTo>
                    <a:lnTo>
                      <a:pt x="227298" y="65686"/>
                    </a:lnTo>
                    <a:lnTo>
                      <a:pt x="226416" y="64451"/>
                    </a:lnTo>
                    <a:lnTo>
                      <a:pt x="228444" y="65421"/>
                    </a:lnTo>
                    <a:lnTo>
                      <a:pt x="228709" y="69741"/>
                    </a:lnTo>
                    <a:lnTo>
                      <a:pt x="227563" y="72122"/>
                    </a:lnTo>
                    <a:lnTo>
                      <a:pt x="227298" y="72651"/>
                    </a:lnTo>
                    <a:lnTo>
                      <a:pt x="226945" y="72915"/>
                    </a:lnTo>
                    <a:lnTo>
                      <a:pt x="227298" y="73268"/>
                    </a:lnTo>
                    <a:lnTo>
                      <a:pt x="227563" y="72915"/>
                    </a:lnTo>
                    <a:lnTo>
                      <a:pt x="228092" y="72915"/>
                    </a:lnTo>
                    <a:lnTo>
                      <a:pt x="228092" y="73533"/>
                    </a:lnTo>
                    <a:lnTo>
                      <a:pt x="227298" y="92753"/>
                    </a:lnTo>
                    <a:lnTo>
                      <a:pt x="226945" y="93371"/>
                    </a:lnTo>
                    <a:lnTo>
                      <a:pt x="227298" y="93988"/>
                    </a:lnTo>
                    <a:lnTo>
                      <a:pt x="226416" y="94252"/>
                    </a:lnTo>
                    <a:lnTo>
                      <a:pt x="226064" y="94869"/>
                    </a:lnTo>
                    <a:lnTo>
                      <a:pt x="226416" y="96544"/>
                    </a:lnTo>
                    <a:lnTo>
                      <a:pt x="226945" y="96015"/>
                    </a:lnTo>
                    <a:lnTo>
                      <a:pt x="227827" y="99189"/>
                    </a:lnTo>
                    <a:lnTo>
                      <a:pt x="227827" y="100336"/>
                    </a:lnTo>
                    <a:lnTo>
                      <a:pt x="228092" y="102099"/>
                    </a:lnTo>
                    <a:lnTo>
                      <a:pt x="227298" y="102452"/>
                    </a:lnTo>
                    <a:lnTo>
                      <a:pt x="226945" y="102716"/>
                    </a:lnTo>
                    <a:lnTo>
                      <a:pt x="227298" y="102981"/>
                    </a:lnTo>
                    <a:lnTo>
                      <a:pt x="226945" y="104127"/>
                    </a:lnTo>
                    <a:lnTo>
                      <a:pt x="227563" y="105009"/>
                    </a:lnTo>
                    <a:lnTo>
                      <a:pt x="227827" y="103863"/>
                    </a:lnTo>
                    <a:lnTo>
                      <a:pt x="227563" y="103598"/>
                    </a:lnTo>
                    <a:lnTo>
                      <a:pt x="228709" y="102452"/>
                    </a:lnTo>
                    <a:lnTo>
                      <a:pt x="228709" y="101570"/>
                    </a:lnTo>
                    <a:lnTo>
                      <a:pt x="231001" y="111709"/>
                    </a:lnTo>
                    <a:lnTo>
                      <a:pt x="230208" y="112327"/>
                    </a:lnTo>
                    <a:lnTo>
                      <a:pt x="229591" y="112591"/>
                    </a:lnTo>
                    <a:lnTo>
                      <a:pt x="227827" y="112062"/>
                    </a:lnTo>
                    <a:lnTo>
                      <a:pt x="227298" y="112062"/>
                    </a:lnTo>
                    <a:lnTo>
                      <a:pt x="227563" y="113208"/>
                    </a:lnTo>
                    <a:lnTo>
                      <a:pt x="228092" y="113825"/>
                    </a:lnTo>
                    <a:lnTo>
                      <a:pt x="229326" y="113473"/>
                    </a:lnTo>
                    <a:lnTo>
                      <a:pt x="229855" y="113825"/>
                    </a:lnTo>
                    <a:lnTo>
                      <a:pt x="230472" y="114354"/>
                    </a:lnTo>
                    <a:lnTo>
                      <a:pt x="230472" y="115501"/>
                    </a:lnTo>
                    <a:lnTo>
                      <a:pt x="229855" y="115501"/>
                    </a:lnTo>
                    <a:lnTo>
                      <a:pt x="228709" y="114972"/>
                    </a:lnTo>
                    <a:lnTo>
                      <a:pt x="227563" y="115501"/>
                    </a:lnTo>
                    <a:lnTo>
                      <a:pt x="228709" y="116735"/>
                    </a:lnTo>
                    <a:lnTo>
                      <a:pt x="228973" y="117617"/>
                    </a:lnTo>
                    <a:lnTo>
                      <a:pt x="227298" y="118498"/>
                    </a:lnTo>
                    <a:lnTo>
                      <a:pt x="223507" y="128638"/>
                    </a:lnTo>
                    <a:lnTo>
                      <a:pt x="221391" y="131547"/>
                    </a:lnTo>
                    <a:lnTo>
                      <a:pt x="220509" y="133311"/>
                    </a:lnTo>
                    <a:lnTo>
                      <a:pt x="219627" y="134810"/>
                    </a:lnTo>
                    <a:lnTo>
                      <a:pt x="213808" y="140011"/>
                    </a:lnTo>
                    <a:lnTo>
                      <a:pt x="213808" y="140629"/>
                    </a:lnTo>
                    <a:lnTo>
                      <a:pt x="215043" y="139747"/>
                    </a:lnTo>
                    <a:lnTo>
                      <a:pt x="215307" y="140364"/>
                    </a:lnTo>
                    <a:lnTo>
                      <a:pt x="215043" y="140629"/>
                    </a:lnTo>
                    <a:lnTo>
                      <a:pt x="215043" y="141246"/>
                    </a:lnTo>
                    <a:lnTo>
                      <a:pt x="212398" y="145831"/>
                    </a:lnTo>
                    <a:lnTo>
                      <a:pt x="211516" y="146183"/>
                    </a:lnTo>
                    <a:lnTo>
                      <a:pt x="206843" y="147947"/>
                    </a:lnTo>
                    <a:lnTo>
                      <a:pt x="207107" y="148476"/>
                    </a:lnTo>
                    <a:lnTo>
                      <a:pt x="208254" y="151738"/>
                    </a:lnTo>
                    <a:lnTo>
                      <a:pt x="207989" y="152267"/>
                    </a:lnTo>
                    <a:lnTo>
                      <a:pt x="207107" y="152267"/>
                    </a:lnTo>
                    <a:lnTo>
                      <a:pt x="206490" y="151738"/>
                    </a:lnTo>
                    <a:lnTo>
                      <a:pt x="205961" y="152002"/>
                    </a:lnTo>
                    <a:lnTo>
                      <a:pt x="205079" y="153413"/>
                    </a:lnTo>
                    <a:lnTo>
                      <a:pt x="199525" y="158439"/>
                    </a:lnTo>
                    <a:lnTo>
                      <a:pt x="192824" y="161877"/>
                    </a:lnTo>
                    <a:lnTo>
                      <a:pt x="191942" y="162495"/>
                    </a:lnTo>
                    <a:lnTo>
                      <a:pt x="191061" y="162759"/>
                    </a:lnTo>
                    <a:lnTo>
                      <a:pt x="191061" y="163376"/>
                    </a:lnTo>
                    <a:lnTo>
                      <a:pt x="181803" y="167432"/>
                    </a:lnTo>
                    <a:lnTo>
                      <a:pt x="180833" y="168049"/>
                    </a:lnTo>
                    <a:lnTo>
                      <a:pt x="180304" y="168049"/>
                    </a:lnTo>
                    <a:lnTo>
                      <a:pt x="180304" y="167167"/>
                    </a:lnTo>
                    <a:lnTo>
                      <a:pt x="179952" y="166903"/>
                    </a:lnTo>
                    <a:lnTo>
                      <a:pt x="178541" y="167432"/>
                    </a:lnTo>
                    <a:lnTo>
                      <a:pt x="178012" y="169195"/>
                    </a:lnTo>
                    <a:lnTo>
                      <a:pt x="177042" y="170694"/>
                    </a:lnTo>
                    <a:lnTo>
                      <a:pt x="166285" y="174750"/>
                    </a:lnTo>
                    <a:lnTo>
                      <a:pt x="161348" y="175896"/>
                    </a:lnTo>
                    <a:lnTo>
                      <a:pt x="148828" y="182861"/>
                    </a:lnTo>
                    <a:lnTo>
                      <a:pt x="148476" y="183479"/>
                    </a:lnTo>
                    <a:lnTo>
                      <a:pt x="148476" y="183831"/>
                    </a:lnTo>
                    <a:lnTo>
                      <a:pt x="149093" y="184625"/>
                    </a:lnTo>
                    <a:lnTo>
                      <a:pt x="148828" y="186124"/>
                    </a:lnTo>
                    <a:lnTo>
                      <a:pt x="148828" y="187623"/>
                    </a:lnTo>
                    <a:lnTo>
                      <a:pt x="147065" y="188769"/>
                    </a:lnTo>
                    <a:lnTo>
                      <a:pt x="146183" y="189298"/>
                    </a:lnTo>
                    <a:lnTo>
                      <a:pt x="145566" y="189650"/>
                    </a:lnTo>
                    <a:lnTo>
                      <a:pt x="145037" y="190179"/>
                    </a:lnTo>
                    <a:lnTo>
                      <a:pt x="143803" y="190797"/>
                    </a:lnTo>
                    <a:lnTo>
                      <a:pt x="143538" y="189033"/>
                    </a:lnTo>
                    <a:lnTo>
                      <a:pt x="143274" y="187887"/>
                    </a:lnTo>
                    <a:lnTo>
                      <a:pt x="142392" y="187270"/>
                    </a:lnTo>
                    <a:lnTo>
                      <a:pt x="142127" y="187270"/>
                    </a:lnTo>
                    <a:lnTo>
                      <a:pt x="141775" y="187623"/>
                    </a:lnTo>
                    <a:lnTo>
                      <a:pt x="141510" y="187270"/>
                    </a:lnTo>
                    <a:lnTo>
                      <a:pt x="141246" y="187623"/>
                    </a:lnTo>
                    <a:lnTo>
                      <a:pt x="141246" y="188152"/>
                    </a:lnTo>
                    <a:lnTo>
                      <a:pt x="141246" y="189033"/>
                    </a:lnTo>
                    <a:lnTo>
                      <a:pt x="142127" y="190797"/>
                    </a:lnTo>
                    <a:lnTo>
                      <a:pt x="142392" y="191678"/>
                    </a:lnTo>
                    <a:lnTo>
                      <a:pt x="143538" y="192295"/>
                    </a:lnTo>
                    <a:lnTo>
                      <a:pt x="142921" y="194323"/>
                    </a:lnTo>
                    <a:lnTo>
                      <a:pt x="141510" y="195469"/>
                    </a:lnTo>
                    <a:lnTo>
                      <a:pt x="140628" y="195117"/>
                    </a:lnTo>
                    <a:lnTo>
                      <a:pt x="140011" y="195469"/>
                    </a:lnTo>
                    <a:lnTo>
                      <a:pt x="139482" y="195998"/>
                    </a:lnTo>
                    <a:lnTo>
                      <a:pt x="140893" y="195734"/>
                    </a:lnTo>
                    <a:lnTo>
                      <a:pt x="140628" y="196351"/>
                    </a:lnTo>
                    <a:lnTo>
                      <a:pt x="139482" y="197762"/>
                    </a:lnTo>
                    <a:lnTo>
                      <a:pt x="130401" y="207460"/>
                    </a:lnTo>
                    <a:lnTo>
                      <a:pt x="130136" y="207725"/>
                    </a:lnTo>
                    <a:lnTo>
                      <a:pt x="130401" y="209488"/>
                    </a:lnTo>
                    <a:lnTo>
                      <a:pt x="130136" y="210282"/>
                    </a:lnTo>
                    <a:lnTo>
                      <a:pt x="128638" y="210017"/>
                    </a:lnTo>
                    <a:lnTo>
                      <a:pt x="127756" y="209753"/>
                    </a:lnTo>
                    <a:lnTo>
                      <a:pt x="127139" y="208254"/>
                    </a:lnTo>
                    <a:lnTo>
                      <a:pt x="126874" y="207989"/>
                    </a:lnTo>
                    <a:lnTo>
                      <a:pt x="126610" y="209135"/>
                    </a:lnTo>
                    <a:lnTo>
                      <a:pt x="127491" y="210634"/>
                    </a:lnTo>
                    <a:lnTo>
                      <a:pt x="127491" y="212133"/>
                    </a:lnTo>
                    <a:lnTo>
                      <a:pt x="127491" y="212927"/>
                    </a:lnTo>
                    <a:lnTo>
                      <a:pt x="127491" y="213279"/>
                    </a:lnTo>
                    <a:lnTo>
                      <a:pt x="122554" y="212398"/>
                    </a:lnTo>
                    <a:lnTo>
                      <a:pt x="121937" y="213279"/>
                    </a:lnTo>
                    <a:lnTo>
                      <a:pt x="121055" y="213808"/>
                    </a:lnTo>
                    <a:lnTo>
                      <a:pt x="120791" y="213808"/>
                    </a:lnTo>
                    <a:lnTo>
                      <a:pt x="121055" y="213279"/>
                    </a:lnTo>
                    <a:lnTo>
                      <a:pt x="120791" y="212662"/>
                    </a:lnTo>
                    <a:lnTo>
                      <a:pt x="121055" y="212133"/>
                    </a:lnTo>
                    <a:lnTo>
                      <a:pt x="120526" y="212662"/>
                    </a:lnTo>
                    <a:lnTo>
                      <a:pt x="120526" y="213808"/>
                    </a:lnTo>
                    <a:lnTo>
                      <a:pt x="120526" y="214426"/>
                    </a:lnTo>
                    <a:lnTo>
                      <a:pt x="119645" y="214426"/>
                    </a:lnTo>
                    <a:lnTo>
                      <a:pt x="118763" y="213808"/>
                    </a:lnTo>
                    <a:lnTo>
                      <a:pt x="118146" y="214426"/>
                    </a:lnTo>
                    <a:lnTo>
                      <a:pt x="118763" y="215043"/>
                    </a:lnTo>
                    <a:lnTo>
                      <a:pt x="117881" y="216189"/>
                    </a:lnTo>
                    <a:lnTo>
                      <a:pt x="113825" y="218482"/>
                    </a:lnTo>
                    <a:lnTo>
                      <a:pt x="112944" y="220862"/>
                    </a:lnTo>
                    <a:lnTo>
                      <a:pt x="110563" y="224300"/>
                    </a:lnTo>
                    <a:lnTo>
                      <a:pt x="108535" y="225799"/>
                    </a:lnTo>
                    <a:lnTo>
                      <a:pt x="100071" y="233117"/>
                    </a:lnTo>
                    <a:lnTo>
                      <a:pt x="98572" y="235410"/>
                    </a:lnTo>
                    <a:lnTo>
                      <a:pt x="97426" y="236291"/>
                    </a:lnTo>
                    <a:lnTo>
                      <a:pt x="96015" y="236820"/>
                    </a:lnTo>
                    <a:lnTo>
                      <a:pt x="94781" y="236291"/>
                    </a:lnTo>
                    <a:lnTo>
                      <a:pt x="89579" y="230737"/>
                    </a:lnTo>
                    <a:lnTo>
                      <a:pt x="89579" y="231354"/>
                    </a:lnTo>
                    <a:lnTo>
                      <a:pt x="90196" y="232236"/>
                    </a:lnTo>
                    <a:lnTo>
                      <a:pt x="91960" y="235674"/>
                    </a:lnTo>
                    <a:lnTo>
                      <a:pt x="93723" y="236820"/>
                    </a:lnTo>
                    <a:lnTo>
                      <a:pt x="92489" y="237438"/>
                    </a:lnTo>
                    <a:lnTo>
                      <a:pt x="92753" y="238055"/>
                    </a:lnTo>
                    <a:lnTo>
                      <a:pt x="93370" y="240964"/>
                    </a:lnTo>
                    <a:lnTo>
                      <a:pt x="93106" y="242992"/>
                    </a:lnTo>
                    <a:lnTo>
                      <a:pt x="92753" y="244491"/>
                    </a:lnTo>
                    <a:lnTo>
                      <a:pt x="91960" y="245020"/>
                    </a:lnTo>
                    <a:lnTo>
                      <a:pt x="92224" y="246166"/>
                    </a:lnTo>
                    <a:lnTo>
                      <a:pt x="91078" y="247401"/>
                    </a:lnTo>
                    <a:lnTo>
                      <a:pt x="91960" y="254366"/>
                    </a:lnTo>
                    <a:lnTo>
                      <a:pt x="92224" y="254630"/>
                    </a:lnTo>
                    <a:lnTo>
                      <a:pt x="92753" y="254366"/>
                    </a:lnTo>
                    <a:lnTo>
                      <a:pt x="93723" y="254630"/>
                    </a:lnTo>
                    <a:lnTo>
                      <a:pt x="93723" y="256129"/>
                    </a:lnTo>
                    <a:lnTo>
                      <a:pt x="97161" y="257893"/>
                    </a:lnTo>
                    <a:lnTo>
                      <a:pt x="97426" y="259656"/>
                    </a:lnTo>
                    <a:lnTo>
                      <a:pt x="97161" y="261331"/>
                    </a:lnTo>
                    <a:lnTo>
                      <a:pt x="97426" y="262830"/>
                    </a:lnTo>
                    <a:lnTo>
                      <a:pt x="97779" y="263712"/>
                    </a:lnTo>
                    <a:lnTo>
                      <a:pt x="98572" y="263712"/>
                    </a:lnTo>
                    <a:lnTo>
                      <a:pt x="98925" y="263447"/>
                    </a:lnTo>
                    <a:lnTo>
                      <a:pt x="99542" y="263712"/>
                    </a:lnTo>
                    <a:lnTo>
                      <a:pt x="99542" y="263976"/>
                    </a:lnTo>
                    <a:lnTo>
                      <a:pt x="99189" y="264593"/>
                    </a:lnTo>
                    <a:lnTo>
                      <a:pt x="98572" y="264858"/>
                    </a:lnTo>
                    <a:lnTo>
                      <a:pt x="98572" y="265740"/>
                    </a:lnTo>
                    <a:lnTo>
                      <a:pt x="98925" y="265740"/>
                    </a:lnTo>
                    <a:lnTo>
                      <a:pt x="98308" y="268032"/>
                    </a:lnTo>
                    <a:lnTo>
                      <a:pt x="98308" y="268649"/>
                    </a:lnTo>
                    <a:lnTo>
                      <a:pt x="97779" y="269795"/>
                    </a:lnTo>
                    <a:lnTo>
                      <a:pt x="97779" y="271294"/>
                    </a:lnTo>
                    <a:lnTo>
                      <a:pt x="98043" y="272176"/>
                    </a:lnTo>
                    <a:lnTo>
                      <a:pt x="98043" y="273322"/>
                    </a:lnTo>
                    <a:lnTo>
                      <a:pt x="98308" y="273322"/>
                    </a:lnTo>
                    <a:lnTo>
                      <a:pt x="98308" y="273057"/>
                    </a:lnTo>
                    <a:lnTo>
                      <a:pt x="98308" y="272441"/>
                    </a:lnTo>
                    <a:lnTo>
                      <a:pt x="98308" y="270942"/>
                    </a:lnTo>
                    <a:lnTo>
                      <a:pt x="98572" y="270148"/>
                    </a:lnTo>
                    <a:lnTo>
                      <a:pt x="99189" y="269266"/>
                    </a:lnTo>
                    <a:lnTo>
                      <a:pt x="99807" y="269266"/>
                    </a:lnTo>
                    <a:lnTo>
                      <a:pt x="99807" y="270148"/>
                    </a:lnTo>
                    <a:lnTo>
                      <a:pt x="100071" y="270677"/>
                    </a:lnTo>
                    <a:lnTo>
                      <a:pt x="99542" y="272176"/>
                    </a:lnTo>
                    <a:lnTo>
                      <a:pt x="99542" y="273057"/>
                    </a:lnTo>
                    <a:lnTo>
                      <a:pt x="98925" y="274468"/>
                    </a:lnTo>
                    <a:lnTo>
                      <a:pt x="98925" y="275350"/>
                    </a:lnTo>
                    <a:lnTo>
                      <a:pt x="100336" y="276849"/>
                    </a:lnTo>
                    <a:lnTo>
                      <a:pt x="101570" y="281257"/>
                    </a:lnTo>
                    <a:lnTo>
                      <a:pt x="102452" y="287077"/>
                    </a:lnTo>
                    <a:lnTo>
                      <a:pt x="102716" y="289986"/>
                    </a:lnTo>
                    <a:lnTo>
                      <a:pt x="102716" y="292895"/>
                    </a:lnTo>
                    <a:lnTo>
                      <a:pt x="101570" y="296687"/>
                    </a:lnTo>
                    <a:lnTo>
                      <a:pt x="101834" y="298715"/>
                    </a:lnTo>
                    <a:lnTo>
                      <a:pt x="101570" y="300214"/>
                    </a:lnTo>
                    <a:lnTo>
                      <a:pt x="105009" y="307443"/>
                    </a:lnTo>
                    <a:lnTo>
                      <a:pt x="105361" y="308589"/>
                    </a:lnTo>
                    <a:lnTo>
                      <a:pt x="104744" y="310353"/>
                    </a:lnTo>
                    <a:lnTo>
                      <a:pt x="105361" y="312733"/>
                    </a:lnTo>
                    <a:lnTo>
                      <a:pt x="105626" y="313615"/>
                    </a:lnTo>
                    <a:lnTo>
                      <a:pt x="105890" y="312998"/>
                    </a:lnTo>
                    <a:lnTo>
                      <a:pt x="106507" y="312116"/>
                    </a:lnTo>
                    <a:lnTo>
                      <a:pt x="107389" y="312998"/>
                    </a:lnTo>
                    <a:lnTo>
                      <a:pt x="106772" y="314144"/>
                    </a:lnTo>
                    <a:lnTo>
                      <a:pt x="105361" y="316172"/>
                    </a:lnTo>
                    <a:lnTo>
                      <a:pt x="104480" y="319699"/>
                    </a:lnTo>
                    <a:lnTo>
                      <a:pt x="105361" y="322873"/>
                    </a:lnTo>
                    <a:lnTo>
                      <a:pt x="103598" y="328780"/>
                    </a:lnTo>
                    <a:lnTo>
                      <a:pt x="102716" y="331954"/>
                    </a:lnTo>
                    <a:lnTo>
                      <a:pt x="102099" y="332836"/>
                    </a:lnTo>
                    <a:lnTo>
                      <a:pt x="101834" y="333453"/>
                    </a:lnTo>
                    <a:lnTo>
                      <a:pt x="101217" y="333717"/>
                    </a:lnTo>
                    <a:lnTo>
                      <a:pt x="101570" y="332219"/>
                    </a:lnTo>
                    <a:lnTo>
                      <a:pt x="100688" y="331601"/>
                    </a:lnTo>
                    <a:lnTo>
                      <a:pt x="100336" y="331601"/>
                    </a:lnTo>
                    <a:lnTo>
                      <a:pt x="100953" y="332219"/>
                    </a:lnTo>
                    <a:lnTo>
                      <a:pt x="100688" y="333453"/>
                    </a:lnTo>
                    <a:lnTo>
                      <a:pt x="100336" y="334864"/>
                    </a:lnTo>
                    <a:lnTo>
                      <a:pt x="104480" y="334864"/>
                    </a:lnTo>
                    <a:lnTo>
                      <a:pt x="104744" y="336363"/>
                    </a:lnTo>
                    <a:lnTo>
                      <a:pt x="104744" y="338655"/>
                    </a:lnTo>
                    <a:lnTo>
                      <a:pt x="103245" y="342182"/>
                    </a:lnTo>
                    <a:lnTo>
                      <a:pt x="101834" y="345620"/>
                    </a:lnTo>
                    <a:lnTo>
                      <a:pt x="99542" y="349411"/>
                    </a:lnTo>
                    <a:lnTo>
                      <a:pt x="97779" y="351175"/>
                    </a:lnTo>
                    <a:lnTo>
                      <a:pt x="95751" y="352674"/>
                    </a:lnTo>
                    <a:lnTo>
                      <a:pt x="92489" y="355848"/>
                    </a:lnTo>
                    <a:lnTo>
                      <a:pt x="90725" y="357876"/>
                    </a:lnTo>
                    <a:lnTo>
                      <a:pt x="86669" y="360521"/>
                    </a:lnTo>
                    <a:lnTo>
                      <a:pt x="84024" y="361667"/>
                    </a:lnTo>
                    <a:lnTo>
                      <a:pt x="80850" y="361138"/>
                    </a:lnTo>
                    <a:lnTo>
                      <a:pt x="78205" y="360521"/>
                    </a:lnTo>
                    <a:lnTo>
                      <a:pt x="76706" y="361138"/>
                    </a:lnTo>
                    <a:lnTo>
                      <a:pt x="75560" y="360521"/>
                    </a:lnTo>
                    <a:lnTo>
                      <a:pt x="75296" y="361138"/>
                    </a:lnTo>
                    <a:lnTo>
                      <a:pt x="74679" y="360785"/>
                    </a:lnTo>
                    <a:lnTo>
                      <a:pt x="74150" y="362020"/>
                    </a:lnTo>
                    <a:lnTo>
                      <a:pt x="74150" y="363430"/>
                    </a:lnTo>
                    <a:lnTo>
                      <a:pt x="72651" y="366075"/>
                    </a:lnTo>
                    <a:lnTo>
                      <a:pt x="70358" y="368103"/>
                    </a:lnTo>
                    <a:lnTo>
                      <a:pt x="69124" y="368985"/>
                    </a:lnTo>
                    <a:lnTo>
                      <a:pt x="55105" y="371894"/>
                    </a:lnTo>
                    <a:lnTo>
                      <a:pt x="54312" y="372159"/>
                    </a:lnTo>
                    <a:lnTo>
                      <a:pt x="54047" y="372159"/>
                    </a:lnTo>
                    <a:lnTo>
                      <a:pt x="53695" y="372159"/>
                    </a:lnTo>
                    <a:lnTo>
                      <a:pt x="53430" y="371630"/>
                    </a:lnTo>
                    <a:lnTo>
                      <a:pt x="50168" y="373393"/>
                    </a:lnTo>
                    <a:lnTo>
                      <a:pt x="45495" y="377714"/>
                    </a:lnTo>
                    <a:lnTo>
                      <a:pt x="43467" y="379477"/>
                    </a:lnTo>
                    <a:lnTo>
                      <a:pt x="42056" y="381505"/>
                    </a:lnTo>
                    <a:lnTo>
                      <a:pt x="42321" y="382122"/>
                    </a:lnTo>
                    <a:lnTo>
                      <a:pt x="41439" y="383885"/>
                    </a:lnTo>
                    <a:lnTo>
                      <a:pt x="41439" y="384150"/>
                    </a:lnTo>
                    <a:lnTo>
                      <a:pt x="41439" y="384414"/>
                    </a:lnTo>
                    <a:lnTo>
                      <a:pt x="41439" y="385560"/>
                    </a:lnTo>
                    <a:lnTo>
                      <a:pt x="41439" y="386178"/>
                    </a:lnTo>
                    <a:lnTo>
                      <a:pt x="41174" y="385296"/>
                    </a:lnTo>
                    <a:lnTo>
                      <a:pt x="41439" y="384767"/>
                    </a:lnTo>
                    <a:lnTo>
                      <a:pt x="40910" y="384767"/>
                    </a:lnTo>
                    <a:lnTo>
                      <a:pt x="40558" y="385031"/>
                    </a:lnTo>
                    <a:lnTo>
                      <a:pt x="40293" y="386178"/>
                    </a:lnTo>
                    <a:lnTo>
                      <a:pt x="39676" y="386795"/>
                    </a:lnTo>
                    <a:lnTo>
                      <a:pt x="39411" y="387676"/>
                    </a:lnTo>
                    <a:lnTo>
                      <a:pt x="39411" y="388558"/>
                    </a:lnTo>
                    <a:lnTo>
                      <a:pt x="38530" y="389087"/>
                    </a:lnTo>
                    <a:lnTo>
                      <a:pt x="38001" y="389704"/>
                    </a:lnTo>
                    <a:lnTo>
                      <a:pt x="37383" y="388558"/>
                    </a:lnTo>
                    <a:lnTo>
                      <a:pt x="36502" y="388294"/>
                    </a:lnTo>
                    <a:lnTo>
                      <a:pt x="35267" y="388558"/>
                    </a:lnTo>
                    <a:lnTo>
                      <a:pt x="35267" y="389704"/>
                    </a:lnTo>
                    <a:lnTo>
                      <a:pt x="36149" y="390233"/>
                    </a:lnTo>
                    <a:lnTo>
                      <a:pt x="36149" y="389969"/>
                    </a:lnTo>
                    <a:lnTo>
                      <a:pt x="36502" y="388823"/>
                    </a:lnTo>
                    <a:lnTo>
                      <a:pt x="37119" y="389704"/>
                    </a:lnTo>
                    <a:lnTo>
                      <a:pt x="40029" y="391997"/>
                    </a:lnTo>
                    <a:lnTo>
                      <a:pt x="43467" y="401695"/>
                    </a:lnTo>
                    <a:lnTo>
                      <a:pt x="40910" y="396141"/>
                    </a:lnTo>
                    <a:lnTo>
                      <a:pt x="42938" y="394906"/>
                    </a:lnTo>
                    <a:lnTo>
                      <a:pt x="42321" y="399315"/>
                    </a:lnTo>
                    <a:lnTo>
                      <a:pt x="42938" y="400814"/>
                    </a:lnTo>
                    <a:lnTo>
                      <a:pt x="43467" y="404869"/>
                    </a:lnTo>
                    <a:lnTo>
                      <a:pt x="44349" y="4063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9" name="Freihandform: Form 1798">
                <a:extLst>
                  <a:ext uri="{FF2B5EF4-FFF2-40B4-BE49-F238E27FC236}">
                    <a16:creationId xmlns:a16="http://schemas.microsoft.com/office/drawing/2014/main" id="{7DA82B99-A910-C0FD-CF4B-12BA66432E56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0" name="Freihandform: Form 1799">
                <a:extLst>
                  <a:ext uri="{FF2B5EF4-FFF2-40B4-BE49-F238E27FC236}">
                    <a16:creationId xmlns:a16="http://schemas.microsoft.com/office/drawing/2014/main" id="{85BAD835-E3B8-A9A7-6D74-254391E7D10F}"/>
                  </a:ext>
                </a:extLst>
              </p:cNvPr>
              <p:cNvSpPr/>
              <p:nvPr/>
            </p:nvSpPr>
            <p:spPr>
              <a:xfrm>
                <a:off x="3800927" y="3526690"/>
                <a:ext cx="364047" cy="371629"/>
              </a:xfrm>
              <a:custGeom>
                <a:avLst/>
                <a:gdLst>
                  <a:gd name="connsiteX0" fmla="*/ 94517 w 364047"/>
                  <a:gd name="connsiteY0" fmla="*/ 369866 h 371629"/>
                  <a:gd name="connsiteX1" fmla="*/ 94781 w 364047"/>
                  <a:gd name="connsiteY1" fmla="*/ 367486 h 371629"/>
                  <a:gd name="connsiteX2" fmla="*/ 90990 w 364047"/>
                  <a:gd name="connsiteY2" fmla="*/ 365811 h 371629"/>
                  <a:gd name="connsiteX3" fmla="*/ 88345 w 364047"/>
                  <a:gd name="connsiteY3" fmla="*/ 364047 h 371629"/>
                  <a:gd name="connsiteX4" fmla="*/ 86581 w 364047"/>
                  <a:gd name="connsiteY4" fmla="*/ 358493 h 371629"/>
                  <a:gd name="connsiteX5" fmla="*/ 86317 w 364047"/>
                  <a:gd name="connsiteY5" fmla="*/ 353555 h 371629"/>
                  <a:gd name="connsiteX6" fmla="*/ 85788 w 364047"/>
                  <a:gd name="connsiteY6" fmla="*/ 348001 h 371629"/>
                  <a:gd name="connsiteX7" fmla="*/ 80762 w 364047"/>
                  <a:gd name="connsiteY7" fmla="*/ 350293 h 371629"/>
                  <a:gd name="connsiteX8" fmla="*/ 79881 w 364047"/>
                  <a:gd name="connsiteY8" fmla="*/ 345973 h 371629"/>
                  <a:gd name="connsiteX9" fmla="*/ 81115 w 364047"/>
                  <a:gd name="connsiteY9" fmla="*/ 344738 h 371629"/>
                  <a:gd name="connsiteX10" fmla="*/ 86317 w 364047"/>
                  <a:gd name="connsiteY10" fmla="*/ 342710 h 371629"/>
                  <a:gd name="connsiteX11" fmla="*/ 84553 w 364047"/>
                  <a:gd name="connsiteY11" fmla="*/ 340065 h 371629"/>
                  <a:gd name="connsiteX12" fmla="*/ 83672 w 364047"/>
                  <a:gd name="connsiteY12" fmla="*/ 338655 h 371629"/>
                  <a:gd name="connsiteX13" fmla="*/ 81380 w 364047"/>
                  <a:gd name="connsiteY13" fmla="*/ 336627 h 371629"/>
                  <a:gd name="connsiteX14" fmla="*/ 77853 w 364047"/>
                  <a:gd name="connsiteY14" fmla="*/ 332483 h 371629"/>
                  <a:gd name="connsiteX15" fmla="*/ 75208 w 364047"/>
                  <a:gd name="connsiteY15" fmla="*/ 332483 h 371629"/>
                  <a:gd name="connsiteX16" fmla="*/ 73532 w 364047"/>
                  <a:gd name="connsiteY16" fmla="*/ 323137 h 371629"/>
                  <a:gd name="connsiteX17" fmla="*/ 73532 w 364047"/>
                  <a:gd name="connsiteY17" fmla="*/ 318552 h 371629"/>
                  <a:gd name="connsiteX18" fmla="*/ 72651 w 364047"/>
                  <a:gd name="connsiteY18" fmla="*/ 315643 h 371629"/>
                  <a:gd name="connsiteX19" fmla="*/ 71769 w 364047"/>
                  <a:gd name="connsiteY19" fmla="*/ 312116 h 371629"/>
                  <a:gd name="connsiteX20" fmla="*/ 70006 w 364047"/>
                  <a:gd name="connsiteY20" fmla="*/ 310088 h 371629"/>
                  <a:gd name="connsiteX21" fmla="*/ 63834 w 364047"/>
                  <a:gd name="connsiteY21" fmla="*/ 308060 h 371629"/>
                  <a:gd name="connsiteX22" fmla="*/ 63834 w 364047"/>
                  <a:gd name="connsiteY22" fmla="*/ 310970 h 371629"/>
                  <a:gd name="connsiteX23" fmla="*/ 65068 w 364047"/>
                  <a:gd name="connsiteY23" fmla="*/ 315026 h 371629"/>
                  <a:gd name="connsiteX24" fmla="*/ 64187 w 364047"/>
                  <a:gd name="connsiteY24" fmla="*/ 317935 h 371629"/>
                  <a:gd name="connsiteX25" fmla="*/ 61542 w 364047"/>
                  <a:gd name="connsiteY25" fmla="*/ 318200 h 371629"/>
                  <a:gd name="connsiteX26" fmla="*/ 56869 w 364047"/>
                  <a:gd name="connsiteY26" fmla="*/ 320580 h 371629"/>
                  <a:gd name="connsiteX27" fmla="*/ 56251 w 364047"/>
                  <a:gd name="connsiteY27" fmla="*/ 323754 h 371629"/>
                  <a:gd name="connsiteX28" fmla="*/ 47523 w 364047"/>
                  <a:gd name="connsiteY28" fmla="*/ 319699 h 371629"/>
                  <a:gd name="connsiteX29" fmla="*/ 43996 w 364047"/>
                  <a:gd name="connsiteY29" fmla="*/ 319434 h 371629"/>
                  <a:gd name="connsiteX30" fmla="*/ 42321 w 364047"/>
                  <a:gd name="connsiteY30" fmla="*/ 319963 h 371629"/>
                  <a:gd name="connsiteX31" fmla="*/ 39676 w 364047"/>
                  <a:gd name="connsiteY31" fmla="*/ 321109 h 371629"/>
                  <a:gd name="connsiteX32" fmla="*/ 38177 w 364047"/>
                  <a:gd name="connsiteY32" fmla="*/ 323137 h 371629"/>
                  <a:gd name="connsiteX33" fmla="*/ 33239 w 364047"/>
                  <a:gd name="connsiteY33" fmla="*/ 326664 h 371629"/>
                  <a:gd name="connsiteX34" fmla="*/ 29713 w 364047"/>
                  <a:gd name="connsiteY34" fmla="*/ 318200 h 371629"/>
                  <a:gd name="connsiteX35" fmla="*/ 26803 w 364047"/>
                  <a:gd name="connsiteY35" fmla="*/ 317935 h 371629"/>
                  <a:gd name="connsiteX36" fmla="*/ 25922 w 364047"/>
                  <a:gd name="connsiteY36" fmla="*/ 321109 h 371629"/>
                  <a:gd name="connsiteX37" fmla="*/ 23629 w 364047"/>
                  <a:gd name="connsiteY37" fmla="*/ 324019 h 371629"/>
                  <a:gd name="connsiteX38" fmla="*/ 20720 w 364047"/>
                  <a:gd name="connsiteY38" fmla="*/ 323754 h 371629"/>
                  <a:gd name="connsiteX39" fmla="*/ 17810 w 364047"/>
                  <a:gd name="connsiteY39" fmla="*/ 317054 h 371629"/>
                  <a:gd name="connsiteX40" fmla="*/ 19838 w 364047"/>
                  <a:gd name="connsiteY40" fmla="*/ 314144 h 371629"/>
                  <a:gd name="connsiteX41" fmla="*/ 20720 w 364047"/>
                  <a:gd name="connsiteY41" fmla="*/ 312381 h 371629"/>
                  <a:gd name="connsiteX42" fmla="*/ 20102 w 364047"/>
                  <a:gd name="connsiteY42" fmla="*/ 309471 h 371629"/>
                  <a:gd name="connsiteX43" fmla="*/ 19838 w 364047"/>
                  <a:gd name="connsiteY43" fmla="*/ 307179 h 371629"/>
                  <a:gd name="connsiteX44" fmla="*/ 20367 w 364047"/>
                  <a:gd name="connsiteY44" fmla="*/ 303652 h 371629"/>
                  <a:gd name="connsiteX45" fmla="*/ 19221 w 364047"/>
                  <a:gd name="connsiteY45" fmla="*/ 298979 h 371629"/>
                  <a:gd name="connsiteX46" fmla="*/ 18956 w 364047"/>
                  <a:gd name="connsiteY46" fmla="*/ 296069 h 371629"/>
                  <a:gd name="connsiteX47" fmla="*/ 15165 w 364047"/>
                  <a:gd name="connsiteY47" fmla="*/ 291132 h 371629"/>
                  <a:gd name="connsiteX48" fmla="*/ 10228 w 364047"/>
                  <a:gd name="connsiteY48" fmla="*/ 292014 h 371629"/>
                  <a:gd name="connsiteX49" fmla="*/ 9346 w 364047"/>
                  <a:gd name="connsiteY49" fmla="*/ 288487 h 371629"/>
                  <a:gd name="connsiteX50" fmla="*/ 7582 w 364047"/>
                  <a:gd name="connsiteY50" fmla="*/ 286106 h 371629"/>
                  <a:gd name="connsiteX51" fmla="*/ 5290 w 364047"/>
                  <a:gd name="connsiteY51" fmla="*/ 284079 h 371629"/>
                  <a:gd name="connsiteX52" fmla="*/ 4056 w 364047"/>
                  <a:gd name="connsiteY52" fmla="*/ 282315 h 371629"/>
                  <a:gd name="connsiteX53" fmla="*/ 7318 w 364047"/>
                  <a:gd name="connsiteY53" fmla="*/ 278259 h 371629"/>
                  <a:gd name="connsiteX54" fmla="*/ 6965 w 364047"/>
                  <a:gd name="connsiteY54" fmla="*/ 271294 h 371629"/>
                  <a:gd name="connsiteX55" fmla="*/ 5290 w 364047"/>
                  <a:gd name="connsiteY55" fmla="*/ 268032 h 371629"/>
                  <a:gd name="connsiteX56" fmla="*/ 4408 w 364047"/>
                  <a:gd name="connsiteY56" fmla="*/ 266004 h 371629"/>
                  <a:gd name="connsiteX57" fmla="*/ 2028 w 364047"/>
                  <a:gd name="connsiteY57" fmla="*/ 264593 h 371629"/>
                  <a:gd name="connsiteX58" fmla="*/ 2909 w 364047"/>
                  <a:gd name="connsiteY58" fmla="*/ 261948 h 371629"/>
                  <a:gd name="connsiteX59" fmla="*/ 2909 w 364047"/>
                  <a:gd name="connsiteY59" fmla="*/ 259920 h 371629"/>
                  <a:gd name="connsiteX60" fmla="*/ 1146 w 364047"/>
                  <a:gd name="connsiteY60" fmla="*/ 256658 h 371629"/>
                  <a:gd name="connsiteX61" fmla="*/ 0 w 364047"/>
                  <a:gd name="connsiteY61" fmla="*/ 254895 h 371629"/>
                  <a:gd name="connsiteX62" fmla="*/ 4408 w 364047"/>
                  <a:gd name="connsiteY62" fmla="*/ 255247 h 371629"/>
                  <a:gd name="connsiteX63" fmla="*/ 6084 w 364047"/>
                  <a:gd name="connsiteY63" fmla="*/ 256129 h 371629"/>
                  <a:gd name="connsiteX64" fmla="*/ 6084 w 364047"/>
                  <a:gd name="connsiteY64" fmla="*/ 254366 h 371629"/>
                  <a:gd name="connsiteX65" fmla="*/ 8112 w 364047"/>
                  <a:gd name="connsiteY65" fmla="*/ 254895 h 371629"/>
                  <a:gd name="connsiteX66" fmla="*/ 10757 w 364047"/>
                  <a:gd name="connsiteY66" fmla="*/ 251721 h 371629"/>
                  <a:gd name="connsiteX67" fmla="*/ 10757 w 364047"/>
                  <a:gd name="connsiteY67" fmla="*/ 248811 h 371629"/>
                  <a:gd name="connsiteX68" fmla="*/ 9875 w 364047"/>
                  <a:gd name="connsiteY68" fmla="*/ 248547 h 371629"/>
                  <a:gd name="connsiteX69" fmla="*/ 9875 w 364047"/>
                  <a:gd name="connsiteY69" fmla="*/ 246783 h 371629"/>
                  <a:gd name="connsiteX70" fmla="*/ 13401 w 364047"/>
                  <a:gd name="connsiteY70" fmla="*/ 235674 h 371629"/>
                  <a:gd name="connsiteX71" fmla="*/ 14900 w 364047"/>
                  <a:gd name="connsiteY71" fmla="*/ 236291 h 371629"/>
                  <a:gd name="connsiteX72" fmla="*/ 18074 w 364047"/>
                  <a:gd name="connsiteY72" fmla="*/ 234792 h 371629"/>
                  <a:gd name="connsiteX73" fmla="*/ 18074 w 364047"/>
                  <a:gd name="connsiteY73" fmla="*/ 233029 h 371629"/>
                  <a:gd name="connsiteX74" fmla="*/ 19838 w 364047"/>
                  <a:gd name="connsiteY74" fmla="*/ 233646 h 371629"/>
                  <a:gd name="connsiteX75" fmla="*/ 30947 w 364047"/>
                  <a:gd name="connsiteY75" fmla="*/ 246783 h 371629"/>
                  <a:gd name="connsiteX76" fmla="*/ 35003 w 364047"/>
                  <a:gd name="connsiteY76" fmla="*/ 238584 h 371629"/>
                  <a:gd name="connsiteX77" fmla="*/ 41439 w 364047"/>
                  <a:gd name="connsiteY77" fmla="*/ 238055 h 371629"/>
                  <a:gd name="connsiteX78" fmla="*/ 46641 w 364047"/>
                  <a:gd name="connsiteY78" fmla="*/ 238584 h 371629"/>
                  <a:gd name="connsiteX79" fmla="*/ 47787 w 364047"/>
                  <a:gd name="connsiteY79" fmla="*/ 240347 h 371629"/>
                  <a:gd name="connsiteX80" fmla="*/ 54841 w 364047"/>
                  <a:gd name="connsiteY80" fmla="*/ 239730 h 371629"/>
                  <a:gd name="connsiteX81" fmla="*/ 63305 w 364047"/>
                  <a:gd name="connsiteY81" fmla="*/ 238055 h 371629"/>
                  <a:gd name="connsiteX82" fmla="*/ 62423 w 364047"/>
                  <a:gd name="connsiteY82" fmla="*/ 234792 h 371629"/>
                  <a:gd name="connsiteX83" fmla="*/ 65068 w 364047"/>
                  <a:gd name="connsiteY83" fmla="*/ 231883 h 371629"/>
                  <a:gd name="connsiteX84" fmla="*/ 65068 w 364047"/>
                  <a:gd name="connsiteY84" fmla="*/ 236556 h 371629"/>
                  <a:gd name="connsiteX85" fmla="*/ 149005 w 364047"/>
                  <a:gd name="connsiteY85" fmla="*/ 236556 h 371629"/>
                  <a:gd name="connsiteX86" fmla="*/ 152267 w 364047"/>
                  <a:gd name="connsiteY86" fmla="*/ 216453 h 371629"/>
                  <a:gd name="connsiteX87" fmla="*/ 146095 w 364047"/>
                  <a:gd name="connsiteY87" fmla="*/ 212045 h 371629"/>
                  <a:gd name="connsiteX88" fmla="*/ 127139 w 364047"/>
                  <a:gd name="connsiteY88" fmla="*/ 0 h 371629"/>
                  <a:gd name="connsiteX89" fmla="*/ 165051 w 364047"/>
                  <a:gd name="connsiteY89" fmla="*/ 617 h 371629"/>
                  <a:gd name="connsiteX90" fmla="*/ 272705 w 364047"/>
                  <a:gd name="connsiteY90" fmla="*/ 72034 h 371629"/>
                  <a:gd name="connsiteX91" fmla="*/ 293424 w 364047"/>
                  <a:gd name="connsiteY91" fmla="*/ 97691 h 371629"/>
                  <a:gd name="connsiteX92" fmla="*/ 294042 w 364047"/>
                  <a:gd name="connsiteY92" fmla="*/ 99454 h 371629"/>
                  <a:gd name="connsiteX93" fmla="*/ 292543 w 364047"/>
                  <a:gd name="connsiteY93" fmla="*/ 105009 h 371629"/>
                  <a:gd name="connsiteX94" fmla="*/ 293424 w 364047"/>
                  <a:gd name="connsiteY94" fmla="*/ 106155 h 371629"/>
                  <a:gd name="connsiteX95" fmla="*/ 295805 w 364047"/>
                  <a:gd name="connsiteY95" fmla="*/ 107036 h 371629"/>
                  <a:gd name="connsiteX96" fmla="*/ 297833 w 364047"/>
                  <a:gd name="connsiteY96" fmla="*/ 108800 h 371629"/>
                  <a:gd name="connsiteX97" fmla="*/ 300125 w 364047"/>
                  <a:gd name="connsiteY97" fmla="*/ 109681 h 371629"/>
                  <a:gd name="connsiteX98" fmla="*/ 303299 w 364047"/>
                  <a:gd name="connsiteY98" fmla="*/ 110563 h 371629"/>
                  <a:gd name="connsiteX99" fmla="*/ 305944 w 364047"/>
                  <a:gd name="connsiteY99" fmla="*/ 111709 h 371629"/>
                  <a:gd name="connsiteX100" fmla="*/ 304798 w 364047"/>
                  <a:gd name="connsiteY100" fmla="*/ 114354 h 371629"/>
                  <a:gd name="connsiteX101" fmla="*/ 307090 w 364047"/>
                  <a:gd name="connsiteY101" fmla="*/ 117264 h 371629"/>
                  <a:gd name="connsiteX102" fmla="*/ 308589 w 364047"/>
                  <a:gd name="connsiteY102" fmla="*/ 117881 h 371629"/>
                  <a:gd name="connsiteX103" fmla="*/ 309471 w 364047"/>
                  <a:gd name="connsiteY103" fmla="*/ 119292 h 371629"/>
                  <a:gd name="connsiteX104" fmla="*/ 310617 w 364047"/>
                  <a:gd name="connsiteY104" fmla="*/ 118410 h 371629"/>
                  <a:gd name="connsiteX105" fmla="*/ 313527 w 364047"/>
                  <a:gd name="connsiteY105" fmla="*/ 119909 h 371629"/>
                  <a:gd name="connsiteX106" fmla="*/ 314144 w 364047"/>
                  <a:gd name="connsiteY106" fmla="*/ 119292 h 371629"/>
                  <a:gd name="connsiteX107" fmla="*/ 315907 w 364047"/>
                  <a:gd name="connsiteY107" fmla="*/ 118763 h 371629"/>
                  <a:gd name="connsiteX108" fmla="*/ 317318 w 364047"/>
                  <a:gd name="connsiteY108" fmla="*/ 119292 h 371629"/>
                  <a:gd name="connsiteX109" fmla="*/ 318552 w 364047"/>
                  <a:gd name="connsiteY109" fmla="*/ 120791 h 371629"/>
                  <a:gd name="connsiteX110" fmla="*/ 320580 w 364047"/>
                  <a:gd name="connsiteY110" fmla="*/ 122818 h 371629"/>
                  <a:gd name="connsiteX111" fmla="*/ 321726 w 364047"/>
                  <a:gd name="connsiteY111" fmla="*/ 123436 h 371629"/>
                  <a:gd name="connsiteX112" fmla="*/ 322873 w 364047"/>
                  <a:gd name="connsiteY112" fmla="*/ 124229 h 371629"/>
                  <a:gd name="connsiteX113" fmla="*/ 324019 w 364047"/>
                  <a:gd name="connsiteY113" fmla="*/ 123965 h 371629"/>
                  <a:gd name="connsiteX114" fmla="*/ 325165 w 364047"/>
                  <a:gd name="connsiteY114" fmla="*/ 123700 h 371629"/>
                  <a:gd name="connsiteX115" fmla="*/ 326664 w 364047"/>
                  <a:gd name="connsiteY115" fmla="*/ 124582 h 371629"/>
                  <a:gd name="connsiteX116" fmla="*/ 329573 w 364047"/>
                  <a:gd name="connsiteY116" fmla="*/ 126610 h 371629"/>
                  <a:gd name="connsiteX117" fmla="*/ 331954 w 364047"/>
                  <a:gd name="connsiteY117" fmla="*/ 127139 h 371629"/>
                  <a:gd name="connsiteX118" fmla="*/ 334599 w 364047"/>
                  <a:gd name="connsiteY118" fmla="*/ 127492 h 371629"/>
                  <a:gd name="connsiteX119" fmla="*/ 336891 w 364047"/>
                  <a:gd name="connsiteY119" fmla="*/ 127756 h 371629"/>
                  <a:gd name="connsiteX120" fmla="*/ 338390 w 364047"/>
                  <a:gd name="connsiteY120" fmla="*/ 129255 h 371629"/>
                  <a:gd name="connsiteX121" fmla="*/ 338038 w 364047"/>
                  <a:gd name="connsiteY121" fmla="*/ 135603 h 371629"/>
                  <a:gd name="connsiteX122" fmla="*/ 338919 w 364047"/>
                  <a:gd name="connsiteY122" fmla="*/ 136220 h 371629"/>
                  <a:gd name="connsiteX123" fmla="*/ 338919 w 364047"/>
                  <a:gd name="connsiteY123" fmla="*/ 138601 h 371629"/>
                  <a:gd name="connsiteX124" fmla="*/ 338390 w 364047"/>
                  <a:gd name="connsiteY124" fmla="*/ 140629 h 371629"/>
                  <a:gd name="connsiteX125" fmla="*/ 337156 w 364047"/>
                  <a:gd name="connsiteY125" fmla="*/ 141510 h 371629"/>
                  <a:gd name="connsiteX126" fmla="*/ 337773 w 364047"/>
                  <a:gd name="connsiteY126" fmla="*/ 142921 h 371629"/>
                  <a:gd name="connsiteX127" fmla="*/ 336539 w 364047"/>
                  <a:gd name="connsiteY127" fmla="*/ 143538 h 371629"/>
                  <a:gd name="connsiteX128" fmla="*/ 335393 w 364047"/>
                  <a:gd name="connsiteY128" fmla="*/ 146183 h 371629"/>
                  <a:gd name="connsiteX129" fmla="*/ 337156 w 364047"/>
                  <a:gd name="connsiteY129" fmla="*/ 148211 h 371629"/>
                  <a:gd name="connsiteX130" fmla="*/ 339184 w 364047"/>
                  <a:gd name="connsiteY130" fmla="*/ 148740 h 371629"/>
                  <a:gd name="connsiteX131" fmla="*/ 340418 w 364047"/>
                  <a:gd name="connsiteY131" fmla="*/ 150856 h 371629"/>
                  <a:gd name="connsiteX132" fmla="*/ 360520 w 364047"/>
                  <a:gd name="connsiteY132" fmla="*/ 144684 h 371629"/>
                  <a:gd name="connsiteX133" fmla="*/ 360520 w 364047"/>
                  <a:gd name="connsiteY133" fmla="*/ 145830 h 371629"/>
                  <a:gd name="connsiteX134" fmla="*/ 364047 w 364047"/>
                  <a:gd name="connsiteY134" fmla="*/ 184977 h 371629"/>
                  <a:gd name="connsiteX135" fmla="*/ 359903 w 364047"/>
                  <a:gd name="connsiteY135" fmla="*/ 199261 h 371629"/>
                  <a:gd name="connsiteX136" fmla="*/ 359903 w 364047"/>
                  <a:gd name="connsiteY136" fmla="*/ 214690 h 371629"/>
                  <a:gd name="connsiteX137" fmla="*/ 356377 w 364047"/>
                  <a:gd name="connsiteY137" fmla="*/ 216718 h 371629"/>
                  <a:gd name="connsiteX138" fmla="*/ 354966 w 364047"/>
                  <a:gd name="connsiteY138" fmla="*/ 222273 h 371629"/>
                  <a:gd name="connsiteX139" fmla="*/ 355847 w 364047"/>
                  <a:gd name="connsiteY139" fmla="*/ 225799 h 371629"/>
                  <a:gd name="connsiteX140" fmla="*/ 353555 w 364047"/>
                  <a:gd name="connsiteY140" fmla="*/ 227210 h 371629"/>
                  <a:gd name="connsiteX141" fmla="*/ 353555 w 364047"/>
                  <a:gd name="connsiteY141" fmla="*/ 230737 h 371629"/>
                  <a:gd name="connsiteX142" fmla="*/ 352674 w 364047"/>
                  <a:gd name="connsiteY142" fmla="*/ 232147 h 371629"/>
                  <a:gd name="connsiteX143" fmla="*/ 350558 w 364047"/>
                  <a:gd name="connsiteY143" fmla="*/ 234528 h 371629"/>
                  <a:gd name="connsiteX144" fmla="*/ 347383 w 364047"/>
                  <a:gd name="connsiteY144" fmla="*/ 235674 h 371629"/>
                  <a:gd name="connsiteX145" fmla="*/ 345356 w 364047"/>
                  <a:gd name="connsiteY145" fmla="*/ 236556 h 371629"/>
                  <a:gd name="connsiteX146" fmla="*/ 344738 w 364047"/>
                  <a:gd name="connsiteY146" fmla="*/ 240964 h 371629"/>
                  <a:gd name="connsiteX147" fmla="*/ 334864 w 364047"/>
                  <a:gd name="connsiteY147" fmla="*/ 238319 h 371629"/>
                  <a:gd name="connsiteX148" fmla="*/ 334246 w 364047"/>
                  <a:gd name="connsiteY148" fmla="*/ 241229 h 371629"/>
                  <a:gd name="connsiteX149" fmla="*/ 325518 w 364047"/>
                  <a:gd name="connsiteY149" fmla="*/ 240964 h 371629"/>
                  <a:gd name="connsiteX150" fmla="*/ 296069 w 364047"/>
                  <a:gd name="connsiteY150" fmla="*/ 242110 h 371629"/>
                  <a:gd name="connsiteX151" fmla="*/ 292278 w 364047"/>
                  <a:gd name="connsiteY151" fmla="*/ 249428 h 371629"/>
                  <a:gd name="connsiteX152" fmla="*/ 281434 w 364047"/>
                  <a:gd name="connsiteY152" fmla="*/ 250575 h 371629"/>
                  <a:gd name="connsiteX153" fmla="*/ 274204 w 364047"/>
                  <a:gd name="connsiteY153" fmla="*/ 249957 h 371629"/>
                  <a:gd name="connsiteX154" fmla="*/ 269531 w 364047"/>
                  <a:gd name="connsiteY154" fmla="*/ 250310 h 371629"/>
                  <a:gd name="connsiteX155" fmla="*/ 264858 w 364047"/>
                  <a:gd name="connsiteY155" fmla="*/ 244138 h 371629"/>
                  <a:gd name="connsiteX156" fmla="*/ 263359 w 364047"/>
                  <a:gd name="connsiteY156" fmla="*/ 247312 h 371629"/>
                  <a:gd name="connsiteX157" fmla="*/ 259920 w 364047"/>
                  <a:gd name="connsiteY157" fmla="*/ 249428 h 371629"/>
                  <a:gd name="connsiteX158" fmla="*/ 258686 w 364047"/>
                  <a:gd name="connsiteY158" fmla="*/ 247312 h 371629"/>
                  <a:gd name="connsiteX159" fmla="*/ 252867 w 364047"/>
                  <a:gd name="connsiteY159" fmla="*/ 247312 h 371629"/>
                  <a:gd name="connsiteX160" fmla="*/ 244756 w 364047"/>
                  <a:gd name="connsiteY160" fmla="*/ 254366 h 371629"/>
                  <a:gd name="connsiteX161" fmla="*/ 238319 w 364047"/>
                  <a:gd name="connsiteY161" fmla="*/ 255247 h 371629"/>
                  <a:gd name="connsiteX162" fmla="*/ 225447 w 364047"/>
                  <a:gd name="connsiteY162" fmla="*/ 261067 h 371629"/>
                  <a:gd name="connsiteX163" fmla="*/ 224918 w 364047"/>
                  <a:gd name="connsiteY163" fmla="*/ 269795 h 371629"/>
                  <a:gd name="connsiteX164" fmla="*/ 222537 w 364047"/>
                  <a:gd name="connsiteY164" fmla="*/ 270677 h 371629"/>
                  <a:gd name="connsiteX165" fmla="*/ 218128 w 364047"/>
                  <a:gd name="connsiteY165" fmla="*/ 268032 h 371629"/>
                  <a:gd name="connsiteX166" fmla="*/ 214690 w 364047"/>
                  <a:gd name="connsiteY166" fmla="*/ 267150 h 371629"/>
                  <a:gd name="connsiteX167" fmla="*/ 206490 w 364047"/>
                  <a:gd name="connsiteY167" fmla="*/ 273586 h 371629"/>
                  <a:gd name="connsiteX168" fmla="*/ 205080 w 364047"/>
                  <a:gd name="connsiteY168" fmla="*/ 278877 h 371629"/>
                  <a:gd name="connsiteX169" fmla="*/ 205344 w 364047"/>
                  <a:gd name="connsiteY169" fmla="*/ 282932 h 371629"/>
                  <a:gd name="connsiteX170" fmla="*/ 201553 w 364047"/>
                  <a:gd name="connsiteY170" fmla="*/ 284079 h 371629"/>
                  <a:gd name="connsiteX171" fmla="*/ 200407 w 364047"/>
                  <a:gd name="connsiteY171" fmla="*/ 282315 h 371629"/>
                  <a:gd name="connsiteX172" fmla="*/ 196880 w 364047"/>
                  <a:gd name="connsiteY172" fmla="*/ 281522 h 371629"/>
                  <a:gd name="connsiteX173" fmla="*/ 197762 w 364047"/>
                  <a:gd name="connsiteY173" fmla="*/ 289016 h 371629"/>
                  <a:gd name="connsiteX174" fmla="*/ 193353 w 364047"/>
                  <a:gd name="connsiteY174" fmla="*/ 292278 h 371629"/>
                  <a:gd name="connsiteX175" fmla="*/ 193089 w 364047"/>
                  <a:gd name="connsiteY175" fmla="*/ 293777 h 371629"/>
                  <a:gd name="connsiteX176" fmla="*/ 191061 w 364047"/>
                  <a:gd name="connsiteY176" fmla="*/ 294923 h 371629"/>
                  <a:gd name="connsiteX177" fmla="*/ 186123 w 364047"/>
                  <a:gd name="connsiteY177" fmla="*/ 290515 h 371629"/>
                  <a:gd name="connsiteX178" fmla="*/ 181979 w 364047"/>
                  <a:gd name="connsiteY178" fmla="*/ 289633 h 371629"/>
                  <a:gd name="connsiteX179" fmla="*/ 182597 w 364047"/>
                  <a:gd name="connsiteY179" fmla="*/ 289016 h 371629"/>
                  <a:gd name="connsiteX180" fmla="*/ 183126 w 364047"/>
                  <a:gd name="connsiteY180" fmla="*/ 287605 h 371629"/>
                  <a:gd name="connsiteX181" fmla="*/ 182332 w 364047"/>
                  <a:gd name="connsiteY181" fmla="*/ 286724 h 371629"/>
                  <a:gd name="connsiteX182" fmla="*/ 179070 w 364047"/>
                  <a:gd name="connsiteY182" fmla="*/ 289369 h 371629"/>
                  <a:gd name="connsiteX183" fmla="*/ 177306 w 364047"/>
                  <a:gd name="connsiteY183" fmla="*/ 292278 h 371629"/>
                  <a:gd name="connsiteX184" fmla="*/ 175543 w 364047"/>
                  <a:gd name="connsiteY184" fmla="*/ 293424 h 371629"/>
                  <a:gd name="connsiteX185" fmla="*/ 176161 w 364047"/>
                  <a:gd name="connsiteY185" fmla="*/ 294923 h 371629"/>
                  <a:gd name="connsiteX186" fmla="*/ 174397 w 364047"/>
                  <a:gd name="connsiteY186" fmla="*/ 294923 h 371629"/>
                  <a:gd name="connsiteX187" fmla="*/ 173515 w 364047"/>
                  <a:gd name="connsiteY187" fmla="*/ 296598 h 371629"/>
                  <a:gd name="connsiteX188" fmla="*/ 176161 w 364047"/>
                  <a:gd name="connsiteY188" fmla="*/ 300125 h 371629"/>
                  <a:gd name="connsiteX189" fmla="*/ 176777 w 364047"/>
                  <a:gd name="connsiteY189" fmla="*/ 305063 h 371629"/>
                  <a:gd name="connsiteX190" fmla="*/ 174397 w 364047"/>
                  <a:gd name="connsiteY190" fmla="*/ 306297 h 371629"/>
                  <a:gd name="connsiteX191" fmla="*/ 173251 w 364047"/>
                  <a:gd name="connsiteY191" fmla="*/ 305415 h 371629"/>
                  <a:gd name="connsiteX192" fmla="*/ 170958 w 364047"/>
                  <a:gd name="connsiteY192" fmla="*/ 305944 h 371629"/>
                  <a:gd name="connsiteX193" fmla="*/ 170958 w 364047"/>
                  <a:gd name="connsiteY193" fmla="*/ 307708 h 371629"/>
                  <a:gd name="connsiteX194" fmla="*/ 172634 w 364047"/>
                  <a:gd name="connsiteY194" fmla="*/ 311234 h 371629"/>
                  <a:gd name="connsiteX195" fmla="*/ 170958 w 364047"/>
                  <a:gd name="connsiteY195" fmla="*/ 313527 h 371629"/>
                  <a:gd name="connsiteX196" fmla="*/ 171488 w 364047"/>
                  <a:gd name="connsiteY196" fmla="*/ 315026 h 371629"/>
                  <a:gd name="connsiteX197" fmla="*/ 170958 w 364047"/>
                  <a:gd name="connsiteY197" fmla="*/ 315907 h 371629"/>
                  <a:gd name="connsiteX198" fmla="*/ 168578 w 364047"/>
                  <a:gd name="connsiteY198" fmla="*/ 318817 h 371629"/>
                  <a:gd name="connsiteX199" fmla="*/ 169195 w 364047"/>
                  <a:gd name="connsiteY199" fmla="*/ 320845 h 371629"/>
                  <a:gd name="connsiteX200" fmla="*/ 167432 w 364047"/>
                  <a:gd name="connsiteY200" fmla="*/ 321109 h 371629"/>
                  <a:gd name="connsiteX201" fmla="*/ 167432 w 364047"/>
                  <a:gd name="connsiteY201" fmla="*/ 322344 h 371629"/>
                  <a:gd name="connsiteX202" fmla="*/ 165668 w 364047"/>
                  <a:gd name="connsiteY202" fmla="*/ 322344 h 371629"/>
                  <a:gd name="connsiteX203" fmla="*/ 164522 w 364047"/>
                  <a:gd name="connsiteY203" fmla="*/ 324371 h 371629"/>
                  <a:gd name="connsiteX204" fmla="*/ 157469 w 364047"/>
                  <a:gd name="connsiteY204" fmla="*/ 324371 h 371629"/>
                  <a:gd name="connsiteX205" fmla="*/ 153413 w 364047"/>
                  <a:gd name="connsiteY205" fmla="*/ 327545 h 371629"/>
                  <a:gd name="connsiteX206" fmla="*/ 153413 w 364047"/>
                  <a:gd name="connsiteY206" fmla="*/ 328427 h 371629"/>
                  <a:gd name="connsiteX207" fmla="*/ 152531 w 364047"/>
                  <a:gd name="connsiteY207" fmla="*/ 329309 h 371629"/>
                  <a:gd name="connsiteX208" fmla="*/ 153413 w 364047"/>
                  <a:gd name="connsiteY208" fmla="*/ 330191 h 371629"/>
                  <a:gd name="connsiteX209" fmla="*/ 152796 w 364047"/>
                  <a:gd name="connsiteY209" fmla="*/ 334246 h 371629"/>
                  <a:gd name="connsiteX210" fmla="*/ 153942 w 364047"/>
                  <a:gd name="connsiteY210" fmla="*/ 334599 h 371629"/>
                  <a:gd name="connsiteX211" fmla="*/ 154295 w 364047"/>
                  <a:gd name="connsiteY211" fmla="*/ 338919 h 371629"/>
                  <a:gd name="connsiteX212" fmla="*/ 153413 w 364047"/>
                  <a:gd name="connsiteY212" fmla="*/ 339184 h 371629"/>
                  <a:gd name="connsiteX213" fmla="*/ 153413 w 364047"/>
                  <a:gd name="connsiteY213" fmla="*/ 342975 h 371629"/>
                  <a:gd name="connsiteX214" fmla="*/ 152267 w 364047"/>
                  <a:gd name="connsiteY214" fmla="*/ 344474 h 371629"/>
                  <a:gd name="connsiteX215" fmla="*/ 152267 w 364047"/>
                  <a:gd name="connsiteY215" fmla="*/ 345973 h 371629"/>
                  <a:gd name="connsiteX216" fmla="*/ 148476 w 364047"/>
                  <a:gd name="connsiteY216" fmla="*/ 346766 h 371629"/>
                  <a:gd name="connsiteX217" fmla="*/ 147858 w 364047"/>
                  <a:gd name="connsiteY217" fmla="*/ 348530 h 371629"/>
                  <a:gd name="connsiteX218" fmla="*/ 149005 w 364047"/>
                  <a:gd name="connsiteY218" fmla="*/ 349147 h 371629"/>
                  <a:gd name="connsiteX219" fmla="*/ 149622 w 364047"/>
                  <a:gd name="connsiteY219" fmla="*/ 352674 h 371629"/>
                  <a:gd name="connsiteX220" fmla="*/ 148476 w 364047"/>
                  <a:gd name="connsiteY220" fmla="*/ 359022 h 371629"/>
                  <a:gd name="connsiteX221" fmla="*/ 148740 w 364047"/>
                  <a:gd name="connsiteY221" fmla="*/ 360521 h 371629"/>
                  <a:gd name="connsiteX222" fmla="*/ 146977 w 364047"/>
                  <a:gd name="connsiteY222" fmla="*/ 363166 h 371629"/>
                  <a:gd name="connsiteX223" fmla="*/ 145566 w 364047"/>
                  <a:gd name="connsiteY223" fmla="*/ 363166 h 371629"/>
                  <a:gd name="connsiteX224" fmla="*/ 139394 w 364047"/>
                  <a:gd name="connsiteY224" fmla="*/ 366604 h 371629"/>
                  <a:gd name="connsiteX225" fmla="*/ 137102 w 364047"/>
                  <a:gd name="connsiteY225" fmla="*/ 369514 h 371629"/>
                  <a:gd name="connsiteX226" fmla="*/ 131283 w 364047"/>
                  <a:gd name="connsiteY226" fmla="*/ 366340 h 371629"/>
                  <a:gd name="connsiteX227" fmla="*/ 133840 w 364047"/>
                  <a:gd name="connsiteY227" fmla="*/ 364047 h 371629"/>
                  <a:gd name="connsiteX228" fmla="*/ 133575 w 364047"/>
                  <a:gd name="connsiteY228" fmla="*/ 362813 h 371629"/>
                  <a:gd name="connsiteX229" fmla="*/ 131812 w 364047"/>
                  <a:gd name="connsiteY229" fmla="*/ 361138 h 371629"/>
                  <a:gd name="connsiteX230" fmla="*/ 133046 w 364047"/>
                  <a:gd name="connsiteY230" fmla="*/ 358493 h 371629"/>
                  <a:gd name="connsiteX231" fmla="*/ 131812 w 364047"/>
                  <a:gd name="connsiteY231" fmla="*/ 356112 h 371629"/>
                  <a:gd name="connsiteX232" fmla="*/ 130048 w 364047"/>
                  <a:gd name="connsiteY232" fmla="*/ 356729 h 371629"/>
                  <a:gd name="connsiteX233" fmla="*/ 128285 w 364047"/>
                  <a:gd name="connsiteY233" fmla="*/ 359022 h 371629"/>
                  <a:gd name="connsiteX234" fmla="*/ 121320 w 364047"/>
                  <a:gd name="connsiteY234" fmla="*/ 357875 h 371629"/>
                  <a:gd name="connsiteX235" fmla="*/ 121320 w 364047"/>
                  <a:gd name="connsiteY235" fmla="*/ 362284 h 371629"/>
                  <a:gd name="connsiteX236" fmla="*/ 122818 w 364047"/>
                  <a:gd name="connsiteY236" fmla="*/ 363430 h 371629"/>
                  <a:gd name="connsiteX237" fmla="*/ 121584 w 364047"/>
                  <a:gd name="connsiteY237" fmla="*/ 365811 h 371629"/>
                  <a:gd name="connsiteX238" fmla="*/ 115765 w 364047"/>
                  <a:gd name="connsiteY238" fmla="*/ 365811 h 371629"/>
                  <a:gd name="connsiteX239" fmla="*/ 114883 w 364047"/>
                  <a:gd name="connsiteY239" fmla="*/ 371630 h 371629"/>
                  <a:gd name="connsiteX240" fmla="*/ 112238 w 364047"/>
                  <a:gd name="connsiteY240" fmla="*/ 368720 h 371629"/>
                  <a:gd name="connsiteX241" fmla="*/ 111092 w 364047"/>
                  <a:gd name="connsiteY241" fmla="*/ 364576 h 371629"/>
                  <a:gd name="connsiteX242" fmla="*/ 106419 w 364047"/>
                  <a:gd name="connsiteY242" fmla="*/ 365193 h 371629"/>
                  <a:gd name="connsiteX243" fmla="*/ 104127 w 364047"/>
                  <a:gd name="connsiteY243" fmla="*/ 363695 h 371629"/>
                  <a:gd name="connsiteX244" fmla="*/ 101217 w 364047"/>
                  <a:gd name="connsiteY244" fmla="*/ 364312 h 371629"/>
                  <a:gd name="connsiteX245" fmla="*/ 97426 w 364047"/>
                  <a:gd name="connsiteY245" fmla="*/ 364929 h 371629"/>
                  <a:gd name="connsiteX246" fmla="*/ 97161 w 364047"/>
                  <a:gd name="connsiteY246" fmla="*/ 369249 h 371629"/>
                  <a:gd name="connsiteX247" fmla="*/ 96544 w 364047"/>
                  <a:gd name="connsiteY247" fmla="*/ 370748 h 371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</a:cxnLst>
                <a:rect l="l" t="t" r="r" b="b"/>
                <a:pathLst>
                  <a:path w="364047" h="371629">
                    <a:moveTo>
                      <a:pt x="94517" y="369866"/>
                    </a:moveTo>
                    <a:lnTo>
                      <a:pt x="94781" y="367486"/>
                    </a:lnTo>
                    <a:lnTo>
                      <a:pt x="90990" y="365811"/>
                    </a:lnTo>
                    <a:lnTo>
                      <a:pt x="88345" y="364047"/>
                    </a:lnTo>
                    <a:lnTo>
                      <a:pt x="86581" y="358493"/>
                    </a:lnTo>
                    <a:lnTo>
                      <a:pt x="86317" y="353555"/>
                    </a:lnTo>
                    <a:lnTo>
                      <a:pt x="85788" y="348001"/>
                    </a:lnTo>
                    <a:lnTo>
                      <a:pt x="80762" y="350293"/>
                    </a:lnTo>
                    <a:lnTo>
                      <a:pt x="79881" y="345973"/>
                    </a:lnTo>
                    <a:lnTo>
                      <a:pt x="81115" y="344738"/>
                    </a:lnTo>
                    <a:lnTo>
                      <a:pt x="86317" y="342710"/>
                    </a:lnTo>
                    <a:lnTo>
                      <a:pt x="84553" y="340065"/>
                    </a:lnTo>
                    <a:lnTo>
                      <a:pt x="83672" y="338655"/>
                    </a:lnTo>
                    <a:lnTo>
                      <a:pt x="81380" y="336627"/>
                    </a:lnTo>
                    <a:lnTo>
                      <a:pt x="77853" y="332483"/>
                    </a:lnTo>
                    <a:lnTo>
                      <a:pt x="75208" y="332483"/>
                    </a:lnTo>
                    <a:lnTo>
                      <a:pt x="73532" y="323137"/>
                    </a:lnTo>
                    <a:lnTo>
                      <a:pt x="73532" y="318552"/>
                    </a:lnTo>
                    <a:lnTo>
                      <a:pt x="72651" y="315643"/>
                    </a:lnTo>
                    <a:lnTo>
                      <a:pt x="71769" y="312116"/>
                    </a:lnTo>
                    <a:lnTo>
                      <a:pt x="70006" y="310088"/>
                    </a:lnTo>
                    <a:lnTo>
                      <a:pt x="63834" y="308060"/>
                    </a:lnTo>
                    <a:lnTo>
                      <a:pt x="63834" y="310970"/>
                    </a:lnTo>
                    <a:lnTo>
                      <a:pt x="65068" y="315026"/>
                    </a:lnTo>
                    <a:lnTo>
                      <a:pt x="64187" y="317935"/>
                    </a:lnTo>
                    <a:lnTo>
                      <a:pt x="61542" y="318200"/>
                    </a:lnTo>
                    <a:lnTo>
                      <a:pt x="56869" y="320580"/>
                    </a:lnTo>
                    <a:lnTo>
                      <a:pt x="56251" y="323754"/>
                    </a:lnTo>
                    <a:lnTo>
                      <a:pt x="47523" y="319699"/>
                    </a:lnTo>
                    <a:lnTo>
                      <a:pt x="43996" y="319434"/>
                    </a:lnTo>
                    <a:lnTo>
                      <a:pt x="42321" y="319963"/>
                    </a:lnTo>
                    <a:lnTo>
                      <a:pt x="39676" y="321109"/>
                    </a:lnTo>
                    <a:lnTo>
                      <a:pt x="38177" y="323137"/>
                    </a:lnTo>
                    <a:lnTo>
                      <a:pt x="33239" y="326664"/>
                    </a:lnTo>
                    <a:lnTo>
                      <a:pt x="29713" y="318200"/>
                    </a:lnTo>
                    <a:lnTo>
                      <a:pt x="26803" y="317935"/>
                    </a:lnTo>
                    <a:lnTo>
                      <a:pt x="25922" y="321109"/>
                    </a:lnTo>
                    <a:lnTo>
                      <a:pt x="23629" y="324019"/>
                    </a:lnTo>
                    <a:lnTo>
                      <a:pt x="20720" y="323754"/>
                    </a:lnTo>
                    <a:lnTo>
                      <a:pt x="17810" y="317054"/>
                    </a:lnTo>
                    <a:lnTo>
                      <a:pt x="19838" y="314144"/>
                    </a:lnTo>
                    <a:lnTo>
                      <a:pt x="20720" y="312381"/>
                    </a:lnTo>
                    <a:lnTo>
                      <a:pt x="20102" y="309471"/>
                    </a:lnTo>
                    <a:lnTo>
                      <a:pt x="19838" y="307179"/>
                    </a:lnTo>
                    <a:lnTo>
                      <a:pt x="20367" y="303652"/>
                    </a:lnTo>
                    <a:lnTo>
                      <a:pt x="19221" y="298979"/>
                    </a:lnTo>
                    <a:lnTo>
                      <a:pt x="18956" y="296069"/>
                    </a:lnTo>
                    <a:lnTo>
                      <a:pt x="15165" y="291132"/>
                    </a:lnTo>
                    <a:lnTo>
                      <a:pt x="10228" y="292014"/>
                    </a:lnTo>
                    <a:lnTo>
                      <a:pt x="9346" y="288487"/>
                    </a:lnTo>
                    <a:lnTo>
                      <a:pt x="7582" y="286106"/>
                    </a:lnTo>
                    <a:lnTo>
                      <a:pt x="5290" y="284079"/>
                    </a:lnTo>
                    <a:lnTo>
                      <a:pt x="4056" y="282315"/>
                    </a:lnTo>
                    <a:lnTo>
                      <a:pt x="7318" y="278259"/>
                    </a:lnTo>
                    <a:lnTo>
                      <a:pt x="6965" y="271294"/>
                    </a:lnTo>
                    <a:lnTo>
                      <a:pt x="5290" y="268032"/>
                    </a:lnTo>
                    <a:lnTo>
                      <a:pt x="4408" y="266004"/>
                    </a:lnTo>
                    <a:lnTo>
                      <a:pt x="2028" y="264593"/>
                    </a:lnTo>
                    <a:lnTo>
                      <a:pt x="2909" y="261948"/>
                    </a:lnTo>
                    <a:lnTo>
                      <a:pt x="2909" y="259920"/>
                    </a:lnTo>
                    <a:lnTo>
                      <a:pt x="1146" y="256658"/>
                    </a:lnTo>
                    <a:lnTo>
                      <a:pt x="0" y="254895"/>
                    </a:lnTo>
                    <a:lnTo>
                      <a:pt x="4408" y="255247"/>
                    </a:lnTo>
                    <a:lnTo>
                      <a:pt x="6084" y="256129"/>
                    </a:lnTo>
                    <a:lnTo>
                      <a:pt x="6084" y="254366"/>
                    </a:lnTo>
                    <a:lnTo>
                      <a:pt x="8112" y="254895"/>
                    </a:lnTo>
                    <a:lnTo>
                      <a:pt x="10757" y="251721"/>
                    </a:lnTo>
                    <a:lnTo>
                      <a:pt x="10757" y="248811"/>
                    </a:lnTo>
                    <a:lnTo>
                      <a:pt x="9875" y="248547"/>
                    </a:lnTo>
                    <a:lnTo>
                      <a:pt x="9875" y="246783"/>
                    </a:lnTo>
                    <a:lnTo>
                      <a:pt x="13401" y="235674"/>
                    </a:lnTo>
                    <a:lnTo>
                      <a:pt x="14900" y="236291"/>
                    </a:lnTo>
                    <a:lnTo>
                      <a:pt x="18074" y="234792"/>
                    </a:lnTo>
                    <a:lnTo>
                      <a:pt x="18074" y="233029"/>
                    </a:lnTo>
                    <a:lnTo>
                      <a:pt x="19838" y="233646"/>
                    </a:lnTo>
                    <a:lnTo>
                      <a:pt x="30947" y="246783"/>
                    </a:lnTo>
                    <a:lnTo>
                      <a:pt x="35003" y="238584"/>
                    </a:lnTo>
                    <a:lnTo>
                      <a:pt x="41439" y="238055"/>
                    </a:lnTo>
                    <a:lnTo>
                      <a:pt x="46641" y="238584"/>
                    </a:lnTo>
                    <a:lnTo>
                      <a:pt x="47787" y="240347"/>
                    </a:lnTo>
                    <a:lnTo>
                      <a:pt x="54841" y="239730"/>
                    </a:lnTo>
                    <a:lnTo>
                      <a:pt x="63305" y="238055"/>
                    </a:lnTo>
                    <a:lnTo>
                      <a:pt x="62423" y="234792"/>
                    </a:lnTo>
                    <a:lnTo>
                      <a:pt x="65068" y="231883"/>
                    </a:lnTo>
                    <a:lnTo>
                      <a:pt x="65068" y="236556"/>
                    </a:lnTo>
                    <a:lnTo>
                      <a:pt x="149005" y="236556"/>
                    </a:lnTo>
                    <a:lnTo>
                      <a:pt x="152267" y="216453"/>
                    </a:lnTo>
                    <a:lnTo>
                      <a:pt x="146095" y="212045"/>
                    </a:lnTo>
                    <a:lnTo>
                      <a:pt x="127139" y="0"/>
                    </a:lnTo>
                    <a:lnTo>
                      <a:pt x="165051" y="617"/>
                    </a:lnTo>
                    <a:lnTo>
                      <a:pt x="272705" y="72034"/>
                    </a:lnTo>
                    <a:lnTo>
                      <a:pt x="293424" y="97691"/>
                    </a:lnTo>
                    <a:lnTo>
                      <a:pt x="294042" y="99454"/>
                    </a:lnTo>
                    <a:lnTo>
                      <a:pt x="292543" y="105009"/>
                    </a:lnTo>
                    <a:lnTo>
                      <a:pt x="293424" y="106155"/>
                    </a:lnTo>
                    <a:lnTo>
                      <a:pt x="295805" y="107036"/>
                    </a:lnTo>
                    <a:lnTo>
                      <a:pt x="297833" y="108800"/>
                    </a:lnTo>
                    <a:lnTo>
                      <a:pt x="300125" y="109681"/>
                    </a:lnTo>
                    <a:lnTo>
                      <a:pt x="303299" y="110563"/>
                    </a:lnTo>
                    <a:lnTo>
                      <a:pt x="305944" y="111709"/>
                    </a:lnTo>
                    <a:lnTo>
                      <a:pt x="304798" y="114354"/>
                    </a:lnTo>
                    <a:lnTo>
                      <a:pt x="307090" y="117264"/>
                    </a:lnTo>
                    <a:lnTo>
                      <a:pt x="308589" y="117881"/>
                    </a:lnTo>
                    <a:lnTo>
                      <a:pt x="309471" y="119292"/>
                    </a:lnTo>
                    <a:lnTo>
                      <a:pt x="310617" y="118410"/>
                    </a:lnTo>
                    <a:lnTo>
                      <a:pt x="313527" y="119909"/>
                    </a:lnTo>
                    <a:lnTo>
                      <a:pt x="314144" y="119292"/>
                    </a:lnTo>
                    <a:lnTo>
                      <a:pt x="315907" y="118763"/>
                    </a:lnTo>
                    <a:lnTo>
                      <a:pt x="317318" y="119292"/>
                    </a:lnTo>
                    <a:lnTo>
                      <a:pt x="318552" y="120791"/>
                    </a:lnTo>
                    <a:lnTo>
                      <a:pt x="320580" y="122818"/>
                    </a:lnTo>
                    <a:lnTo>
                      <a:pt x="321726" y="123436"/>
                    </a:lnTo>
                    <a:lnTo>
                      <a:pt x="322873" y="124229"/>
                    </a:lnTo>
                    <a:lnTo>
                      <a:pt x="324019" y="123965"/>
                    </a:lnTo>
                    <a:lnTo>
                      <a:pt x="325165" y="123700"/>
                    </a:lnTo>
                    <a:lnTo>
                      <a:pt x="326664" y="124582"/>
                    </a:lnTo>
                    <a:lnTo>
                      <a:pt x="329573" y="126610"/>
                    </a:lnTo>
                    <a:lnTo>
                      <a:pt x="331954" y="127139"/>
                    </a:lnTo>
                    <a:lnTo>
                      <a:pt x="334599" y="127492"/>
                    </a:lnTo>
                    <a:lnTo>
                      <a:pt x="336891" y="127756"/>
                    </a:lnTo>
                    <a:lnTo>
                      <a:pt x="338390" y="129255"/>
                    </a:lnTo>
                    <a:lnTo>
                      <a:pt x="338038" y="135603"/>
                    </a:lnTo>
                    <a:lnTo>
                      <a:pt x="338919" y="136220"/>
                    </a:lnTo>
                    <a:lnTo>
                      <a:pt x="338919" y="138601"/>
                    </a:lnTo>
                    <a:lnTo>
                      <a:pt x="338390" y="140629"/>
                    </a:lnTo>
                    <a:lnTo>
                      <a:pt x="337156" y="141510"/>
                    </a:lnTo>
                    <a:lnTo>
                      <a:pt x="337773" y="142921"/>
                    </a:lnTo>
                    <a:lnTo>
                      <a:pt x="336539" y="143538"/>
                    </a:lnTo>
                    <a:lnTo>
                      <a:pt x="335393" y="146183"/>
                    </a:lnTo>
                    <a:lnTo>
                      <a:pt x="337156" y="148211"/>
                    </a:lnTo>
                    <a:lnTo>
                      <a:pt x="339184" y="148740"/>
                    </a:lnTo>
                    <a:lnTo>
                      <a:pt x="340418" y="150856"/>
                    </a:lnTo>
                    <a:lnTo>
                      <a:pt x="360520" y="144684"/>
                    </a:lnTo>
                    <a:lnTo>
                      <a:pt x="360520" y="145830"/>
                    </a:lnTo>
                    <a:lnTo>
                      <a:pt x="364047" y="184977"/>
                    </a:lnTo>
                    <a:lnTo>
                      <a:pt x="359903" y="199261"/>
                    </a:lnTo>
                    <a:lnTo>
                      <a:pt x="359903" y="214690"/>
                    </a:lnTo>
                    <a:lnTo>
                      <a:pt x="356377" y="216718"/>
                    </a:lnTo>
                    <a:lnTo>
                      <a:pt x="354966" y="222273"/>
                    </a:lnTo>
                    <a:lnTo>
                      <a:pt x="355847" y="225799"/>
                    </a:lnTo>
                    <a:lnTo>
                      <a:pt x="353555" y="227210"/>
                    </a:lnTo>
                    <a:lnTo>
                      <a:pt x="353555" y="230737"/>
                    </a:lnTo>
                    <a:lnTo>
                      <a:pt x="352674" y="232147"/>
                    </a:lnTo>
                    <a:lnTo>
                      <a:pt x="350558" y="234528"/>
                    </a:lnTo>
                    <a:lnTo>
                      <a:pt x="347383" y="235674"/>
                    </a:lnTo>
                    <a:lnTo>
                      <a:pt x="345356" y="236556"/>
                    </a:lnTo>
                    <a:lnTo>
                      <a:pt x="344738" y="240964"/>
                    </a:lnTo>
                    <a:lnTo>
                      <a:pt x="334864" y="238319"/>
                    </a:lnTo>
                    <a:lnTo>
                      <a:pt x="334246" y="241229"/>
                    </a:lnTo>
                    <a:lnTo>
                      <a:pt x="325518" y="240964"/>
                    </a:lnTo>
                    <a:lnTo>
                      <a:pt x="296069" y="242110"/>
                    </a:lnTo>
                    <a:lnTo>
                      <a:pt x="292278" y="249428"/>
                    </a:lnTo>
                    <a:lnTo>
                      <a:pt x="281434" y="250575"/>
                    </a:lnTo>
                    <a:lnTo>
                      <a:pt x="274204" y="249957"/>
                    </a:lnTo>
                    <a:lnTo>
                      <a:pt x="269531" y="250310"/>
                    </a:lnTo>
                    <a:lnTo>
                      <a:pt x="264858" y="244138"/>
                    </a:lnTo>
                    <a:lnTo>
                      <a:pt x="263359" y="247312"/>
                    </a:lnTo>
                    <a:lnTo>
                      <a:pt x="259920" y="249428"/>
                    </a:lnTo>
                    <a:lnTo>
                      <a:pt x="258686" y="247312"/>
                    </a:lnTo>
                    <a:lnTo>
                      <a:pt x="252867" y="247312"/>
                    </a:lnTo>
                    <a:lnTo>
                      <a:pt x="244756" y="254366"/>
                    </a:lnTo>
                    <a:lnTo>
                      <a:pt x="238319" y="255247"/>
                    </a:lnTo>
                    <a:lnTo>
                      <a:pt x="225447" y="261067"/>
                    </a:lnTo>
                    <a:lnTo>
                      <a:pt x="224918" y="269795"/>
                    </a:lnTo>
                    <a:lnTo>
                      <a:pt x="222537" y="270677"/>
                    </a:lnTo>
                    <a:lnTo>
                      <a:pt x="218128" y="268032"/>
                    </a:lnTo>
                    <a:lnTo>
                      <a:pt x="214690" y="267150"/>
                    </a:lnTo>
                    <a:lnTo>
                      <a:pt x="206490" y="273586"/>
                    </a:lnTo>
                    <a:lnTo>
                      <a:pt x="205080" y="278877"/>
                    </a:lnTo>
                    <a:lnTo>
                      <a:pt x="205344" y="282932"/>
                    </a:lnTo>
                    <a:lnTo>
                      <a:pt x="201553" y="284079"/>
                    </a:lnTo>
                    <a:lnTo>
                      <a:pt x="200407" y="282315"/>
                    </a:lnTo>
                    <a:lnTo>
                      <a:pt x="196880" y="281522"/>
                    </a:lnTo>
                    <a:lnTo>
                      <a:pt x="197762" y="289016"/>
                    </a:lnTo>
                    <a:lnTo>
                      <a:pt x="193353" y="292278"/>
                    </a:lnTo>
                    <a:lnTo>
                      <a:pt x="193089" y="293777"/>
                    </a:lnTo>
                    <a:lnTo>
                      <a:pt x="191061" y="294923"/>
                    </a:lnTo>
                    <a:lnTo>
                      <a:pt x="186123" y="290515"/>
                    </a:lnTo>
                    <a:lnTo>
                      <a:pt x="181979" y="289633"/>
                    </a:lnTo>
                    <a:lnTo>
                      <a:pt x="182597" y="289016"/>
                    </a:lnTo>
                    <a:lnTo>
                      <a:pt x="183126" y="287605"/>
                    </a:lnTo>
                    <a:lnTo>
                      <a:pt x="182332" y="286724"/>
                    </a:lnTo>
                    <a:lnTo>
                      <a:pt x="179070" y="289369"/>
                    </a:lnTo>
                    <a:lnTo>
                      <a:pt x="177306" y="292278"/>
                    </a:lnTo>
                    <a:lnTo>
                      <a:pt x="175543" y="293424"/>
                    </a:lnTo>
                    <a:lnTo>
                      <a:pt x="176161" y="294923"/>
                    </a:lnTo>
                    <a:lnTo>
                      <a:pt x="174397" y="294923"/>
                    </a:lnTo>
                    <a:lnTo>
                      <a:pt x="173515" y="296598"/>
                    </a:lnTo>
                    <a:lnTo>
                      <a:pt x="176161" y="300125"/>
                    </a:lnTo>
                    <a:lnTo>
                      <a:pt x="176777" y="305063"/>
                    </a:lnTo>
                    <a:lnTo>
                      <a:pt x="174397" y="306297"/>
                    </a:lnTo>
                    <a:lnTo>
                      <a:pt x="173251" y="305415"/>
                    </a:lnTo>
                    <a:lnTo>
                      <a:pt x="170958" y="305944"/>
                    </a:lnTo>
                    <a:lnTo>
                      <a:pt x="170958" y="307708"/>
                    </a:lnTo>
                    <a:lnTo>
                      <a:pt x="172634" y="311234"/>
                    </a:lnTo>
                    <a:lnTo>
                      <a:pt x="170958" y="313527"/>
                    </a:lnTo>
                    <a:lnTo>
                      <a:pt x="171488" y="315026"/>
                    </a:lnTo>
                    <a:lnTo>
                      <a:pt x="170958" y="315907"/>
                    </a:lnTo>
                    <a:lnTo>
                      <a:pt x="168578" y="318817"/>
                    </a:lnTo>
                    <a:lnTo>
                      <a:pt x="169195" y="320845"/>
                    </a:lnTo>
                    <a:lnTo>
                      <a:pt x="167432" y="321109"/>
                    </a:lnTo>
                    <a:lnTo>
                      <a:pt x="167432" y="322344"/>
                    </a:lnTo>
                    <a:lnTo>
                      <a:pt x="165668" y="322344"/>
                    </a:lnTo>
                    <a:lnTo>
                      <a:pt x="164522" y="324371"/>
                    </a:lnTo>
                    <a:lnTo>
                      <a:pt x="157469" y="324371"/>
                    </a:lnTo>
                    <a:lnTo>
                      <a:pt x="153413" y="327545"/>
                    </a:lnTo>
                    <a:lnTo>
                      <a:pt x="153413" y="328427"/>
                    </a:lnTo>
                    <a:lnTo>
                      <a:pt x="152531" y="329309"/>
                    </a:lnTo>
                    <a:lnTo>
                      <a:pt x="153413" y="330191"/>
                    </a:lnTo>
                    <a:lnTo>
                      <a:pt x="152796" y="334246"/>
                    </a:lnTo>
                    <a:lnTo>
                      <a:pt x="153942" y="334599"/>
                    </a:lnTo>
                    <a:lnTo>
                      <a:pt x="154295" y="338919"/>
                    </a:lnTo>
                    <a:lnTo>
                      <a:pt x="153413" y="339184"/>
                    </a:lnTo>
                    <a:lnTo>
                      <a:pt x="153413" y="342975"/>
                    </a:lnTo>
                    <a:lnTo>
                      <a:pt x="152267" y="344474"/>
                    </a:lnTo>
                    <a:lnTo>
                      <a:pt x="152267" y="345973"/>
                    </a:lnTo>
                    <a:lnTo>
                      <a:pt x="148476" y="346766"/>
                    </a:lnTo>
                    <a:lnTo>
                      <a:pt x="147858" y="348530"/>
                    </a:lnTo>
                    <a:lnTo>
                      <a:pt x="149005" y="349147"/>
                    </a:lnTo>
                    <a:lnTo>
                      <a:pt x="149622" y="352674"/>
                    </a:lnTo>
                    <a:lnTo>
                      <a:pt x="148476" y="359022"/>
                    </a:lnTo>
                    <a:lnTo>
                      <a:pt x="148740" y="360521"/>
                    </a:lnTo>
                    <a:lnTo>
                      <a:pt x="146977" y="363166"/>
                    </a:lnTo>
                    <a:lnTo>
                      <a:pt x="145566" y="363166"/>
                    </a:lnTo>
                    <a:lnTo>
                      <a:pt x="139394" y="366604"/>
                    </a:lnTo>
                    <a:lnTo>
                      <a:pt x="137102" y="369514"/>
                    </a:lnTo>
                    <a:lnTo>
                      <a:pt x="131283" y="366340"/>
                    </a:lnTo>
                    <a:lnTo>
                      <a:pt x="133840" y="364047"/>
                    </a:lnTo>
                    <a:lnTo>
                      <a:pt x="133575" y="362813"/>
                    </a:lnTo>
                    <a:lnTo>
                      <a:pt x="131812" y="361138"/>
                    </a:lnTo>
                    <a:lnTo>
                      <a:pt x="133046" y="358493"/>
                    </a:lnTo>
                    <a:lnTo>
                      <a:pt x="131812" y="356112"/>
                    </a:lnTo>
                    <a:lnTo>
                      <a:pt x="130048" y="356729"/>
                    </a:lnTo>
                    <a:lnTo>
                      <a:pt x="128285" y="359022"/>
                    </a:lnTo>
                    <a:lnTo>
                      <a:pt x="121320" y="357875"/>
                    </a:lnTo>
                    <a:lnTo>
                      <a:pt x="121320" y="362284"/>
                    </a:lnTo>
                    <a:lnTo>
                      <a:pt x="122818" y="363430"/>
                    </a:lnTo>
                    <a:lnTo>
                      <a:pt x="121584" y="365811"/>
                    </a:lnTo>
                    <a:lnTo>
                      <a:pt x="115765" y="365811"/>
                    </a:lnTo>
                    <a:lnTo>
                      <a:pt x="114883" y="371630"/>
                    </a:lnTo>
                    <a:lnTo>
                      <a:pt x="112238" y="368720"/>
                    </a:lnTo>
                    <a:lnTo>
                      <a:pt x="111092" y="364576"/>
                    </a:lnTo>
                    <a:lnTo>
                      <a:pt x="106419" y="365193"/>
                    </a:lnTo>
                    <a:lnTo>
                      <a:pt x="104127" y="363695"/>
                    </a:lnTo>
                    <a:lnTo>
                      <a:pt x="101217" y="364312"/>
                    </a:lnTo>
                    <a:lnTo>
                      <a:pt x="97426" y="364929"/>
                    </a:lnTo>
                    <a:lnTo>
                      <a:pt x="97161" y="369249"/>
                    </a:lnTo>
                    <a:lnTo>
                      <a:pt x="96544" y="370748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1" name="Freihandform: Form 1800">
                <a:extLst>
                  <a:ext uri="{FF2B5EF4-FFF2-40B4-BE49-F238E27FC236}">
                    <a16:creationId xmlns:a16="http://schemas.microsoft.com/office/drawing/2014/main" id="{8F1A2E82-A3BA-5814-436C-85BC7982F751}"/>
                  </a:ext>
                </a:extLst>
              </p:cNvPr>
              <p:cNvSpPr/>
              <p:nvPr/>
            </p:nvSpPr>
            <p:spPr>
              <a:xfrm>
                <a:off x="5000899" y="4448931"/>
                <a:ext cx="168313" cy="338654"/>
              </a:xfrm>
              <a:custGeom>
                <a:avLst/>
                <a:gdLst>
                  <a:gd name="connsiteX0" fmla="*/ 1763 w 168313"/>
                  <a:gd name="connsiteY0" fmla="*/ 246166 h 338654"/>
                  <a:gd name="connsiteX1" fmla="*/ 3791 w 168313"/>
                  <a:gd name="connsiteY1" fmla="*/ 243874 h 338654"/>
                  <a:gd name="connsiteX2" fmla="*/ 5202 w 168313"/>
                  <a:gd name="connsiteY2" fmla="*/ 240700 h 338654"/>
                  <a:gd name="connsiteX3" fmla="*/ 6084 w 168313"/>
                  <a:gd name="connsiteY3" fmla="*/ 237085 h 338654"/>
                  <a:gd name="connsiteX4" fmla="*/ 7230 w 168313"/>
                  <a:gd name="connsiteY4" fmla="*/ 233646 h 338654"/>
                  <a:gd name="connsiteX5" fmla="*/ 10228 w 168313"/>
                  <a:gd name="connsiteY5" fmla="*/ 231619 h 338654"/>
                  <a:gd name="connsiteX6" fmla="*/ 13137 w 168313"/>
                  <a:gd name="connsiteY6" fmla="*/ 229591 h 338654"/>
                  <a:gd name="connsiteX7" fmla="*/ 14900 w 168313"/>
                  <a:gd name="connsiteY7" fmla="*/ 226064 h 338654"/>
                  <a:gd name="connsiteX8" fmla="*/ 16047 w 168313"/>
                  <a:gd name="connsiteY8" fmla="*/ 222273 h 338654"/>
                  <a:gd name="connsiteX9" fmla="*/ 18339 w 168313"/>
                  <a:gd name="connsiteY9" fmla="*/ 219098 h 338654"/>
                  <a:gd name="connsiteX10" fmla="*/ 20720 w 168313"/>
                  <a:gd name="connsiteY10" fmla="*/ 215836 h 338654"/>
                  <a:gd name="connsiteX11" fmla="*/ 22483 w 168313"/>
                  <a:gd name="connsiteY11" fmla="*/ 212662 h 338654"/>
                  <a:gd name="connsiteX12" fmla="*/ 24158 w 168313"/>
                  <a:gd name="connsiteY12" fmla="*/ 209400 h 338654"/>
                  <a:gd name="connsiteX13" fmla="*/ 26010 w 168313"/>
                  <a:gd name="connsiteY13" fmla="*/ 206226 h 338654"/>
                  <a:gd name="connsiteX14" fmla="*/ 28302 w 168313"/>
                  <a:gd name="connsiteY14" fmla="*/ 202435 h 338654"/>
                  <a:gd name="connsiteX15" fmla="*/ 30065 w 168313"/>
                  <a:gd name="connsiteY15" fmla="*/ 199261 h 338654"/>
                  <a:gd name="connsiteX16" fmla="*/ 30065 w 168313"/>
                  <a:gd name="connsiteY16" fmla="*/ 195734 h 338654"/>
                  <a:gd name="connsiteX17" fmla="*/ 29713 w 168313"/>
                  <a:gd name="connsiteY17" fmla="*/ 191943 h 338654"/>
                  <a:gd name="connsiteX18" fmla="*/ 30594 w 168313"/>
                  <a:gd name="connsiteY18" fmla="*/ 188416 h 338654"/>
                  <a:gd name="connsiteX19" fmla="*/ 30947 w 168313"/>
                  <a:gd name="connsiteY19" fmla="*/ 184625 h 338654"/>
                  <a:gd name="connsiteX20" fmla="*/ 29713 w 168313"/>
                  <a:gd name="connsiteY20" fmla="*/ 181186 h 338654"/>
                  <a:gd name="connsiteX21" fmla="*/ 27949 w 168313"/>
                  <a:gd name="connsiteY21" fmla="*/ 177395 h 338654"/>
                  <a:gd name="connsiteX22" fmla="*/ 27068 w 168313"/>
                  <a:gd name="connsiteY22" fmla="*/ 173604 h 338654"/>
                  <a:gd name="connsiteX23" fmla="*/ 27068 w 168313"/>
                  <a:gd name="connsiteY23" fmla="*/ 169460 h 338654"/>
                  <a:gd name="connsiteX24" fmla="*/ 26803 w 168313"/>
                  <a:gd name="connsiteY24" fmla="*/ 165404 h 338654"/>
                  <a:gd name="connsiteX25" fmla="*/ 25393 w 168313"/>
                  <a:gd name="connsiteY25" fmla="*/ 161613 h 338654"/>
                  <a:gd name="connsiteX26" fmla="*/ 23894 w 168313"/>
                  <a:gd name="connsiteY26" fmla="*/ 157821 h 338654"/>
                  <a:gd name="connsiteX27" fmla="*/ 23276 w 168313"/>
                  <a:gd name="connsiteY27" fmla="*/ 153766 h 338654"/>
                  <a:gd name="connsiteX28" fmla="*/ 23629 w 168313"/>
                  <a:gd name="connsiteY28" fmla="*/ 149622 h 338654"/>
                  <a:gd name="connsiteX29" fmla="*/ 23894 w 168313"/>
                  <a:gd name="connsiteY29" fmla="*/ 145831 h 338654"/>
                  <a:gd name="connsiteX30" fmla="*/ 23629 w 168313"/>
                  <a:gd name="connsiteY30" fmla="*/ 141775 h 338654"/>
                  <a:gd name="connsiteX31" fmla="*/ 22483 w 168313"/>
                  <a:gd name="connsiteY31" fmla="*/ 137983 h 338654"/>
                  <a:gd name="connsiteX32" fmla="*/ 22483 w 168313"/>
                  <a:gd name="connsiteY32" fmla="*/ 133928 h 338654"/>
                  <a:gd name="connsiteX33" fmla="*/ 23629 w 168313"/>
                  <a:gd name="connsiteY33" fmla="*/ 130401 h 338654"/>
                  <a:gd name="connsiteX34" fmla="*/ 26538 w 168313"/>
                  <a:gd name="connsiteY34" fmla="*/ 127756 h 338654"/>
                  <a:gd name="connsiteX35" fmla="*/ 30330 w 168313"/>
                  <a:gd name="connsiteY35" fmla="*/ 126345 h 338654"/>
                  <a:gd name="connsiteX36" fmla="*/ 33239 w 168313"/>
                  <a:gd name="connsiteY36" fmla="*/ 123965 h 338654"/>
                  <a:gd name="connsiteX37" fmla="*/ 35003 w 168313"/>
                  <a:gd name="connsiteY37" fmla="*/ 120438 h 338654"/>
                  <a:gd name="connsiteX38" fmla="*/ 34738 w 168313"/>
                  <a:gd name="connsiteY38" fmla="*/ 116647 h 338654"/>
                  <a:gd name="connsiteX39" fmla="*/ 34738 w 168313"/>
                  <a:gd name="connsiteY39" fmla="*/ 113737 h 338654"/>
                  <a:gd name="connsiteX40" fmla="*/ 35003 w 168313"/>
                  <a:gd name="connsiteY40" fmla="*/ 111180 h 338654"/>
                  <a:gd name="connsiteX41" fmla="*/ 35003 w 168313"/>
                  <a:gd name="connsiteY41" fmla="*/ 107654 h 338654"/>
                  <a:gd name="connsiteX42" fmla="*/ 36414 w 168313"/>
                  <a:gd name="connsiteY42" fmla="*/ 105009 h 338654"/>
                  <a:gd name="connsiteX43" fmla="*/ 39940 w 168313"/>
                  <a:gd name="connsiteY43" fmla="*/ 104391 h 338654"/>
                  <a:gd name="connsiteX44" fmla="*/ 43996 w 168313"/>
                  <a:gd name="connsiteY44" fmla="*/ 104744 h 338654"/>
                  <a:gd name="connsiteX45" fmla="*/ 47258 w 168313"/>
                  <a:gd name="connsiteY45" fmla="*/ 103245 h 338654"/>
                  <a:gd name="connsiteX46" fmla="*/ 50432 w 168313"/>
                  <a:gd name="connsiteY46" fmla="*/ 100336 h 338654"/>
                  <a:gd name="connsiteX47" fmla="*/ 52813 w 168313"/>
                  <a:gd name="connsiteY47" fmla="*/ 99454 h 338654"/>
                  <a:gd name="connsiteX48" fmla="*/ 54841 w 168313"/>
                  <a:gd name="connsiteY48" fmla="*/ 100071 h 338654"/>
                  <a:gd name="connsiteX49" fmla="*/ 57133 w 168313"/>
                  <a:gd name="connsiteY49" fmla="*/ 100071 h 338654"/>
                  <a:gd name="connsiteX50" fmla="*/ 59514 w 168313"/>
                  <a:gd name="connsiteY50" fmla="*/ 99189 h 338654"/>
                  <a:gd name="connsiteX51" fmla="*/ 60924 w 168313"/>
                  <a:gd name="connsiteY51" fmla="*/ 98043 h 338654"/>
                  <a:gd name="connsiteX52" fmla="*/ 62423 w 168313"/>
                  <a:gd name="connsiteY52" fmla="*/ 95927 h 338654"/>
                  <a:gd name="connsiteX53" fmla="*/ 65333 w 168313"/>
                  <a:gd name="connsiteY53" fmla="*/ 94517 h 338654"/>
                  <a:gd name="connsiteX54" fmla="*/ 68507 w 168313"/>
                  <a:gd name="connsiteY54" fmla="*/ 95134 h 338654"/>
                  <a:gd name="connsiteX55" fmla="*/ 70535 w 168313"/>
                  <a:gd name="connsiteY55" fmla="*/ 95134 h 338654"/>
                  <a:gd name="connsiteX56" fmla="*/ 72033 w 168313"/>
                  <a:gd name="connsiteY56" fmla="*/ 93988 h 338654"/>
                  <a:gd name="connsiteX57" fmla="*/ 73797 w 168313"/>
                  <a:gd name="connsiteY57" fmla="*/ 93988 h 338654"/>
                  <a:gd name="connsiteX58" fmla="*/ 76442 w 168313"/>
                  <a:gd name="connsiteY58" fmla="*/ 95927 h 338654"/>
                  <a:gd name="connsiteX59" fmla="*/ 78117 w 168313"/>
                  <a:gd name="connsiteY59" fmla="*/ 97426 h 338654"/>
                  <a:gd name="connsiteX60" fmla="*/ 78470 w 168313"/>
                  <a:gd name="connsiteY60" fmla="*/ 95927 h 338654"/>
                  <a:gd name="connsiteX61" fmla="*/ 77588 w 168313"/>
                  <a:gd name="connsiteY61" fmla="*/ 92489 h 338654"/>
                  <a:gd name="connsiteX62" fmla="*/ 78470 w 168313"/>
                  <a:gd name="connsiteY62" fmla="*/ 89315 h 338654"/>
                  <a:gd name="connsiteX63" fmla="*/ 80762 w 168313"/>
                  <a:gd name="connsiteY63" fmla="*/ 87816 h 338654"/>
                  <a:gd name="connsiteX64" fmla="*/ 83143 w 168313"/>
                  <a:gd name="connsiteY64" fmla="*/ 86317 h 338654"/>
                  <a:gd name="connsiteX65" fmla="*/ 85699 w 168313"/>
                  <a:gd name="connsiteY65" fmla="*/ 83407 h 338654"/>
                  <a:gd name="connsiteX66" fmla="*/ 88609 w 168313"/>
                  <a:gd name="connsiteY66" fmla="*/ 81115 h 338654"/>
                  <a:gd name="connsiteX67" fmla="*/ 91342 w 168313"/>
                  <a:gd name="connsiteY67" fmla="*/ 81380 h 338654"/>
                  <a:gd name="connsiteX68" fmla="*/ 92136 w 168313"/>
                  <a:gd name="connsiteY68" fmla="*/ 84289 h 338654"/>
                  <a:gd name="connsiteX69" fmla="*/ 92753 w 168313"/>
                  <a:gd name="connsiteY69" fmla="*/ 86670 h 338654"/>
                  <a:gd name="connsiteX70" fmla="*/ 94781 w 168313"/>
                  <a:gd name="connsiteY70" fmla="*/ 86052 h 338654"/>
                  <a:gd name="connsiteX71" fmla="*/ 95662 w 168313"/>
                  <a:gd name="connsiteY71" fmla="*/ 83143 h 338654"/>
                  <a:gd name="connsiteX72" fmla="*/ 95398 w 168313"/>
                  <a:gd name="connsiteY72" fmla="*/ 80233 h 338654"/>
                  <a:gd name="connsiteX73" fmla="*/ 95927 w 168313"/>
                  <a:gd name="connsiteY73" fmla="*/ 77059 h 338654"/>
                  <a:gd name="connsiteX74" fmla="*/ 98572 w 168313"/>
                  <a:gd name="connsiteY74" fmla="*/ 73797 h 338654"/>
                  <a:gd name="connsiteX75" fmla="*/ 99718 w 168313"/>
                  <a:gd name="connsiteY75" fmla="*/ 71505 h 338654"/>
                  <a:gd name="connsiteX76" fmla="*/ 100336 w 168313"/>
                  <a:gd name="connsiteY76" fmla="*/ 69124 h 338654"/>
                  <a:gd name="connsiteX77" fmla="*/ 102099 w 168313"/>
                  <a:gd name="connsiteY77" fmla="*/ 67714 h 338654"/>
                  <a:gd name="connsiteX78" fmla="*/ 103510 w 168313"/>
                  <a:gd name="connsiteY78" fmla="*/ 69124 h 338654"/>
                  <a:gd name="connsiteX79" fmla="*/ 102981 w 168313"/>
                  <a:gd name="connsiteY79" fmla="*/ 72915 h 338654"/>
                  <a:gd name="connsiteX80" fmla="*/ 102628 w 168313"/>
                  <a:gd name="connsiteY80" fmla="*/ 75560 h 338654"/>
                  <a:gd name="connsiteX81" fmla="*/ 104391 w 168313"/>
                  <a:gd name="connsiteY81" fmla="*/ 74943 h 338654"/>
                  <a:gd name="connsiteX82" fmla="*/ 106419 w 168313"/>
                  <a:gd name="connsiteY82" fmla="*/ 71505 h 338654"/>
                  <a:gd name="connsiteX83" fmla="*/ 108183 w 168313"/>
                  <a:gd name="connsiteY83" fmla="*/ 67978 h 338654"/>
                  <a:gd name="connsiteX84" fmla="*/ 110563 w 168313"/>
                  <a:gd name="connsiteY84" fmla="*/ 66215 h 338654"/>
                  <a:gd name="connsiteX85" fmla="*/ 113120 w 168313"/>
                  <a:gd name="connsiteY85" fmla="*/ 66832 h 338654"/>
                  <a:gd name="connsiteX86" fmla="*/ 114619 w 168313"/>
                  <a:gd name="connsiteY86" fmla="*/ 67096 h 338654"/>
                  <a:gd name="connsiteX87" fmla="*/ 114619 w 168313"/>
                  <a:gd name="connsiteY87" fmla="*/ 65686 h 338654"/>
                  <a:gd name="connsiteX88" fmla="*/ 112591 w 168313"/>
                  <a:gd name="connsiteY88" fmla="*/ 64187 h 338654"/>
                  <a:gd name="connsiteX89" fmla="*/ 109946 w 168313"/>
                  <a:gd name="connsiteY89" fmla="*/ 62688 h 338654"/>
                  <a:gd name="connsiteX90" fmla="*/ 109417 w 168313"/>
                  <a:gd name="connsiteY90" fmla="*/ 60131 h 338654"/>
                  <a:gd name="connsiteX91" fmla="*/ 111092 w 168313"/>
                  <a:gd name="connsiteY91" fmla="*/ 56604 h 338654"/>
                  <a:gd name="connsiteX92" fmla="*/ 113473 w 168313"/>
                  <a:gd name="connsiteY92" fmla="*/ 53959 h 338654"/>
                  <a:gd name="connsiteX93" fmla="*/ 114883 w 168313"/>
                  <a:gd name="connsiteY93" fmla="*/ 53959 h 338654"/>
                  <a:gd name="connsiteX94" fmla="*/ 116382 w 168313"/>
                  <a:gd name="connsiteY94" fmla="*/ 54841 h 338654"/>
                  <a:gd name="connsiteX95" fmla="*/ 116911 w 168313"/>
                  <a:gd name="connsiteY95" fmla="*/ 53695 h 338654"/>
                  <a:gd name="connsiteX96" fmla="*/ 116382 w 168313"/>
                  <a:gd name="connsiteY96" fmla="*/ 50521 h 338654"/>
                  <a:gd name="connsiteX97" fmla="*/ 114883 w 168313"/>
                  <a:gd name="connsiteY97" fmla="*/ 47611 h 338654"/>
                  <a:gd name="connsiteX98" fmla="*/ 114002 w 168313"/>
                  <a:gd name="connsiteY98" fmla="*/ 44349 h 338654"/>
                  <a:gd name="connsiteX99" fmla="*/ 114883 w 168313"/>
                  <a:gd name="connsiteY99" fmla="*/ 40822 h 338654"/>
                  <a:gd name="connsiteX100" fmla="*/ 117529 w 168313"/>
                  <a:gd name="connsiteY100" fmla="*/ 39676 h 338654"/>
                  <a:gd name="connsiteX101" fmla="*/ 119909 w 168313"/>
                  <a:gd name="connsiteY101" fmla="*/ 41175 h 338654"/>
                  <a:gd name="connsiteX102" fmla="*/ 121584 w 168313"/>
                  <a:gd name="connsiteY102" fmla="*/ 43202 h 338654"/>
                  <a:gd name="connsiteX103" fmla="*/ 123083 w 168313"/>
                  <a:gd name="connsiteY103" fmla="*/ 42321 h 338654"/>
                  <a:gd name="connsiteX104" fmla="*/ 125111 w 168313"/>
                  <a:gd name="connsiteY104" fmla="*/ 39676 h 338654"/>
                  <a:gd name="connsiteX105" fmla="*/ 127139 w 168313"/>
                  <a:gd name="connsiteY105" fmla="*/ 37031 h 338654"/>
                  <a:gd name="connsiteX106" fmla="*/ 130048 w 168313"/>
                  <a:gd name="connsiteY106" fmla="*/ 35885 h 338654"/>
                  <a:gd name="connsiteX107" fmla="*/ 132693 w 168313"/>
                  <a:gd name="connsiteY107" fmla="*/ 34121 h 338654"/>
                  <a:gd name="connsiteX108" fmla="*/ 134721 w 168313"/>
                  <a:gd name="connsiteY108" fmla="*/ 31564 h 338654"/>
                  <a:gd name="connsiteX109" fmla="*/ 135338 w 168313"/>
                  <a:gd name="connsiteY109" fmla="*/ 27773 h 338654"/>
                  <a:gd name="connsiteX110" fmla="*/ 136484 w 168313"/>
                  <a:gd name="connsiteY110" fmla="*/ 24246 h 338654"/>
                  <a:gd name="connsiteX111" fmla="*/ 137631 w 168313"/>
                  <a:gd name="connsiteY111" fmla="*/ 20720 h 338654"/>
                  <a:gd name="connsiteX112" fmla="*/ 137631 w 168313"/>
                  <a:gd name="connsiteY112" fmla="*/ 16928 h 338654"/>
                  <a:gd name="connsiteX113" fmla="*/ 136220 w 168313"/>
                  <a:gd name="connsiteY113" fmla="*/ 13402 h 338654"/>
                  <a:gd name="connsiteX114" fmla="*/ 136220 w 168313"/>
                  <a:gd name="connsiteY114" fmla="*/ 11109 h 338654"/>
                  <a:gd name="connsiteX115" fmla="*/ 137631 w 168313"/>
                  <a:gd name="connsiteY115" fmla="*/ 10228 h 338654"/>
                  <a:gd name="connsiteX116" fmla="*/ 139747 w 168313"/>
                  <a:gd name="connsiteY116" fmla="*/ 9081 h 338654"/>
                  <a:gd name="connsiteX117" fmla="*/ 142039 w 168313"/>
                  <a:gd name="connsiteY117" fmla="*/ 6436 h 338654"/>
                  <a:gd name="connsiteX118" fmla="*/ 143538 w 168313"/>
                  <a:gd name="connsiteY118" fmla="*/ 3791 h 338654"/>
                  <a:gd name="connsiteX119" fmla="*/ 144684 w 168313"/>
                  <a:gd name="connsiteY119" fmla="*/ 882 h 338654"/>
                  <a:gd name="connsiteX120" fmla="*/ 146448 w 168313"/>
                  <a:gd name="connsiteY120" fmla="*/ 0 h 338654"/>
                  <a:gd name="connsiteX121" fmla="*/ 148475 w 168313"/>
                  <a:gd name="connsiteY121" fmla="*/ 1499 h 338654"/>
                  <a:gd name="connsiteX122" fmla="*/ 148475 w 168313"/>
                  <a:gd name="connsiteY122" fmla="*/ 3527 h 338654"/>
                  <a:gd name="connsiteX123" fmla="*/ 147330 w 168313"/>
                  <a:gd name="connsiteY123" fmla="*/ 5290 h 338654"/>
                  <a:gd name="connsiteX124" fmla="*/ 147330 w 168313"/>
                  <a:gd name="connsiteY124" fmla="*/ 6436 h 338654"/>
                  <a:gd name="connsiteX125" fmla="*/ 149357 w 168313"/>
                  <a:gd name="connsiteY125" fmla="*/ 7847 h 338654"/>
                  <a:gd name="connsiteX126" fmla="*/ 151385 w 168313"/>
                  <a:gd name="connsiteY126" fmla="*/ 10228 h 338654"/>
                  <a:gd name="connsiteX127" fmla="*/ 152267 w 168313"/>
                  <a:gd name="connsiteY127" fmla="*/ 11991 h 338654"/>
                  <a:gd name="connsiteX128" fmla="*/ 152267 w 168313"/>
                  <a:gd name="connsiteY128" fmla="*/ 14019 h 338654"/>
                  <a:gd name="connsiteX129" fmla="*/ 153413 w 168313"/>
                  <a:gd name="connsiteY129" fmla="*/ 17281 h 338654"/>
                  <a:gd name="connsiteX130" fmla="*/ 155441 w 168313"/>
                  <a:gd name="connsiteY130" fmla="*/ 19573 h 338654"/>
                  <a:gd name="connsiteX131" fmla="*/ 157204 w 168313"/>
                  <a:gd name="connsiteY131" fmla="*/ 21866 h 338654"/>
                  <a:gd name="connsiteX132" fmla="*/ 158967 w 168313"/>
                  <a:gd name="connsiteY132" fmla="*/ 25128 h 338654"/>
                  <a:gd name="connsiteX133" fmla="*/ 159849 w 168313"/>
                  <a:gd name="connsiteY133" fmla="*/ 28655 h 338654"/>
                  <a:gd name="connsiteX134" fmla="*/ 160378 w 168313"/>
                  <a:gd name="connsiteY134" fmla="*/ 32093 h 338654"/>
                  <a:gd name="connsiteX135" fmla="*/ 160996 w 168313"/>
                  <a:gd name="connsiteY135" fmla="*/ 35620 h 338654"/>
                  <a:gd name="connsiteX136" fmla="*/ 161260 w 168313"/>
                  <a:gd name="connsiteY136" fmla="*/ 39411 h 338654"/>
                  <a:gd name="connsiteX137" fmla="*/ 162406 w 168313"/>
                  <a:gd name="connsiteY137" fmla="*/ 43467 h 338654"/>
                  <a:gd name="connsiteX138" fmla="*/ 163376 w 168313"/>
                  <a:gd name="connsiteY138" fmla="*/ 47258 h 338654"/>
                  <a:gd name="connsiteX139" fmla="*/ 163376 w 168313"/>
                  <a:gd name="connsiteY139" fmla="*/ 51314 h 338654"/>
                  <a:gd name="connsiteX140" fmla="*/ 163640 w 168313"/>
                  <a:gd name="connsiteY140" fmla="*/ 55105 h 338654"/>
                  <a:gd name="connsiteX141" fmla="*/ 163905 w 168313"/>
                  <a:gd name="connsiteY141" fmla="*/ 59249 h 338654"/>
                  <a:gd name="connsiteX142" fmla="*/ 163640 w 168313"/>
                  <a:gd name="connsiteY142" fmla="*/ 63305 h 338654"/>
                  <a:gd name="connsiteX143" fmla="*/ 163640 w 168313"/>
                  <a:gd name="connsiteY143" fmla="*/ 67361 h 338654"/>
                  <a:gd name="connsiteX144" fmla="*/ 164169 w 168313"/>
                  <a:gd name="connsiteY144" fmla="*/ 71505 h 338654"/>
                  <a:gd name="connsiteX145" fmla="*/ 165933 w 168313"/>
                  <a:gd name="connsiteY145" fmla="*/ 74943 h 338654"/>
                  <a:gd name="connsiteX146" fmla="*/ 167696 w 168313"/>
                  <a:gd name="connsiteY146" fmla="*/ 78735 h 338654"/>
                  <a:gd name="connsiteX147" fmla="*/ 168313 w 168313"/>
                  <a:gd name="connsiteY147" fmla="*/ 82878 h 338654"/>
                  <a:gd name="connsiteX148" fmla="*/ 167696 w 168313"/>
                  <a:gd name="connsiteY148" fmla="*/ 86670 h 338654"/>
                  <a:gd name="connsiteX149" fmla="*/ 166285 w 168313"/>
                  <a:gd name="connsiteY149" fmla="*/ 90461 h 338654"/>
                  <a:gd name="connsiteX150" fmla="*/ 164522 w 168313"/>
                  <a:gd name="connsiteY150" fmla="*/ 94252 h 338654"/>
                  <a:gd name="connsiteX151" fmla="*/ 162142 w 168313"/>
                  <a:gd name="connsiteY151" fmla="*/ 97162 h 338654"/>
                  <a:gd name="connsiteX152" fmla="*/ 159232 w 168313"/>
                  <a:gd name="connsiteY152" fmla="*/ 97162 h 338654"/>
                  <a:gd name="connsiteX153" fmla="*/ 157469 w 168313"/>
                  <a:gd name="connsiteY153" fmla="*/ 94517 h 338654"/>
                  <a:gd name="connsiteX154" fmla="*/ 156322 w 168313"/>
                  <a:gd name="connsiteY154" fmla="*/ 90725 h 338654"/>
                  <a:gd name="connsiteX155" fmla="*/ 154824 w 168313"/>
                  <a:gd name="connsiteY155" fmla="*/ 87551 h 338654"/>
                  <a:gd name="connsiteX156" fmla="*/ 152796 w 168313"/>
                  <a:gd name="connsiteY156" fmla="*/ 86052 h 338654"/>
                  <a:gd name="connsiteX157" fmla="*/ 150768 w 168313"/>
                  <a:gd name="connsiteY157" fmla="*/ 88080 h 338654"/>
                  <a:gd name="connsiteX158" fmla="*/ 150503 w 168313"/>
                  <a:gd name="connsiteY158" fmla="*/ 91607 h 338654"/>
                  <a:gd name="connsiteX159" fmla="*/ 150768 w 168313"/>
                  <a:gd name="connsiteY159" fmla="*/ 95663 h 338654"/>
                  <a:gd name="connsiteX160" fmla="*/ 150768 w 168313"/>
                  <a:gd name="connsiteY160" fmla="*/ 99454 h 338654"/>
                  <a:gd name="connsiteX161" fmla="*/ 151650 w 168313"/>
                  <a:gd name="connsiteY161" fmla="*/ 102981 h 338654"/>
                  <a:gd name="connsiteX162" fmla="*/ 152796 w 168313"/>
                  <a:gd name="connsiteY162" fmla="*/ 106508 h 338654"/>
                  <a:gd name="connsiteX163" fmla="*/ 152796 w 168313"/>
                  <a:gd name="connsiteY163" fmla="*/ 110563 h 338654"/>
                  <a:gd name="connsiteX164" fmla="*/ 151650 w 168313"/>
                  <a:gd name="connsiteY164" fmla="*/ 114090 h 338654"/>
                  <a:gd name="connsiteX165" fmla="*/ 151121 w 168313"/>
                  <a:gd name="connsiteY165" fmla="*/ 117529 h 338654"/>
                  <a:gd name="connsiteX166" fmla="*/ 150150 w 168313"/>
                  <a:gd name="connsiteY166" fmla="*/ 120174 h 338654"/>
                  <a:gd name="connsiteX167" fmla="*/ 147859 w 168313"/>
                  <a:gd name="connsiteY167" fmla="*/ 122202 h 338654"/>
                  <a:gd name="connsiteX168" fmla="*/ 144684 w 168313"/>
                  <a:gd name="connsiteY168" fmla="*/ 124846 h 338654"/>
                  <a:gd name="connsiteX169" fmla="*/ 142304 w 168313"/>
                  <a:gd name="connsiteY169" fmla="*/ 128373 h 338654"/>
                  <a:gd name="connsiteX170" fmla="*/ 141775 w 168313"/>
                  <a:gd name="connsiteY170" fmla="*/ 131900 h 338654"/>
                  <a:gd name="connsiteX171" fmla="*/ 142304 w 168313"/>
                  <a:gd name="connsiteY171" fmla="*/ 135691 h 338654"/>
                  <a:gd name="connsiteX172" fmla="*/ 143538 w 168313"/>
                  <a:gd name="connsiteY172" fmla="*/ 139747 h 338654"/>
                  <a:gd name="connsiteX173" fmla="*/ 143185 w 168313"/>
                  <a:gd name="connsiteY173" fmla="*/ 143538 h 338654"/>
                  <a:gd name="connsiteX174" fmla="*/ 142039 w 168313"/>
                  <a:gd name="connsiteY174" fmla="*/ 147330 h 338654"/>
                  <a:gd name="connsiteX175" fmla="*/ 140893 w 168313"/>
                  <a:gd name="connsiteY175" fmla="*/ 151121 h 338654"/>
                  <a:gd name="connsiteX176" fmla="*/ 140011 w 168313"/>
                  <a:gd name="connsiteY176" fmla="*/ 154912 h 338654"/>
                  <a:gd name="connsiteX177" fmla="*/ 139129 w 168313"/>
                  <a:gd name="connsiteY177" fmla="*/ 158703 h 338654"/>
                  <a:gd name="connsiteX178" fmla="*/ 137983 w 168313"/>
                  <a:gd name="connsiteY178" fmla="*/ 162759 h 338654"/>
                  <a:gd name="connsiteX179" fmla="*/ 136749 w 168313"/>
                  <a:gd name="connsiteY179" fmla="*/ 166550 h 338654"/>
                  <a:gd name="connsiteX180" fmla="*/ 134721 w 168313"/>
                  <a:gd name="connsiteY180" fmla="*/ 170341 h 338654"/>
                  <a:gd name="connsiteX181" fmla="*/ 133046 w 168313"/>
                  <a:gd name="connsiteY181" fmla="*/ 173868 h 338654"/>
                  <a:gd name="connsiteX182" fmla="*/ 130930 w 168313"/>
                  <a:gd name="connsiteY182" fmla="*/ 177659 h 338654"/>
                  <a:gd name="connsiteX183" fmla="*/ 129255 w 168313"/>
                  <a:gd name="connsiteY183" fmla="*/ 181451 h 338654"/>
                  <a:gd name="connsiteX184" fmla="*/ 127756 w 168313"/>
                  <a:gd name="connsiteY184" fmla="*/ 185242 h 338654"/>
                  <a:gd name="connsiteX185" fmla="*/ 126610 w 168313"/>
                  <a:gd name="connsiteY185" fmla="*/ 189033 h 338654"/>
                  <a:gd name="connsiteX186" fmla="*/ 125728 w 168313"/>
                  <a:gd name="connsiteY186" fmla="*/ 193441 h 338654"/>
                  <a:gd name="connsiteX187" fmla="*/ 124582 w 168313"/>
                  <a:gd name="connsiteY187" fmla="*/ 196616 h 338654"/>
                  <a:gd name="connsiteX188" fmla="*/ 123700 w 168313"/>
                  <a:gd name="connsiteY188" fmla="*/ 199525 h 338654"/>
                  <a:gd name="connsiteX189" fmla="*/ 123700 w 168313"/>
                  <a:gd name="connsiteY189" fmla="*/ 202699 h 338654"/>
                  <a:gd name="connsiteX190" fmla="*/ 123700 w 168313"/>
                  <a:gd name="connsiteY190" fmla="*/ 206843 h 338654"/>
                  <a:gd name="connsiteX191" fmla="*/ 121937 w 168313"/>
                  <a:gd name="connsiteY191" fmla="*/ 210282 h 338654"/>
                  <a:gd name="connsiteX192" fmla="*/ 119292 w 168313"/>
                  <a:gd name="connsiteY192" fmla="*/ 213808 h 338654"/>
                  <a:gd name="connsiteX193" fmla="*/ 116647 w 168313"/>
                  <a:gd name="connsiteY193" fmla="*/ 216718 h 338654"/>
                  <a:gd name="connsiteX194" fmla="*/ 114002 w 168313"/>
                  <a:gd name="connsiteY194" fmla="*/ 219627 h 338654"/>
                  <a:gd name="connsiteX195" fmla="*/ 112855 w 168313"/>
                  <a:gd name="connsiteY195" fmla="*/ 222890 h 338654"/>
                  <a:gd name="connsiteX196" fmla="*/ 112591 w 168313"/>
                  <a:gd name="connsiteY196" fmla="*/ 225799 h 338654"/>
                  <a:gd name="connsiteX197" fmla="*/ 111445 w 168313"/>
                  <a:gd name="connsiteY197" fmla="*/ 228973 h 338654"/>
                  <a:gd name="connsiteX198" fmla="*/ 109417 w 168313"/>
                  <a:gd name="connsiteY198" fmla="*/ 232500 h 338654"/>
                  <a:gd name="connsiteX199" fmla="*/ 108535 w 168313"/>
                  <a:gd name="connsiteY199" fmla="*/ 236556 h 338654"/>
                  <a:gd name="connsiteX200" fmla="*/ 107918 w 168313"/>
                  <a:gd name="connsiteY200" fmla="*/ 240700 h 338654"/>
                  <a:gd name="connsiteX201" fmla="*/ 107037 w 168313"/>
                  <a:gd name="connsiteY201" fmla="*/ 244756 h 338654"/>
                  <a:gd name="connsiteX202" fmla="*/ 105537 w 168313"/>
                  <a:gd name="connsiteY202" fmla="*/ 248547 h 338654"/>
                  <a:gd name="connsiteX203" fmla="*/ 103862 w 168313"/>
                  <a:gd name="connsiteY203" fmla="*/ 252338 h 338654"/>
                  <a:gd name="connsiteX204" fmla="*/ 102099 w 168313"/>
                  <a:gd name="connsiteY204" fmla="*/ 256129 h 338654"/>
                  <a:gd name="connsiteX205" fmla="*/ 100600 w 168313"/>
                  <a:gd name="connsiteY205" fmla="*/ 259920 h 338654"/>
                  <a:gd name="connsiteX206" fmla="*/ 99454 w 168313"/>
                  <a:gd name="connsiteY206" fmla="*/ 263712 h 338654"/>
                  <a:gd name="connsiteX207" fmla="*/ 98572 w 168313"/>
                  <a:gd name="connsiteY207" fmla="*/ 267767 h 338654"/>
                  <a:gd name="connsiteX208" fmla="*/ 97955 w 168313"/>
                  <a:gd name="connsiteY208" fmla="*/ 271823 h 338654"/>
                  <a:gd name="connsiteX209" fmla="*/ 96809 w 168313"/>
                  <a:gd name="connsiteY209" fmla="*/ 275967 h 338654"/>
                  <a:gd name="connsiteX210" fmla="*/ 95662 w 168313"/>
                  <a:gd name="connsiteY210" fmla="*/ 279758 h 338654"/>
                  <a:gd name="connsiteX211" fmla="*/ 94164 w 168313"/>
                  <a:gd name="connsiteY211" fmla="*/ 283550 h 338654"/>
                  <a:gd name="connsiteX212" fmla="*/ 92753 w 168313"/>
                  <a:gd name="connsiteY212" fmla="*/ 287253 h 338654"/>
                  <a:gd name="connsiteX213" fmla="*/ 91342 w 168313"/>
                  <a:gd name="connsiteY213" fmla="*/ 291397 h 338654"/>
                  <a:gd name="connsiteX214" fmla="*/ 90461 w 168313"/>
                  <a:gd name="connsiteY214" fmla="*/ 295188 h 338654"/>
                  <a:gd name="connsiteX215" fmla="*/ 89579 w 168313"/>
                  <a:gd name="connsiteY215" fmla="*/ 298979 h 338654"/>
                  <a:gd name="connsiteX216" fmla="*/ 88080 w 168313"/>
                  <a:gd name="connsiteY216" fmla="*/ 302506 h 338654"/>
                  <a:gd name="connsiteX217" fmla="*/ 86317 w 168313"/>
                  <a:gd name="connsiteY217" fmla="*/ 305415 h 338654"/>
                  <a:gd name="connsiteX218" fmla="*/ 84024 w 168313"/>
                  <a:gd name="connsiteY218" fmla="*/ 308060 h 338654"/>
                  <a:gd name="connsiteX219" fmla="*/ 82261 w 168313"/>
                  <a:gd name="connsiteY219" fmla="*/ 311235 h 338654"/>
                  <a:gd name="connsiteX220" fmla="*/ 80762 w 168313"/>
                  <a:gd name="connsiteY220" fmla="*/ 315026 h 338654"/>
                  <a:gd name="connsiteX221" fmla="*/ 78999 w 168313"/>
                  <a:gd name="connsiteY221" fmla="*/ 318552 h 338654"/>
                  <a:gd name="connsiteX222" fmla="*/ 77324 w 168313"/>
                  <a:gd name="connsiteY222" fmla="*/ 321991 h 338654"/>
                  <a:gd name="connsiteX223" fmla="*/ 75207 w 168313"/>
                  <a:gd name="connsiteY223" fmla="*/ 324372 h 338654"/>
                  <a:gd name="connsiteX224" fmla="*/ 72033 w 168313"/>
                  <a:gd name="connsiteY224" fmla="*/ 326400 h 338654"/>
                  <a:gd name="connsiteX225" fmla="*/ 68507 w 168313"/>
                  <a:gd name="connsiteY225" fmla="*/ 327545 h 338654"/>
                  <a:gd name="connsiteX226" fmla="*/ 64716 w 168313"/>
                  <a:gd name="connsiteY226" fmla="*/ 328163 h 338654"/>
                  <a:gd name="connsiteX227" fmla="*/ 60660 w 168313"/>
                  <a:gd name="connsiteY227" fmla="*/ 328427 h 338654"/>
                  <a:gd name="connsiteX228" fmla="*/ 57133 w 168313"/>
                  <a:gd name="connsiteY228" fmla="*/ 329926 h 338654"/>
                  <a:gd name="connsiteX229" fmla="*/ 53342 w 168313"/>
                  <a:gd name="connsiteY229" fmla="*/ 331954 h 338654"/>
                  <a:gd name="connsiteX230" fmla="*/ 49903 w 168313"/>
                  <a:gd name="connsiteY230" fmla="*/ 333982 h 338654"/>
                  <a:gd name="connsiteX231" fmla="*/ 46376 w 168313"/>
                  <a:gd name="connsiteY231" fmla="*/ 336010 h 338654"/>
                  <a:gd name="connsiteX232" fmla="*/ 42585 w 168313"/>
                  <a:gd name="connsiteY232" fmla="*/ 337773 h 338654"/>
                  <a:gd name="connsiteX233" fmla="*/ 38530 w 168313"/>
                  <a:gd name="connsiteY233" fmla="*/ 338655 h 338654"/>
                  <a:gd name="connsiteX234" fmla="*/ 35003 w 168313"/>
                  <a:gd name="connsiteY234" fmla="*/ 337773 h 338654"/>
                  <a:gd name="connsiteX235" fmla="*/ 31741 w 168313"/>
                  <a:gd name="connsiteY235" fmla="*/ 335393 h 338654"/>
                  <a:gd name="connsiteX236" fmla="*/ 28566 w 168313"/>
                  <a:gd name="connsiteY236" fmla="*/ 333100 h 338654"/>
                  <a:gd name="connsiteX237" fmla="*/ 24775 w 168313"/>
                  <a:gd name="connsiteY237" fmla="*/ 332219 h 338654"/>
                  <a:gd name="connsiteX238" fmla="*/ 20984 w 168313"/>
                  <a:gd name="connsiteY238" fmla="*/ 331337 h 338654"/>
                  <a:gd name="connsiteX239" fmla="*/ 19221 w 168313"/>
                  <a:gd name="connsiteY239" fmla="*/ 329926 h 338654"/>
                  <a:gd name="connsiteX240" fmla="*/ 17810 w 168313"/>
                  <a:gd name="connsiteY240" fmla="*/ 327545 h 338654"/>
                  <a:gd name="connsiteX241" fmla="*/ 15165 w 168313"/>
                  <a:gd name="connsiteY241" fmla="*/ 325518 h 338654"/>
                  <a:gd name="connsiteX242" fmla="*/ 12520 w 168313"/>
                  <a:gd name="connsiteY242" fmla="*/ 322608 h 338654"/>
                  <a:gd name="connsiteX243" fmla="*/ 11374 w 168313"/>
                  <a:gd name="connsiteY243" fmla="*/ 319081 h 338654"/>
                  <a:gd name="connsiteX244" fmla="*/ 10492 w 168313"/>
                  <a:gd name="connsiteY244" fmla="*/ 315026 h 338654"/>
                  <a:gd name="connsiteX245" fmla="*/ 9081 w 168313"/>
                  <a:gd name="connsiteY245" fmla="*/ 311499 h 338654"/>
                  <a:gd name="connsiteX246" fmla="*/ 6701 w 168313"/>
                  <a:gd name="connsiteY246" fmla="*/ 308325 h 338654"/>
                  <a:gd name="connsiteX247" fmla="*/ 4937 w 168313"/>
                  <a:gd name="connsiteY247" fmla="*/ 304798 h 338654"/>
                  <a:gd name="connsiteX248" fmla="*/ 4673 w 168313"/>
                  <a:gd name="connsiteY248" fmla="*/ 300742 h 338654"/>
                  <a:gd name="connsiteX249" fmla="*/ 5202 w 168313"/>
                  <a:gd name="connsiteY249" fmla="*/ 296599 h 338654"/>
                  <a:gd name="connsiteX250" fmla="*/ 6084 w 168313"/>
                  <a:gd name="connsiteY250" fmla="*/ 292543 h 338654"/>
                  <a:gd name="connsiteX251" fmla="*/ 7582 w 168313"/>
                  <a:gd name="connsiteY251" fmla="*/ 289369 h 338654"/>
                  <a:gd name="connsiteX252" fmla="*/ 8464 w 168313"/>
                  <a:gd name="connsiteY252" fmla="*/ 286107 h 338654"/>
                  <a:gd name="connsiteX253" fmla="*/ 7230 w 168313"/>
                  <a:gd name="connsiteY253" fmla="*/ 283197 h 338654"/>
                  <a:gd name="connsiteX254" fmla="*/ 6084 w 168313"/>
                  <a:gd name="connsiteY254" fmla="*/ 280287 h 338654"/>
                  <a:gd name="connsiteX255" fmla="*/ 5555 w 168313"/>
                  <a:gd name="connsiteY255" fmla="*/ 276849 h 338654"/>
                  <a:gd name="connsiteX256" fmla="*/ 3527 w 168313"/>
                  <a:gd name="connsiteY256" fmla="*/ 273322 h 338654"/>
                  <a:gd name="connsiteX257" fmla="*/ 1763 w 168313"/>
                  <a:gd name="connsiteY257" fmla="*/ 269795 h 338654"/>
                  <a:gd name="connsiteX258" fmla="*/ 617 w 168313"/>
                  <a:gd name="connsiteY258" fmla="*/ 265740 h 338654"/>
                  <a:gd name="connsiteX259" fmla="*/ 0 w 168313"/>
                  <a:gd name="connsiteY259" fmla="*/ 261684 h 338654"/>
                  <a:gd name="connsiteX260" fmla="*/ 0 w 168313"/>
                  <a:gd name="connsiteY260" fmla="*/ 257805 h 338654"/>
                  <a:gd name="connsiteX261" fmla="*/ 0 w 168313"/>
                  <a:gd name="connsiteY261" fmla="*/ 254013 h 338654"/>
                  <a:gd name="connsiteX262" fmla="*/ 264 w 168313"/>
                  <a:gd name="connsiteY262" fmla="*/ 250310 h 338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168313" h="338654">
                    <a:moveTo>
                      <a:pt x="1763" y="246166"/>
                    </a:moveTo>
                    <a:lnTo>
                      <a:pt x="3791" y="243874"/>
                    </a:lnTo>
                    <a:lnTo>
                      <a:pt x="5202" y="240700"/>
                    </a:lnTo>
                    <a:lnTo>
                      <a:pt x="6084" y="237085"/>
                    </a:lnTo>
                    <a:lnTo>
                      <a:pt x="7230" y="233646"/>
                    </a:lnTo>
                    <a:lnTo>
                      <a:pt x="10228" y="231619"/>
                    </a:lnTo>
                    <a:lnTo>
                      <a:pt x="13137" y="229591"/>
                    </a:lnTo>
                    <a:lnTo>
                      <a:pt x="14900" y="226064"/>
                    </a:lnTo>
                    <a:lnTo>
                      <a:pt x="16047" y="222273"/>
                    </a:lnTo>
                    <a:lnTo>
                      <a:pt x="18339" y="219098"/>
                    </a:lnTo>
                    <a:lnTo>
                      <a:pt x="20720" y="215836"/>
                    </a:lnTo>
                    <a:lnTo>
                      <a:pt x="22483" y="212662"/>
                    </a:lnTo>
                    <a:lnTo>
                      <a:pt x="24158" y="209400"/>
                    </a:lnTo>
                    <a:lnTo>
                      <a:pt x="26010" y="206226"/>
                    </a:lnTo>
                    <a:lnTo>
                      <a:pt x="28302" y="202435"/>
                    </a:lnTo>
                    <a:lnTo>
                      <a:pt x="30065" y="199261"/>
                    </a:lnTo>
                    <a:lnTo>
                      <a:pt x="30065" y="195734"/>
                    </a:lnTo>
                    <a:lnTo>
                      <a:pt x="29713" y="191943"/>
                    </a:lnTo>
                    <a:lnTo>
                      <a:pt x="30594" y="188416"/>
                    </a:lnTo>
                    <a:lnTo>
                      <a:pt x="30947" y="184625"/>
                    </a:lnTo>
                    <a:lnTo>
                      <a:pt x="29713" y="181186"/>
                    </a:lnTo>
                    <a:lnTo>
                      <a:pt x="27949" y="177395"/>
                    </a:lnTo>
                    <a:lnTo>
                      <a:pt x="27068" y="173604"/>
                    </a:lnTo>
                    <a:lnTo>
                      <a:pt x="27068" y="169460"/>
                    </a:lnTo>
                    <a:lnTo>
                      <a:pt x="26803" y="165404"/>
                    </a:lnTo>
                    <a:lnTo>
                      <a:pt x="25393" y="161613"/>
                    </a:lnTo>
                    <a:lnTo>
                      <a:pt x="23894" y="157821"/>
                    </a:lnTo>
                    <a:lnTo>
                      <a:pt x="23276" y="153766"/>
                    </a:lnTo>
                    <a:lnTo>
                      <a:pt x="23629" y="149622"/>
                    </a:lnTo>
                    <a:lnTo>
                      <a:pt x="23894" y="145831"/>
                    </a:lnTo>
                    <a:lnTo>
                      <a:pt x="23629" y="141775"/>
                    </a:lnTo>
                    <a:lnTo>
                      <a:pt x="22483" y="137983"/>
                    </a:lnTo>
                    <a:lnTo>
                      <a:pt x="22483" y="133928"/>
                    </a:lnTo>
                    <a:lnTo>
                      <a:pt x="23629" y="130401"/>
                    </a:lnTo>
                    <a:lnTo>
                      <a:pt x="26538" y="127756"/>
                    </a:lnTo>
                    <a:lnTo>
                      <a:pt x="30330" y="126345"/>
                    </a:lnTo>
                    <a:lnTo>
                      <a:pt x="33239" y="123965"/>
                    </a:lnTo>
                    <a:lnTo>
                      <a:pt x="35003" y="120438"/>
                    </a:lnTo>
                    <a:lnTo>
                      <a:pt x="34738" y="116647"/>
                    </a:lnTo>
                    <a:lnTo>
                      <a:pt x="34738" y="113737"/>
                    </a:lnTo>
                    <a:lnTo>
                      <a:pt x="35003" y="111180"/>
                    </a:lnTo>
                    <a:lnTo>
                      <a:pt x="35003" y="107654"/>
                    </a:lnTo>
                    <a:lnTo>
                      <a:pt x="36414" y="105009"/>
                    </a:lnTo>
                    <a:lnTo>
                      <a:pt x="39940" y="104391"/>
                    </a:lnTo>
                    <a:lnTo>
                      <a:pt x="43996" y="104744"/>
                    </a:lnTo>
                    <a:lnTo>
                      <a:pt x="47258" y="103245"/>
                    </a:lnTo>
                    <a:lnTo>
                      <a:pt x="50432" y="100336"/>
                    </a:lnTo>
                    <a:lnTo>
                      <a:pt x="52813" y="99454"/>
                    </a:lnTo>
                    <a:lnTo>
                      <a:pt x="54841" y="100071"/>
                    </a:lnTo>
                    <a:lnTo>
                      <a:pt x="57133" y="100071"/>
                    </a:lnTo>
                    <a:lnTo>
                      <a:pt x="59514" y="99189"/>
                    </a:lnTo>
                    <a:lnTo>
                      <a:pt x="60924" y="98043"/>
                    </a:lnTo>
                    <a:lnTo>
                      <a:pt x="62423" y="95927"/>
                    </a:lnTo>
                    <a:lnTo>
                      <a:pt x="65333" y="94517"/>
                    </a:lnTo>
                    <a:lnTo>
                      <a:pt x="68507" y="95134"/>
                    </a:lnTo>
                    <a:lnTo>
                      <a:pt x="70535" y="95134"/>
                    </a:lnTo>
                    <a:lnTo>
                      <a:pt x="72033" y="93988"/>
                    </a:lnTo>
                    <a:lnTo>
                      <a:pt x="73797" y="93988"/>
                    </a:lnTo>
                    <a:lnTo>
                      <a:pt x="76442" y="95927"/>
                    </a:lnTo>
                    <a:lnTo>
                      <a:pt x="78117" y="97426"/>
                    </a:lnTo>
                    <a:lnTo>
                      <a:pt x="78470" y="95927"/>
                    </a:lnTo>
                    <a:lnTo>
                      <a:pt x="77588" y="92489"/>
                    </a:lnTo>
                    <a:lnTo>
                      <a:pt x="78470" y="89315"/>
                    </a:lnTo>
                    <a:lnTo>
                      <a:pt x="80762" y="87816"/>
                    </a:lnTo>
                    <a:lnTo>
                      <a:pt x="83143" y="86317"/>
                    </a:lnTo>
                    <a:lnTo>
                      <a:pt x="85699" y="83407"/>
                    </a:lnTo>
                    <a:lnTo>
                      <a:pt x="88609" y="81115"/>
                    </a:lnTo>
                    <a:lnTo>
                      <a:pt x="91342" y="81380"/>
                    </a:lnTo>
                    <a:lnTo>
                      <a:pt x="92136" y="84289"/>
                    </a:lnTo>
                    <a:lnTo>
                      <a:pt x="92753" y="86670"/>
                    </a:lnTo>
                    <a:lnTo>
                      <a:pt x="94781" y="86052"/>
                    </a:lnTo>
                    <a:lnTo>
                      <a:pt x="95662" y="83143"/>
                    </a:lnTo>
                    <a:lnTo>
                      <a:pt x="95398" y="80233"/>
                    </a:lnTo>
                    <a:lnTo>
                      <a:pt x="95927" y="77059"/>
                    </a:lnTo>
                    <a:lnTo>
                      <a:pt x="98572" y="73797"/>
                    </a:lnTo>
                    <a:lnTo>
                      <a:pt x="99718" y="71505"/>
                    </a:lnTo>
                    <a:lnTo>
                      <a:pt x="100336" y="69124"/>
                    </a:lnTo>
                    <a:lnTo>
                      <a:pt x="102099" y="67714"/>
                    </a:lnTo>
                    <a:lnTo>
                      <a:pt x="103510" y="69124"/>
                    </a:lnTo>
                    <a:lnTo>
                      <a:pt x="102981" y="72915"/>
                    </a:lnTo>
                    <a:lnTo>
                      <a:pt x="102628" y="75560"/>
                    </a:lnTo>
                    <a:lnTo>
                      <a:pt x="104391" y="74943"/>
                    </a:lnTo>
                    <a:lnTo>
                      <a:pt x="106419" y="71505"/>
                    </a:lnTo>
                    <a:lnTo>
                      <a:pt x="108183" y="67978"/>
                    </a:lnTo>
                    <a:lnTo>
                      <a:pt x="110563" y="66215"/>
                    </a:lnTo>
                    <a:lnTo>
                      <a:pt x="113120" y="66832"/>
                    </a:lnTo>
                    <a:lnTo>
                      <a:pt x="114619" y="67096"/>
                    </a:lnTo>
                    <a:lnTo>
                      <a:pt x="114619" y="65686"/>
                    </a:lnTo>
                    <a:lnTo>
                      <a:pt x="112591" y="64187"/>
                    </a:lnTo>
                    <a:lnTo>
                      <a:pt x="109946" y="62688"/>
                    </a:lnTo>
                    <a:lnTo>
                      <a:pt x="109417" y="60131"/>
                    </a:lnTo>
                    <a:lnTo>
                      <a:pt x="111092" y="56604"/>
                    </a:lnTo>
                    <a:lnTo>
                      <a:pt x="113473" y="53959"/>
                    </a:lnTo>
                    <a:lnTo>
                      <a:pt x="114883" y="53959"/>
                    </a:lnTo>
                    <a:lnTo>
                      <a:pt x="116382" y="54841"/>
                    </a:lnTo>
                    <a:lnTo>
                      <a:pt x="116911" y="53695"/>
                    </a:lnTo>
                    <a:lnTo>
                      <a:pt x="116382" y="50521"/>
                    </a:lnTo>
                    <a:lnTo>
                      <a:pt x="114883" y="47611"/>
                    </a:lnTo>
                    <a:lnTo>
                      <a:pt x="114002" y="44349"/>
                    </a:lnTo>
                    <a:lnTo>
                      <a:pt x="114883" y="40822"/>
                    </a:lnTo>
                    <a:lnTo>
                      <a:pt x="117529" y="39676"/>
                    </a:lnTo>
                    <a:lnTo>
                      <a:pt x="119909" y="41175"/>
                    </a:lnTo>
                    <a:lnTo>
                      <a:pt x="121584" y="43202"/>
                    </a:lnTo>
                    <a:lnTo>
                      <a:pt x="123083" y="42321"/>
                    </a:lnTo>
                    <a:lnTo>
                      <a:pt x="125111" y="39676"/>
                    </a:lnTo>
                    <a:lnTo>
                      <a:pt x="127139" y="37031"/>
                    </a:lnTo>
                    <a:lnTo>
                      <a:pt x="130048" y="35885"/>
                    </a:lnTo>
                    <a:lnTo>
                      <a:pt x="132693" y="34121"/>
                    </a:lnTo>
                    <a:lnTo>
                      <a:pt x="134721" y="31564"/>
                    </a:lnTo>
                    <a:lnTo>
                      <a:pt x="135338" y="27773"/>
                    </a:lnTo>
                    <a:lnTo>
                      <a:pt x="136484" y="24246"/>
                    </a:lnTo>
                    <a:lnTo>
                      <a:pt x="137631" y="20720"/>
                    </a:lnTo>
                    <a:lnTo>
                      <a:pt x="137631" y="16928"/>
                    </a:lnTo>
                    <a:lnTo>
                      <a:pt x="136220" y="13402"/>
                    </a:lnTo>
                    <a:lnTo>
                      <a:pt x="136220" y="11109"/>
                    </a:lnTo>
                    <a:lnTo>
                      <a:pt x="137631" y="10228"/>
                    </a:lnTo>
                    <a:lnTo>
                      <a:pt x="139747" y="9081"/>
                    </a:lnTo>
                    <a:lnTo>
                      <a:pt x="142039" y="6436"/>
                    </a:lnTo>
                    <a:lnTo>
                      <a:pt x="143538" y="3791"/>
                    </a:lnTo>
                    <a:lnTo>
                      <a:pt x="144684" y="882"/>
                    </a:lnTo>
                    <a:lnTo>
                      <a:pt x="146448" y="0"/>
                    </a:lnTo>
                    <a:lnTo>
                      <a:pt x="148475" y="1499"/>
                    </a:lnTo>
                    <a:lnTo>
                      <a:pt x="148475" y="3527"/>
                    </a:lnTo>
                    <a:lnTo>
                      <a:pt x="147330" y="5290"/>
                    </a:lnTo>
                    <a:lnTo>
                      <a:pt x="147330" y="6436"/>
                    </a:lnTo>
                    <a:lnTo>
                      <a:pt x="149357" y="7847"/>
                    </a:lnTo>
                    <a:lnTo>
                      <a:pt x="151385" y="10228"/>
                    </a:lnTo>
                    <a:lnTo>
                      <a:pt x="152267" y="11991"/>
                    </a:lnTo>
                    <a:lnTo>
                      <a:pt x="152267" y="14019"/>
                    </a:lnTo>
                    <a:lnTo>
                      <a:pt x="153413" y="17281"/>
                    </a:lnTo>
                    <a:lnTo>
                      <a:pt x="155441" y="19573"/>
                    </a:lnTo>
                    <a:lnTo>
                      <a:pt x="157204" y="21866"/>
                    </a:lnTo>
                    <a:lnTo>
                      <a:pt x="158967" y="25128"/>
                    </a:lnTo>
                    <a:lnTo>
                      <a:pt x="159849" y="28655"/>
                    </a:lnTo>
                    <a:lnTo>
                      <a:pt x="160378" y="32093"/>
                    </a:lnTo>
                    <a:lnTo>
                      <a:pt x="160996" y="35620"/>
                    </a:lnTo>
                    <a:lnTo>
                      <a:pt x="161260" y="39411"/>
                    </a:lnTo>
                    <a:lnTo>
                      <a:pt x="162406" y="43467"/>
                    </a:lnTo>
                    <a:lnTo>
                      <a:pt x="163376" y="47258"/>
                    </a:lnTo>
                    <a:lnTo>
                      <a:pt x="163376" y="51314"/>
                    </a:lnTo>
                    <a:lnTo>
                      <a:pt x="163640" y="55105"/>
                    </a:lnTo>
                    <a:lnTo>
                      <a:pt x="163905" y="59249"/>
                    </a:lnTo>
                    <a:lnTo>
                      <a:pt x="163640" y="63305"/>
                    </a:lnTo>
                    <a:lnTo>
                      <a:pt x="163640" y="67361"/>
                    </a:lnTo>
                    <a:lnTo>
                      <a:pt x="164169" y="71505"/>
                    </a:lnTo>
                    <a:lnTo>
                      <a:pt x="165933" y="74943"/>
                    </a:lnTo>
                    <a:lnTo>
                      <a:pt x="167696" y="78735"/>
                    </a:lnTo>
                    <a:lnTo>
                      <a:pt x="168313" y="82878"/>
                    </a:lnTo>
                    <a:lnTo>
                      <a:pt x="167696" y="86670"/>
                    </a:lnTo>
                    <a:lnTo>
                      <a:pt x="166285" y="90461"/>
                    </a:lnTo>
                    <a:lnTo>
                      <a:pt x="164522" y="94252"/>
                    </a:lnTo>
                    <a:lnTo>
                      <a:pt x="162142" y="97162"/>
                    </a:lnTo>
                    <a:lnTo>
                      <a:pt x="159232" y="97162"/>
                    </a:lnTo>
                    <a:lnTo>
                      <a:pt x="157469" y="94517"/>
                    </a:lnTo>
                    <a:lnTo>
                      <a:pt x="156322" y="90725"/>
                    </a:lnTo>
                    <a:lnTo>
                      <a:pt x="154824" y="87551"/>
                    </a:lnTo>
                    <a:lnTo>
                      <a:pt x="152796" y="86052"/>
                    </a:lnTo>
                    <a:lnTo>
                      <a:pt x="150768" y="88080"/>
                    </a:lnTo>
                    <a:lnTo>
                      <a:pt x="150503" y="91607"/>
                    </a:lnTo>
                    <a:lnTo>
                      <a:pt x="150768" y="95663"/>
                    </a:lnTo>
                    <a:lnTo>
                      <a:pt x="150768" y="99454"/>
                    </a:lnTo>
                    <a:lnTo>
                      <a:pt x="151650" y="102981"/>
                    </a:lnTo>
                    <a:lnTo>
                      <a:pt x="152796" y="106508"/>
                    </a:lnTo>
                    <a:lnTo>
                      <a:pt x="152796" y="110563"/>
                    </a:lnTo>
                    <a:lnTo>
                      <a:pt x="151650" y="114090"/>
                    </a:lnTo>
                    <a:lnTo>
                      <a:pt x="151121" y="117529"/>
                    </a:lnTo>
                    <a:lnTo>
                      <a:pt x="150150" y="120174"/>
                    </a:lnTo>
                    <a:lnTo>
                      <a:pt x="147859" y="122202"/>
                    </a:lnTo>
                    <a:lnTo>
                      <a:pt x="144684" y="124846"/>
                    </a:lnTo>
                    <a:lnTo>
                      <a:pt x="142304" y="128373"/>
                    </a:lnTo>
                    <a:lnTo>
                      <a:pt x="141775" y="131900"/>
                    </a:lnTo>
                    <a:lnTo>
                      <a:pt x="142304" y="135691"/>
                    </a:lnTo>
                    <a:lnTo>
                      <a:pt x="143538" y="139747"/>
                    </a:lnTo>
                    <a:lnTo>
                      <a:pt x="143185" y="143538"/>
                    </a:lnTo>
                    <a:lnTo>
                      <a:pt x="142039" y="147330"/>
                    </a:lnTo>
                    <a:lnTo>
                      <a:pt x="140893" y="151121"/>
                    </a:lnTo>
                    <a:lnTo>
                      <a:pt x="140011" y="154912"/>
                    </a:lnTo>
                    <a:lnTo>
                      <a:pt x="139129" y="158703"/>
                    </a:lnTo>
                    <a:lnTo>
                      <a:pt x="137983" y="162759"/>
                    </a:lnTo>
                    <a:lnTo>
                      <a:pt x="136749" y="166550"/>
                    </a:lnTo>
                    <a:lnTo>
                      <a:pt x="134721" y="170341"/>
                    </a:lnTo>
                    <a:lnTo>
                      <a:pt x="133046" y="173868"/>
                    </a:lnTo>
                    <a:lnTo>
                      <a:pt x="130930" y="177659"/>
                    </a:lnTo>
                    <a:lnTo>
                      <a:pt x="129255" y="181451"/>
                    </a:lnTo>
                    <a:lnTo>
                      <a:pt x="127756" y="185242"/>
                    </a:lnTo>
                    <a:lnTo>
                      <a:pt x="126610" y="189033"/>
                    </a:lnTo>
                    <a:lnTo>
                      <a:pt x="125728" y="193441"/>
                    </a:lnTo>
                    <a:lnTo>
                      <a:pt x="124582" y="196616"/>
                    </a:lnTo>
                    <a:lnTo>
                      <a:pt x="123700" y="199525"/>
                    </a:lnTo>
                    <a:lnTo>
                      <a:pt x="123700" y="202699"/>
                    </a:lnTo>
                    <a:lnTo>
                      <a:pt x="123700" y="206843"/>
                    </a:lnTo>
                    <a:lnTo>
                      <a:pt x="121937" y="210282"/>
                    </a:lnTo>
                    <a:lnTo>
                      <a:pt x="119292" y="213808"/>
                    </a:lnTo>
                    <a:lnTo>
                      <a:pt x="116647" y="216718"/>
                    </a:lnTo>
                    <a:lnTo>
                      <a:pt x="114002" y="219627"/>
                    </a:lnTo>
                    <a:lnTo>
                      <a:pt x="112855" y="222890"/>
                    </a:lnTo>
                    <a:lnTo>
                      <a:pt x="112591" y="225799"/>
                    </a:lnTo>
                    <a:lnTo>
                      <a:pt x="111445" y="228973"/>
                    </a:lnTo>
                    <a:lnTo>
                      <a:pt x="109417" y="232500"/>
                    </a:lnTo>
                    <a:lnTo>
                      <a:pt x="108535" y="236556"/>
                    </a:lnTo>
                    <a:lnTo>
                      <a:pt x="107918" y="240700"/>
                    </a:lnTo>
                    <a:lnTo>
                      <a:pt x="107037" y="244756"/>
                    </a:lnTo>
                    <a:lnTo>
                      <a:pt x="105537" y="248547"/>
                    </a:lnTo>
                    <a:lnTo>
                      <a:pt x="103862" y="252338"/>
                    </a:lnTo>
                    <a:lnTo>
                      <a:pt x="102099" y="256129"/>
                    </a:lnTo>
                    <a:lnTo>
                      <a:pt x="100600" y="259920"/>
                    </a:lnTo>
                    <a:lnTo>
                      <a:pt x="99454" y="263712"/>
                    </a:lnTo>
                    <a:lnTo>
                      <a:pt x="98572" y="267767"/>
                    </a:lnTo>
                    <a:lnTo>
                      <a:pt x="97955" y="271823"/>
                    </a:lnTo>
                    <a:lnTo>
                      <a:pt x="96809" y="275967"/>
                    </a:lnTo>
                    <a:lnTo>
                      <a:pt x="95662" y="279758"/>
                    </a:lnTo>
                    <a:lnTo>
                      <a:pt x="94164" y="283550"/>
                    </a:lnTo>
                    <a:lnTo>
                      <a:pt x="92753" y="287253"/>
                    </a:lnTo>
                    <a:lnTo>
                      <a:pt x="91342" y="291397"/>
                    </a:lnTo>
                    <a:lnTo>
                      <a:pt x="90461" y="295188"/>
                    </a:lnTo>
                    <a:lnTo>
                      <a:pt x="89579" y="298979"/>
                    </a:lnTo>
                    <a:lnTo>
                      <a:pt x="88080" y="302506"/>
                    </a:lnTo>
                    <a:lnTo>
                      <a:pt x="86317" y="305415"/>
                    </a:lnTo>
                    <a:lnTo>
                      <a:pt x="84024" y="308060"/>
                    </a:lnTo>
                    <a:lnTo>
                      <a:pt x="82261" y="311235"/>
                    </a:lnTo>
                    <a:lnTo>
                      <a:pt x="80762" y="315026"/>
                    </a:lnTo>
                    <a:lnTo>
                      <a:pt x="78999" y="318552"/>
                    </a:lnTo>
                    <a:lnTo>
                      <a:pt x="77324" y="321991"/>
                    </a:lnTo>
                    <a:lnTo>
                      <a:pt x="75207" y="324372"/>
                    </a:lnTo>
                    <a:lnTo>
                      <a:pt x="72033" y="326400"/>
                    </a:lnTo>
                    <a:lnTo>
                      <a:pt x="68507" y="327545"/>
                    </a:lnTo>
                    <a:lnTo>
                      <a:pt x="64716" y="328163"/>
                    </a:lnTo>
                    <a:lnTo>
                      <a:pt x="60660" y="328427"/>
                    </a:lnTo>
                    <a:lnTo>
                      <a:pt x="57133" y="329926"/>
                    </a:lnTo>
                    <a:lnTo>
                      <a:pt x="53342" y="331954"/>
                    </a:lnTo>
                    <a:lnTo>
                      <a:pt x="49903" y="333982"/>
                    </a:lnTo>
                    <a:lnTo>
                      <a:pt x="46376" y="336010"/>
                    </a:lnTo>
                    <a:lnTo>
                      <a:pt x="42585" y="337773"/>
                    </a:lnTo>
                    <a:lnTo>
                      <a:pt x="38530" y="338655"/>
                    </a:lnTo>
                    <a:lnTo>
                      <a:pt x="35003" y="337773"/>
                    </a:lnTo>
                    <a:lnTo>
                      <a:pt x="31741" y="335393"/>
                    </a:lnTo>
                    <a:lnTo>
                      <a:pt x="28566" y="333100"/>
                    </a:lnTo>
                    <a:lnTo>
                      <a:pt x="24775" y="332219"/>
                    </a:lnTo>
                    <a:lnTo>
                      <a:pt x="20984" y="331337"/>
                    </a:lnTo>
                    <a:lnTo>
                      <a:pt x="19221" y="329926"/>
                    </a:lnTo>
                    <a:lnTo>
                      <a:pt x="17810" y="327545"/>
                    </a:lnTo>
                    <a:lnTo>
                      <a:pt x="15165" y="325518"/>
                    </a:lnTo>
                    <a:lnTo>
                      <a:pt x="12520" y="322608"/>
                    </a:lnTo>
                    <a:lnTo>
                      <a:pt x="11374" y="319081"/>
                    </a:lnTo>
                    <a:lnTo>
                      <a:pt x="10492" y="315026"/>
                    </a:lnTo>
                    <a:lnTo>
                      <a:pt x="9081" y="311499"/>
                    </a:lnTo>
                    <a:lnTo>
                      <a:pt x="6701" y="308325"/>
                    </a:lnTo>
                    <a:lnTo>
                      <a:pt x="4937" y="304798"/>
                    </a:lnTo>
                    <a:lnTo>
                      <a:pt x="4673" y="300742"/>
                    </a:lnTo>
                    <a:lnTo>
                      <a:pt x="5202" y="296599"/>
                    </a:lnTo>
                    <a:lnTo>
                      <a:pt x="6084" y="292543"/>
                    </a:lnTo>
                    <a:lnTo>
                      <a:pt x="7582" y="289369"/>
                    </a:lnTo>
                    <a:lnTo>
                      <a:pt x="8464" y="286107"/>
                    </a:lnTo>
                    <a:lnTo>
                      <a:pt x="7230" y="283197"/>
                    </a:lnTo>
                    <a:lnTo>
                      <a:pt x="6084" y="280287"/>
                    </a:lnTo>
                    <a:lnTo>
                      <a:pt x="5555" y="276849"/>
                    </a:lnTo>
                    <a:lnTo>
                      <a:pt x="3527" y="273322"/>
                    </a:lnTo>
                    <a:lnTo>
                      <a:pt x="1763" y="269795"/>
                    </a:lnTo>
                    <a:lnTo>
                      <a:pt x="617" y="265740"/>
                    </a:lnTo>
                    <a:lnTo>
                      <a:pt x="0" y="261684"/>
                    </a:lnTo>
                    <a:lnTo>
                      <a:pt x="0" y="257805"/>
                    </a:lnTo>
                    <a:lnTo>
                      <a:pt x="0" y="254013"/>
                    </a:lnTo>
                    <a:lnTo>
                      <a:pt x="264" y="2503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2" name="Freihandform: Form 1801">
                <a:extLst>
                  <a:ext uri="{FF2B5EF4-FFF2-40B4-BE49-F238E27FC236}">
                    <a16:creationId xmlns:a16="http://schemas.microsoft.com/office/drawing/2014/main" id="{57F1B0DB-382A-4EF4-03F9-2728514A5A8F}"/>
                  </a:ext>
                </a:extLst>
              </p:cNvPr>
              <p:cNvSpPr/>
              <p:nvPr/>
            </p:nvSpPr>
            <p:spPr>
              <a:xfrm>
                <a:off x="3816357" y="3936496"/>
                <a:ext cx="90460" cy="106419"/>
              </a:xfrm>
              <a:custGeom>
                <a:avLst/>
                <a:gdLst>
                  <a:gd name="connsiteX0" fmla="*/ 86405 w 90460"/>
                  <a:gd name="connsiteY0" fmla="*/ 106419 h 106419"/>
                  <a:gd name="connsiteX1" fmla="*/ 85788 w 90460"/>
                  <a:gd name="connsiteY1" fmla="*/ 105626 h 106419"/>
                  <a:gd name="connsiteX2" fmla="*/ 84642 w 90460"/>
                  <a:gd name="connsiteY2" fmla="*/ 106155 h 106419"/>
                  <a:gd name="connsiteX3" fmla="*/ 82878 w 90460"/>
                  <a:gd name="connsiteY3" fmla="*/ 105626 h 106419"/>
                  <a:gd name="connsiteX4" fmla="*/ 80851 w 90460"/>
                  <a:gd name="connsiteY4" fmla="*/ 103862 h 106419"/>
                  <a:gd name="connsiteX5" fmla="*/ 80851 w 90460"/>
                  <a:gd name="connsiteY5" fmla="*/ 102364 h 106419"/>
                  <a:gd name="connsiteX6" fmla="*/ 77324 w 90460"/>
                  <a:gd name="connsiteY6" fmla="*/ 100953 h 106419"/>
                  <a:gd name="connsiteX7" fmla="*/ 71504 w 90460"/>
                  <a:gd name="connsiteY7" fmla="*/ 99718 h 106419"/>
                  <a:gd name="connsiteX8" fmla="*/ 64187 w 90460"/>
                  <a:gd name="connsiteY8" fmla="*/ 95663 h 106419"/>
                  <a:gd name="connsiteX9" fmla="*/ 58367 w 90460"/>
                  <a:gd name="connsiteY9" fmla="*/ 90990 h 106419"/>
                  <a:gd name="connsiteX10" fmla="*/ 56339 w 90460"/>
                  <a:gd name="connsiteY10" fmla="*/ 89491 h 106419"/>
                  <a:gd name="connsiteX11" fmla="*/ 54576 w 90460"/>
                  <a:gd name="connsiteY11" fmla="*/ 89491 h 106419"/>
                  <a:gd name="connsiteX12" fmla="*/ 52813 w 90460"/>
                  <a:gd name="connsiteY12" fmla="*/ 88080 h 106419"/>
                  <a:gd name="connsiteX13" fmla="*/ 51667 w 90460"/>
                  <a:gd name="connsiteY13" fmla="*/ 86581 h 106419"/>
                  <a:gd name="connsiteX14" fmla="*/ 32093 w 90460"/>
                  <a:gd name="connsiteY14" fmla="*/ 67978 h 106419"/>
                  <a:gd name="connsiteX15" fmla="*/ 31829 w 90460"/>
                  <a:gd name="connsiteY15" fmla="*/ 65597 h 106419"/>
                  <a:gd name="connsiteX16" fmla="*/ 30065 w 90460"/>
                  <a:gd name="connsiteY16" fmla="*/ 63834 h 106419"/>
                  <a:gd name="connsiteX17" fmla="*/ 27773 w 90460"/>
                  <a:gd name="connsiteY17" fmla="*/ 62688 h 106419"/>
                  <a:gd name="connsiteX18" fmla="*/ 26010 w 90460"/>
                  <a:gd name="connsiteY18" fmla="*/ 62159 h 106419"/>
                  <a:gd name="connsiteX19" fmla="*/ 25393 w 90460"/>
                  <a:gd name="connsiteY19" fmla="*/ 61542 h 106419"/>
                  <a:gd name="connsiteX20" fmla="*/ 26010 w 90460"/>
                  <a:gd name="connsiteY20" fmla="*/ 60924 h 106419"/>
                  <a:gd name="connsiteX21" fmla="*/ 24775 w 90460"/>
                  <a:gd name="connsiteY21" fmla="*/ 59514 h 106419"/>
                  <a:gd name="connsiteX22" fmla="*/ 23894 w 90460"/>
                  <a:gd name="connsiteY22" fmla="*/ 59161 h 106419"/>
                  <a:gd name="connsiteX23" fmla="*/ 24511 w 90460"/>
                  <a:gd name="connsiteY23" fmla="*/ 60924 h 106419"/>
                  <a:gd name="connsiteX24" fmla="*/ 23629 w 90460"/>
                  <a:gd name="connsiteY24" fmla="*/ 60924 h 106419"/>
                  <a:gd name="connsiteX25" fmla="*/ 16399 w 90460"/>
                  <a:gd name="connsiteY25" fmla="*/ 57133 h 106419"/>
                  <a:gd name="connsiteX26" fmla="*/ 14636 w 90460"/>
                  <a:gd name="connsiteY26" fmla="*/ 55987 h 106419"/>
                  <a:gd name="connsiteX27" fmla="*/ 16399 w 90460"/>
                  <a:gd name="connsiteY27" fmla="*/ 56340 h 106419"/>
                  <a:gd name="connsiteX28" fmla="*/ 15165 w 90460"/>
                  <a:gd name="connsiteY28" fmla="*/ 54576 h 106419"/>
                  <a:gd name="connsiteX29" fmla="*/ 16664 w 90460"/>
                  <a:gd name="connsiteY29" fmla="*/ 53959 h 106419"/>
                  <a:gd name="connsiteX30" fmla="*/ 14283 w 90460"/>
                  <a:gd name="connsiteY30" fmla="*/ 53959 h 106419"/>
                  <a:gd name="connsiteX31" fmla="*/ 13401 w 90460"/>
                  <a:gd name="connsiteY31" fmla="*/ 51314 h 106419"/>
                  <a:gd name="connsiteX32" fmla="*/ 9610 w 90460"/>
                  <a:gd name="connsiteY32" fmla="*/ 49022 h 106419"/>
                  <a:gd name="connsiteX33" fmla="*/ 5290 w 90460"/>
                  <a:gd name="connsiteY33" fmla="*/ 48404 h 106419"/>
                  <a:gd name="connsiteX34" fmla="*/ 2909 w 90460"/>
                  <a:gd name="connsiteY34" fmla="*/ 46641 h 106419"/>
                  <a:gd name="connsiteX35" fmla="*/ 3527 w 90460"/>
                  <a:gd name="connsiteY35" fmla="*/ 44613 h 106419"/>
                  <a:gd name="connsiteX36" fmla="*/ 2645 w 90460"/>
                  <a:gd name="connsiteY36" fmla="*/ 43467 h 106419"/>
                  <a:gd name="connsiteX37" fmla="*/ 2380 w 90460"/>
                  <a:gd name="connsiteY37" fmla="*/ 42321 h 106419"/>
                  <a:gd name="connsiteX38" fmla="*/ 0 w 90460"/>
                  <a:gd name="connsiteY38" fmla="*/ 40558 h 106419"/>
                  <a:gd name="connsiteX39" fmla="*/ 617 w 90460"/>
                  <a:gd name="connsiteY39" fmla="*/ 40558 h 106419"/>
                  <a:gd name="connsiteX40" fmla="*/ 2028 w 90460"/>
                  <a:gd name="connsiteY40" fmla="*/ 40558 h 106419"/>
                  <a:gd name="connsiteX41" fmla="*/ 1499 w 90460"/>
                  <a:gd name="connsiteY41" fmla="*/ 39940 h 106419"/>
                  <a:gd name="connsiteX42" fmla="*/ 4673 w 90460"/>
                  <a:gd name="connsiteY42" fmla="*/ 33504 h 106419"/>
                  <a:gd name="connsiteX43" fmla="*/ 7053 w 90460"/>
                  <a:gd name="connsiteY43" fmla="*/ 32975 h 106419"/>
                  <a:gd name="connsiteX44" fmla="*/ 18074 w 90460"/>
                  <a:gd name="connsiteY44" fmla="*/ 20984 h 106419"/>
                  <a:gd name="connsiteX45" fmla="*/ 19838 w 90460"/>
                  <a:gd name="connsiteY45" fmla="*/ 19838 h 106419"/>
                  <a:gd name="connsiteX46" fmla="*/ 19838 w 90460"/>
                  <a:gd name="connsiteY46" fmla="*/ 13401 h 106419"/>
                  <a:gd name="connsiteX47" fmla="*/ 22218 w 90460"/>
                  <a:gd name="connsiteY47" fmla="*/ 10757 h 106419"/>
                  <a:gd name="connsiteX48" fmla="*/ 26891 w 90460"/>
                  <a:gd name="connsiteY48" fmla="*/ 9610 h 106419"/>
                  <a:gd name="connsiteX49" fmla="*/ 27773 w 90460"/>
                  <a:gd name="connsiteY49" fmla="*/ 3174 h 106419"/>
                  <a:gd name="connsiteX50" fmla="*/ 27773 w 90460"/>
                  <a:gd name="connsiteY50" fmla="*/ 1763 h 106419"/>
                  <a:gd name="connsiteX51" fmla="*/ 28919 w 90460"/>
                  <a:gd name="connsiteY51" fmla="*/ 1763 h 106419"/>
                  <a:gd name="connsiteX52" fmla="*/ 31564 w 90460"/>
                  <a:gd name="connsiteY52" fmla="*/ 1146 h 106419"/>
                  <a:gd name="connsiteX53" fmla="*/ 38265 w 90460"/>
                  <a:gd name="connsiteY53" fmla="*/ 1146 h 106419"/>
                  <a:gd name="connsiteX54" fmla="*/ 38530 w 90460"/>
                  <a:gd name="connsiteY54" fmla="*/ 0 h 106419"/>
                  <a:gd name="connsiteX55" fmla="*/ 39940 w 90460"/>
                  <a:gd name="connsiteY55" fmla="*/ 1763 h 106419"/>
                  <a:gd name="connsiteX56" fmla="*/ 40822 w 90460"/>
                  <a:gd name="connsiteY56" fmla="*/ 4673 h 106419"/>
                  <a:gd name="connsiteX57" fmla="*/ 45230 w 90460"/>
                  <a:gd name="connsiteY57" fmla="*/ 4937 h 106419"/>
                  <a:gd name="connsiteX58" fmla="*/ 44084 w 90460"/>
                  <a:gd name="connsiteY58" fmla="*/ 9610 h 106419"/>
                  <a:gd name="connsiteX59" fmla="*/ 45230 w 90460"/>
                  <a:gd name="connsiteY59" fmla="*/ 13401 h 106419"/>
                  <a:gd name="connsiteX60" fmla="*/ 45848 w 90460"/>
                  <a:gd name="connsiteY60" fmla="*/ 16664 h 106419"/>
                  <a:gd name="connsiteX61" fmla="*/ 46729 w 90460"/>
                  <a:gd name="connsiteY61" fmla="*/ 22748 h 106419"/>
                  <a:gd name="connsiteX62" fmla="*/ 44966 w 90460"/>
                  <a:gd name="connsiteY62" fmla="*/ 30065 h 106419"/>
                  <a:gd name="connsiteX63" fmla="*/ 48757 w 90460"/>
                  <a:gd name="connsiteY63" fmla="*/ 29713 h 106419"/>
                  <a:gd name="connsiteX64" fmla="*/ 52813 w 90460"/>
                  <a:gd name="connsiteY64" fmla="*/ 33504 h 106419"/>
                  <a:gd name="connsiteX65" fmla="*/ 56869 w 90460"/>
                  <a:gd name="connsiteY65" fmla="*/ 32975 h 106419"/>
                  <a:gd name="connsiteX66" fmla="*/ 58632 w 90460"/>
                  <a:gd name="connsiteY66" fmla="*/ 30594 h 106419"/>
                  <a:gd name="connsiteX67" fmla="*/ 61894 w 90460"/>
                  <a:gd name="connsiteY67" fmla="*/ 23365 h 106419"/>
                  <a:gd name="connsiteX68" fmla="*/ 65068 w 90460"/>
                  <a:gd name="connsiteY68" fmla="*/ 22218 h 106419"/>
                  <a:gd name="connsiteX69" fmla="*/ 65068 w 90460"/>
                  <a:gd name="connsiteY69" fmla="*/ 23629 h 106419"/>
                  <a:gd name="connsiteX70" fmla="*/ 66832 w 90460"/>
                  <a:gd name="connsiteY70" fmla="*/ 25128 h 106419"/>
                  <a:gd name="connsiteX71" fmla="*/ 67978 w 90460"/>
                  <a:gd name="connsiteY71" fmla="*/ 26539 h 106419"/>
                  <a:gd name="connsiteX72" fmla="*/ 69124 w 90460"/>
                  <a:gd name="connsiteY72" fmla="*/ 33239 h 106419"/>
                  <a:gd name="connsiteX73" fmla="*/ 71152 w 90460"/>
                  <a:gd name="connsiteY73" fmla="*/ 39059 h 106419"/>
                  <a:gd name="connsiteX74" fmla="*/ 63922 w 90460"/>
                  <a:gd name="connsiteY74" fmla="*/ 51314 h 106419"/>
                  <a:gd name="connsiteX75" fmla="*/ 67096 w 90460"/>
                  <a:gd name="connsiteY75" fmla="*/ 51931 h 106419"/>
                  <a:gd name="connsiteX76" fmla="*/ 67978 w 90460"/>
                  <a:gd name="connsiteY76" fmla="*/ 55105 h 106419"/>
                  <a:gd name="connsiteX77" fmla="*/ 73532 w 90460"/>
                  <a:gd name="connsiteY77" fmla="*/ 57133 h 106419"/>
                  <a:gd name="connsiteX78" fmla="*/ 79087 w 90460"/>
                  <a:gd name="connsiteY78" fmla="*/ 56604 h 106419"/>
                  <a:gd name="connsiteX79" fmla="*/ 80498 w 90460"/>
                  <a:gd name="connsiteY79" fmla="*/ 61806 h 106419"/>
                  <a:gd name="connsiteX80" fmla="*/ 82261 w 90460"/>
                  <a:gd name="connsiteY80" fmla="*/ 65333 h 106419"/>
                  <a:gd name="connsiteX81" fmla="*/ 84289 w 90460"/>
                  <a:gd name="connsiteY81" fmla="*/ 65333 h 106419"/>
                  <a:gd name="connsiteX82" fmla="*/ 88697 w 90460"/>
                  <a:gd name="connsiteY82" fmla="*/ 67096 h 106419"/>
                  <a:gd name="connsiteX83" fmla="*/ 89844 w 90460"/>
                  <a:gd name="connsiteY83" fmla="*/ 72651 h 106419"/>
                  <a:gd name="connsiteX84" fmla="*/ 89844 w 90460"/>
                  <a:gd name="connsiteY84" fmla="*/ 77853 h 106419"/>
                  <a:gd name="connsiteX85" fmla="*/ 90461 w 90460"/>
                  <a:gd name="connsiteY85" fmla="*/ 82526 h 106419"/>
                  <a:gd name="connsiteX86" fmla="*/ 88433 w 90460"/>
                  <a:gd name="connsiteY86" fmla="*/ 85435 h 106419"/>
                  <a:gd name="connsiteX87" fmla="*/ 87198 w 90460"/>
                  <a:gd name="connsiteY87" fmla="*/ 90990 h 106419"/>
                  <a:gd name="connsiteX88" fmla="*/ 86934 w 90460"/>
                  <a:gd name="connsiteY88" fmla="*/ 95398 h 106419"/>
                  <a:gd name="connsiteX89" fmla="*/ 87551 w 90460"/>
                  <a:gd name="connsiteY89" fmla="*/ 105890 h 10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90460" h="106419">
                    <a:moveTo>
                      <a:pt x="86405" y="106419"/>
                    </a:moveTo>
                    <a:lnTo>
                      <a:pt x="85788" y="105626"/>
                    </a:lnTo>
                    <a:lnTo>
                      <a:pt x="84642" y="106155"/>
                    </a:lnTo>
                    <a:lnTo>
                      <a:pt x="82878" y="105626"/>
                    </a:lnTo>
                    <a:lnTo>
                      <a:pt x="80851" y="103862"/>
                    </a:lnTo>
                    <a:lnTo>
                      <a:pt x="80851" y="102364"/>
                    </a:lnTo>
                    <a:lnTo>
                      <a:pt x="77324" y="100953"/>
                    </a:lnTo>
                    <a:lnTo>
                      <a:pt x="71504" y="99718"/>
                    </a:lnTo>
                    <a:lnTo>
                      <a:pt x="64187" y="95663"/>
                    </a:lnTo>
                    <a:lnTo>
                      <a:pt x="58367" y="90990"/>
                    </a:lnTo>
                    <a:lnTo>
                      <a:pt x="56339" y="89491"/>
                    </a:lnTo>
                    <a:lnTo>
                      <a:pt x="54576" y="89491"/>
                    </a:lnTo>
                    <a:lnTo>
                      <a:pt x="52813" y="88080"/>
                    </a:lnTo>
                    <a:lnTo>
                      <a:pt x="51667" y="86581"/>
                    </a:lnTo>
                    <a:lnTo>
                      <a:pt x="32093" y="67978"/>
                    </a:lnTo>
                    <a:lnTo>
                      <a:pt x="31829" y="65597"/>
                    </a:lnTo>
                    <a:lnTo>
                      <a:pt x="30065" y="63834"/>
                    </a:lnTo>
                    <a:lnTo>
                      <a:pt x="27773" y="62688"/>
                    </a:lnTo>
                    <a:lnTo>
                      <a:pt x="26010" y="62159"/>
                    </a:lnTo>
                    <a:lnTo>
                      <a:pt x="25393" y="61542"/>
                    </a:lnTo>
                    <a:lnTo>
                      <a:pt x="26010" y="60924"/>
                    </a:lnTo>
                    <a:lnTo>
                      <a:pt x="24775" y="59514"/>
                    </a:lnTo>
                    <a:lnTo>
                      <a:pt x="23894" y="59161"/>
                    </a:lnTo>
                    <a:lnTo>
                      <a:pt x="24511" y="60924"/>
                    </a:lnTo>
                    <a:lnTo>
                      <a:pt x="23629" y="60924"/>
                    </a:lnTo>
                    <a:lnTo>
                      <a:pt x="16399" y="57133"/>
                    </a:lnTo>
                    <a:lnTo>
                      <a:pt x="14636" y="55987"/>
                    </a:lnTo>
                    <a:lnTo>
                      <a:pt x="16399" y="56340"/>
                    </a:lnTo>
                    <a:lnTo>
                      <a:pt x="15165" y="54576"/>
                    </a:lnTo>
                    <a:lnTo>
                      <a:pt x="16664" y="53959"/>
                    </a:lnTo>
                    <a:lnTo>
                      <a:pt x="14283" y="53959"/>
                    </a:lnTo>
                    <a:lnTo>
                      <a:pt x="13401" y="51314"/>
                    </a:lnTo>
                    <a:lnTo>
                      <a:pt x="9610" y="49022"/>
                    </a:lnTo>
                    <a:lnTo>
                      <a:pt x="5290" y="48404"/>
                    </a:lnTo>
                    <a:lnTo>
                      <a:pt x="2909" y="46641"/>
                    </a:lnTo>
                    <a:lnTo>
                      <a:pt x="3527" y="44613"/>
                    </a:lnTo>
                    <a:lnTo>
                      <a:pt x="2645" y="43467"/>
                    </a:lnTo>
                    <a:lnTo>
                      <a:pt x="2380" y="42321"/>
                    </a:lnTo>
                    <a:lnTo>
                      <a:pt x="0" y="40558"/>
                    </a:lnTo>
                    <a:lnTo>
                      <a:pt x="617" y="40558"/>
                    </a:lnTo>
                    <a:lnTo>
                      <a:pt x="2028" y="40558"/>
                    </a:lnTo>
                    <a:lnTo>
                      <a:pt x="1499" y="39940"/>
                    </a:lnTo>
                    <a:lnTo>
                      <a:pt x="4673" y="33504"/>
                    </a:lnTo>
                    <a:lnTo>
                      <a:pt x="7053" y="32975"/>
                    </a:lnTo>
                    <a:lnTo>
                      <a:pt x="18074" y="20984"/>
                    </a:lnTo>
                    <a:lnTo>
                      <a:pt x="19838" y="19838"/>
                    </a:lnTo>
                    <a:lnTo>
                      <a:pt x="19838" y="13401"/>
                    </a:lnTo>
                    <a:lnTo>
                      <a:pt x="22218" y="10757"/>
                    </a:lnTo>
                    <a:lnTo>
                      <a:pt x="26891" y="9610"/>
                    </a:lnTo>
                    <a:lnTo>
                      <a:pt x="27773" y="3174"/>
                    </a:lnTo>
                    <a:lnTo>
                      <a:pt x="27773" y="1763"/>
                    </a:lnTo>
                    <a:lnTo>
                      <a:pt x="28919" y="1763"/>
                    </a:lnTo>
                    <a:lnTo>
                      <a:pt x="31564" y="1146"/>
                    </a:lnTo>
                    <a:lnTo>
                      <a:pt x="38265" y="1146"/>
                    </a:lnTo>
                    <a:lnTo>
                      <a:pt x="38530" y="0"/>
                    </a:lnTo>
                    <a:lnTo>
                      <a:pt x="39940" y="1763"/>
                    </a:lnTo>
                    <a:lnTo>
                      <a:pt x="40822" y="4673"/>
                    </a:lnTo>
                    <a:lnTo>
                      <a:pt x="45230" y="4937"/>
                    </a:lnTo>
                    <a:lnTo>
                      <a:pt x="44084" y="9610"/>
                    </a:lnTo>
                    <a:lnTo>
                      <a:pt x="45230" y="13401"/>
                    </a:lnTo>
                    <a:lnTo>
                      <a:pt x="45848" y="16664"/>
                    </a:lnTo>
                    <a:lnTo>
                      <a:pt x="46729" y="22748"/>
                    </a:lnTo>
                    <a:lnTo>
                      <a:pt x="44966" y="30065"/>
                    </a:lnTo>
                    <a:lnTo>
                      <a:pt x="48757" y="29713"/>
                    </a:lnTo>
                    <a:lnTo>
                      <a:pt x="52813" y="33504"/>
                    </a:lnTo>
                    <a:lnTo>
                      <a:pt x="56869" y="32975"/>
                    </a:lnTo>
                    <a:lnTo>
                      <a:pt x="58632" y="30594"/>
                    </a:lnTo>
                    <a:lnTo>
                      <a:pt x="61894" y="23365"/>
                    </a:lnTo>
                    <a:lnTo>
                      <a:pt x="65068" y="22218"/>
                    </a:lnTo>
                    <a:lnTo>
                      <a:pt x="65068" y="23629"/>
                    </a:lnTo>
                    <a:lnTo>
                      <a:pt x="66832" y="25128"/>
                    </a:lnTo>
                    <a:lnTo>
                      <a:pt x="67978" y="26539"/>
                    </a:lnTo>
                    <a:lnTo>
                      <a:pt x="69124" y="33239"/>
                    </a:lnTo>
                    <a:lnTo>
                      <a:pt x="71152" y="39059"/>
                    </a:lnTo>
                    <a:lnTo>
                      <a:pt x="63922" y="51314"/>
                    </a:lnTo>
                    <a:lnTo>
                      <a:pt x="67096" y="51931"/>
                    </a:lnTo>
                    <a:lnTo>
                      <a:pt x="67978" y="55105"/>
                    </a:lnTo>
                    <a:lnTo>
                      <a:pt x="73532" y="57133"/>
                    </a:lnTo>
                    <a:lnTo>
                      <a:pt x="79087" y="56604"/>
                    </a:lnTo>
                    <a:lnTo>
                      <a:pt x="80498" y="61806"/>
                    </a:lnTo>
                    <a:lnTo>
                      <a:pt x="82261" y="65333"/>
                    </a:lnTo>
                    <a:lnTo>
                      <a:pt x="84289" y="65333"/>
                    </a:lnTo>
                    <a:lnTo>
                      <a:pt x="88697" y="67096"/>
                    </a:lnTo>
                    <a:lnTo>
                      <a:pt x="89844" y="72651"/>
                    </a:lnTo>
                    <a:lnTo>
                      <a:pt x="89844" y="77853"/>
                    </a:lnTo>
                    <a:lnTo>
                      <a:pt x="90461" y="82526"/>
                    </a:lnTo>
                    <a:lnTo>
                      <a:pt x="88433" y="85435"/>
                    </a:lnTo>
                    <a:lnTo>
                      <a:pt x="87198" y="90990"/>
                    </a:lnTo>
                    <a:lnTo>
                      <a:pt x="86934" y="95398"/>
                    </a:lnTo>
                    <a:lnTo>
                      <a:pt x="87551" y="1058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3" name="Freihandform: Form 1802">
                <a:extLst>
                  <a:ext uri="{FF2B5EF4-FFF2-40B4-BE49-F238E27FC236}">
                    <a16:creationId xmlns:a16="http://schemas.microsoft.com/office/drawing/2014/main" id="{61AC893B-E964-6E15-9CDB-F23E9452C75C}"/>
                  </a:ext>
                </a:extLst>
              </p:cNvPr>
              <p:cNvSpPr/>
              <p:nvPr/>
            </p:nvSpPr>
            <p:spPr>
              <a:xfrm>
                <a:off x="5014036" y="4432355"/>
                <a:ext cx="28390" cy="25128"/>
              </a:xfrm>
              <a:custGeom>
                <a:avLst/>
                <a:gdLst>
                  <a:gd name="connsiteX0" fmla="*/ 4937 w 28390"/>
                  <a:gd name="connsiteY0" fmla="*/ 14548 h 25128"/>
                  <a:gd name="connsiteX1" fmla="*/ 2910 w 28390"/>
                  <a:gd name="connsiteY1" fmla="*/ 12520 h 25128"/>
                  <a:gd name="connsiteX2" fmla="*/ 2292 w 28390"/>
                  <a:gd name="connsiteY2" fmla="*/ 13137 h 25128"/>
                  <a:gd name="connsiteX3" fmla="*/ 264 w 28390"/>
                  <a:gd name="connsiteY3" fmla="*/ 10492 h 25128"/>
                  <a:gd name="connsiteX4" fmla="*/ 0 w 28390"/>
                  <a:gd name="connsiteY4" fmla="*/ 9346 h 25128"/>
                  <a:gd name="connsiteX5" fmla="*/ 882 w 28390"/>
                  <a:gd name="connsiteY5" fmla="*/ 4056 h 25128"/>
                  <a:gd name="connsiteX6" fmla="*/ 882 w 28390"/>
                  <a:gd name="connsiteY6" fmla="*/ 1763 h 25128"/>
                  <a:gd name="connsiteX7" fmla="*/ 1763 w 28390"/>
                  <a:gd name="connsiteY7" fmla="*/ 882 h 25128"/>
                  <a:gd name="connsiteX8" fmla="*/ 2028 w 28390"/>
                  <a:gd name="connsiteY8" fmla="*/ 0 h 25128"/>
                  <a:gd name="connsiteX9" fmla="*/ 3527 w 28390"/>
                  <a:gd name="connsiteY9" fmla="*/ 617 h 25128"/>
                  <a:gd name="connsiteX10" fmla="*/ 4056 w 28390"/>
                  <a:gd name="connsiteY10" fmla="*/ 1763 h 25128"/>
                  <a:gd name="connsiteX11" fmla="*/ 4408 w 28390"/>
                  <a:gd name="connsiteY11" fmla="*/ 2292 h 25128"/>
                  <a:gd name="connsiteX12" fmla="*/ 3791 w 28390"/>
                  <a:gd name="connsiteY12" fmla="*/ 3174 h 25128"/>
                  <a:gd name="connsiteX13" fmla="*/ 4056 w 28390"/>
                  <a:gd name="connsiteY13" fmla="*/ 4320 h 25128"/>
                  <a:gd name="connsiteX14" fmla="*/ 3527 w 28390"/>
                  <a:gd name="connsiteY14" fmla="*/ 6701 h 25128"/>
                  <a:gd name="connsiteX15" fmla="*/ 4673 w 28390"/>
                  <a:gd name="connsiteY15" fmla="*/ 9346 h 25128"/>
                  <a:gd name="connsiteX16" fmla="*/ 6084 w 28390"/>
                  <a:gd name="connsiteY16" fmla="*/ 10845 h 25128"/>
                  <a:gd name="connsiteX17" fmla="*/ 6084 w 28390"/>
                  <a:gd name="connsiteY17" fmla="*/ 13137 h 25128"/>
                  <a:gd name="connsiteX18" fmla="*/ 5466 w 28390"/>
                  <a:gd name="connsiteY18" fmla="*/ 14284 h 25128"/>
                  <a:gd name="connsiteX19" fmla="*/ 4937 w 28390"/>
                  <a:gd name="connsiteY19" fmla="*/ 14548 h 25128"/>
                  <a:gd name="connsiteX20" fmla="*/ 27421 w 28390"/>
                  <a:gd name="connsiteY20" fmla="*/ 25040 h 25128"/>
                  <a:gd name="connsiteX21" fmla="*/ 26274 w 28390"/>
                  <a:gd name="connsiteY21" fmla="*/ 24158 h 25128"/>
                  <a:gd name="connsiteX22" fmla="*/ 26274 w 28390"/>
                  <a:gd name="connsiteY22" fmla="*/ 23012 h 25128"/>
                  <a:gd name="connsiteX23" fmla="*/ 25128 w 28390"/>
                  <a:gd name="connsiteY23" fmla="*/ 22395 h 25128"/>
                  <a:gd name="connsiteX24" fmla="*/ 22483 w 28390"/>
                  <a:gd name="connsiteY24" fmla="*/ 20896 h 25128"/>
                  <a:gd name="connsiteX25" fmla="*/ 21337 w 28390"/>
                  <a:gd name="connsiteY25" fmla="*/ 20014 h 25128"/>
                  <a:gd name="connsiteX26" fmla="*/ 22836 w 28390"/>
                  <a:gd name="connsiteY26" fmla="*/ 19750 h 25128"/>
                  <a:gd name="connsiteX27" fmla="*/ 24599 w 28390"/>
                  <a:gd name="connsiteY27" fmla="*/ 20367 h 25128"/>
                  <a:gd name="connsiteX28" fmla="*/ 26010 w 28390"/>
                  <a:gd name="connsiteY28" fmla="*/ 19221 h 25128"/>
                  <a:gd name="connsiteX29" fmla="*/ 26010 w 28390"/>
                  <a:gd name="connsiteY29" fmla="*/ 18339 h 25128"/>
                  <a:gd name="connsiteX30" fmla="*/ 26891 w 28390"/>
                  <a:gd name="connsiteY30" fmla="*/ 17810 h 25128"/>
                  <a:gd name="connsiteX31" fmla="*/ 28390 w 28390"/>
                  <a:gd name="connsiteY31" fmla="*/ 18956 h 25128"/>
                  <a:gd name="connsiteX32" fmla="*/ 27508 w 28390"/>
                  <a:gd name="connsiteY32" fmla="*/ 19838 h 25128"/>
                  <a:gd name="connsiteX33" fmla="*/ 28390 w 28390"/>
                  <a:gd name="connsiteY33" fmla="*/ 21601 h 25128"/>
                  <a:gd name="connsiteX34" fmla="*/ 28390 w 28390"/>
                  <a:gd name="connsiteY34" fmla="*/ 25128 h 25128"/>
                  <a:gd name="connsiteX35" fmla="*/ 27421 w 28390"/>
                  <a:gd name="connsiteY35" fmla="*/ 25128 h 25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8390" h="25128">
                    <a:moveTo>
                      <a:pt x="4937" y="14548"/>
                    </a:moveTo>
                    <a:lnTo>
                      <a:pt x="2910" y="12520"/>
                    </a:lnTo>
                    <a:lnTo>
                      <a:pt x="2292" y="13137"/>
                    </a:lnTo>
                    <a:lnTo>
                      <a:pt x="264" y="10492"/>
                    </a:lnTo>
                    <a:lnTo>
                      <a:pt x="0" y="9346"/>
                    </a:lnTo>
                    <a:lnTo>
                      <a:pt x="882" y="4056"/>
                    </a:lnTo>
                    <a:lnTo>
                      <a:pt x="882" y="1763"/>
                    </a:lnTo>
                    <a:lnTo>
                      <a:pt x="1763" y="882"/>
                    </a:lnTo>
                    <a:lnTo>
                      <a:pt x="2028" y="0"/>
                    </a:lnTo>
                    <a:lnTo>
                      <a:pt x="3527" y="617"/>
                    </a:lnTo>
                    <a:lnTo>
                      <a:pt x="4056" y="1763"/>
                    </a:lnTo>
                    <a:lnTo>
                      <a:pt x="4408" y="2292"/>
                    </a:lnTo>
                    <a:lnTo>
                      <a:pt x="3791" y="3174"/>
                    </a:lnTo>
                    <a:lnTo>
                      <a:pt x="4056" y="4320"/>
                    </a:lnTo>
                    <a:lnTo>
                      <a:pt x="3527" y="6701"/>
                    </a:lnTo>
                    <a:lnTo>
                      <a:pt x="4673" y="9346"/>
                    </a:lnTo>
                    <a:lnTo>
                      <a:pt x="6084" y="10845"/>
                    </a:lnTo>
                    <a:lnTo>
                      <a:pt x="6084" y="13137"/>
                    </a:lnTo>
                    <a:lnTo>
                      <a:pt x="5466" y="14284"/>
                    </a:lnTo>
                    <a:lnTo>
                      <a:pt x="4937" y="14548"/>
                    </a:lnTo>
                    <a:close/>
                    <a:moveTo>
                      <a:pt x="27421" y="25040"/>
                    </a:moveTo>
                    <a:lnTo>
                      <a:pt x="26274" y="24158"/>
                    </a:lnTo>
                    <a:lnTo>
                      <a:pt x="26274" y="23012"/>
                    </a:lnTo>
                    <a:lnTo>
                      <a:pt x="25128" y="22395"/>
                    </a:lnTo>
                    <a:lnTo>
                      <a:pt x="22483" y="20896"/>
                    </a:lnTo>
                    <a:lnTo>
                      <a:pt x="21337" y="20014"/>
                    </a:lnTo>
                    <a:lnTo>
                      <a:pt x="22836" y="19750"/>
                    </a:lnTo>
                    <a:lnTo>
                      <a:pt x="24599" y="20367"/>
                    </a:lnTo>
                    <a:lnTo>
                      <a:pt x="26010" y="19221"/>
                    </a:lnTo>
                    <a:lnTo>
                      <a:pt x="26010" y="18339"/>
                    </a:lnTo>
                    <a:lnTo>
                      <a:pt x="26891" y="17810"/>
                    </a:lnTo>
                    <a:lnTo>
                      <a:pt x="28390" y="18956"/>
                    </a:lnTo>
                    <a:lnTo>
                      <a:pt x="27508" y="19838"/>
                    </a:lnTo>
                    <a:lnTo>
                      <a:pt x="28390" y="21601"/>
                    </a:lnTo>
                    <a:lnTo>
                      <a:pt x="28390" y="25128"/>
                    </a:lnTo>
                    <a:lnTo>
                      <a:pt x="27421" y="251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4" name="Freihandform: Form 1803">
                <a:extLst>
                  <a:ext uri="{FF2B5EF4-FFF2-40B4-BE49-F238E27FC236}">
                    <a16:creationId xmlns:a16="http://schemas.microsoft.com/office/drawing/2014/main" id="{02773A19-AF5C-41A8-4B10-E4D7D751DD5F}"/>
                  </a:ext>
                </a:extLst>
              </p:cNvPr>
              <p:cNvSpPr/>
              <p:nvPr/>
            </p:nvSpPr>
            <p:spPr>
              <a:xfrm>
                <a:off x="4815657" y="4034804"/>
                <a:ext cx="174397" cy="231265"/>
              </a:xfrm>
              <a:custGeom>
                <a:avLst/>
                <a:gdLst>
                  <a:gd name="connsiteX0" fmla="*/ 115765 w 174397"/>
                  <a:gd name="connsiteY0" fmla="*/ 230649 h 231265"/>
                  <a:gd name="connsiteX1" fmla="*/ 116647 w 174397"/>
                  <a:gd name="connsiteY1" fmla="*/ 230120 h 231265"/>
                  <a:gd name="connsiteX2" fmla="*/ 117529 w 174397"/>
                  <a:gd name="connsiteY2" fmla="*/ 230120 h 231265"/>
                  <a:gd name="connsiteX3" fmla="*/ 117881 w 174397"/>
                  <a:gd name="connsiteY3" fmla="*/ 229855 h 231265"/>
                  <a:gd name="connsiteX4" fmla="*/ 118146 w 174397"/>
                  <a:gd name="connsiteY4" fmla="*/ 230120 h 231265"/>
                  <a:gd name="connsiteX5" fmla="*/ 118146 w 174397"/>
                  <a:gd name="connsiteY5" fmla="*/ 230649 h 231265"/>
                  <a:gd name="connsiteX6" fmla="*/ 118675 w 174397"/>
                  <a:gd name="connsiteY6" fmla="*/ 231266 h 231265"/>
                  <a:gd name="connsiteX7" fmla="*/ 119909 w 174397"/>
                  <a:gd name="connsiteY7" fmla="*/ 230649 h 231265"/>
                  <a:gd name="connsiteX8" fmla="*/ 120438 w 174397"/>
                  <a:gd name="connsiteY8" fmla="*/ 230120 h 231265"/>
                  <a:gd name="connsiteX9" fmla="*/ 119909 w 174397"/>
                  <a:gd name="connsiteY9" fmla="*/ 229238 h 231265"/>
                  <a:gd name="connsiteX10" fmla="*/ 119292 w 174397"/>
                  <a:gd name="connsiteY10" fmla="*/ 229238 h 231265"/>
                  <a:gd name="connsiteX11" fmla="*/ 119645 w 174397"/>
                  <a:gd name="connsiteY11" fmla="*/ 228621 h 231265"/>
                  <a:gd name="connsiteX12" fmla="*/ 119909 w 174397"/>
                  <a:gd name="connsiteY12" fmla="*/ 228092 h 231265"/>
                  <a:gd name="connsiteX13" fmla="*/ 119909 w 174397"/>
                  <a:gd name="connsiteY13" fmla="*/ 227210 h 231265"/>
                  <a:gd name="connsiteX14" fmla="*/ 121055 w 174397"/>
                  <a:gd name="connsiteY14" fmla="*/ 228092 h 231265"/>
                  <a:gd name="connsiteX15" fmla="*/ 120438 w 174397"/>
                  <a:gd name="connsiteY15" fmla="*/ 228621 h 231265"/>
                  <a:gd name="connsiteX16" fmla="*/ 121055 w 174397"/>
                  <a:gd name="connsiteY16" fmla="*/ 229238 h 231265"/>
                  <a:gd name="connsiteX17" fmla="*/ 121320 w 174397"/>
                  <a:gd name="connsiteY17" fmla="*/ 227475 h 231265"/>
                  <a:gd name="connsiteX18" fmla="*/ 121937 w 174397"/>
                  <a:gd name="connsiteY18" fmla="*/ 226857 h 231265"/>
                  <a:gd name="connsiteX19" fmla="*/ 122202 w 174397"/>
                  <a:gd name="connsiteY19" fmla="*/ 226328 h 231265"/>
                  <a:gd name="connsiteX20" fmla="*/ 122202 w 174397"/>
                  <a:gd name="connsiteY20" fmla="*/ 225711 h 231265"/>
                  <a:gd name="connsiteX21" fmla="*/ 122466 w 174397"/>
                  <a:gd name="connsiteY21" fmla="*/ 225094 h 231265"/>
                  <a:gd name="connsiteX22" fmla="*/ 123083 w 174397"/>
                  <a:gd name="connsiteY22" fmla="*/ 225711 h 231265"/>
                  <a:gd name="connsiteX23" fmla="*/ 123083 w 174397"/>
                  <a:gd name="connsiteY23" fmla="*/ 224829 h 231265"/>
                  <a:gd name="connsiteX24" fmla="*/ 123700 w 174397"/>
                  <a:gd name="connsiteY24" fmla="*/ 224300 h 231265"/>
                  <a:gd name="connsiteX25" fmla="*/ 123965 w 174397"/>
                  <a:gd name="connsiteY25" fmla="*/ 221655 h 231265"/>
                  <a:gd name="connsiteX26" fmla="*/ 125993 w 174397"/>
                  <a:gd name="connsiteY26" fmla="*/ 217247 h 231265"/>
                  <a:gd name="connsiteX27" fmla="*/ 124582 w 174397"/>
                  <a:gd name="connsiteY27" fmla="*/ 216365 h 231265"/>
                  <a:gd name="connsiteX28" fmla="*/ 123083 w 174397"/>
                  <a:gd name="connsiteY28" fmla="*/ 216365 h 231265"/>
                  <a:gd name="connsiteX29" fmla="*/ 122466 w 174397"/>
                  <a:gd name="connsiteY29" fmla="*/ 216101 h 231265"/>
                  <a:gd name="connsiteX30" fmla="*/ 123083 w 174397"/>
                  <a:gd name="connsiteY30" fmla="*/ 215572 h 231265"/>
                  <a:gd name="connsiteX31" fmla="*/ 123700 w 174397"/>
                  <a:gd name="connsiteY31" fmla="*/ 215219 h 231265"/>
                  <a:gd name="connsiteX32" fmla="*/ 124846 w 174397"/>
                  <a:gd name="connsiteY32" fmla="*/ 215572 h 231265"/>
                  <a:gd name="connsiteX33" fmla="*/ 125199 w 174397"/>
                  <a:gd name="connsiteY33" fmla="*/ 214955 h 231265"/>
                  <a:gd name="connsiteX34" fmla="*/ 124846 w 174397"/>
                  <a:gd name="connsiteY34" fmla="*/ 214337 h 231265"/>
                  <a:gd name="connsiteX35" fmla="*/ 124582 w 174397"/>
                  <a:gd name="connsiteY35" fmla="*/ 214337 h 231265"/>
                  <a:gd name="connsiteX36" fmla="*/ 124846 w 174397"/>
                  <a:gd name="connsiteY36" fmla="*/ 213808 h 231265"/>
                  <a:gd name="connsiteX37" fmla="*/ 125993 w 174397"/>
                  <a:gd name="connsiteY37" fmla="*/ 214337 h 231265"/>
                  <a:gd name="connsiteX38" fmla="*/ 126257 w 174397"/>
                  <a:gd name="connsiteY38" fmla="*/ 213808 h 231265"/>
                  <a:gd name="connsiteX39" fmla="*/ 125993 w 174397"/>
                  <a:gd name="connsiteY39" fmla="*/ 215219 h 231265"/>
                  <a:gd name="connsiteX40" fmla="*/ 126257 w 174397"/>
                  <a:gd name="connsiteY40" fmla="*/ 215836 h 231265"/>
                  <a:gd name="connsiteX41" fmla="*/ 127227 w 174397"/>
                  <a:gd name="connsiteY41" fmla="*/ 215572 h 231265"/>
                  <a:gd name="connsiteX42" fmla="*/ 128020 w 174397"/>
                  <a:gd name="connsiteY42" fmla="*/ 214955 h 231265"/>
                  <a:gd name="connsiteX43" fmla="*/ 127491 w 174397"/>
                  <a:gd name="connsiteY43" fmla="*/ 213808 h 231265"/>
                  <a:gd name="connsiteX44" fmla="*/ 126874 w 174397"/>
                  <a:gd name="connsiteY44" fmla="*/ 213808 h 231265"/>
                  <a:gd name="connsiteX45" fmla="*/ 126610 w 174397"/>
                  <a:gd name="connsiteY45" fmla="*/ 213191 h 231265"/>
                  <a:gd name="connsiteX46" fmla="*/ 126257 w 174397"/>
                  <a:gd name="connsiteY46" fmla="*/ 212927 h 231265"/>
                  <a:gd name="connsiteX47" fmla="*/ 126874 w 174397"/>
                  <a:gd name="connsiteY47" fmla="*/ 212045 h 231265"/>
                  <a:gd name="connsiteX48" fmla="*/ 127227 w 174397"/>
                  <a:gd name="connsiteY48" fmla="*/ 212927 h 231265"/>
                  <a:gd name="connsiteX49" fmla="*/ 127227 w 174397"/>
                  <a:gd name="connsiteY49" fmla="*/ 213456 h 231265"/>
                  <a:gd name="connsiteX50" fmla="*/ 127756 w 174397"/>
                  <a:gd name="connsiteY50" fmla="*/ 213456 h 231265"/>
                  <a:gd name="connsiteX51" fmla="*/ 128020 w 174397"/>
                  <a:gd name="connsiteY51" fmla="*/ 213191 h 231265"/>
                  <a:gd name="connsiteX52" fmla="*/ 128020 w 174397"/>
                  <a:gd name="connsiteY52" fmla="*/ 212927 h 231265"/>
                  <a:gd name="connsiteX53" fmla="*/ 128638 w 174397"/>
                  <a:gd name="connsiteY53" fmla="*/ 211428 h 231265"/>
                  <a:gd name="connsiteX54" fmla="*/ 129519 w 174397"/>
                  <a:gd name="connsiteY54" fmla="*/ 210282 h 231265"/>
                  <a:gd name="connsiteX55" fmla="*/ 130401 w 174397"/>
                  <a:gd name="connsiteY55" fmla="*/ 206755 h 231265"/>
                  <a:gd name="connsiteX56" fmla="*/ 130401 w 174397"/>
                  <a:gd name="connsiteY56" fmla="*/ 205609 h 231265"/>
                  <a:gd name="connsiteX57" fmla="*/ 130137 w 174397"/>
                  <a:gd name="connsiteY57" fmla="*/ 205873 h 231265"/>
                  <a:gd name="connsiteX58" fmla="*/ 129519 w 174397"/>
                  <a:gd name="connsiteY58" fmla="*/ 205609 h 231265"/>
                  <a:gd name="connsiteX59" fmla="*/ 129255 w 174397"/>
                  <a:gd name="connsiteY59" fmla="*/ 205873 h 231265"/>
                  <a:gd name="connsiteX60" fmla="*/ 128902 w 174397"/>
                  <a:gd name="connsiteY60" fmla="*/ 205609 h 231265"/>
                  <a:gd name="connsiteX61" fmla="*/ 128902 w 174397"/>
                  <a:gd name="connsiteY61" fmla="*/ 205344 h 231265"/>
                  <a:gd name="connsiteX62" fmla="*/ 128373 w 174397"/>
                  <a:gd name="connsiteY62" fmla="*/ 204991 h 231265"/>
                  <a:gd name="connsiteX63" fmla="*/ 128020 w 174397"/>
                  <a:gd name="connsiteY63" fmla="*/ 205344 h 231265"/>
                  <a:gd name="connsiteX64" fmla="*/ 128020 w 174397"/>
                  <a:gd name="connsiteY64" fmla="*/ 204727 h 231265"/>
                  <a:gd name="connsiteX65" fmla="*/ 128373 w 174397"/>
                  <a:gd name="connsiteY65" fmla="*/ 204463 h 231265"/>
                  <a:gd name="connsiteX66" fmla="*/ 129519 w 174397"/>
                  <a:gd name="connsiteY66" fmla="*/ 204727 h 231265"/>
                  <a:gd name="connsiteX67" fmla="*/ 129872 w 174397"/>
                  <a:gd name="connsiteY67" fmla="*/ 205344 h 231265"/>
                  <a:gd name="connsiteX68" fmla="*/ 130137 w 174397"/>
                  <a:gd name="connsiteY68" fmla="*/ 205344 h 231265"/>
                  <a:gd name="connsiteX69" fmla="*/ 130666 w 174397"/>
                  <a:gd name="connsiteY69" fmla="*/ 205344 h 231265"/>
                  <a:gd name="connsiteX70" fmla="*/ 130666 w 174397"/>
                  <a:gd name="connsiteY70" fmla="*/ 204991 h 231265"/>
                  <a:gd name="connsiteX71" fmla="*/ 130666 w 174397"/>
                  <a:gd name="connsiteY71" fmla="*/ 204463 h 231265"/>
                  <a:gd name="connsiteX72" fmla="*/ 130401 w 174397"/>
                  <a:gd name="connsiteY72" fmla="*/ 203845 h 231265"/>
                  <a:gd name="connsiteX73" fmla="*/ 130930 w 174397"/>
                  <a:gd name="connsiteY73" fmla="*/ 203316 h 231265"/>
                  <a:gd name="connsiteX74" fmla="*/ 131812 w 174397"/>
                  <a:gd name="connsiteY74" fmla="*/ 202082 h 231265"/>
                  <a:gd name="connsiteX75" fmla="*/ 132693 w 174397"/>
                  <a:gd name="connsiteY75" fmla="*/ 200054 h 231265"/>
                  <a:gd name="connsiteX76" fmla="*/ 132429 w 174397"/>
                  <a:gd name="connsiteY76" fmla="*/ 198908 h 231265"/>
                  <a:gd name="connsiteX77" fmla="*/ 132429 w 174397"/>
                  <a:gd name="connsiteY77" fmla="*/ 198026 h 231265"/>
                  <a:gd name="connsiteX78" fmla="*/ 133046 w 174397"/>
                  <a:gd name="connsiteY78" fmla="*/ 197762 h 231265"/>
                  <a:gd name="connsiteX79" fmla="*/ 133311 w 174397"/>
                  <a:gd name="connsiteY79" fmla="*/ 197762 h 231265"/>
                  <a:gd name="connsiteX80" fmla="*/ 133575 w 174397"/>
                  <a:gd name="connsiteY80" fmla="*/ 198291 h 231265"/>
                  <a:gd name="connsiteX81" fmla="*/ 134192 w 174397"/>
                  <a:gd name="connsiteY81" fmla="*/ 198026 h 231265"/>
                  <a:gd name="connsiteX82" fmla="*/ 135074 w 174397"/>
                  <a:gd name="connsiteY82" fmla="*/ 196880 h 231265"/>
                  <a:gd name="connsiteX83" fmla="*/ 136220 w 174397"/>
                  <a:gd name="connsiteY83" fmla="*/ 196527 h 231265"/>
                  <a:gd name="connsiteX84" fmla="*/ 136837 w 174397"/>
                  <a:gd name="connsiteY84" fmla="*/ 195381 h 231265"/>
                  <a:gd name="connsiteX85" fmla="*/ 136485 w 174397"/>
                  <a:gd name="connsiteY85" fmla="*/ 195117 h 231265"/>
                  <a:gd name="connsiteX86" fmla="*/ 136220 w 174397"/>
                  <a:gd name="connsiteY86" fmla="*/ 194499 h 231265"/>
                  <a:gd name="connsiteX87" fmla="*/ 138865 w 174397"/>
                  <a:gd name="connsiteY87" fmla="*/ 193970 h 231265"/>
                  <a:gd name="connsiteX88" fmla="*/ 138865 w 174397"/>
                  <a:gd name="connsiteY88" fmla="*/ 193089 h 231265"/>
                  <a:gd name="connsiteX89" fmla="*/ 139482 w 174397"/>
                  <a:gd name="connsiteY89" fmla="*/ 191061 h 231265"/>
                  <a:gd name="connsiteX90" fmla="*/ 140276 w 174397"/>
                  <a:gd name="connsiteY90" fmla="*/ 190444 h 231265"/>
                  <a:gd name="connsiteX91" fmla="*/ 142039 w 174397"/>
                  <a:gd name="connsiteY91" fmla="*/ 189827 h 231265"/>
                  <a:gd name="connsiteX92" fmla="*/ 142392 w 174397"/>
                  <a:gd name="connsiteY92" fmla="*/ 189298 h 231265"/>
                  <a:gd name="connsiteX93" fmla="*/ 142921 w 174397"/>
                  <a:gd name="connsiteY93" fmla="*/ 187270 h 231265"/>
                  <a:gd name="connsiteX94" fmla="*/ 143185 w 174397"/>
                  <a:gd name="connsiteY94" fmla="*/ 185506 h 231265"/>
                  <a:gd name="connsiteX95" fmla="*/ 144684 w 174397"/>
                  <a:gd name="connsiteY95" fmla="*/ 184625 h 231265"/>
                  <a:gd name="connsiteX96" fmla="*/ 146712 w 174397"/>
                  <a:gd name="connsiteY96" fmla="*/ 182244 h 231265"/>
                  <a:gd name="connsiteX97" fmla="*/ 146712 w 174397"/>
                  <a:gd name="connsiteY97" fmla="*/ 179070 h 231265"/>
                  <a:gd name="connsiteX98" fmla="*/ 148476 w 174397"/>
                  <a:gd name="connsiteY98" fmla="*/ 175896 h 231265"/>
                  <a:gd name="connsiteX99" fmla="*/ 149093 w 174397"/>
                  <a:gd name="connsiteY99" fmla="*/ 172634 h 231265"/>
                  <a:gd name="connsiteX100" fmla="*/ 149357 w 174397"/>
                  <a:gd name="connsiteY100" fmla="*/ 170870 h 231265"/>
                  <a:gd name="connsiteX101" fmla="*/ 150503 w 174397"/>
                  <a:gd name="connsiteY101" fmla="*/ 168843 h 231265"/>
                  <a:gd name="connsiteX102" fmla="*/ 153413 w 174397"/>
                  <a:gd name="connsiteY102" fmla="*/ 166815 h 231265"/>
                  <a:gd name="connsiteX103" fmla="*/ 152267 w 174397"/>
                  <a:gd name="connsiteY103" fmla="*/ 167079 h 231265"/>
                  <a:gd name="connsiteX104" fmla="*/ 152884 w 174397"/>
                  <a:gd name="connsiteY104" fmla="*/ 164169 h 231265"/>
                  <a:gd name="connsiteX105" fmla="*/ 153766 w 174397"/>
                  <a:gd name="connsiteY105" fmla="*/ 164787 h 231265"/>
                  <a:gd name="connsiteX106" fmla="*/ 154559 w 174397"/>
                  <a:gd name="connsiteY106" fmla="*/ 165933 h 231265"/>
                  <a:gd name="connsiteX107" fmla="*/ 154912 w 174397"/>
                  <a:gd name="connsiteY107" fmla="*/ 166815 h 231265"/>
                  <a:gd name="connsiteX108" fmla="*/ 155441 w 174397"/>
                  <a:gd name="connsiteY108" fmla="*/ 165933 h 231265"/>
                  <a:gd name="connsiteX109" fmla="*/ 154912 w 174397"/>
                  <a:gd name="connsiteY109" fmla="*/ 165051 h 231265"/>
                  <a:gd name="connsiteX110" fmla="*/ 154912 w 174397"/>
                  <a:gd name="connsiteY110" fmla="*/ 163905 h 231265"/>
                  <a:gd name="connsiteX111" fmla="*/ 155176 w 174397"/>
                  <a:gd name="connsiteY111" fmla="*/ 163288 h 231265"/>
                  <a:gd name="connsiteX112" fmla="*/ 155441 w 174397"/>
                  <a:gd name="connsiteY112" fmla="*/ 162759 h 231265"/>
                  <a:gd name="connsiteX113" fmla="*/ 156323 w 174397"/>
                  <a:gd name="connsiteY113" fmla="*/ 162406 h 231265"/>
                  <a:gd name="connsiteX114" fmla="*/ 156058 w 174397"/>
                  <a:gd name="connsiteY114" fmla="*/ 163024 h 231265"/>
                  <a:gd name="connsiteX115" fmla="*/ 155441 w 174397"/>
                  <a:gd name="connsiteY115" fmla="*/ 163640 h 231265"/>
                  <a:gd name="connsiteX116" fmla="*/ 155441 w 174397"/>
                  <a:gd name="connsiteY116" fmla="*/ 164434 h 231265"/>
                  <a:gd name="connsiteX117" fmla="*/ 156058 w 174397"/>
                  <a:gd name="connsiteY117" fmla="*/ 164787 h 231265"/>
                  <a:gd name="connsiteX118" fmla="*/ 155441 w 174397"/>
                  <a:gd name="connsiteY118" fmla="*/ 165051 h 231265"/>
                  <a:gd name="connsiteX119" fmla="*/ 156323 w 174397"/>
                  <a:gd name="connsiteY119" fmla="*/ 165933 h 231265"/>
                  <a:gd name="connsiteX120" fmla="*/ 156940 w 174397"/>
                  <a:gd name="connsiteY120" fmla="*/ 165668 h 231265"/>
                  <a:gd name="connsiteX121" fmla="*/ 157557 w 174397"/>
                  <a:gd name="connsiteY121" fmla="*/ 165051 h 231265"/>
                  <a:gd name="connsiteX122" fmla="*/ 157821 w 174397"/>
                  <a:gd name="connsiteY122" fmla="*/ 164787 h 231265"/>
                  <a:gd name="connsiteX123" fmla="*/ 158703 w 174397"/>
                  <a:gd name="connsiteY123" fmla="*/ 164434 h 231265"/>
                  <a:gd name="connsiteX124" fmla="*/ 159585 w 174397"/>
                  <a:gd name="connsiteY124" fmla="*/ 164787 h 231265"/>
                  <a:gd name="connsiteX125" fmla="*/ 160114 w 174397"/>
                  <a:gd name="connsiteY125" fmla="*/ 164787 h 231265"/>
                  <a:gd name="connsiteX126" fmla="*/ 160114 w 174397"/>
                  <a:gd name="connsiteY126" fmla="*/ 163905 h 231265"/>
                  <a:gd name="connsiteX127" fmla="*/ 160114 w 174397"/>
                  <a:gd name="connsiteY127" fmla="*/ 163640 h 231265"/>
                  <a:gd name="connsiteX128" fmla="*/ 160731 w 174397"/>
                  <a:gd name="connsiteY128" fmla="*/ 163640 h 231265"/>
                  <a:gd name="connsiteX129" fmla="*/ 160996 w 174397"/>
                  <a:gd name="connsiteY129" fmla="*/ 163905 h 231265"/>
                  <a:gd name="connsiteX130" fmla="*/ 161877 w 174397"/>
                  <a:gd name="connsiteY130" fmla="*/ 163905 h 231265"/>
                  <a:gd name="connsiteX131" fmla="*/ 162230 w 174397"/>
                  <a:gd name="connsiteY131" fmla="*/ 163905 h 231265"/>
                  <a:gd name="connsiteX132" fmla="*/ 162494 w 174397"/>
                  <a:gd name="connsiteY132" fmla="*/ 163640 h 231265"/>
                  <a:gd name="connsiteX133" fmla="*/ 163023 w 174397"/>
                  <a:gd name="connsiteY133" fmla="*/ 163905 h 231265"/>
                  <a:gd name="connsiteX134" fmla="*/ 163376 w 174397"/>
                  <a:gd name="connsiteY134" fmla="*/ 163640 h 231265"/>
                  <a:gd name="connsiteX135" fmla="*/ 163993 w 174397"/>
                  <a:gd name="connsiteY135" fmla="*/ 162406 h 231265"/>
                  <a:gd name="connsiteX136" fmla="*/ 164522 w 174397"/>
                  <a:gd name="connsiteY136" fmla="*/ 161260 h 231265"/>
                  <a:gd name="connsiteX137" fmla="*/ 164169 w 174397"/>
                  <a:gd name="connsiteY137" fmla="*/ 160996 h 231265"/>
                  <a:gd name="connsiteX138" fmla="*/ 165139 w 174397"/>
                  <a:gd name="connsiteY138" fmla="*/ 160643 h 231265"/>
                  <a:gd name="connsiteX139" fmla="*/ 166550 w 174397"/>
                  <a:gd name="connsiteY139" fmla="*/ 160114 h 231265"/>
                  <a:gd name="connsiteX140" fmla="*/ 168049 w 174397"/>
                  <a:gd name="connsiteY140" fmla="*/ 158968 h 231265"/>
                  <a:gd name="connsiteX141" fmla="*/ 168049 w 174397"/>
                  <a:gd name="connsiteY141" fmla="*/ 158351 h 231265"/>
                  <a:gd name="connsiteX142" fmla="*/ 156058 w 174397"/>
                  <a:gd name="connsiteY142" fmla="*/ 136749 h 231265"/>
                  <a:gd name="connsiteX143" fmla="*/ 162759 w 174397"/>
                  <a:gd name="connsiteY143" fmla="*/ 34386 h 231265"/>
                  <a:gd name="connsiteX144" fmla="*/ 168931 w 174397"/>
                  <a:gd name="connsiteY144" fmla="*/ 25657 h 231265"/>
                  <a:gd name="connsiteX145" fmla="*/ 174397 w 174397"/>
                  <a:gd name="connsiteY145" fmla="*/ 17193 h 231265"/>
                  <a:gd name="connsiteX146" fmla="*/ 171223 w 174397"/>
                  <a:gd name="connsiteY146" fmla="*/ 14548 h 231265"/>
                  <a:gd name="connsiteX147" fmla="*/ 169812 w 174397"/>
                  <a:gd name="connsiteY147" fmla="*/ 15694 h 231265"/>
                  <a:gd name="connsiteX148" fmla="*/ 168931 w 174397"/>
                  <a:gd name="connsiteY148" fmla="*/ 15694 h 231265"/>
                  <a:gd name="connsiteX149" fmla="*/ 168049 w 174397"/>
                  <a:gd name="connsiteY149" fmla="*/ 15694 h 231265"/>
                  <a:gd name="connsiteX150" fmla="*/ 166550 w 174397"/>
                  <a:gd name="connsiteY150" fmla="*/ 15694 h 231265"/>
                  <a:gd name="connsiteX151" fmla="*/ 165404 w 174397"/>
                  <a:gd name="connsiteY151" fmla="*/ 16664 h 231265"/>
                  <a:gd name="connsiteX152" fmla="*/ 158968 w 174397"/>
                  <a:gd name="connsiteY152" fmla="*/ 16664 h 231265"/>
                  <a:gd name="connsiteX153" fmla="*/ 157204 w 174397"/>
                  <a:gd name="connsiteY153" fmla="*/ 14548 h 231265"/>
                  <a:gd name="connsiteX154" fmla="*/ 155176 w 174397"/>
                  <a:gd name="connsiteY154" fmla="*/ 12256 h 231265"/>
                  <a:gd name="connsiteX155" fmla="*/ 153766 w 174397"/>
                  <a:gd name="connsiteY155" fmla="*/ 11021 h 231265"/>
                  <a:gd name="connsiteX156" fmla="*/ 152884 w 174397"/>
                  <a:gd name="connsiteY156" fmla="*/ 9875 h 231265"/>
                  <a:gd name="connsiteX157" fmla="*/ 150768 w 174397"/>
                  <a:gd name="connsiteY157" fmla="*/ 8729 h 231265"/>
                  <a:gd name="connsiteX158" fmla="*/ 150768 w 174397"/>
                  <a:gd name="connsiteY158" fmla="*/ 7583 h 231265"/>
                  <a:gd name="connsiteX159" fmla="*/ 137366 w 174397"/>
                  <a:gd name="connsiteY159" fmla="*/ 14019 h 231265"/>
                  <a:gd name="connsiteX160" fmla="*/ 130666 w 174397"/>
                  <a:gd name="connsiteY160" fmla="*/ 18692 h 231265"/>
                  <a:gd name="connsiteX161" fmla="*/ 128020 w 174397"/>
                  <a:gd name="connsiteY161" fmla="*/ 23277 h 231265"/>
                  <a:gd name="connsiteX162" fmla="*/ 124582 w 174397"/>
                  <a:gd name="connsiteY162" fmla="*/ 27685 h 231265"/>
                  <a:gd name="connsiteX163" fmla="*/ 123965 w 174397"/>
                  <a:gd name="connsiteY163" fmla="*/ 29184 h 231265"/>
                  <a:gd name="connsiteX164" fmla="*/ 122818 w 174397"/>
                  <a:gd name="connsiteY164" fmla="*/ 29184 h 231265"/>
                  <a:gd name="connsiteX165" fmla="*/ 121672 w 174397"/>
                  <a:gd name="connsiteY165" fmla="*/ 27685 h 231265"/>
                  <a:gd name="connsiteX166" fmla="*/ 121320 w 174397"/>
                  <a:gd name="connsiteY166" fmla="*/ 28302 h 231265"/>
                  <a:gd name="connsiteX167" fmla="*/ 119645 w 174397"/>
                  <a:gd name="connsiteY167" fmla="*/ 27685 h 231265"/>
                  <a:gd name="connsiteX168" fmla="*/ 119292 w 174397"/>
                  <a:gd name="connsiteY168" fmla="*/ 27068 h 231265"/>
                  <a:gd name="connsiteX169" fmla="*/ 115501 w 174397"/>
                  <a:gd name="connsiteY169" fmla="*/ 27068 h 231265"/>
                  <a:gd name="connsiteX170" fmla="*/ 114090 w 174397"/>
                  <a:gd name="connsiteY170" fmla="*/ 26539 h 231265"/>
                  <a:gd name="connsiteX171" fmla="*/ 112855 w 174397"/>
                  <a:gd name="connsiteY171" fmla="*/ 26539 h 231265"/>
                  <a:gd name="connsiteX172" fmla="*/ 109417 w 174397"/>
                  <a:gd name="connsiteY172" fmla="*/ 26803 h 231265"/>
                  <a:gd name="connsiteX173" fmla="*/ 105009 w 174397"/>
                  <a:gd name="connsiteY173" fmla="*/ 25040 h 231265"/>
                  <a:gd name="connsiteX174" fmla="*/ 104127 w 174397"/>
                  <a:gd name="connsiteY174" fmla="*/ 23629 h 231265"/>
                  <a:gd name="connsiteX175" fmla="*/ 103598 w 174397"/>
                  <a:gd name="connsiteY175" fmla="*/ 25040 h 231265"/>
                  <a:gd name="connsiteX176" fmla="*/ 101570 w 174397"/>
                  <a:gd name="connsiteY176" fmla="*/ 24775 h 231265"/>
                  <a:gd name="connsiteX177" fmla="*/ 101217 w 174397"/>
                  <a:gd name="connsiteY177" fmla="*/ 23277 h 231265"/>
                  <a:gd name="connsiteX178" fmla="*/ 100071 w 174397"/>
                  <a:gd name="connsiteY178" fmla="*/ 23277 h 231265"/>
                  <a:gd name="connsiteX179" fmla="*/ 99454 w 174397"/>
                  <a:gd name="connsiteY179" fmla="*/ 24775 h 231265"/>
                  <a:gd name="connsiteX180" fmla="*/ 92753 w 174397"/>
                  <a:gd name="connsiteY180" fmla="*/ 23629 h 231265"/>
                  <a:gd name="connsiteX181" fmla="*/ 90461 w 174397"/>
                  <a:gd name="connsiteY181" fmla="*/ 24158 h 231265"/>
                  <a:gd name="connsiteX182" fmla="*/ 89579 w 174397"/>
                  <a:gd name="connsiteY182" fmla="*/ 21866 h 231265"/>
                  <a:gd name="connsiteX183" fmla="*/ 67978 w 174397"/>
                  <a:gd name="connsiteY183" fmla="*/ 6084 h 231265"/>
                  <a:gd name="connsiteX184" fmla="*/ 67096 w 174397"/>
                  <a:gd name="connsiteY184" fmla="*/ 5202 h 231265"/>
                  <a:gd name="connsiteX185" fmla="*/ 63040 w 174397"/>
                  <a:gd name="connsiteY185" fmla="*/ 3439 h 231265"/>
                  <a:gd name="connsiteX186" fmla="*/ 46641 w 174397"/>
                  <a:gd name="connsiteY186" fmla="*/ 4056 h 231265"/>
                  <a:gd name="connsiteX187" fmla="*/ 44966 w 174397"/>
                  <a:gd name="connsiteY187" fmla="*/ 2910 h 231265"/>
                  <a:gd name="connsiteX188" fmla="*/ 45230 w 174397"/>
                  <a:gd name="connsiteY188" fmla="*/ 0 h 231265"/>
                  <a:gd name="connsiteX189" fmla="*/ 9346 w 174397"/>
                  <a:gd name="connsiteY189" fmla="*/ 0 h 231265"/>
                  <a:gd name="connsiteX190" fmla="*/ 1499 w 174397"/>
                  <a:gd name="connsiteY190" fmla="*/ 9610 h 231265"/>
                  <a:gd name="connsiteX191" fmla="*/ 3262 w 174397"/>
                  <a:gd name="connsiteY191" fmla="*/ 11021 h 231265"/>
                  <a:gd name="connsiteX192" fmla="*/ 2910 w 174397"/>
                  <a:gd name="connsiteY192" fmla="*/ 12256 h 231265"/>
                  <a:gd name="connsiteX193" fmla="*/ 2910 w 174397"/>
                  <a:gd name="connsiteY193" fmla="*/ 12520 h 231265"/>
                  <a:gd name="connsiteX194" fmla="*/ 3791 w 174397"/>
                  <a:gd name="connsiteY194" fmla="*/ 13137 h 231265"/>
                  <a:gd name="connsiteX195" fmla="*/ 4408 w 174397"/>
                  <a:gd name="connsiteY195" fmla="*/ 15429 h 231265"/>
                  <a:gd name="connsiteX196" fmla="*/ 5290 w 174397"/>
                  <a:gd name="connsiteY196" fmla="*/ 16928 h 231265"/>
                  <a:gd name="connsiteX197" fmla="*/ 4144 w 174397"/>
                  <a:gd name="connsiteY197" fmla="*/ 17810 h 231265"/>
                  <a:gd name="connsiteX198" fmla="*/ 4937 w 174397"/>
                  <a:gd name="connsiteY198" fmla="*/ 19221 h 231265"/>
                  <a:gd name="connsiteX199" fmla="*/ 5907 w 174397"/>
                  <a:gd name="connsiteY199" fmla="*/ 18692 h 231265"/>
                  <a:gd name="connsiteX200" fmla="*/ 7318 w 174397"/>
                  <a:gd name="connsiteY200" fmla="*/ 17810 h 231265"/>
                  <a:gd name="connsiteX201" fmla="*/ 8200 w 174397"/>
                  <a:gd name="connsiteY201" fmla="*/ 18075 h 231265"/>
                  <a:gd name="connsiteX202" fmla="*/ 8200 w 174397"/>
                  <a:gd name="connsiteY202" fmla="*/ 19485 h 231265"/>
                  <a:gd name="connsiteX203" fmla="*/ 6436 w 174397"/>
                  <a:gd name="connsiteY203" fmla="*/ 20984 h 231265"/>
                  <a:gd name="connsiteX204" fmla="*/ 9081 w 174397"/>
                  <a:gd name="connsiteY204" fmla="*/ 20984 h 231265"/>
                  <a:gd name="connsiteX205" fmla="*/ 10492 w 174397"/>
                  <a:gd name="connsiteY205" fmla="*/ 22748 h 231265"/>
                  <a:gd name="connsiteX206" fmla="*/ 11109 w 174397"/>
                  <a:gd name="connsiteY206" fmla="*/ 23894 h 231265"/>
                  <a:gd name="connsiteX207" fmla="*/ 11727 w 174397"/>
                  <a:gd name="connsiteY207" fmla="*/ 27068 h 231265"/>
                  <a:gd name="connsiteX208" fmla="*/ 10757 w 174397"/>
                  <a:gd name="connsiteY208" fmla="*/ 27949 h 231265"/>
                  <a:gd name="connsiteX209" fmla="*/ 11109 w 174397"/>
                  <a:gd name="connsiteY209" fmla="*/ 29184 h 231265"/>
                  <a:gd name="connsiteX210" fmla="*/ 10492 w 174397"/>
                  <a:gd name="connsiteY210" fmla="*/ 30947 h 231265"/>
                  <a:gd name="connsiteX211" fmla="*/ 11374 w 174397"/>
                  <a:gd name="connsiteY211" fmla="*/ 31476 h 231265"/>
                  <a:gd name="connsiteX212" fmla="*/ 11727 w 174397"/>
                  <a:gd name="connsiteY212" fmla="*/ 33504 h 231265"/>
                  <a:gd name="connsiteX213" fmla="*/ 11374 w 174397"/>
                  <a:gd name="connsiteY213" fmla="*/ 35003 h 231265"/>
                  <a:gd name="connsiteX214" fmla="*/ 12520 w 174397"/>
                  <a:gd name="connsiteY214" fmla="*/ 36766 h 231265"/>
                  <a:gd name="connsiteX215" fmla="*/ 14636 w 174397"/>
                  <a:gd name="connsiteY215" fmla="*/ 37648 h 231265"/>
                  <a:gd name="connsiteX216" fmla="*/ 15165 w 174397"/>
                  <a:gd name="connsiteY216" fmla="*/ 41704 h 231265"/>
                  <a:gd name="connsiteX217" fmla="*/ 16311 w 174397"/>
                  <a:gd name="connsiteY217" fmla="*/ 46024 h 231265"/>
                  <a:gd name="connsiteX218" fmla="*/ 17545 w 174397"/>
                  <a:gd name="connsiteY218" fmla="*/ 46377 h 231265"/>
                  <a:gd name="connsiteX219" fmla="*/ 18956 w 174397"/>
                  <a:gd name="connsiteY219" fmla="*/ 45495 h 231265"/>
                  <a:gd name="connsiteX220" fmla="*/ 19573 w 174397"/>
                  <a:gd name="connsiteY220" fmla="*/ 45759 h 231265"/>
                  <a:gd name="connsiteX221" fmla="*/ 19573 w 174397"/>
                  <a:gd name="connsiteY221" fmla="*/ 48405 h 231265"/>
                  <a:gd name="connsiteX222" fmla="*/ 21601 w 174397"/>
                  <a:gd name="connsiteY222" fmla="*/ 51050 h 231265"/>
                  <a:gd name="connsiteX223" fmla="*/ 22748 w 174397"/>
                  <a:gd name="connsiteY223" fmla="*/ 52460 h 231265"/>
                  <a:gd name="connsiteX224" fmla="*/ 22748 w 174397"/>
                  <a:gd name="connsiteY224" fmla="*/ 54224 h 231265"/>
                  <a:gd name="connsiteX225" fmla="*/ 21337 w 174397"/>
                  <a:gd name="connsiteY225" fmla="*/ 55370 h 231265"/>
                  <a:gd name="connsiteX226" fmla="*/ 25393 w 174397"/>
                  <a:gd name="connsiteY226" fmla="*/ 63570 h 231265"/>
                  <a:gd name="connsiteX227" fmla="*/ 23894 w 174397"/>
                  <a:gd name="connsiteY227" fmla="*/ 64187 h 231265"/>
                  <a:gd name="connsiteX228" fmla="*/ 23894 w 174397"/>
                  <a:gd name="connsiteY228" fmla="*/ 65862 h 231265"/>
                  <a:gd name="connsiteX229" fmla="*/ 24775 w 174397"/>
                  <a:gd name="connsiteY229" fmla="*/ 66744 h 231265"/>
                  <a:gd name="connsiteX230" fmla="*/ 24246 w 174397"/>
                  <a:gd name="connsiteY230" fmla="*/ 67978 h 231265"/>
                  <a:gd name="connsiteX231" fmla="*/ 24246 w 174397"/>
                  <a:gd name="connsiteY231" fmla="*/ 73180 h 231265"/>
                  <a:gd name="connsiteX232" fmla="*/ 23012 w 174397"/>
                  <a:gd name="connsiteY232" fmla="*/ 75208 h 231265"/>
                  <a:gd name="connsiteX233" fmla="*/ 21601 w 174397"/>
                  <a:gd name="connsiteY233" fmla="*/ 76707 h 231265"/>
                  <a:gd name="connsiteX234" fmla="*/ 20984 w 174397"/>
                  <a:gd name="connsiteY234" fmla="*/ 80145 h 231265"/>
                  <a:gd name="connsiteX235" fmla="*/ 19838 w 174397"/>
                  <a:gd name="connsiteY235" fmla="*/ 80762 h 231265"/>
                  <a:gd name="connsiteX236" fmla="*/ 19838 w 174397"/>
                  <a:gd name="connsiteY236" fmla="*/ 81909 h 231265"/>
                  <a:gd name="connsiteX237" fmla="*/ 20720 w 174397"/>
                  <a:gd name="connsiteY237" fmla="*/ 82261 h 231265"/>
                  <a:gd name="connsiteX238" fmla="*/ 17810 w 174397"/>
                  <a:gd name="connsiteY238" fmla="*/ 85171 h 231265"/>
                  <a:gd name="connsiteX239" fmla="*/ 17810 w 174397"/>
                  <a:gd name="connsiteY239" fmla="*/ 86052 h 231265"/>
                  <a:gd name="connsiteX240" fmla="*/ 15165 w 174397"/>
                  <a:gd name="connsiteY240" fmla="*/ 88080 h 231265"/>
                  <a:gd name="connsiteX241" fmla="*/ 15165 w 174397"/>
                  <a:gd name="connsiteY241" fmla="*/ 89226 h 231265"/>
                  <a:gd name="connsiteX242" fmla="*/ 13137 w 174397"/>
                  <a:gd name="connsiteY242" fmla="*/ 88962 h 231265"/>
                  <a:gd name="connsiteX243" fmla="*/ 13137 w 174397"/>
                  <a:gd name="connsiteY243" fmla="*/ 90725 h 231265"/>
                  <a:gd name="connsiteX244" fmla="*/ 13401 w 174397"/>
                  <a:gd name="connsiteY244" fmla="*/ 92753 h 231265"/>
                  <a:gd name="connsiteX245" fmla="*/ 11109 w 174397"/>
                  <a:gd name="connsiteY245" fmla="*/ 95663 h 231265"/>
                  <a:gd name="connsiteX246" fmla="*/ 9081 w 174397"/>
                  <a:gd name="connsiteY246" fmla="*/ 96809 h 231265"/>
                  <a:gd name="connsiteX247" fmla="*/ 8464 w 174397"/>
                  <a:gd name="connsiteY247" fmla="*/ 98837 h 231265"/>
                  <a:gd name="connsiteX248" fmla="*/ 6172 w 174397"/>
                  <a:gd name="connsiteY248" fmla="*/ 99983 h 231265"/>
                  <a:gd name="connsiteX249" fmla="*/ 3791 w 174397"/>
                  <a:gd name="connsiteY249" fmla="*/ 104391 h 231265"/>
                  <a:gd name="connsiteX250" fmla="*/ 4144 w 174397"/>
                  <a:gd name="connsiteY250" fmla="*/ 106155 h 231265"/>
                  <a:gd name="connsiteX251" fmla="*/ 2910 w 174397"/>
                  <a:gd name="connsiteY251" fmla="*/ 107566 h 231265"/>
                  <a:gd name="connsiteX252" fmla="*/ 353 w 174397"/>
                  <a:gd name="connsiteY252" fmla="*/ 112856 h 231265"/>
                  <a:gd name="connsiteX253" fmla="*/ 2645 w 174397"/>
                  <a:gd name="connsiteY253" fmla="*/ 119292 h 231265"/>
                  <a:gd name="connsiteX254" fmla="*/ 0 w 174397"/>
                  <a:gd name="connsiteY254" fmla="*/ 125111 h 231265"/>
                  <a:gd name="connsiteX255" fmla="*/ 0 w 174397"/>
                  <a:gd name="connsiteY255" fmla="*/ 130313 h 231265"/>
                  <a:gd name="connsiteX256" fmla="*/ 2028 w 174397"/>
                  <a:gd name="connsiteY256" fmla="*/ 139130 h 231265"/>
                  <a:gd name="connsiteX257" fmla="*/ 2028 w 174397"/>
                  <a:gd name="connsiteY257" fmla="*/ 140276 h 231265"/>
                  <a:gd name="connsiteX258" fmla="*/ 80233 w 174397"/>
                  <a:gd name="connsiteY258" fmla="*/ 191854 h 231265"/>
                  <a:gd name="connsiteX259" fmla="*/ 83407 w 174397"/>
                  <a:gd name="connsiteY259" fmla="*/ 195998 h 231265"/>
                  <a:gd name="connsiteX260" fmla="*/ 83760 w 174397"/>
                  <a:gd name="connsiteY260" fmla="*/ 198555 h 231265"/>
                  <a:gd name="connsiteX261" fmla="*/ 83143 w 174397"/>
                  <a:gd name="connsiteY261" fmla="*/ 200054 h 231265"/>
                  <a:gd name="connsiteX262" fmla="*/ 81380 w 174397"/>
                  <a:gd name="connsiteY262" fmla="*/ 201818 h 231265"/>
                  <a:gd name="connsiteX263" fmla="*/ 114972 w 174397"/>
                  <a:gd name="connsiteY263" fmla="*/ 230120 h 231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</a:cxnLst>
                <a:rect l="l" t="t" r="r" b="b"/>
                <a:pathLst>
                  <a:path w="174397" h="231265">
                    <a:moveTo>
                      <a:pt x="115765" y="230649"/>
                    </a:moveTo>
                    <a:lnTo>
                      <a:pt x="116647" y="230120"/>
                    </a:lnTo>
                    <a:lnTo>
                      <a:pt x="117529" y="230120"/>
                    </a:lnTo>
                    <a:lnTo>
                      <a:pt x="117881" y="229855"/>
                    </a:lnTo>
                    <a:lnTo>
                      <a:pt x="118146" y="230120"/>
                    </a:lnTo>
                    <a:lnTo>
                      <a:pt x="118146" y="230649"/>
                    </a:lnTo>
                    <a:lnTo>
                      <a:pt x="118675" y="231266"/>
                    </a:lnTo>
                    <a:lnTo>
                      <a:pt x="119909" y="230649"/>
                    </a:lnTo>
                    <a:lnTo>
                      <a:pt x="120438" y="230120"/>
                    </a:lnTo>
                    <a:lnTo>
                      <a:pt x="119909" y="229238"/>
                    </a:lnTo>
                    <a:lnTo>
                      <a:pt x="119292" y="229238"/>
                    </a:lnTo>
                    <a:lnTo>
                      <a:pt x="119645" y="228621"/>
                    </a:lnTo>
                    <a:lnTo>
                      <a:pt x="119909" y="228092"/>
                    </a:lnTo>
                    <a:lnTo>
                      <a:pt x="119909" y="227210"/>
                    </a:lnTo>
                    <a:lnTo>
                      <a:pt x="121055" y="228092"/>
                    </a:lnTo>
                    <a:lnTo>
                      <a:pt x="120438" y="228621"/>
                    </a:lnTo>
                    <a:lnTo>
                      <a:pt x="121055" y="229238"/>
                    </a:lnTo>
                    <a:lnTo>
                      <a:pt x="121320" y="227475"/>
                    </a:lnTo>
                    <a:lnTo>
                      <a:pt x="121937" y="226857"/>
                    </a:lnTo>
                    <a:lnTo>
                      <a:pt x="122202" y="226328"/>
                    </a:lnTo>
                    <a:lnTo>
                      <a:pt x="122202" y="225711"/>
                    </a:lnTo>
                    <a:lnTo>
                      <a:pt x="122466" y="225094"/>
                    </a:lnTo>
                    <a:lnTo>
                      <a:pt x="123083" y="225711"/>
                    </a:lnTo>
                    <a:lnTo>
                      <a:pt x="123083" y="224829"/>
                    </a:lnTo>
                    <a:lnTo>
                      <a:pt x="123700" y="224300"/>
                    </a:lnTo>
                    <a:lnTo>
                      <a:pt x="123965" y="221655"/>
                    </a:lnTo>
                    <a:lnTo>
                      <a:pt x="125993" y="217247"/>
                    </a:lnTo>
                    <a:lnTo>
                      <a:pt x="124582" y="216365"/>
                    </a:lnTo>
                    <a:lnTo>
                      <a:pt x="123083" y="216365"/>
                    </a:lnTo>
                    <a:lnTo>
                      <a:pt x="122466" y="216101"/>
                    </a:lnTo>
                    <a:lnTo>
                      <a:pt x="123083" y="215572"/>
                    </a:lnTo>
                    <a:lnTo>
                      <a:pt x="123700" y="215219"/>
                    </a:lnTo>
                    <a:lnTo>
                      <a:pt x="124846" y="215572"/>
                    </a:lnTo>
                    <a:lnTo>
                      <a:pt x="125199" y="214955"/>
                    </a:lnTo>
                    <a:lnTo>
                      <a:pt x="124846" y="214337"/>
                    </a:lnTo>
                    <a:lnTo>
                      <a:pt x="124582" y="214337"/>
                    </a:lnTo>
                    <a:lnTo>
                      <a:pt x="124846" y="213808"/>
                    </a:lnTo>
                    <a:lnTo>
                      <a:pt x="125993" y="214337"/>
                    </a:lnTo>
                    <a:lnTo>
                      <a:pt x="126257" y="213808"/>
                    </a:lnTo>
                    <a:lnTo>
                      <a:pt x="125993" y="215219"/>
                    </a:lnTo>
                    <a:lnTo>
                      <a:pt x="126257" y="215836"/>
                    </a:lnTo>
                    <a:lnTo>
                      <a:pt x="127227" y="215572"/>
                    </a:lnTo>
                    <a:lnTo>
                      <a:pt x="128020" y="214955"/>
                    </a:lnTo>
                    <a:lnTo>
                      <a:pt x="127491" y="213808"/>
                    </a:lnTo>
                    <a:lnTo>
                      <a:pt x="126874" y="213808"/>
                    </a:lnTo>
                    <a:lnTo>
                      <a:pt x="126610" y="213191"/>
                    </a:lnTo>
                    <a:lnTo>
                      <a:pt x="126257" y="212927"/>
                    </a:lnTo>
                    <a:lnTo>
                      <a:pt x="126874" y="212045"/>
                    </a:lnTo>
                    <a:lnTo>
                      <a:pt x="127227" y="212927"/>
                    </a:lnTo>
                    <a:lnTo>
                      <a:pt x="127227" y="213456"/>
                    </a:lnTo>
                    <a:lnTo>
                      <a:pt x="127756" y="213456"/>
                    </a:lnTo>
                    <a:lnTo>
                      <a:pt x="128020" y="213191"/>
                    </a:lnTo>
                    <a:lnTo>
                      <a:pt x="128020" y="212927"/>
                    </a:lnTo>
                    <a:lnTo>
                      <a:pt x="128638" y="211428"/>
                    </a:lnTo>
                    <a:lnTo>
                      <a:pt x="129519" y="210282"/>
                    </a:lnTo>
                    <a:lnTo>
                      <a:pt x="130401" y="206755"/>
                    </a:lnTo>
                    <a:lnTo>
                      <a:pt x="130401" y="205609"/>
                    </a:lnTo>
                    <a:lnTo>
                      <a:pt x="130137" y="205873"/>
                    </a:lnTo>
                    <a:lnTo>
                      <a:pt x="129519" y="205609"/>
                    </a:lnTo>
                    <a:lnTo>
                      <a:pt x="129255" y="205873"/>
                    </a:lnTo>
                    <a:lnTo>
                      <a:pt x="128902" y="205609"/>
                    </a:lnTo>
                    <a:lnTo>
                      <a:pt x="128902" y="205344"/>
                    </a:lnTo>
                    <a:lnTo>
                      <a:pt x="128373" y="204991"/>
                    </a:lnTo>
                    <a:lnTo>
                      <a:pt x="128020" y="205344"/>
                    </a:lnTo>
                    <a:lnTo>
                      <a:pt x="128020" y="204727"/>
                    </a:lnTo>
                    <a:lnTo>
                      <a:pt x="128373" y="204463"/>
                    </a:lnTo>
                    <a:lnTo>
                      <a:pt x="129519" y="204727"/>
                    </a:lnTo>
                    <a:lnTo>
                      <a:pt x="129872" y="205344"/>
                    </a:lnTo>
                    <a:lnTo>
                      <a:pt x="130137" y="205344"/>
                    </a:lnTo>
                    <a:lnTo>
                      <a:pt x="130666" y="205344"/>
                    </a:lnTo>
                    <a:lnTo>
                      <a:pt x="130666" y="204991"/>
                    </a:lnTo>
                    <a:lnTo>
                      <a:pt x="130666" y="204463"/>
                    </a:lnTo>
                    <a:lnTo>
                      <a:pt x="130401" y="203845"/>
                    </a:lnTo>
                    <a:lnTo>
                      <a:pt x="130930" y="203316"/>
                    </a:lnTo>
                    <a:lnTo>
                      <a:pt x="131812" y="202082"/>
                    </a:lnTo>
                    <a:lnTo>
                      <a:pt x="132693" y="200054"/>
                    </a:lnTo>
                    <a:lnTo>
                      <a:pt x="132429" y="198908"/>
                    </a:lnTo>
                    <a:lnTo>
                      <a:pt x="132429" y="198026"/>
                    </a:lnTo>
                    <a:lnTo>
                      <a:pt x="133046" y="197762"/>
                    </a:lnTo>
                    <a:lnTo>
                      <a:pt x="133311" y="197762"/>
                    </a:lnTo>
                    <a:lnTo>
                      <a:pt x="133575" y="198291"/>
                    </a:lnTo>
                    <a:lnTo>
                      <a:pt x="134192" y="198026"/>
                    </a:lnTo>
                    <a:lnTo>
                      <a:pt x="135074" y="196880"/>
                    </a:lnTo>
                    <a:lnTo>
                      <a:pt x="136220" y="196527"/>
                    </a:lnTo>
                    <a:lnTo>
                      <a:pt x="136837" y="195381"/>
                    </a:lnTo>
                    <a:lnTo>
                      <a:pt x="136485" y="195117"/>
                    </a:lnTo>
                    <a:lnTo>
                      <a:pt x="136220" y="194499"/>
                    </a:lnTo>
                    <a:lnTo>
                      <a:pt x="138865" y="193970"/>
                    </a:lnTo>
                    <a:lnTo>
                      <a:pt x="138865" y="193089"/>
                    </a:lnTo>
                    <a:lnTo>
                      <a:pt x="139482" y="191061"/>
                    </a:lnTo>
                    <a:lnTo>
                      <a:pt x="140276" y="190444"/>
                    </a:lnTo>
                    <a:lnTo>
                      <a:pt x="142039" y="189827"/>
                    </a:lnTo>
                    <a:lnTo>
                      <a:pt x="142392" y="189298"/>
                    </a:lnTo>
                    <a:lnTo>
                      <a:pt x="142921" y="187270"/>
                    </a:lnTo>
                    <a:lnTo>
                      <a:pt x="143185" y="185506"/>
                    </a:lnTo>
                    <a:lnTo>
                      <a:pt x="144684" y="184625"/>
                    </a:lnTo>
                    <a:lnTo>
                      <a:pt x="146712" y="182244"/>
                    </a:lnTo>
                    <a:lnTo>
                      <a:pt x="146712" y="179070"/>
                    </a:lnTo>
                    <a:lnTo>
                      <a:pt x="148476" y="175896"/>
                    </a:lnTo>
                    <a:lnTo>
                      <a:pt x="149093" y="172634"/>
                    </a:lnTo>
                    <a:lnTo>
                      <a:pt x="149357" y="170870"/>
                    </a:lnTo>
                    <a:lnTo>
                      <a:pt x="150503" y="168843"/>
                    </a:lnTo>
                    <a:lnTo>
                      <a:pt x="153413" y="166815"/>
                    </a:lnTo>
                    <a:lnTo>
                      <a:pt x="152267" y="167079"/>
                    </a:lnTo>
                    <a:lnTo>
                      <a:pt x="152884" y="164169"/>
                    </a:lnTo>
                    <a:lnTo>
                      <a:pt x="153766" y="164787"/>
                    </a:lnTo>
                    <a:lnTo>
                      <a:pt x="154559" y="165933"/>
                    </a:lnTo>
                    <a:lnTo>
                      <a:pt x="154912" y="166815"/>
                    </a:lnTo>
                    <a:lnTo>
                      <a:pt x="155441" y="165933"/>
                    </a:lnTo>
                    <a:lnTo>
                      <a:pt x="154912" y="165051"/>
                    </a:lnTo>
                    <a:lnTo>
                      <a:pt x="154912" y="163905"/>
                    </a:lnTo>
                    <a:lnTo>
                      <a:pt x="155176" y="163288"/>
                    </a:lnTo>
                    <a:lnTo>
                      <a:pt x="155441" y="162759"/>
                    </a:lnTo>
                    <a:lnTo>
                      <a:pt x="156323" y="162406"/>
                    </a:lnTo>
                    <a:lnTo>
                      <a:pt x="156058" y="163024"/>
                    </a:lnTo>
                    <a:lnTo>
                      <a:pt x="155441" y="163640"/>
                    </a:lnTo>
                    <a:lnTo>
                      <a:pt x="155441" y="164434"/>
                    </a:lnTo>
                    <a:lnTo>
                      <a:pt x="156058" y="164787"/>
                    </a:lnTo>
                    <a:lnTo>
                      <a:pt x="155441" y="165051"/>
                    </a:lnTo>
                    <a:lnTo>
                      <a:pt x="156323" y="165933"/>
                    </a:lnTo>
                    <a:lnTo>
                      <a:pt x="156940" y="165668"/>
                    </a:lnTo>
                    <a:lnTo>
                      <a:pt x="157557" y="165051"/>
                    </a:lnTo>
                    <a:lnTo>
                      <a:pt x="157821" y="164787"/>
                    </a:lnTo>
                    <a:lnTo>
                      <a:pt x="158703" y="164434"/>
                    </a:lnTo>
                    <a:lnTo>
                      <a:pt x="159585" y="164787"/>
                    </a:lnTo>
                    <a:lnTo>
                      <a:pt x="160114" y="164787"/>
                    </a:lnTo>
                    <a:lnTo>
                      <a:pt x="160114" y="163905"/>
                    </a:lnTo>
                    <a:lnTo>
                      <a:pt x="160114" y="163640"/>
                    </a:lnTo>
                    <a:lnTo>
                      <a:pt x="160731" y="163640"/>
                    </a:lnTo>
                    <a:lnTo>
                      <a:pt x="160996" y="163905"/>
                    </a:lnTo>
                    <a:lnTo>
                      <a:pt x="161877" y="163905"/>
                    </a:lnTo>
                    <a:lnTo>
                      <a:pt x="162230" y="163905"/>
                    </a:lnTo>
                    <a:lnTo>
                      <a:pt x="162494" y="163640"/>
                    </a:lnTo>
                    <a:lnTo>
                      <a:pt x="163023" y="163905"/>
                    </a:lnTo>
                    <a:lnTo>
                      <a:pt x="163376" y="163640"/>
                    </a:lnTo>
                    <a:lnTo>
                      <a:pt x="163993" y="162406"/>
                    </a:lnTo>
                    <a:lnTo>
                      <a:pt x="164522" y="161260"/>
                    </a:lnTo>
                    <a:lnTo>
                      <a:pt x="164169" y="160996"/>
                    </a:lnTo>
                    <a:lnTo>
                      <a:pt x="165139" y="160643"/>
                    </a:lnTo>
                    <a:lnTo>
                      <a:pt x="166550" y="160114"/>
                    </a:lnTo>
                    <a:lnTo>
                      <a:pt x="168049" y="158968"/>
                    </a:lnTo>
                    <a:lnTo>
                      <a:pt x="168049" y="158351"/>
                    </a:lnTo>
                    <a:lnTo>
                      <a:pt x="156058" y="136749"/>
                    </a:lnTo>
                    <a:lnTo>
                      <a:pt x="162759" y="34386"/>
                    </a:lnTo>
                    <a:lnTo>
                      <a:pt x="168931" y="25657"/>
                    </a:lnTo>
                    <a:lnTo>
                      <a:pt x="174397" y="17193"/>
                    </a:lnTo>
                    <a:lnTo>
                      <a:pt x="171223" y="14548"/>
                    </a:lnTo>
                    <a:lnTo>
                      <a:pt x="169812" y="15694"/>
                    </a:lnTo>
                    <a:lnTo>
                      <a:pt x="168931" y="15694"/>
                    </a:lnTo>
                    <a:lnTo>
                      <a:pt x="168049" y="15694"/>
                    </a:lnTo>
                    <a:lnTo>
                      <a:pt x="166550" y="15694"/>
                    </a:lnTo>
                    <a:lnTo>
                      <a:pt x="165404" y="16664"/>
                    </a:lnTo>
                    <a:lnTo>
                      <a:pt x="158968" y="16664"/>
                    </a:lnTo>
                    <a:lnTo>
                      <a:pt x="157204" y="14548"/>
                    </a:lnTo>
                    <a:lnTo>
                      <a:pt x="155176" y="12256"/>
                    </a:lnTo>
                    <a:lnTo>
                      <a:pt x="153766" y="11021"/>
                    </a:lnTo>
                    <a:lnTo>
                      <a:pt x="152884" y="9875"/>
                    </a:lnTo>
                    <a:lnTo>
                      <a:pt x="150768" y="8729"/>
                    </a:lnTo>
                    <a:lnTo>
                      <a:pt x="150768" y="7583"/>
                    </a:lnTo>
                    <a:lnTo>
                      <a:pt x="137366" y="14019"/>
                    </a:lnTo>
                    <a:lnTo>
                      <a:pt x="130666" y="18692"/>
                    </a:lnTo>
                    <a:lnTo>
                      <a:pt x="128020" y="23277"/>
                    </a:lnTo>
                    <a:lnTo>
                      <a:pt x="124582" y="27685"/>
                    </a:lnTo>
                    <a:lnTo>
                      <a:pt x="123965" y="29184"/>
                    </a:lnTo>
                    <a:lnTo>
                      <a:pt x="122818" y="29184"/>
                    </a:lnTo>
                    <a:lnTo>
                      <a:pt x="121672" y="27685"/>
                    </a:lnTo>
                    <a:lnTo>
                      <a:pt x="121320" y="28302"/>
                    </a:lnTo>
                    <a:lnTo>
                      <a:pt x="119645" y="27685"/>
                    </a:lnTo>
                    <a:lnTo>
                      <a:pt x="119292" y="27068"/>
                    </a:lnTo>
                    <a:lnTo>
                      <a:pt x="115501" y="27068"/>
                    </a:lnTo>
                    <a:lnTo>
                      <a:pt x="114090" y="26539"/>
                    </a:lnTo>
                    <a:lnTo>
                      <a:pt x="112855" y="26539"/>
                    </a:lnTo>
                    <a:lnTo>
                      <a:pt x="109417" y="26803"/>
                    </a:lnTo>
                    <a:lnTo>
                      <a:pt x="105009" y="25040"/>
                    </a:lnTo>
                    <a:lnTo>
                      <a:pt x="104127" y="23629"/>
                    </a:lnTo>
                    <a:lnTo>
                      <a:pt x="103598" y="25040"/>
                    </a:lnTo>
                    <a:lnTo>
                      <a:pt x="101570" y="24775"/>
                    </a:lnTo>
                    <a:lnTo>
                      <a:pt x="101217" y="23277"/>
                    </a:lnTo>
                    <a:lnTo>
                      <a:pt x="100071" y="23277"/>
                    </a:lnTo>
                    <a:lnTo>
                      <a:pt x="99454" y="24775"/>
                    </a:lnTo>
                    <a:lnTo>
                      <a:pt x="92753" y="23629"/>
                    </a:lnTo>
                    <a:lnTo>
                      <a:pt x="90461" y="24158"/>
                    </a:lnTo>
                    <a:lnTo>
                      <a:pt x="89579" y="21866"/>
                    </a:lnTo>
                    <a:lnTo>
                      <a:pt x="67978" y="6084"/>
                    </a:lnTo>
                    <a:lnTo>
                      <a:pt x="67096" y="5202"/>
                    </a:lnTo>
                    <a:lnTo>
                      <a:pt x="63040" y="3439"/>
                    </a:lnTo>
                    <a:lnTo>
                      <a:pt x="46641" y="4056"/>
                    </a:lnTo>
                    <a:lnTo>
                      <a:pt x="44966" y="2910"/>
                    </a:lnTo>
                    <a:lnTo>
                      <a:pt x="45230" y="0"/>
                    </a:lnTo>
                    <a:lnTo>
                      <a:pt x="9346" y="0"/>
                    </a:lnTo>
                    <a:lnTo>
                      <a:pt x="1499" y="9610"/>
                    </a:lnTo>
                    <a:lnTo>
                      <a:pt x="3262" y="11021"/>
                    </a:lnTo>
                    <a:lnTo>
                      <a:pt x="2910" y="12256"/>
                    </a:lnTo>
                    <a:lnTo>
                      <a:pt x="2910" y="12520"/>
                    </a:lnTo>
                    <a:lnTo>
                      <a:pt x="3791" y="13137"/>
                    </a:lnTo>
                    <a:lnTo>
                      <a:pt x="4408" y="15429"/>
                    </a:lnTo>
                    <a:lnTo>
                      <a:pt x="5290" y="16928"/>
                    </a:lnTo>
                    <a:lnTo>
                      <a:pt x="4144" y="17810"/>
                    </a:lnTo>
                    <a:lnTo>
                      <a:pt x="4937" y="19221"/>
                    </a:lnTo>
                    <a:lnTo>
                      <a:pt x="5907" y="18692"/>
                    </a:lnTo>
                    <a:lnTo>
                      <a:pt x="7318" y="17810"/>
                    </a:lnTo>
                    <a:lnTo>
                      <a:pt x="8200" y="18075"/>
                    </a:lnTo>
                    <a:lnTo>
                      <a:pt x="8200" y="19485"/>
                    </a:lnTo>
                    <a:lnTo>
                      <a:pt x="6436" y="20984"/>
                    </a:lnTo>
                    <a:lnTo>
                      <a:pt x="9081" y="20984"/>
                    </a:lnTo>
                    <a:lnTo>
                      <a:pt x="10492" y="22748"/>
                    </a:lnTo>
                    <a:lnTo>
                      <a:pt x="11109" y="23894"/>
                    </a:lnTo>
                    <a:lnTo>
                      <a:pt x="11727" y="27068"/>
                    </a:lnTo>
                    <a:lnTo>
                      <a:pt x="10757" y="27949"/>
                    </a:lnTo>
                    <a:lnTo>
                      <a:pt x="11109" y="29184"/>
                    </a:lnTo>
                    <a:lnTo>
                      <a:pt x="10492" y="30947"/>
                    </a:lnTo>
                    <a:lnTo>
                      <a:pt x="11374" y="31476"/>
                    </a:lnTo>
                    <a:lnTo>
                      <a:pt x="11727" y="33504"/>
                    </a:lnTo>
                    <a:lnTo>
                      <a:pt x="11374" y="35003"/>
                    </a:lnTo>
                    <a:lnTo>
                      <a:pt x="12520" y="36766"/>
                    </a:lnTo>
                    <a:lnTo>
                      <a:pt x="14636" y="37648"/>
                    </a:lnTo>
                    <a:lnTo>
                      <a:pt x="15165" y="41704"/>
                    </a:lnTo>
                    <a:lnTo>
                      <a:pt x="16311" y="46024"/>
                    </a:lnTo>
                    <a:lnTo>
                      <a:pt x="17545" y="46377"/>
                    </a:lnTo>
                    <a:lnTo>
                      <a:pt x="18956" y="45495"/>
                    </a:lnTo>
                    <a:lnTo>
                      <a:pt x="19573" y="45759"/>
                    </a:lnTo>
                    <a:lnTo>
                      <a:pt x="19573" y="48405"/>
                    </a:lnTo>
                    <a:lnTo>
                      <a:pt x="21601" y="51050"/>
                    </a:lnTo>
                    <a:lnTo>
                      <a:pt x="22748" y="52460"/>
                    </a:lnTo>
                    <a:lnTo>
                      <a:pt x="22748" y="54224"/>
                    </a:lnTo>
                    <a:lnTo>
                      <a:pt x="21337" y="55370"/>
                    </a:lnTo>
                    <a:lnTo>
                      <a:pt x="25393" y="63570"/>
                    </a:lnTo>
                    <a:lnTo>
                      <a:pt x="23894" y="64187"/>
                    </a:lnTo>
                    <a:lnTo>
                      <a:pt x="23894" y="65862"/>
                    </a:lnTo>
                    <a:lnTo>
                      <a:pt x="24775" y="66744"/>
                    </a:lnTo>
                    <a:lnTo>
                      <a:pt x="24246" y="67978"/>
                    </a:lnTo>
                    <a:lnTo>
                      <a:pt x="24246" y="73180"/>
                    </a:lnTo>
                    <a:lnTo>
                      <a:pt x="23012" y="75208"/>
                    </a:lnTo>
                    <a:lnTo>
                      <a:pt x="21601" y="76707"/>
                    </a:lnTo>
                    <a:lnTo>
                      <a:pt x="20984" y="80145"/>
                    </a:lnTo>
                    <a:lnTo>
                      <a:pt x="19838" y="80762"/>
                    </a:lnTo>
                    <a:lnTo>
                      <a:pt x="19838" y="81909"/>
                    </a:lnTo>
                    <a:lnTo>
                      <a:pt x="20720" y="82261"/>
                    </a:lnTo>
                    <a:lnTo>
                      <a:pt x="17810" y="85171"/>
                    </a:lnTo>
                    <a:lnTo>
                      <a:pt x="17810" y="86052"/>
                    </a:lnTo>
                    <a:lnTo>
                      <a:pt x="15165" y="88080"/>
                    </a:lnTo>
                    <a:lnTo>
                      <a:pt x="15165" y="89226"/>
                    </a:lnTo>
                    <a:lnTo>
                      <a:pt x="13137" y="88962"/>
                    </a:lnTo>
                    <a:lnTo>
                      <a:pt x="13137" y="90725"/>
                    </a:lnTo>
                    <a:lnTo>
                      <a:pt x="13401" y="92753"/>
                    </a:lnTo>
                    <a:lnTo>
                      <a:pt x="11109" y="95663"/>
                    </a:lnTo>
                    <a:lnTo>
                      <a:pt x="9081" y="96809"/>
                    </a:lnTo>
                    <a:lnTo>
                      <a:pt x="8464" y="98837"/>
                    </a:lnTo>
                    <a:lnTo>
                      <a:pt x="6172" y="99983"/>
                    </a:lnTo>
                    <a:lnTo>
                      <a:pt x="3791" y="104391"/>
                    </a:lnTo>
                    <a:lnTo>
                      <a:pt x="4144" y="106155"/>
                    </a:lnTo>
                    <a:lnTo>
                      <a:pt x="2910" y="107566"/>
                    </a:lnTo>
                    <a:lnTo>
                      <a:pt x="353" y="112856"/>
                    </a:lnTo>
                    <a:lnTo>
                      <a:pt x="2645" y="119292"/>
                    </a:lnTo>
                    <a:lnTo>
                      <a:pt x="0" y="125111"/>
                    </a:lnTo>
                    <a:lnTo>
                      <a:pt x="0" y="130313"/>
                    </a:lnTo>
                    <a:lnTo>
                      <a:pt x="2028" y="139130"/>
                    </a:lnTo>
                    <a:lnTo>
                      <a:pt x="2028" y="140276"/>
                    </a:lnTo>
                    <a:lnTo>
                      <a:pt x="80233" y="191854"/>
                    </a:lnTo>
                    <a:lnTo>
                      <a:pt x="83407" y="195998"/>
                    </a:lnTo>
                    <a:lnTo>
                      <a:pt x="83760" y="198555"/>
                    </a:lnTo>
                    <a:lnTo>
                      <a:pt x="83143" y="200054"/>
                    </a:lnTo>
                    <a:lnTo>
                      <a:pt x="81380" y="201818"/>
                    </a:lnTo>
                    <a:lnTo>
                      <a:pt x="114972" y="2301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5" name="Freihandform: Form 1804">
                <a:extLst>
                  <a:ext uri="{FF2B5EF4-FFF2-40B4-BE49-F238E27FC236}">
                    <a16:creationId xmlns:a16="http://schemas.microsoft.com/office/drawing/2014/main" id="{16E9C7E0-246B-7EAE-7578-7AAEF3B1301D}"/>
                  </a:ext>
                </a:extLst>
              </p:cNvPr>
              <p:cNvSpPr/>
              <p:nvPr/>
            </p:nvSpPr>
            <p:spPr>
              <a:xfrm>
                <a:off x="3703237" y="3834133"/>
                <a:ext cx="65597" cy="43202"/>
              </a:xfrm>
              <a:custGeom>
                <a:avLst/>
                <a:gdLst>
                  <a:gd name="connsiteX0" fmla="*/ 65597 w 65597"/>
                  <a:gd name="connsiteY0" fmla="*/ 0 h 43202"/>
                  <a:gd name="connsiteX1" fmla="*/ 65597 w 65597"/>
                  <a:gd name="connsiteY1" fmla="*/ 2645 h 43202"/>
                  <a:gd name="connsiteX2" fmla="*/ 60307 w 65597"/>
                  <a:gd name="connsiteY2" fmla="*/ 11638 h 43202"/>
                  <a:gd name="connsiteX3" fmla="*/ 64451 w 65597"/>
                  <a:gd name="connsiteY3" fmla="*/ 24775 h 43202"/>
                  <a:gd name="connsiteX4" fmla="*/ 48140 w 65597"/>
                  <a:gd name="connsiteY4" fmla="*/ 28567 h 43202"/>
                  <a:gd name="connsiteX5" fmla="*/ 36678 w 65597"/>
                  <a:gd name="connsiteY5" fmla="*/ 43203 h 43202"/>
                  <a:gd name="connsiteX6" fmla="*/ 36678 w 65597"/>
                  <a:gd name="connsiteY6" fmla="*/ 42850 h 43202"/>
                  <a:gd name="connsiteX7" fmla="*/ 36149 w 65597"/>
                  <a:gd name="connsiteY7" fmla="*/ 42585 h 43202"/>
                  <a:gd name="connsiteX8" fmla="*/ 35267 w 65597"/>
                  <a:gd name="connsiteY8" fmla="*/ 43203 h 43202"/>
                  <a:gd name="connsiteX9" fmla="*/ 36149 w 65597"/>
                  <a:gd name="connsiteY9" fmla="*/ 41704 h 43202"/>
                  <a:gd name="connsiteX10" fmla="*/ 35267 w 65597"/>
                  <a:gd name="connsiteY10" fmla="*/ 41439 h 43202"/>
                  <a:gd name="connsiteX11" fmla="*/ 35267 w 65597"/>
                  <a:gd name="connsiteY11" fmla="*/ 40205 h 43202"/>
                  <a:gd name="connsiteX12" fmla="*/ 36678 w 65597"/>
                  <a:gd name="connsiteY12" fmla="*/ 39059 h 43202"/>
                  <a:gd name="connsiteX13" fmla="*/ 36678 w 65597"/>
                  <a:gd name="connsiteY13" fmla="*/ 37648 h 43202"/>
                  <a:gd name="connsiteX14" fmla="*/ 35532 w 65597"/>
                  <a:gd name="connsiteY14" fmla="*/ 36766 h 43202"/>
                  <a:gd name="connsiteX15" fmla="*/ 35267 w 65597"/>
                  <a:gd name="connsiteY15" fmla="*/ 38530 h 43202"/>
                  <a:gd name="connsiteX16" fmla="*/ 34386 w 65597"/>
                  <a:gd name="connsiteY16" fmla="*/ 38794 h 43202"/>
                  <a:gd name="connsiteX17" fmla="*/ 33768 w 65597"/>
                  <a:gd name="connsiteY17" fmla="*/ 40205 h 43202"/>
                  <a:gd name="connsiteX18" fmla="*/ 31740 w 65597"/>
                  <a:gd name="connsiteY18" fmla="*/ 41086 h 43202"/>
                  <a:gd name="connsiteX19" fmla="*/ 32358 w 65597"/>
                  <a:gd name="connsiteY19" fmla="*/ 37912 h 43202"/>
                  <a:gd name="connsiteX20" fmla="*/ 32358 w 65597"/>
                  <a:gd name="connsiteY20" fmla="*/ 36149 h 43202"/>
                  <a:gd name="connsiteX21" fmla="*/ 32093 w 65597"/>
                  <a:gd name="connsiteY21" fmla="*/ 36149 h 43202"/>
                  <a:gd name="connsiteX22" fmla="*/ 29977 w 65597"/>
                  <a:gd name="connsiteY22" fmla="*/ 36766 h 43202"/>
                  <a:gd name="connsiteX23" fmla="*/ 28831 w 65597"/>
                  <a:gd name="connsiteY23" fmla="*/ 35003 h 43202"/>
                  <a:gd name="connsiteX24" fmla="*/ 30594 w 65597"/>
                  <a:gd name="connsiteY24" fmla="*/ 32622 h 43202"/>
                  <a:gd name="connsiteX25" fmla="*/ 30594 w 65597"/>
                  <a:gd name="connsiteY25" fmla="*/ 32093 h 43202"/>
                  <a:gd name="connsiteX26" fmla="*/ 31211 w 65597"/>
                  <a:gd name="connsiteY26" fmla="*/ 31212 h 43202"/>
                  <a:gd name="connsiteX27" fmla="*/ 30594 w 65597"/>
                  <a:gd name="connsiteY27" fmla="*/ 30330 h 43202"/>
                  <a:gd name="connsiteX28" fmla="*/ 28302 w 65597"/>
                  <a:gd name="connsiteY28" fmla="*/ 33240 h 43202"/>
                  <a:gd name="connsiteX29" fmla="*/ 26538 w 65597"/>
                  <a:gd name="connsiteY29" fmla="*/ 33504 h 43202"/>
                  <a:gd name="connsiteX30" fmla="*/ 26186 w 65597"/>
                  <a:gd name="connsiteY30" fmla="*/ 32093 h 43202"/>
                  <a:gd name="connsiteX31" fmla="*/ 27420 w 65597"/>
                  <a:gd name="connsiteY31" fmla="*/ 30330 h 43202"/>
                  <a:gd name="connsiteX32" fmla="*/ 28302 w 65597"/>
                  <a:gd name="connsiteY32" fmla="*/ 30065 h 43202"/>
                  <a:gd name="connsiteX33" fmla="*/ 28831 w 65597"/>
                  <a:gd name="connsiteY33" fmla="*/ 29184 h 43202"/>
                  <a:gd name="connsiteX34" fmla="*/ 30330 w 65597"/>
                  <a:gd name="connsiteY34" fmla="*/ 28567 h 43202"/>
                  <a:gd name="connsiteX35" fmla="*/ 30859 w 65597"/>
                  <a:gd name="connsiteY35" fmla="*/ 28567 h 43202"/>
                  <a:gd name="connsiteX36" fmla="*/ 30594 w 65597"/>
                  <a:gd name="connsiteY36" fmla="*/ 27420 h 43202"/>
                  <a:gd name="connsiteX37" fmla="*/ 32093 w 65597"/>
                  <a:gd name="connsiteY37" fmla="*/ 27420 h 43202"/>
                  <a:gd name="connsiteX38" fmla="*/ 32358 w 65597"/>
                  <a:gd name="connsiteY38" fmla="*/ 26539 h 43202"/>
                  <a:gd name="connsiteX39" fmla="*/ 33239 w 65597"/>
                  <a:gd name="connsiteY39" fmla="*/ 26803 h 43202"/>
                  <a:gd name="connsiteX40" fmla="*/ 34121 w 65597"/>
                  <a:gd name="connsiteY40" fmla="*/ 26539 h 43202"/>
                  <a:gd name="connsiteX41" fmla="*/ 34386 w 65597"/>
                  <a:gd name="connsiteY41" fmla="*/ 26539 h 43202"/>
                  <a:gd name="connsiteX42" fmla="*/ 34121 w 65597"/>
                  <a:gd name="connsiteY42" fmla="*/ 27156 h 43202"/>
                  <a:gd name="connsiteX43" fmla="*/ 35532 w 65597"/>
                  <a:gd name="connsiteY43" fmla="*/ 27420 h 43202"/>
                  <a:gd name="connsiteX44" fmla="*/ 36413 w 65597"/>
                  <a:gd name="connsiteY44" fmla="*/ 27420 h 43202"/>
                  <a:gd name="connsiteX45" fmla="*/ 37031 w 65597"/>
                  <a:gd name="connsiteY45" fmla="*/ 26539 h 43202"/>
                  <a:gd name="connsiteX46" fmla="*/ 36149 w 65597"/>
                  <a:gd name="connsiteY46" fmla="*/ 26539 h 43202"/>
                  <a:gd name="connsiteX47" fmla="*/ 35532 w 65597"/>
                  <a:gd name="connsiteY47" fmla="*/ 26539 h 43202"/>
                  <a:gd name="connsiteX48" fmla="*/ 35003 w 65597"/>
                  <a:gd name="connsiteY48" fmla="*/ 24775 h 43202"/>
                  <a:gd name="connsiteX49" fmla="*/ 33768 w 65597"/>
                  <a:gd name="connsiteY49" fmla="*/ 25040 h 43202"/>
                  <a:gd name="connsiteX50" fmla="*/ 33768 w 65597"/>
                  <a:gd name="connsiteY50" fmla="*/ 24511 h 43202"/>
                  <a:gd name="connsiteX51" fmla="*/ 32358 w 65597"/>
                  <a:gd name="connsiteY51" fmla="*/ 24775 h 43202"/>
                  <a:gd name="connsiteX52" fmla="*/ 32887 w 65597"/>
                  <a:gd name="connsiteY52" fmla="*/ 24511 h 43202"/>
                  <a:gd name="connsiteX53" fmla="*/ 33504 w 65597"/>
                  <a:gd name="connsiteY53" fmla="*/ 23629 h 43202"/>
                  <a:gd name="connsiteX54" fmla="*/ 32358 w 65597"/>
                  <a:gd name="connsiteY54" fmla="*/ 23629 h 43202"/>
                  <a:gd name="connsiteX55" fmla="*/ 32093 w 65597"/>
                  <a:gd name="connsiteY55" fmla="*/ 24775 h 43202"/>
                  <a:gd name="connsiteX56" fmla="*/ 31476 w 65597"/>
                  <a:gd name="connsiteY56" fmla="*/ 24158 h 43202"/>
                  <a:gd name="connsiteX57" fmla="*/ 31211 w 65597"/>
                  <a:gd name="connsiteY57" fmla="*/ 24775 h 43202"/>
                  <a:gd name="connsiteX58" fmla="*/ 30330 w 65597"/>
                  <a:gd name="connsiteY58" fmla="*/ 25393 h 43202"/>
                  <a:gd name="connsiteX59" fmla="*/ 29713 w 65597"/>
                  <a:gd name="connsiteY59" fmla="*/ 24158 h 43202"/>
                  <a:gd name="connsiteX60" fmla="*/ 29448 w 65597"/>
                  <a:gd name="connsiteY60" fmla="*/ 25657 h 43202"/>
                  <a:gd name="connsiteX61" fmla="*/ 29713 w 65597"/>
                  <a:gd name="connsiteY61" fmla="*/ 26274 h 43202"/>
                  <a:gd name="connsiteX62" fmla="*/ 29448 w 65597"/>
                  <a:gd name="connsiteY62" fmla="*/ 26803 h 43202"/>
                  <a:gd name="connsiteX63" fmla="*/ 28566 w 65597"/>
                  <a:gd name="connsiteY63" fmla="*/ 26803 h 43202"/>
                  <a:gd name="connsiteX64" fmla="*/ 27949 w 65597"/>
                  <a:gd name="connsiteY64" fmla="*/ 27156 h 43202"/>
                  <a:gd name="connsiteX65" fmla="*/ 27420 w 65597"/>
                  <a:gd name="connsiteY65" fmla="*/ 26803 h 43202"/>
                  <a:gd name="connsiteX66" fmla="*/ 27949 w 65597"/>
                  <a:gd name="connsiteY66" fmla="*/ 25657 h 43202"/>
                  <a:gd name="connsiteX67" fmla="*/ 26538 w 65597"/>
                  <a:gd name="connsiteY67" fmla="*/ 24511 h 43202"/>
                  <a:gd name="connsiteX68" fmla="*/ 25921 w 65597"/>
                  <a:gd name="connsiteY68" fmla="*/ 24775 h 43202"/>
                  <a:gd name="connsiteX69" fmla="*/ 27949 w 65597"/>
                  <a:gd name="connsiteY69" fmla="*/ 20984 h 43202"/>
                  <a:gd name="connsiteX70" fmla="*/ 28566 w 65597"/>
                  <a:gd name="connsiteY70" fmla="*/ 20367 h 43202"/>
                  <a:gd name="connsiteX71" fmla="*/ 30859 w 65597"/>
                  <a:gd name="connsiteY71" fmla="*/ 20367 h 43202"/>
                  <a:gd name="connsiteX72" fmla="*/ 36149 w 65597"/>
                  <a:gd name="connsiteY72" fmla="*/ 18339 h 43202"/>
                  <a:gd name="connsiteX73" fmla="*/ 36149 w 65597"/>
                  <a:gd name="connsiteY73" fmla="*/ 21866 h 43202"/>
                  <a:gd name="connsiteX74" fmla="*/ 38177 w 65597"/>
                  <a:gd name="connsiteY74" fmla="*/ 23012 h 43202"/>
                  <a:gd name="connsiteX75" fmla="*/ 39059 w 65597"/>
                  <a:gd name="connsiteY75" fmla="*/ 23012 h 43202"/>
                  <a:gd name="connsiteX76" fmla="*/ 37912 w 65597"/>
                  <a:gd name="connsiteY76" fmla="*/ 21866 h 43202"/>
                  <a:gd name="connsiteX77" fmla="*/ 37031 w 65597"/>
                  <a:gd name="connsiteY77" fmla="*/ 18075 h 43202"/>
                  <a:gd name="connsiteX78" fmla="*/ 36149 w 65597"/>
                  <a:gd name="connsiteY78" fmla="*/ 17193 h 43202"/>
                  <a:gd name="connsiteX79" fmla="*/ 32622 w 65597"/>
                  <a:gd name="connsiteY79" fmla="*/ 18692 h 43202"/>
                  <a:gd name="connsiteX80" fmla="*/ 28566 w 65597"/>
                  <a:gd name="connsiteY80" fmla="*/ 17457 h 43202"/>
                  <a:gd name="connsiteX81" fmla="*/ 24158 w 65597"/>
                  <a:gd name="connsiteY81" fmla="*/ 20984 h 43202"/>
                  <a:gd name="connsiteX82" fmla="*/ 19838 w 65597"/>
                  <a:gd name="connsiteY82" fmla="*/ 23012 h 43202"/>
                  <a:gd name="connsiteX83" fmla="*/ 21866 w 65597"/>
                  <a:gd name="connsiteY83" fmla="*/ 20367 h 43202"/>
                  <a:gd name="connsiteX84" fmla="*/ 19485 w 65597"/>
                  <a:gd name="connsiteY84" fmla="*/ 22483 h 43202"/>
                  <a:gd name="connsiteX85" fmla="*/ 18339 w 65597"/>
                  <a:gd name="connsiteY85" fmla="*/ 22747 h 43202"/>
                  <a:gd name="connsiteX86" fmla="*/ 18339 w 65597"/>
                  <a:gd name="connsiteY86" fmla="*/ 21866 h 43202"/>
                  <a:gd name="connsiteX87" fmla="*/ 16928 w 65597"/>
                  <a:gd name="connsiteY87" fmla="*/ 22483 h 43202"/>
                  <a:gd name="connsiteX88" fmla="*/ 20367 w 65597"/>
                  <a:gd name="connsiteY88" fmla="*/ 16928 h 43202"/>
                  <a:gd name="connsiteX89" fmla="*/ 20984 w 65597"/>
                  <a:gd name="connsiteY89" fmla="*/ 15694 h 43202"/>
                  <a:gd name="connsiteX90" fmla="*/ 18956 w 65597"/>
                  <a:gd name="connsiteY90" fmla="*/ 16311 h 43202"/>
                  <a:gd name="connsiteX91" fmla="*/ 17193 w 65597"/>
                  <a:gd name="connsiteY91" fmla="*/ 17457 h 43202"/>
                  <a:gd name="connsiteX92" fmla="*/ 16928 w 65597"/>
                  <a:gd name="connsiteY92" fmla="*/ 19221 h 43202"/>
                  <a:gd name="connsiteX93" fmla="*/ 13137 w 65597"/>
                  <a:gd name="connsiteY93" fmla="*/ 19573 h 43202"/>
                  <a:gd name="connsiteX94" fmla="*/ 9610 w 65597"/>
                  <a:gd name="connsiteY94" fmla="*/ 17193 h 43202"/>
                  <a:gd name="connsiteX95" fmla="*/ 8729 w 65597"/>
                  <a:gd name="connsiteY95" fmla="*/ 14019 h 43202"/>
                  <a:gd name="connsiteX96" fmla="*/ 8729 w 65597"/>
                  <a:gd name="connsiteY96" fmla="*/ 12520 h 43202"/>
                  <a:gd name="connsiteX97" fmla="*/ 10139 w 65597"/>
                  <a:gd name="connsiteY97" fmla="*/ 12520 h 43202"/>
                  <a:gd name="connsiteX98" fmla="*/ 12520 w 65597"/>
                  <a:gd name="connsiteY98" fmla="*/ 11638 h 43202"/>
                  <a:gd name="connsiteX99" fmla="*/ 13401 w 65597"/>
                  <a:gd name="connsiteY99" fmla="*/ 9610 h 43202"/>
                  <a:gd name="connsiteX100" fmla="*/ 13666 w 65597"/>
                  <a:gd name="connsiteY100" fmla="*/ 8464 h 43202"/>
                  <a:gd name="connsiteX101" fmla="*/ 9346 w 65597"/>
                  <a:gd name="connsiteY101" fmla="*/ 11374 h 43202"/>
                  <a:gd name="connsiteX102" fmla="*/ 9346 w 65597"/>
                  <a:gd name="connsiteY102" fmla="*/ 9610 h 43202"/>
                  <a:gd name="connsiteX103" fmla="*/ 7847 w 65597"/>
                  <a:gd name="connsiteY103" fmla="*/ 12255 h 43202"/>
                  <a:gd name="connsiteX104" fmla="*/ 6083 w 65597"/>
                  <a:gd name="connsiteY104" fmla="*/ 12520 h 43202"/>
                  <a:gd name="connsiteX105" fmla="*/ 4056 w 65597"/>
                  <a:gd name="connsiteY105" fmla="*/ 10492 h 43202"/>
                  <a:gd name="connsiteX106" fmla="*/ 1763 w 65597"/>
                  <a:gd name="connsiteY106" fmla="*/ 9610 h 43202"/>
                  <a:gd name="connsiteX107" fmla="*/ 0 w 65597"/>
                  <a:gd name="connsiteY107" fmla="*/ 8993 h 43202"/>
                  <a:gd name="connsiteX108" fmla="*/ 11638 w 65597"/>
                  <a:gd name="connsiteY108" fmla="*/ 5202 h 43202"/>
                  <a:gd name="connsiteX109" fmla="*/ 29184 w 65597"/>
                  <a:gd name="connsiteY109" fmla="*/ 3174 h 43202"/>
                  <a:gd name="connsiteX110" fmla="*/ 32622 w 65597"/>
                  <a:gd name="connsiteY110" fmla="*/ 0 h 43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65597" h="43202">
                    <a:moveTo>
                      <a:pt x="65597" y="0"/>
                    </a:moveTo>
                    <a:lnTo>
                      <a:pt x="65597" y="2645"/>
                    </a:lnTo>
                    <a:lnTo>
                      <a:pt x="60307" y="11638"/>
                    </a:lnTo>
                    <a:lnTo>
                      <a:pt x="64451" y="24775"/>
                    </a:lnTo>
                    <a:lnTo>
                      <a:pt x="48140" y="28567"/>
                    </a:lnTo>
                    <a:lnTo>
                      <a:pt x="36678" y="43203"/>
                    </a:lnTo>
                    <a:lnTo>
                      <a:pt x="36678" y="42850"/>
                    </a:lnTo>
                    <a:lnTo>
                      <a:pt x="36149" y="42585"/>
                    </a:lnTo>
                    <a:lnTo>
                      <a:pt x="35267" y="43203"/>
                    </a:lnTo>
                    <a:lnTo>
                      <a:pt x="36149" y="41704"/>
                    </a:lnTo>
                    <a:lnTo>
                      <a:pt x="35267" y="41439"/>
                    </a:lnTo>
                    <a:lnTo>
                      <a:pt x="35267" y="40205"/>
                    </a:lnTo>
                    <a:lnTo>
                      <a:pt x="36678" y="39059"/>
                    </a:lnTo>
                    <a:lnTo>
                      <a:pt x="36678" y="37648"/>
                    </a:lnTo>
                    <a:lnTo>
                      <a:pt x="35532" y="36766"/>
                    </a:lnTo>
                    <a:lnTo>
                      <a:pt x="35267" y="38530"/>
                    </a:lnTo>
                    <a:lnTo>
                      <a:pt x="34386" y="38794"/>
                    </a:lnTo>
                    <a:lnTo>
                      <a:pt x="33768" y="40205"/>
                    </a:lnTo>
                    <a:lnTo>
                      <a:pt x="31740" y="41086"/>
                    </a:lnTo>
                    <a:lnTo>
                      <a:pt x="32358" y="37912"/>
                    </a:lnTo>
                    <a:lnTo>
                      <a:pt x="32358" y="36149"/>
                    </a:lnTo>
                    <a:lnTo>
                      <a:pt x="32093" y="36149"/>
                    </a:lnTo>
                    <a:lnTo>
                      <a:pt x="29977" y="36766"/>
                    </a:lnTo>
                    <a:lnTo>
                      <a:pt x="28831" y="35003"/>
                    </a:lnTo>
                    <a:lnTo>
                      <a:pt x="30594" y="32622"/>
                    </a:lnTo>
                    <a:lnTo>
                      <a:pt x="30594" y="32093"/>
                    </a:lnTo>
                    <a:lnTo>
                      <a:pt x="31211" y="31212"/>
                    </a:lnTo>
                    <a:lnTo>
                      <a:pt x="30594" y="30330"/>
                    </a:lnTo>
                    <a:lnTo>
                      <a:pt x="28302" y="33240"/>
                    </a:lnTo>
                    <a:lnTo>
                      <a:pt x="26538" y="33504"/>
                    </a:lnTo>
                    <a:lnTo>
                      <a:pt x="26186" y="32093"/>
                    </a:lnTo>
                    <a:lnTo>
                      <a:pt x="27420" y="30330"/>
                    </a:lnTo>
                    <a:lnTo>
                      <a:pt x="28302" y="30065"/>
                    </a:lnTo>
                    <a:lnTo>
                      <a:pt x="28831" y="29184"/>
                    </a:lnTo>
                    <a:lnTo>
                      <a:pt x="30330" y="28567"/>
                    </a:lnTo>
                    <a:lnTo>
                      <a:pt x="30859" y="28567"/>
                    </a:lnTo>
                    <a:lnTo>
                      <a:pt x="30594" y="27420"/>
                    </a:lnTo>
                    <a:lnTo>
                      <a:pt x="32093" y="27420"/>
                    </a:lnTo>
                    <a:lnTo>
                      <a:pt x="32358" y="26539"/>
                    </a:lnTo>
                    <a:lnTo>
                      <a:pt x="33239" y="26803"/>
                    </a:lnTo>
                    <a:lnTo>
                      <a:pt x="34121" y="26539"/>
                    </a:lnTo>
                    <a:lnTo>
                      <a:pt x="34386" y="26539"/>
                    </a:lnTo>
                    <a:lnTo>
                      <a:pt x="34121" y="27156"/>
                    </a:lnTo>
                    <a:lnTo>
                      <a:pt x="35532" y="27420"/>
                    </a:lnTo>
                    <a:lnTo>
                      <a:pt x="36413" y="27420"/>
                    </a:lnTo>
                    <a:lnTo>
                      <a:pt x="37031" y="26539"/>
                    </a:lnTo>
                    <a:lnTo>
                      <a:pt x="36149" y="26539"/>
                    </a:lnTo>
                    <a:lnTo>
                      <a:pt x="35532" y="26539"/>
                    </a:lnTo>
                    <a:lnTo>
                      <a:pt x="35003" y="24775"/>
                    </a:lnTo>
                    <a:lnTo>
                      <a:pt x="33768" y="25040"/>
                    </a:lnTo>
                    <a:lnTo>
                      <a:pt x="33768" y="24511"/>
                    </a:lnTo>
                    <a:lnTo>
                      <a:pt x="32358" y="24775"/>
                    </a:lnTo>
                    <a:lnTo>
                      <a:pt x="32887" y="24511"/>
                    </a:lnTo>
                    <a:lnTo>
                      <a:pt x="33504" y="23629"/>
                    </a:lnTo>
                    <a:lnTo>
                      <a:pt x="32358" y="23629"/>
                    </a:lnTo>
                    <a:lnTo>
                      <a:pt x="32093" y="24775"/>
                    </a:lnTo>
                    <a:lnTo>
                      <a:pt x="31476" y="24158"/>
                    </a:lnTo>
                    <a:lnTo>
                      <a:pt x="31211" y="24775"/>
                    </a:lnTo>
                    <a:lnTo>
                      <a:pt x="30330" y="25393"/>
                    </a:lnTo>
                    <a:lnTo>
                      <a:pt x="29713" y="24158"/>
                    </a:lnTo>
                    <a:lnTo>
                      <a:pt x="29448" y="25657"/>
                    </a:lnTo>
                    <a:lnTo>
                      <a:pt x="29713" y="26274"/>
                    </a:lnTo>
                    <a:lnTo>
                      <a:pt x="29448" y="26803"/>
                    </a:lnTo>
                    <a:lnTo>
                      <a:pt x="28566" y="26803"/>
                    </a:lnTo>
                    <a:lnTo>
                      <a:pt x="27949" y="27156"/>
                    </a:lnTo>
                    <a:lnTo>
                      <a:pt x="27420" y="26803"/>
                    </a:lnTo>
                    <a:lnTo>
                      <a:pt x="27949" y="25657"/>
                    </a:lnTo>
                    <a:lnTo>
                      <a:pt x="26538" y="24511"/>
                    </a:lnTo>
                    <a:lnTo>
                      <a:pt x="25921" y="24775"/>
                    </a:lnTo>
                    <a:lnTo>
                      <a:pt x="27949" y="20984"/>
                    </a:lnTo>
                    <a:lnTo>
                      <a:pt x="28566" y="20367"/>
                    </a:lnTo>
                    <a:lnTo>
                      <a:pt x="30859" y="20367"/>
                    </a:lnTo>
                    <a:lnTo>
                      <a:pt x="36149" y="18339"/>
                    </a:lnTo>
                    <a:lnTo>
                      <a:pt x="36149" y="21866"/>
                    </a:lnTo>
                    <a:lnTo>
                      <a:pt x="38177" y="23012"/>
                    </a:lnTo>
                    <a:lnTo>
                      <a:pt x="39059" y="23012"/>
                    </a:lnTo>
                    <a:lnTo>
                      <a:pt x="37912" y="21866"/>
                    </a:lnTo>
                    <a:lnTo>
                      <a:pt x="37031" y="18075"/>
                    </a:lnTo>
                    <a:lnTo>
                      <a:pt x="36149" y="17193"/>
                    </a:lnTo>
                    <a:lnTo>
                      <a:pt x="32622" y="18692"/>
                    </a:lnTo>
                    <a:lnTo>
                      <a:pt x="28566" y="17457"/>
                    </a:lnTo>
                    <a:lnTo>
                      <a:pt x="24158" y="20984"/>
                    </a:lnTo>
                    <a:lnTo>
                      <a:pt x="19838" y="23012"/>
                    </a:lnTo>
                    <a:lnTo>
                      <a:pt x="21866" y="20367"/>
                    </a:lnTo>
                    <a:lnTo>
                      <a:pt x="19485" y="22483"/>
                    </a:lnTo>
                    <a:lnTo>
                      <a:pt x="18339" y="22747"/>
                    </a:lnTo>
                    <a:lnTo>
                      <a:pt x="18339" y="21866"/>
                    </a:lnTo>
                    <a:lnTo>
                      <a:pt x="16928" y="22483"/>
                    </a:lnTo>
                    <a:lnTo>
                      <a:pt x="20367" y="16928"/>
                    </a:lnTo>
                    <a:lnTo>
                      <a:pt x="20984" y="15694"/>
                    </a:lnTo>
                    <a:lnTo>
                      <a:pt x="18956" y="16311"/>
                    </a:lnTo>
                    <a:lnTo>
                      <a:pt x="17193" y="17457"/>
                    </a:lnTo>
                    <a:lnTo>
                      <a:pt x="16928" y="19221"/>
                    </a:lnTo>
                    <a:lnTo>
                      <a:pt x="13137" y="19573"/>
                    </a:lnTo>
                    <a:lnTo>
                      <a:pt x="9610" y="17193"/>
                    </a:lnTo>
                    <a:lnTo>
                      <a:pt x="8729" y="14019"/>
                    </a:lnTo>
                    <a:lnTo>
                      <a:pt x="8729" y="12520"/>
                    </a:lnTo>
                    <a:lnTo>
                      <a:pt x="10139" y="12520"/>
                    </a:lnTo>
                    <a:lnTo>
                      <a:pt x="12520" y="11638"/>
                    </a:lnTo>
                    <a:lnTo>
                      <a:pt x="13401" y="9610"/>
                    </a:lnTo>
                    <a:lnTo>
                      <a:pt x="13666" y="8464"/>
                    </a:lnTo>
                    <a:lnTo>
                      <a:pt x="9346" y="11374"/>
                    </a:lnTo>
                    <a:lnTo>
                      <a:pt x="9346" y="9610"/>
                    </a:lnTo>
                    <a:lnTo>
                      <a:pt x="7847" y="12255"/>
                    </a:lnTo>
                    <a:lnTo>
                      <a:pt x="6083" y="12520"/>
                    </a:lnTo>
                    <a:lnTo>
                      <a:pt x="4056" y="10492"/>
                    </a:lnTo>
                    <a:lnTo>
                      <a:pt x="1763" y="9610"/>
                    </a:lnTo>
                    <a:lnTo>
                      <a:pt x="0" y="8993"/>
                    </a:lnTo>
                    <a:lnTo>
                      <a:pt x="11638" y="5202"/>
                    </a:lnTo>
                    <a:lnTo>
                      <a:pt x="29184" y="3174"/>
                    </a:lnTo>
                    <a:lnTo>
                      <a:pt x="326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6" name="Freihandform: Form 1805">
                <a:extLst>
                  <a:ext uri="{FF2B5EF4-FFF2-40B4-BE49-F238E27FC236}">
                    <a16:creationId xmlns:a16="http://schemas.microsoft.com/office/drawing/2014/main" id="{F9172556-FD8F-FEB1-6608-E70B03FD011C}"/>
                  </a:ext>
                </a:extLst>
              </p:cNvPr>
              <p:cNvSpPr/>
              <p:nvPr/>
            </p:nvSpPr>
            <p:spPr>
              <a:xfrm>
                <a:off x="4254465" y="4053408"/>
                <a:ext cx="64186" cy="72121"/>
              </a:xfrm>
              <a:custGeom>
                <a:avLst/>
                <a:gdLst>
                  <a:gd name="connsiteX0" fmla="*/ 10228 w 64186"/>
                  <a:gd name="connsiteY0" fmla="*/ 5290 h 72121"/>
                  <a:gd name="connsiteX1" fmla="*/ 11109 w 64186"/>
                  <a:gd name="connsiteY1" fmla="*/ 8200 h 72121"/>
                  <a:gd name="connsiteX2" fmla="*/ 8817 w 64186"/>
                  <a:gd name="connsiteY2" fmla="*/ 12255 h 72121"/>
                  <a:gd name="connsiteX3" fmla="*/ 6789 w 64186"/>
                  <a:gd name="connsiteY3" fmla="*/ 14900 h 72121"/>
                  <a:gd name="connsiteX4" fmla="*/ 4408 w 64186"/>
                  <a:gd name="connsiteY4" fmla="*/ 15517 h 72121"/>
                  <a:gd name="connsiteX5" fmla="*/ 617 w 64186"/>
                  <a:gd name="connsiteY5" fmla="*/ 11109 h 72121"/>
                  <a:gd name="connsiteX6" fmla="*/ 0 w 64186"/>
                  <a:gd name="connsiteY6" fmla="*/ 8464 h 72121"/>
                  <a:gd name="connsiteX7" fmla="*/ 2645 w 64186"/>
                  <a:gd name="connsiteY7" fmla="*/ 4408 h 72121"/>
                  <a:gd name="connsiteX8" fmla="*/ 3791 w 64186"/>
                  <a:gd name="connsiteY8" fmla="*/ 1763 h 72121"/>
                  <a:gd name="connsiteX9" fmla="*/ 4937 w 64186"/>
                  <a:gd name="connsiteY9" fmla="*/ 0 h 72121"/>
                  <a:gd name="connsiteX10" fmla="*/ 7582 w 64186"/>
                  <a:gd name="connsiteY10" fmla="*/ 1763 h 72121"/>
                  <a:gd name="connsiteX11" fmla="*/ 8464 w 64186"/>
                  <a:gd name="connsiteY11" fmla="*/ 4673 h 72121"/>
                  <a:gd name="connsiteX12" fmla="*/ 10228 w 64186"/>
                  <a:gd name="connsiteY12" fmla="*/ 5290 h 72121"/>
                  <a:gd name="connsiteX13" fmla="*/ 30330 w 64186"/>
                  <a:gd name="connsiteY13" fmla="*/ 72122 h 72121"/>
                  <a:gd name="connsiteX14" fmla="*/ 64187 w 64186"/>
                  <a:gd name="connsiteY14" fmla="*/ 72122 h 72121"/>
                  <a:gd name="connsiteX15" fmla="*/ 63922 w 64186"/>
                  <a:gd name="connsiteY15" fmla="*/ 42409 h 72121"/>
                  <a:gd name="connsiteX16" fmla="*/ 35003 w 64186"/>
                  <a:gd name="connsiteY16" fmla="*/ 42409 h 72121"/>
                  <a:gd name="connsiteX17" fmla="*/ 30594 w 64186"/>
                  <a:gd name="connsiteY17" fmla="*/ 40645 h 72121"/>
                  <a:gd name="connsiteX18" fmla="*/ 30330 w 64186"/>
                  <a:gd name="connsiteY18" fmla="*/ 38353 h 72121"/>
                  <a:gd name="connsiteX19" fmla="*/ 29184 w 64186"/>
                  <a:gd name="connsiteY19" fmla="*/ 38618 h 72121"/>
                  <a:gd name="connsiteX20" fmla="*/ 29184 w 64186"/>
                  <a:gd name="connsiteY20" fmla="*/ 40381 h 72121"/>
                  <a:gd name="connsiteX21" fmla="*/ 28302 w 64186"/>
                  <a:gd name="connsiteY21" fmla="*/ 42144 h 72121"/>
                  <a:gd name="connsiteX22" fmla="*/ 29184 w 64186"/>
                  <a:gd name="connsiteY22" fmla="*/ 45671 h 72121"/>
                  <a:gd name="connsiteX23" fmla="*/ 29801 w 64186"/>
                  <a:gd name="connsiteY23" fmla="*/ 48052 h 72121"/>
                  <a:gd name="connsiteX24" fmla="*/ 30330 w 64186"/>
                  <a:gd name="connsiteY24" fmla="*/ 48933 h 72121"/>
                  <a:gd name="connsiteX25" fmla="*/ 28566 w 64186"/>
                  <a:gd name="connsiteY25" fmla="*/ 52725 h 72121"/>
                  <a:gd name="connsiteX26" fmla="*/ 27685 w 64186"/>
                  <a:gd name="connsiteY26" fmla="*/ 52725 h 72121"/>
                  <a:gd name="connsiteX27" fmla="*/ 26803 w 64186"/>
                  <a:gd name="connsiteY27" fmla="*/ 52725 h 72121"/>
                  <a:gd name="connsiteX28" fmla="*/ 26539 w 64186"/>
                  <a:gd name="connsiteY28" fmla="*/ 54752 h 72121"/>
                  <a:gd name="connsiteX29" fmla="*/ 26274 w 64186"/>
                  <a:gd name="connsiteY29" fmla="*/ 55899 h 72121"/>
                  <a:gd name="connsiteX30" fmla="*/ 26891 w 64186"/>
                  <a:gd name="connsiteY30" fmla="*/ 57045 h 72121"/>
                  <a:gd name="connsiteX31" fmla="*/ 28390 w 64186"/>
                  <a:gd name="connsiteY31" fmla="*/ 56780 h 72121"/>
                  <a:gd name="connsiteX32" fmla="*/ 28126 w 64186"/>
                  <a:gd name="connsiteY32" fmla="*/ 57662 h 72121"/>
                  <a:gd name="connsiteX33" fmla="*/ 26980 w 64186"/>
                  <a:gd name="connsiteY33" fmla="*/ 57927 h 72121"/>
                  <a:gd name="connsiteX34" fmla="*/ 26098 w 64186"/>
                  <a:gd name="connsiteY34" fmla="*/ 60836 h 72121"/>
                  <a:gd name="connsiteX35" fmla="*/ 24952 w 64186"/>
                  <a:gd name="connsiteY35" fmla="*/ 61982 h 72121"/>
                  <a:gd name="connsiteX36" fmla="*/ 22659 w 64186"/>
                  <a:gd name="connsiteY36" fmla="*/ 65509 h 72121"/>
                  <a:gd name="connsiteX37" fmla="*/ 21778 w 64186"/>
                  <a:gd name="connsiteY37" fmla="*/ 66038 h 72121"/>
                  <a:gd name="connsiteX38" fmla="*/ 20896 w 64186"/>
                  <a:gd name="connsiteY38" fmla="*/ 66655 h 72121"/>
                  <a:gd name="connsiteX39" fmla="*/ 20279 w 64186"/>
                  <a:gd name="connsiteY39" fmla="*/ 67273 h 72121"/>
                  <a:gd name="connsiteX40" fmla="*/ 20279 w 64186"/>
                  <a:gd name="connsiteY40" fmla="*/ 69036 h 72121"/>
                  <a:gd name="connsiteX41" fmla="*/ 21160 w 64186"/>
                  <a:gd name="connsiteY41" fmla="*/ 69300 h 72121"/>
                  <a:gd name="connsiteX42" fmla="*/ 21778 w 64186"/>
                  <a:gd name="connsiteY42" fmla="*/ 69300 h 72121"/>
                  <a:gd name="connsiteX43" fmla="*/ 22307 w 64186"/>
                  <a:gd name="connsiteY43" fmla="*/ 68154 h 72121"/>
                  <a:gd name="connsiteX44" fmla="*/ 23188 w 64186"/>
                  <a:gd name="connsiteY44" fmla="*/ 67889 h 72121"/>
                  <a:gd name="connsiteX45" fmla="*/ 24070 w 64186"/>
                  <a:gd name="connsiteY45" fmla="*/ 67625 h 72121"/>
                  <a:gd name="connsiteX46" fmla="*/ 24952 w 64186"/>
                  <a:gd name="connsiteY46" fmla="*/ 68507 h 72121"/>
                  <a:gd name="connsiteX47" fmla="*/ 25216 w 64186"/>
                  <a:gd name="connsiteY47" fmla="*/ 69388 h 72121"/>
                  <a:gd name="connsiteX48" fmla="*/ 25481 w 64186"/>
                  <a:gd name="connsiteY48" fmla="*/ 70887 h 72121"/>
                  <a:gd name="connsiteX49" fmla="*/ 28126 w 64186"/>
                  <a:gd name="connsiteY49" fmla="*/ 67978 h 72121"/>
                  <a:gd name="connsiteX50" fmla="*/ 29007 w 64186"/>
                  <a:gd name="connsiteY50" fmla="*/ 67978 h 72121"/>
                  <a:gd name="connsiteX51" fmla="*/ 28126 w 64186"/>
                  <a:gd name="connsiteY51" fmla="*/ 69477 h 72121"/>
                  <a:gd name="connsiteX52" fmla="*/ 29007 w 64186"/>
                  <a:gd name="connsiteY52" fmla="*/ 69477 h 72121"/>
                  <a:gd name="connsiteX53" fmla="*/ 30153 w 64186"/>
                  <a:gd name="connsiteY53" fmla="*/ 68859 h 72121"/>
                  <a:gd name="connsiteX54" fmla="*/ 31035 w 64186"/>
                  <a:gd name="connsiteY54" fmla="*/ 69124 h 72121"/>
                  <a:gd name="connsiteX55" fmla="*/ 31917 w 64186"/>
                  <a:gd name="connsiteY55" fmla="*/ 69741 h 72121"/>
                  <a:gd name="connsiteX56" fmla="*/ 31300 w 64186"/>
                  <a:gd name="connsiteY56" fmla="*/ 70358 h 72121"/>
                  <a:gd name="connsiteX57" fmla="*/ 30418 w 64186"/>
                  <a:gd name="connsiteY57" fmla="*/ 70623 h 72121"/>
                  <a:gd name="connsiteX58" fmla="*/ 30418 w 64186"/>
                  <a:gd name="connsiteY58" fmla="*/ 71240 h 72121"/>
                  <a:gd name="connsiteX59" fmla="*/ 30683 w 64186"/>
                  <a:gd name="connsiteY59" fmla="*/ 71857 h 72121"/>
                  <a:gd name="connsiteX60" fmla="*/ 30330 w 64186"/>
                  <a:gd name="connsiteY60" fmla="*/ 72122 h 72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64186" h="72121">
                    <a:moveTo>
                      <a:pt x="10228" y="5290"/>
                    </a:moveTo>
                    <a:lnTo>
                      <a:pt x="11109" y="8200"/>
                    </a:lnTo>
                    <a:lnTo>
                      <a:pt x="8817" y="12255"/>
                    </a:lnTo>
                    <a:lnTo>
                      <a:pt x="6789" y="14900"/>
                    </a:lnTo>
                    <a:lnTo>
                      <a:pt x="4408" y="15517"/>
                    </a:lnTo>
                    <a:lnTo>
                      <a:pt x="617" y="11109"/>
                    </a:lnTo>
                    <a:lnTo>
                      <a:pt x="0" y="8464"/>
                    </a:lnTo>
                    <a:lnTo>
                      <a:pt x="2645" y="4408"/>
                    </a:lnTo>
                    <a:lnTo>
                      <a:pt x="3791" y="1763"/>
                    </a:lnTo>
                    <a:lnTo>
                      <a:pt x="4937" y="0"/>
                    </a:lnTo>
                    <a:lnTo>
                      <a:pt x="7582" y="1763"/>
                    </a:lnTo>
                    <a:lnTo>
                      <a:pt x="8464" y="4673"/>
                    </a:lnTo>
                    <a:lnTo>
                      <a:pt x="10228" y="5290"/>
                    </a:lnTo>
                    <a:close/>
                    <a:moveTo>
                      <a:pt x="30330" y="72122"/>
                    </a:moveTo>
                    <a:lnTo>
                      <a:pt x="64187" y="72122"/>
                    </a:lnTo>
                    <a:lnTo>
                      <a:pt x="63922" y="42409"/>
                    </a:lnTo>
                    <a:lnTo>
                      <a:pt x="35003" y="42409"/>
                    </a:lnTo>
                    <a:lnTo>
                      <a:pt x="30594" y="40645"/>
                    </a:lnTo>
                    <a:lnTo>
                      <a:pt x="30330" y="38353"/>
                    </a:lnTo>
                    <a:lnTo>
                      <a:pt x="29184" y="38618"/>
                    </a:lnTo>
                    <a:lnTo>
                      <a:pt x="29184" y="40381"/>
                    </a:lnTo>
                    <a:lnTo>
                      <a:pt x="28302" y="42144"/>
                    </a:lnTo>
                    <a:lnTo>
                      <a:pt x="29184" y="45671"/>
                    </a:lnTo>
                    <a:lnTo>
                      <a:pt x="29801" y="48052"/>
                    </a:lnTo>
                    <a:lnTo>
                      <a:pt x="30330" y="48933"/>
                    </a:lnTo>
                    <a:lnTo>
                      <a:pt x="28566" y="52725"/>
                    </a:lnTo>
                    <a:lnTo>
                      <a:pt x="27685" y="52725"/>
                    </a:lnTo>
                    <a:lnTo>
                      <a:pt x="26803" y="52725"/>
                    </a:lnTo>
                    <a:lnTo>
                      <a:pt x="26539" y="54752"/>
                    </a:lnTo>
                    <a:lnTo>
                      <a:pt x="26274" y="55899"/>
                    </a:lnTo>
                    <a:lnTo>
                      <a:pt x="26891" y="57045"/>
                    </a:lnTo>
                    <a:lnTo>
                      <a:pt x="28390" y="56780"/>
                    </a:lnTo>
                    <a:lnTo>
                      <a:pt x="28126" y="57662"/>
                    </a:lnTo>
                    <a:lnTo>
                      <a:pt x="26980" y="57927"/>
                    </a:lnTo>
                    <a:lnTo>
                      <a:pt x="26098" y="60836"/>
                    </a:lnTo>
                    <a:lnTo>
                      <a:pt x="24952" y="61982"/>
                    </a:lnTo>
                    <a:lnTo>
                      <a:pt x="22659" y="65509"/>
                    </a:lnTo>
                    <a:lnTo>
                      <a:pt x="21778" y="66038"/>
                    </a:lnTo>
                    <a:lnTo>
                      <a:pt x="20896" y="66655"/>
                    </a:lnTo>
                    <a:lnTo>
                      <a:pt x="20279" y="67273"/>
                    </a:lnTo>
                    <a:lnTo>
                      <a:pt x="20279" y="69036"/>
                    </a:lnTo>
                    <a:lnTo>
                      <a:pt x="21160" y="69300"/>
                    </a:lnTo>
                    <a:lnTo>
                      <a:pt x="21778" y="69300"/>
                    </a:lnTo>
                    <a:lnTo>
                      <a:pt x="22307" y="68154"/>
                    </a:lnTo>
                    <a:lnTo>
                      <a:pt x="23188" y="67889"/>
                    </a:lnTo>
                    <a:lnTo>
                      <a:pt x="24070" y="67625"/>
                    </a:lnTo>
                    <a:lnTo>
                      <a:pt x="24952" y="68507"/>
                    </a:lnTo>
                    <a:lnTo>
                      <a:pt x="25216" y="69388"/>
                    </a:lnTo>
                    <a:lnTo>
                      <a:pt x="25481" y="70887"/>
                    </a:lnTo>
                    <a:lnTo>
                      <a:pt x="28126" y="67978"/>
                    </a:lnTo>
                    <a:lnTo>
                      <a:pt x="29007" y="67978"/>
                    </a:lnTo>
                    <a:lnTo>
                      <a:pt x="28126" y="69477"/>
                    </a:lnTo>
                    <a:lnTo>
                      <a:pt x="29007" y="69477"/>
                    </a:lnTo>
                    <a:lnTo>
                      <a:pt x="30153" y="68859"/>
                    </a:lnTo>
                    <a:lnTo>
                      <a:pt x="31035" y="69124"/>
                    </a:lnTo>
                    <a:lnTo>
                      <a:pt x="31917" y="69741"/>
                    </a:lnTo>
                    <a:lnTo>
                      <a:pt x="31300" y="70358"/>
                    </a:lnTo>
                    <a:lnTo>
                      <a:pt x="30418" y="70623"/>
                    </a:lnTo>
                    <a:lnTo>
                      <a:pt x="30418" y="71240"/>
                    </a:lnTo>
                    <a:lnTo>
                      <a:pt x="30683" y="71857"/>
                    </a:lnTo>
                    <a:lnTo>
                      <a:pt x="30330" y="721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7" name="Freihandform: Form 1806">
                <a:extLst>
                  <a:ext uri="{FF2B5EF4-FFF2-40B4-BE49-F238E27FC236}">
                    <a16:creationId xmlns:a16="http://schemas.microsoft.com/office/drawing/2014/main" id="{3C13D644-BDA1-8A18-8DF0-9EF3D8B5D820}"/>
                  </a:ext>
                </a:extLst>
              </p:cNvPr>
              <p:cNvSpPr/>
              <p:nvPr/>
            </p:nvSpPr>
            <p:spPr>
              <a:xfrm>
                <a:off x="5089244" y="4426801"/>
                <a:ext cx="616" cy="616"/>
              </a:xfrm>
              <a:custGeom>
                <a:avLst/>
                <a:gdLst>
                  <a:gd name="connsiteX0" fmla="*/ 264 w 616"/>
                  <a:gd name="connsiteY0" fmla="*/ 617 h 616"/>
                  <a:gd name="connsiteX1" fmla="*/ 0 w 616"/>
                  <a:gd name="connsiteY1" fmla="*/ 264 h 616"/>
                  <a:gd name="connsiteX2" fmla="*/ 0 w 616"/>
                  <a:gd name="connsiteY2" fmla="*/ 0 h 616"/>
                  <a:gd name="connsiteX3" fmla="*/ 264 w 616"/>
                  <a:gd name="connsiteY3" fmla="*/ 0 h 616"/>
                  <a:gd name="connsiteX4" fmla="*/ 617 w 616"/>
                  <a:gd name="connsiteY4" fmla="*/ 617 h 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6" h="616">
                    <a:moveTo>
                      <a:pt x="264" y="617"/>
                    </a:moveTo>
                    <a:lnTo>
                      <a:pt x="0" y="264"/>
                    </a:lnTo>
                    <a:lnTo>
                      <a:pt x="0" y="0"/>
                    </a:lnTo>
                    <a:lnTo>
                      <a:pt x="264" y="0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8" name="Freihandform: Form 1807">
                <a:extLst>
                  <a:ext uri="{FF2B5EF4-FFF2-40B4-BE49-F238E27FC236}">
                    <a16:creationId xmlns:a16="http://schemas.microsoft.com/office/drawing/2014/main" id="{D6B8DBE9-50EC-1121-4615-8C252E16924C}"/>
                  </a:ext>
                </a:extLst>
              </p:cNvPr>
              <p:cNvSpPr/>
              <p:nvPr/>
            </p:nvSpPr>
            <p:spPr>
              <a:xfrm>
                <a:off x="3739914" y="3834133"/>
                <a:ext cx="159584" cy="135867"/>
              </a:xfrm>
              <a:custGeom>
                <a:avLst/>
                <a:gdLst>
                  <a:gd name="connsiteX0" fmla="*/ 155794 w 159584"/>
                  <a:gd name="connsiteY0" fmla="*/ 60043 h 135867"/>
                  <a:gd name="connsiteX1" fmla="*/ 152002 w 159584"/>
                  <a:gd name="connsiteY1" fmla="*/ 58368 h 135867"/>
                  <a:gd name="connsiteX2" fmla="*/ 149357 w 159584"/>
                  <a:gd name="connsiteY2" fmla="*/ 56604 h 135867"/>
                  <a:gd name="connsiteX3" fmla="*/ 147594 w 159584"/>
                  <a:gd name="connsiteY3" fmla="*/ 51050 h 135867"/>
                  <a:gd name="connsiteX4" fmla="*/ 147330 w 159584"/>
                  <a:gd name="connsiteY4" fmla="*/ 46112 h 135867"/>
                  <a:gd name="connsiteX5" fmla="*/ 146801 w 159584"/>
                  <a:gd name="connsiteY5" fmla="*/ 40558 h 135867"/>
                  <a:gd name="connsiteX6" fmla="*/ 141775 w 159584"/>
                  <a:gd name="connsiteY6" fmla="*/ 42850 h 135867"/>
                  <a:gd name="connsiteX7" fmla="*/ 140893 w 159584"/>
                  <a:gd name="connsiteY7" fmla="*/ 38530 h 135867"/>
                  <a:gd name="connsiteX8" fmla="*/ 142128 w 159584"/>
                  <a:gd name="connsiteY8" fmla="*/ 37295 h 135867"/>
                  <a:gd name="connsiteX9" fmla="*/ 147330 w 159584"/>
                  <a:gd name="connsiteY9" fmla="*/ 35267 h 135867"/>
                  <a:gd name="connsiteX10" fmla="*/ 145566 w 159584"/>
                  <a:gd name="connsiteY10" fmla="*/ 32622 h 135867"/>
                  <a:gd name="connsiteX11" fmla="*/ 144684 w 159584"/>
                  <a:gd name="connsiteY11" fmla="*/ 31212 h 135867"/>
                  <a:gd name="connsiteX12" fmla="*/ 142392 w 159584"/>
                  <a:gd name="connsiteY12" fmla="*/ 29184 h 135867"/>
                  <a:gd name="connsiteX13" fmla="*/ 138865 w 159584"/>
                  <a:gd name="connsiteY13" fmla="*/ 25040 h 135867"/>
                  <a:gd name="connsiteX14" fmla="*/ 136220 w 159584"/>
                  <a:gd name="connsiteY14" fmla="*/ 25040 h 135867"/>
                  <a:gd name="connsiteX15" fmla="*/ 134545 w 159584"/>
                  <a:gd name="connsiteY15" fmla="*/ 15694 h 135867"/>
                  <a:gd name="connsiteX16" fmla="*/ 134545 w 159584"/>
                  <a:gd name="connsiteY16" fmla="*/ 11109 h 135867"/>
                  <a:gd name="connsiteX17" fmla="*/ 133663 w 159584"/>
                  <a:gd name="connsiteY17" fmla="*/ 8200 h 135867"/>
                  <a:gd name="connsiteX18" fmla="*/ 132782 w 159584"/>
                  <a:gd name="connsiteY18" fmla="*/ 4673 h 135867"/>
                  <a:gd name="connsiteX19" fmla="*/ 131018 w 159584"/>
                  <a:gd name="connsiteY19" fmla="*/ 2645 h 135867"/>
                  <a:gd name="connsiteX20" fmla="*/ 124846 w 159584"/>
                  <a:gd name="connsiteY20" fmla="*/ 617 h 135867"/>
                  <a:gd name="connsiteX21" fmla="*/ 124846 w 159584"/>
                  <a:gd name="connsiteY21" fmla="*/ 3527 h 135867"/>
                  <a:gd name="connsiteX22" fmla="*/ 126081 w 159584"/>
                  <a:gd name="connsiteY22" fmla="*/ 7582 h 135867"/>
                  <a:gd name="connsiteX23" fmla="*/ 125199 w 159584"/>
                  <a:gd name="connsiteY23" fmla="*/ 10492 h 135867"/>
                  <a:gd name="connsiteX24" fmla="*/ 122554 w 159584"/>
                  <a:gd name="connsiteY24" fmla="*/ 10757 h 135867"/>
                  <a:gd name="connsiteX25" fmla="*/ 117881 w 159584"/>
                  <a:gd name="connsiteY25" fmla="*/ 13137 h 135867"/>
                  <a:gd name="connsiteX26" fmla="*/ 117264 w 159584"/>
                  <a:gd name="connsiteY26" fmla="*/ 16311 h 135867"/>
                  <a:gd name="connsiteX27" fmla="*/ 108535 w 159584"/>
                  <a:gd name="connsiteY27" fmla="*/ 12255 h 135867"/>
                  <a:gd name="connsiteX28" fmla="*/ 105009 w 159584"/>
                  <a:gd name="connsiteY28" fmla="*/ 11991 h 135867"/>
                  <a:gd name="connsiteX29" fmla="*/ 103333 w 159584"/>
                  <a:gd name="connsiteY29" fmla="*/ 12520 h 135867"/>
                  <a:gd name="connsiteX30" fmla="*/ 100688 w 159584"/>
                  <a:gd name="connsiteY30" fmla="*/ 13666 h 135867"/>
                  <a:gd name="connsiteX31" fmla="*/ 99189 w 159584"/>
                  <a:gd name="connsiteY31" fmla="*/ 15694 h 135867"/>
                  <a:gd name="connsiteX32" fmla="*/ 94252 w 159584"/>
                  <a:gd name="connsiteY32" fmla="*/ 19221 h 135867"/>
                  <a:gd name="connsiteX33" fmla="*/ 90725 w 159584"/>
                  <a:gd name="connsiteY33" fmla="*/ 10757 h 135867"/>
                  <a:gd name="connsiteX34" fmla="*/ 87816 w 159584"/>
                  <a:gd name="connsiteY34" fmla="*/ 10492 h 135867"/>
                  <a:gd name="connsiteX35" fmla="*/ 86934 w 159584"/>
                  <a:gd name="connsiteY35" fmla="*/ 13666 h 135867"/>
                  <a:gd name="connsiteX36" fmla="*/ 84642 w 159584"/>
                  <a:gd name="connsiteY36" fmla="*/ 16576 h 135867"/>
                  <a:gd name="connsiteX37" fmla="*/ 81732 w 159584"/>
                  <a:gd name="connsiteY37" fmla="*/ 16311 h 135867"/>
                  <a:gd name="connsiteX38" fmla="*/ 78823 w 159584"/>
                  <a:gd name="connsiteY38" fmla="*/ 9610 h 135867"/>
                  <a:gd name="connsiteX39" fmla="*/ 80851 w 159584"/>
                  <a:gd name="connsiteY39" fmla="*/ 6701 h 135867"/>
                  <a:gd name="connsiteX40" fmla="*/ 81732 w 159584"/>
                  <a:gd name="connsiteY40" fmla="*/ 4937 h 135867"/>
                  <a:gd name="connsiteX41" fmla="*/ 64804 w 159584"/>
                  <a:gd name="connsiteY41" fmla="*/ 6701 h 135867"/>
                  <a:gd name="connsiteX42" fmla="*/ 46994 w 159584"/>
                  <a:gd name="connsiteY42" fmla="*/ 3174 h 135867"/>
                  <a:gd name="connsiteX43" fmla="*/ 39411 w 159584"/>
                  <a:gd name="connsiteY43" fmla="*/ 264 h 135867"/>
                  <a:gd name="connsiteX44" fmla="*/ 37384 w 159584"/>
                  <a:gd name="connsiteY44" fmla="*/ 264 h 135867"/>
                  <a:gd name="connsiteX45" fmla="*/ 28919 w 159584"/>
                  <a:gd name="connsiteY45" fmla="*/ 0 h 135867"/>
                  <a:gd name="connsiteX46" fmla="*/ 28919 w 159584"/>
                  <a:gd name="connsiteY46" fmla="*/ 2645 h 135867"/>
                  <a:gd name="connsiteX47" fmla="*/ 23629 w 159584"/>
                  <a:gd name="connsiteY47" fmla="*/ 11638 h 135867"/>
                  <a:gd name="connsiteX48" fmla="*/ 27773 w 159584"/>
                  <a:gd name="connsiteY48" fmla="*/ 24775 h 135867"/>
                  <a:gd name="connsiteX49" fmla="*/ 11462 w 159584"/>
                  <a:gd name="connsiteY49" fmla="*/ 28567 h 135867"/>
                  <a:gd name="connsiteX50" fmla="*/ 0 w 159584"/>
                  <a:gd name="connsiteY50" fmla="*/ 43203 h 135867"/>
                  <a:gd name="connsiteX51" fmla="*/ 0 w 159584"/>
                  <a:gd name="connsiteY51" fmla="*/ 43732 h 135867"/>
                  <a:gd name="connsiteX52" fmla="*/ 0 w 159584"/>
                  <a:gd name="connsiteY52" fmla="*/ 46994 h 135867"/>
                  <a:gd name="connsiteX53" fmla="*/ 617 w 159584"/>
                  <a:gd name="connsiteY53" fmla="*/ 46377 h 135867"/>
                  <a:gd name="connsiteX54" fmla="*/ 1234 w 159584"/>
                  <a:gd name="connsiteY54" fmla="*/ 44613 h 135867"/>
                  <a:gd name="connsiteX55" fmla="*/ 1763 w 159584"/>
                  <a:gd name="connsiteY55" fmla="*/ 42585 h 135867"/>
                  <a:gd name="connsiteX56" fmla="*/ 2998 w 159584"/>
                  <a:gd name="connsiteY56" fmla="*/ 41086 h 135867"/>
                  <a:gd name="connsiteX57" fmla="*/ 3527 w 159584"/>
                  <a:gd name="connsiteY57" fmla="*/ 42850 h 135867"/>
                  <a:gd name="connsiteX58" fmla="*/ 4144 w 159584"/>
                  <a:gd name="connsiteY58" fmla="*/ 42850 h 135867"/>
                  <a:gd name="connsiteX59" fmla="*/ 5026 w 159584"/>
                  <a:gd name="connsiteY59" fmla="*/ 42585 h 135867"/>
                  <a:gd name="connsiteX60" fmla="*/ 6436 w 159584"/>
                  <a:gd name="connsiteY60" fmla="*/ 41968 h 135867"/>
                  <a:gd name="connsiteX61" fmla="*/ 4673 w 159584"/>
                  <a:gd name="connsiteY61" fmla="*/ 43203 h 135867"/>
                  <a:gd name="connsiteX62" fmla="*/ 6789 w 159584"/>
                  <a:gd name="connsiteY62" fmla="*/ 44613 h 135867"/>
                  <a:gd name="connsiteX63" fmla="*/ 7054 w 159584"/>
                  <a:gd name="connsiteY63" fmla="*/ 45495 h 135867"/>
                  <a:gd name="connsiteX64" fmla="*/ 6172 w 159584"/>
                  <a:gd name="connsiteY64" fmla="*/ 49286 h 135867"/>
                  <a:gd name="connsiteX65" fmla="*/ 7318 w 159584"/>
                  <a:gd name="connsiteY65" fmla="*/ 48140 h 135867"/>
                  <a:gd name="connsiteX66" fmla="*/ 8817 w 159584"/>
                  <a:gd name="connsiteY66" fmla="*/ 49551 h 135867"/>
                  <a:gd name="connsiteX67" fmla="*/ 10580 w 159584"/>
                  <a:gd name="connsiteY67" fmla="*/ 47787 h 135867"/>
                  <a:gd name="connsiteX68" fmla="*/ 9081 w 159584"/>
                  <a:gd name="connsiteY68" fmla="*/ 49286 h 135867"/>
                  <a:gd name="connsiteX69" fmla="*/ 9346 w 159584"/>
                  <a:gd name="connsiteY69" fmla="*/ 50785 h 135867"/>
                  <a:gd name="connsiteX70" fmla="*/ 7935 w 159584"/>
                  <a:gd name="connsiteY70" fmla="*/ 52460 h 135867"/>
                  <a:gd name="connsiteX71" fmla="*/ 7935 w 159584"/>
                  <a:gd name="connsiteY71" fmla="*/ 53342 h 135867"/>
                  <a:gd name="connsiteX72" fmla="*/ 7935 w 159584"/>
                  <a:gd name="connsiteY72" fmla="*/ 54576 h 135867"/>
                  <a:gd name="connsiteX73" fmla="*/ 9081 w 159584"/>
                  <a:gd name="connsiteY73" fmla="*/ 55105 h 135867"/>
                  <a:gd name="connsiteX74" fmla="*/ 10580 w 159584"/>
                  <a:gd name="connsiteY74" fmla="*/ 56251 h 135867"/>
                  <a:gd name="connsiteX75" fmla="*/ 11462 w 159584"/>
                  <a:gd name="connsiteY75" fmla="*/ 60395 h 135867"/>
                  <a:gd name="connsiteX76" fmla="*/ 12608 w 159584"/>
                  <a:gd name="connsiteY76" fmla="*/ 62070 h 135867"/>
                  <a:gd name="connsiteX77" fmla="*/ 14019 w 159584"/>
                  <a:gd name="connsiteY77" fmla="*/ 60925 h 135867"/>
                  <a:gd name="connsiteX78" fmla="*/ 14636 w 159584"/>
                  <a:gd name="connsiteY78" fmla="*/ 61806 h 135867"/>
                  <a:gd name="connsiteX79" fmla="*/ 16664 w 159584"/>
                  <a:gd name="connsiteY79" fmla="*/ 62423 h 135867"/>
                  <a:gd name="connsiteX80" fmla="*/ 18163 w 159584"/>
                  <a:gd name="connsiteY80" fmla="*/ 62952 h 135867"/>
                  <a:gd name="connsiteX81" fmla="*/ 18692 w 159584"/>
                  <a:gd name="connsiteY81" fmla="*/ 62423 h 135867"/>
                  <a:gd name="connsiteX82" fmla="*/ 19573 w 159584"/>
                  <a:gd name="connsiteY82" fmla="*/ 62423 h 135867"/>
                  <a:gd name="connsiteX83" fmla="*/ 18956 w 159584"/>
                  <a:gd name="connsiteY83" fmla="*/ 64187 h 135867"/>
                  <a:gd name="connsiteX84" fmla="*/ 19573 w 159584"/>
                  <a:gd name="connsiteY84" fmla="*/ 65333 h 135867"/>
                  <a:gd name="connsiteX85" fmla="*/ 20720 w 159584"/>
                  <a:gd name="connsiteY85" fmla="*/ 64451 h 135867"/>
                  <a:gd name="connsiteX86" fmla="*/ 20720 w 159584"/>
                  <a:gd name="connsiteY86" fmla="*/ 63569 h 135867"/>
                  <a:gd name="connsiteX87" fmla="*/ 22219 w 159584"/>
                  <a:gd name="connsiteY87" fmla="*/ 64187 h 135867"/>
                  <a:gd name="connsiteX88" fmla="*/ 24246 w 159584"/>
                  <a:gd name="connsiteY88" fmla="*/ 65597 h 135867"/>
                  <a:gd name="connsiteX89" fmla="*/ 26010 w 159584"/>
                  <a:gd name="connsiteY89" fmla="*/ 70535 h 135867"/>
                  <a:gd name="connsiteX90" fmla="*/ 27421 w 159584"/>
                  <a:gd name="connsiteY90" fmla="*/ 70535 h 135867"/>
                  <a:gd name="connsiteX91" fmla="*/ 28655 w 159584"/>
                  <a:gd name="connsiteY91" fmla="*/ 68242 h 135867"/>
                  <a:gd name="connsiteX92" fmla="*/ 29448 w 159584"/>
                  <a:gd name="connsiteY92" fmla="*/ 67978 h 135867"/>
                  <a:gd name="connsiteX93" fmla="*/ 29184 w 159584"/>
                  <a:gd name="connsiteY93" fmla="*/ 71152 h 135867"/>
                  <a:gd name="connsiteX94" fmla="*/ 29801 w 159584"/>
                  <a:gd name="connsiteY94" fmla="*/ 72915 h 135867"/>
                  <a:gd name="connsiteX95" fmla="*/ 30065 w 159584"/>
                  <a:gd name="connsiteY95" fmla="*/ 72034 h 135867"/>
                  <a:gd name="connsiteX96" fmla="*/ 30947 w 159584"/>
                  <a:gd name="connsiteY96" fmla="*/ 72651 h 135867"/>
                  <a:gd name="connsiteX97" fmla="*/ 28038 w 159584"/>
                  <a:gd name="connsiteY97" fmla="*/ 79352 h 135867"/>
                  <a:gd name="connsiteX98" fmla="*/ 31300 w 159584"/>
                  <a:gd name="connsiteY98" fmla="*/ 79616 h 135867"/>
                  <a:gd name="connsiteX99" fmla="*/ 32446 w 159584"/>
                  <a:gd name="connsiteY99" fmla="*/ 79352 h 135867"/>
                  <a:gd name="connsiteX100" fmla="*/ 32711 w 159584"/>
                  <a:gd name="connsiteY100" fmla="*/ 79881 h 135867"/>
                  <a:gd name="connsiteX101" fmla="*/ 35620 w 159584"/>
                  <a:gd name="connsiteY101" fmla="*/ 80762 h 135867"/>
                  <a:gd name="connsiteX102" fmla="*/ 34738 w 159584"/>
                  <a:gd name="connsiteY102" fmla="*/ 83143 h 135867"/>
                  <a:gd name="connsiteX103" fmla="*/ 35356 w 159584"/>
                  <a:gd name="connsiteY103" fmla="*/ 84289 h 135867"/>
                  <a:gd name="connsiteX104" fmla="*/ 37119 w 159584"/>
                  <a:gd name="connsiteY104" fmla="*/ 86581 h 135867"/>
                  <a:gd name="connsiteX105" fmla="*/ 38530 w 159584"/>
                  <a:gd name="connsiteY105" fmla="*/ 86317 h 135867"/>
                  <a:gd name="connsiteX106" fmla="*/ 39147 w 159584"/>
                  <a:gd name="connsiteY106" fmla="*/ 85171 h 135867"/>
                  <a:gd name="connsiteX107" fmla="*/ 40029 w 159584"/>
                  <a:gd name="connsiteY107" fmla="*/ 85435 h 135867"/>
                  <a:gd name="connsiteX108" fmla="*/ 40910 w 159584"/>
                  <a:gd name="connsiteY108" fmla="*/ 86581 h 135867"/>
                  <a:gd name="connsiteX109" fmla="*/ 40558 w 159584"/>
                  <a:gd name="connsiteY109" fmla="*/ 87816 h 135867"/>
                  <a:gd name="connsiteX110" fmla="*/ 37384 w 159584"/>
                  <a:gd name="connsiteY110" fmla="*/ 88962 h 135867"/>
                  <a:gd name="connsiteX111" fmla="*/ 37119 w 159584"/>
                  <a:gd name="connsiteY111" fmla="*/ 89844 h 135867"/>
                  <a:gd name="connsiteX112" fmla="*/ 37384 w 159584"/>
                  <a:gd name="connsiteY112" fmla="*/ 90990 h 135867"/>
                  <a:gd name="connsiteX113" fmla="*/ 39676 w 159584"/>
                  <a:gd name="connsiteY113" fmla="*/ 90990 h 135867"/>
                  <a:gd name="connsiteX114" fmla="*/ 42056 w 159584"/>
                  <a:gd name="connsiteY114" fmla="*/ 90108 h 135867"/>
                  <a:gd name="connsiteX115" fmla="*/ 45583 w 159584"/>
                  <a:gd name="connsiteY115" fmla="*/ 86581 h 135867"/>
                  <a:gd name="connsiteX116" fmla="*/ 45230 w 159584"/>
                  <a:gd name="connsiteY116" fmla="*/ 84289 h 135867"/>
                  <a:gd name="connsiteX117" fmla="*/ 49903 w 159584"/>
                  <a:gd name="connsiteY117" fmla="*/ 81644 h 135867"/>
                  <a:gd name="connsiteX118" fmla="*/ 53695 w 159584"/>
                  <a:gd name="connsiteY118" fmla="*/ 74414 h 135867"/>
                  <a:gd name="connsiteX119" fmla="*/ 54841 w 159584"/>
                  <a:gd name="connsiteY119" fmla="*/ 69741 h 135867"/>
                  <a:gd name="connsiteX120" fmla="*/ 60748 w 159584"/>
                  <a:gd name="connsiteY120" fmla="*/ 68242 h 135867"/>
                  <a:gd name="connsiteX121" fmla="*/ 64187 w 159584"/>
                  <a:gd name="connsiteY121" fmla="*/ 69124 h 135867"/>
                  <a:gd name="connsiteX122" fmla="*/ 68595 w 159584"/>
                  <a:gd name="connsiteY122" fmla="*/ 66743 h 135867"/>
                  <a:gd name="connsiteX123" fmla="*/ 84906 w 159584"/>
                  <a:gd name="connsiteY123" fmla="*/ 67625 h 135867"/>
                  <a:gd name="connsiteX124" fmla="*/ 87816 w 159584"/>
                  <a:gd name="connsiteY124" fmla="*/ 72651 h 135867"/>
                  <a:gd name="connsiteX125" fmla="*/ 90725 w 159584"/>
                  <a:gd name="connsiteY125" fmla="*/ 76971 h 135867"/>
                  <a:gd name="connsiteX126" fmla="*/ 95398 w 159584"/>
                  <a:gd name="connsiteY126" fmla="*/ 84025 h 135867"/>
                  <a:gd name="connsiteX127" fmla="*/ 93635 w 159584"/>
                  <a:gd name="connsiteY127" fmla="*/ 86581 h 135867"/>
                  <a:gd name="connsiteX128" fmla="*/ 97426 w 159584"/>
                  <a:gd name="connsiteY128" fmla="*/ 89844 h 135867"/>
                  <a:gd name="connsiteX129" fmla="*/ 99807 w 159584"/>
                  <a:gd name="connsiteY129" fmla="*/ 99983 h 135867"/>
                  <a:gd name="connsiteX130" fmla="*/ 94517 w 159584"/>
                  <a:gd name="connsiteY130" fmla="*/ 109682 h 135867"/>
                  <a:gd name="connsiteX131" fmla="*/ 98308 w 159584"/>
                  <a:gd name="connsiteY131" fmla="*/ 108535 h 135867"/>
                  <a:gd name="connsiteX132" fmla="*/ 100953 w 159584"/>
                  <a:gd name="connsiteY132" fmla="*/ 104127 h 135867"/>
                  <a:gd name="connsiteX133" fmla="*/ 104480 w 159584"/>
                  <a:gd name="connsiteY133" fmla="*/ 104127 h 135867"/>
                  <a:gd name="connsiteX134" fmla="*/ 104215 w 159584"/>
                  <a:gd name="connsiteY134" fmla="*/ 104127 h 135867"/>
                  <a:gd name="connsiteX135" fmla="*/ 105361 w 159584"/>
                  <a:gd name="connsiteY135" fmla="*/ 104127 h 135867"/>
                  <a:gd name="connsiteX136" fmla="*/ 108006 w 159584"/>
                  <a:gd name="connsiteY136" fmla="*/ 103510 h 135867"/>
                  <a:gd name="connsiteX137" fmla="*/ 114707 w 159584"/>
                  <a:gd name="connsiteY137" fmla="*/ 103510 h 135867"/>
                  <a:gd name="connsiteX138" fmla="*/ 114972 w 159584"/>
                  <a:gd name="connsiteY138" fmla="*/ 102363 h 135867"/>
                  <a:gd name="connsiteX139" fmla="*/ 116382 w 159584"/>
                  <a:gd name="connsiteY139" fmla="*/ 104127 h 135867"/>
                  <a:gd name="connsiteX140" fmla="*/ 117264 w 159584"/>
                  <a:gd name="connsiteY140" fmla="*/ 107036 h 135867"/>
                  <a:gd name="connsiteX141" fmla="*/ 121673 w 159584"/>
                  <a:gd name="connsiteY141" fmla="*/ 107301 h 135867"/>
                  <a:gd name="connsiteX142" fmla="*/ 120526 w 159584"/>
                  <a:gd name="connsiteY142" fmla="*/ 111974 h 135867"/>
                  <a:gd name="connsiteX143" fmla="*/ 121673 w 159584"/>
                  <a:gd name="connsiteY143" fmla="*/ 115765 h 135867"/>
                  <a:gd name="connsiteX144" fmla="*/ 122290 w 159584"/>
                  <a:gd name="connsiteY144" fmla="*/ 119027 h 135867"/>
                  <a:gd name="connsiteX145" fmla="*/ 123171 w 159584"/>
                  <a:gd name="connsiteY145" fmla="*/ 125111 h 135867"/>
                  <a:gd name="connsiteX146" fmla="*/ 121408 w 159584"/>
                  <a:gd name="connsiteY146" fmla="*/ 132429 h 135867"/>
                  <a:gd name="connsiteX147" fmla="*/ 125199 w 159584"/>
                  <a:gd name="connsiteY147" fmla="*/ 132076 h 135867"/>
                  <a:gd name="connsiteX148" fmla="*/ 129255 w 159584"/>
                  <a:gd name="connsiteY148" fmla="*/ 135868 h 135867"/>
                  <a:gd name="connsiteX149" fmla="*/ 133311 w 159584"/>
                  <a:gd name="connsiteY149" fmla="*/ 135338 h 135867"/>
                  <a:gd name="connsiteX150" fmla="*/ 135074 w 159584"/>
                  <a:gd name="connsiteY150" fmla="*/ 132958 h 135867"/>
                  <a:gd name="connsiteX151" fmla="*/ 138336 w 159584"/>
                  <a:gd name="connsiteY151" fmla="*/ 125728 h 135867"/>
                  <a:gd name="connsiteX152" fmla="*/ 141510 w 159584"/>
                  <a:gd name="connsiteY152" fmla="*/ 124582 h 135867"/>
                  <a:gd name="connsiteX153" fmla="*/ 141510 w 159584"/>
                  <a:gd name="connsiteY153" fmla="*/ 125993 h 135867"/>
                  <a:gd name="connsiteX154" fmla="*/ 143274 w 159584"/>
                  <a:gd name="connsiteY154" fmla="*/ 127492 h 135867"/>
                  <a:gd name="connsiteX155" fmla="*/ 145037 w 159584"/>
                  <a:gd name="connsiteY155" fmla="*/ 125993 h 135867"/>
                  <a:gd name="connsiteX156" fmla="*/ 151385 w 159584"/>
                  <a:gd name="connsiteY156" fmla="*/ 123348 h 135867"/>
                  <a:gd name="connsiteX157" fmla="*/ 153766 w 159584"/>
                  <a:gd name="connsiteY157" fmla="*/ 114355 h 135867"/>
                  <a:gd name="connsiteX158" fmla="*/ 148476 w 159584"/>
                  <a:gd name="connsiteY158" fmla="*/ 105273 h 135867"/>
                  <a:gd name="connsiteX159" fmla="*/ 157557 w 159584"/>
                  <a:gd name="connsiteY159" fmla="*/ 104127 h 135867"/>
                  <a:gd name="connsiteX160" fmla="*/ 158703 w 159584"/>
                  <a:gd name="connsiteY160" fmla="*/ 97955 h 135867"/>
                  <a:gd name="connsiteX161" fmla="*/ 159585 w 159584"/>
                  <a:gd name="connsiteY161" fmla="*/ 89844 h 135867"/>
                  <a:gd name="connsiteX162" fmla="*/ 152884 w 159584"/>
                  <a:gd name="connsiteY162" fmla="*/ 81644 h 135867"/>
                  <a:gd name="connsiteX163" fmla="*/ 151121 w 159584"/>
                  <a:gd name="connsiteY163" fmla="*/ 69124 h 135867"/>
                  <a:gd name="connsiteX164" fmla="*/ 151121 w 159584"/>
                  <a:gd name="connsiteY164" fmla="*/ 65333 h 135867"/>
                  <a:gd name="connsiteX165" fmla="*/ 153766 w 159584"/>
                  <a:gd name="connsiteY165" fmla="*/ 64187 h 135867"/>
                  <a:gd name="connsiteX166" fmla="*/ 155529 w 159584"/>
                  <a:gd name="connsiteY166" fmla="*/ 62423 h 13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</a:cxnLst>
                <a:rect l="l" t="t" r="r" b="b"/>
                <a:pathLst>
                  <a:path w="159584" h="135867">
                    <a:moveTo>
                      <a:pt x="155794" y="60043"/>
                    </a:moveTo>
                    <a:lnTo>
                      <a:pt x="152002" y="58368"/>
                    </a:lnTo>
                    <a:lnTo>
                      <a:pt x="149357" y="56604"/>
                    </a:lnTo>
                    <a:lnTo>
                      <a:pt x="147594" y="51050"/>
                    </a:lnTo>
                    <a:lnTo>
                      <a:pt x="147330" y="46112"/>
                    </a:lnTo>
                    <a:lnTo>
                      <a:pt x="146801" y="40558"/>
                    </a:lnTo>
                    <a:lnTo>
                      <a:pt x="141775" y="42850"/>
                    </a:lnTo>
                    <a:lnTo>
                      <a:pt x="140893" y="38530"/>
                    </a:lnTo>
                    <a:lnTo>
                      <a:pt x="142128" y="37295"/>
                    </a:lnTo>
                    <a:lnTo>
                      <a:pt x="147330" y="35267"/>
                    </a:lnTo>
                    <a:lnTo>
                      <a:pt x="145566" y="32622"/>
                    </a:lnTo>
                    <a:lnTo>
                      <a:pt x="144684" y="31212"/>
                    </a:lnTo>
                    <a:lnTo>
                      <a:pt x="142392" y="29184"/>
                    </a:lnTo>
                    <a:lnTo>
                      <a:pt x="138865" y="25040"/>
                    </a:lnTo>
                    <a:lnTo>
                      <a:pt x="136220" y="25040"/>
                    </a:lnTo>
                    <a:lnTo>
                      <a:pt x="134545" y="15694"/>
                    </a:lnTo>
                    <a:lnTo>
                      <a:pt x="134545" y="11109"/>
                    </a:lnTo>
                    <a:lnTo>
                      <a:pt x="133663" y="8200"/>
                    </a:lnTo>
                    <a:lnTo>
                      <a:pt x="132782" y="4673"/>
                    </a:lnTo>
                    <a:lnTo>
                      <a:pt x="131018" y="2645"/>
                    </a:lnTo>
                    <a:lnTo>
                      <a:pt x="124846" y="617"/>
                    </a:lnTo>
                    <a:lnTo>
                      <a:pt x="124846" y="3527"/>
                    </a:lnTo>
                    <a:lnTo>
                      <a:pt x="126081" y="7582"/>
                    </a:lnTo>
                    <a:lnTo>
                      <a:pt x="125199" y="10492"/>
                    </a:lnTo>
                    <a:lnTo>
                      <a:pt x="122554" y="10757"/>
                    </a:lnTo>
                    <a:lnTo>
                      <a:pt x="117881" y="13137"/>
                    </a:lnTo>
                    <a:lnTo>
                      <a:pt x="117264" y="16311"/>
                    </a:lnTo>
                    <a:lnTo>
                      <a:pt x="108535" y="12255"/>
                    </a:lnTo>
                    <a:lnTo>
                      <a:pt x="105009" y="11991"/>
                    </a:lnTo>
                    <a:lnTo>
                      <a:pt x="103333" y="12520"/>
                    </a:lnTo>
                    <a:lnTo>
                      <a:pt x="100688" y="13666"/>
                    </a:lnTo>
                    <a:lnTo>
                      <a:pt x="99189" y="15694"/>
                    </a:lnTo>
                    <a:lnTo>
                      <a:pt x="94252" y="19221"/>
                    </a:lnTo>
                    <a:lnTo>
                      <a:pt x="90725" y="10757"/>
                    </a:lnTo>
                    <a:lnTo>
                      <a:pt x="87816" y="10492"/>
                    </a:lnTo>
                    <a:lnTo>
                      <a:pt x="86934" y="13666"/>
                    </a:lnTo>
                    <a:lnTo>
                      <a:pt x="84642" y="16576"/>
                    </a:lnTo>
                    <a:lnTo>
                      <a:pt x="81732" y="16311"/>
                    </a:lnTo>
                    <a:lnTo>
                      <a:pt x="78823" y="9610"/>
                    </a:lnTo>
                    <a:lnTo>
                      <a:pt x="80851" y="6701"/>
                    </a:lnTo>
                    <a:lnTo>
                      <a:pt x="81732" y="4937"/>
                    </a:lnTo>
                    <a:lnTo>
                      <a:pt x="64804" y="6701"/>
                    </a:lnTo>
                    <a:lnTo>
                      <a:pt x="46994" y="3174"/>
                    </a:lnTo>
                    <a:lnTo>
                      <a:pt x="39411" y="264"/>
                    </a:lnTo>
                    <a:lnTo>
                      <a:pt x="37384" y="264"/>
                    </a:lnTo>
                    <a:lnTo>
                      <a:pt x="28919" y="0"/>
                    </a:lnTo>
                    <a:lnTo>
                      <a:pt x="28919" y="2645"/>
                    </a:lnTo>
                    <a:lnTo>
                      <a:pt x="23629" y="11638"/>
                    </a:lnTo>
                    <a:lnTo>
                      <a:pt x="27773" y="24775"/>
                    </a:lnTo>
                    <a:lnTo>
                      <a:pt x="11462" y="28567"/>
                    </a:lnTo>
                    <a:lnTo>
                      <a:pt x="0" y="43203"/>
                    </a:lnTo>
                    <a:lnTo>
                      <a:pt x="0" y="43732"/>
                    </a:lnTo>
                    <a:lnTo>
                      <a:pt x="0" y="46994"/>
                    </a:lnTo>
                    <a:lnTo>
                      <a:pt x="617" y="46377"/>
                    </a:lnTo>
                    <a:lnTo>
                      <a:pt x="1234" y="44613"/>
                    </a:lnTo>
                    <a:lnTo>
                      <a:pt x="1763" y="42585"/>
                    </a:lnTo>
                    <a:lnTo>
                      <a:pt x="2998" y="41086"/>
                    </a:lnTo>
                    <a:lnTo>
                      <a:pt x="3527" y="42850"/>
                    </a:lnTo>
                    <a:lnTo>
                      <a:pt x="4144" y="42850"/>
                    </a:lnTo>
                    <a:lnTo>
                      <a:pt x="5026" y="42585"/>
                    </a:lnTo>
                    <a:lnTo>
                      <a:pt x="6436" y="41968"/>
                    </a:lnTo>
                    <a:lnTo>
                      <a:pt x="4673" y="43203"/>
                    </a:lnTo>
                    <a:lnTo>
                      <a:pt x="6789" y="44613"/>
                    </a:lnTo>
                    <a:lnTo>
                      <a:pt x="7054" y="45495"/>
                    </a:lnTo>
                    <a:lnTo>
                      <a:pt x="6172" y="49286"/>
                    </a:lnTo>
                    <a:lnTo>
                      <a:pt x="7318" y="48140"/>
                    </a:lnTo>
                    <a:lnTo>
                      <a:pt x="8817" y="49551"/>
                    </a:lnTo>
                    <a:lnTo>
                      <a:pt x="10580" y="47787"/>
                    </a:lnTo>
                    <a:lnTo>
                      <a:pt x="9081" y="49286"/>
                    </a:lnTo>
                    <a:lnTo>
                      <a:pt x="9346" y="50785"/>
                    </a:lnTo>
                    <a:lnTo>
                      <a:pt x="7935" y="52460"/>
                    </a:lnTo>
                    <a:lnTo>
                      <a:pt x="7935" y="53342"/>
                    </a:lnTo>
                    <a:lnTo>
                      <a:pt x="7935" y="54576"/>
                    </a:lnTo>
                    <a:lnTo>
                      <a:pt x="9081" y="55105"/>
                    </a:lnTo>
                    <a:lnTo>
                      <a:pt x="10580" y="56251"/>
                    </a:lnTo>
                    <a:lnTo>
                      <a:pt x="11462" y="60395"/>
                    </a:lnTo>
                    <a:lnTo>
                      <a:pt x="12608" y="62070"/>
                    </a:lnTo>
                    <a:lnTo>
                      <a:pt x="14019" y="60925"/>
                    </a:lnTo>
                    <a:lnTo>
                      <a:pt x="14636" y="61806"/>
                    </a:lnTo>
                    <a:lnTo>
                      <a:pt x="16664" y="62423"/>
                    </a:lnTo>
                    <a:lnTo>
                      <a:pt x="18163" y="62952"/>
                    </a:lnTo>
                    <a:lnTo>
                      <a:pt x="18692" y="62423"/>
                    </a:lnTo>
                    <a:lnTo>
                      <a:pt x="19573" y="62423"/>
                    </a:lnTo>
                    <a:lnTo>
                      <a:pt x="18956" y="64187"/>
                    </a:lnTo>
                    <a:lnTo>
                      <a:pt x="19573" y="65333"/>
                    </a:lnTo>
                    <a:lnTo>
                      <a:pt x="20720" y="64451"/>
                    </a:lnTo>
                    <a:lnTo>
                      <a:pt x="20720" y="63569"/>
                    </a:lnTo>
                    <a:lnTo>
                      <a:pt x="22219" y="64187"/>
                    </a:lnTo>
                    <a:lnTo>
                      <a:pt x="24246" y="65597"/>
                    </a:lnTo>
                    <a:lnTo>
                      <a:pt x="26010" y="70535"/>
                    </a:lnTo>
                    <a:lnTo>
                      <a:pt x="27421" y="70535"/>
                    </a:lnTo>
                    <a:lnTo>
                      <a:pt x="28655" y="68242"/>
                    </a:lnTo>
                    <a:lnTo>
                      <a:pt x="29448" y="67978"/>
                    </a:lnTo>
                    <a:lnTo>
                      <a:pt x="29184" y="71152"/>
                    </a:lnTo>
                    <a:lnTo>
                      <a:pt x="29801" y="72915"/>
                    </a:lnTo>
                    <a:lnTo>
                      <a:pt x="30065" y="72034"/>
                    </a:lnTo>
                    <a:lnTo>
                      <a:pt x="30947" y="72651"/>
                    </a:lnTo>
                    <a:lnTo>
                      <a:pt x="28038" y="79352"/>
                    </a:lnTo>
                    <a:lnTo>
                      <a:pt x="31300" y="79616"/>
                    </a:lnTo>
                    <a:lnTo>
                      <a:pt x="32446" y="79352"/>
                    </a:lnTo>
                    <a:lnTo>
                      <a:pt x="32711" y="79881"/>
                    </a:lnTo>
                    <a:lnTo>
                      <a:pt x="35620" y="80762"/>
                    </a:lnTo>
                    <a:lnTo>
                      <a:pt x="34738" y="83143"/>
                    </a:lnTo>
                    <a:lnTo>
                      <a:pt x="35356" y="84289"/>
                    </a:lnTo>
                    <a:lnTo>
                      <a:pt x="37119" y="86581"/>
                    </a:lnTo>
                    <a:lnTo>
                      <a:pt x="38530" y="86317"/>
                    </a:lnTo>
                    <a:lnTo>
                      <a:pt x="39147" y="85171"/>
                    </a:lnTo>
                    <a:lnTo>
                      <a:pt x="40029" y="85435"/>
                    </a:lnTo>
                    <a:lnTo>
                      <a:pt x="40910" y="86581"/>
                    </a:lnTo>
                    <a:lnTo>
                      <a:pt x="40558" y="87816"/>
                    </a:lnTo>
                    <a:lnTo>
                      <a:pt x="37384" y="88962"/>
                    </a:lnTo>
                    <a:lnTo>
                      <a:pt x="37119" y="89844"/>
                    </a:lnTo>
                    <a:lnTo>
                      <a:pt x="37384" y="90990"/>
                    </a:lnTo>
                    <a:lnTo>
                      <a:pt x="39676" y="90990"/>
                    </a:lnTo>
                    <a:lnTo>
                      <a:pt x="42056" y="90108"/>
                    </a:lnTo>
                    <a:lnTo>
                      <a:pt x="45583" y="86581"/>
                    </a:lnTo>
                    <a:lnTo>
                      <a:pt x="45230" y="84289"/>
                    </a:lnTo>
                    <a:lnTo>
                      <a:pt x="49903" y="81644"/>
                    </a:lnTo>
                    <a:lnTo>
                      <a:pt x="53695" y="74414"/>
                    </a:lnTo>
                    <a:lnTo>
                      <a:pt x="54841" y="69741"/>
                    </a:lnTo>
                    <a:lnTo>
                      <a:pt x="60748" y="68242"/>
                    </a:lnTo>
                    <a:lnTo>
                      <a:pt x="64187" y="69124"/>
                    </a:lnTo>
                    <a:lnTo>
                      <a:pt x="68595" y="66743"/>
                    </a:lnTo>
                    <a:lnTo>
                      <a:pt x="84906" y="67625"/>
                    </a:lnTo>
                    <a:lnTo>
                      <a:pt x="87816" y="72651"/>
                    </a:lnTo>
                    <a:lnTo>
                      <a:pt x="90725" y="76971"/>
                    </a:lnTo>
                    <a:lnTo>
                      <a:pt x="95398" y="84025"/>
                    </a:lnTo>
                    <a:lnTo>
                      <a:pt x="93635" y="86581"/>
                    </a:lnTo>
                    <a:lnTo>
                      <a:pt x="97426" y="89844"/>
                    </a:lnTo>
                    <a:lnTo>
                      <a:pt x="99807" y="99983"/>
                    </a:lnTo>
                    <a:lnTo>
                      <a:pt x="94517" y="109682"/>
                    </a:lnTo>
                    <a:lnTo>
                      <a:pt x="98308" y="108535"/>
                    </a:lnTo>
                    <a:lnTo>
                      <a:pt x="100953" y="104127"/>
                    </a:lnTo>
                    <a:lnTo>
                      <a:pt x="104480" y="104127"/>
                    </a:lnTo>
                    <a:lnTo>
                      <a:pt x="104215" y="104127"/>
                    </a:lnTo>
                    <a:lnTo>
                      <a:pt x="105361" y="104127"/>
                    </a:lnTo>
                    <a:lnTo>
                      <a:pt x="108006" y="103510"/>
                    </a:lnTo>
                    <a:lnTo>
                      <a:pt x="114707" y="103510"/>
                    </a:lnTo>
                    <a:lnTo>
                      <a:pt x="114972" y="102363"/>
                    </a:lnTo>
                    <a:lnTo>
                      <a:pt x="116382" y="104127"/>
                    </a:lnTo>
                    <a:lnTo>
                      <a:pt x="117264" y="107036"/>
                    </a:lnTo>
                    <a:lnTo>
                      <a:pt x="121673" y="107301"/>
                    </a:lnTo>
                    <a:lnTo>
                      <a:pt x="120526" y="111974"/>
                    </a:lnTo>
                    <a:lnTo>
                      <a:pt x="121673" y="115765"/>
                    </a:lnTo>
                    <a:lnTo>
                      <a:pt x="122290" y="119027"/>
                    </a:lnTo>
                    <a:lnTo>
                      <a:pt x="123171" y="125111"/>
                    </a:lnTo>
                    <a:lnTo>
                      <a:pt x="121408" y="132429"/>
                    </a:lnTo>
                    <a:lnTo>
                      <a:pt x="125199" y="132076"/>
                    </a:lnTo>
                    <a:lnTo>
                      <a:pt x="129255" y="135868"/>
                    </a:lnTo>
                    <a:lnTo>
                      <a:pt x="133311" y="135338"/>
                    </a:lnTo>
                    <a:lnTo>
                      <a:pt x="135074" y="132958"/>
                    </a:lnTo>
                    <a:lnTo>
                      <a:pt x="138336" y="125728"/>
                    </a:lnTo>
                    <a:lnTo>
                      <a:pt x="141510" y="124582"/>
                    </a:lnTo>
                    <a:lnTo>
                      <a:pt x="141510" y="125993"/>
                    </a:lnTo>
                    <a:lnTo>
                      <a:pt x="143274" y="127492"/>
                    </a:lnTo>
                    <a:lnTo>
                      <a:pt x="145037" y="125993"/>
                    </a:lnTo>
                    <a:lnTo>
                      <a:pt x="151385" y="123348"/>
                    </a:lnTo>
                    <a:lnTo>
                      <a:pt x="153766" y="114355"/>
                    </a:lnTo>
                    <a:lnTo>
                      <a:pt x="148476" y="105273"/>
                    </a:lnTo>
                    <a:lnTo>
                      <a:pt x="157557" y="104127"/>
                    </a:lnTo>
                    <a:lnTo>
                      <a:pt x="158703" y="97955"/>
                    </a:lnTo>
                    <a:lnTo>
                      <a:pt x="159585" y="89844"/>
                    </a:lnTo>
                    <a:lnTo>
                      <a:pt x="152884" y="81644"/>
                    </a:lnTo>
                    <a:lnTo>
                      <a:pt x="151121" y="69124"/>
                    </a:lnTo>
                    <a:lnTo>
                      <a:pt x="151121" y="65333"/>
                    </a:lnTo>
                    <a:lnTo>
                      <a:pt x="153766" y="64187"/>
                    </a:lnTo>
                    <a:lnTo>
                      <a:pt x="155529" y="62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9" name="Freihandform: Form 1808">
                <a:extLst>
                  <a:ext uri="{FF2B5EF4-FFF2-40B4-BE49-F238E27FC236}">
                    <a16:creationId xmlns:a16="http://schemas.microsoft.com/office/drawing/2014/main" id="{6207BF9B-4D6F-F7D7-4270-E795E7957C7C}"/>
                  </a:ext>
                </a:extLst>
              </p:cNvPr>
              <p:cNvSpPr/>
              <p:nvPr/>
            </p:nvSpPr>
            <p:spPr>
              <a:xfrm>
                <a:off x="3999306" y="3872310"/>
                <a:ext cx="95927" cy="159849"/>
              </a:xfrm>
              <a:custGeom>
                <a:avLst/>
                <a:gdLst>
                  <a:gd name="connsiteX0" fmla="*/ 11021 w 95927"/>
                  <a:gd name="connsiteY0" fmla="*/ 41175 h 159849"/>
                  <a:gd name="connsiteX1" fmla="*/ 10757 w 95927"/>
                  <a:gd name="connsiteY1" fmla="*/ 44349 h 159849"/>
                  <a:gd name="connsiteX2" fmla="*/ 11021 w 95927"/>
                  <a:gd name="connsiteY2" fmla="*/ 46994 h 159849"/>
                  <a:gd name="connsiteX3" fmla="*/ 9258 w 95927"/>
                  <a:gd name="connsiteY3" fmla="*/ 51931 h 159849"/>
                  <a:gd name="connsiteX4" fmla="*/ 15429 w 95927"/>
                  <a:gd name="connsiteY4" fmla="*/ 73268 h 159849"/>
                  <a:gd name="connsiteX5" fmla="*/ 13049 w 95927"/>
                  <a:gd name="connsiteY5" fmla="*/ 77588 h 159849"/>
                  <a:gd name="connsiteX6" fmla="*/ 9258 w 95927"/>
                  <a:gd name="connsiteY6" fmla="*/ 79087 h 159849"/>
                  <a:gd name="connsiteX7" fmla="*/ 5202 w 95927"/>
                  <a:gd name="connsiteY7" fmla="*/ 97426 h 159849"/>
                  <a:gd name="connsiteX8" fmla="*/ 1675 w 95927"/>
                  <a:gd name="connsiteY8" fmla="*/ 101217 h 159849"/>
                  <a:gd name="connsiteX9" fmla="*/ 0 w 95927"/>
                  <a:gd name="connsiteY9" fmla="*/ 109946 h 159849"/>
                  <a:gd name="connsiteX10" fmla="*/ 264 w 95927"/>
                  <a:gd name="connsiteY10" fmla="*/ 121937 h 159849"/>
                  <a:gd name="connsiteX11" fmla="*/ 3438 w 95927"/>
                  <a:gd name="connsiteY11" fmla="*/ 135603 h 159849"/>
                  <a:gd name="connsiteX12" fmla="*/ 4937 w 95927"/>
                  <a:gd name="connsiteY12" fmla="*/ 137719 h 159849"/>
                  <a:gd name="connsiteX13" fmla="*/ 9258 w 95927"/>
                  <a:gd name="connsiteY13" fmla="*/ 138512 h 159849"/>
                  <a:gd name="connsiteX14" fmla="*/ 9258 w 95927"/>
                  <a:gd name="connsiteY14" fmla="*/ 144067 h 159849"/>
                  <a:gd name="connsiteX15" fmla="*/ 9610 w 95927"/>
                  <a:gd name="connsiteY15" fmla="*/ 146712 h 159849"/>
                  <a:gd name="connsiteX16" fmla="*/ 1675 w 95927"/>
                  <a:gd name="connsiteY16" fmla="*/ 150239 h 159849"/>
                  <a:gd name="connsiteX17" fmla="*/ 1675 w 95927"/>
                  <a:gd name="connsiteY17" fmla="*/ 150768 h 159849"/>
                  <a:gd name="connsiteX18" fmla="*/ 7230 w 95927"/>
                  <a:gd name="connsiteY18" fmla="*/ 152267 h 159849"/>
                  <a:gd name="connsiteX19" fmla="*/ 14283 w 95927"/>
                  <a:gd name="connsiteY19" fmla="*/ 153148 h 159849"/>
                  <a:gd name="connsiteX20" fmla="*/ 18339 w 95927"/>
                  <a:gd name="connsiteY20" fmla="*/ 155176 h 159849"/>
                  <a:gd name="connsiteX21" fmla="*/ 22395 w 95927"/>
                  <a:gd name="connsiteY21" fmla="*/ 156940 h 159849"/>
                  <a:gd name="connsiteX22" fmla="*/ 24158 w 95927"/>
                  <a:gd name="connsiteY22" fmla="*/ 159585 h 159849"/>
                  <a:gd name="connsiteX23" fmla="*/ 25569 w 95927"/>
                  <a:gd name="connsiteY23" fmla="*/ 159849 h 159849"/>
                  <a:gd name="connsiteX24" fmla="*/ 26539 w 95927"/>
                  <a:gd name="connsiteY24" fmla="*/ 159585 h 159849"/>
                  <a:gd name="connsiteX25" fmla="*/ 29977 w 95927"/>
                  <a:gd name="connsiteY25" fmla="*/ 158703 h 159849"/>
                  <a:gd name="connsiteX26" fmla="*/ 31123 w 95927"/>
                  <a:gd name="connsiteY26" fmla="*/ 156058 h 159849"/>
                  <a:gd name="connsiteX27" fmla="*/ 32887 w 95927"/>
                  <a:gd name="connsiteY27" fmla="*/ 154295 h 159849"/>
                  <a:gd name="connsiteX28" fmla="*/ 34386 w 95927"/>
                  <a:gd name="connsiteY28" fmla="*/ 152267 h 159849"/>
                  <a:gd name="connsiteX29" fmla="*/ 36414 w 95927"/>
                  <a:gd name="connsiteY29" fmla="*/ 150768 h 159849"/>
                  <a:gd name="connsiteX30" fmla="*/ 43731 w 95927"/>
                  <a:gd name="connsiteY30" fmla="*/ 150239 h 159849"/>
                  <a:gd name="connsiteX31" fmla="*/ 45407 w 95927"/>
                  <a:gd name="connsiteY31" fmla="*/ 148476 h 159849"/>
                  <a:gd name="connsiteX32" fmla="*/ 46641 w 95927"/>
                  <a:gd name="connsiteY32" fmla="*/ 148740 h 159849"/>
                  <a:gd name="connsiteX33" fmla="*/ 47523 w 95927"/>
                  <a:gd name="connsiteY33" fmla="*/ 147594 h 159849"/>
                  <a:gd name="connsiteX34" fmla="*/ 49286 w 95927"/>
                  <a:gd name="connsiteY34" fmla="*/ 147065 h 159849"/>
                  <a:gd name="connsiteX35" fmla="*/ 50961 w 95927"/>
                  <a:gd name="connsiteY35" fmla="*/ 148476 h 159849"/>
                  <a:gd name="connsiteX36" fmla="*/ 52460 w 95927"/>
                  <a:gd name="connsiteY36" fmla="*/ 148476 h 159849"/>
                  <a:gd name="connsiteX37" fmla="*/ 53959 w 95927"/>
                  <a:gd name="connsiteY37" fmla="*/ 147858 h 159849"/>
                  <a:gd name="connsiteX38" fmla="*/ 55987 w 95927"/>
                  <a:gd name="connsiteY38" fmla="*/ 144684 h 159849"/>
                  <a:gd name="connsiteX39" fmla="*/ 58632 w 95927"/>
                  <a:gd name="connsiteY39" fmla="*/ 143803 h 159849"/>
                  <a:gd name="connsiteX40" fmla="*/ 61189 w 95927"/>
                  <a:gd name="connsiteY40" fmla="*/ 140893 h 159849"/>
                  <a:gd name="connsiteX41" fmla="*/ 67890 w 95927"/>
                  <a:gd name="connsiteY41" fmla="*/ 139482 h 159849"/>
                  <a:gd name="connsiteX42" fmla="*/ 69124 w 95927"/>
                  <a:gd name="connsiteY42" fmla="*/ 138512 h 159849"/>
                  <a:gd name="connsiteX43" fmla="*/ 70535 w 95927"/>
                  <a:gd name="connsiteY43" fmla="*/ 137719 h 159849"/>
                  <a:gd name="connsiteX44" fmla="*/ 72915 w 95927"/>
                  <a:gd name="connsiteY44" fmla="*/ 135339 h 159849"/>
                  <a:gd name="connsiteX45" fmla="*/ 76707 w 95927"/>
                  <a:gd name="connsiteY45" fmla="*/ 133575 h 159849"/>
                  <a:gd name="connsiteX46" fmla="*/ 83055 w 95927"/>
                  <a:gd name="connsiteY46" fmla="*/ 134810 h 159849"/>
                  <a:gd name="connsiteX47" fmla="*/ 84553 w 95927"/>
                  <a:gd name="connsiteY47" fmla="*/ 134457 h 159849"/>
                  <a:gd name="connsiteX48" fmla="*/ 82790 w 95927"/>
                  <a:gd name="connsiteY48" fmla="*/ 129784 h 159849"/>
                  <a:gd name="connsiteX49" fmla="*/ 80762 w 95927"/>
                  <a:gd name="connsiteY49" fmla="*/ 127227 h 159849"/>
                  <a:gd name="connsiteX50" fmla="*/ 78999 w 95927"/>
                  <a:gd name="connsiteY50" fmla="*/ 126874 h 159849"/>
                  <a:gd name="connsiteX51" fmla="*/ 78117 w 95927"/>
                  <a:gd name="connsiteY51" fmla="*/ 126874 h 159849"/>
                  <a:gd name="connsiteX52" fmla="*/ 78382 w 95927"/>
                  <a:gd name="connsiteY52" fmla="*/ 127756 h 159849"/>
                  <a:gd name="connsiteX53" fmla="*/ 77588 w 95927"/>
                  <a:gd name="connsiteY53" fmla="*/ 127756 h 159849"/>
                  <a:gd name="connsiteX54" fmla="*/ 74061 w 95927"/>
                  <a:gd name="connsiteY54" fmla="*/ 126874 h 159849"/>
                  <a:gd name="connsiteX55" fmla="*/ 73180 w 95927"/>
                  <a:gd name="connsiteY55" fmla="*/ 126610 h 159849"/>
                  <a:gd name="connsiteX56" fmla="*/ 75472 w 95927"/>
                  <a:gd name="connsiteY56" fmla="*/ 126345 h 159849"/>
                  <a:gd name="connsiteX57" fmla="*/ 76707 w 95927"/>
                  <a:gd name="connsiteY57" fmla="*/ 126874 h 159849"/>
                  <a:gd name="connsiteX58" fmla="*/ 77236 w 95927"/>
                  <a:gd name="connsiteY58" fmla="*/ 125993 h 159849"/>
                  <a:gd name="connsiteX59" fmla="*/ 78999 w 95927"/>
                  <a:gd name="connsiteY59" fmla="*/ 125993 h 159849"/>
                  <a:gd name="connsiteX60" fmla="*/ 81644 w 95927"/>
                  <a:gd name="connsiteY60" fmla="*/ 126874 h 159849"/>
                  <a:gd name="connsiteX61" fmla="*/ 83672 w 95927"/>
                  <a:gd name="connsiteY61" fmla="*/ 129519 h 159849"/>
                  <a:gd name="connsiteX62" fmla="*/ 84289 w 95927"/>
                  <a:gd name="connsiteY62" fmla="*/ 132429 h 159849"/>
                  <a:gd name="connsiteX63" fmla="*/ 85435 w 95927"/>
                  <a:gd name="connsiteY63" fmla="*/ 134457 h 159849"/>
                  <a:gd name="connsiteX64" fmla="*/ 86581 w 95927"/>
                  <a:gd name="connsiteY64" fmla="*/ 134810 h 159849"/>
                  <a:gd name="connsiteX65" fmla="*/ 87463 w 95927"/>
                  <a:gd name="connsiteY65" fmla="*/ 135074 h 159849"/>
                  <a:gd name="connsiteX66" fmla="*/ 88962 w 95927"/>
                  <a:gd name="connsiteY66" fmla="*/ 134810 h 159849"/>
                  <a:gd name="connsiteX67" fmla="*/ 90373 w 95927"/>
                  <a:gd name="connsiteY67" fmla="*/ 133928 h 159849"/>
                  <a:gd name="connsiteX68" fmla="*/ 91519 w 95927"/>
                  <a:gd name="connsiteY68" fmla="*/ 132429 h 159849"/>
                  <a:gd name="connsiteX69" fmla="*/ 93547 w 95927"/>
                  <a:gd name="connsiteY69" fmla="*/ 127227 h 159849"/>
                  <a:gd name="connsiteX70" fmla="*/ 95927 w 95927"/>
                  <a:gd name="connsiteY70" fmla="*/ 125728 h 159849"/>
                  <a:gd name="connsiteX71" fmla="*/ 93547 w 95927"/>
                  <a:gd name="connsiteY71" fmla="*/ 123965 h 159849"/>
                  <a:gd name="connsiteX72" fmla="*/ 89491 w 95927"/>
                  <a:gd name="connsiteY72" fmla="*/ 119909 h 159849"/>
                  <a:gd name="connsiteX73" fmla="*/ 86581 w 95927"/>
                  <a:gd name="connsiteY73" fmla="*/ 113473 h 159849"/>
                  <a:gd name="connsiteX74" fmla="*/ 84289 w 95927"/>
                  <a:gd name="connsiteY74" fmla="*/ 112591 h 159849"/>
                  <a:gd name="connsiteX75" fmla="*/ 82525 w 95927"/>
                  <a:gd name="connsiteY75" fmla="*/ 109153 h 159849"/>
                  <a:gd name="connsiteX76" fmla="*/ 83407 w 95927"/>
                  <a:gd name="connsiteY76" fmla="*/ 102981 h 159849"/>
                  <a:gd name="connsiteX77" fmla="*/ 83672 w 95927"/>
                  <a:gd name="connsiteY77" fmla="*/ 98043 h 159849"/>
                  <a:gd name="connsiteX78" fmla="*/ 84289 w 95927"/>
                  <a:gd name="connsiteY78" fmla="*/ 93635 h 159849"/>
                  <a:gd name="connsiteX79" fmla="*/ 81380 w 95927"/>
                  <a:gd name="connsiteY79" fmla="*/ 91607 h 159849"/>
                  <a:gd name="connsiteX80" fmla="*/ 83672 w 95927"/>
                  <a:gd name="connsiteY80" fmla="*/ 85788 h 159849"/>
                  <a:gd name="connsiteX81" fmla="*/ 83672 w 95927"/>
                  <a:gd name="connsiteY81" fmla="*/ 83407 h 159849"/>
                  <a:gd name="connsiteX82" fmla="*/ 82525 w 95927"/>
                  <a:gd name="connsiteY82" fmla="*/ 74943 h 159849"/>
                  <a:gd name="connsiteX83" fmla="*/ 83672 w 95927"/>
                  <a:gd name="connsiteY83" fmla="*/ 73797 h 159849"/>
                  <a:gd name="connsiteX84" fmla="*/ 85700 w 95927"/>
                  <a:gd name="connsiteY84" fmla="*/ 72651 h 159849"/>
                  <a:gd name="connsiteX85" fmla="*/ 83672 w 95927"/>
                  <a:gd name="connsiteY85" fmla="*/ 65950 h 159849"/>
                  <a:gd name="connsiteX86" fmla="*/ 80145 w 95927"/>
                  <a:gd name="connsiteY86" fmla="*/ 63040 h 159849"/>
                  <a:gd name="connsiteX87" fmla="*/ 80498 w 95927"/>
                  <a:gd name="connsiteY87" fmla="*/ 59514 h 159849"/>
                  <a:gd name="connsiteX88" fmla="*/ 79616 w 95927"/>
                  <a:gd name="connsiteY88" fmla="*/ 52548 h 159849"/>
                  <a:gd name="connsiteX89" fmla="*/ 80762 w 95927"/>
                  <a:gd name="connsiteY89" fmla="*/ 46994 h 159849"/>
                  <a:gd name="connsiteX90" fmla="*/ 81909 w 95927"/>
                  <a:gd name="connsiteY90" fmla="*/ 42585 h 159849"/>
                  <a:gd name="connsiteX91" fmla="*/ 76971 w 95927"/>
                  <a:gd name="connsiteY91" fmla="*/ 42056 h 159849"/>
                  <a:gd name="connsiteX92" fmla="*/ 73180 w 95927"/>
                  <a:gd name="connsiteY92" fmla="*/ 42585 h 159849"/>
                  <a:gd name="connsiteX93" fmla="*/ 72915 w 95927"/>
                  <a:gd name="connsiteY93" fmla="*/ 40822 h 159849"/>
                  <a:gd name="connsiteX94" fmla="*/ 72915 w 95927"/>
                  <a:gd name="connsiteY94" fmla="*/ 39676 h 159849"/>
                  <a:gd name="connsiteX95" fmla="*/ 76971 w 95927"/>
                  <a:gd name="connsiteY95" fmla="*/ 38530 h 159849"/>
                  <a:gd name="connsiteX96" fmla="*/ 77236 w 95927"/>
                  <a:gd name="connsiteY96" fmla="*/ 36237 h 159849"/>
                  <a:gd name="connsiteX97" fmla="*/ 76354 w 95927"/>
                  <a:gd name="connsiteY97" fmla="*/ 35003 h 159849"/>
                  <a:gd name="connsiteX98" fmla="*/ 78734 w 95927"/>
                  <a:gd name="connsiteY98" fmla="*/ 31212 h 159849"/>
                  <a:gd name="connsiteX99" fmla="*/ 77853 w 95927"/>
                  <a:gd name="connsiteY99" fmla="*/ 27421 h 159849"/>
                  <a:gd name="connsiteX100" fmla="*/ 77853 w 95927"/>
                  <a:gd name="connsiteY100" fmla="*/ 26010 h 159849"/>
                  <a:gd name="connsiteX101" fmla="*/ 79616 w 95927"/>
                  <a:gd name="connsiteY101" fmla="*/ 21601 h 159849"/>
                  <a:gd name="connsiteX102" fmla="*/ 76089 w 95927"/>
                  <a:gd name="connsiteY102" fmla="*/ 17546 h 159849"/>
                  <a:gd name="connsiteX103" fmla="*/ 71152 w 95927"/>
                  <a:gd name="connsiteY103" fmla="*/ 13754 h 159849"/>
                  <a:gd name="connsiteX104" fmla="*/ 67625 w 95927"/>
                  <a:gd name="connsiteY104" fmla="*/ 10492 h 159849"/>
                  <a:gd name="connsiteX105" fmla="*/ 70006 w 95927"/>
                  <a:gd name="connsiteY105" fmla="*/ 6436 h 159849"/>
                  <a:gd name="connsiteX106" fmla="*/ 72298 w 95927"/>
                  <a:gd name="connsiteY106" fmla="*/ 617 h 159849"/>
                  <a:gd name="connsiteX107" fmla="*/ 64716 w 95927"/>
                  <a:gd name="connsiteY107" fmla="*/ 0 h 159849"/>
                  <a:gd name="connsiteX108" fmla="*/ 63217 w 95927"/>
                  <a:gd name="connsiteY108" fmla="*/ 1146 h 159849"/>
                  <a:gd name="connsiteX109" fmla="*/ 62335 w 95927"/>
                  <a:gd name="connsiteY109" fmla="*/ 2028 h 159849"/>
                  <a:gd name="connsiteX110" fmla="*/ 61189 w 95927"/>
                  <a:gd name="connsiteY110" fmla="*/ 882 h 159849"/>
                  <a:gd name="connsiteX111" fmla="*/ 60307 w 95927"/>
                  <a:gd name="connsiteY111" fmla="*/ 3262 h 159849"/>
                  <a:gd name="connsiteX112" fmla="*/ 56516 w 95927"/>
                  <a:gd name="connsiteY112" fmla="*/ 5555 h 159849"/>
                  <a:gd name="connsiteX113" fmla="*/ 54752 w 95927"/>
                  <a:gd name="connsiteY113" fmla="*/ 5026 h 159849"/>
                  <a:gd name="connsiteX114" fmla="*/ 54752 w 95927"/>
                  <a:gd name="connsiteY114" fmla="*/ 3527 h 159849"/>
                  <a:gd name="connsiteX115" fmla="*/ 52460 w 95927"/>
                  <a:gd name="connsiteY115" fmla="*/ 3262 h 159849"/>
                  <a:gd name="connsiteX116" fmla="*/ 51579 w 95927"/>
                  <a:gd name="connsiteY116" fmla="*/ 5555 h 159849"/>
                  <a:gd name="connsiteX117" fmla="*/ 50697 w 95927"/>
                  <a:gd name="connsiteY117" fmla="*/ 4673 h 159849"/>
                  <a:gd name="connsiteX118" fmla="*/ 50168 w 95927"/>
                  <a:gd name="connsiteY118" fmla="*/ 3527 h 159849"/>
                  <a:gd name="connsiteX119" fmla="*/ 34386 w 95927"/>
                  <a:gd name="connsiteY119" fmla="*/ 2645 h 159849"/>
                  <a:gd name="connsiteX120" fmla="*/ 14548 w 95927"/>
                  <a:gd name="connsiteY120" fmla="*/ 3527 h 159849"/>
                  <a:gd name="connsiteX121" fmla="*/ 8112 w 95927"/>
                  <a:gd name="connsiteY121" fmla="*/ 3527 h 159849"/>
                  <a:gd name="connsiteX122" fmla="*/ 8729 w 95927"/>
                  <a:gd name="connsiteY122" fmla="*/ 5026 h 159849"/>
                  <a:gd name="connsiteX123" fmla="*/ 8112 w 95927"/>
                  <a:gd name="connsiteY123" fmla="*/ 7053 h 159849"/>
                  <a:gd name="connsiteX124" fmla="*/ 6965 w 95927"/>
                  <a:gd name="connsiteY124" fmla="*/ 8817 h 159849"/>
                  <a:gd name="connsiteX125" fmla="*/ 6084 w 95927"/>
                  <a:gd name="connsiteY125" fmla="*/ 10492 h 159849"/>
                  <a:gd name="connsiteX126" fmla="*/ 5819 w 95927"/>
                  <a:gd name="connsiteY126" fmla="*/ 11726 h 159849"/>
                  <a:gd name="connsiteX127" fmla="*/ 6084 w 95927"/>
                  <a:gd name="connsiteY127" fmla="*/ 13402 h 159849"/>
                  <a:gd name="connsiteX128" fmla="*/ 6965 w 95927"/>
                  <a:gd name="connsiteY128" fmla="*/ 14900 h 159849"/>
                  <a:gd name="connsiteX129" fmla="*/ 8993 w 95927"/>
                  <a:gd name="connsiteY129" fmla="*/ 15518 h 159849"/>
                  <a:gd name="connsiteX130" fmla="*/ 9610 w 95927"/>
                  <a:gd name="connsiteY130" fmla="*/ 18427 h 159849"/>
                  <a:gd name="connsiteX131" fmla="*/ 10139 w 95927"/>
                  <a:gd name="connsiteY131" fmla="*/ 18956 h 159849"/>
                  <a:gd name="connsiteX132" fmla="*/ 8112 w 95927"/>
                  <a:gd name="connsiteY132" fmla="*/ 18956 h 159849"/>
                  <a:gd name="connsiteX133" fmla="*/ 7494 w 95927"/>
                  <a:gd name="connsiteY133" fmla="*/ 20720 h 159849"/>
                  <a:gd name="connsiteX134" fmla="*/ 8993 w 95927"/>
                  <a:gd name="connsiteY134" fmla="*/ 21866 h 159849"/>
                  <a:gd name="connsiteX135" fmla="*/ 9875 w 95927"/>
                  <a:gd name="connsiteY135" fmla="*/ 22748 h 159849"/>
                  <a:gd name="connsiteX136" fmla="*/ 8464 w 95927"/>
                  <a:gd name="connsiteY136" fmla="*/ 24246 h 159849"/>
                  <a:gd name="connsiteX137" fmla="*/ 8993 w 95927"/>
                  <a:gd name="connsiteY137" fmla="*/ 24775 h 159849"/>
                  <a:gd name="connsiteX138" fmla="*/ 8464 w 95927"/>
                  <a:gd name="connsiteY138" fmla="*/ 27156 h 159849"/>
                  <a:gd name="connsiteX139" fmla="*/ 9875 w 95927"/>
                  <a:gd name="connsiteY139" fmla="*/ 29448 h 159849"/>
                  <a:gd name="connsiteX140" fmla="*/ 9875 w 95927"/>
                  <a:gd name="connsiteY140" fmla="*/ 32975 h 159849"/>
                  <a:gd name="connsiteX141" fmla="*/ 8464 w 95927"/>
                  <a:gd name="connsiteY141" fmla="*/ 35003 h 159849"/>
                  <a:gd name="connsiteX142" fmla="*/ 10492 w 95927"/>
                  <a:gd name="connsiteY142" fmla="*/ 37648 h 159849"/>
                  <a:gd name="connsiteX143" fmla="*/ 9258 w 95927"/>
                  <a:gd name="connsiteY143" fmla="*/ 38265 h 159849"/>
                  <a:gd name="connsiteX144" fmla="*/ 9610 w 95927"/>
                  <a:gd name="connsiteY144" fmla="*/ 39676 h 159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95927" h="159849">
                    <a:moveTo>
                      <a:pt x="11021" y="41175"/>
                    </a:moveTo>
                    <a:lnTo>
                      <a:pt x="10757" y="44349"/>
                    </a:lnTo>
                    <a:lnTo>
                      <a:pt x="11021" y="46994"/>
                    </a:lnTo>
                    <a:lnTo>
                      <a:pt x="9258" y="51931"/>
                    </a:lnTo>
                    <a:lnTo>
                      <a:pt x="15429" y="73268"/>
                    </a:lnTo>
                    <a:lnTo>
                      <a:pt x="13049" y="77588"/>
                    </a:lnTo>
                    <a:lnTo>
                      <a:pt x="9258" y="79087"/>
                    </a:lnTo>
                    <a:lnTo>
                      <a:pt x="5202" y="97426"/>
                    </a:lnTo>
                    <a:lnTo>
                      <a:pt x="1675" y="101217"/>
                    </a:lnTo>
                    <a:lnTo>
                      <a:pt x="0" y="109946"/>
                    </a:lnTo>
                    <a:lnTo>
                      <a:pt x="264" y="121937"/>
                    </a:lnTo>
                    <a:lnTo>
                      <a:pt x="3438" y="135603"/>
                    </a:lnTo>
                    <a:lnTo>
                      <a:pt x="4937" y="137719"/>
                    </a:lnTo>
                    <a:lnTo>
                      <a:pt x="9258" y="138512"/>
                    </a:lnTo>
                    <a:lnTo>
                      <a:pt x="9258" y="144067"/>
                    </a:lnTo>
                    <a:lnTo>
                      <a:pt x="9610" y="146712"/>
                    </a:lnTo>
                    <a:lnTo>
                      <a:pt x="1675" y="150239"/>
                    </a:lnTo>
                    <a:lnTo>
                      <a:pt x="1675" y="150768"/>
                    </a:lnTo>
                    <a:lnTo>
                      <a:pt x="7230" y="152267"/>
                    </a:lnTo>
                    <a:lnTo>
                      <a:pt x="14283" y="153148"/>
                    </a:lnTo>
                    <a:lnTo>
                      <a:pt x="18339" y="155176"/>
                    </a:lnTo>
                    <a:lnTo>
                      <a:pt x="22395" y="156940"/>
                    </a:lnTo>
                    <a:lnTo>
                      <a:pt x="24158" y="159585"/>
                    </a:lnTo>
                    <a:lnTo>
                      <a:pt x="25569" y="159849"/>
                    </a:lnTo>
                    <a:lnTo>
                      <a:pt x="26539" y="159585"/>
                    </a:lnTo>
                    <a:lnTo>
                      <a:pt x="29977" y="158703"/>
                    </a:lnTo>
                    <a:lnTo>
                      <a:pt x="31123" y="156058"/>
                    </a:lnTo>
                    <a:lnTo>
                      <a:pt x="32887" y="154295"/>
                    </a:lnTo>
                    <a:lnTo>
                      <a:pt x="34386" y="152267"/>
                    </a:lnTo>
                    <a:lnTo>
                      <a:pt x="36414" y="150768"/>
                    </a:lnTo>
                    <a:lnTo>
                      <a:pt x="43731" y="150239"/>
                    </a:lnTo>
                    <a:lnTo>
                      <a:pt x="45407" y="148476"/>
                    </a:lnTo>
                    <a:lnTo>
                      <a:pt x="46641" y="148740"/>
                    </a:lnTo>
                    <a:lnTo>
                      <a:pt x="47523" y="147594"/>
                    </a:lnTo>
                    <a:lnTo>
                      <a:pt x="49286" y="147065"/>
                    </a:lnTo>
                    <a:lnTo>
                      <a:pt x="50961" y="148476"/>
                    </a:lnTo>
                    <a:lnTo>
                      <a:pt x="52460" y="148476"/>
                    </a:lnTo>
                    <a:lnTo>
                      <a:pt x="53959" y="147858"/>
                    </a:lnTo>
                    <a:lnTo>
                      <a:pt x="55987" y="144684"/>
                    </a:lnTo>
                    <a:lnTo>
                      <a:pt x="58632" y="143803"/>
                    </a:lnTo>
                    <a:lnTo>
                      <a:pt x="61189" y="140893"/>
                    </a:lnTo>
                    <a:lnTo>
                      <a:pt x="67890" y="139482"/>
                    </a:lnTo>
                    <a:lnTo>
                      <a:pt x="69124" y="138512"/>
                    </a:lnTo>
                    <a:lnTo>
                      <a:pt x="70535" y="137719"/>
                    </a:lnTo>
                    <a:lnTo>
                      <a:pt x="72915" y="135339"/>
                    </a:lnTo>
                    <a:lnTo>
                      <a:pt x="76707" y="133575"/>
                    </a:lnTo>
                    <a:lnTo>
                      <a:pt x="83055" y="134810"/>
                    </a:lnTo>
                    <a:lnTo>
                      <a:pt x="84553" y="134457"/>
                    </a:lnTo>
                    <a:lnTo>
                      <a:pt x="82790" y="129784"/>
                    </a:lnTo>
                    <a:lnTo>
                      <a:pt x="80762" y="127227"/>
                    </a:lnTo>
                    <a:lnTo>
                      <a:pt x="78999" y="126874"/>
                    </a:lnTo>
                    <a:lnTo>
                      <a:pt x="78117" y="126874"/>
                    </a:lnTo>
                    <a:lnTo>
                      <a:pt x="78382" y="127756"/>
                    </a:lnTo>
                    <a:lnTo>
                      <a:pt x="77588" y="127756"/>
                    </a:lnTo>
                    <a:lnTo>
                      <a:pt x="74061" y="126874"/>
                    </a:lnTo>
                    <a:lnTo>
                      <a:pt x="73180" y="126610"/>
                    </a:lnTo>
                    <a:lnTo>
                      <a:pt x="75472" y="126345"/>
                    </a:lnTo>
                    <a:lnTo>
                      <a:pt x="76707" y="126874"/>
                    </a:lnTo>
                    <a:lnTo>
                      <a:pt x="77236" y="125993"/>
                    </a:lnTo>
                    <a:lnTo>
                      <a:pt x="78999" y="125993"/>
                    </a:lnTo>
                    <a:lnTo>
                      <a:pt x="81644" y="126874"/>
                    </a:lnTo>
                    <a:lnTo>
                      <a:pt x="83672" y="129519"/>
                    </a:lnTo>
                    <a:lnTo>
                      <a:pt x="84289" y="132429"/>
                    </a:lnTo>
                    <a:lnTo>
                      <a:pt x="85435" y="134457"/>
                    </a:lnTo>
                    <a:lnTo>
                      <a:pt x="86581" y="134810"/>
                    </a:lnTo>
                    <a:lnTo>
                      <a:pt x="87463" y="135074"/>
                    </a:lnTo>
                    <a:lnTo>
                      <a:pt x="88962" y="134810"/>
                    </a:lnTo>
                    <a:lnTo>
                      <a:pt x="90373" y="133928"/>
                    </a:lnTo>
                    <a:lnTo>
                      <a:pt x="91519" y="132429"/>
                    </a:lnTo>
                    <a:lnTo>
                      <a:pt x="93547" y="127227"/>
                    </a:lnTo>
                    <a:lnTo>
                      <a:pt x="95927" y="125728"/>
                    </a:lnTo>
                    <a:lnTo>
                      <a:pt x="93547" y="123965"/>
                    </a:lnTo>
                    <a:lnTo>
                      <a:pt x="89491" y="119909"/>
                    </a:lnTo>
                    <a:lnTo>
                      <a:pt x="86581" y="113473"/>
                    </a:lnTo>
                    <a:lnTo>
                      <a:pt x="84289" y="112591"/>
                    </a:lnTo>
                    <a:lnTo>
                      <a:pt x="82525" y="109153"/>
                    </a:lnTo>
                    <a:lnTo>
                      <a:pt x="83407" y="102981"/>
                    </a:lnTo>
                    <a:lnTo>
                      <a:pt x="83672" y="98043"/>
                    </a:lnTo>
                    <a:lnTo>
                      <a:pt x="84289" y="93635"/>
                    </a:lnTo>
                    <a:lnTo>
                      <a:pt x="81380" y="91607"/>
                    </a:lnTo>
                    <a:lnTo>
                      <a:pt x="83672" y="85788"/>
                    </a:lnTo>
                    <a:lnTo>
                      <a:pt x="83672" y="83407"/>
                    </a:lnTo>
                    <a:lnTo>
                      <a:pt x="82525" y="74943"/>
                    </a:lnTo>
                    <a:lnTo>
                      <a:pt x="83672" y="73797"/>
                    </a:lnTo>
                    <a:lnTo>
                      <a:pt x="85700" y="72651"/>
                    </a:lnTo>
                    <a:lnTo>
                      <a:pt x="83672" y="65950"/>
                    </a:lnTo>
                    <a:lnTo>
                      <a:pt x="80145" y="63040"/>
                    </a:lnTo>
                    <a:lnTo>
                      <a:pt x="80498" y="59514"/>
                    </a:lnTo>
                    <a:lnTo>
                      <a:pt x="79616" y="52548"/>
                    </a:lnTo>
                    <a:lnTo>
                      <a:pt x="80762" y="46994"/>
                    </a:lnTo>
                    <a:lnTo>
                      <a:pt x="81909" y="42585"/>
                    </a:lnTo>
                    <a:lnTo>
                      <a:pt x="76971" y="42056"/>
                    </a:lnTo>
                    <a:lnTo>
                      <a:pt x="73180" y="42585"/>
                    </a:lnTo>
                    <a:lnTo>
                      <a:pt x="72915" y="40822"/>
                    </a:lnTo>
                    <a:lnTo>
                      <a:pt x="72915" y="39676"/>
                    </a:lnTo>
                    <a:lnTo>
                      <a:pt x="76971" y="38530"/>
                    </a:lnTo>
                    <a:lnTo>
                      <a:pt x="77236" y="36237"/>
                    </a:lnTo>
                    <a:lnTo>
                      <a:pt x="76354" y="35003"/>
                    </a:lnTo>
                    <a:lnTo>
                      <a:pt x="78734" y="31212"/>
                    </a:lnTo>
                    <a:lnTo>
                      <a:pt x="77853" y="27421"/>
                    </a:lnTo>
                    <a:lnTo>
                      <a:pt x="77853" y="26010"/>
                    </a:lnTo>
                    <a:lnTo>
                      <a:pt x="79616" y="21601"/>
                    </a:lnTo>
                    <a:lnTo>
                      <a:pt x="76089" y="17546"/>
                    </a:lnTo>
                    <a:lnTo>
                      <a:pt x="71152" y="13754"/>
                    </a:lnTo>
                    <a:lnTo>
                      <a:pt x="67625" y="10492"/>
                    </a:lnTo>
                    <a:lnTo>
                      <a:pt x="70006" y="6436"/>
                    </a:lnTo>
                    <a:lnTo>
                      <a:pt x="72298" y="617"/>
                    </a:lnTo>
                    <a:lnTo>
                      <a:pt x="64716" y="0"/>
                    </a:lnTo>
                    <a:lnTo>
                      <a:pt x="63217" y="1146"/>
                    </a:lnTo>
                    <a:lnTo>
                      <a:pt x="62335" y="2028"/>
                    </a:lnTo>
                    <a:lnTo>
                      <a:pt x="61189" y="882"/>
                    </a:lnTo>
                    <a:lnTo>
                      <a:pt x="60307" y="3262"/>
                    </a:lnTo>
                    <a:lnTo>
                      <a:pt x="56516" y="5555"/>
                    </a:lnTo>
                    <a:lnTo>
                      <a:pt x="54752" y="5026"/>
                    </a:lnTo>
                    <a:lnTo>
                      <a:pt x="54752" y="3527"/>
                    </a:lnTo>
                    <a:lnTo>
                      <a:pt x="52460" y="3262"/>
                    </a:lnTo>
                    <a:lnTo>
                      <a:pt x="51579" y="5555"/>
                    </a:lnTo>
                    <a:lnTo>
                      <a:pt x="50697" y="4673"/>
                    </a:lnTo>
                    <a:lnTo>
                      <a:pt x="50168" y="3527"/>
                    </a:lnTo>
                    <a:lnTo>
                      <a:pt x="34386" y="2645"/>
                    </a:lnTo>
                    <a:lnTo>
                      <a:pt x="14548" y="3527"/>
                    </a:lnTo>
                    <a:lnTo>
                      <a:pt x="8112" y="3527"/>
                    </a:lnTo>
                    <a:lnTo>
                      <a:pt x="8729" y="5026"/>
                    </a:lnTo>
                    <a:lnTo>
                      <a:pt x="8112" y="7053"/>
                    </a:lnTo>
                    <a:lnTo>
                      <a:pt x="6965" y="8817"/>
                    </a:lnTo>
                    <a:lnTo>
                      <a:pt x="6084" y="10492"/>
                    </a:lnTo>
                    <a:lnTo>
                      <a:pt x="5819" y="11726"/>
                    </a:lnTo>
                    <a:lnTo>
                      <a:pt x="6084" y="13402"/>
                    </a:lnTo>
                    <a:lnTo>
                      <a:pt x="6965" y="14900"/>
                    </a:lnTo>
                    <a:lnTo>
                      <a:pt x="8993" y="15518"/>
                    </a:lnTo>
                    <a:lnTo>
                      <a:pt x="9610" y="18427"/>
                    </a:lnTo>
                    <a:lnTo>
                      <a:pt x="10139" y="18956"/>
                    </a:lnTo>
                    <a:lnTo>
                      <a:pt x="8112" y="18956"/>
                    </a:lnTo>
                    <a:lnTo>
                      <a:pt x="7494" y="20720"/>
                    </a:lnTo>
                    <a:lnTo>
                      <a:pt x="8993" y="21866"/>
                    </a:lnTo>
                    <a:lnTo>
                      <a:pt x="9875" y="22748"/>
                    </a:lnTo>
                    <a:lnTo>
                      <a:pt x="8464" y="24246"/>
                    </a:lnTo>
                    <a:lnTo>
                      <a:pt x="8993" y="24775"/>
                    </a:lnTo>
                    <a:lnTo>
                      <a:pt x="8464" y="27156"/>
                    </a:lnTo>
                    <a:lnTo>
                      <a:pt x="9875" y="29448"/>
                    </a:lnTo>
                    <a:lnTo>
                      <a:pt x="9875" y="32975"/>
                    </a:lnTo>
                    <a:lnTo>
                      <a:pt x="8464" y="35003"/>
                    </a:lnTo>
                    <a:lnTo>
                      <a:pt x="10492" y="37648"/>
                    </a:lnTo>
                    <a:lnTo>
                      <a:pt x="9258" y="38265"/>
                    </a:lnTo>
                    <a:lnTo>
                      <a:pt x="9610" y="3967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0" name="Freihandform: Form 1809">
                <a:extLst>
                  <a:ext uri="{FF2B5EF4-FFF2-40B4-BE49-F238E27FC236}">
                    <a16:creationId xmlns:a16="http://schemas.microsoft.com/office/drawing/2014/main" id="{7453E559-E105-2F48-1E81-46F6B4D63F3D}"/>
                  </a:ext>
                </a:extLst>
              </p:cNvPr>
              <p:cNvSpPr/>
              <p:nvPr/>
            </p:nvSpPr>
            <p:spPr>
              <a:xfrm>
                <a:off x="4260284" y="4091673"/>
                <a:ext cx="128637" cy="157204"/>
              </a:xfrm>
              <a:custGeom>
                <a:avLst/>
                <a:gdLst>
                  <a:gd name="connsiteX0" fmla="*/ 54047 w 128637"/>
                  <a:gd name="connsiteY0" fmla="*/ 157204 h 157204"/>
                  <a:gd name="connsiteX1" fmla="*/ 51402 w 128637"/>
                  <a:gd name="connsiteY1" fmla="*/ 154824 h 157204"/>
                  <a:gd name="connsiteX2" fmla="*/ 51402 w 128637"/>
                  <a:gd name="connsiteY2" fmla="*/ 152267 h 157204"/>
                  <a:gd name="connsiteX3" fmla="*/ 50168 w 128637"/>
                  <a:gd name="connsiteY3" fmla="*/ 150503 h 157204"/>
                  <a:gd name="connsiteX4" fmla="*/ 48757 w 128637"/>
                  <a:gd name="connsiteY4" fmla="*/ 148123 h 157204"/>
                  <a:gd name="connsiteX5" fmla="*/ 45495 w 128637"/>
                  <a:gd name="connsiteY5" fmla="*/ 146712 h 157204"/>
                  <a:gd name="connsiteX6" fmla="*/ 43820 w 128637"/>
                  <a:gd name="connsiteY6" fmla="*/ 144332 h 157204"/>
                  <a:gd name="connsiteX7" fmla="*/ 42585 w 128637"/>
                  <a:gd name="connsiteY7" fmla="*/ 143185 h 157204"/>
                  <a:gd name="connsiteX8" fmla="*/ 42585 w 128637"/>
                  <a:gd name="connsiteY8" fmla="*/ 140893 h 157204"/>
                  <a:gd name="connsiteX9" fmla="*/ 41439 w 128637"/>
                  <a:gd name="connsiteY9" fmla="*/ 137983 h 157204"/>
                  <a:gd name="connsiteX10" fmla="*/ 42056 w 128637"/>
                  <a:gd name="connsiteY10" fmla="*/ 136749 h 157204"/>
                  <a:gd name="connsiteX11" fmla="*/ 40558 w 128637"/>
                  <a:gd name="connsiteY11" fmla="*/ 136485 h 157204"/>
                  <a:gd name="connsiteX12" fmla="*/ 38794 w 128637"/>
                  <a:gd name="connsiteY12" fmla="*/ 133840 h 157204"/>
                  <a:gd name="connsiteX13" fmla="*/ 34738 w 128637"/>
                  <a:gd name="connsiteY13" fmla="*/ 130048 h 157204"/>
                  <a:gd name="connsiteX14" fmla="*/ 32446 w 128637"/>
                  <a:gd name="connsiteY14" fmla="*/ 130666 h 157204"/>
                  <a:gd name="connsiteX15" fmla="*/ 29536 w 128637"/>
                  <a:gd name="connsiteY15" fmla="*/ 127756 h 157204"/>
                  <a:gd name="connsiteX16" fmla="*/ 28919 w 128637"/>
                  <a:gd name="connsiteY16" fmla="*/ 126257 h 157204"/>
                  <a:gd name="connsiteX17" fmla="*/ 25128 w 128637"/>
                  <a:gd name="connsiteY17" fmla="*/ 123965 h 157204"/>
                  <a:gd name="connsiteX18" fmla="*/ 23100 w 128637"/>
                  <a:gd name="connsiteY18" fmla="*/ 123083 h 157204"/>
                  <a:gd name="connsiteX19" fmla="*/ 22747 w 128637"/>
                  <a:gd name="connsiteY19" fmla="*/ 121320 h 157204"/>
                  <a:gd name="connsiteX20" fmla="*/ 21954 w 128637"/>
                  <a:gd name="connsiteY20" fmla="*/ 120438 h 157204"/>
                  <a:gd name="connsiteX21" fmla="*/ 23365 w 128637"/>
                  <a:gd name="connsiteY21" fmla="*/ 120438 h 157204"/>
                  <a:gd name="connsiteX22" fmla="*/ 24246 w 128637"/>
                  <a:gd name="connsiteY22" fmla="*/ 121055 h 157204"/>
                  <a:gd name="connsiteX23" fmla="*/ 25128 w 128637"/>
                  <a:gd name="connsiteY23" fmla="*/ 120703 h 157204"/>
                  <a:gd name="connsiteX24" fmla="*/ 25657 w 128637"/>
                  <a:gd name="connsiteY24" fmla="*/ 121937 h 157204"/>
                  <a:gd name="connsiteX25" fmla="*/ 26274 w 128637"/>
                  <a:gd name="connsiteY25" fmla="*/ 121320 h 157204"/>
                  <a:gd name="connsiteX26" fmla="*/ 26891 w 128637"/>
                  <a:gd name="connsiteY26" fmla="*/ 121584 h 157204"/>
                  <a:gd name="connsiteX27" fmla="*/ 27773 w 128637"/>
                  <a:gd name="connsiteY27" fmla="*/ 122466 h 157204"/>
                  <a:gd name="connsiteX28" fmla="*/ 28037 w 128637"/>
                  <a:gd name="connsiteY28" fmla="*/ 123965 h 157204"/>
                  <a:gd name="connsiteX29" fmla="*/ 28566 w 128637"/>
                  <a:gd name="connsiteY29" fmla="*/ 123965 h 157204"/>
                  <a:gd name="connsiteX30" fmla="*/ 29184 w 128637"/>
                  <a:gd name="connsiteY30" fmla="*/ 124494 h 157204"/>
                  <a:gd name="connsiteX31" fmla="*/ 30065 w 128637"/>
                  <a:gd name="connsiteY31" fmla="*/ 123612 h 157204"/>
                  <a:gd name="connsiteX32" fmla="*/ 30065 w 128637"/>
                  <a:gd name="connsiteY32" fmla="*/ 122818 h 157204"/>
                  <a:gd name="connsiteX33" fmla="*/ 31564 w 128637"/>
                  <a:gd name="connsiteY33" fmla="*/ 123083 h 157204"/>
                  <a:gd name="connsiteX34" fmla="*/ 32093 w 128637"/>
                  <a:gd name="connsiteY34" fmla="*/ 122818 h 157204"/>
                  <a:gd name="connsiteX35" fmla="*/ 32093 w 128637"/>
                  <a:gd name="connsiteY35" fmla="*/ 121584 h 157204"/>
                  <a:gd name="connsiteX36" fmla="*/ 31564 w 128637"/>
                  <a:gd name="connsiteY36" fmla="*/ 121055 h 157204"/>
                  <a:gd name="connsiteX37" fmla="*/ 30682 w 128637"/>
                  <a:gd name="connsiteY37" fmla="*/ 121055 h 157204"/>
                  <a:gd name="connsiteX38" fmla="*/ 30947 w 128637"/>
                  <a:gd name="connsiteY38" fmla="*/ 121584 h 157204"/>
                  <a:gd name="connsiteX39" fmla="*/ 30065 w 128637"/>
                  <a:gd name="connsiteY39" fmla="*/ 121937 h 157204"/>
                  <a:gd name="connsiteX40" fmla="*/ 29801 w 128637"/>
                  <a:gd name="connsiteY40" fmla="*/ 121055 h 157204"/>
                  <a:gd name="connsiteX41" fmla="*/ 29184 w 128637"/>
                  <a:gd name="connsiteY41" fmla="*/ 120703 h 157204"/>
                  <a:gd name="connsiteX42" fmla="*/ 28919 w 128637"/>
                  <a:gd name="connsiteY42" fmla="*/ 121584 h 157204"/>
                  <a:gd name="connsiteX43" fmla="*/ 28302 w 128637"/>
                  <a:gd name="connsiteY43" fmla="*/ 121584 h 157204"/>
                  <a:gd name="connsiteX44" fmla="*/ 28037 w 128637"/>
                  <a:gd name="connsiteY44" fmla="*/ 120703 h 157204"/>
                  <a:gd name="connsiteX45" fmla="*/ 26538 w 128637"/>
                  <a:gd name="connsiteY45" fmla="*/ 119027 h 157204"/>
                  <a:gd name="connsiteX46" fmla="*/ 25657 w 128637"/>
                  <a:gd name="connsiteY46" fmla="*/ 119027 h 157204"/>
                  <a:gd name="connsiteX47" fmla="*/ 25128 w 128637"/>
                  <a:gd name="connsiteY47" fmla="*/ 118675 h 157204"/>
                  <a:gd name="connsiteX48" fmla="*/ 24511 w 128637"/>
                  <a:gd name="connsiteY48" fmla="*/ 119556 h 157204"/>
                  <a:gd name="connsiteX49" fmla="*/ 23365 w 128637"/>
                  <a:gd name="connsiteY49" fmla="*/ 119821 h 157204"/>
                  <a:gd name="connsiteX50" fmla="*/ 23629 w 128637"/>
                  <a:gd name="connsiteY50" fmla="*/ 119027 h 157204"/>
                  <a:gd name="connsiteX51" fmla="*/ 23100 w 128637"/>
                  <a:gd name="connsiteY51" fmla="*/ 117528 h 157204"/>
                  <a:gd name="connsiteX52" fmla="*/ 22747 w 128637"/>
                  <a:gd name="connsiteY52" fmla="*/ 117528 h 157204"/>
                  <a:gd name="connsiteX53" fmla="*/ 21954 w 128637"/>
                  <a:gd name="connsiteY53" fmla="*/ 117528 h 157204"/>
                  <a:gd name="connsiteX54" fmla="*/ 22747 w 128637"/>
                  <a:gd name="connsiteY54" fmla="*/ 118146 h 157204"/>
                  <a:gd name="connsiteX55" fmla="*/ 21954 w 128637"/>
                  <a:gd name="connsiteY55" fmla="*/ 119027 h 157204"/>
                  <a:gd name="connsiteX56" fmla="*/ 21337 w 128637"/>
                  <a:gd name="connsiteY56" fmla="*/ 118146 h 157204"/>
                  <a:gd name="connsiteX57" fmla="*/ 20720 w 128637"/>
                  <a:gd name="connsiteY57" fmla="*/ 117528 h 157204"/>
                  <a:gd name="connsiteX58" fmla="*/ 21601 w 128637"/>
                  <a:gd name="connsiteY58" fmla="*/ 119027 h 157204"/>
                  <a:gd name="connsiteX59" fmla="*/ 20720 w 128637"/>
                  <a:gd name="connsiteY59" fmla="*/ 118675 h 157204"/>
                  <a:gd name="connsiteX60" fmla="*/ 19573 w 128637"/>
                  <a:gd name="connsiteY60" fmla="*/ 116647 h 157204"/>
                  <a:gd name="connsiteX61" fmla="*/ 18956 w 128637"/>
                  <a:gd name="connsiteY61" fmla="*/ 114883 h 157204"/>
                  <a:gd name="connsiteX62" fmla="*/ 19573 w 128637"/>
                  <a:gd name="connsiteY62" fmla="*/ 113737 h 157204"/>
                  <a:gd name="connsiteX63" fmla="*/ 18956 w 128637"/>
                  <a:gd name="connsiteY63" fmla="*/ 112591 h 157204"/>
                  <a:gd name="connsiteX64" fmla="*/ 16047 w 128637"/>
                  <a:gd name="connsiteY64" fmla="*/ 111445 h 157204"/>
                  <a:gd name="connsiteX65" fmla="*/ 15782 w 128637"/>
                  <a:gd name="connsiteY65" fmla="*/ 109946 h 157204"/>
                  <a:gd name="connsiteX66" fmla="*/ 14900 w 128637"/>
                  <a:gd name="connsiteY66" fmla="*/ 108800 h 157204"/>
                  <a:gd name="connsiteX67" fmla="*/ 12873 w 128637"/>
                  <a:gd name="connsiteY67" fmla="*/ 106155 h 157204"/>
                  <a:gd name="connsiteX68" fmla="*/ 12608 w 128637"/>
                  <a:gd name="connsiteY68" fmla="*/ 104656 h 157204"/>
                  <a:gd name="connsiteX69" fmla="*/ 13401 w 128637"/>
                  <a:gd name="connsiteY69" fmla="*/ 105538 h 157204"/>
                  <a:gd name="connsiteX70" fmla="*/ 14283 w 128637"/>
                  <a:gd name="connsiteY70" fmla="*/ 105890 h 157204"/>
                  <a:gd name="connsiteX71" fmla="*/ 14900 w 128637"/>
                  <a:gd name="connsiteY71" fmla="*/ 105273 h 157204"/>
                  <a:gd name="connsiteX72" fmla="*/ 15782 w 128637"/>
                  <a:gd name="connsiteY72" fmla="*/ 106155 h 157204"/>
                  <a:gd name="connsiteX73" fmla="*/ 16928 w 128637"/>
                  <a:gd name="connsiteY73" fmla="*/ 105890 h 157204"/>
                  <a:gd name="connsiteX74" fmla="*/ 17545 w 128637"/>
                  <a:gd name="connsiteY74" fmla="*/ 108183 h 157204"/>
                  <a:gd name="connsiteX75" fmla="*/ 18692 w 128637"/>
                  <a:gd name="connsiteY75" fmla="*/ 108800 h 157204"/>
                  <a:gd name="connsiteX76" fmla="*/ 18956 w 128637"/>
                  <a:gd name="connsiteY76" fmla="*/ 109329 h 157204"/>
                  <a:gd name="connsiteX77" fmla="*/ 19573 w 128637"/>
                  <a:gd name="connsiteY77" fmla="*/ 109064 h 157204"/>
                  <a:gd name="connsiteX78" fmla="*/ 19309 w 128637"/>
                  <a:gd name="connsiteY78" fmla="*/ 107918 h 157204"/>
                  <a:gd name="connsiteX79" fmla="*/ 18074 w 128637"/>
                  <a:gd name="connsiteY79" fmla="*/ 107036 h 157204"/>
                  <a:gd name="connsiteX80" fmla="*/ 17545 w 128637"/>
                  <a:gd name="connsiteY80" fmla="*/ 105538 h 157204"/>
                  <a:gd name="connsiteX81" fmla="*/ 16664 w 128637"/>
                  <a:gd name="connsiteY81" fmla="*/ 105273 h 157204"/>
                  <a:gd name="connsiteX82" fmla="*/ 15782 w 128637"/>
                  <a:gd name="connsiteY82" fmla="*/ 104391 h 157204"/>
                  <a:gd name="connsiteX83" fmla="*/ 15165 w 128637"/>
                  <a:gd name="connsiteY83" fmla="*/ 104127 h 157204"/>
                  <a:gd name="connsiteX84" fmla="*/ 14019 w 128637"/>
                  <a:gd name="connsiteY84" fmla="*/ 105273 h 157204"/>
                  <a:gd name="connsiteX85" fmla="*/ 14283 w 128637"/>
                  <a:gd name="connsiteY85" fmla="*/ 104391 h 157204"/>
                  <a:gd name="connsiteX86" fmla="*/ 13754 w 128637"/>
                  <a:gd name="connsiteY86" fmla="*/ 104127 h 157204"/>
                  <a:gd name="connsiteX87" fmla="*/ 12608 w 128637"/>
                  <a:gd name="connsiteY87" fmla="*/ 104127 h 157204"/>
                  <a:gd name="connsiteX88" fmla="*/ 11991 w 128637"/>
                  <a:gd name="connsiteY88" fmla="*/ 97690 h 157204"/>
                  <a:gd name="connsiteX89" fmla="*/ 9346 w 128637"/>
                  <a:gd name="connsiteY89" fmla="*/ 93635 h 157204"/>
                  <a:gd name="connsiteX90" fmla="*/ 10492 w 128637"/>
                  <a:gd name="connsiteY90" fmla="*/ 94517 h 157204"/>
                  <a:gd name="connsiteX91" fmla="*/ 12608 w 128637"/>
                  <a:gd name="connsiteY91" fmla="*/ 96544 h 157204"/>
                  <a:gd name="connsiteX92" fmla="*/ 12873 w 128637"/>
                  <a:gd name="connsiteY92" fmla="*/ 100336 h 157204"/>
                  <a:gd name="connsiteX93" fmla="*/ 13401 w 128637"/>
                  <a:gd name="connsiteY93" fmla="*/ 100336 h 157204"/>
                  <a:gd name="connsiteX94" fmla="*/ 13754 w 128637"/>
                  <a:gd name="connsiteY94" fmla="*/ 99718 h 157204"/>
                  <a:gd name="connsiteX95" fmla="*/ 13754 w 128637"/>
                  <a:gd name="connsiteY95" fmla="*/ 98837 h 157204"/>
                  <a:gd name="connsiteX96" fmla="*/ 15782 w 128637"/>
                  <a:gd name="connsiteY96" fmla="*/ 98837 h 157204"/>
                  <a:gd name="connsiteX97" fmla="*/ 16047 w 128637"/>
                  <a:gd name="connsiteY97" fmla="*/ 98572 h 157204"/>
                  <a:gd name="connsiteX98" fmla="*/ 16047 w 128637"/>
                  <a:gd name="connsiteY98" fmla="*/ 97690 h 157204"/>
                  <a:gd name="connsiteX99" fmla="*/ 18074 w 128637"/>
                  <a:gd name="connsiteY99" fmla="*/ 98572 h 157204"/>
                  <a:gd name="connsiteX100" fmla="*/ 18074 w 128637"/>
                  <a:gd name="connsiteY100" fmla="*/ 97690 h 157204"/>
                  <a:gd name="connsiteX101" fmla="*/ 17545 w 128637"/>
                  <a:gd name="connsiteY101" fmla="*/ 96809 h 157204"/>
                  <a:gd name="connsiteX102" fmla="*/ 16664 w 128637"/>
                  <a:gd name="connsiteY102" fmla="*/ 96280 h 157204"/>
                  <a:gd name="connsiteX103" fmla="*/ 15782 w 128637"/>
                  <a:gd name="connsiteY103" fmla="*/ 95927 h 157204"/>
                  <a:gd name="connsiteX104" fmla="*/ 15782 w 128637"/>
                  <a:gd name="connsiteY104" fmla="*/ 97426 h 157204"/>
                  <a:gd name="connsiteX105" fmla="*/ 14636 w 128637"/>
                  <a:gd name="connsiteY105" fmla="*/ 97426 h 157204"/>
                  <a:gd name="connsiteX106" fmla="*/ 13137 w 128637"/>
                  <a:gd name="connsiteY106" fmla="*/ 97073 h 157204"/>
                  <a:gd name="connsiteX107" fmla="*/ 12608 w 128637"/>
                  <a:gd name="connsiteY107" fmla="*/ 95046 h 157204"/>
                  <a:gd name="connsiteX108" fmla="*/ 13754 w 128637"/>
                  <a:gd name="connsiteY108" fmla="*/ 93899 h 157204"/>
                  <a:gd name="connsiteX109" fmla="*/ 13401 w 128637"/>
                  <a:gd name="connsiteY109" fmla="*/ 93282 h 157204"/>
                  <a:gd name="connsiteX110" fmla="*/ 14283 w 128637"/>
                  <a:gd name="connsiteY110" fmla="*/ 93635 h 157204"/>
                  <a:gd name="connsiteX111" fmla="*/ 14019 w 128637"/>
                  <a:gd name="connsiteY111" fmla="*/ 92489 h 157204"/>
                  <a:gd name="connsiteX112" fmla="*/ 13401 w 128637"/>
                  <a:gd name="connsiteY112" fmla="*/ 92753 h 157204"/>
                  <a:gd name="connsiteX113" fmla="*/ 12608 w 128637"/>
                  <a:gd name="connsiteY113" fmla="*/ 92489 h 157204"/>
                  <a:gd name="connsiteX114" fmla="*/ 11109 w 128637"/>
                  <a:gd name="connsiteY114" fmla="*/ 93635 h 157204"/>
                  <a:gd name="connsiteX115" fmla="*/ 10492 w 128637"/>
                  <a:gd name="connsiteY115" fmla="*/ 91254 h 157204"/>
                  <a:gd name="connsiteX116" fmla="*/ 9963 w 128637"/>
                  <a:gd name="connsiteY116" fmla="*/ 91254 h 157204"/>
                  <a:gd name="connsiteX117" fmla="*/ 9081 w 128637"/>
                  <a:gd name="connsiteY117" fmla="*/ 92489 h 157204"/>
                  <a:gd name="connsiteX118" fmla="*/ 7582 w 128637"/>
                  <a:gd name="connsiteY118" fmla="*/ 90373 h 157204"/>
                  <a:gd name="connsiteX119" fmla="*/ 7318 w 128637"/>
                  <a:gd name="connsiteY119" fmla="*/ 89844 h 157204"/>
                  <a:gd name="connsiteX120" fmla="*/ 7582 w 128637"/>
                  <a:gd name="connsiteY120" fmla="*/ 88962 h 157204"/>
                  <a:gd name="connsiteX121" fmla="*/ 7582 w 128637"/>
                  <a:gd name="connsiteY121" fmla="*/ 87816 h 157204"/>
                  <a:gd name="connsiteX122" fmla="*/ 6701 w 128637"/>
                  <a:gd name="connsiteY122" fmla="*/ 87816 h 157204"/>
                  <a:gd name="connsiteX123" fmla="*/ 6701 w 128637"/>
                  <a:gd name="connsiteY123" fmla="*/ 88697 h 157204"/>
                  <a:gd name="connsiteX124" fmla="*/ 6436 w 128637"/>
                  <a:gd name="connsiteY124" fmla="*/ 88345 h 157204"/>
                  <a:gd name="connsiteX125" fmla="*/ 6172 w 128637"/>
                  <a:gd name="connsiteY125" fmla="*/ 86052 h 157204"/>
                  <a:gd name="connsiteX126" fmla="*/ 4673 w 128637"/>
                  <a:gd name="connsiteY126" fmla="*/ 84818 h 157204"/>
                  <a:gd name="connsiteX127" fmla="*/ 4144 w 128637"/>
                  <a:gd name="connsiteY127" fmla="*/ 82790 h 157204"/>
                  <a:gd name="connsiteX128" fmla="*/ 5026 w 128637"/>
                  <a:gd name="connsiteY128" fmla="*/ 83672 h 157204"/>
                  <a:gd name="connsiteX129" fmla="*/ 5290 w 128637"/>
                  <a:gd name="connsiteY129" fmla="*/ 83407 h 157204"/>
                  <a:gd name="connsiteX130" fmla="*/ 5026 w 128637"/>
                  <a:gd name="connsiteY130" fmla="*/ 82525 h 157204"/>
                  <a:gd name="connsiteX131" fmla="*/ 4144 w 128637"/>
                  <a:gd name="connsiteY131" fmla="*/ 81380 h 157204"/>
                  <a:gd name="connsiteX132" fmla="*/ 2909 w 128637"/>
                  <a:gd name="connsiteY132" fmla="*/ 81380 h 157204"/>
                  <a:gd name="connsiteX133" fmla="*/ 2380 w 128637"/>
                  <a:gd name="connsiteY133" fmla="*/ 80762 h 157204"/>
                  <a:gd name="connsiteX134" fmla="*/ 1146 w 128637"/>
                  <a:gd name="connsiteY134" fmla="*/ 79616 h 157204"/>
                  <a:gd name="connsiteX135" fmla="*/ 1146 w 128637"/>
                  <a:gd name="connsiteY135" fmla="*/ 78205 h 157204"/>
                  <a:gd name="connsiteX136" fmla="*/ 882 w 128637"/>
                  <a:gd name="connsiteY136" fmla="*/ 76971 h 157204"/>
                  <a:gd name="connsiteX137" fmla="*/ 0 w 128637"/>
                  <a:gd name="connsiteY137" fmla="*/ 74943 h 157204"/>
                  <a:gd name="connsiteX138" fmla="*/ 352 w 128637"/>
                  <a:gd name="connsiteY138" fmla="*/ 74061 h 157204"/>
                  <a:gd name="connsiteX139" fmla="*/ 352 w 128637"/>
                  <a:gd name="connsiteY139" fmla="*/ 72651 h 157204"/>
                  <a:gd name="connsiteX140" fmla="*/ 882 w 128637"/>
                  <a:gd name="connsiteY140" fmla="*/ 73444 h 157204"/>
                  <a:gd name="connsiteX141" fmla="*/ 2116 w 128637"/>
                  <a:gd name="connsiteY141" fmla="*/ 74061 h 157204"/>
                  <a:gd name="connsiteX142" fmla="*/ 2645 w 128637"/>
                  <a:gd name="connsiteY142" fmla="*/ 74943 h 157204"/>
                  <a:gd name="connsiteX143" fmla="*/ 2909 w 128637"/>
                  <a:gd name="connsiteY143" fmla="*/ 76707 h 157204"/>
                  <a:gd name="connsiteX144" fmla="*/ 3791 w 128637"/>
                  <a:gd name="connsiteY144" fmla="*/ 78470 h 157204"/>
                  <a:gd name="connsiteX145" fmla="*/ 4408 w 128637"/>
                  <a:gd name="connsiteY145" fmla="*/ 77853 h 157204"/>
                  <a:gd name="connsiteX146" fmla="*/ 3791 w 128637"/>
                  <a:gd name="connsiteY146" fmla="*/ 76089 h 157204"/>
                  <a:gd name="connsiteX147" fmla="*/ 4144 w 128637"/>
                  <a:gd name="connsiteY147" fmla="*/ 75560 h 157204"/>
                  <a:gd name="connsiteX148" fmla="*/ 4673 w 128637"/>
                  <a:gd name="connsiteY148" fmla="*/ 75560 h 157204"/>
                  <a:gd name="connsiteX149" fmla="*/ 4144 w 128637"/>
                  <a:gd name="connsiteY149" fmla="*/ 75560 h 157204"/>
                  <a:gd name="connsiteX150" fmla="*/ 4408 w 128637"/>
                  <a:gd name="connsiteY150" fmla="*/ 74943 h 157204"/>
                  <a:gd name="connsiteX151" fmla="*/ 4673 w 128637"/>
                  <a:gd name="connsiteY151" fmla="*/ 75208 h 157204"/>
                  <a:gd name="connsiteX152" fmla="*/ 5290 w 128637"/>
                  <a:gd name="connsiteY152" fmla="*/ 76089 h 157204"/>
                  <a:gd name="connsiteX153" fmla="*/ 6172 w 128637"/>
                  <a:gd name="connsiteY153" fmla="*/ 78999 h 157204"/>
                  <a:gd name="connsiteX154" fmla="*/ 6436 w 128637"/>
                  <a:gd name="connsiteY154" fmla="*/ 79616 h 157204"/>
                  <a:gd name="connsiteX155" fmla="*/ 7318 w 128637"/>
                  <a:gd name="connsiteY155" fmla="*/ 78999 h 157204"/>
                  <a:gd name="connsiteX156" fmla="*/ 7935 w 128637"/>
                  <a:gd name="connsiteY156" fmla="*/ 78205 h 157204"/>
                  <a:gd name="connsiteX157" fmla="*/ 7318 w 128637"/>
                  <a:gd name="connsiteY157" fmla="*/ 75560 h 157204"/>
                  <a:gd name="connsiteX158" fmla="*/ 7582 w 128637"/>
                  <a:gd name="connsiteY158" fmla="*/ 74943 h 157204"/>
                  <a:gd name="connsiteX159" fmla="*/ 8817 w 128637"/>
                  <a:gd name="connsiteY159" fmla="*/ 74679 h 157204"/>
                  <a:gd name="connsiteX160" fmla="*/ 9346 w 128637"/>
                  <a:gd name="connsiteY160" fmla="*/ 75208 h 157204"/>
                  <a:gd name="connsiteX161" fmla="*/ 9346 w 128637"/>
                  <a:gd name="connsiteY161" fmla="*/ 74943 h 157204"/>
                  <a:gd name="connsiteX162" fmla="*/ 9346 w 128637"/>
                  <a:gd name="connsiteY162" fmla="*/ 74326 h 157204"/>
                  <a:gd name="connsiteX163" fmla="*/ 9081 w 128637"/>
                  <a:gd name="connsiteY163" fmla="*/ 73180 h 157204"/>
                  <a:gd name="connsiteX164" fmla="*/ 9963 w 128637"/>
                  <a:gd name="connsiteY164" fmla="*/ 72651 h 157204"/>
                  <a:gd name="connsiteX165" fmla="*/ 11109 w 128637"/>
                  <a:gd name="connsiteY165" fmla="*/ 69124 h 157204"/>
                  <a:gd name="connsiteX166" fmla="*/ 13754 w 128637"/>
                  <a:gd name="connsiteY166" fmla="*/ 67096 h 157204"/>
                  <a:gd name="connsiteX167" fmla="*/ 14283 w 128637"/>
                  <a:gd name="connsiteY167" fmla="*/ 61277 h 157204"/>
                  <a:gd name="connsiteX168" fmla="*/ 14283 w 128637"/>
                  <a:gd name="connsiteY168" fmla="*/ 56251 h 157204"/>
                  <a:gd name="connsiteX169" fmla="*/ 13137 w 128637"/>
                  <a:gd name="connsiteY169" fmla="*/ 54224 h 157204"/>
                  <a:gd name="connsiteX170" fmla="*/ 13137 w 128637"/>
                  <a:gd name="connsiteY170" fmla="*/ 51579 h 157204"/>
                  <a:gd name="connsiteX171" fmla="*/ 13754 w 128637"/>
                  <a:gd name="connsiteY171" fmla="*/ 50432 h 157204"/>
                  <a:gd name="connsiteX172" fmla="*/ 14283 w 128637"/>
                  <a:gd name="connsiteY172" fmla="*/ 50168 h 157204"/>
                  <a:gd name="connsiteX173" fmla="*/ 15517 w 128637"/>
                  <a:gd name="connsiteY173" fmla="*/ 51579 h 157204"/>
                  <a:gd name="connsiteX174" fmla="*/ 15165 w 128637"/>
                  <a:gd name="connsiteY174" fmla="*/ 52813 h 157204"/>
                  <a:gd name="connsiteX175" fmla="*/ 16047 w 128637"/>
                  <a:gd name="connsiteY175" fmla="*/ 53077 h 157204"/>
                  <a:gd name="connsiteX176" fmla="*/ 17193 w 128637"/>
                  <a:gd name="connsiteY176" fmla="*/ 55370 h 157204"/>
                  <a:gd name="connsiteX177" fmla="*/ 17810 w 128637"/>
                  <a:gd name="connsiteY177" fmla="*/ 55722 h 157204"/>
                  <a:gd name="connsiteX178" fmla="*/ 18074 w 128637"/>
                  <a:gd name="connsiteY178" fmla="*/ 55370 h 157204"/>
                  <a:gd name="connsiteX179" fmla="*/ 18074 w 128637"/>
                  <a:gd name="connsiteY179" fmla="*/ 54224 h 157204"/>
                  <a:gd name="connsiteX180" fmla="*/ 18956 w 128637"/>
                  <a:gd name="connsiteY180" fmla="*/ 54224 h 157204"/>
                  <a:gd name="connsiteX181" fmla="*/ 19573 w 128637"/>
                  <a:gd name="connsiteY181" fmla="*/ 55370 h 157204"/>
                  <a:gd name="connsiteX182" fmla="*/ 20984 w 128637"/>
                  <a:gd name="connsiteY182" fmla="*/ 54488 h 157204"/>
                  <a:gd name="connsiteX183" fmla="*/ 23100 w 128637"/>
                  <a:gd name="connsiteY183" fmla="*/ 55105 h 157204"/>
                  <a:gd name="connsiteX184" fmla="*/ 23365 w 128637"/>
                  <a:gd name="connsiteY184" fmla="*/ 55722 h 157204"/>
                  <a:gd name="connsiteX185" fmla="*/ 23365 w 128637"/>
                  <a:gd name="connsiteY185" fmla="*/ 55105 h 157204"/>
                  <a:gd name="connsiteX186" fmla="*/ 25657 w 128637"/>
                  <a:gd name="connsiteY186" fmla="*/ 54488 h 157204"/>
                  <a:gd name="connsiteX187" fmla="*/ 27420 w 128637"/>
                  <a:gd name="connsiteY187" fmla="*/ 53342 h 157204"/>
                  <a:gd name="connsiteX188" fmla="*/ 25393 w 128637"/>
                  <a:gd name="connsiteY188" fmla="*/ 53342 h 157204"/>
                  <a:gd name="connsiteX189" fmla="*/ 24511 w 128637"/>
                  <a:gd name="connsiteY189" fmla="*/ 53959 h 157204"/>
                  <a:gd name="connsiteX190" fmla="*/ 20190 w 128637"/>
                  <a:gd name="connsiteY190" fmla="*/ 52196 h 157204"/>
                  <a:gd name="connsiteX191" fmla="*/ 19573 w 128637"/>
                  <a:gd name="connsiteY191" fmla="*/ 51579 h 157204"/>
                  <a:gd name="connsiteX192" fmla="*/ 20190 w 128637"/>
                  <a:gd name="connsiteY192" fmla="*/ 50697 h 157204"/>
                  <a:gd name="connsiteX193" fmla="*/ 19573 w 128637"/>
                  <a:gd name="connsiteY193" fmla="*/ 50432 h 157204"/>
                  <a:gd name="connsiteX194" fmla="*/ 18956 w 128637"/>
                  <a:gd name="connsiteY194" fmla="*/ 51050 h 157204"/>
                  <a:gd name="connsiteX195" fmla="*/ 18074 w 128637"/>
                  <a:gd name="connsiteY195" fmla="*/ 50697 h 157204"/>
                  <a:gd name="connsiteX196" fmla="*/ 17545 w 128637"/>
                  <a:gd name="connsiteY196" fmla="*/ 49022 h 157204"/>
                  <a:gd name="connsiteX197" fmla="*/ 15517 w 128637"/>
                  <a:gd name="connsiteY197" fmla="*/ 47787 h 157204"/>
                  <a:gd name="connsiteX198" fmla="*/ 15782 w 128637"/>
                  <a:gd name="connsiteY198" fmla="*/ 46377 h 157204"/>
                  <a:gd name="connsiteX199" fmla="*/ 13754 w 128637"/>
                  <a:gd name="connsiteY199" fmla="*/ 44613 h 157204"/>
                  <a:gd name="connsiteX200" fmla="*/ 14283 w 128637"/>
                  <a:gd name="connsiteY200" fmla="*/ 43467 h 157204"/>
                  <a:gd name="connsiteX201" fmla="*/ 13754 w 128637"/>
                  <a:gd name="connsiteY201" fmla="*/ 42850 h 157204"/>
                  <a:gd name="connsiteX202" fmla="*/ 14283 w 128637"/>
                  <a:gd name="connsiteY202" fmla="*/ 41704 h 157204"/>
                  <a:gd name="connsiteX203" fmla="*/ 16047 w 128637"/>
                  <a:gd name="connsiteY203" fmla="*/ 41439 h 157204"/>
                  <a:gd name="connsiteX204" fmla="*/ 18427 w 128637"/>
                  <a:gd name="connsiteY204" fmla="*/ 41439 h 157204"/>
                  <a:gd name="connsiteX205" fmla="*/ 19573 w 128637"/>
                  <a:gd name="connsiteY205" fmla="*/ 42850 h 157204"/>
                  <a:gd name="connsiteX206" fmla="*/ 18692 w 128637"/>
                  <a:gd name="connsiteY206" fmla="*/ 43467 h 157204"/>
                  <a:gd name="connsiteX207" fmla="*/ 18956 w 128637"/>
                  <a:gd name="connsiteY207" fmla="*/ 43731 h 157204"/>
                  <a:gd name="connsiteX208" fmla="*/ 19573 w 128637"/>
                  <a:gd name="connsiteY208" fmla="*/ 43467 h 157204"/>
                  <a:gd name="connsiteX209" fmla="*/ 20190 w 128637"/>
                  <a:gd name="connsiteY209" fmla="*/ 44613 h 157204"/>
                  <a:gd name="connsiteX210" fmla="*/ 20455 w 128637"/>
                  <a:gd name="connsiteY210" fmla="*/ 43114 h 157204"/>
                  <a:gd name="connsiteX211" fmla="*/ 20720 w 128637"/>
                  <a:gd name="connsiteY211" fmla="*/ 39059 h 157204"/>
                  <a:gd name="connsiteX212" fmla="*/ 19573 w 128637"/>
                  <a:gd name="connsiteY212" fmla="*/ 36766 h 157204"/>
                  <a:gd name="connsiteX213" fmla="*/ 19573 w 128637"/>
                  <a:gd name="connsiteY213" fmla="*/ 33857 h 157204"/>
                  <a:gd name="connsiteX214" fmla="*/ 20984 w 128637"/>
                  <a:gd name="connsiteY214" fmla="*/ 34121 h 157204"/>
                  <a:gd name="connsiteX215" fmla="*/ 23100 w 128637"/>
                  <a:gd name="connsiteY215" fmla="*/ 32093 h 157204"/>
                  <a:gd name="connsiteX216" fmla="*/ 24511 w 128637"/>
                  <a:gd name="connsiteY216" fmla="*/ 33857 h 157204"/>
                  <a:gd name="connsiteX217" fmla="*/ 58367 w 128637"/>
                  <a:gd name="connsiteY217" fmla="*/ 33857 h 157204"/>
                  <a:gd name="connsiteX218" fmla="*/ 58103 w 128637"/>
                  <a:gd name="connsiteY218" fmla="*/ 4056 h 157204"/>
                  <a:gd name="connsiteX219" fmla="*/ 58367 w 128637"/>
                  <a:gd name="connsiteY219" fmla="*/ 2292 h 157204"/>
                  <a:gd name="connsiteX220" fmla="*/ 58985 w 128637"/>
                  <a:gd name="connsiteY220" fmla="*/ 882 h 157204"/>
                  <a:gd name="connsiteX221" fmla="*/ 65950 w 128637"/>
                  <a:gd name="connsiteY221" fmla="*/ 0 h 157204"/>
                  <a:gd name="connsiteX222" fmla="*/ 67096 w 128637"/>
                  <a:gd name="connsiteY222" fmla="*/ 1146 h 157204"/>
                  <a:gd name="connsiteX223" fmla="*/ 77941 w 128637"/>
                  <a:gd name="connsiteY223" fmla="*/ 1146 h 157204"/>
                  <a:gd name="connsiteX224" fmla="*/ 80233 w 128637"/>
                  <a:gd name="connsiteY224" fmla="*/ 264 h 157204"/>
                  <a:gd name="connsiteX225" fmla="*/ 89579 w 128637"/>
                  <a:gd name="connsiteY225" fmla="*/ 2292 h 157204"/>
                  <a:gd name="connsiteX226" fmla="*/ 90461 w 128637"/>
                  <a:gd name="connsiteY226" fmla="*/ 1763 h 157204"/>
                  <a:gd name="connsiteX227" fmla="*/ 91342 w 128637"/>
                  <a:gd name="connsiteY227" fmla="*/ 2292 h 157204"/>
                  <a:gd name="connsiteX228" fmla="*/ 98308 w 128637"/>
                  <a:gd name="connsiteY228" fmla="*/ 1146 h 157204"/>
                  <a:gd name="connsiteX229" fmla="*/ 100336 w 128637"/>
                  <a:gd name="connsiteY229" fmla="*/ 1763 h 157204"/>
                  <a:gd name="connsiteX230" fmla="*/ 101217 w 128637"/>
                  <a:gd name="connsiteY230" fmla="*/ 2645 h 157204"/>
                  <a:gd name="connsiteX231" fmla="*/ 101217 w 128637"/>
                  <a:gd name="connsiteY231" fmla="*/ 4056 h 157204"/>
                  <a:gd name="connsiteX232" fmla="*/ 100688 w 128637"/>
                  <a:gd name="connsiteY232" fmla="*/ 7318 h 157204"/>
                  <a:gd name="connsiteX233" fmla="*/ 99454 w 128637"/>
                  <a:gd name="connsiteY233" fmla="*/ 8993 h 157204"/>
                  <a:gd name="connsiteX234" fmla="*/ 99189 w 128637"/>
                  <a:gd name="connsiteY234" fmla="*/ 11109 h 157204"/>
                  <a:gd name="connsiteX235" fmla="*/ 98308 w 128637"/>
                  <a:gd name="connsiteY235" fmla="*/ 11109 h 157204"/>
                  <a:gd name="connsiteX236" fmla="*/ 99189 w 128637"/>
                  <a:gd name="connsiteY236" fmla="*/ 13137 h 157204"/>
                  <a:gd name="connsiteX237" fmla="*/ 98308 w 128637"/>
                  <a:gd name="connsiteY237" fmla="*/ 13401 h 157204"/>
                  <a:gd name="connsiteX238" fmla="*/ 97426 w 128637"/>
                  <a:gd name="connsiteY238" fmla="*/ 18692 h 157204"/>
                  <a:gd name="connsiteX239" fmla="*/ 99189 w 128637"/>
                  <a:gd name="connsiteY239" fmla="*/ 19838 h 157204"/>
                  <a:gd name="connsiteX240" fmla="*/ 100336 w 128637"/>
                  <a:gd name="connsiteY240" fmla="*/ 23629 h 157204"/>
                  <a:gd name="connsiteX241" fmla="*/ 98572 w 128637"/>
                  <a:gd name="connsiteY241" fmla="*/ 27420 h 157204"/>
                  <a:gd name="connsiteX242" fmla="*/ 102099 w 128637"/>
                  <a:gd name="connsiteY242" fmla="*/ 27420 h 157204"/>
                  <a:gd name="connsiteX243" fmla="*/ 103333 w 128637"/>
                  <a:gd name="connsiteY243" fmla="*/ 25657 h 157204"/>
                  <a:gd name="connsiteX244" fmla="*/ 107036 w 128637"/>
                  <a:gd name="connsiteY244" fmla="*/ 26274 h 157204"/>
                  <a:gd name="connsiteX245" fmla="*/ 108271 w 128637"/>
                  <a:gd name="connsiteY245" fmla="*/ 25040 h 157204"/>
                  <a:gd name="connsiteX246" fmla="*/ 111180 w 128637"/>
                  <a:gd name="connsiteY246" fmla="*/ 23629 h 157204"/>
                  <a:gd name="connsiteX247" fmla="*/ 112326 w 128637"/>
                  <a:gd name="connsiteY247" fmla="*/ 24246 h 157204"/>
                  <a:gd name="connsiteX248" fmla="*/ 112326 w 128637"/>
                  <a:gd name="connsiteY248" fmla="*/ 22483 h 157204"/>
                  <a:gd name="connsiteX249" fmla="*/ 121408 w 128637"/>
                  <a:gd name="connsiteY249" fmla="*/ 23629 h 157204"/>
                  <a:gd name="connsiteX250" fmla="*/ 123436 w 128637"/>
                  <a:gd name="connsiteY250" fmla="*/ 25393 h 157204"/>
                  <a:gd name="connsiteX251" fmla="*/ 125463 w 128637"/>
                  <a:gd name="connsiteY251" fmla="*/ 32093 h 157204"/>
                  <a:gd name="connsiteX252" fmla="*/ 127491 w 128637"/>
                  <a:gd name="connsiteY252" fmla="*/ 35003 h 157204"/>
                  <a:gd name="connsiteX253" fmla="*/ 125199 w 128637"/>
                  <a:gd name="connsiteY253" fmla="*/ 42585 h 157204"/>
                  <a:gd name="connsiteX254" fmla="*/ 122201 w 128637"/>
                  <a:gd name="connsiteY254" fmla="*/ 44613 h 157204"/>
                  <a:gd name="connsiteX255" fmla="*/ 120174 w 128637"/>
                  <a:gd name="connsiteY255" fmla="*/ 44349 h 157204"/>
                  <a:gd name="connsiteX256" fmla="*/ 119027 w 128637"/>
                  <a:gd name="connsiteY256" fmla="*/ 44613 h 157204"/>
                  <a:gd name="connsiteX257" fmla="*/ 118146 w 128637"/>
                  <a:gd name="connsiteY257" fmla="*/ 46906 h 157204"/>
                  <a:gd name="connsiteX258" fmla="*/ 116118 w 128637"/>
                  <a:gd name="connsiteY258" fmla="*/ 48404 h 157204"/>
                  <a:gd name="connsiteX259" fmla="*/ 114619 w 128637"/>
                  <a:gd name="connsiteY259" fmla="*/ 52460 h 157204"/>
                  <a:gd name="connsiteX260" fmla="*/ 114619 w 128637"/>
                  <a:gd name="connsiteY260" fmla="*/ 56869 h 157204"/>
                  <a:gd name="connsiteX261" fmla="*/ 117264 w 128637"/>
                  <a:gd name="connsiteY261" fmla="*/ 58279 h 157204"/>
                  <a:gd name="connsiteX262" fmla="*/ 117617 w 128637"/>
                  <a:gd name="connsiteY262" fmla="*/ 60395 h 157204"/>
                  <a:gd name="connsiteX263" fmla="*/ 114619 w 128637"/>
                  <a:gd name="connsiteY263" fmla="*/ 60924 h 157204"/>
                  <a:gd name="connsiteX264" fmla="*/ 114619 w 128637"/>
                  <a:gd name="connsiteY264" fmla="*/ 62071 h 157204"/>
                  <a:gd name="connsiteX265" fmla="*/ 117881 w 128637"/>
                  <a:gd name="connsiteY265" fmla="*/ 64980 h 157204"/>
                  <a:gd name="connsiteX266" fmla="*/ 118146 w 128637"/>
                  <a:gd name="connsiteY266" fmla="*/ 64187 h 157204"/>
                  <a:gd name="connsiteX267" fmla="*/ 120174 w 128637"/>
                  <a:gd name="connsiteY267" fmla="*/ 65333 h 157204"/>
                  <a:gd name="connsiteX268" fmla="*/ 121408 w 128637"/>
                  <a:gd name="connsiteY268" fmla="*/ 69388 h 157204"/>
                  <a:gd name="connsiteX269" fmla="*/ 122201 w 128637"/>
                  <a:gd name="connsiteY269" fmla="*/ 68242 h 157204"/>
                  <a:gd name="connsiteX270" fmla="*/ 123700 w 128637"/>
                  <a:gd name="connsiteY270" fmla="*/ 68242 h 157204"/>
                  <a:gd name="connsiteX271" fmla="*/ 126874 w 128637"/>
                  <a:gd name="connsiteY271" fmla="*/ 70006 h 157204"/>
                  <a:gd name="connsiteX272" fmla="*/ 128638 w 128637"/>
                  <a:gd name="connsiteY272" fmla="*/ 73444 h 157204"/>
                  <a:gd name="connsiteX273" fmla="*/ 126610 w 128637"/>
                  <a:gd name="connsiteY273" fmla="*/ 81380 h 157204"/>
                  <a:gd name="connsiteX274" fmla="*/ 127491 w 128637"/>
                  <a:gd name="connsiteY274" fmla="*/ 88962 h 157204"/>
                  <a:gd name="connsiteX275" fmla="*/ 127227 w 128637"/>
                  <a:gd name="connsiteY275" fmla="*/ 91607 h 157204"/>
                  <a:gd name="connsiteX276" fmla="*/ 128109 w 128637"/>
                  <a:gd name="connsiteY276" fmla="*/ 93018 h 157204"/>
                  <a:gd name="connsiteX277" fmla="*/ 127227 w 128637"/>
                  <a:gd name="connsiteY277" fmla="*/ 95663 h 157204"/>
                  <a:gd name="connsiteX278" fmla="*/ 127491 w 128637"/>
                  <a:gd name="connsiteY278" fmla="*/ 96809 h 157204"/>
                  <a:gd name="connsiteX279" fmla="*/ 125463 w 128637"/>
                  <a:gd name="connsiteY279" fmla="*/ 98308 h 157204"/>
                  <a:gd name="connsiteX280" fmla="*/ 126610 w 128637"/>
                  <a:gd name="connsiteY280" fmla="*/ 99983 h 157204"/>
                  <a:gd name="connsiteX281" fmla="*/ 127491 w 128637"/>
                  <a:gd name="connsiteY281" fmla="*/ 99983 h 157204"/>
                  <a:gd name="connsiteX282" fmla="*/ 126610 w 128637"/>
                  <a:gd name="connsiteY282" fmla="*/ 101746 h 157204"/>
                  <a:gd name="connsiteX283" fmla="*/ 126874 w 128637"/>
                  <a:gd name="connsiteY283" fmla="*/ 105273 h 157204"/>
                  <a:gd name="connsiteX284" fmla="*/ 122554 w 128637"/>
                  <a:gd name="connsiteY284" fmla="*/ 107918 h 157204"/>
                  <a:gd name="connsiteX285" fmla="*/ 123436 w 128637"/>
                  <a:gd name="connsiteY285" fmla="*/ 109064 h 157204"/>
                  <a:gd name="connsiteX286" fmla="*/ 120791 w 128637"/>
                  <a:gd name="connsiteY286" fmla="*/ 114354 h 157204"/>
                  <a:gd name="connsiteX287" fmla="*/ 122554 w 128637"/>
                  <a:gd name="connsiteY287" fmla="*/ 117264 h 157204"/>
                  <a:gd name="connsiteX288" fmla="*/ 121408 w 128637"/>
                  <a:gd name="connsiteY288" fmla="*/ 117264 h 157204"/>
                  <a:gd name="connsiteX289" fmla="*/ 119292 w 128637"/>
                  <a:gd name="connsiteY289" fmla="*/ 120703 h 157204"/>
                  <a:gd name="connsiteX290" fmla="*/ 114354 w 128637"/>
                  <a:gd name="connsiteY290" fmla="*/ 119821 h 157204"/>
                  <a:gd name="connsiteX291" fmla="*/ 114354 w 128637"/>
                  <a:gd name="connsiteY291" fmla="*/ 118146 h 157204"/>
                  <a:gd name="connsiteX292" fmla="*/ 115501 w 128637"/>
                  <a:gd name="connsiteY292" fmla="*/ 117264 h 157204"/>
                  <a:gd name="connsiteX293" fmla="*/ 114354 w 128637"/>
                  <a:gd name="connsiteY293" fmla="*/ 116647 h 157204"/>
                  <a:gd name="connsiteX294" fmla="*/ 112062 w 128637"/>
                  <a:gd name="connsiteY294" fmla="*/ 110563 h 157204"/>
                  <a:gd name="connsiteX295" fmla="*/ 108535 w 128637"/>
                  <a:gd name="connsiteY295" fmla="*/ 116647 h 157204"/>
                  <a:gd name="connsiteX296" fmla="*/ 105361 w 128637"/>
                  <a:gd name="connsiteY296" fmla="*/ 119027 h 157204"/>
                  <a:gd name="connsiteX297" fmla="*/ 103598 w 128637"/>
                  <a:gd name="connsiteY297" fmla="*/ 119027 h 157204"/>
                  <a:gd name="connsiteX298" fmla="*/ 99454 w 128637"/>
                  <a:gd name="connsiteY298" fmla="*/ 117264 h 157204"/>
                  <a:gd name="connsiteX299" fmla="*/ 98043 w 128637"/>
                  <a:gd name="connsiteY299" fmla="*/ 117528 h 157204"/>
                  <a:gd name="connsiteX300" fmla="*/ 96015 w 128637"/>
                  <a:gd name="connsiteY300" fmla="*/ 116647 h 157204"/>
                  <a:gd name="connsiteX301" fmla="*/ 94517 w 128637"/>
                  <a:gd name="connsiteY301" fmla="*/ 117528 h 157204"/>
                  <a:gd name="connsiteX302" fmla="*/ 96015 w 128637"/>
                  <a:gd name="connsiteY302" fmla="*/ 115236 h 157204"/>
                  <a:gd name="connsiteX303" fmla="*/ 94517 w 128637"/>
                  <a:gd name="connsiteY303" fmla="*/ 112238 h 157204"/>
                  <a:gd name="connsiteX304" fmla="*/ 93988 w 128637"/>
                  <a:gd name="connsiteY304" fmla="*/ 113120 h 157204"/>
                  <a:gd name="connsiteX305" fmla="*/ 92753 w 128637"/>
                  <a:gd name="connsiteY305" fmla="*/ 111974 h 157204"/>
                  <a:gd name="connsiteX306" fmla="*/ 93106 w 128637"/>
                  <a:gd name="connsiteY306" fmla="*/ 109946 h 157204"/>
                  <a:gd name="connsiteX307" fmla="*/ 90990 w 128637"/>
                  <a:gd name="connsiteY307" fmla="*/ 105273 h 157204"/>
                  <a:gd name="connsiteX308" fmla="*/ 87551 w 128637"/>
                  <a:gd name="connsiteY308" fmla="*/ 103774 h 157204"/>
                  <a:gd name="connsiteX309" fmla="*/ 85788 w 128637"/>
                  <a:gd name="connsiteY309" fmla="*/ 103774 h 157204"/>
                  <a:gd name="connsiteX310" fmla="*/ 84289 w 128637"/>
                  <a:gd name="connsiteY310" fmla="*/ 104656 h 157204"/>
                  <a:gd name="connsiteX311" fmla="*/ 84289 w 128637"/>
                  <a:gd name="connsiteY311" fmla="*/ 105890 h 157204"/>
                  <a:gd name="connsiteX312" fmla="*/ 82525 w 128637"/>
                  <a:gd name="connsiteY312" fmla="*/ 105273 h 157204"/>
                  <a:gd name="connsiteX313" fmla="*/ 82525 w 128637"/>
                  <a:gd name="connsiteY313" fmla="*/ 109064 h 157204"/>
                  <a:gd name="connsiteX314" fmla="*/ 84642 w 128637"/>
                  <a:gd name="connsiteY314" fmla="*/ 110563 h 157204"/>
                  <a:gd name="connsiteX315" fmla="*/ 82878 w 128637"/>
                  <a:gd name="connsiteY315" fmla="*/ 115501 h 157204"/>
                  <a:gd name="connsiteX316" fmla="*/ 83760 w 128637"/>
                  <a:gd name="connsiteY316" fmla="*/ 119027 h 157204"/>
                  <a:gd name="connsiteX317" fmla="*/ 75031 w 128637"/>
                  <a:gd name="connsiteY317" fmla="*/ 119027 h 157204"/>
                  <a:gd name="connsiteX318" fmla="*/ 71769 w 128637"/>
                  <a:gd name="connsiteY318" fmla="*/ 116647 h 157204"/>
                  <a:gd name="connsiteX319" fmla="*/ 67096 w 128637"/>
                  <a:gd name="connsiteY319" fmla="*/ 119027 h 157204"/>
                  <a:gd name="connsiteX320" fmla="*/ 65950 w 128637"/>
                  <a:gd name="connsiteY320" fmla="*/ 117264 h 157204"/>
                  <a:gd name="connsiteX321" fmla="*/ 63305 w 128637"/>
                  <a:gd name="connsiteY321" fmla="*/ 116647 h 157204"/>
                  <a:gd name="connsiteX322" fmla="*/ 65333 w 128637"/>
                  <a:gd name="connsiteY322" fmla="*/ 123612 h 157204"/>
                  <a:gd name="connsiteX323" fmla="*/ 63305 w 128637"/>
                  <a:gd name="connsiteY323" fmla="*/ 125993 h 157204"/>
                  <a:gd name="connsiteX324" fmla="*/ 64804 w 128637"/>
                  <a:gd name="connsiteY324" fmla="*/ 129784 h 157204"/>
                  <a:gd name="connsiteX325" fmla="*/ 68595 w 128637"/>
                  <a:gd name="connsiteY325" fmla="*/ 128638 h 157204"/>
                  <a:gd name="connsiteX326" fmla="*/ 69477 w 128637"/>
                  <a:gd name="connsiteY326" fmla="*/ 131547 h 157204"/>
                  <a:gd name="connsiteX327" fmla="*/ 67096 w 128637"/>
                  <a:gd name="connsiteY327" fmla="*/ 134986 h 157204"/>
                  <a:gd name="connsiteX328" fmla="*/ 72386 w 128637"/>
                  <a:gd name="connsiteY328" fmla="*/ 140011 h 157204"/>
                  <a:gd name="connsiteX329" fmla="*/ 71769 w 128637"/>
                  <a:gd name="connsiteY329" fmla="*/ 141687 h 157204"/>
                  <a:gd name="connsiteX330" fmla="*/ 71769 w 128637"/>
                  <a:gd name="connsiteY330" fmla="*/ 144332 h 157204"/>
                  <a:gd name="connsiteX331" fmla="*/ 70006 w 128637"/>
                  <a:gd name="connsiteY331" fmla="*/ 144332 h 157204"/>
                  <a:gd name="connsiteX332" fmla="*/ 69477 w 128637"/>
                  <a:gd name="connsiteY332" fmla="*/ 145478 h 157204"/>
                  <a:gd name="connsiteX333" fmla="*/ 69477 w 128637"/>
                  <a:gd name="connsiteY333" fmla="*/ 147594 h 157204"/>
                  <a:gd name="connsiteX334" fmla="*/ 70623 w 128637"/>
                  <a:gd name="connsiteY334" fmla="*/ 147858 h 157204"/>
                  <a:gd name="connsiteX335" fmla="*/ 71152 w 128637"/>
                  <a:gd name="connsiteY335" fmla="*/ 149886 h 157204"/>
                  <a:gd name="connsiteX336" fmla="*/ 69477 w 128637"/>
                  <a:gd name="connsiteY336" fmla="*/ 152267 h 157204"/>
                  <a:gd name="connsiteX337" fmla="*/ 67978 w 128637"/>
                  <a:gd name="connsiteY337" fmla="*/ 148476 h 157204"/>
                  <a:gd name="connsiteX338" fmla="*/ 66214 w 128637"/>
                  <a:gd name="connsiteY338" fmla="*/ 148740 h 157204"/>
                  <a:gd name="connsiteX339" fmla="*/ 65333 w 128637"/>
                  <a:gd name="connsiteY339" fmla="*/ 145831 h 157204"/>
                  <a:gd name="connsiteX340" fmla="*/ 62776 w 128637"/>
                  <a:gd name="connsiteY340" fmla="*/ 143185 h 157204"/>
                  <a:gd name="connsiteX341" fmla="*/ 61277 w 128637"/>
                  <a:gd name="connsiteY341" fmla="*/ 144067 h 157204"/>
                  <a:gd name="connsiteX342" fmla="*/ 61012 w 128637"/>
                  <a:gd name="connsiteY342" fmla="*/ 146712 h 157204"/>
                  <a:gd name="connsiteX343" fmla="*/ 59866 w 128637"/>
                  <a:gd name="connsiteY343" fmla="*/ 147594 h 157204"/>
                  <a:gd name="connsiteX344" fmla="*/ 58103 w 128637"/>
                  <a:gd name="connsiteY344" fmla="*/ 147858 h 157204"/>
                  <a:gd name="connsiteX345" fmla="*/ 57221 w 128637"/>
                  <a:gd name="connsiteY345" fmla="*/ 148123 h 157204"/>
                  <a:gd name="connsiteX346" fmla="*/ 56075 w 128637"/>
                  <a:gd name="connsiteY346" fmla="*/ 149886 h 157204"/>
                  <a:gd name="connsiteX347" fmla="*/ 56339 w 128637"/>
                  <a:gd name="connsiteY347" fmla="*/ 152267 h 157204"/>
                  <a:gd name="connsiteX348" fmla="*/ 54312 w 128637"/>
                  <a:gd name="connsiteY348" fmla="*/ 154824 h 157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</a:cxnLst>
                <a:rect l="l" t="t" r="r" b="b"/>
                <a:pathLst>
                  <a:path w="128637" h="157204">
                    <a:moveTo>
                      <a:pt x="54047" y="157204"/>
                    </a:moveTo>
                    <a:lnTo>
                      <a:pt x="51402" y="154824"/>
                    </a:lnTo>
                    <a:lnTo>
                      <a:pt x="51402" y="152267"/>
                    </a:lnTo>
                    <a:lnTo>
                      <a:pt x="50168" y="150503"/>
                    </a:lnTo>
                    <a:lnTo>
                      <a:pt x="48757" y="148123"/>
                    </a:lnTo>
                    <a:lnTo>
                      <a:pt x="45495" y="146712"/>
                    </a:lnTo>
                    <a:lnTo>
                      <a:pt x="43820" y="144332"/>
                    </a:lnTo>
                    <a:lnTo>
                      <a:pt x="42585" y="143185"/>
                    </a:lnTo>
                    <a:lnTo>
                      <a:pt x="42585" y="140893"/>
                    </a:lnTo>
                    <a:lnTo>
                      <a:pt x="41439" y="137983"/>
                    </a:lnTo>
                    <a:lnTo>
                      <a:pt x="42056" y="136749"/>
                    </a:lnTo>
                    <a:lnTo>
                      <a:pt x="40558" y="136485"/>
                    </a:lnTo>
                    <a:lnTo>
                      <a:pt x="38794" y="133840"/>
                    </a:lnTo>
                    <a:lnTo>
                      <a:pt x="34738" y="130048"/>
                    </a:lnTo>
                    <a:lnTo>
                      <a:pt x="32446" y="130666"/>
                    </a:lnTo>
                    <a:lnTo>
                      <a:pt x="29536" y="127756"/>
                    </a:lnTo>
                    <a:lnTo>
                      <a:pt x="28919" y="126257"/>
                    </a:lnTo>
                    <a:lnTo>
                      <a:pt x="25128" y="123965"/>
                    </a:lnTo>
                    <a:lnTo>
                      <a:pt x="23100" y="123083"/>
                    </a:lnTo>
                    <a:lnTo>
                      <a:pt x="22747" y="121320"/>
                    </a:lnTo>
                    <a:lnTo>
                      <a:pt x="21954" y="120438"/>
                    </a:lnTo>
                    <a:lnTo>
                      <a:pt x="23365" y="120438"/>
                    </a:lnTo>
                    <a:lnTo>
                      <a:pt x="24246" y="121055"/>
                    </a:lnTo>
                    <a:lnTo>
                      <a:pt x="25128" y="120703"/>
                    </a:lnTo>
                    <a:lnTo>
                      <a:pt x="25657" y="121937"/>
                    </a:lnTo>
                    <a:lnTo>
                      <a:pt x="26274" y="121320"/>
                    </a:lnTo>
                    <a:lnTo>
                      <a:pt x="26891" y="121584"/>
                    </a:lnTo>
                    <a:lnTo>
                      <a:pt x="27773" y="122466"/>
                    </a:lnTo>
                    <a:lnTo>
                      <a:pt x="28037" y="123965"/>
                    </a:lnTo>
                    <a:lnTo>
                      <a:pt x="28566" y="123965"/>
                    </a:lnTo>
                    <a:lnTo>
                      <a:pt x="29184" y="124494"/>
                    </a:lnTo>
                    <a:lnTo>
                      <a:pt x="30065" y="123612"/>
                    </a:lnTo>
                    <a:lnTo>
                      <a:pt x="30065" y="122818"/>
                    </a:lnTo>
                    <a:lnTo>
                      <a:pt x="31564" y="123083"/>
                    </a:lnTo>
                    <a:lnTo>
                      <a:pt x="32093" y="122818"/>
                    </a:lnTo>
                    <a:lnTo>
                      <a:pt x="32093" y="121584"/>
                    </a:lnTo>
                    <a:lnTo>
                      <a:pt x="31564" y="121055"/>
                    </a:lnTo>
                    <a:lnTo>
                      <a:pt x="30682" y="121055"/>
                    </a:lnTo>
                    <a:lnTo>
                      <a:pt x="30947" y="121584"/>
                    </a:lnTo>
                    <a:lnTo>
                      <a:pt x="30065" y="121937"/>
                    </a:lnTo>
                    <a:lnTo>
                      <a:pt x="29801" y="121055"/>
                    </a:lnTo>
                    <a:lnTo>
                      <a:pt x="29184" y="120703"/>
                    </a:lnTo>
                    <a:lnTo>
                      <a:pt x="28919" y="121584"/>
                    </a:lnTo>
                    <a:lnTo>
                      <a:pt x="28302" y="121584"/>
                    </a:lnTo>
                    <a:lnTo>
                      <a:pt x="28037" y="120703"/>
                    </a:lnTo>
                    <a:lnTo>
                      <a:pt x="26538" y="119027"/>
                    </a:lnTo>
                    <a:lnTo>
                      <a:pt x="25657" y="119027"/>
                    </a:lnTo>
                    <a:lnTo>
                      <a:pt x="25128" y="118675"/>
                    </a:lnTo>
                    <a:lnTo>
                      <a:pt x="24511" y="119556"/>
                    </a:lnTo>
                    <a:lnTo>
                      <a:pt x="23365" y="119821"/>
                    </a:lnTo>
                    <a:lnTo>
                      <a:pt x="23629" y="119027"/>
                    </a:lnTo>
                    <a:lnTo>
                      <a:pt x="23100" y="117528"/>
                    </a:lnTo>
                    <a:lnTo>
                      <a:pt x="22747" y="117528"/>
                    </a:lnTo>
                    <a:lnTo>
                      <a:pt x="21954" y="117528"/>
                    </a:lnTo>
                    <a:lnTo>
                      <a:pt x="22747" y="118146"/>
                    </a:lnTo>
                    <a:lnTo>
                      <a:pt x="21954" y="119027"/>
                    </a:lnTo>
                    <a:lnTo>
                      <a:pt x="21337" y="118146"/>
                    </a:lnTo>
                    <a:lnTo>
                      <a:pt x="20720" y="117528"/>
                    </a:lnTo>
                    <a:lnTo>
                      <a:pt x="21601" y="119027"/>
                    </a:lnTo>
                    <a:lnTo>
                      <a:pt x="20720" y="118675"/>
                    </a:lnTo>
                    <a:lnTo>
                      <a:pt x="19573" y="116647"/>
                    </a:lnTo>
                    <a:lnTo>
                      <a:pt x="18956" y="114883"/>
                    </a:lnTo>
                    <a:lnTo>
                      <a:pt x="19573" y="113737"/>
                    </a:lnTo>
                    <a:lnTo>
                      <a:pt x="18956" y="112591"/>
                    </a:lnTo>
                    <a:lnTo>
                      <a:pt x="16047" y="111445"/>
                    </a:lnTo>
                    <a:lnTo>
                      <a:pt x="15782" y="109946"/>
                    </a:lnTo>
                    <a:lnTo>
                      <a:pt x="14900" y="108800"/>
                    </a:lnTo>
                    <a:lnTo>
                      <a:pt x="12873" y="106155"/>
                    </a:lnTo>
                    <a:lnTo>
                      <a:pt x="12608" y="104656"/>
                    </a:lnTo>
                    <a:lnTo>
                      <a:pt x="13401" y="105538"/>
                    </a:lnTo>
                    <a:lnTo>
                      <a:pt x="14283" y="105890"/>
                    </a:lnTo>
                    <a:lnTo>
                      <a:pt x="14900" y="105273"/>
                    </a:lnTo>
                    <a:lnTo>
                      <a:pt x="15782" y="106155"/>
                    </a:lnTo>
                    <a:lnTo>
                      <a:pt x="16928" y="105890"/>
                    </a:lnTo>
                    <a:lnTo>
                      <a:pt x="17545" y="108183"/>
                    </a:lnTo>
                    <a:lnTo>
                      <a:pt x="18692" y="108800"/>
                    </a:lnTo>
                    <a:lnTo>
                      <a:pt x="18956" y="109329"/>
                    </a:lnTo>
                    <a:lnTo>
                      <a:pt x="19573" y="109064"/>
                    </a:lnTo>
                    <a:lnTo>
                      <a:pt x="19309" y="107918"/>
                    </a:lnTo>
                    <a:lnTo>
                      <a:pt x="18074" y="107036"/>
                    </a:lnTo>
                    <a:lnTo>
                      <a:pt x="17545" y="105538"/>
                    </a:lnTo>
                    <a:lnTo>
                      <a:pt x="16664" y="105273"/>
                    </a:lnTo>
                    <a:lnTo>
                      <a:pt x="15782" y="104391"/>
                    </a:lnTo>
                    <a:lnTo>
                      <a:pt x="15165" y="104127"/>
                    </a:lnTo>
                    <a:lnTo>
                      <a:pt x="14019" y="105273"/>
                    </a:lnTo>
                    <a:lnTo>
                      <a:pt x="14283" y="104391"/>
                    </a:lnTo>
                    <a:lnTo>
                      <a:pt x="13754" y="104127"/>
                    </a:lnTo>
                    <a:lnTo>
                      <a:pt x="12608" y="104127"/>
                    </a:lnTo>
                    <a:lnTo>
                      <a:pt x="11991" y="97690"/>
                    </a:lnTo>
                    <a:lnTo>
                      <a:pt x="9346" y="93635"/>
                    </a:lnTo>
                    <a:lnTo>
                      <a:pt x="10492" y="94517"/>
                    </a:lnTo>
                    <a:lnTo>
                      <a:pt x="12608" y="96544"/>
                    </a:lnTo>
                    <a:lnTo>
                      <a:pt x="12873" y="100336"/>
                    </a:lnTo>
                    <a:lnTo>
                      <a:pt x="13401" y="100336"/>
                    </a:lnTo>
                    <a:lnTo>
                      <a:pt x="13754" y="99718"/>
                    </a:lnTo>
                    <a:lnTo>
                      <a:pt x="13754" y="98837"/>
                    </a:lnTo>
                    <a:lnTo>
                      <a:pt x="15782" y="98837"/>
                    </a:lnTo>
                    <a:lnTo>
                      <a:pt x="16047" y="98572"/>
                    </a:lnTo>
                    <a:lnTo>
                      <a:pt x="16047" y="97690"/>
                    </a:lnTo>
                    <a:lnTo>
                      <a:pt x="18074" y="98572"/>
                    </a:lnTo>
                    <a:lnTo>
                      <a:pt x="18074" y="97690"/>
                    </a:lnTo>
                    <a:lnTo>
                      <a:pt x="17545" y="96809"/>
                    </a:lnTo>
                    <a:lnTo>
                      <a:pt x="16664" y="96280"/>
                    </a:lnTo>
                    <a:lnTo>
                      <a:pt x="15782" y="95927"/>
                    </a:lnTo>
                    <a:lnTo>
                      <a:pt x="15782" y="97426"/>
                    </a:lnTo>
                    <a:lnTo>
                      <a:pt x="14636" y="97426"/>
                    </a:lnTo>
                    <a:lnTo>
                      <a:pt x="13137" y="97073"/>
                    </a:lnTo>
                    <a:lnTo>
                      <a:pt x="12608" y="95046"/>
                    </a:lnTo>
                    <a:lnTo>
                      <a:pt x="13754" y="93899"/>
                    </a:lnTo>
                    <a:lnTo>
                      <a:pt x="13401" y="93282"/>
                    </a:lnTo>
                    <a:lnTo>
                      <a:pt x="14283" y="93635"/>
                    </a:lnTo>
                    <a:lnTo>
                      <a:pt x="14019" y="92489"/>
                    </a:lnTo>
                    <a:lnTo>
                      <a:pt x="13401" y="92753"/>
                    </a:lnTo>
                    <a:lnTo>
                      <a:pt x="12608" y="92489"/>
                    </a:lnTo>
                    <a:lnTo>
                      <a:pt x="11109" y="93635"/>
                    </a:lnTo>
                    <a:lnTo>
                      <a:pt x="10492" y="91254"/>
                    </a:lnTo>
                    <a:lnTo>
                      <a:pt x="9963" y="91254"/>
                    </a:lnTo>
                    <a:lnTo>
                      <a:pt x="9081" y="92489"/>
                    </a:lnTo>
                    <a:lnTo>
                      <a:pt x="7582" y="90373"/>
                    </a:lnTo>
                    <a:lnTo>
                      <a:pt x="7318" y="89844"/>
                    </a:lnTo>
                    <a:lnTo>
                      <a:pt x="7582" y="88962"/>
                    </a:lnTo>
                    <a:lnTo>
                      <a:pt x="7582" y="87816"/>
                    </a:lnTo>
                    <a:lnTo>
                      <a:pt x="6701" y="87816"/>
                    </a:lnTo>
                    <a:lnTo>
                      <a:pt x="6701" y="88697"/>
                    </a:lnTo>
                    <a:lnTo>
                      <a:pt x="6436" y="88345"/>
                    </a:lnTo>
                    <a:lnTo>
                      <a:pt x="6172" y="86052"/>
                    </a:lnTo>
                    <a:lnTo>
                      <a:pt x="4673" y="84818"/>
                    </a:lnTo>
                    <a:lnTo>
                      <a:pt x="4144" y="82790"/>
                    </a:lnTo>
                    <a:lnTo>
                      <a:pt x="5026" y="83672"/>
                    </a:lnTo>
                    <a:lnTo>
                      <a:pt x="5290" y="83407"/>
                    </a:lnTo>
                    <a:lnTo>
                      <a:pt x="5026" y="82525"/>
                    </a:lnTo>
                    <a:lnTo>
                      <a:pt x="4144" y="81380"/>
                    </a:lnTo>
                    <a:lnTo>
                      <a:pt x="2909" y="81380"/>
                    </a:lnTo>
                    <a:lnTo>
                      <a:pt x="2380" y="80762"/>
                    </a:lnTo>
                    <a:lnTo>
                      <a:pt x="1146" y="79616"/>
                    </a:lnTo>
                    <a:lnTo>
                      <a:pt x="1146" y="78205"/>
                    </a:lnTo>
                    <a:lnTo>
                      <a:pt x="882" y="76971"/>
                    </a:lnTo>
                    <a:lnTo>
                      <a:pt x="0" y="74943"/>
                    </a:lnTo>
                    <a:lnTo>
                      <a:pt x="352" y="74061"/>
                    </a:lnTo>
                    <a:lnTo>
                      <a:pt x="352" y="72651"/>
                    </a:lnTo>
                    <a:lnTo>
                      <a:pt x="882" y="73444"/>
                    </a:lnTo>
                    <a:lnTo>
                      <a:pt x="2116" y="74061"/>
                    </a:lnTo>
                    <a:lnTo>
                      <a:pt x="2645" y="74943"/>
                    </a:lnTo>
                    <a:lnTo>
                      <a:pt x="2909" y="76707"/>
                    </a:lnTo>
                    <a:lnTo>
                      <a:pt x="3791" y="78470"/>
                    </a:lnTo>
                    <a:lnTo>
                      <a:pt x="4408" y="77853"/>
                    </a:lnTo>
                    <a:lnTo>
                      <a:pt x="3791" y="76089"/>
                    </a:lnTo>
                    <a:lnTo>
                      <a:pt x="4144" y="75560"/>
                    </a:lnTo>
                    <a:lnTo>
                      <a:pt x="4673" y="75560"/>
                    </a:lnTo>
                    <a:lnTo>
                      <a:pt x="4144" y="75560"/>
                    </a:lnTo>
                    <a:lnTo>
                      <a:pt x="4408" y="74943"/>
                    </a:lnTo>
                    <a:lnTo>
                      <a:pt x="4673" y="75208"/>
                    </a:lnTo>
                    <a:lnTo>
                      <a:pt x="5290" y="76089"/>
                    </a:lnTo>
                    <a:lnTo>
                      <a:pt x="6172" y="78999"/>
                    </a:lnTo>
                    <a:lnTo>
                      <a:pt x="6436" y="79616"/>
                    </a:lnTo>
                    <a:lnTo>
                      <a:pt x="7318" y="78999"/>
                    </a:lnTo>
                    <a:lnTo>
                      <a:pt x="7935" y="78205"/>
                    </a:lnTo>
                    <a:lnTo>
                      <a:pt x="7318" y="75560"/>
                    </a:lnTo>
                    <a:lnTo>
                      <a:pt x="7582" y="74943"/>
                    </a:lnTo>
                    <a:lnTo>
                      <a:pt x="8817" y="74679"/>
                    </a:lnTo>
                    <a:lnTo>
                      <a:pt x="9346" y="75208"/>
                    </a:lnTo>
                    <a:lnTo>
                      <a:pt x="9346" y="74943"/>
                    </a:lnTo>
                    <a:lnTo>
                      <a:pt x="9346" y="74326"/>
                    </a:lnTo>
                    <a:lnTo>
                      <a:pt x="9081" y="73180"/>
                    </a:lnTo>
                    <a:lnTo>
                      <a:pt x="9963" y="72651"/>
                    </a:lnTo>
                    <a:lnTo>
                      <a:pt x="11109" y="69124"/>
                    </a:lnTo>
                    <a:lnTo>
                      <a:pt x="13754" y="67096"/>
                    </a:lnTo>
                    <a:lnTo>
                      <a:pt x="14283" y="61277"/>
                    </a:lnTo>
                    <a:lnTo>
                      <a:pt x="14283" y="56251"/>
                    </a:lnTo>
                    <a:lnTo>
                      <a:pt x="13137" y="54224"/>
                    </a:lnTo>
                    <a:lnTo>
                      <a:pt x="13137" y="51579"/>
                    </a:lnTo>
                    <a:lnTo>
                      <a:pt x="13754" y="50432"/>
                    </a:lnTo>
                    <a:lnTo>
                      <a:pt x="14283" y="50168"/>
                    </a:lnTo>
                    <a:lnTo>
                      <a:pt x="15517" y="51579"/>
                    </a:lnTo>
                    <a:lnTo>
                      <a:pt x="15165" y="52813"/>
                    </a:lnTo>
                    <a:lnTo>
                      <a:pt x="16047" y="53077"/>
                    </a:lnTo>
                    <a:lnTo>
                      <a:pt x="17193" y="55370"/>
                    </a:lnTo>
                    <a:lnTo>
                      <a:pt x="17810" y="55722"/>
                    </a:lnTo>
                    <a:lnTo>
                      <a:pt x="18074" y="55370"/>
                    </a:lnTo>
                    <a:lnTo>
                      <a:pt x="18074" y="54224"/>
                    </a:lnTo>
                    <a:lnTo>
                      <a:pt x="18956" y="54224"/>
                    </a:lnTo>
                    <a:lnTo>
                      <a:pt x="19573" y="55370"/>
                    </a:lnTo>
                    <a:lnTo>
                      <a:pt x="20984" y="54488"/>
                    </a:lnTo>
                    <a:lnTo>
                      <a:pt x="23100" y="55105"/>
                    </a:lnTo>
                    <a:lnTo>
                      <a:pt x="23365" y="55722"/>
                    </a:lnTo>
                    <a:lnTo>
                      <a:pt x="23365" y="55105"/>
                    </a:lnTo>
                    <a:lnTo>
                      <a:pt x="25657" y="54488"/>
                    </a:lnTo>
                    <a:lnTo>
                      <a:pt x="27420" y="53342"/>
                    </a:lnTo>
                    <a:lnTo>
                      <a:pt x="25393" y="53342"/>
                    </a:lnTo>
                    <a:lnTo>
                      <a:pt x="24511" y="53959"/>
                    </a:lnTo>
                    <a:lnTo>
                      <a:pt x="20190" y="52196"/>
                    </a:lnTo>
                    <a:lnTo>
                      <a:pt x="19573" y="51579"/>
                    </a:lnTo>
                    <a:lnTo>
                      <a:pt x="20190" y="50697"/>
                    </a:lnTo>
                    <a:lnTo>
                      <a:pt x="19573" y="50432"/>
                    </a:lnTo>
                    <a:lnTo>
                      <a:pt x="18956" y="51050"/>
                    </a:lnTo>
                    <a:lnTo>
                      <a:pt x="18074" y="50697"/>
                    </a:lnTo>
                    <a:lnTo>
                      <a:pt x="17545" y="49022"/>
                    </a:lnTo>
                    <a:lnTo>
                      <a:pt x="15517" y="47787"/>
                    </a:lnTo>
                    <a:lnTo>
                      <a:pt x="15782" y="46377"/>
                    </a:lnTo>
                    <a:lnTo>
                      <a:pt x="13754" y="44613"/>
                    </a:lnTo>
                    <a:lnTo>
                      <a:pt x="14283" y="43467"/>
                    </a:lnTo>
                    <a:lnTo>
                      <a:pt x="13754" y="42850"/>
                    </a:lnTo>
                    <a:lnTo>
                      <a:pt x="14283" y="41704"/>
                    </a:lnTo>
                    <a:lnTo>
                      <a:pt x="16047" y="41439"/>
                    </a:lnTo>
                    <a:lnTo>
                      <a:pt x="18427" y="41439"/>
                    </a:lnTo>
                    <a:lnTo>
                      <a:pt x="19573" y="42850"/>
                    </a:lnTo>
                    <a:lnTo>
                      <a:pt x="18692" y="43467"/>
                    </a:lnTo>
                    <a:lnTo>
                      <a:pt x="18956" y="43731"/>
                    </a:lnTo>
                    <a:lnTo>
                      <a:pt x="19573" y="43467"/>
                    </a:lnTo>
                    <a:lnTo>
                      <a:pt x="20190" y="44613"/>
                    </a:lnTo>
                    <a:lnTo>
                      <a:pt x="20455" y="43114"/>
                    </a:lnTo>
                    <a:lnTo>
                      <a:pt x="20720" y="39059"/>
                    </a:lnTo>
                    <a:lnTo>
                      <a:pt x="19573" y="36766"/>
                    </a:lnTo>
                    <a:lnTo>
                      <a:pt x="19573" y="33857"/>
                    </a:lnTo>
                    <a:lnTo>
                      <a:pt x="20984" y="34121"/>
                    </a:lnTo>
                    <a:lnTo>
                      <a:pt x="23100" y="32093"/>
                    </a:lnTo>
                    <a:lnTo>
                      <a:pt x="24511" y="33857"/>
                    </a:lnTo>
                    <a:lnTo>
                      <a:pt x="58367" y="33857"/>
                    </a:lnTo>
                    <a:lnTo>
                      <a:pt x="58103" y="4056"/>
                    </a:lnTo>
                    <a:lnTo>
                      <a:pt x="58367" y="2292"/>
                    </a:lnTo>
                    <a:lnTo>
                      <a:pt x="58985" y="882"/>
                    </a:lnTo>
                    <a:lnTo>
                      <a:pt x="65950" y="0"/>
                    </a:lnTo>
                    <a:lnTo>
                      <a:pt x="67096" y="1146"/>
                    </a:lnTo>
                    <a:lnTo>
                      <a:pt x="77941" y="1146"/>
                    </a:lnTo>
                    <a:lnTo>
                      <a:pt x="80233" y="264"/>
                    </a:lnTo>
                    <a:lnTo>
                      <a:pt x="89579" y="2292"/>
                    </a:lnTo>
                    <a:lnTo>
                      <a:pt x="90461" y="1763"/>
                    </a:lnTo>
                    <a:lnTo>
                      <a:pt x="91342" y="2292"/>
                    </a:lnTo>
                    <a:lnTo>
                      <a:pt x="98308" y="1146"/>
                    </a:lnTo>
                    <a:lnTo>
                      <a:pt x="100336" y="1763"/>
                    </a:lnTo>
                    <a:lnTo>
                      <a:pt x="101217" y="2645"/>
                    </a:lnTo>
                    <a:lnTo>
                      <a:pt x="101217" y="4056"/>
                    </a:lnTo>
                    <a:lnTo>
                      <a:pt x="100688" y="7318"/>
                    </a:lnTo>
                    <a:lnTo>
                      <a:pt x="99454" y="8993"/>
                    </a:lnTo>
                    <a:lnTo>
                      <a:pt x="99189" y="11109"/>
                    </a:lnTo>
                    <a:lnTo>
                      <a:pt x="98308" y="11109"/>
                    </a:lnTo>
                    <a:lnTo>
                      <a:pt x="99189" y="13137"/>
                    </a:lnTo>
                    <a:lnTo>
                      <a:pt x="98308" y="13401"/>
                    </a:lnTo>
                    <a:lnTo>
                      <a:pt x="97426" y="18692"/>
                    </a:lnTo>
                    <a:lnTo>
                      <a:pt x="99189" y="19838"/>
                    </a:lnTo>
                    <a:lnTo>
                      <a:pt x="100336" y="23629"/>
                    </a:lnTo>
                    <a:lnTo>
                      <a:pt x="98572" y="27420"/>
                    </a:lnTo>
                    <a:lnTo>
                      <a:pt x="102099" y="27420"/>
                    </a:lnTo>
                    <a:lnTo>
                      <a:pt x="103333" y="25657"/>
                    </a:lnTo>
                    <a:lnTo>
                      <a:pt x="107036" y="26274"/>
                    </a:lnTo>
                    <a:lnTo>
                      <a:pt x="108271" y="25040"/>
                    </a:lnTo>
                    <a:lnTo>
                      <a:pt x="111180" y="23629"/>
                    </a:lnTo>
                    <a:lnTo>
                      <a:pt x="112326" y="24246"/>
                    </a:lnTo>
                    <a:lnTo>
                      <a:pt x="112326" y="22483"/>
                    </a:lnTo>
                    <a:lnTo>
                      <a:pt x="121408" y="23629"/>
                    </a:lnTo>
                    <a:lnTo>
                      <a:pt x="123436" y="25393"/>
                    </a:lnTo>
                    <a:lnTo>
                      <a:pt x="125463" y="32093"/>
                    </a:lnTo>
                    <a:lnTo>
                      <a:pt x="127491" y="35003"/>
                    </a:lnTo>
                    <a:lnTo>
                      <a:pt x="125199" y="42585"/>
                    </a:lnTo>
                    <a:lnTo>
                      <a:pt x="122201" y="44613"/>
                    </a:lnTo>
                    <a:lnTo>
                      <a:pt x="120174" y="44349"/>
                    </a:lnTo>
                    <a:lnTo>
                      <a:pt x="119027" y="44613"/>
                    </a:lnTo>
                    <a:lnTo>
                      <a:pt x="118146" y="46906"/>
                    </a:lnTo>
                    <a:lnTo>
                      <a:pt x="116118" y="48404"/>
                    </a:lnTo>
                    <a:lnTo>
                      <a:pt x="114619" y="52460"/>
                    </a:lnTo>
                    <a:lnTo>
                      <a:pt x="114619" y="56869"/>
                    </a:lnTo>
                    <a:lnTo>
                      <a:pt x="117264" y="58279"/>
                    </a:lnTo>
                    <a:lnTo>
                      <a:pt x="117617" y="60395"/>
                    </a:lnTo>
                    <a:lnTo>
                      <a:pt x="114619" y="60924"/>
                    </a:lnTo>
                    <a:lnTo>
                      <a:pt x="114619" y="62071"/>
                    </a:lnTo>
                    <a:lnTo>
                      <a:pt x="117881" y="64980"/>
                    </a:lnTo>
                    <a:lnTo>
                      <a:pt x="118146" y="64187"/>
                    </a:lnTo>
                    <a:lnTo>
                      <a:pt x="120174" y="65333"/>
                    </a:lnTo>
                    <a:lnTo>
                      <a:pt x="121408" y="69388"/>
                    </a:lnTo>
                    <a:lnTo>
                      <a:pt x="122201" y="68242"/>
                    </a:lnTo>
                    <a:lnTo>
                      <a:pt x="123700" y="68242"/>
                    </a:lnTo>
                    <a:lnTo>
                      <a:pt x="126874" y="70006"/>
                    </a:lnTo>
                    <a:lnTo>
                      <a:pt x="128638" y="73444"/>
                    </a:lnTo>
                    <a:lnTo>
                      <a:pt x="126610" y="81380"/>
                    </a:lnTo>
                    <a:lnTo>
                      <a:pt x="127491" y="88962"/>
                    </a:lnTo>
                    <a:lnTo>
                      <a:pt x="127227" y="91607"/>
                    </a:lnTo>
                    <a:lnTo>
                      <a:pt x="128109" y="93018"/>
                    </a:lnTo>
                    <a:lnTo>
                      <a:pt x="127227" y="95663"/>
                    </a:lnTo>
                    <a:lnTo>
                      <a:pt x="127491" y="96809"/>
                    </a:lnTo>
                    <a:lnTo>
                      <a:pt x="125463" y="98308"/>
                    </a:lnTo>
                    <a:lnTo>
                      <a:pt x="126610" y="99983"/>
                    </a:lnTo>
                    <a:lnTo>
                      <a:pt x="127491" y="99983"/>
                    </a:lnTo>
                    <a:lnTo>
                      <a:pt x="126610" y="101746"/>
                    </a:lnTo>
                    <a:lnTo>
                      <a:pt x="126874" y="105273"/>
                    </a:lnTo>
                    <a:lnTo>
                      <a:pt x="122554" y="107918"/>
                    </a:lnTo>
                    <a:lnTo>
                      <a:pt x="123436" y="109064"/>
                    </a:lnTo>
                    <a:lnTo>
                      <a:pt x="120791" y="114354"/>
                    </a:lnTo>
                    <a:lnTo>
                      <a:pt x="122554" y="117264"/>
                    </a:lnTo>
                    <a:lnTo>
                      <a:pt x="121408" y="117264"/>
                    </a:lnTo>
                    <a:lnTo>
                      <a:pt x="119292" y="120703"/>
                    </a:lnTo>
                    <a:lnTo>
                      <a:pt x="114354" y="119821"/>
                    </a:lnTo>
                    <a:lnTo>
                      <a:pt x="114354" y="118146"/>
                    </a:lnTo>
                    <a:lnTo>
                      <a:pt x="115501" y="117264"/>
                    </a:lnTo>
                    <a:lnTo>
                      <a:pt x="114354" y="116647"/>
                    </a:lnTo>
                    <a:lnTo>
                      <a:pt x="112062" y="110563"/>
                    </a:lnTo>
                    <a:lnTo>
                      <a:pt x="108535" y="116647"/>
                    </a:lnTo>
                    <a:lnTo>
                      <a:pt x="105361" y="119027"/>
                    </a:lnTo>
                    <a:lnTo>
                      <a:pt x="103598" y="119027"/>
                    </a:lnTo>
                    <a:lnTo>
                      <a:pt x="99454" y="117264"/>
                    </a:lnTo>
                    <a:lnTo>
                      <a:pt x="98043" y="117528"/>
                    </a:lnTo>
                    <a:lnTo>
                      <a:pt x="96015" y="116647"/>
                    </a:lnTo>
                    <a:lnTo>
                      <a:pt x="94517" y="117528"/>
                    </a:lnTo>
                    <a:lnTo>
                      <a:pt x="96015" y="115236"/>
                    </a:lnTo>
                    <a:lnTo>
                      <a:pt x="94517" y="112238"/>
                    </a:lnTo>
                    <a:lnTo>
                      <a:pt x="93988" y="113120"/>
                    </a:lnTo>
                    <a:lnTo>
                      <a:pt x="92753" y="111974"/>
                    </a:lnTo>
                    <a:lnTo>
                      <a:pt x="93106" y="109946"/>
                    </a:lnTo>
                    <a:lnTo>
                      <a:pt x="90990" y="105273"/>
                    </a:lnTo>
                    <a:lnTo>
                      <a:pt x="87551" y="103774"/>
                    </a:lnTo>
                    <a:lnTo>
                      <a:pt x="85788" y="103774"/>
                    </a:lnTo>
                    <a:lnTo>
                      <a:pt x="84289" y="104656"/>
                    </a:lnTo>
                    <a:lnTo>
                      <a:pt x="84289" y="105890"/>
                    </a:lnTo>
                    <a:lnTo>
                      <a:pt x="82525" y="105273"/>
                    </a:lnTo>
                    <a:lnTo>
                      <a:pt x="82525" y="109064"/>
                    </a:lnTo>
                    <a:lnTo>
                      <a:pt x="84642" y="110563"/>
                    </a:lnTo>
                    <a:lnTo>
                      <a:pt x="82878" y="115501"/>
                    </a:lnTo>
                    <a:lnTo>
                      <a:pt x="83760" y="119027"/>
                    </a:lnTo>
                    <a:lnTo>
                      <a:pt x="75031" y="119027"/>
                    </a:lnTo>
                    <a:lnTo>
                      <a:pt x="71769" y="116647"/>
                    </a:lnTo>
                    <a:lnTo>
                      <a:pt x="67096" y="119027"/>
                    </a:lnTo>
                    <a:lnTo>
                      <a:pt x="65950" y="117264"/>
                    </a:lnTo>
                    <a:lnTo>
                      <a:pt x="63305" y="116647"/>
                    </a:lnTo>
                    <a:lnTo>
                      <a:pt x="65333" y="123612"/>
                    </a:lnTo>
                    <a:lnTo>
                      <a:pt x="63305" y="125993"/>
                    </a:lnTo>
                    <a:lnTo>
                      <a:pt x="64804" y="129784"/>
                    </a:lnTo>
                    <a:lnTo>
                      <a:pt x="68595" y="128638"/>
                    </a:lnTo>
                    <a:lnTo>
                      <a:pt x="69477" y="131547"/>
                    </a:lnTo>
                    <a:lnTo>
                      <a:pt x="67096" y="134986"/>
                    </a:lnTo>
                    <a:lnTo>
                      <a:pt x="72386" y="140011"/>
                    </a:lnTo>
                    <a:lnTo>
                      <a:pt x="71769" y="141687"/>
                    </a:lnTo>
                    <a:lnTo>
                      <a:pt x="71769" y="144332"/>
                    </a:lnTo>
                    <a:lnTo>
                      <a:pt x="70006" y="144332"/>
                    </a:lnTo>
                    <a:lnTo>
                      <a:pt x="69477" y="145478"/>
                    </a:lnTo>
                    <a:lnTo>
                      <a:pt x="69477" y="147594"/>
                    </a:lnTo>
                    <a:lnTo>
                      <a:pt x="70623" y="147858"/>
                    </a:lnTo>
                    <a:lnTo>
                      <a:pt x="71152" y="149886"/>
                    </a:lnTo>
                    <a:lnTo>
                      <a:pt x="69477" y="152267"/>
                    </a:lnTo>
                    <a:lnTo>
                      <a:pt x="67978" y="148476"/>
                    </a:lnTo>
                    <a:lnTo>
                      <a:pt x="66214" y="148740"/>
                    </a:lnTo>
                    <a:lnTo>
                      <a:pt x="65333" y="145831"/>
                    </a:lnTo>
                    <a:lnTo>
                      <a:pt x="62776" y="143185"/>
                    </a:lnTo>
                    <a:lnTo>
                      <a:pt x="61277" y="144067"/>
                    </a:lnTo>
                    <a:lnTo>
                      <a:pt x="61012" y="146712"/>
                    </a:lnTo>
                    <a:lnTo>
                      <a:pt x="59866" y="147594"/>
                    </a:lnTo>
                    <a:lnTo>
                      <a:pt x="58103" y="147858"/>
                    </a:lnTo>
                    <a:lnTo>
                      <a:pt x="57221" y="148123"/>
                    </a:lnTo>
                    <a:lnTo>
                      <a:pt x="56075" y="149886"/>
                    </a:lnTo>
                    <a:lnTo>
                      <a:pt x="56339" y="152267"/>
                    </a:lnTo>
                    <a:lnTo>
                      <a:pt x="54312" y="1548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1" name="Freihandform: Form 1810">
                <a:extLst>
                  <a:ext uri="{FF2B5EF4-FFF2-40B4-BE49-F238E27FC236}">
                    <a16:creationId xmlns:a16="http://schemas.microsoft.com/office/drawing/2014/main" id="{A5989887-3D11-04A0-903E-B8082B7B624F}"/>
                  </a:ext>
                </a:extLst>
              </p:cNvPr>
              <p:cNvSpPr/>
              <p:nvPr/>
            </p:nvSpPr>
            <p:spPr>
              <a:xfrm>
                <a:off x="4793527" y="3780174"/>
                <a:ext cx="307443" cy="283813"/>
              </a:xfrm>
              <a:custGeom>
                <a:avLst/>
                <a:gdLst>
                  <a:gd name="connsiteX0" fmla="*/ 307091 w 307443"/>
                  <a:gd name="connsiteY0" fmla="*/ 169989 h 283813"/>
                  <a:gd name="connsiteX1" fmla="*/ 234792 w 307443"/>
                  <a:gd name="connsiteY1" fmla="*/ 138248 h 283813"/>
                  <a:gd name="connsiteX2" fmla="*/ 228356 w 307443"/>
                  <a:gd name="connsiteY2" fmla="*/ 134721 h 283813"/>
                  <a:gd name="connsiteX3" fmla="*/ 226593 w 307443"/>
                  <a:gd name="connsiteY3" fmla="*/ 132958 h 283813"/>
                  <a:gd name="connsiteX4" fmla="*/ 225711 w 307443"/>
                  <a:gd name="connsiteY4" fmla="*/ 130048 h 283813"/>
                  <a:gd name="connsiteX5" fmla="*/ 223066 w 307443"/>
                  <a:gd name="connsiteY5" fmla="*/ 123348 h 283813"/>
                  <a:gd name="connsiteX6" fmla="*/ 219010 w 307443"/>
                  <a:gd name="connsiteY6" fmla="*/ 123348 h 283813"/>
                  <a:gd name="connsiteX7" fmla="*/ 218746 w 307443"/>
                  <a:gd name="connsiteY7" fmla="*/ 118146 h 283813"/>
                  <a:gd name="connsiteX8" fmla="*/ 216101 w 307443"/>
                  <a:gd name="connsiteY8" fmla="*/ 116647 h 283813"/>
                  <a:gd name="connsiteX9" fmla="*/ 213191 w 307443"/>
                  <a:gd name="connsiteY9" fmla="*/ 109064 h 283813"/>
                  <a:gd name="connsiteX10" fmla="*/ 210546 w 307443"/>
                  <a:gd name="connsiteY10" fmla="*/ 105009 h 283813"/>
                  <a:gd name="connsiteX11" fmla="*/ 212310 w 307443"/>
                  <a:gd name="connsiteY11" fmla="*/ 100600 h 283813"/>
                  <a:gd name="connsiteX12" fmla="*/ 214337 w 307443"/>
                  <a:gd name="connsiteY12" fmla="*/ 98308 h 283813"/>
                  <a:gd name="connsiteX13" fmla="*/ 215572 w 307443"/>
                  <a:gd name="connsiteY13" fmla="*/ 97426 h 283813"/>
                  <a:gd name="connsiteX14" fmla="*/ 216454 w 307443"/>
                  <a:gd name="connsiteY14" fmla="*/ 95663 h 283813"/>
                  <a:gd name="connsiteX15" fmla="*/ 215219 w 307443"/>
                  <a:gd name="connsiteY15" fmla="*/ 95663 h 283813"/>
                  <a:gd name="connsiteX16" fmla="*/ 215219 w 307443"/>
                  <a:gd name="connsiteY16" fmla="*/ 96544 h 283813"/>
                  <a:gd name="connsiteX17" fmla="*/ 214337 w 307443"/>
                  <a:gd name="connsiteY17" fmla="*/ 95663 h 283813"/>
                  <a:gd name="connsiteX18" fmla="*/ 213191 w 307443"/>
                  <a:gd name="connsiteY18" fmla="*/ 96544 h 283813"/>
                  <a:gd name="connsiteX19" fmla="*/ 212574 w 307443"/>
                  <a:gd name="connsiteY19" fmla="*/ 95663 h 283813"/>
                  <a:gd name="connsiteX20" fmla="*/ 211781 w 307443"/>
                  <a:gd name="connsiteY20" fmla="*/ 94164 h 283813"/>
                  <a:gd name="connsiteX21" fmla="*/ 210017 w 307443"/>
                  <a:gd name="connsiteY21" fmla="*/ 94164 h 283813"/>
                  <a:gd name="connsiteX22" fmla="*/ 209135 w 307443"/>
                  <a:gd name="connsiteY22" fmla="*/ 93282 h 283813"/>
                  <a:gd name="connsiteX23" fmla="*/ 205873 w 307443"/>
                  <a:gd name="connsiteY23" fmla="*/ 94164 h 283813"/>
                  <a:gd name="connsiteX24" fmla="*/ 204110 w 307443"/>
                  <a:gd name="connsiteY24" fmla="*/ 95663 h 283813"/>
                  <a:gd name="connsiteX25" fmla="*/ 203846 w 307443"/>
                  <a:gd name="connsiteY25" fmla="*/ 95398 h 283813"/>
                  <a:gd name="connsiteX26" fmla="*/ 202964 w 307443"/>
                  <a:gd name="connsiteY26" fmla="*/ 95663 h 283813"/>
                  <a:gd name="connsiteX27" fmla="*/ 200671 w 307443"/>
                  <a:gd name="connsiteY27" fmla="*/ 96544 h 283813"/>
                  <a:gd name="connsiteX28" fmla="*/ 198643 w 307443"/>
                  <a:gd name="connsiteY28" fmla="*/ 95663 h 283813"/>
                  <a:gd name="connsiteX29" fmla="*/ 197145 w 307443"/>
                  <a:gd name="connsiteY29" fmla="*/ 96544 h 283813"/>
                  <a:gd name="connsiteX30" fmla="*/ 196880 w 307443"/>
                  <a:gd name="connsiteY30" fmla="*/ 97162 h 283813"/>
                  <a:gd name="connsiteX31" fmla="*/ 194499 w 307443"/>
                  <a:gd name="connsiteY31" fmla="*/ 97162 h 283813"/>
                  <a:gd name="connsiteX32" fmla="*/ 194499 w 307443"/>
                  <a:gd name="connsiteY32" fmla="*/ 97426 h 283813"/>
                  <a:gd name="connsiteX33" fmla="*/ 193882 w 307443"/>
                  <a:gd name="connsiteY33" fmla="*/ 97162 h 283813"/>
                  <a:gd name="connsiteX34" fmla="*/ 190708 w 307443"/>
                  <a:gd name="connsiteY34" fmla="*/ 96544 h 283813"/>
                  <a:gd name="connsiteX35" fmla="*/ 190444 w 307443"/>
                  <a:gd name="connsiteY35" fmla="*/ 89226 h 283813"/>
                  <a:gd name="connsiteX36" fmla="*/ 190179 w 307443"/>
                  <a:gd name="connsiteY36" fmla="*/ 82526 h 283813"/>
                  <a:gd name="connsiteX37" fmla="*/ 191061 w 307443"/>
                  <a:gd name="connsiteY37" fmla="*/ 76971 h 283813"/>
                  <a:gd name="connsiteX38" fmla="*/ 193353 w 307443"/>
                  <a:gd name="connsiteY38" fmla="*/ 75560 h 283813"/>
                  <a:gd name="connsiteX39" fmla="*/ 195117 w 307443"/>
                  <a:gd name="connsiteY39" fmla="*/ 72915 h 283813"/>
                  <a:gd name="connsiteX40" fmla="*/ 197409 w 307443"/>
                  <a:gd name="connsiteY40" fmla="*/ 68242 h 283813"/>
                  <a:gd name="connsiteX41" fmla="*/ 201200 w 307443"/>
                  <a:gd name="connsiteY41" fmla="*/ 63305 h 283813"/>
                  <a:gd name="connsiteX42" fmla="*/ 201818 w 307443"/>
                  <a:gd name="connsiteY42" fmla="*/ 61541 h 283813"/>
                  <a:gd name="connsiteX43" fmla="*/ 201200 w 307443"/>
                  <a:gd name="connsiteY43" fmla="*/ 58632 h 283813"/>
                  <a:gd name="connsiteX44" fmla="*/ 197145 w 307443"/>
                  <a:gd name="connsiteY44" fmla="*/ 52460 h 283813"/>
                  <a:gd name="connsiteX45" fmla="*/ 195998 w 307443"/>
                  <a:gd name="connsiteY45" fmla="*/ 51579 h 283813"/>
                  <a:gd name="connsiteX46" fmla="*/ 194499 w 307443"/>
                  <a:gd name="connsiteY46" fmla="*/ 50785 h 283813"/>
                  <a:gd name="connsiteX47" fmla="*/ 192736 w 307443"/>
                  <a:gd name="connsiteY47" fmla="*/ 50168 h 283813"/>
                  <a:gd name="connsiteX48" fmla="*/ 191061 w 307443"/>
                  <a:gd name="connsiteY48" fmla="*/ 47875 h 283813"/>
                  <a:gd name="connsiteX49" fmla="*/ 189562 w 307443"/>
                  <a:gd name="connsiteY49" fmla="*/ 44084 h 283813"/>
                  <a:gd name="connsiteX50" fmla="*/ 187534 w 307443"/>
                  <a:gd name="connsiteY50" fmla="*/ 41086 h 283813"/>
                  <a:gd name="connsiteX51" fmla="*/ 184360 w 307443"/>
                  <a:gd name="connsiteY51" fmla="*/ 37912 h 283813"/>
                  <a:gd name="connsiteX52" fmla="*/ 181098 w 307443"/>
                  <a:gd name="connsiteY52" fmla="*/ 35532 h 283813"/>
                  <a:gd name="connsiteX53" fmla="*/ 178805 w 307443"/>
                  <a:gd name="connsiteY53" fmla="*/ 33504 h 283813"/>
                  <a:gd name="connsiteX54" fmla="*/ 175279 w 307443"/>
                  <a:gd name="connsiteY54" fmla="*/ 31476 h 283813"/>
                  <a:gd name="connsiteX55" fmla="*/ 171488 w 307443"/>
                  <a:gd name="connsiteY55" fmla="*/ 24775 h 283813"/>
                  <a:gd name="connsiteX56" fmla="*/ 169195 w 307443"/>
                  <a:gd name="connsiteY56" fmla="*/ 21601 h 283813"/>
                  <a:gd name="connsiteX57" fmla="*/ 167079 w 307443"/>
                  <a:gd name="connsiteY57" fmla="*/ 19221 h 283813"/>
                  <a:gd name="connsiteX58" fmla="*/ 165933 w 307443"/>
                  <a:gd name="connsiteY58" fmla="*/ 18075 h 283813"/>
                  <a:gd name="connsiteX59" fmla="*/ 163640 w 307443"/>
                  <a:gd name="connsiteY59" fmla="*/ 16928 h 283813"/>
                  <a:gd name="connsiteX60" fmla="*/ 161613 w 307443"/>
                  <a:gd name="connsiteY60" fmla="*/ 16928 h 283813"/>
                  <a:gd name="connsiteX61" fmla="*/ 159232 w 307443"/>
                  <a:gd name="connsiteY61" fmla="*/ 15429 h 283813"/>
                  <a:gd name="connsiteX62" fmla="*/ 157469 w 307443"/>
                  <a:gd name="connsiteY62" fmla="*/ 14548 h 283813"/>
                  <a:gd name="connsiteX63" fmla="*/ 154559 w 307443"/>
                  <a:gd name="connsiteY63" fmla="*/ 11991 h 283813"/>
                  <a:gd name="connsiteX64" fmla="*/ 153413 w 307443"/>
                  <a:gd name="connsiteY64" fmla="*/ 11109 h 283813"/>
                  <a:gd name="connsiteX65" fmla="*/ 152002 w 307443"/>
                  <a:gd name="connsiteY65" fmla="*/ 10228 h 283813"/>
                  <a:gd name="connsiteX66" fmla="*/ 150151 w 307443"/>
                  <a:gd name="connsiteY66" fmla="*/ 9875 h 283813"/>
                  <a:gd name="connsiteX67" fmla="*/ 149005 w 307443"/>
                  <a:gd name="connsiteY67" fmla="*/ 10492 h 283813"/>
                  <a:gd name="connsiteX68" fmla="*/ 147859 w 307443"/>
                  <a:gd name="connsiteY68" fmla="*/ 9875 h 283813"/>
                  <a:gd name="connsiteX69" fmla="*/ 146448 w 307443"/>
                  <a:gd name="connsiteY69" fmla="*/ 11109 h 283813"/>
                  <a:gd name="connsiteX70" fmla="*/ 145831 w 307443"/>
                  <a:gd name="connsiteY70" fmla="*/ 10757 h 283813"/>
                  <a:gd name="connsiteX71" fmla="*/ 144332 w 307443"/>
                  <a:gd name="connsiteY71" fmla="*/ 9610 h 283813"/>
                  <a:gd name="connsiteX72" fmla="*/ 143450 w 307443"/>
                  <a:gd name="connsiteY72" fmla="*/ 9346 h 283813"/>
                  <a:gd name="connsiteX73" fmla="*/ 143186 w 307443"/>
                  <a:gd name="connsiteY73" fmla="*/ 8993 h 283813"/>
                  <a:gd name="connsiteX74" fmla="*/ 142568 w 307443"/>
                  <a:gd name="connsiteY74" fmla="*/ 8993 h 283813"/>
                  <a:gd name="connsiteX75" fmla="*/ 141422 w 307443"/>
                  <a:gd name="connsiteY75" fmla="*/ 9610 h 283813"/>
                  <a:gd name="connsiteX76" fmla="*/ 141158 w 307443"/>
                  <a:gd name="connsiteY76" fmla="*/ 9346 h 283813"/>
                  <a:gd name="connsiteX77" fmla="*/ 140276 w 307443"/>
                  <a:gd name="connsiteY77" fmla="*/ 8993 h 283813"/>
                  <a:gd name="connsiteX78" fmla="*/ 139394 w 307443"/>
                  <a:gd name="connsiteY78" fmla="*/ 8993 h 283813"/>
                  <a:gd name="connsiteX79" fmla="*/ 139130 w 307443"/>
                  <a:gd name="connsiteY79" fmla="*/ 8200 h 283813"/>
                  <a:gd name="connsiteX80" fmla="*/ 137895 w 307443"/>
                  <a:gd name="connsiteY80" fmla="*/ 7582 h 283813"/>
                  <a:gd name="connsiteX81" fmla="*/ 137366 w 307443"/>
                  <a:gd name="connsiteY81" fmla="*/ 8200 h 283813"/>
                  <a:gd name="connsiteX82" fmla="*/ 136749 w 307443"/>
                  <a:gd name="connsiteY82" fmla="*/ 8729 h 283813"/>
                  <a:gd name="connsiteX83" fmla="*/ 136485 w 307443"/>
                  <a:gd name="connsiteY83" fmla="*/ 8993 h 283813"/>
                  <a:gd name="connsiteX84" fmla="*/ 135339 w 307443"/>
                  <a:gd name="connsiteY84" fmla="*/ 9346 h 283813"/>
                  <a:gd name="connsiteX85" fmla="*/ 134192 w 307443"/>
                  <a:gd name="connsiteY85" fmla="*/ 9610 h 283813"/>
                  <a:gd name="connsiteX86" fmla="*/ 133311 w 307443"/>
                  <a:gd name="connsiteY86" fmla="*/ 9610 h 283813"/>
                  <a:gd name="connsiteX87" fmla="*/ 132429 w 307443"/>
                  <a:gd name="connsiteY87" fmla="*/ 9610 h 283813"/>
                  <a:gd name="connsiteX88" fmla="*/ 131812 w 307443"/>
                  <a:gd name="connsiteY88" fmla="*/ 9875 h 283813"/>
                  <a:gd name="connsiteX89" fmla="*/ 131812 w 307443"/>
                  <a:gd name="connsiteY89" fmla="*/ 10492 h 283813"/>
                  <a:gd name="connsiteX90" fmla="*/ 131195 w 307443"/>
                  <a:gd name="connsiteY90" fmla="*/ 11109 h 283813"/>
                  <a:gd name="connsiteX91" fmla="*/ 130313 w 307443"/>
                  <a:gd name="connsiteY91" fmla="*/ 8993 h 283813"/>
                  <a:gd name="connsiteX92" fmla="*/ 129784 w 307443"/>
                  <a:gd name="connsiteY92" fmla="*/ 7582 h 283813"/>
                  <a:gd name="connsiteX93" fmla="*/ 128902 w 307443"/>
                  <a:gd name="connsiteY93" fmla="*/ 6436 h 283813"/>
                  <a:gd name="connsiteX94" fmla="*/ 128021 w 307443"/>
                  <a:gd name="connsiteY94" fmla="*/ 5819 h 283813"/>
                  <a:gd name="connsiteX95" fmla="*/ 126610 w 307443"/>
                  <a:gd name="connsiteY95" fmla="*/ 5555 h 283813"/>
                  <a:gd name="connsiteX96" fmla="*/ 126257 w 307443"/>
                  <a:gd name="connsiteY96" fmla="*/ 7318 h 283813"/>
                  <a:gd name="connsiteX97" fmla="*/ 125728 w 307443"/>
                  <a:gd name="connsiteY97" fmla="*/ 7847 h 283813"/>
                  <a:gd name="connsiteX98" fmla="*/ 125111 w 307443"/>
                  <a:gd name="connsiteY98" fmla="*/ 8464 h 283813"/>
                  <a:gd name="connsiteX99" fmla="*/ 124229 w 307443"/>
                  <a:gd name="connsiteY99" fmla="*/ 8464 h 283813"/>
                  <a:gd name="connsiteX100" fmla="*/ 123965 w 307443"/>
                  <a:gd name="connsiteY100" fmla="*/ 9610 h 283813"/>
                  <a:gd name="connsiteX101" fmla="*/ 122731 w 307443"/>
                  <a:gd name="connsiteY101" fmla="*/ 9610 h 283813"/>
                  <a:gd name="connsiteX102" fmla="*/ 121584 w 307443"/>
                  <a:gd name="connsiteY102" fmla="*/ 10228 h 283813"/>
                  <a:gd name="connsiteX103" fmla="*/ 121055 w 307443"/>
                  <a:gd name="connsiteY103" fmla="*/ 10228 h 283813"/>
                  <a:gd name="connsiteX104" fmla="*/ 120703 w 307443"/>
                  <a:gd name="connsiteY104" fmla="*/ 10228 h 283813"/>
                  <a:gd name="connsiteX105" fmla="*/ 120438 w 307443"/>
                  <a:gd name="connsiteY105" fmla="*/ 10228 h 283813"/>
                  <a:gd name="connsiteX106" fmla="*/ 119821 w 307443"/>
                  <a:gd name="connsiteY106" fmla="*/ 9875 h 283813"/>
                  <a:gd name="connsiteX107" fmla="*/ 118410 w 307443"/>
                  <a:gd name="connsiteY107" fmla="*/ 10757 h 283813"/>
                  <a:gd name="connsiteX108" fmla="*/ 117529 w 307443"/>
                  <a:gd name="connsiteY108" fmla="*/ 10757 h 283813"/>
                  <a:gd name="connsiteX109" fmla="*/ 115765 w 307443"/>
                  <a:gd name="connsiteY109" fmla="*/ 11374 h 283813"/>
                  <a:gd name="connsiteX110" fmla="*/ 114266 w 307443"/>
                  <a:gd name="connsiteY110" fmla="*/ 11374 h 283813"/>
                  <a:gd name="connsiteX111" fmla="*/ 113737 w 307443"/>
                  <a:gd name="connsiteY111" fmla="*/ 10492 h 283813"/>
                  <a:gd name="connsiteX112" fmla="*/ 112591 w 307443"/>
                  <a:gd name="connsiteY112" fmla="*/ 9610 h 283813"/>
                  <a:gd name="connsiteX113" fmla="*/ 111709 w 307443"/>
                  <a:gd name="connsiteY113" fmla="*/ 8993 h 283813"/>
                  <a:gd name="connsiteX114" fmla="*/ 111092 w 307443"/>
                  <a:gd name="connsiteY114" fmla="*/ 7318 h 283813"/>
                  <a:gd name="connsiteX115" fmla="*/ 110210 w 307443"/>
                  <a:gd name="connsiteY115" fmla="*/ 6436 h 283813"/>
                  <a:gd name="connsiteX116" fmla="*/ 109946 w 307443"/>
                  <a:gd name="connsiteY116" fmla="*/ 4673 h 283813"/>
                  <a:gd name="connsiteX117" fmla="*/ 108535 w 307443"/>
                  <a:gd name="connsiteY117" fmla="*/ 4673 h 283813"/>
                  <a:gd name="connsiteX118" fmla="*/ 107918 w 307443"/>
                  <a:gd name="connsiteY118" fmla="*/ 4937 h 283813"/>
                  <a:gd name="connsiteX119" fmla="*/ 107301 w 307443"/>
                  <a:gd name="connsiteY119" fmla="*/ 4937 h 283813"/>
                  <a:gd name="connsiteX120" fmla="*/ 104921 w 307443"/>
                  <a:gd name="connsiteY120" fmla="*/ 3791 h 283813"/>
                  <a:gd name="connsiteX121" fmla="*/ 104392 w 307443"/>
                  <a:gd name="connsiteY121" fmla="*/ 2645 h 283813"/>
                  <a:gd name="connsiteX122" fmla="*/ 104127 w 307443"/>
                  <a:gd name="connsiteY122" fmla="*/ 2645 h 283813"/>
                  <a:gd name="connsiteX123" fmla="*/ 103510 w 307443"/>
                  <a:gd name="connsiteY123" fmla="*/ 2028 h 283813"/>
                  <a:gd name="connsiteX124" fmla="*/ 102364 w 307443"/>
                  <a:gd name="connsiteY124" fmla="*/ 0 h 283813"/>
                  <a:gd name="connsiteX125" fmla="*/ 101482 w 307443"/>
                  <a:gd name="connsiteY125" fmla="*/ 4937 h 283813"/>
                  <a:gd name="connsiteX126" fmla="*/ 102628 w 307443"/>
                  <a:gd name="connsiteY126" fmla="*/ 9346 h 283813"/>
                  <a:gd name="connsiteX127" fmla="*/ 99718 w 307443"/>
                  <a:gd name="connsiteY127" fmla="*/ 10492 h 283813"/>
                  <a:gd name="connsiteX128" fmla="*/ 99718 w 307443"/>
                  <a:gd name="connsiteY128" fmla="*/ 14019 h 283813"/>
                  <a:gd name="connsiteX129" fmla="*/ 97691 w 307443"/>
                  <a:gd name="connsiteY129" fmla="*/ 15165 h 283813"/>
                  <a:gd name="connsiteX130" fmla="*/ 97955 w 307443"/>
                  <a:gd name="connsiteY130" fmla="*/ 16928 h 283813"/>
                  <a:gd name="connsiteX131" fmla="*/ 97426 w 307443"/>
                  <a:gd name="connsiteY131" fmla="*/ 18075 h 283813"/>
                  <a:gd name="connsiteX132" fmla="*/ 95927 w 307443"/>
                  <a:gd name="connsiteY132" fmla="*/ 19485 h 283813"/>
                  <a:gd name="connsiteX133" fmla="*/ 94781 w 307443"/>
                  <a:gd name="connsiteY133" fmla="*/ 19221 h 283813"/>
                  <a:gd name="connsiteX134" fmla="*/ 94517 w 307443"/>
                  <a:gd name="connsiteY134" fmla="*/ 18956 h 283813"/>
                  <a:gd name="connsiteX135" fmla="*/ 94781 w 307443"/>
                  <a:gd name="connsiteY135" fmla="*/ 17457 h 283813"/>
                  <a:gd name="connsiteX136" fmla="*/ 94164 w 307443"/>
                  <a:gd name="connsiteY136" fmla="*/ 17457 h 283813"/>
                  <a:gd name="connsiteX137" fmla="*/ 93635 w 307443"/>
                  <a:gd name="connsiteY137" fmla="*/ 16928 h 283813"/>
                  <a:gd name="connsiteX138" fmla="*/ 93018 w 307443"/>
                  <a:gd name="connsiteY138" fmla="*/ 15782 h 283813"/>
                  <a:gd name="connsiteX139" fmla="*/ 92753 w 307443"/>
                  <a:gd name="connsiteY139" fmla="*/ 15429 h 283813"/>
                  <a:gd name="connsiteX140" fmla="*/ 91872 w 307443"/>
                  <a:gd name="connsiteY140" fmla="*/ 14548 h 283813"/>
                  <a:gd name="connsiteX141" fmla="*/ 91607 w 307443"/>
                  <a:gd name="connsiteY141" fmla="*/ 13402 h 283813"/>
                  <a:gd name="connsiteX142" fmla="*/ 90990 w 307443"/>
                  <a:gd name="connsiteY142" fmla="*/ 12520 h 283813"/>
                  <a:gd name="connsiteX143" fmla="*/ 90373 w 307443"/>
                  <a:gd name="connsiteY143" fmla="*/ 11374 h 283813"/>
                  <a:gd name="connsiteX144" fmla="*/ 89491 w 307443"/>
                  <a:gd name="connsiteY144" fmla="*/ 11109 h 283813"/>
                  <a:gd name="connsiteX145" fmla="*/ 87199 w 307443"/>
                  <a:gd name="connsiteY145" fmla="*/ 11109 h 283813"/>
                  <a:gd name="connsiteX146" fmla="*/ 86846 w 307443"/>
                  <a:gd name="connsiteY146" fmla="*/ 11374 h 283813"/>
                  <a:gd name="connsiteX147" fmla="*/ 86052 w 307443"/>
                  <a:gd name="connsiteY147" fmla="*/ 11374 h 283813"/>
                  <a:gd name="connsiteX148" fmla="*/ 85435 w 307443"/>
                  <a:gd name="connsiteY148" fmla="*/ 12873 h 283813"/>
                  <a:gd name="connsiteX149" fmla="*/ 85171 w 307443"/>
                  <a:gd name="connsiteY149" fmla="*/ 14900 h 283813"/>
                  <a:gd name="connsiteX150" fmla="*/ 83936 w 307443"/>
                  <a:gd name="connsiteY150" fmla="*/ 15429 h 283813"/>
                  <a:gd name="connsiteX151" fmla="*/ 82790 w 307443"/>
                  <a:gd name="connsiteY151" fmla="*/ 15782 h 283813"/>
                  <a:gd name="connsiteX152" fmla="*/ 82261 w 307443"/>
                  <a:gd name="connsiteY152" fmla="*/ 15165 h 283813"/>
                  <a:gd name="connsiteX153" fmla="*/ 82261 w 307443"/>
                  <a:gd name="connsiteY153" fmla="*/ 14548 h 283813"/>
                  <a:gd name="connsiteX154" fmla="*/ 81115 w 307443"/>
                  <a:gd name="connsiteY154" fmla="*/ 14283 h 283813"/>
                  <a:gd name="connsiteX155" fmla="*/ 79616 w 307443"/>
                  <a:gd name="connsiteY155" fmla="*/ 14283 h 283813"/>
                  <a:gd name="connsiteX156" fmla="*/ 78117 w 307443"/>
                  <a:gd name="connsiteY156" fmla="*/ 14283 h 283813"/>
                  <a:gd name="connsiteX157" fmla="*/ 77588 w 307443"/>
                  <a:gd name="connsiteY157" fmla="*/ 14283 h 283813"/>
                  <a:gd name="connsiteX158" fmla="*/ 76707 w 307443"/>
                  <a:gd name="connsiteY158" fmla="*/ 14548 h 283813"/>
                  <a:gd name="connsiteX159" fmla="*/ 75825 w 307443"/>
                  <a:gd name="connsiteY159" fmla="*/ 14283 h 283813"/>
                  <a:gd name="connsiteX160" fmla="*/ 74943 w 307443"/>
                  <a:gd name="connsiteY160" fmla="*/ 14900 h 283813"/>
                  <a:gd name="connsiteX161" fmla="*/ 74062 w 307443"/>
                  <a:gd name="connsiteY161" fmla="*/ 13666 h 283813"/>
                  <a:gd name="connsiteX162" fmla="*/ 74326 w 307443"/>
                  <a:gd name="connsiteY162" fmla="*/ 16928 h 283813"/>
                  <a:gd name="connsiteX163" fmla="*/ 72298 w 307443"/>
                  <a:gd name="connsiteY163" fmla="*/ 15429 h 283813"/>
                  <a:gd name="connsiteX164" fmla="*/ 70006 w 307443"/>
                  <a:gd name="connsiteY164" fmla="*/ 23629 h 283813"/>
                  <a:gd name="connsiteX165" fmla="*/ 70887 w 307443"/>
                  <a:gd name="connsiteY165" fmla="*/ 29448 h 283813"/>
                  <a:gd name="connsiteX166" fmla="*/ 70887 w 307443"/>
                  <a:gd name="connsiteY166" fmla="*/ 30594 h 283813"/>
                  <a:gd name="connsiteX167" fmla="*/ 70535 w 307443"/>
                  <a:gd name="connsiteY167" fmla="*/ 32358 h 283813"/>
                  <a:gd name="connsiteX168" fmla="*/ 67096 w 307443"/>
                  <a:gd name="connsiteY168" fmla="*/ 36414 h 283813"/>
                  <a:gd name="connsiteX169" fmla="*/ 66215 w 307443"/>
                  <a:gd name="connsiteY169" fmla="*/ 44878 h 283813"/>
                  <a:gd name="connsiteX170" fmla="*/ 66215 w 307443"/>
                  <a:gd name="connsiteY170" fmla="*/ 45759 h 283813"/>
                  <a:gd name="connsiteX171" fmla="*/ 65862 w 307443"/>
                  <a:gd name="connsiteY171" fmla="*/ 46641 h 283813"/>
                  <a:gd name="connsiteX172" fmla="*/ 65597 w 307443"/>
                  <a:gd name="connsiteY172" fmla="*/ 47875 h 283813"/>
                  <a:gd name="connsiteX173" fmla="*/ 66479 w 307443"/>
                  <a:gd name="connsiteY173" fmla="*/ 49022 h 283813"/>
                  <a:gd name="connsiteX174" fmla="*/ 65862 w 307443"/>
                  <a:gd name="connsiteY174" fmla="*/ 53695 h 283813"/>
                  <a:gd name="connsiteX175" fmla="*/ 65068 w 307443"/>
                  <a:gd name="connsiteY175" fmla="*/ 53695 h 283813"/>
                  <a:gd name="connsiteX176" fmla="*/ 64451 w 307443"/>
                  <a:gd name="connsiteY176" fmla="*/ 52813 h 283813"/>
                  <a:gd name="connsiteX177" fmla="*/ 63305 w 307443"/>
                  <a:gd name="connsiteY177" fmla="*/ 52813 h 283813"/>
                  <a:gd name="connsiteX178" fmla="*/ 62688 w 307443"/>
                  <a:gd name="connsiteY178" fmla="*/ 52813 h 283813"/>
                  <a:gd name="connsiteX179" fmla="*/ 56251 w 307443"/>
                  <a:gd name="connsiteY179" fmla="*/ 54224 h 283813"/>
                  <a:gd name="connsiteX180" fmla="*/ 56251 w 307443"/>
                  <a:gd name="connsiteY180" fmla="*/ 55722 h 283813"/>
                  <a:gd name="connsiteX181" fmla="*/ 55722 w 307443"/>
                  <a:gd name="connsiteY181" fmla="*/ 55370 h 283813"/>
                  <a:gd name="connsiteX182" fmla="*/ 54841 w 307443"/>
                  <a:gd name="connsiteY182" fmla="*/ 55722 h 283813"/>
                  <a:gd name="connsiteX183" fmla="*/ 51314 w 307443"/>
                  <a:gd name="connsiteY183" fmla="*/ 61806 h 283813"/>
                  <a:gd name="connsiteX184" fmla="*/ 50697 w 307443"/>
                  <a:gd name="connsiteY184" fmla="*/ 65333 h 283813"/>
                  <a:gd name="connsiteX185" fmla="*/ 49551 w 307443"/>
                  <a:gd name="connsiteY185" fmla="*/ 66214 h 283813"/>
                  <a:gd name="connsiteX186" fmla="*/ 48934 w 307443"/>
                  <a:gd name="connsiteY186" fmla="*/ 68242 h 283813"/>
                  <a:gd name="connsiteX187" fmla="*/ 48934 w 307443"/>
                  <a:gd name="connsiteY187" fmla="*/ 70270 h 283813"/>
                  <a:gd name="connsiteX188" fmla="*/ 47258 w 307443"/>
                  <a:gd name="connsiteY188" fmla="*/ 70887 h 283813"/>
                  <a:gd name="connsiteX189" fmla="*/ 47258 w 307443"/>
                  <a:gd name="connsiteY189" fmla="*/ 72034 h 283813"/>
                  <a:gd name="connsiteX190" fmla="*/ 46641 w 307443"/>
                  <a:gd name="connsiteY190" fmla="*/ 73532 h 283813"/>
                  <a:gd name="connsiteX191" fmla="*/ 44613 w 307443"/>
                  <a:gd name="connsiteY191" fmla="*/ 74061 h 283813"/>
                  <a:gd name="connsiteX192" fmla="*/ 43732 w 307443"/>
                  <a:gd name="connsiteY192" fmla="*/ 74679 h 283813"/>
                  <a:gd name="connsiteX193" fmla="*/ 42850 w 307443"/>
                  <a:gd name="connsiteY193" fmla="*/ 76971 h 283813"/>
                  <a:gd name="connsiteX194" fmla="*/ 43732 w 307443"/>
                  <a:gd name="connsiteY194" fmla="*/ 79352 h 283813"/>
                  <a:gd name="connsiteX195" fmla="*/ 43732 w 307443"/>
                  <a:gd name="connsiteY195" fmla="*/ 80762 h 283813"/>
                  <a:gd name="connsiteX196" fmla="*/ 43996 w 307443"/>
                  <a:gd name="connsiteY196" fmla="*/ 81908 h 283813"/>
                  <a:gd name="connsiteX197" fmla="*/ 41086 w 307443"/>
                  <a:gd name="connsiteY197" fmla="*/ 89226 h 283813"/>
                  <a:gd name="connsiteX198" fmla="*/ 41086 w 307443"/>
                  <a:gd name="connsiteY198" fmla="*/ 89844 h 283813"/>
                  <a:gd name="connsiteX199" fmla="*/ 42321 w 307443"/>
                  <a:gd name="connsiteY199" fmla="*/ 90990 h 283813"/>
                  <a:gd name="connsiteX200" fmla="*/ 40822 w 307443"/>
                  <a:gd name="connsiteY200" fmla="*/ 96809 h 283813"/>
                  <a:gd name="connsiteX201" fmla="*/ 41968 w 307443"/>
                  <a:gd name="connsiteY201" fmla="*/ 97162 h 283813"/>
                  <a:gd name="connsiteX202" fmla="*/ 41968 w 307443"/>
                  <a:gd name="connsiteY202" fmla="*/ 98572 h 283813"/>
                  <a:gd name="connsiteX203" fmla="*/ 39323 w 307443"/>
                  <a:gd name="connsiteY203" fmla="*/ 100953 h 283813"/>
                  <a:gd name="connsiteX204" fmla="*/ 39323 w 307443"/>
                  <a:gd name="connsiteY204" fmla="*/ 102363 h 283813"/>
                  <a:gd name="connsiteX205" fmla="*/ 38177 w 307443"/>
                  <a:gd name="connsiteY205" fmla="*/ 102363 h 283813"/>
                  <a:gd name="connsiteX206" fmla="*/ 37913 w 307443"/>
                  <a:gd name="connsiteY206" fmla="*/ 103245 h 283813"/>
                  <a:gd name="connsiteX207" fmla="*/ 37295 w 307443"/>
                  <a:gd name="connsiteY207" fmla="*/ 103245 h 283813"/>
                  <a:gd name="connsiteX208" fmla="*/ 37295 w 307443"/>
                  <a:gd name="connsiteY208" fmla="*/ 102099 h 283813"/>
                  <a:gd name="connsiteX209" fmla="*/ 33504 w 307443"/>
                  <a:gd name="connsiteY209" fmla="*/ 98308 h 283813"/>
                  <a:gd name="connsiteX210" fmla="*/ 30065 w 307443"/>
                  <a:gd name="connsiteY210" fmla="*/ 100953 h 283813"/>
                  <a:gd name="connsiteX211" fmla="*/ 28302 w 307443"/>
                  <a:gd name="connsiteY211" fmla="*/ 105009 h 283813"/>
                  <a:gd name="connsiteX212" fmla="*/ 27068 w 307443"/>
                  <a:gd name="connsiteY212" fmla="*/ 106155 h 283813"/>
                  <a:gd name="connsiteX213" fmla="*/ 28567 w 307443"/>
                  <a:gd name="connsiteY213" fmla="*/ 114619 h 283813"/>
                  <a:gd name="connsiteX214" fmla="*/ 27421 w 307443"/>
                  <a:gd name="connsiteY214" fmla="*/ 116647 h 283813"/>
                  <a:gd name="connsiteX215" fmla="*/ 27421 w 307443"/>
                  <a:gd name="connsiteY215" fmla="*/ 117528 h 283813"/>
                  <a:gd name="connsiteX216" fmla="*/ 26274 w 307443"/>
                  <a:gd name="connsiteY216" fmla="*/ 119556 h 283813"/>
                  <a:gd name="connsiteX217" fmla="*/ 25040 w 307443"/>
                  <a:gd name="connsiteY217" fmla="*/ 123083 h 283813"/>
                  <a:gd name="connsiteX218" fmla="*/ 23894 w 307443"/>
                  <a:gd name="connsiteY218" fmla="*/ 126874 h 283813"/>
                  <a:gd name="connsiteX219" fmla="*/ 23277 w 307443"/>
                  <a:gd name="connsiteY219" fmla="*/ 131812 h 283813"/>
                  <a:gd name="connsiteX220" fmla="*/ 23894 w 307443"/>
                  <a:gd name="connsiteY220" fmla="*/ 138689 h 283813"/>
                  <a:gd name="connsiteX221" fmla="*/ 24511 w 307443"/>
                  <a:gd name="connsiteY221" fmla="*/ 146712 h 283813"/>
                  <a:gd name="connsiteX222" fmla="*/ 23894 w 307443"/>
                  <a:gd name="connsiteY222" fmla="*/ 156058 h 283813"/>
                  <a:gd name="connsiteX223" fmla="*/ 20984 w 307443"/>
                  <a:gd name="connsiteY223" fmla="*/ 159497 h 283813"/>
                  <a:gd name="connsiteX224" fmla="*/ 18604 w 307443"/>
                  <a:gd name="connsiteY224" fmla="*/ 159497 h 283813"/>
                  <a:gd name="connsiteX225" fmla="*/ 17722 w 307443"/>
                  <a:gd name="connsiteY225" fmla="*/ 159849 h 283813"/>
                  <a:gd name="connsiteX226" fmla="*/ 17193 w 307443"/>
                  <a:gd name="connsiteY226" fmla="*/ 160995 h 283813"/>
                  <a:gd name="connsiteX227" fmla="*/ 15429 w 307443"/>
                  <a:gd name="connsiteY227" fmla="*/ 160731 h 283813"/>
                  <a:gd name="connsiteX228" fmla="*/ 14548 w 307443"/>
                  <a:gd name="connsiteY228" fmla="*/ 159497 h 283813"/>
                  <a:gd name="connsiteX229" fmla="*/ 14019 w 307443"/>
                  <a:gd name="connsiteY229" fmla="*/ 158703 h 283813"/>
                  <a:gd name="connsiteX230" fmla="*/ 12520 w 307443"/>
                  <a:gd name="connsiteY230" fmla="*/ 159232 h 283813"/>
                  <a:gd name="connsiteX231" fmla="*/ 10757 w 307443"/>
                  <a:gd name="connsiteY231" fmla="*/ 158086 h 283813"/>
                  <a:gd name="connsiteX232" fmla="*/ 10492 w 307443"/>
                  <a:gd name="connsiteY232" fmla="*/ 158703 h 283813"/>
                  <a:gd name="connsiteX233" fmla="*/ 9346 w 307443"/>
                  <a:gd name="connsiteY233" fmla="*/ 159232 h 283813"/>
                  <a:gd name="connsiteX234" fmla="*/ 8464 w 307443"/>
                  <a:gd name="connsiteY234" fmla="*/ 159497 h 283813"/>
                  <a:gd name="connsiteX235" fmla="*/ 5819 w 307443"/>
                  <a:gd name="connsiteY235" fmla="*/ 158703 h 283813"/>
                  <a:gd name="connsiteX236" fmla="*/ 5202 w 307443"/>
                  <a:gd name="connsiteY236" fmla="*/ 158086 h 283813"/>
                  <a:gd name="connsiteX237" fmla="*/ 4673 w 307443"/>
                  <a:gd name="connsiteY237" fmla="*/ 158968 h 283813"/>
                  <a:gd name="connsiteX238" fmla="*/ 4056 w 307443"/>
                  <a:gd name="connsiteY238" fmla="*/ 159232 h 283813"/>
                  <a:gd name="connsiteX239" fmla="*/ 3174 w 307443"/>
                  <a:gd name="connsiteY239" fmla="*/ 160114 h 283813"/>
                  <a:gd name="connsiteX240" fmla="*/ 3174 w 307443"/>
                  <a:gd name="connsiteY240" fmla="*/ 160995 h 283813"/>
                  <a:gd name="connsiteX241" fmla="*/ 3439 w 307443"/>
                  <a:gd name="connsiteY241" fmla="*/ 161524 h 283813"/>
                  <a:gd name="connsiteX242" fmla="*/ 3174 w 307443"/>
                  <a:gd name="connsiteY242" fmla="*/ 163641 h 283813"/>
                  <a:gd name="connsiteX243" fmla="*/ 4937 w 307443"/>
                  <a:gd name="connsiteY243" fmla="*/ 164170 h 283813"/>
                  <a:gd name="connsiteX244" fmla="*/ 3439 w 307443"/>
                  <a:gd name="connsiteY244" fmla="*/ 165404 h 283813"/>
                  <a:gd name="connsiteX245" fmla="*/ 4056 w 307443"/>
                  <a:gd name="connsiteY245" fmla="*/ 167432 h 283813"/>
                  <a:gd name="connsiteX246" fmla="*/ 3439 w 307443"/>
                  <a:gd name="connsiteY246" fmla="*/ 168578 h 283813"/>
                  <a:gd name="connsiteX247" fmla="*/ 2292 w 307443"/>
                  <a:gd name="connsiteY247" fmla="*/ 167432 h 283813"/>
                  <a:gd name="connsiteX248" fmla="*/ 1146 w 307443"/>
                  <a:gd name="connsiteY248" fmla="*/ 169195 h 283813"/>
                  <a:gd name="connsiteX249" fmla="*/ 529 w 307443"/>
                  <a:gd name="connsiteY249" fmla="*/ 169989 h 283813"/>
                  <a:gd name="connsiteX250" fmla="*/ 529 w 307443"/>
                  <a:gd name="connsiteY250" fmla="*/ 171223 h 283813"/>
                  <a:gd name="connsiteX251" fmla="*/ 0 w 307443"/>
                  <a:gd name="connsiteY251" fmla="*/ 172105 h 283813"/>
                  <a:gd name="connsiteX252" fmla="*/ 529 w 307443"/>
                  <a:gd name="connsiteY252" fmla="*/ 173780 h 283813"/>
                  <a:gd name="connsiteX253" fmla="*/ 1146 w 307443"/>
                  <a:gd name="connsiteY253" fmla="*/ 175896 h 283813"/>
                  <a:gd name="connsiteX254" fmla="*/ 2645 w 307443"/>
                  <a:gd name="connsiteY254" fmla="*/ 175896 h 283813"/>
                  <a:gd name="connsiteX255" fmla="*/ 3439 w 307443"/>
                  <a:gd name="connsiteY255" fmla="*/ 175543 h 283813"/>
                  <a:gd name="connsiteX256" fmla="*/ 6084 w 307443"/>
                  <a:gd name="connsiteY256" fmla="*/ 176160 h 283813"/>
                  <a:gd name="connsiteX257" fmla="*/ 6084 w 307443"/>
                  <a:gd name="connsiteY257" fmla="*/ 176425 h 283813"/>
                  <a:gd name="connsiteX258" fmla="*/ 7583 w 307443"/>
                  <a:gd name="connsiteY258" fmla="*/ 177307 h 283813"/>
                  <a:gd name="connsiteX259" fmla="*/ 8993 w 307443"/>
                  <a:gd name="connsiteY259" fmla="*/ 177042 h 283813"/>
                  <a:gd name="connsiteX260" fmla="*/ 10492 w 307443"/>
                  <a:gd name="connsiteY260" fmla="*/ 176425 h 283813"/>
                  <a:gd name="connsiteX261" fmla="*/ 11021 w 307443"/>
                  <a:gd name="connsiteY261" fmla="*/ 177307 h 283813"/>
                  <a:gd name="connsiteX262" fmla="*/ 11991 w 307443"/>
                  <a:gd name="connsiteY262" fmla="*/ 178541 h 283813"/>
                  <a:gd name="connsiteX263" fmla="*/ 14548 w 307443"/>
                  <a:gd name="connsiteY263" fmla="*/ 178541 h 283813"/>
                  <a:gd name="connsiteX264" fmla="*/ 15165 w 307443"/>
                  <a:gd name="connsiteY264" fmla="*/ 178806 h 283813"/>
                  <a:gd name="connsiteX265" fmla="*/ 15694 w 307443"/>
                  <a:gd name="connsiteY265" fmla="*/ 179070 h 283813"/>
                  <a:gd name="connsiteX266" fmla="*/ 17722 w 307443"/>
                  <a:gd name="connsiteY266" fmla="*/ 181451 h 283813"/>
                  <a:gd name="connsiteX267" fmla="*/ 19750 w 307443"/>
                  <a:gd name="connsiteY267" fmla="*/ 181980 h 283813"/>
                  <a:gd name="connsiteX268" fmla="*/ 23012 w 307443"/>
                  <a:gd name="connsiteY268" fmla="*/ 186035 h 283813"/>
                  <a:gd name="connsiteX269" fmla="*/ 22748 w 307443"/>
                  <a:gd name="connsiteY269" fmla="*/ 189297 h 283813"/>
                  <a:gd name="connsiteX270" fmla="*/ 23894 w 307443"/>
                  <a:gd name="connsiteY270" fmla="*/ 189827 h 283813"/>
                  <a:gd name="connsiteX271" fmla="*/ 24775 w 307443"/>
                  <a:gd name="connsiteY271" fmla="*/ 191061 h 283813"/>
                  <a:gd name="connsiteX272" fmla="*/ 26274 w 307443"/>
                  <a:gd name="connsiteY272" fmla="*/ 190708 h 283813"/>
                  <a:gd name="connsiteX273" fmla="*/ 26539 w 307443"/>
                  <a:gd name="connsiteY273" fmla="*/ 192207 h 283813"/>
                  <a:gd name="connsiteX274" fmla="*/ 29448 w 307443"/>
                  <a:gd name="connsiteY274" fmla="*/ 193089 h 283813"/>
                  <a:gd name="connsiteX275" fmla="*/ 27421 w 307443"/>
                  <a:gd name="connsiteY275" fmla="*/ 193970 h 283813"/>
                  <a:gd name="connsiteX276" fmla="*/ 28302 w 307443"/>
                  <a:gd name="connsiteY276" fmla="*/ 195117 h 283813"/>
                  <a:gd name="connsiteX277" fmla="*/ 29096 w 307443"/>
                  <a:gd name="connsiteY277" fmla="*/ 195998 h 283813"/>
                  <a:gd name="connsiteX278" fmla="*/ 30594 w 307443"/>
                  <a:gd name="connsiteY278" fmla="*/ 195998 h 283813"/>
                  <a:gd name="connsiteX279" fmla="*/ 32622 w 307443"/>
                  <a:gd name="connsiteY279" fmla="*/ 197409 h 283813"/>
                  <a:gd name="connsiteX280" fmla="*/ 34121 w 307443"/>
                  <a:gd name="connsiteY280" fmla="*/ 201553 h 283813"/>
                  <a:gd name="connsiteX281" fmla="*/ 37031 w 307443"/>
                  <a:gd name="connsiteY281" fmla="*/ 201817 h 283813"/>
                  <a:gd name="connsiteX282" fmla="*/ 38442 w 307443"/>
                  <a:gd name="connsiteY282" fmla="*/ 203316 h 283813"/>
                  <a:gd name="connsiteX283" fmla="*/ 38442 w 307443"/>
                  <a:gd name="connsiteY283" fmla="*/ 204727 h 283813"/>
                  <a:gd name="connsiteX284" fmla="*/ 39676 w 307443"/>
                  <a:gd name="connsiteY284" fmla="*/ 205344 h 283813"/>
                  <a:gd name="connsiteX285" fmla="*/ 40205 w 307443"/>
                  <a:gd name="connsiteY285" fmla="*/ 207637 h 283813"/>
                  <a:gd name="connsiteX286" fmla="*/ 40470 w 307443"/>
                  <a:gd name="connsiteY286" fmla="*/ 209135 h 283813"/>
                  <a:gd name="connsiteX287" fmla="*/ 41351 w 307443"/>
                  <a:gd name="connsiteY287" fmla="*/ 211163 h 283813"/>
                  <a:gd name="connsiteX288" fmla="*/ 41704 w 307443"/>
                  <a:gd name="connsiteY288" fmla="*/ 214337 h 283813"/>
                  <a:gd name="connsiteX289" fmla="*/ 42585 w 307443"/>
                  <a:gd name="connsiteY289" fmla="*/ 215483 h 283813"/>
                  <a:gd name="connsiteX290" fmla="*/ 43467 w 307443"/>
                  <a:gd name="connsiteY290" fmla="*/ 217247 h 283813"/>
                  <a:gd name="connsiteX291" fmla="*/ 44878 w 307443"/>
                  <a:gd name="connsiteY291" fmla="*/ 219010 h 283813"/>
                  <a:gd name="connsiteX292" fmla="*/ 44878 w 307443"/>
                  <a:gd name="connsiteY292" fmla="*/ 219892 h 283813"/>
                  <a:gd name="connsiteX293" fmla="*/ 44878 w 307443"/>
                  <a:gd name="connsiteY293" fmla="*/ 221391 h 283813"/>
                  <a:gd name="connsiteX294" fmla="*/ 45142 w 307443"/>
                  <a:gd name="connsiteY294" fmla="*/ 221920 h 283813"/>
                  <a:gd name="connsiteX295" fmla="*/ 45759 w 307443"/>
                  <a:gd name="connsiteY295" fmla="*/ 222802 h 283813"/>
                  <a:gd name="connsiteX296" fmla="*/ 46906 w 307443"/>
                  <a:gd name="connsiteY296" fmla="*/ 227210 h 283813"/>
                  <a:gd name="connsiteX297" fmla="*/ 46906 w 307443"/>
                  <a:gd name="connsiteY297" fmla="*/ 228709 h 283813"/>
                  <a:gd name="connsiteX298" fmla="*/ 51314 w 307443"/>
                  <a:gd name="connsiteY298" fmla="*/ 232412 h 283813"/>
                  <a:gd name="connsiteX299" fmla="*/ 51931 w 307443"/>
                  <a:gd name="connsiteY299" fmla="*/ 233029 h 283813"/>
                  <a:gd name="connsiteX300" fmla="*/ 51050 w 307443"/>
                  <a:gd name="connsiteY300" fmla="*/ 233911 h 283813"/>
                  <a:gd name="connsiteX301" fmla="*/ 51931 w 307443"/>
                  <a:gd name="connsiteY301" fmla="*/ 235939 h 283813"/>
                  <a:gd name="connsiteX302" fmla="*/ 52725 w 307443"/>
                  <a:gd name="connsiteY302" fmla="*/ 236203 h 283813"/>
                  <a:gd name="connsiteX303" fmla="*/ 55105 w 307443"/>
                  <a:gd name="connsiteY303" fmla="*/ 233911 h 283813"/>
                  <a:gd name="connsiteX304" fmla="*/ 55987 w 307443"/>
                  <a:gd name="connsiteY304" fmla="*/ 233911 h 283813"/>
                  <a:gd name="connsiteX305" fmla="*/ 57398 w 307443"/>
                  <a:gd name="connsiteY305" fmla="*/ 234175 h 283813"/>
                  <a:gd name="connsiteX306" fmla="*/ 58368 w 307443"/>
                  <a:gd name="connsiteY306" fmla="*/ 235939 h 283813"/>
                  <a:gd name="connsiteX307" fmla="*/ 60043 w 307443"/>
                  <a:gd name="connsiteY307" fmla="*/ 235321 h 283813"/>
                  <a:gd name="connsiteX308" fmla="*/ 61806 w 307443"/>
                  <a:gd name="connsiteY308" fmla="*/ 236203 h 283813"/>
                  <a:gd name="connsiteX309" fmla="*/ 63305 w 307443"/>
                  <a:gd name="connsiteY309" fmla="*/ 237438 h 283813"/>
                  <a:gd name="connsiteX310" fmla="*/ 62688 w 307443"/>
                  <a:gd name="connsiteY310" fmla="*/ 237967 h 283813"/>
                  <a:gd name="connsiteX311" fmla="*/ 62688 w 307443"/>
                  <a:gd name="connsiteY311" fmla="*/ 239465 h 283813"/>
                  <a:gd name="connsiteX312" fmla="*/ 63305 w 307443"/>
                  <a:gd name="connsiteY312" fmla="*/ 241229 h 283813"/>
                  <a:gd name="connsiteX313" fmla="*/ 61453 w 307443"/>
                  <a:gd name="connsiteY313" fmla="*/ 242904 h 283813"/>
                  <a:gd name="connsiteX314" fmla="*/ 61806 w 307443"/>
                  <a:gd name="connsiteY314" fmla="*/ 249957 h 283813"/>
                  <a:gd name="connsiteX315" fmla="*/ 67361 w 307443"/>
                  <a:gd name="connsiteY315" fmla="*/ 254630 h 283813"/>
                  <a:gd name="connsiteX316" fmla="*/ 67096 w 307443"/>
                  <a:gd name="connsiteY316" fmla="*/ 257540 h 283813"/>
                  <a:gd name="connsiteX317" fmla="*/ 68771 w 307443"/>
                  <a:gd name="connsiteY317" fmla="*/ 258686 h 283813"/>
                  <a:gd name="connsiteX318" fmla="*/ 85171 w 307443"/>
                  <a:gd name="connsiteY318" fmla="*/ 258069 h 283813"/>
                  <a:gd name="connsiteX319" fmla="*/ 89227 w 307443"/>
                  <a:gd name="connsiteY319" fmla="*/ 259832 h 283813"/>
                  <a:gd name="connsiteX320" fmla="*/ 90108 w 307443"/>
                  <a:gd name="connsiteY320" fmla="*/ 260714 h 283813"/>
                  <a:gd name="connsiteX321" fmla="*/ 111709 w 307443"/>
                  <a:gd name="connsiteY321" fmla="*/ 276496 h 283813"/>
                  <a:gd name="connsiteX322" fmla="*/ 112591 w 307443"/>
                  <a:gd name="connsiteY322" fmla="*/ 278789 h 283813"/>
                  <a:gd name="connsiteX323" fmla="*/ 114883 w 307443"/>
                  <a:gd name="connsiteY323" fmla="*/ 278260 h 283813"/>
                  <a:gd name="connsiteX324" fmla="*/ 121584 w 307443"/>
                  <a:gd name="connsiteY324" fmla="*/ 279405 h 283813"/>
                  <a:gd name="connsiteX325" fmla="*/ 122202 w 307443"/>
                  <a:gd name="connsiteY325" fmla="*/ 277907 h 283813"/>
                  <a:gd name="connsiteX326" fmla="*/ 123348 w 307443"/>
                  <a:gd name="connsiteY326" fmla="*/ 277907 h 283813"/>
                  <a:gd name="connsiteX327" fmla="*/ 123700 w 307443"/>
                  <a:gd name="connsiteY327" fmla="*/ 279405 h 283813"/>
                  <a:gd name="connsiteX328" fmla="*/ 125728 w 307443"/>
                  <a:gd name="connsiteY328" fmla="*/ 279670 h 283813"/>
                  <a:gd name="connsiteX329" fmla="*/ 126257 w 307443"/>
                  <a:gd name="connsiteY329" fmla="*/ 278260 h 283813"/>
                  <a:gd name="connsiteX330" fmla="*/ 127139 w 307443"/>
                  <a:gd name="connsiteY330" fmla="*/ 279670 h 283813"/>
                  <a:gd name="connsiteX331" fmla="*/ 131547 w 307443"/>
                  <a:gd name="connsiteY331" fmla="*/ 281433 h 283813"/>
                  <a:gd name="connsiteX332" fmla="*/ 134986 w 307443"/>
                  <a:gd name="connsiteY332" fmla="*/ 281169 h 283813"/>
                  <a:gd name="connsiteX333" fmla="*/ 136220 w 307443"/>
                  <a:gd name="connsiteY333" fmla="*/ 281169 h 283813"/>
                  <a:gd name="connsiteX334" fmla="*/ 137631 w 307443"/>
                  <a:gd name="connsiteY334" fmla="*/ 281698 h 283813"/>
                  <a:gd name="connsiteX335" fmla="*/ 141422 w 307443"/>
                  <a:gd name="connsiteY335" fmla="*/ 281698 h 283813"/>
                  <a:gd name="connsiteX336" fmla="*/ 141775 w 307443"/>
                  <a:gd name="connsiteY336" fmla="*/ 282315 h 283813"/>
                  <a:gd name="connsiteX337" fmla="*/ 143450 w 307443"/>
                  <a:gd name="connsiteY337" fmla="*/ 282932 h 283813"/>
                  <a:gd name="connsiteX338" fmla="*/ 143803 w 307443"/>
                  <a:gd name="connsiteY338" fmla="*/ 282315 h 283813"/>
                  <a:gd name="connsiteX339" fmla="*/ 144949 w 307443"/>
                  <a:gd name="connsiteY339" fmla="*/ 283814 h 283813"/>
                  <a:gd name="connsiteX340" fmla="*/ 146095 w 307443"/>
                  <a:gd name="connsiteY340" fmla="*/ 283814 h 283813"/>
                  <a:gd name="connsiteX341" fmla="*/ 146712 w 307443"/>
                  <a:gd name="connsiteY341" fmla="*/ 282315 h 283813"/>
                  <a:gd name="connsiteX342" fmla="*/ 150151 w 307443"/>
                  <a:gd name="connsiteY342" fmla="*/ 277907 h 283813"/>
                  <a:gd name="connsiteX343" fmla="*/ 152796 w 307443"/>
                  <a:gd name="connsiteY343" fmla="*/ 273322 h 283813"/>
                  <a:gd name="connsiteX344" fmla="*/ 159497 w 307443"/>
                  <a:gd name="connsiteY344" fmla="*/ 268649 h 283813"/>
                  <a:gd name="connsiteX345" fmla="*/ 172898 w 307443"/>
                  <a:gd name="connsiteY345" fmla="*/ 262213 h 283813"/>
                  <a:gd name="connsiteX346" fmla="*/ 172898 w 307443"/>
                  <a:gd name="connsiteY346" fmla="*/ 263359 h 283813"/>
                  <a:gd name="connsiteX347" fmla="*/ 175014 w 307443"/>
                  <a:gd name="connsiteY347" fmla="*/ 264505 h 283813"/>
                  <a:gd name="connsiteX348" fmla="*/ 175896 w 307443"/>
                  <a:gd name="connsiteY348" fmla="*/ 265651 h 283813"/>
                  <a:gd name="connsiteX349" fmla="*/ 177307 w 307443"/>
                  <a:gd name="connsiteY349" fmla="*/ 266886 h 283813"/>
                  <a:gd name="connsiteX350" fmla="*/ 179335 w 307443"/>
                  <a:gd name="connsiteY350" fmla="*/ 269178 h 283813"/>
                  <a:gd name="connsiteX351" fmla="*/ 181098 w 307443"/>
                  <a:gd name="connsiteY351" fmla="*/ 271294 h 283813"/>
                  <a:gd name="connsiteX352" fmla="*/ 187534 w 307443"/>
                  <a:gd name="connsiteY352" fmla="*/ 271294 h 283813"/>
                  <a:gd name="connsiteX353" fmla="*/ 188681 w 307443"/>
                  <a:gd name="connsiteY353" fmla="*/ 270324 h 283813"/>
                  <a:gd name="connsiteX354" fmla="*/ 190179 w 307443"/>
                  <a:gd name="connsiteY354" fmla="*/ 270324 h 283813"/>
                  <a:gd name="connsiteX355" fmla="*/ 191061 w 307443"/>
                  <a:gd name="connsiteY355" fmla="*/ 270324 h 283813"/>
                  <a:gd name="connsiteX356" fmla="*/ 191943 w 307443"/>
                  <a:gd name="connsiteY356" fmla="*/ 270324 h 283813"/>
                  <a:gd name="connsiteX357" fmla="*/ 193353 w 307443"/>
                  <a:gd name="connsiteY357" fmla="*/ 269178 h 283813"/>
                  <a:gd name="connsiteX358" fmla="*/ 196527 w 307443"/>
                  <a:gd name="connsiteY358" fmla="*/ 271823 h 283813"/>
                  <a:gd name="connsiteX359" fmla="*/ 200319 w 307443"/>
                  <a:gd name="connsiteY359" fmla="*/ 266268 h 283813"/>
                  <a:gd name="connsiteX360" fmla="*/ 202082 w 307443"/>
                  <a:gd name="connsiteY360" fmla="*/ 264858 h 283813"/>
                  <a:gd name="connsiteX361" fmla="*/ 207989 w 307443"/>
                  <a:gd name="connsiteY361" fmla="*/ 265122 h 283813"/>
                  <a:gd name="connsiteX362" fmla="*/ 216454 w 307443"/>
                  <a:gd name="connsiteY362" fmla="*/ 262742 h 283813"/>
                  <a:gd name="connsiteX363" fmla="*/ 220156 w 307443"/>
                  <a:gd name="connsiteY363" fmla="*/ 260714 h 283813"/>
                  <a:gd name="connsiteX364" fmla="*/ 221655 w 307443"/>
                  <a:gd name="connsiteY364" fmla="*/ 256041 h 283813"/>
                  <a:gd name="connsiteX365" fmla="*/ 229238 w 307443"/>
                  <a:gd name="connsiteY365" fmla="*/ 251368 h 283813"/>
                  <a:gd name="connsiteX366" fmla="*/ 239994 w 307443"/>
                  <a:gd name="connsiteY366" fmla="*/ 247312 h 283813"/>
                  <a:gd name="connsiteX367" fmla="*/ 263976 w 307443"/>
                  <a:gd name="connsiteY367" fmla="*/ 247930 h 283813"/>
                  <a:gd name="connsiteX368" fmla="*/ 307443 w 307443"/>
                  <a:gd name="connsiteY368" fmla="*/ 193970 h 283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307443" h="283813">
                    <a:moveTo>
                      <a:pt x="307091" y="169989"/>
                    </a:moveTo>
                    <a:lnTo>
                      <a:pt x="234792" y="138248"/>
                    </a:lnTo>
                    <a:lnTo>
                      <a:pt x="228356" y="134721"/>
                    </a:lnTo>
                    <a:lnTo>
                      <a:pt x="226593" y="132958"/>
                    </a:lnTo>
                    <a:lnTo>
                      <a:pt x="225711" y="130048"/>
                    </a:lnTo>
                    <a:lnTo>
                      <a:pt x="223066" y="123348"/>
                    </a:lnTo>
                    <a:lnTo>
                      <a:pt x="219010" y="123348"/>
                    </a:lnTo>
                    <a:lnTo>
                      <a:pt x="218746" y="118146"/>
                    </a:lnTo>
                    <a:lnTo>
                      <a:pt x="216101" y="116647"/>
                    </a:lnTo>
                    <a:lnTo>
                      <a:pt x="213191" y="109064"/>
                    </a:lnTo>
                    <a:lnTo>
                      <a:pt x="210546" y="105009"/>
                    </a:lnTo>
                    <a:lnTo>
                      <a:pt x="212310" y="100600"/>
                    </a:lnTo>
                    <a:lnTo>
                      <a:pt x="214337" y="98308"/>
                    </a:lnTo>
                    <a:lnTo>
                      <a:pt x="215572" y="97426"/>
                    </a:lnTo>
                    <a:lnTo>
                      <a:pt x="216454" y="95663"/>
                    </a:lnTo>
                    <a:lnTo>
                      <a:pt x="215219" y="95663"/>
                    </a:lnTo>
                    <a:lnTo>
                      <a:pt x="215219" y="96544"/>
                    </a:lnTo>
                    <a:lnTo>
                      <a:pt x="214337" y="95663"/>
                    </a:lnTo>
                    <a:lnTo>
                      <a:pt x="213191" y="96544"/>
                    </a:lnTo>
                    <a:lnTo>
                      <a:pt x="212574" y="95663"/>
                    </a:lnTo>
                    <a:lnTo>
                      <a:pt x="211781" y="94164"/>
                    </a:lnTo>
                    <a:lnTo>
                      <a:pt x="210017" y="94164"/>
                    </a:lnTo>
                    <a:lnTo>
                      <a:pt x="209135" y="93282"/>
                    </a:lnTo>
                    <a:lnTo>
                      <a:pt x="205873" y="94164"/>
                    </a:lnTo>
                    <a:lnTo>
                      <a:pt x="204110" y="95663"/>
                    </a:lnTo>
                    <a:lnTo>
                      <a:pt x="203846" y="95398"/>
                    </a:lnTo>
                    <a:lnTo>
                      <a:pt x="202964" y="95663"/>
                    </a:lnTo>
                    <a:lnTo>
                      <a:pt x="200671" y="96544"/>
                    </a:lnTo>
                    <a:lnTo>
                      <a:pt x="198643" y="95663"/>
                    </a:lnTo>
                    <a:lnTo>
                      <a:pt x="197145" y="96544"/>
                    </a:lnTo>
                    <a:lnTo>
                      <a:pt x="196880" y="97162"/>
                    </a:lnTo>
                    <a:lnTo>
                      <a:pt x="194499" y="97162"/>
                    </a:lnTo>
                    <a:lnTo>
                      <a:pt x="194499" y="97426"/>
                    </a:lnTo>
                    <a:lnTo>
                      <a:pt x="193882" y="97162"/>
                    </a:lnTo>
                    <a:lnTo>
                      <a:pt x="190708" y="96544"/>
                    </a:lnTo>
                    <a:lnTo>
                      <a:pt x="190444" y="89226"/>
                    </a:lnTo>
                    <a:lnTo>
                      <a:pt x="190179" y="82526"/>
                    </a:lnTo>
                    <a:lnTo>
                      <a:pt x="191061" y="76971"/>
                    </a:lnTo>
                    <a:lnTo>
                      <a:pt x="193353" y="75560"/>
                    </a:lnTo>
                    <a:lnTo>
                      <a:pt x="195117" y="72915"/>
                    </a:lnTo>
                    <a:lnTo>
                      <a:pt x="197409" y="68242"/>
                    </a:lnTo>
                    <a:lnTo>
                      <a:pt x="201200" y="63305"/>
                    </a:lnTo>
                    <a:lnTo>
                      <a:pt x="201818" y="61541"/>
                    </a:lnTo>
                    <a:lnTo>
                      <a:pt x="201200" y="58632"/>
                    </a:lnTo>
                    <a:lnTo>
                      <a:pt x="197145" y="52460"/>
                    </a:lnTo>
                    <a:lnTo>
                      <a:pt x="195998" y="51579"/>
                    </a:lnTo>
                    <a:lnTo>
                      <a:pt x="194499" y="50785"/>
                    </a:lnTo>
                    <a:lnTo>
                      <a:pt x="192736" y="50168"/>
                    </a:lnTo>
                    <a:lnTo>
                      <a:pt x="191061" y="47875"/>
                    </a:lnTo>
                    <a:lnTo>
                      <a:pt x="189562" y="44084"/>
                    </a:lnTo>
                    <a:lnTo>
                      <a:pt x="187534" y="41086"/>
                    </a:lnTo>
                    <a:lnTo>
                      <a:pt x="184360" y="37912"/>
                    </a:lnTo>
                    <a:lnTo>
                      <a:pt x="181098" y="35532"/>
                    </a:lnTo>
                    <a:lnTo>
                      <a:pt x="178805" y="33504"/>
                    </a:lnTo>
                    <a:lnTo>
                      <a:pt x="175279" y="31476"/>
                    </a:lnTo>
                    <a:lnTo>
                      <a:pt x="171488" y="24775"/>
                    </a:lnTo>
                    <a:lnTo>
                      <a:pt x="169195" y="21601"/>
                    </a:lnTo>
                    <a:lnTo>
                      <a:pt x="167079" y="19221"/>
                    </a:lnTo>
                    <a:lnTo>
                      <a:pt x="165933" y="18075"/>
                    </a:lnTo>
                    <a:lnTo>
                      <a:pt x="163640" y="16928"/>
                    </a:lnTo>
                    <a:lnTo>
                      <a:pt x="161613" y="16928"/>
                    </a:lnTo>
                    <a:lnTo>
                      <a:pt x="159232" y="15429"/>
                    </a:lnTo>
                    <a:lnTo>
                      <a:pt x="157469" y="14548"/>
                    </a:lnTo>
                    <a:lnTo>
                      <a:pt x="154559" y="11991"/>
                    </a:lnTo>
                    <a:lnTo>
                      <a:pt x="153413" y="11109"/>
                    </a:lnTo>
                    <a:lnTo>
                      <a:pt x="152002" y="10228"/>
                    </a:lnTo>
                    <a:lnTo>
                      <a:pt x="150151" y="9875"/>
                    </a:lnTo>
                    <a:lnTo>
                      <a:pt x="149005" y="10492"/>
                    </a:lnTo>
                    <a:lnTo>
                      <a:pt x="147859" y="9875"/>
                    </a:lnTo>
                    <a:lnTo>
                      <a:pt x="146448" y="11109"/>
                    </a:lnTo>
                    <a:lnTo>
                      <a:pt x="145831" y="10757"/>
                    </a:lnTo>
                    <a:lnTo>
                      <a:pt x="144332" y="9610"/>
                    </a:lnTo>
                    <a:lnTo>
                      <a:pt x="143450" y="9346"/>
                    </a:lnTo>
                    <a:lnTo>
                      <a:pt x="143186" y="8993"/>
                    </a:lnTo>
                    <a:lnTo>
                      <a:pt x="142568" y="8993"/>
                    </a:lnTo>
                    <a:lnTo>
                      <a:pt x="141422" y="9610"/>
                    </a:lnTo>
                    <a:lnTo>
                      <a:pt x="141158" y="9346"/>
                    </a:lnTo>
                    <a:lnTo>
                      <a:pt x="140276" y="8993"/>
                    </a:lnTo>
                    <a:lnTo>
                      <a:pt x="139394" y="8993"/>
                    </a:lnTo>
                    <a:lnTo>
                      <a:pt x="139130" y="8200"/>
                    </a:lnTo>
                    <a:lnTo>
                      <a:pt x="137895" y="7582"/>
                    </a:lnTo>
                    <a:lnTo>
                      <a:pt x="137366" y="8200"/>
                    </a:lnTo>
                    <a:lnTo>
                      <a:pt x="136749" y="8729"/>
                    </a:lnTo>
                    <a:lnTo>
                      <a:pt x="136485" y="8993"/>
                    </a:lnTo>
                    <a:lnTo>
                      <a:pt x="135339" y="9346"/>
                    </a:lnTo>
                    <a:lnTo>
                      <a:pt x="134192" y="9610"/>
                    </a:lnTo>
                    <a:lnTo>
                      <a:pt x="133311" y="9610"/>
                    </a:lnTo>
                    <a:lnTo>
                      <a:pt x="132429" y="9610"/>
                    </a:lnTo>
                    <a:lnTo>
                      <a:pt x="131812" y="9875"/>
                    </a:lnTo>
                    <a:lnTo>
                      <a:pt x="131812" y="10492"/>
                    </a:lnTo>
                    <a:lnTo>
                      <a:pt x="131195" y="11109"/>
                    </a:lnTo>
                    <a:lnTo>
                      <a:pt x="130313" y="8993"/>
                    </a:lnTo>
                    <a:lnTo>
                      <a:pt x="129784" y="7582"/>
                    </a:lnTo>
                    <a:lnTo>
                      <a:pt x="128902" y="6436"/>
                    </a:lnTo>
                    <a:lnTo>
                      <a:pt x="128021" y="5819"/>
                    </a:lnTo>
                    <a:lnTo>
                      <a:pt x="126610" y="5555"/>
                    </a:lnTo>
                    <a:lnTo>
                      <a:pt x="126257" y="7318"/>
                    </a:lnTo>
                    <a:lnTo>
                      <a:pt x="125728" y="7847"/>
                    </a:lnTo>
                    <a:lnTo>
                      <a:pt x="125111" y="8464"/>
                    </a:lnTo>
                    <a:lnTo>
                      <a:pt x="124229" y="8464"/>
                    </a:lnTo>
                    <a:lnTo>
                      <a:pt x="123965" y="9610"/>
                    </a:lnTo>
                    <a:lnTo>
                      <a:pt x="122731" y="9610"/>
                    </a:lnTo>
                    <a:lnTo>
                      <a:pt x="121584" y="10228"/>
                    </a:lnTo>
                    <a:lnTo>
                      <a:pt x="121055" y="10228"/>
                    </a:lnTo>
                    <a:lnTo>
                      <a:pt x="120703" y="10228"/>
                    </a:lnTo>
                    <a:lnTo>
                      <a:pt x="120438" y="10228"/>
                    </a:lnTo>
                    <a:lnTo>
                      <a:pt x="119821" y="9875"/>
                    </a:lnTo>
                    <a:lnTo>
                      <a:pt x="118410" y="10757"/>
                    </a:lnTo>
                    <a:lnTo>
                      <a:pt x="117529" y="10757"/>
                    </a:lnTo>
                    <a:lnTo>
                      <a:pt x="115765" y="11374"/>
                    </a:lnTo>
                    <a:lnTo>
                      <a:pt x="114266" y="11374"/>
                    </a:lnTo>
                    <a:lnTo>
                      <a:pt x="113737" y="10492"/>
                    </a:lnTo>
                    <a:lnTo>
                      <a:pt x="112591" y="9610"/>
                    </a:lnTo>
                    <a:lnTo>
                      <a:pt x="111709" y="8993"/>
                    </a:lnTo>
                    <a:lnTo>
                      <a:pt x="111092" y="7318"/>
                    </a:lnTo>
                    <a:lnTo>
                      <a:pt x="110210" y="6436"/>
                    </a:lnTo>
                    <a:lnTo>
                      <a:pt x="109946" y="4673"/>
                    </a:lnTo>
                    <a:lnTo>
                      <a:pt x="108535" y="4673"/>
                    </a:lnTo>
                    <a:lnTo>
                      <a:pt x="107918" y="4937"/>
                    </a:lnTo>
                    <a:lnTo>
                      <a:pt x="107301" y="4937"/>
                    </a:lnTo>
                    <a:lnTo>
                      <a:pt x="104921" y="3791"/>
                    </a:lnTo>
                    <a:lnTo>
                      <a:pt x="104392" y="2645"/>
                    </a:lnTo>
                    <a:lnTo>
                      <a:pt x="104127" y="2645"/>
                    </a:lnTo>
                    <a:lnTo>
                      <a:pt x="103510" y="2028"/>
                    </a:lnTo>
                    <a:lnTo>
                      <a:pt x="102364" y="0"/>
                    </a:lnTo>
                    <a:lnTo>
                      <a:pt x="101482" y="4937"/>
                    </a:lnTo>
                    <a:lnTo>
                      <a:pt x="102628" y="9346"/>
                    </a:lnTo>
                    <a:lnTo>
                      <a:pt x="99718" y="10492"/>
                    </a:lnTo>
                    <a:lnTo>
                      <a:pt x="99718" y="14019"/>
                    </a:lnTo>
                    <a:lnTo>
                      <a:pt x="97691" y="15165"/>
                    </a:lnTo>
                    <a:lnTo>
                      <a:pt x="97955" y="16928"/>
                    </a:lnTo>
                    <a:lnTo>
                      <a:pt x="97426" y="18075"/>
                    </a:lnTo>
                    <a:lnTo>
                      <a:pt x="95927" y="19485"/>
                    </a:lnTo>
                    <a:lnTo>
                      <a:pt x="94781" y="19221"/>
                    </a:lnTo>
                    <a:lnTo>
                      <a:pt x="94517" y="18956"/>
                    </a:lnTo>
                    <a:lnTo>
                      <a:pt x="94781" y="17457"/>
                    </a:lnTo>
                    <a:lnTo>
                      <a:pt x="94164" y="17457"/>
                    </a:lnTo>
                    <a:lnTo>
                      <a:pt x="93635" y="16928"/>
                    </a:lnTo>
                    <a:lnTo>
                      <a:pt x="93018" y="15782"/>
                    </a:lnTo>
                    <a:lnTo>
                      <a:pt x="92753" y="15429"/>
                    </a:lnTo>
                    <a:lnTo>
                      <a:pt x="91872" y="14548"/>
                    </a:lnTo>
                    <a:lnTo>
                      <a:pt x="91607" y="13402"/>
                    </a:lnTo>
                    <a:lnTo>
                      <a:pt x="90990" y="12520"/>
                    </a:lnTo>
                    <a:lnTo>
                      <a:pt x="90373" y="11374"/>
                    </a:lnTo>
                    <a:lnTo>
                      <a:pt x="89491" y="11109"/>
                    </a:lnTo>
                    <a:lnTo>
                      <a:pt x="87199" y="11109"/>
                    </a:lnTo>
                    <a:lnTo>
                      <a:pt x="86846" y="11374"/>
                    </a:lnTo>
                    <a:lnTo>
                      <a:pt x="86052" y="11374"/>
                    </a:lnTo>
                    <a:lnTo>
                      <a:pt x="85435" y="12873"/>
                    </a:lnTo>
                    <a:lnTo>
                      <a:pt x="85171" y="14900"/>
                    </a:lnTo>
                    <a:lnTo>
                      <a:pt x="83936" y="15429"/>
                    </a:lnTo>
                    <a:lnTo>
                      <a:pt x="82790" y="15782"/>
                    </a:lnTo>
                    <a:lnTo>
                      <a:pt x="82261" y="15165"/>
                    </a:lnTo>
                    <a:lnTo>
                      <a:pt x="82261" y="14548"/>
                    </a:lnTo>
                    <a:lnTo>
                      <a:pt x="81115" y="14283"/>
                    </a:lnTo>
                    <a:lnTo>
                      <a:pt x="79616" y="14283"/>
                    </a:lnTo>
                    <a:lnTo>
                      <a:pt x="78117" y="14283"/>
                    </a:lnTo>
                    <a:lnTo>
                      <a:pt x="77588" y="14283"/>
                    </a:lnTo>
                    <a:lnTo>
                      <a:pt x="76707" y="14548"/>
                    </a:lnTo>
                    <a:lnTo>
                      <a:pt x="75825" y="14283"/>
                    </a:lnTo>
                    <a:lnTo>
                      <a:pt x="74943" y="14900"/>
                    </a:lnTo>
                    <a:lnTo>
                      <a:pt x="74062" y="13666"/>
                    </a:lnTo>
                    <a:lnTo>
                      <a:pt x="74326" y="16928"/>
                    </a:lnTo>
                    <a:lnTo>
                      <a:pt x="72298" y="15429"/>
                    </a:lnTo>
                    <a:lnTo>
                      <a:pt x="70006" y="23629"/>
                    </a:lnTo>
                    <a:lnTo>
                      <a:pt x="70887" y="29448"/>
                    </a:lnTo>
                    <a:lnTo>
                      <a:pt x="70887" y="30594"/>
                    </a:lnTo>
                    <a:lnTo>
                      <a:pt x="70535" y="32358"/>
                    </a:lnTo>
                    <a:lnTo>
                      <a:pt x="67096" y="36414"/>
                    </a:lnTo>
                    <a:lnTo>
                      <a:pt x="66215" y="44878"/>
                    </a:lnTo>
                    <a:lnTo>
                      <a:pt x="66215" y="45759"/>
                    </a:lnTo>
                    <a:lnTo>
                      <a:pt x="65862" y="46641"/>
                    </a:lnTo>
                    <a:lnTo>
                      <a:pt x="65597" y="47875"/>
                    </a:lnTo>
                    <a:lnTo>
                      <a:pt x="66479" y="49022"/>
                    </a:lnTo>
                    <a:lnTo>
                      <a:pt x="65862" y="53695"/>
                    </a:lnTo>
                    <a:lnTo>
                      <a:pt x="65068" y="53695"/>
                    </a:lnTo>
                    <a:lnTo>
                      <a:pt x="64451" y="52813"/>
                    </a:lnTo>
                    <a:lnTo>
                      <a:pt x="63305" y="52813"/>
                    </a:lnTo>
                    <a:lnTo>
                      <a:pt x="62688" y="52813"/>
                    </a:lnTo>
                    <a:lnTo>
                      <a:pt x="56251" y="54224"/>
                    </a:lnTo>
                    <a:lnTo>
                      <a:pt x="56251" y="55722"/>
                    </a:lnTo>
                    <a:lnTo>
                      <a:pt x="55722" y="55370"/>
                    </a:lnTo>
                    <a:lnTo>
                      <a:pt x="54841" y="55722"/>
                    </a:lnTo>
                    <a:lnTo>
                      <a:pt x="51314" y="61806"/>
                    </a:lnTo>
                    <a:lnTo>
                      <a:pt x="50697" y="65333"/>
                    </a:lnTo>
                    <a:lnTo>
                      <a:pt x="49551" y="66214"/>
                    </a:lnTo>
                    <a:lnTo>
                      <a:pt x="48934" y="68242"/>
                    </a:lnTo>
                    <a:lnTo>
                      <a:pt x="48934" y="70270"/>
                    </a:lnTo>
                    <a:lnTo>
                      <a:pt x="47258" y="70887"/>
                    </a:lnTo>
                    <a:lnTo>
                      <a:pt x="47258" y="72034"/>
                    </a:lnTo>
                    <a:lnTo>
                      <a:pt x="46641" y="73532"/>
                    </a:lnTo>
                    <a:lnTo>
                      <a:pt x="44613" y="74061"/>
                    </a:lnTo>
                    <a:lnTo>
                      <a:pt x="43732" y="74679"/>
                    </a:lnTo>
                    <a:lnTo>
                      <a:pt x="42850" y="76971"/>
                    </a:lnTo>
                    <a:lnTo>
                      <a:pt x="43732" y="79352"/>
                    </a:lnTo>
                    <a:lnTo>
                      <a:pt x="43732" y="80762"/>
                    </a:lnTo>
                    <a:lnTo>
                      <a:pt x="43996" y="81908"/>
                    </a:lnTo>
                    <a:lnTo>
                      <a:pt x="41086" y="89226"/>
                    </a:lnTo>
                    <a:lnTo>
                      <a:pt x="41086" y="89844"/>
                    </a:lnTo>
                    <a:lnTo>
                      <a:pt x="42321" y="90990"/>
                    </a:lnTo>
                    <a:lnTo>
                      <a:pt x="40822" y="96809"/>
                    </a:lnTo>
                    <a:lnTo>
                      <a:pt x="41968" y="97162"/>
                    </a:lnTo>
                    <a:lnTo>
                      <a:pt x="41968" y="98572"/>
                    </a:lnTo>
                    <a:lnTo>
                      <a:pt x="39323" y="100953"/>
                    </a:lnTo>
                    <a:lnTo>
                      <a:pt x="39323" y="102363"/>
                    </a:lnTo>
                    <a:lnTo>
                      <a:pt x="38177" y="102363"/>
                    </a:lnTo>
                    <a:lnTo>
                      <a:pt x="37913" y="103245"/>
                    </a:lnTo>
                    <a:lnTo>
                      <a:pt x="37295" y="103245"/>
                    </a:lnTo>
                    <a:lnTo>
                      <a:pt x="37295" y="102099"/>
                    </a:lnTo>
                    <a:lnTo>
                      <a:pt x="33504" y="98308"/>
                    </a:lnTo>
                    <a:lnTo>
                      <a:pt x="30065" y="100953"/>
                    </a:lnTo>
                    <a:lnTo>
                      <a:pt x="28302" y="105009"/>
                    </a:lnTo>
                    <a:lnTo>
                      <a:pt x="27068" y="106155"/>
                    </a:lnTo>
                    <a:lnTo>
                      <a:pt x="28567" y="114619"/>
                    </a:lnTo>
                    <a:lnTo>
                      <a:pt x="27421" y="116647"/>
                    </a:lnTo>
                    <a:lnTo>
                      <a:pt x="27421" y="117528"/>
                    </a:lnTo>
                    <a:lnTo>
                      <a:pt x="26274" y="119556"/>
                    </a:lnTo>
                    <a:lnTo>
                      <a:pt x="25040" y="123083"/>
                    </a:lnTo>
                    <a:lnTo>
                      <a:pt x="23894" y="126874"/>
                    </a:lnTo>
                    <a:lnTo>
                      <a:pt x="23277" y="131812"/>
                    </a:lnTo>
                    <a:lnTo>
                      <a:pt x="23894" y="138689"/>
                    </a:lnTo>
                    <a:lnTo>
                      <a:pt x="24511" y="146712"/>
                    </a:lnTo>
                    <a:lnTo>
                      <a:pt x="23894" y="156058"/>
                    </a:lnTo>
                    <a:lnTo>
                      <a:pt x="20984" y="159497"/>
                    </a:lnTo>
                    <a:lnTo>
                      <a:pt x="18604" y="159497"/>
                    </a:lnTo>
                    <a:lnTo>
                      <a:pt x="17722" y="159849"/>
                    </a:lnTo>
                    <a:lnTo>
                      <a:pt x="17193" y="160995"/>
                    </a:lnTo>
                    <a:lnTo>
                      <a:pt x="15429" y="160731"/>
                    </a:lnTo>
                    <a:lnTo>
                      <a:pt x="14548" y="159497"/>
                    </a:lnTo>
                    <a:lnTo>
                      <a:pt x="14019" y="158703"/>
                    </a:lnTo>
                    <a:lnTo>
                      <a:pt x="12520" y="159232"/>
                    </a:lnTo>
                    <a:lnTo>
                      <a:pt x="10757" y="158086"/>
                    </a:lnTo>
                    <a:lnTo>
                      <a:pt x="10492" y="158703"/>
                    </a:lnTo>
                    <a:lnTo>
                      <a:pt x="9346" y="159232"/>
                    </a:lnTo>
                    <a:lnTo>
                      <a:pt x="8464" y="159497"/>
                    </a:lnTo>
                    <a:lnTo>
                      <a:pt x="5819" y="158703"/>
                    </a:lnTo>
                    <a:lnTo>
                      <a:pt x="5202" y="158086"/>
                    </a:lnTo>
                    <a:lnTo>
                      <a:pt x="4673" y="158968"/>
                    </a:lnTo>
                    <a:lnTo>
                      <a:pt x="4056" y="159232"/>
                    </a:lnTo>
                    <a:lnTo>
                      <a:pt x="3174" y="160114"/>
                    </a:lnTo>
                    <a:lnTo>
                      <a:pt x="3174" y="160995"/>
                    </a:lnTo>
                    <a:lnTo>
                      <a:pt x="3439" y="161524"/>
                    </a:lnTo>
                    <a:lnTo>
                      <a:pt x="3174" y="163641"/>
                    </a:lnTo>
                    <a:lnTo>
                      <a:pt x="4937" y="164170"/>
                    </a:lnTo>
                    <a:lnTo>
                      <a:pt x="3439" y="165404"/>
                    </a:lnTo>
                    <a:lnTo>
                      <a:pt x="4056" y="167432"/>
                    </a:lnTo>
                    <a:lnTo>
                      <a:pt x="3439" y="168578"/>
                    </a:lnTo>
                    <a:lnTo>
                      <a:pt x="2292" y="167432"/>
                    </a:lnTo>
                    <a:lnTo>
                      <a:pt x="1146" y="169195"/>
                    </a:lnTo>
                    <a:lnTo>
                      <a:pt x="529" y="169989"/>
                    </a:lnTo>
                    <a:lnTo>
                      <a:pt x="529" y="171223"/>
                    </a:lnTo>
                    <a:lnTo>
                      <a:pt x="0" y="172105"/>
                    </a:lnTo>
                    <a:lnTo>
                      <a:pt x="529" y="173780"/>
                    </a:lnTo>
                    <a:lnTo>
                      <a:pt x="1146" y="175896"/>
                    </a:lnTo>
                    <a:lnTo>
                      <a:pt x="2645" y="175896"/>
                    </a:lnTo>
                    <a:lnTo>
                      <a:pt x="3439" y="175543"/>
                    </a:lnTo>
                    <a:lnTo>
                      <a:pt x="6084" y="176160"/>
                    </a:lnTo>
                    <a:lnTo>
                      <a:pt x="6084" y="176425"/>
                    </a:lnTo>
                    <a:lnTo>
                      <a:pt x="7583" y="177307"/>
                    </a:lnTo>
                    <a:lnTo>
                      <a:pt x="8993" y="177042"/>
                    </a:lnTo>
                    <a:lnTo>
                      <a:pt x="10492" y="176425"/>
                    </a:lnTo>
                    <a:lnTo>
                      <a:pt x="11021" y="177307"/>
                    </a:lnTo>
                    <a:lnTo>
                      <a:pt x="11991" y="178541"/>
                    </a:lnTo>
                    <a:lnTo>
                      <a:pt x="14548" y="178541"/>
                    </a:lnTo>
                    <a:lnTo>
                      <a:pt x="15165" y="178806"/>
                    </a:lnTo>
                    <a:lnTo>
                      <a:pt x="15694" y="179070"/>
                    </a:lnTo>
                    <a:lnTo>
                      <a:pt x="17722" y="181451"/>
                    </a:lnTo>
                    <a:lnTo>
                      <a:pt x="19750" y="181980"/>
                    </a:lnTo>
                    <a:lnTo>
                      <a:pt x="23012" y="186035"/>
                    </a:lnTo>
                    <a:lnTo>
                      <a:pt x="22748" y="189297"/>
                    </a:lnTo>
                    <a:lnTo>
                      <a:pt x="23894" y="189827"/>
                    </a:lnTo>
                    <a:lnTo>
                      <a:pt x="24775" y="191061"/>
                    </a:lnTo>
                    <a:lnTo>
                      <a:pt x="26274" y="190708"/>
                    </a:lnTo>
                    <a:lnTo>
                      <a:pt x="26539" y="192207"/>
                    </a:lnTo>
                    <a:lnTo>
                      <a:pt x="29448" y="193089"/>
                    </a:lnTo>
                    <a:lnTo>
                      <a:pt x="27421" y="193970"/>
                    </a:lnTo>
                    <a:lnTo>
                      <a:pt x="28302" y="195117"/>
                    </a:lnTo>
                    <a:lnTo>
                      <a:pt x="29096" y="195998"/>
                    </a:lnTo>
                    <a:lnTo>
                      <a:pt x="30594" y="195998"/>
                    </a:lnTo>
                    <a:lnTo>
                      <a:pt x="32622" y="197409"/>
                    </a:lnTo>
                    <a:lnTo>
                      <a:pt x="34121" y="201553"/>
                    </a:lnTo>
                    <a:lnTo>
                      <a:pt x="37031" y="201817"/>
                    </a:lnTo>
                    <a:lnTo>
                      <a:pt x="38442" y="203316"/>
                    </a:lnTo>
                    <a:lnTo>
                      <a:pt x="38442" y="204727"/>
                    </a:lnTo>
                    <a:lnTo>
                      <a:pt x="39676" y="205344"/>
                    </a:lnTo>
                    <a:lnTo>
                      <a:pt x="40205" y="207637"/>
                    </a:lnTo>
                    <a:lnTo>
                      <a:pt x="40470" y="209135"/>
                    </a:lnTo>
                    <a:lnTo>
                      <a:pt x="41351" y="211163"/>
                    </a:lnTo>
                    <a:lnTo>
                      <a:pt x="41704" y="214337"/>
                    </a:lnTo>
                    <a:lnTo>
                      <a:pt x="42585" y="215483"/>
                    </a:lnTo>
                    <a:lnTo>
                      <a:pt x="43467" y="217247"/>
                    </a:lnTo>
                    <a:lnTo>
                      <a:pt x="44878" y="219010"/>
                    </a:lnTo>
                    <a:lnTo>
                      <a:pt x="44878" y="219892"/>
                    </a:lnTo>
                    <a:lnTo>
                      <a:pt x="44878" y="221391"/>
                    </a:lnTo>
                    <a:lnTo>
                      <a:pt x="45142" y="221920"/>
                    </a:lnTo>
                    <a:lnTo>
                      <a:pt x="45759" y="222802"/>
                    </a:lnTo>
                    <a:lnTo>
                      <a:pt x="46906" y="227210"/>
                    </a:lnTo>
                    <a:lnTo>
                      <a:pt x="46906" y="228709"/>
                    </a:lnTo>
                    <a:lnTo>
                      <a:pt x="51314" y="232412"/>
                    </a:lnTo>
                    <a:lnTo>
                      <a:pt x="51931" y="233029"/>
                    </a:lnTo>
                    <a:lnTo>
                      <a:pt x="51050" y="233911"/>
                    </a:lnTo>
                    <a:lnTo>
                      <a:pt x="51931" y="235939"/>
                    </a:lnTo>
                    <a:lnTo>
                      <a:pt x="52725" y="236203"/>
                    </a:lnTo>
                    <a:lnTo>
                      <a:pt x="55105" y="233911"/>
                    </a:lnTo>
                    <a:lnTo>
                      <a:pt x="55987" y="233911"/>
                    </a:lnTo>
                    <a:lnTo>
                      <a:pt x="57398" y="234175"/>
                    </a:lnTo>
                    <a:lnTo>
                      <a:pt x="58368" y="235939"/>
                    </a:lnTo>
                    <a:lnTo>
                      <a:pt x="60043" y="235321"/>
                    </a:lnTo>
                    <a:lnTo>
                      <a:pt x="61806" y="236203"/>
                    </a:lnTo>
                    <a:lnTo>
                      <a:pt x="63305" y="237438"/>
                    </a:lnTo>
                    <a:lnTo>
                      <a:pt x="62688" y="237967"/>
                    </a:lnTo>
                    <a:lnTo>
                      <a:pt x="62688" y="239465"/>
                    </a:lnTo>
                    <a:lnTo>
                      <a:pt x="63305" y="241229"/>
                    </a:lnTo>
                    <a:lnTo>
                      <a:pt x="61453" y="242904"/>
                    </a:lnTo>
                    <a:lnTo>
                      <a:pt x="61806" y="249957"/>
                    </a:lnTo>
                    <a:lnTo>
                      <a:pt x="67361" y="254630"/>
                    </a:lnTo>
                    <a:lnTo>
                      <a:pt x="67096" y="257540"/>
                    </a:lnTo>
                    <a:lnTo>
                      <a:pt x="68771" y="258686"/>
                    </a:lnTo>
                    <a:lnTo>
                      <a:pt x="85171" y="258069"/>
                    </a:lnTo>
                    <a:lnTo>
                      <a:pt x="89227" y="259832"/>
                    </a:lnTo>
                    <a:lnTo>
                      <a:pt x="90108" y="260714"/>
                    </a:lnTo>
                    <a:lnTo>
                      <a:pt x="111709" y="276496"/>
                    </a:lnTo>
                    <a:lnTo>
                      <a:pt x="112591" y="278789"/>
                    </a:lnTo>
                    <a:lnTo>
                      <a:pt x="114883" y="278260"/>
                    </a:lnTo>
                    <a:lnTo>
                      <a:pt x="121584" y="279405"/>
                    </a:lnTo>
                    <a:lnTo>
                      <a:pt x="122202" y="277907"/>
                    </a:lnTo>
                    <a:lnTo>
                      <a:pt x="123348" y="277907"/>
                    </a:lnTo>
                    <a:lnTo>
                      <a:pt x="123700" y="279405"/>
                    </a:lnTo>
                    <a:lnTo>
                      <a:pt x="125728" y="279670"/>
                    </a:lnTo>
                    <a:lnTo>
                      <a:pt x="126257" y="278260"/>
                    </a:lnTo>
                    <a:lnTo>
                      <a:pt x="127139" y="279670"/>
                    </a:lnTo>
                    <a:lnTo>
                      <a:pt x="131547" y="281433"/>
                    </a:lnTo>
                    <a:lnTo>
                      <a:pt x="134986" y="281169"/>
                    </a:lnTo>
                    <a:lnTo>
                      <a:pt x="136220" y="281169"/>
                    </a:lnTo>
                    <a:lnTo>
                      <a:pt x="137631" y="281698"/>
                    </a:lnTo>
                    <a:lnTo>
                      <a:pt x="141422" y="281698"/>
                    </a:lnTo>
                    <a:lnTo>
                      <a:pt x="141775" y="282315"/>
                    </a:lnTo>
                    <a:lnTo>
                      <a:pt x="143450" y="282932"/>
                    </a:lnTo>
                    <a:lnTo>
                      <a:pt x="143803" y="282315"/>
                    </a:lnTo>
                    <a:lnTo>
                      <a:pt x="144949" y="283814"/>
                    </a:lnTo>
                    <a:lnTo>
                      <a:pt x="146095" y="283814"/>
                    </a:lnTo>
                    <a:lnTo>
                      <a:pt x="146712" y="282315"/>
                    </a:lnTo>
                    <a:lnTo>
                      <a:pt x="150151" y="277907"/>
                    </a:lnTo>
                    <a:lnTo>
                      <a:pt x="152796" y="273322"/>
                    </a:lnTo>
                    <a:lnTo>
                      <a:pt x="159497" y="268649"/>
                    </a:lnTo>
                    <a:lnTo>
                      <a:pt x="172898" y="262213"/>
                    </a:lnTo>
                    <a:lnTo>
                      <a:pt x="172898" y="263359"/>
                    </a:lnTo>
                    <a:lnTo>
                      <a:pt x="175014" y="264505"/>
                    </a:lnTo>
                    <a:lnTo>
                      <a:pt x="175896" y="265651"/>
                    </a:lnTo>
                    <a:lnTo>
                      <a:pt x="177307" y="266886"/>
                    </a:lnTo>
                    <a:lnTo>
                      <a:pt x="179335" y="269178"/>
                    </a:lnTo>
                    <a:lnTo>
                      <a:pt x="181098" y="271294"/>
                    </a:lnTo>
                    <a:lnTo>
                      <a:pt x="187534" y="271294"/>
                    </a:lnTo>
                    <a:lnTo>
                      <a:pt x="188681" y="270324"/>
                    </a:lnTo>
                    <a:lnTo>
                      <a:pt x="190179" y="270324"/>
                    </a:lnTo>
                    <a:lnTo>
                      <a:pt x="191061" y="270324"/>
                    </a:lnTo>
                    <a:lnTo>
                      <a:pt x="191943" y="270324"/>
                    </a:lnTo>
                    <a:lnTo>
                      <a:pt x="193353" y="269178"/>
                    </a:lnTo>
                    <a:lnTo>
                      <a:pt x="196527" y="271823"/>
                    </a:lnTo>
                    <a:lnTo>
                      <a:pt x="200319" y="266268"/>
                    </a:lnTo>
                    <a:lnTo>
                      <a:pt x="202082" y="264858"/>
                    </a:lnTo>
                    <a:lnTo>
                      <a:pt x="207989" y="265122"/>
                    </a:lnTo>
                    <a:lnTo>
                      <a:pt x="216454" y="262742"/>
                    </a:lnTo>
                    <a:lnTo>
                      <a:pt x="220156" y="260714"/>
                    </a:lnTo>
                    <a:lnTo>
                      <a:pt x="221655" y="256041"/>
                    </a:lnTo>
                    <a:lnTo>
                      <a:pt x="229238" y="251368"/>
                    </a:lnTo>
                    <a:lnTo>
                      <a:pt x="239994" y="247312"/>
                    </a:lnTo>
                    <a:lnTo>
                      <a:pt x="263976" y="247930"/>
                    </a:lnTo>
                    <a:lnTo>
                      <a:pt x="307443" y="19397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2" name="Freihandform: Form 1811">
                <a:extLst>
                  <a:ext uri="{FF2B5EF4-FFF2-40B4-BE49-F238E27FC236}">
                    <a16:creationId xmlns:a16="http://schemas.microsoft.com/office/drawing/2014/main" id="{DA795A3F-99B4-BAF2-FF88-C38A05A8CAAD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3" name="Freihandform: Form 1812">
                <a:extLst>
                  <a:ext uri="{FF2B5EF4-FFF2-40B4-BE49-F238E27FC236}">
                    <a16:creationId xmlns:a16="http://schemas.microsoft.com/office/drawing/2014/main" id="{986C7316-A224-475E-7E74-89912DE21A87}"/>
                  </a:ext>
                </a:extLst>
              </p:cNvPr>
              <p:cNvSpPr/>
              <p:nvPr/>
            </p:nvSpPr>
            <p:spPr>
              <a:xfrm>
                <a:off x="4255347" y="3823906"/>
                <a:ext cx="169812" cy="285224"/>
              </a:xfrm>
              <a:custGeom>
                <a:avLst/>
                <a:gdLst>
                  <a:gd name="connsiteX0" fmla="*/ 120791 w 169812"/>
                  <a:gd name="connsiteY0" fmla="*/ 617 h 285224"/>
                  <a:gd name="connsiteX1" fmla="*/ 129255 w 169812"/>
                  <a:gd name="connsiteY1" fmla="*/ 0 h 285224"/>
                  <a:gd name="connsiteX2" fmla="*/ 131283 w 169812"/>
                  <a:gd name="connsiteY2" fmla="*/ 2645 h 285224"/>
                  <a:gd name="connsiteX3" fmla="*/ 130136 w 169812"/>
                  <a:gd name="connsiteY3" fmla="*/ 5290 h 285224"/>
                  <a:gd name="connsiteX4" fmla="*/ 130930 w 169812"/>
                  <a:gd name="connsiteY4" fmla="*/ 7847 h 285224"/>
                  <a:gd name="connsiteX5" fmla="*/ 131812 w 169812"/>
                  <a:gd name="connsiteY5" fmla="*/ 8464 h 285224"/>
                  <a:gd name="connsiteX6" fmla="*/ 133046 w 169812"/>
                  <a:gd name="connsiteY6" fmla="*/ 7582 h 285224"/>
                  <a:gd name="connsiteX7" fmla="*/ 134192 w 169812"/>
                  <a:gd name="connsiteY7" fmla="*/ 9081 h 285224"/>
                  <a:gd name="connsiteX8" fmla="*/ 135338 w 169812"/>
                  <a:gd name="connsiteY8" fmla="*/ 9081 h 285224"/>
                  <a:gd name="connsiteX9" fmla="*/ 134721 w 169812"/>
                  <a:gd name="connsiteY9" fmla="*/ 11109 h 285224"/>
                  <a:gd name="connsiteX10" fmla="*/ 135955 w 169812"/>
                  <a:gd name="connsiteY10" fmla="*/ 9963 h 285224"/>
                  <a:gd name="connsiteX11" fmla="*/ 137719 w 169812"/>
                  <a:gd name="connsiteY11" fmla="*/ 10492 h 285224"/>
                  <a:gd name="connsiteX12" fmla="*/ 138865 w 169812"/>
                  <a:gd name="connsiteY12" fmla="*/ 14019 h 285224"/>
                  <a:gd name="connsiteX13" fmla="*/ 137983 w 169812"/>
                  <a:gd name="connsiteY13" fmla="*/ 15429 h 285224"/>
                  <a:gd name="connsiteX14" fmla="*/ 139394 w 169812"/>
                  <a:gd name="connsiteY14" fmla="*/ 17193 h 285224"/>
                  <a:gd name="connsiteX15" fmla="*/ 139130 w 169812"/>
                  <a:gd name="connsiteY15" fmla="*/ 22747 h 285224"/>
                  <a:gd name="connsiteX16" fmla="*/ 142921 w 169812"/>
                  <a:gd name="connsiteY16" fmla="*/ 24511 h 285224"/>
                  <a:gd name="connsiteX17" fmla="*/ 143185 w 169812"/>
                  <a:gd name="connsiteY17" fmla="*/ 25921 h 285224"/>
                  <a:gd name="connsiteX18" fmla="*/ 142656 w 169812"/>
                  <a:gd name="connsiteY18" fmla="*/ 28302 h 285224"/>
                  <a:gd name="connsiteX19" fmla="*/ 142392 w 169812"/>
                  <a:gd name="connsiteY19" fmla="*/ 29801 h 285224"/>
                  <a:gd name="connsiteX20" fmla="*/ 143538 w 169812"/>
                  <a:gd name="connsiteY20" fmla="*/ 30330 h 285224"/>
                  <a:gd name="connsiteX21" fmla="*/ 144420 w 169812"/>
                  <a:gd name="connsiteY21" fmla="*/ 32358 h 285224"/>
                  <a:gd name="connsiteX22" fmla="*/ 143538 w 169812"/>
                  <a:gd name="connsiteY22" fmla="*/ 34738 h 285224"/>
                  <a:gd name="connsiteX23" fmla="*/ 144684 w 169812"/>
                  <a:gd name="connsiteY23" fmla="*/ 38177 h 285224"/>
                  <a:gd name="connsiteX24" fmla="*/ 143538 w 169812"/>
                  <a:gd name="connsiteY24" fmla="*/ 41704 h 285224"/>
                  <a:gd name="connsiteX25" fmla="*/ 142656 w 169812"/>
                  <a:gd name="connsiteY25" fmla="*/ 47523 h 285224"/>
                  <a:gd name="connsiteX26" fmla="*/ 142656 w 169812"/>
                  <a:gd name="connsiteY26" fmla="*/ 51931 h 285224"/>
                  <a:gd name="connsiteX27" fmla="*/ 143803 w 169812"/>
                  <a:gd name="connsiteY27" fmla="*/ 53695 h 285224"/>
                  <a:gd name="connsiteX28" fmla="*/ 143538 w 169812"/>
                  <a:gd name="connsiteY28" fmla="*/ 56340 h 285224"/>
                  <a:gd name="connsiteX29" fmla="*/ 145566 w 169812"/>
                  <a:gd name="connsiteY29" fmla="*/ 61806 h 285224"/>
                  <a:gd name="connsiteX30" fmla="*/ 145566 w 169812"/>
                  <a:gd name="connsiteY30" fmla="*/ 64187 h 285224"/>
                  <a:gd name="connsiteX31" fmla="*/ 146448 w 169812"/>
                  <a:gd name="connsiteY31" fmla="*/ 64187 h 285224"/>
                  <a:gd name="connsiteX32" fmla="*/ 151120 w 169812"/>
                  <a:gd name="connsiteY32" fmla="*/ 68859 h 285224"/>
                  <a:gd name="connsiteX33" fmla="*/ 153413 w 169812"/>
                  <a:gd name="connsiteY33" fmla="*/ 74061 h 285224"/>
                  <a:gd name="connsiteX34" fmla="*/ 157204 w 169812"/>
                  <a:gd name="connsiteY34" fmla="*/ 76442 h 285224"/>
                  <a:gd name="connsiteX35" fmla="*/ 151385 w 169812"/>
                  <a:gd name="connsiteY35" fmla="*/ 77853 h 285224"/>
                  <a:gd name="connsiteX36" fmla="*/ 147594 w 169812"/>
                  <a:gd name="connsiteY36" fmla="*/ 76442 h 285224"/>
                  <a:gd name="connsiteX37" fmla="*/ 144067 w 169812"/>
                  <a:gd name="connsiteY37" fmla="*/ 75296 h 285224"/>
                  <a:gd name="connsiteX38" fmla="*/ 144067 w 169812"/>
                  <a:gd name="connsiteY38" fmla="*/ 77853 h 285224"/>
                  <a:gd name="connsiteX39" fmla="*/ 140276 w 169812"/>
                  <a:gd name="connsiteY39" fmla="*/ 76706 h 285224"/>
                  <a:gd name="connsiteX40" fmla="*/ 137366 w 169812"/>
                  <a:gd name="connsiteY40" fmla="*/ 79087 h 285224"/>
                  <a:gd name="connsiteX41" fmla="*/ 132164 w 169812"/>
                  <a:gd name="connsiteY41" fmla="*/ 76442 h 285224"/>
                  <a:gd name="connsiteX42" fmla="*/ 124582 w 169812"/>
                  <a:gd name="connsiteY42" fmla="*/ 76442 h 285224"/>
                  <a:gd name="connsiteX43" fmla="*/ 123436 w 169812"/>
                  <a:gd name="connsiteY43" fmla="*/ 80498 h 285224"/>
                  <a:gd name="connsiteX44" fmla="*/ 119909 w 169812"/>
                  <a:gd name="connsiteY44" fmla="*/ 86669 h 285224"/>
                  <a:gd name="connsiteX45" fmla="*/ 133046 w 169812"/>
                  <a:gd name="connsiteY45" fmla="*/ 101482 h 285224"/>
                  <a:gd name="connsiteX46" fmla="*/ 144420 w 169812"/>
                  <a:gd name="connsiteY46" fmla="*/ 109946 h 285224"/>
                  <a:gd name="connsiteX47" fmla="*/ 146712 w 169812"/>
                  <a:gd name="connsiteY47" fmla="*/ 114354 h 285224"/>
                  <a:gd name="connsiteX48" fmla="*/ 151120 w 169812"/>
                  <a:gd name="connsiteY48" fmla="*/ 123700 h 285224"/>
                  <a:gd name="connsiteX49" fmla="*/ 151120 w 169812"/>
                  <a:gd name="connsiteY49" fmla="*/ 126257 h 285224"/>
                  <a:gd name="connsiteX50" fmla="*/ 154030 w 169812"/>
                  <a:gd name="connsiteY50" fmla="*/ 132164 h 285224"/>
                  <a:gd name="connsiteX51" fmla="*/ 155441 w 169812"/>
                  <a:gd name="connsiteY51" fmla="*/ 132164 h 285224"/>
                  <a:gd name="connsiteX52" fmla="*/ 155176 w 169812"/>
                  <a:gd name="connsiteY52" fmla="*/ 135339 h 285224"/>
                  <a:gd name="connsiteX53" fmla="*/ 154030 w 169812"/>
                  <a:gd name="connsiteY53" fmla="*/ 137983 h 285224"/>
                  <a:gd name="connsiteX54" fmla="*/ 152531 w 169812"/>
                  <a:gd name="connsiteY54" fmla="*/ 140893 h 285224"/>
                  <a:gd name="connsiteX55" fmla="*/ 153413 w 169812"/>
                  <a:gd name="connsiteY55" fmla="*/ 142039 h 285224"/>
                  <a:gd name="connsiteX56" fmla="*/ 152002 w 169812"/>
                  <a:gd name="connsiteY56" fmla="*/ 142039 h 285224"/>
                  <a:gd name="connsiteX57" fmla="*/ 146977 w 169812"/>
                  <a:gd name="connsiteY57" fmla="*/ 146977 h 285224"/>
                  <a:gd name="connsiteX58" fmla="*/ 144684 w 169812"/>
                  <a:gd name="connsiteY58" fmla="*/ 156587 h 285224"/>
                  <a:gd name="connsiteX59" fmla="*/ 142392 w 169812"/>
                  <a:gd name="connsiteY59" fmla="*/ 158086 h 285224"/>
                  <a:gd name="connsiteX60" fmla="*/ 138865 w 169812"/>
                  <a:gd name="connsiteY60" fmla="*/ 168313 h 285224"/>
                  <a:gd name="connsiteX61" fmla="*/ 137366 w 169812"/>
                  <a:gd name="connsiteY61" fmla="*/ 169724 h 285224"/>
                  <a:gd name="connsiteX62" fmla="*/ 133046 w 169812"/>
                  <a:gd name="connsiteY62" fmla="*/ 171752 h 285224"/>
                  <a:gd name="connsiteX63" fmla="*/ 130930 w 169812"/>
                  <a:gd name="connsiteY63" fmla="*/ 174133 h 285224"/>
                  <a:gd name="connsiteX64" fmla="*/ 130401 w 169812"/>
                  <a:gd name="connsiteY64" fmla="*/ 176160 h 285224"/>
                  <a:gd name="connsiteX65" fmla="*/ 131812 w 169812"/>
                  <a:gd name="connsiteY65" fmla="*/ 178188 h 285224"/>
                  <a:gd name="connsiteX66" fmla="*/ 134721 w 169812"/>
                  <a:gd name="connsiteY66" fmla="*/ 178541 h 285224"/>
                  <a:gd name="connsiteX67" fmla="*/ 137719 w 169812"/>
                  <a:gd name="connsiteY67" fmla="*/ 184625 h 285224"/>
                  <a:gd name="connsiteX68" fmla="*/ 134721 w 169812"/>
                  <a:gd name="connsiteY68" fmla="*/ 190444 h 285224"/>
                  <a:gd name="connsiteX69" fmla="*/ 133311 w 169812"/>
                  <a:gd name="connsiteY69" fmla="*/ 193970 h 285224"/>
                  <a:gd name="connsiteX70" fmla="*/ 136220 w 169812"/>
                  <a:gd name="connsiteY70" fmla="*/ 196880 h 285224"/>
                  <a:gd name="connsiteX71" fmla="*/ 135074 w 169812"/>
                  <a:gd name="connsiteY71" fmla="*/ 203316 h 285224"/>
                  <a:gd name="connsiteX72" fmla="*/ 137719 w 169812"/>
                  <a:gd name="connsiteY72" fmla="*/ 210899 h 285224"/>
                  <a:gd name="connsiteX73" fmla="*/ 139130 w 169812"/>
                  <a:gd name="connsiteY73" fmla="*/ 212927 h 285224"/>
                  <a:gd name="connsiteX74" fmla="*/ 144067 w 169812"/>
                  <a:gd name="connsiteY74" fmla="*/ 215836 h 285224"/>
                  <a:gd name="connsiteX75" fmla="*/ 145566 w 169812"/>
                  <a:gd name="connsiteY75" fmla="*/ 218217 h 285224"/>
                  <a:gd name="connsiteX76" fmla="*/ 145566 w 169812"/>
                  <a:gd name="connsiteY76" fmla="*/ 223154 h 285224"/>
                  <a:gd name="connsiteX77" fmla="*/ 147594 w 169812"/>
                  <a:gd name="connsiteY77" fmla="*/ 225182 h 285224"/>
                  <a:gd name="connsiteX78" fmla="*/ 144684 w 169812"/>
                  <a:gd name="connsiteY78" fmla="*/ 225447 h 285224"/>
                  <a:gd name="connsiteX79" fmla="*/ 149005 w 169812"/>
                  <a:gd name="connsiteY79" fmla="*/ 234175 h 285224"/>
                  <a:gd name="connsiteX80" fmla="*/ 161613 w 169812"/>
                  <a:gd name="connsiteY80" fmla="*/ 248811 h 285224"/>
                  <a:gd name="connsiteX81" fmla="*/ 164522 w 169812"/>
                  <a:gd name="connsiteY81" fmla="*/ 248811 h 285224"/>
                  <a:gd name="connsiteX82" fmla="*/ 165404 w 169812"/>
                  <a:gd name="connsiteY82" fmla="*/ 251721 h 285224"/>
                  <a:gd name="connsiteX83" fmla="*/ 166550 w 169812"/>
                  <a:gd name="connsiteY83" fmla="*/ 251721 h 285224"/>
                  <a:gd name="connsiteX84" fmla="*/ 168049 w 169812"/>
                  <a:gd name="connsiteY84" fmla="*/ 253749 h 285224"/>
                  <a:gd name="connsiteX85" fmla="*/ 168313 w 169812"/>
                  <a:gd name="connsiteY85" fmla="*/ 255776 h 285224"/>
                  <a:gd name="connsiteX86" fmla="*/ 167167 w 169812"/>
                  <a:gd name="connsiteY86" fmla="*/ 256658 h 285224"/>
                  <a:gd name="connsiteX87" fmla="*/ 167167 w 169812"/>
                  <a:gd name="connsiteY87" fmla="*/ 259039 h 285224"/>
                  <a:gd name="connsiteX88" fmla="*/ 168313 w 169812"/>
                  <a:gd name="connsiteY88" fmla="*/ 259039 h 285224"/>
                  <a:gd name="connsiteX89" fmla="*/ 168313 w 169812"/>
                  <a:gd name="connsiteY89" fmla="*/ 261595 h 285224"/>
                  <a:gd name="connsiteX90" fmla="*/ 167167 w 169812"/>
                  <a:gd name="connsiteY90" fmla="*/ 263359 h 285224"/>
                  <a:gd name="connsiteX91" fmla="*/ 169812 w 169812"/>
                  <a:gd name="connsiteY91" fmla="*/ 270060 h 285224"/>
                  <a:gd name="connsiteX92" fmla="*/ 169812 w 169812"/>
                  <a:gd name="connsiteY92" fmla="*/ 270412 h 285224"/>
                  <a:gd name="connsiteX93" fmla="*/ 169460 w 169812"/>
                  <a:gd name="connsiteY93" fmla="*/ 271823 h 285224"/>
                  <a:gd name="connsiteX94" fmla="*/ 168313 w 169812"/>
                  <a:gd name="connsiteY94" fmla="*/ 270677 h 285224"/>
                  <a:gd name="connsiteX95" fmla="*/ 167167 w 169812"/>
                  <a:gd name="connsiteY95" fmla="*/ 271823 h 285224"/>
                  <a:gd name="connsiteX96" fmla="*/ 167167 w 169812"/>
                  <a:gd name="connsiteY96" fmla="*/ 277113 h 285224"/>
                  <a:gd name="connsiteX97" fmla="*/ 169460 w 169812"/>
                  <a:gd name="connsiteY97" fmla="*/ 282668 h 285224"/>
                  <a:gd name="connsiteX98" fmla="*/ 167167 w 169812"/>
                  <a:gd name="connsiteY98" fmla="*/ 285225 h 285224"/>
                  <a:gd name="connsiteX99" fmla="*/ 166285 w 169812"/>
                  <a:gd name="connsiteY99" fmla="*/ 282315 h 285224"/>
                  <a:gd name="connsiteX100" fmla="*/ 163640 w 169812"/>
                  <a:gd name="connsiteY100" fmla="*/ 280904 h 285224"/>
                  <a:gd name="connsiteX101" fmla="*/ 159232 w 169812"/>
                  <a:gd name="connsiteY101" fmla="*/ 277642 h 285224"/>
                  <a:gd name="connsiteX102" fmla="*/ 154912 w 169812"/>
                  <a:gd name="connsiteY102" fmla="*/ 276760 h 285224"/>
                  <a:gd name="connsiteX103" fmla="*/ 151385 w 169812"/>
                  <a:gd name="connsiteY103" fmla="*/ 278259 h 285224"/>
                  <a:gd name="connsiteX104" fmla="*/ 149005 w 169812"/>
                  <a:gd name="connsiteY104" fmla="*/ 275350 h 285224"/>
                  <a:gd name="connsiteX105" fmla="*/ 147329 w 169812"/>
                  <a:gd name="connsiteY105" fmla="*/ 275350 h 285224"/>
                  <a:gd name="connsiteX106" fmla="*/ 147329 w 169812"/>
                  <a:gd name="connsiteY106" fmla="*/ 276231 h 285224"/>
                  <a:gd name="connsiteX107" fmla="*/ 146448 w 169812"/>
                  <a:gd name="connsiteY107" fmla="*/ 275350 h 285224"/>
                  <a:gd name="connsiteX108" fmla="*/ 145830 w 169812"/>
                  <a:gd name="connsiteY108" fmla="*/ 276760 h 285224"/>
                  <a:gd name="connsiteX109" fmla="*/ 143185 w 169812"/>
                  <a:gd name="connsiteY109" fmla="*/ 275350 h 285224"/>
                  <a:gd name="connsiteX110" fmla="*/ 143185 w 169812"/>
                  <a:gd name="connsiteY110" fmla="*/ 276231 h 285224"/>
                  <a:gd name="connsiteX111" fmla="*/ 141510 w 169812"/>
                  <a:gd name="connsiteY111" fmla="*/ 276231 h 285224"/>
                  <a:gd name="connsiteX112" fmla="*/ 140893 w 169812"/>
                  <a:gd name="connsiteY112" fmla="*/ 273322 h 285224"/>
                  <a:gd name="connsiteX113" fmla="*/ 138601 w 169812"/>
                  <a:gd name="connsiteY113" fmla="*/ 274733 h 285224"/>
                  <a:gd name="connsiteX114" fmla="*/ 138601 w 169812"/>
                  <a:gd name="connsiteY114" fmla="*/ 273322 h 285224"/>
                  <a:gd name="connsiteX115" fmla="*/ 137983 w 169812"/>
                  <a:gd name="connsiteY115" fmla="*/ 273851 h 285224"/>
                  <a:gd name="connsiteX116" fmla="*/ 137719 w 169812"/>
                  <a:gd name="connsiteY116" fmla="*/ 272440 h 285224"/>
                  <a:gd name="connsiteX117" fmla="*/ 137719 w 169812"/>
                  <a:gd name="connsiteY117" fmla="*/ 273322 h 285224"/>
                  <a:gd name="connsiteX118" fmla="*/ 134721 w 169812"/>
                  <a:gd name="connsiteY118" fmla="*/ 270677 h 285224"/>
                  <a:gd name="connsiteX119" fmla="*/ 134192 w 169812"/>
                  <a:gd name="connsiteY119" fmla="*/ 271823 h 285224"/>
                  <a:gd name="connsiteX120" fmla="*/ 128373 w 169812"/>
                  <a:gd name="connsiteY120" fmla="*/ 272176 h 285224"/>
                  <a:gd name="connsiteX121" fmla="*/ 106155 w 169812"/>
                  <a:gd name="connsiteY121" fmla="*/ 271823 h 285224"/>
                  <a:gd name="connsiteX122" fmla="*/ 106155 w 169812"/>
                  <a:gd name="connsiteY122" fmla="*/ 270412 h 285224"/>
                  <a:gd name="connsiteX123" fmla="*/ 105273 w 169812"/>
                  <a:gd name="connsiteY123" fmla="*/ 269531 h 285224"/>
                  <a:gd name="connsiteX124" fmla="*/ 103245 w 169812"/>
                  <a:gd name="connsiteY124" fmla="*/ 268914 h 285224"/>
                  <a:gd name="connsiteX125" fmla="*/ 96280 w 169812"/>
                  <a:gd name="connsiteY125" fmla="*/ 270060 h 285224"/>
                  <a:gd name="connsiteX126" fmla="*/ 95398 w 169812"/>
                  <a:gd name="connsiteY126" fmla="*/ 269531 h 285224"/>
                  <a:gd name="connsiteX127" fmla="*/ 94517 w 169812"/>
                  <a:gd name="connsiteY127" fmla="*/ 270060 h 285224"/>
                  <a:gd name="connsiteX128" fmla="*/ 85171 w 169812"/>
                  <a:gd name="connsiteY128" fmla="*/ 268032 h 285224"/>
                  <a:gd name="connsiteX129" fmla="*/ 82878 w 169812"/>
                  <a:gd name="connsiteY129" fmla="*/ 268914 h 285224"/>
                  <a:gd name="connsiteX130" fmla="*/ 72033 w 169812"/>
                  <a:gd name="connsiteY130" fmla="*/ 268914 h 285224"/>
                  <a:gd name="connsiteX131" fmla="*/ 70887 w 169812"/>
                  <a:gd name="connsiteY131" fmla="*/ 267767 h 285224"/>
                  <a:gd name="connsiteX132" fmla="*/ 63922 w 169812"/>
                  <a:gd name="connsiteY132" fmla="*/ 268649 h 285224"/>
                  <a:gd name="connsiteX133" fmla="*/ 63305 w 169812"/>
                  <a:gd name="connsiteY133" fmla="*/ 270060 h 285224"/>
                  <a:gd name="connsiteX134" fmla="*/ 63040 w 169812"/>
                  <a:gd name="connsiteY134" fmla="*/ 271823 h 285224"/>
                  <a:gd name="connsiteX135" fmla="*/ 34121 w 169812"/>
                  <a:gd name="connsiteY135" fmla="*/ 271823 h 285224"/>
                  <a:gd name="connsiteX136" fmla="*/ 29801 w 169812"/>
                  <a:gd name="connsiteY136" fmla="*/ 270060 h 285224"/>
                  <a:gd name="connsiteX137" fmla="*/ 29448 w 169812"/>
                  <a:gd name="connsiteY137" fmla="*/ 267767 h 285224"/>
                  <a:gd name="connsiteX138" fmla="*/ 28919 w 169812"/>
                  <a:gd name="connsiteY138" fmla="*/ 265387 h 285224"/>
                  <a:gd name="connsiteX139" fmla="*/ 28919 w 169812"/>
                  <a:gd name="connsiteY139" fmla="*/ 263976 h 285224"/>
                  <a:gd name="connsiteX140" fmla="*/ 29448 w 169812"/>
                  <a:gd name="connsiteY140" fmla="*/ 262213 h 285224"/>
                  <a:gd name="connsiteX141" fmla="*/ 30065 w 169812"/>
                  <a:gd name="connsiteY141" fmla="*/ 260802 h 285224"/>
                  <a:gd name="connsiteX142" fmla="*/ 32975 w 169812"/>
                  <a:gd name="connsiteY142" fmla="*/ 260449 h 285224"/>
                  <a:gd name="connsiteX143" fmla="*/ 35267 w 169812"/>
                  <a:gd name="connsiteY143" fmla="*/ 259568 h 285224"/>
                  <a:gd name="connsiteX144" fmla="*/ 35884 w 169812"/>
                  <a:gd name="connsiteY144" fmla="*/ 258422 h 285224"/>
                  <a:gd name="connsiteX145" fmla="*/ 35267 w 169812"/>
                  <a:gd name="connsiteY145" fmla="*/ 257540 h 285224"/>
                  <a:gd name="connsiteX146" fmla="*/ 35884 w 169812"/>
                  <a:gd name="connsiteY146" fmla="*/ 256658 h 285224"/>
                  <a:gd name="connsiteX147" fmla="*/ 36766 w 169812"/>
                  <a:gd name="connsiteY147" fmla="*/ 254895 h 285224"/>
                  <a:gd name="connsiteX148" fmla="*/ 36502 w 169812"/>
                  <a:gd name="connsiteY148" fmla="*/ 253749 h 285224"/>
                  <a:gd name="connsiteX149" fmla="*/ 35620 w 169812"/>
                  <a:gd name="connsiteY149" fmla="*/ 253131 h 285224"/>
                  <a:gd name="connsiteX150" fmla="*/ 34738 w 169812"/>
                  <a:gd name="connsiteY150" fmla="*/ 253749 h 285224"/>
                  <a:gd name="connsiteX151" fmla="*/ 33857 w 169812"/>
                  <a:gd name="connsiteY151" fmla="*/ 252867 h 285224"/>
                  <a:gd name="connsiteX152" fmla="*/ 31829 w 169812"/>
                  <a:gd name="connsiteY152" fmla="*/ 252338 h 285224"/>
                  <a:gd name="connsiteX153" fmla="*/ 31211 w 169812"/>
                  <a:gd name="connsiteY153" fmla="*/ 251456 h 285224"/>
                  <a:gd name="connsiteX154" fmla="*/ 32710 w 169812"/>
                  <a:gd name="connsiteY154" fmla="*/ 250222 h 285224"/>
                  <a:gd name="connsiteX155" fmla="*/ 32975 w 169812"/>
                  <a:gd name="connsiteY155" fmla="*/ 249076 h 285224"/>
                  <a:gd name="connsiteX156" fmla="*/ 34121 w 169812"/>
                  <a:gd name="connsiteY156" fmla="*/ 247665 h 285224"/>
                  <a:gd name="connsiteX157" fmla="*/ 33504 w 169812"/>
                  <a:gd name="connsiteY157" fmla="*/ 246430 h 285224"/>
                  <a:gd name="connsiteX158" fmla="*/ 33857 w 169812"/>
                  <a:gd name="connsiteY158" fmla="*/ 245285 h 285224"/>
                  <a:gd name="connsiteX159" fmla="*/ 32358 w 169812"/>
                  <a:gd name="connsiteY159" fmla="*/ 244403 h 285224"/>
                  <a:gd name="connsiteX160" fmla="*/ 32710 w 169812"/>
                  <a:gd name="connsiteY160" fmla="*/ 241493 h 285224"/>
                  <a:gd name="connsiteX161" fmla="*/ 31829 w 169812"/>
                  <a:gd name="connsiteY161" fmla="*/ 241846 h 285224"/>
                  <a:gd name="connsiteX162" fmla="*/ 30330 w 169812"/>
                  <a:gd name="connsiteY162" fmla="*/ 245285 h 285224"/>
                  <a:gd name="connsiteX163" fmla="*/ 29801 w 169812"/>
                  <a:gd name="connsiteY163" fmla="*/ 245637 h 285224"/>
                  <a:gd name="connsiteX164" fmla="*/ 29448 w 169812"/>
                  <a:gd name="connsiteY164" fmla="*/ 244403 h 285224"/>
                  <a:gd name="connsiteX165" fmla="*/ 29801 w 169812"/>
                  <a:gd name="connsiteY165" fmla="*/ 243874 h 285224"/>
                  <a:gd name="connsiteX166" fmla="*/ 28919 w 169812"/>
                  <a:gd name="connsiteY166" fmla="*/ 240964 h 285224"/>
                  <a:gd name="connsiteX167" fmla="*/ 27685 w 169812"/>
                  <a:gd name="connsiteY167" fmla="*/ 239201 h 285224"/>
                  <a:gd name="connsiteX168" fmla="*/ 25922 w 169812"/>
                  <a:gd name="connsiteY168" fmla="*/ 237966 h 285224"/>
                  <a:gd name="connsiteX169" fmla="*/ 26274 w 169812"/>
                  <a:gd name="connsiteY169" fmla="*/ 237173 h 285224"/>
                  <a:gd name="connsiteX170" fmla="*/ 28037 w 169812"/>
                  <a:gd name="connsiteY170" fmla="*/ 235938 h 285224"/>
                  <a:gd name="connsiteX171" fmla="*/ 29448 w 169812"/>
                  <a:gd name="connsiteY171" fmla="*/ 235938 h 285224"/>
                  <a:gd name="connsiteX172" fmla="*/ 27685 w 169812"/>
                  <a:gd name="connsiteY172" fmla="*/ 235674 h 285224"/>
                  <a:gd name="connsiteX173" fmla="*/ 26538 w 169812"/>
                  <a:gd name="connsiteY173" fmla="*/ 235409 h 285224"/>
                  <a:gd name="connsiteX174" fmla="*/ 25657 w 169812"/>
                  <a:gd name="connsiteY174" fmla="*/ 235938 h 285224"/>
                  <a:gd name="connsiteX175" fmla="*/ 23894 w 169812"/>
                  <a:gd name="connsiteY175" fmla="*/ 230737 h 285224"/>
                  <a:gd name="connsiteX176" fmla="*/ 24246 w 169812"/>
                  <a:gd name="connsiteY176" fmla="*/ 231001 h 285224"/>
                  <a:gd name="connsiteX177" fmla="*/ 25128 w 169812"/>
                  <a:gd name="connsiteY177" fmla="*/ 232764 h 285224"/>
                  <a:gd name="connsiteX178" fmla="*/ 25657 w 169812"/>
                  <a:gd name="connsiteY178" fmla="*/ 233029 h 285224"/>
                  <a:gd name="connsiteX179" fmla="*/ 25922 w 169812"/>
                  <a:gd name="connsiteY179" fmla="*/ 232764 h 285224"/>
                  <a:gd name="connsiteX180" fmla="*/ 25128 w 169812"/>
                  <a:gd name="connsiteY180" fmla="*/ 232147 h 285224"/>
                  <a:gd name="connsiteX181" fmla="*/ 25922 w 169812"/>
                  <a:gd name="connsiteY181" fmla="*/ 231883 h 285224"/>
                  <a:gd name="connsiteX182" fmla="*/ 25128 w 169812"/>
                  <a:gd name="connsiteY182" fmla="*/ 230384 h 285224"/>
                  <a:gd name="connsiteX183" fmla="*/ 25657 w 169812"/>
                  <a:gd name="connsiteY183" fmla="*/ 229855 h 285224"/>
                  <a:gd name="connsiteX184" fmla="*/ 26538 w 169812"/>
                  <a:gd name="connsiteY184" fmla="*/ 230384 h 285224"/>
                  <a:gd name="connsiteX185" fmla="*/ 27420 w 169812"/>
                  <a:gd name="connsiteY185" fmla="*/ 230384 h 285224"/>
                  <a:gd name="connsiteX186" fmla="*/ 28037 w 169812"/>
                  <a:gd name="connsiteY186" fmla="*/ 230384 h 285224"/>
                  <a:gd name="connsiteX187" fmla="*/ 28037 w 169812"/>
                  <a:gd name="connsiteY187" fmla="*/ 229855 h 285224"/>
                  <a:gd name="connsiteX188" fmla="*/ 26891 w 169812"/>
                  <a:gd name="connsiteY188" fmla="*/ 229855 h 285224"/>
                  <a:gd name="connsiteX189" fmla="*/ 27420 w 169812"/>
                  <a:gd name="connsiteY189" fmla="*/ 228973 h 285224"/>
                  <a:gd name="connsiteX190" fmla="*/ 26891 w 169812"/>
                  <a:gd name="connsiteY190" fmla="*/ 228356 h 285224"/>
                  <a:gd name="connsiteX191" fmla="*/ 27156 w 169812"/>
                  <a:gd name="connsiteY191" fmla="*/ 227563 h 285224"/>
                  <a:gd name="connsiteX192" fmla="*/ 25393 w 169812"/>
                  <a:gd name="connsiteY192" fmla="*/ 227563 h 285224"/>
                  <a:gd name="connsiteX193" fmla="*/ 26538 w 169812"/>
                  <a:gd name="connsiteY193" fmla="*/ 226328 h 285224"/>
                  <a:gd name="connsiteX194" fmla="*/ 27156 w 169812"/>
                  <a:gd name="connsiteY194" fmla="*/ 224917 h 285224"/>
                  <a:gd name="connsiteX195" fmla="*/ 27685 w 169812"/>
                  <a:gd name="connsiteY195" fmla="*/ 224300 h 285224"/>
                  <a:gd name="connsiteX196" fmla="*/ 28037 w 169812"/>
                  <a:gd name="connsiteY196" fmla="*/ 223154 h 285224"/>
                  <a:gd name="connsiteX197" fmla="*/ 26891 w 169812"/>
                  <a:gd name="connsiteY197" fmla="*/ 223154 h 285224"/>
                  <a:gd name="connsiteX198" fmla="*/ 25922 w 169812"/>
                  <a:gd name="connsiteY198" fmla="*/ 223683 h 285224"/>
                  <a:gd name="connsiteX199" fmla="*/ 24511 w 169812"/>
                  <a:gd name="connsiteY199" fmla="*/ 225447 h 285224"/>
                  <a:gd name="connsiteX200" fmla="*/ 23629 w 169812"/>
                  <a:gd name="connsiteY200" fmla="*/ 225182 h 285224"/>
                  <a:gd name="connsiteX201" fmla="*/ 23012 w 169812"/>
                  <a:gd name="connsiteY201" fmla="*/ 223683 h 285224"/>
                  <a:gd name="connsiteX202" fmla="*/ 21866 w 169812"/>
                  <a:gd name="connsiteY202" fmla="*/ 223683 h 285224"/>
                  <a:gd name="connsiteX203" fmla="*/ 22130 w 169812"/>
                  <a:gd name="connsiteY203" fmla="*/ 224300 h 285224"/>
                  <a:gd name="connsiteX204" fmla="*/ 21601 w 169812"/>
                  <a:gd name="connsiteY204" fmla="*/ 224917 h 285224"/>
                  <a:gd name="connsiteX205" fmla="*/ 23012 w 169812"/>
                  <a:gd name="connsiteY205" fmla="*/ 226064 h 285224"/>
                  <a:gd name="connsiteX206" fmla="*/ 23365 w 169812"/>
                  <a:gd name="connsiteY206" fmla="*/ 226593 h 285224"/>
                  <a:gd name="connsiteX207" fmla="*/ 20984 w 169812"/>
                  <a:gd name="connsiteY207" fmla="*/ 225447 h 285224"/>
                  <a:gd name="connsiteX208" fmla="*/ 21337 w 169812"/>
                  <a:gd name="connsiteY208" fmla="*/ 226064 h 285224"/>
                  <a:gd name="connsiteX209" fmla="*/ 22130 w 169812"/>
                  <a:gd name="connsiteY209" fmla="*/ 226593 h 285224"/>
                  <a:gd name="connsiteX210" fmla="*/ 21866 w 169812"/>
                  <a:gd name="connsiteY210" fmla="*/ 226593 h 285224"/>
                  <a:gd name="connsiteX211" fmla="*/ 21337 w 169812"/>
                  <a:gd name="connsiteY211" fmla="*/ 227827 h 285224"/>
                  <a:gd name="connsiteX212" fmla="*/ 21337 w 169812"/>
                  <a:gd name="connsiteY212" fmla="*/ 228709 h 285224"/>
                  <a:gd name="connsiteX213" fmla="*/ 20455 w 169812"/>
                  <a:gd name="connsiteY213" fmla="*/ 228709 h 285224"/>
                  <a:gd name="connsiteX214" fmla="*/ 19221 w 169812"/>
                  <a:gd name="connsiteY214" fmla="*/ 227827 h 285224"/>
                  <a:gd name="connsiteX215" fmla="*/ 18692 w 169812"/>
                  <a:gd name="connsiteY215" fmla="*/ 227563 h 285224"/>
                  <a:gd name="connsiteX216" fmla="*/ 18692 w 169812"/>
                  <a:gd name="connsiteY216" fmla="*/ 226945 h 285224"/>
                  <a:gd name="connsiteX217" fmla="*/ 18956 w 169812"/>
                  <a:gd name="connsiteY217" fmla="*/ 225447 h 285224"/>
                  <a:gd name="connsiteX218" fmla="*/ 18074 w 169812"/>
                  <a:gd name="connsiteY218" fmla="*/ 225799 h 285224"/>
                  <a:gd name="connsiteX219" fmla="*/ 17810 w 169812"/>
                  <a:gd name="connsiteY219" fmla="*/ 227563 h 285224"/>
                  <a:gd name="connsiteX220" fmla="*/ 17545 w 169812"/>
                  <a:gd name="connsiteY220" fmla="*/ 227563 h 285224"/>
                  <a:gd name="connsiteX221" fmla="*/ 16928 w 169812"/>
                  <a:gd name="connsiteY221" fmla="*/ 226945 h 285224"/>
                  <a:gd name="connsiteX222" fmla="*/ 16664 w 169812"/>
                  <a:gd name="connsiteY222" fmla="*/ 225447 h 285224"/>
                  <a:gd name="connsiteX223" fmla="*/ 16046 w 169812"/>
                  <a:gd name="connsiteY223" fmla="*/ 226328 h 285224"/>
                  <a:gd name="connsiteX224" fmla="*/ 14636 w 169812"/>
                  <a:gd name="connsiteY224" fmla="*/ 226064 h 285224"/>
                  <a:gd name="connsiteX225" fmla="*/ 14019 w 169812"/>
                  <a:gd name="connsiteY225" fmla="*/ 225447 h 285224"/>
                  <a:gd name="connsiteX226" fmla="*/ 13137 w 169812"/>
                  <a:gd name="connsiteY226" fmla="*/ 225182 h 285224"/>
                  <a:gd name="connsiteX227" fmla="*/ 11991 w 169812"/>
                  <a:gd name="connsiteY227" fmla="*/ 223683 h 285224"/>
                  <a:gd name="connsiteX228" fmla="*/ 11374 w 169812"/>
                  <a:gd name="connsiteY228" fmla="*/ 224036 h 285224"/>
                  <a:gd name="connsiteX229" fmla="*/ 10845 w 169812"/>
                  <a:gd name="connsiteY229" fmla="*/ 224036 h 285224"/>
                  <a:gd name="connsiteX230" fmla="*/ 10492 w 169812"/>
                  <a:gd name="connsiteY230" fmla="*/ 222537 h 285224"/>
                  <a:gd name="connsiteX231" fmla="*/ 9610 w 169812"/>
                  <a:gd name="connsiteY231" fmla="*/ 220773 h 285224"/>
                  <a:gd name="connsiteX232" fmla="*/ 10845 w 169812"/>
                  <a:gd name="connsiteY232" fmla="*/ 219627 h 285224"/>
                  <a:gd name="connsiteX233" fmla="*/ 11109 w 169812"/>
                  <a:gd name="connsiteY233" fmla="*/ 217864 h 285224"/>
                  <a:gd name="connsiteX234" fmla="*/ 10492 w 169812"/>
                  <a:gd name="connsiteY234" fmla="*/ 217335 h 285224"/>
                  <a:gd name="connsiteX235" fmla="*/ 9963 w 169812"/>
                  <a:gd name="connsiteY235" fmla="*/ 217600 h 285224"/>
                  <a:gd name="connsiteX236" fmla="*/ 9346 w 169812"/>
                  <a:gd name="connsiteY236" fmla="*/ 214690 h 285224"/>
                  <a:gd name="connsiteX237" fmla="*/ 9963 w 169812"/>
                  <a:gd name="connsiteY237" fmla="*/ 213191 h 285224"/>
                  <a:gd name="connsiteX238" fmla="*/ 9346 w 169812"/>
                  <a:gd name="connsiteY238" fmla="*/ 211780 h 285224"/>
                  <a:gd name="connsiteX239" fmla="*/ 8729 w 169812"/>
                  <a:gd name="connsiteY239" fmla="*/ 211428 h 285224"/>
                  <a:gd name="connsiteX240" fmla="*/ 8200 w 169812"/>
                  <a:gd name="connsiteY240" fmla="*/ 210546 h 285224"/>
                  <a:gd name="connsiteX241" fmla="*/ 7582 w 169812"/>
                  <a:gd name="connsiteY241" fmla="*/ 210546 h 285224"/>
                  <a:gd name="connsiteX242" fmla="*/ 8200 w 169812"/>
                  <a:gd name="connsiteY242" fmla="*/ 211780 h 285224"/>
                  <a:gd name="connsiteX243" fmla="*/ 7318 w 169812"/>
                  <a:gd name="connsiteY243" fmla="*/ 211163 h 285224"/>
                  <a:gd name="connsiteX244" fmla="*/ 7582 w 169812"/>
                  <a:gd name="connsiteY244" fmla="*/ 212309 h 285224"/>
                  <a:gd name="connsiteX245" fmla="*/ 7053 w 169812"/>
                  <a:gd name="connsiteY245" fmla="*/ 212927 h 285224"/>
                  <a:gd name="connsiteX246" fmla="*/ 6436 w 169812"/>
                  <a:gd name="connsiteY246" fmla="*/ 212927 h 285224"/>
                  <a:gd name="connsiteX247" fmla="*/ 5555 w 169812"/>
                  <a:gd name="connsiteY247" fmla="*/ 212309 h 285224"/>
                  <a:gd name="connsiteX248" fmla="*/ 5290 w 169812"/>
                  <a:gd name="connsiteY248" fmla="*/ 210017 h 285224"/>
                  <a:gd name="connsiteX249" fmla="*/ 5290 w 169812"/>
                  <a:gd name="connsiteY249" fmla="*/ 209135 h 285224"/>
                  <a:gd name="connsiteX250" fmla="*/ 3527 w 169812"/>
                  <a:gd name="connsiteY250" fmla="*/ 207989 h 285224"/>
                  <a:gd name="connsiteX251" fmla="*/ 3174 w 169812"/>
                  <a:gd name="connsiteY251" fmla="*/ 209135 h 285224"/>
                  <a:gd name="connsiteX252" fmla="*/ 3527 w 169812"/>
                  <a:gd name="connsiteY252" fmla="*/ 210546 h 285224"/>
                  <a:gd name="connsiteX253" fmla="*/ 4937 w 169812"/>
                  <a:gd name="connsiteY253" fmla="*/ 213544 h 285224"/>
                  <a:gd name="connsiteX254" fmla="*/ 4408 w 169812"/>
                  <a:gd name="connsiteY254" fmla="*/ 213808 h 285224"/>
                  <a:gd name="connsiteX255" fmla="*/ 3791 w 169812"/>
                  <a:gd name="connsiteY255" fmla="*/ 213191 h 285224"/>
                  <a:gd name="connsiteX256" fmla="*/ 2028 w 169812"/>
                  <a:gd name="connsiteY256" fmla="*/ 214073 h 285224"/>
                  <a:gd name="connsiteX257" fmla="*/ 1763 w 169812"/>
                  <a:gd name="connsiteY257" fmla="*/ 213191 h 285224"/>
                  <a:gd name="connsiteX258" fmla="*/ 1146 w 169812"/>
                  <a:gd name="connsiteY258" fmla="*/ 213808 h 285224"/>
                  <a:gd name="connsiteX259" fmla="*/ 617 w 169812"/>
                  <a:gd name="connsiteY259" fmla="*/ 212927 h 285224"/>
                  <a:gd name="connsiteX260" fmla="*/ 617 w 169812"/>
                  <a:gd name="connsiteY260" fmla="*/ 212045 h 285224"/>
                  <a:gd name="connsiteX261" fmla="*/ 0 w 169812"/>
                  <a:gd name="connsiteY261" fmla="*/ 211428 h 285224"/>
                  <a:gd name="connsiteX262" fmla="*/ 617 w 169812"/>
                  <a:gd name="connsiteY262" fmla="*/ 210546 h 285224"/>
                  <a:gd name="connsiteX263" fmla="*/ 1499 w 169812"/>
                  <a:gd name="connsiteY263" fmla="*/ 209752 h 285224"/>
                  <a:gd name="connsiteX264" fmla="*/ 2028 w 169812"/>
                  <a:gd name="connsiteY264" fmla="*/ 209135 h 285224"/>
                  <a:gd name="connsiteX265" fmla="*/ 2028 w 169812"/>
                  <a:gd name="connsiteY265" fmla="*/ 207107 h 285224"/>
                  <a:gd name="connsiteX266" fmla="*/ 2909 w 169812"/>
                  <a:gd name="connsiteY266" fmla="*/ 206490 h 285224"/>
                  <a:gd name="connsiteX267" fmla="*/ 2909 w 169812"/>
                  <a:gd name="connsiteY267" fmla="*/ 205961 h 285224"/>
                  <a:gd name="connsiteX268" fmla="*/ 7582 w 169812"/>
                  <a:gd name="connsiteY268" fmla="*/ 197762 h 285224"/>
                  <a:gd name="connsiteX269" fmla="*/ 7582 w 169812"/>
                  <a:gd name="connsiteY269" fmla="*/ 192207 h 285224"/>
                  <a:gd name="connsiteX270" fmla="*/ 7582 w 169812"/>
                  <a:gd name="connsiteY270" fmla="*/ 184007 h 285224"/>
                  <a:gd name="connsiteX271" fmla="*/ 8729 w 169812"/>
                  <a:gd name="connsiteY271" fmla="*/ 180569 h 285224"/>
                  <a:gd name="connsiteX272" fmla="*/ 19573 w 169812"/>
                  <a:gd name="connsiteY272" fmla="*/ 168313 h 285224"/>
                  <a:gd name="connsiteX273" fmla="*/ 25128 w 169812"/>
                  <a:gd name="connsiteY273" fmla="*/ 163640 h 285224"/>
                  <a:gd name="connsiteX274" fmla="*/ 28919 w 169812"/>
                  <a:gd name="connsiteY274" fmla="*/ 156587 h 285224"/>
                  <a:gd name="connsiteX275" fmla="*/ 36766 w 169812"/>
                  <a:gd name="connsiteY275" fmla="*/ 151120 h 285224"/>
                  <a:gd name="connsiteX276" fmla="*/ 44349 w 169812"/>
                  <a:gd name="connsiteY276" fmla="*/ 154559 h 285224"/>
                  <a:gd name="connsiteX277" fmla="*/ 46641 w 169812"/>
                  <a:gd name="connsiteY277" fmla="*/ 150768 h 285224"/>
                  <a:gd name="connsiteX278" fmla="*/ 53077 w 169812"/>
                  <a:gd name="connsiteY278" fmla="*/ 156587 h 285224"/>
                  <a:gd name="connsiteX279" fmla="*/ 56604 w 169812"/>
                  <a:gd name="connsiteY279" fmla="*/ 158086 h 285224"/>
                  <a:gd name="connsiteX280" fmla="*/ 63922 w 169812"/>
                  <a:gd name="connsiteY280" fmla="*/ 165404 h 285224"/>
                  <a:gd name="connsiteX281" fmla="*/ 67361 w 169812"/>
                  <a:gd name="connsiteY281" fmla="*/ 160114 h 285224"/>
                  <a:gd name="connsiteX282" fmla="*/ 72033 w 169812"/>
                  <a:gd name="connsiteY282" fmla="*/ 151649 h 285224"/>
                  <a:gd name="connsiteX283" fmla="*/ 74679 w 169812"/>
                  <a:gd name="connsiteY283" fmla="*/ 149357 h 285224"/>
                  <a:gd name="connsiteX284" fmla="*/ 72651 w 169812"/>
                  <a:gd name="connsiteY284" fmla="*/ 145566 h 285224"/>
                  <a:gd name="connsiteX285" fmla="*/ 77853 w 169812"/>
                  <a:gd name="connsiteY285" fmla="*/ 137719 h 285224"/>
                  <a:gd name="connsiteX286" fmla="*/ 81996 w 169812"/>
                  <a:gd name="connsiteY286" fmla="*/ 127491 h 285224"/>
                  <a:gd name="connsiteX287" fmla="*/ 82525 w 169812"/>
                  <a:gd name="connsiteY287" fmla="*/ 121937 h 285224"/>
                  <a:gd name="connsiteX288" fmla="*/ 82525 w 169812"/>
                  <a:gd name="connsiteY288" fmla="*/ 116118 h 285224"/>
                  <a:gd name="connsiteX289" fmla="*/ 86052 w 169812"/>
                  <a:gd name="connsiteY289" fmla="*/ 114354 h 285224"/>
                  <a:gd name="connsiteX290" fmla="*/ 89226 w 169812"/>
                  <a:gd name="connsiteY290" fmla="*/ 111445 h 285224"/>
                  <a:gd name="connsiteX291" fmla="*/ 93018 w 169812"/>
                  <a:gd name="connsiteY291" fmla="*/ 107036 h 285224"/>
                  <a:gd name="connsiteX292" fmla="*/ 95133 w 169812"/>
                  <a:gd name="connsiteY292" fmla="*/ 100071 h 285224"/>
                  <a:gd name="connsiteX293" fmla="*/ 96897 w 169812"/>
                  <a:gd name="connsiteY293" fmla="*/ 93018 h 285224"/>
                  <a:gd name="connsiteX294" fmla="*/ 103862 w 169812"/>
                  <a:gd name="connsiteY294" fmla="*/ 86934 h 285224"/>
                  <a:gd name="connsiteX295" fmla="*/ 103862 w 169812"/>
                  <a:gd name="connsiteY295" fmla="*/ 79969 h 285224"/>
                  <a:gd name="connsiteX296" fmla="*/ 109064 w 169812"/>
                  <a:gd name="connsiteY296" fmla="*/ 72915 h 285224"/>
                  <a:gd name="connsiteX297" fmla="*/ 110298 w 169812"/>
                  <a:gd name="connsiteY297" fmla="*/ 60395 h 285224"/>
                  <a:gd name="connsiteX298" fmla="*/ 115765 w 169812"/>
                  <a:gd name="connsiteY298" fmla="*/ 51049 h 285224"/>
                  <a:gd name="connsiteX299" fmla="*/ 124229 w 169812"/>
                  <a:gd name="connsiteY299" fmla="*/ 45759 h 285224"/>
                  <a:gd name="connsiteX300" fmla="*/ 133575 w 169812"/>
                  <a:gd name="connsiteY300" fmla="*/ 39411 h 285224"/>
                  <a:gd name="connsiteX301" fmla="*/ 132164 w 169812"/>
                  <a:gd name="connsiteY301" fmla="*/ 33857 h 285224"/>
                  <a:gd name="connsiteX302" fmla="*/ 134457 w 169812"/>
                  <a:gd name="connsiteY302" fmla="*/ 28566 h 285224"/>
                  <a:gd name="connsiteX303" fmla="*/ 134457 w 169812"/>
                  <a:gd name="connsiteY303" fmla="*/ 25921 h 285224"/>
                  <a:gd name="connsiteX304" fmla="*/ 134721 w 169812"/>
                  <a:gd name="connsiteY304" fmla="*/ 22218 h 285224"/>
                  <a:gd name="connsiteX305" fmla="*/ 130136 w 169812"/>
                  <a:gd name="connsiteY305" fmla="*/ 18692 h 285224"/>
                  <a:gd name="connsiteX306" fmla="*/ 124229 w 169812"/>
                  <a:gd name="connsiteY306" fmla="*/ 14283 h 28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</a:cxnLst>
                <a:rect l="l" t="t" r="r" b="b"/>
                <a:pathLst>
                  <a:path w="169812" h="285224">
                    <a:moveTo>
                      <a:pt x="120791" y="617"/>
                    </a:moveTo>
                    <a:lnTo>
                      <a:pt x="129255" y="0"/>
                    </a:lnTo>
                    <a:lnTo>
                      <a:pt x="131283" y="2645"/>
                    </a:lnTo>
                    <a:lnTo>
                      <a:pt x="130136" y="5290"/>
                    </a:lnTo>
                    <a:lnTo>
                      <a:pt x="130930" y="7847"/>
                    </a:lnTo>
                    <a:lnTo>
                      <a:pt x="131812" y="8464"/>
                    </a:lnTo>
                    <a:lnTo>
                      <a:pt x="133046" y="7582"/>
                    </a:lnTo>
                    <a:lnTo>
                      <a:pt x="134192" y="9081"/>
                    </a:lnTo>
                    <a:lnTo>
                      <a:pt x="135338" y="9081"/>
                    </a:lnTo>
                    <a:lnTo>
                      <a:pt x="134721" y="11109"/>
                    </a:lnTo>
                    <a:lnTo>
                      <a:pt x="135955" y="9963"/>
                    </a:lnTo>
                    <a:lnTo>
                      <a:pt x="137719" y="10492"/>
                    </a:lnTo>
                    <a:lnTo>
                      <a:pt x="138865" y="14019"/>
                    </a:lnTo>
                    <a:lnTo>
                      <a:pt x="137983" y="15429"/>
                    </a:lnTo>
                    <a:lnTo>
                      <a:pt x="139394" y="17193"/>
                    </a:lnTo>
                    <a:lnTo>
                      <a:pt x="139130" y="22747"/>
                    </a:lnTo>
                    <a:lnTo>
                      <a:pt x="142921" y="24511"/>
                    </a:lnTo>
                    <a:lnTo>
                      <a:pt x="143185" y="25921"/>
                    </a:lnTo>
                    <a:lnTo>
                      <a:pt x="142656" y="28302"/>
                    </a:lnTo>
                    <a:lnTo>
                      <a:pt x="142392" y="29801"/>
                    </a:lnTo>
                    <a:lnTo>
                      <a:pt x="143538" y="30330"/>
                    </a:lnTo>
                    <a:lnTo>
                      <a:pt x="144420" y="32358"/>
                    </a:lnTo>
                    <a:lnTo>
                      <a:pt x="143538" y="34738"/>
                    </a:lnTo>
                    <a:lnTo>
                      <a:pt x="144684" y="38177"/>
                    </a:lnTo>
                    <a:lnTo>
                      <a:pt x="143538" y="41704"/>
                    </a:lnTo>
                    <a:lnTo>
                      <a:pt x="142656" y="47523"/>
                    </a:lnTo>
                    <a:lnTo>
                      <a:pt x="142656" y="51931"/>
                    </a:lnTo>
                    <a:lnTo>
                      <a:pt x="143803" y="53695"/>
                    </a:lnTo>
                    <a:lnTo>
                      <a:pt x="143538" y="56340"/>
                    </a:lnTo>
                    <a:lnTo>
                      <a:pt x="145566" y="61806"/>
                    </a:lnTo>
                    <a:lnTo>
                      <a:pt x="145566" y="64187"/>
                    </a:lnTo>
                    <a:lnTo>
                      <a:pt x="146448" y="64187"/>
                    </a:lnTo>
                    <a:lnTo>
                      <a:pt x="151120" y="68859"/>
                    </a:lnTo>
                    <a:lnTo>
                      <a:pt x="153413" y="74061"/>
                    </a:lnTo>
                    <a:lnTo>
                      <a:pt x="157204" y="76442"/>
                    </a:lnTo>
                    <a:lnTo>
                      <a:pt x="151385" y="77853"/>
                    </a:lnTo>
                    <a:lnTo>
                      <a:pt x="147594" y="76442"/>
                    </a:lnTo>
                    <a:lnTo>
                      <a:pt x="144067" y="75296"/>
                    </a:lnTo>
                    <a:lnTo>
                      <a:pt x="144067" y="77853"/>
                    </a:lnTo>
                    <a:lnTo>
                      <a:pt x="140276" y="76706"/>
                    </a:lnTo>
                    <a:lnTo>
                      <a:pt x="137366" y="79087"/>
                    </a:lnTo>
                    <a:lnTo>
                      <a:pt x="132164" y="76442"/>
                    </a:lnTo>
                    <a:lnTo>
                      <a:pt x="124582" y="76442"/>
                    </a:lnTo>
                    <a:lnTo>
                      <a:pt x="123436" y="80498"/>
                    </a:lnTo>
                    <a:lnTo>
                      <a:pt x="119909" y="86669"/>
                    </a:lnTo>
                    <a:lnTo>
                      <a:pt x="133046" y="101482"/>
                    </a:lnTo>
                    <a:lnTo>
                      <a:pt x="144420" y="109946"/>
                    </a:lnTo>
                    <a:lnTo>
                      <a:pt x="146712" y="114354"/>
                    </a:lnTo>
                    <a:lnTo>
                      <a:pt x="151120" y="123700"/>
                    </a:lnTo>
                    <a:lnTo>
                      <a:pt x="151120" y="126257"/>
                    </a:lnTo>
                    <a:lnTo>
                      <a:pt x="154030" y="132164"/>
                    </a:lnTo>
                    <a:lnTo>
                      <a:pt x="155441" y="132164"/>
                    </a:lnTo>
                    <a:lnTo>
                      <a:pt x="155176" y="135339"/>
                    </a:lnTo>
                    <a:lnTo>
                      <a:pt x="154030" y="137983"/>
                    </a:lnTo>
                    <a:lnTo>
                      <a:pt x="152531" y="140893"/>
                    </a:lnTo>
                    <a:lnTo>
                      <a:pt x="153413" y="142039"/>
                    </a:lnTo>
                    <a:lnTo>
                      <a:pt x="152002" y="142039"/>
                    </a:lnTo>
                    <a:lnTo>
                      <a:pt x="146977" y="146977"/>
                    </a:lnTo>
                    <a:lnTo>
                      <a:pt x="144684" y="156587"/>
                    </a:lnTo>
                    <a:lnTo>
                      <a:pt x="142392" y="158086"/>
                    </a:lnTo>
                    <a:lnTo>
                      <a:pt x="138865" y="168313"/>
                    </a:lnTo>
                    <a:lnTo>
                      <a:pt x="137366" y="169724"/>
                    </a:lnTo>
                    <a:lnTo>
                      <a:pt x="133046" y="171752"/>
                    </a:lnTo>
                    <a:lnTo>
                      <a:pt x="130930" y="174133"/>
                    </a:lnTo>
                    <a:lnTo>
                      <a:pt x="130401" y="176160"/>
                    </a:lnTo>
                    <a:lnTo>
                      <a:pt x="131812" y="178188"/>
                    </a:lnTo>
                    <a:lnTo>
                      <a:pt x="134721" y="178541"/>
                    </a:lnTo>
                    <a:lnTo>
                      <a:pt x="137719" y="184625"/>
                    </a:lnTo>
                    <a:lnTo>
                      <a:pt x="134721" y="190444"/>
                    </a:lnTo>
                    <a:lnTo>
                      <a:pt x="133311" y="193970"/>
                    </a:lnTo>
                    <a:lnTo>
                      <a:pt x="136220" y="196880"/>
                    </a:lnTo>
                    <a:lnTo>
                      <a:pt x="135074" y="203316"/>
                    </a:lnTo>
                    <a:lnTo>
                      <a:pt x="137719" y="210899"/>
                    </a:lnTo>
                    <a:lnTo>
                      <a:pt x="139130" y="212927"/>
                    </a:lnTo>
                    <a:lnTo>
                      <a:pt x="144067" y="215836"/>
                    </a:lnTo>
                    <a:lnTo>
                      <a:pt x="145566" y="218217"/>
                    </a:lnTo>
                    <a:lnTo>
                      <a:pt x="145566" y="223154"/>
                    </a:lnTo>
                    <a:lnTo>
                      <a:pt x="147594" y="225182"/>
                    </a:lnTo>
                    <a:lnTo>
                      <a:pt x="144684" y="225447"/>
                    </a:lnTo>
                    <a:lnTo>
                      <a:pt x="149005" y="234175"/>
                    </a:lnTo>
                    <a:lnTo>
                      <a:pt x="161613" y="248811"/>
                    </a:lnTo>
                    <a:lnTo>
                      <a:pt x="164522" y="248811"/>
                    </a:lnTo>
                    <a:lnTo>
                      <a:pt x="165404" y="251721"/>
                    </a:lnTo>
                    <a:lnTo>
                      <a:pt x="166550" y="251721"/>
                    </a:lnTo>
                    <a:lnTo>
                      <a:pt x="168049" y="253749"/>
                    </a:lnTo>
                    <a:lnTo>
                      <a:pt x="168313" y="255776"/>
                    </a:lnTo>
                    <a:lnTo>
                      <a:pt x="167167" y="256658"/>
                    </a:lnTo>
                    <a:lnTo>
                      <a:pt x="167167" y="259039"/>
                    </a:lnTo>
                    <a:lnTo>
                      <a:pt x="168313" y="259039"/>
                    </a:lnTo>
                    <a:lnTo>
                      <a:pt x="168313" y="261595"/>
                    </a:lnTo>
                    <a:lnTo>
                      <a:pt x="167167" y="263359"/>
                    </a:lnTo>
                    <a:lnTo>
                      <a:pt x="169812" y="270060"/>
                    </a:lnTo>
                    <a:lnTo>
                      <a:pt x="169812" y="270412"/>
                    </a:lnTo>
                    <a:lnTo>
                      <a:pt x="169460" y="271823"/>
                    </a:lnTo>
                    <a:lnTo>
                      <a:pt x="168313" y="270677"/>
                    </a:lnTo>
                    <a:lnTo>
                      <a:pt x="167167" y="271823"/>
                    </a:lnTo>
                    <a:lnTo>
                      <a:pt x="167167" y="277113"/>
                    </a:lnTo>
                    <a:lnTo>
                      <a:pt x="169460" y="282668"/>
                    </a:lnTo>
                    <a:lnTo>
                      <a:pt x="167167" y="285225"/>
                    </a:lnTo>
                    <a:lnTo>
                      <a:pt x="166285" y="282315"/>
                    </a:lnTo>
                    <a:lnTo>
                      <a:pt x="163640" y="280904"/>
                    </a:lnTo>
                    <a:lnTo>
                      <a:pt x="159232" y="277642"/>
                    </a:lnTo>
                    <a:lnTo>
                      <a:pt x="154912" y="276760"/>
                    </a:lnTo>
                    <a:lnTo>
                      <a:pt x="151385" y="278259"/>
                    </a:lnTo>
                    <a:lnTo>
                      <a:pt x="149005" y="275350"/>
                    </a:lnTo>
                    <a:lnTo>
                      <a:pt x="147329" y="275350"/>
                    </a:lnTo>
                    <a:lnTo>
                      <a:pt x="147329" y="276231"/>
                    </a:lnTo>
                    <a:lnTo>
                      <a:pt x="146448" y="275350"/>
                    </a:lnTo>
                    <a:lnTo>
                      <a:pt x="145830" y="276760"/>
                    </a:lnTo>
                    <a:lnTo>
                      <a:pt x="143185" y="275350"/>
                    </a:lnTo>
                    <a:lnTo>
                      <a:pt x="143185" y="276231"/>
                    </a:lnTo>
                    <a:lnTo>
                      <a:pt x="141510" y="276231"/>
                    </a:lnTo>
                    <a:lnTo>
                      <a:pt x="140893" y="273322"/>
                    </a:lnTo>
                    <a:lnTo>
                      <a:pt x="138601" y="274733"/>
                    </a:lnTo>
                    <a:lnTo>
                      <a:pt x="138601" y="273322"/>
                    </a:lnTo>
                    <a:lnTo>
                      <a:pt x="137983" y="273851"/>
                    </a:lnTo>
                    <a:lnTo>
                      <a:pt x="137719" y="272440"/>
                    </a:lnTo>
                    <a:lnTo>
                      <a:pt x="137719" y="273322"/>
                    </a:lnTo>
                    <a:lnTo>
                      <a:pt x="134721" y="270677"/>
                    </a:lnTo>
                    <a:lnTo>
                      <a:pt x="134192" y="271823"/>
                    </a:lnTo>
                    <a:lnTo>
                      <a:pt x="128373" y="272176"/>
                    </a:lnTo>
                    <a:lnTo>
                      <a:pt x="106155" y="271823"/>
                    </a:lnTo>
                    <a:lnTo>
                      <a:pt x="106155" y="270412"/>
                    </a:lnTo>
                    <a:lnTo>
                      <a:pt x="105273" y="269531"/>
                    </a:lnTo>
                    <a:lnTo>
                      <a:pt x="103245" y="268914"/>
                    </a:lnTo>
                    <a:lnTo>
                      <a:pt x="96280" y="270060"/>
                    </a:lnTo>
                    <a:lnTo>
                      <a:pt x="95398" y="269531"/>
                    </a:lnTo>
                    <a:lnTo>
                      <a:pt x="94517" y="270060"/>
                    </a:lnTo>
                    <a:lnTo>
                      <a:pt x="85171" y="268032"/>
                    </a:lnTo>
                    <a:lnTo>
                      <a:pt x="82878" y="268914"/>
                    </a:lnTo>
                    <a:lnTo>
                      <a:pt x="72033" y="268914"/>
                    </a:lnTo>
                    <a:lnTo>
                      <a:pt x="70887" y="267767"/>
                    </a:lnTo>
                    <a:lnTo>
                      <a:pt x="63922" y="268649"/>
                    </a:lnTo>
                    <a:lnTo>
                      <a:pt x="63305" y="270060"/>
                    </a:lnTo>
                    <a:lnTo>
                      <a:pt x="63040" y="271823"/>
                    </a:lnTo>
                    <a:lnTo>
                      <a:pt x="34121" y="271823"/>
                    </a:lnTo>
                    <a:lnTo>
                      <a:pt x="29801" y="270060"/>
                    </a:lnTo>
                    <a:lnTo>
                      <a:pt x="29448" y="267767"/>
                    </a:lnTo>
                    <a:lnTo>
                      <a:pt x="28919" y="265387"/>
                    </a:lnTo>
                    <a:lnTo>
                      <a:pt x="28919" y="263976"/>
                    </a:lnTo>
                    <a:lnTo>
                      <a:pt x="29448" y="262213"/>
                    </a:lnTo>
                    <a:lnTo>
                      <a:pt x="30065" y="260802"/>
                    </a:lnTo>
                    <a:lnTo>
                      <a:pt x="32975" y="260449"/>
                    </a:lnTo>
                    <a:lnTo>
                      <a:pt x="35267" y="259568"/>
                    </a:lnTo>
                    <a:lnTo>
                      <a:pt x="35884" y="258422"/>
                    </a:lnTo>
                    <a:lnTo>
                      <a:pt x="35267" y="257540"/>
                    </a:lnTo>
                    <a:lnTo>
                      <a:pt x="35884" y="256658"/>
                    </a:lnTo>
                    <a:lnTo>
                      <a:pt x="36766" y="254895"/>
                    </a:lnTo>
                    <a:lnTo>
                      <a:pt x="36502" y="253749"/>
                    </a:lnTo>
                    <a:lnTo>
                      <a:pt x="35620" y="253131"/>
                    </a:lnTo>
                    <a:lnTo>
                      <a:pt x="34738" y="253749"/>
                    </a:lnTo>
                    <a:lnTo>
                      <a:pt x="33857" y="252867"/>
                    </a:lnTo>
                    <a:lnTo>
                      <a:pt x="31829" y="252338"/>
                    </a:lnTo>
                    <a:lnTo>
                      <a:pt x="31211" y="251456"/>
                    </a:lnTo>
                    <a:lnTo>
                      <a:pt x="32710" y="250222"/>
                    </a:lnTo>
                    <a:lnTo>
                      <a:pt x="32975" y="249076"/>
                    </a:lnTo>
                    <a:lnTo>
                      <a:pt x="34121" y="247665"/>
                    </a:lnTo>
                    <a:lnTo>
                      <a:pt x="33504" y="246430"/>
                    </a:lnTo>
                    <a:lnTo>
                      <a:pt x="33857" y="245285"/>
                    </a:lnTo>
                    <a:lnTo>
                      <a:pt x="32358" y="244403"/>
                    </a:lnTo>
                    <a:lnTo>
                      <a:pt x="32710" y="241493"/>
                    </a:lnTo>
                    <a:lnTo>
                      <a:pt x="31829" y="241846"/>
                    </a:lnTo>
                    <a:lnTo>
                      <a:pt x="30330" y="245285"/>
                    </a:lnTo>
                    <a:lnTo>
                      <a:pt x="29801" y="245637"/>
                    </a:lnTo>
                    <a:lnTo>
                      <a:pt x="29448" y="244403"/>
                    </a:lnTo>
                    <a:lnTo>
                      <a:pt x="29801" y="243874"/>
                    </a:lnTo>
                    <a:lnTo>
                      <a:pt x="28919" y="240964"/>
                    </a:lnTo>
                    <a:lnTo>
                      <a:pt x="27685" y="239201"/>
                    </a:lnTo>
                    <a:lnTo>
                      <a:pt x="25922" y="237966"/>
                    </a:lnTo>
                    <a:lnTo>
                      <a:pt x="26274" y="237173"/>
                    </a:lnTo>
                    <a:lnTo>
                      <a:pt x="28037" y="235938"/>
                    </a:lnTo>
                    <a:lnTo>
                      <a:pt x="29448" y="235938"/>
                    </a:lnTo>
                    <a:lnTo>
                      <a:pt x="27685" y="235674"/>
                    </a:lnTo>
                    <a:lnTo>
                      <a:pt x="26538" y="235409"/>
                    </a:lnTo>
                    <a:lnTo>
                      <a:pt x="25657" y="235938"/>
                    </a:lnTo>
                    <a:lnTo>
                      <a:pt x="23894" y="230737"/>
                    </a:lnTo>
                    <a:lnTo>
                      <a:pt x="24246" y="231001"/>
                    </a:lnTo>
                    <a:lnTo>
                      <a:pt x="25128" y="232764"/>
                    </a:lnTo>
                    <a:lnTo>
                      <a:pt x="25657" y="233029"/>
                    </a:lnTo>
                    <a:lnTo>
                      <a:pt x="25922" y="232764"/>
                    </a:lnTo>
                    <a:lnTo>
                      <a:pt x="25128" y="232147"/>
                    </a:lnTo>
                    <a:lnTo>
                      <a:pt x="25922" y="231883"/>
                    </a:lnTo>
                    <a:lnTo>
                      <a:pt x="25128" y="230384"/>
                    </a:lnTo>
                    <a:lnTo>
                      <a:pt x="25657" y="229855"/>
                    </a:lnTo>
                    <a:lnTo>
                      <a:pt x="26538" y="230384"/>
                    </a:lnTo>
                    <a:lnTo>
                      <a:pt x="27420" y="230384"/>
                    </a:lnTo>
                    <a:lnTo>
                      <a:pt x="28037" y="230384"/>
                    </a:lnTo>
                    <a:lnTo>
                      <a:pt x="28037" y="229855"/>
                    </a:lnTo>
                    <a:lnTo>
                      <a:pt x="26891" y="229855"/>
                    </a:lnTo>
                    <a:lnTo>
                      <a:pt x="27420" y="228973"/>
                    </a:lnTo>
                    <a:lnTo>
                      <a:pt x="26891" y="228356"/>
                    </a:lnTo>
                    <a:lnTo>
                      <a:pt x="27156" y="227563"/>
                    </a:lnTo>
                    <a:lnTo>
                      <a:pt x="25393" y="227563"/>
                    </a:lnTo>
                    <a:lnTo>
                      <a:pt x="26538" y="226328"/>
                    </a:lnTo>
                    <a:lnTo>
                      <a:pt x="27156" y="224917"/>
                    </a:lnTo>
                    <a:lnTo>
                      <a:pt x="27685" y="224300"/>
                    </a:lnTo>
                    <a:lnTo>
                      <a:pt x="28037" y="223154"/>
                    </a:lnTo>
                    <a:lnTo>
                      <a:pt x="26891" y="223154"/>
                    </a:lnTo>
                    <a:lnTo>
                      <a:pt x="25922" y="223683"/>
                    </a:lnTo>
                    <a:lnTo>
                      <a:pt x="24511" y="225447"/>
                    </a:lnTo>
                    <a:lnTo>
                      <a:pt x="23629" y="225182"/>
                    </a:lnTo>
                    <a:lnTo>
                      <a:pt x="23012" y="223683"/>
                    </a:lnTo>
                    <a:lnTo>
                      <a:pt x="21866" y="223683"/>
                    </a:lnTo>
                    <a:lnTo>
                      <a:pt x="22130" y="224300"/>
                    </a:lnTo>
                    <a:lnTo>
                      <a:pt x="21601" y="224917"/>
                    </a:lnTo>
                    <a:lnTo>
                      <a:pt x="23012" y="226064"/>
                    </a:lnTo>
                    <a:lnTo>
                      <a:pt x="23365" y="226593"/>
                    </a:lnTo>
                    <a:lnTo>
                      <a:pt x="20984" y="225447"/>
                    </a:lnTo>
                    <a:lnTo>
                      <a:pt x="21337" y="226064"/>
                    </a:lnTo>
                    <a:lnTo>
                      <a:pt x="22130" y="226593"/>
                    </a:lnTo>
                    <a:lnTo>
                      <a:pt x="21866" y="226593"/>
                    </a:lnTo>
                    <a:lnTo>
                      <a:pt x="21337" y="227827"/>
                    </a:lnTo>
                    <a:lnTo>
                      <a:pt x="21337" y="228709"/>
                    </a:lnTo>
                    <a:lnTo>
                      <a:pt x="20455" y="228709"/>
                    </a:lnTo>
                    <a:lnTo>
                      <a:pt x="19221" y="227827"/>
                    </a:lnTo>
                    <a:lnTo>
                      <a:pt x="18692" y="227563"/>
                    </a:lnTo>
                    <a:lnTo>
                      <a:pt x="18692" y="226945"/>
                    </a:lnTo>
                    <a:lnTo>
                      <a:pt x="18956" y="225447"/>
                    </a:lnTo>
                    <a:lnTo>
                      <a:pt x="18074" y="225799"/>
                    </a:lnTo>
                    <a:lnTo>
                      <a:pt x="17810" y="227563"/>
                    </a:lnTo>
                    <a:lnTo>
                      <a:pt x="17545" y="227563"/>
                    </a:lnTo>
                    <a:lnTo>
                      <a:pt x="16928" y="226945"/>
                    </a:lnTo>
                    <a:lnTo>
                      <a:pt x="16664" y="225447"/>
                    </a:lnTo>
                    <a:lnTo>
                      <a:pt x="16046" y="226328"/>
                    </a:lnTo>
                    <a:lnTo>
                      <a:pt x="14636" y="226064"/>
                    </a:lnTo>
                    <a:lnTo>
                      <a:pt x="14019" y="225447"/>
                    </a:lnTo>
                    <a:lnTo>
                      <a:pt x="13137" y="225182"/>
                    </a:lnTo>
                    <a:lnTo>
                      <a:pt x="11991" y="223683"/>
                    </a:lnTo>
                    <a:lnTo>
                      <a:pt x="11374" y="224036"/>
                    </a:lnTo>
                    <a:lnTo>
                      <a:pt x="10845" y="224036"/>
                    </a:lnTo>
                    <a:lnTo>
                      <a:pt x="10492" y="222537"/>
                    </a:lnTo>
                    <a:lnTo>
                      <a:pt x="9610" y="220773"/>
                    </a:lnTo>
                    <a:lnTo>
                      <a:pt x="10845" y="219627"/>
                    </a:lnTo>
                    <a:lnTo>
                      <a:pt x="11109" y="217864"/>
                    </a:lnTo>
                    <a:lnTo>
                      <a:pt x="10492" y="217335"/>
                    </a:lnTo>
                    <a:lnTo>
                      <a:pt x="9963" y="217600"/>
                    </a:lnTo>
                    <a:lnTo>
                      <a:pt x="9346" y="214690"/>
                    </a:lnTo>
                    <a:lnTo>
                      <a:pt x="9963" y="213191"/>
                    </a:lnTo>
                    <a:lnTo>
                      <a:pt x="9346" y="211780"/>
                    </a:lnTo>
                    <a:lnTo>
                      <a:pt x="8729" y="211428"/>
                    </a:lnTo>
                    <a:lnTo>
                      <a:pt x="8200" y="210546"/>
                    </a:lnTo>
                    <a:lnTo>
                      <a:pt x="7582" y="210546"/>
                    </a:lnTo>
                    <a:lnTo>
                      <a:pt x="8200" y="211780"/>
                    </a:lnTo>
                    <a:lnTo>
                      <a:pt x="7318" y="211163"/>
                    </a:lnTo>
                    <a:lnTo>
                      <a:pt x="7582" y="212309"/>
                    </a:lnTo>
                    <a:lnTo>
                      <a:pt x="7053" y="212927"/>
                    </a:lnTo>
                    <a:lnTo>
                      <a:pt x="6436" y="212927"/>
                    </a:lnTo>
                    <a:lnTo>
                      <a:pt x="5555" y="212309"/>
                    </a:lnTo>
                    <a:lnTo>
                      <a:pt x="5290" y="210017"/>
                    </a:lnTo>
                    <a:lnTo>
                      <a:pt x="5290" y="209135"/>
                    </a:lnTo>
                    <a:lnTo>
                      <a:pt x="3527" y="207989"/>
                    </a:lnTo>
                    <a:lnTo>
                      <a:pt x="3174" y="209135"/>
                    </a:lnTo>
                    <a:lnTo>
                      <a:pt x="3527" y="210546"/>
                    </a:lnTo>
                    <a:lnTo>
                      <a:pt x="4937" y="213544"/>
                    </a:lnTo>
                    <a:lnTo>
                      <a:pt x="4408" y="213808"/>
                    </a:lnTo>
                    <a:lnTo>
                      <a:pt x="3791" y="213191"/>
                    </a:lnTo>
                    <a:lnTo>
                      <a:pt x="2028" y="214073"/>
                    </a:lnTo>
                    <a:lnTo>
                      <a:pt x="1763" y="213191"/>
                    </a:lnTo>
                    <a:lnTo>
                      <a:pt x="1146" y="213808"/>
                    </a:lnTo>
                    <a:lnTo>
                      <a:pt x="617" y="212927"/>
                    </a:lnTo>
                    <a:lnTo>
                      <a:pt x="617" y="212045"/>
                    </a:lnTo>
                    <a:lnTo>
                      <a:pt x="0" y="211428"/>
                    </a:lnTo>
                    <a:lnTo>
                      <a:pt x="617" y="210546"/>
                    </a:lnTo>
                    <a:lnTo>
                      <a:pt x="1499" y="209752"/>
                    </a:lnTo>
                    <a:lnTo>
                      <a:pt x="2028" y="209135"/>
                    </a:lnTo>
                    <a:lnTo>
                      <a:pt x="2028" y="207107"/>
                    </a:lnTo>
                    <a:lnTo>
                      <a:pt x="2909" y="206490"/>
                    </a:lnTo>
                    <a:lnTo>
                      <a:pt x="2909" y="205961"/>
                    </a:lnTo>
                    <a:lnTo>
                      <a:pt x="7582" y="197762"/>
                    </a:lnTo>
                    <a:lnTo>
                      <a:pt x="7582" y="192207"/>
                    </a:lnTo>
                    <a:lnTo>
                      <a:pt x="7582" y="184007"/>
                    </a:lnTo>
                    <a:lnTo>
                      <a:pt x="8729" y="180569"/>
                    </a:lnTo>
                    <a:lnTo>
                      <a:pt x="19573" y="168313"/>
                    </a:lnTo>
                    <a:lnTo>
                      <a:pt x="25128" y="163640"/>
                    </a:lnTo>
                    <a:lnTo>
                      <a:pt x="28919" y="156587"/>
                    </a:lnTo>
                    <a:lnTo>
                      <a:pt x="36766" y="151120"/>
                    </a:lnTo>
                    <a:lnTo>
                      <a:pt x="44349" y="154559"/>
                    </a:lnTo>
                    <a:lnTo>
                      <a:pt x="46641" y="150768"/>
                    </a:lnTo>
                    <a:lnTo>
                      <a:pt x="53077" y="156587"/>
                    </a:lnTo>
                    <a:lnTo>
                      <a:pt x="56604" y="158086"/>
                    </a:lnTo>
                    <a:lnTo>
                      <a:pt x="63922" y="165404"/>
                    </a:lnTo>
                    <a:lnTo>
                      <a:pt x="67361" y="160114"/>
                    </a:lnTo>
                    <a:lnTo>
                      <a:pt x="72033" y="151649"/>
                    </a:lnTo>
                    <a:lnTo>
                      <a:pt x="74679" y="149357"/>
                    </a:lnTo>
                    <a:lnTo>
                      <a:pt x="72651" y="145566"/>
                    </a:lnTo>
                    <a:lnTo>
                      <a:pt x="77853" y="137719"/>
                    </a:lnTo>
                    <a:lnTo>
                      <a:pt x="81996" y="127491"/>
                    </a:lnTo>
                    <a:lnTo>
                      <a:pt x="82525" y="121937"/>
                    </a:lnTo>
                    <a:lnTo>
                      <a:pt x="82525" y="116118"/>
                    </a:lnTo>
                    <a:lnTo>
                      <a:pt x="86052" y="114354"/>
                    </a:lnTo>
                    <a:lnTo>
                      <a:pt x="89226" y="111445"/>
                    </a:lnTo>
                    <a:lnTo>
                      <a:pt x="93018" y="107036"/>
                    </a:lnTo>
                    <a:lnTo>
                      <a:pt x="95133" y="100071"/>
                    </a:lnTo>
                    <a:lnTo>
                      <a:pt x="96897" y="93018"/>
                    </a:lnTo>
                    <a:lnTo>
                      <a:pt x="103862" y="86934"/>
                    </a:lnTo>
                    <a:lnTo>
                      <a:pt x="103862" y="79969"/>
                    </a:lnTo>
                    <a:lnTo>
                      <a:pt x="109064" y="72915"/>
                    </a:lnTo>
                    <a:lnTo>
                      <a:pt x="110298" y="60395"/>
                    </a:lnTo>
                    <a:lnTo>
                      <a:pt x="115765" y="51049"/>
                    </a:lnTo>
                    <a:lnTo>
                      <a:pt x="124229" y="45759"/>
                    </a:lnTo>
                    <a:lnTo>
                      <a:pt x="133575" y="39411"/>
                    </a:lnTo>
                    <a:lnTo>
                      <a:pt x="132164" y="33857"/>
                    </a:lnTo>
                    <a:lnTo>
                      <a:pt x="134457" y="28566"/>
                    </a:lnTo>
                    <a:lnTo>
                      <a:pt x="134457" y="25921"/>
                    </a:lnTo>
                    <a:lnTo>
                      <a:pt x="134721" y="22218"/>
                    </a:lnTo>
                    <a:lnTo>
                      <a:pt x="130136" y="18692"/>
                    </a:lnTo>
                    <a:lnTo>
                      <a:pt x="124229" y="142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4" name="Freihandform: Form 1813">
                <a:extLst>
                  <a:ext uri="{FF2B5EF4-FFF2-40B4-BE49-F238E27FC236}">
                    <a16:creationId xmlns:a16="http://schemas.microsoft.com/office/drawing/2014/main" id="{BB9DCAA4-3D78-8EAB-0E68-33DF74F631EF}"/>
                  </a:ext>
                </a:extLst>
              </p:cNvPr>
              <p:cNvSpPr/>
              <p:nvPr/>
            </p:nvSpPr>
            <p:spPr>
              <a:xfrm>
                <a:off x="3880279" y="3882802"/>
                <a:ext cx="134456" cy="160113"/>
              </a:xfrm>
              <a:custGeom>
                <a:avLst/>
                <a:gdLst>
                  <a:gd name="connsiteX0" fmla="*/ 23629 w 134456"/>
                  <a:gd name="connsiteY0" fmla="*/ 159585 h 160113"/>
                  <a:gd name="connsiteX1" fmla="*/ 23012 w 134456"/>
                  <a:gd name="connsiteY1" fmla="*/ 149093 h 160113"/>
                  <a:gd name="connsiteX2" fmla="*/ 23276 w 134456"/>
                  <a:gd name="connsiteY2" fmla="*/ 144684 h 160113"/>
                  <a:gd name="connsiteX3" fmla="*/ 24511 w 134456"/>
                  <a:gd name="connsiteY3" fmla="*/ 139130 h 160113"/>
                  <a:gd name="connsiteX4" fmla="*/ 26539 w 134456"/>
                  <a:gd name="connsiteY4" fmla="*/ 136220 h 160113"/>
                  <a:gd name="connsiteX5" fmla="*/ 25922 w 134456"/>
                  <a:gd name="connsiteY5" fmla="*/ 131547 h 160113"/>
                  <a:gd name="connsiteX6" fmla="*/ 25922 w 134456"/>
                  <a:gd name="connsiteY6" fmla="*/ 126345 h 160113"/>
                  <a:gd name="connsiteX7" fmla="*/ 24775 w 134456"/>
                  <a:gd name="connsiteY7" fmla="*/ 120791 h 160113"/>
                  <a:gd name="connsiteX8" fmla="*/ 20367 w 134456"/>
                  <a:gd name="connsiteY8" fmla="*/ 119027 h 160113"/>
                  <a:gd name="connsiteX9" fmla="*/ 18339 w 134456"/>
                  <a:gd name="connsiteY9" fmla="*/ 119027 h 160113"/>
                  <a:gd name="connsiteX10" fmla="*/ 16576 w 134456"/>
                  <a:gd name="connsiteY10" fmla="*/ 115501 h 160113"/>
                  <a:gd name="connsiteX11" fmla="*/ 15165 w 134456"/>
                  <a:gd name="connsiteY11" fmla="*/ 110299 h 160113"/>
                  <a:gd name="connsiteX12" fmla="*/ 9610 w 134456"/>
                  <a:gd name="connsiteY12" fmla="*/ 110828 h 160113"/>
                  <a:gd name="connsiteX13" fmla="*/ 4056 w 134456"/>
                  <a:gd name="connsiteY13" fmla="*/ 108800 h 160113"/>
                  <a:gd name="connsiteX14" fmla="*/ 3174 w 134456"/>
                  <a:gd name="connsiteY14" fmla="*/ 105626 h 160113"/>
                  <a:gd name="connsiteX15" fmla="*/ 0 w 134456"/>
                  <a:gd name="connsiteY15" fmla="*/ 105009 h 160113"/>
                  <a:gd name="connsiteX16" fmla="*/ 7230 w 134456"/>
                  <a:gd name="connsiteY16" fmla="*/ 92753 h 160113"/>
                  <a:gd name="connsiteX17" fmla="*/ 5202 w 134456"/>
                  <a:gd name="connsiteY17" fmla="*/ 86934 h 160113"/>
                  <a:gd name="connsiteX18" fmla="*/ 4056 w 134456"/>
                  <a:gd name="connsiteY18" fmla="*/ 80233 h 160113"/>
                  <a:gd name="connsiteX19" fmla="*/ 2909 w 134456"/>
                  <a:gd name="connsiteY19" fmla="*/ 78823 h 160113"/>
                  <a:gd name="connsiteX20" fmla="*/ 4673 w 134456"/>
                  <a:gd name="connsiteY20" fmla="*/ 77324 h 160113"/>
                  <a:gd name="connsiteX21" fmla="*/ 11021 w 134456"/>
                  <a:gd name="connsiteY21" fmla="*/ 74679 h 160113"/>
                  <a:gd name="connsiteX22" fmla="*/ 13401 w 134456"/>
                  <a:gd name="connsiteY22" fmla="*/ 65686 h 160113"/>
                  <a:gd name="connsiteX23" fmla="*/ 8112 w 134456"/>
                  <a:gd name="connsiteY23" fmla="*/ 56604 h 160113"/>
                  <a:gd name="connsiteX24" fmla="*/ 17193 w 134456"/>
                  <a:gd name="connsiteY24" fmla="*/ 55458 h 160113"/>
                  <a:gd name="connsiteX25" fmla="*/ 18339 w 134456"/>
                  <a:gd name="connsiteY25" fmla="*/ 49286 h 160113"/>
                  <a:gd name="connsiteX26" fmla="*/ 19221 w 134456"/>
                  <a:gd name="connsiteY26" fmla="*/ 41175 h 160113"/>
                  <a:gd name="connsiteX27" fmla="*/ 12520 w 134456"/>
                  <a:gd name="connsiteY27" fmla="*/ 32975 h 160113"/>
                  <a:gd name="connsiteX28" fmla="*/ 10757 w 134456"/>
                  <a:gd name="connsiteY28" fmla="*/ 20455 h 160113"/>
                  <a:gd name="connsiteX29" fmla="*/ 10757 w 134456"/>
                  <a:gd name="connsiteY29" fmla="*/ 16664 h 160113"/>
                  <a:gd name="connsiteX30" fmla="*/ 13401 w 134456"/>
                  <a:gd name="connsiteY30" fmla="*/ 15518 h 160113"/>
                  <a:gd name="connsiteX31" fmla="*/ 15165 w 134456"/>
                  <a:gd name="connsiteY31" fmla="*/ 13754 h 160113"/>
                  <a:gd name="connsiteX32" fmla="*/ 17193 w 134456"/>
                  <a:gd name="connsiteY32" fmla="*/ 14636 h 160113"/>
                  <a:gd name="connsiteX33" fmla="*/ 17810 w 134456"/>
                  <a:gd name="connsiteY33" fmla="*/ 13137 h 160113"/>
                  <a:gd name="connsiteX34" fmla="*/ 18074 w 134456"/>
                  <a:gd name="connsiteY34" fmla="*/ 8817 h 160113"/>
                  <a:gd name="connsiteX35" fmla="*/ 21866 w 134456"/>
                  <a:gd name="connsiteY35" fmla="*/ 8200 h 160113"/>
                  <a:gd name="connsiteX36" fmla="*/ 24775 w 134456"/>
                  <a:gd name="connsiteY36" fmla="*/ 7582 h 160113"/>
                  <a:gd name="connsiteX37" fmla="*/ 27068 w 134456"/>
                  <a:gd name="connsiteY37" fmla="*/ 9081 h 160113"/>
                  <a:gd name="connsiteX38" fmla="*/ 31741 w 134456"/>
                  <a:gd name="connsiteY38" fmla="*/ 8464 h 160113"/>
                  <a:gd name="connsiteX39" fmla="*/ 32887 w 134456"/>
                  <a:gd name="connsiteY39" fmla="*/ 12608 h 160113"/>
                  <a:gd name="connsiteX40" fmla="*/ 35532 w 134456"/>
                  <a:gd name="connsiteY40" fmla="*/ 15518 h 160113"/>
                  <a:gd name="connsiteX41" fmla="*/ 36414 w 134456"/>
                  <a:gd name="connsiteY41" fmla="*/ 9699 h 160113"/>
                  <a:gd name="connsiteX42" fmla="*/ 42233 w 134456"/>
                  <a:gd name="connsiteY42" fmla="*/ 9699 h 160113"/>
                  <a:gd name="connsiteX43" fmla="*/ 43467 w 134456"/>
                  <a:gd name="connsiteY43" fmla="*/ 7318 h 160113"/>
                  <a:gd name="connsiteX44" fmla="*/ 41968 w 134456"/>
                  <a:gd name="connsiteY44" fmla="*/ 6172 h 160113"/>
                  <a:gd name="connsiteX45" fmla="*/ 41968 w 134456"/>
                  <a:gd name="connsiteY45" fmla="*/ 1763 h 160113"/>
                  <a:gd name="connsiteX46" fmla="*/ 48933 w 134456"/>
                  <a:gd name="connsiteY46" fmla="*/ 2910 h 160113"/>
                  <a:gd name="connsiteX47" fmla="*/ 50697 w 134456"/>
                  <a:gd name="connsiteY47" fmla="*/ 617 h 160113"/>
                  <a:gd name="connsiteX48" fmla="*/ 52460 w 134456"/>
                  <a:gd name="connsiteY48" fmla="*/ 0 h 160113"/>
                  <a:gd name="connsiteX49" fmla="*/ 53695 w 134456"/>
                  <a:gd name="connsiteY49" fmla="*/ 2381 h 160113"/>
                  <a:gd name="connsiteX50" fmla="*/ 52460 w 134456"/>
                  <a:gd name="connsiteY50" fmla="*/ 5026 h 160113"/>
                  <a:gd name="connsiteX51" fmla="*/ 54224 w 134456"/>
                  <a:gd name="connsiteY51" fmla="*/ 6701 h 160113"/>
                  <a:gd name="connsiteX52" fmla="*/ 54488 w 134456"/>
                  <a:gd name="connsiteY52" fmla="*/ 7935 h 160113"/>
                  <a:gd name="connsiteX53" fmla="*/ 51931 w 134456"/>
                  <a:gd name="connsiteY53" fmla="*/ 10228 h 160113"/>
                  <a:gd name="connsiteX54" fmla="*/ 57750 w 134456"/>
                  <a:gd name="connsiteY54" fmla="*/ 13401 h 160113"/>
                  <a:gd name="connsiteX55" fmla="*/ 60043 w 134456"/>
                  <a:gd name="connsiteY55" fmla="*/ 10492 h 160113"/>
                  <a:gd name="connsiteX56" fmla="*/ 66215 w 134456"/>
                  <a:gd name="connsiteY56" fmla="*/ 7053 h 160113"/>
                  <a:gd name="connsiteX57" fmla="*/ 67625 w 134456"/>
                  <a:gd name="connsiteY57" fmla="*/ 7053 h 160113"/>
                  <a:gd name="connsiteX58" fmla="*/ 69124 w 134456"/>
                  <a:gd name="connsiteY58" fmla="*/ 9699 h 160113"/>
                  <a:gd name="connsiteX59" fmla="*/ 72915 w 134456"/>
                  <a:gd name="connsiteY59" fmla="*/ 10228 h 160113"/>
                  <a:gd name="connsiteX60" fmla="*/ 75825 w 134456"/>
                  <a:gd name="connsiteY60" fmla="*/ 9963 h 160113"/>
                  <a:gd name="connsiteX61" fmla="*/ 76971 w 134456"/>
                  <a:gd name="connsiteY61" fmla="*/ 11726 h 160113"/>
                  <a:gd name="connsiteX62" fmla="*/ 78470 w 134456"/>
                  <a:gd name="connsiteY62" fmla="*/ 13401 h 160113"/>
                  <a:gd name="connsiteX63" fmla="*/ 79616 w 134456"/>
                  <a:gd name="connsiteY63" fmla="*/ 14900 h 160113"/>
                  <a:gd name="connsiteX64" fmla="*/ 79616 w 134456"/>
                  <a:gd name="connsiteY64" fmla="*/ 15782 h 160113"/>
                  <a:gd name="connsiteX65" fmla="*/ 80145 w 134456"/>
                  <a:gd name="connsiteY65" fmla="*/ 16664 h 160113"/>
                  <a:gd name="connsiteX66" fmla="*/ 80762 w 134456"/>
                  <a:gd name="connsiteY66" fmla="*/ 18956 h 160113"/>
                  <a:gd name="connsiteX67" fmla="*/ 80762 w 134456"/>
                  <a:gd name="connsiteY67" fmla="*/ 21337 h 160113"/>
                  <a:gd name="connsiteX68" fmla="*/ 84024 w 134456"/>
                  <a:gd name="connsiteY68" fmla="*/ 22218 h 160113"/>
                  <a:gd name="connsiteX69" fmla="*/ 83407 w 134456"/>
                  <a:gd name="connsiteY69" fmla="*/ 24864 h 160113"/>
                  <a:gd name="connsiteX70" fmla="*/ 84818 w 134456"/>
                  <a:gd name="connsiteY70" fmla="*/ 25745 h 160113"/>
                  <a:gd name="connsiteX71" fmla="*/ 85700 w 134456"/>
                  <a:gd name="connsiteY71" fmla="*/ 27773 h 160113"/>
                  <a:gd name="connsiteX72" fmla="*/ 88080 w 134456"/>
                  <a:gd name="connsiteY72" fmla="*/ 28655 h 160113"/>
                  <a:gd name="connsiteX73" fmla="*/ 90990 w 134456"/>
                  <a:gd name="connsiteY73" fmla="*/ 27773 h 160113"/>
                  <a:gd name="connsiteX74" fmla="*/ 93899 w 134456"/>
                  <a:gd name="connsiteY74" fmla="*/ 24864 h 160113"/>
                  <a:gd name="connsiteX75" fmla="*/ 98572 w 134456"/>
                  <a:gd name="connsiteY75" fmla="*/ 21866 h 160113"/>
                  <a:gd name="connsiteX76" fmla="*/ 102011 w 134456"/>
                  <a:gd name="connsiteY76" fmla="*/ 21337 h 160113"/>
                  <a:gd name="connsiteX77" fmla="*/ 108447 w 134456"/>
                  <a:gd name="connsiteY77" fmla="*/ 18956 h 160113"/>
                  <a:gd name="connsiteX78" fmla="*/ 110210 w 134456"/>
                  <a:gd name="connsiteY78" fmla="*/ 19309 h 160113"/>
                  <a:gd name="connsiteX79" fmla="*/ 116647 w 134456"/>
                  <a:gd name="connsiteY79" fmla="*/ 21601 h 160113"/>
                  <a:gd name="connsiteX80" fmla="*/ 119292 w 134456"/>
                  <a:gd name="connsiteY80" fmla="*/ 21866 h 160113"/>
                  <a:gd name="connsiteX81" fmla="*/ 122731 w 134456"/>
                  <a:gd name="connsiteY81" fmla="*/ 25745 h 160113"/>
                  <a:gd name="connsiteX82" fmla="*/ 126522 w 134456"/>
                  <a:gd name="connsiteY82" fmla="*/ 28655 h 160113"/>
                  <a:gd name="connsiteX83" fmla="*/ 128020 w 134456"/>
                  <a:gd name="connsiteY83" fmla="*/ 32710 h 160113"/>
                  <a:gd name="connsiteX84" fmla="*/ 130048 w 134456"/>
                  <a:gd name="connsiteY84" fmla="*/ 30683 h 160113"/>
                  <a:gd name="connsiteX85" fmla="*/ 129784 w 134456"/>
                  <a:gd name="connsiteY85" fmla="*/ 33857 h 160113"/>
                  <a:gd name="connsiteX86" fmla="*/ 130048 w 134456"/>
                  <a:gd name="connsiteY86" fmla="*/ 36502 h 160113"/>
                  <a:gd name="connsiteX87" fmla="*/ 128285 w 134456"/>
                  <a:gd name="connsiteY87" fmla="*/ 41439 h 160113"/>
                  <a:gd name="connsiteX88" fmla="*/ 134457 w 134456"/>
                  <a:gd name="connsiteY88" fmla="*/ 62776 h 160113"/>
                  <a:gd name="connsiteX89" fmla="*/ 132076 w 134456"/>
                  <a:gd name="connsiteY89" fmla="*/ 67096 h 160113"/>
                  <a:gd name="connsiteX90" fmla="*/ 128285 w 134456"/>
                  <a:gd name="connsiteY90" fmla="*/ 68595 h 160113"/>
                  <a:gd name="connsiteX91" fmla="*/ 124229 w 134456"/>
                  <a:gd name="connsiteY91" fmla="*/ 86934 h 160113"/>
                  <a:gd name="connsiteX92" fmla="*/ 120703 w 134456"/>
                  <a:gd name="connsiteY92" fmla="*/ 90725 h 160113"/>
                  <a:gd name="connsiteX93" fmla="*/ 119027 w 134456"/>
                  <a:gd name="connsiteY93" fmla="*/ 99454 h 160113"/>
                  <a:gd name="connsiteX94" fmla="*/ 119292 w 134456"/>
                  <a:gd name="connsiteY94" fmla="*/ 111445 h 160113"/>
                  <a:gd name="connsiteX95" fmla="*/ 122466 w 134456"/>
                  <a:gd name="connsiteY95" fmla="*/ 125111 h 160113"/>
                  <a:gd name="connsiteX96" fmla="*/ 123965 w 134456"/>
                  <a:gd name="connsiteY96" fmla="*/ 127227 h 160113"/>
                  <a:gd name="connsiteX97" fmla="*/ 128285 w 134456"/>
                  <a:gd name="connsiteY97" fmla="*/ 128020 h 160113"/>
                  <a:gd name="connsiteX98" fmla="*/ 128285 w 134456"/>
                  <a:gd name="connsiteY98" fmla="*/ 133575 h 160113"/>
                  <a:gd name="connsiteX99" fmla="*/ 128638 w 134456"/>
                  <a:gd name="connsiteY99" fmla="*/ 136220 h 160113"/>
                  <a:gd name="connsiteX100" fmla="*/ 120703 w 134456"/>
                  <a:gd name="connsiteY100" fmla="*/ 139747 h 160113"/>
                  <a:gd name="connsiteX101" fmla="*/ 120703 w 134456"/>
                  <a:gd name="connsiteY101" fmla="*/ 140276 h 160113"/>
                  <a:gd name="connsiteX102" fmla="*/ 119027 w 134456"/>
                  <a:gd name="connsiteY102" fmla="*/ 140893 h 160113"/>
                  <a:gd name="connsiteX103" fmla="*/ 117264 w 134456"/>
                  <a:gd name="connsiteY103" fmla="*/ 139747 h 160113"/>
                  <a:gd name="connsiteX104" fmla="*/ 118146 w 134456"/>
                  <a:gd name="connsiteY104" fmla="*/ 139130 h 160113"/>
                  <a:gd name="connsiteX105" fmla="*/ 121055 w 134456"/>
                  <a:gd name="connsiteY105" fmla="*/ 139130 h 160113"/>
                  <a:gd name="connsiteX106" fmla="*/ 121937 w 134456"/>
                  <a:gd name="connsiteY106" fmla="*/ 138601 h 160113"/>
                  <a:gd name="connsiteX107" fmla="*/ 121055 w 134456"/>
                  <a:gd name="connsiteY107" fmla="*/ 137983 h 160113"/>
                  <a:gd name="connsiteX108" fmla="*/ 123083 w 134456"/>
                  <a:gd name="connsiteY108" fmla="*/ 136837 h 160113"/>
                  <a:gd name="connsiteX109" fmla="*/ 121055 w 134456"/>
                  <a:gd name="connsiteY109" fmla="*/ 135956 h 160113"/>
                  <a:gd name="connsiteX110" fmla="*/ 121937 w 134456"/>
                  <a:gd name="connsiteY110" fmla="*/ 134457 h 160113"/>
                  <a:gd name="connsiteX111" fmla="*/ 120438 w 134456"/>
                  <a:gd name="connsiteY111" fmla="*/ 134192 h 160113"/>
                  <a:gd name="connsiteX112" fmla="*/ 118675 w 134456"/>
                  <a:gd name="connsiteY112" fmla="*/ 133311 h 160113"/>
                  <a:gd name="connsiteX113" fmla="*/ 117264 w 134456"/>
                  <a:gd name="connsiteY113" fmla="*/ 134192 h 160113"/>
                  <a:gd name="connsiteX114" fmla="*/ 116030 w 134456"/>
                  <a:gd name="connsiteY114" fmla="*/ 137983 h 160113"/>
                  <a:gd name="connsiteX115" fmla="*/ 109681 w 134456"/>
                  <a:gd name="connsiteY115" fmla="*/ 138601 h 160113"/>
                  <a:gd name="connsiteX116" fmla="*/ 107301 w 134456"/>
                  <a:gd name="connsiteY116" fmla="*/ 138248 h 160113"/>
                  <a:gd name="connsiteX117" fmla="*/ 106772 w 134456"/>
                  <a:gd name="connsiteY117" fmla="*/ 138248 h 160113"/>
                  <a:gd name="connsiteX118" fmla="*/ 103510 w 134456"/>
                  <a:gd name="connsiteY118" fmla="*/ 136837 h 160113"/>
                  <a:gd name="connsiteX119" fmla="*/ 102363 w 134456"/>
                  <a:gd name="connsiteY119" fmla="*/ 135956 h 160113"/>
                  <a:gd name="connsiteX120" fmla="*/ 105890 w 134456"/>
                  <a:gd name="connsiteY120" fmla="*/ 136220 h 160113"/>
                  <a:gd name="connsiteX121" fmla="*/ 107301 w 134456"/>
                  <a:gd name="connsiteY121" fmla="*/ 135956 h 160113"/>
                  <a:gd name="connsiteX122" fmla="*/ 105890 w 134456"/>
                  <a:gd name="connsiteY122" fmla="*/ 134457 h 160113"/>
                  <a:gd name="connsiteX123" fmla="*/ 102981 w 134456"/>
                  <a:gd name="connsiteY123" fmla="*/ 133575 h 160113"/>
                  <a:gd name="connsiteX124" fmla="*/ 102011 w 134456"/>
                  <a:gd name="connsiteY124" fmla="*/ 135339 h 160113"/>
                  <a:gd name="connsiteX125" fmla="*/ 99983 w 134456"/>
                  <a:gd name="connsiteY125" fmla="*/ 135956 h 160113"/>
                  <a:gd name="connsiteX126" fmla="*/ 95663 w 134456"/>
                  <a:gd name="connsiteY126" fmla="*/ 135956 h 160113"/>
                  <a:gd name="connsiteX127" fmla="*/ 93282 w 134456"/>
                  <a:gd name="connsiteY127" fmla="*/ 136220 h 160113"/>
                  <a:gd name="connsiteX128" fmla="*/ 91254 w 134456"/>
                  <a:gd name="connsiteY128" fmla="*/ 136220 h 160113"/>
                  <a:gd name="connsiteX129" fmla="*/ 88609 w 134456"/>
                  <a:gd name="connsiteY129" fmla="*/ 135339 h 160113"/>
                  <a:gd name="connsiteX130" fmla="*/ 85700 w 134456"/>
                  <a:gd name="connsiteY130" fmla="*/ 136837 h 160113"/>
                  <a:gd name="connsiteX131" fmla="*/ 86317 w 134456"/>
                  <a:gd name="connsiteY131" fmla="*/ 136220 h 160113"/>
                  <a:gd name="connsiteX132" fmla="*/ 85700 w 134456"/>
                  <a:gd name="connsiteY132" fmla="*/ 136220 h 160113"/>
                  <a:gd name="connsiteX133" fmla="*/ 84818 w 134456"/>
                  <a:gd name="connsiteY133" fmla="*/ 136837 h 160113"/>
                  <a:gd name="connsiteX134" fmla="*/ 83407 w 134456"/>
                  <a:gd name="connsiteY134" fmla="*/ 138601 h 160113"/>
                  <a:gd name="connsiteX135" fmla="*/ 85700 w 134456"/>
                  <a:gd name="connsiteY135" fmla="*/ 138248 h 160113"/>
                  <a:gd name="connsiteX136" fmla="*/ 87816 w 134456"/>
                  <a:gd name="connsiteY136" fmla="*/ 137102 h 160113"/>
                  <a:gd name="connsiteX137" fmla="*/ 89226 w 134456"/>
                  <a:gd name="connsiteY137" fmla="*/ 136837 h 160113"/>
                  <a:gd name="connsiteX138" fmla="*/ 97073 w 134456"/>
                  <a:gd name="connsiteY138" fmla="*/ 136837 h 160113"/>
                  <a:gd name="connsiteX139" fmla="*/ 96544 w 134456"/>
                  <a:gd name="connsiteY139" fmla="*/ 137983 h 160113"/>
                  <a:gd name="connsiteX140" fmla="*/ 86581 w 134456"/>
                  <a:gd name="connsiteY140" fmla="*/ 139747 h 160113"/>
                  <a:gd name="connsiteX141" fmla="*/ 83407 w 134456"/>
                  <a:gd name="connsiteY141" fmla="*/ 139482 h 160113"/>
                  <a:gd name="connsiteX142" fmla="*/ 80498 w 134456"/>
                  <a:gd name="connsiteY142" fmla="*/ 137983 h 160113"/>
                  <a:gd name="connsiteX143" fmla="*/ 76354 w 134456"/>
                  <a:gd name="connsiteY143" fmla="*/ 137366 h 160113"/>
                  <a:gd name="connsiteX144" fmla="*/ 73797 w 134456"/>
                  <a:gd name="connsiteY144" fmla="*/ 137102 h 160113"/>
                  <a:gd name="connsiteX145" fmla="*/ 72563 w 134456"/>
                  <a:gd name="connsiteY145" fmla="*/ 136220 h 160113"/>
                  <a:gd name="connsiteX146" fmla="*/ 71769 w 134456"/>
                  <a:gd name="connsiteY146" fmla="*/ 137102 h 160113"/>
                  <a:gd name="connsiteX147" fmla="*/ 71769 w 134456"/>
                  <a:gd name="connsiteY147" fmla="*/ 138865 h 160113"/>
                  <a:gd name="connsiteX148" fmla="*/ 74061 w 134456"/>
                  <a:gd name="connsiteY148" fmla="*/ 137983 h 160113"/>
                  <a:gd name="connsiteX149" fmla="*/ 78999 w 134456"/>
                  <a:gd name="connsiteY149" fmla="*/ 139130 h 160113"/>
                  <a:gd name="connsiteX150" fmla="*/ 77853 w 134456"/>
                  <a:gd name="connsiteY150" fmla="*/ 139747 h 160113"/>
                  <a:gd name="connsiteX151" fmla="*/ 66479 w 134456"/>
                  <a:gd name="connsiteY151" fmla="*/ 139747 h 160113"/>
                  <a:gd name="connsiteX152" fmla="*/ 63569 w 134456"/>
                  <a:gd name="connsiteY152" fmla="*/ 141158 h 160113"/>
                  <a:gd name="connsiteX153" fmla="*/ 59778 w 134456"/>
                  <a:gd name="connsiteY153" fmla="*/ 141775 h 160113"/>
                  <a:gd name="connsiteX154" fmla="*/ 41086 w 134456"/>
                  <a:gd name="connsiteY154" fmla="*/ 148476 h 160113"/>
                  <a:gd name="connsiteX155" fmla="*/ 37648 w 134456"/>
                  <a:gd name="connsiteY155" fmla="*/ 150856 h 160113"/>
                  <a:gd name="connsiteX156" fmla="*/ 32622 w 134456"/>
                  <a:gd name="connsiteY156" fmla="*/ 152267 h 160113"/>
                  <a:gd name="connsiteX157" fmla="*/ 30594 w 134456"/>
                  <a:gd name="connsiteY157" fmla="*/ 154647 h 160113"/>
                  <a:gd name="connsiteX158" fmla="*/ 29448 w 134456"/>
                  <a:gd name="connsiteY158" fmla="*/ 157557 h 160113"/>
                  <a:gd name="connsiteX159" fmla="*/ 27685 w 134456"/>
                  <a:gd name="connsiteY159" fmla="*/ 159320 h 160113"/>
                  <a:gd name="connsiteX160" fmla="*/ 25922 w 134456"/>
                  <a:gd name="connsiteY160" fmla="*/ 159320 h 160113"/>
                  <a:gd name="connsiteX161" fmla="*/ 22483 w 134456"/>
                  <a:gd name="connsiteY161" fmla="*/ 160114 h 160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</a:cxnLst>
                <a:rect l="l" t="t" r="r" b="b"/>
                <a:pathLst>
                  <a:path w="134456" h="160113">
                    <a:moveTo>
                      <a:pt x="23629" y="159585"/>
                    </a:moveTo>
                    <a:lnTo>
                      <a:pt x="23012" y="149093"/>
                    </a:lnTo>
                    <a:lnTo>
                      <a:pt x="23276" y="144684"/>
                    </a:lnTo>
                    <a:lnTo>
                      <a:pt x="24511" y="139130"/>
                    </a:lnTo>
                    <a:lnTo>
                      <a:pt x="26539" y="136220"/>
                    </a:lnTo>
                    <a:lnTo>
                      <a:pt x="25922" y="131547"/>
                    </a:lnTo>
                    <a:lnTo>
                      <a:pt x="25922" y="126345"/>
                    </a:lnTo>
                    <a:lnTo>
                      <a:pt x="24775" y="120791"/>
                    </a:lnTo>
                    <a:lnTo>
                      <a:pt x="20367" y="119027"/>
                    </a:lnTo>
                    <a:lnTo>
                      <a:pt x="18339" y="119027"/>
                    </a:lnTo>
                    <a:lnTo>
                      <a:pt x="16576" y="115501"/>
                    </a:lnTo>
                    <a:lnTo>
                      <a:pt x="15165" y="110299"/>
                    </a:lnTo>
                    <a:lnTo>
                      <a:pt x="9610" y="110828"/>
                    </a:lnTo>
                    <a:lnTo>
                      <a:pt x="4056" y="108800"/>
                    </a:lnTo>
                    <a:lnTo>
                      <a:pt x="3174" y="105626"/>
                    </a:lnTo>
                    <a:lnTo>
                      <a:pt x="0" y="105009"/>
                    </a:lnTo>
                    <a:lnTo>
                      <a:pt x="7230" y="92753"/>
                    </a:lnTo>
                    <a:lnTo>
                      <a:pt x="5202" y="86934"/>
                    </a:lnTo>
                    <a:lnTo>
                      <a:pt x="4056" y="80233"/>
                    </a:lnTo>
                    <a:lnTo>
                      <a:pt x="2909" y="78823"/>
                    </a:lnTo>
                    <a:lnTo>
                      <a:pt x="4673" y="77324"/>
                    </a:lnTo>
                    <a:lnTo>
                      <a:pt x="11021" y="74679"/>
                    </a:lnTo>
                    <a:lnTo>
                      <a:pt x="13401" y="65686"/>
                    </a:lnTo>
                    <a:lnTo>
                      <a:pt x="8112" y="56604"/>
                    </a:lnTo>
                    <a:lnTo>
                      <a:pt x="17193" y="55458"/>
                    </a:lnTo>
                    <a:lnTo>
                      <a:pt x="18339" y="49286"/>
                    </a:lnTo>
                    <a:lnTo>
                      <a:pt x="19221" y="41175"/>
                    </a:lnTo>
                    <a:lnTo>
                      <a:pt x="12520" y="32975"/>
                    </a:lnTo>
                    <a:lnTo>
                      <a:pt x="10757" y="20455"/>
                    </a:lnTo>
                    <a:lnTo>
                      <a:pt x="10757" y="16664"/>
                    </a:lnTo>
                    <a:lnTo>
                      <a:pt x="13401" y="15518"/>
                    </a:lnTo>
                    <a:lnTo>
                      <a:pt x="15165" y="13754"/>
                    </a:lnTo>
                    <a:lnTo>
                      <a:pt x="17193" y="14636"/>
                    </a:lnTo>
                    <a:lnTo>
                      <a:pt x="17810" y="13137"/>
                    </a:lnTo>
                    <a:lnTo>
                      <a:pt x="18074" y="8817"/>
                    </a:lnTo>
                    <a:lnTo>
                      <a:pt x="21866" y="8200"/>
                    </a:lnTo>
                    <a:lnTo>
                      <a:pt x="24775" y="7582"/>
                    </a:lnTo>
                    <a:lnTo>
                      <a:pt x="27068" y="9081"/>
                    </a:lnTo>
                    <a:lnTo>
                      <a:pt x="31741" y="8464"/>
                    </a:lnTo>
                    <a:lnTo>
                      <a:pt x="32887" y="12608"/>
                    </a:lnTo>
                    <a:lnTo>
                      <a:pt x="35532" y="15518"/>
                    </a:lnTo>
                    <a:lnTo>
                      <a:pt x="36414" y="9699"/>
                    </a:lnTo>
                    <a:lnTo>
                      <a:pt x="42233" y="9699"/>
                    </a:lnTo>
                    <a:lnTo>
                      <a:pt x="43467" y="7318"/>
                    </a:lnTo>
                    <a:lnTo>
                      <a:pt x="41968" y="6172"/>
                    </a:lnTo>
                    <a:lnTo>
                      <a:pt x="41968" y="1763"/>
                    </a:lnTo>
                    <a:lnTo>
                      <a:pt x="48933" y="2910"/>
                    </a:lnTo>
                    <a:lnTo>
                      <a:pt x="50697" y="617"/>
                    </a:lnTo>
                    <a:lnTo>
                      <a:pt x="52460" y="0"/>
                    </a:lnTo>
                    <a:lnTo>
                      <a:pt x="53695" y="2381"/>
                    </a:lnTo>
                    <a:lnTo>
                      <a:pt x="52460" y="5026"/>
                    </a:lnTo>
                    <a:lnTo>
                      <a:pt x="54224" y="6701"/>
                    </a:lnTo>
                    <a:lnTo>
                      <a:pt x="54488" y="7935"/>
                    </a:lnTo>
                    <a:lnTo>
                      <a:pt x="51931" y="10228"/>
                    </a:lnTo>
                    <a:lnTo>
                      <a:pt x="57750" y="13401"/>
                    </a:lnTo>
                    <a:lnTo>
                      <a:pt x="60043" y="10492"/>
                    </a:lnTo>
                    <a:lnTo>
                      <a:pt x="66215" y="7053"/>
                    </a:lnTo>
                    <a:lnTo>
                      <a:pt x="67625" y="7053"/>
                    </a:lnTo>
                    <a:lnTo>
                      <a:pt x="69124" y="9699"/>
                    </a:lnTo>
                    <a:lnTo>
                      <a:pt x="72915" y="10228"/>
                    </a:lnTo>
                    <a:lnTo>
                      <a:pt x="75825" y="9963"/>
                    </a:lnTo>
                    <a:lnTo>
                      <a:pt x="76971" y="11726"/>
                    </a:lnTo>
                    <a:lnTo>
                      <a:pt x="78470" y="13401"/>
                    </a:lnTo>
                    <a:lnTo>
                      <a:pt x="79616" y="14900"/>
                    </a:lnTo>
                    <a:lnTo>
                      <a:pt x="79616" y="15782"/>
                    </a:lnTo>
                    <a:lnTo>
                      <a:pt x="80145" y="16664"/>
                    </a:lnTo>
                    <a:lnTo>
                      <a:pt x="80762" y="18956"/>
                    </a:lnTo>
                    <a:lnTo>
                      <a:pt x="80762" y="21337"/>
                    </a:lnTo>
                    <a:lnTo>
                      <a:pt x="84024" y="22218"/>
                    </a:lnTo>
                    <a:lnTo>
                      <a:pt x="83407" y="24864"/>
                    </a:lnTo>
                    <a:lnTo>
                      <a:pt x="84818" y="25745"/>
                    </a:lnTo>
                    <a:lnTo>
                      <a:pt x="85700" y="27773"/>
                    </a:lnTo>
                    <a:lnTo>
                      <a:pt x="88080" y="28655"/>
                    </a:lnTo>
                    <a:lnTo>
                      <a:pt x="90990" y="27773"/>
                    </a:lnTo>
                    <a:lnTo>
                      <a:pt x="93899" y="24864"/>
                    </a:lnTo>
                    <a:lnTo>
                      <a:pt x="98572" y="21866"/>
                    </a:lnTo>
                    <a:lnTo>
                      <a:pt x="102011" y="21337"/>
                    </a:lnTo>
                    <a:lnTo>
                      <a:pt x="108447" y="18956"/>
                    </a:lnTo>
                    <a:lnTo>
                      <a:pt x="110210" y="19309"/>
                    </a:lnTo>
                    <a:lnTo>
                      <a:pt x="116647" y="21601"/>
                    </a:lnTo>
                    <a:lnTo>
                      <a:pt x="119292" y="21866"/>
                    </a:lnTo>
                    <a:lnTo>
                      <a:pt x="122731" y="25745"/>
                    </a:lnTo>
                    <a:lnTo>
                      <a:pt x="126522" y="28655"/>
                    </a:lnTo>
                    <a:lnTo>
                      <a:pt x="128020" y="32710"/>
                    </a:lnTo>
                    <a:lnTo>
                      <a:pt x="130048" y="30683"/>
                    </a:lnTo>
                    <a:lnTo>
                      <a:pt x="129784" y="33857"/>
                    </a:lnTo>
                    <a:lnTo>
                      <a:pt x="130048" y="36502"/>
                    </a:lnTo>
                    <a:lnTo>
                      <a:pt x="128285" y="41439"/>
                    </a:lnTo>
                    <a:lnTo>
                      <a:pt x="134457" y="62776"/>
                    </a:lnTo>
                    <a:lnTo>
                      <a:pt x="132076" y="67096"/>
                    </a:lnTo>
                    <a:lnTo>
                      <a:pt x="128285" y="68595"/>
                    </a:lnTo>
                    <a:lnTo>
                      <a:pt x="124229" y="86934"/>
                    </a:lnTo>
                    <a:lnTo>
                      <a:pt x="120703" y="90725"/>
                    </a:lnTo>
                    <a:lnTo>
                      <a:pt x="119027" y="99454"/>
                    </a:lnTo>
                    <a:lnTo>
                      <a:pt x="119292" y="111445"/>
                    </a:lnTo>
                    <a:lnTo>
                      <a:pt x="122466" y="125111"/>
                    </a:lnTo>
                    <a:lnTo>
                      <a:pt x="123965" y="127227"/>
                    </a:lnTo>
                    <a:lnTo>
                      <a:pt x="128285" y="128020"/>
                    </a:lnTo>
                    <a:lnTo>
                      <a:pt x="128285" y="133575"/>
                    </a:lnTo>
                    <a:lnTo>
                      <a:pt x="128638" y="136220"/>
                    </a:lnTo>
                    <a:lnTo>
                      <a:pt x="120703" y="139747"/>
                    </a:lnTo>
                    <a:lnTo>
                      <a:pt x="120703" y="140276"/>
                    </a:lnTo>
                    <a:lnTo>
                      <a:pt x="119027" y="140893"/>
                    </a:lnTo>
                    <a:lnTo>
                      <a:pt x="117264" y="139747"/>
                    </a:lnTo>
                    <a:lnTo>
                      <a:pt x="118146" y="139130"/>
                    </a:lnTo>
                    <a:lnTo>
                      <a:pt x="121055" y="139130"/>
                    </a:lnTo>
                    <a:lnTo>
                      <a:pt x="121937" y="138601"/>
                    </a:lnTo>
                    <a:lnTo>
                      <a:pt x="121055" y="137983"/>
                    </a:lnTo>
                    <a:lnTo>
                      <a:pt x="123083" y="136837"/>
                    </a:lnTo>
                    <a:lnTo>
                      <a:pt x="121055" y="135956"/>
                    </a:lnTo>
                    <a:lnTo>
                      <a:pt x="121937" y="134457"/>
                    </a:lnTo>
                    <a:lnTo>
                      <a:pt x="120438" y="134192"/>
                    </a:lnTo>
                    <a:lnTo>
                      <a:pt x="118675" y="133311"/>
                    </a:lnTo>
                    <a:lnTo>
                      <a:pt x="117264" y="134192"/>
                    </a:lnTo>
                    <a:lnTo>
                      <a:pt x="116030" y="137983"/>
                    </a:lnTo>
                    <a:lnTo>
                      <a:pt x="109681" y="138601"/>
                    </a:lnTo>
                    <a:lnTo>
                      <a:pt x="107301" y="138248"/>
                    </a:lnTo>
                    <a:lnTo>
                      <a:pt x="106772" y="138248"/>
                    </a:lnTo>
                    <a:lnTo>
                      <a:pt x="103510" y="136837"/>
                    </a:lnTo>
                    <a:lnTo>
                      <a:pt x="102363" y="135956"/>
                    </a:lnTo>
                    <a:lnTo>
                      <a:pt x="105890" y="136220"/>
                    </a:lnTo>
                    <a:lnTo>
                      <a:pt x="107301" y="135956"/>
                    </a:lnTo>
                    <a:lnTo>
                      <a:pt x="105890" y="134457"/>
                    </a:lnTo>
                    <a:lnTo>
                      <a:pt x="102981" y="133575"/>
                    </a:lnTo>
                    <a:lnTo>
                      <a:pt x="102011" y="135339"/>
                    </a:lnTo>
                    <a:lnTo>
                      <a:pt x="99983" y="135956"/>
                    </a:lnTo>
                    <a:lnTo>
                      <a:pt x="95663" y="135956"/>
                    </a:lnTo>
                    <a:lnTo>
                      <a:pt x="93282" y="136220"/>
                    </a:lnTo>
                    <a:lnTo>
                      <a:pt x="91254" y="136220"/>
                    </a:lnTo>
                    <a:lnTo>
                      <a:pt x="88609" y="135339"/>
                    </a:lnTo>
                    <a:lnTo>
                      <a:pt x="85700" y="136837"/>
                    </a:lnTo>
                    <a:lnTo>
                      <a:pt x="86317" y="136220"/>
                    </a:lnTo>
                    <a:lnTo>
                      <a:pt x="85700" y="136220"/>
                    </a:lnTo>
                    <a:lnTo>
                      <a:pt x="84818" y="136837"/>
                    </a:lnTo>
                    <a:lnTo>
                      <a:pt x="83407" y="138601"/>
                    </a:lnTo>
                    <a:lnTo>
                      <a:pt x="85700" y="138248"/>
                    </a:lnTo>
                    <a:lnTo>
                      <a:pt x="87816" y="137102"/>
                    </a:lnTo>
                    <a:lnTo>
                      <a:pt x="89226" y="136837"/>
                    </a:lnTo>
                    <a:lnTo>
                      <a:pt x="97073" y="136837"/>
                    </a:lnTo>
                    <a:lnTo>
                      <a:pt x="96544" y="137983"/>
                    </a:lnTo>
                    <a:lnTo>
                      <a:pt x="86581" y="139747"/>
                    </a:lnTo>
                    <a:lnTo>
                      <a:pt x="83407" y="139482"/>
                    </a:lnTo>
                    <a:lnTo>
                      <a:pt x="80498" y="137983"/>
                    </a:lnTo>
                    <a:lnTo>
                      <a:pt x="76354" y="137366"/>
                    </a:lnTo>
                    <a:lnTo>
                      <a:pt x="73797" y="137102"/>
                    </a:lnTo>
                    <a:lnTo>
                      <a:pt x="72563" y="136220"/>
                    </a:lnTo>
                    <a:lnTo>
                      <a:pt x="71769" y="137102"/>
                    </a:lnTo>
                    <a:lnTo>
                      <a:pt x="71769" y="138865"/>
                    </a:lnTo>
                    <a:lnTo>
                      <a:pt x="74061" y="137983"/>
                    </a:lnTo>
                    <a:lnTo>
                      <a:pt x="78999" y="139130"/>
                    </a:lnTo>
                    <a:lnTo>
                      <a:pt x="77853" y="139747"/>
                    </a:lnTo>
                    <a:lnTo>
                      <a:pt x="66479" y="139747"/>
                    </a:lnTo>
                    <a:lnTo>
                      <a:pt x="63569" y="141158"/>
                    </a:lnTo>
                    <a:lnTo>
                      <a:pt x="59778" y="141775"/>
                    </a:lnTo>
                    <a:lnTo>
                      <a:pt x="41086" y="148476"/>
                    </a:lnTo>
                    <a:lnTo>
                      <a:pt x="37648" y="150856"/>
                    </a:lnTo>
                    <a:lnTo>
                      <a:pt x="32622" y="152267"/>
                    </a:lnTo>
                    <a:lnTo>
                      <a:pt x="30594" y="154647"/>
                    </a:lnTo>
                    <a:lnTo>
                      <a:pt x="29448" y="157557"/>
                    </a:lnTo>
                    <a:lnTo>
                      <a:pt x="27685" y="159320"/>
                    </a:lnTo>
                    <a:lnTo>
                      <a:pt x="25922" y="159320"/>
                    </a:lnTo>
                    <a:lnTo>
                      <a:pt x="22483" y="16011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5" name="Freihandform: Form 1814">
                <a:extLst>
                  <a:ext uri="{FF2B5EF4-FFF2-40B4-BE49-F238E27FC236}">
                    <a16:creationId xmlns:a16="http://schemas.microsoft.com/office/drawing/2014/main" id="{4E7F06FE-B8D9-CE8A-03BE-A462569F393D}"/>
                  </a:ext>
                </a:extLst>
              </p:cNvPr>
              <p:cNvSpPr/>
              <p:nvPr/>
            </p:nvSpPr>
            <p:spPr>
              <a:xfrm>
                <a:off x="4314332" y="4057287"/>
                <a:ext cx="165051" cy="217511"/>
              </a:xfrm>
              <a:custGeom>
                <a:avLst/>
                <a:gdLst>
                  <a:gd name="connsiteX0" fmla="*/ 42497 w 165051"/>
                  <a:gd name="connsiteY0" fmla="*/ 208165 h 217511"/>
                  <a:gd name="connsiteX1" fmla="*/ 42497 w 165051"/>
                  <a:gd name="connsiteY1" fmla="*/ 206755 h 217511"/>
                  <a:gd name="connsiteX2" fmla="*/ 42850 w 165051"/>
                  <a:gd name="connsiteY2" fmla="*/ 206490 h 217511"/>
                  <a:gd name="connsiteX3" fmla="*/ 43114 w 165051"/>
                  <a:gd name="connsiteY3" fmla="*/ 206755 h 217511"/>
                  <a:gd name="connsiteX4" fmla="*/ 44878 w 165051"/>
                  <a:gd name="connsiteY4" fmla="*/ 208165 h 217511"/>
                  <a:gd name="connsiteX5" fmla="*/ 44878 w 165051"/>
                  <a:gd name="connsiteY5" fmla="*/ 209400 h 217511"/>
                  <a:gd name="connsiteX6" fmla="*/ 46905 w 165051"/>
                  <a:gd name="connsiteY6" fmla="*/ 211428 h 217511"/>
                  <a:gd name="connsiteX7" fmla="*/ 48933 w 165051"/>
                  <a:gd name="connsiteY7" fmla="*/ 211692 h 217511"/>
                  <a:gd name="connsiteX8" fmla="*/ 48933 w 165051"/>
                  <a:gd name="connsiteY8" fmla="*/ 213720 h 217511"/>
                  <a:gd name="connsiteX9" fmla="*/ 49551 w 165051"/>
                  <a:gd name="connsiteY9" fmla="*/ 214073 h 217511"/>
                  <a:gd name="connsiteX10" fmla="*/ 50080 w 165051"/>
                  <a:gd name="connsiteY10" fmla="*/ 213720 h 217511"/>
                  <a:gd name="connsiteX11" fmla="*/ 51578 w 165051"/>
                  <a:gd name="connsiteY11" fmla="*/ 212309 h 217511"/>
                  <a:gd name="connsiteX12" fmla="*/ 51314 w 165051"/>
                  <a:gd name="connsiteY12" fmla="*/ 211428 h 217511"/>
                  <a:gd name="connsiteX13" fmla="*/ 52196 w 165051"/>
                  <a:gd name="connsiteY13" fmla="*/ 211428 h 217511"/>
                  <a:gd name="connsiteX14" fmla="*/ 53342 w 165051"/>
                  <a:gd name="connsiteY14" fmla="*/ 211692 h 217511"/>
                  <a:gd name="connsiteX15" fmla="*/ 53871 w 165051"/>
                  <a:gd name="connsiteY15" fmla="*/ 211692 h 217511"/>
                  <a:gd name="connsiteX16" fmla="*/ 54224 w 165051"/>
                  <a:gd name="connsiteY16" fmla="*/ 210811 h 217511"/>
                  <a:gd name="connsiteX17" fmla="*/ 55634 w 165051"/>
                  <a:gd name="connsiteY17" fmla="*/ 210811 h 217511"/>
                  <a:gd name="connsiteX18" fmla="*/ 55634 w 165051"/>
                  <a:gd name="connsiteY18" fmla="*/ 209664 h 217511"/>
                  <a:gd name="connsiteX19" fmla="*/ 56516 w 165051"/>
                  <a:gd name="connsiteY19" fmla="*/ 209664 h 217511"/>
                  <a:gd name="connsiteX20" fmla="*/ 56516 w 165051"/>
                  <a:gd name="connsiteY20" fmla="*/ 208518 h 217511"/>
                  <a:gd name="connsiteX21" fmla="*/ 56516 w 165051"/>
                  <a:gd name="connsiteY21" fmla="*/ 204991 h 217511"/>
                  <a:gd name="connsiteX22" fmla="*/ 56516 w 165051"/>
                  <a:gd name="connsiteY22" fmla="*/ 203581 h 217511"/>
                  <a:gd name="connsiteX23" fmla="*/ 58808 w 165051"/>
                  <a:gd name="connsiteY23" fmla="*/ 202611 h 217511"/>
                  <a:gd name="connsiteX24" fmla="*/ 59161 w 165051"/>
                  <a:gd name="connsiteY24" fmla="*/ 203581 h 217511"/>
                  <a:gd name="connsiteX25" fmla="*/ 60043 w 165051"/>
                  <a:gd name="connsiteY25" fmla="*/ 204110 h 217511"/>
                  <a:gd name="connsiteX26" fmla="*/ 61453 w 165051"/>
                  <a:gd name="connsiteY26" fmla="*/ 204727 h 217511"/>
                  <a:gd name="connsiteX27" fmla="*/ 62952 w 165051"/>
                  <a:gd name="connsiteY27" fmla="*/ 203581 h 217511"/>
                  <a:gd name="connsiteX28" fmla="*/ 62952 w 165051"/>
                  <a:gd name="connsiteY28" fmla="*/ 203228 h 217511"/>
                  <a:gd name="connsiteX29" fmla="*/ 63834 w 165051"/>
                  <a:gd name="connsiteY29" fmla="*/ 202346 h 217511"/>
                  <a:gd name="connsiteX30" fmla="*/ 66743 w 165051"/>
                  <a:gd name="connsiteY30" fmla="*/ 201465 h 217511"/>
                  <a:gd name="connsiteX31" fmla="*/ 69388 w 165051"/>
                  <a:gd name="connsiteY31" fmla="*/ 200583 h 217511"/>
                  <a:gd name="connsiteX32" fmla="*/ 71681 w 165051"/>
                  <a:gd name="connsiteY32" fmla="*/ 198908 h 217511"/>
                  <a:gd name="connsiteX33" fmla="*/ 71152 w 165051"/>
                  <a:gd name="connsiteY33" fmla="*/ 200936 h 217511"/>
                  <a:gd name="connsiteX34" fmla="*/ 72562 w 165051"/>
                  <a:gd name="connsiteY34" fmla="*/ 202346 h 217511"/>
                  <a:gd name="connsiteX35" fmla="*/ 73180 w 165051"/>
                  <a:gd name="connsiteY35" fmla="*/ 203228 h 217511"/>
                  <a:gd name="connsiteX36" fmla="*/ 72298 w 165051"/>
                  <a:gd name="connsiteY36" fmla="*/ 204991 h 217511"/>
                  <a:gd name="connsiteX37" fmla="*/ 71152 w 165051"/>
                  <a:gd name="connsiteY37" fmla="*/ 204991 h 217511"/>
                  <a:gd name="connsiteX38" fmla="*/ 70535 w 165051"/>
                  <a:gd name="connsiteY38" fmla="*/ 205873 h 217511"/>
                  <a:gd name="connsiteX39" fmla="*/ 70799 w 165051"/>
                  <a:gd name="connsiteY39" fmla="*/ 208165 h 217511"/>
                  <a:gd name="connsiteX40" fmla="*/ 72298 w 165051"/>
                  <a:gd name="connsiteY40" fmla="*/ 209400 h 217511"/>
                  <a:gd name="connsiteX41" fmla="*/ 71681 w 165051"/>
                  <a:gd name="connsiteY41" fmla="*/ 211428 h 217511"/>
                  <a:gd name="connsiteX42" fmla="*/ 72298 w 165051"/>
                  <a:gd name="connsiteY42" fmla="*/ 211692 h 217511"/>
                  <a:gd name="connsiteX43" fmla="*/ 71681 w 165051"/>
                  <a:gd name="connsiteY43" fmla="*/ 212838 h 217511"/>
                  <a:gd name="connsiteX44" fmla="*/ 71681 w 165051"/>
                  <a:gd name="connsiteY44" fmla="*/ 214073 h 217511"/>
                  <a:gd name="connsiteX45" fmla="*/ 72827 w 165051"/>
                  <a:gd name="connsiteY45" fmla="*/ 212838 h 217511"/>
                  <a:gd name="connsiteX46" fmla="*/ 74326 w 165051"/>
                  <a:gd name="connsiteY46" fmla="*/ 213720 h 217511"/>
                  <a:gd name="connsiteX47" fmla="*/ 75472 w 165051"/>
                  <a:gd name="connsiteY47" fmla="*/ 214073 h 217511"/>
                  <a:gd name="connsiteX48" fmla="*/ 77235 w 165051"/>
                  <a:gd name="connsiteY48" fmla="*/ 215484 h 217511"/>
                  <a:gd name="connsiteX49" fmla="*/ 80762 w 165051"/>
                  <a:gd name="connsiteY49" fmla="*/ 212838 h 217511"/>
                  <a:gd name="connsiteX50" fmla="*/ 82525 w 165051"/>
                  <a:gd name="connsiteY50" fmla="*/ 208518 h 217511"/>
                  <a:gd name="connsiteX51" fmla="*/ 85082 w 165051"/>
                  <a:gd name="connsiteY51" fmla="*/ 205873 h 217511"/>
                  <a:gd name="connsiteX52" fmla="*/ 86581 w 165051"/>
                  <a:gd name="connsiteY52" fmla="*/ 204727 h 217511"/>
                  <a:gd name="connsiteX53" fmla="*/ 88874 w 165051"/>
                  <a:gd name="connsiteY53" fmla="*/ 200936 h 217511"/>
                  <a:gd name="connsiteX54" fmla="*/ 91519 w 165051"/>
                  <a:gd name="connsiteY54" fmla="*/ 199701 h 217511"/>
                  <a:gd name="connsiteX55" fmla="*/ 93547 w 165051"/>
                  <a:gd name="connsiteY55" fmla="*/ 199701 h 217511"/>
                  <a:gd name="connsiteX56" fmla="*/ 94428 w 165051"/>
                  <a:gd name="connsiteY56" fmla="*/ 198908 h 217511"/>
                  <a:gd name="connsiteX57" fmla="*/ 95574 w 165051"/>
                  <a:gd name="connsiteY57" fmla="*/ 198291 h 217511"/>
                  <a:gd name="connsiteX58" fmla="*/ 95574 w 165051"/>
                  <a:gd name="connsiteY58" fmla="*/ 195381 h 217511"/>
                  <a:gd name="connsiteX59" fmla="*/ 96809 w 165051"/>
                  <a:gd name="connsiteY59" fmla="*/ 193353 h 217511"/>
                  <a:gd name="connsiteX60" fmla="*/ 99983 w 165051"/>
                  <a:gd name="connsiteY60" fmla="*/ 191854 h 217511"/>
                  <a:gd name="connsiteX61" fmla="*/ 103245 w 165051"/>
                  <a:gd name="connsiteY61" fmla="*/ 191325 h 217511"/>
                  <a:gd name="connsiteX62" fmla="*/ 104656 w 165051"/>
                  <a:gd name="connsiteY62" fmla="*/ 190444 h 217511"/>
                  <a:gd name="connsiteX63" fmla="*/ 105538 w 165051"/>
                  <a:gd name="connsiteY63" fmla="*/ 188680 h 217511"/>
                  <a:gd name="connsiteX64" fmla="*/ 106948 w 165051"/>
                  <a:gd name="connsiteY64" fmla="*/ 184272 h 217511"/>
                  <a:gd name="connsiteX65" fmla="*/ 107565 w 165051"/>
                  <a:gd name="connsiteY65" fmla="*/ 182861 h 217511"/>
                  <a:gd name="connsiteX66" fmla="*/ 109064 w 165051"/>
                  <a:gd name="connsiteY66" fmla="*/ 181979 h 217511"/>
                  <a:gd name="connsiteX67" fmla="*/ 109593 w 165051"/>
                  <a:gd name="connsiteY67" fmla="*/ 178717 h 217511"/>
                  <a:gd name="connsiteX68" fmla="*/ 110827 w 165051"/>
                  <a:gd name="connsiteY68" fmla="*/ 177571 h 217511"/>
                  <a:gd name="connsiteX69" fmla="*/ 112238 w 165051"/>
                  <a:gd name="connsiteY69" fmla="*/ 175543 h 217511"/>
                  <a:gd name="connsiteX70" fmla="*/ 111621 w 165051"/>
                  <a:gd name="connsiteY70" fmla="*/ 174397 h 217511"/>
                  <a:gd name="connsiteX71" fmla="*/ 110827 w 165051"/>
                  <a:gd name="connsiteY71" fmla="*/ 173251 h 217511"/>
                  <a:gd name="connsiteX72" fmla="*/ 110827 w 165051"/>
                  <a:gd name="connsiteY72" fmla="*/ 172016 h 217511"/>
                  <a:gd name="connsiteX73" fmla="*/ 110827 w 165051"/>
                  <a:gd name="connsiteY73" fmla="*/ 171487 h 217511"/>
                  <a:gd name="connsiteX74" fmla="*/ 110827 w 165051"/>
                  <a:gd name="connsiteY74" fmla="*/ 167079 h 217511"/>
                  <a:gd name="connsiteX75" fmla="*/ 110827 w 165051"/>
                  <a:gd name="connsiteY75" fmla="*/ 164434 h 217511"/>
                  <a:gd name="connsiteX76" fmla="*/ 110827 w 165051"/>
                  <a:gd name="connsiteY76" fmla="*/ 159761 h 217511"/>
                  <a:gd name="connsiteX77" fmla="*/ 112238 w 165051"/>
                  <a:gd name="connsiteY77" fmla="*/ 158879 h 217511"/>
                  <a:gd name="connsiteX78" fmla="*/ 110827 w 165051"/>
                  <a:gd name="connsiteY78" fmla="*/ 151914 h 217511"/>
                  <a:gd name="connsiteX79" fmla="*/ 110827 w 165051"/>
                  <a:gd name="connsiteY79" fmla="*/ 148740 h 217511"/>
                  <a:gd name="connsiteX80" fmla="*/ 110827 w 165051"/>
                  <a:gd name="connsiteY80" fmla="*/ 146624 h 217511"/>
                  <a:gd name="connsiteX81" fmla="*/ 112238 w 165051"/>
                  <a:gd name="connsiteY81" fmla="*/ 144949 h 217511"/>
                  <a:gd name="connsiteX82" fmla="*/ 115148 w 165051"/>
                  <a:gd name="connsiteY82" fmla="*/ 142568 h 217511"/>
                  <a:gd name="connsiteX83" fmla="*/ 118410 w 165051"/>
                  <a:gd name="connsiteY83" fmla="*/ 139041 h 217511"/>
                  <a:gd name="connsiteX84" fmla="*/ 121320 w 165051"/>
                  <a:gd name="connsiteY84" fmla="*/ 133575 h 217511"/>
                  <a:gd name="connsiteX85" fmla="*/ 123612 w 165051"/>
                  <a:gd name="connsiteY85" fmla="*/ 128020 h 217511"/>
                  <a:gd name="connsiteX86" fmla="*/ 124494 w 165051"/>
                  <a:gd name="connsiteY86" fmla="*/ 125375 h 217511"/>
                  <a:gd name="connsiteX87" fmla="*/ 125992 w 165051"/>
                  <a:gd name="connsiteY87" fmla="*/ 123347 h 217511"/>
                  <a:gd name="connsiteX88" fmla="*/ 128020 w 165051"/>
                  <a:gd name="connsiteY88" fmla="*/ 120967 h 217511"/>
                  <a:gd name="connsiteX89" fmla="*/ 131459 w 165051"/>
                  <a:gd name="connsiteY89" fmla="*/ 119204 h 217511"/>
                  <a:gd name="connsiteX90" fmla="*/ 134721 w 165051"/>
                  <a:gd name="connsiteY90" fmla="*/ 118057 h 217511"/>
                  <a:gd name="connsiteX91" fmla="*/ 136132 w 165051"/>
                  <a:gd name="connsiteY91" fmla="*/ 117793 h 217511"/>
                  <a:gd name="connsiteX92" fmla="*/ 140805 w 165051"/>
                  <a:gd name="connsiteY92" fmla="*/ 112238 h 217511"/>
                  <a:gd name="connsiteX93" fmla="*/ 143450 w 165051"/>
                  <a:gd name="connsiteY93" fmla="*/ 107830 h 217511"/>
                  <a:gd name="connsiteX94" fmla="*/ 144949 w 165051"/>
                  <a:gd name="connsiteY94" fmla="*/ 105802 h 217511"/>
                  <a:gd name="connsiteX95" fmla="*/ 145478 w 165051"/>
                  <a:gd name="connsiteY95" fmla="*/ 101746 h 217511"/>
                  <a:gd name="connsiteX96" fmla="*/ 144949 w 165051"/>
                  <a:gd name="connsiteY96" fmla="*/ 98572 h 217511"/>
                  <a:gd name="connsiteX97" fmla="*/ 144949 w 165051"/>
                  <a:gd name="connsiteY97" fmla="*/ 95927 h 217511"/>
                  <a:gd name="connsiteX98" fmla="*/ 146359 w 165051"/>
                  <a:gd name="connsiteY98" fmla="*/ 88874 h 217511"/>
                  <a:gd name="connsiteX99" fmla="*/ 147506 w 165051"/>
                  <a:gd name="connsiteY99" fmla="*/ 86846 h 217511"/>
                  <a:gd name="connsiteX100" fmla="*/ 149886 w 165051"/>
                  <a:gd name="connsiteY100" fmla="*/ 83936 h 217511"/>
                  <a:gd name="connsiteX101" fmla="*/ 150151 w 165051"/>
                  <a:gd name="connsiteY101" fmla="*/ 81027 h 217511"/>
                  <a:gd name="connsiteX102" fmla="*/ 149886 w 165051"/>
                  <a:gd name="connsiteY102" fmla="*/ 80498 h 217511"/>
                  <a:gd name="connsiteX103" fmla="*/ 148740 w 165051"/>
                  <a:gd name="connsiteY103" fmla="*/ 77853 h 217511"/>
                  <a:gd name="connsiteX104" fmla="*/ 148740 w 165051"/>
                  <a:gd name="connsiteY104" fmla="*/ 75472 h 217511"/>
                  <a:gd name="connsiteX105" fmla="*/ 148740 w 165051"/>
                  <a:gd name="connsiteY105" fmla="*/ 72298 h 217511"/>
                  <a:gd name="connsiteX106" fmla="*/ 148123 w 165051"/>
                  <a:gd name="connsiteY106" fmla="*/ 68242 h 217511"/>
                  <a:gd name="connsiteX107" fmla="*/ 148740 w 165051"/>
                  <a:gd name="connsiteY107" fmla="*/ 66479 h 217511"/>
                  <a:gd name="connsiteX108" fmla="*/ 149622 w 165051"/>
                  <a:gd name="connsiteY108" fmla="*/ 63834 h 217511"/>
                  <a:gd name="connsiteX109" fmla="*/ 150415 w 165051"/>
                  <a:gd name="connsiteY109" fmla="*/ 61189 h 217511"/>
                  <a:gd name="connsiteX110" fmla="*/ 150415 w 165051"/>
                  <a:gd name="connsiteY110" fmla="*/ 59778 h 217511"/>
                  <a:gd name="connsiteX111" fmla="*/ 152178 w 165051"/>
                  <a:gd name="connsiteY111" fmla="*/ 54224 h 217511"/>
                  <a:gd name="connsiteX112" fmla="*/ 152178 w 165051"/>
                  <a:gd name="connsiteY112" fmla="*/ 49286 h 217511"/>
                  <a:gd name="connsiteX113" fmla="*/ 152178 w 165051"/>
                  <a:gd name="connsiteY113" fmla="*/ 46641 h 217511"/>
                  <a:gd name="connsiteX114" fmla="*/ 152178 w 165051"/>
                  <a:gd name="connsiteY114" fmla="*/ 44260 h 217511"/>
                  <a:gd name="connsiteX115" fmla="*/ 152178 w 165051"/>
                  <a:gd name="connsiteY115" fmla="*/ 41703 h 217511"/>
                  <a:gd name="connsiteX116" fmla="*/ 153060 w 165051"/>
                  <a:gd name="connsiteY116" fmla="*/ 39059 h 217511"/>
                  <a:gd name="connsiteX117" fmla="*/ 153060 w 165051"/>
                  <a:gd name="connsiteY117" fmla="*/ 37031 h 217511"/>
                  <a:gd name="connsiteX118" fmla="*/ 153060 w 165051"/>
                  <a:gd name="connsiteY118" fmla="*/ 35267 h 217511"/>
                  <a:gd name="connsiteX119" fmla="*/ 154559 w 165051"/>
                  <a:gd name="connsiteY119" fmla="*/ 34386 h 217511"/>
                  <a:gd name="connsiteX120" fmla="*/ 155705 w 165051"/>
                  <a:gd name="connsiteY120" fmla="*/ 32622 h 217511"/>
                  <a:gd name="connsiteX121" fmla="*/ 155705 w 165051"/>
                  <a:gd name="connsiteY121" fmla="*/ 29977 h 217511"/>
                  <a:gd name="connsiteX122" fmla="*/ 157733 w 165051"/>
                  <a:gd name="connsiteY122" fmla="*/ 28566 h 217511"/>
                  <a:gd name="connsiteX123" fmla="*/ 158879 w 165051"/>
                  <a:gd name="connsiteY123" fmla="*/ 27420 h 217511"/>
                  <a:gd name="connsiteX124" fmla="*/ 159761 w 165051"/>
                  <a:gd name="connsiteY124" fmla="*/ 24423 h 217511"/>
                  <a:gd name="connsiteX125" fmla="*/ 160378 w 165051"/>
                  <a:gd name="connsiteY125" fmla="*/ 22130 h 217511"/>
                  <a:gd name="connsiteX126" fmla="*/ 161789 w 165051"/>
                  <a:gd name="connsiteY126" fmla="*/ 18339 h 217511"/>
                  <a:gd name="connsiteX127" fmla="*/ 162406 w 165051"/>
                  <a:gd name="connsiteY127" fmla="*/ 15694 h 217511"/>
                  <a:gd name="connsiteX128" fmla="*/ 163905 w 165051"/>
                  <a:gd name="connsiteY128" fmla="*/ 13930 h 217511"/>
                  <a:gd name="connsiteX129" fmla="*/ 165051 w 165051"/>
                  <a:gd name="connsiteY129" fmla="*/ 12255 h 217511"/>
                  <a:gd name="connsiteX130" fmla="*/ 164787 w 165051"/>
                  <a:gd name="connsiteY130" fmla="*/ 11021 h 217511"/>
                  <a:gd name="connsiteX131" fmla="*/ 165051 w 165051"/>
                  <a:gd name="connsiteY131" fmla="*/ 9610 h 217511"/>
                  <a:gd name="connsiteX132" fmla="*/ 164787 w 165051"/>
                  <a:gd name="connsiteY132" fmla="*/ 5819 h 217511"/>
                  <a:gd name="connsiteX133" fmla="*/ 163552 w 165051"/>
                  <a:gd name="connsiteY133" fmla="*/ 5819 h 217511"/>
                  <a:gd name="connsiteX134" fmla="*/ 161260 w 165051"/>
                  <a:gd name="connsiteY134" fmla="*/ 2292 h 217511"/>
                  <a:gd name="connsiteX135" fmla="*/ 159761 w 165051"/>
                  <a:gd name="connsiteY135" fmla="*/ 3438 h 217511"/>
                  <a:gd name="connsiteX136" fmla="*/ 156587 w 165051"/>
                  <a:gd name="connsiteY136" fmla="*/ 3438 h 217511"/>
                  <a:gd name="connsiteX137" fmla="*/ 154559 w 165051"/>
                  <a:gd name="connsiteY137" fmla="*/ 5819 h 217511"/>
                  <a:gd name="connsiteX138" fmla="*/ 153942 w 165051"/>
                  <a:gd name="connsiteY138" fmla="*/ 4320 h 217511"/>
                  <a:gd name="connsiteX139" fmla="*/ 152796 w 165051"/>
                  <a:gd name="connsiteY139" fmla="*/ 4056 h 217511"/>
                  <a:gd name="connsiteX140" fmla="*/ 150151 w 165051"/>
                  <a:gd name="connsiteY140" fmla="*/ 4585 h 217511"/>
                  <a:gd name="connsiteX141" fmla="*/ 149269 w 165051"/>
                  <a:gd name="connsiteY141" fmla="*/ 3438 h 217511"/>
                  <a:gd name="connsiteX142" fmla="*/ 147858 w 165051"/>
                  <a:gd name="connsiteY142" fmla="*/ 4585 h 217511"/>
                  <a:gd name="connsiteX143" fmla="*/ 146977 w 165051"/>
                  <a:gd name="connsiteY143" fmla="*/ 2557 h 217511"/>
                  <a:gd name="connsiteX144" fmla="*/ 142304 w 165051"/>
                  <a:gd name="connsiteY144" fmla="*/ 2292 h 217511"/>
                  <a:gd name="connsiteX145" fmla="*/ 139394 w 165051"/>
                  <a:gd name="connsiteY145" fmla="*/ 0 h 217511"/>
                  <a:gd name="connsiteX146" fmla="*/ 136132 w 165051"/>
                  <a:gd name="connsiteY146" fmla="*/ 2557 h 217511"/>
                  <a:gd name="connsiteX147" fmla="*/ 134104 w 165051"/>
                  <a:gd name="connsiteY147" fmla="*/ 2557 h 217511"/>
                  <a:gd name="connsiteX148" fmla="*/ 133575 w 165051"/>
                  <a:gd name="connsiteY148" fmla="*/ 3438 h 217511"/>
                  <a:gd name="connsiteX149" fmla="*/ 130577 w 165051"/>
                  <a:gd name="connsiteY149" fmla="*/ 3438 h 217511"/>
                  <a:gd name="connsiteX150" fmla="*/ 128285 w 165051"/>
                  <a:gd name="connsiteY150" fmla="*/ 4585 h 217511"/>
                  <a:gd name="connsiteX151" fmla="*/ 125992 w 165051"/>
                  <a:gd name="connsiteY151" fmla="*/ 4056 h 217511"/>
                  <a:gd name="connsiteX152" fmla="*/ 125992 w 165051"/>
                  <a:gd name="connsiteY152" fmla="*/ 4585 h 217511"/>
                  <a:gd name="connsiteX153" fmla="*/ 124229 w 165051"/>
                  <a:gd name="connsiteY153" fmla="*/ 4937 h 217511"/>
                  <a:gd name="connsiteX154" fmla="*/ 122201 w 165051"/>
                  <a:gd name="connsiteY154" fmla="*/ 4320 h 217511"/>
                  <a:gd name="connsiteX155" fmla="*/ 119556 w 165051"/>
                  <a:gd name="connsiteY155" fmla="*/ 5819 h 217511"/>
                  <a:gd name="connsiteX156" fmla="*/ 117528 w 165051"/>
                  <a:gd name="connsiteY156" fmla="*/ 13930 h 217511"/>
                  <a:gd name="connsiteX157" fmla="*/ 117528 w 165051"/>
                  <a:gd name="connsiteY157" fmla="*/ 21249 h 217511"/>
                  <a:gd name="connsiteX158" fmla="*/ 110827 w 165051"/>
                  <a:gd name="connsiteY158" fmla="*/ 37031 h 217511"/>
                  <a:gd name="connsiteX159" fmla="*/ 110475 w 165051"/>
                  <a:gd name="connsiteY159" fmla="*/ 38441 h 217511"/>
                  <a:gd name="connsiteX160" fmla="*/ 109329 w 165051"/>
                  <a:gd name="connsiteY160" fmla="*/ 37295 h 217511"/>
                  <a:gd name="connsiteX161" fmla="*/ 108183 w 165051"/>
                  <a:gd name="connsiteY161" fmla="*/ 38441 h 217511"/>
                  <a:gd name="connsiteX162" fmla="*/ 108183 w 165051"/>
                  <a:gd name="connsiteY162" fmla="*/ 43731 h 217511"/>
                  <a:gd name="connsiteX163" fmla="*/ 110475 w 165051"/>
                  <a:gd name="connsiteY163" fmla="*/ 49286 h 217511"/>
                  <a:gd name="connsiteX164" fmla="*/ 108183 w 165051"/>
                  <a:gd name="connsiteY164" fmla="*/ 51843 h 217511"/>
                  <a:gd name="connsiteX165" fmla="*/ 107301 w 165051"/>
                  <a:gd name="connsiteY165" fmla="*/ 48933 h 217511"/>
                  <a:gd name="connsiteX166" fmla="*/ 104656 w 165051"/>
                  <a:gd name="connsiteY166" fmla="*/ 47523 h 217511"/>
                  <a:gd name="connsiteX167" fmla="*/ 100247 w 165051"/>
                  <a:gd name="connsiteY167" fmla="*/ 44260 h 217511"/>
                  <a:gd name="connsiteX168" fmla="*/ 95927 w 165051"/>
                  <a:gd name="connsiteY168" fmla="*/ 43379 h 217511"/>
                  <a:gd name="connsiteX169" fmla="*/ 92400 w 165051"/>
                  <a:gd name="connsiteY169" fmla="*/ 44878 h 217511"/>
                  <a:gd name="connsiteX170" fmla="*/ 90020 w 165051"/>
                  <a:gd name="connsiteY170" fmla="*/ 41968 h 217511"/>
                  <a:gd name="connsiteX171" fmla="*/ 88345 w 165051"/>
                  <a:gd name="connsiteY171" fmla="*/ 41968 h 217511"/>
                  <a:gd name="connsiteX172" fmla="*/ 88345 w 165051"/>
                  <a:gd name="connsiteY172" fmla="*/ 42850 h 217511"/>
                  <a:gd name="connsiteX173" fmla="*/ 87463 w 165051"/>
                  <a:gd name="connsiteY173" fmla="*/ 41968 h 217511"/>
                  <a:gd name="connsiteX174" fmla="*/ 86846 w 165051"/>
                  <a:gd name="connsiteY174" fmla="*/ 43379 h 217511"/>
                  <a:gd name="connsiteX175" fmla="*/ 84201 w 165051"/>
                  <a:gd name="connsiteY175" fmla="*/ 41968 h 217511"/>
                  <a:gd name="connsiteX176" fmla="*/ 84201 w 165051"/>
                  <a:gd name="connsiteY176" fmla="*/ 42850 h 217511"/>
                  <a:gd name="connsiteX177" fmla="*/ 82525 w 165051"/>
                  <a:gd name="connsiteY177" fmla="*/ 42850 h 217511"/>
                  <a:gd name="connsiteX178" fmla="*/ 81908 w 165051"/>
                  <a:gd name="connsiteY178" fmla="*/ 39940 h 217511"/>
                  <a:gd name="connsiteX179" fmla="*/ 79616 w 165051"/>
                  <a:gd name="connsiteY179" fmla="*/ 41351 h 217511"/>
                  <a:gd name="connsiteX180" fmla="*/ 79616 w 165051"/>
                  <a:gd name="connsiteY180" fmla="*/ 39940 h 217511"/>
                  <a:gd name="connsiteX181" fmla="*/ 78999 w 165051"/>
                  <a:gd name="connsiteY181" fmla="*/ 40469 h 217511"/>
                  <a:gd name="connsiteX182" fmla="*/ 78734 w 165051"/>
                  <a:gd name="connsiteY182" fmla="*/ 39059 h 217511"/>
                  <a:gd name="connsiteX183" fmla="*/ 78734 w 165051"/>
                  <a:gd name="connsiteY183" fmla="*/ 39940 h 217511"/>
                  <a:gd name="connsiteX184" fmla="*/ 75737 w 165051"/>
                  <a:gd name="connsiteY184" fmla="*/ 37295 h 217511"/>
                  <a:gd name="connsiteX185" fmla="*/ 75208 w 165051"/>
                  <a:gd name="connsiteY185" fmla="*/ 38441 h 217511"/>
                  <a:gd name="connsiteX186" fmla="*/ 69388 w 165051"/>
                  <a:gd name="connsiteY186" fmla="*/ 38794 h 217511"/>
                  <a:gd name="connsiteX187" fmla="*/ 47170 w 165051"/>
                  <a:gd name="connsiteY187" fmla="*/ 38441 h 217511"/>
                  <a:gd name="connsiteX188" fmla="*/ 46641 w 165051"/>
                  <a:gd name="connsiteY188" fmla="*/ 41703 h 217511"/>
                  <a:gd name="connsiteX189" fmla="*/ 45407 w 165051"/>
                  <a:gd name="connsiteY189" fmla="*/ 43379 h 217511"/>
                  <a:gd name="connsiteX190" fmla="*/ 45142 w 165051"/>
                  <a:gd name="connsiteY190" fmla="*/ 45495 h 217511"/>
                  <a:gd name="connsiteX191" fmla="*/ 44260 w 165051"/>
                  <a:gd name="connsiteY191" fmla="*/ 45495 h 217511"/>
                  <a:gd name="connsiteX192" fmla="*/ 45142 w 165051"/>
                  <a:gd name="connsiteY192" fmla="*/ 47523 h 217511"/>
                  <a:gd name="connsiteX193" fmla="*/ 44260 w 165051"/>
                  <a:gd name="connsiteY193" fmla="*/ 47787 h 217511"/>
                  <a:gd name="connsiteX194" fmla="*/ 43379 w 165051"/>
                  <a:gd name="connsiteY194" fmla="*/ 53077 h 217511"/>
                  <a:gd name="connsiteX195" fmla="*/ 45142 w 165051"/>
                  <a:gd name="connsiteY195" fmla="*/ 54224 h 217511"/>
                  <a:gd name="connsiteX196" fmla="*/ 46288 w 165051"/>
                  <a:gd name="connsiteY196" fmla="*/ 58015 h 217511"/>
                  <a:gd name="connsiteX197" fmla="*/ 44525 w 165051"/>
                  <a:gd name="connsiteY197" fmla="*/ 61806 h 217511"/>
                  <a:gd name="connsiteX198" fmla="*/ 48052 w 165051"/>
                  <a:gd name="connsiteY198" fmla="*/ 61806 h 217511"/>
                  <a:gd name="connsiteX199" fmla="*/ 49286 w 165051"/>
                  <a:gd name="connsiteY199" fmla="*/ 60043 h 217511"/>
                  <a:gd name="connsiteX200" fmla="*/ 52989 w 165051"/>
                  <a:gd name="connsiteY200" fmla="*/ 60660 h 217511"/>
                  <a:gd name="connsiteX201" fmla="*/ 54224 w 165051"/>
                  <a:gd name="connsiteY201" fmla="*/ 59425 h 217511"/>
                  <a:gd name="connsiteX202" fmla="*/ 57133 w 165051"/>
                  <a:gd name="connsiteY202" fmla="*/ 58015 h 217511"/>
                  <a:gd name="connsiteX203" fmla="*/ 58279 w 165051"/>
                  <a:gd name="connsiteY203" fmla="*/ 58632 h 217511"/>
                  <a:gd name="connsiteX204" fmla="*/ 58279 w 165051"/>
                  <a:gd name="connsiteY204" fmla="*/ 56868 h 217511"/>
                  <a:gd name="connsiteX205" fmla="*/ 67361 w 165051"/>
                  <a:gd name="connsiteY205" fmla="*/ 58015 h 217511"/>
                  <a:gd name="connsiteX206" fmla="*/ 69388 w 165051"/>
                  <a:gd name="connsiteY206" fmla="*/ 59778 h 217511"/>
                  <a:gd name="connsiteX207" fmla="*/ 71416 w 165051"/>
                  <a:gd name="connsiteY207" fmla="*/ 66479 h 217511"/>
                  <a:gd name="connsiteX208" fmla="*/ 73444 w 165051"/>
                  <a:gd name="connsiteY208" fmla="*/ 69388 h 217511"/>
                  <a:gd name="connsiteX209" fmla="*/ 71152 w 165051"/>
                  <a:gd name="connsiteY209" fmla="*/ 76971 h 217511"/>
                  <a:gd name="connsiteX210" fmla="*/ 68154 w 165051"/>
                  <a:gd name="connsiteY210" fmla="*/ 78999 h 217511"/>
                  <a:gd name="connsiteX211" fmla="*/ 66126 w 165051"/>
                  <a:gd name="connsiteY211" fmla="*/ 78734 h 217511"/>
                  <a:gd name="connsiteX212" fmla="*/ 64980 w 165051"/>
                  <a:gd name="connsiteY212" fmla="*/ 78999 h 217511"/>
                  <a:gd name="connsiteX213" fmla="*/ 64098 w 165051"/>
                  <a:gd name="connsiteY213" fmla="*/ 81291 h 217511"/>
                  <a:gd name="connsiteX214" fmla="*/ 62070 w 165051"/>
                  <a:gd name="connsiteY214" fmla="*/ 82790 h 217511"/>
                  <a:gd name="connsiteX215" fmla="*/ 60572 w 165051"/>
                  <a:gd name="connsiteY215" fmla="*/ 86846 h 217511"/>
                  <a:gd name="connsiteX216" fmla="*/ 60572 w 165051"/>
                  <a:gd name="connsiteY216" fmla="*/ 91254 h 217511"/>
                  <a:gd name="connsiteX217" fmla="*/ 63217 w 165051"/>
                  <a:gd name="connsiteY217" fmla="*/ 92665 h 217511"/>
                  <a:gd name="connsiteX218" fmla="*/ 63569 w 165051"/>
                  <a:gd name="connsiteY218" fmla="*/ 94781 h 217511"/>
                  <a:gd name="connsiteX219" fmla="*/ 60572 w 165051"/>
                  <a:gd name="connsiteY219" fmla="*/ 95310 h 217511"/>
                  <a:gd name="connsiteX220" fmla="*/ 60572 w 165051"/>
                  <a:gd name="connsiteY220" fmla="*/ 96456 h 217511"/>
                  <a:gd name="connsiteX221" fmla="*/ 63834 w 165051"/>
                  <a:gd name="connsiteY221" fmla="*/ 99366 h 217511"/>
                  <a:gd name="connsiteX222" fmla="*/ 64098 w 165051"/>
                  <a:gd name="connsiteY222" fmla="*/ 98572 h 217511"/>
                  <a:gd name="connsiteX223" fmla="*/ 66126 w 165051"/>
                  <a:gd name="connsiteY223" fmla="*/ 99718 h 217511"/>
                  <a:gd name="connsiteX224" fmla="*/ 67361 w 165051"/>
                  <a:gd name="connsiteY224" fmla="*/ 103774 h 217511"/>
                  <a:gd name="connsiteX225" fmla="*/ 68154 w 165051"/>
                  <a:gd name="connsiteY225" fmla="*/ 102628 h 217511"/>
                  <a:gd name="connsiteX226" fmla="*/ 69653 w 165051"/>
                  <a:gd name="connsiteY226" fmla="*/ 102628 h 217511"/>
                  <a:gd name="connsiteX227" fmla="*/ 72827 w 165051"/>
                  <a:gd name="connsiteY227" fmla="*/ 104391 h 217511"/>
                  <a:gd name="connsiteX228" fmla="*/ 74590 w 165051"/>
                  <a:gd name="connsiteY228" fmla="*/ 107830 h 217511"/>
                  <a:gd name="connsiteX229" fmla="*/ 72562 w 165051"/>
                  <a:gd name="connsiteY229" fmla="*/ 115765 h 217511"/>
                  <a:gd name="connsiteX230" fmla="*/ 73444 w 165051"/>
                  <a:gd name="connsiteY230" fmla="*/ 123347 h 217511"/>
                  <a:gd name="connsiteX231" fmla="*/ 73180 w 165051"/>
                  <a:gd name="connsiteY231" fmla="*/ 125992 h 217511"/>
                  <a:gd name="connsiteX232" fmla="*/ 74061 w 165051"/>
                  <a:gd name="connsiteY232" fmla="*/ 127403 h 217511"/>
                  <a:gd name="connsiteX233" fmla="*/ 73180 w 165051"/>
                  <a:gd name="connsiteY233" fmla="*/ 130048 h 217511"/>
                  <a:gd name="connsiteX234" fmla="*/ 73444 w 165051"/>
                  <a:gd name="connsiteY234" fmla="*/ 131195 h 217511"/>
                  <a:gd name="connsiteX235" fmla="*/ 71416 w 165051"/>
                  <a:gd name="connsiteY235" fmla="*/ 132693 h 217511"/>
                  <a:gd name="connsiteX236" fmla="*/ 72562 w 165051"/>
                  <a:gd name="connsiteY236" fmla="*/ 134369 h 217511"/>
                  <a:gd name="connsiteX237" fmla="*/ 73444 w 165051"/>
                  <a:gd name="connsiteY237" fmla="*/ 134369 h 217511"/>
                  <a:gd name="connsiteX238" fmla="*/ 72562 w 165051"/>
                  <a:gd name="connsiteY238" fmla="*/ 136132 h 217511"/>
                  <a:gd name="connsiteX239" fmla="*/ 72827 w 165051"/>
                  <a:gd name="connsiteY239" fmla="*/ 139659 h 217511"/>
                  <a:gd name="connsiteX240" fmla="*/ 68507 w 165051"/>
                  <a:gd name="connsiteY240" fmla="*/ 142304 h 217511"/>
                  <a:gd name="connsiteX241" fmla="*/ 69388 w 165051"/>
                  <a:gd name="connsiteY241" fmla="*/ 143450 h 217511"/>
                  <a:gd name="connsiteX242" fmla="*/ 66743 w 165051"/>
                  <a:gd name="connsiteY242" fmla="*/ 148740 h 217511"/>
                  <a:gd name="connsiteX243" fmla="*/ 68507 w 165051"/>
                  <a:gd name="connsiteY243" fmla="*/ 151649 h 217511"/>
                  <a:gd name="connsiteX244" fmla="*/ 67361 w 165051"/>
                  <a:gd name="connsiteY244" fmla="*/ 151649 h 217511"/>
                  <a:gd name="connsiteX245" fmla="*/ 65245 w 165051"/>
                  <a:gd name="connsiteY245" fmla="*/ 155088 h 217511"/>
                  <a:gd name="connsiteX246" fmla="*/ 60307 w 165051"/>
                  <a:gd name="connsiteY246" fmla="*/ 154206 h 217511"/>
                  <a:gd name="connsiteX247" fmla="*/ 60307 w 165051"/>
                  <a:gd name="connsiteY247" fmla="*/ 152531 h 217511"/>
                  <a:gd name="connsiteX248" fmla="*/ 61453 w 165051"/>
                  <a:gd name="connsiteY248" fmla="*/ 151649 h 217511"/>
                  <a:gd name="connsiteX249" fmla="*/ 60307 w 165051"/>
                  <a:gd name="connsiteY249" fmla="*/ 151032 h 217511"/>
                  <a:gd name="connsiteX250" fmla="*/ 58015 w 165051"/>
                  <a:gd name="connsiteY250" fmla="*/ 144949 h 217511"/>
                  <a:gd name="connsiteX251" fmla="*/ 54488 w 165051"/>
                  <a:gd name="connsiteY251" fmla="*/ 151032 h 217511"/>
                  <a:gd name="connsiteX252" fmla="*/ 51314 w 165051"/>
                  <a:gd name="connsiteY252" fmla="*/ 153413 h 217511"/>
                  <a:gd name="connsiteX253" fmla="*/ 49551 w 165051"/>
                  <a:gd name="connsiteY253" fmla="*/ 153413 h 217511"/>
                  <a:gd name="connsiteX254" fmla="*/ 45407 w 165051"/>
                  <a:gd name="connsiteY254" fmla="*/ 151649 h 217511"/>
                  <a:gd name="connsiteX255" fmla="*/ 43996 w 165051"/>
                  <a:gd name="connsiteY255" fmla="*/ 151914 h 217511"/>
                  <a:gd name="connsiteX256" fmla="*/ 41968 w 165051"/>
                  <a:gd name="connsiteY256" fmla="*/ 151032 h 217511"/>
                  <a:gd name="connsiteX257" fmla="*/ 40469 w 165051"/>
                  <a:gd name="connsiteY257" fmla="*/ 151914 h 217511"/>
                  <a:gd name="connsiteX258" fmla="*/ 41968 w 165051"/>
                  <a:gd name="connsiteY258" fmla="*/ 149622 h 217511"/>
                  <a:gd name="connsiteX259" fmla="*/ 40469 w 165051"/>
                  <a:gd name="connsiteY259" fmla="*/ 146624 h 217511"/>
                  <a:gd name="connsiteX260" fmla="*/ 39940 w 165051"/>
                  <a:gd name="connsiteY260" fmla="*/ 147506 h 217511"/>
                  <a:gd name="connsiteX261" fmla="*/ 38706 w 165051"/>
                  <a:gd name="connsiteY261" fmla="*/ 146360 h 217511"/>
                  <a:gd name="connsiteX262" fmla="*/ 39059 w 165051"/>
                  <a:gd name="connsiteY262" fmla="*/ 144332 h 217511"/>
                  <a:gd name="connsiteX263" fmla="*/ 36943 w 165051"/>
                  <a:gd name="connsiteY263" fmla="*/ 139659 h 217511"/>
                  <a:gd name="connsiteX264" fmla="*/ 33504 w 165051"/>
                  <a:gd name="connsiteY264" fmla="*/ 138160 h 217511"/>
                  <a:gd name="connsiteX265" fmla="*/ 31740 w 165051"/>
                  <a:gd name="connsiteY265" fmla="*/ 138160 h 217511"/>
                  <a:gd name="connsiteX266" fmla="*/ 30242 w 165051"/>
                  <a:gd name="connsiteY266" fmla="*/ 139041 h 217511"/>
                  <a:gd name="connsiteX267" fmla="*/ 30242 w 165051"/>
                  <a:gd name="connsiteY267" fmla="*/ 140276 h 217511"/>
                  <a:gd name="connsiteX268" fmla="*/ 28478 w 165051"/>
                  <a:gd name="connsiteY268" fmla="*/ 139659 h 217511"/>
                  <a:gd name="connsiteX269" fmla="*/ 28478 w 165051"/>
                  <a:gd name="connsiteY269" fmla="*/ 143450 h 217511"/>
                  <a:gd name="connsiteX270" fmla="*/ 30594 w 165051"/>
                  <a:gd name="connsiteY270" fmla="*/ 144949 h 217511"/>
                  <a:gd name="connsiteX271" fmla="*/ 28831 w 165051"/>
                  <a:gd name="connsiteY271" fmla="*/ 149886 h 217511"/>
                  <a:gd name="connsiteX272" fmla="*/ 29713 w 165051"/>
                  <a:gd name="connsiteY272" fmla="*/ 153413 h 217511"/>
                  <a:gd name="connsiteX273" fmla="*/ 20984 w 165051"/>
                  <a:gd name="connsiteY273" fmla="*/ 153413 h 217511"/>
                  <a:gd name="connsiteX274" fmla="*/ 17722 w 165051"/>
                  <a:gd name="connsiteY274" fmla="*/ 151032 h 217511"/>
                  <a:gd name="connsiteX275" fmla="*/ 13049 w 165051"/>
                  <a:gd name="connsiteY275" fmla="*/ 153413 h 217511"/>
                  <a:gd name="connsiteX276" fmla="*/ 11903 w 165051"/>
                  <a:gd name="connsiteY276" fmla="*/ 151649 h 217511"/>
                  <a:gd name="connsiteX277" fmla="*/ 9258 w 165051"/>
                  <a:gd name="connsiteY277" fmla="*/ 151032 h 217511"/>
                  <a:gd name="connsiteX278" fmla="*/ 11286 w 165051"/>
                  <a:gd name="connsiteY278" fmla="*/ 157998 h 217511"/>
                  <a:gd name="connsiteX279" fmla="*/ 9258 w 165051"/>
                  <a:gd name="connsiteY279" fmla="*/ 160378 h 217511"/>
                  <a:gd name="connsiteX280" fmla="*/ 10757 w 165051"/>
                  <a:gd name="connsiteY280" fmla="*/ 164169 h 217511"/>
                  <a:gd name="connsiteX281" fmla="*/ 14548 w 165051"/>
                  <a:gd name="connsiteY281" fmla="*/ 163023 h 217511"/>
                  <a:gd name="connsiteX282" fmla="*/ 15429 w 165051"/>
                  <a:gd name="connsiteY282" fmla="*/ 165933 h 217511"/>
                  <a:gd name="connsiteX283" fmla="*/ 13049 w 165051"/>
                  <a:gd name="connsiteY283" fmla="*/ 169371 h 217511"/>
                  <a:gd name="connsiteX284" fmla="*/ 18339 w 165051"/>
                  <a:gd name="connsiteY284" fmla="*/ 174397 h 217511"/>
                  <a:gd name="connsiteX285" fmla="*/ 17722 w 165051"/>
                  <a:gd name="connsiteY285" fmla="*/ 176072 h 217511"/>
                  <a:gd name="connsiteX286" fmla="*/ 17722 w 165051"/>
                  <a:gd name="connsiteY286" fmla="*/ 178717 h 217511"/>
                  <a:gd name="connsiteX287" fmla="*/ 15958 w 165051"/>
                  <a:gd name="connsiteY287" fmla="*/ 178717 h 217511"/>
                  <a:gd name="connsiteX288" fmla="*/ 15429 w 165051"/>
                  <a:gd name="connsiteY288" fmla="*/ 179863 h 217511"/>
                  <a:gd name="connsiteX289" fmla="*/ 15429 w 165051"/>
                  <a:gd name="connsiteY289" fmla="*/ 181979 h 217511"/>
                  <a:gd name="connsiteX290" fmla="*/ 16575 w 165051"/>
                  <a:gd name="connsiteY290" fmla="*/ 182244 h 217511"/>
                  <a:gd name="connsiteX291" fmla="*/ 17105 w 165051"/>
                  <a:gd name="connsiteY291" fmla="*/ 184272 h 217511"/>
                  <a:gd name="connsiteX292" fmla="*/ 15429 w 165051"/>
                  <a:gd name="connsiteY292" fmla="*/ 186652 h 217511"/>
                  <a:gd name="connsiteX293" fmla="*/ 13930 w 165051"/>
                  <a:gd name="connsiteY293" fmla="*/ 182861 h 217511"/>
                  <a:gd name="connsiteX294" fmla="*/ 12167 w 165051"/>
                  <a:gd name="connsiteY294" fmla="*/ 183126 h 217511"/>
                  <a:gd name="connsiteX295" fmla="*/ 11286 w 165051"/>
                  <a:gd name="connsiteY295" fmla="*/ 180216 h 217511"/>
                  <a:gd name="connsiteX296" fmla="*/ 8729 w 165051"/>
                  <a:gd name="connsiteY296" fmla="*/ 177571 h 217511"/>
                  <a:gd name="connsiteX297" fmla="*/ 7230 w 165051"/>
                  <a:gd name="connsiteY297" fmla="*/ 178453 h 217511"/>
                  <a:gd name="connsiteX298" fmla="*/ 6965 w 165051"/>
                  <a:gd name="connsiteY298" fmla="*/ 181098 h 217511"/>
                  <a:gd name="connsiteX299" fmla="*/ 5819 w 165051"/>
                  <a:gd name="connsiteY299" fmla="*/ 181979 h 217511"/>
                  <a:gd name="connsiteX300" fmla="*/ 4056 w 165051"/>
                  <a:gd name="connsiteY300" fmla="*/ 182244 h 217511"/>
                  <a:gd name="connsiteX301" fmla="*/ 3174 w 165051"/>
                  <a:gd name="connsiteY301" fmla="*/ 182508 h 217511"/>
                  <a:gd name="connsiteX302" fmla="*/ 2028 w 165051"/>
                  <a:gd name="connsiteY302" fmla="*/ 184272 h 217511"/>
                  <a:gd name="connsiteX303" fmla="*/ 2292 w 165051"/>
                  <a:gd name="connsiteY303" fmla="*/ 186652 h 217511"/>
                  <a:gd name="connsiteX304" fmla="*/ 264 w 165051"/>
                  <a:gd name="connsiteY304" fmla="*/ 189209 h 217511"/>
                  <a:gd name="connsiteX305" fmla="*/ 0 w 165051"/>
                  <a:gd name="connsiteY305" fmla="*/ 191590 h 217511"/>
                  <a:gd name="connsiteX306" fmla="*/ 4056 w 165051"/>
                  <a:gd name="connsiteY306" fmla="*/ 194764 h 217511"/>
                  <a:gd name="connsiteX307" fmla="*/ 5202 w 165051"/>
                  <a:gd name="connsiteY307" fmla="*/ 197144 h 217511"/>
                  <a:gd name="connsiteX308" fmla="*/ 7230 w 165051"/>
                  <a:gd name="connsiteY308" fmla="*/ 198908 h 217511"/>
                  <a:gd name="connsiteX309" fmla="*/ 8376 w 165051"/>
                  <a:gd name="connsiteY309" fmla="*/ 200936 h 217511"/>
                  <a:gd name="connsiteX310" fmla="*/ 10139 w 165051"/>
                  <a:gd name="connsiteY310" fmla="*/ 202346 h 217511"/>
                  <a:gd name="connsiteX311" fmla="*/ 11638 w 165051"/>
                  <a:gd name="connsiteY311" fmla="*/ 202611 h 217511"/>
                  <a:gd name="connsiteX312" fmla="*/ 12167 w 165051"/>
                  <a:gd name="connsiteY312" fmla="*/ 202346 h 217511"/>
                  <a:gd name="connsiteX313" fmla="*/ 13401 w 165051"/>
                  <a:gd name="connsiteY313" fmla="*/ 203845 h 217511"/>
                  <a:gd name="connsiteX314" fmla="*/ 13401 w 165051"/>
                  <a:gd name="connsiteY314" fmla="*/ 205608 h 217511"/>
                  <a:gd name="connsiteX315" fmla="*/ 14195 w 165051"/>
                  <a:gd name="connsiteY315" fmla="*/ 207372 h 217511"/>
                  <a:gd name="connsiteX316" fmla="*/ 13401 w 165051"/>
                  <a:gd name="connsiteY316" fmla="*/ 207636 h 217511"/>
                  <a:gd name="connsiteX317" fmla="*/ 13049 w 165051"/>
                  <a:gd name="connsiteY317" fmla="*/ 208518 h 217511"/>
                  <a:gd name="connsiteX318" fmla="*/ 13401 w 165051"/>
                  <a:gd name="connsiteY318" fmla="*/ 209929 h 217511"/>
                  <a:gd name="connsiteX319" fmla="*/ 14812 w 165051"/>
                  <a:gd name="connsiteY319" fmla="*/ 210811 h 217511"/>
                  <a:gd name="connsiteX320" fmla="*/ 14195 w 165051"/>
                  <a:gd name="connsiteY320" fmla="*/ 211692 h 217511"/>
                  <a:gd name="connsiteX321" fmla="*/ 15958 w 165051"/>
                  <a:gd name="connsiteY321" fmla="*/ 213720 h 217511"/>
                  <a:gd name="connsiteX322" fmla="*/ 16311 w 165051"/>
                  <a:gd name="connsiteY322" fmla="*/ 215219 h 217511"/>
                  <a:gd name="connsiteX323" fmla="*/ 18868 w 165051"/>
                  <a:gd name="connsiteY323" fmla="*/ 217511 h 217511"/>
                  <a:gd name="connsiteX324" fmla="*/ 19838 w 165051"/>
                  <a:gd name="connsiteY324" fmla="*/ 215836 h 217511"/>
                  <a:gd name="connsiteX325" fmla="*/ 22130 w 165051"/>
                  <a:gd name="connsiteY325" fmla="*/ 214955 h 217511"/>
                  <a:gd name="connsiteX326" fmla="*/ 22130 w 165051"/>
                  <a:gd name="connsiteY326" fmla="*/ 212838 h 217511"/>
                  <a:gd name="connsiteX327" fmla="*/ 23541 w 165051"/>
                  <a:gd name="connsiteY327" fmla="*/ 211428 h 217511"/>
                  <a:gd name="connsiteX328" fmla="*/ 24158 w 165051"/>
                  <a:gd name="connsiteY328" fmla="*/ 212309 h 217511"/>
                  <a:gd name="connsiteX329" fmla="*/ 26186 w 165051"/>
                  <a:gd name="connsiteY329" fmla="*/ 211692 h 217511"/>
                  <a:gd name="connsiteX330" fmla="*/ 26803 w 165051"/>
                  <a:gd name="connsiteY330" fmla="*/ 208165 h 217511"/>
                  <a:gd name="connsiteX331" fmla="*/ 33239 w 165051"/>
                  <a:gd name="connsiteY331" fmla="*/ 206490 h 217511"/>
                  <a:gd name="connsiteX332" fmla="*/ 33504 w 165051"/>
                  <a:gd name="connsiteY332" fmla="*/ 204110 h 217511"/>
                  <a:gd name="connsiteX333" fmla="*/ 35796 w 165051"/>
                  <a:gd name="connsiteY333" fmla="*/ 201465 h 217511"/>
                  <a:gd name="connsiteX334" fmla="*/ 36149 w 165051"/>
                  <a:gd name="connsiteY334" fmla="*/ 202611 h 217511"/>
                  <a:gd name="connsiteX335" fmla="*/ 38441 w 165051"/>
                  <a:gd name="connsiteY335" fmla="*/ 202611 h 217511"/>
                  <a:gd name="connsiteX336" fmla="*/ 38706 w 165051"/>
                  <a:gd name="connsiteY336" fmla="*/ 204110 h 217511"/>
                  <a:gd name="connsiteX337" fmla="*/ 41086 w 165051"/>
                  <a:gd name="connsiteY337" fmla="*/ 207372 h 217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</a:cxnLst>
                <a:rect l="l" t="t" r="r" b="b"/>
                <a:pathLst>
                  <a:path w="165051" h="217511">
                    <a:moveTo>
                      <a:pt x="42497" y="208165"/>
                    </a:moveTo>
                    <a:lnTo>
                      <a:pt x="42497" y="206755"/>
                    </a:lnTo>
                    <a:lnTo>
                      <a:pt x="42850" y="206490"/>
                    </a:lnTo>
                    <a:lnTo>
                      <a:pt x="43114" y="206755"/>
                    </a:lnTo>
                    <a:lnTo>
                      <a:pt x="44878" y="208165"/>
                    </a:lnTo>
                    <a:lnTo>
                      <a:pt x="44878" y="209400"/>
                    </a:lnTo>
                    <a:lnTo>
                      <a:pt x="46905" y="211428"/>
                    </a:lnTo>
                    <a:lnTo>
                      <a:pt x="48933" y="211692"/>
                    </a:lnTo>
                    <a:lnTo>
                      <a:pt x="48933" y="213720"/>
                    </a:lnTo>
                    <a:lnTo>
                      <a:pt x="49551" y="214073"/>
                    </a:lnTo>
                    <a:lnTo>
                      <a:pt x="50080" y="213720"/>
                    </a:lnTo>
                    <a:lnTo>
                      <a:pt x="51578" y="212309"/>
                    </a:lnTo>
                    <a:lnTo>
                      <a:pt x="51314" y="211428"/>
                    </a:lnTo>
                    <a:lnTo>
                      <a:pt x="52196" y="211428"/>
                    </a:lnTo>
                    <a:lnTo>
                      <a:pt x="53342" y="211692"/>
                    </a:lnTo>
                    <a:lnTo>
                      <a:pt x="53871" y="211692"/>
                    </a:lnTo>
                    <a:lnTo>
                      <a:pt x="54224" y="210811"/>
                    </a:lnTo>
                    <a:lnTo>
                      <a:pt x="55634" y="210811"/>
                    </a:lnTo>
                    <a:lnTo>
                      <a:pt x="55634" y="209664"/>
                    </a:lnTo>
                    <a:lnTo>
                      <a:pt x="56516" y="209664"/>
                    </a:lnTo>
                    <a:lnTo>
                      <a:pt x="56516" y="208518"/>
                    </a:lnTo>
                    <a:lnTo>
                      <a:pt x="56516" y="204991"/>
                    </a:lnTo>
                    <a:lnTo>
                      <a:pt x="56516" y="203581"/>
                    </a:lnTo>
                    <a:lnTo>
                      <a:pt x="58808" y="202611"/>
                    </a:lnTo>
                    <a:lnTo>
                      <a:pt x="59161" y="203581"/>
                    </a:lnTo>
                    <a:lnTo>
                      <a:pt x="60043" y="204110"/>
                    </a:lnTo>
                    <a:lnTo>
                      <a:pt x="61453" y="204727"/>
                    </a:lnTo>
                    <a:lnTo>
                      <a:pt x="62952" y="203581"/>
                    </a:lnTo>
                    <a:lnTo>
                      <a:pt x="62952" y="203228"/>
                    </a:lnTo>
                    <a:lnTo>
                      <a:pt x="63834" y="202346"/>
                    </a:lnTo>
                    <a:lnTo>
                      <a:pt x="66743" y="201465"/>
                    </a:lnTo>
                    <a:lnTo>
                      <a:pt x="69388" y="200583"/>
                    </a:lnTo>
                    <a:lnTo>
                      <a:pt x="71681" y="198908"/>
                    </a:lnTo>
                    <a:lnTo>
                      <a:pt x="71152" y="200936"/>
                    </a:lnTo>
                    <a:lnTo>
                      <a:pt x="72562" y="202346"/>
                    </a:lnTo>
                    <a:lnTo>
                      <a:pt x="73180" y="203228"/>
                    </a:lnTo>
                    <a:lnTo>
                      <a:pt x="72298" y="204991"/>
                    </a:lnTo>
                    <a:lnTo>
                      <a:pt x="71152" y="204991"/>
                    </a:lnTo>
                    <a:lnTo>
                      <a:pt x="70535" y="205873"/>
                    </a:lnTo>
                    <a:lnTo>
                      <a:pt x="70799" y="208165"/>
                    </a:lnTo>
                    <a:lnTo>
                      <a:pt x="72298" y="209400"/>
                    </a:lnTo>
                    <a:lnTo>
                      <a:pt x="71681" y="211428"/>
                    </a:lnTo>
                    <a:lnTo>
                      <a:pt x="72298" y="211692"/>
                    </a:lnTo>
                    <a:lnTo>
                      <a:pt x="71681" y="212838"/>
                    </a:lnTo>
                    <a:lnTo>
                      <a:pt x="71681" y="214073"/>
                    </a:lnTo>
                    <a:lnTo>
                      <a:pt x="72827" y="212838"/>
                    </a:lnTo>
                    <a:lnTo>
                      <a:pt x="74326" y="213720"/>
                    </a:lnTo>
                    <a:lnTo>
                      <a:pt x="75472" y="214073"/>
                    </a:lnTo>
                    <a:lnTo>
                      <a:pt x="77235" y="215484"/>
                    </a:lnTo>
                    <a:lnTo>
                      <a:pt x="80762" y="212838"/>
                    </a:lnTo>
                    <a:lnTo>
                      <a:pt x="82525" y="208518"/>
                    </a:lnTo>
                    <a:lnTo>
                      <a:pt x="85082" y="205873"/>
                    </a:lnTo>
                    <a:lnTo>
                      <a:pt x="86581" y="204727"/>
                    </a:lnTo>
                    <a:lnTo>
                      <a:pt x="88874" y="200936"/>
                    </a:lnTo>
                    <a:lnTo>
                      <a:pt x="91519" y="199701"/>
                    </a:lnTo>
                    <a:lnTo>
                      <a:pt x="93547" y="199701"/>
                    </a:lnTo>
                    <a:lnTo>
                      <a:pt x="94428" y="198908"/>
                    </a:lnTo>
                    <a:lnTo>
                      <a:pt x="95574" y="198291"/>
                    </a:lnTo>
                    <a:lnTo>
                      <a:pt x="95574" y="195381"/>
                    </a:lnTo>
                    <a:lnTo>
                      <a:pt x="96809" y="193353"/>
                    </a:lnTo>
                    <a:lnTo>
                      <a:pt x="99983" y="191854"/>
                    </a:lnTo>
                    <a:lnTo>
                      <a:pt x="103245" y="191325"/>
                    </a:lnTo>
                    <a:lnTo>
                      <a:pt x="104656" y="190444"/>
                    </a:lnTo>
                    <a:lnTo>
                      <a:pt x="105538" y="188680"/>
                    </a:lnTo>
                    <a:lnTo>
                      <a:pt x="106948" y="184272"/>
                    </a:lnTo>
                    <a:lnTo>
                      <a:pt x="107565" y="182861"/>
                    </a:lnTo>
                    <a:lnTo>
                      <a:pt x="109064" y="181979"/>
                    </a:lnTo>
                    <a:lnTo>
                      <a:pt x="109593" y="178717"/>
                    </a:lnTo>
                    <a:lnTo>
                      <a:pt x="110827" y="177571"/>
                    </a:lnTo>
                    <a:lnTo>
                      <a:pt x="112238" y="175543"/>
                    </a:lnTo>
                    <a:lnTo>
                      <a:pt x="111621" y="174397"/>
                    </a:lnTo>
                    <a:lnTo>
                      <a:pt x="110827" y="173251"/>
                    </a:lnTo>
                    <a:lnTo>
                      <a:pt x="110827" y="172016"/>
                    </a:lnTo>
                    <a:lnTo>
                      <a:pt x="110827" y="171487"/>
                    </a:lnTo>
                    <a:lnTo>
                      <a:pt x="110827" y="167079"/>
                    </a:lnTo>
                    <a:lnTo>
                      <a:pt x="110827" y="164434"/>
                    </a:lnTo>
                    <a:lnTo>
                      <a:pt x="110827" y="159761"/>
                    </a:lnTo>
                    <a:lnTo>
                      <a:pt x="112238" y="158879"/>
                    </a:lnTo>
                    <a:lnTo>
                      <a:pt x="110827" y="151914"/>
                    </a:lnTo>
                    <a:lnTo>
                      <a:pt x="110827" y="148740"/>
                    </a:lnTo>
                    <a:lnTo>
                      <a:pt x="110827" y="146624"/>
                    </a:lnTo>
                    <a:lnTo>
                      <a:pt x="112238" y="144949"/>
                    </a:lnTo>
                    <a:lnTo>
                      <a:pt x="115148" y="142568"/>
                    </a:lnTo>
                    <a:lnTo>
                      <a:pt x="118410" y="139041"/>
                    </a:lnTo>
                    <a:lnTo>
                      <a:pt x="121320" y="133575"/>
                    </a:lnTo>
                    <a:lnTo>
                      <a:pt x="123612" y="128020"/>
                    </a:lnTo>
                    <a:lnTo>
                      <a:pt x="124494" y="125375"/>
                    </a:lnTo>
                    <a:lnTo>
                      <a:pt x="125992" y="123347"/>
                    </a:lnTo>
                    <a:lnTo>
                      <a:pt x="128020" y="120967"/>
                    </a:lnTo>
                    <a:lnTo>
                      <a:pt x="131459" y="119204"/>
                    </a:lnTo>
                    <a:lnTo>
                      <a:pt x="134721" y="118057"/>
                    </a:lnTo>
                    <a:lnTo>
                      <a:pt x="136132" y="117793"/>
                    </a:lnTo>
                    <a:lnTo>
                      <a:pt x="140805" y="112238"/>
                    </a:lnTo>
                    <a:lnTo>
                      <a:pt x="143450" y="107830"/>
                    </a:lnTo>
                    <a:lnTo>
                      <a:pt x="144949" y="105802"/>
                    </a:lnTo>
                    <a:lnTo>
                      <a:pt x="145478" y="101746"/>
                    </a:lnTo>
                    <a:lnTo>
                      <a:pt x="144949" y="98572"/>
                    </a:lnTo>
                    <a:lnTo>
                      <a:pt x="144949" y="95927"/>
                    </a:lnTo>
                    <a:lnTo>
                      <a:pt x="146359" y="88874"/>
                    </a:lnTo>
                    <a:lnTo>
                      <a:pt x="147506" y="86846"/>
                    </a:lnTo>
                    <a:lnTo>
                      <a:pt x="149886" y="83936"/>
                    </a:lnTo>
                    <a:lnTo>
                      <a:pt x="150151" y="81027"/>
                    </a:lnTo>
                    <a:lnTo>
                      <a:pt x="149886" y="80498"/>
                    </a:lnTo>
                    <a:lnTo>
                      <a:pt x="148740" y="77853"/>
                    </a:lnTo>
                    <a:lnTo>
                      <a:pt x="148740" y="75472"/>
                    </a:lnTo>
                    <a:lnTo>
                      <a:pt x="148740" y="72298"/>
                    </a:lnTo>
                    <a:lnTo>
                      <a:pt x="148123" y="68242"/>
                    </a:lnTo>
                    <a:lnTo>
                      <a:pt x="148740" y="66479"/>
                    </a:lnTo>
                    <a:lnTo>
                      <a:pt x="149622" y="63834"/>
                    </a:lnTo>
                    <a:lnTo>
                      <a:pt x="150415" y="61189"/>
                    </a:lnTo>
                    <a:lnTo>
                      <a:pt x="150415" y="59778"/>
                    </a:lnTo>
                    <a:lnTo>
                      <a:pt x="152178" y="54224"/>
                    </a:lnTo>
                    <a:lnTo>
                      <a:pt x="152178" y="49286"/>
                    </a:lnTo>
                    <a:lnTo>
                      <a:pt x="152178" y="46641"/>
                    </a:lnTo>
                    <a:lnTo>
                      <a:pt x="152178" y="44260"/>
                    </a:lnTo>
                    <a:lnTo>
                      <a:pt x="152178" y="41703"/>
                    </a:lnTo>
                    <a:lnTo>
                      <a:pt x="153060" y="39059"/>
                    </a:lnTo>
                    <a:lnTo>
                      <a:pt x="153060" y="37031"/>
                    </a:lnTo>
                    <a:lnTo>
                      <a:pt x="153060" y="35267"/>
                    </a:lnTo>
                    <a:lnTo>
                      <a:pt x="154559" y="34386"/>
                    </a:lnTo>
                    <a:lnTo>
                      <a:pt x="155705" y="32622"/>
                    </a:lnTo>
                    <a:lnTo>
                      <a:pt x="155705" y="29977"/>
                    </a:lnTo>
                    <a:lnTo>
                      <a:pt x="157733" y="28566"/>
                    </a:lnTo>
                    <a:lnTo>
                      <a:pt x="158879" y="27420"/>
                    </a:lnTo>
                    <a:lnTo>
                      <a:pt x="159761" y="24423"/>
                    </a:lnTo>
                    <a:lnTo>
                      <a:pt x="160378" y="22130"/>
                    </a:lnTo>
                    <a:lnTo>
                      <a:pt x="161789" y="18339"/>
                    </a:lnTo>
                    <a:lnTo>
                      <a:pt x="162406" y="15694"/>
                    </a:lnTo>
                    <a:lnTo>
                      <a:pt x="163905" y="13930"/>
                    </a:lnTo>
                    <a:lnTo>
                      <a:pt x="165051" y="12255"/>
                    </a:lnTo>
                    <a:lnTo>
                      <a:pt x="164787" y="11021"/>
                    </a:lnTo>
                    <a:lnTo>
                      <a:pt x="165051" y="9610"/>
                    </a:lnTo>
                    <a:lnTo>
                      <a:pt x="164787" y="5819"/>
                    </a:lnTo>
                    <a:lnTo>
                      <a:pt x="163552" y="5819"/>
                    </a:lnTo>
                    <a:lnTo>
                      <a:pt x="161260" y="2292"/>
                    </a:lnTo>
                    <a:lnTo>
                      <a:pt x="159761" y="3438"/>
                    </a:lnTo>
                    <a:lnTo>
                      <a:pt x="156587" y="3438"/>
                    </a:lnTo>
                    <a:lnTo>
                      <a:pt x="154559" y="5819"/>
                    </a:lnTo>
                    <a:lnTo>
                      <a:pt x="153942" y="4320"/>
                    </a:lnTo>
                    <a:lnTo>
                      <a:pt x="152796" y="4056"/>
                    </a:lnTo>
                    <a:lnTo>
                      <a:pt x="150151" y="4585"/>
                    </a:lnTo>
                    <a:lnTo>
                      <a:pt x="149269" y="3438"/>
                    </a:lnTo>
                    <a:lnTo>
                      <a:pt x="147858" y="4585"/>
                    </a:lnTo>
                    <a:lnTo>
                      <a:pt x="146977" y="2557"/>
                    </a:lnTo>
                    <a:lnTo>
                      <a:pt x="142304" y="2292"/>
                    </a:lnTo>
                    <a:lnTo>
                      <a:pt x="139394" y="0"/>
                    </a:lnTo>
                    <a:lnTo>
                      <a:pt x="136132" y="2557"/>
                    </a:lnTo>
                    <a:lnTo>
                      <a:pt x="134104" y="2557"/>
                    </a:lnTo>
                    <a:lnTo>
                      <a:pt x="133575" y="3438"/>
                    </a:lnTo>
                    <a:lnTo>
                      <a:pt x="130577" y="3438"/>
                    </a:lnTo>
                    <a:lnTo>
                      <a:pt x="128285" y="4585"/>
                    </a:lnTo>
                    <a:lnTo>
                      <a:pt x="125992" y="4056"/>
                    </a:lnTo>
                    <a:lnTo>
                      <a:pt x="125992" y="4585"/>
                    </a:lnTo>
                    <a:lnTo>
                      <a:pt x="124229" y="4937"/>
                    </a:lnTo>
                    <a:lnTo>
                      <a:pt x="122201" y="4320"/>
                    </a:lnTo>
                    <a:lnTo>
                      <a:pt x="119556" y="5819"/>
                    </a:lnTo>
                    <a:lnTo>
                      <a:pt x="117528" y="13930"/>
                    </a:lnTo>
                    <a:lnTo>
                      <a:pt x="117528" y="21249"/>
                    </a:lnTo>
                    <a:lnTo>
                      <a:pt x="110827" y="37031"/>
                    </a:lnTo>
                    <a:lnTo>
                      <a:pt x="110475" y="38441"/>
                    </a:lnTo>
                    <a:lnTo>
                      <a:pt x="109329" y="37295"/>
                    </a:lnTo>
                    <a:lnTo>
                      <a:pt x="108183" y="38441"/>
                    </a:lnTo>
                    <a:lnTo>
                      <a:pt x="108183" y="43731"/>
                    </a:lnTo>
                    <a:lnTo>
                      <a:pt x="110475" y="49286"/>
                    </a:lnTo>
                    <a:lnTo>
                      <a:pt x="108183" y="51843"/>
                    </a:lnTo>
                    <a:lnTo>
                      <a:pt x="107301" y="48933"/>
                    </a:lnTo>
                    <a:lnTo>
                      <a:pt x="104656" y="47523"/>
                    </a:lnTo>
                    <a:lnTo>
                      <a:pt x="100247" y="44260"/>
                    </a:lnTo>
                    <a:lnTo>
                      <a:pt x="95927" y="43379"/>
                    </a:lnTo>
                    <a:lnTo>
                      <a:pt x="92400" y="44878"/>
                    </a:lnTo>
                    <a:lnTo>
                      <a:pt x="90020" y="41968"/>
                    </a:lnTo>
                    <a:lnTo>
                      <a:pt x="88345" y="41968"/>
                    </a:lnTo>
                    <a:lnTo>
                      <a:pt x="88345" y="42850"/>
                    </a:lnTo>
                    <a:lnTo>
                      <a:pt x="87463" y="41968"/>
                    </a:lnTo>
                    <a:lnTo>
                      <a:pt x="86846" y="43379"/>
                    </a:lnTo>
                    <a:lnTo>
                      <a:pt x="84201" y="41968"/>
                    </a:lnTo>
                    <a:lnTo>
                      <a:pt x="84201" y="42850"/>
                    </a:lnTo>
                    <a:lnTo>
                      <a:pt x="82525" y="42850"/>
                    </a:lnTo>
                    <a:lnTo>
                      <a:pt x="81908" y="39940"/>
                    </a:lnTo>
                    <a:lnTo>
                      <a:pt x="79616" y="41351"/>
                    </a:lnTo>
                    <a:lnTo>
                      <a:pt x="79616" y="39940"/>
                    </a:lnTo>
                    <a:lnTo>
                      <a:pt x="78999" y="40469"/>
                    </a:lnTo>
                    <a:lnTo>
                      <a:pt x="78734" y="39059"/>
                    </a:lnTo>
                    <a:lnTo>
                      <a:pt x="78734" y="39940"/>
                    </a:lnTo>
                    <a:lnTo>
                      <a:pt x="75737" y="37295"/>
                    </a:lnTo>
                    <a:lnTo>
                      <a:pt x="75208" y="38441"/>
                    </a:lnTo>
                    <a:lnTo>
                      <a:pt x="69388" y="38794"/>
                    </a:lnTo>
                    <a:lnTo>
                      <a:pt x="47170" y="38441"/>
                    </a:lnTo>
                    <a:lnTo>
                      <a:pt x="46641" y="41703"/>
                    </a:lnTo>
                    <a:lnTo>
                      <a:pt x="45407" y="43379"/>
                    </a:lnTo>
                    <a:lnTo>
                      <a:pt x="45142" y="45495"/>
                    </a:lnTo>
                    <a:lnTo>
                      <a:pt x="44260" y="45495"/>
                    </a:lnTo>
                    <a:lnTo>
                      <a:pt x="45142" y="47523"/>
                    </a:lnTo>
                    <a:lnTo>
                      <a:pt x="44260" y="47787"/>
                    </a:lnTo>
                    <a:lnTo>
                      <a:pt x="43379" y="53077"/>
                    </a:lnTo>
                    <a:lnTo>
                      <a:pt x="45142" y="54224"/>
                    </a:lnTo>
                    <a:lnTo>
                      <a:pt x="46288" y="58015"/>
                    </a:lnTo>
                    <a:lnTo>
                      <a:pt x="44525" y="61806"/>
                    </a:lnTo>
                    <a:lnTo>
                      <a:pt x="48052" y="61806"/>
                    </a:lnTo>
                    <a:lnTo>
                      <a:pt x="49286" y="60043"/>
                    </a:lnTo>
                    <a:lnTo>
                      <a:pt x="52989" y="60660"/>
                    </a:lnTo>
                    <a:lnTo>
                      <a:pt x="54224" y="59425"/>
                    </a:lnTo>
                    <a:lnTo>
                      <a:pt x="57133" y="58015"/>
                    </a:lnTo>
                    <a:lnTo>
                      <a:pt x="58279" y="58632"/>
                    </a:lnTo>
                    <a:lnTo>
                      <a:pt x="58279" y="56868"/>
                    </a:lnTo>
                    <a:lnTo>
                      <a:pt x="67361" y="58015"/>
                    </a:lnTo>
                    <a:lnTo>
                      <a:pt x="69388" y="59778"/>
                    </a:lnTo>
                    <a:lnTo>
                      <a:pt x="71416" y="66479"/>
                    </a:lnTo>
                    <a:lnTo>
                      <a:pt x="73444" y="69388"/>
                    </a:lnTo>
                    <a:lnTo>
                      <a:pt x="71152" y="76971"/>
                    </a:lnTo>
                    <a:lnTo>
                      <a:pt x="68154" y="78999"/>
                    </a:lnTo>
                    <a:lnTo>
                      <a:pt x="66126" y="78734"/>
                    </a:lnTo>
                    <a:lnTo>
                      <a:pt x="64980" y="78999"/>
                    </a:lnTo>
                    <a:lnTo>
                      <a:pt x="64098" y="81291"/>
                    </a:lnTo>
                    <a:lnTo>
                      <a:pt x="62070" y="82790"/>
                    </a:lnTo>
                    <a:lnTo>
                      <a:pt x="60572" y="86846"/>
                    </a:lnTo>
                    <a:lnTo>
                      <a:pt x="60572" y="91254"/>
                    </a:lnTo>
                    <a:lnTo>
                      <a:pt x="63217" y="92665"/>
                    </a:lnTo>
                    <a:lnTo>
                      <a:pt x="63569" y="94781"/>
                    </a:lnTo>
                    <a:lnTo>
                      <a:pt x="60572" y="95310"/>
                    </a:lnTo>
                    <a:lnTo>
                      <a:pt x="60572" y="96456"/>
                    </a:lnTo>
                    <a:lnTo>
                      <a:pt x="63834" y="99366"/>
                    </a:lnTo>
                    <a:lnTo>
                      <a:pt x="64098" y="98572"/>
                    </a:lnTo>
                    <a:lnTo>
                      <a:pt x="66126" y="99718"/>
                    </a:lnTo>
                    <a:lnTo>
                      <a:pt x="67361" y="103774"/>
                    </a:lnTo>
                    <a:lnTo>
                      <a:pt x="68154" y="102628"/>
                    </a:lnTo>
                    <a:lnTo>
                      <a:pt x="69653" y="102628"/>
                    </a:lnTo>
                    <a:lnTo>
                      <a:pt x="72827" y="104391"/>
                    </a:lnTo>
                    <a:lnTo>
                      <a:pt x="74590" y="107830"/>
                    </a:lnTo>
                    <a:lnTo>
                      <a:pt x="72562" y="115765"/>
                    </a:lnTo>
                    <a:lnTo>
                      <a:pt x="73444" y="123347"/>
                    </a:lnTo>
                    <a:lnTo>
                      <a:pt x="73180" y="125992"/>
                    </a:lnTo>
                    <a:lnTo>
                      <a:pt x="74061" y="127403"/>
                    </a:lnTo>
                    <a:lnTo>
                      <a:pt x="73180" y="130048"/>
                    </a:lnTo>
                    <a:lnTo>
                      <a:pt x="73444" y="131195"/>
                    </a:lnTo>
                    <a:lnTo>
                      <a:pt x="71416" y="132693"/>
                    </a:lnTo>
                    <a:lnTo>
                      <a:pt x="72562" y="134369"/>
                    </a:lnTo>
                    <a:lnTo>
                      <a:pt x="73444" y="134369"/>
                    </a:lnTo>
                    <a:lnTo>
                      <a:pt x="72562" y="136132"/>
                    </a:lnTo>
                    <a:lnTo>
                      <a:pt x="72827" y="139659"/>
                    </a:lnTo>
                    <a:lnTo>
                      <a:pt x="68507" y="142304"/>
                    </a:lnTo>
                    <a:lnTo>
                      <a:pt x="69388" y="143450"/>
                    </a:lnTo>
                    <a:lnTo>
                      <a:pt x="66743" y="148740"/>
                    </a:lnTo>
                    <a:lnTo>
                      <a:pt x="68507" y="151649"/>
                    </a:lnTo>
                    <a:lnTo>
                      <a:pt x="67361" y="151649"/>
                    </a:lnTo>
                    <a:lnTo>
                      <a:pt x="65245" y="155088"/>
                    </a:lnTo>
                    <a:lnTo>
                      <a:pt x="60307" y="154206"/>
                    </a:lnTo>
                    <a:lnTo>
                      <a:pt x="60307" y="152531"/>
                    </a:lnTo>
                    <a:lnTo>
                      <a:pt x="61453" y="151649"/>
                    </a:lnTo>
                    <a:lnTo>
                      <a:pt x="60307" y="151032"/>
                    </a:lnTo>
                    <a:lnTo>
                      <a:pt x="58015" y="144949"/>
                    </a:lnTo>
                    <a:lnTo>
                      <a:pt x="54488" y="151032"/>
                    </a:lnTo>
                    <a:lnTo>
                      <a:pt x="51314" y="153413"/>
                    </a:lnTo>
                    <a:lnTo>
                      <a:pt x="49551" y="153413"/>
                    </a:lnTo>
                    <a:lnTo>
                      <a:pt x="45407" y="151649"/>
                    </a:lnTo>
                    <a:lnTo>
                      <a:pt x="43996" y="151914"/>
                    </a:lnTo>
                    <a:lnTo>
                      <a:pt x="41968" y="151032"/>
                    </a:lnTo>
                    <a:lnTo>
                      <a:pt x="40469" y="151914"/>
                    </a:lnTo>
                    <a:lnTo>
                      <a:pt x="41968" y="149622"/>
                    </a:lnTo>
                    <a:lnTo>
                      <a:pt x="40469" y="146624"/>
                    </a:lnTo>
                    <a:lnTo>
                      <a:pt x="39940" y="147506"/>
                    </a:lnTo>
                    <a:lnTo>
                      <a:pt x="38706" y="146360"/>
                    </a:lnTo>
                    <a:lnTo>
                      <a:pt x="39059" y="144332"/>
                    </a:lnTo>
                    <a:lnTo>
                      <a:pt x="36943" y="139659"/>
                    </a:lnTo>
                    <a:lnTo>
                      <a:pt x="33504" y="138160"/>
                    </a:lnTo>
                    <a:lnTo>
                      <a:pt x="31740" y="138160"/>
                    </a:lnTo>
                    <a:lnTo>
                      <a:pt x="30242" y="139041"/>
                    </a:lnTo>
                    <a:lnTo>
                      <a:pt x="30242" y="140276"/>
                    </a:lnTo>
                    <a:lnTo>
                      <a:pt x="28478" y="139659"/>
                    </a:lnTo>
                    <a:lnTo>
                      <a:pt x="28478" y="143450"/>
                    </a:lnTo>
                    <a:lnTo>
                      <a:pt x="30594" y="144949"/>
                    </a:lnTo>
                    <a:lnTo>
                      <a:pt x="28831" y="149886"/>
                    </a:lnTo>
                    <a:lnTo>
                      <a:pt x="29713" y="153413"/>
                    </a:lnTo>
                    <a:lnTo>
                      <a:pt x="20984" y="153413"/>
                    </a:lnTo>
                    <a:lnTo>
                      <a:pt x="17722" y="151032"/>
                    </a:lnTo>
                    <a:lnTo>
                      <a:pt x="13049" y="153413"/>
                    </a:lnTo>
                    <a:lnTo>
                      <a:pt x="11903" y="151649"/>
                    </a:lnTo>
                    <a:lnTo>
                      <a:pt x="9258" y="151032"/>
                    </a:lnTo>
                    <a:lnTo>
                      <a:pt x="11286" y="157998"/>
                    </a:lnTo>
                    <a:lnTo>
                      <a:pt x="9258" y="160378"/>
                    </a:lnTo>
                    <a:lnTo>
                      <a:pt x="10757" y="164169"/>
                    </a:lnTo>
                    <a:lnTo>
                      <a:pt x="14548" y="163023"/>
                    </a:lnTo>
                    <a:lnTo>
                      <a:pt x="15429" y="165933"/>
                    </a:lnTo>
                    <a:lnTo>
                      <a:pt x="13049" y="169371"/>
                    </a:lnTo>
                    <a:lnTo>
                      <a:pt x="18339" y="174397"/>
                    </a:lnTo>
                    <a:lnTo>
                      <a:pt x="17722" y="176072"/>
                    </a:lnTo>
                    <a:lnTo>
                      <a:pt x="17722" y="178717"/>
                    </a:lnTo>
                    <a:lnTo>
                      <a:pt x="15958" y="178717"/>
                    </a:lnTo>
                    <a:lnTo>
                      <a:pt x="15429" y="179863"/>
                    </a:lnTo>
                    <a:lnTo>
                      <a:pt x="15429" y="181979"/>
                    </a:lnTo>
                    <a:lnTo>
                      <a:pt x="16575" y="182244"/>
                    </a:lnTo>
                    <a:lnTo>
                      <a:pt x="17105" y="184272"/>
                    </a:lnTo>
                    <a:lnTo>
                      <a:pt x="15429" y="186652"/>
                    </a:lnTo>
                    <a:lnTo>
                      <a:pt x="13930" y="182861"/>
                    </a:lnTo>
                    <a:lnTo>
                      <a:pt x="12167" y="183126"/>
                    </a:lnTo>
                    <a:lnTo>
                      <a:pt x="11286" y="180216"/>
                    </a:lnTo>
                    <a:lnTo>
                      <a:pt x="8729" y="177571"/>
                    </a:lnTo>
                    <a:lnTo>
                      <a:pt x="7230" y="178453"/>
                    </a:lnTo>
                    <a:lnTo>
                      <a:pt x="6965" y="181098"/>
                    </a:lnTo>
                    <a:lnTo>
                      <a:pt x="5819" y="181979"/>
                    </a:lnTo>
                    <a:lnTo>
                      <a:pt x="4056" y="182244"/>
                    </a:lnTo>
                    <a:lnTo>
                      <a:pt x="3174" y="182508"/>
                    </a:lnTo>
                    <a:lnTo>
                      <a:pt x="2028" y="184272"/>
                    </a:lnTo>
                    <a:lnTo>
                      <a:pt x="2292" y="186652"/>
                    </a:lnTo>
                    <a:lnTo>
                      <a:pt x="264" y="189209"/>
                    </a:lnTo>
                    <a:lnTo>
                      <a:pt x="0" y="191590"/>
                    </a:lnTo>
                    <a:lnTo>
                      <a:pt x="4056" y="194764"/>
                    </a:lnTo>
                    <a:lnTo>
                      <a:pt x="5202" y="197144"/>
                    </a:lnTo>
                    <a:lnTo>
                      <a:pt x="7230" y="198908"/>
                    </a:lnTo>
                    <a:lnTo>
                      <a:pt x="8376" y="200936"/>
                    </a:lnTo>
                    <a:lnTo>
                      <a:pt x="10139" y="202346"/>
                    </a:lnTo>
                    <a:lnTo>
                      <a:pt x="11638" y="202611"/>
                    </a:lnTo>
                    <a:lnTo>
                      <a:pt x="12167" y="202346"/>
                    </a:lnTo>
                    <a:lnTo>
                      <a:pt x="13401" y="203845"/>
                    </a:lnTo>
                    <a:lnTo>
                      <a:pt x="13401" y="205608"/>
                    </a:lnTo>
                    <a:lnTo>
                      <a:pt x="14195" y="207372"/>
                    </a:lnTo>
                    <a:lnTo>
                      <a:pt x="13401" y="207636"/>
                    </a:lnTo>
                    <a:lnTo>
                      <a:pt x="13049" y="208518"/>
                    </a:lnTo>
                    <a:lnTo>
                      <a:pt x="13401" y="209929"/>
                    </a:lnTo>
                    <a:lnTo>
                      <a:pt x="14812" y="210811"/>
                    </a:lnTo>
                    <a:lnTo>
                      <a:pt x="14195" y="211692"/>
                    </a:lnTo>
                    <a:lnTo>
                      <a:pt x="15958" y="213720"/>
                    </a:lnTo>
                    <a:lnTo>
                      <a:pt x="16311" y="215219"/>
                    </a:lnTo>
                    <a:lnTo>
                      <a:pt x="18868" y="217511"/>
                    </a:lnTo>
                    <a:lnTo>
                      <a:pt x="19838" y="215836"/>
                    </a:lnTo>
                    <a:lnTo>
                      <a:pt x="22130" y="214955"/>
                    </a:lnTo>
                    <a:lnTo>
                      <a:pt x="22130" y="212838"/>
                    </a:lnTo>
                    <a:lnTo>
                      <a:pt x="23541" y="211428"/>
                    </a:lnTo>
                    <a:lnTo>
                      <a:pt x="24158" y="212309"/>
                    </a:lnTo>
                    <a:lnTo>
                      <a:pt x="26186" y="211692"/>
                    </a:lnTo>
                    <a:lnTo>
                      <a:pt x="26803" y="208165"/>
                    </a:lnTo>
                    <a:lnTo>
                      <a:pt x="33239" y="206490"/>
                    </a:lnTo>
                    <a:lnTo>
                      <a:pt x="33504" y="204110"/>
                    </a:lnTo>
                    <a:lnTo>
                      <a:pt x="35796" y="201465"/>
                    </a:lnTo>
                    <a:lnTo>
                      <a:pt x="36149" y="202611"/>
                    </a:lnTo>
                    <a:lnTo>
                      <a:pt x="38441" y="202611"/>
                    </a:lnTo>
                    <a:lnTo>
                      <a:pt x="38706" y="204110"/>
                    </a:lnTo>
                    <a:lnTo>
                      <a:pt x="41086" y="2073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6" name="Freihandform: Form 1815">
                <a:extLst>
                  <a:ext uri="{FF2B5EF4-FFF2-40B4-BE49-F238E27FC236}">
                    <a16:creationId xmlns:a16="http://schemas.microsoft.com/office/drawing/2014/main" id="{D43D5FB8-6BF6-38AA-851C-0E8F95AEC661}"/>
                  </a:ext>
                </a:extLst>
              </p:cNvPr>
              <p:cNvSpPr/>
              <p:nvPr/>
            </p:nvSpPr>
            <p:spPr>
              <a:xfrm>
                <a:off x="4385748" y="3875572"/>
                <a:ext cx="287252" cy="218745"/>
              </a:xfrm>
              <a:custGeom>
                <a:avLst/>
                <a:gdLst>
                  <a:gd name="connsiteX0" fmla="*/ 203316 w 287252"/>
                  <a:gd name="connsiteY0" fmla="*/ 57398 h 218745"/>
                  <a:gd name="connsiteX1" fmla="*/ 200054 w 287252"/>
                  <a:gd name="connsiteY1" fmla="*/ 57133 h 218745"/>
                  <a:gd name="connsiteX2" fmla="*/ 198908 w 287252"/>
                  <a:gd name="connsiteY2" fmla="*/ 58015 h 218745"/>
                  <a:gd name="connsiteX3" fmla="*/ 199525 w 287252"/>
                  <a:gd name="connsiteY3" fmla="*/ 54488 h 218745"/>
                  <a:gd name="connsiteX4" fmla="*/ 200671 w 287252"/>
                  <a:gd name="connsiteY4" fmla="*/ 52725 h 218745"/>
                  <a:gd name="connsiteX5" fmla="*/ 200407 w 287252"/>
                  <a:gd name="connsiteY5" fmla="*/ 49815 h 218745"/>
                  <a:gd name="connsiteX6" fmla="*/ 198291 w 287252"/>
                  <a:gd name="connsiteY6" fmla="*/ 52725 h 218745"/>
                  <a:gd name="connsiteX7" fmla="*/ 197145 w 287252"/>
                  <a:gd name="connsiteY7" fmla="*/ 49551 h 218745"/>
                  <a:gd name="connsiteX8" fmla="*/ 198908 w 287252"/>
                  <a:gd name="connsiteY8" fmla="*/ 45495 h 218745"/>
                  <a:gd name="connsiteX9" fmla="*/ 202082 w 287252"/>
                  <a:gd name="connsiteY9" fmla="*/ 42585 h 218745"/>
                  <a:gd name="connsiteX10" fmla="*/ 202435 w 287252"/>
                  <a:gd name="connsiteY10" fmla="*/ 39059 h 218745"/>
                  <a:gd name="connsiteX11" fmla="*/ 201289 w 287252"/>
                  <a:gd name="connsiteY11" fmla="*/ 38442 h 218745"/>
                  <a:gd name="connsiteX12" fmla="*/ 201553 w 287252"/>
                  <a:gd name="connsiteY12" fmla="*/ 36678 h 218745"/>
                  <a:gd name="connsiteX13" fmla="*/ 202435 w 287252"/>
                  <a:gd name="connsiteY13" fmla="*/ 33240 h 218745"/>
                  <a:gd name="connsiteX14" fmla="*/ 202435 w 287252"/>
                  <a:gd name="connsiteY14" fmla="*/ 27949 h 218745"/>
                  <a:gd name="connsiteX15" fmla="*/ 193353 w 287252"/>
                  <a:gd name="connsiteY15" fmla="*/ 13137 h 218745"/>
                  <a:gd name="connsiteX16" fmla="*/ 191943 w 287252"/>
                  <a:gd name="connsiteY16" fmla="*/ 12256 h 218745"/>
                  <a:gd name="connsiteX17" fmla="*/ 184889 w 287252"/>
                  <a:gd name="connsiteY17" fmla="*/ 1763 h 218745"/>
                  <a:gd name="connsiteX18" fmla="*/ 179335 w 287252"/>
                  <a:gd name="connsiteY18" fmla="*/ 1146 h 218745"/>
                  <a:gd name="connsiteX19" fmla="*/ 175543 w 287252"/>
                  <a:gd name="connsiteY19" fmla="*/ 0 h 218745"/>
                  <a:gd name="connsiteX20" fmla="*/ 175279 w 287252"/>
                  <a:gd name="connsiteY20" fmla="*/ 2292 h 218745"/>
                  <a:gd name="connsiteX21" fmla="*/ 173516 w 287252"/>
                  <a:gd name="connsiteY21" fmla="*/ 1411 h 218745"/>
                  <a:gd name="connsiteX22" fmla="*/ 170959 w 287252"/>
                  <a:gd name="connsiteY22" fmla="*/ 1411 h 218745"/>
                  <a:gd name="connsiteX23" fmla="*/ 169460 w 287252"/>
                  <a:gd name="connsiteY23" fmla="*/ 4673 h 218745"/>
                  <a:gd name="connsiteX24" fmla="*/ 166197 w 287252"/>
                  <a:gd name="connsiteY24" fmla="*/ 4320 h 218745"/>
                  <a:gd name="connsiteX25" fmla="*/ 165404 w 287252"/>
                  <a:gd name="connsiteY25" fmla="*/ 4938 h 218745"/>
                  <a:gd name="connsiteX26" fmla="*/ 165404 w 287252"/>
                  <a:gd name="connsiteY26" fmla="*/ 6965 h 218745"/>
                  <a:gd name="connsiteX27" fmla="*/ 163376 w 287252"/>
                  <a:gd name="connsiteY27" fmla="*/ 6965 h 218745"/>
                  <a:gd name="connsiteX28" fmla="*/ 162142 w 287252"/>
                  <a:gd name="connsiteY28" fmla="*/ 8729 h 218745"/>
                  <a:gd name="connsiteX29" fmla="*/ 160996 w 287252"/>
                  <a:gd name="connsiteY29" fmla="*/ 7847 h 218745"/>
                  <a:gd name="connsiteX30" fmla="*/ 159497 w 287252"/>
                  <a:gd name="connsiteY30" fmla="*/ 9610 h 218745"/>
                  <a:gd name="connsiteX31" fmla="*/ 158968 w 287252"/>
                  <a:gd name="connsiteY31" fmla="*/ 11903 h 218745"/>
                  <a:gd name="connsiteX32" fmla="*/ 160378 w 287252"/>
                  <a:gd name="connsiteY32" fmla="*/ 15429 h 218745"/>
                  <a:gd name="connsiteX33" fmla="*/ 159497 w 287252"/>
                  <a:gd name="connsiteY33" fmla="*/ 17722 h 218745"/>
                  <a:gd name="connsiteX34" fmla="*/ 155176 w 287252"/>
                  <a:gd name="connsiteY34" fmla="*/ 20367 h 218745"/>
                  <a:gd name="connsiteX35" fmla="*/ 151650 w 287252"/>
                  <a:gd name="connsiteY35" fmla="*/ 25922 h 218745"/>
                  <a:gd name="connsiteX36" fmla="*/ 151032 w 287252"/>
                  <a:gd name="connsiteY36" fmla="*/ 26186 h 218745"/>
                  <a:gd name="connsiteX37" fmla="*/ 149357 w 287252"/>
                  <a:gd name="connsiteY37" fmla="*/ 24423 h 218745"/>
                  <a:gd name="connsiteX38" fmla="*/ 145213 w 287252"/>
                  <a:gd name="connsiteY38" fmla="*/ 31212 h 218745"/>
                  <a:gd name="connsiteX39" fmla="*/ 144067 w 287252"/>
                  <a:gd name="connsiteY39" fmla="*/ 31212 h 218745"/>
                  <a:gd name="connsiteX40" fmla="*/ 143803 w 287252"/>
                  <a:gd name="connsiteY40" fmla="*/ 33769 h 218745"/>
                  <a:gd name="connsiteX41" fmla="*/ 145566 w 287252"/>
                  <a:gd name="connsiteY41" fmla="*/ 35003 h 218745"/>
                  <a:gd name="connsiteX42" fmla="*/ 143186 w 287252"/>
                  <a:gd name="connsiteY42" fmla="*/ 35267 h 218745"/>
                  <a:gd name="connsiteX43" fmla="*/ 138777 w 287252"/>
                  <a:gd name="connsiteY43" fmla="*/ 40205 h 218745"/>
                  <a:gd name="connsiteX44" fmla="*/ 136485 w 287252"/>
                  <a:gd name="connsiteY44" fmla="*/ 40822 h 218745"/>
                  <a:gd name="connsiteX45" fmla="*/ 135956 w 287252"/>
                  <a:gd name="connsiteY45" fmla="*/ 43114 h 218745"/>
                  <a:gd name="connsiteX46" fmla="*/ 133840 w 287252"/>
                  <a:gd name="connsiteY46" fmla="*/ 42233 h 218745"/>
                  <a:gd name="connsiteX47" fmla="*/ 133311 w 287252"/>
                  <a:gd name="connsiteY47" fmla="*/ 43114 h 218745"/>
                  <a:gd name="connsiteX48" fmla="*/ 133311 w 287252"/>
                  <a:gd name="connsiteY48" fmla="*/ 44878 h 218745"/>
                  <a:gd name="connsiteX49" fmla="*/ 131283 w 287252"/>
                  <a:gd name="connsiteY49" fmla="*/ 46377 h 218745"/>
                  <a:gd name="connsiteX50" fmla="*/ 129784 w 287252"/>
                  <a:gd name="connsiteY50" fmla="*/ 47787 h 218745"/>
                  <a:gd name="connsiteX51" fmla="*/ 126257 w 287252"/>
                  <a:gd name="connsiteY51" fmla="*/ 46377 h 218745"/>
                  <a:gd name="connsiteX52" fmla="*/ 125375 w 287252"/>
                  <a:gd name="connsiteY52" fmla="*/ 47523 h 218745"/>
                  <a:gd name="connsiteX53" fmla="*/ 123348 w 287252"/>
                  <a:gd name="connsiteY53" fmla="*/ 46641 h 218745"/>
                  <a:gd name="connsiteX54" fmla="*/ 123083 w 287252"/>
                  <a:gd name="connsiteY54" fmla="*/ 48405 h 218745"/>
                  <a:gd name="connsiteX55" fmla="*/ 117529 w 287252"/>
                  <a:gd name="connsiteY55" fmla="*/ 48669 h 218745"/>
                  <a:gd name="connsiteX56" fmla="*/ 114883 w 287252"/>
                  <a:gd name="connsiteY56" fmla="*/ 49551 h 218745"/>
                  <a:gd name="connsiteX57" fmla="*/ 112856 w 287252"/>
                  <a:gd name="connsiteY57" fmla="*/ 48934 h 218745"/>
                  <a:gd name="connsiteX58" fmla="*/ 110210 w 287252"/>
                  <a:gd name="connsiteY58" fmla="*/ 49815 h 218745"/>
                  <a:gd name="connsiteX59" fmla="*/ 107301 w 287252"/>
                  <a:gd name="connsiteY59" fmla="*/ 49815 h 218745"/>
                  <a:gd name="connsiteX60" fmla="*/ 102099 w 287252"/>
                  <a:gd name="connsiteY60" fmla="*/ 49551 h 218745"/>
                  <a:gd name="connsiteX61" fmla="*/ 97691 w 287252"/>
                  <a:gd name="connsiteY61" fmla="*/ 52460 h 218745"/>
                  <a:gd name="connsiteX62" fmla="*/ 98572 w 287252"/>
                  <a:gd name="connsiteY62" fmla="*/ 55105 h 218745"/>
                  <a:gd name="connsiteX63" fmla="*/ 103862 w 287252"/>
                  <a:gd name="connsiteY63" fmla="*/ 58279 h 218745"/>
                  <a:gd name="connsiteX64" fmla="*/ 102099 w 287252"/>
                  <a:gd name="connsiteY64" fmla="*/ 61189 h 218745"/>
                  <a:gd name="connsiteX65" fmla="*/ 98572 w 287252"/>
                  <a:gd name="connsiteY65" fmla="*/ 64099 h 218745"/>
                  <a:gd name="connsiteX66" fmla="*/ 96280 w 287252"/>
                  <a:gd name="connsiteY66" fmla="*/ 68772 h 218745"/>
                  <a:gd name="connsiteX67" fmla="*/ 93018 w 287252"/>
                  <a:gd name="connsiteY67" fmla="*/ 69917 h 218745"/>
                  <a:gd name="connsiteX68" fmla="*/ 90373 w 287252"/>
                  <a:gd name="connsiteY68" fmla="*/ 74061 h 218745"/>
                  <a:gd name="connsiteX69" fmla="*/ 78999 w 287252"/>
                  <a:gd name="connsiteY69" fmla="*/ 74591 h 218745"/>
                  <a:gd name="connsiteX70" fmla="*/ 75560 w 287252"/>
                  <a:gd name="connsiteY70" fmla="*/ 76089 h 218745"/>
                  <a:gd name="connsiteX71" fmla="*/ 71416 w 287252"/>
                  <a:gd name="connsiteY71" fmla="*/ 75825 h 218745"/>
                  <a:gd name="connsiteX72" fmla="*/ 67361 w 287252"/>
                  <a:gd name="connsiteY72" fmla="*/ 76354 h 218745"/>
                  <a:gd name="connsiteX73" fmla="*/ 65068 w 287252"/>
                  <a:gd name="connsiteY73" fmla="*/ 77853 h 218745"/>
                  <a:gd name="connsiteX74" fmla="*/ 63570 w 287252"/>
                  <a:gd name="connsiteY74" fmla="*/ 78734 h 218745"/>
                  <a:gd name="connsiteX75" fmla="*/ 62423 w 287252"/>
                  <a:gd name="connsiteY75" fmla="*/ 79352 h 218745"/>
                  <a:gd name="connsiteX76" fmla="*/ 59514 w 287252"/>
                  <a:gd name="connsiteY76" fmla="*/ 82790 h 218745"/>
                  <a:gd name="connsiteX77" fmla="*/ 58368 w 287252"/>
                  <a:gd name="connsiteY77" fmla="*/ 83407 h 218745"/>
                  <a:gd name="connsiteX78" fmla="*/ 56869 w 287252"/>
                  <a:gd name="connsiteY78" fmla="*/ 83407 h 218745"/>
                  <a:gd name="connsiteX79" fmla="*/ 53695 w 287252"/>
                  <a:gd name="connsiteY79" fmla="*/ 83672 h 218745"/>
                  <a:gd name="connsiteX80" fmla="*/ 53695 w 287252"/>
                  <a:gd name="connsiteY80" fmla="*/ 86581 h 218745"/>
                  <a:gd name="connsiteX81" fmla="*/ 52196 w 287252"/>
                  <a:gd name="connsiteY81" fmla="*/ 85964 h 218745"/>
                  <a:gd name="connsiteX82" fmla="*/ 50168 w 287252"/>
                  <a:gd name="connsiteY82" fmla="*/ 83672 h 218745"/>
                  <a:gd name="connsiteX83" fmla="*/ 48405 w 287252"/>
                  <a:gd name="connsiteY83" fmla="*/ 81644 h 218745"/>
                  <a:gd name="connsiteX84" fmla="*/ 46641 w 287252"/>
                  <a:gd name="connsiteY84" fmla="*/ 80498 h 218745"/>
                  <a:gd name="connsiteX85" fmla="*/ 46641 w 287252"/>
                  <a:gd name="connsiteY85" fmla="*/ 78117 h 218745"/>
                  <a:gd name="connsiteX86" fmla="*/ 45759 w 287252"/>
                  <a:gd name="connsiteY86" fmla="*/ 78382 h 218745"/>
                  <a:gd name="connsiteX87" fmla="*/ 44878 w 287252"/>
                  <a:gd name="connsiteY87" fmla="*/ 80498 h 218745"/>
                  <a:gd name="connsiteX88" fmla="*/ 43732 w 287252"/>
                  <a:gd name="connsiteY88" fmla="*/ 80145 h 218745"/>
                  <a:gd name="connsiteX89" fmla="*/ 43467 w 287252"/>
                  <a:gd name="connsiteY89" fmla="*/ 83143 h 218745"/>
                  <a:gd name="connsiteX90" fmla="*/ 36414 w 287252"/>
                  <a:gd name="connsiteY90" fmla="*/ 84818 h 218745"/>
                  <a:gd name="connsiteX91" fmla="*/ 34121 w 287252"/>
                  <a:gd name="connsiteY91" fmla="*/ 86846 h 218745"/>
                  <a:gd name="connsiteX92" fmla="*/ 30065 w 287252"/>
                  <a:gd name="connsiteY92" fmla="*/ 88874 h 218745"/>
                  <a:gd name="connsiteX93" fmla="*/ 28302 w 287252"/>
                  <a:gd name="connsiteY93" fmla="*/ 86581 h 218745"/>
                  <a:gd name="connsiteX94" fmla="*/ 23629 w 287252"/>
                  <a:gd name="connsiteY94" fmla="*/ 86317 h 218745"/>
                  <a:gd name="connsiteX95" fmla="*/ 22130 w 287252"/>
                  <a:gd name="connsiteY95" fmla="*/ 89226 h 218745"/>
                  <a:gd name="connsiteX96" fmla="*/ 23012 w 287252"/>
                  <a:gd name="connsiteY96" fmla="*/ 90373 h 218745"/>
                  <a:gd name="connsiteX97" fmla="*/ 21601 w 287252"/>
                  <a:gd name="connsiteY97" fmla="*/ 90373 h 218745"/>
                  <a:gd name="connsiteX98" fmla="*/ 16576 w 287252"/>
                  <a:gd name="connsiteY98" fmla="*/ 95310 h 218745"/>
                  <a:gd name="connsiteX99" fmla="*/ 14284 w 287252"/>
                  <a:gd name="connsiteY99" fmla="*/ 104920 h 218745"/>
                  <a:gd name="connsiteX100" fmla="*/ 11991 w 287252"/>
                  <a:gd name="connsiteY100" fmla="*/ 106419 h 218745"/>
                  <a:gd name="connsiteX101" fmla="*/ 8464 w 287252"/>
                  <a:gd name="connsiteY101" fmla="*/ 116647 h 218745"/>
                  <a:gd name="connsiteX102" fmla="*/ 6965 w 287252"/>
                  <a:gd name="connsiteY102" fmla="*/ 118058 h 218745"/>
                  <a:gd name="connsiteX103" fmla="*/ 2645 w 287252"/>
                  <a:gd name="connsiteY103" fmla="*/ 120085 h 218745"/>
                  <a:gd name="connsiteX104" fmla="*/ 529 w 287252"/>
                  <a:gd name="connsiteY104" fmla="*/ 122466 h 218745"/>
                  <a:gd name="connsiteX105" fmla="*/ 0 w 287252"/>
                  <a:gd name="connsiteY105" fmla="*/ 124494 h 218745"/>
                  <a:gd name="connsiteX106" fmla="*/ 1411 w 287252"/>
                  <a:gd name="connsiteY106" fmla="*/ 126522 h 218745"/>
                  <a:gd name="connsiteX107" fmla="*/ 4320 w 287252"/>
                  <a:gd name="connsiteY107" fmla="*/ 126874 h 218745"/>
                  <a:gd name="connsiteX108" fmla="*/ 7318 w 287252"/>
                  <a:gd name="connsiteY108" fmla="*/ 132958 h 218745"/>
                  <a:gd name="connsiteX109" fmla="*/ 4320 w 287252"/>
                  <a:gd name="connsiteY109" fmla="*/ 138777 h 218745"/>
                  <a:gd name="connsiteX110" fmla="*/ 2910 w 287252"/>
                  <a:gd name="connsiteY110" fmla="*/ 142304 h 218745"/>
                  <a:gd name="connsiteX111" fmla="*/ 5819 w 287252"/>
                  <a:gd name="connsiteY111" fmla="*/ 145213 h 218745"/>
                  <a:gd name="connsiteX112" fmla="*/ 4673 w 287252"/>
                  <a:gd name="connsiteY112" fmla="*/ 151650 h 218745"/>
                  <a:gd name="connsiteX113" fmla="*/ 7318 w 287252"/>
                  <a:gd name="connsiteY113" fmla="*/ 159232 h 218745"/>
                  <a:gd name="connsiteX114" fmla="*/ 8729 w 287252"/>
                  <a:gd name="connsiteY114" fmla="*/ 161260 h 218745"/>
                  <a:gd name="connsiteX115" fmla="*/ 13666 w 287252"/>
                  <a:gd name="connsiteY115" fmla="*/ 164169 h 218745"/>
                  <a:gd name="connsiteX116" fmla="*/ 15165 w 287252"/>
                  <a:gd name="connsiteY116" fmla="*/ 166550 h 218745"/>
                  <a:gd name="connsiteX117" fmla="*/ 15165 w 287252"/>
                  <a:gd name="connsiteY117" fmla="*/ 171488 h 218745"/>
                  <a:gd name="connsiteX118" fmla="*/ 17193 w 287252"/>
                  <a:gd name="connsiteY118" fmla="*/ 173515 h 218745"/>
                  <a:gd name="connsiteX119" fmla="*/ 14284 w 287252"/>
                  <a:gd name="connsiteY119" fmla="*/ 173780 h 218745"/>
                  <a:gd name="connsiteX120" fmla="*/ 18692 w 287252"/>
                  <a:gd name="connsiteY120" fmla="*/ 182509 h 218745"/>
                  <a:gd name="connsiteX121" fmla="*/ 31212 w 287252"/>
                  <a:gd name="connsiteY121" fmla="*/ 197145 h 218745"/>
                  <a:gd name="connsiteX122" fmla="*/ 34121 w 287252"/>
                  <a:gd name="connsiteY122" fmla="*/ 197145 h 218745"/>
                  <a:gd name="connsiteX123" fmla="*/ 35003 w 287252"/>
                  <a:gd name="connsiteY123" fmla="*/ 200054 h 218745"/>
                  <a:gd name="connsiteX124" fmla="*/ 36149 w 287252"/>
                  <a:gd name="connsiteY124" fmla="*/ 200054 h 218745"/>
                  <a:gd name="connsiteX125" fmla="*/ 37648 w 287252"/>
                  <a:gd name="connsiteY125" fmla="*/ 202082 h 218745"/>
                  <a:gd name="connsiteX126" fmla="*/ 37913 w 287252"/>
                  <a:gd name="connsiteY126" fmla="*/ 204110 h 218745"/>
                  <a:gd name="connsiteX127" fmla="*/ 36766 w 287252"/>
                  <a:gd name="connsiteY127" fmla="*/ 204991 h 218745"/>
                  <a:gd name="connsiteX128" fmla="*/ 36766 w 287252"/>
                  <a:gd name="connsiteY128" fmla="*/ 207372 h 218745"/>
                  <a:gd name="connsiteX129" fmla="*/ 37913 w 287252"/>
                  <a:gd name="connsiteY129" fmla="*/ 207372 h 218745"/>
                  <a:gd name="connsiteX130" fmla="*/ 37913 w 287252"/>
                  <a:gd name="connsiteY130" fmla="*/ 209929 h 218745"/>
                  <a:gd name="connsiteX131" fmla="*/ 36766 w 287252"/>
                  <a:gd name="connsiteY131" fmla="*/ 211692 h 218745"/>
                  <a:gd name="connsiteX132" fmla="*/ 39411 w 287252"/>
                  <a:gd name="connsiteY132" fmla="*/ 218393 h 218745"/>
                  <a:gd name="connsiteX133" fmla="*/ 39411 w 287252"/>
                  <a:gd name="connsiteY133" fmla="*/ 218746 h 218745"/>
                  <a:gd name="connsiteX134" fmla="*/ 46112 w 287252"/>
                  <a:gd name="connsiteY134" fmla="*/ 202964 h 218745"/>
                  <a:gd name="connsiteX135" fmla="*/ 46112 w 287252"/>
                  <a:gd name="connsiteY135" fmla="*/ 195646 h 218745"/>
                  <a:gd name="connsiteX136" fmla="*/ 48140 w 287252"/>
                  <a:gd name="connsiteY136" fmla="*/ 187534 h 218745"/>
                  <a:gd name="connsiteX137" fmla="*/ 50785 w 287252"/>
                  <a:gd name="connsiteY137" fmla="*/ 186035 h 218745"/>
                  <a:gd name="connsiteX138" fmla="*/ 52813 w 287252"/>
                  <a:gd name="connsiteY138" fmla="*/ 186653 h 218745"/>
                  <a:gd name="connsiteX139" fmla="*/ 54576 w 287252"/>
                  <a:gd name="connsiteY139" fmla="*/ 186300 h 218745"/>
                  <a:gd name="connsiteX140" fmla="*/ 54576 w 287252"/>
                  <a:gd name="connsiteY140" fmla="*/ 185771 h 218745"/>
                  <a:gd name="connsiteX141" fmla="*/ 56869 w 287252"/>
                  <a:gd name="connsiteY141" fmla="*/ 186300 h 218745"/>
                  <a:gd name="connsiteX142" fmla="*/ 59161 w 287252"/>
                  <a:gd name="connsiteY142" fmla="*/ 185154 h 218745"/>
                  <a:gd name="connsiteX143" fmla="*/ 62159 w 287252"/>
                  <a:gd name="connsiteY143" fmla="*/ 185154 h 218745"/>
                  <a:gd name="connsiteX144" fmla="*/ 62688 w 287252"/>
                  <a:gd name="connsiteY144" fmla="*/ 184272 h 218745"/>
                  <a:gd name="connsiteX145" fmla="*/ 64716 w 287252"/>
                  <a:gd name="connsiteY145" fmla="*/ 184272 h 218745"/>
                  <a:gd name="connsiteX146" fmla="*/ 67978 w 287252"/>
                  <a:gd name="connsiteY146" fmla="*/ 181715 h 218745"/>
                  <a:gd name="connsiteX147" fmla="*/ 70887 w 287252"/>
                  <a:gd name="connsiteY147" fmla="*/ 184007 h 218745"/>
                  <a:gd name="connsiteX148" fmla="*/ 75560 w 287252"/>
                  <a:gd name="connsiteY148" fmla="*/ 184272 h 218745"/>
                  <a:gd name="connsiteX149" fmla="*/ 76442 w 287252"/>
                  <a:gd name="connsiteY149" fmla="*/ 186300 h 218745"/>
                  <a:gd name="connsiteX150" fmla="*/ 77853 w 287252"/>
                  <a:gd name="connsiteY150" fmla="*/ 185154 h 218745"/>
                  <a:gd name="connsiteX151" fmla="*/ 78735 w 287252"/>
                  <a:gd name="connsiteY151" fmla="*/ 186300 h 218745"/>
                  <a:gd name="connsiteX152" fmla="*/ 81380 w 287252"/>
                  <a:gd name="connsiteY152" fmla="*/ 185771 h 218745"/>
                  <a:gd name="connsiteX153" fmla="*/ 82526 w 287252"/>
                  <a:gd name="connsiteY153" fmla="*/ 186035 h 218745"/>
                  <a:gd name="connsiteX154" fmla="*/ 83143 w 287252"/>
                  <a:gd name="connsiteY154" fmla="*/ 187534 h 218745"/>
                  <a:gd name="connsiteX155" fmla="*/ 85171 w 287252"/>
                  <a:gd name="connsiteY155" fmla="*/ 185154 h 218745"/>
                  <a:gd name="connsiteX156" fmla="*/ 88345 w 287252"/>
                  <a:gd name="connsiteY156" fmla="*/ 185154 h 218745"/>
                  <a:gd name="connsiteX157" fmla="*/ 89844 w 287252"/>
                  <a:gd name="connsiteY157" fmla="*/ 184007 h 218745"/>
                  <a:gd name="connsiteX158" fmla="*/ 92136 w 287252"/>
                  <a:gd name="connsiteY158" fmla="*/ 187534 h 218745"/>
                  <a:gd name="connsiteX159" fmla="*/ 93371 w 287252"/>
                  <a:gd name="connsiteY159" fmla="*/ 187534 h 218745"/>
                  <a:gd name="connsiteX160" fmla="*/ 92136 w 287252"/>
                  <a:gd name="connsiteY160" fmla="*/ 181098 h 218745"/>
                  <a:gd name="connsiteX161" fmla="*/ 92489 w 287252"/>
                  <a:gd name="connsiteY161" fmla="*/ 177571 h 218745"/>
                  <a:gd name="connsiteX162" fmla="*/ 93371 w 287252"/>
                  <a:gd name="connsiteY162" fmla="*/ 174926 h 218745"/>
                  <a:gd name="connsiteX163" fmla="*/ 93371 w 287252"/>
                  <a:gd name="connsiteY163" fmla="*/ 173780 h 218745"/>
                  <a:gd name="connsiteX164" fmla="*/ 93018 w 287252"/>
                  <a:gd name="connsiteY164" fmla="*/ 171488 h 218745"/>
                  <a:gd name="connsiteX165" fmla="*/ 92136 w 287252"/>
                  <a:gd name="connsiteY165" fmla="*/ 168842 h 218745"/>
                  <a:gd name="connsiteX166" fmla="*/ 90725 w 287252"/>
                  <a:gd name="connsiteY166" fmla="*/ 166550 h 218745"/>
                  <a:gd name="connsiteX167" fmla="*/ 92136 w 287252"/>
                  <a:gd name="connsiteY167" fmla="*/ 165316 h 218745"/>
                  <a:gd name="connsiteX168" fmla="*/ 93371 w 287252"/>
                  <a:gd name="connsiteY168" fmla="*/ 166197 h 218745"/>
                  <a:gd name="connsiteX169" fmla="*/ 94517 w 287252"/>
                  <a:gd name="connsiteY169" fmla="*/ 165316 h 218745"/>
                  <a:gd name="connsiteX170" fmla="*/ 95663 w 287252"/>
                  <a:gd name="connsiteY170" fmla="*/ 165051 h 218745"/>
                  <a:gd name="connsiteX171" fmla="*/ 96809 w 287252"/>
                  <a:gd name="connsiteY171" fmla="*/ 162671 h 218745"/>
                  <a:gd name="connsiteX172" fmla="*/ 97426 w 287252"/>
                  <a:gd name="connsiteY172" fmla="*/ 160643 h 218745"/>
                  <a:gd name="connsiteX173" fmla="*/ 98572 w 287252"/>
                  <a:gd name="connsiteY173" fmla="*/ 159232 h 218745"/>
                  <a:gd name="connsiteX174" fmla="*/ 98837 w 287252"/>
                  <a:gd name="connsiteY174" fmla="*/ 158351 h 218745"/>
                  <a:gd name="connsiteX175" fmla="*/ 99718 w 287252"/>
                  <a:gd name="connsiteY175" fmla="*/ 158086 h 218745"/>
                  <a:gd name="connsiteX176" fmla="*/ 99983 w 287252"/>
                  <a:gd name="connsiteY176" fmla="*/ 156323 h 218745"/>
                  <a:gd name="connsiteX177" fmla="*/ 100865 w 287252"/>
                  <a:gd name="connsiteY177" fmla="*/ 156323 h 218745"/>
                  <a:gd name="connsiteX178" fmla="*/ 101217 w 287252"/>
                  <a:gd name="connsiteY178" fmla="*/ 154824 h 218745"/>
                  <a:gd name="connsiteX179" fmla="*/ 102099 w 287252"/>
                  <a:gd name="connsiteY179" fmla="*/ 153942 h 218745"/>
                  <a:gd name="connsiteX180" fmla="*/ 102628 w 287252"/>
                  <a:gd name="connsiteY180" fmla="*/ 152179 h 218745"/>
                  <a:gd name="connsiteX181" fmla="*/ 103510 w 287252"/>
                  <a:gd name="connsiteY181" fmla="*/ 151297 h 218745"/>
                  <a:gd name="connsiteX182" fmla="*/ 105009 w 287252"/>
                  <a:gd name="connsiteY182" fmla="*/ 151297 h 218745"/>
                  <a:gd name="connsiteX183" fmla="*/ 105538 w 287252"/>
                  <a:gd name="connsiteY183" fmla="*/ 150503 h 218745"/>
                  <a:gd name="connsiteX184" fmla="*/ 106419 w 287252"/>
                  <a:gd name="connsiteY184" fmla="*/ 150151 h 218745"/>
                  <a:gd name="connsiteX185" fmla="*/ 109065 w 287252"/>
                  <a:gd name="connsiteY185" fmla="*/ 147594 h 218745"/>
                  <a:gd name="connsiteX186" fmla="*/ 110210 w 287252"/>
                  <a:gd name="connsiteY186" fmla="*/ 146360 h 218745"/>
                  <a:gd name="connsiteX187" fmla="*/ 111974 w 287252"/>
                  <a:gd name="connsiteY187" fmla="*/ 146360 h 218745"/>
                  <a:gd name="connsiteX188" fmla="*/ 112856 w 287252"/>
                  <a:gd name="connsiteY188" fmla="*/ 146095 h 218745"/>
                  <a:gd name="connsiteX189" fmla="*/ 114354 w 287252"/>
                  <a:gd name="connsiteY189" fmla="*/ 146360 h 218745"/>
                  <a:gd name="connsiteX190" fmla="*/ 116911 w 287252"/>
                  <a:gd name="connsiteY190" fmla="*/ 146360 h 218745"/>
                  <a:gd name="connsiteX191" fmla="*/ 119292 w 287252"/>
                  <a:gd name="connsiteY191" fmla="*/ 147594 h 218745"/>
                  <a:gd name="connsiteX192" fmla="*/ 120438 w 287252"/>
                  <a:gd name="connsiteY192" fmla="*/ 150151 h 218745"/>
                  <a:gd name="connsiteX193" fmla="*/ 123083 w 287252"/>
                  <a:gd name="connsiteY193" fmla="*/ 150151 h 218745"/>
                  <a:gd name="connsiteX194" fmla="*/ 124846 w 287252"/>
                  <a:gd name="connsiteY194" fmla="*/ 152179 h 218745"/>
                  <a:gd name="connsiteX195" fmla="*/ 126874 w 287252"/>
                  <a:gd name="connsiteY195" fmla="*/ 152796 h 218745"/>
                  <a:gd name="connsiteX196" fmla="*/ 128285 w 287252"/>
                  <a:gd name="connsiteY196" fmla="*/ 154824 h 218745"/>
                  <a:gd name="connsiteX197" fmla="*/ 130666 w 287252"/>
                  <a:gd name="connsiteY197" fmla="*/ 155705 h 218745"/>
                  <a:gd name="connsiteX198" fmla="*/ 131812 w 287252"/>
                  <a:gd name="connsiteY198" fmla="*/ 158086 h 218745"/>
                  <a:gd name="connsiteX199" fmla="*/ 133311 w 287252"/>
                  <a:gd name="connsiteY199" fmla="*/ 159232 h 218745"/>
                  <a:gd name="connsiteX200" fmla="*/ 132694 w 287252"/>
                  <a:gd name="connsiteY200" fmla="*/ 160643 h 218745"/>
                  <a:gd name="connsiteX201" fmla="*/ 133311 w 287252"/>
                  <a:gd name="connsiteY201" fmla="*/ 161877 h 218745"/>
                  <a:gd name="connsiteX202" fmla="*/ 135956 w 287252"/>
                  <a:gd name="connsiteY202" fmla="*/ 164169 h 218745"/>
                  <a:gd name="connsiteX203" fmla="*/ 140011 w 287252"/>
                  <a:gd name="connsiteY203" fmla="*/ 164169 h 218745"/>
                  <a:gd name="connsiteX204" fmla="*/ 141158 w 287252"/>
                  <a:gd name="connsiteY204" fmla="*/ 163288 h 218745"/>
                  <a:gd name="connsiteX205" fmla="*/ 144332 w 287252"/>
                  <a:gd name="connsiteY205" fmla="*/ 163288 h 218745"/>
                  <a:gd name="connsiteX206" fmla="*/ 146095 w 287252"/>
                  <a:gd name="connsiteY206" fmla="*/ 165051 h 218745"/>
                  <a:gd name="connsiteX207" fmla="*/ 147594 w 287252"/>
                  <a:gd name="connsiteY207" fmla="*/ 166550 h 218745"/>
                  <a:gd name="connsiteX208" fmla="*/ 149622 w 287252"/>
                  <a:gd name="connsiteY208" fmla="*/ 167344 h 218745"/>
                  <a:gd name="connsiteX209" fmla="*/ 150151 w 287252"/>
                  <a:gd name="connsiteY209" fmla="*/ 167344 h 218745"/>
                  <a:gd name="connsiteX210" fmla="*/ 150151 w 287252"/>
                  <a:gd name="connsiteY210" fmla="*/ 166550 h 218745"/>
                  <a:gd name="connsiteX211" fmla="*/ 151385 w 287252"/>
                  <a:gd name="connsiteY211" fmla="*/ 166550 h 218745"/>
                  <a:gd name="connsiteX212" fmla="*/ 152796 w 287252"/>
                  <a:gd name="connsiteY212" fmla="*/ 167344 h 218745"/>
                  <a:gd name="connsiteX213" fmla="*/ 155176 w 287252"/>
                  <a:gd name="connsiteY213" fmla="*/ 167344 h 218745"/>
                  <a:gd name="connsiteX214" fmla="*/ 156587 w 287252"/>
                  <a:gd name="connsiteY214" fmla="*/ 168578 h 218745"/>
                  <a:gd name="connsiteX215" fmla="*/ 159232 w 287252"/>
                  <a:gd name="connsiteY215" fmla="*/ 166550 h 218745"/>
                  <a:gd name="connsiteX216" fmla="*/ 161877 w 287252"/>
                  <a:gd name="connsiteY216" fmla="*/ 166550 h 218745"/>
                  <a:gd name="connsiteX217" fmla="*/ 162142 w 287252"/>
                  <a:gd name="connsiteY217" fmla="*/ 167344 h 218745"/>
                  <a:gd name="connsiteX218" fmla="*/ 163024 w 287252"/>
                  <a:gd name="connsiteY218" fmla="*/ 167344 h 218745"/>
                  <a:gd name="connsiteX219" fmla="*/ 164258 w 287252"/>
                  <a:gd name="connsiteY219" fmla="*/ 168842 h 218745"/>
                  <a:gd name="connsiteX220" fmla="*/ 165933 w 287252"/>
                  <a:gd name="connsiteY220" fmla="*/ 168842 h 218745"/>
                  <a:gd name="connsiteX221" fmla="*/ 167167 w 287252"/>
                  <a:gd name="connsiteY221" fmla="*/ 168578 h 218745"/>
                  <a:gd name="connsiteX222" fmla="*/ 169195 w 287252"/>
                  <a:gd name="connsiteY222" fmla="*/ 169107 h 218745"/>
                  <a:gd name="connsiteX223" fmla="*/ 171223 w 287252"/>
                  <a:gd name="connsiteY223" fmla="*/ 170606 h 218745"/>
                  <a:gd name="connsiteX224" fmla="*/ 171488 w 287252"/>
                  <a:gd name="connsiteY224" fmla="*/ 170606 h 218745"/>
                  <a:gd name="connsiteX225" fmla="*/ 174397 w 287252"/>
                  <a:gd name="connsiteY225" fmla="*/ 171488 h 218745"/>
                  <a:gd name="connsiteX226" fmla="*/ 176778 w 287252"/>
                  <a:gd name="connsiteY226" fmla="*/ 170606 h 218745"/>
                  <a:gd name="connsiteX227" fmla="*/ 178805 w 287252"/>
                  <a:gd name="connsiteY227" fmla="*/ 169107 h 218745"/>
                  <a:gd name="connsiteX228" fmla="*/ 178805 w 287252"/>
                  <a:gd name="connsiteY228" fmla="*/ 167344 h 218745"/>
                  <a:gd name="connsiteX229" fmla="*/ 180216 w 287252"/>
                  <a:gd name="connsiteY229" fmla="*/ 166550 h 218745"/>
                  <a:gd name="connsiteX230" fmla="*/ 180569 w 287252"/>
                  <a:gd name="connsiteY230" fmla="*/ 165316 h 218745"/>
                  <a:gd name="connsiteX231" fmla="*/ 179952 w 287252"/>
                  <a:gd name="connsiteY231" fmla="*/ 164169 h 218745"/>
                  <a:gd name="connsiteX232" fmla="*/ 180569 w 287252"/>
                  <a:gd name="connsiteY232" fmla="*/ 162671 h 218745"/>
                  <a:gd name="connsiteX233" fmla="*/ 180569 w 287252"/>
                  <a:gd name="connsiteY233" fmla="*/ 162406 h 218745"/>
                  <a:gd name="connsiteX234" fmla="*/ 181980 w 287252"/>
                  <a:gd name="connsiteY234" fmla="*/ 162406 h 218745"/>
                  <a:gd name="connsiteX235" fmla="*/ 182332 w 287252"/>
                  <a:gd name="connsiteY235" fmla="*/ 161260 h 218745"/>
                  <a:gd name="connsiteX236" fmla="*/ 182861 w 287252"/>
                  <a:gd name="connsiteY236" fmla="*/ 160643 h 218745"/>
                  <a:gd name="connsiteX237" fmla="*/ 183214 w 287252"/>
                  <a:gd name="connsiteY237" fmla="*/ 159232 h 218745"/>
                  <a:gd name="connsiteX238" fmla="*/ 183478 w 287252"/>
                  <a:gd name="connsiteY238" fmla="*/ 158351 h 218745"/>
                  <a:gd name="connsiteX239" fmla="*/ 184008 w 287252"/>
                  <a:gd name="connsiteY239" fmla="*/ 156323 h 218745"/>
                  <a:gd name="connsiteX240" fmla="*/ 184625 w 287252"/>
                  <a:gd name="connsiteY240" fmla="*/ 156323 h 218745"/>
                  <a:gd name="connsiteX241" fmla="*/ 185506 w 287252"/>
                  <a:gd name="connsiteY241" fmla="*/ 157469 h 218745"/>
                  <a:gd name="connsiteX242" fmla="*/ 186124 w 287252"/>
                  <a:gd name="connsiteY242" fmla="*/ 156323 h 218745"/>
                  <a:gd name="connsiteX243" fmla="*/ 186388 w 287252"/>
                  <a:gd name="connsiteY243" fmla="*/ 156323 h 218745"/>
                  <a:gd name="connsiteX244" fmla="*/ 186388 w 287252"/>
                  <a:gd name="connsiteY244" fmla="*/ 154295 h 218745"/>
                  <a:gd name="connsiteX245" fmla="*/ 187534 w 287252"/>
                  <a:gd name="connsiteY245" fmla="*/ 154295 h 218745"/>
                  <a:gd name="connsiteX246" fmla="*/ 188416 w 287252"/>
                  <a:gd name="connsiteY246" fmla="*/ 153942 h 218745"/>
                  <a:gd name="connsiteX247" fmla="*/ 188681 w 287252"/>
                  <a:gd name="connsiteY247" fmla="*/ 154295 h 218745"/>
                  <a:gd name="connsiteX248" fmla="*/ 189562 w 287252"/>
                  <a:gd name="connsiteY248" fmla="*/ 156323 h 218745"/>
                  <a:gd name="connsiteX249" fmla="*/ 190179 w 287252"/>
                  <a:gd name="connsiteY249" fmla="*/ 156323 h 218745"/>
                  <a:gd name="connsiteX250" fmla="*/ 191061 w 287252"/>
                  <a:gd name="connsiteY250" fmla="*/ 156323 h 218745"/>
                  <a:gd name="connsiteX251" fmla="*/ 191061 w 287252"/>
                  <a:gd name="connsiteY251" fmla="*/ 157469 h 218745"/>
                  <a:gd name="connsiteX252" fmla="*/ 192472 w 287252"/>
                  <a:gd name="connsiteY252" fmla="*/ 156323 h 218745"/>
                  <a:gd name="connsiteX253" fmla="*/ 194235 w 287252"/>
                  <a:gd name="connsiteY253" fmla="*/ 158086 h 218745"/>
                  <a:gd name="connsiteX254" fmla="*/ 194852 w 287252"/>
                  <a:gd name="connsiteY254" fmla="*/ 158351 h 218745"/>
                  <a:gd name="connsiteX255" fmla="*/ 194852 w 287252"/>
                  <a:gd name="connsiteY255" fmla="*/ 159232 h 218745"/>
                  <a:gd name="connsiteX256" fmla="*/ 195381 w 287252"/>
                  <a:gd name="connsiteY256" fmla="*/ 158880 h 218745"/>
                  <a:gd name="connsiteX257" fmla="*/ 196263 w 287252"/>
                  <a:gd name="connsiteY257" fmla="*/ 159497 h 218745"/>
                  <a:gd name="connsiteX258" fmla="*/ 198908 w 287252"/>
                  <a:gd name="connsiteY258" fmla="*/ 160114 h 218745"/>
                  <a:gd name="connsiteX259" fmla="*/ 198908 w 287252"/>
                  <a:gd name="connsiteY259" fmla="*/ 158351 h 218745"/>
                  <a:gd name="connsiteX260" fmla="*/ 200054 w 287252"/>
                  <a:gd name="connsiteY260" fmla="*/ 158086 h 218745"/>
                  <a:gd name="connsiteX261" fmla="*/ 201818 w 287252"/>
                  <a:gd name="connsiteY261" fmla="*/ 156323 h 218745"/>
                  <a:gd name="connsiteX262" fmla="*/ 204110 w 287252"/>
                  <a:gd name="connsiteY262" fmla="*/ 155705 h 218745"/>
                  <a:gd name="connsiteX263" fmla="*/ 205344 w 287252"/>
                  <a:gd name="connsiteY263" fmla="*/ 155441 h 218745"/>
                  <a:gd name="connsiteX264" fmla="*/ 206843 w 287252"/>
                  <a:gd name="connsiteY264" fmla="*/ 154295 h 218745"/>
                  <a:gd name="connsiteX265" fmla="*/ 207372 w 287252"/>
                  <a:gd name="connsiteY265" fmla="*/ 154295 h 218745"/>
                  <a:gd name="connsiteX266" fmla="*/ 208254 w 287252"/>
                  <a:gd name="connsiteY266" fmla="*/ 154295 h 218745"/>
                  <a:gd name="connsiteX267" fmla="*/ 209664 w 287252"/>
                  <a:gd name="connsiteY267" fmla="*/ 154295 h 218745"/>
                  <a:gd name="connsiteX268" fmla="*/ 209664 w 287252"/>
                  <a:gd name="connsiteY268" fmla="*/ 153413 h 218745"/>
                  <a:gd name="connsiteX269" fmla="*/ 209664 w 287252"/>
                  <a:gd name="connsiteY269" fmla="*/ 152796 h 218745"/>
                  <a:gd name="connsiteX270" fmla="*/ 210282 w 287252"/>
                  <a:gd name="connsiteY270" fmla="*/ 153413 h 218745"/>
                  <a:gd name="connsiteX271" fmla="*/ 212662 w 287252"/>
                  <a:gd name="connsiteY271" fmla="*/ 152179 h 218745"/>
                  <a:gd name="connsiteX272" fmla="*/ 213191 w 287252"/>
                  <a:gd name="connsiteY272" fmla="*/ 152179 h 218745"/>
                  <a:gd name="connsiteX273" fmla="*/ 214073 w 287252"/>
                  <a:gd name="connsiteY273" fmla="*/ 152179 h 218745"/>
                  <a:gd name="connsiteX274" fmla="*/ 215219 w 287252"/>
                  <a:gd name="connsiteY274" fmla="*/ 151297 h 218745"/>
                  <a:gd name="connsiteX275" fmla="*/ 216101 w 287252"/>
                  <a:gd name="connsiteY275" fmla="*/ 150503 h 218745"/>
                  <a:gd name="connsiteX276" fmla="*/ 216718 w 287252"/>
                  <a:gd name="connsiteY276" fmla="*/ 151297 h 218745"/>
                  <a:gd name="connsiteX277" fmla="*/ 216718 w 287252"/>
                  <a:gd name="connsiteY277" fmla="*/ 150151 h 218745"/>
                  <a:gd name="connsiteX278" fmla="*/ 217335 w 287252"/>
                  <a:gd name="connsiteY278" fmla="*/ 150151 h 218745"/>
                  <a:gd name="connsiteX279" fmla="*/ 219010 w 287252"/>
                  <a:gd name="connsiteY279" fmla="*/ 150151 h 218745"/>
                  <a:gd name="connsiteX280" fmla="*/ 219363 w 287252"/>
                  <a:gd name="connsiteY280" fmla="*/ 149005 h 218745"/>
                  <a:gd name="connsiteX281" fmla="*/ 219363 w 287252"/>
                  <a:gd name="connsiteY281" fmla="*/ 148740 h 218745"/>
                  <a:gd name="connsiteX282" fmla="*/ 219363 w 287252"/>
                  <a:gd name="connsiteY282" fmla="*/ 148388 h 218745"/>
                  <a:gd name="connsiteX283" fmla="*/ 218129 w 287252"/>
                  <a:gd name="connsiteY283" fmla="*/ 148388 h 218745"/>
                  <a:gd name="connsiteX284" fmla="*/ 219363 w 287252"/>
                  <a:gd name="connsiteY284" fmla="*/ 147594 h 218745"/>
                  <a:gd name="connsiteX285" fmla="*/ 219363 w 287252"/>
                  <a:gd name="connsiteY285" fmla="*/ 146977 h 218745"/>
                  <a:gd name="connsiteX286" fmla="*/ 220509 w 287252"/>
                  <a:gd name="connsiteY286" fmla="*/ 147859 h 218745"/>
                  <a:gd name="connsiteX287" fmla="*/ 220509 w 287252"/>
                  <a:gd name="connsiteY287" fmla="*/ 147594 h 218745"/>
                  <a:gd name="connsiteX288" fmla="*/ 221038 w 287252"/>
                  <a:gd name="connsiteY288" fmla="*/ 147594 h 218745"/>
                  <a:gd name="connsiteX289" fmla="*/ 222273 w 287252"/>
                  <a:gd name="connsiteY289" fmla="*/ 147594 h 218745"/>
                  <a:gd name="connsiteX290" fmla="*/ 223154 w 287252"/>
                  <a:gd name="connsiteY290" fmla="*/ 148740 h 218745"/>
                  <a:gd name="connsiteX291" fmla="*/ 224036 w 287252"/>
                  <a:gd name="connsiteY291" fmla="*/ 148740 h 218745"/>
                  <a:gd name="connsiteX292" fmla="*/ 224565 w 287252"/>
                  <a:gd name="connsiteY292" fmla="*/ 150151 h 218745"/>
                  <a:gd name="connsiteX293" fmla="*/ 225711 w 287252"/>
                  <a:gd name="connsiteY293" fmla="*/ 150768 h 218745"/>
                  <a:gd name="connsiteX294" fmla="*/ 225447 w 287252"/>
                  <a:gd name="connsiteY294" fmla="*/ 152179 h 218745"/>
                  <a:gd name="connsiteX295" fmla="*/ 226946 w 287252"/>
                  <a:gd name="connsiteY295" fmla="*/ 152179 h 218745"/>
                  <a:gd name="connsiteX296" fmla="*/ 227827 w 287252"/>
                  <a:gd name="connsiteY296" fmla="*/ 152179 h 218745"/>
                  <a:gd name="connsiteX297" fmla="*/ 228092 w 287252"/>
                  <a:gd name="connsiteY297" fmla="*/ 152179 h 218745"/>
                  <a:gd name="connsiteX298" fmla="*/ 228621 w 287252"/>
                  <a:gd name="connsiteY298" fmla="*/ 151297 h 218745"/>
                  <a:gd name="connsiteX299" fmla="*/ 230120 w 287252"/>
                  <a:gd name="connsiteY299" fmla="*/ 151297 h 218745"/>
                  <a:gd name="connsiteX300" fmla="*/ 230384 w 287252"/>
                  <a:gd name="connsiteY300" fmla="*/ 150503 h 218745"/>
                  <a:gd name="connsiteX301" fmla="*/ 232412 w 287252"/>
                  <a:gd name="connsiteY301" fmla="*/ 150151 h 218745"/>
                  <a:gd name="connsiteX302" fmla="*/ 234175 w 287252"/>
                  <a:gd name="connsiteY302" fmla="*/ 150768 h 218745"/>
                  <a:gd name="connsiteX303" fmla="*/ 235674 w 287252"/>
                  <a:gd name="connsiteY303" fmla="*/ 149005 h 218745"/>
                  <a:gd name="connsiteX304" fmla="*/ 236820 w 287252"/>
                  <a:gd name="connsiteY304" fmla="*/ 150151 h 218745"/>
                  <a:gd name="connsiteX305" fmla="*/ 238848 w 287252"/>
                  <a:gd name="connsiteY305" fmla="*/ 149005 h 218745"/>
                  <a:gd name="connsiteX306" fmla="*/ 239994 w 287252"/>
                  <a:gd name="connsiteY306" fmla="*/ 148388 h 218745"/>
                  <a:gd name="connsiteX307" fmla="*/ 239994 w 287252"/>
                  <a:gd name="connsiteY307" fmla="*/ 147594 h 218745"/>
                  <a:gd name="connsiteX308" fmla="*/ 240347 w 287252"/>
                  <a:gd name="connsiteY308" fmla="*/ 146977 h 218745"/>
                  <a:gd name="connsiteX309" fmla="*/ 239994 w 287252"/>
                  <a:gd name="connsiteY309" fmla="*/ 146095 h 218745"/>
                  <a:gd name="connsiteX310" fmla="*/ 239994 w 287252"/>
                  <a:gd name="connsiteY310" fmla="*/ 145831 h 218745"/>
                  <a:gd name="connsiteX311" fmla="*/ 239994 w 287252"/>
                  <a:gd name="connsiteY311" fmla="*/ 145213 h 218745"/>
                  <a:gd name="connsiteX312" fmla="*/ 239994 w 287252"/>
                  <a:gd name="connsiteY312" fmla="*/ 143186 h 218745"/>
                  <a:gd name="connsiteX313" fmla="*/ 240964 w 287252"/>
                  <a:gd name="connsiteY313" fmla="*/ 142304 h 218745"/>
                  <a:gd name="connsiteX314" fmla="*/ 240964 w 287252"/>
                  <a:gd name="connsiteY314" fmla="*/ 141687 h 218745"/>
                  <a:gd name="connsiteX315" fmla="*/ 241493 w 287252"/>
                  <a:gd name="connsiteY315" fmla="*/ 141687 h 218745"/>
                  <a:gd name="connsiteX316" fmla="*/ 241758 w 287252"/>
                  <a:gd name="connsiteY316" fmla="*/ 141687 h 218745"/>
                  <a:gd name="connsiteX317" fmla="*/ 242111 w 287252"/>
                  <a:gd name="connsiteY317" fmla="*/ 141422 h 218745"/>
                  <a:gd name="connsiteX318" fmla="*/ 242375 w 287252"/>
                  <a:gd name="connsiteY318" fmla="*/ 141158 h 218745"/>
                  <a:gd name="connsiteX319" fmla="*/ 243257 w 287252"/>
                  <a:gd name="connsiteY319" fmla="*/ 141158 h 218745"/>
                  <a:gd name="connsiteX320" fmla="*/ 243521 w 287252"/>
                  <a:gd name="connsiteY320" fmla="*/ 141422 h 218745"/>
                  <a:gd name="connsiteX321" fmla="*/ 244667 w 287252"/>
                  <a:gd name="connsiteY321" fmla="*/ 140805 h 218745"/>
                  <a:gd name="connsiteX322" fmla="*/ 245020 w 287252"/>
                  <a:gd name="connsiteY322" fmla="*/ 140540 h 218745"/>
                  <a:gd name="connsiteX323" fmla="*/ 245637 w 287252"/>
                  <a:gd name="connsiteY323" fmla="*/ 140805 h 218745"/>
                  <a:gd name="connsiteX324" fmla="*/ 245637 w 287252"/>
                  <a:gd name="connsiteY324" fmla="*/ 141422 h 218745"/>
                  <a:gd name="connsiteX325" fmla="*/ 246166 w 287252"/>
                  <a:gd name="connsiteY325" fmla="*/ 141422 h 218745"/>
                  <a:gd name="connsiteX326" fmla="*/ 245902 w 287252"/>
                  <a:gd name="connsiteY326" fmla="*/ 141687 h 218745"/>
                  <a:gd name="connsiteX327" fmla="*/ 246166 w 287252"/>
                  <a:gd name="connsiteY327" fmla="*/ 141687 h 218745"/>
                  <a:gd name="connsiteX328" fmla="*/ 246519 w 287252"/>
                  <a:gd name="connsiteY328" fmla="*/ 141687 h 218745"/>
                  <a:gd name="connsiteX329" fmla="*/ 248547 w 287252"/>
                  <a:gd name="connsiteY329" fmla="*/ 143186 h 218745"/>
                  <a:gd name="connsiteX330" fmla="*/ 248811 w 287252"/>
                  <a:gd name="connsiteY330" fmla="*/ 143186 h 218745"/>
                  <a:gd name="connsiteX331" fmla="*/ 249340 w 287252"/>
                  <a:gd name="connsiteY331" fmla="*/ 143186 h 218745"/>
                  <a:gd name="connsiteX332" fmla="*/ 249957 w 287252"/>
                  <a:gd name="connsiteY332" fmla="*/ 143186 h 218745"/>
                  <a:gd name="connsiteX333" fmla="*/ 250222 w 287252"/>
                  <a:gd name="connsiteY333" fmla="*/ 143450 h 218745"/>
                  <a:gd name="connsiteX334" fmla="*/ 250575 w 287252"/>
                  <a:gd name="connsiteY334" fmla="*/ 144067 h 218745"/>
                  <a:gd name="connsiteX335" fmla="*/ 250575 w 287252"/>
                  <a:gd name="connsiteY335" fmla="*/ 144332 h 218745"/>
                  <a:gd name="connsiteX336" fmla="*/ 251104 w 287252"/>
                  <a:gd name="connsiteY336" fmla="*/ 144332 h 218745"/>
                  <a:gd name="connsiteX337" fmla="*/ 251456 w 287252"/>
                  <a:gd name="connsiteY337" fmla="*/ 144332 h 218745"/>
                  <a:gd name="connsiteX338" fmla="*/ 252250 w 287252"/>
                  <a:gd name="connsiteY338" fmla="*/ 144332 h 218745"/>
                  <a:gd name="connsiteX339" fmla="*/ 252603 w 287252"/>
                  <a:gd name="connsiteY339" fmla="*/ 144596 h 218745"/>
                  <a:gd name="connsiteX340" fmla="*/ 252867 w 287252"/>
                  <a:gd name="connsiteY340" fmla="*/ 144596 h 218745"/>
                  <a:gd name="connsiteX341" fmla="*/ 252867 w 287252"/>
                  <a:gd name="connsiteY341" fmla="*/ 144332 h 218745"/>
                  <a:gd name="connsiteX342" fmla="*/ 253749 w 287252"/>
                  <a:gd name="connsiteY342" fmla="*/ 144332 h 218745"/>
                  <a:gd name="connsiteX343" fmla="*/ 254366 w 287252"/>
                  <a:gd name="connsiteY343" fmla="*/ 144332 h 218745"/>
                  <a:gd name="connsiteX344" fmla="*/ 254895 w 287252"/>
                  <a:gd name="connsiteY344" fmla="*/ 144332 h 218745"/>
                  <a:gd name="connsiteX345" fmla="*/ 255248 w 287252"/>
                  <a:gd name="connsiteY345" fmla="*/ 144332 h 218745"/>
                  <a:gd name="connsiteX346" fmla="*/ 255512 w 287252"/>
                  <a:gd name="connsiteY346" fmla="*/ 144596 h 218745"/>
                  <a:gd name="connsiteX347" fmla="*/ 255512 w 287252"/>
                  <a:gd name="connsiteY347" fmla="*/ 144332 h 218745"/>
                  <a:gd name="connsiteX348" fmla="*/ 256923 w 287252"/>
                  <a:gd name="connsiteY348" fmla="*/ 144332 h 218745"/>
                  <a:gd name="connsiteX349" fmla="*/ 257276 w 287252"/>
                  <a:gd name="connsiteY349" fmla="*/ 144332 h 218745"/>
                  <a:gd name="connsiteX350" fmla="*/ 257276 w 287252"/>
                  <a:gd name="connsiteY350" fmla="*/ 144067 h 218745"/>
                  <a:gd name="connsiteX351" fmla="*/ 257540 w 287252"/>
                  <a:gd name="connsiteY351" fmla="*/ 143803 h 218745"/>
                  <a:gd name="connsiteX352" fmla="*/ 258157 w 287252"/>
                  <a:gd name="connsiteY352" fmla="*/ 143803 h 218745"/>
                  <a:gd name="connsiteX353" fmla="*/ 258422 w 287252"/>
                  <a:gd name="connsiteY353" fmla="*/ 144067 h 218745"/>
                  <a:gd name="connsiteX354" fmla="*/ 259039 w 287252"/>
                  <a:gd name="connsiteY354" fmla="*/ 144067 h 218745"/>
                  <a:gd name="connsiteX355" fmla="*/ 259568 w 287252"/>
                  <a:gd name="connsiteY355" fmla="*/ 144332 h 218745"/>
                  <a:gd name="connsiteX356" fmla="*/ 260185 w 287252"/>
                  <a:gd name="connsiteY356" fmla="*/ 145213 h 218745"/>
                  <a:gd name="connsiteX357" fmla="*/ 260185 w 287252"/>
                  <a:gd name="connsiteY357" fmla="*/ 145831 h 218745"/>
                  <a:gd name="connsiteX358" fmla="*/ 261067 w 287252"/>
                  <a:gd name="connsiteY358" fmla="*/ 146095 h 218745"/>
                  <a:gd name="connsiteX359" fmla="*/ 261948 w 287252"/>
                  <a:gd name="connsiteY359" fmla="*/ 146360 h 218745"/>
                  <a:gd name="connsiteX360" fmla="*/ 262477 w 287252"/>
                  <a:gd name="connsiteY360" fmla="*/ 146095 h 218745"/>
                  <a:gd name="connsiteX361" fmla="*/ 263095 w 287252"/>
                  <a:gd name="connsiteY361" fmla="*/ 146360 h 218745"/>
                  <a:gd name="connsiteX362" fmla="*/ 263624 w 287252"/>
                  <a:gd name="connsiteY362" fmla="*/ 146712 h 218745"/>
                  <a:gd name="connsiteX363" fmla="*/ 264858 w 287252"/>
                  <a:gd name="connsiteY363" fmla="*/ 147594 h 218745"/>
                  <a:gd name="connsiteX364" fmla="*/ 265122 w 287252"/>
                  <a:gd name="connsiteY364" fmla="*/ 147859 h 218745"/>
                  <a:gd name="connsiteX365" fmla="*/ 266004 w 287252"/>
                  <a:gd name="connsiteY365" fmla="*/ 148388 h 218745"/>
                  <a:gd name="connsiteX366" fmla="*/ 267150 w 287252"/>
                  <a:gd name="connsiteY366" fmla="*/ 148388 h 218745"/>
                  <a:gd name="connsiteX367" fmla="*/ 267768 w 287252"/>
                  <a:gd name="connsiteY367" fmla="*/ 147594 h 218745"/>
                  <a:gd name="connsiteX368" fmla="*/ 268297 w 287252"/>
                  <a:gd name="connsiteY368" fmla="*/ 147594 h 218745"/>
                  <a:gd name="connsiteX369" fmla="*/ 268297 w 287252"/>
                  <a:gd name="connsiteY369" fmla="*/ 147859 h 218745"/>
                  <a:gd name="connsiteX370" fmla="*/ 268649 w 287252"/>
                  <a:gd name="connsiteY370" fmla="*/ 147594 h 218745"/>
                  <a:gd name="connsiteX371" fmla="*/ 269795 w 287252"/>
                  <a:gd name="connsiteY371" fmla="*/ 147859 h 218745"/>
                  <a:gd name="connsiteX372" fmla="*/ 270060 w 287252"/>
                  <a:gd name="connsiteY372" fmla="*/ 147594 h 218745"/>
                  <a:gd name="connsiteX373" fmla="*/ 271294 w 287252"/>
                  <a:gd name="connsiteY373" fmla="*/ 147594 h 218745"/>
                  <a:gd name="connsiteX374" fmla="*/ 271823 w 287252"/>
                  <a:gd name="connsiteY374" fmla="*/ 147594 h 218745"/>
                  <a:gd name="connsiteX375" fmla="*/ 272441 w 287252"/>
                  <a:gd name="connsiteY375" fmla="*/ 148740 h 218745"/>
                  <a:gd name="connsiteX376" fmla="*/ 273057 w 287252"/>
                  <a:gd name="connsiteY376" fmla="*/ 148388 h 218745"/>
                  <a:gd name="connsiteX377" fmla="*/ 273851 w 287252"/>
                  <a:gd name="connsiteY377" fmla="*/ 148740 h 218745"/>
                  <a:gd name="connsiteX378" fmla="*/ 275085 w 287252"/>
                  <a:gd name="connsiteY378" fmla="*/ 146360 h 218745"/>
                  <a:gd name="connsiteX379" fmla="*/ 278789 w 287252"/>
                  <a:gd name="connsiteY379" fmla="*/ 144332 h 218745"/>
                  <a:gd name="connsiteX380" fmla="*/ 280287 w 287252"/>
                  <a:gd name="connsiteY380" fmla="*/ 144332 h 218745"/>
                  <a:gd name="connsiteX381" fmla="*/ 283550 w 287252"/>
                  <a:gd name="connsiteY381" fmla="*/ 146977 h 218745"/>
                  <a:gd name="connsiteX382" fmla="*/ 283550 w 287252"/>
                  <a:gd name="connsiteY382" fmla="*/ 147859 h 218745"/>
                  <a:gd name="connsiteX383" fmla="*/ 285578 w 287252"/>
                  <a:gd name="connsiteY383" fmla="*/ 147859 h 218745"/>
                  <a:gd name="connsiteX384" fmla="*/ 286988 w 287252"/>
                  <a:gd name="connsiteY384" fmla="*/ 148123 h 218745"/>
                  <a:gd name="connsiteX385" fmla="*/ 287253 w 287252"/>
                  <a:gd name="connsiteY385" fmla="*/ 147241 h 218745"/>
                  <a:gd name="connsiteX386" fmla="*/ 282580 w 287252"/>
                  <a:gd name="connsiteY386" fmla="*/ 142568 h 218745"/>
                  <a:gd name="connsiteX387" fmla="*/ 282051 w 287252"/>
                  <a:gd name="connsiteY387" fmla="*/ 138513 h 218745"/>
                  <a:gd name="connsiteX388" fmla="*/ 283550 w 287252"/>
                  <a:gd name="connsiteY388" fmla="*/ 135250 h 218745"/>
                  <a:gd name="connsiteX389" fmla="*/ 282051 w 287252"/>
                  <a:gd name="connsiteY389" fmla="*/ 134457 h 218745"/>
                  <a:gd name="connsiteX390" fmla="*/ 282051 w 287252"/>
                  <a:gd name="connsiteY390" fmla="*/ 132694 h 218745"/>
                  <a:gd name="connsiteX391" fmla="*/ 272441 w 287252"/>
                  <a:gd name="connsiteY391" fmla="*/ 125375 h 218745"/>
                  <a:gd name="connsiteX392" fmla="*/ 269531 w 287252"/>
                  <a:gd name="connsiteY392" fmla="*/ 125375 h 218745"/>
                  <a:gd name="connsiteX393" fmla="*/ 267150 w 287252"/>
                  <a:gd name="connsiteY393" fmla="*/ 122466 h 218745"/>
                  <a:gd name="connsiteX394" fmla="*/ 265740 w 287252"/>
                  <a:gd name="connsiteY394" fmla="*/ 122466 h 218745"/>
                  <a:gd name="connsiteX395" fmla="*/ 267150 w 287252"/>
                  <a:gd name="connsiteY395" fmla="*/ 119821 h 218745"/>
                  <a:gd name="connsiteX396" fmla="*/ 265740 w 287252"/>
                  <a:gd name="connsiteY396" fmla="*/ 117529 h 218745"/>
                  <a:gd name="connsiteX397" fmla="*/ 262213 w 287252"/>
                  <a:gd name="connsiteY397" fmla="*/ 116647 h 218745"/>
                  <a:gd name="connsiteX398" fmla="*/ 261948 w 287252"/>
                  <a:gd name="connsiteY398" fmla="*/ 110475 h 218745"/>
                  <a:gd name="connsiteX399" fmla="*/ 263624 w 287252"/>
                  <a:gd name="connsiteY399" fmla="*/ 108447 h 218745"/>
                  <a:gd name="connsiteX400" fmla="*/ 260714 w 287252"/>
                  <a:gd name="connsiteY400" fmla="*/ 106684 h 218745"/>
                  <a:gd name="connsiteX401" fmla="*/ 256923 w 287252"/>
                  <a:gd name="connsiteY401" fmla="*/ 103510 h 218745"/>
                  <a:gd name="connsiteX402" fmla="*/ 256129 w 287252"/>
                  <a:gd name="connsiteY402" fmla="*/ 102011 h 218745"/>
                  <a:gd name="connsiteX403" fmla="*/ 254013 w 287252"/>
                  <a:gd name="connsiteY403" fmla="*/ 99983 h 218745"/>
                  <a:gd name="connsiteX404" fmla="*/ 249076 w 287252"/>
                  <a:gd name="connsiteY404" fmla="*/ 95663 h 218745"/>
                  <a:gd name="connsiteX405" fmla="*/ 242992 w 287252"/>
                  <a:gd name="connsiteY405" fmla="*/ 93282 h 218745"/>
                  <a:gd name="connsiteX406" fmla="*/ 238848 w 287252"/>
                  <a:gd name="connsiteY406" fmla="*/ 88345 h 218745"/>
                  <a:gd name="connsiteX407" fmla="*/ 236203 w 287252"/>
                  <a:gd name="connsiteY407" fmla="*/ 86846 h 218745"/>
                  <a:gd name="connsiteX408" fmla="*/ 237085 w 287252"/>
                  <a:gd name="connsiteY408" fmla="*/ 84818 h 218745"/>
                  <a:gd name="connsiteX409" fmla="*/ 238848 w 287252"/>
                  <a:gd name="connsiteY409" fmla="*/ 83143 h 218745"/>
                  <a:gd name="connsiteX410" fmla="*/ 238319 w 287252"/>
                  <a:gd name="connsiteY410" fmla="*/ 80145 h 218745"/>
                  <a:gd name="connsiteX411" fmla="*/ 237085 w 287252"/>
                  <a:gd name="connsiteY411" fmla="*/ 77853 h 218745"/>
                  <a:gd name="connsiteX412" fmla="*/ 233911 w 287252"/>
                  <a:gd name="connsiteY412" fmla="*/ 76971 h 218745"/>
                  <a:gd name="connsiteX413" fmla="*/ 230120 w 287252"/>
                  <a:gd name="connsiteY413" fmla="*/ 74591 h 218745"/>
                  <a:gd name="connsiteX414" fmla="*/ 228621 w 287252"/>
                  <a:gd name="connsiteY414" fmla="*/ 70535 h 218745"/>
                  <a:gd name="connsiteX415" fmla="*/ 223683 w 287252"/>
                  <a:gd name="connsiteY415" fmla="*/ 69388 h 218745"/>
                  <a:gd name="connsiteX416" fmla="*/ 221391 w 287252"/>
                  <a:gd name="connsiteY416" fmla="*/ 69917 h 218745"/>
                  <a:gd name="connsiteX417" fmla="*/ 219892 w 287252"/>
                  <a:gd name="connsiteY417" fmla="*/ 68507 h 218745"/>
                  <a:gd name="connsiteX418" fmla="*/ 217335 w 287252"/>
                  <a:gd name="connsiteY418" fmla="*/ 68772 h 218745"/>
                  <a:gd name="connsiteX419" fmla="*/ 214073 w 287252"/>
                  <a:gd name="connsiteY419" fmla="*/ 66744 h 218745"/>
                  <a:gd name="connsiteX420" fmla="*/ 213191 w 287252"/>
                  <a:gd name="connsiteY420" fmla="*/ 65333 h 218745"/>
                  <a:gd name="connsiteX421" fmla="*/ 213808 w 287252"/>
                  <a:gd name="connsiteY421" fmla="*/ 62688 h 218745"/>
                  <a:gd name="connsiteX422" fmla="*/ 214955 w 287252"/>
                  <a:gd name="connsiteY422" fmla="*/ 60307 h 218745"/>
                  <a:gd name="connsiteX423" fmla="*/ 216983 w 287252"/>
                  <a:gd name="connsiteY423" fmla="*/ 59778 h 218745"/>
                  <a:gd name="connsiteX424" fmla="*/ 216806 w 287252"/>
                  <a:gd name="connsiteY424" fmla="*/ 58015 h 218745"/>
                  <a:gd name="connsiteX425" fmla="*/ 216718 w 287252"/>
                  <a:gd name="connsiteY425" fmla="*/ 56869 h 218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</a:cxnLst>
                <a:rect l="l" t="t" r="r" b="b"/>
                <a:pathLst>
                  <a:path w="287252" h="218745">
                    <a:moveTo>
                      <a:pt x="203316" y="57398"/>
                    </a:moveTo>
                    <a:lnTo>
                      <a:pt x="200054" y="57133"/>
                    </a:lnTo>
                    <a:lnTo>
                      <a:pt x="198908" y="58015"/>
                    </a:lnTo>
                    <a:lnTo>
                      <a:pt x="199525" y="54488"/>
                    </a:lnTo>
                    <a:lnTo>
                      <a:pt x="200671" y="52725"/>
                    </a:lnTo>
                    <a:lnTo>
                      <a:pt x="200407" y="49815"/>
                    </a:lnTo>
                    <a:lnTo>
                      <a:pt x="198291" y="52725"/>
                    </a:lnTo>
                    <a:lnTo>
                      <a:pt x="197145" y="49551"/>
                    </a:lnTo>
                    <a:lnTo>
                      <a:pt x="198908" y="45495"/>
                    </a:lnTo>
                    <a:lnTo>
                      <a:pt x="202082" y="42585"/>
                    </a:lnTo>
                    <a:lnTo>
                      <a:pt x="202435" y="39059"/>
                    </a:lnTo>
                    <a:lnTo>
                      <a:pt x="201289" y="38442"/>
                    </a:lnTo>
                    <a:lnTo>
                      <a:pt x="201553" y="36678"/>
                    </a:lnTo>
                    <a:lnTo>
                      <a:pt x="202435" y="33240"/>
                    </a:lnTo>
                    <a:lnTo>
                      <a:pt x="202435" y="27949"/>
                    </a:lnTo>
                    <a:lnTo>
                      <a:pt x="193353" y="13137"/>
                    </a:lnTo>
                    <a:lnTo>
                      <a:pt x="191943" y="12256"/>
                    </a:lnTo>
                    <a:lnTo>
                      <a:pt x="184889" y="1763"/>
                    </a:lnTo>
                    <a:lnTo>
                      <a:pt x="179335" y="1146"/>
                    </a:lnTo>
                    <a:lnTo>
                      <a:pt x="175543" y="0"/>
                    </a:lnTo>
                    <a:lnTo>
                      <a:pt x="175279" y="2292"/>
                    </a:lnTo>
                    <a:lnTo>
                      <a:pt x="173516" y="1411"/>
                    </a:lnTo>
                    <a:lnTo>
                      <a:pt x="170959" y="1411"/>
                    </a:lnTo>
                    <a:lnTo>
                      <a:pt x="169460" y="4673"/>
                    </a:lnTo>
                    <a:lnTo>
                      <a:pt x="166197" y="4320"/>
                    </a:lnTo>
                    <a:lnTo>
                      <a:pt x="165404" y="4938"/>
                    </a:lnTo>
                    <a:lnTo>
                      <a:pt x="165404" y="6965"/>
                    </a:lnTo>
                    <a:lnTo>
                      <a:pt x="163376" y="6965"/>
                    </a:lnTo>
                    <a:lnTo>
                      <a:pt x="162142" y="8729"/>
                    </a:lnTo>
                    <a:lnTo>
                      <a:pt x="160996" y="7847"/>
                    </a:lnTo>
                    <a:lnTo>
                      <a:pt x="159497" y="9610"/>
                    </a:lnTo>
                    <a:lnTo>
                      <a:pt x="158968" y="11903"/>
                    </a:lnTo>
                    <a:lnTo>
                      <a:pt x="160378" y="15429"/>
                    </a:lnTo>
                    <a:lnTo>
                      <a:pt x="159497" y="17722"/>
                    </a:lnTo>
                    <a:lnTo>
                      <a:pt x="155176" y="20367"/>
                    </a:lnTo>
                    <a:lnTo>
                      <a:pt x="151650" y="25922"/>
                    </a:lnTo>
                    <a:lnTo>
                      <a:pt x="151032" y="26186"/>
                    </a:lnTo>
                    <a:lnTo>
                      <a:pt x="149357" y="24423"/>
                    </a:lnTo>
                    <a:lnTo>
                      <a:pt x="145213" y="31212"/>
                    </a:lnTo>
                    <a:lnTo>
                      <a:pt x="144067" y="31212"/>
                    </a:lnTo>
                    <a:lnTo>
                      <a:pt x="143803" y="33769"/>
                    </a:lnTo>
                    <a:lnTo>
                      <a:pt x="145566" y="35003"/>
                    </a:lnTo>
                    <a:lnTo>
                      <a:pt x="143186" y="35267"/>
                    </a:lnTo>
                    <a:lnTo>
                      <a:pt x="138777" y="40205"/>
                    </a:lnTo>
                    <a:lnTo>
                      <a:pt x="136485" y="40822"/>
                    </a:lnTo>
                    <a:lnTo>
                      <a:pt x="135956" y="43114"/>
                    </a:lnTo>
                    <a:lnTo>
                      <a:pt x="133840" y="42233"/>
                    </a:lnTo>
                    <a:lnTo>
                      <a:pt x="133311" y="43114"/>
                    </a:lnTo>
                    <a:lnTo>
                      <a:pt x="133311" y="44878"/>
                    </a:lnTo>
                    <a:lnTo>
                      <a:pt x="131283" y="46377"/>
                    </a:lnTo>
                    <a:lnTo>
                      <a:pt x="129784" y="47787"/>
                    </a:lnTo>
                    <a:lnTo>
                      <a:pt x="126257" y="46377"/>
                    </a:lnTo>
                    <a:lnTo>
                      <a:pt x="125375" y="47523"/>
                    </a:lnTo>
                    <a:lnTo>
                      <a:pt x="123348" y="46641"/>
                    </a:lnTo>
                    <a:lnTo>
                      <a:pt x="123083" y="48405"/>
                    </a:lnTo>
                    <a:lnTo>
                      <a:pt x="117529" y="48669"/>
                    </a:lnTo>
                    <a:lnTo>
                      <a:pt x="114883" y="49551"/>
                    </a:lnTo>
                    <a:lnTo>
                      <a:pt x="112856" y="48934"/>
                    </a:lnTo>
                    <a:lnTo>
                      <a:pt x="110210" y="49815"/>
                    </a:lnTo>
                    <a:lnTo>
                      <a:pt x="107301" y="49815"/>
                    </a:lnTo>
                    <a:lnTo>
                      <a:pt x="102099" y="49551"/>
                    </a:lnTo>
                    <a:lnTo>
                      <a:pt x="97691" y="52460"/>
                    </a:lnTo>
                    <a:lnTo>
                      <a:pt x="98572" y="55105"/>
                    </a:lnTo>
                    <a:lnTo>
                      <a:pt x="103862" y="58279"/>
                    </a:lnTo>
                    <a:lnTo>
                      <a:pt x="102099" y="61189"/>
                    </a:lnTo>
                    <a:lnTo>
                      <a:pt x="98572" y="64099"/>
                    </a:lnTo>
                    <a:lnTo>
                      <a:pt x="96280" y="68772"/>
                    </a:lnTo>
                    <a:lnTo>
                      <a:pt x="93018" y="69917"/>
                    </a:lnTo>
                    <a:lnTo>
                      <a:pt x="90373" y="74061"/>
                    </a:lnTo>
                    <a:lnTo>
                      <a:pt x="78999" y="74591"/>
                    </a:lnTo>
                    <a:lnTo>
                      <a:pt x="75560" y="76089"/>
                    </a:lnTo>
                    <a:lnTo>
                      <a:pt x="71416" y="75825"/>
                    </a:lnTo>
                    <a:lnTo>
                      <a:pt x="67361" y="76354"/>
                    </a:lnTo>
                    <a:lnTo>
                      <a:pt x="65068" y="77853"/>
                    </a:lnTo>
                    <a:lnTo>
                      <a:pt x="63570" y="78734"/>
                    </a:lnTo>
                    <a:lnTo>
                      <a:pt x="62423" y="79352"/>
                    </a:lnTo>
                    <a:lnTo>
                      <a:pt x="59514" y="82790"/>
                    </a:lnTo>
                    <a:lnTo>
                      <a:pt x="58368" y="83407"/>
                    </a:lnTo>
                    <a:lnTo>
                      <a:pt x="56869" y="83407"/>
                    </a:lnTo>
                    <a:lnTo>
                      <a:pt x="53695" y="83672"/>
                    </a:lnTo>
                    <a:lnTo>
                      <a:pt x="53695" y="86581"/>
                    </a:lnTo>
                    <a:lnTo>
                      <a:pt x="52196" y="85964"/>
                    </a:lnTo>
                    <a:lnTo>
                      <a:pt x="50168" y="83672"/>
                    </a:lnTo>
                    <a:lnTo>
                      <a:pt x="48405" y="81644"/>
                    </a:lnTo>
                    <a:lnTo>
                      <a:pt x="46641" y="80498"/>
                    </a:lnTo>
                    <a:lnTo>
                      <a:pt x="46641" y="78117"/>
                    </a:lnTo>
                    <a:lnTo>
                      <a:pt x="45759" y="78382"/>
                    </a:lnTo>
                    <a:lnTo>
                      <a:pt x="44878" y="80498"/>
                    </a:lnTo>
                    <a:lnTo>
                      <a:pt x="43732" y="80145"/>
                    </a:lnTo>
                    <a:lnTo>
                      <a:pt x="43467" y="83143"/>
                    </a:lnTo>
                    <a:lnTo>
                      <a:pt x="36414" y="84818"/>
                    </a:lnTo>
                    <a:lnTo>
                      <a:pt x="34121" y="86846"/>
                    </a:lnTo>
                    <a:lnTo>
                      <a:pt x="30065" y="88874"/>
                    </a:lnTo>
                    <a:lnTo>
                      <a:pt x="28302" y="86581"/>
                    </a:lnTo>
                    <a:lnTo>
                      <a:pt x="23629" y="86317"/>
                    </a:lnTo>
                    <a:lnTo>
                      <a:pt x="22130" y="89226"/>
                    </a:lnTo>
                    <a:lnTo>
                      <a:pt x="23012" y="90373"/>
                    </a:lnTo>
                    <a:lnTo>
                      <a:pt x="21601" y="90373"/>
                    </a:lnTo>
                    <a:lnTo>
                      <a:pt x="16576" y="95310"/>
                    </a:lnTo>
                    <a:lnTo>
                      <a:pt x="14284" y="104920"/>
                    </a:lnTo>
                    <a:lnTo>
                      <a:pt x="11991" y="106419"/>
                    </a:lnTo>
                    <a:lnTo>
                      <a:pt x="8464" y="116647"/>
                    </a:lnTo>
                    <a:lnTo>
                      <a:pt x="6965" y="118058"/>
                    </a:lnTo>
                    <a:lnTo>
                      <a:pt x="2645" y="120085"/>
                    </a:lnTo>
                    <a:lnTo>
                      <a:pt x="529" y="122466"/>
                    </a:lnTo>
                    <a:lnTo>
                      <a:pt x="0" y="124494"/>
                    </a:lnTo>
                    <a:lnTo>
                      <a:pt x="1411" y="126522"/>
                    </a:lnTo>
                    <a:lnTo>
                      <a:pt x="4320" y="126874"/>
                    </a:lnTo>
                    <a:lnTo>
                      <a:pt x="7318" y="132958"/>
                    </a:lnTo>
                    <a:lnTo>
                      <a:pt x="4320" y="138777"/>
                    </a:lnTo>
                    <a:lnTo>
                      <a:pt x="2910" y="142304"/>
                    </a:lnTo>
                    <a:lnTo>
                      <a:pt x="5819" y="145213"/>
                    </a:lnTo>
                    <a:lnTo>
                      <a:pt x="4673" y="151650"/>
                    </a:lnTo>
                    <a:lnTo>
                      <a:pt x="7318" y="159232"/>
                    </a:lnTo>
                    <a:lnTo>
                      <a:pt x="8729" y="161260"/>
                    </a:lnTo>
                    <a:lnTo>
                      <a:pt x="13666" y="164169"/>
                    </a:lnTo>
                    <a:lnTo>
                      <a:pt x="15165" y="166550"/>
                    </a:lnTo>
                    <a:lnTo>
                      <a:pt x="15165" y="171488"/>
                    </a:lnTo>
                    <a:lnTo>
                      <a:pt x="17193" y="173515"/>
                    </a:lnTo>
                    <a:lnTo>
                      <a:pt x="14284" y="173780"/>
                    </a:lnTo>
                    <a:lnTo>
                      <a:pt x="18692" y="182509"/>
                    </a:lnTo>
                    <a:lnTo>
                      <a:pt x="31212" y="197145"/>
                    </a:lnTo>
                    <a:lnTo>
                      <a:pt x="34121" y="197145"/>
                    </a:lnTo>
                    <a:lnTo>
                      <a:pt x="35003" y="200054"/>
                    </a:lnTo>
                    <a:lnTo>
                      <a:pt x="36149" y="200054"/>
                    </a:lnTo>
                    <a:lnTo>
                      <a:pt x="37648" y="202082"/>
                    </a:lnTo>
                    <a:lnTo>
                      <a:pt x="37913" y="204110"/>
                    </a:lnTo>
                    <a:lnTo>
                      <a:pt x="36766" y="204991"/>
                    </a:lnTo>
                    <a:lnTo>
                      <a:pt x="36766" y="207372"/>
                    </a:lnTo>
                    <a:lnTo>
                      <a:pt x="37913" y="207372"/>
                    </a:lnTo>
                    <a:lnTo>
                      <a:pt x="37913" y="209929"/>
                    </a:lnTo>
                    <a:lnTo>
                      <a:pt x="36766" y="211692"/>
                    </a:lnTo>
                    <a:lnTo>
                      <a:pt x="39411" y="218393"/>
                    </a:lnTo>
                    <a:lnTo>
                      <a:pt x="39411" y="218746"/>
                    </a:lnTo>
                    <a:lnTo>
                      <a:pt x="46112" y="202964"/>
                    </a:lnTo>
                    <a:lnTo>
                      <a:pt x="46112" y="195646"/>
                    </a:lnTo>
                    <a:lnTo>
                      <a:pt x="48140" y="187534"/>
                    </a:lnTo>
                    <a:lnTo>
                      <a:pt x="50785" y="186035"/>
                    </a:lnTo>
                    <a:lnTo>
                      <a:pt x="52813" y="186653"/>
                    </a:lnTo>
                    <a:lnTo>
                      <a:pt x="54576" y="186300"/>
                    </a:lnTo>
                    <a:lnTo>
                      <a:pt x="54576" y="185771"/>
                    </a:lnTo>
                    <a:lnTo>
                      <a:pt x="56869" y="186300"/>
                    </a:lnTo>
                    <a:lnTo>
                      <a:pt x="59161" y="185154"/>
                    </a:lnTo>
                    <a:lnTo>
                      <a:pt x="62159" y="185154"/>
                    </a:lnTo>
                    <a:lnTo>
                      <a:pt x="62688" y="184272"/>
                    </a:lnTo>
                    <a:lnTo>
                      <a:pt x="64716" y="184272"/>
                    </a:lnTo>
                    <a:lnTo>
                      <a:pt x="67978" y="181715"/>
                    </a:lnTo>
                    <a:lnTo>
                      <a:pt x="70887" y="184007"/>
                    </a:lnTo>
                    <a:lnTo>
                      <a:pt x="75560" y="184272"/>
                    </a:lnTo>
                    <a:lnTo>
                      <a:pt x="76442" y="186300"/>
                    </a:lnTo>
                    <a:lnTo>
                      <a:pt x="77853" y="185154"/>
                    </a:lnTo>
                    <a:lnTo>
                      <a:pt x="78735" y="186300"/>
                    </a:lnTo>
                    <a:lnTo>
                      <a:pt x="81380" y="185771"/>
                    </a:lnTo>
                    <a:lnTo>
                      <a:pt x="82526" y="186035"/>
                    </a:lnTo>
                    <a:lnTo>
                      <a:pt x="83143" y="187534"/>
                    </a:lnTo>
                    <a:lnTo>
                      <a:pt x="85171" y="185154"/>
                    </a:lnTo>
                    <a:lnTo>
                      <a:pt x="88345" y="185154"/>
                    </a:lnTo>
                    <a:lnTo>
                      <a:pt x="89844" y="184007"/>
                    </a:lnTo>
                    <a:lnTo>
                      <a:pt x="92136" y="187534"/>
                    </a:lnTo>
                    <a:lnTo>
                      <a:pt x="93371" y="187534"/>
                    </a:lnTo>
                    <a:lnTo>
                      <a:pt x="92136" y="181098"/>
                    </a:lnTo>
                    <a:lnTo>
                      <a:pt x="92489" y="177571"/>
                    </a:lnTo>
                    <a:lnTo>
                      <a:pt x="93371" y="174926"/>
                    </a:lnTo>
                    <a:lnTo>
                      <a:pt x="93371" y="173780"/>
                    </a:lnTo>
                    <a:lnTo>
                      <a:pt x="93018" y="171488"/>
                    </a:lnTo>
                    <a:lnTo>
                      <a:pt x="92136" y="168842"/>
                    </a:lnTo>
                    <a:lnTo>
                      <a:pt x="90725" y="166550"/>
                    </a:lnTo>
                    <a:lnTo>
                      <a:pt x="92136" y="165316"/>
                    </a:lnTo>
                    <a:lnTo>
                      <a:pt x="93371" y="166197"/>
                    </a:lnTo>
                    <a:lnTo>
                      <a:pt x="94517" y="165316"/>
                    </a:lnTo>
                    <a:lnTo>
                      <a:pt x="95663" y="165051"/>
                    </a:lnTo>
                    <a:lnTo>
                      <a:pt x="96809" y="162671"/>
                    </a:lnTo>
                    <a:lnTo>
                      <a:pt x="97426" y="160643"/>
                    </a:lnTo>
                    <a:lnTo>
                      <a:pt x="98572" y="159232"/>
                    </a:lnTo>
                    <a:lnTo>
                      <a:pt x="98837" y="158351"/>
                    </a:lnTo>
                    <a:lnTo>
                      <a:pt x="99718" y="158086"/>
                    </a:lnTo>
                    <a:lnTo>
                      <a:pt x="99983" y="156323"/>
                    </a:lnTo>
                    <a:lnTo>
                      <a:pt x="100865" y="156323"/>
                    </a:lnTo>
                    <a:lnTo>
                      <a:pt x="101217" y="154824"/>
                    </a:lnTo>
                    <a:lnTo>
                      <a:pt x="102099" y="153942"/>
                    </a:lnTo>
                    <a:lnTo>
                      <a:pt x="102628" y="152179"/>
                    </a:lnTo>
                    <a:lnTo>
                      <a:pt x="103510" y="151297"/>
                    </a:lnTo>
                    <a:lnTo>
                      <a:pt x="105009" y="151297"/>
                    </a:lnTo>
                    <a:lnTo>
                      <a:pt x="105538" y="150503"/>
                    </a:lnTo>
                    <a:lnTo>
                      <a:pt x="106419" y="150151"/>
                    </a:lnTo>
                    <a:lnTo>
                      <a:pt x="109065" y="147594"/>
                    </a:lnTo>
                    <a:lnTo>
                      <a:pt x="110210" y="146360"/>
                    </a:lnTo>
                    <a:lnTo>
                      <a:pt x="111974" y="146360"/>
                    </a:lnTo>
                    <a:lnTo>
                      <a:pt x="112856" y="146095"/>
                    </a:lnTo>
                    <a:lnTo>
                      <a:pt x="114354" y="146360"/>
                    </a:lnTo>
                    <a:lnTo>
                      <a:pt x="116911" y="146360"/>
                    </a:lnTo>
                    <a:lnTo>
                      <a:pt x="119292" y="147594"/>
                    </a:lnTo>
                    <a:lnTo>
                      <a:pt x="120438" y="150151"/>
                    </a:lnTo>
                    <a:lnTo>
                      <a:pt x="123083" y="150151"/>
                    </a:lnTo>
                    <a:lnTo>
                      <a:pt x="124846" y="152179"/>
                    </a:lnTo>
                    <a:lnTo>
                      <a:pt x="126874" y="152796"/>
                    </a:lnTo>
                    <a:lnTo>
                      <a:pt x="128285" y="154824"/>
                    </a:lnTo>
                    <a:lnTo>
                      <a:pt x="130666" y="155705"/>
                    </a:lnTo>
                    <a:lnTo>
                      <a:pt x="131812" y="158086"/>
                    </a:lnTo>
                    <a:lnTo>
                      <a:pt x="133311" y="159232"/>
                    </a:lnTo>
                    <a:lnTo>
                      <a:pt x="132694" y="160643"/>
                    </a:lnTo>
                    <a:lnTo>
                      <a:pt x="133311" y="161877"/>
                    </a:lnTo>
                    <a:lnTo>
                      <a:pt x="135956" y="164169"/>
                    </a:lnTo>
                    <a:lnTo>
                      <a:pt x="140011" y="164169"/>
                    </a:lnTo>
                    <a:lnTo>
                      <a:pt x="141158" y="163288"/>
                    </a:lnTo>
                    <a:lnTo>
                      <a:pt x="144332" y="163288"/>
                    </a:lnTo>
                    <a:lnTo>
                      <a:pt x="146095" y="165051"/>
                    </a:lnTo>
                    <a:lnTo>
                      <a:pt x="147594" y="166550"/>
                    </a:lnTo>
                    <a:lnTo>
                      <a:pt x="149622" y="167344"/>
                    </a:lnTo>
                    <a:lnTo>
                      <a:pt x="150151" y="167344"/>
                    </a:lnTo>
                    <a:lnTo>
                      <a:pt x="150151" y="166550"/>
                    </a:lnTo>
                    <a:lnTo>
                      <a:pt x="151385" y="166550"/>
                    </a:lnTo>
                    <a:lnTo>
                      <a:pt x="152796" y="167344"/>
                    </a:lnTo>
                    <a:lnTo>
                      <a:pt x="155176" y="167344"/>
                    </a:lnTo>
                    <a:lnTo>
                      <a:pt x="156587" y="168578"/>
                    </a:lnTo>
                    <a:lnTo>
                      <a:pt x="159232" y="166550"/>
                    </a:lnTo>
                    <a:lnTo>
                      <a:pt x="161877" y="166550"/>
                    </a:lnTo>
                    <a:lnTo>
                      <a:pt x="162142" y="167344"/>
                    </a:lnTo>
                    <a:lnTo>
                      <a:pt x="163024" y="167344"/>
                    </a:lnTo>
                    <a:lnTo>
                      <a:pt x="164258" y="168842"/>
                    </a:lnTo>
                    <a:lnTo>
                      <a:pt x="165933" y="168842"/>
                    </a:lnTo>
                    <a:lnTo>
                      <a:pt x="167167" y="168578"/>
                    </a:lnTo>
                    <a:lnTo>
                      <a:pt x="169195" y="169107"/>
                    </a:lnTo>
                    <a:lnTo>
                      <a:pt x="171223" y="170606"/>
                    </a:lnTo>
                    <a:lnTo>
                      <a:pt x="171488" y="170606"/>
                    </a:lnTo>
                    <a:lnTo>
                      <a:pt x="174397" y="171488"/>
                    </a:lnTo>
                    <a:lnTo>
                      <a:pt x="176778" y="170606"/>
                    </a:lnTo>
                    <a:lnTo>
                      <a:pt x="178805" y="169107"/>
                    </a:lnTo>
                    <a:lnTo>
                      <a:pt x="178805" y="167344"/>
                    </a:lnTo>
                    <a:lnTo>
                      <a:pt x="180216" y="166550"/>
                    </a:lnTo>
                    <a:lnTo>
                      <a:pt x="180569" y="165316"/>
                    </a:lnTo>
                    <a:lnTo>
                      <a:pt x="179952" y="164169"/>
                    </a:lnTo>
                    <a:lnTo>
                      <a:pt x="180569" y="162671"/>
                    </a:lnTo>
                    <a:lnTo>
                      <a:pt x="180569" y="162406"/>
                    </a:lnTo>
                    <a:lnTo>
                      <a:pt x="181980" y="162406"/>
                    </a:lnTo>
                    <a:lnTo>
                      <a:pt x="182332" y="161260"/>
                    </a:lnTo>
                    <a:lnTo>
                      <a:pt x="182861" y="160643"/>
                    </a:lnTo>
                    <a:lnTo>
                      <a:pt x="183214" y="159232"/>
                    </a:lnTo>
                    <a:lnTo>
                      <a:pt x="183478" y="158351"/>
                    </a:lnTo>
                    <a:lnTo>
                      <a:pt x="184008" y="156323"/>
                    </a:lnTo>
                    <a:lnTo>
                      <a:pt x="184625" y="156323"/>
                    </a:lnTo>
                    <a:lnTo>
                      <a:pt x="185506" y="157469"/>
                    </a:lnTo>
                    <a:lnTo>
                      <a:pt x="186124" y="156323"/>
                    </a:lnTo>
                    <a:lnTo>
                      <a:pt x="186388" y="156323"/>
                    </a:lnTo>
                    <a:lnTo>
                      <a:pt x="186388" y="154295"/>
                    </a:lnTo>
                    <a:lnTo>
                      <a:pt x="187534" y="154295"/>
                    </a:lnTo>
                    <a:lnTo>
                      <a:pt x="188416" y="153942"/>
                    </a:lnTo>
                    <a:lnTo>
                      <a:pt x="188681" y="154295"/>
                    </a:lnTo>
                    <a:lnTo>
                      <a:pt x="189562" y="156323"/>
                    </a:lnTo>
                    <a:lnTo>
                      <a:pt x="190179" y="156323"/>
                    </a:lnTo>
                    <a:lnTo>
                      <a:pt x="191061" y="156323"/>
                    </a:lnTo>
                    <a:lnTo>
                      <a:pt x="191061" y="157469"/>
                    </a:lnTo>
                    <a:lnTo>
                      <a:pt x="192472" y="156323"/>
                    </a:lnTo>
                    <a:lnTo>
                      <a:pt x="194235" y="158086"/>
                    </a:lnTo>
                    <a:lnTo>
                      <a:pt x="194852" y="158351"/>
                    </a:lnTo>
                    <a:lnTo>
                      <a:pt x="194852" y="159232"/>
                    </a:lnTo>
                    <a:lnTo>
                      <a:pt x="195381" y="158880"/>
                    </a:lnTo>
                    <a:lnTo>
                      <a:pt x="196263" y="159497"/>
                    </a:lnTo>
                    <a:lnTo>
                      <a:pt x="198908" y="160114"/>
                    </a:lnTo>
                    <a:lnTo>
                      <a:pt x="198908" y="158351"/>
                    </a:lnTo>
                    <a:lnTo>
                      <a:pt x="200054" y="158086"/>
                    </a:lnTo>
                    <a:lnTo>
                      <a:pt x="201818" y="156323"/>
                    </a:lnTo>
                    <a:lnTo>
                      <a:pt x="204110" y="155705"/>
                    </a:lnTo>
                    <a:lnTo>
                      <a:pt x="205344" y="155441"/>
                    </a:lnTo>
                    <a:lnTo>
                      <a:pt x="206843" y="154295"/>
                    </a:lnTo>
                    <a:lnTo>
                      <a:pt x="207372" y="154295"/>
                    </a:lnTo>
                    <a:lnTo>
                      <a:pt x="208254" y="154295"/>
                    </a:lnTo>
                    <a:lnTo>
                      <a:pt x="209664" y="154295"/>
                    </a:lnTo>
                    <a:lnTo>
                      <a:pt x="209664" y="153413"/>
                    </a:lnTo>
                    <a:lnTo>
                      <a:pt x="209664" y="152796"/>
                    </a:lnTo>
                    <a:lnTo>
                      <a:pt x="210282" y="153413"/>
                    </a:lnTo>
                    <a:lnTo>
                      <a:pt x="212662" y="152179"/>
                    </a:lnTo>
                    <a:lnTo>
                      <a:pt x="213191" y="152179"/>
                    </a:lnTo>
                    <a:lnTo>
                      <a:pt x="214073" y="152179"/>
                    </a:lnTo>
                    <a:lnTo>
                      <a:pt x="215219" y="151297"/>
                    </a:lnTo>
                    <a:lnTo>
                      <a:pt x="216101" y="150503"/>
                    </a:lnTo>
                    <a:lnTo>
                      <a:pt x="216718" y="151297"/>
                    </a:lnTo>
                    <a:lnTo>
                      <a:pt x="216718" y="150151"/>
                    </a:lnTo>
                    <a:lnTo>
                      <a:pt x="217335" y="150151"/>
                    </a:lnTo>
                    <a:lnTo>
                      <a:pt x="219010" y="150151"/>
                    </a:lnTo>
                    <a:lnTo>
                      <a:pt x="219363" y="149005"/>
                    </a:lnTo>
                    <a:lnTo>
                      <a:pt x="219363" y="148740"/>
                    </a:lnTo>
                    <a:lnTo>
                      <a:pt x="219363" y="148388"/>
                    </a:lnTo>
                    <a:lnTo>
                      <a:pt x="218129" y="148388"/>
                    </a:lnTo>
                    <a:lnTo>
                      <a:pt x="219363" y="147594"/>
                    </a:lnTo>
                    <a:lnTo>
                      <a:pt x="219363" y="146977"/>
                    </a:lnTo>
                    <a:lnTo>
                      <a:pt x="220509" y="147859"/>
                    </a:lnTo>
                    <a:lnTo>
                      <a:pt x="220509" y="147594"/>
                    </a:lnTo>
                    <a:lnTo>
                      <a:pt x="221038" y="147594"/>
                    </a:lnTo>
                    <a:lnTo>
                      <a:pt x="222273" y="147594"/>
                    </a:lnTo>
                    <a:lnTo>
                      <a:pt x="223154" y="148740"/>
                    </a:lnTo>
                    <a:lnTo>
                      <a:pt x="224036" y="148740"/>
                    </a:lnTo>
                    <a:lnTo>
                      <a:pt x="224565" y="150151"/>
                    </a:lnTo>
                    <a:lnTo>
                      <a:pt x="225711" y="150768"/>
                    </a:lnTo>
                    <a:lnTo>
                      <a:pt x="225447" y="152179"/>
                    </a:lnTo>
                    <a:lnTo>
                      <a:pt x="226946" y="152179"/>
                    </a:lnTo>
                    <a:lnTo>
                      <a:pt x="227827" y="152179"/>
                    </a:lnTo>
                    <a:lnTo>
                      <a:pt x="228092" y="152179"/>
                    </a:lnTo>
                    <a:lnTo>
                      <a:pt x="228621" y="151297"/>
                    </a:lnTo>
                    <a:lnTo>
                      <a:pt x="230120" y="151297"/>
                    </a:lnTo>
                    <a:lnTo>
                      <a:pt x="230384" y="150503"/>
                    </a:lnTo>
                    <a:lnTo>
                      <a:pt x="232412" y="150151"/>
                    </a:lnTo>
                    <a:lnTo>
                      <a:pt x="234175" y="150768"/>
                    </a:lnTo>
                    <a:lnTo>
                      <a:pt x="235674" y="149005"/>
                    </a:lnTo>
                    <a:lnTo>
                      <a:pt x="236820" y="150151"/>
                    </a:lnTo>
                    <a:lnTo>
                      <a:pt x="238848" y="149005"/>
                    </a:lnTo>
                    <a:lnTo>
                      <a:pt x="239994" y="148388"/>
                    </a:lnTo>
                    <a:lnTo>
                      <a:pt x="239994" y="147594"/>
                    </a:lnTo>
                    <a:lnTo>
                      <a:pt x="240347" y="146977"/>
                    </a:lnTo>
                    <a:lnTo>
                      <a:pt x="239994" y="146095"/>
                    </a:lnTo>
                    <a:lnTo>
                      <a:pt x="239994" y="145831"/>
                    </a:lnTo>
                    <a:lnTo>
                      <a:pt x="239994" y="145213"/>
                    </a:lnTo>
                    <a:lnTo>
                      <a:pt x="239994" y="143186"/>
                    </a:lnTo>
                    <a:lnTo>
                      <a:pt x="240964" y="142304"/>
                    </a:lnTo>
                    <a:lnTo>
                      <a:pt x="240964" y="141687"/>
                    </a:lnTo>
                    <a:lnTo>
                      <a:pt x="241493" y="141687"/>
                    </a:lnTo>
                    <a:lnTo>
                      <a:pt x="241758" y="141687"/>
                    </a:lnTo>
                    <a:lnTo>
                      <a:pt x="242111" y="141422"/>
                    </a:lnTo>
                    <a:lnTo>
                      <a:pt x="242375" y="141158"/>
                    </a:lnTo>
                    <a:lnTo>
                      <a:pt x="243257" y="141158"/>
                    </a:lnTo>
                    <a:lnTo>
                      <a:pt x="243521" y="141422"/>
                    </a:lnTo>
                    <a:lnTo>
                      <a:pt x="244667" y="140805"/>
                    </a:lnTo>
                    <a:lnTo>
                      <a:pt x="245020" y="140540"/>
                    </a:lnTo>
                    <a:lnTo>
                      <a:pt x="245637" y="140805"/>
                    </a:lnTo>
                    <a:lnTo>
                      <a:pt x="245637" y="141422"/>
                    </a:lnTo>
                    <a:lnTo>
                      <a:pt x="246166" y="141422"/>
                    </a:lnTo>
                    <a:lnTo>
                      <a:pt x="245902" y="141687"/>
                    </a:lnTo>
                    <a:lnTo>
                      <a:pt x="246166" y="141687"/>
                    </a:lnTo>
                    <a:lnTo>
                      <a:pt x="246519" y="141687"/>
                    </a:lnTo>
                    <a:lnTo>
                      <a:pt x="248547" y="143186"/>
                    </a:lnTo>
                    <a:lnTo>
                      <a:pt x="248811" y="143186"/>
                    </a:lnTo>
                    <a:lnTo>
                      <a:pt x="249340" y="143186"/>
                    </a:lnTo>
                    <a:lnTo>
                      <a:pt x="249957" y="143186"/>
                    </a:lnTo>
                    <a:lnTo>
                      <a:pt x="250222" y="143450"/>
                    </a:lnTo>
                    <a:lnTo>
                      <a:pt x="250575" y="144067"/>
                    </a:lnTo>
                    <a:lnTo>
                      <a:pt x="250575" y="144332"/>
                    </a:lnTo>
                    <a:lnTo>
                      <a:pt x="251104" y="144332"/>
                    </a:lnTo>
                    <a:lnTo>
                      <a:pt x="251456" y="144332"/>
                    </a:lnTo>
                    <a:lnTo>
                      <a:pt x="252250" y="144332"/>
                    </a:lnTo>
                    <a:lnTo>
                      <a:pt x="252603" y="144596"/>
                    </a:lnTo>
                    <a:lnTo>
                      <a:pt x="252867" y="144596"/>
                    </a:lnTo>
                    <a:lnTo>
                      <a:pt x="252867" y="144332"/>
                    </a:lnTo>
                    <a:lnTo>
                      <a:pt x="253749" y="144332"/>
                    </a:lnTo>
                    <a:lnTo>
                      <a:pt x="254366" y="144332"/>
                    </a:lnTo>
                    <a:lnTo>
                      <a:pt x="254895" y="144332"/>
                    </a:lnTo>
                    <a:lnTo>
                      <a:pt x="255248" y="144332"/>
                    </a:lnTo>
                    <a:lnTo>
                      <a:pt x="255512" y="144596"/>
                    </a:lnTo>
                    <a:lnTo>
                      <a:pt x="255512" y="144332"/>
                    </a:lnTo>
                    <a:lnTo>
                      <a:pt x="256923" y="144332"/>
                    </a:lnTo>
                    <a:lnTo>
                      <a:pt x="257276" y="144332"/>
                    </a:lnTo>
                    <a:lnTo>
                      <a:pt x="257276" y="144067"/>
                    </a:lnTo>
                    <a:lnTo>
                      <a:pt x="257540" y="143803"/>
                    </a:lnTo>
                    <a:lnTo>
                      <a:pt x="258157" y="143803"/>
                    </a:lnTo>
                    <a:lnTo>
                      <a:pt x="258422" y="144067"/>
                    </a:lnTo>
                    <a:lnTo>
                      <a:pt x="259039" y="144067"/>
                    </a:lnTo>
                    <a:lnTo>
                      <a:pt x="259568" y="144332"/>
                    </a:lnTo>
                    <a:lnTo>
                      <a:pt x="260185" y="145213"/>
                    </a:lnTo>
                    <a:lnTo>
                      <a:pt x="260185" y="145831"/>
                    </a:lnTo>
                    <a:lnTo>
                      <a:pt x="261067" y="146095"/>
                    </a:lnTo>
                    <a:lnTo>
                      <a:pt x="261948" y="146360"/>
                    </a:lnTo>
                    <a:lnTo>
                      <a:pt x="262477" y="146095"/>
                    </a:lnTo>
                    <a:lnTo>
                      <a:pt x="263095" y="146360"/>
                    </a:lnTo>
                    <a:lnTo>
                      <a:pt x="263624" y="146712"/>
                    </a:lnTo>
                    <a:lnTo>
                      <a:pt x="264858" y="147594"/>
                    </a:lnTo>
                    <a:lnTo>
                      <a:pt x="265122" y="147859"/>
                    </a:lnTo>
                    <a:lnTo>
                      <a:pt x="266004" y="148388"/>
                    </a:lnTo>
                    <a:lnTo>
                      <a:pt x="267150" y="148388"/>
                    </a:lnTo>
                    <a:lnTo>
                      <a:pt x="267768" y="147594"/>
                    </a:lnTo>
                    <a:lnTo>
                      <a:pt x="268297" y="147594"/>
                    </a:lnTo>
                    <a:lnTo>
                      <a:pt x="268297" y="147859"/>
                    </a:lnTo>
                    <a:lnTo>
                      <a:pt x="268649" y="147594"/>
                    </a:lnTo>
                    <a:lnTo>
                      <a:pt x="269795" y="147859"/>
                    </a:lnTo>
                    <a:lnTo>
                      <a:pt x="270060" y="147594"/>
                    </a:lnTo>
                    <a:lnTo>
                      <a:pt x="271294" y="147594"/>
                    </a:lnTo>
                    <a:lnTo>
                      <a:pt x="271823" y="147594"/>
                    </a:lnTo>
                    <a:lnTo>
                      <a:pt x="272441" y="148740"/>
                    </a:lnTo>
                    <a:lnTo>
                      <a:pt x="273057" y="148388"/>
                    </a:lnTo>
                    <a:lnTo>
                      <a:pt x="273851" y="148740"/>
                    </a:lnTo>
                    <a:lnTo>
                      <a:pt x="275085" y="146360"/>
                    </a:lnTo>
                    <a:lnTo>
                      <a:pt x="278789" y="144332"/>
                    </a:lnTo>
                    <a:lnTo>
                      <a:pt x="280287" y="144332"/>
                    </a:lnTo>
                    <a:lnTo>
                      <a:pt x="283550" y="146977"/>
                    </a:lnTo>
                    <a:lnTo>
                      <a:pt x="283550" y="147859"/>
                    </a:lnTo>
                    <a:lnTo>
                      <a:pt x="285578" y="147859"/>
                    </a:lnTo>
                    <a:lnTo>
                      <a:pt x="286988" y="148123"/>
                    </a:lnTo>
                    <a:lnTo>
                      <a:pt x="287253" y="147241"/>
                    </a:lnTo>
                    <a:lnTo>
                      <a:pt x="282580" y="142568"/>
                    </a:lnTo>
                    <a:lnTo>
                      <a:pt x="282051" y="138513"/>
                    </a:lnTo>
                    <a:lnTo>
                      <a:pt x="283550" y="135250"/>
                    </a:lnTo>
                    <a:lnTo>
                      <a:pt x="282051" y="134457"/>
                    </a:lnTo>
                    <a:lnTo>
                      <a:pt x="282051" y="132694"/>
                    </a:lnTo>
                    <a:lnTo>
                      <a:pt x="272441" y="125375"/>
                    </a:lnTo>
                    <a:lnTo>
                      <a:pt x="269531" y="125375"/>
                    </a:lnTo>
                    <a:lnTo>
                      <a:pt x="267150" y="122466"/>
                    </a:lnTo>
                    <a:lnTo>
                      <a:pt x="265740" y="122466"/>
                    </a:lnTo>
                    <a:lnTo>
                      <a:pt x="267150" y="119821"/>
                    </a:lnTo>
                    <a:lnTo>
                      <a:pt x="265740" y="117529"/>
                    </a:lnTo>
                    <a:lnTo>
                      <a:pt x="262213" y="116647"/>
                    </a:lnTo>
                    <a:lnTo>
                      <a:pt x="261948" y="110475"/>
                    </a:lnTo>
                    <a:lnTo>
                      <a:pt x="263624" y="108447"/>
                    </a:lnTo>
                    <a:lnTo>
                      <a:pt x="260714" y="106684"/>
                    </a:lnTo>
                    <a:lnTo>
                      <a:pt x="256923" y="103510"/>
                    </a:lnTo>
                    <a:lnTo>
                      <a:pt x="256129" y="102011"/>
                    </a:lnTo>
                    <a:lnTo>
                      <a:pt x="254013" y="99983"/>
                    </a:lnTo>
                    <a:lnTo>
                      <a:pt x="249076" y="95663"/>
                    </a:lnTo>
                    <a:lnTo>
                      <a:pt x="242992" y="93282"/>
                    </a:lnTo>
                    <a:lnTo>
                      <a:pt x="238848" y="88345"/>
                    </a:lnTo>
                    <a:lnTo>
                      <a:pt x="236203" y="86846"/>
                    </a:lnTo>
                    <a:lnTo>
                      <a:pt x="237085" y="84818"/>
                    </a:lnTo>
                    <a:lnTo>
                      <a:pt x="238848" y="83143"/>
                    </a:lnTo>
                    <a:lnTo>
                      <a:pt x="238319" y="80145"/>
                    </a:lnTo>
                    <a:lnTo>
                      <a:pt x="237085" y="77853"/>
                    </a:lnTo>
                    <a:lnTo>
                      <a:pt x="233911" y="76971"/>
                    </a:lnTo>
                    <a:lnTo>
                      <a:pt x="230120" y="74591"/>
                    </a:lnTo>
                    <a:lnTo>
                      <a:pt x="228621" y="70535"/>
                    </a:lnTo>
                    <a:lnTo>
                      <a:pt x="223683" y="69388"/>
                    </a:lnTo>
                    <a:lnTo>
                      <a:pt x="221391" y="69917"/>
                    </a:lnTo>
                    <a:lnTo>
                      <a:pt x="219892" y="68507"/>
                    </a:lnTo>
                    <a:lnTo>
                      <a:pt x="217335" y="68772"/>
                    </a:lnTo>
                    <a:lnTo>
                      <a:pt x="214073" y="66744"/>
                    </a:lnTo>
                    <a:lnTo>
                      <a:pt x="213191" y="65333"/>
                    </a:lnTo>
                    <a:lnTo>
                      <a:pt x="213808" y="62688"/>
                    </a:lnTo>
                    <a:lnTo>
                      <a:pt x="214955" y="60307"/>
                    </a:lnTo>
                    <a:lnTo>
                      <a:pt x="216983" y="59778"/>
                    </a:lnTo>
                    <a:lnTo>
                      <a:pt x="216806" y="58015"/>
                    </a:lnTo>
                    <a:lnTo>
                      <a:pt x="216718" y="568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7" name="Freihandform: Form 1816">
                <a:extLst>
                  <a:ext uri="{FF2B5EF4-FFF2-40B4-BE49-F238E27FC236}">
                    <a16:creationId xmlns:a16="http://schemas.microsoft.com/office/drawing/2014/main" id="{0B619356-0EB7-5F7F-0207-9C34C2B5A19B}"/>
                  </a:ext>
                </a:extLst>
              </p:cNvPr>
              <p:cNvSpPr/>
              <p:nvPr/>
            </p:nvSpPr>
            <p:spPr>
              <a:xfrm>
                <a:off x="4336991" y="4016113"/>
                <a:ext cx="420651" cy="469320"/>
              </a:xfrm>
              <a:custGeom>
                <a:avLst/>
                <a:gdLst>
                  <a:gd name="connsiteX0" fmla="*/ 19838 w 420651"/>
                  <a:gd name="connsiteY0" fmla="*/ 249340 h 469320"/>
                  <a:gd name="connsiteX1" fmla="*/ 19838 w 420651"/>
                  <a:gd name="connsiteY1" fmla="*/ 247929 h 469320"/>
                  <a:gd name="connsiteX2" fmla="*/ 20191 w 420651"/>
                  <a:gd name="connsiteY2" fmla="*/ 247665 h 469320"/>
                  <a:gd name="connsiteX3" fmla="*/ 20455 w 420651"/>
                  <a:gd name="connsiteY3" fmla="*/ 247929 h 469320"/>
                  <a:gd name="connsiteX4" fmla="*/ 22219 w 420651"/>
                  <a:gd name="connsiteY4" fmla="*/ 249340 h 469320"/>
                  <a:gd name="connsiteX5" fmla="*/ 22219 w 420651"/>
                  <a:gd name="connsiteY5" fmla="*/ 250575 h 469320"/>
                  <a:gd name="connsiteX6" fmla="*/ 24246 w 420651"/>
                  <a:gd name="connsiteY6" fmla="*/ 252602 h 469320"/>
                  <a:gd name="connsiteX7" fmla="*/ 26274 w 420651"/>
                  <a:gd name="connsiteY7" fmla="*/ 252867 h 469320"/>
                  <a:gd name="connsiteX8" fmla="*/ 26274 w 420651"/>
                  <a:gd name="connsiteY8" fmla="*/ 254895 h 469320"/>
                  <a:gd name="connsiteX9" fmla="*/ 26892 w 420651"/>
                  <a:gd name="connsiteY9" fmla="*/ 255248 h 469320"/>
                  <a:gd name="connsiteX10" fmla="*/ 27421 w 420651"/>
                  <a:gd name="connsiteY10" fmla="*/ 254895 h 469320"/>
                  <a:gd name="connsiteX11" fmla="*/ 28919 w 420651"/>
                  <a:gd name="connsiteY11" fmla="*/ 253484 h 469320"/>
                  <a:gd name="connsiteX12" fmla="*/ 28655 w 420651"/>
                  <a:gd name="connsiteY12" fmla="*/ 252602 h 469320"/>
                  <a:gd name="connsiteX13" fmla="*/ 29536 w 420651"/>
                  <a:gd name="connsiteY13" fmla="*/ 252602 h 469320"/>
                  <a:gd name="connsiteX14" fmla="*/ 30683 w 420651"/>
                  <a:gd name="connsiteY14" fmla="*/ 252867 h 469320"/>
                  <a:gd name="connsiteX15" fmla="*/ 31212 w 420651"/>
                  <a:gd name="connsiteY15" fmla="*/ 252867 h 469320"/>
                  <a:gd name="connsiteX16" fmla="*/ 31564 w 420651"/>
                  <a:gd name="connsiteY16" fmla="*/ 251985 h 469320"/>
                  <a:gd name="connsiteX17" fmla="*/ 32975 w 420651"/>
                  <a:gd name="connsiteY17" fmla="*/ 251985 h 469320"/>
                  <a:gd name="connsiteX18" fmla="*/ 32975 w 420651"/>
                  <a:gd name="connsiteY18" fmla="*/ 250839 h 469320"/>
                  <a:gd name="connsiteX19" fmla="*/ 33857 w 420651"/>
                  <a:gd name="connsiteY19" fmla="*/ 250839 h 469320"/>
                  <a:gd name="connsiteX20" fmla="*/ 33857 w 420651"/>
                  <a:gd name="connsiteY20" fmla="*/ 249693 h 469320"/>
                  <a:gd name="connsiteX21" fmla="*/ 33857 w 420651"/>
                  <a:gd name="connsiteY21" fmla="*/ 246166 h 469320"/>
                  <a:gd name="connsiteX22" fmla="*/ 33857 w 420651"/>
                  <a:gd name="connsiteY22" fmla="*/ 244756 h 469320"/>
                  <a:gd name="connsiteX23" fmla="*/ 36149 w 420651"/>
                  <a:gd name="connsiteY23" fmla="*/ 243786 h 469320"/>
                  <a:gd name="connsiteX24" fmla="*/ 36502 w 420651"/>
                  <a:gd name="connsiteY24" fmla="*/ 244756 h 469320"/>
                  <a:gd name="connsiteX25" fmla="*/ 37384 w 420651"/>
                  <a:gd name="connsiteY25" fmla="*/ 245285 h 469320"/>
                  <a:gd name="connsiteX26" fmla="*/ 38794 w 420651"/>
                  <a:gd name="connsiteY26" fmla="*/ 245902 h 469320"/>
                  <a:gd name="connsiteX27" fmla="*/ 40293 w 420651"/>
                  <a:gd name="connsiteY27" fmla="*/ 244756 h 469320"/>
                  <a:gd name="connsiteX28" fmla="*/ 40293 w 420651"/>
                  <a:gd name="connsiteY28" fmla="*/ 244403 h 469320"/>
                  <a:gd name="connsiteX29" fmla="*/ 41175 w 420651"/>
                  <a:gd name="connsiteY29" fmla="*/ 243521 h 469320"/>
                  <a:gd name="connsiteX30" fmla="*/ 44084 w 420651"/>
                  <a:gd name="connsiteY30" fmla="*/ 242640 h 469320"/>
                  <a:gd name="connsiteX31" fmla="*/ 46729 w 420651"/>
                  <a:gd name="connsiteY31" fmla="*/ 241758 h 469320"/>
                  <a:gd name="connsiteX32" fmla="*/ 49022 w 420651"/>
                  <a:gd name="connsiteY32" fmla="*/ 240083 h 469320"/>
                  <a:gd name="connsiteX33" fmla="*/ 48493 w 420651"/>
                  <a:gd name="connsiteY33" fmla="*/ 242110 h 469320"/>
                  <a:gd name="connsiteX34" fmla="*/ 49903 w 420651"/>
                  <a:gd name="connsiteY34" fmla="*/ 243521 h 469320"/>
                  <a:gd name="connsiteX35" fmla="*/ 50521 w 420651"/>
                  <a:gd name="connsiteY35" fmla="*/ 244403 h 469320"/>
                  <a:gd name="connsiteX36" fmla="*/ 49639 w 420651"/>
                  <a:gd name="connsiteY36" fmla="*/ 246166 h 469320"/>
                  <a:gd name="connsiteX37" fmla="*/ 48493 w 420651"/>
                  <a:gd name="connsiteY37" fmla="*/ 246166 h 469320"/>
                  <a:gd name="connsiteX38" fmla="*/ 47876 w 420651"/>
                  <a:gd name="connsiteY38" fmla="*/ 247048 h 469320"/>
                  <a:gd name="connsiteX39" fmla="*/ 48140 w 420651"/>
                  <a:gd name="connsiteY39" fmla="*/ 249340 h 469320"/>
                  <a:gd name="connsiteX40" fmla="*/ 49639 w 420651"/>
                  <a:gd name="connsiteY40" fmla="*/ 250575 h 469320"/>
                  <a:gd name="connsiteX41" fmla="*/ 49022 w 420651"/>
                  <a:gd name="connsiteY41" fmla="*/ 252602 h 469320"/>
                  <a:gd name="connsiteX42" fmla="*/ 49639 w 420651"/>
                  <a:gd name="connsiteY42" fmla="*/ 252867 h 469320"/>
                  <a:gd name="connsiteX43" fmla="*/ 49022 w 420651"/>
                  <a:gd name="connsiteY43" fmla="*/ 254013 h 469320"/>
                  <a:gd name="connsiteX44" fmla="*/ 49022 w 420651"/>
                  <a:gd name="connsiteY44" fmla="*/ 255248 h 469320"/>
                  <a:gd name="connsiteX45" fmla="*/ 50168 w 420651"/>
                  <a:gd name="connsiteY45" fmla="*/ 254013 h 469320"/>
                  <a:gd name="connsiteX46" fmla="*/ 51667 w 420651"/>
                  <a:gd name="connsiteY46" fmla="*/ 254895 h 469320"/>
                  <a:gd name="connsiteX47" fmla="*/ 52813 w 420651"/>
                  <a:gd name="connsiteY47" fmla="*/ 255248 h 469320"/>
                  <a:gd name="connsiteX48" fmla="*/ 54576 w 420651"/>
                  <a:gd name="connsiteY48" fmla="*/ 256658 h 469320"/>
                  <a:gd name="connsiteX49" fmla="*/ 58103 w 420651"/>
                  <a:gd name="connsiteY49" fmla="*/ 254013 h 469320"/>
                  <a:gd name="connsiteX50" fmla="*/ 59866 w 420651"/>
                  <a:gd name="connsiteY50" fmla="*/ 249693 h 469320"/>
                  <a:gd name="connsiteX51" fmla="*/ 62423 w 420651"/>
                  <a:gd name="connsiteY51" fmla="*/ 247048 h 469320"/>
                  <a:gd name="connsiteX52" fmla="*/ 63922 w 420651"/>
                  <a:gd name="connsiteY52" fmla="*/ 245902 h 469320"/>
                  <a:gd name="connsiteX53" fmla="*/ 66215 w 420651"/>
                  <a:gd name="connsiteY53" fmla="*/ 242110 h 469320"/>
                  <a:gd name="connsiteX54" fmla="*/ 68859 w 420651"/>
                  <a:gd name="connsiteY54" fmla="*/ 240876 h 469320"/>
                  <a:gd name="connsiteX55" fmla="*/ 70887 w 420651"/>
                  <a:gd name="connsiteY55" fmla="*/ 240876 h 469320"/>
                  <a:gd name="connsiteX56" fmla="*/ 71769 w 420651"/>
                  <a:gd name="connsiteY56" fmla="*/ 240083 h 469320"/>
                  <a:gd name="connsiteX57" fmla="*/ 72915 w 420651"/>
                  <a:gd name="connsiteY57" fmla="*/ 239465 h 469320"/>
                  <a:gd name="connsiteX58" fmla="*/ 72915 w 420651"/>
                  <a:gd name="connsiteY58" fmla="*/ 236556 h 469320"/>
                  <a:gd name="connsiteX59" fmla="*/ 74150 w 420651"/>
                  <a:gd name="connsiteY59" fmla="*/ 234528 h 469320"/>
                  <a:gd name="connsiteX60" fmla="*/ 77324 w 420651"/>
                  <a:gd name="connsiteY60" fmla="*/ 233029 h 469320"/>
                  <a:gd name="connsiteX61" fmla="*/ 80586 w 420651"/>
                  <a:gd name="connsiteY61" fmla="*/ 232500 h 469320"/>
                  <a:gd name="connsiteX62" fmla="*/ 81997 w 420651"/>
                  <a:gd name="connsiteY62" fmla="*/ 231619 h 469320"/>
                  <a:gd name="connsiteX63" fmla="*/ 82878 w 420651"/>
                  <a:gd name="connsiteY63" fmla="*/ 229855 h 469320"/>
                  <a:gd name="connsiteX64" fmla="*/ 84289 w 420651"/>
                  <a:gd name="connsiteY64" fmla="*/ 225447 h 469320"/>
                  <a:gd name="connsiteX65" fmla="*/ 84906 w 420651"/>
                  <a:gd name="connsiteY65" fmla="*/ 224036 h 469320"/>
                  <a:gd name="connsiteX66" fmla="*/ 86405 w 420651"/>
                  <a:gd name="connsiteY66" fmla="*/ 223154 h 469320"/>
                  <a:gd name="connsiteX67" fmla="*/ 86934 w 420651"/>
                  <a:gd name="connsiteY67" fmla="*/ 219892 h 469320"/>
                  <a:gd name="connsiteX68" fmla="*/ 88168 w 420651"/>
                  <a:gd name="connsiteY68" fmla="*/ 218746 h 469320"/>
                  <a:gd name="connsiteX69" fmla="*/ 89579 w 420651"/>
                  <a:gd name="connsiteY69" fmla="*/ 216718 h 469320"/>
                  <a:gd name="connsiteX70" fmla="*/ 88962 w 420651"/>
                  <a:gd name="connsiteY70" fmla="*/ 215572 h 469320"/>
                  <a:gd name="connsiteX71" fmla="*/ 88168 w 420651"/>
                  <a:gd name="connsiteY71" fmla="*/ 214426 h 469320"/>
                  <a:gd name="connsiteX72" fmla="*/ 88168 w 420651"/>
                  <a:gd name="connsiteY72" fmla="*/ 213191 h 469320"/>
                  <a:gd name="connsiteX73" fmla="*/ 88168 w 420651"/>
                  <a:gd name="connsiteY73" fmla="*/ 212662 h 469320"/>
                  <a:gd name="connsiteX74" fmla="*/ 88168 w 420651"/>
                  <a:gd name="connsiteY74" fmla="*/ 208254 h 469320"/>
                  <a:gd name="connsiteX75" fmla="*/ 88168 w 420651"/>
                  <a:gd name="connsiteY75" fmla="*/ 205609 h 469320"/>
                  <a:gd name="connsiteX76" fmla="*/ 88168 w 420651"/>
                  <a:gd name="connsiteY76" fmla="*/ 200936 h 469320"/>
                  <a:gd name="connsiteX77" fmla="*/ 89579 w 420651"/>
                  <a:gd name="connsiteY77" fmla="*/ 200054 h 469320"/>
                  <a:gd name="connsiteX78" fmla="*/ 88168 w 420651"/>
                  <a:gd name="connsiteY78" fmla="*/ 193089 h 469320"/>
                  <a:gd name="connsiteX79" fmla="*/ 88168 w 420651"/>
                  <a:gd name="connsiteY79" fmla="*/ 189915 h 469320"/>
                  <a:gd name="connsiteX80" fmla="*/ 88168 w 420651"/>
                  <a:gd name="connsiteY80" fmla="*/ 187799 h 469320"/>
                  <a:gd name="connsiteX81" fmla="*/ 89579 w 420651"/>
                  <a:gd name="connsiteY81" fmla="*/ 186124 h 469320"/>
                  <a:gd name="connsiteX82" fmla="*/ 92489 w 420651"/>
                  <a:gd name="connsiteY82" fmla="*/ 183743 h 469320"/>
                  <a:gd name="connsiteX83" fmla="*/ 95751 w 420651"/>
                  <a:gd name="connsiteY83" fmla="*/ 180216 h 469320"/>
                  <a:gd name="connsiteX84" fmla="*/ 98660 w 420651"/>
                  <a:gd name="connsiteY84" fmla="*/ 174750 h 469320"/>
                  <a:gd name="connsiteX85" fmla="*/ 100953 w 420651"/>
                  <a:gd name="connsiteY85" fmla="*/ 169195 h 469320"/>
                  <a:gd name="connsiteX86" fmla="*/ 101835 w 420651"/>
                  <a:gd name="connsiteY86" fmla="*/ 166550 h 469320"/>
                  <a:gd name="connsiteX87" fmla="*/ 103333 w 420651"/>
                  <a:gd name="connsiteY87" fmla="*/ 164522 h 469320"/>
                  <a:gd name="connsiteX88" fmla="*/ 105361 w 420651"/>
                  <a:gd name="connsiteY88" fmla="*/ 162142 h 469320"/>
                  <a:gd name="connsiteX89" fmla="*/ 108800 w 420651"/>
                  <a:gd name="connsiteY89" fmla="*/ 160378 h 469320"/>
                  <a:gd name="connsiteX90" fmla="*/ 112062 w 420651"/>
                  <a:gd name="connsiteY90" fmla="*/ 159232 h 469320"/>
                  <a:gd name="connsiteX91" fmla="*/ 113473 w 420651"/>
                  <a:gd name="connsiteY91" fmla="*/ 158968 h 469320"/>
                  <a:gd name="connsiteX92" fmla="*/ 118146 w 420651"/>
                  <a:gd name="connsiteY92" fmla="*/ 153413 h 469320"/>
                  <a:gd name="connsiteX93" fmla="*/ 120791 w 420651"/>
                  <a:gd name="connsiteY93" fmla="*/ 149005 h 469320"/>
                  <a:gd name="connsiteX94" fmla="*/ 122290 w 420651"/>
                  <a:gd name="connsiteY94" fmla="*/ 146977 h 469320"/>
                  <a:gd name="connsiteX95" fmla="*/ 122819 w 420651"/>
                  <a:gd name="connsiteY95" fmla="*/ 142921 h 469320"/>
                  <a:gd name="connsiteX96" fmla="*/ 122290 w 420651"/>
                  <a:gd name="connsiteY96" fmla="*/ 139747 h 469320"/>
                  <a:gd name="connsiteX97" fmla="*/ 122290 w 420651"/>
                  <a:gd name="connsiteY97" fmla="*/ 137102 h 469320"/>
                  <a:gd name="connsiteX98" fmla="*/ 123700 w 420651"/>
                  <a:gd name="connsiteY98" fmla="*/ 130048 h 469320"/>
                  <a:gd name="connsiteX99" fmla="*/ 124846 w 420651"/>
                  <a:gd name="connsiteY99" fmla="*/ 128021 h 469320"/>
                  <a:gd name="connsiteX100" fmla="*/ 127227 w 420651"/>
                  <a:gd name="connsiteY100" fmla="*/ 125111 h 469320"/>
                  <a:gd name="connsiteX101" fmla="*/ 127492 w 420651"/>
                  <a:gd name="connsiteY101" fmla="*/ 122202 h 469320"/>
                  <a:gd name="connsiteX102" fmla="*/ 127227 w 420651"/>
                  <a:gd name="connsiteY102" fmla="*/ 121673 h 469320"/>
                  <a:gd name="connsiteX103" fmla="*/ 126081 w 420651"/>
                  <a:gd name="connsiteY103" fmla="*/ 119027 h 469320"/>
                  <a:gd name="connsiteX104" fmla="*/ 126081 w 420651"/>
                  <a:gd name="connsiteY104" fmla="*/ 116647 h 469320"/>
                  <a:gd name="connsiteX105" fmla="*/ 126081 w 420651"/>
                  <a:gd name="connsiteY105" fmla="*/ 113473 h 469320"/>
                  <a:gd name="connsiteX106" fmla="*/ 125464 w 420651"/>
                  <a:gd name="connsiteY106" fmla="*/ 109417 h 469320"/>
                  <a:gd name="connsiteX107" fmla="*/ 126081 w 420651"/>
                  <a:gd name="connsiteY107" fmla="*/ 107654 h 469320"/>
                  <a:gd name="connsiteX108" fmla="*/ 126963 w 420651"/>
                  <a:gd name="connsiteY108" fmla="*/ 105009 h 469320"/>
                  <a:gd name="connsiteX109" fmla="*/ 127756 w 420651"/>
                  <a:gd name="connsiteY109" fmla="*/ 102364 h 469320"/>
                  <a:gd name="connsiteX110" fmla="*/ 127756 w 420651"/>
                  <a:gd name="connsiteY110" fmla="*/ 100953 h 469320"/>
                  <a:gd name="connsiteX111" fmla="*/ 129519 w 420651"/>
                  <a:gd name="connsiteY111" fmla="*/ 95398 h 469320"/>
                  <a:gd name="connsiteX112" fmla="*/ 129519 w 420651"/>
                  <a:gd name="connsiteY112" fmla="*/ 90461 h 469320"/>
                  <a:gd name="connsiteX113" fmla="*/ 129519 w 420651"/>
                  <a:gd name="connsiteY113" fmla="*/ 87816 h 469320"/>
                  <a:gd name="connsiteX114" fmla="*/ 129519 w 420651"/>
                  <a:gd name="connsiteY114" fmla="*/ 85435 h 469320"/>
                  <a:gd name="connsiteX115" fmla="*/ 129519 w 420651"/>
                  <a:gd name="connsiteY115" fmla="*/ 82878 h 469320"/>
                  <a:gd name="connsiteX116" fmla="*/ 130401 w 420651"/>
                  <a:gd name="connsiteY116" fmla="*/ 80233 h 469320"/>
                  <a:gd name="connsiteX117" fmla="*/ 130401 w 420651"/>
                  <a:gd name="connsiteY117" fmla="*/ 78205 h 469320"/>
                  <a:gd name="connsiteX118" fmla="*/ 130401 w 420651"/>
                  <a:gd name="connsiteY118" fmla="*/ 76442 h 469320"/>
                  <a:gd name="connsiteX119" fmla="*/ 131900 w 420651"/>
                  <a:gd name="connsiteY119" fmla="*/ 75560 h 469320"/>
                  <a:gd name="connsiteX120" fmla="*/ 133046 w 420651"/>
                  <a:gd name="connsiteY120" fmla="*/ 73797 h 469320"/>
                  <a:gd name="connsiteX121" fmla="*/ 133046 w 420651"/>
                  <a:gd name="connsiteY121" fmla="*/ 71152 h 469320"/>
                  <a:gd name="connsiteX122" fmla="*/ 135074 w 420651"/>
                  <a:gd name="connsiteY122" fmla="*/ 69741 h 469320"/>
                  <a:gd name="connsiteX123" fmla="*/ 136220 w 420651"/>
                  <a:gd name="connsiteY123" fmla="*/ 68595 h 469320"/>
                  <a:gd name="connsiteX124" fmla="*/ 137102 w 420651"/>
                  <a:gd name="connsiteY124" fmla="*/ 65597 h 469320"/>
                  <a:gd name="connsiteX125" fmla="*/ 137719 w 420651"/>
                  <a:gd name="connsiteY125" fmla="*/ 63305 h 469320"/>
                  <a:gd name="connsiteX126" fmla="*/ 139130 w 420651"/>
                  <a:gd name="connsiteY126" fmla="*/ 59514 h 469320"/>
                  <a:gd name="connsiteX127" fmla="*/ 139747 w 420651"/>
                  <a:gd name="connsiteY127" fmla="*/ 56869 h 469320"/>
                  <a:gd name="connsiteX128" fmla="*/ 141246 w 420651"/>
                  <a:gd name="connsiteY128" fmla="*/ 55105 h 469320"/>
                  <a:gd name="connsiteX129" fmla="*/ 142392 w 420651"/>
                  <a:gd name="connsiteY129" fmla="*/ 53430 h 469320"/>
                  <a:gd name="connsiteX130" fmla="*/ 142128 w 420651"/>
                  <a:gd name="connsiteY130" fmla="*/ 52196 h 469320"/>
                  <a:gd name="connsiteX131" fmla="*/ 142392 w 420651"/>
                  <a:gd name="connsiteY131" fmla="*/ 50785 h 469320"/>
                  <a:gd name="connsiteX132" fmla="*/ 142128 w 420651"/>
                  <a:gd name="connsiteY132" fmla="*/ 46994 h 469320"/>
                  <a:gd name="connsiteX133" fmla="*/ 140893 w 420651"/>
                  <a:gd name="connsiteY133" fmla="*/ 40558 h 469320"/>
                  <a:gd name="connsiteX134" fmla="*/ 141246 w 420651"/>
                  <a:gd name="connsiteY134" fmla="*/ 37031 h 469320"/>
                  <a:gd name="connsiteX135" fmla="*/ 142128 w 420651"/>
                  <a:gd name="connsiteY135" fmla="*/ 34386 h 469320"/>
                  <a:gd name="connsiteX136" fmla="*/ 142128 w 420651"/>
                  <a:gd name="connsiteY136" fmla="*/ 33240 h 469320"/>
                  <a:gd name="connsiteX137" fmla="*/ 141775 w 420651"/>
                  <a:gd name="connsiteY137" fmla="*/ 30947 h 469320"/>
                  <a:gd name="connsiteX138" fmla="*/ 140893 w 420651"/>
                  <a:gd name="connsiteY138" fmla="*/ 28302 h 469320"/>
                  <a:gd name="connsiteX139" fmla="*/ 139482 w 420651"/>
                  <a:gd name="connsiteY139" fmla="*/ 26010 h 469320"/>
                  <a:gd name="connsiteX140" fmla="*/ 140893 w 420651"/>
                  <a:gd name="connsiteY140" fmla="*/ 24775 h 469320"/>
                  <a:gd name="connsiteX141" fmla="*/ 142128 w 420651"/>
                  <a:gd name="connsiteY141" fmla="*/ 25657 h 469320"/>
                  <a:gd name="connsiteX142" fmla="*/ 143274 w 420651"/>
                  <a:gd name="connsiteY142" fmla="*/ 24775 h 469320"/>
                  <a:gd name="connsiteX143" fmla="*/ 144420 w 420651"/>
                  <a:gd name="connsiteY143" fmla="*/ 24511 h 469320"/>
                  <a:gd name="connsiteX144" fmla="*/ 145566 w 420651"/>
                  <a:gd name="connsiteY144" fmla="*/ 22130 h 469320"/>
                  <a:gd name="connsiteX145" fmla="*/ 146183 w 420651"/>
                  <a:gd name="connsiteY145" fmla="*/ 20102 h 469320"/>
                  <a:gd name="connsiteX146" fmla="*/ 147330 w 420651"/>
                  <a:gd name="connsiteY146" fmla="*/ 18692 h 469320"/>
                  <a:gd name="connsiteX147" fmla="*/ 147594 w 420651"/>
                  <a:gd name="connsiteY147" fmla="*/ 17810 h 469320"/>
                  <a:gd name="connsiteX148" fmla="*/ 148476 w 420651"/>
                  <a:gd name="connsiteY148" fmla="*/ 17545 h 469320"/>
                  <a:gd name="connsiteX149" fmla="*/ 148740 w 420651"/>
                  <a:gd name="connsiteY149" fmla="*/ 15782 h 469320"/>
                  <a:gd name="connsiteX150" fmla="*/ 149622 w 420651"/>
                  <a:gd name="connsiteY150" fmla="*/ 15782 h 469320"/>
                  <a:gd name="connsiteX151" fmla="*/ 149975 w 420651"/>
                  <a:gd name="connsiteY151" fmla="*/ 14283 h 469320"/>
                  <a:gd name="connsiteX152" fmla="*/ 150856 w 420651"/>
                  <a:gd name="connsiteY152" fmla="*/ 13402 h 469320"/>
                  <a:gd name="connsiteX153" fmla="*/ 151385 w 420651"/>
                  <a:gd name="connsiteY153" fmla="*/ 11638 h 469320"/>
                  <a:gd name="connsiteX154" fmla="*/ 152267 w 420651"/>
                  <a:gd name="connsiteY154" fmla="*/ 10757 h 469320"/>
                  <a:gd name="connsiteX155" fmla="*/ 153766 w 420651"/>
                  <a:gd name="connsiteY155" fmla="*/ 10757 h 469320"/>
                  <a:gd name="connsiteX156" fmla="*/ 154295 w 420651"/>
                  <a:gd name="connsiteY156" fmla="*/ 9875 h 469320"/>
                  <a:gd name="connsiteX157" fmla="*/ 155176 w 420651"/>
                  <a:gd name="connsiteY157" fmla="*/ 9610 h 469320"/>
                  <a:gd name="connsiteX158" fmla="*/ 157822 w 420651"/>
                  <a:gd name="connsiteY158" fmla="*/ 6965 h 469320"/>
                  <a:gd name="connsiteX159" fmla="*/ 158968 w 420651"/>
                  <a:gd name="connsiteY159" fmla="*/ 5819 h 469320"/>
                  <a:gd name="connsiteX160" fmla="*/ 160731 w 420651"/>
                  <a:gd name="connsiteY160" fmla="*/ 5819 h 469320"/>
                  <a:gd name="connsiteX161" fmla="*/ 161613 w 420651"/>
                  <a:gd name="connsiteY161" fmla="*/ 5555 h 469320"/>
                  <a:gd name="connsiteX162" fmla="*/ 163112 w 420651"/>
                  <a:gd name="connsiteY162" fmla="*/ 5819 h 469320"/>
                  <a:gd name="connsiteX163" fmla="*/ 165668 w 420651"/>
                  <a:gd name="connsiteY163" fmla="*/ 5819 h 469320"/>
                  <a:gd name="connsiteX164" fmla="*/ 168049 w 420651"/>
                  <a:gd name="connsiteY164" fmla="*/ 6965 h 469320"/>
                  <a:gd name="connsiteX165" fmla="*/ 169195 w 420651"/>
                  <a:gd name="connsiteY165" fmla="*/ 9610 h 469320"/>
                  <a:gd name="connsiteX166" fmla="*/ 171840 w 420651"/>
                  <a:gd name="connsiteY166" fmla="*/ 9610 h 469320"/>
                  <a:gd name="connsiteX167" fmla="*/ 173604 w 420651"/>
                  <a:gd name="connsiteY167" fmla="*/ 11638 h 469320"/>
                  <a:gd name="connsiteX168" fmla="*/ 175632 w 420651"/>
                  <a:gd name="connsiteY168" fmla="*/ 12256 h 469320"/>
                  <a:gd name="connsiteX169" fmla="*/ 177042 w 420651"/>
                  <a:gd name="connsiteY169" fmla="*/ 14283 h 469320"/>
                  <a:gd name="connsiteX170" fmla="*/ 179423 w 420651"/>
                  <a:gd name="connsiteY170" fmla="*/ 15165 h 469320"/>
                  <a:gd name="connsiteX171" fmla="*/ 180569 w 420651"/>
                  <a:gd name="connsiteY171" fmla="*/ 17545 h 469320"/>
                  <a:gd name="connsiteX172" fmla="*/ 182068 w 420651"/>
                  <a:gd name="connsiteY172" fmla="*/ 18692 h 469320"/>
                  <a:gd name="connsiteX173" fmla="*/ 181451 w 420651"/>
                  <a:gd name="connsiteY173" fmla="*/ 20102 h 469320"/>
                  <a:gd name="connsiteX174" fmla="*/ 182068 w 420651"/>
                  <a:gd name="connsiteY174" fmla="*/ 21337 h 469320"/>
                  <a:gd name="connsiteX175" fmla="*/ 184713 w 420651"/>
                  <a:gd name="connsiteY175" fmla="*/ 23629 h 469320"/>
                  <a:gd name="connsiteX176" fmla="*/ 188769 w 420651"/>
                  <a:gd name="connsiteY176" fmla="*/ 23629 h 469320"/>
                  <a:gd name="connsiteX177" fmla="*/ 189915 w 420651"/>
                  <a:gd name="connsiteY177" fmla="*/ 22748 h 469320"/>
                  <a:gd name="connsiteX178" fmla="*/ 193089 w 420651"/>
                  <a:gd name="connsiteY178" fmla="*/ 22748 h 469320"/>
                  <a:gd name="connsiteX179" fmla="*/ 194852 w 420651"/>
                  <a:gd name="connsiteY179" fmla="*/ 24511 h 469320"/>
                  <a:gd name="connsiteX180" fmla="*/ 196351 w 420651"/>
                  <a:gd name="connsiteY180" fmla="*/ 26010 h 469320"/>
                  <a:gd name="connsiteX181" fmla="*/ 198379 w 420651"/>
                  <a:gd name="connsiteY181" fmla="*/ 26803 h 469320"/>
                  <a:gd name="connsiteX182" fmla="*/ 198908 w 420651"/>
                  <a:gd name="connsiteY182" fmla="*/ 26803 h 469320"/>
                  <a:gd name="connsiteX183" fmla="*/ 198908 w 420651"/>
                  <a:gd name="connsiteY183" fmla="*/ 26010 h 469320"/>
                  <a:gd name="connsiteX184" fmla="*/ 200142 w 420651"/>
                  <a:gd name="connsiteY184" fmla="*/ 26010 h 469320"/>
                  <a:gd name="connsiteX185" fmla="*/ 201553 w 420651"/>
                  <a:gd name="connsiteY185" fmla="*/ 26803 h 469320"/>
                  <a:gd name="connsiteX186" fmla="*/ 203934 w 420651"/>
                  <a:gd name="connsiteY186" fmla="*/ 26803 h 469320"/>
                  <a:gd name="connsiteX187" fmla="*/ 205344 w 420651"/>
                  <a:gd name="connsiteY187" fmla="*/ 28037 h 469320"/>
                  <a:gd name="connsiteX188" fmla="*/ 207989 w 420651"/>
                  <a:gd name="connsiteY188" fmla="*/ 26010 h 469320"/>
                  <a:gd name="connsiteX189" fmla="*/ 210634 w 420651"/>
                  <a:gd name="connsiteY189" fmla="*/ 26010 h 469320"/>
                  <a:gd name="connsiteX190" fmla="*/ 210899 w 420651"/>
                  <a:gd name="connsiteY190" fmla="*/ 26803 h 469320"/>
                  <a:gd name="connsiteX191" fmla="*/ 211781 w 420651"/>
                  <a:gd name="connsiteY191" fmla="*/ 26803 h 469320"/>
                  <a:gd name="connsiteX192" fmla="*/ 212927 w 420651"/>
                  <a:gd name="connsiteY192" fmla="*/ 28302 h 469320"/>
                  <a:gd name="connsiteX193" fmla="*/ 214690 w 420651"/>
                  <a:gd name="connsiteY193" fmla="*/ 28302 h 469320"/>
                  <a:gd name="connsiteX194" fmla="*/ 215925 w 420651"/>
                  <a:gd name="connsiteY194" fmla="*/ 28037 h 469320"/>
                  <a:gd name="connsiteX195" fmla="*/ 217952 w 420651"/>
                  <a:gd name="connsiteY195" fmla="*/ 28566 h 469320"/>
                  <a:gd name="connsiteX196" fmla="*/ 219980 w 420651"/>
                  <a:gd name="connsiteY196" fmla="*/ 30065 h 469320"/>
                  <a:gd name="connsiteX197" fmla="*/ 220245 w 420651"/>
                  <a:gd name="connsiteY197" fmla="*/ 30065 h 469320"/>
                  <a:gd name="connsiteX198" fmla="*/ 223154 w 420651"/>
                  <a:gd name="connsiteY198" fmla="*/ 30947 h 469320"/>
                  <a:gd name="connsiteX199" fmla="*/ 225535 w 420651"/>
                  <a:gd name="connsiteY199" fmla="*/ 30065 h 469320"/>
                  <a:gd name="connsiteX200" fmla="*/ 227563 w 420651"/>
                  <a:gd name="connsiteY200" fmla="*/ 28566 h 469320"/>
                  <a:gd name="connsiteX201" fmla="*/ 227563 w 420651"/>
                  <a:gd name="connsiteY201" fmla="*/ 26803 h 469320"/>
                  <a:gd name="connsiteX202" fmla="*/ 228973 w 420651"/>
                  <a:gd name="connsiteY202" fmla="*/ 26010 h 469320"/>
                  <a:gd name="connsiteX203" fmla="*/ 229326 w 420651"/>
                  <a:gd name="connsiteY203" fmla="*/ 24775 h 469320"/>
                  <a:gd name="connsiteX204" fmla="*/ 228709 w 420651"/>
                  <a:gd name="connsiteY204" fmla="*/ 23629 h 469320"/>
                  <a:gd name="connsiteX205" fmla="*/ 229326 w 420651"/>
                  <a:gd name="connsiteY205" fmla="*/ 22130 h 469320"/>
                  <a:gd name="connsiteX206" fmla="*/ 229326 w 420651"/>
                  <a:gd name="connsiteY206" fmla="*/ 21866 h 469320"/>
                  <a:gd name="connsiteX207" fmla="*/ 230737 w 420651"/>
                  <a:gd name="connsiteY207" fmla="*/ 21866 h 469320"/>
                  <a:gd name="connsiteX208" fmla="*/ 231090 w 420651"/>
                  <a:gd name="connsiteY208" fmla="*/ 20720 h 469320"/>
                  <a:gd name="connsiteX209" fmla="*/ 231619 w 420651"/>
                  <a:gd name="connsiteY209" fmla="*/ 20102 h 469320"/>
                  <a:gd name="connsiteX210" fmla="*/ 231971 w 420651"/>
                  <a:gd name="connsiteY210" fmla="*/ 18692 h 469320"/>
                  <a:gd name="connsiteX211" fmla="*/ 232235 w 420651"/>
                  <a:gd name="connsiteY211" fmla="*/ 17810 h 469320"/>
                  <a:gd name="connsiteX212" fmla="*/ 232765 w 420651"/>
                  <a:gd name="connsiteY212" fmla="*/ 15782 h 469320"/>
                  <a:gd name="connsiteX213" fmla="*/ 233382 w 420651"/>
                  <a:gd name="connsiteY213" fmla="*/ 15782 h 469320"/>
                  <a:gd name="connsiteX214" fmla="*/ 234263 w 420651"/>
                  <a:gd name="connsiteY214" fmla="*/ 16928 h 469320"/>
                  <a:gd name="connsiteX215" fmla="*/ 234792 w 420651"/>
                  <a:gd name="connsiteY215" fmla="*/ 15782 h 469320"/>
                  <a:gd name="connsiteX216" fmla="*/ 235145 w 420651"/>
                  <a:gd name="connsiteY216" fmla="*/ 15782 h 469320"/>
                  <a:gd name="connsiteX217" fmla="*/ 235145 w 420651"/>
                  <a:gd name="connsiteY217" fmla="*/ 13754 h 469320"/>
                  <a:gd name="connsiteX218" fmla="*/ 236291 w 420651"/>
                  <a:gd name="connsiteY218" fmla="*/ 13754 h 469320"/>
                  <a:gd name="connsiteX219" fmla="*/ 237173 w 420651"/>
                  <a:gd name="connsiteY219" fmla="*/ 13402 h 469320"/>
                  <a:gd name="connsiteX220" fmla="*/ 237438 w 420651"/>
                  <a:gd name="connsiteY220" fmla="*/ 13754 h 469320"/>
                  <a:gd name="connsiteX221" fmla="*/ 238319 w 420651"/>
                  <a:gd name="connsiteY221" fmla="*/ 15782 h 469320"/>
                  <a:gd name="connsiteX222" fmla="*/ 238936 w 420651"/>
                  <a:gd name="connsiteY222" fmla="*/ 15782 h 469320"/>
                  <a:gd name="connsiteX223" fmla="*/ 239818 w 420651"/>
                  <a:gd name="connsiteY223" fmla="*/ 15782 h 469320"/>
                  <a:gd name="connsiteX224" fmla="*/ 239818 w 420651"/>
                  <a:gd name="connsiteY224" fmla="*/ 16928 h 469320"/>
                  <a:gd name="connsiteX225" fmla="*/ 241229 w 420651"/>
                  <a:gd name="connsiteY225" fmla="*/ 15782 h 469320"/>
                  <a:gd name="connsiteX226" fmla="*/ 242992 w 420651"/>
                  <a:gd name="connsiteY226" fmla="*/ 17545 h 469320"/>
                  <a:gd name="connsiteX227" fmla="*/ 243609 w 420651"/>
                  <a:gd name="connsiteY227" fmla="*/ 17810 h 469320"/>
                  <a:gd name="connsiteX228" fmla="*/ 243609 w 420651"/>
                  <a:gd name="connsiteY228" fmla="*/ 18692 h 469320"/>
                  <a:gd name="connsiteX229" fmla="*/ 244138 w 420651"/>
                  <a:gd name="connsiteY229" fmla="*/ 18339 h 469320"/>
                  <a:gd name="connsiteX230" fmla="*/ 245020 w 420651"/>
                  <a:gd name="connsiteY230" fmla="*/ 18956 h 469320"/>
                  <a:gd name="connsiteX231" fmla="*/ 247665 w 420651"/>
                  <a:gd name="connsiteY231" fmla="*/ 19573 h 469320"/>
                  <a:gd name="connsiteX232" fmla="*/ 247665 w 420651"/>
                  <a:gd name="connsiteY232" fmla="*/ 17810 h 469320"/>
                  <a:gd name="connsiteX233" fmla="*/ 248811 w 420651"/>
                  <a:gd name="connsiteY233" fmla="*/ 17545 h 469320"/>
                  <a:gd name="connsiteX234" fmla="*/ 250575 w 420651"/>
                  <a:gd name="connsiteY234" fmla="*/ 15782 h 469320"/>
                  <a:gd name="connsiteX235" fmla="*/ 252867 w 420651"/>
                  <a:gd name="connsiteY235" fmla="*/ 15165 h 469320"/>
                  <a:gd name="connsiteX236" fmla="*/ 254101 w 420651"/>
                  <a:gd name="connsiteY236" fmla="*/ 14900 h 469320"/>
                  <a:gd name="connsiteX237" fmla="*/ 255600 w 420651"/>
                  <a:gd name="connsiteY237" fmla="*/ 13754 h 469320"/>
                  <a:gd name="connsiteX238" fmla="*/ 256129 w 420651"/>
                  <a:gd name="connsiteY238" fmla="*/ 13754 h 469320"/>
                  <a:gd name="connsiteX239" fmla="*/ 257011 w 420651"/>
                  <a:gd name="connsiteY239" fmla="*/ 13754 h 469320"/>
                  <a:gd name="connsiteX240" fmla="*/ 258422 w 420651"/>
                  <a:gd name="connsiteY240" fmla="*/ 13754 h 469320"/>
                  <a:gd name="connsiteX241" fmla="*/ 258422 w 420651"/>
                  <a:gd name="connsiteY241" fmla="*/ 12873 h 469320"/>
                  <a:gd name="connsiteX242" fmla="*/ 258422 w 420651"/>
                  <a:gd name="connsiteY242" fmla="*/ 12256 h 469320"/>
                  <a:gd name="connsiteX243" fmla="*/ 259039 w 420651"/>
                  <a:gd name="connsiteY243" fmla="*/ 12873 h 469320"/>
                  <a:gd name="connsiteX244" fmla="*/ 261419 w 420651"/>
                  <a:gd name="connsiteY244" fmla="*/ 11638 h 469320"/>
                  <a:gd name="connsiteX245" fmla="*/ 261948 w 420651"/>
                  <a:gd name="connsiteY245" fmla="*/ 11638 h 469320"/>
                  <a:gd name="connsiteX246" fmla="*/ 262830 w 420651"/>
                  <a:gd name="connsiteY246" fmla="*/ 11638 h 469320"/>
                  <a:gd name="connsiteX247" fmla="*/ 263976 w 420651"/>
                  <a:gd name="connsiteY247" fmla="*/ 10757 h 469320"/>
                  <a:gd name="connsiteX248" fmla="*/ 264858 w 420651"/>
                  <a:gd name="connsiteY248" fmla="*/ 9875 h 469320"/>
                  <a:gd name="connsiteX249" fmla="*/ 265475 w 420651"/>
                  <a:gd name="connsiteY249" fmla="*/ 10757 h 469320"/>
                  <a:gd name="connsiteX250" fmla="*/ 265475 w 420651"/>
                  <a:gd name="connsiteY250" fmla="*/ 9610 h 469320"/>
                  <a:gd name="connsiteX251" fmla="*/ 266092 w 420651"/>
                  <a:gd name="connsiteY251" fmla="*/ 9610 h 469320"/>
                  <a:gd name="connsiteX252" fmla="*/ 267768 w 420651"/>
                  <a:gd name="connsiteY252" fmla="*/ 9610 h 469320"/>
                  <a:gd name="connsiteX253" fmla="*/ 268120 w 420651"/>
                  <a:gd name="connsiteY253" fmla="*/ 8464 h 469320"/>
                  <a:gd name="connsiteX254" fmla="*/ 268120 w 420651"/>
                  <a:gd name="connsiteY254" fmla="*/ 8200 h 469320"/>
                  <a:gd name="connsiteX255" fmla="*/ 268120 w 420651"/>
                  <a:gd name="connsiteY255" fmla="*/ 7847 h 469320"/>
                  <a:gd name="connsiteX256" fmla="*/ 266886 w 420651"/>
                  <a:gd name="connsiteY256" fmla="*/ 7847 h 469320"/>
                  <a:gd name="connsiteX257" fmla="*/ 268120 w 420651"/>
                  <a:gd name="connsiteY257" fmla="*/ 6965 h 469320"/>
                  <a:gd name="connsiteX258" fmla="*/ 268120 w 420651"/>
                  <a:gd name="connsiteY258" fmla="*/ 6436 h 469320"/>
                  <a:gd name="connsiteX259" fmla="*/ 269266 w 420651"/>
                  <a:gd name="connsiteY259" fmla="*/ 7318 h 469320"/>
                  <a:gd name="connsiteX260" fmla="*/ 269266 w 420651"/>
                  <a:gd name="connsiteY260" fmla="*/ 6965 h 469320"/>
                  <a:gd name="connsiteX261" fmla="*/ 269795 w 420651"/>
                  <a:gd name="connsiteY261" fmla="*/ 6965 h 469320"/>
                  <a:gd name="connsiteX262" fmla="*/ 271030 w 420651"/>
                  <a:gd name="connsiteY262" fmla="*/ 6965 h 469320"/>
                  <a:gd name="connsiteX263" fmla="*/ 271911 w 420651"/>
                  <a:gd name="connsiteY263" fmla="*/ 8200 h 469320"/>
                  <a:gd name="connsiteX264" fmla="*/ 272793 w 420651"/>
                  <a:gd name="connsiteY264" fmla="*/ 8200 h 469320"/>
                  <a:gd name="connsiteX265" fmla="*/ 273322 w 420651"/>
                  <a:gd name="connsiteY265" fmla="*/ 9610 h 469320"/>
                  <a:gd name="connsiteX266" fmla="*/ 274468 w 420651"/>
                  <a:gd name="connsiteY266" fmla="*/ 10228 h 469320"/>
                  <a:gd name="connsiteX267" fmla="*/ 274204 w 420651"/>
                  <a:gd name="connsiteY267" fmla="*/ 11638 h 469320"/>
                  <a:gd name="connsiteX268" fmla="*/ 275703 w 420651"/>
                  <a:gd name="connsiteY268" fmla="*/ 11638 h 469320"/>
                  <a:gd name="connsiteX269" fmla="*/ 276584 w 420651"/>
                  <a:gd name="connsiteY269" fmla="*/ 11638 h 469320"/>
                  <a:gd name="connsiteX270" fmla="*/ 276849 w 420651"/>
                  <a:gd name="connsiteY270" fmla="*/ 11638 h 469320"/>
                  <a:gd name="connsiteX271" fmla="*/ 277378 w 420651"/>
                  <a:gd name="connsiteY271" fmla="*/ 10757 h 469320"/>
                  <a:gd name="connsiteX272" fmla="*/ 278877 w 420651"/>
                  <a:gd name="connsiteY272" fmla="*/ 10757 h 469320"/>
                  <a:gd name="connsiteX273" fmla="*/ 279141 w 420651"/>
                  <a:gd name="connsiteY273" fmla="*/ 9875 h 469320"/>
                  <a:gd name="connsiteX274" fmla="*/ 281169 w 420651"/>
                  <a:gd name="connsiteY274" fmla="*/ 9610 h 469320"/>
                  <a:gd name="connsiteX275" fmla="*/ 282932 w 420651"/>
                  <a:gd name="connsiteY275" fmla="*/ 10228 h 469320"/>
                  <a:gd name="connsiteX276" fmla="*/ 284431 w 420651"/>
                  <a:gd name="connsiteY276" fmla="*/ 8464 h 469320"/>
                  <a:gd name="connsiteX277" fmla="*/ 285578 w 420651"/>
                  <a:gd name="connsiteY277" fmla="*/ 9610 h 469320"/>
                  <a:gd name="connsiteX278" fmla="*/ 287605 w 420651"/>
                  <a:gd name="connsiteY278" fmla="*/ 8464 h 469320"/>
                  <a:gd name="connsiteX279" fmla="*/ 288751 w 420651"/>
                  <a:gd name="connsiteY279" fmla="*/ 7847 h 469320"/>
                  <a:gd name="connsiteX280" fmla="*/ 288751 w 420651"/>
                  <a:gd name="connsiteY280" fmla="*/ 6965 h 469320"/>
                  <a:gd name="connsiteX281" fmla="*/ 289104 w 420651"/>
                  <a:gd name="connsiteY281" fmla="*/ 6436 h 469320"/>
                  <a:gd name="connsiteX282" fmla="*/ 288751 w 420651"/>
                  <a:gd name="connsiteY282" fmla="*/ 5555 h 469320"/>
                  <a:gd name="connsiteX283" fmla="*/ 288751 w 420651"/>
                  <a:gd name="connsiteY283" fmla="*/ 5290 h 469320"/>
                  <a:gd name="connsiteX284" fmla="*/ 288751 w 420651"/>
                  <a:gd name="connsiteY284" fmla="*/ 4673 h 469320"/>
                  <a:gd name="connsiteX285" fmla="*/ 288751 w 420651"/>
                  <a:gd name="connsiteY285" fmla="*/ 2645 h 469320"/>
                  <a:gd name="connsiteX286" fmla="*/ 289721 w 420651"/>
                  <a:gd name="connsiteY286" fmla="*/ 1763 h 469320"/>
                  <a:gd name="connsiteX287" fmla="*/ 289721 w 420651"/>
                  <a:gd name="connsiteY287" fmla="*/ 1146 h 469320"/>
                  <a:gd name="connsiteX288" fmla="*/ 290250 w 420651"/>
                  <a:gd name="connsiteY288" fmla="*/ 1146 h 469320"/>
                  <a:gd name="connsiteX289" fmla="*/ 290515 w 420651"/>
                  <a:gd name="connsiteY289" fmla="*/ 1146 h 469320"/>
                  <a:gd name="connsiteX290" fmla="*/ 290868 w 420651"/>
                  <a:gd name="connsiteY290" fmla="*/ 882 h 469320"/>
                  <a:gd name="connsiteX291" fmla="*/ 291132 w 420651"/>
                  <a:gd name="connsiteY291" fmla="*/ 617 h 469320"/>
                  <a:gd name="connsiteX292" fmla="*/ 292014 w 420651"/>
                  <a:gd name="connsiteY292" fmla="*/ 617 h 469320"/>
                  <a:gd name="connsiteX293" fmla="*/ 292278 w 420651"/>
                  <a:gd name="connsiteY293" fmla="*/ 882 h 469320"/>
                  <a:gd name="connsiteX294" fmla="*/ 293424 w 420651"/>
                  <a:gd name="connsiteY294" fmla="*/ 264 h 469320"/>
                  <a:gd name="connsiteX295" fmla="*/ 293777 w 420651"/>
                  <a:gd name="connsiteY295" fmla="*/ 0 h 469320"/>
                  <a:gd name="connsiteX296" fmla="*/ 294394 w 420651"/>
                  <a:gd name="connsiteY296" fmla="*/ 264 h 469320"/>
                  <a:gd name="connsiteX297" fmla="*/ 294394 w 420651"/>
                  <a:gd name="connsiteY297" fmla="*/ 882 h 469320"/>
                  <a:gd name="connsiteX298" fmla="*/ 294923 w 420651"/>
                  <a:gd name="connsiteY298" fmla="*/ 882 h 469320"/>
                  <a:gd name="connsiteX299" fmla="*/ 294659 w 420651"/>
                  <a:gd name="connsiteY299" fmla="*/ 1146 h 469320"/>
                  <a:gd name="connsiteX300" fmla="*/ 294923 w 420651"/>
                  <a:gd name="connsiteY300" fmla="*/ 1146 h 469320"/>
                  <a:gd name="connsiteX301" fmla="*/ 295276 w 420651"/>
                  <a:gd name="connsiteY301" fmla="*/ 1146 h 469320"/>
                  <a:gd name="connsiteX302" fmla="*/ 297304 w 420651"/>
                  <a:gd name="connsiteY302" fmla="*/ 2645 h 469320"/>
                  <a:gd name="connsiteX303" fmla="*/ 297568 w 420651"/>
                  <a:gd name="connsiteY303" fmla="*/ 2645 h 469320"/>
                  <a:gd name="connsiteX304" fmla="*/ 298097 w 420651"/>
                  <a:gd name="connsiteY304" fmla="*/ 2645 h 469320"/>
                  <a:gd name="connsiteX305" fmla="*/ 298715 w 420651"/>
                  <a:gd name="connsiteY305" fmla="*/ 2645 h 469320"/>
                  <a:gd name="connsiteX306" fmla="*/ 298979 w 420651"/>
                  <a:gd name="connsiteY306" fmla="*/ 2910 h 469320"/>
                  <a:gd name="connsiteX307" fmla="*/ 299332 w 420651"/>
                  <a:gd name="connsiteY307" fmla="*/ 3527 h 469320"/>
                  <a:gd name="connsiteX308" fmla="*/ 299332 w 420651"/>
                  <a:gd name="connsiteY308" fmla="*/ 3791 h 469320"/>
                  <a:gd name="connsiteX309" fmla="*/ 299861 w 420651"/>
                  <a:gd name="connsiteY309" fmla="*/ 3791 h 469320"/>
                  <a:gd name="connsiteX310" fmla="*/ 300214 w 420651"/>
                  <a:gd name="connsiteY310" fmla="*/ 3791 h 469320"/>
                  <a:gd name="connsiteX311" fmla="*/ 301007 w 420651"/>
                  <a:gd name="connsiteY311" fmla="*/ 3791 h 469320"/>
                  <a:gd name="connsiteX312" fmla="*/ 301360 w 420651"/>
                  <a:gd name="connsiteY312" fmla="*/ 4056 h 469320"/>
                  <a:gd name="connsiteX313" fmla="*/ 301624 w 420651"/>
                  <a:gd name="connsiteY313" fmla="*/ 4056 h 469320"/>
                  <a:gd name="connsiteX314" fmla="*/ 301624 w 420651"/>
                  <a:gd name="connsiteY314" fmla="*/ 3791 h 469320"/>
                  <a:gd name="connsiteX315" fmla="*/ 302506 w 420651"/>
                  <a:gd name="connsiteY315" fmla="*/ 3791 h 469320"/>
                  <a:gd name="connsiteX316" fmla="*/ 303123 w 420651"/>
                  <a:gd name="connsiteY316" fmla="*/ 3791 h 469320"/>
                  <a:gd name="connsiteX317" fmla="*/ 303652 w 420651"/>
                  <a:gd name="connsiteY317" fmla="*/ 3791 h 469320"/>
                  <a:gd name="connsiteX318" fmla="*/ 304005 w 420651"/>
                  <a:gd name="connsiteY318" fmla="*/ 3791 h 469320"/>
                  <a:gd name="connsiteX319" fmla="*/ 304269 w 420651"/>
                  <a:gd name="connsiteY319" fmla="*/ 4056 h 469320"/>
                  <a:gd name="connsiteX320" fmla="*/ 304269 w 420651"/>
                  <a:gd name="connsiteY320" fmla="*/ 3791 h 469320"/>
                  <a:gd name="connsiteX321" fmla="*/ 305680 w 420651"/>
                  <a:gd name="connsiteY321" fmla="*/ 3791 h 469320"/>
                  <a:gd name="connsiteX322" fmla="*/ 306033 w 420651"/>
                  <a:gd name="connsiteY322" fmla="*/ 3791 h 469320"/>
                  <a:gd name="connsiteX323" fmla="*/ 306033 w 420651"/>
                  <a:gd name="connsiteY323" fmla="*/ 3527 h 469320"/>
                  <a:gd name="connsiteX324" fmla="*/ 306297 w 420651"/>
                  <a:gd name="connsiteY324" fmla="*/ 3262 h 469320"/>
                  <a:gd name="connsiteX325" fmla="*/ 306914 w 420651"/>
                  <a:gd name="connsiteY325" fmla="*/ 3262 h 469320"/>
                  <a:gd name="connsiteX326" fmla="*/ 307179 w 420651"/>
                  <a:gd name="connsiteY326" fmla="*/ 3527 h 469320"/>
                  <a:gd name="connsiteX327" fmla="*/ 307796 w 420651"/>
                  <a:gd name="connsiteY327" fmla="*/ 3527 h 469320"/>
                  <a:gd name="connsiteX328" fmla="*/ 308325 w 420651"/>
                  <a:gd name="connsiteY328" fmla="*/ 3791 h 469320"/>
                  <a:gd name="connsiteX329" fmla="*/ 308942 w 420651"/>
                  <a:gd name="connsiteY329" fmla="*/ 4673 h 469320"/>
                  <a:gd name="connsiteX330" fmla="*/ 308942 w 420651"/>
                  <a:gd name="connsiteY330" fmla="*/ 5290 h 469320"/>
                  <a:gd name="connsiteX331" fmla="*/ 309824 w 420651"/>
                  <a:gd name="connsiteY331" fmla="*/ 5555 h 469320"/>
                  <a:gd name="connsiteX332" fmla="*/ 310706 w 420651"/>
                  <a:gd name="connsiteY332" fmla="*/ 5819 h 469320"/>
                  <a:gd name="connsiteX333" fmla="*/ 311235 w 420651"/>
                  <a:gd name="connsiteY333" fmla="*/ 5555 h 469320"/>
                  <a:gd name="connsiteX334" fmla="*/ 311852 w 420651"/>
                  <a:gd name="connsiteY334" fmla="*/ 5819 h 469320"/>
                  <a:gd name="connsiteX335" fmla="*/ 312381 w 420651"/>
                  <a:gd name="connsiteY335" fmla="*/ 6172 h 469320"/>
                  <a:gd name="connsiteX336" fmla="*/ 313615 w 420651"/>
                  <a:gd name="connsiteY336" fmla="*/ 6965 h 469320"/>
                  <a:gd name="connsiteX337" fmla="*/ 313879 w 420651"/>
                  <a:gd name="connsiteY337" fmla="*/ 7318 h 469320"/>
                  <a:gd name="connsiteX338" fmla="*/ 314761 w 420651"/>
                  <a:gd name="connsiteY338" fmla="*/ 7847 h 469320"/>
                  <a:gd name="connsiteX339" fmla="*/ 315907 w 420651"/>
                  <a:gd name="connsiteY339" fmla="*/ 7847 h 469320"/>
                  <a:gd name="connsiteX340" fmla="*/ 316525 w 420651"/>
                  <a:gd name="connsiteY340" fmla="*/ 6965 h 469320"/>
                  <a:gd name="connsiteX341" fmla="*/ 317054 w 420651"/>
                  <a:gd name="connsiteY341" fmla="*/ 6965 h 469320"/>
                  <a:gd name="connsiteX342" fmla="*/ 317054 w 420651"/>
                  <a:gd name="connsiteY342" fmla="*/ 7318 h 469320"/>
                  <a:gd name="connsiteX343" fmla="*/ 317406 w 420651"/>
                  <a:gd name="connsiteY343" fmla="*/ 6965 h 469320"/>
                  <a:gd name="connsiteX344" fmla="*/ 318552 w 420651"/>
                  <a:gd name="connsiteY344" fmla="*/ 7318 h 469320"/>
                  <a:gd name="connsiteX345" fmla="*/ 318817 w 420651"/>
                  <a:gd name="connsiteY345" fmla="*/ 6965 h 469320"/>
                  <a:gd name="connsiteX346" fmla="*/ 320051 w 420651"/>
                  <a:gd name="connsiteY346" fmla="*/ 6965 h 469320"/>
                  <a:gd name="connsiteX347" fmla="*/ 320580 w 420651"/>
                  <a:gd name="connsiteY347" fmla="*/ 6965 h 469320"/>
                  <a:gd name="connsiteX348" fmla="*/ 321198 w 420651"/>
                  <a:gd name="connsiteY348" fmla="*/ 8200 h 469320"/>
                  <a:gd name="connsiteX349" fmla="*/ 321815 w 420651"/>
                  <a:gd name="connsiteY349" fmla="*/ 7847 h 469320"/>
                  <a:gd name="connsiteX350" fmla="*/ 322608 w 420651"/>
                  <a:gd name="connsiteY350" fmla="*/ 8200 h 469320"/>
                  <a:gd name="connsiteX351" fmla="*/ 323843 w 420651"/>
                  <a:gd name="connsiteY351" fmla="*/ 5819 h 469320"/>
                  <a:gd name="connsiteX352" fmla="*/ 327546 w 420651"/>
                  <a:gd name="connsiteY352" fmla="*/ 3791 h 469320"/>
                  <a:gd name="connsiteX353" fmla="*/ 329044 w 420651"/>
                  <a:gd name="connsiteY353" fmla="*/ 3791 h 469320"/>
                  <a:gd name="connsiteX354" fmla="*/ 332307 w 420651"/>
                  <a:gd name="connsiteY354" fmla="*/ 6436 h 469320"/>
                  <a:gd name="connsiteX355" fmla="*/ 332307 w 420651"/>
                  <a:gd name="connsiteY355" fmla="*/ 7318 h 469320"/>
                  <a:gd name="connsiteX356" fmla="*/ 334335 w 420651"/>
                  <a:gd name="connsiteY356" fmla="*/ 7318 h 469320"/>
                  <a:gd name="connsiteX357" fmla="*/ 335745 w 420651"/>
                  <a:gd name="connsiteY357" fmla="*/ 7583 h 469320"/>
                  <a:gd name="connsiteX358" fmla="*/ 337244 w 420651"/>
                  <a:gd name="connsiteY358" fmla="*/ 10492 h 469320"/>
                  <a:gd name="connsiteX359" fmla="*/ 338390 w 420651"/>
                  <a:gd name="connsiteY359" fmla="*/ 10757 h 469320"/>
                  <a:gd name="connsiteX360" fmla="*/ 339272 w 420651"/>
                  <a:gd name="connsiteY360" fmla="*/ 11109 h 469320"/>
                  <a:gd name="connsiteX361" fmla="*/ 340154 w 420651"/>
                  <a:gd name="connsiteY361" fmla="*/ 13402 h 469320"/>
                  <a:gd name="connsiteX362" fmla="*/ 341036 w 420651"/>
                  <a:gd name="connsiteY362" fmla="*/ 13402 h 469320"/>
                  <a:gd name="connsiteX363" fmla="*/ 342711 w 420651"/>
                  <a:gd name="connsiteY363" fmla="*/ 15429 h 469320"/>
                  <a:gd name="connsiteX364" fmla="*/ 341917 w 420651"/>
                  <a:gd name="connsiteY364" fmla="*/ 16928 h 469320"/>
                  <a:gd name="connsiteX365" fmla="*/ 342181 w 420651"/>
                  <a:gd name="connsiteY365" fmla="*/ 18075 h 469320"/>
                  <a:gd name="connsiteX366" fmla="*/ 343328 w 420651"/>
                  <a:gd name="connsiteY366" fmla="*/ 18692 h 469320"/>
                  <a:gd name="connsiteX367" fmla="*/ 344474 w 420651"/>
                  <a:gd name="connsiteY367" fmla="*/ 20720 h 469320"/>
                  <a:gd name="connsiteX368" fmla="*/ 346590 w 420651"/>
                  <a:gd name="connsiteY368" fmla="*/ 20720 h 469320"/>
                  <a:gd name="connsiteX369" fmla="*/ 348265 w 420651"/>
                  <a:gd name="connsiteY369" fmla="*/ 22130 h 469320"/>
                  <a:gd name="connsiteX370" fmla="*/ 350029 w 420651"/>
                  <a:gd name="connsiteY370" fmla="*/ 20984 h 469320"/>
                  <a:gd name="connsiteX371" fmla="*/ 350381 w 420651"/>
                  <a:gd name="connsiteY371" fmla="*/ 25393 h 469320"/>
                  <a:gd name="connsiteX372" fmla="*/ 351175 w 420651"/>
                  <a:gd name="connsiteY372" fmla="*/ 25128 h 469320"/>
                  <a:gd name="connsiteX373" fmla="*/ 352409 w 420651"/>
                  <a:gd name="connsiteY373" fmla="*/ 23894 h 469320"/>
                  <a:gd name="connsiteX374" fmla="*/ 352674 w 420651"/>
                  <a:gd name="connsiteY374" fmla="*/ 25393 h 469320"/>
                  <a:gd name="connsiteX375" fmla="*/ 356200 w 420651"/>
                  <a:gd name="connsiteY375" fmla="*/ 25657 h 469320"/>
                  <a:gd name="connsiteX376" fmla="*/ 356729 w 420651"/>
                  <a:gd name="connsiteY376" fmla="*/ 26803 h 469320"/>
                  <a:gd name="connsiteX377" fmla="*/ 359110 w 420651"/>
                  <a:gd name="connsiteY377" fmla="*/ 26803 h 469320"/>
                  <a:gd name="connsiteX378" fmla="*/ 360256 w 420651"/>
                  <a:gd name="connsiteY378" fmla="*/ 25393 h 469320"/>
                  <a:gd name="connsiteX379" fmla="*/ 362284 w 420651"/>
                  <a:gd name="connsiteY379" fmla="*/ 25128 h 469320"/>
                  <a:gd name="connsiteX380" fmla="*/ 363518 w 420651"/>
                  <a:gd name="connsiteY380" fmla="*/ 21866 h 469320"/>
                  <a:gd name="connsiteX381" fmla="*/ 364929 w 420651"/>
                  <a:gd name="connsiteY381" fmla="*/ 21866 h 469320"/>
                  <a:gd name="connsiteX382" fmla="*/ 364929 w 420651"/>
                  <a:gd name="connsiteY382" fmla="*/ 19838 h 469320"/>
                  <a:gd name="connsiteX383" fmla="*/ 365811 w 420651"/>
                  <a:gd name="connsiteY383" fmla="*/ 21601 h 469320"/>
                  <a:gd name="connsiteX384" fmla="*/ 367574 w 420651"/>
                  <a:gd name="connsiteY384" fmla="*/ 21601 h 469320"/>
                  <a:gd name="connsiteX385" fmla="*/ 369073 w 420651"/>
                  <a:gd name="connsiteY385" fmla="*/ 21601 h 469320"/>
                  <a:gd name="connsiteX386" fmla="*/ 371365 w 420651"/>
                  <a:gd name="connsiteY386" fmla="*/ 23012 h 469320"/>
                  <a:gd name="connsiteX387" fmla="*/ 372247 w 420651"/>
                  <a:gd name="connsiteY387" fmla="*/ 21866 h 469320"/>
                  <a:gd name="connsiteX388" fmla="*/ 375157 w 420651"/>
                  <a:gd name="connsiteY388" fmla="*/ 25393 h 469320"/>
                  <a:gd name="connsiteX389" fmla="*/ 375157 w 420651"/>
                  <a:gd name="connsiteY389" fmla="*/ 26803 h 469320"/>
                  <a:gd name="connsiteX390" fmla="*/ 378595 w 420651"/>
                  <a:gd name="connsiteY390" fmla="*/ 22130 h 469320"/>
                  <a:gd name="connsiteX391" fmla="*/ 380976 w 420651"/>
                  <a:gd name="connsiteY391" fmla="*/ 18339 h 469320"/>
                  <a:gd name="connsiteX392" fmla="*/ 382122 w 420651"/>
                  <a:gd name="connsiteY392" fmla="*/ 16664 h 469320"/>
                  <a:gd name="connsiteX393" fmla="*/ 384414 w 420651"/>
                  <a:gd name="connsiteY393" fmla="*/ 17810 h 469320"/>
                  <a:gd name="connsiteX394" fmla="*/ 387941 w 420651"/>
                  <a:gd name="connsiteY394" fmla="*/ 18692 h 469320"/>
                  <a:gd name="connsiteX395" fmla="*/ 387941 w 420651"/>
                  <a:gd name="connsiteY395" fmla="*/ 20984 h 469320"/>
                  <a:gd name="connsiteX396" fmla="*/ 387412 w 420651"/>
                  <a:gd name="connsiteY396" fmla="*/ 22130 h 469320"/>
                  <a:gd name="connsiteX397" fmla="*/ 387676 w 420651"/>
                  <a:gd name="connsiteY397" fmla="*/ 26010 h 469320"/>
                  <a:gd name="connsiteX398" fmla="*/ 390586 w 420651"/>
                  <a:gd name="connsiteY398" fmla="*/ 26274 h 469320"/>
                  <a:gd name="connsiteX399" fmla="*/ 390851 w 420651"/>
                  <a:gd name="connsiteY399" fmla="*/ 27421 h 469320"/>
                  <a:gd name="connsiteX400" fmla="*/ 392349 w 420651"/>
                  <a:gd name="connsiteY400" fmla="*/ 28919 h 469320"/>
                  <a:gd name="connsiteX401" fmla="*/ 394113 w 420651"/>
                  <a:gd name="connsiteY401" fmla="*/ 30330 h 469320"/>
                  <a:gd name="connsiteX402" fmla="*/ 395523 w 420651"/>
                  <a:gd name="connsiteY402" fmla="*/ 31476 h 469320"/>
                  <a:gd name="connsiteX403" fmla="*/ 395523 w 420651"/>
                  <a:gd name="connsiteY403" fmla="*/ 32710 h 469320"/>
                  <a:gd name="connsiteX404" fmla="*/ 396670 w 420651"/>
                  <a:gd name="connsiteY404" fmla="*/ 33857 h 469320"/>
                  <a:gd name="connsiteX405" fmla="*/ 396670 w 420651"/>
                  <a:gd name="connsiteY405" fmla="*/ 34738 h 469320"/>
                  <a:gd name="connsiteX406" fmla="*/ 398786 w 420651"/>
                  <a:gd name="connsiteY406" fmla="*/ 34738 h 469320"/>
                  <a:gd name="connsiteX407" fmla="*/ 399667 w 420651"/>
                  <a:gd name="connsiteY407" fmla="*/ 35885 h 469320"/>
                  <a:gd name="connsiteX408" fmla="*/ 401431 w 420651"/>
                  <a:gd name="connsiteY408" fmla="*/ 37648 h 469320"/>
                  <a:gd name="connsiteX409" fmla="*/ 403106 w 420651"/>
                  <a:gd name="connsiteY409" fmla="*/ 37031 h 469320"/>
                  <a:gd name="connsiteX410" fmla="*/ 405222 w 420651"/>
                  <a:gd name="connsiteY410" fmla="*/ 36766 h 469320"/>
                  <a:gd name="connsiteX411" fmla="*/ 405487 w 420651"/>
                  <a:gd name="connsiteY411" fmla="*/ 38794 h 469320"/>
                  <a:gd name="connsiteX412" fmla="*/ 405487 w 420651"/>
                  <a:gd name="connsiteY412" fmla="*/ 44966 h 469320"/>
                  <a:gd name="connsiteX413" fmla="*/ 407250 w 420651"/>
                  <a:gd name="connsiteY413" fmla="*/ 44349 h 469320"/>
                  <a:gd name="connsiteX414" fmla="*/ 408396 w 420651"/>
                  <a:gd name="connsiteY414" fmla="*/ 42321 h 469320"/>
                  <a:gd name="connsiteX415" fmla="*/ 409013 w 420651"/>
                  <a:gd name="connsiteY415" fmla="*/ 43467 h 469320"/>
                  <a:gd name="connsiteX416" fmla="*/ 409278 w 420651"/>
                  <a:gd name="connsiteY416" fmla="*/ 42321 h 469320"/>
                  <a:gd name="connsiteX417" fmla="*/ 410159 w 420651"/>
                  <a:gd name="connsiteY417" fmla="*/ 42321 h 469320"/>
                  <a:gd name="connsiteX418" fmla="*/ 410688 w 420651"/>
                  <a:gd name="connsiteY418" fmla="*/ 43467 h 469320"/>
                  <a:gd name="connsiteX419" fmla="*/ 411041 w 420651"/>
                  <a:gd name="connsiteY419" fmla="*/ 46112 h 469320"/>
                  <a:gd name="connsiteX420" fmla="*/ 412187 w 420651"/>
                  <a:gd name="connsiteY420" fmla="*/ 44966 h 469320"/>
                  <a:gd name="connsiteX421" fmla="*/ 413598 w 420651"/>
                  <a:gd name="connsiteY421" fmla="*/ 45495 h 469320"/>
                  <a:gd name="connsiteX422" fmla="*/ 412804 w 420651"/>
                  <a:gd name="connsiteY422" fmla="*/ 46641 h 469320"/>
                  <a:gd name="connsiteX423" fmla="*/ 412804 w 420651"/>
                  <a:gd name="connsiteY423" fmla="*/ 48757 h 469320"/>
                  <a:gd name="connsiteX424" fmla="*/ 411306 w 420651"/>
                  <a:gd name="connsiteY424" fmla="*/ 50432 h 469320"/>
                  <a:gd name="connsiteX425" fmla="*/ 410424 w 420651"/>
                  <a:gd name="connsiteY425" fmla="*/ 51667 h 469320"/>
                  <a:gd name="connsiteX426" fmla="*/ 410424 w 420651"/>
                  <a:gd name="connsiteY426" fmla="*/ 52813 h 469320"/>
                  <a:gd name="connsiteX427" fmla="*/ 409013 w 420651"/>
                  <a:gd name="connsiteY427" fmla="*/ 57750 h 469320"/>
                  <a:gd name="connsiteX428" fmla="*/ 411306 w 420651"/>
                  <a:gd name="connsiteY428" fmla="*/ 59514 h 469320"/>
                  <a:gd name="connsiteX429" fmla="*/ 411570 w 420651"/>
                  <a:gd name="connsiteY429" fmla="*/ 61542 h 469320"/>
                  <a:gd name="connsiteX430" fmla="*/ 411923 w 420651"/>
                  <a:gd name="connsiteY430" fmla="*/ 64187 h 469320"/>
                  <a:gd name="connsiteX431" fmla="*/ 410159 w 420651"/>
                  <a:gd name="connsiteY431" fmla="*/ 64451 h 469320"/>
                  <a:gd name="connsiteX432" fmla="*/ 410159 w 420651"/>
                  <a:gd name="connsiteY432" fmla="*/ 65597 h 469320"/>
                  <a:gd name="connsiteX433" fmla="*/ 409807 w 420651"/>
                  <a:gd name="connsiteY433" fmla="*/ 67361 h 469320"/>
                  <a:gd name="connsiteX434" fmla="*/ 408660 w 420651"/>
                  <a:gd name="connsiteY434" fmla="*/ 68595 h 469320"/>
                  <a:gd name="connsiteX435" fmla="*/ 409013 w 420651"/>
                  <a:gd name="connsiteY435" fmla="*/ 70006 h 469320"/>
                  <a:gd name="connsiteX436" fmla="*/ 408660 w 420651"/>
                  <a:gd name="connsiteY436" fmla="*/ 71505 h 469320"/>
                  <a:gd name="connsiteX437" fmla="*/ 410424 w 420651"/>
                  <a:gd name="connsiteY437" fmla="*/ 72651 h 469320"/>
                  <a:gd name="connsiteX438" fmla="*/ 410688 w 420651"/>
                  <a:gd name="connsiteY438" fmla="*/ 74061 h 469320"/>
                  <a:gd name="connsiteX439" fmla="*/ 412452 w 420651"/>
                  <a:gd name="connsiteY439" fmla="*/ 75296 h 469320"/>
                  <a:gd name="connsiteX440" fmla="*/ 413333 w 420651"/>
                  <a:gd name="connsiteY440" fmla="*/ 76707 h 469320"/>
                  <a:gd name="connsiteX441" fmla="*/ 415714 w 420651"/>
                  <a:gd name="connsiteY441" fmla="*/ 76442 h 469320"/>
                  <a:gd name="connsiteX442" fmla="*/ 416860 w 420651"/>
                  <a:gd name="connsiteY442" fmla="*/ 76707 h 469320"/>
                  <a:gd name="connsiteX443" fmla="*/ 418624 w 420651"/>
                  <a:gd name="connsiteY443" fmla="*/ 76442 h 469320"/>
                  <a:gd name="connsiteX444" fmla="*/ 418624 w 420651"/>
                  <a:gd name="connsiteY444" fmla="*/ 77853 h 469320"/>
                  <a:gd name="connsiteX445" fmla="*/ 420652 w 420651"/>
                  <a:gd name="connsiteY445" fmla="*/ 79616 h 469320"/>
                  <a:gd name="connsiteX446" fmla="*/ 414832 w 420651"/>
                  <a:gd name="connsiteY446" fmla="*/ 90461 h 469320"/>
                  <a:gd name="connsiteX447" fmla="*/ 407514 w 420651"/>
                  <a:gd name="connsiteY447" fmla="*/ 96544 h 469320"/>
                  <a:gd name="connsiteX448" fmla="*/ 402224 w 420651"/>
                  <a:gd name="connsiteY448" fmla="*/ 102981 h 469320"/>
                  <a:gd name="connsiteX449" fmla="*/ 401431 w 420651"/>
                  <a:gd name="connsiteY449" fmla="*/ 104127 h 469320"/>
                  <a:gd name="connsiteX450" fmla="*/ 400196 w 420651"/>
                  <a:gd name="connsiteY450" fmla="*/ 103245 h 469320"/>
                  <a:gd name="connsiteX451" fmla="*/ 400196 w 420651"/>
                  <a:gd name="connsiteY451" fmla="*/ 104744 h 469320"/>
                  <a:gd name="connsiteX452" fmla="*/ 397287 w 420651"/>
                  <a:gd name="connsiteY452" fmla="*/ 105009 h 469320"/>
                  <a:gd name="connsiteX453" fmla="*/ 396405 w 420651"/>
                  <a:gd name="connsiteY453" fmla="*/ 105890 h 469320"/>
                  <a:gd name="connsiteX454" fmla="*/ 396405 w 420651"/>
                  <a:gd name="connsiteY454" fmla="*/ 108535 h 469320"/>
                  <a:gd name="connsiteX455" fmla="*/ 394642 w 420651"/>
                  <a:gd name="connsiteY455" fmla="*/ 111092 h 469320"/>
                  <a:gd name="connsiteX456" fmla="*/ 393231 w 420651"/>
                  <a:gd name="connsiteY456" fmla="*/ 111445 h 469320"/>
                  <a:gd name="connsiteX457" fmla="*/ 391468 w 420651"/>
                  <a:gd name="connsiteY457" fmla="*/ 112856 h 469320"/>
                  <a:gd name="connsiteX458" fmla="*/ 391203 w 420651"/>
                  <a:gd name="connsiteY458" fmla="*/ 115236 h 469320"/>
                  <a:gd name="connsiteX459" fmla="*/ 390851 w 420651"/>
                  <a:gd name="connsiteY459" fmla="*/ 118146 h 469320"/>
                  <a:gd name="connsiteX460" fmla="*/ 391468 w 420651"/>
                  <a:gd name="connsiteY460" fmla="*/ 121055 h 469320"/>
                  <a:gd name="connsiteX461" fmla="*/ 389175 w 420651"/>
                  <a:gd name="connsiteY461" fmla="*/ 124229 h 469320"/>
                  <a:gd name="connsiteX462" fmla="*/ 387676 w 420651"/>
                  <a:gd name="connsiteY462" fmla="*/ 127491 h 469320"/>
                  <a:gd name="connsiteX463" fmla="*/ 387412 w 420651"/>
                  <a:gd name="connsiteY463" fmla="*/ 129167 h 469320"/>
                  <a:gd name="connsiteX464" fmla="*/ 388205 w 420651"/>
                  <a:gd name="connsiteY464" fmla="*/ 133311 h 469320"/>
                  <a:gd name="connsiteX465" fmla="*/ 385913 w 420651"/>
                  <a:gd name="connsiteY465" fmla="*/ 132694 h 469320"/>
                  <a:gd name="connsiteX466" fmla="*/ 385649 w 420651"/>
                  <a:gd name="connsiteY466" fmla="*/ 134457 h 469320"/>
                  <a:gd name="connsiteX467" fmla="*/ 386530 w 420651"/>
                  <a:gd name="connsiteY467" fmla="*/ 135074 h 469320"/>
                  <a:gd name="connsiteX468" fmla="*/ 385384 w 420651"/>
                  <a:gd name="connsiteY468" fmla="*/ 144420 h 469320"/>
                  <a:gd name="connsiteX469" fmla="*/ 385649 w 420651"/>
                  <a:gd name="connsiteY469" fmla="*/ 146095 h 469320"/>
                  <a:gd name="connsiteX470" fmla="*/ 386530 w 420651"/>
                  <a:gd name="connsiteY470" fmla="*/ 147594 h 469320"/>
                  <a:gd name="connsiteX471" fmla="*/ 385649 w 420651"/>
                  <a:gd name="connsiteY471" fmla="*/ 149975 h 469320"/>
                  <a:gd name="connsiteX472" fmla="*/ 384150 w 420651"/>
                  <a:gd name="connsiteY472" fmla="*/ 154912 h 469320"/>
                  <a:gd name="connsiteX473" fmla="*/ 383885 w 420651"/>
                  <a:gd name="connsiteY473" fmla="*/ 158968 h 469320"/>
                  <a:gd name="connsiteX474" fmla="*/ 384767 w 420651"/>
                  <a:gd name="connsiteY474" fmla="*/ 159849 h 469320"/>
                  <a:gd name="connsiteX475" fmla="*/ 383885 w 420651"/>
                  <a:gd name="connsiteY475" fmla="*/ 161877 h 469320"/>
                  <a:gd name="connsiteX476" fmla="*/ 384767 w 420651"/>
                  <a:gd name="connsiteY476" fmla="*/ 163376 h 469320"/>
                  <a:gd name="connsiteX477" fmla="*/ 383621 w 420651"/>
                  <a:gd name="connsiteY477" fmla="*/ 168578 h 469320"/>
                  <a:gd name="connsiteX478" fmla="*/ 378066 w 420651"/>
                  <a:gd name="connsiteY478" fmla="*/ 172369 h 469320"/>
                  <a:gd name="connsiteX479" fmla="*/ 373393 w 420651"/>
                  <a:gd name="connsiteY479" fmla="*/ 179952 h 469320"/>
                  <a:gd name="connsiteX480" fmla="*/ 373922 w 420651"/>
                  <a:gd name="connsiteY480" fmla="*/ 187534 h 469320"/>
                  <a:gd name="connsiteX481" fmla="*/ 372776 w 420651"/>
                  <a:gd name="connsiteY481" fmla="*/ 189915 h 469320"/>
                  <a:gd name="connsiteX482" fmla="*/ 370484 w 420651"/>
                  <a:gd name="connsiteY482" fmla="*/ 191061 h 469320"/>
                  <a:gd name="connsiteX483" fmla="*/ 369337 w 420651"/>
                  <a:gd name="connsiteY483" fmla="*/ 193089 h 469320"/>
                  <a:gd name="connsiteX484" fmla="*/ 367838 w 420651"/>
                  <a:gd name="connsiteY484" fmla="*/ 193706 h 469320"/>
                  <a:gd name="connsiteX485" fmla="*/ 367838 w 420651"/>
                  <a:gd name="connsiteY485" fmla="*/ 200671 h 469320"/>
                  <a:gd name="connsiteX486" fmla="*/ 371013 w 420651"/>
                  <a:gd name="connsiteY486" fmla="*/ 201818 h 469320"/>
                  <a:gd name="connsiteX487" fmla="*/ 369602 w 420651"/>
                  <a:gd name="connsiteY487" fmla="*/ 203316 h 469320"/>
                  <a:gd name="connsiteX488" fmla="*/ 369866 w 420651"/>
                  <a:gd name="connsiteY488" fmla="*/ 204727 h 469320"/>
                  <a:gd name="connsiteX489" fmla="*/ 371013 w 420651"/>
                  <a:gd name="connsiteY489" fmla="*/ 204727 h 469320"/>
                  <a:gd name="connsiteX490" fmla="*/ 373658 w 420651"/>
                  <a:gd name="connsiteY490" fmla="*/ 208871 h 469320"/>
                  <a:gd name="connsiteX491" fmla="*/ 374892 w 420651"/>
                  <a:gd name="connsiteY491" fmla="*/ 209135 h 469320"/>
                  <a:gd name="connsiteX492" fmla="*/ 375421 w 420651"/>
                  <a:gd name="connsiteY492" fmla="*/ 213191 h 469320"/>
                  <a:gd name="connsiteX493" fmla="*/ 374892 w 420651"/>
                  <a:gd name="connsiteY493" fmla="*/ 215219 h 469320"/>
                  <a:gd name="connsiteX494" fmla="*/ 375686 w 420651"/>
                  <a:gd name="connsiteY494" fmla="*/ 216983 h 469320"/>
                  <a:gd name="connsiteX495" fmla="*/ 375157 w 420651"/>
                  <a:gd name="connsiteY495" fmla="*/ 232148 h 469320"/>
                  <a:gd name="connsiteX496" fmla="*/ 378066 w 420651"/>
                  <a:gd name="connsiteY496" fmla="*/ 236291 h 469320"/>
                  <a:gd name="connsiteX497" fmla="*/ 379212 w 420651"/>
                  <a:gd name="connsiteY497" fmla="*/ 243786 h 469320"/>
                  <a:gd name="connsiteX498" fmla="*/ 379477 w 420651"/>
                  <a:gd name="connsiteY498" fmla="*/ 246783 h 469320"/>
                  <a:gd name="connsiteX499" fmla="*/ 376920 w 420651"/>
                  <a:gd name="connsiteY499" fmla="*/ 253131 h 469320"/>
                  <a:gd name="connsiteX500" fmla="*/ 376920 w 420651"/>
                  <a:gd name="connsiteY500" fmla="*/ 256658 h 469320"/>
                  <a:gd name="connsiteX501" fmla="*/ 378066 w 420651"/>
                  <a:gd name="connsiteY501" fmla="*/ 260802 h 469320"/>
                  <a:gd name="connsiteX502" fmla="*/ 379830 w 420651"/>
                  <a:gd name="connsiteY502" fmla="*/ 263094 h 469320"/>
                  <a:gd name="connsiteX503" fmla="*/ 380976 w 420651"/>
                  <a:gd name="connsiteY503" fmla="*/ 269178 h 469320"/>
                  <a:gd name="connsiteX504" fmla="*/ 383003 w 420651"/>
                  <a:gd name="connsiteY504" fmla="*/ 272705 h 469320"/>
                  <a:gd name="connsiteX505" fmla="*/ 383268 w 420651"/>
                  <a:gd name="connsiteY505" fmla="*/ 275614 h 469320"/>
                  <a:gd name="connsiteX506" fmla="*/ 383268 w 420651"/>
                  <a:gd name="connsiteY506" fmla="*/ 278259 h 469320"/>
                  <a:gd name="connsiteX507" fmla="*/ 380711 w 420651"/>
                  <a:gd name="connsiteY507" fmla="*/ 281786 h 469320"/>
                  <a:gd name="connsiteX508" fmla="*/ 380711 w 420651"/>
                  <a:gd name="connsiteY508" fmla="*/ 282668 h 469320"/>
                  <a:gd name="connsiteX509" fmla="*/ 380711 w 420651"/>
                  <a:gd name="connsiteY509" fmla="*/ 284431 h 469320"/>
                  <a:gd name="connsiteX510" fmla="*/ 380711 w 420651"/>
                  <a:gd name="connsiteY510" fmla="*/ 287605 h 469320"/>
                  <a:gd name="connsiteX511" fmla="*/ 381328 w 420651"/>
                  <a:gd name="connsiteY511" fmla="*/ 289898 h 469320"/>
                  <a:gd name="connsiteX512" fmla="*/ 383885 w 420651"/>
                  <a:gd name="connsiteY512" fmla="*/ 294306 h 469320"/>
                  <a:gd name="connsiteX513" fmla="*/ 384414 w 420651"/>
                  <a:gd name="connsiteY513" fmla="*/ 297480 h 469320"/>
                  <a:gd name="connsiteX514" fmla="*/ 385384 w 420651"/>
                  <a:gd name="connsiteY514" fmla="*/ 298715 h 469320"/>
                  <a:gd name="connsiteX515" fmla="*/ 388205 w 420651"/>
                  <a:gd name="connsiteY515" fmla="*/ 301624 h 469320"/>
                  <a:gd name="connsiteX516" fmla="*/ 391468 w 420651"/>
                  <a:gd name="connsiteY516" fmla="*/ 303652 h 469320"/>
                  <a:gd name="connsiteX517" fmla="*/ 392878 w 420651"/>
                  <a:gd name="connsiteY517" fmla="*/ 304798 h 469320"/>
                  <a:gd name="connsiteX518" fmla="*/ 394642 w 420651"/>
                  <a:gd name="connsiteY518" fmla="*/ 306826 h 469320"/>
                  <a:gd name="connsiteX519" fmla="*/ 398168 w 420651"/>
                  <a:gd name="connsiteY519" fmla="*/ 311235 h 469320"/>
                  <a:gd name="connsiteX520" fmla="*/ 400196 w 420651"/>
                  <a:gd name="connsiteY520" fmla="*/ 317318 h 469320"/>
                  <a:gd name="connsiteX521" fmla="*/ 400549 w 420651"/>
                  <a:gd name="connsiteY521" fmla="*/ 321991 h 469320"/>
                  <a:gd name="connsiteX522" fmla="*/ 405222 w 420651"/>
                  <a:gd name="connsiteY522" fmla="*/ 330808 h 469320"/>
                  <a:gd name="connsiteX523" fmla="*/ 405751 w 420651"/>
                  <a:gd name="connsiteY523" fmla="*/ 333100 h 469320"/>
                  <a:gd name="connsiteX524" fmla="*/ 407514 w 420651"/>
                  <a:gd name="connsiteY524" fmla="*/ 337156 h 469320"/>
                  <a:gd name="connsiteX525" fmla="*/ 366692 w 420651"/>
                  <a:gd name="connsiteY525" fmla="*/ 346502 h 469320"/>
                  <a:gd name="connsiteX526" fmla="*/ 367574 w 420651"/>
                  <a:gd name="connsiteY526" fmla="*/ 351175 h 469320"/>
                  <a:gd name="connsiteX527" fmla="*/ 365811 w 420651"/>
                  <a:gd name="connsiteY527" fmla="*/ 354966 h 469320"/>
                  <a:gd name="connsiteX528" fmla="*/ 359639 w 420651"/>
                  <a:gd name="connsiteY528" fmla="*/ 360785 h 469320"/>
                  <a:gd name="connsiteX529" fmla="*/ 356729 w 420651"/>
                  <a:gd name="connsiteY529" fmla="*/ 363430 h 469320"/>
                  <a:gd name="connsiteX530" fmla="*/ 357082 w 420651"/>
                  <a:gd name="connsiteY530" fmla="*/ 366604 h 469320"/>
                  <a:gd name="connsiteX531" fmla="*/ 358228 w 420651"/>
                  <a:gd name="connsiteY531" fmla="*/ 369866 h 469320"/>
                  <a:gd name="connsiteX532" fmla="*/ 359110 w 420651"/>
                  <a:gd name="connsiteY532" fmla="*/ 372423 h 469320"/>
                  <a:gd name="connsiteX533" fmla="*/ 360521 w 420651"/>
                  <a:gd name="connsiteY533" fmla="*/ 373922 h 469320"/>
                  <a:gd name="connsiteX534" fmla="*/ 361755 w 420651"/>
                  <a:gd name="connsiteY534" fmla="*/ 377713 h 469320"/>
                  <a:gd name="connsiteX535" fmla="*/ 358228 w 420651"/>
                  <a:gd name="connsiteY535" fmla="*/ 388470 h 469320"/>
                  <a:gd name="connsiteX536" fmla="*/ 359374 w 420651"/>
                  <a:gd name="connsiteY536" fmla="*/ 390233 h 469320"/>
                  <a:gd name="connsiteX537" fmla="*/ 359110 w 420651"/>
                  <a:gd name="connsiteY537" fmla="*/ 396140 h 469320"/>
                  <a:gd name="connsiteX538" fmla="*/ 361755 w 420651"/>
                  <a:gd name="connsiteY538" fmla="*/ 399315 h 469320"/>
                  <a:gd name="connsiteX539" fmla="*/ 357346 w 420651"/>
                  <a:gd name="connsiteY539" fmla="*/ 403723 h 469320"/>
                  <a:gd name="connsiteX540" fmla="*/ 354966 w 420651"/>
                  <a:gd name="connsiteY540" fmla="*/ 416772 h 469320"/>
                  <a:gd name="connsiteX541" fmla="*/ 353291 w 420651"/>
                  <a:gd name="connsiteY541" fmla="*/ 419417 h 469320"/>
                  <a:gd name="connsiteX542" fmla="*/ 354966 w 420651"/>
                  <a:gd name="connsiteY542" fmla="*/ 427881 h 469320"/>
                  <a:gd name="connsiteX543" fmla="*/ 355319 w 420651"/>
                  <a:gd name="connsiteY543" fmla="*/ 429027 h 469320"/>
                  <a:gd name="connsiteX544" fmla="*/ 357611 w 420651"/>
                  <a:gd name="connsiteY544" fmla="*/ 430262 h 469320"/>
                  <a:gd name="connsiteX545" fmla="*/ 357964 w 420651"/>
                  <a:gd name="connsiteY545" fmla="*/ 431672 h 469320"/>
                  <a:gd name="connsiteX546" fmla="*/ 360256 w 420651"/>
                  <a:gd name="connsiteY546" fmla="*/ 432819 h 469320"/>
                  <a:gd name="connsiteX547" fmla="*/ 361138 w 420651"/>
                  <a:gd name="connsiteY547" fmla="*/ 434053 h 469320"/>
                  <a:gd name="connsiteX548" fmla="*/ 362019 w 420651"/>
                  <a:gd name="connsiteY548" fmla="*/ 434847 h 469320"/>
                  <a:gd name="connsiteX549" fmla="*/ 363518 w 420651"/>
                  <a:gd name="connsiteY549" fmla="*/ 436081 h 469320"/>
                  <a:gd name="connsiteX550" fmla="*/ 364929 w 420651"/>
                  <a:gd name="connsiteY550" fmla="*/ 438109 h 469320"/>
                  <a:gd name="connsiteX551" fmla="*/ 365811 w 420651"/>
                  <a:gd name="connsiteY551" fmla="*/ 440401 h 469320"/>
                  <a:gd name="connsiteX552" fmla="*/ 367310 w 420651"/>
                  <a:gd name="connsiteY552" fmla="*/ 444457 h 469320"/>
                  <a:gd name="connsiteX553" fmla="*/ 369866 w 420651"/>
                  <a:gd name="connsiteY553" fmla="*/ 444457 h 469320"/>
                  <a:gd name="connsiteX554" fmla="*/ 372776 w 420651"/>
                  <a:gd name="connsiteY554" fmla="*/ 444457 h 469320"/>
                  <a:gd name="connsiteX555" fmla="*/ 375686 w 420651"/>
                  <a:gd name="connsiteY555" fmla="*/ 446220 h 469320"/>
                  <a:gd name="connsiteX556" fmla="*/ 377802 w 420651"/>
                  <a:gd name="connsiteY556" fmla="*/ 446220 h 469320"/>
                  <a:gd name="connsiteX557" fmla="*/ 378948 w 420651"/>
                  <a:gd name="connsiteY557" fmla="*/ 444810 h 469320"/>
                  <a:gd name="connsiteX558" fmla="*/ 377802 w 420651"/>
                  <a:gd name="connsiteY558" fmla="*/ 444192 h 469320"/>
                  <a:gd name="connsiteX559" fmla="*/ 376567 w 420651"/>
                  <a:gd name="connsiteY559" fmla="*/ 442429 h 469320"/>
                  <a:gd name="connsiteX560" fmla="*/ 376038 w 420651"/>
                  <a:gd name="connsiteY560" fmla="*/ 439519 h 469320"/>
                  <a:gd name="connsiteX561" fmla="*/ 376920 w 420651"/>
                  <a:gd name="connsiteY561" fmla="*/ 438990 h 469320"/>
                  <a:gd name="connsiteX562" fmla="*/ 378331 w 420651"/>
                  <a:gd name="connsiteY562" fmla="*/ 437756 h 469320"/>
                  <a:gd name="connsiteX563" fmla="*/ 379212 w 420651"/>
                  <a:gd name="connsiteY563" fmla="*/ 436610 h 469320"/>
                  <a:gd name="connsiteX564" fmla="*/ 379830 w 420651"/>
                  <a:gd name="connsiteY564" fmla="*/ 437491 h 469320"/>
                  <a:gd name="connsiteX565" fmla="*/ 380711 w 420651"/>
                  <a:gd name="connsiteY565" fmla="*/ 439255 h 469320"/>
                  <a:gd name="connsiteX566" fmla="*/ 382122 w 420651"/>
                  <a:gd name="connsiteY566" fmla="*/ 437491 h 469320"/>
                  <a:gd name="connsiteX567" fmla="*/ 383003 w 420651"/>
                  <a:gd name="connsiteY567" fmla="*/ 436345 h 469320"/>
                  <a:gd name="connsiteX568" fmla="*/ 384150 w 420651"/>
                  <a:gd name="connsiteY568" fmla="*/ 436962 h 469320"/>
                  <a:gd name="connsiteX569" fmla="*/ 383268 w 420651"/>
                  <a:gd name="connsiteY569" fmla="*/ 468439 h 469320"/>
                  <a:gd name="connsiteX570" fmla="*/ 380976 w 420651"/>
                  <a:gd name="connsiteY570" fmla="*/ 468968 h 469320"/>
                  <a:gd name="connsiteX571" fmla="*/ 379477 w 420651"/>
                  <a:gd name="connsiteY571" fmla="*/ 469320 h 469320"/>
                  <a:gd name="connsiteX572" fmla="*/ 378331 w 420651"/>
                  <a:gd name="connsiteY572" fmla="*/ 467557 h 469320"/>
                  <a:gd name="connsiteX573" fmla="*/ 379830 w 420651"/>
                  <a:gd name="connsiteY573" fmla="*/ 466675 h 469320"/>
                  <a:gd name="connsiteX574" fmla="*/ 380359 w 420651"/>
                  <a:gd name="connsiteY574" fmla="*/ 464912 h 469320"/>
                  <a:gd name="connsiteX575" fmla="*/ 379212 w 420651"/>
                  <a:gd name="connsiteY575" fmla="*/ 464030 h 469320"/>
                  <a:gd name="connsiteX576" fmla="*/ 378948 w 420651"/>
                  <a:gd name="connsiteY576" fmla="*/ 463149 h 469320"/>
                  <a:gd name="connsiteX577" fmla="*/ 377184 w 420651"/>
                  <a:gd name="connsiteY577" fmla="*/ 463501 h 469320"/>
                  <a:gd name="connsiteX578" fmla="*/ 375686 w 420651"/>
                  <a:gd name="connsiteY578" fmla="*/ 465176 h 469320"/>
                  <a:gd name="connsiteX579" fmla="*/ 374539 w 420651"/>
                  <a:gd name="connsiteY579" fmla="*/ 465794 h 469320"/>
                  <a:gd name="connsiteX580" fmla="*/ 372511 w 420651"/>
                  <a:gd name="connsiteY580" fmla="*/ 466675 h 469320"/>
                  <a:gd name="connsiteX581" fmla="*/ 370219 w 420651"/>
                  <a:gd name="connsiteY581" fmla="*/ 468439 h 469320"/>
                  <a:gd name="connsiteX582" fmla="*/ 368103 w 420651"/>
                  <a:gd name="connsiteY582" fmla="*/ 468703 h 469320"/>
                  <a:gd name="connsiteX583" fmla="*/ 368103 w 420651"/>
                  <a:gd name="connsiteY583" fmla="*/ 467821 h 469320"/>
                  <a:gd name="connsiteX584" fmla="*/ 365811 w 420651"/>
                  <a:gd name="connsiteY584" fmla="*/ 467557 h 469320"/>
                  <a:gd name="connsiteX585" fmla="*/ 364665 w 420651"/>
                  <a:gd name="connsiteY585" fmla="*/ 466411 h 469320"/>
                  <a:gd name="connsiteX586" fmla="*/ 363518 w 420651"/>
                  <a:gd name="connsiteY586" fmla="*/ 462267 h 469320"/>
                  <a:gd name="connsiteX587" fmla="*/ 363166 w 420651"/>
                  <a:gd name="connsiteY587" fmla="*/ 459710 h 469320"/>
                  <a:gd name="connsiteX588" fmla="*/ 361755 w 420651"/>
                  <a:gd name="connsiteY588" fmla="*/ 457682 h 469320"/>
                  <a:gd name="connsiteX589" fmla="*/ 362019 w 420651"/>
                  <a:gd name="connsiteY589" fmla="*/ 456183 h 469320"/>
                  <a:gd name="connsiteX590" fmla="*/ 359374 w 420651"/>
                  <a:gd name="connsiteY590" fmla="*/ 455302 h 469320"/>
                  <a:gd name="connsiteX591" fmla="*/ 357346 w 420651"/>
                  <a:gd name="connsiteY591" fmla="*/ 453274 h 469320"/>
                  <a:gd name="connsiteX592" fmla="*/ 356200 w 420651"/>
                  <a:gd name="connsiteY592" fmla="*/ 453803 h 469320"/>
                  <a:gd name="connsiteX593" fmla="*/ 354437 w 420651"/>
                  <a:gd name="connsiteY593" fmla="*/ 452127 h 469320"/>
                  <a:gd name="connsiteX594" fmla="*/ 355848 w 420651"/>
                  <a:gd name="connsiteY594" fmla="*/ 450629 h 469320"/>
                  <a:gd name="connsiteX595" fmla="*/ 354966 w 420651"/>
                  <a:gd name="connsiteY595" fmla="*/ 448865 h 469320"/>
                  <a:gd name="connsiteX596" fmla="*/ 354437 w 420651"/>
                  <a:gd name="connsiteY596" fmla="*/ 447984 h 469320"/>
                  <a:gd name="connsiteX597" fmla="*/ 354437 w 420651"/>
                  <a:gd name="connsiteY597" fmla="*/ 445427 h 469320"/>
                  <a:gd name="connsiteX598" fmla="*/ 352409 w 420651"/>
                  <a:gd name="connsiteY598" fmla="*/ 443663 h 469320"/>
                  <a:gd name="connsiteX599" fmla="*/ 350646 w 420651"/>
                  <a:gd name="connsiteY599" fmla="*/ 443928 h 469320"/>
                  <a:gd name="connsiteX600" fmla="*/ 348265 w 420651"/>
                  <a:gd name="connsiteY600" fmla="*/ 442429 h 469320"/>
                  <a:gd name="connsiteX601" fmla="*/ 347472 w 420651"/>
                  <a:gd name="connsiteY601" fmla="*/ 443663 h 469320"/>
                  <a:gd name="connsiteX602" fmla="*/ 346854 w 420651"/>
                  <a:gd name="connsiteY602" fmla="*/ 442164 h 469320"/>
                  <a:gd name="connsiteX603" fmla="*/ 343680 w 420651"/>
                  <a:gd name="connsiteY603" fmla="*/ 442164 h 469320"/>
                  <a:gd name="connsiteX604" fmla="*/ 343945 w 420651"/>
                  <a:gd name="connsiteY604" fmla="*/ 440666 h 469320"/>
                  <a:gd name="connsiteX605" fmla="*/ 341036 w 420651"/>
                  <a:gd name="connsiteY605" fmla="*/ 438990 h 469320"/>
                  <a:gd name="connsiteX606" fmla="*/ 341036 w 420651"/>
                  <a:gd name="connsiteY606" fmla="*/ 440666 h 469320"/>
                  <a:gd name="connsiteX607" fmla="*/ 339272 w 420651"/>
                  <a:gd name="connsiteY607" fmla="*/ 440666 h 469320"/>
                  <a:gd name="connsiteX608" fmla="*/ 336892 w 420651"/>
                  <a:gd name="connsiteY608" fmla="*/ 440401 h 469320"/>
                  <a:gd name="connsiteX609" fmla="*/ 336363 w 420651"/>
                  <a:gd name="connsiteY609" fmla="*/ 439519 h 469320"/>
                  <a:gd name="connsiteX610" fmla="*/ 334864 w 420651"/>
                  <a:gd name="connsiteY610" fmla="*/ 438109 h 469320"/>
                  <a:gd name="connsiteX611" fmla="*/ 334864 w 420651"/>
                  <a:gd name="connsiteY611" fmla="*/ 436081 h 469320"/>
                  <a:gd name="connsiteX612" fmla="*/ 333982 w 420651"/>
                  <a:gd name="connsiteY612" fmla="*/ 434847 h 469320"/>
                  <a:gd name="connsiteX613" fmla="*/ 333453 w 420651"/>
                  <a:gd name="connsiteY613" fmla="*/ 431937 h 469320"/>
                  <a:gd name="connsiteX614" fmla="*/ 328427 w 420651"/>
                  <a:gd name="connsiteY614" fmla="*/ 427617 h 469320"/>
                  <a:gd name="connsiteX615" fmla="*/ 328163 w 420651"/>
                  <a:gd name="connsiteY615" fmla="*/ 423208 h 469320"/>
                  <a:gd name="connsiteX616" fmla="*/ 327281 w 420651"/>
                  <a:gd name="connsiteY616" fmla="*/ 422062 h 469320"/>
                  <a:gd name="connsiteX617" fmla="*/ 326400 w 420651"/>
                  <a:gd name="connsiteY617" fmla="*/ 422591 h 469320"/>
                  <a:gd name="connsiteX618" fmla="*/ 323490 w 420651"/>
                  <a:gd name="connsiteY618" fmla="*/ 423208 h 469320"/>
                  <a:gd name="connsiteX619" fmla="*/ 323843 w 420651"/>
                  <a:gd name="connsiteY619" fmla="*/ 425589 h 469320"/>
                  <a:gd name="connsiteX620" fmla="*/ 322608 w 420651"/>
                  <a:gd name="connsiteY620" fmla="*/ 426999 h 469320"/>
                  <a:gd name="connsiteX621" fmla="*/ 322608 w 420651"/>
                  <a:gd name="connsiteY621" fmla="*/ 429380 h 469320"/>
                  <a:gd name="connsiteX622" fmla="*/ 320845 w 420651"/>
                  <a:gd name="connsiteY622" fmla="*/ 431672 h 469320"/>
                  <a:gd name="connsiteX623" fmla="*/ 318288 w 420651"/>
                  <a:gd name="connsiteY623" fmla="*/ 431672 h 469320"/>
                  <a:gd name="connsiteX624" fmla="*/ 316525 w 420651"/>
                  <a:gd name="connsiteY624" fmla="*/ 433700 h 469320"/>
                  <a:gd name="connsiteX625" fmla="*/ 315643 w 420651"/>
                  <a:gd name="connsiteY625" fmla="*/ 431937 h 469320"/>
                  <a:gd name="connsiteX626" fmla="*/ 311852 w 420651"/>
                  <a:gd name="connsiteY626" fmla="*/ 431672 h 469320"/>
                  <a:gd name="connsiteX627" fmla="*/ 311852 w 420651"/>
                  <a:gd name="connsiteY627" fmla="*/ 430262 h 469320"/>
                  <a:gd name="connsiteX628" fmla="*/ 308942 w 420651"/>
                  <a:gd name="connsiteY628" fmla="*/ 430262 h 469320"/>
                  <a:gd name="connsiteX629" fmla="*/ 308589 w 420651"/>
                  <a:gd name="connsiteY629" fmla="*/ 431408 h 469320"/>
                  <a:gd name="connsiteX630" fmla="*/ 306297 w 420651"/>
                  <a:gd name="connsiteY630" fmla="*/ 431408 h 469320"/>
                  <a:gd name="connsiteX631" fmla="*/ 305151 w 420651"/>
                  <a:gd name="connsiteY631" fmla="*/ 430262 h 469320"/>
                  <a:gd name="connsiteX632" fmla="*/ 300742 w 420651"/>
                  <a:gd name="connsiteY632" fmla="*/ 430262 h 469320"/>
                  <a:gd name="connsiteX633" fmla="*/ 300214 w 420651"/>
                  <a:gd name="connsiteY633" fmla="*/ 429380 h 469320"/>
                  <a:gd name="connsiteX634" fmla="*/ 298450 w 420651"/>
                  <a:gd name="connsiteY634" fmla="*/ 427617 h 469320"/>
                  <a:gd name="connsiteX635" fmla="*/ 295276 w 420651"/>
                  <a:gd name="connsiteY635" fmla="*/ 427617 h 469320"/>
                  <a:gd name="connsiteX636" fmla="*/ 293777 w 420651"/>
                  <a:gd name="connsiteY636" fmla="*/ 427352 h 469320"/>
                  <a:gd name="connsiteX637" fmla="*/ 292543 w 420651"/>
                  <a:gd name="connsiteY637" fmla="*/ 428146 h 469320"/>
                  <a:gd name="connsiteX638" fmla="*/ 290868 w 420651"/>
                  <a:gd name="connsiteY638" fmla="*/ 426382 h 469320"/>
                  <a:gd name="connsiteX639" fmla="*/ 288222 w 420651"/>
                  <a:gd name="connsiteY639" fmla="*/ 424354 h 469320"/>
                  <a:gd name="connsiteX640" fmla="*/ 287958 w 420651"/>
                  <a:gd name="connsiteY640" fmla="*/ 422591 h 469320"/>
                  <a:gd name="connsiteX641" fmla="*/ 287341 w 420651"/>
                  <a:gd name="connsiteY641" fmla="*/ 420828 h 469320"/>
                  <a:gd name="connsiteX642" fmla="*/ 288487 w 420651"/>
                  <a:gd name="connsiteY642" fmla="*/ 417389 h 469320"/>
                  <a:gd name="connsiteX643" fmla="*/ 289721 w 420651"/>
                  <a:gd name="connsiteY643" fmla="*/ 416772 h 469320"/>
                  <a:gd name="connsiteX644" fmla="*/ 289721 w 420651"/>
                  <a:gd name="connsiteY644" fmla="*/ 415097 h 469320"/>
                  <a:gd name="connsiteX645" fmla="*/ 286195 w 420651"/>
                  <a:gd name="connsiteY645" fmla="*/ 416507 h 469320"/>
                  <a:gd name="connsiteX646" fmla="*/ 281169 w 420651"/>
                  <a:gd name="connsiteY646" fmla="*/ 416772 h 469320"/>
                  <a:gd name="connsiteX647" fmla="*/ 277113 w 420651"/>
                  <a:gd name="connsiteY647" fmla="*/ 418535 h 469320"/>
                  <a:gd name="connsiteX648" fmla="*/ 275350 w 420651"/>
                  <a:gd name="connsiteY648" fmla="*/ 418535 h 469320"/>
                  <a:gd name="connsiteX649" fmla="*/ 273322 w 420651"/>
                  <a:gd name="connsiteY649" fmla="*/ 420563 h 469320"/>
                  <a:gd name="connsiteX650" fmla="*/ 271647 w 420651"/>
                  <a:gd name="connsiteY650" fmla="*/ 422326 h 469320"/>
                  <a:gd name="connsiteX651" fmla="*/ 268914 w 420651"/>
                  <a:gd name="connsiteY651" fmla="*/ 422326 h 469320"/>
                  <a:gd name="connsiteX652" fmla="*/ 267238 w 420651"/>
                  <a:gd name="connsiteY652" fmla="*/ 421798 h 469320"/>
                  <a:gd name="connsiteX653" fmla="*/ 265740 w 420651"/>
                  <a:gd name="connsiteY653" fmla="*/ 419682 h 469320"/>
                  <a:gd name="connsiteX654" fmla="*/ 264858 w 420651"/>
                  <a:gd name="connsiteY654" fmla="*/ 418271 h 469320"/>
                  <a:gd name="connsiteX655" fmla="*/ 266886 w 420651"/>
                  <a:gd name="connsiteY655" fmla="*/ 418006 h 469320"/>
                  <a:gd name="connsiteX656" fmla="*/ 268120 w 420651"/>
                  <a:gd name="connsiteY656" fmla="*/ 417125 h 469320"/>
                  <a:gd name="connsiteX657" fmla="*/ 266621 w 420651"/>
                  <a:gd name="connsiteY657" fmla="*/ 411570 h 469320"/>
                  <a:gd name="connsiteX658" fmla="*/ 264593 w 420651"/>
                  <a:gd name="connsiteY658" fmla="*/ 410688 h 469320"/>
                  <a:gd name="connsiteX659" fmla="*/ 261067 w 420651"/>
                  <a:gd name="connsiteY659" fmla="*/ 410688 h 469320"/>
                  <a:gd name="connsiteX660" fmla="*/ 261948 w 420651"/>
                  <a:gd name="connsiteY660" fmla="*/ 409542 h 469320"/>
                  <a:gd name="connsiteX661" fmla="*/ 260802 w 420651"/>
                  <a:gd name="connsiteY661" fmla="*/ 408925 h 469320"/>
                  <a:gd name="connsiteX662" fmla="*/ 259656 w 420651"/>
                  <a:gd name="connsiteY662" fmla="*/ 407426 h 469320"/>
                  <a:gd name="connsiteX663" fmla="*/ 256747 w 420651"/>
                  <a:gd name="connsiteY663" fmla="*/ 406897 h 469320"/>
                  <a:gd name="connsiteX664" fmla="*/ 255248 w 420651"/>
                  <a:gd name="connsiteY664" fmla="*/ 407426 h 469320"/>
                  <a:gd name="connsiteX665" fmla="*/ 255248 w 420651"/>
                  <a:gd name="connsiteY665" fmla="*/ 408661 h 469320"/>
                  <a:gd name="connsiteX666" fmla="*/ 254366 w 420651"/>
                  <a:gd name="connsiteY666" fmla="*/ 410071 h 469320"/>
                  <a:gd name="connsiteX667" fmla="*/ 252603 w 420651"/>
                  <a:gd name="connsiteY667" fmla="*/ 408308 h 469320"/>
                  <a:gd name="connsiteX668" fmla="*/ 250575 w 420651"/>
                  <a:gd name="connsiteY668" fmla="*/ 408661 h 469320"/>
                  <a:gd name="connsiteX669" fmla="*/ 246254 w 420651"/>
                  <a:gd name="connsiteY669" fmla="*/ 407426 h 469320"/>
                  <a:gd name="connsiteX670" fmla="*/ 243874 w 420651"/>
                  <a:gd name="connsiteY670" fmla="*/ 408043 h 469320"/>
                  <a:gd name="connsiteX671" fmla="*/ 240964 w 420651"/>
                  <a:gd name="connsiteY671" fmla="*/ 410071 h 469320"/>
                  <a:gd name="connsiteX672" fmla="*/ 238936 w 420651"/>
                  <a:gd name="connsiteY672" fmla="*/ 410071 h 469320"/>
                  <a:gd name="connsiteX673" fmla="*/ 237438 w 420651"/>
                  <a:gd name="connsiteY673" fmla="*/ 410688 h 469320"/>
                  <a:gd name="connsiteX674" fmla="*/ 234792 w 420651"/>
                  <a:gd name="connsiteY674" fmla="*/ 410688 h 469320"/>
                  <a:gd name="connsiteX675" fmla="*/ 233117 w 420651"/>
                  <a:gd name="connsiteY675" fmla="*/ 409807 h 469320"/>
                  <a:gd name="connsiteX676" fmla="*/ 231354 w 420651"/>
                  <a:gd name="connsiteY676" fmla="*/ 410688 h 469320"/>
                  <a:gd name="connsiteX677" fmla="*/ 229855 w 420651"/>
                  <a:gd name="connsiteY677" fmla="*/ 410688 h 469320"/>
                  <a:gd name="connsiteX678" fmla="*/ 228092 w 420651"/>
                  <a:gd name="connsiteY678" fmla="*/ 409807 h 469320"/>
                  <a:gd name="connsiteX679" fmla="*/ 226064 w 420651"/>
                  <a:gd name="connsiteY679" fmla="*/ 409807 h 469320"/>
                  <a:gd name="connsiteX680" fmla="*/ 224300 w 420651"/>
                  <a:gd name="connsiteY680" fmla="*/ 410688 h 469320"/>
                  <a:gd name="connsiteX681" fmla="*/ 221126 w 420651"/>
                  <a:gd name="connsiteY681" fmla="*/ 412099 h 469320"/>
                  <a:gd name="connsiteX682" fmla="*/ 219716 w 420651"/>
                  <a:gd name="connsiteY682" fmla="*/ 413333 h 469320"/>
                  <a:gd name="connsiteX683" fmla="*/ 218746 w 420651"/>
                  <a:gd name="connsiteY683" fmla="*/ 415097 h 469320"/>
                  <a:gd name="connsiteX684" fmla="*/ 217600 w 420651"/>
                  <a:gd name="connsiteY684" fmla="*/ 415097 h 469320"/>
                  <a:gd name="connsiteX685" fmla="*/ 218217 w 420651"/>
                  <a:gd name="connsiteY685" fmla="*/ 412716 h 469320"/>
                  <a:gd name="connsiteX686" fmla="*/ 219363 w 420651"/>
                  <a:gd name="connsiteY686" fmla="*/ 409807 h 469320"/>
                  <a:gd name="connsiteX687" fmla="*/ 218217 w 420651"/>
                  <a:gd name="connsiteY687" fmla="*/ 408043 h 469320"/>
                  <a:gd name="connsiteX688" fmla="*/ 218481 w 420651"/>
                  <a:gd name="connsiteY688" fmla="*/ 407162 h 469320"/>
                  <a:gd name="connsiteX689" fmla="*/ 217952 w 420651"/>
                  <a:gd name="connsiteY689" fmla="*/ 404869 h 469320"/>
                  <a:gd name="connsiteX690" fmla="*/ 218481 w 420651"/>
                  <a:gd name="connsiteY690" fmla="*/ 403723 h 469320"/>
                  <a:gd name="connsiteX691" fmla="*/ 220509 w 420651"/>
                  <a:gd name="connsiteY691" fmla="*/ 403106 h 469320"/>
                  <a:gd name="connsiteX692" fmla="*/ 220862 w 420651"/>
                  <a:gd name="connsiteY692" fmla="*/ 401078 h 469320"/>
                  <a:gd name="connsiteX693" fmla="*/ 221126 w 420651"/>
                  <a:gd name="connsiteY693" fmla="*/ 396140 h 469320"/>
                  <a:gd name="connsiteX694" fmla="*/ 220509 w 420651"/>
                  <a:gd name="connsiteY694" fmla="*/ 394642 h 469320"/>
                  <a:gd name="connsiteX695" fmla="*/ 221391 w 420651"/>
                  <a:gd name="connsiteY695" fmla="*/ 392614 h 469320"/>
                  <a:gd name="connsiteX696" fmla="*/ 219980 w 420651"/>
                  <a:gd name="connsiteY696" fmla="*/ 390233 h 469320"/>
                  <a:gd name="connsiteX697" fmla="*/ 219098 w 420651"/>
                  <a:gd name="connsiteY697" fmla="*/ 387941 h 469320"/>
                  <a:gd name="connsiteX698" fmla="*/ 217952 w 420651"/>
                  <a:gd name="connsiteY698" fmla="*/ 384679 h 469320"/>
                  <a:gd name="connsiteX699" fmla="*/ 217952 w 420651"/>
                  <a:gd name="connsiteY699" fmla="*/ 383532 h 469320"/>
                  <a:gd name="connsiteX700" fmla="*/ 218746 w 420651"/>
                  <a:gd name="connsiteY700" fmla="*/ 382651 h 469320"/>
                  <a:gd name="connsiteX701" fmla="*/ 216718 w 420651"/>
                  <a:gd name="connsiteY701" fmla="*/ 381505 h 469320"/>
                  <a:gd name="connsiteX702" fmla="*/ 216189 w 420651"/>
                  <a:gd name="connsiteY702" fmla="*/ 380094 h 469320"/>
                  <a:gd name="connsiteX703" fmla="*/ 214955 w 420651"/>
                  <a:gd name="connsiteY703" fmla="*/ 378595 h 469320"/>
                  <a:gd name="connsiteX704" fmla="*/ 213808 w 420651"/>
                  <a:gd name="connsiteY704" fmla="*/ 378860 h 469320"/>
                  <a:gd name="connsiteX705" fmla="*/ 213808 w 420651"/>
                  <a:gd name="connsiteY705" fmla="*/ 376832 h 469320"/>
                  <a:gd name="connsiteX706" fmla="*/ 212133 w 420651"/>
                  <a:gd name="connsiteY706" fmla="*/ 376215 h 469320"/>
                  <a:gd name="connsiteX707" fmla="*/ 211516 w 420651"/>
                  <a:gd name="connsiteY707" fmla="*/ 374539 h 469320"/>
                  <a:gd name="connsiteX708" fmla="*/ 210899 w 420651"/>
                  <a:gd name="connsiteY708" fmla="*/ 371894 h 469320"/>
                  <a:gd name="connsiteX709" fmla="*/ 209753 w 420651"/>
                  <a:gd name="connsiteY709" fmla="*/ 368720 h 469320"/>
                  <a:gd name="connsiteX710" fmla="*/ 211516 w 420651"/>
                  <a:gd name="connsiteY710" fmla="*/ 364047 h 469320"/>
                  <a:gd name="connsiteX711" fmla="*/ 211781 w 420651"/>
                  <a:gd name="connsiteY711" fmla="*/ 361402 h 469320"/>
                  <a:gd name="connsiteX712" fmla="*/ 212398 w 420651"/>
                  <a:gd name="connsiteY712" fmla="*/ 357875 h 469320"/>
                  <a:gd name="connsiteX713" fmla="*/ 211516 w 420651"/>
                  <a:gd name="connsiteY713" fmla="*/ 355495 h 469320"/>
                  <a:gd name="connsiteX714" fmla="*/ 212398 w 420651"/>
                  <a:gd name="connsiteY714" fmla="*/ 352056 h 469320"/>
                  <a:gd name="connsiteX715" fmla="*/ 212662 w 420651"/>
                  <a:gd name="connsiteY715" fmla="*/ 349147 h 469320"/>
                  <a:gd name="connsiteX716" fmla="*/ 213544 w 420651"/>
                  <a:gd name="connsiteY716" fmla="*/ 349147 h 469320"/>
                  <a:gd name="connsiteX717" fmla="*/ 213544 w 420651"/>
                  <a:gd name="connsiteY717" fmla="*/ 347119 h 469320"/>
                  <a:gd name="connsiteX718" fmla="*/ 213544 w 420651"/>
                  <a:gd name="connsiteY718" fmla="*/ 345620 h 469320"/>
                  <a:gd name="connsiteX719" fmla="*/ 212927 w 420651"/>
                  <a:gd name="connsiteY719" fmla="*/ 343592 h 469320"/>
                  <a:gd name="connsiteX720" fmla="*/ 213544 w 420651"/>
                  <a:gd name="connsiteY720" fmla="*/ 341300 h 469320"/>
                  <a:gd name="connsiteX721" fmla="*/ 212398 w 420651"/>
                  <a:gd name="connsiteY721" fmla="*/ 340683 h 469320"/>
                  <a:gd name="connsiteX722" fmla="*/ 211781 w 420651"/>
                  <a:gd name="connsiteY722" fmla="*/ 337156 h 469320"/>
                  <a:gd name="connsiteX723" fmla="*/ 210899 w 420651"/>
                  <a:gd name="connsiteY723" fmla="*/ 336274 h 469320"/>
                  <a:gd name="connsiteX724" fmla="*/ 210634 w 420651"/>
                  <a:gd name="connsiteY724" fmla="*/ 335128 h 469320"/>
                  <a:gd name="connsiteX725" fmla="*/ 210017 w 420651"/>
                  <a:gd name="connsiteY725" fmla="*/ 333365 h 469320"/>
                  <a:gd name="connsiteX726" fmla="*/ 209753 w 420651"/>
                  <a:gd name="connsiteY726" fmla="*/ 331601 h 469320"/>
                  <a:gd name="connsiteX727" fmla="*/ 209753 w 420651"/>
                  <a:gd name="connsiteY727" fmla="*/ 329573 h 469320"/>
                  <a:gd name="connsiteX728" fmla="*/ 210017 w 420651"/>
                  <a:gd name="connsiteY728" fmla="*/ 327545 h 469320"/>
                  <a:gd name="connsiteX729" fmla="*/ 213279 w 420651"/>
                  <a:gd name="connsiteY729" fmla="*/ 322608 h 469320"/>
                  <a:gd name="connsiteX730" fmla="*/ 212927 w 420651"/>
                  <a:gd name="connsiteY730" fmla="*/ 321462 h 469320"/>
                  <a:gd name="connsiteX731" fmla="*/ 213279 w 420651"/>
                  <a:gd name="connsiteY731" fmla="*/ 320580 h 469320"/>
                  <a:gd name="connsiteX732" fmla="*/ 212133 w 420651"/>
                  <a:gd name="connsiteY732" fmla="*/ 319699 h 469320"/>
                  <a:gd name="connsiteX733" fmla="*/ 212133 w 420651"/>
                  <a:gd name="connsiteY733" fmla="*/ 318552 h 469320"/>
                  <a:gd name="connsiteX734" fmla="*/ 211252 w 420651"/>
                  <a:gd name="connsiteY734" fmla="*/ 318200 h 469320"/>
                  <a:gd name="connsiteX735" fmla="*/ 210634 w 420651"/>
                  <a:gd name="connsiteY735" fmla="*/ 315555 h 469320"/>
                  <a:gd name="connsiteX736" fmla="*/ 183214 w 420651"/>
                  <a:gd name="connsiteY736" fmla="*/ 315555 h 469320"/>
                  <a:gd name="connsiteX737" fmla="*/ 183478 w 420651"/>
                  <a:gd name="connsiteY737" fmla="*/ 312645 h 469320"/>
                  <a:gd name="connsiteX738" fmla="*/ 184096 w 420651"/>
                  <a:gd name="connsiteY738" fmla="*/ 310000 h 469320"/>
                  <a:gd name="connsiteX739" fmla="*/ 184977 w 420651"/>
                  <a:gd name="connsiteY739" fmla="*/ 306562 h 469320"/>
                  <a:gd name="connsiteX740" fmla="*/ 178805 w 420651"/>
                  <a:gd name="connsiteY740" fmla="*/ 306562 h 469320"/>
                  <a:gd name="connsiteX741" fmla="*/ 177660 w 420651"/>
                  <a:gd name="connsiteY741" fmla="*/ 308589 h 469320"/>
                  <a:gd name="connsiteX742" fmla="*/ 161613 w 420651"/>
                  <a:gd name="connsiteY742" fmla="*/ 308325 h 469320"/>
                  <a:gd name="connsiteX743" fmla="*/ 161613 w 420651"/>
                  <a:gd name="connsiteY743" fmla="*/ 309471 h 469320"/>
                  <a:gd name="connsiteX744" fmla="*/ 160202 w 420651"/>
                  <a:gd name="connsiteY744" fmla="*/ 312381 h 469320"/>
                  <a:gd name="connsiteX745" fmla="*/ 159232 w 420651"/>
                  <a:gd name="connsiteY745" fmla="*/ 314144 h 469320"/>
                  <a:gd name="connsiteX746" fmla="*/ 159849 w 420651"/>
                  <a:gd name="connsiteY746" fmla="*/ 317053 h 469320"/>
                  <a:gd name="connsiteX747" fmla="*/ 161348 w 420651"/>
                  <a:gd name="connsiteY747" fmla="*/ 321462 h 469320"/>
                  <a:gd name="connsiteX748" fmla="*/ 159585 w 420651"/>
                  <a:gd name="connsiteY748" fmla="*/ 320845 h 469320"/>
                  <a:gd name="connsiteX749" fmla="*/ 159849 w 420651"/>
                  <a:gd name="connsiteY749" fmla="*/ 322873 h 469320"/>
                  <a:gd name="connsiteX750" fmla="*/ 157557 w 420651"/>
                  <a:gd name="connsiteY750" fmla="*/ 323137 h 469320"/>
                  <a:gd name="connsiteX751" fmla="*/ 158086 w 420651"/>
                  <a:gd name="connsiteY751" fmla="*/ 325253 h 469320"/>
                  <a:gd name="connsiteX752" fmla="*/ 156675 w 420651"/>
                  <a:gd name="connsiteY752" fmla="*/ 330455 h 469320"/>
                  <a:gd name="connsiteX753" fmla="*/ 157204 w 420651"/>
                  <a:gd name="connsiteY753" fmla="*/ 333365 h 469320"/>
                  <a:gd name="connsiteX754" fmla="*/ 145302 w 420651"/>
                  <a:gd name="connsiteY754" fmla="*/ 333365 h 469320"/>
                  <a:gd name="connsiteX755" fmla="*/ 144684 w 420651"/>
                  <a:gd name="connsiteY755" fmla="*/ 332218 h 469320"/>
                  <a:gd name="connsiteX756" fmla="*/ 143274 w 420651"/>
                  <a:gd name="connsiteY756" fmla="*/ 331601 h 469320"/>
                  <a:gd name="connsiteX757" fmla="*/ 140011 w 420651"/>
                  <a:gd name="connsiteY757" fmla="*/ 331601 h 469320"/>
                  <a:gd name="connsiteX758" fmla="*/ 138865 w 420651"/>
                  <a:gd name="connsiteY758" fmla="*/ 333365 h 469320"/>
                  <a:gd name="connsiteX759" fmla="*/ 136573 w 420651"/>
                  <a:gd name="connsiteY759" fmla="*/ 333365 h 469320"/>
                  <a:gd name="connsiteX760" fmla="*/ 135691 w 420651"/>
                  <a:gd name="connsiteY760" fmla="*/ 333982 h 469320"/>
                  <a:gd name="connsiteX761" fmla="*/ 134810 w 420651"/>
                  <a:gd name="connsiteY761" fmla="*/ 333365 h 469320"/>
                  <a:gd name="connsiteX762" fmla="*/ 131547 w 420651"/>
                  <a:gd name="connsiteY762" fmla="*/ 333365 h 469320"/>
                  <a:gd name="connsiteX763" fmla="*/ 129519 w 420651"/>
                  <a:gd name="connsiteY763" fmla="*/ 334599 h 469320"/>
                  <a:gd name="connsiteX764" fmla="*/ 129519 w 420651"/>
                  <a:gd name="connsiteY764" fmla="*/ 336010 h 469320"/>
                  <a:gd name="connsiteX765" fmla="*/ 127756 w 420651"/>
                  <a:gd name="connsiteY765" fmla="*/ 336010 h 469320"/>
                  <a:gd name="connsiteX766" fmla="*/ 127227 w 420651"/>
                  <a:gd name="connsiteY766" fmla="*/ 334599 h 469320"/>
                  <a:gd name="connsiteX767" fmla="*/ 123700 w 420651"/>
                  <a:gd name="connsiteY767" fmla="*/ 334599 h 469320"/>
                  <a:gd name="connsiteX768" fmla="*/ 122819 w 420651"/>
                  <a:gd name="connsiteY768" fmla="*/ 335745 h 469320"/>
                  <a:gd name="connsiteX769" fmla="*/ 121408 w 420651"/>
                  <a:gd name="connsiteY769" fmla="*/ 335128 h 469320"/>
                  <a:gd name="connsiteX770" fmla="*/ 119380 w 420651"/>
                  <a:gd name="connsiteY770" fmla="*/ 336010 h 469320"/>
                  <a:gd name="connsiteX771" fmla="*/ 118146 w 420651"/>
                  <a:gd name="connsiteY771" fmla="*/ 335745 h 469320"/>
                  <a:gd name="connsiteX772" fmla="*/ 118498 w 420651"/>
                  <a:gd name="connsiteY772" fmla="*/ 334599 h 469320"/>
                  <a:gd name="connsiteX773" fmla="*/ 117264 w 420651"/>
                  <a:gd name="connsiteY773" fmla="*/ 334599 h 469320"/>
                  <a:gd name="connsiteX774" fmla="*/ 117264 w 420651"/>
                  <a:gd name="connsiteY774" fmla="*/ 333717 h 469320"/>
                  <a:gd name="connsiteX775" fmla="*/ 115853 w 420651"/>
                  <a:gd name="connsiteY775" fmla="*/ 333100 h 469320"/>
                  <a:gd name="connsiteX776" fmla="*/ 116382 w 420651"/>
                  <a:gd name="connsiteY776" fmla="*/ 331954 h 469320"/>
                  <a:gd name="connsiteX777" fmla="*/ 115236 w 420651"/>
                  <a:gd name="connsiteY777" fmla="*/ 331337 h 469320"/>
                  <a:gd name="connsiteX778" fmla="*/ 114619 w 420651"/>
                  <a:gd name="connsiteY778" fmla="*/ 330455 h 469320"/>
                  <a:gd name="connsiteX779" fmla="*/ 113825 w 420651"/>
                  <a:gd name="connsiteY779" fmla="*/ 330808 h 469320"/>
                  <a:gd name="connsiteX780" fmla="*/ 114090 w 420651"/>
                  <a:gd name="connsiteY780" fmla="*/ 329309 h 469320"/>
                  <a:gd name="connsiteX781" fmla="*/ 112944 w 420651"/>
                  <a:gd name="connsiteY781" fmla="*/ 328427 h 469320"/>
                  <a:gd name="connsiteX782" fmla="*/ 113208 w 420651"/>
                  <a:gd name="connsiteY782" fmla="*/ 326929 h 469320"/>
                  <a:gd name="connsiteX783" fmla="*/ 111709 w 420651"/>
                  <a:gd name="connsiteY783" fmla="*/ 327281 h 469320"/>
                  <a:gd name="connsiteX784" fmla="*/ 112062 w 420651"/>
                  <a:gd name="connsiteY784" fmla="*/ 325518 h 469320"/>
                  <a:gd name="connsiteX785" fmla="*/ 111180 w 420651"/>
                  <a:gd name="connsiteY785" fmla="*/ 323754 h 469320"/>
                  <a:gd name="connsiteX786" fmla="*/ 110563 w 420651"/>
                  <a:gd name="connsiteY786" fmla="*/ 323137 h 469320"/>
                  <a:gd name="connsiteX787" fmla="*/ 110563 w 420651"/>
                  <a:gd name="connsiteY787" fmla="*/ 322256 h 469320"/>
                  <a:gd name="connsiteX788" fmla="*/ 110034 w 420651"/>
                  <a:gd name="connsiteY788" fmla="*/ 321991 h 469320"/>
                  <a:gd name="connsiteX789" fmla="*/ 109417 w 420651"/>
                  <a:gd name="connsiteY789" fmla="*/ 321462 h 469320"/>
                  <a:gd name="connsiteX790" fmla="*/ 110299 w 420651"/>
                  <a:gd name="connsiteY790" fmla="*/ 320580 h 469320"/>
                  <a:gd name="connsiteX791" fmla="*/ 110563 w 420651"/>
                  <a:gd name="connsiteY791" fmla="*/ 319081 h 469320"/>
                  <a:gd name="connsiteX792" fmla="*/ 109152 w 420651"/>
                  <a:gd name="connsiteY792" fmla="*/ 318552 h 469320"/>
                  <a:gd name="connsiteX793" fmla="*/ 108800 w 420651"/>
                  <a:gd name="connsiteY793" fmla="*/ 318552 h 469320"/>
                  <a:gd name="connsiteX794" fmla="*/ 108535 w 420651"/>
                  <a:gd name="connsiteY794" fmla="*/ 320228 h 469320"/>
                  <a:gd name="connsiteX795" fmla="*/ 107654 w 420651"/>
                  <a:gd name="connsiteY795" fmla="*/ 318817 h 469320"/>
                  <a:gd name="connsiteX796" fmla="*/ 107654 w 420651"/>
                  <a:gd name="connsiteY796" fmla="*/ 317053 h 469320"/>
                  <a:gd name="connsiteX797" fmla="*/ 105890 w 420651"/>
                  <a:gd name="connsiteY797" fmla="*/ 315907 h 469320"/>
                  <a:gd name="connsiteX798" fmla="*/ 105626 w 420651"/>
                  <a:gd name="connsiteY798" fmla="*/ 315026 h 469320"/>
                  <a:gd name="connsiteX799" fmla="*/ 105626 w 420651"/>
                  <a:gd name="connsiteY799" fmla="*/ 313880 h 469320"/>
                  <a:gd name="connsiteX800" fmla="*/ 104480 w 420651"/>
                  <a:gd name="connsiteY800" fmla="*/ 312998 h 469320"/>
                  <a:gd name="connsiteX801" fmla="*/ 105361 w 420651"/>
                  <a:gd name="connsiteY801" fmla="*/ 312116 h 469320"/>
                  <a:gd name="connsiteX802" fmla="*/ 105890 w 420651"/>
                  <a:gd name="connsiteY802" fmla="*/ 311235 h 469320"/>
                  <a:gd name="connsiteX803" fmla="*/ 104744 w 420651"/>
                  <a:gd name="connsiteY803" fmla="*/ 310000 h 469320"/>
                  <a:gd name="connsiteX804" fmla="*/ 104744 w 420651"/>
                  <a:gd name="connsiteY804" fmla="*/ 308854 h 469320"/>
                  <a:gd name="connsiteX805" fmla="*/ 103598 w 420651"/>
                  <a:gd name="connsiteY805" fmla="*/ 307708 h 469320"/>
                  <a:gd name="connsiteX806" fmla="*/ 104127 w 420651"/>
                  <a:gd name="connsiteY806" fmla="*/ 305944 h 469320"/>
                  <a:gd name="connsiteX807" fmla="*/ 102981 w 420651"/>
                  <a:gd name="connsiteY807" fmla="*/ 304798 h 469320"/>
                  <a:gd name="connsiteX808" fmla="*/ 102981 w 420651"/>
                  <a:gd name="connsiteY808" fmla="*/ 303652 h 469320"/>
                  <a:gd name="connsiteX809" fmla="*/ 101570 w 420651"/>
                  <a:gd name="connsiteY809" fmla="*/ 302506 h 469320"/>
                  <a:gd name="connsiteX810" fmla="*/ 101570 w 420651"/>
                  <a:gd name="connsiteY810" fmla="*/ 301271 h 469320"/>
                  <a:gd name="connsiteX811" fmla="*/ 100953 w 420651"/>
                  <a:gd name="connsiteY811" fmla="*/ 298979 h 469320"/>
                  <a:gd name="connsiteX812" fmla="*/ 100424 w 420651"/>
                  <a:gd name="connsiteY812" fmla="*/ 297216 h 469320"/>
                  <a:gd name="connsiteX813" fmla="*/ 100688 w 420651"/>
                  <a:gd name="connsiteY813" fmla="*/ 294835 h 469320"/>
                  <a:gd name="connsiteX814" fmla="*/ 99189 w 420651"/>
                  <a:gd name="connsiteY814" fmla="*/ 292807 h 469320"/>
                  <a:gd name="connsiteX815" fmla="*/ 100688 w 420651"/>
                  <a:gd name="connsiteY815" fmla="*/ 292543 h 469320"/>
                  <a:gd name="connsiteX816" fmla="*/ 99807 w 420651"/>
                  <a:gd name="connsiteY816" fmla="*/ 291926 h 469320"/>
                  <a:gd name="connsiteX817" fmla="*/ 99189 w 420651"/>
                  <a:gd name="connsiteY817" fmla="*/ 290250 h 469320"/>
                  <a:gd name="connsiteX818" fmla="*/ 100071 w 420651"/>
                  <a:gd name="connsiteY818" fmla="*/ 289633 h 469320"/>
                  <a:gd name="connsiteX819" fmla="*/ 99807 w 420651"/>
                  <a:gd name="connsiteY819" fmla="*/ 287870 h 469320"/>
                  <a:gd name="connsiteX820" fmla="*/ 98925 w 420651"/>
                  <a:gd name="connsiteY820" fmla="*/ 286988 h 469320"/>
                  <a:gd name="connsiteX821" fmla="*/ 100071 w 420651"/>
                  <a:gd name="connsiteY821" fmla="*/ 286459 h 469320"/>
                  <a:gd name="connsiteX822" fmla="*/ 100071 w 420651"/>
                  <a:gd name="connsiteY822" fmla="*/ 285225 h 469320"/>
                  <a:gd name="connsiteX823" fmla="*/ 99189 w 420651"/>
                  <a:gd name="connsiteY823" fmla="*/ 283814 h 469320"/>
                  <a:gd name="connsiteX824" fmla="*/ 98925 w 420651"/>
                  <a:gd name="connsiteY824" fmla="*/ 282315 h 469320"/>
                  <a:gd name="connsiteX825" fmla="*/ 98308 w 420651"/>
                  <a:gd name="connsiteY825" fmla="*/ 280640 h 469320"/>
                  <a:gd name="connsiteX826" fmla="*/ 96633 w 420651"/>
                  <a:gd name="connsiteY826" fmla="*/ 279406 h 469320"/>
                  <a:gd name="connsiteX827" fmla="*/ 94252 w 420651"/>
                  <a:gd name="connsiteY827" fmla="*/ 281169 h 469320"/>
                  <a:gd name="connsiteX828" fmla="*/ 92753 w 420651"/>
                  <a:gd name="connsiteY828" fmla="*/ 281169 h 469320"/>
                  <a:gd name="connsiteX829" fmla="*/ 91078 w 420651"/>
                  <a:gd name="connsiteY829" fmla="*/ 279670 h 469320"/>
                  <a:gd name="connsiteX830" fmla="*/ 75560 w 420651"/>
                  <a:gd name="connsiteY830" fmla="*/ 280023 h 469320"/>
                  <a:gd name="connsiteX831" fmla="*/ 55193 w 420651"/>
                  <a:gd name="connsiteY831" fmla="*/ 280287 h 469320"/>
                  <a:gd name="connsiteX832" fmla="*/ 53078 w 420651"/>
                  <a:gd name="connsiteY832" fmla="*/ 281169 h 469320"/>
                  <a:gd name="connsiteX833" fmla="*/ 51050 w 420651"/>
                  <a:gd name="connsiteY833" fmla="*/ 280287 h 469320"/>
                  <a:gd name="connsiteX834" fmla="*/ 50168 w 420651"/>
                  <a:gd name="connsiteY834" fmla="*/ 281169 h 469320"/>
                  <a:gd name="connsiteX835" fmla="*/ 45495 w 420651"/>
                  <a:gd name="connsiteY835" fmla="*/ 280287 h 469320"/>
                  <a:gd name="connsiteX836" fmla="*/ 44084 w 420651"/>
                  <a:gd name="connsiteY836" fmla="*/ 280287 h 469320"/>
                  <a:gd name="connsiteX837" fmla="*/ 40558 w 420651"/>
                  <a:gd name="connsiteY837" fmla="*/ 280287 h 469320"/>
                  <a:gd name="connsiteX838" fmla="*/ 39411 w 420651"/>
                  <a:gd name="connsiteY838" fmla="*/ 279141 h 469320"/>
                  <a:gd name="connsiteX839" fmla="*/ 34738 w 420651"/>
                  <a:gd name="connsiteY839" fmla="*/ 280287 h 469320"/>
                  <a:gd name="connsiteX840" fmla="*/ 29536 w 420651"/>
                  <a:gd name="connsiteY840" fmla="*/ 280287 h 469320"/>
                  <a:gd name="connsiteX841" fmla="*/ 27773 w 420651"/>
                  <a:gd name="connsiteY841" fmla="*/ 280023 h 469320"/>
                  <a:gd name="connsiteX842" fmla="*/ 26627 w 420651"/>
                  <a:gd name="connsiteY842" fmla="*/ 280287 h 469320"/>
                  <a:gd name="connsiteX843" fmla="*/ 25128 w 420651"/>
                  <a:gd name="connsiteY843" fmla="*/ 280287 h 469320"/>
                  <a:gd name="connsiteX844" fmla="*/ 23982 w 420651"/>
                  <a:gd name="connsiteY844" fmla="*/ 280287 h 469320"/>
                  <a:gd name="connsiteX845" fmla="*/ 22483 w 420651"/>
                  <a:gd name="connsiteY845" fmla="*/ 279406 h 469320"/>
                  <a:gd name="connsiteX846" fmla="*/ 18956 w 420651"/>
                  <a:gd name="connsiteY846" fmla="*/ 279406 h 469320"/>
                  <a:gd name="connsiteX847" fmla="*/ 18427 w 420651"/>
                  <a:gd name="connsiteY847" fmla="*/ 279141 h 469320"/>
                  <a:gd name="connsiteX848" fmla="*/ 17546 w 420651"/>
                  <a:gd name="connsiteY848" fmla="*/ 279141 h 469320"/>
                  <a:gd name="connsiteX849" fmla="*/ 16928 w 420651"/>
                  <a:gd name="connsiteY849" fmla="*/ 278524 h 469320"/>
                  <a:gd name="connsiteX850" fmla="*/ 14284 w 420651"/>
                  <a:gd name="connsiteY850" fmla="*/ 278524 h 469320"/>
                  <a:gd name="connsiteX851" fmla="*/ 12256 w 420651"/>
                  <a:gd name="connsiteY851" fmla="*/ 279670 h 469320"/>
                  <a:gd name="connsiteX852" fmla="*/ 11109 w 420651"/>
                  <a:gd name="connsiteY852" fmla="*/ 282668 h 469320"/>
                  <a:gd name="connsiteX853" fmla="*/ 10228 w 420651"/>
                  <a:gd name="connsiteY853" fmla="*/ 282668 h 469320"/>
                  <a:gd name="connsiteX854" fmla="*/ 7935 w 420651"/>
                  <a:gd name="connsiteY854" fmla="*/ 282668 h 469320"/>
                  <a:gd name="connsiteX855" fmla="*/ 6436 w 420651"/>
                  <a:gd name="connsiteY855" fmla="*/ 283814 h 469320"/>
                  <a:gd name="connsiteX856" fmla="*/ 5290 w 420651"/>
                  <a:gd name="connsiteY856" fmla="*/ 283814 h 469320"/>
                  <a:gd name="connsiteX857" fmla="*/ 4673 w 420651"/>
                  <a:gd name="connsiteY857" fmla="*/ 283461 h 469320"/>
                  <a:gd name="connsiteX858" fmla="*/ 5290 w 420651"/>
                  <a:gd name="connsiteY858" fmla="*/ 282932 h 469320"/>
                  <a:gd name="connsiteX859" fmla="*/ 5290 w 420651"/>
                  <a:gd name="connsiteY859" fmla="*/ 282668 h 469320"/>
                  <a:gd name="connsiteX860" fmla="*/ 4144 w 420651"/>
                  <a:gd name="connsiteY860" fmla="*/ 282051 h 469320"/>
                  <a:gd name="connsiteX861" fmla="*/ 4144 w 420651"/>
                  <a:gd name="connsiteY861" fmla="*/ 282932 h 469320"/>
                  <a:gd name="connsiteX862" fmla="*/ 3527 w 420651"/>
                  <a:gd name="connsiteY862" fmla="*/ 282668 h 469320"/>
                  <a:gd name="connsiteX863" fmla="*/ 882 w 420651"/>
                  <a:gd name="connsiteY863" fmla="*/ 279141 h 469320"/>
                  <a:gd name="connsiteX864" fmla="*/ 0 w 420651"/>
                  <a:gd name="connsiteY864" fmla="*/ 278259 h 469320"/>
                  <a:gd name="connsiteX865" fmla="*/ 1499 w 420651"/>
                  <a:gd name="connsiteY865" fmla="*/ 276496 h 469320"/>
                  <a:gd name="connsiteX866" fmla="*/ 7583 w 420651"/>
                  <a:gd name="connsiteY866" fmla="*/ 276232 h 469320"/>
                  <a:gd name="connsiteX867" fmla="*/ 7583 w 420651"/>
                  <a:gd name="connsiteY867" fmla="*/ 261596 h 469320"/>
                  <a:gd name="connsiteX868" fmla="*/ 5819 w 420651"/>
                  <a:gd name="connsiteY868" fmla="*/ 261067 h 469320"/>
                  <a:gd name="connsiteX869" fmla="*/ 5819 w 420651"/>
                  <a:gd name="connsiteY869" fmla="*/ 259303 h 469320"/>
                  <a:gd name="connsiteX870" fmla="*/ 6789 w 420651"/>
                  <a:gd name="connsiteY870" fmla="*/ 259303 h 469320"/>
                  <a:gd name="connsiteX871" fmla="*/ 9081 w 420651"/>
                  <a:gd name="connsiteY871" fmla="*/ 258157 h 469320"/>
                  <a:gd name="connsiteX872" fmla="*/ 9699 w 420651"/>
                  <a:gd name="connsiteY872" fmla="*/ 256658 h 469320"/>
                  <a:gd name="connsiteX873" fmla="*/ 10845 w 420651"/>
                  <a:gd name="connsiteY873" fmla="*/ 256658 h 469320"/>
                  <a:gd name="connsiteX874" fmla="*/ 11109 w 420651"/>
                  <a:gd name="connsiteY874" fmla="*/ 255248 h 469320"/>
                  <a:gd name="connsiteX875" fmla="*/ 13137 w 420651"/>
                  <a:gd name="connsiteY875" fmla="*/ 254013 h 469320"/>
                  <a:gd name="connsiteX876" fmla="*/ 13137 w 420651"/>
                  <a:gd name="connsiteY876" fmla="*/ 253484 h 469320"/>
                  <a:gd name="connsiteX877" fmla="*/ 13490 w 420651"/>
                  <a:gd name="connsiteY877" fmla="*/ 251985 h 469320"/>
                  <a:gd name="connsiteX878" fmla="*/ 14284 w 420651"/>
                  <a:gd name="connsiteY878" fmla="*/ 251456 h 469320"/>
                  <a:gd name="connsiteX879" fmla="*/ 16047 w 420651"/>
                  <a:gd name="connsiteY879" fmla="*/ 251456 h 469320"/>
                  <a:gd name="connsiteX880" fmla="*/ 18427 w 420651"/>
                  <a:gd name="connsiteY880" fmla="*/ 250575 h 469320"/>
                  <a:gd name="connsiteX881" fmla="*/ 19309 w 420651"/>
                  <a:gd name="connsiteY881" fmla="*/ 250222 h 469320"/>
                  <a:gd name="connsiteX882" fmla="*/ 19838 w 420651"/>
                  <a:gd name="connsiteY882" fmla="*/ 250222 h 469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</a:cxnLst>
                <a:rect l="l" t="t" r="r" b="b"/>
                <a:pathLst>
                  <a:path w="420651" h="469320">
                    <a:moveTo>
                      <a:pt x="19838" y="249340"/>
                    </a:moveTo>
                    <a:lnTo>
                      <a:pt x="19838" y="247929"/>
                    </a:lnTo>
                    <a:lnTo>
                      <a:pt x="20191" y="247665"/>
                    </a:lnTo>
                    <a:lnTo>
                      <a:pt x="20455" y="247929"/>
                    </a:lnTo>
                    <a:lnTo>
                      <a:pt x="22219" y="249340"/>
                    </a:lnTo>
                    <a:lnTo>
                      <a:pt x="22219" y="250575"/>
                    </a:lnTo>
                    <a:lnTo>
                      <a:pt x="24246" y="252602"/>
                    </a:lnTo>
                    <a:lnTo>
                      <a:pt x="26274" y="252867"/>
                    </a:lnTo>
                    <a:lnTo>
                      <a:pt x="26274" y="254895"/>
                    </a:lnTo>
                    <a:lnTo>
                      <a:pt x="26892" y="255248"/>
                    </a:lnTo>
                    <a:lnTo>
                      <a:pt x="27421" y="254895"/>
                    </a:lnTo>
                    <a:lnTo>
                      <a:pt x="28919" y="253484"/>
                    </a:lnTo>
                    <a:lnTo>
                      <a:pt x="28655" y="252602"/>
                    </a:lnTo>
                    <a:lnTo>
                      <a:pt x="29536" y="252602"/>
                    </a:lnTo>
                    <a:lnTo>
                      <a:pt x="30683" y="252867"/>
                    </a:lnTo>
                    <a:lnTo>
                      <a:pt x="31212" y="252867"/>
                    </a:lnTo>
                    <a:lnTo>
                      <a:pt x="31564" y="251985"/>
                    </a:lnTo>
                    <a:lnTo>
                      <a:pt x="32975" y="251985"/>
                    </a:lnTo>
                    <a:lnTo>
                      <a:pt x="32975" y="250839"/>
                    </a:lnTo>
                    <a:lnTo>
                      <a:pt x="33857" y="250839"/>
                    </a:lnTo>
                    <a:lnTo>
                      <a:pt x="33857" y="249693"/>
                    </a:lnTo>
                    <a:lnTo>
                      <a:pt x="33857" y="246166"/>
                    </a:lnTo>
                    <a:lnTo>
                      <a:pt x="33857" y="244756"/>
                    </a:lnTo>
                    <a:lnTo>
                      <a:pt x="36149" y="243786"/>
                    </a:lnTo>
                    <a:lnTo>
                      <a:pt x="36502" y="244756"/>
                    </a:lnTo>
                    <a:lnTo>
                      <a:pt x="37384" y="245285"/>
                    </a:lnTo>
                    <a:lnTo>
                      <a:pt x="38794" y="245902"/>
                    </a:lnTo>
                    <a:lnTo>
                      <a:pt x="40293" y="244756"/>
                    </a:lnTo>
                    <a:lnTo>
                      <a:pt x="40293" y="244403"/>
                    </a:lnTo>
                    <a:lnTo>
                      <a:pt x="41175" y="243521"/>
                    </a:lnTo>
                    <a:lnTo>
                      <a:pt x="44084" y="242640"/>
                    </a:lnTo>
                    <a:lnTo>
                      <a:pt x="46729" y="241758"/>
                    </a:lnTo>
                    <a:lnTo>
                      <a:pt x="49022" y="240083"/>
                    </a:lnTo>
                    <a:lnTo>
                      <a:pt x="48493" y="242110"/>
                    </a:lnTo>
                    <a:lnTo>
                      <a:pt x="49903" y="243521"/>
                    </a:lnTo>
                    <a:lnTo>
                      <a:pt x="50521" y="244403"/>
                    </a:lnTo>
                    <a:lnTo>
                      <a:pt x="49639" y="246166"/>
                    </a:lnTo>
                    <a:lnTo>
                      <a:pt x="48493" y="246166"/>
                    </a:lnTo>
                    <a:lnTo>
                      <a:pt x="47876" y="247048"/>
                    </a:lnTo>
                    <a:lnTo>
                      <a:pt x="48140" y="249340"/>
                    </a:lnTo>
                    <a:lnTo>
                      <a:pt x="49639" y="250575"/>
                    </a:lnTo>
                    <a:lnTo>
                      <a:pt x="49022" y="252602"/>
                    </a:lnTo>
                    <a:lnTo>
                      <a:pt x="49639" y="252867"/>
                    </a:lnTo>
                    <a:lnTo>
                      <a:pt x="49022" y="254013"/>
                    </a:lnTo>
                    <a:lnTo>
                      <a:pt x="49022" y="255248"/>
                    </a:lnTo>
                    <a:lnTo>
                      <a:pt x="50168" y="254013"/>
                    </a:lnTo>
                    <a:lnTo>
                      <a:pt x="51667" y="254895"/>
                    </a:lnTo>
                    <a:lnTo>
                      <a:pt x="52813" y="255248"/>
                    </a:lnTo>
                    <a:lnTo>
                      <a:pt x="54576" y="256658"/>
                    </a:lnTo>
                    <a:lnTo>
                      <a:pt x="58103" y="254013"/>
                    </a:lnTo>
                    <a:lnTo>
                      <a:pt x="59866" y="249693"/>
                    </a:lnTo>
                    <a:lnTo>
                      <a:pt x="62423" y="247048"/>
                    </a:lnTo>
                    <a:lnTo>
                      <a:pt x="63922" y="245902"/>
                    </a:lnTo>
                    <a:lnTo>
                      <a:pt x="66215" y="242110"/>
                    </a:lnTo>
                    <a:lnTo>
                      <a:pt x="68859" y="240876"/>
                    </a:lnTo>
                    <a:lnTo>
                      <a:pt x="70887" y="240876"/>
                    </a:lnTo>
                    <a:lnTo>
                      <a:pt x="71769" y="240083"/>
                    </a:lnTo>
                    <a:lnTo>
                      <a:pt x="72915" y="239465"/>
                    </a:lnTo>
                    <a:lnTo>
                      <a:pt x="72915" y="236556"/>
                    </a:lnTo>
                    <a:lnTo>
                      <a:pt x="74150" y="234528"/>
                    </a:lnTo>
                    <a:lnTo>
                      <a:pt x="77324" y="233029"/>
                    </a:lnTo>
                    <a:lnTo>
                      <a:pt x="80586" y="232500"/>
                    </a:lnTo>
                    <a:lnTo>
                      <a:pt x="81997" y="231619"/>
                    </a:lnTo>
                    <a:lnTo>
                      <a:pt x="82878" y="229855"/>
                    </a:lnTo>
                    <a:lnTo>
                      <a:pt x="84289" y="225447"/>
                    </a:lnTo>
                    <a:lnTo>
                      <a:pt x="84906" y="224036"/>
                    </a:lnTo>
                    <a:lnTo>
                      <a:pt x="86405" y="223154"/>
                    </a:lnTo>
                    <a:lnTo>
                      <a:pt x="86934" y="219892"/>
                    </a:lnTo>
                    <a:lnTo>
                      <a:pt x="88168" y="218746"/>
                    </a:lnTo>
                    <a:lnTo>
                      <a:pt x="89579" y="216718"/>
                    </a:lnTo>
                    <a:lnTo>
                      <a:pt x="88962" y="215572"/>
                    </a:lnTo>
                    <a:lnTo>
                      <a:pt x="88168" y="214426"/>
                    </a:lnTo>
                    <a:lnTo>
                      <a:pt x="88168" y="213191"/>
                    </a:lnTo>
                    <a:lnTo>
                      <a:pt x="88168" y="212662"/>
                    </a:lnTo>
                    <a:lnTo>
                      <a:pt x="88168" y="208254"/>
                    </a:lnTo>
                    <a:lnTo>
                      <a:pt x="88168" y="205609"/>
                    </a:lnTo>
                    <a:lnTo>
                      <a:pt x="88168" y="200936"/>
                    </a:lnTo>
                    <a:lnTo>
                      <a:pt x="89579" y="200054"/>
                    </a:lnTo>
                    <a:lnTo>
                      <a:pt x="88168" y="193089"/>
                    </a:lnTo>
                    <a:lnTo>
                      <a:pt x="88168" y="189915"/>
                    </a:lnTo>
                    <a:lnTo>
                      <a:pt x="88168" y="187799"/>
                    </a:lnTo>
                    <a:lnTo>
                      <a:pt x="89579" y="186124"/>
                    </a:lnTo>
                    <a:lnTo>
                      <a:pt x="92489" y="183743"/>
                    </a:lnTo>
                    <a:lnTo>
                      <a:pt x="95751" y="180216"/>
                    </a:lnTo>
                    <a:lnTo>
                      <a:pt x="98660" y="174750"/>
                    </a:lnTo>
                    <a:lnTo>
                      <a:pt x="100953" y="169195"/>
                    </a:lnTo>
                    <a:lnTo>
                      <a:pt x="101835" y="166550"/>
                    </a:lnTo>
                    <a:lnTo>
                      <a:pt x="103333" y="164522"/>
                    </a:lnTo>
                    <a:lnTo>
                      <a:pt x="105361" y="162142"/>
                    </a:lnTo>
                    <a:lnTo>
                      <a:pt x="108800" y="160378"/>
                    </a:lnTo>
                    <a:lnTo>
                      <a:pt x="112062" y="159232"/>
                    </a:lnTo>
                    <a:lnTo>
                      <a:pt x="113473" y="158968"/>
                    </a:lnTo>
                    <a:lnTo>
                      <a:pt x="118146" y="153413"/>
                    </a:lnTo>
                    <a:lnTo>
                      <a:pt x="120791" y="149005"/>
                    </a:lnTo>
                    <a:lnTo>
                      <a:pt x="122290" y="146977"/>
                    </a:lnTo>
                    <a:lnTo>
                      <a:pt x="122819" y="142921"/>
                    </a:lnTo>
                    <a:lnTo>
                      <a:pt x="122290" y="139747"/>
                    </a:lnTo>
                    <a:lnTo>
                      <a:pt x="122290" y="137102"/>
                    </a:lnTo>
                    <a:lnTo>
                      <a:pt x="123700" y="130048"/>
                    </a:lnTo>
                    <a:lnTo>
                      <a:pt x="124846" y="128021"/>
                    </a:lnTo>
                    <a:lnTo>
                      <a:pt x="127227" y="125111"/>
                    </a:lnTo>
                    <a:lnTo>
                      <a:pt x="127492" y="122202"/>
                    </a:lnTo>
                    <a:lnTo>
                      <a:pt x="127227" y="121673"/>
                    </a:lnTo>
                    <a:lnTo>
                      <a:pt x="126081" y="119027"/>
                    </a:lnTo>
                    <a:lnTo>
                      <a:pt x="126081" y="116647"/>
                    </a:lnTo>
                    <a:lnTo>
                      <a:pt x="126081" y="113473"/>
                    </a:lnTo>
                    <a:lnTo>
                      <a:pt x="125464" y="109417"/>
                    </a:lnTo>
                    <a:lnTo>
                      <a:pt x="126081" y="107654"/>
                    </a:lnTo>
                    <a:lnTo>
                      <a:pt x="126963" y="105009"/>
                    </a:lnTo>
                    <a:lnTo>
                      <a:pt x="127756" y="102364"/>
                    </a:lnTo>
                    <a:lnTo>
                      <a:pt x="127756" y="100953"/>
                    </a:lnTo>
                    <a:lnTo>
                      <a:pt x="129519" y="95398"/>
                    </a:lnTo>
                    <a:lnTo>
                      <a:pt x="129519" y="90461"/>
                    </a:lnTo>
                    <a:lnTo>
                      <a:pt x="129519" y="87816"/>
                    </a:lnTo>
                    <a:lnTo>
                      <a:pt x="129519" y="85435"/>
                    </a:lnTo>
                    <a:lnTo>
                      <a:pt x="129519" y="82878"/>
                    </a:lnTo>
                    <a:lnTo>
                      <a:pt x="130401" y="80233"/>
                    </a:lnTo>
                    <a:lnTo>
                      <a:pt x="130401" y="78205"/>
                    </a:lnTo>
                    <a:lnTo>
                      <a:pt x="130401" y="76442"/>
                    </a:lnTo>
                    <a:lnTo>
                      <a:pt x="131900" y="75560"/>
                    </a:lnTo>
                    <a:lnTo>
                      <a:pt x="133046" y="73797"/>
                    </a:lnTo>
                    <a:lnTo>
                      <a:pt x="133046" y="71152"/>
                    </a:lnTo>
                    <a:lnTo>
                      <a:pt x="135074" y="69741"/>
                    </a:lnTo>
                    <a:lnTo>
                      <a:pt x="136220" y="68595"/>
                    </a:lnTo>
                    <a:lnTo>
                      <a:pt x="137102" y="65597"/>
                    </a:lnTo>
                    <a:lnTo>
                      <a:pt x="137719" y="63305"/>
                    </a:lnTo>
                    <a:lnTo>
                      <a:pt x="139130" y="59514"/>
                    </a:lnTo>
                    <a:lnTo>
                      <a:pt x="139747" y="56869"/>
                    </a:lnTo>
                    <a:lnTo>
                      <a:pt x="141246" y="55105"/>
                    </a:lnTo>
                    <a:lnTo>
                      <a:pt x="142392" y="53430"/>
                    </a:lnTo>
                    <a:lnTo>
                      <a:pt x="142128" y="52196"/>
                    </a:lnTo>
                    <a:lnTo>
                      <a:pt x="142392" y="50785"/>
                    </a:lnTo>
                    <a:lnTo>
                      <a:pt x="142128" y="46994"/>
                    </a:lnTo>
                    <a:lnTo>
                      <a:pt x="140893" y="40558"/>
                    </a:lnTo>
                    <a:lnTo>
                      <a:pt x="141246" y="37031"/>
                    </a:lnTo>
                    <a:lnTo>
                      <a:pt x="142128" y="34386"/>
                    </a:lnTo>
                    <a:lnTo>
                      <a:pt x="142128" y="33240"/>
                    </a:lnTo>
                    <a:lnTo>
                      <a:pt x="141775" y="30947"/>
                    </a:lnTo>
                    <a:lnTo>
                      <a:pt x="140893" y="28302"/>
                    </a:lnTo>
                    <a:lnTo>
                      <a:pt x="139482" y="26010"/>
                    </a:lnTo>
                    <a:lnTo>
                      <a:pt x="140893" y="24775"/>
                    </a:lnTo>
                    <a:lnTo>
                      <a:pt x="142128" y="25657"/>
                    </a:lnTo>
                    <a:lnTo>
                      <a:pt x="143274" y="24775"/>
                    </a:lnTo>
                    <a:lnTo>
                      <a:pt x="144420" y="24511"/>
                    </a:lnTo>
                    <a:lnTo>
                      <a:pt x="145566" y="22130"/>
                    </a:lnTo>
                    <a:lnTo>
                      <a:pt x="146183" y="20102"/>
                    </a:lnTo>
                    <a:lnTo>
                      <a:pt x="147330" y="18692"/>
                    </a:lnTo>
                    <a:lnTo>
                      <a:pt x="147594" y="17810"/>
                    </a:lnTo>
                    <a:lnTo>
                      <a:pt x="148476" y="17545"/>
                    </a:lnTo>
                    <a:lnTo>
                      <a:pt x="148740" y="15782"/>
                    </a:lnTo>
                    <a:lnTo>
                      <a:pt x="149622" y="15782"/>
                    </a:lnTo>
                    <a:lnTo>
                      <a:pt x="149975" y="14283"/>
                    </a:lnTo>
                    <a:lnTo>
                      <a:pt x="150856" y="13402"/>
                    </a:lnTo>
                    <a:lnTo>
                      <a:pt x="151385" y="11638"/>
                    </a:lnTo>
                    <a:lnTo>
                      <a:pt x="152267" y="10757"/>
                    </a:lnTo>
                    <a:lnTo>
                      <a:pt x="153766" y="10757"/>
                    </a:lnTo>
                    <a:lnTo>
                      <a:pt x="154295" y="9875"/>
                    </a:lnTo>
                    <a:lnTo>
                      <a:pt x="155176" y="9610"/>
                    </a:lnTo>
                    <a:lnTo>
                      <a:pt x="157822" y="6965"/>
                    </a:lnTo>
                    <a:lnTo>
                      <a:pt x="158968" y="5819"/>
                    </a:lnTo>
                    <a:lnTo>
                      <a:pt x="160731" y="5819"/>
                    </a:lnTo>
                    <a:lnTo>
                      <a:pt x="161613" y="5555"/>
                    </a:lnTo>
                    <a:lnTo>
                      <a:pt x="163112" y="5819"/>
                    </a:lnTo>
                    <a:lnTo>
                      <a:pt x="165668" y="5819"/>
                    </a:lnTo>
                    <a:lnTo>
                      <a:pt x="168049" y="6965"/>
                    </a:lnTo>
                    <a:lnTo>
                      <a:pt x="169195" y="9610"/>
                    </a:lnTo>
                    <a:lnTo>
                      <a:pt x="171840" y="9610"/>
                    </a:lnTo>
                    <a:lnTo>
                      <a:pt x="173604" y="11638"/>
                    </a:lnTo>
                    <a:lnTo>
                      <a:pt x="175632" y="12256"/>
                    </a:lnTo>
                    <a:lnTo>
                      <a:pt x="177042" y="14283"/>
                    </a:lnTo>
                    <a:lnTo>
                      <a:pt x="179423" y="15165"/>
                    </a:lnTo>
                    <a:lnTo>
                      <a:pt x="180569" y="17545"/>
                    </a:lnTo>
                    <a:lnTo>
                      <a:pt x="182068" y="18692"/>
                    </a:lnTo>
                    <a:lnTo>
                      <a:pt x="181451" y="20102"/>
                    </a:lnTo>
                    <a:lnTo>
                      <a:pt x="182068" y="21337"/>
                    </a:lnTo>
                    <a:lnTo>
                      <a:pt x="184713" y="23629"/>
                    </a:lnTo>
                    <a:lnTo>
                      <a:pt x="188769" y="23629"/>
                    </a:lnTo>
                    <a:lnTo>
                      <a:pt x="189915" y="22748"/>
                    </a:lnTo>
                    <a:lnTo>
                      <a:pt x="193089" y="22748"/>
                    </a:lnTo>
                    <a:lnTo>
                      <a:pt x="194852" y="24511"/>
                    </a:lnTo>
                    <a:lnTo>
                      <a:pt x="196351" y="26010"/>
                    </a:lnTo>
                    <a:lnTo>
                      <a:pt x="198379" y="26803"/>
                    </a:lnTo>
                    <a:lnTo>
                      <a:pt x="198908" y="26803"/>
                    </a:lnTo>
                    <a:lnTo>
                      <a:pt x="198908" y="26010"/>
                    </a:lnTo>
                    <a:lnTo>
                      <a:pt x="200142" y="26010"/>
                    </a:lnTo>
                    <a:lnTo>
                      <a:pt x="201553" y="26803"/>
                    </a:lnTo>
                    <a:lnTo>
                      <a:pt x="203934" y="26803"/>
                    </a:lnTo>
                    <a:lnTo>
                      <a:pt x="205344" y="28037"/>
                    </a:lnTo>
                    <a:lnTo>
                      <a:pt x="207989" y="26010"/>
                    </a:lnTo>
                    <a:lnTo>
                      <a:pt x="210634" y="26010"/>
                    </a:lnTo>
                    <a:lnTo>
                      <a:pt x="210899" y="26803"/>
                    </a:lnTo>
                    <a:lnTo>
                      <a:pt x="211781" y="26803"/>
                    </a:lnTo>
                    <a:lnTo>
                      <a:pt x="212927" y="28302"/>
                    </a:lnTo>
                    <a:lnTo>
                      <a:pt x="214690" y="28302"/>
                    </a:lnTo>
                    <a:lnTo>
                      <a:pt x="215925" y="28037"/>
                    </a:lnTo>
                    <a:lnTo>
                      <a:pt x="217952" y="28566"/>
                    </a:lnTo>
                    <a:lnTo>
                      <a:pt x="219980" y="30065"/>
                    </a:lnTo>
                    <a:lnTo>
                      <a:pt x="220245" y="30065"/>
                    </a:lnTo>
                    <a:lnTo>
                      <a:pt x="223154" y="30947"/>
                    </a:lnTo>
                    <a:lnTo>
                      <a:pt x="225535" y="30065"/>
                    </a:lnTo>
                    <a:lnTo>
                      <a:pt x="227563" y="28566"/>
                    </a:lnTo>
                    <a:lnTo>
                      <a:pt x="227563" y="26803"/>
                    </a:lnTo>
                    <a:lnTo>
                      <a:pt x="228973" y="26010"/>
                    </a:lnTo>
                    <a:lnTo>
                      <a:pt x="229326" y="24775"/>
                    </a:lnTo>
                    <a:lnTo>
                      <a:pt x="228709" y="23629"/>
                    </a:lnTo>
                    <a:lnTo>
                      <a:pt x="229326" y="22130"/>
                    </a:lnTo>
                    <a:lnTo>
                      <a:pt x="229326" y="21866"/>
                    </a:lnTo>
                    <a:lnTo>
                      <a:pt x="230737" y="21866"/>
                    </a:lnTo>
                    <a:lnTo>
                      <a:pt x="231090" y="20720"/>
                    </a:lnTo>
                    <a:lnTo>
                      <a:pt x="231619" y="20102"/>
                    </a:lnTo>
                    <a:lnTo>
                      <a:pt x="231971" y="18692"/>
                    </a:lnTo>
                    <a:lnTo>
                      <a:pt x="232235" y="17810"/>
                    </a:lnTo>
                    <a:lnTo>
                      <a:pt x="232765" y="15782"/>
                    </a:lnTo>
                    <a:lnTo>
                      <a:pt x="233382" y="15782"/>
                    </a:lnTo>
                    <a:lnTo>
                      <a:pt x="234263" y="16928"/>
                    </a:lnTo>
                    <a:lnTo>
                      <a:pt x="234792" y="15782"/>
                    </a:lnTo>
                    <a:lnTo>
                      <a:pt x="235145" y="15782"/>
                    </a:lnTo>
                    <a:lnTo>
                      <a:pt x="235145" y="13754"/>
                    </a:lnTo>
                    <a:lnTo>
                      <a:pt x="236291" y="13754"/>
                    </a:lnTo>
                    <a:lnTo>
                      <a:pt x="237173" y="13402"/>
                    </a:lnTo>
                    <a:lnTo>
                      <a:pt x="237438" y="13754"/>
                    </a:lnTo>
                    <a:lnTo>
                      <a:pt x="238319" y="15782"/>
                    </a:lnTo>
                    <a:lnTo>
                      <a:pt x="238936" y="15782"/>
                    </a:lnTo>
                    <a:lnTo>
                      <a:pt x="239818" y="15782"/>
                    </a:lnTo>
                    <a:lnTo>
                      <a:pt x="239818" y="16928"/>
                    </a:lnTo>
                    <a:lnTo>
                      <a:pt x="241229" y="15782"/>
                    </a:lnTo>
                    <a:lnTo>
                      <a:pt x="242992" y="17545"/>
                    </a:lnTo>
                    <a:lnTo>
                      <a:pt x="243609" y="17810"/>
                    </a:lnTo>
                    <a:lnTo>
                      <a:pt x="243609" y="18692"/>
                    </a:lnTo>
                    <a:lnTo>
                      <a:pt x="244138" y="18339"/>
                    </a:lnTo>
                    <a:lnTo>
                      <a:pt x="245020" y="18956"/>
                    </a:lnTo>
                    <a:lnTo>
                      <a:pt x="247665" y="19573"/>
                    </a:lnTo>
                    <a:lnTo>
                      <a:pt x="247665" y="17810"/>
                    </a:lnTo>
                    <a:lnTo>
                      <a:pt x="248811" y="17545"/>
                    </a:lnTo>
                    <a:lnTo>
                      <a:pt x="250575" y="15782"/>
                    </a:lnTo>
                    <a:lnTo>
                      <a:pt x="252867" y="15165"/>
                    </a:lnTo>
                    <a:lnTo>
                      <a:pt x="254101" y="14900"/>
                    </a:lnTo>
                    <a:lnTo>
                      <a:pt x="255600" y="13754"/>
                    </a:lnTo>
                    <a:lnTo>
                      <a:pt x="256129" y="13754"/>
                    </a:lnTo>
                    <a:lnTo>
                      <a:pt x="257011" y="13754"/>
                    </a:lnTo>
                    <a:lnTo>
                      <a:pt x="258422" y="13754"/>
                    </a:lnTo>
                    <a:lnTo>
                      <a:pt x="258422" y="12873"/>
                    </a:lnTo>
                    <a:lnTo>
                      <a:pt x="258422" y="12256"/>
                    </a:lnTo>
                    <a:lnTo>
                      <a:pt x="259039" y="12873"/>
                    </a:lnTo>
                    <a:lnTo>
                      <a:pt x="261419" y="11638"/>
                    </a:lnTo>
                    <a:lnTo>
                      <a:pt x="261948" y="11638"/>
                    </a:lnTo>
                    <a:lnTo>
                      <a:pt x="262830" y="11638"/>
                    </a:lnTo>
                    <a:lnTo>
                      <a:pt x="263976" y="10757"/>
                    </a:lnTo>
                    <a:lnTo>
                      <a:pt x="264858" y="9875"/>
                    </a:lnTo>
                    <a:lnTo>
                      <a:pt x="265475" y="10757"/>
                    </a:lnTo>
                    <a:lnTo>
                      <a:pt x="265475" y="9610"/>
                    </a:lnTo>
                    <a:lnTo>
                      <a:pt x="266092" y="9610"/>
                    </a:lnTo>
                    <a:lnTo>
                      <a:pt x="267768" y="9610"/>
                    </a:lnTo>
                    <a:lnTo>
                      <a:pt x="268120" y="8464"/>
                    </a:lnTo>
                    <a:lnTo>
                      <a:pt x="268120" y="8200"/>
                    </a:lnTo>
                    <a:lnTo>
                      <a:pt x="268120" y="7847"/>
                    </a:lnTo>
                    <a:lnTo>
                      <a:pt x="266886" y="7847"/>
                    </a:lnTo>
                    <a:lnTo>
                      <a:pt x="268120" y="6965"/>
                    </a:lnTo>
                    <a:lnTo>
                      <a:pt x="268120" y="6436"/>
                    </a:lnTo>
                    <a:lnTo>
                      <a:pt x="269266" y="7318"/>
                    </a:lnTo>
                    <a:lnTo>
                      <a:pt x="269266" y="6965"/>
                    </a:lnTo>
                    <a:lnTo>
                      <a:pt x="269795" y="6965"/>
                    </a:lnTo>
                    <a:lnTo>
                      <a:pt x="271030" y="6965"/>
                    </a:lnTo>
                    <a:lnTo>
                      <a:pt x="271911" y="8200"/>
                    </a:lnTo>
                    <a:lnTo>
                      <a:pt x="272793" y="8200"/>
                    </a:lnTo>
                    <a:lnTo>
                      <a:pt x="273322" y="9610"/>
                    </a:lnTo>
                    <a:lnTo>
                      <a:pt x="274468" y="10228"/>
                    </a:lnTo>
                    <a:lnTo>
                      <a:pt x="274204" y="11638"/>
                    </a:lnTo>
                    <a:lnTo>
                      <a:pt x="275703" y="11638"/>
                    </a:lnTo>
                    <a:lnTo>
                      <a:pt x="276584" y="11638"/>
                    </a:lnTo>
                    <a:lnTo>
                      <a:pt x="276849" y="11638"/>
                    </a:lnTo>
                    <a:lnTo>
                      <a:pt x="277378" y="10757"/>
                    </a:lnTo>
                    <a:lnTo>
                      <a:pt x="278877" y="10757"/>
                    </a:lnTo>
                    <a:lnTo>
                      <a:pt x="279141" y="9875"/>
                    </a:lnTo>
                    <a:lnTo>
                      <a:pt x="281169" y="9610"/>
                    </a:lnTo>
                    <a:lnTo>
                      <a:pt x="282932" y="10228"/>
                    </a:lnTo>
                    <a:lnTo>
                      <a:pt x="284431" y="8464"/>
                    </a:lnTo>
                    <a:lnTo>
                      <a:pt x="285578" y="9610"/>
                    </a:lnTo>
                    <a:lnTo>
                      <a:pt x="287605" y="8464"/>
                    </a:lnTo>
                    <a:lnTo>
                      <a:pt x="288751" y="7847"/>
                    </a:lnTo>
                    <a:lnTo>
                      <a:pt x="288751" y="6965"/>
                    </a:lnTo>
                    <a:lnTo>
                      <a:pt x="289104" y="6436"/>
                    </a:lnTo>
                    <a:lnTo>
                      <a:pt x="288751" y="5555"/>
                    </a:lnTo>
                    <a:lnTo>
                      <a:pt x="288751" y="5290"/>
                    </a:lnTo>
                    <a:lnTo>
                      <a:pt x="288751" y="4673"/>
                    </a:lnTo>
                    <a:lnTo>
                      <a:pt x="288751" y="2645"/>
                    </a:lnTo>
                    <a:lnTo>
                      <a:pt x="289721" y="1763"/>
                    </a:lnTo>
                    <a:lnTo>
                      <a:pt x="289721" y="1146"/>
                    </a:lnTo>
                    <a:lnTo>
                      <a:pt x="290250" y="1146"/>
                    </a:lnTo>
                    <a:lnTo>
                      <a:pt x="290515" y="1146"/>
                    </a:lnTo>
                    <a:lnTo>
                      <a:pt x="290868" y="882"/>
                    </a:lnTo>
                    <a:lnTo>
                      <a:pt x="291132" y="617"/>
                    </a:lnTo>
                    <a:lnTo>
                      <a:pt x="292014" y="617"/>
                    </a:lnTo>
                    <a:lnTo>
                      <a:pt x="292278" y="882"/>
                    </a:lnTo>
                    <a:lnTo>
                      <a:pt x="293424" y="264"/>
                    </a:lnTo>
                    <a:lnTo>
                      <a:pt x="293777" y="0"/>
                    </a:lnTo>
                    <a:lnTo>
                      <a:pt x="294394" y="264"/>
                    </a:lnTo>
                    <a:lnTo>
                      <a:pt x="294394" y="882"/>
                    </a:lnTo>
                    <a:lnTo>
                      <a:pt x="294923" y="882"/>
                    </a:lnTo>
                    <a:lnTo>
                      <a:pt x="294659" y="1146"/>
                    </a:lnTo>
                    <a:lnTo>
                      <a:pt x="294923" y="1146"/>
                    </a:lnTo>
                    <a:lnTo>
                      <a:pt x="295276" y="1146"/>
                    </a:lnTo>
                    <a:lnTo>
                      <a:pt x="297304" y="2645"/>
                    </a:lnTo>
                    <a:lnTo>
                      <a:pt x="297568" y="2645"/>
                    </a:lnTo>
                    <a:lnTo>
                      <a:pt x="298097" y="2645"/>
                    </a:lnTo>
                    <a:lnTo>
                      <a:pt x="298715" y="2645"/>
                    </a:lnTo>
                    <a:lnTo>
                      <a:pt x="298979" y="2910"/>
                    </a:lnTo>
                    <a:lnTo>
                      <a:pt x="299332" y="3527"/>
                    </a:lnTo>
                    <a:lnTo>
                      <a:pt x="299332" y="3791"/>
                    </a:lnTo>
                    <a:lnTo>
                      <a:pt x="299861" y="3791"/>
                    </a:lnTo>
                    <a:lnTo>
                      <a:pt x="300214" y="3791"/>
                    </a:lnTo>
                    <a:lnTo>
                      <a:pt x="301007" y="3791"/>
                    </a:lnTo>
                    <a:lnTo>
                      <a:pt x="301360" y="4056"/>
                    </a:lnTo>
                    <a:lnTo>
                      <a:pt x="301624" y="4056"/>
                    </a:lnTo>
                    <a:lnTo>
                      <a:pt x="301624" y="3791"/>
                    </a:lnTo>
                    <a:lnTo>
                      <a:pt x="302506" y="3791"/>
                    </a:lnTo>
                    <a:lnTo>
                      <a:pt x="303123" y="3791"/>
                    </a:lnTo>
                    <a:lnTo>
                      <a:pt x="303652" y="3791"/>
                    </a:lnTo>
                    <a:lnTo>
                      <a:pt x="304005" y="3791"/>
                    </a:lnTo>
                    <a:lnTo>
                      <a:pt x="304269" y="4056"/>
                    </a:lnTo>
                    <a:lnTo>
                      <a:pt x="304269" y="3791"/>
                    </a:lnTo>
                    <a:lnTo>
                      <a:pt x="305680" y="3791"/>
                    </a:lnTo>
                    <a:lnTo>
                      <a:pt x="306033" y="3791"/>
                    </a:lnTo>
                    <a:lnTo>
                      <a:pt x="306033" y="3527"/>
                    </a:lnTo>
                    <a:lnTo>
                      <a:pt x="306297" y="3262"/>
                    </a:lnTo>
                    <a:lnTo>
                      <a:pt x="306914" y="3262"/>
                    </a:lnTo>
                    <a:lnTo>
                      <a:pt x="307179" y="3527"/>
                    </a:lnTo>
                    <a:lnTo>
                      <a:pt x="307796" y="3527"/>
                    </a:lnTo>
                    <a:lnTo>
                      <a:pt x="308325" y="3791"/>
                    </a:lnTo>
                    <a:lnTo>
                      <a:pt x="308942" y="4673"/>
                    </a:lnTo>
                    <a:lnTo>
                      <a:pt x="308942" y="5290"/>
                    </a:lnTo>
                    <a:lnTo>
                      <a:pt x="309824" y="5555"/>
                    </a:lnTo>
                    <a:lnTo>
                      <a:pt x="310706" y="5819"/>
                    </a:lnTo>
                    <a:lnTo>
                      <a:pt x="311235" y="5555"/>
                    </a:lnTo>
                    <a:lnTo>
                      <a:pt x="311852" y="5819"/>
                    </a:lnTo>
                    <a:lnTo>
                      <a:pt x="312381" y="6172"/>
                    </a:lnTo>
                    <a:lnTo>
                      <a:pt x="313615" y="6965"/>
                    </a:lnTo>
                    <a:lnTo>
                      <a:pt x="313879" y="7318"/>
                    </a:lnTo>
                    <a:lnTo>
                      <a:pt x="314761" y="7847"/>
                    </a:lnTo>
                    <a:lnTo>
                      <a:pt x="315907" y="7847"/>
                    </a:lnTo>
                    <a:lnTo>
                      <a:pt x="316525" y="6965"/>
                    </a:lnTo>
                    <a:lnTo>
                      <a:pt x="317054" y="6965"/>
                    </a:lnTo>
                    <a:lnTo>
                      <a:pt x="317054" y="7318"/>
                    </a:lnTo>
                    <a:lnTo>
                      <a:pt x="317406" y="6965"/>
                    </a:lnTo>
                    <a:lnTo>
                      <a:pt x="318552" y="7318"/>
                    </a:lnTo>
                    <a:lnTo>
                      <a:pt x="318817" y="6965"/>
                    </a:lnTo>
                    <a:lnTo>
                      <a:pt x="320051" y="6965"/>
                    </a:lnTo>
                    <a:lnTo>
                      <a:pt x="320580" y="6965"/>
                    </a:lnTo>
                    <a:lnTo>
                      <a:pt x="321198" y="8200"/>
                    </a:lnTo>
                    <a:lnTo>
                      <a:pt x="321815" y="7847"/>
                    </a:lnTo>
                    <a:lnTo>
                      <a:pt x="322608" y="8200"/>
                    </a:lnTo>
                    <a:lnTo>
                      <a:pt x="323843" y="5819"/>
                    </a:lnTo>
                    <a:lnTo>
                      <a:pt x="327546" y="3791"/>
                    </a:lnTo>
                    <a:lnTo>
                      <a:pt x="329044" y="3791"/>
                    </a:lnTo>
                    <a:lnTo>
                      <a:pt x="332307" y="6436"/>
                    </a:lnTo>
                    <a:lnTo>
                      <a:pt x="332307" y="7318"/>
                    </a:lnTo>
                    <a:lnTo>
                      <a:pt x="334335" y="7318"/>
                    </a:lnTo>
                    <a:lnTo>
                      <a:pt x="335745" y="7583"/>
                    </a:lnTo>
                    <a:lnTo>
                      <a:pt x="337244" y="10492"/>
                    </a:lnTo>
                    <a:lnTo>
                      <a:pt x="338390" y="10757"/>
                    </a:lnTo>
                    <a:lnTo>
                      <a:pt x="339272" y="11109"/>
                    </a:lnTo>
                    <a:lnTo>
                      <a:pt x="340154" y="13402"/>
                    </a:lnTo>
                    <a:lnTo>
                      <a:pt x="341036" y="13402"/>
                    </a:lnTo>
                    <a:lnTo>
                      <a:pt x="342711" y="15429"/>
                    </a:lnTo>
                    <a:lnTo>
                      <a:pt x="341917" y="16928"/>
                    </a:lnTo>
                    <a:lnTo>
                      <a:pt x="342181" y="18075"/>
                    </a:lnTo>
                    <a:lnTo>
                      <a:pt x="343328" y="18692"/>
                    </a:lnTo>
                    <a:lnTo>
                      <a:pt x="344474" y="20720"/>
                    </a:lnTo>
                    <a:lnTo>
                      <a:pt x="346590" y="20720"/>
                    </a:lnTo>
                    <a:lnTo>
                      <a:pt x="348265" y="22130"/>
                    </a:lnTo>
                    <a:lnTo>
                      <a:pt x="350029" y="20984"/>
                    </a:lnTo>
                    <a:lnTo>
                      <a:pt x="350381" y="25393"/>
                    </a:lnTo>
                    <a:lnTo>
                      <a:pt x="351175" y="25128"/>
                    </a:lnTo>
                    <a:lnTo>
                      <a:pt x="352409" y="23894"/>
                    </a:lnTo>
                    <a:lnTo>
                      <a:pt x="352674" y="25393"/>
                    </a:lnTo>
                    <a:lnTo>
                      <a:pt x="356200" y="25657"/>
                    </a:lnTo>
                    <a:lnTo>
                      <a:pt x="356729" y="26803"/>
                    </a:lnTo>
                    <a:lnTo>
                      <a:pt x="359110" y="26803"/>
                    </a:lnTo>
                    <a:lnTo>
                      <a:pt x="360256" y="25393"/>
                    </a:lnTo>
                    <a:lnTo>
                      <a:pt x="362284" y="25128"/>
                    </a:lnTo>
                    <a:lnTo>
                      <a:pt x="363518" y="21866"/>
                    </a:lnTo>
                    <a:lnTo>
                      <a:pt x="364929" y="21866"/>
                    </a:lnTo>
                    <a:lnTo>
                      <a:pt x="364929" y="19838"/>
                    </a:lnTo>
                    <a:lnTo>
                      <a:pt x="365811" y="21601"/>
                    </a:lnTo>
                    <a:lnTo>
                      <a:pt x="367574" y="21601"/>
                    </a:lnTo>
                    <a:lnTo>
                      <a:pt x="369073" y="21601"/>
                    </a:lnTo>
                    <a:lnTo>
                      <a:pt x="371365" y="23012"/>
                    </a:lnTo>
                    <a:lnTo>
                      <a:pt x="372247" y="21866"/>
                    </a:lnTo>
                    <a:lnTo>
                      <a:pt x="375157" y="25393"/>
                    </a:lnTo>
                    <a:lnTo>
                      <a:pt x="375157" y="26803"/>
                    </a:lnTo>
                    <a:lnTo>
                      <a:pt x="378595" y="22130"/>
                    </a:lnTo>
                    <a:lnTo>
                      <a:pt x="380976" y="18339"/>
                    </a:lnTo>
                    <a:lnTo>
                      <a:pt x="382122" y="16664"/>
                    </a:lnTo>
                    <a:lnTo>
                      <a:pt x="384414" y="17810"/>
                    </a:lnTo>
                    <a:lnTo>
                      <a:pt x="387941" y="18692"/>
                    </a:lnTo>
                    <a:lnTo>
                      <a:pt x="387941" y="20984"/>
                    </a:lnTo>
                    <a:lnTo>
                      <a:pt x="387412" y="22130"/>
                    </a:lnTo>
                    <a:lnTo>
                      <a:pt x="387676" y="26010"/>
                    </a:lnTo>
                    <a:lnTo>
                      <a:pt x="390586" y="26274"/>
                    </a:lnTo>
                    <a:lnTo>
                      <a:pt x="390851" y="27421"/>
                    </a:lnTo>
                    <a:lnTo>
                      <a:pt x="392349" y="28919"/>
                    </a:lnTo>
                    <a:lnTo>
                      <a:pt x="394113" y="30330"/>
                    </a:lnTo>
                    <a:lnTo>
                      <a:pt x="395523" y="31476"/>
                    </a:lnTo>
                    <a:lnTo>
                      <a:pt x="395523" y="32710"/>
                    </a:lnTo>
                    <a:lnTo>
                      <a:pt x="396670" y="33857"/>
                    </a:lnTo>
                    <a:lnTo>
                      <a:pt x="396670" y="34738"/>
                    </a:lnTo>
                    <a:lnTo>
                      <a:pt x="398786" y="34738"/>
                    </a:lnTo>
                    <a:lnTo>
                      <a:pt x="399667" y="35885"/>
                    </a:lnTo>
                    <a:lnTo>
                      <a:pt x="401431" y="37648"/>
                    </a:lnTo>
                    <a:lnTo>
                      <a:pt x="403106" y="37031"/>
                    </a:lnTo>
                    <a:lnTo>
                      <a:pt x="405222" y="36766"/>
                    </a:lnTo>
                    <a:lnTo>
                      <a:pt x="405487" y="38794"/>
                    </a:lnTo>
                    <a:lnTo>
                      <a:pt x="405487" y="44966"/>
                    </a:lnTo>
                    <a:lnTo>
                      <a:pt x="407250" y="44349"/>
                    </a:lnTo>
                    <a:lnTo>
                      <a:pt x="408396" y="42321"/>
                    </a:lnTo>
                    <a:lnTo>
                      <a:pt x="409013" y="43467"/>
                    </a:lnTo>
                    <a:lnTo>
                      <a:pt x="409278" y="42321"/>
                    </a:lnTo>
                    <a:lnTo>
                      <a:pt x="410159" y="42321"/>
                    </a:lnTo>
                    <a:lnTo>
                      <a:pt x="410688" y="43467"/>
                    </a:lnTo>
                    <a:lnTo>
                      <a:pt x="411041" y="46112"/>
                    </a:lnTo>
                    <a:lnTo>
                      <a:pt x="412187" y="44966"/>
                    </a:lnTo>
                    <a:lnTo>
                      <a:pt x="413598" y="45495"/>
                    </a:lnTo>
                    <a:lnTo>
                      <a:pt x="412804" y="46641"/>
                    </a:lnTo>
                    <a:lnTo>
                      <a:pt x="412804" y="48757"/>
                    </a:lnTo>
                    <a:lnTo>
                      <a:pt x="411306" y="50432"/>
                    </a:lnTo>
                    <a:lnTo>
                      <a:pt x="410424" y="51667"/>
                    </a:lnTo>
                    <a:lnTo>
                      <a:pt x="410424" y="52813"/>
                    </a:lnTo>
                    <a:lnTo>
                      <a:pt x="409013" y="57750"/>
                    </a:lnTo>
                    <a:lnTo>
                      <a:pt x="411306" y="59514"/>
                    </a:lnTo>
                    <a:lnTo>
                      <a:pt x="411570" y="61542"/>
                    </a:lnTo>
                    <a:lnTo>
                      <a:pt x="411923" y="64187"/>
                    </a:lnTo>
                    <a:lnTo>
                      <a:pt x="410159" y="64451"/>
                    </a:lnTo>
                    <a:lnTo>
                      <a:pt x="410159" y="65597"/>
                    </a:lnTo>
                    <a:lnTo>
                      <a:pt x="409807" y="67361"/>
                    </a:lnTo>
                    <a:lnTo>
                      <a:pt x="408660" y="68595"/>
                    </a:lnTo>
                    <a:lnTo>
                      <a:pt x="409013" y="70006"/>
                    </a:lnTo>
                    <a:lnTo>
                      <a:pt x="408660" y="71505"/>
                    </a:lnTo>
                    <a:lnTo>
                      <a:pt x="410424" y="72651"/>
                    </a:lnTo>
                    <a:lnTo>
                      <a:pt x="410688" y="74061"/>
                    </a:lnTo>
                    <a:lnTo>
                      <a:pt x="412452" y="75296"/>
                    </a:lnTo>
                    <a:lnTo>
                      <a:pt x="413333" y="76707"/>
                    </a:lnTo>
                    <a:lnTo>
                      <a:pt x="415714" y="76442"/>
                    </a:lnTo>
                    <a:lnTo>
                      <a:pt x="416860" y="76707"/>
                    </a:lnTo>
                    <a:lnTo>
                      <a:pt x="418624" y="76442"/>
                    </a:lnTo>
                    <a:lnTo>
                      <a:pt x="418624" y="77853"/>
                    </a:lnTo>
                    <a:lnTo>
                      <a:pt x="420652" y="79616"/>
                    </a:lnTo>
                    <a:lnTo>
                      <a:pt x="414832" y="90461"/>
                    </a:lnTo>
                    <a:lnTo>
                      <a:pt x="407514" y="96544"/>
                    </a:lnTo>
                    <a:lnTo>
                      <a:pt x="402224" y="102981"/>
                    </a:lnTo>
                    <a:lnTo>
                      <a:pt x="401431" y="104127"/>
                    </a:lnTo>
                    <a:lnTo>
                      <a:pt x="400196" y="103245"/>
                    </a:lnTo>
                    <a:lnTo>
                      <a:pt x="400196" y="104744"/>
                    </a:lnTo>
                    <a:lnTo>
                      <a:pt x="397287" y="105009"/>
                    </a:lnTo>
                    <a:lnTo>
                      <a:pt x="396405" y="105890"/>
                    </a:lnTo>
                    <a:lnTo>
                      <a:pt x="396405" y="108535"/>
                    </a:lnTo>
                    <a:lnTo>
                      <a:pt x="394642" y="111092"/>
                    </a:lnTo>
                    <a:lnTo>
                      <a:pt x="393231" y="111445"/>
                    </a:lnTo>
                    <a:lnTo>
                      <a:pt x="391468" y="112856"/>
                    </a:lnTo>
                    <a:lnTo>
                      <a:pt x="391203" y="115236"/>
                    </a:lnTo>
                    <a:lnTo>
                      <a:pt x="390851" y="118146"/>
                    </a:lnTo>
                    <a:lnTo>
                      <a:pt x="391468" y="121055"/>
                    </a:lnTo>
                    <a:lnTo>
                      <a:pt x="389175" y="124229"/>
                    </a:lnTo>
                    <a:lnTo>
                      <a:pt x="387676" y="127491"/>
                    </a:lnTo>
                    <a:lnTo>
                      <a:pt x="387412" y="129167"/>
                    </a:lnTo>
                    <a:lnTo>
                      <a:pt x="388205" y="133311"/>
                    </a:lnTo>
                    <a:lnTo>
                      <a:pt x="385913" y="132694"/>
                    </a:lnTo>
                    <a:lnTo>
                      <a:pt x="385649" y="134457"/>
                    </a:lnTo>
                    <a:lnTo>
                      <a:pt x="386530" y="135074"/>
                    </a:lnTo>
                    <a:lnTo>
                      <a:pt x="385384" y="144420"/>
                    </a:lnTo>
                    <a:lnTo>
                      <a:pt x="385649" y="146095"/>
                    </a:lnTo>
                    <a:lnTo>
                      <a:pt x="386530" y="147594"/>
                    </a:lnTo>
                    <a:lnTo>
                      <a:pt x="385649" y="149975"/>
                    </a:lnTo>
                    <a:lnTo>
                      <a:pt x="384150" y="154912"/>
                    </a:lnTo>
                    <a:lnTo>
                      <a:pt x="383885" y="158968"/>
                    </a:lnTo>
                    <a:lnTo>
                      <a:pt x="384767" y="159849"/>
                    </a:lnTo>
                    <a:lnTo>
                      <a:pt x="383885" y="161877"/>
                    </a:lnTo>
                    <a:lnTo>
                      <a:pt x="384767" y="163376"/>
                    </a:lnTo>
                    <a:lnTo>
                      <a:pt x="383621" y="168578"/>
                    </a:lnTo>
                    <a:lnTo>
                      <a:pt x="378066" y="172369"/>
                    </a:lnTo>
                    <a:lnTo>
                      <a:pt x="373393" y="179952"/>
                    </a:lnTo>
                    <a:lnTo>
                      <a:pt x="373922" y="187534"/>
                    </a:lnTo>
                    <a:lnTo>
                      <a:pt x="372776" y="189915"/>
                    </a:lnTo>
                    <a:lnTo>
                      <a:pt x="370484" y="191061"/>
                    </a:lnTo>
                    <a:lnTo>
                      <a:pt x="369337" y="193089"/>
                    </a:lnTo>
                    <a:lnTo>
                      <a:pt x="367838" y="193706"/>
                    </a:lnTo>
                    <a:lnTo>
                      <a:pt x="367838" y="200671"/>
                    </a:lnTo>
                    <a:lnTo>
                      <a:pt x="371013" y="201818"/>
                    </a:lnTo>
                    <a:lnTo>
                      <a:pt x="369602" y="203316"/>
                    </a:lnTo>
                    <a:lnTo>
                      <a:pt x="369866" y="204727"/>
                    </a:lnTo>
                    <a:lnTo>
                      <a:pt x="371013" y="204727"/>
                    </a:lnTo>
                    <a:lnTo>
                      <a:pt x="373658" y="208871"/>
                    </a:lnTo>
                    <a:lnTo>
                      <a:pt x="374892" y="209135"/>
                    </a:lnTo>
                    <a:lnTo>
                      <a:pt x="375421" y="213191"/>
                    </a:lnTo>
                    <a:lnTo>
                      <a:pt x="374892" y="215219"/>
                    </a:lnTo>
                    <a:lnTo>
                      <a:pt x="375686" y="216983"/>
                    </a:lnTo>
                    <a:lnTo>
                      <a:pt x="375157" y="232148"/>
                    </a:lnTo>
                    <a:lnTo>
                      <a:pt x="378066" y="236291"/>
                    </a:lnTo>
                    <a:lnTo>
                      <a:pt x="379212" y="243786"/>
                    </a:lnTo>
                    <a:lnTo>
                      <a:pt x="379477" y="246783"/>
                    </a:lnTo>
                    <a:lnTo>
                      <a:pt x="376920" y="253131"/>
                    </a:lnTo>
                    <a:lnTo>
                      <a:pt x="376920" y="256658"/>
                    </a:lnTo>
                    <a:lnTo>
                      <a:pt x="378066" y="260802"/>
                    </a:lnTo>
                    <a:lnTo>
                      <a:pt x="379830" y="263094"/>
                    </a:lnTo>
                    <a:lnTo>
                      <a:pt x="380976" y="269178"/>
                    </a:lnTo>
                    <a:lnTo>
                      <a:pt x="383003" y="272705"/>
                    </a:lnTo>
                    <a:lnTo>
                      <a:pt x="383268" y="275614"/>
                    </a:lnTo>
                    <a:lnTo>
                      <a:pt x="383268" y="278259"/>
                    </a:lnTo>
                    <a:lnTo>
                      <a:pt x="380711" y="281786"/>
                    </a:lnTo>
                    <a:lnTo>
                      <a:pt x="380711" y="282668"/>
                    </a:lnTo>
                    <a:lnTo>
                      <a:pt x="380711" y="284431"/>
                    </a:lnTo>
                    <a:lnTo>
                      <a:pt x="380711" y="287605"/>
                    </a:lnTo>
                    <a:lnTo>
                      <a:pt x="381328" y="289898"/>
                    </a:lnTo>
                    <a:lnTo>
                      <a:pt x="383885" y="294306"/>
                    </a:lnTo>
                    <a:lnTo>
                      <a:pt x="384414" y="297480"/>
                    </a:lnTo>
                    <a:lnTo>
                      <a:pt x="385384" y="298715"/>
                    </a:lnTo>
                    <a:lnTo>
                      <a:pt x="388205" y="301624"/>
                    </a:lnTo>
                    <a:lnTo>
                      <a:pt x="391468" y="303652"/>
                    </a:lnTo>
                    <a:lnTo>
                      <a:pt x="392878" y="304798"/>
                    </a:lnTo>
                    <a:lnTo>
                      <a:pt x="394642" y="306826"/>
                    </a:lnTo>
                    <a:lnTo>
                      <a:pt x="398168" y="311235"/>
                    </a:lnTo>
                    <a:lnTo>
                      <a:pt x="400196" y="317318"/>
                    </a:lnTo>
                    <a:lnTo>
                      <a:pt x="400549" y="321991"/>
                    </a:lnTo>
                    <a:lnTo>
                      <a:pt x="405222" y="330808"/>
                    </a:lnTo>
                    <a:lnTo>
                      <a:pt x="405751" y="333100"/>
                    </a:lnTo>
                    <a:lnTo>
                      <a:pt x="407514" y="337156"/>
                    </a:lnTo>
                    <a:lnTo>
                      <a:pt x="366692" y="346502"/>
                    </a:lnTo>
                    <a:lnTo>
                      <a:pt x="367574" y="351175"/>
                    </a:lnTo>
                    <a:lnTo>
                      <a:pt x="365811" y="354966"/>
                    </a:lnTo>
                    <a:lnTo>
                      <a:pt x="359639" y="360785"/>
                    </a:lnTo>
                    <a:lnTo>
                      <a:pt x="356729" y="363430"/>
                    </a:lnTo>
                    <a:lnTo>
                      <a:pt x="357082" y="366604"/>
                    </a:lnTo>
                    <a:lnTo>
                      <a:pt x="358228" y="369866"/>
                    </a:lnTo>
                    <a:lnTo>
                      <a:pt x="359110" y="372423"/>
                    </a:lnTo>
                    <a:lnTo>
                      <a:pt x="360521" y="373922"/>
                    </a:lnTo>
                    <a:lnTo>
                      <a:pt x="361755" y="377713"/>
                    </a:lnTo>
                    <a:lnTo>
                      <a:pt x="358228" y="388470"/>
                    </a:lnTo>
                    <a:lnTo>
                      <a:pt x="359374" y="390233"/>
                    </a:lnTo>
                    <a:lnTo>
                      <a:pt x="359110" y="396140"/>
                    </a:lnTo>
                    <a:lnTo>
                      <a:pt x="361755" y="399315"/>
                    </a:lnTo>
                    <a:lnTo>
                      <a:pt x="357346" y="403723"/>
                    </a:lnTo>
                    <a:lnTo>
                      <a:pt x="354966" y="416772"/>
                    </a:lnTo>
                    <a:lnTo>
                      <a:pt x="353291" y="419417"/>
                    </a:lnTo>
                    <a:lnTo>
                      <a:pt x="354966" y="427881"/>
                    </a:lnTo>
                    <a:lnTo>
                      <a:pt x="355319" y="429027"/>
                    </a:lnTo>
                    <a:lnTo>
                      <a:pt x="357611" y="430262"/>
                    </a:lnTo>
                    <a:lnTo>
                      <a:pt x="357964" y="431672"/>
                    </a:lnTo>
                    <a:lnTo>
                      <a:pt x="360256" y="432819"/>
                    </a:lnTo>
                    <a:lnTo>
                      <a:pt x="361138" y="434053"/>
                    </a:lnTo>
                    <a:lnTo>
                      <a:pt x="362019" y="434847"/>
                    </a:lnTo>
                    <a:lnTo>
                      <a:pt x="363518" y="436081"/>
                    </a:lnTo>
                    <a:lnTo>
                      <a:pt x="364929" y="438109"/>
                    </a:lnTo>
                    <a:lnTo>
                      <a:pt x="365811" y="440401"/>
                    </a:lnTo>
                    <a:lnTo>
                      <a:pt x="367310" y="444457"/>
                    </a:lnTo>
                    <a:lnTo>
                      <a:pt x="369866" y="444457"/>
                    </a:lnTo>
                    <a:lnTo>
                      <a:pt x="372776" y="444457"/>
                    </a:lnTo>
                    <a:lnTo>
                      <a:pt x="375686" y="446220"/>
                    </a:lnTo>
                    <a:lnTo>
                      <a:pt x="377802" y="446220"/>
                    </a:lnTo>
                    <a:lnTo>
                      <a:pt x="378948" y="444810"/>
                    </a:lnTo>
                    <a:lnTo>
                      <a:pt x="377802" y="444192"/>
                    </a:lnTo>
                    <a:lnTo>
                      <a:pt x="376567" y="442429"/>
                    </a:lnTo>
                    <a:lnTo>
                      <a:pt x="376038" y="439519"/>
                    </a:lnTo>
                    <a:lnTo>
                      <a:pt x="376920" y="438990"/>
                    </a:lnTo>
                    <a:lnTo>
                      <a:pt x="378331" y="437756"/>
                    </a:lnTo>
                    <a:lnTo>
                      <a:pt x="379212" y="436610"/>
                    </a:lnTo>
                    <a:lnTo>
                      <a:pt x="379830" y="437491"/>
                    </a:lnTo>
                    <a:lnTo>
                      <a:pt x="380711" y="439255"/>
                    </a:lnTo>
                    <a:lnTo>
                      <a:pt x="382122" y="437491"/>
                    </a:lnTo>
                    <a:lnTo>
                      <a:pt x="383003" y="436345"/>
                    </a:lnTo>
                    <a:lnTo>
                      <a:pt x="384150" y="436962"/>
                    </a:lnTo>
                    <a:lnTo>
                      <a:pt x="383268" y="468439"/>
                    </a:lnTo>
                    <a:lnTo>
                      <a:pt x="380976" y="468968"/>
                    </a:lnTo>
                    <a:lnTo>
                      <a:pt x="379477" y="469320"/>
                    </a:lnTo>
                    <a:lnTo>
                      <a:pt x="378331" y="467557"/>
                    </a:lnTo>
                    <a:lnTo>
                      <a:pt x="379830" y="466675"/>
                    </a:lnTo>
                    <a:lnTo>
                      <a:pt x="380359" y="464912"/>
                    </a:lnTo>
                    <a:lnTo>
                      <a:pt x="379212" y="464030"/>
                    </a:lnTo>
                    <a:lnTo>
                      <a:pt x="378948" y="463149"/>
                    </a:lnTo>
                    <a:lnTo>
                      <a:pt x="377184" y="463501"/>
                    </a:lnTo>
                    <a:lnTo>
                      <a:pt x="375686" y="465176"/>
                    </a:lnTo>
                    <a:lnTo>
                      <a:pt x="374539" y="465794"/>
                    </a:lnTo>
                    <a:lnTo>
                      <a:pt x="372511" y="466675"/>
                    </a:lnTo>
                    <a:lnTo>
                      <a:pt x="370219" y="468439"/>
                    </a:lnTo>
                    <a:lnTo>
                      <a:pt x="368103" y="468703"/>
                    </a:lnTo>
                    <a:lnTo>
                      <a:pt x="368103" y="467821"/>
                    </a:lnTo>
                    <a:lnTo>
                      <a:pt x="365811" y="467557"/>
                    </a:lnTo>
                    <a:lnTo>
                      <a:pt x="364665" y="466411"/>
                    </a:lnTo>
                    <a:lnTo>
                      <a:pt x="363518" y="462267"/>
                    </a:lnTo>
                    <a:lnTo>
                      <a:pt x="363166" y="459710"/>
                    </a:lnTo>
                    <a:lnTo>
                      <a:pt x="361755" y="457682"/>
                    </a:lnTo>
                    <a:lnTo>
                      <a:pt x="362019" y="456183"/>
                    </a:lnTo>
                    <a:lnTo>
                      <a:pt x="359374" y="455302"/>
                    </a:lnTo>
                    <a:lnTo>
                      <a:pt x="357346" y="453274"/>
                    </a:lnTo>
                    <a:lnTo>
                      <a:pt x="356200" y="453803"/>
                    </a:lnTo>
                    <a:lnTo>
                      <a:pt x="354437" y="452127"/>
                    </a:lnTo>
                    <a:lnTo>
                      <a:pt x="355848" y="450629"/>
                    </a:lnTo>
                    <a:lnTo>
                      <a:pt x="354966" y="448865"/>
                    </a:lnTo>
                    <a:lnTo>
                      <a:pt x="354437" y="447984"/>
                    </a:lnTo>
                    <a:lnTo>
                      <a:pt x="354437" y="445427"/>
                    </a:lnTo>
                    <a:lnTo>
                      <a:pt x="352409" y="443663"/>
                    </a:lnTo>
                    <a:lnTo>
                      <a:pt x="350646" y="443928"/>
                    </a:lnTo>
                    <a:lnTo>
                      <a:pt x="348265" y="442429"/>
                    </a:lnTo>
                    <a:lnTo>
                      <a:pt x="347472" y="443663"/>
                    </a:lnTo>
                    <a:lnTo>
                      <a:pt x="346854" y="442164"/>
                    </a:lnTo>
                    <a:lnTo>
                      <a:pt x="343680" y="442164"/>
                    </a:lnTo>
                    <a:lnTo>
                      <a:pt x="343945" y="440666"/>
                    </a:lnTo>
                    <a:lnTo>
                      <a:pt x="341036" y="438990"/>
                    </a:lnTo>
                    <a:lnTo>
                      <a:pt x="341036" y="440666"/>
                    </a:lnTo>
                    <a:lnTo>
                      <a:pt x="339272" y="440666"/>
                    </a:lnTo>
                    <a:lnTo>
                      <a:pt x="336892" y="440401"/>
                    </a:lnTo>
                    <a:lnTo>
                      <a:pt x="336363" y="439519"/>
                    </a:lnTo>
                    <a:lnTo>
                      <a:pt x="334864" y="438109"/>
                    </a:lnTo>
                    <a:lnTo>
                      <a:pt x="334864" y="436081"/>
                    </a:lnTo>
                    <a:lnTo>
                      <a:pt x="333982" y="434847"/>
                    </a:lnTo>
                    <a:lnTo>
                      <a:pt x="333453" y="431937"/>
                    </a:lnTo>
                    <a:lnTo>
                      <a:pt x="328427" y="427617"/>
                    </a:lnTo>
                    <a:lnTo>
                      <a:pt x="328163" y="423208"/>
                    </a:lnTo>
                    <a:lnTo>
                      <a:pt x="327281" y="422062"/>
                    </a:lnTo>
                    <a:lnTo>
                      <a:pt x="326400" y="422591"/>
                    </a:lnTo>
                    <a:lnTo>
                      <a:pt x="323490" y="423208"/>
                    </a:lnTo>
                    <a:lnTo>
                      <a:pt x="323843" y="425589"/>
                    </a:lnTo>
                    <a:lnTo>
                      <a:pt x="322608" y="426999"/>
                    </a:lnTo>
                    <a:lnTo>
                      <a:pt x="322608" y="429380"/>
                    </a:lnTo>
                    <a:lnTo>
                      <a:pt x="320845" y="431672"/>
                    </a:lnTo>
                    <a:lnTo>
                      <a:pt x="318288" y="431672"/>
                    </a:lnTo>
                    <a:lnTo>
                      <a:pt x="316525" y="433700"/>
                    </a:lnTo>
                    <a:lnTo>
                      <a:pt x="315643" y="431937"/>
                    </a:lnTo>
                    <a:lnTo>
                      <a:pt x="311852" y="431672"/>
                    </a:lnTo>
                    <a:lnTo>
                      <a:pt x="311852" y="430262"/>
                    </a:lnTo>
                    <a:lnTo>
                      <a:pt x="308942" y="430262"/>
                    </a:lnTo>
                    <a:lnTo>
                      <a:pt x="308589" y="431408"/>
                    </a:lnTo>
                    <a:lnTo>
                      <a:pt x="306297" y="431408"/>
                    </a:lnTo>
                    <a:lnTo>
                      <a:pt x="305151" y="430262"/>
                    </a:lnTo>
                    <a:lnTo>
                      <a:pt x="300742" y="430262"/>
                    </a:lnTo>
                    <a:lnTo>
                      <a:pt x="300214" y="429380"/>
                    </a:lnTo>
                    <a:lnTo>
                      <a:pt x="298450" y="427617"/>
                    </a:lnTo>
                    <a:lnTo>
                      <a:pt x="295276" y="427617"/>
                    </a:lnTo>
                    <a:lnTo>
                      <a:pt x="293777" y="427352"/>
                    </a:lnTo>
                    <a:lnTo>
                      <a:pt x="292543" y="428146"/>
                    </a:lnTo>
                    <a:lnTo>
                      <a:pt x="290868" y="426382"/>
                    </a:lnTo>
                    <a:lnTo>
                      <a:pt x="288222" y="424354"/>
                    </a:lnTo>
                    <a:lnTo>
                      <a:pt x="287958" y="422591"/>
                    </a:lnTo>
                    <a:lnTo>
                      <a:pt x="287341" y="420828"/>
                    </a:lnTo>
                    <a:lnTo>
                      <a:pt x="288487" y="417389"/>
                    </a:lnTo>
                    <a:lnTo>
                      <a:pt x="289721" y="416772"/>
                    </a:lnTo>
                    <a:lnTo>
                      <a:pt x="289721" y="415097"/>
                    </a:lnTo>
                    <a:lnTo>
                      <a:pt x="286195" y="416507"/>
                    </a:lnTo>
                    <a:lnTo>
                      <a:pt x="281169" y="416772"/>
                    </a:lnTo>
                    <a:lnTo>
                      <a:pt x="277113" y="418535"/>
                    </a:lnTo>
                    <a:lnTo>
                      <a:pt x="275350" y="418535"/>
                    </a:lnTo>
                    <a:lnTo>
                      <a:pt x="273322" y="420563"/>
                    </a:lnTo>
                    <a:lnTo>
                      <a:pt x="271647" y="422326"/>
                    </a:lnTo>
                    <a:lnTo>
                      <a:pt x="268914" y="422326"/>
                    </a:lnTo>
                    <a:lnTo>
                      <a:pt x="267238" y="421798"/>
                    </a:lnTo>
                    <a:lnTo>
                      <a:pt x="265740" y="419682"/>
                    </a:lnTo>
                    <a:lnTo>
                      <a:pt x="264858" y="418271"/>
                    </a:lnTo>
                    <a:lnTo>
                      <a:pt x="266886" y="418006"/>
                    </a:lnTo>
                    <a:lnTo>
                      <a:pt x="268120" y="417125"/>
                    </a:lnTo>
                    <a:lnTo>
                      <a:pt x="266621" y="411570"/>
                    </a:lnTo>
                    <a:lnTo>
                      <a:pt x="264593" y="410688"/>
                    </a:lnTo>
                    <a:lnTo>
                      <a:pt x="261067" y="410688"/>
                    </a:lnTo>
                    <a:lnTo>
                      <a:pt x="261948" y="409542"/>
                    </a:lnTo>
                    <a:lnTo>
                      <a:pt x="260802" y="408925"/>
                    </a:lnTo>
                    <a:lnTo>
                      <a:pt x="259656" y="407426"/>
                    </a:lnTo>
                    <a:lnTo>
                      <a:pt x="256747" y="406897"/>
                    </a:lnTo>
                    <a:lnTo>
                      <a:pt x="255248" y="407426"/>
                    </a:lnTo>
                    <a:lnTo>
                      <a:pt x="255248" y="408661"/>
                    </a:lnTo>
                    <a:lnTo>
                      <a:pt x="254366" y="410071"/>
                    </a:lnTo>
                    <a:lnTo>
                      <a:pt x="252603" y="408308"/>
                    </a:lnTo>
                    <a:lnTo>
                      <a:pt x="250575" y="408661"/>
                    </a:lnTo>
                    <a:lnTo>
                      <a:pt x="246254" y="407426"/>
                    </a:lnTo>
                    <a:lnTo>
                      <a:pt x="243874" y="408043"/>
                    </a:lnTo>
                    <a:lnTo>
                      <a:pt x="240964" y="410071"/>
                    </a:lnTo>
                    <a:lnTo>
                      <a:pt x="238936" y="410071"/>
                    </a:lnTo>
                    <a:lnTo>
                      <a:pt x="237438" y="410688"/>
                    </a:lnTo>
                    <a:lnTo>
                      <a:pt x="234792" y="410688"/>
                    </a:lnTo>
                    <a:lnTo>
                      <a:pt x="233117" y="409807"/>
                    </a:lnTo>
                    <a:lnTo>
                      <a:pt x="231354" y="410688"/>
                    </a:lnTo>
                    <a:lnTo>
                      <a:pt x="229855" y="410688"/>
                    </a:lnTo>
                    <a:lnTo>
                      <a:pt x="228092" y="409807"/>
                    </a:lnTo>
                    <a:lnTo>
                      <a:pt x="226064" y="409807"/>
                    </a:lnTo>
                    <a:lnTo>
                      <a:pt x="224300" y="410688"/>
                    </a:lnTo>
                    <a:lnTo>
                      <a:pt x="221126" y="412099"/>
                    </a:lnTo>
                    <a:lnTo>
                      <a:pt x="219716" y="413333"/>
                    </a:lnTo>
                    <a:lnTo>
                      <a:pt x="218746" y="415097"/>
                    </a:lnTo>
                    <a:lnTo>
                      <a:pt x="217600" y="415097"/>
                    </a:lnTo>
                    <a:lnTo>
                      <a:pt x="218217" y="412716"/>
                    </a:lnTo>
                    <a:lnTo>
                      <a:pt x="219363" y="409807"/>
                    </a:lnTo>
                    <a:lnTo>
                      <a:pt x="218217" y="408043"/>
                    </a:lnTo>
                    <a:lnTo>
                      <a:pt x="218481" y="407162"/>
                    </a:lnTo>
                    <a:lnTo>
                      <a:pt x="217952" y="404869"/>
                    </a:lnTo>
                    <a:lnTo>
                      <a:pt x="218481" y="403723"/>
                    </a:lnTo>
                    <a:lnTo>
                      <a:pt x="220509" y="403106"/>
                    </a:lnTo>
                    <a:lnTo>
                      <a:pt x="220862" y="401078"/>
                    </a:lnTo>
                    <a:lnTo>
                      <a:pt x="221126" y="396140"/>
                    </a:lnTo>
                    <a:lnTo>
                      <a:pt x="220509" y="394642"/>
                    </a:lnTo>
                    <a:lnTo>
                      <a:pt x="221391" y="392614"/>
                    </a:lnTo>
                    <a:lnTo>
                      <a:pt x="219980" y="390233"/>
                    </a:lnTo>
                    <a:lnTo>
                      <a:pt x="219098" y="387941"/>
                    </a:lnTo>
                    <a:lnTo>
                      <a:pt x="217952" y="384679"/>
                    </a:lnTo>
                    <a:lnTo>
                      <a:pt x="217952" y="383532"/>
                    </a:lnTo>
                    <a:lnTo>
                      <a:pt x="218746" y="382651"/>
                    </a:lnTo>
                    <a:lnTo>
                      <a:pt x="216718" y="381505"/>
                    </a:lnTo>
                    <a:lnTo>
                      <a:pt x="216189" y="380094"/>
                    </a:lnTo>
                    <a:lnTo>
                      <a:pt x="214955" y="378595"/>
                    </a:lnTo>
                    <a:lnTo>
                      <a:pt x="213808" y="378860"/>
                    </a:lnTo>
                    <a:lnTo>
                      <a:pt x="213808" y="376832"/>
                    </a:lnTo>
                    <a:lnTo>
                      <a:pt x="212133" y="376215"/>
                    </a:lnTo>
                    <a:lnTo>
                      <a:pt x="211516" y="374539"/>
                    </a:lnTo>
                    <a:lnTo>
                      <a:pt x="210899" y="371894"/>
                    </a:lnTo>
                    <a:lnTo>
                      <a:pt x="209753" y="368720"/>
                    </a:lnTo>
                    <a:lnTo>
                      <a:pt x="211516" y="364047"/>
                    </a:lnTo>
                    <a:lnTo>
                      <a:pt x="211781" y="361402"/>
                    </a:lnTo>
                    <a:lnTo>
                      <a:pt x="212398" y="357875"/>
                    </a:lnTo>
                    <a:lnTo>
                      <a:pt x="211516" y="355495"/>
                    </a:lnTo>
                    <a:lnTo>
                      <a:pt x="212398" y="352056"/>
                    </a:lnTo>
                    <a:lnTo>
                      <a:pt x="212662" y="349147"/>
                    </a:lnTo>
                    <a:lnTo>
                      <a:pt x="213544" y="349147"/>
                    </a:lnTo>
                    <a:lnTo>
                      <a:pt x="213544" y="347119"/>
                    </a:lnTo>
                    <a:lnTo>
                      <a:pt x="213544" y="345620"/>
                    </a:lnTo>
                    <a:lnTo>
                      <a:pt x="212927" y="343592"/>
                    </a:lnTo>
                    <a:lnTo>
                      <a:pt x="213544" y="341300"/>
                    </a:lnTo>
                    <a:lnTo>
                      <a:pt x="212398" y="340683"/>
                    </a:lnTo>
                    <a:lnTo>
                      <a:pt x="211781" y="337156"/>
                    </a:lnTo>
                    <a:lnTo>
                      <a:pt x="210899" y="336274"/>
                    </a:lnTo>
                    <a:lnTo>
                      <a:pt x="210634" y="335128"/>
                    </a:lnTo>
                    <a:lnTo>
                      <a:pt x="210017" y="333365"/>
                    </a:lnTo>
                    <a:lnTo>
                      <a:pt x="209753" y="331601"/>
                    </a:lnTo>
                    <a:lnTo>
                      <a:pt x="209753" y="329573"/>
                    </a:lnTo>
                    <a:lnTo>
                      <a:pt x="210017" y="327545"/>
                    </a:lnTo>
                    <a:lnTo>
                      <a:pt x="213279" y="322608"/>
                    </a:lnTo>
                    <a:lnTo>
                      <a:pt x="212927" y="321462"/>
                    </a:lnTo>
                    <a:lnTo>
                      <a:pt x="213279" y="320580"/>
                    </a:lnTo>
                    <a:lnTo>
                      <a:pt x="212133" y="319699"/>
                    </a:lnTo>
                    <a:lnTo>
                      <a:pt x="212133" y="318552"/>
                    </a:lnTo>
                    <a:lnTo>
                      <a:pt x="211252" y="318200"/>
                    </a:lnTo>
                    <a:lnTo>
                      <a:pt x="210634" y="315555"/>
                    </a:lnTo>
                    <a:lnTo>
                      <a:pt x="183214" y="315555"/>
                    </a:lnTo>
                    <a:lnTo>
                      <a:pt x="183478" y="312645"/>
                    </a:lnTo>
                    <a:lnTo>
                      <a:pt x="184096" y="310000"/>
                    </a:lnTo>
                    <a:lnTo>
                      <a:pt x="184977" y="306562"/>
                    </a:lnTo>
                    <a:lnTo>
                      <a:pt x="178805" y="306562"/>
                    </a:lnTo>
                    <a:lnTo>
                      <a:pt x="177660" y="308589"/>
                    </a:lnTo>
                    <a:lnTo>
                      <a:pt x="161613" y="308325"/>
                    </a:lnTo>
                    <a:lnTo>
                      <a:pt x="161613" y="309471"/>
                    </a:lnTo>
                    <a:lnTo>
                      <a:pt x="160202" y="312381"/>
                    </a:lnTo>
                    <a:lnTo>
                      <a:pt x="159232" y="314144"/>
                    </a:lnTo>
                    <a:lnTo>
                      <a:pt x="159849" y="317053"/>
                    </a:lnTo>
                    <a:lnTo>
                      <a:pt x="161348" y="321462"/>
                    </a:lnTo>
                    <a:lnTo>
                      <a:pt x="159585" y="320845"/>
                    </a:lnTo>
                    <a:lnTo>
                      <a:pt x="159849" y="322873"/>
                    </a:lnTo>
                    <a:lnTo>
                      <a:pt x="157557" y="323137"/>
                    </a:lnTo>
                    <a:lnTo>
                      <a:pt x="158086" y="325253"/>
                    </a:lnTo>
                    <a:lnTo>
                      <a:pt x="156675" y="330455"/>
                    </a:lnTo>
                    <a:lnTo>
                      <a:pt x="157204" y="333365"/>
                    </a:lnTo>
                    <a:lnTo>
                      <a:pt x="145302" y="333365"/>
                    </a:lnTo>
                    <a:lnTo>
                      <a:pt x="144684" y="332218"/>
                    </a:lnTo>
                    <a:lnTo>
                      <a:pt x="143274" y="331601"/>
                    </a:lnTo>
                    <a:lnTo>
                      <a:pt x="140011" y="331601"/>
                    </a:lnTo>
                    <a:lnTo>
                      <a:pt x="138865" y="333365"/>
                    </a:lnTo>
                    <a:lnTo>
                      <a:pt x="136573" y="333365"/>
                    </a:lnTo>
                    <a:lnTo>
                      <a:pt x="135691" y="333982"/>
                    </a:lnTo>
                    <a:lnTo>
                      <a:pt x="134810" y="333365"/>
                    </a:lnTo>
                    <a:lnTo>
                      <a:pt x="131547" y="333365"/>
                    </a:lnTo>
                    <a:lnTo>
                      <a:pt x="129519" y="334599"/>
                    </a:lnTo>
                    <a:lnTo>
                      <a:pt x="129519" y="336010"/>
                    </a:lnTo>
                    <a:lnTo>
                      <a:pt x="127756" y="336010"/>
                    </a:lnTo>
                    <a:lnTo>
                      <a:pt x="127227" y="334599"/>
                    </a:lnTo>
                    <a:lnTo>
                      <a:pt x="123700" y="334599"/>
                    </a:lnTo>
                    <a:lnTo>
                      <a:pt x="122819" y="335745"/>
                    </a:lnTo>
                    <a:lnTo>
                      <a:pt x="121408" y="335128"/>
                    </a:lnTo>
                    <a:lnTo>
                      <a:pt x="119380" y="336010"/>
                    </a:lnTo>
                    <a:lnTo>
                      <a:pt x="118146" y="335745"/>
                    </a:lnTo>
                    <a:lnTo>
                      <a:pt x="118498" y="334599"/>
                    </a:lnTo>
                    <a:lnTo>
                      <a:pt x="117264" y="334599"/>
                    </a:lnTo>
                    <a:lnTo>
                      <a:pt x="117264" y="333717"/>
                    </a:lnTo>
                    <a:lnTo>
                      <a:pt x="115853" y="333100"/>
                    </a:lnTo>
                    <a:lnTo>
                      <a:pt x="116382" y="331954"/>
                    </a:lnTo>
                    <a:lnTo>
                      <a:pt x="115236" y="331337"/>
                    </a:lnTo>
                    <a:lnTo>
                      <a:pt x="114619" y="330455"/>
                    </a:lnTo>
                    <a:lnTo>
                      <a:pt x="113825" y="330808"/>
                    </a:lnTo>
                    <a:lnTo>
                      <a:pt x="114090" y="329309"/>
                    </a:lnTo>
                    <a:lnTo>
                      <a:pt x="112944" y="328427"/>
                    </a:lnTo>
                    <a:lnTo>
                      <a:pt x="113208" y="326929"/>
                    </a:lnTo>
                    <a:lnTo>
                      <a:pt x="111709" y="327281"/>
                    </a:lnTo>
                    <a:lnTo>
                      <a:pt x="112062" y="325518"/>
                    </a:lnTo>
                    <a:lnTo>
                      <a:pt x="111180" y="323754"/>
                    </a:lnTo>
                    <a:lnTo>
                      <a:pt x="110563" y="323137"/>
                    </a:lnTo>
                    <a:lnTo>
                      <a:pt x="110563" y="322256"/>
                    </a:lnTo>
                    <a:lnTo>
                      <a:pt x="110034" y="321991"/>
                    </a:lnTo>
                    <a:lnTo>
                      <a:pt x="109417" y="321462"/>
                    </a:lnTo>
                    <a:lnTo>
                      <a:pt x="110299" y="320580"/>
                    </a:lnTo>
                    <a:lnTo>
                      <a:pt x="110563" y="319081"/>
                    </a:lnTo>
                    <a:lnTo>
                      <a:pt x="109152" y="318552"/>
                    </a:lnTo>
                    <a:lnTo>
                      <a:pt x="108800" y="318552"/>
                    </a:lnTo>
                    <a:lnTo>
                      <a:pt x="108535" y="320228"/>
                    </a:lnTo>
                    <a:lnTo>
                      <a:pt x="107654" y="318817"/>
                    </a:lnTo>
                    <a:lnTo>
                      <a:pt x="107654" y="317053"/>
                    </a:lnTo>
                    <a:lnTo>
                      <a:pt x="105890" y="315907"/>
                    </a:lnTo>
                    <a:lnTo>
                      <a:pt x="105626" y="315026"/>
                    </a:lnTo>
                    <a:lnTo>
                      <a:pt x="105626" y="313880"/>
                    </a:lnTo>
                    <a:lnTo>
                      <a:pt x="104480" y="312998"/>
                    </a:lnTo>
                    <a:lnTo>
                      <a:pt x="105361" y="312116"/>
                    </a:lnTo>
                    <a:lnTo>
                      <a:pt x="105890" y="311235"/>
                    </a:lnTo>
                    <a:lnTo>
                      <a:pt x="104744" y="310000"/>
                    </a:lnTo>
                    <a:lnTo>
                      <a:pt x="104744" y="308854"/>
                    </a:lnTo>
                    <a:lnTo>
                      <a:pt x="103598" y="307708"/>
                    </a:lnTo>
                    <a:lnTo>
                      <a:pt x="104127" y="305944"/>
                    </a:lnTo>
                    <a:lnTo>
                      <a:pt x="102981" y="304798"/>
                    </a:lnTo>
                    <a:lnTo>
                      <a:pt x="102981" y="303652"/>
                    </a:lnTo>
                    <a:lnTo>
                      <a:pt x="101570" y="302506"/>
                    </a:lnTo>
                    <a:lnTo>
                      <a:pt x="101570" y="301271"/>
                    </a:lnTo>
                    <a:lnTo>
                      <a:pt x="100953" y="298979"/>
                    </a:lnTo>
                    <a:lnTo>
                      <a:pt x="100424" y="297216"/>
                    </a:lnTo>
                    <a:lnTo>
                      <a:pt x="100688" y="294835"/>
                    </a:lnTo>
                    <a:lnTo>
                      <a:pt x="99189" y="292807"/>
                    </a:lnTo>
                    <a:lnTo>
                      <a:pt x="100688" y="292543"/>
                    </a:lnTo>
                    <a:lnTo>
                      <a:pt x="99807" y="291926"/>
                    </a:lnTo>
                    <a:lnTo>
                      <a:pt x="99189" y="290250"/>
                    </a:lnTo>
                    <a:lnTo>
                      <a:pt x="100071" y="289633"/>
                    </a:lnTo>
                    <a:lnTo>
                      <a:pt x="99807" y="287870"/>
                    </a:lnTo>
                    <a:lnTo>
                      <a:pt x="98925" y="286988"/>
                    </a:lnTo>
                    <a:lnTo>
                      <a:pt x="100071" y="286459"/>
                    </a:lnTo>
                    <a:lnTo>
                      <a:pt x="100071" y="285225"/>
                    </a:lnTo>
                    <a:lnTo>
                      <a:pt x="99189" y="283814"/>
                    </a:lnTo>
                    <a:lnTo>
                      <a:pt x="98925" y="282315"/>
                    </a:lnTo>
                    <a:lnTo>
                      <a:pt x="98308" y="280640"/>
                    </a:lnTo>
                    <a:lnTo>
                      <a:pt x="96633" y="279406"/>
                    </a:lnTo>
                    <a:lnTo>
                      <a:pt x="94252" y="281169"/>
                    </a:lnTo>
                    <a:lnTo>
                      <a:pt x="92753" y="281169"/>
                    </a:lnTo>
                    <a:lnTo>
                      <a:pt x="91078" y="279670"/>
                    </a:lnTo>
                    <a:lnTo>
                      <a:pt x="75560" y="280023"/>
                    </a:lnTo>
                    <a:lnTo>
                      <a:pt x="55193" y="280287"/>
                    </a:lnTo>
                    <a:lnTo>
                      <a:pt x="53078" y="281169"/>
                    </a:lnTo>
                    <a:lnTo>
                      <a:pt x="51050" y="280287"/>
                    </a:lnTo>
                    <a:lnTo>
                      <a:pt x="50168" y="281169"/>
                    </a:lnTo>
                    <a:lnTo>
                      <a:pt x="45495" y="280287"/>
                    </a:lnTo>
                    <a:lnTo>
                      <a:pt x="44084" y="280287"/>
                    </a:lnTo>
                    <a:lnTo>
                      <a:pt x="40558" y="280287"/>
                    </a:lnTo>
                    <a:lnTo>
                      <a:pt x="39411" y="279141"/>
                    </a:lnTo>
                    <a:lnTo>
                      <a:pt x="34738" y="280287"/>
                    </a:lnTo>
                    <a:lnTo>
                      <a:pt x="29536" y="280287"/>
                    </a:lnTo>
                    <a:lnTo>
                      <a:pt x="27773" y="280023"/>
                    </a:lnTo>
                    <a:lnTo>
                      <a:pt x="26627" y="280287"/>
                    </a:lnTo>
                    <a:lnTo>
                      <a:pt x="25128" y="280287"/>
                    </a:lnTo>
                    <a:lnTo>
                      <a:pt x="23982" y="280287"/>
                    </a:lnTo>
                    <a:lnTo>
                      <a:pt x="22483" y="279406"/>
                    </a:lnTo>
                    <a:lnTo>
                      <a:pt x="18956" y="279406"/>
                    </a:lnTo>
                    <a:lnTo>
                      <a:pt x="18427" y="279141"/>
                    </a:lnTo>
                    <a:lnTo>
                      <a:pt x="17546" y="279141"/>
                    </a:lnTo>
                    <a:lnTo>
                      <a:pt x="16928" y="278524"/>
                    </a:lnTo>
                    <a:lnTo>
                      <a:pt x="14284" y="278524"/>
                    </a:lnTo>
                    <a:lnTo>
                      <a:pt x="12256" y="279670"/>
                    </a:lnTo>
                    <a:lnTo>
                      <a:pt x="11109" y="282668"/>
                    </a:lnTo>
                    <a:lnTo>
                      <a:pt x="10228" y="282668"/>
                    </a:lnTo>
                    <a:lnTo>
                      <a:pt x="7935" y="282668"/>
                    </a:lnTo>
                    <a:lnTo>
                      <a:pt x="6436" y="283814"/>
                    </a:lnTo>
                    <a:lnTo>
                      <a:pt x="5290" y="283814"/>
                    </a:lnTo>
                    <a:lnTo>
                      <a:pt x="4673" y="283461"/>
                    </a:lnTo>
                    <a:lnTo>
                      <a:pt x="5290" y="282932"/>
                    </a:lnTo>
                    <a:lnTo>
                      <a:pt x="5290" y="282668"/>
                    </a:lnTo>
                    <a:lnTo>
                      <a:pt x="4144" y="282051"/>
                    </a:lnTo>
                    <a:lnTo>
                      <a:pt x="4144" y="282932"/>
                    </a:lnTo>
                    <a:lnTo>
                      <a:pt x="3527" y="282668"/>
                    </a:lnTo>
                    <a:lnTo>
                      <a:pt x="882" y="279141"/>
                    </a:lnTo>
                    <a:lnTo>
                      <a:pt x="0" y="278259"/>
                    </a:lnTo>
                    <a:lnTo>
                      <a:pt x="1499" y="276496"/>
                    </a:lnTo>
                    <a:lnTo>
                      <a:pt x="7583" y="276232"/>
                    </a:lnTo>
                    <a:lnTo>
                      <a:pt x="7583" y="261596"/>
                    </a:lnTo>
                    <a:lnTo>
                      <a:pt x="5819" y="261067"/>
                    </a:lnTo>
                    <a:lnTo>
                      <a:pt x="5819" y="259303"/>
                    </a:lnTo>
                    <a:lnTo>
                      <a:pt x="6789" y="259303"/>
                    </a:lnTo>
                    <a:lnTo>
                      <a:pt x="9081" y="258157"/>
                    </a:lnTo>
                    <a:lnTo>
                      <a:pt x="9699" y="256658"/>
                    </a:lnTo>
                    <a:lnTo>
                      <a:pt x="10845" y="256658"/>
                    </a:lnTo>
                    <a:lnTo>
                      <a:pt x="11109" y="255248"/>
                    </a:lnTo>
                    <a:lnTo>
                      <a:pt x="13137" y="254013"/>
                    </a:lnTo>
                    <a:lnTo>
                      <a:pt x="13137" y="253484"/>
                    </a:lnTo>
                    <a:lnTo>
                      <a:pt x="13490" y="251985"/>
                    </a:lnTo>
                    <a:lnTo>
                      <a:pt x="14284" y="251456"/>
                    </a:lnTo>
                    <a:lnTo>
                      <a:pt x="16047" y="251456"/>
                    </a:lnTo>
                    <a:lnTo>
                      <a:pt x="18427" y="250575"/>
                    </a:lnTo>
                    <a:lnTo>
                      <a:pt x="19309" y="250222"/>
                    </a:lnTo>
                    <a:lnTo>
                      <a:pt x="19838" y="2502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8" name="Freihandform: Form 1817">
                <a:extLst>
                  <a:ext uri="{FF2B5EF4-FFF2-40B4-BE49-F238E27FC236}">
                    <a16:creationId xmlns:a16="http://schemas.microsoft.com/office/drawing/2014/main" id="{CFA29906-EC0C-9310-A5A8-81CF92AFE024}"/>
                  </a:ext>
                </a:extLst>
              </p:cNvPr>
              <p:cNvSpPr/>
              <p:nvPr/>
            </p:nvSpPr>
            <p:spPr>
              <a:xfrm>
                <a:off x="4498075" y="4593615"/>
                <a:ext cx="202963" cy="226680"/>
              </a:xfrm>
              <a:custGeom>
                <a:avLst/>
                <a:gdLst>
                  <a:gd name="connsiteX0" fmla="*/ 202964 w 202963"/>
                  <a:gd name="connsiteY0" fmla="*/ 109681 h 226680"/>
                  <a:gd name="connsiteX1" fmla="*/ 201200 w 202963"/>
                  <a:gd name="connsiteY1" fmla="*/ 106419 h 226680"/>
                  <a:gd name="connsiteX2" fmla="*/ 200054 w 202963"/>
                  <a:gd name="connsiteY2" fmla="*/ 107037 h 226680"/>
                  <a:gd name="connsiteX3" fmla="*/ 197762 w 202963"/>
                  <a:gd name="connsiteY3" fmla="*/ 105273 h 226680"/>
                  <a:gd name="connsiteX4" fmla="*/ 196880 w 202963"/>
                  <a:gd name="connsiteY4" fmla="*/ 101835 h 226680"/>
                  <a:gd name="connsiteX5" fmla="*/ 198908 w 202963"/>
                  <a:gd name="connsiteY5" fmla="*/ 100953 h 226680"/>
                  <a:gd name="connsiteX6" fmla="*/ 197762 w 202963"/>
                  <a:gd name="connsiteY6" fmla="*/ 100071 h 226680"/>
                  <a:gd name="connsiteX7" fmla="*/ 196263 w 202963"/>
                  <a:gd name="connsiteY7" fmla="*/ 99454 h 226680"/>
                  <a:gd name="connsiteX8" fmla="*/ 193618 w 202963"/>
                  <a:gd name="connsiteY8" fmla="*/ 98572 h 226680"/>
                  <a:gd name="connsiteX9" fmla="*/ 189298 w 202963"/>
                  <a:gd name="connsiteY9" fmla="*/ 97162 h 226680"/>
                  <a:gd name="connsiteX10" fmla="*/ 188945 w 202963"/>
                  <a:gd name="connsiteY10" fmla="*/ 96015 h 226680"/>
                  <a:gd name="connsiteX11" fmla="*/ 185506 w 202963"/>
                  <a:gd name="connsiteY11" fmla="*/ 96280 h 226680"/>
                  <a:gd name="connsiteX12" fmla="*/ 181098 w 202963"/>
                  <a:gd name="connsiteY12" fmla="*/ 94164 h 226680"/>
                  <a:gd name="connsiteX13" fmla="*/ 175543 w 202963"/>
                  <a:gd name="connsiteY13" fmla="*/ 93899 h 226680"/>
                  <a:gd name="connsiteX14" fmla="*/ 173780 w 202963"/>
                  <a:gd name="connsiteY14" fmla="*/ 92136 h 226680"/>
                  <a:gd name="connsiteX15" fmla="*/ 173515 w 202963"/>
                  <a:gd name="connsiteY15" fmla="*/ 88080 h 226680"/>
                  <a:gd name="connsiteX16" fmla="*/ 170870 w 202963"/>
                  <a:gd name="connsiteY16" fmla="*/ 84289 h 226680"/>
                  <a:gd name="connsiteX17" fmla="*/ 168225 w 202963"/>
                  <a:gd name="connsiteY17" fmla="*/ 82261 h 226680"/>
                  <a:gd name="connsiteX18" fmla="*/ 169460 w 202963"/>
                  <a:gd name="connsiteY18" fmla="*/ 80233 h 226680"/>
                  <a:gd name="connsiteX19" fmla="*/ 168578 w 202963"/>
                  <a:gd name="connsiteY19" fmla="*/ 78205 h 226680"/>
                  <a:gd name="connsiteX20" fmla="*/ 168842 w 202963"/>
                  <a:gd name="connsiteY20" fmla="*/ 76442 h 226680"/>
                  <a:gd name="connsiteX21" fmla="*/ 170253 w 202963"/>
                  <a:gd name="connsiteY21" fmla="*/ 73268 h 226680"/>
                  <a:gd name="connsiteX22" fmla="*/ 169460 w 202963"/>
                  <a:gd name="connsiteY22" fmla="*/ 66832 h 226680"/>
                  <a:gd name="connsiteX23" fmla="*/ 164787 w 202963"/>
                  <a:gd name="connsiteY23" fmla="*/ 66215 h 226680"/>
                  <a:gd name="connsiteX24" fmla="*/ 161789 w 202963"/>
                  <a:gd name="connsiteY24" fmla="*/ 66215 h 226680"/>
                  <a:gd name="connsiteX25" fmla="*/ 160731 w 202963"/>
                  <a:gd name="connsiteY25" fmla="*/ 67361 h 226680"/>
                  <a:gd name="connsiteX26" fmla="*/ 160995 w 202963"/>
                  <a:gd name="connsiteY26" fmla="*/ 60924 h 226680"/>
                  <a:gd name="connsiteX27" fmla="*/ 159497 w 202963"/>
                  <a:gd name="connsiteY27" fmla="*/ 57486 h 226680"/>
                  <a:gd name="connsiteX28" fmla="*/ 155705 w 202963"/>
                  <a:gd name="connsiteY28" fmla="*/ 55105 h 226680"/>
                  <a:gd name="connsiteX29" fmla="*/ 154559 w 202963"/>
                  <a:gd name="connsiteY29" fmla="*/ 55370 h 226680"/>
                  <a:gd name="connsiteX30" fmla="*/ 152531 w 202963"/>
                  <a:gd name="connsiteY30" fmla="*/ 54841 h 226680"/>
                  <a:gd name="connsiteX31" fmla="*/ 151032 w 202963"/>
                  <a:gd name="connsiteY31" fmla="*/ 53695 h 226680"/>
                  <a:gd name="connsiteX32" fmla="*/ 149269 w 202963"/>
                  <a:gd name="connsiteY32" fmla="*/ 53078 h 226680"/>
                  <a:gd name="connsiteX33" fmla="*/ 146977 w 202963"/>
                  <a:gd name="connsiteY33" fmla="*/ 50785 h 226680"/>
                  <a:gd name="connsiteX34" fmla="*/ 146095 w 202963"/>
                  <a:gd name="connsiteY34" fmla="*/ 49639 h 226680"/>
                  <a:gd name="connsiteX35" fmla="*/ 144949 w 202963"/>
                  <a:gd name="connsiteY35" fmla="*/ 48757 h 226680"/>
                  <a:gd name="connsiteX36" fmla="*/ 143185 w 202963"/>
                  <a:gd name="connsiteY36" fmla="*/ 48404 h 226680"/>
                  <a:gd name="connsiteX37" fmla="*/ 142304 w 202963"/>
                  <a:gd name="connsiteY37" fmla="*/ 46377 h 226680"/>
                  <a:gd name="connsiteX38" fmla="*/ 140805 w 202963"/>
                  <a:gd name="connsiteY38" fmla="*/ 46112 h 226680"/>
                  <a:gd name="connsiteX39" fmla="*/ 141069 w 202963"/>
                  <a:gd name="connsiteY39" fmla="*/ 44349 h 226680"/>
                  <a:gd name="connsiteX40" fmla="*/ 137366 w 202963"/>
                  <a:gd name="connsiteY40" fmla="*/ 42850 h 226680"/>
                  <a:gd name="connsiteX41" fmla="*/ 133575 w 202963"/>
                  <a:gd name="connsiteY41" fmla="*/ 32358 h 226680"/>
                  <a:gd name="connsiteX42" fmla="*/ 133311 w 202963"/>
                  <a:gd name="connsiteY42" fmla="*/ 27685 h 226680"/>
                  <a:gd name="connsiteX43" fmla="*/ 130401 w 202963"/>
                  <a:gd name="connsiteY43" fmla="*/ 25040 h 226680"/>
                  <a:gd name="connsiteX44" fmla="*/ 130048 w 202963"/>
                  <a:gd name="connsiteY44" fmla="*/ 20455 h 226680"/>
                  <a:gd name="connsiteX45" fmla="*/ 127668 w 202963"/>
                  <a:gd name="connsiteY45" fmla="*/ 19221 h 226680"/>
                  <a:gd name="connsiteX46" fmla="*/ 124758 w 202963"/>
                  <a:gd name="connsiteY46" fmla="*/ 15165 h 226680"/>
                  <a:gd name="connsiteX47" fmla="*/ 118410 w 202963"/>
                  <a:gd name="connsiteY47" fmla="*/ 1411 h 226680"/>
                  <a:gd name="connsiteX48" fmla="*/ 119556 w 202963"/>
                  <a:gd name="connsiteY48" fmla="*/ 0 h 226680"/>
                  <a:gd name="connsiteX49" fmla="*/ 116911 w 202963"/>
                  <a:gd name="connsiteY49" fmla="*/ 0 h 226680"/>
                  <a:gd name="connsiteX50" fmla="*/ 116911 w 202963"/>
                  <a:gd name="connsiteY50" fmla="*/ 882 h 226680"/>
                  <a:gd name="connsiteX51" fmla="*/ 116030 w 202963"/>
                  <a:gd name="connsiteY51" fmla="*/ 882 h 226680"/>
                  <a:gd name="connsiteX52" fmla="*/ 114266 w 202963"/>
                  <a:gd name="connsiteY52" fmla="*/ 882 h 226680"/>
                  <a:gd name="connsiteX53" fmla="*/ 114002 w 202963"/>
                  <a:gd name="connsiteY53" fmla="*/ 0 h 226680"/>
                  <a:gd name="connsiteX54" fmla="*/ 112591 w 202963"/>
                  <a:gd name="connsiteY54" fmla="*/ 264 h 226680"/>
                  <a:gd name="connsiteX55" fmla="*/ 111092 w 202963"/>
                  <a:gd name="connsiteY55" fmla="*/ 617 h 226680"/>
                  <a:gd name="connsiteX56" fmla="*/ 108711 w 202963"/>
                  <a:gd name="connsiteY56" fmla="*/ 1763 h 226680"/>
                  <a:gd name="connsiteX57" fmla="*/ 107565 w 202963"/>
                  <a:gd name="connsiteY57" fmla="*/ 2381 h 226680"/>
                  <a:gd name="connsiteX58" fmla="*/ 106155 w 202963"/>
                  <a:gd name="connsiteY58" fmla="*/ 3527 h 226680"/>
                  <a:gd name="connsiteX59" fmla="*/ 105273 w 202963"/>
                  <a:gd name="connsiteY59" fmla="*/ 5555 h 226680"/>
                  <a:gd name="connsiteX60" fmla="*/ 104656 w 202963"/>
                  <a:gd name="connsiteY60" fmla="*/ 6701 h 226680"/>
                  <a:gd name="connsiteX61" fmla="*/ 102892 w 202963"/>
                  <a:gd name="connsiteY61" fmla="*/ 6701 h 226680"/>
                  <a:gd name="connsiteX62" fmla="*/ 101482 w 202963"/>
                  <a:gd name="connsiteY62" fmla="*/ 3527 h 226680"/>
                  <a:gd name="connsiteX63" fmla="*/ 99718 w 202963"/>
                  <a:gd name="connsiteY63" fmla="*/ 3527 h 226680"/>
                  <a:gd name="connsiteX64" fmla="*/ 98572 w 202963"/>
                  <a:gd name="connsiteY64" fmla="*/ 5819 h 226680"/>
                  <a:gd name="connsiteX65" fmla="*/ 97338 w 202963"/>
                  <a:gd name="connsiteY65" fmla="*/ 4937 h 226680"/>
                  <a:gd name="connsiteX66" fmla="*/ 93899 w 202963"/>
                  <a:gd name="connsiteY66" fmla="*/ 8200 h 226680"/>
                  <a:gd name="connsiteX67" fmla="*/ 89755 w 202963"/>
                  <a:gd name="connsiteY67" fmla="*/ 10228 h 226680"/>
                  <a:gd name="connsiteX68" fmla="*/ 85700 w 202963"/>
                  <a:gd name="connsiteY68" fmla="*/ 15782 h 226680"/>
                  <a:gd name="connsiteX69" fmla="*/ 84553 w 202963"/>
                  <a:gd name="connsiteY69" fmla="*/ 15782 h 226680"/>
                  <a:gd name="connsiteX70" fmla="*/ 83936 w 202963"/>
                  <a:gd name="connsiteY70" fmla="*/ 16928 h 226680"/>
                  <a:gd name="connsiteX71" fmla="*/ 83936 w 202963"/>
                  <a:gd name="connsiteY71" fmla="*/ 17457 h 226680"/>
                  <a:gd name="connsiteX72" fmla="*/ 82173 w 202963"/>
                  <a:gd name="connsiteY72" fmla="*/ 16928 h 226680"/>
                  <a:gd name="connsiteX73" fmla="*/ 81908 w 202963"/>
                  <a:gd name="connsiteY73" fmla="*/ 15165 h 226680"/>
                  <a:gd name="connsiteX74" fmla="*/ 82525 w 202963"/>
                  <a:gd name="connsiteY74" fmla="*/ 13666 h 226680"/>
                  <a:gd name="connsiteX75" fmla="*/ 81027 w 202963"/>
                  <a:gd name="connsiteY75" fmla="*/ 11991 h 226680"/>
                  <a:gd name="connsiteX76" fmla="*/ 80145 w 202963"/>
                  <a:gd name="connsiteY76" fmla="*/ 10757 h 226680"/>
                  <a:gd name="connsiteX77" fmla="*/ 78999 w 202963"/>
                  <a:gd name="connsiteY77" fmla="*/ 10757 h 226680"/>
                  <a:gd name="connsiteX78" fmla="*/ 78734 w 202963"/>
                  <a:gd name="connsiteY78" fmla="*/ 9610 h 226680"/>
                  <a:gd name="connsiteX79" fmla="*/ 76971 w 202963"/>
                  <a:gd name="connsiteY79" fmla="*/ 7318 h 226680"/>
                  <a:gd name="connsiteX80" fmla="*/ 77235 w 202963"/>
                  <a:gd name="connsiteY80" fmla="*/ 5555 h 226680"/>
                  <a:gd name="connsiteX81" fmla="*/ 71681 w 202963"/>
                  <a:gd name="connsiteY81" fmla="*/ 4937 h 226680"/>
                  <a:gd name="connsiteX82" fmla="*/ 36414 w 202963"/>
                  <a:gd name="connsiteY82" fmla="*/ 12520 h 226680"/>
                  <a:gd name="connsiteX83" fmla="*/ 26451 w 202963"/>
                  <a:gd name="connsiteY83" fmla="*/ 12873 h 226680"/>
                  <a:gd name="connsiteX84" fmla="*/ 23629 w 202963"/>
                  <a:gd name="connsiteY84" fmla="*/ 104744 h 226680"/>
                  <a:gd name="connsiteX85" fmla="*/ 2292 w 202963"/>
                  <a:gd name="connsiteY85" fmla="*/ 104744 h 226680"/>
                  <a:gd name="connsiteX86" fmla="*/ 0 w 202963"/>
                  <a:gd name="connsiteY86" fmla="*/ 174662 h 226680"/>
                  <a:gd name="connsiteX87" fmla="*/ 5202 w 202963"/>
                  <a:gd name="connsiteY87" fmla="*/ 178453 h 226680"/>
                  <a:gd name="connsiteX88" fmla="*/ 9346 w 202963"/>
                  <a:gd name="connsiteY88" fmla="*/ 180569 h 226680"/>
                  <a:gd name="connsiteX89" fmla="*/ 10757 w 202963"/>
                  <a:gd name="connsiteY89" fmla="*/ 184625 h 226680"/>
                  <a:gd name="connsiteX90" fmla="*/ 10492 w 202963"/>
                  <a:gd name="connsiteY90" fmla="*/ 185506 h 226680"/>
                  <a:gd name="connsiteX91" fmla="*/ 11638 w 202963"/>
                  <a:gd name="connsiteY91" fmla="*/ 186653 h 226680"/>
                  <a:gd name="connsiteX92" fmla="*/ 11638 w 202963"/>
                  <a:gd name="connsiteY92" fmla="*/ 188680 h 226680"/>
                  <a:gd name="connsiteX93" fmla="*/ 12520 w 202963"/>
                  <a:gd name="connsiteY93" fmla="*/ 192824 h 226680"/>
                  <a:gd name="connsiteX94" fmla="*/ 13666 w 202963"/>
                  <a:gd name="connsiteY94" fmla="*/ 193706 h 226680"/>
                  <a:gd name="connsiteX95" fmla="*/ 13049 w 202963"/>
                  <a:gd name="connsiteY95" fmla="*/ 195117 h 226680"/>
                  <a:gd name="connsiteX96" fmla="*/ 13930 w 202963"/>
                  <a:gd name="connsiteY96" fmla="*/ 198291 h 226680"/>
                  <a:gd name="connsiteX97" fmla="*/ 14812 w 202963"/>
                  <a:gd name="connsiteY97" fmla="*/ 200671 h 226680"/>
                  <a:gd name="connsiteX98" fmla="*/ 15694 w 202963"/>
                  <a:gd name="connsiteY98" fmla="*/ 200936 h 226680"/>
                  <a:gd name="connsiteX99" fmla="*/ 15694 w 202963"/>
                  <a:gd name="connsiteY99" fmla="*/ 203845 h 226680"/>
                  <a:gd name="connsiteX100" fmla="*/ 16840 w 202963"/>
                  <a:gd name="connsiteY100" fmla="*/ 204463 h 226680"/>
                  <a:gd name="connsiteX101" fmla="*/ 17193 w 202963"/>
                  <a:gd name="connsiteY101" fmla="*/ 206226 h 226680"/>
                  <a:gd name="connsiteX102" fmla="*/ 18339 w 202963"/>
                  <a:gd name="connsiteY102" fmla="*/ 207637 h 226680"/>
                  <a:gd name="connsiteX103" fmla="*/ 15165 w 202963"/>
                  <a:gd name="connsiteY103" fmla="*/ 211163 h 226680"/>
                  <a:gd name="connsiteX104" fmla="*/ 12784 w 202963"/>
                  <a:gd name="connsiteY104" fmla="*/ 214073 h 226680"/>
                  <a:gd name="connsiteX105" fmla="*/ 11374 w 202963"/>
                  <a:gd name="connsiteY105" fmla="*/ 215836 h 226680"/>
                  <a:gd name="connsiteX106" fmla="*/ 10757 w 202963"/>
                  <a:gd name="connsiteY106" fmla="*/ 218217 h 226680"/>
                  <a:gd name="connsiteX107" fmla="*/ 11374 w 202963"/>
                  <a:gd name="connsiteY107" fmla="*/ 218746 h 226680"/>
                  <a:gd name="connsiteX108" fmla="*/ 10492 w 202963"/>
                  <a:gd name="connsiteY108" fmla="*/ 221655 h 226680"/>
                  <a:gd name="connsiteX109" fmla="*/ 13401 w 202963"/>
                  <a:gd name="connsiteY109" fmla="*/ 226681 h 226680"/>
                  <a:gd name="connsiteX110" fmla="*/ 15958 w 202963"/>
                  <a:gd name="connsiteY110" fmla="*/ 224300 h 226680"/>
                  <a:gd name="connsiteX111" fmla="*/ 17457 w 202963"/>
                  <a:gd name="connsiteY111" fmla="*/ 224036 h 226680"/>
                  <a:gd name="connsiteX112" fmla="*/ 20984 w 202963"/>
                  <a:gd name="connsiteY112" fmla="*/ 226064 h 226680"/>
                  <a:gd name="connsiteX113" fmla="*/ 27067 w 202963"/>
                  <a:gd name="connsiteY113" fmla="*/ 225182 h 226680"/>
                  <a:gd name="connsiteX114" fmla="*/ 33768 w 202963"/>
                  <a:gd name="connsiteY114" fmla="*/ 226328 h 226680"/>
                  <a:gd name="connsiteX115" fmla="*/ 36414 w 202963"/>
                  <a:gd name="connsiteY115" fmla="*/ 226064 h 226680"/>
                  <a:gd name="connsiteX116" fmla="*/ 37824 w 202963"/>
                  <a:gd name="connsiteY116" fmla="*/ 225182 h 226680"/>
                  <a:gd name="connsiteX117" fmla="*/ 38177 w 202963"/>
                  <a:gd name="connsiteY117" fmla="*/ 223683 h 226680"/>
                  <a:gd name="connsiteX118" fmla="*/ 37560 w 202963"/>
                  <a:gd name="connsiteY118" fmla="*/ 220774 h 226680"/>
                  <a:gd name="connsiteX119" fmla="*/ 39323 w 202963"/>
                  <a:gd name="connsiteY119" fmla="*/ 219892 h 226680"/>
                  <a:gd name="connsiteX120" fmla="*/ 42232 w 202963"/>
                  <a:gd name="connsiteY120" fmla="*/ 219627 h 226680"/>
                  <a:gd name="connsiteX121" fmla="*/ 43996 w 202963"/>
                  <a:gd name="connsiteY121" fmla="*/ 219363 h 226680"/>
                  <a:gd name="connsiteX122" fmla="*/ 48052 w 202963"/>
                  <a:gd name="connsiteY122" fmla="*/ 211163 h 226680"/>
                  <a:gd name="connsiteX123" fmla="*/ 51049 w 202963"/>
                  <a:gd name="connsiteY123" fmla="*/ 210899 h 226680"/>
                  <a:gd name="connsiteX124" fmla="*/ 51843 w 202963"/>
                  <a:gd name="connsiteY124" fmla="*/ 210017 h 226680"/>
                  <a:gd name="connsiteX125" fmla="*/ 54488 w 202963"/>
                  <a:gd name="connsiteY125" fmla="*/ 207637 h 226680"/>
                  <a:gd name="connsiteX126" fmla="*/ 55634 w 202963"/>
                  <a:gd name="connsiteY126" fmla="*/ 206226 h 226680"/>
                  <a:gd name="connsiteX127" fmla="*/ 56868 w 202963"/>
                  <a:gd name="connsiteY127" fmla="*/ 204198 h 226680"/>
                  <a:gd name="connsiteX128" fmla="*/ 56251 w 202963"/>
                  <a:gd name="connsiteY128" fmla="*/ 203052 h 226680"/>
                  <a:gd name="connsiteX129" fmla="*/ 58015 w 202963"/>
                  <a:gd name="connsiteY129" fmla="*/ 200671 h 226680"/>
                  <a:gd name="connsiteX130" fmla="*/ 57133 w 202963"/>
                  <a:gd name="connsiteY130" fmla="*/ 198908 h 226680"/>
                  <a:gd name="connsiteX131" fmla="*/ 59425 w 202963"/>
                  <a:gd name="connsiteY131" fmla="*/ 193706 h 226680"/>
                  <a:gd name="connsiteX132" fmla="*/ 60043 w 202963"/>
                  <a:gd name="connsiteY132" fmla="*/ 191943 h 226680"/>
                  <a:gd name="connsiteX133" fmla="*/ 61189 w 202963"/>
                  <a:gd name="connsiteY133" fmla="*/ 191943 h 226680"/>
                  <a:gd name="connsiteX134" fmla="*/ 64098 w 202963"/>
                  <a:gd name="connsiteY134" fmla="*/ 186653 h 226680"/>
                  <a:gd name="connsiteX135" fmla="*/ 69388 w 202963"/>
                  <a:gd name="connsiteY135" fmla="*/ 186653 h 226680"/>
                  <a:gd name="connsiteX136" fmla="*/ 74943 w 202963"/>
                  <a:gd name="connsiteY136" fmla="*/ 186653 h 226680"/>
                  <a:gd name="connsiteX137" fmla="*/ 81379 w 202963"/>
                  <a:gd name="connsiteY137" fmla="*/ 192472 h 226680"/>
                  <a:gd name="connsiteX138" fmla="*/ 81644 w 202963"/>
                  <a:gd name="connsiteY138" fmla="*/ 194852 h 226680"/>
                  <a:gd name="connsiteX139" fmla="*/ 83672 w 202963"/>
                  <a:gd name="connsiteY139" fmla="*/ 194852 h 226680"/>
                  <a:gd name="connsiteX140" fmla="*/ 83672 w 202963"/>
                  <a:gd name="connsiteY140" fmla="*/ 196880 h 226680"/>
                  <a:gd name="connsiteX141" fmla="*/ 85700 w 202963"/>
                  <a:gd name="connsiteY141" fmla="*/ 195117 h 226680"/>
                  <a:gd name="connsiteX142" fmla="*/ 87727 w 202963"/>
                  <a:gd name="connsiteY142" fmla="*/ 195117 h 226680"/>
                  <a:gd name="connsiteX143" fmla="*/ 89226 w 202963"/>
                  <a:gd name="connsiteY143" fmla="*/ 196263 h 226680"/>
                  <a:gd name="connsiteX144" fmla="*/ 93018 w 202963"/>
                  <a:gd name="connsiteY144" fmla="*/ 198643 h 226680"/>
                  <a:gd name="connsiteX145" fmla="*/ 93899 w 202963"/>
                  <a:gd name="connsiteY145" fmla="*/ 197497 h 226680"/>
                  <a:gd name="connsiteX146" fmla="*/ 95927 w 202963"/>
                  <a:gd name="connsiteY146" fmla="*/ 198291 h 226680"/>
                  <a:gd name="connsiteX147" fmla="*/ 97955 w 202963"/>
                  <a:gd name="connsiteY147" fmla="*/ 199525 h 226680"/>
                  <a:gd name="connsiteX148" fmla="*/ 103510 w 202963"/>
                  <a:gd name="connsiteY148" fmla="*/ 199790 h 226680"/>
                  <a:gd name="connsiteX149" fmla="*/ 107565 w 202963"/>
                  <a:gd name="connsiteY149" fmla="*/ 197497 h 226680"/>
                  <a:gd name="connsiteX150" fmla="*/ 114619 w 202963"/>
                  <a:gd name="connsiteY150" fmla="*/ 198026 h 226680"/>
                  <a:gd name="connsiteX151" fmla="*/ 119556 w 202963"/>
                  <a:gd name="connsiteY151" fmla="*/ 195117 h 226680"/>
                  <a:gd name="connsiteX152" fmla="*/ 122201 w 202963"/>
                  <a:gd name="connsiteY152" fmla="*/ 186124 h 226680"/>
                  <a:gd name="connsiteX153" fmla="*/ 123083 w 202963"/>
                  <a:gd name="connsiteY153" fmla="*/ 183478 h 226680"/>
                  <a:gd name="connsiteX154" fmla="*/ 125375 w 202963"/>
                  <a:gd name="connsiteY154" fmla="*/ 177307 h 226680"/>
                  <a:gd name="connsiteX155" fmla="*/ 125640 w 202963"/>
                  <a:gd name="connsiteY155" fmla="*/ 172898 h 226680"/>
                  <a:gd name="connsiteX156" fmla="*/ 137013 w 202963"/>
                  <a:gd name="connsiteY156" fmla="*/ 170606 h 226680"/>
                  <a:gd name="connsiteX157" fmla="*/ 140540 w 202963"/>
                  <a:gd name="connsiteY157" fmla="*/ 165404 h 226680"/>
                  <a:gd name="connsiteX158" fmla="*/ 142568 w 202963"/>
                  <a:gd name="connsiteY158" fmla="*/ 163376 h 226680"/>
                  <a:gd name="connsiteX159" fmla="*/ 147241 w 202963"/>
                  <a:gd name="connsiteY159" fmla="*/ 161260 h 226680"/>
                  <a:gd name="connsiteX160" fmla="*/ 150151 w 202963"/>
                  <a:gd name="connsiteY160" fmla="*/ 146977 h 226680"/>
                  <a:gd name="connsiteX161" fmla="*/ 151297 w 202963"/>
                  <a:gd name="connsiteY161" fmla="*/ 146095 h 226680"/>
                  <a:gd name="connsiteX162" fmla="*/ 151914 w 202963"/>
                  <a:gd name="connsiteY162" fmla="*/ 147594 h 226680"/>
                  <a:gd name="connsiteX163" fmla="*/ 152796 w 202963"/>
                  <a:gd name="connsiteY163" fmla="*/ 145831 h 226680"/>
                  <a:gd name="connsiteX164" fmla="*/ 154295 w 202963"/>
                  <a:gd name="connsiteY164" fmla="*/ 145566 h 226680"/>
                  <a:gd name="connsiteX165" fmla="*/ 154559 w 202963"/>
                  <a:gd name="connsiteY165" fmla="*/ 143803 h 226680"/>
                  <a:gd name="connsiteX166" fmla="*/ 155970 w 202963"/>
                  <a:gd name="connsiteY166" fmla="*/ 143538 h 226680"/>
                  <a:gd name="connsiteX167" fmla="*/ 157204 w 202963"/>
                  <a:gd name="connsiteY167" fmla="*/ 142921 h 226680"/>
                  <a:gd name="connsiteX168" fmla="*/ 159232 w 202963"/>
                  <a:gd name="connsiteY168" fmla="*/ 140011 h 226680"/>
                  <a:gd name="connsiteX169" fmla="*/ 160731 w 202963"/>
                  <a:gd name="connsiteY169" fmla="*/ 138865 h 226680"/>
                  <a:gd name="connsiteX170" fmla="*/ 161524 w 202963"/>
                  <a:gd name="connsiteY170" fmla="*/ 139747 h 226680"/>
                  <a:gd name="connsiteX171" fmla="*/ 163288 w 202963"/>
                  <a:gd name="connsiteY171" fmla="*/ 138248 h 226680"/>
                  <a:gd name="connsiteX172" fmla="*/ 163552 w 202963"/>
                  <a:gd name="connsiteY172" fmla="*/ 135956 h 226680"/>
                  <a:gd name="connsiteX173" fmla="*/ 165051 w 202963"/>
                  <a:gd name="connsiteY173" fmla="*/ 133311 h 226680"/>
                  <a:gd name="connsiteX174" fmla="*/ 167961 w 202963"/>
                  <a:gd name="connsiteY174" fmla="*/ 132694 h 226680"/>
                  <a:gd name="connsiteX175" fmla="*/ 172016 w 202963"/>
                  <a:gd name="connsiteY175" fmla="*/ 131283 h 226680"/>
                  <a:gd name="connsiteX176" fmla="*/ 170870 w 202963"/>
                  <a:gd name="connsiteY176" fmla="*/ 128373 h 226680"/>
                  <a:gd name="connsiteX177" fmla="*/ 173780 w 202963"/>
                  <a:gd name="connsiteY177" fmla="*/ 127756 h 226680"/>
                  <a:gd name="connsiteX178" fmla="*/ 174133 w 202963"/>
                  <a:gd name="connsiteY178" fmla="*/ 125464 h 226680"/>
                  <a:gd name="connsiteX179" fmla="*/ 174397 w 202963"/>
                  <a:gd name="connsiteY179" fmla="*/ 124229 h 226680"/>
                  <a:gd name="connsiteX180" fmla="*/ 176160 w 202963"/>
                  <a:gd name="connsiteY180" fmla="*/ 123700 h 226680"/>
                  <a:gd name="connsiteX181" fmla="*/ 175543 w 202963"/>
                  <a:gd name="connsiteY181" fmla="*/ 122202 h 226680"/>
                  <a:gd name="connsiteX182" fmla="*/ 177306 w 202963"/>
                  <a:gd name="connsiteY182" fmla="*/ 122202 h 226680"/>
                  <a:gd name="connsiteX183" fmla="*/ 181979 w 202963"/>
                  <a:gd name="connsiteY183" fmla="*/ 118675 h 226680"/>
                  <a:gd name="connsiteX184" fmla="*/ 188151 w 202963"/>
                  <a:gd name="connsiteY184" fmla="*/ 118146 h 226680"/>
                  <a:gd name="connsiteX185" fmla="*/ 193353 w 202963"/>
                  <a:gd name="connsiteY185" fmla="*/ 115765 h 226680"/>
                  <a:gd name="connsiteX186" fmla="*/ 194499 w 202963"/>
                  <a:gd name="connsiteY186" fmla="*/ 111974 h 226680"/>
                  <a:gd name="connsiteX187" fmla="*/ 198026 w 202963"/>
                  <a:gd name="connsiteY187" fmla="*/ 110828 h 22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</a:cxnLst>
                <a:rect l="l" t="t" r="r" b="b"/>
                <a:pathLst>
                  <a:path w="202963" h="226680">
                    <a:moveTo>
                      <a:pt x="202964" y="109681"/>
                    </a:moveTo>
                    <a:lnTo>
                      <a:pt x="201200" y="106419"/>
                    </a:lnTo>
                    <a:lnTo>
                      <a:pt x="200054" y="107037"/>
                    </a:lnTo>
                    <a:lnTo>
                      <a:pt x="197762" y="105273"/>
                    </a:lnTo>
                    <a:lnTo>
                      <a:pt x="196880" y="101835"/>
                    </a:lnTo>
                    <a:lnTo>
                      <a:pt x="198908" y="100953"/>
                    </a:lnTo>
                    <a:lnTo>
                      <a:pt x="197762" y="100071"/>
                    </a:lnTo>
                    <a:lnTo>
                      <a:pt x="196263" y="99454"/>
                    </a:lnTo>
                    <a:lnTo>
                      <a:pt x="193618" y="98572"/>
                    </a:lnTo>
                    <a:lnTo>
                      <a:pt x="189298" y="97162"/>
                    </a:lnTo>
                    <a:lnTo>
                      <a:pt x="188945" y="96015"/>
                    </a:lnTo>
                    <a:lnTo>
                      <a:pt x="185506" y="96280"/>
                    </a:lnTo>
                    <a:lnTo>
                      <a:pt x="181098" y="94164"/>
                    </a:lnTo>
                    <a:lnTo>
                      <a:pt x="175543" y="93899"/>
                    </a:lnTo>
                    <a:lnTo>
                      <a:pt x="173780" y="92136"/>
                    </a:lnTo>
                    <a:lnTo>
                      <a:pt x="173515" y="88080"/>
                    </a:lnTo>
                    <a:lnTo>
                      <a:pt x="170870" y="84289"/>
                    </a:lnTo>
                    <a:lnTo>
                      <a:pt x="168225" y="82261"/>
                    </a:lnTo>
                    <a:lnTo>
                      <a:pt x="169460" y="80233"/>
                    </a:lnTo>
                    <a:lnTo>
                      <a:pt x="168578" y="78205"/>
                    </a:lnTo>
                    <a:lnTo>
                      <a:pt x="168842" y="76442"/>
                    </a:lnTo>
                    <a:lnTo>
                      <a:pt x="170253" y="73268"/>
                    </a:lnTo>
                    <a:lnTo>
                      <a:pt x="169460" y="66832"/>
                    </a:lnTo>
                    <a:lnTo>
                      <a:pt x="164787" y="66215"/>
                    </a:lnTo>
                    <a:lnTo>
                      <a:pt x="161789" y="66215"/>
                    </a:lnTo>
                    <a:lnTo>
                      <a:pt x="160731" y="67361"/>
                    </a:lnTo>
                    <a:lnTo>
                      <a:pt x="160995" y="60924"/>
                    </a:lnTo>
                    <a:lnTo>
                      <a:pt x="159497" y="57486"/>
                    </a:lnTo>
                    <a:lnTo>
                      <a:pt x="155705" y="55105"/>
                    </a:lnTo>
                    <a:lnTo>
                      <a:pt x="154559" y="55370"/>
                    </a:lnTo>
                    <a:lnTo>
                      <a:pt x="152531" y="54841"/>
                    </a:lnTo>
                    <a:lnTo>
                      <a:pt x="151032" y="53695"/>
                    </a:lnTo>
                    <a:lnTo>
                      <a:pt x="149269" y="53078"/>
                    </a:lnTo>
                    <a:lnTo>
                      <a:pt x="146977" y="50785"/>
                    </a:lnTo>
                    <a:lnTo>
                      <a:pt x="146095" y="49639"/>
                    </a:lnTo>
                    <a:lnTo>
                      <a:pt x="144949" y="48757"/>
                    </a:lnTo>
                    <a:lnTo>
                      <a:pt x="143185" y="48404"/>
                    </a:lnTo>
                    <a:lnTo>
                      <a:pt x="142304" y="46377"/>
                    </a:lnTo>
                    <a:lnTo>
                      <a:pt x="140805" y="46112"/>
                    </a:lnTo>
                    <a:lnTo>
                      <a:pt x="141069" y="44349"/>
                    </a:lnTo>
                    <a:lnTo>
                      <a:pt x="137366" y="42850"/>
                    </a:lnTo>
                    <a:lnTo>
                      <a:pt x="133575" y="32358"/>
                    </a:lnTo>
                    <a:lnTo>
                      <a:pt x="133311" y="27685"/>
                    </a:lnTo>
                    <a:lnTo>
                      <a:pt x="130401" y="25040"/>
                    </a:lnTo>
                    <a:lnTo>
                      <a:pt x="130048" y="20455"/>
                    </a:lnTo>
                    <a:lnTo>
                      <a:pt x="127668" y="19221"/>
                    </a:lnTo>
                    <a:lnTo>
                      <a:pt x="124758" y="15165"/>
                    </a:lnTo>
                    <a:lnTo>
                      <a:pt x="118410" y="1411"/>
                    </a:lnTo>
                    <a:lnTo>
                      <a:pt x="119556" y="0"/>
                    </a:lnTo>
                    <a:lnTo>
                      <a:pt x="116911" y="0"/>
                    </a:lnTo>
                    <a:lnTo>
                      <a:pt x="116911" y="882"/>
                    </a:lnTo>
                    <a:lnTo>
                      <a:pt x="116030" y="882"/>
                    </a:lnTo>
                    <a:lnTo>
                      <a:pt x="114266" y="882"/>
                    </a:lnTo>
                    <a:lnTo>
                      <a:pt x="114002" y="0"/>
                    </a:lnTo>
                    <a:lnTo>
                      <a:pt x="112591" y="264"/>
                    </a:lnTo>
                    <a:lnTo>
                      <a:pt x="111092" y="617"/>
                    </a:lnTo>
                    <a:lnTo>
                      <a:pt x="108711" y="1763"/>
                    </a:lnTo>
                    <a:lnTo>
                      <a:pt x="107565" y="2381"/>
                    </a:lnTo>
                    <a:lnTo>
                      <a:pt x="106155" y="3527"/>
                    </a:lnTo>
                    <a:lnTo>
                      <a:pt x="105273" y="5555"/>
                    </a:lnTo>
                    <a:lnTo>
                      <a:pt x="104656" y="6701"/>
                    </a:lnTo>
                    <a:lnTo>
                      <a:pt x="102892" y="6701"/>
                    </a:lnTo>
                    <a:lnTo>
                      <a:pt x="101482" y="3527"/>
                    </a:lnTo>
                    <a:lnTo>
                      <a:pt x="99718" y="3527"/>
                    </a:lnTo>
                    <a:lnTo>
                      <a:pt x="98572" y="5819"/>
                    </a:lnTo>
                    <a:lnTo>
                      <a:pt x="97338" y="4937"/>
                    </a:lnTo>
                    <a:lnTo>
                      <a:pt x="93899" y="8200"/>
                    </a:lnTo>
                    <a:lnTo>
                      <a:pt x="89755" y="10228"/>
                    </a:lnTo>
                    <a:lnTo>
                      <a:pt x="85700" y="15782"/>
                    </a:lnTo>
                    <a:lnTo>
                      <a:pt x="84553" y="15782"/>
                    </a:lnTo>
                    <a:lnTo>
                      <a:pt x="83936" y="16928"/>
                    </a:lnTo>
                    <a:lnTo>
                      <a:pt x="83936" y="17457"/>
                    </a:lnTo>
                    <a:lnTo>
                      <a:pt x="82173" y="16928"/>
                    </a:lnTo>
                    <a:lnTo>
                      <a:pt x="81908" y="15165"/>
                    </a:lnTo>
                    <a:lnTo>
                      <a:pt x="82525" y="13666"/>
                    </a:lnTo>
                    <a:lnTo>
                      <a:pt x="81027" y="11991"/>
                    </a:lnTo>
                    <a:lnTo>
                      <a:pt x="80145" y="10757"/>
                    </a:lnTo>
                    <a:lnTo>
                      <a:pt x="78999" y="10757"/>
                    </a:lnTo>
                    <a:lnTo>
                      <a:pt x="78734" y="9610"/>
                    </a:lnTo>
                    <a:lnTo>
                      <a:pt x="76971" y="7318"/>
                    </a:lnTo>
                    <a:lnTo>
                      <a:pt x="77235" y="5555"/>
                    </a:lnTo>
                    <a:lnTo>
                      <a:pt x="71681" y="4937"/>
                    </a:lnTo>
                    <a:lnTo>
                      <a:pt x="36414" y="12520"/>
                    </a:lnTo>
                    <a:lnTo>
                      <a:pt x="26451" y="12873"/>
                    </a:lnTo>
                    <a:lnTo>
                      <a:pt x="23629" y="104744"/>
                    </a:lnTo>
                    <a:lnTo>
                      <a:pt x="2292" y="104744"/>
                    </a:lnTo>
                    <a:lnTo>
                      <a:pt x="0" y="174662"/>
                    </a:lnTo>
                    <a:lnTo>
                      <a:pt x="5202" y="178453"/>
                    </a:lnTo>
                    <a:lnTo>
                      <a:pt x="9346" y="180569"/>
                    </a:lnTo>
                    <a:lnTo>
                      <a:pt x="10757" y="184625"/>
                    </a:lnTo>
                    <a:lnTo>
                      <a:pt x="10492" y="185506"/>
                    </a:lnTo>
                    <a:lnTo>
                      <a:pt x="11638" y="186653"/>
                    </a:lnTo>
                    <a:lnTo>
                      <a:pt x="11638" y="188680"/>
                    </a:lnTo>
                    <a:lnTo>
                      <a:pt x="12520" y="192824"/>
                    </a:lnTo>
                    <a:lnTo>
                      <a:pt x="13666" y="193706"/>
                    </a:lnTo>
                    <a:lnTo>
                      <a:pt x="13049" y="195117"/>
                    </a:lnTo>
                    <a:lnTo>
                      <a:pt x="13930" y="198291"/>
                    </a:lnTo>
                    <a:lnTo>
                      <a:pt x="14812" y="200671"/>
                    </a:lnTo>
                    <a:lnTo>
                      <a:pt x="15694" y="200936"/>
                    </a:lnTo>
                    <a:lnTo>
                      <a:pt x="15694" y="203845"/>
                    </a:lnTo>
                    <a:lnTo>
                      <a:pt x="16840" y="204463"/>
                    </a:lnTo>
                    <a:lnTo>
                      <a:pt x="17193" y="206226"/>
                    </a:lnTo>
                    <a:lnTo>
                      <a:pt x="18339" y="207637"/>
                    </a:lnTo>
                    <a:lnTo>
                      <a:pt x="15165" y="211163"/>
                    </a:lnTo>
                    <a:lnTo>
                      <a:pt x="12784" y="214073"/>
                    </a:lnTo>
                    <a:lnTo>
                      <a:pt x="11374" y="215836"/>
                    </a:lnTo>
                    <a:lnTo>
                      <a:pt x="10757" y="218217"/>
                    </a:lnTo>
                    <a:lnTo>
                      <a:pt x="11374" y="218746"/>
                    </a:lnTo>
                    <a:lnTo>
                      <a:pt x="10492" y="221655"/>
                    </a:lnTo>
                    <a:lnTo>
                      <a:pt x="13401" y="226681"/>
                    </a:lnTo>
                    <a:lnTo>
                      <a:pt x="15958" y="224300"/>
                    </a:lnTo>
                    <a:lnTo>
                      <a:pt x="17457" y="224036"/>
                    </a:lnTo>
                    <a:lnTo>
                      <a:pt x="20984" y="226064"/>
                    </a:lnTo>
                    <a:lnTo>
                      <a:pt x="27067" y="225182"/>
                    </a:lnTo>
                    <a:lnTo>
                      <a:pt x="33768" y="226328"/>
                    </a:lnTo>
                    <a:lnTo>
                      <a:pt x="36414" y="226064"/>
                    </a:lnTo>
                    <a:lnTo>
                      <a:pt x="37824" y="225182"/>
                    </a:lnTo>
                    <a:lnTo>
                      <a:pt x="38177" y="223683"/>
                    </a:lnTo>
                    <a:lnTo>
                      <a:pt x="37560" y="220774"/>
                    </a:lnTo>
                    <a:lnTo>
                      <a:pt x="39323" y="219892"/>
                    </a:lnTo>
                    <a:lnTo>
                      <a:pt x="42232" y="219627"/>
                    </a:lnTo>
                    <a:lnTo>
                      <a:pt x="43996" y="219363"/>
                    </a:lnTo>
                    <a:lnTo>
                      <a:pt x="48052" y="211163"/>
                    </a:lnTo>
                    <a:lnTo>
                      <a:pt x="51049" y="210899"/>
                    </a:lnTo>
                    <a:lnTo>
                      <a:pt x="51843" y="210017"/>
                    </a:lnTo>
                    <a:lnTo>
                      <a:pt x="54488" y="207637"/>
                    </a:lnTo>
                    <a:lnTo>
                      <a:pt x="55634" y="206226"/>
                    </a:lnTo>
                    <a:lnTo>
                      <a:pt x="56868" y="204198"/>
                    </a:lnTo>
                    <a:lnTo>
                      <a:pt x="56251" y="203052"/>
                    </a:lnTo>
                    <a:lnTo>
                      <a:pt x="58015" y="200671"/>
                    </a:lnTo>
                    <a:lnTo>
                      <a:pt x="57133" y="198908"/>
                    </a:lnTo>
                    <a:lnTo>
                      <a:pt x="59425" y="193706"/>
                    </a:lnTo>
                    <a:lnTo>
                      <a:pt x="60043" y="191943"/>
                    </a:lnTo>
                    <a:lnTo>
                      <a:pt x="61189" y="191943"/>
                    </a:lnTo>
                    <a:lnTo>
                      <a:pt x="64098" y="186653"/>
                    </a:lnTo>
                    <a:lnTo>
                      <a:pt x="69388" y="186653"/>
                    </a:lnTo>
                    <a:lnTo>
                      <a:pt x="74943" y="186653"/>
                    </a:lnTo>
                    <a:lnTo>
                      <a:pt x="81379" y="192472"/>
                    </a:lnTo>
                    <a:lnTo>
                      <a:pt x="81644" y="194852"/>
                    </a:lnTo>
                    <a:lnTo>
                      <a:pt x="83672" y="194852"/>
                    </a:lnTo>
                    <a:lnTo>
                      <a:pt x="83672" y="196880"/>
                    </a:lnTo>
                    <a:lnTo>
                      <a:pt x="85700" y="195117"/>
                    </a:lnTo>
                    <a:lnTo>
                      <a:pt x="87727" y="195117"/>
                    </a:lnTo>
                    <a:lnTo>
                      <a:pt x="89226" y="196263"/>
                    </a:lnTo>
                    <a:lnTo>
                      <a:pt x="93018" y="198643"/>
                    </a:lnTo>
                    <a:lnTo>
                      <a:pt x="93899" y="197497"/>
                    </a:lnTo>
                    <a:lnTo>
                      <a:pt x="95927" y="198291"/>
                    </a:lnTo>
                    <a:lnTo>
                      <a:pt x="97955" y="199525"/>
                    </a:lnTo>
                    <a:lnTo>
                      <a:pt x="103510" y="199790"/>
                    </a:lnTo>
                    <a:lnTo>
                      <a:pt x="107565" y="197497"/>
                    </a:lnTo>
                    <a:lnTo>
                      <a:pt x="114619" y="198026"/>
                    </a:lnTo>
                    <a:lnTo>
                      <a:pt x="119556" y="195117"/>
                    </a:lnTo>
                    <a:lnTo>
                      <a:pt x="122201" y="186124"/>
                    </a:lnTo>
                    <a:lnTo>
                      <a:pt x="123083" y="183478"/>
                    </a:lnTo>
                    <a:lnTo>
                      <a:pt x="125375" y="177307"/>
                    </a:lnTo>
                    <a:lnTo>
                      <a:pt x="125640" y="172898"/>
                    </a:lnTo>
                    <a:lnTo>
                      <a:pt x="137013" y="170606"/>
                    </a:lnTo>
                    <a:lnTo>
                      <a:pt x="140540" y="165404"/>
                    </a:lnTo>
                    <a:lnTo>
                      <a:pt x="142568" y="163376"/>
                    </a:lnTo>
                    <a:lnTo>
                      <a:pt x="147241" y="161260"/>
                    </a:lnTo>
                    <a:lnTo>
                      <a:pt x="150151" y="146977"/>
                    </a:lnTo>
                    <a:lnTo>
                      <a:pt x="151297" y="146095"/>
                    </a:lnTo>
                    <a:lnTo>
                      <a:pt x="151914" y="147594"/>
                    </a:lnTo>
                    <a:lnTo>
                      <a:pt x="152796" y="145831"/>
                    </a:lnTo>
                    <a:lnTo>
                      <a:pt x="154295" y="145566"/>
                    </a:lnTo>
                    <a:lnTo>
                      <a:pt x="154559" y="143803"/>
                    </a:lnTo>
                    <a:lnTo>
                      <a:pt x="155970" y="143538"/>
                    </a:lnTo>
                    <a:lnTo>
                      <a:pt x="157204" y="142921"/>
                    </a:lnTo>
                    <a:lnTo>
                      <a:pt x="159232" y="140011"/>
                    </a:lnTo>
                    <a:lnTo>
                      <a:pt x="160731" y="138865"/>
                    </a:lnTo>
                    <a:lnTo>
                      <a:pt x="161524" y="139747"/>
                    </a:lnTo>
                    <a:lnTo>
                      <a:pt x="163288" y="138248"/>
                    </a:lnTo>
                    <a:lnTo>
                      <a:pt x="163552" y="135956"/>
                    </a:lnTo>
                    <a:lnTo>
                      <a:pt x="165051" y="133311"/>
                    </a:lnTo>
                    <a:lnTo>
                      <a:pt x="167961" y="132694"/>
                    </a:lnTo>
                    <a:lnTo>
                      <a:pt x="172016" y="131283"/>
                    </a:lnTo>
                    <a:lnTo>
                      <a:pt x="170870" y="128373"/>
                    </a:lnTo>
                    <a:lnTo>
                      <a:pt x="173780" y="127756"/>
                    </a:lnTo>
                    <a:lnTo>
                      <a:pt x="174133" y="125464"/>
                    </a:lnTo>
                    <a:lnTo>
                      <a:pt x="174397" y="124229"/>
                    </a:lnTo>
                    <a:lnTo>
                      <a:pt x="176160" y="123700"/>
                    </a:lnTo>
                    <a:lnTo>
                      <a:pt x="175543" y="122202"/>
                    </a:lnTo>
                    <a:lnTo>
                      <a:pt x="177306" y="122202"/>
                    </a:lnTo>
                    <a:lnTo>
                      <a:pt x="181979" y="118675"/>
                    </a:lnTo>
                    <a:lnTo>
                      <a:pt x="188151" y="118146"/>
                    </a:lnTo>
                    <a:lnTo>
                      <a:pt x="193353" y="115765"/>
                    </a:lnTo>
                    <a:lnTo>
                      <a:pt x="194499" y="111974"/>
                    </a:lnTo>
                    <a:lnTo>
                      <a:pt x="198026" y="1108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9" name="Freihandform: Form 1818">
                <a:extLst>
                  <a:ext uri="{FF2B5EF4-FFF2-40B4-BE49-F238E27FC236}">
                    <a16:creationId xmlns:a16="http://schemas.microsoft.com/office/drawing/2014/main" id="{095EAA16-186E-E8B0-8A5D-43D118A117AD}"/>
                  </a:ext>
                </a:extLst>
              </p:cNvPr>
              <p:cNvSpPr/>
              <p:nvPr/>
            </p:nvSpPr>
            <p:spPr>
              <a:xfrm>
                <a:off x="4085887" y="3840569"/>
                <a:ext cx="67977" cy="155440"/>
              </a:xfrm>
              <a:custGeom>
                <a:avLst/>
                <a:gdLst>
                  <a:gd name="connsiteX0" fmla="*/ 2380 w 67977"/>
                  <a:gd name="connsiteY0" fmla="*/ 37560 h 155440"/>
                  <a:gd name="connsiteX1" fmla="*/ 2028 w 67977"/>
                  <a:gd name="connsiteY1" fmla="*/ 39676 h 155440"/>
                  <a:gd name="connsiteX2" fmla="*/ 0 w 67977"/>
                  <a:gd name="connsiteY2" fmla="*/ 50432 h 155440"/>
                  <a:gd name="connsiteX3" fmla="*/ 12255 w 67977"/>
                  <a:gd name="connsiteY3" fmla="*/ 71681 h 155440"/>
                  <a:gd name="connsiteX4" fmla="*/ 17810 w 67977"/>
                  <a:gd name="connsiteY4" fmla="*/ 80498 h 155440"/>
                  <a:gd name="connsiteX5" fmla="*/ 18692 w 67977"/>
                  <a:gd name="connsiteY5" fmla="*/ 96544 h 155440"/>
                  <a:gd name="connsiteX6" fmla="*/ 18692 w 67977"/>
                  <a:gd name="connsiteY6" fmla="*/ 100600 h 155440"/>
                  <a:gd name="connsiteX7" fmla="*/ 17193 w 67977"/>
                  <a:gd name="connsiteY7" fmla="*/ 134721 h 155440"/>
                  <a:gd name="connsiteX8" fmla="*/ 18339 w 67977"/>
                  <a:gd name="connsiteY8" fmla="*/ 144331 h 155440"/>
                  <a:gd name="connsiteX9" fmla="*/ 22483 w 67977"/>
                  <a:gd name="connsiteY9" fmla="*/ 152531 h 155440"/>
                  <a:gd name="connsiteX10" fmla="*/ 23012 w 67977"/>
                  <a:gd name="connsiteY10" fmla="*/ 153060 h 155440"/>
                  <a:gd name="connsiteX11" fmla="*/ 23629 w 67977"/>
                  <a:gd name="connsiteY11" fmla="*/ 155088 h 155440"/>
                  <a:gd name="connsiteX12" fmla="*/ 26010 w 67977"/>
                  <a:gd name="connsiteY12" fmla="*/ 155441 h 155440"/>
                  <a:gd name="connsiteX13" fmla="*/ 29801 w 67977"/>
                  <a:gd name="connsiteY13" fmla="*/ 155441 h 155440"/>
                  <a:gd name="connsiteX14" fmla="*/ 33857 w 67977"/>
                  <a:gd name="connsiteY14" fmla="*/ 155088 h 155440"/>
                  <a:gd name="connsiteX15" fmla="*/ 36149 w 67977"/>
                  <a:gd name="connsiteY15" fmla="*/ 153678 h 155440"/>
                  <a:gd name="connsiteX16" fmla="*/ 37031 w 67977"/>
                  <a:gd name="connsiteY16" fmla="*/ 152531 h 155440"/>
                  <a:gd name="connsiteX17" fmla="*/ 38177 w 67977"/>
                  <a:gd name="connsiteY17" fmla="*/ 151914 h 155440"/>
                  <a:gd name="connsiteX18" fmla="*/ 39411 w 67977"/>
                  <a:gd name="connsiteY18" fmla="*/ 151914 h 155440"/>
                  <a:gd name="connsiteX19" fmla="*/ 40822 w 67977"/>
                  <a:gd name="connsiteY19" fmla="*/ 152267 h 155440"/>
                  <a:gd name="connsiteX20" fmla="*/ 41968 w 67977"/>
                  <a:gd name="connsiteY20" fmla="*/ 152531 h 155440"/>
                  <a:gd name="connsiteX21" fmla="*/ 42585 w 67977"/>
                  <a:gd name="connsiteY21" fmla="*/ 151914 h 155440"/>
                  <a:gd name="connsiteX22" fmla="*/ 43202 w 67977"/>
                  <a:gd name="connsiteY22" fmla="*/ 151032 h 155440"/>
                  <a:gd name="connsiteX23" fmla="*/ 42585 w 67977"/>
                  <a:gd name="connsiteY23" fmla="*/ 150151 h 155440"/>
                  <a:gd name="connsiteX24" fmla="*/ 43202 w 67977"/>
                  <a:gd name="connsiteY24" fmla="*/ 144596 h 155440"/>
                  <a:gd name="connsiteX25" fmla="*/ 44084 w 67977"/>
                  <a:gd name="connsiteY25" fmla="*/ 140893 h 155440"/>
                  <a:gd name="connsiteX26" fmla="*/ 43202 w 67977"/>
                  <a:gd name="connsiteY26" fmla="*/ 135867 h 155440"/>
                  <a:gd name="connsiteX27" fmla="*/ 43731 w 67977"/>
                  <a:gd name="connsiteY27" fmla="*/ 132076 h 155440"/>
                  <a:gd name="connsiteX28" fmla="*/ 44613 w 67977"/>
                  <a:gd name="connsiteY28" fmla="*/ 124229 h 155440"/>
                  <a:gd name="connsiteX29" fmla="*/ 43202 w 67977"/>
                  <a:gd name="connsiteY29" fmla="*/ 121055 h 155440"/>
                  <a:gd name="connsiteX30" fmla="*/ 42321 w 67977"/>
                  <a:gd name="connsiteY30" fmla="*/ 111974 h 155440"/>
                  <a:gd name="connsiteX31" fmla="*/ 42585 w 67977"/>
                  <a:gd name="connsiteY31" fmla="*/ 99454 h 155440"/>
                  <a:gd name="connsiteX32" fmla="*/ 43202 w 67977"/>
                  <a:gd name="connsiteY32" fmla="*/ 90372 h 155440"/>
                  <a:gd name="connsiteX33" fmla="*/ 43731 w 67977"/>
                  <a:gd name="connsiteY33" fmla="*/ 83407 h 155440"/>
                  <a:gd name="connsiteX34" fmla="*/ 52548 w 67977"/>
                  <a:gd name="connsiteY34" fmla="*/ 78734 h 155440"/>
                  <a:gd name="connsiteX35" fmla="*/ 54576 w 67977"/>
                  <a:gd name="connsiteY35" fmla="*/ 68771 h 155440"/>
                  <a:gd name="connsiteX36" fmla="*/ 55987 w 67977"/>
                  <a:gd name="connsiteY36" fmla="*/ 66479 h 155440"/>
                  <a:gd name="connsiteX37" fmla="*/ 60395 w 67977"/>
                  <a:gd name="connsiteY37" fmla="*/ 63569 h 155440"/>
                  <a:gd name="connsiteX38" fmla="*/ 63834 w 67977"/>
                  <a:gd name="connsiteY38" fmla="*/ 55634 h 155440"/>
                  <a:gd name="connsiteX39" fmla="*/ 62688 w 67977"/>
                  <a:gd name="connsiteY39" fmla="*/ 49286 h 155440"/>
                  <a:gd name="connsiteX40" fmla="*/ 66479 w 67977"/>
                  <a:gd name="connsiteY40" fmla="*/ 49815 h 155440"/>
                  <a:gd name="connsiteX41" fmla="*/ 67978 w 67977"/>
                  <a:gd name="connsiteY41" fmla="*/ 42233 h 155440"/>
                  <a:gd name="connsiteX42" fmla="*/ 65333 w 67977"/>
                  <a:gd name="connsiteY42" fmla="*/ 40205 h 155440"/>
                  <a:gd name="connsiteX43" fmla="*/ 65068 w 67977"/>
                  <a:gd name="connsiteY43" fmla="*/ 32093 h 155440"/>
                  <a:gd name="connsiteX44" fmla="*/ 60924 w 67977"/>
                  <a:gd name="connsiteY44" fmla="*/ 18956 h 155440"/>
                  <a:gd name="connsiteX45" fmla="*/ 60924 w 67977"/>
                  <a:gd name="connsiteY45" fmla="*/ 17722 h 155440"/>
                  <a:gd name="connsiteX46" fmla="*/ 60043 w 67977"/>
                  <a:gd name="connsiteY46" fmla="*/ 16047 h 155440"/>
                  <a:gd name="connsiteX47" fmla="*/ 55722 w 67977"/>
                  <a:gd name="connsiteY47" fmla="*/ 13137 h 155440"/>
                  <a:gd name="connsiteX48" fmla="*/ 52548 w 67977"/>
                  <a:gd name="connsiteY48" fmla="*/ 7230 h 155440"/>
                  <a:gd name="connsiteX49" fmla="*/ 44966 w 67977"/>
                  <a:gd name="connsiteY49" fmla="*/ 0 h 155440"/>
                  <a:gd name="connsiteX50" fmla="*/ 42585 w 67977"/>
                  <a:gd name="connsiteY50" fmla="*/ 1411 h 155440"/>
                  <a:gd name="connsiteX51" fmla="*/ 42321 w 67977"/>
                  <a:gd name="connsiteY51" fmla="*/ 2557 h 155440"/>
                  <a:gd name="connsiteX52" fmla="*/ 41086 w 67977"/>
                  <a:gd name="connsiteY52" fmla="*/ 3174 h 155440"/>
                  <a:gd name="connsiteX53" fmla="*/ 39676 w 67977"/>
                  <a:gd name="connsiteY53" fmla="*/ 3174 h 155440"/>
                  <a:gd name="connsiteX54" fmla="*/ 39059 w 67977"/>
                  <a:gd name="connsiteY54" fmla="*/ 4320 h 155440"/>
                  <a:gd name="connsiteX55" fmla="*/ 38177 w 67977"/>
                  <a:gd name="connsiteY55" fmla="*/ 3174 h 155440"/>
                  <a:gd name="connsiteX56" fmla="*/ 34738 w 67977"/>
                  <a:gd name="connsiteY56" fmla="*/ 5555 h 155440"/>
                  <a:gd name="connsiteX57" fmla="*/ 35003 w 67977"/>
                  <a:gd name="connsiteY57" fmla="*/ 8993 h 155440"/>
                  <a:gd name="connsiteX58" fmla="*/ 36149 w 67977"/>
                  <a:gd name="connsiteY58" fmla="*/ 11021 h 155440"/>
                  <a:gd name="connsiteX59" fmla="*/ 36149 w 67977"/>
                  <a:gd name="connsiteY59" fmla="*/ 13137 h 155440"/>
                  <a:gd name="connsiteX60" fmla="*/ 34121 w 67977"/>
                  <a:gd name="connsiteY60" fmla="*/ 13137 h 155440"/>
                  <a:gd name="connsiteX61" fmla="*/ 32710 w 67977"/>
                  <a:gd name="connsiteY61" fmla="*/ 13930 h 155440"/>
                  <a:gd name="connsiteX62" fmla="*/ 31476 w 67977"/>
                  <a:gd name="connsiteY62" fmla="*/ 18956 h 155440"/>
                  <a:gd name="connsiteX63" fmla="*/ 27685 w 67977"/>
                  <a:gd name="connsiteY63" fmla="*/ 25040 h 155440"/>
                  <a:gd name="connsiteX64" fmla="*/ 24246 w 67977"/>
                  <a:gd name="connsiteY64" fmla="*/ 23894 h 155440"/>
                  <a:gd name="connsiteX65" fmla="*/ 18956 w 67977"/>
                  <a:gd name="connsiteY65" fmla="*/ 25657 h 155440"/>
                  <a:gd name="connsiteX66" fmla="*/ 17810 w 67977"/>
                  <a:gd name="connsiteY66" fmla="*/ 24511 h 155440"/>
                  <a:gd name="connsiteX67" fmla="*/ 14900 w 67977"/>
                  <a:gd name="connsiteY67" fmla="*/ 23894 h 155440"/>
                  <a:gd name="connsiteX68" fmla="*/ 13137 w 67977"/>
                  <a:gd name="connsiteY68" fmla="*/ 26539 h 155440"/>
                  <a:gd name="connsiteX69" fmla="*/ 13137 w 67977"/>
                  <a:gd name="connsiteY69" fmla="*/ 28566 h 155440"/>
                  <a:gd name="connsiteX70" fmla="*/ 11638 w 67977"/>
                  <a:gd name="connsiteY70" fmla="*/ 28566 h 155440"/>
                  <a:gd name="connsiteX71" fmla="*/ 12255 w 67977"/>
                  <a:gd name="connsiteY71" fmla="*/ 29713 h 155440"/>
                  <a:gd name="connsiteX72" fmla="*/ 10845 w 67977"/>
                  <a:gd name="connsiteY72" fmla="*/ 29713 h 155440"/>
                  <a:gd name="connsiteX73" fmla="*/ 8200 w 67977"/>
                  <a:gd name="connsiteY73" fmla="*/ 29095 h 155440"/>
                  <a:gd name="connsiteX74" fmla="*/ 8200 w 67977"/>
                  <a:gd name="connsiteY74" fmla="*/ 30859 h 155440"/>
                  <a:gd name="connsiteX75" fmla="*/ 6436 w 67977"/>
                  <a:gd name="connsiteY75" fmla="*/ 32093 h 155440"/>
                  <a:gd name="connsiteX76" fmla="*/ 6701 w 67977"/>
                  <a:gd name="connsiteY76" fmla="*/ 33504 h 155440"/>
                  <a:gd name="connsiteX77" fmla="*/ 4937 w 67977"/>
                  <a:gd name="connsiteY77" fmla="*/ 32887 h 155440"/>
                  <a:gd name="connsiteX78" fmla="*/ 4408 w 67977"/>
                  <a:gd name="connsiteY78" fmla="*/ 35267 h 155440"/>
                  <a:gd name="connsiteX79" fmla="*/ 2380 w 67977"/>
                  <a:gd name="connsiteY79" fmla="*/ 35267 h 15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67977" h="155440">
                    <a:moveTo>
                      <a:pt x="2380" y="37560"/>
                    </a:moveTo>
                    <a:lnTo>
                      <a:pt x="2028" y="39676"/>
                    </a:lnTo>
                    <a:lnTo>
                      <a:pt x="0" y="50432"/>
                    </a:lnTo>
                    <a:lnTo>
                      <a:pt x="12255" y="71681"/>
                    </a:lnTo>
                    <a:lnTo>
                      <a:pt x="17810" y="80498"/>
                    </a:lnTo>
                    <a:lnTo>
                      <a:pt x="18692" y="96544"/>
                    </a:lnTo>
                    <a:lnTo>
                      <a:pt x="18692" y="100600"/>
                    </a:lnTo>
                    <a:lnTo>
                      <a:pt x="17193" y="134721"/>
                    </a:lnTo>
                    <a:lnTo>
                      <a:pt x="18339" y="144331"/>
                    </a:lnTo>
                    <a:lnTo>
                      <a:pt x="22483" y="152531"/>
                    </a:lnTo>
                    <a:lnTo>
                      <a:pt x="23012" y="153060"/>
                    </a:lnTo>
                    <a:lnTo>
                      <a:pt x="23629" y="155088"/>
                    </a:lnTo>
                    <a:lnTo>
                      <a:pt x="26010" y="155441"/>
                    </a:lnTo>
                    <a:lnTo>
                      <a:pt x="29801" y="155441"/>
                    </a:lnTo>
                    <a:lnTo>
                      <a:pt x="33857" y="155088"/>
                    </a:lnTo>
                    <a:lnTo>
                      <a:pt x="36149" y="153678"/>
                    </a:lnTo>
                    <a:lnTo>
                      <a:pt x="37031" y="152531"/>
                    </a:lnTo>
                    <a:lnTo>
                      <a:pt x="38177" y="151914"/>
                    </a:lnTo>
                    <a:lnTo>
                      <a:pt x="39411" y="151914"/>
                    </a:lnTo>
                    <a:lnTo>
                      <a:pt x="40822" y="152267"/>
                    </a:lnTo>
                    <a:lnTo>
                      <a:pt x="41968" y="152531"/>
                    </a:lnTo>
                    <a:lnTo>
                      <a:pt x="42585" y="151914"/>
                    </a:lnTo>
                    <a:lnTo>
                      <a:pt x="43202" y="151032"/>
                    </a:lnTo>
                    <a:lnTo>
                      <a:pt x="42585" y="150151"/>
                    </a:lnTo>
                    <a:lnTo>
                      <a:pt x="43202" y="144596"/>
                    </a:lnTo>
                    <a:lnTo>
                      <a:pt x="44084" y="140893"/>
                    </a:lnTo>
                    <a:lnTo>
                      <a:pt x="43202" y="135867"/>
                    </a:lnTo>
                    <a:lnTo>
                      <a:pt x="43731" y="132076"/>
                    </a:lnTo>
                    <a:lnTo>
                      <a:pt x="44613" y="124229"/>
                    </a:lnTo>
                    <a:lnTo>
                      <a:pt x="43202" y="121055"/>
                    </a:lnTo>
                    <a:lnTo>
                      <a:pt x="42321" y="111974"/>
                    </a:lnTo>
                    <a:lnTo>
                      <a:pt x="42585" y="99454"/>
                    </a:lnTo>
                    <a:lnTo>
                      <a:pt x="43202" y="90372"/>
                    </a:lnTo>
                    <a:lnTo>
                      <a:pt x="43731" y="83407"/>
                    </a:lnTo>
                    <a:lnTo>
                      <a:pt x="52548" y="78734"/>
                    </a:lnTo>
                    <a:lnTo>
                      <a:pt x="54576" y="68771"/>
                    </a:lnTo>
                    <a:lnTo>
                      <a:pt x="55987" y="66479"/>
                    </a:lnTo>
                    <a:lnTo>
                      <a:pt x="60395" y="63569"/>
                    </a:lnTo>
                    <a:lnTo>
                      <a:pt x="63834" y="55634"/>
                    </a:lnTo>
                    <a:lnTo>
                      <a:pt x="62688" y="49286"/>
                    </a:lnTo>
                    <a:lnTo>
                      <a:pt x="66479" y="49815"/>
                    </a:lnTo>
                    <a:lnTo>
                      <a:pt x="67978" y="42233"/>
                    </a:lnTo>
                    <a:lnTo>
                      <a:pt x="65333" y="40205"/>
                    </a:lnTo>
                    <a:lnTo>
                      <a:pt x="65068" y="32093"/>
                    </a:lnTo>
                    <a:lnTo>
                      <a:pt x="60924" y="18956"/>
                    </a:lnTo>
                    <a:lnTo>
                      <a:pt x="60924" y="17722"/>
                    </a:lnTo>
                    <a:lnTo>
                      <a:pt x="60043" y="16047"/>
                    </a:lnTo>
                    <a:lnTo>
                      <a:pt x="55722" y="13137"/>
                    </a:lnTo>
                    <a:lnTo>
                      <a:pt x="52548" y="7230"/>
                    </a:lnTo>
                    <a:lnTo>
                      <a:pt x="44966" y="0"/>
                    </a:lnTo>
                    <a:lnTo>
                      <a:pt x="42585" y="1411"/>
                    </a:lnTo>
                    <a:lnTo>
                      <a:pt x="42321" y="2557"/>
                    </a:lnTo>
                    <a:lnTo>
                      <a:pt x="41086" y="3174"/>
                    </a:lnTo>
                    <a:lnTo>
                      <a:pt x="39676" y="3174"/>
                    </a:lnTo>
                    <a:lnTo>
                      <a:pt x="39059" y="4320"/>
                    </a:lnTo>
                    <a:lnTo>
                      <a:pt x="38177" y="3174"/>
                    </a:lnTo>
                    <a:lnTo>
                      <a:pt x="34738" y="5555"/>
                    </a:lnTo>
                    <a:lnTo>
                      <a:pt x="35003" y="8993"/>
                    </a:lnTo>
                    <a:lnTo>
                      <a:pt x="36149" y="11021"/>
                    </a:lnTo>
                    <a:lnTo>
                      <a:pt x="36149" y="13137"/>
                    </a:lnTo>
                    <a:lnTo>
                      <a:pt x="34121" y="13137"/>
                    </a:lnTo>
                    <a:lnTo>
                      <a:pt x="32710" y="13930"/>
                    </a:lnTo>
                    <a:lnTo>
                      <a:pt x="31476" y="18956"/>
                    </a:lnTo>
                    <a:lnTo>
                      <a:pt x="27685" y="25040"/>
                    </a:lnTo>
                    <a:lnTo>
                      <a:pt x="24246" y="23894"/>
                    </a:lnTo>
                    <a:lnTo>
                      <a:pt x="18956" y="25657"/>
                    </a:lnTo>
                    <a:lnTo>
                      <a:pt x="17810" y="24511"/>
                    </a:lnTo>
                    <a:lnTo>
                      <a:pt x="14900" y="23894"/>
                    </a:lnTo>
                    <a:lnTo>
                      <a:pt x="13137" y="26539"/>
                    </a:lnTo>
                    <a:lnTo>
                      <a:pt x="13137" y="28566"/>
                    </a:lnTo>
                    <a:lnTo>
                      <a:pt x="11638" y="28566"/>
                    </a:lnTo>
                    <a:lnTo>
                      <a:pt x="12255" y="29713"/>
                    </a:lnTo>
                    <a:lnTo>
                      <a:pt x="10845" y="29713"/>
                    </a:lnTo>
                    <a:lnTo>
                      <a:pt x="8200" y="29095"/>
                    </a:lnTo>
                    <a:lnTo>
                      <a:pt x="8200" y="30859"/>
                    </a:lnTo>
                    <a:lnTo>
                      <a:pt x="6436" y="32093"/>
                    </a:lnTo>
                    <a:lnTo>
                      <a:pt x="6701" y="33504"/>
                    </a:lnTo>
                    <a:lnTo>
                      <a:pt x="4937" y="32887"/>
                    </a:lnTo>
                    <a:lnTo>
                      <a:pt x="4408" y="35267"/>
                    </a:lnTo>
                    <a:lnTo>
                      <a:pt x="2380" y="3526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0" name="Freihandform: Form 1819">
                <a:extLst>
                  <a:ext uri="{FF2B5EF4-FFF2-40B4-BE49-F238E27FC236}">
                    <a16:creationId xmlns:a16="http://schemas.microsoft.com/office/drawing/2014/main" id="{CAF0A472-BE5F-F4D8-AFA5-A09BB6759FFE}"/>
                  </a:ext>
                </a:extLst>
              </p:cNvPr>
              <p:cNvSpPr/>
              <p:nvPr/>
            </p:nvSpPr>
            <p:spPr>
              <a:xfrm>
                <a:off x="4706593" y="4208055"/>
                <a:ext cx="41703" cy="53077"/>
              </a:xfrm>
              <a:custGeom>
                <a:avLst/>
                <a:gdLst>
                  <a:gd name="connsiteX0" fmla="*/ 1411 w 41703"/>
                  <a:gd name="connsiteY0" fmla="*/ 9875 h 53077"/>
                  <a:gd name="connsiteX1" fmla="*/ 2909 w 41703"/>
                  <a:gd name="connsiteY1" fmla="*/ 6701 h 53077"/>
                  <a:gd name="connsiteX2" fmla="*/ 4056 w 41703"/>
                  <a:gd name="connsiteY2" fmla="*/ 6436 h 53077"/>
                  <a:gd name="connsiteX3" fmla="*/ 7847 w 41703"/>
                  <a:gd name="connsiteY3" fmla="*/ 8464 h 53077"/>
                  <a:gd name="connsiteX4" fmla="*/ 8993 w 41703"/>
                  <a:gd name="connsiteY4" fmla="*/ 11374 h 53077"/>
                  <a:gd name="connsiteX5" fmla="*/ 12520 w 41703"/>
                  <a:gd name="connsiteY5" fmla="*/ 12520 h 53077"/>
                  <a:gd name="connsiteX6" fmla="*/ 15165 w 41703"/>
                  <a:gd name="connsiteY6" fmla="*/ 10756 h 53077"/>
                  <a:gd name="connsiteX7" fmla="*/ 16664 w 41703"/>
                  <a:gd name="connsiteY7" fmla="*/ 11903 h 53077"/>
                  <a:gd name="connsiteX8" fmla="*/ 20102 w 41703"/>
                  <a:gd name="connsiteY8" fmla="*/ 10492 h 53077"/>
                  <a:gd name="connsiteX9" fmla="*/ 20984 w 41703"/>
                  <a:gd name="connsiteY9" fmla="*/ 8464 h 53077"/>
                  <a:gd name="connsiteX10" fmla="*/ 21866 w 41703"/>
                  <a:gd name="connsiteY10" fmla="*/ 0 h 53077"/>
                  <a:gd name="connsiteX11" fmla="*/ 25922 w 41703"/>
                  <a:gd name="connsiteY11" fmla="*/ 2645 h 53077"/>
                  <a:gd name="connsiteX12" fmla="*/ 27685 w 41703"/>
                  <a:gd name="connsiteY12" fmla="*/ 264 h 53077"/>
                  <a:gd name="connsiteX13" fmla="*/ 31476 w 41703"/>
                  <a:gd name="connsiteY13" fmla="*/ 881 h 53077"/>
                  <a:gd name="connsiteX14" fmla="*/ 37648 w 41703"/>
                  <a:gd name="connsiteY14" fmla="*/ 529 h 53077"/>
                  <a:gd name="connsiteX15" fmla="*/ 36414 w 41703"/>
                  <a:gd name="connsiteY15" fmla="*/ 2909 h 53077"/>
                  <a:gd name="connsiteX16" fmla="*/ 35267 w 41703"/>
                  <a:gd name="connsiteY16" fmla="*/ 6436 h 53077"/>
                  <a:gd name="connsiteX17" fmla="*/ 32622 w 41703"/>
                  <a:gd name="connsiteY17" fmla="*/ 8993 h 53077"/>
                  <a:gd name="connsiteX18" fmla="*/ 33504 w 41703"/>
                  <a:gd name="connsiteY18" fmla="*/ 9610 h 53077"/>
                  <a:gd name="connsiteX19" fmla="*/ 32358 w 41703"/>
                  <a:gd name="connsiteY19" fmla="*/ 10492 h 53077"/>
                  <a:gd name="connsiteX20" fmla="*/ 32093 w 41703"/>
                  <a:gd name="connsiteY20" fmla="*/ 13666 h 53077"/>
                  <a:gd name="connsiteX21" fmla="*/ 33857 w 41703"/>
                  <a:gd name="connsiteY21" fmla="*/ 15429 h 53077"/>
                  <a:gd name="connsiteX22" fmla="*/ 35267 w 41703"/>
                  <a:gd name="connsiteY22" fmla="*/ 14019 h 53077"/>
                  <a:gd name="connsiteX23" fmla="*/ 38177 w 41703"/>
                  <a:gd name="connsiteY23" fmla="*/ 15429 h 53077"/>
                  <a:gd name="connsiteX24" fmla="*/ 41704 w 41703"/>
                  <a:gd name="connsiteY24" fmla="*/ 16311 h 53077"/>
                  <a:gd name="connsiteX25" fmla="*/ 40205 w 41703"/>
                  <a:gd name="connsiteY25" fmla="*/ 18074 h 53077"/>
                  <a:gd name="connsiteX26" fmla="*/ 41439 w 41703"/>
                  <a:gd name="connsiteY26" fmla="*/ 19485 h 53077"/>
                  <a:gd name="connsiteX27" fmla="*/ 41704 w 41703"/>
                  <a:gd name="connsiteY27" fmla="*/ 22747 h 53077"/>
                  <a:gd name="connsiteX28" fmla="*/ 37031 w 41703"/>
                  <a:gd name="connsiteY28" fmla="*/ 24511 h 53077"/>
                  <a:gd name="connsiteX29" fmla="*/ 35885 w 41703"/>
                  <a:gd name="connsiteY29" fmla="*/ 26274 h 53077"/>
                  <a:gd name="connsiteX30" fmla="*/ 36766 w 41703"/>
                  <a:gd name="connsiteY30" fmla="*/ 27685 h 53077"/>
                  <a:gd name="connsiteX31" fmla="*/ 34738 w 41703"/>
                  <a:gd name="connsiteY31" fmla="*/ 30065 h 53077"/>
                  <a:gd name="connsiteX32" fmla="*/ 32975 w 41703"/>
                  <a:gd name="connsiteY32" fmla="*/ 30330 h 53077"/>
                  <a:gd name="connsiteX33" fmla="*/ 32093 w 41703"/>
                  <a:gd name="connsiteY33" fmla="*/ 36413 h 53077"/>
                  <a:gd name="connsiteX34" fmla="*/ 29448 w 41703"/>
                  <a:gd name="connsiteY34" fmla="*/ 37295 h 53077"/>
                  <a:gd name="connsiteX35" fmla="*/ 25922 w 41703"/>
                  <a:gd name="connsiteY35" fmla="*/ 44613 h 53077"/>
                  <a:gd name="connsiteX36" fmla="*/ 24158 w 41703"/>
                  <a:gd name="connsiteY36" fmla="*/ 47523 h 53077"/>
                  <a:gd name="connsiteX37" fmla="*/ 22130 w 41703"/>
                  <a:gd name="connsiteY37" fmla="*/ 48933 h 53077"/>
                  <a:gd name="connsiteX38" fmla="*/ 18603 w 41703"/>
                  <a:gd name="connsiteY38" fmla="*/ 49815 h 53077"/>
                  <a:gd name="connsiteX39" fmla="*/ 16928 w 41703"/>
                  <a:gd name="connsiteY39" fmla="*/ 53077 h 53077"/>
                  <a:gd name="connsiteX40" fmla="*/ 12255 w 41703"/>
                  <a:gd name="connsiteY40" fmla="*/ 52813 h 53077"/>
                  <a:gd name="connsiteX41" fmla="*/ 9610 w 41703"/>
                  <a:gd name="connsiteY41" fmla="*/ 51843 h 53077"/>
                  <a:gd name="connsiteX42" fmla="*/ 8464 w 41703"/>
                  <a:gd name="connsiteY42" fmla="*/ 44349 h 53077"/>
                  <a:gd name="connsiteX43" fmla="*/ 5555 w 41703"/>
                  <a:gd name="connsiteY43" fmla="*/ 40205 h 53077"/>
                  <a:gd name="connsiteX44" fmla="*/ 6084 w 41703"/>
                  <a:gd name="connsiteY44" fmla="*/ 25040 h 53077"/>
                  <a:gd name="connsiteX45" fmla="*/ 5290 w 41703"/>
                  <a:gd name="connsiteY45" fmla="*/ 23276 h 53077"/>
                  <a:gd name="connsiteX46" fmla="*/ 5819 w 41703"/>
                  <a:gd name="connsiteY46" fmla="*/ 21248 h 53077"/>
                  <a:gd name="connsiteX47" fmla="*/ 5290 w 41703"/>
                  <a:gd name="connsiteY47" fmla="*/ 17193 h 53077"/>
                  <a:gd name="connsiteX48" fmla="*/ 4056 w 41703"/>
                  <a:gd name="connsiteY48" fmla="*/ 16928 h 53077"/>
                  <a:gd name="connsiteX49" fmla="*/ 1411 w 41703"/>
                  <a:gd name="connsiteY49" fmla="*/ 12784 h 53077"/>
                  <a:gd name="connsiteX50" fmla="*/ 264 w 41703"/>
                  <a:gd name="connsiteY50" fmla="*/ 12784 h 53077"/>
                  <a:gd name="connsiteX51" fmla="*/ 0 w 41703"/>
                  <a:gd name="connsiteY51" fmla="*/ 11374 h 5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703" h="53077">
                    <a:moveTo>
                      <a:pt x="1411" y="9875"/>
                    </a:moveTo>
                    <a:lnTo>
                      <a:pt x="2909" y="6701"/>
                    </a:lnTo>
                    <a:lnTo>
                      <a:pt x="4056" y="6436"/>
                    </a:lnTo>
                    <a:lnTo>
                      <a:pt x="7847" y="8464"/>
                    </a:lnTo>
                    <a:lnTo>
                      <a:pt x="8993" y="11374"/>
                    </a:lnTo>
                    <a:lnTo>
                      <a:pt x="12520" y="12520"/>
                    </a:lnTo>
                    <a:lnTo>
                      <a:pt x="15165" y="10756"/>
                    </a:lnTo>
                    <a:lnTo>
                      <a:pt x="16664" y="11903"/>
                    </a:lnTo>
                    <a:lnTo>
                      <a:pt x="20102" y="10492"/>
                    </a:lnTo>
                    <a:lnTo>
                      <a:pt x="20984" y="8464"/>
                    </a:lnTo>
                    <a:lnTo>
                      <a:pt x="21866" y="0"/>
                    </a:lnTo>
                    <a:lnTo>
                      <a:pt x="25922" y="2645"/>
                    </a:lnTo>
                    <a:lnTo>
                      <a:pt x="27685" y="264"/>
                    </a:lnTo>
                    <a:lnTo>
                      <a:pt x="31476" y="881"/>
                    </a:lnTo>
                    <a:lnTo>
                      <a:pt x="37648" y="529"/>
                    </a:lnTo>
                    <a:lnTo>
                      <a:pt x="36414" y="2909"/>
                    </a:lnTo>
                    <a:lnTo>
                      <a:pt x="35267" y="6436"/>
                    </a:lnTo>
                    <a:lnTo>
                      <a:pt x="32622" y="8993"/>
                    </a:lnTo>
                    <a:lnTo>
                      <a:pt x="33504" y="9610"/>
                    </a:lnTo>
                    <a:lnTo>
                      <a:pt x="32358" y="10492"/>
                    </a:lnTo>
                    <a:lnTo>
                      <a:pt x="32093" y="13666"/>
                    </a:lnTo>
                    <a:lnTo>
                      <a:pt x="33857" y="15429"/>
                    </a:lnTo>
                    <a:lnTo>
                      <a:pt x="35267" y="14019"/>
                    </a:lnTo>
                    <a:lnTo>
                      <a:pt x="38177" y="15429"/>
                    </a:lnTo>
                    <a:lnTo>
                      <a:pt x="41704" y="16311"/>
                    </a:lnTo>
                    <a:lnTo>
                      <a:pt x="40205" y="18074"/>
                    </a:lnTo>
                    <a:lnTo>
                      <a:pt x="41439" y="19485"/>
                    </a:lnTo>
                    <a:lnTo>
                      <a:pt x="41704" y="22747"/>
                    </a:lnTo>
                    <a:lnTo>
                      <a:pt x="37031" y="24511"/>
                    </a:lnTo>
                    <a:lnTo>
                      <a:pt x="35885" y="26274"/>
                    </a:lnTo>
                    <a:lnTo>
                      <a:pt x="36766" y="27685"/>
                    </a:lnTo>
                    <a:lnTo>
                      <a:pt x="34738" y="30065"/>
                    </a:lnTo>
                    <a:lnTo>
                      <a:pt x="32975" y="30330"/>
                    </a:lnTo>
                    <a:lnTo>
                      <a:pt x="32093" y="36413"/>
                    </a:lnTo>
                    <a:lnTo>
                      <a:pt x="29448" y="37295"/>
                    </a:lnTo>
                    <a:lnTo>
                      <a:pt x="25922" y="44613"/>
                    </a:lnTo>
                    <a:lnTo>
                      <a:pt x="24158" y="47523"/>
                    </a:lnTo>
                    <a:lnTo>
                      <a:pt x="22130" y="48933"/>
                    </a:lnTo>
                    <a:lnTo>
                      <a:pt x="18603" y="49815"/>
                    </a:lnTo>
                    <a:lnTo>
                      <a:pt x="16928" y="53077"/>
                    </a:lnTo>
                    <a:lnTo>
                      <a:pt x="12255" y="52813"/>
                    </a:lnTo>
                    <a:lnTo>
                      <a:pt x="9610" y="51843"/>
                    </a:lnTo>
                    <a:lnTo>
                      <a:pt x="8464" y="44349"/>
                    </a:lnTo>
                    <a:lnTo>
                      <a:pt x="5555" y="40205"/>
                    </a:lnTo>
                    <a:lnTo>
                      <a:pt x="6084" y="25040"/>
                    </a:lnTo>
                    <a:lnTo>
                      <a:pt x="5290" y="23276"/>
                    </a:lnTo>
                    <a:lnTo>
                      <a:pt x="5819" y="21248"/>
                    </a:lnTo>
                    <a:lnTo>
                      <a:pt x="5290" y="17193"/>
                    </a:lnTo>
                    <a:lnTo>
                      <a:pt x="4056" y="16928"/>
                    </a:lnTo>
                    <a:lnTo>
                      <a:pt x="1411" y="12784"/>
                    </a:lnTo>
                    <a:lnTo>
                      <a:pt x="264" y="12784"/>
                    </a:lnTo>
                    <a:lnTo>
                      <a:pt x="0" y="113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1" name="Freihandform: Form 1820">
                <a:extLst>
                  <a:ext uri="{FF2B5EF4-FFF2-40B4-BE49-F238E27FC236}">
                    <a16:creationId xmlns:a16="http://schemas.microsoft.com/office/drawing/2014/main" id="{7A4EED67-82D6-E384-C5C2-BCB9866B1B6A}"/>
                  </a:ext>
                </a:extLst>
              </p:cNvPr>
              <p:cNvSpPr/>
              <p:nvPr/>
            </p:nvSpPr>
            <p:spPr>
              <a:xfrm>
                <a:off x="3947904" y="3770828"/>
                <a:ext cx="172104" cy="144684"/>
              </a:xfrm>
              <a:custGeom>
                <a:avLst/>
                <a:gdLst>
                  <a:gd name="connsiteX0" fmla="*/ 0 w 172104"/>
                  <a:gd name="connsiteY0" fmla="*/ 119027 h 144684"/>
                  <a:gd name="connsiteX1" fmla="*/ 1763 w 172104"/>
                  <a:gd name="connsiteY1" fmla="*/ 116382 h 144684"/>
                  <a:gd name="connsiteX2" fmla="*/ 1499 w 172104"/>
                  <a:gd name="connsiteY2" fmla="*/ 114883 h 144684"/>
                  <a:gd name="connsiteX3" fmla="*/ 2645 w 172104"/>
                  <a:gd name="connsiteY3" fmla="*/ 108535 h 144684"/>
                  <a:gd name="connsiteX4" fmla="*/ 2028 w 172104"/>
                  <a:gd name="connsiteY4" fmla="*/ 105009 h 144684"/>
                  <a:gd name="connsiteX5" fmla="*/ 881 w 172104"/>
                  <a:gd name="connsiteY5" fmla="*/ 104391 h 144684"/>
                  <a:gd name="connsiteX6" fmla="*/ 1499 w 172104"/>
                  <a:gd name="connsiteY6" fmla="*/ 102628 h 144684"/>
                  <a:gd name="connsiteX7" fmla="*/ 5290 w 172104"/>
                  <a:gd name="connsiteY7" fmla="*/ 101835 h 144684"/>
                  <a:gd name="connsiteX8" fmla="*/ 5290 w 172104"/>
                  <a:gd name="connsiteY8" fmla="*/ 100336 h 144684"/>
                  <a:gd name="connsiteX9" fmla="*/ 6436 w 172104"/>
                  <a:gd name="connsiteY9" fmla="*/ 98837 h 144684"/>
                  <a:gd name="connsiteX10" fmla="*/ 6436 w 172104"/>
                  <a:gd name="connsiteY10" fmla="*/ 95046 h 144684"/>
                  <a:gd name="connsiteX11" fmla="*/ 7318 w 172104"/>
                  <a:gd name="connsiteY11" fmla="*/ 94781 h 144684"/>
                  <a:gd name="connsiteX12" fmla="*/ 6965 w 172104"/>
                  <a:gd name="connsiteY12" fmla="*/ 90461 h 144684"/>
                  <a:gd name="connsiteX13" fmla="*/ 5819 w 172104"/>
                  <a:gd name="connsiteY13" fmla="*/ 90108 h 144684"/>
                  <a:gd name="connsiteX14" fmla="*/ 6436 w 172104"/>
                  <a:gd name="connsiteY14" fmla="*/ 86052 h 144684"/>
                  <a:gd name="connsiteX15" fmla="*/ 5554 w 172104"/>
                  <a:gd name="connsiteY15" fmla="*/ 85171 h 144684"/>
                  <a:gd name="connsiteX16" fmla="*/ 6436 w 172104"/>
                  <a:gd name="connsiteY16" fmla="*/ 84289 h 144684"/>
                  <a:gd name="connsiteX17" fmla="*/ 6436 w 172104"/>
                  <a:gd name="connsiteY17" fmla="*/ 83407 h 144684"/>
                  <a:gd name="connsiteX18" fmla="*/ 10492 w 172104"/>
                  <a:gd name="connsiteY18" fmla="*/ 80233 h 144684"/>
                  <a:gd name="connsiteX19" fmla="*/ 17545 w 172104"/>
                  <a:gd name="connsiteY19" fmla="*/ 80233 h 144684"/>
                  <a:gd name="connsiteX20" fmla="*/ 18692 w 172104"/>
                  <a:gd name="connsiteY20" fmla="*/ 78205 h 144684"/>
                  <a:gd name="connsiteX21" fmla="*/ 20455 w 172104"/>
                  <a:gd name="connsiteY21" fmla="*/ 78205 h 144684"/>
                  <a:gd name="connsiteX22" fmla="*/ 20455 w 172104"/>
                  <a:gd name="connsiteY22" fmla="*/ 76971 h 144684"/>
                  <a:gd name="connsiteX23" fmla="*/ 22218 w 172104"/>
                  <a:gd name="connsiteY23" fmla="*/ 76706 h 144684"/>
                  <a:gd name="connsiteX24" fmla="*/ 21601 w 172104"/>
                  <a:gd name="connsiteY24" fmla="*/ 74679 h 144684"/>
                  <a:gd name="connsiteX25" fmla="*/ 23982 w 172104"/>
                  <a:gd name="connsiteY25" fmla="*/ 71769 h 144684"/>
                  <a:gd name="connsiteX26" fmla="*/ 24511 w 172104"/>
                  <a:gd name="connsiteY26" fmla="*/ 70887 h 144684"/>
                  <a:gd name="connsiteX27" fmla="*/ 23982 w 172104"/>
                  <a:gd name="connsiteY27" fmla="*/ 69388 h 144684"/>
                  <a:gd name="connsiteX28" fmla="*/ 25657 w 172104"/>
                  <a:gd name="connsiteY28" fmla="*/ 67096 h 144684"/>
                  <a:gd name="connsiteX29" fmla="*/ 23982 w 172104"/>
                  <a:gd name="connsiteY29" fmla="*/ 63569 h 144684"/>
                  <a:gd name="connsiteX30" fmla="*/ 23982 w 172104"/>
                  <a:gd name="connsiteY30" fmla="*/ 61806 h 144684"/>
                  <a:gd name="connsiteX31" fmla="*/ 26274 w 172104"/>
                  <a:gd name="connsiteY31" fmla="*/ 61277 h 144684"/>
                  <a:gd name="connsiteX32" fmla="*/ 27420 w 172104"/>
                  <a:gd name="connsiteY32" fmla="*/ 62159 h 144684"/>
                  <a:gd name="connsiteX33" fmla="*/ 29801 w 172104"/>
                  <a:gd name="connsiteY33" fmla="*/ 60924 h 144684"/>
                  <a:gd name="connsiteX34" fmla="*/ 29184 w 172104"/>
                  <a:gd name="connsiteY34" fmla="*/ 55987 h 144684"/>
                  <a:gd name="connsiteX35" fmla="*/ 26538 w 172104"/>
                  <a:gd name="connsiteY35" fmla="*/ 52460 h 144684"/>
                  <a:gd name="connsiteX36" fmla="*/ 27420 w 172104"/>
                  <a:gd name="connsiteY36" fmla="*/ 50785 h 144684"/>
                  <a:gd name="connsiteX37" fmla="*/ 29184 w 172104"/>
                  <a:gd name="connsiteY37" fmla="*/ 50785 h 144684"/>
                  <a:gd name="connsiteX38" fmla="*/ 28566 w 172104"/>
                  <a:gd name="connsiteY38" fmla="*/ 49286 h 144684"/>
                  <a:gd name="connsiteX39" fmla="*/ 30330 w 172104"/>
                  <a:gd name="connsiteY39" fmla="*/ 48140 h 144684"/>
                  <a:gd name="connsiteX40" fmla="*/ 32093 w 172104"/>
                  <a:gd name="connsiteY40" fmla="*/ 45230 h 144684"/>
                  <a:gd name="connsiteX41" fmla="*/ 35355 w 172104"/>
                  <a:gd name="connsiteY41" fmla="*/ 42585 h 144684"/>
                  <a:gd name="connsiteX42" fmla="*/ 36149 w 172104"/>
                  <a:gd name="connsiteY42" fmla="*/ 43467 h 144684"/>
                  <a:gd name="connsiteX43" fmla="*/ 35620 w 172104"/>
                  <a:gd name="connsiteY43" fmla="*/ 44878 h 144684"/>
                  <a:gd name="connsiteX44" fmla="*/ 35003 w 172104"/>
                  <a:gd name="connsiteY44" fmla="*/ 45495 h 144684"/>
                  <a:gd name="connsiteX45" fmla="*/ 39147 w 172104"/>
                  <a:gd name="connsiteY45" fmla="*/ 46377 h 144684"/>
                  <a:gd name="connsiteX46" fmla="*/ 44084 w 172104"/>
                  <a:gd name="connsiteY46" fmla="*/ 50785 h 144684"/>
                  <a:gd name="connsiteX47" fmla="*/ 46112 w 172104"/>
                  <a:gd name="connsiteY47" fmla="*/ 49639 h 144684"/>
                  <a:gd name="connsiteX48" fmla="*/ 46376 w 172104"/>
                  <a:gd name="connsiteY48" fmla="*/ 48140 h 144684"/>
                  <a:gd name="connsiteX49" fmla="*/ 50785 w 172104"/>
                  <a:gd name="connsiteY49" fmla="*/ 44878 h 144684"/>
                  <a:gd name="connsiteX50" fmla="*/ 49903 w 172104"/>
                  <a:gd name="connsiteY50" fmla="*/ 37383 h 144684"/>
                  <a:gd name="connsiteX51" fmla="*/ 53430 w 172104"/>
                  <a:gd name="connsiteY51" fmla="*/ 38177 h 144684"/>
                  <a:gd name="connsiteX52" fmla="*/ 54576 w 172104"/>
                  <a:gd name="connsiteY52" fmla="*/ 39940 h 144684"/>
                  <a:gd name="connsiteX53" fmla="*/ 58367 w 172104"/>
                  <a:gd name="connsiteY53" fmla="*/ 38794 h 144684"/>
                  <a:gd name="connsiteX54" fmla="*/ 58103 w 172104"/>
                  <a:gd name="connsiteY54" fmla="*/ 34738 h 144684"/>
                  <a:gd name="connsiteX55" fmla="*/ 59514 w 172104"/>
                  <a:gd name="connsiteY55" fmla="*/ 29448 h 144684"/>
                  <a:gd name="connsiteX56" fmla="*/ 67713 w 172104"/>
                  <a:gd name="connsiteY56" fmla="*/ 23012 h 144684"/>
                  <a:gd name="connsiteX57" fmla="*/ 71152 w 172104"/>
                  <a:gd name="connsiteY57" fmla="*/ 23894 h 144684"/>
                  <a:gd name="connsiteX58" fmla="*/ 75560 w 172104"/>
                  <a:gd name="connsiteY58" fmla="*/ 26539 h 144684"/>
                  <a:gd name="connsiteX59" fmla="*/ 77941 w 172104"/>
                  <a:gd name="connsiteY59" fmla="*/ 25657 h 144684"/>
                  <a:gd name="connsiteX60" fmla="*/ 78470 w 172104"/>
                  <a:gd name="connsiteY60" fmla="*/ 16928 h 144684"/>
                  <a:gd name="connsiteX61" fmla="*/ 91342 w 172104"/>
                  <a:gd name="connsiteY61" fmla="*/ 11109 h 144684"/>
                  <a:gd name="connsiteX62" fmla="*/ 97779 w 172104"/>
                  <a:gd name="connsiteY62" fmla="*/ 10228 h 144684"/>
                  <a:gd name="connsiteX63" fmla="*/ 105890 w 172104"/>
                  <a:gd name="connsiteY63" fmla="*/ 3174 h 144684"/>
                  <a:gd name="connsiteX64" fmla="*/ 111709 w 172104"/>
                  <a:gd name="connsiteY64" fmla="*/ 3174 h 144684"/>
                  <a:gd name="connsiteX65" fmla="*/ 112944 w 172104"/>
                  <a:gd name="connsiteY65" fmla="*/ 5290 h 144684"/>
                  <a:gd name="connsiteX66" fmla="*/ 116382 w 172104"/>
                  <a:gd name="connsiteY66" fmla="*/ 3174 h 144684"/>
                  <a:gd name="connsiteX67" fmla="*/ 117881 w 172104"/>
                  <a:gd name="connsiteY67" fmla="*/ 0 h 144684"/>
                  <a:gd name="connsiteX68" fmla="*/ 122554 w 172104"/>
                  <a:gd name="connsiteY68" fmla="*/ 6172 h 144684"/>
                  <a:gd name="connsiteX69" fmla="*/ 127227 w 172104"/>
                  <a:gd name="connsiteY69" fmla="*/ 5819 h 144684"/>
                  <a:gd name="connsiteX70" fmla="*/ 127227 w 172104"/>
                  <a:gd name="connsiteY70" fmla="*/ 12255 h 144684"/>
                  <a:gd name="connsiteX71" fmla="*/ 124582 w 172104"/>
                  <a:gd name="connsiteY71" fmla="*/ 16928 h 144684"/>
                  <a:gd name="connsiteX72" fmla="*/ 125463 w 172104"/>
                  <a:gd name="connsiteY72" fmla="*/ 18692 h 144684"/>
                  <a:gd name="connsiteX73" fmla="*/ 130136 w 172104"/>
                  <a:gd name="connsiteY73" fmla="*/ 22483 h 144684"/>
                  <a:gd name="connsiteX74" fmla="*/ 130401 w 172104"/>
                  <a:gd name="connsiteY74" fmla="*/ 24511 h 144684"/>
                  <a:gd name="connsiteX75" fmla="*/ 129519 w 172104"/>
                  <a:gd name="connsiteY75" fmla="*/ 26803 h 144684"/>
                  <a:gd name="connsiteX76" fmla="*/ 128373 w 172104"/>
                  <a:gd name="connsiteY76" fmla="*/ 28037 h 144684"/>
                  <a:gd name="connsiteX77" fmla="*/ 129784 w 172104"/>
                  <a:gd name="connsiteY77" fmla="*/ 29184 h 144684"/>
                  <a:gd name="connsiteX78" fmla="*/ 129255 w 172104"/>
                  <a:gd name="connsiteY78" fmla="*/ 30594 h 144684"/>
                  <a:gd name="connsiteX79" fmla="*/ 130401 w 172104"/>
                  <a:gd name="connsiteY79" fmla="*/ 30947 h 144684"/>
                  <a:gd name="connsiteX80" fmla="*/ 131900 w 172104"/>
                  <a:gd name="connsiteY80" fmla="*/ 32358 h 144684"/>
                  <a:gd name="connsiteX81" fmla="*/ 133928 w 172104"/>
                  <a:gd name="connsiteY81" fmla="*/ 35267 h 144684"/>
                  <a:gd name="connsiteX82" fmla="*/ 135074 w 172104"/>
                  <a:gd name="connsiteY82" fmla="*/ 36149 h 144684"/>
                  <a:gd name="connsiteX83" fmla="*/ 135691 w 172104"/>
                  <a:gd name="connsiteY83" fmla="*/ 38177 h 144684"/>
                  <a:gd name="connsiteX84" fmla="*/ 138865 w 172104"/>
                  <a:gd name="connsiteY84" fmla="*/ 38794 h 144684"/>
                  <a:gd name="connsiteX85" fmla="*/ 140364 w 172104"/>
                  <a:gd name="connsiteY85" fmla="*/ 38530 h 144684"/>
                  <a:gd name="connsiteX86" fmla="*/ 139747 w 172104"/>
                  <a:gd name="connsiteY86" fmla="*/ 39940 h 144684"/>
                  <a:gd name="connsiteX87" fmla="*/ 140893 w 172104"/>
                  <a:gd name="connsiteY87" fmla="*/ 39940 h 144684"/>
                  <a:gd name="connsiteX88" fmla="*/ 143274 w 172104"/>
                  <a:gd name="connsiteY88" fmla="*/ 40822 h 144684"/>
                  <a:gd name="connsiteX89" fmla="*/ 143803 w 172104"/>
                  <a:gd name="connsiteY89" fmla="*/ 43731 h 144684"/>
                  <a:gd name="connsiteX90" fmla="*/ 148211 w 172104"/>
                  <a:gd name="connsiteY90" fmla="*/ 44084 h 144684"/>
                  <a:gd name="connsiteX91" fmla="*/ 149974 w 172104"/>
                  <a:gd name="connsiteY91" fmla="*/ 45230 h 144684"/>
                  <a:gd name="connsiteX92" fmla="*/ 149974 w 172104"/>
                  <a:gd name="connsiteY92" fmla="*/ 46112 h 144684"/>
                  <a:gd name="connsiteX93" fmla="*/ 148476 w 172104"/>
                  <a:gd name="connsiteY93" fmla="*/ 46377 h 144684"/>
                  <a:gd name="connsiteX94" fmla="*/ 143274 w 172104"/>
                  <a:gd name="connsiteY94" fmla="*/ 47258 h 144684"/>
                  <a:gd name="connsiteX95" fmla="*/ 142656 w 172104"/>
                  <a:gd name="connsiteY95" fmla="*/ 53077 h 144684"/>
                  <a:gd name="connsiteX96" fmla="*/ 143803 w 172104"/>
                  <a:gd name="connsiteY96" fmla="*/ 54576 h 144684"/>
                  <a:gd name="connsiteX97" fmla="*/ 145566 w 172104"/>
                  <a:gd name="connsiteY97" fmla="*/ 54576 h 144684"/>
                  <a:gd name="connsiteX98" fmla="*/ 156058 w 172104"/>
                  <a:gd name="connsiteY98" fmla="*/ 63922 h 144684"/>
                  <a:gd name="connsiteX99" fmla="*/ 162494 w 172104"/>
                  <a:gd name="connsiteY99" fmla="*/ 63922 h 144684"/>
                  <a:gd name="connsiteX100" fmla="*/ 163376 w 172104"/>
                  <a:gd name="connsiteY100" fmla="*/ 63305 h 144684"/>
                  <a:gd name="connsiteX101" fmla="*/ 164257 w 172104"/>
                  <a:gd name="connsiteY101" fmla="*/ 62159 h 144684"/>
                  <a:gd name="connsiteX102" fmla="*/ 167432 w 172104"/>
                  <a:gd name="connsiteY102" fmla="*/ 61806 h 144684"/>
                  <a:gd name="connsiteX103" fmla="*/ 168578 w 172104"/>
                  <a:gd name="connsiteY103" fmla="*/ 62688 h 144684"/>
                  <a:gd name="connsiteX104" fmla="*/ 171576 w 172104"/>
                  <a:gd name="connsiteY104" fmla="*/ 68242 h 144684"/>
                  <a:gd name="connsiteX105" fmla="*/ 170958 w 172104"/>
                  <a:gd name="connsiteY105" fmla="*/ 69741 h 144684"/>
                  <a:gd name="connsiteX106" fmla="*/ 167167 w 172104"/>
                  <a:gd name="connsiteY106" fmla="*/ 70006 h 144684"/>
                  <a:gd name="connsiteX107" fmla="*/ 166285 w 172104"/>
                  <a:gd name="connsiteY107" fmla="*/ 71769 h 144684"/>
                  <a:gd name="connsiteX108" fmla="*/ 172105 w 172104"/>
                  <a:gd name="connsiteY108" fmla="*/ 82878 h 144684"/>
                  <a:gd name="connsiteX109" fmla="*/ 170694 w 172104"/>
                  <a:gd name="connsiteY109" fmla="*/ 83672 h 144684"/>
                  <a:gd name="connsiteX110" fmla="*/ 169459 w 172104"/>
                  <a:gd name="connsiteY110" fmla="*/ 88697 h 144684"/>
                  <a:gd name="connsiteX111" fmla="*/ 165668 w 172104"/>
                  <a:gd name="connsiteY111" fmla="*/ 94781 h 144684"/>
                  <a:gd name="connsiteX112" fmla="*/ 162230 w 172104"/>
                  <a:gd name="connsiteY112" fmla="*/ 93635 h 144684"/>
                  <a:gd name="connsiteX113" fmla="*/ 156940 w 172104"/>
                  <a:gd name="connsiteY113" fmla="*/ 95398 h 144684"/>
                  <a:gd name="connsiteX114" fmla="*/ 155793 w 172104"/>
                  <a:gd name="connsiteY114" fmla="*/ 94252 h 144684"/>
                  <a:gd name="connsiteX115" fmla="*/ 152884 w 172104"/>
                  <a:gd name="connsiteY115" fmla="*/ 93635 h 144684"/>
                  <a:gd name="connsiteX116" fmla="*/ 151120 w 172104"/>
                  <a:gd name="connsiteY116" fmla="*/ 96280 h 144684"/>
                  <a:gd name="connsiteX117" fmla="*/ 151120 w 172104"/>
                  <a:gd name="connsiteY117" fmla="*/ 98308 h 144684"/>
                  <a:gd name="connsiteX118" fmla="*/ 149621 w 172104"/>
                  <a:gd name="connsiteY118" fmla="*/ 98308 h 144684"/>
                  <a:gd name="connsiteX119" fmla="*/ 150239 w 172104"/>
                  <a:gd name="connsiteY119" fmla="*/ 99454 h 144684"/>
                  <a:gd name="connsiteX120" fmla="*/ 148828 w 172104"/>
                  <a:gd name="connsiteY120" fmla="*/ 99454 h 144684"/>
                  <a:gd name="connsiteX121" fmla="*/ 146183 w 172104"/>
                  <a:gd name="connsiteY121" fmla="*/ 98837 h 144684"/>
                  <a:gd name="connsiteX122" fmla="*/ 146183 w 172104"/>
                  <a:gd name="connsiteY122" fmla="*/ 100600 h 144684"/>
                  <a:gd name="connsiteX123" fmla="*/ 144420 w 172104"/>
                  <a:gd name="connsiteY123" fmla="*/ 101835 h 144684"/>
                  <a:gd name="connsiteX124" fmla="*/ 144684 w 172104"/>
                  <a:gd name="connsiteY124" fmla="*/ 103245 h 144684"/>
                  <a:gd name="connsiteX125" fmla="*/ 142921 w 172104"/>
                  <a:gd name="connsiteY125" fmla="*/ 102628 h 144684"/>
                  <a:gd name="connsiteX126" fmla="*/ 142392 w 172104"/>
                  <a:gd name="connsiteY126" fmla="*/ 105009 h 144684"/>
                  <a:gd name="connsiteX127" fmla="*/ 140364 w 172104"/>
                  <a:gd name="connsiteY127" fmla="*/ 105009 h 144684"/>
                  <a:gd name="connsiteX128" fmla="*/ 136220 w 172104"/>
                  <a:gd name="connsiteY128" fmla="*/ 105273 h 144684"/>
                  <a:gd name="connsiteX129" fmla="*/ 132164 w 172104"/>
                  <a:gd name="connsiteY129" fmla="*/ 103862 h 144684"/>
                  <a:gd name="connsiteX130" fmla="*/ 123700 w 172104"/>
                  <a:gd name="connsiteY130" fmla="*/ 102099 h 144684"/>
                  <a:gd name="connsiteX131" fmla="*/ 116118 w 172104"/>
                  <a:gd name="connsiteY131" fmla="*/ 101482 h 144684"/>
                  <a:gd name="connsiteX132" fmla="*/ 114619 w 172104"/>
                  <a:gd name="connsiteY132" fmla="*/ 102628 h 144684"/>
                  <a:gd name="connsiteX133" fmla="*/ 113737 w 172104"/>
                  <a:gd name="connsiteY133" fmla="*/ 103510 h 144684"/>
                  <a:gd name="connsiteX134" fmla="*/ 112591 w 172104"/>
                  <a:gd name="connsiteY134" fmla="*/ 102363 h 144684"/>
                  <a:gd name="connsiteX135" fmla="*/ 111709 w 172104"/>
                  <a:gd name="connsiteY135" fmla="*/ 104744 h 144684"/>
                  <a:gd name="connsiteX136" fmla="*/ 107918 w 172104"/>
                  <a:gd name="connsiteY136" fmla="*/ 107036 h 144684"/>
                  <a:gd name="connsiteX137" fmla="*/ 106155 w 172104"/>
                  <a:gd name="connsiteY137" fmla="*/ 106507 h 144684"/>
                  <a:gd name="connsiteX138" fmla="*/ 106155 w 172104"/>
                  <a:gd name="connsiteY138" fmla="*/ 105009 h 144684"/>
                  <a:gd name="connsiteX139" fmla="*/ 103862 w 172104"/>
                  <a:gd name="connsiteY139" fmla="*/ 104744 h 144684"/>
                  <a:gd name="connsiteX140" fmla="*/ 102981 w 172104"/>
                  <a:gd name="connsiteY140" fmla="*/ 107036 h 144684"/>
                  <a:gd name="connsiteX141" fmla="*/ 102099 w 172104"/>
                  <a:gd name="connsiteY141" fmla="*/ 106155 h 144684"/>
                  <a:gd name="connsiteX142" fmla="*/ 101570 w 172104"/>
                  <a:gd name="connsiteY142" fmla="*/ 105009 h 144684"/>
                  <a:gd name="connsiteX143" fmla="*/ 85788 w 172104"/>
                  <a:gd name="connsiteY143" fmla="*/ 104127 h 144684"/>
                  <a:gd name="connsiteX144" fmla="*/ 65950 w 172104"/>
                  <a:gd name="connsiteY144" fmla="*/ 105009 h 144684"/>
                  <a:gd name="connsiteX145" fmla="*/ 59514 w 172104"/>
                  <a:gd name="connsiteY145" fmla="*/ 105009 h 144684"/>
                  <a:gd name="connsiteX146" fmla="*/ 60131 w 172104"/>
                  <a:gd name="connsiteY146" fmla="*/ 106507 h 144684"/>
                  <a:gd name="connsiteX147" fmla="*/ 59514 w 172104"/>
                  <a:gd name="connsiteY147" fmla="*/ 108535 h 144684"/>
                  <a:gd name="connsiteX148" fmla="*/ 58367 w 172104"/>
                  <a:gd name="connsiteY148" fmla="*/ 110299 h 144684"/>
                  <a:gd name="connsiteX149" fmla="*/ 57486 w 172104"/>
                  <a:gd name="connsiteY149" fmla="*/ 111974 h 144684"/>
                  <a:gd name="connsiteX150" fmla="*/ 57221 w 172104"/>
                  <a:gd name="connsiteY150" fmla="*/ 113208 h 144684"/>
                  <a:gd name="connsiteX151" fmla="*/ 57486 w 172104"/>
                  <a:gd name="connsiteY151" fmla="*/ 114883 h 144684"/>
                  <a:gd name="connsiteX152" fmla="*/ 58367 w 172104"/>
                  <a:gd name="connsiteY152" fmla="*/ 116382 h 144684"/>
                  <a:gd name="connsiteX153" fmla="*/ 60395 w 172104"/>
                  <a:gd name="connsiteY153" fmla="*/ 116999 h 144684"/>
                  <a:gd name="connsiteX154" fmla="*/ 61012 w 172104"/>
                  <a:gd name="connsiteY154" fmla="*/ 119909 h 144684"/>
                  <a:gd name="connsiteX155" fmla="*/ 61541 w 172104"/>
                  <a:gd name="connsiteY155" fmla="*/ 120438 h 144684"/>
                  <a:gd name="connsiteX156" fmla="*/ 59514 w 172104"/>
                  <a:gd name="connsiteY156" fmla="*/ 120438 h 144684"/>
                  <a:gd name="connsiteX157" fmla="*/ 58896 w 172104"/>
                  <a:gd name="connsiteY157" fmla="*/ 122201 h 144684"/>
                  <a:gd name="connsiteX158" fmla="*/ 60395 w 172104"/>
                  <a:gd name="connsiteY158" fmla="*/ 123348 h 144684"/>
                  <a:gd name="connsiteX159" fmla="*/ 61277 w 172104"/>
                  <a:gd name="connsiteY159" fmla="*/ 124229 h 144684"/>
                  <a:gd name="connsiteX160" fmla="*/ 59866 w 172104"/>
                  <a:gd name="connsiteY160" fmla="*/ 125728 h 144684"/>
                  <a:gd name="connsiteX161" fmla="*/ 60395 w 172104"/>
                  <a:gd name="connsiteY161" fmla="*/ 126257 h 144684"/>
                  <a:gd name="connsiteX162" fmla="*/ 59866 w 172104"/>
                  <a:gd name="connsiteY162" fmla="*/ 128638 h 144684"/>
                  <a:gd name="connsiteX163" fmla="*/ 61277 w 172104"/>
                  <a:gd name="connsiteY163" fmla="*/ 130930 h 144684"/>
                  <a:gd name="connsiteX164" fmla="*/ 61277 w 172104"/>
                  <a:gd name="connsiteY164" fmla="*/ 134457 h 144684"/>
                  <a:gd name="connsiteX165" fmla="*/ 59866 w 172104"/>
                  <a:gd name="connsiteY165" fmla="*/ 136485 h 144684"/>
                  <a:gd name="connsiteX166" fmla="*/ 61894 w 172104"/>
                  <a:gd name="connsiteY166" fmla="*/ 139130 h 144684"/>
                  <a:gd name="connsiteX167" fmla="*/ 60660 w 172104"/>
                  <a:gd name="connsiteY167" fmla="*/ 139747 h 144684"/>
                  <a:gd name="connsiteX168" fmla="*/ 61012 w 172104"/>
                  <a:gd name="connsiteY168" fmla="*/ 141158 h 144684"/>
                  <a:gd name="connsiteX169" fmla="*/ 62423 w 172104"/>
                  <a:gd name="connsiteY169" fmla="*/ 142657 h 144684"/>
                  <a:gd name="connsiteX170" fmla="*/ 60395 w 172104"/>
                  <a:gd name="connsiteY170" fmla="*/ 144684 h 144684"/>
                  <a:gd name="connsiteX171" fmla="*/ 58896 w 172104"/>
                  <a:gd name="connsiteY171" fmla="*/ 140629 h 144684"/>
                  <a:gd name="connsiteX172" fmla="*/ 55105 w 172104"/>
                  <a:gd name="connsiteY172" fmla="*/ 137719 h 144684"/>
                  <a:gd name="connsiteX173" fmla="*/ 51667 w 172104"/>
                  <a:gd name="connsiteY173" fmla="*/ 133840 h 144684"/>
                  <a:gd name="connsiteX174" fmla="*/ 49022 w 172104"/>
                  <a:gd name="connsiteY174" fmla="*/ 133575 h 144684"/>
                  <a:gd name="connsiteX175" fmla="*/ 42585 w 172104"/>
                  <a:gd name="connsiteY175" fmla="*/ 131283 h 144684"/>
                  <a:gd name="connsiteX176" fmla="*/ 40822 w 172104"/>
                  <a:gd name="connsiteY176" fmla="*/ 130930 h 144684"/>
                  <a:gd name="connsiteX177" fmla="*/ 34386 w 172104"/>
                  <a:gd name="connsiteY177" fmla="*/ 133311 h 144684"/>
                  <a:gd name="connsiteX178" fmla="*/ 30947 w 172104"/>
                  <a:gd name="connsiteY178" fmla="*/ 133840 h 144684"/>
                  <a:gd name="connsiteX179" fmla="*/ 26274 w 172104"/>
                  <a:gd name="connsiteY179" fmla="*/ 136837 h 144684"/>
                  <a:gd name="connsiteX180" fmla="*/ 23365 w 172104"/>
                  <a:gd name="connsiteY180" fmla="*/ 139747 h 144684"/>
                  <a:gd name="connsiteX181" fmla="*/ 20455 w 172104"/>
                  <a:gd name="connsiteY181" fmla="*/ 140629 h 144684"/>
                  <a:gd name="connsiteX182" fmla="*/ 18074 w 172104"/>
                  <a:gd name="connsiteY182" fmla="*/ 139747 h 144684"/>
                  <a:gd name="connsiteX183" fmla="*/ 17193 w 172104"/>
                  <a:gd name="connsiteY183" fmla="*/ 137719 h 144684"/>
                  <a:gd name="connsiteX184" fmla="*/ 15782 w 172104"/>
                  <a:gd name="connsiteY184" fmla="*/ 136837 h 144684"/>
                  <a:gd name="connsiteX185" fmla="*/ 16399 w 172104"/>
                  <a:gd name="connsiteY185" fmla="*/ 134192 h 144684"/>
                  <a:gd name="connsiteX186" fmla="*/ 13137 w 172104"/>
                  <a:gd name="connsiteY186" fmla="*/ 133311 h 144684"/>
                  <a:gd name="connsiteX187" fmla="*/ 13137 w 172104"/>
                  <a:gd name="connsiteY187" fmla="*/ 130930 h 144684"/>
                  <a:gd name="connsiteX188" fmla="*/ 12520 w 172104"/>
                  <a:gd name="connsiteY188" fmla="*/ 128638 h 144684"/>
                  <a:gd name="connsiteX189" fmla="*/ 11991 w 172104"/>
                  <a:gd name="connsiteY189" fmla="*/ 127756 h 144684"/>
                  <a:gd name="connsiteX190" fmla="*/ 11991 w 172104"/>
                  <a:gd name="connsiteY190" fmla="*/ 126874 h 144684"/>
                  <a:gd name="connsiteX191" fmla="*/ 10845 w 172104"/>
                  <a:gd name="connsiteY191" fmla="*/ 125375 h 144684"/>
                  <a:gd name="connsiteX192" fmla="*/ 9346 w 172104"/>
                  <a:gd name="connsiteY192" fmla="*/ 123700 h 144684"/>
                  <a:gd name="connsiteX193" fmla="*/ 8200 w 172104"/>
                  <a:gd name="connsiteY193" fmla="*/ 121937 h 144684"/>
                  <a:gd name="connsiteX194" fmla="*/ 5290 w 172104"/>
                  <a:gd name="connsiteY194" fmla="*/ 122201 h 144684"/>
                  <a:gd name="connsiteX195" fmla="*/ 1499 w 172104"/>
                  <a:gd name="connsiteY195" fmla="*/ 121672 h 144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</a:cxnLst>
                <a:rect l="l" t="t" r="r" b="b"/>
                <a:pathLst>
                  <a:path w="172104" h="144684">
                    <a:moveTo>
                      <a:pt x="0" y="119027"/>
                    </a:moveTo>
                    <a:lnTo>
                      <a:pt x="1763" y="116382"/>
                    </a:lnTo>
                    <a:lnTo>
                      <a:pt x="1499" y="114883"/>
                    </a:lnTo>
                    <a:lnTo>
                      <a:pt x="2645" y="108535"/>
                    </a:lnTo>
                    <a:lnTo>
                      <a:pt x="2028" y="105009"/>
                    </a:lnTo>
                    <a:lnTo>
                      <a:pt x="881" y="104391"/>
                    </a:lnTo>
                    <a:lnTo>
                      <a:pt x="1499" y="102628"/>
                    </a:lnTo>
                    <a:lnTo>
                      <a:pt x="5290" y="101835"/>
                    </a:lnTo>
                    <a:lnTo>
                      <a:pt x="5290" y="100336"/>
                    </a:lnTo>
                    <a:lnTo>
                      <a:pt x="6436" y="98837"/>
                    </a:lnTo>
                    <a:lnTo>
                      <a:pt x="6436" y="95046"/>
                    </a:lnTo>
                    <a:lnTo>
                      <a:pt x="7318" y="94781"/>
                    </a:lnTo>
                    <a:lnTo>
                      <a:pt x="6965" y="90461"/>
                    </a:lnTo>
                    <a:lnTo>
                      <a:pt x="5819" y="90108"/>
                    </a:lnTo>
                    <a:lnTo>
                      <a:pt x="6436" y="86052"/>
                    </a:lnTo>
                    <a:lnTo>
                      <a:pt x="5554" y="85171"/>
                    </a:lnTo>
                    <a:lnTo>
                      <a:pt x="6436" y="84289"/>
                    </a:lnTo>
                    <a:lnTo>
                      <a:pt x="6436" y="83407"/>
                    </a:lnTo>
                    <a:lnTo>
                      <a:pt x="10492" y="80233"/>
                    </a:lnTo>
                    <a:lnTo>
                      <a:pt x="17545" y="80233"/>
                    </a:lnTo>
                    <a:lnTo>
                      <a:pt x="18692" y="78205"/>
                    </a:lnTo>
                    <a:lnTo>
                      <a:pt x="20455" y="78205"/>
                    </a:lnTo>
                    <a:lnTo>
                      <a:pt x="20455" y="76971"/>
                    </a:lnTo>
                    <a:lnTo>
                      <a:pt x="22218" y="76706"/>
                    </a:lnTo>
                    <a:lnTo>
                      <a:pt x="21601" y="74679"/>
                    </a:lnTo>
                    <a:lnTo>
                      <a:pt x="23982" y="71769"/>
                    </a:lnTo>
                    <a:lnTo>
                      <a:pt x="24511" y="70887"/>
                    </a:lnTo>
                    <a:lnTo>
                      <a:pt x="23982" y="69388"/>
                    </a:lnTo>
                    <a:lnTo>
                      <a:pt x="25657" y="67096"/>
                    </a:lnTo>
                    <a:lnTo>
                      <a:pt x="23982" y="63569"/>
                    </a:lnTo>
                    <a:lnTo>
                      <a:pt x="23982" y="61806"/>
                    </a:lnTo>
                    <a:lnTo>
                      <a:pt x="26274" y="61277"/>
                    </a:lnTo>
                    <a:lnTo>
                      <a:pt x="27420" y="62159"/>
                    </a:lnTo>
                    <a:lnTo>
                      <a:pt x="29801" y="60924"/>
                    </a:lnTo>
                    <a:lnTo>
                      <a:pt x="29184" y="55987"/>
                    </a:lnTo>
                    <a:lnTo>
                      <a:pt x="26538" y="52460"/>
                    </a:lnTo>
                    <a:lnTo>
                      <a:pt x="27420" y="50785"/>
                    </a:lnTo>
                    <a:lnTo>
                      <a:pt x="29184" y="50785"/>
                    </a:lnTo>
                    <a:lnTo>
                      <a:pt x="28566" y="49286"/>
                    </a:lnTo>
                    <a:lnTo>
                      <a:pt x="30330" y="48140"/>
                    </a:lnTo>
                    <a:lnTo>
                      <a:pt x="32093" y="45230"/>
                    </a:lnTo>
                    <a:lnTo>
                      <a:pt x="35355" y="42585"/>
                    </a:lnTo>
                    <a:lnTo>
                      <a:pt x="36149" y="43467"/>
                    </a:lnTo>
                    <a:lnTo>
                      <a:pt x="35620" y="44878"/>
                    </a:lnTo>
                    <a:lnTo>
                      <a:pt x="35003" y="45495"/>
                    </a:lnTo>
                    <a:lnTo>
                      <a:pt x="39147" y="46377"/>
                    </a:lnTo>
                    <a:lnTo>
                      <a:pt x="44084" y="50785"/>
                    </a:lnTo>
                    <a:lnTo>
                      <a:pt x="46112" y="49639"/>
                    </a:lnTo>
                    <a:lnTo>
                      <a:pt x="46376" y="48140"/>
                    </a:lnTo>
                    <a:lnTo>
                      <a:pt x="50785" y="44878"/>
                    </a:lnTo>
                    <a:lnTo>
                      <a:pt x="49903" y="37383"/>
                    </a:lnTo>
                    <a:lnTo>
                      <a:pt x="53430" y="38177"/>
                    </a:lnTo>
                    <a:lnTo>
                      <a:pt x="54576" y="39940"/>
                    </a:lnTo>
                    <a:lnTo>
                      <a:pt x="58367" y="38794"/>
                    </a:lnTo>
                    <a:lnTo>
                      <a:pt x="58103" y="34738"/>
                    </a:lnTo>
                    <a:lnTo>
                      <a:pt x="59514" y="29448"/>
                    </a:lnTo>
                    <a:lnTo>
                      <a:pt x="67713" y="23012"/>
                    </a:lnTo>
                    <a:lnTo>
                      <a:pt x="71152" y="23894"/>
                    </a:lnTo>
                    <a:lnTo>
                      <a:pt x="75560" y="26539"/>
                    </a:lnTo>
                    <a:lnTo>
                      <a:pt x="77941" y="25657"/>
                    </a:lnTo>
                    <a:lnTo>
                      <a:pt x="78470" y="16928"/>
                    </a:lnTo>
                    <a:lnTo>
                      <a:pt x="91342" y="11109"/>
                    </a:lnTo>
                    <a:lnTo>
                      <a:pt x="97779" y="10228"/>
                    </a:lnTo>
                    <a:lnTo>
                      <a:pt x="105890" y="3174"/>
                    </a:lnTo>
                    <a:lnTo>
                      <a:pt x="111709" y="3174"/>
                    </a:lnTo>
                    <a:lnTo>
                      <a:pt x="112944" y="5290"/>
                    </a:lnTo>
                    <a:lnTo>
                      <a:pt x="116382" y="3174"/>
                    </a:lnTo>
                    <a:lnTo>
                      <a:pt x="117881" y="0"/>
                    </a:lnTo>
                    <a:lnTo>
                      <a:pt x="122554" y="6172"/>
                    </a:lnTo>
                    <a:lnTo>
                      <a:pt x="127227" y="5819"/>
                    </a:lnTo>
                    <a:lnTo>
                      <a:pt x="127227" y="12255"/>
                    </a:lnTo>
                    <a:lnTo>
                      <a:pt x="124582" y="16928"/>
                    </a:lnTo>
                    <a:lnTo>
                      <a:pt x="125463" y="18692"/>
                    </a:lnTo>
                    <a:lnTo>
                      <a:pt x="130136" y="22483"/>
                    </a:lnTo>
                    <a:lnTo>
                      <a:pt x="130401" y="24511"/>
                    </a:lnTo>
                    <a:lnTo>
                      <a:pt x="129519" y="26803"/>
                    </a:lnTo>
                    <a:lnTo>
                      <a:pt x="128373" y="28037"/>
                    </a:lnTo>
                    <a:lnTo>
                      <a:pt x="129784" y="29184"/>
                    </a:lnTo>
                    <a:lnTo>
                      <a:pt x="129255" y="30594"/>
                    </a:lnTo>
                    <a:lnTo>
                      <a:pt x="130401" y="30947"/>
                    </a:lnTo>
                    <a:lnTo>
                      <a:pt x="131900" y="32358"/>
                    </a:lnTo>
                    <a:lnTo>
                      <a:pt x="133928" y="35267"/>
                    </a:lnTo>
                    <a:lnTo>
                      <a:pt x="135074" y="36149"/>
                    </a:lnTo>
                    <a:lnTo>
                      <a:pt x="135691" y="38177"/>
                    </a:lnTo>
                    <a:lnTo>
                      <a:pt x="138865" y="38794"/>
                    </a:lnTo>
                    <a:lnTo>
                      <a:pt x="140364" y="38530"/>
                    </a:lnTo>
                    <a:lnTo>
                      <a:pt x="139747" y="39940"/>
                    </a:lnTo>
                    <a:lnTo>
                      <a:pt x="140893" y="39940"/>
                    </a:lnTo>
                    <a:lnTo>
                      <a:pt x="143274" y="40822"/>
                    </a:lnTo>
                    <a:lnTo>
                      <a:pt x="143803" y="43731"/>
                    </a:lnTo>
                    <a:lnTo>
                      <a:pt x="148211" y="44084"/>
                    </a:lnTo>
                    <a:lnTo>
                      <a:pt x="149974" y="45230"/>
                    </a:lnTo>
                    <a:lnTo>
                      <a:pt x="149974" y="46112"/>
                    </a:lnTo>
                    <a:lnTo>
                      <a:pt x="148476" y="46377"/>
                    </a:lnTo>
                    <a:lnTo>
                      <a:pt x="143274" y="47258"/>
                    </a:lnTo>
                    <a:lnTo>
                      <a:pt x="142656" y="53077"/>
                    </a:lnTo>
                    <a:lnTo>
                      <a:pt x="143803" y="54576"/>
                    </a:lnTo>
                    <a:lnTo>
                      <a:pt x="145566" y="54576"/>
                    </a:lnTo>
                    <a:lnTo>
                      <a:pt x="156058" y="63922"/>
                    </a:lnTo>
                    <a:lnTo>
                      <a:pt x="162494" y="63922"/>
                    </a:lnTo>
                    <a:lnTo>
                      <a:pt x="163376" y="63305"/>
                    </a:lnTo>
                    <a:lnTo>
                      <a:pt x="164257" y="62159"/>
                    </a:lnTo>
                    <a:lnTo>
                      <a:pt x="167432" y="61806"/>
                    </a:lnTo>
                    <a:lnTo>
                      <a:pt x="168578" y="62688"/>
                    </a:lnTo>
                    <a:lnTo>
                      <a:pt x="171576" y="68242"/>
                    </a:lnTo>
                    <a:lnTo>
                      <a:pt x="170958" y="69741"/>
                    </a:lnTo>
                    <a:lnTo>
                      <a:pt x="167167" y="70006"/>
                    </a:lnTo>
                    <a:lnTo>
                      <a:pt x="166285" y="71769"/>
                    </a:lnTo>
                    <a:lnTo>
                      <a:pt x="172105" y="82878"/>
                    </a:lnTo>
                    <a:lnTo>
                      <a:pt x="170694" y="83672"/>
                    </a:lnTo>
                    <a:lnTo>
                      <a:pt x="169459" y="88697"/>
                    </a:lnTo>
                    <a:lnTo>
                      <a:pt x="165668" y="94781"/>
                    </a:lnTo>
                    <a:lnTo>
                      <a:pt x="162230" y="93635"/>
                    </a:lnTo>
                    <a:lnTo>
                      <a:pt x="156940" y="95398"/>
                    </a:lnTo>
                    <a:lnTo>
                      <a:pt x="155793" y="94252"/>
                    </a:lnTo>
                    <a:lnTo>
                      <a:pt x="152884" y="93635"/>
                    </a:lnTo>
                    <a:lnTo>
                      <a:pt x="151120" y="96280"/>
                    </a:lnTo>
                    <a:lnTo>
                      <a:pt x="151120" y="98308"/>
                    </a:lnTo>
                    <a:lnTo>
                      <a:pt x="149621" y="98308"/>
                    </a:lnTo>
                    <a:lnTo>
                      <a:pt x="150239" y="99454"/>
                    </a:lnTo>
                    <a:lnTo>
                      <a:pt x="148828" y="99454"/>
                    </a:lnTo>
                    <a:lnTo>
                      <a:pt x="146183" y="98837"/>
                    </a:lnTo>
                    <a:lnTo>
                      <a:pt x="146183" y="100600"/>
                    </a:lnTo>
                    <a:lnTo>
                      <a:pt x="144420" y="101835"/>
                    </a:lnTo>
                    <a:lnTo>
                      <a:pt x="144684" y="103245"/>
                    </a:lnTo>
                    <a:lnTo>
                      <a:pt x="142921" y="102628"/>
                    </a:lnTo>
                    <a:lnTo>
                      <a:pt x="142392" y="105009"/>
                    </a:lnTo>
                    <a:lnTo>
                      <a:pt x="140364" y="105009"/>
                    </a:lnTo>
                    <a:lnTo>
                      <a:pt x="136220" y="105273"/>
                    </a:lnTo>
                    <a:lnTo>
                      <a:pt x="132164" y="103862"/>
                    </a:lnTo>
                    <a:lnTo>
                      <a:pt x="123700" y="102099"/>
                    </a:lnTo>
                    <a:lnTo>
                      <a:pt x="116118" y="101482"/>
                    </a:lnTo>
                    <a:lnTo>
                      <a:pt x="114619" y="102628"/>
                    </a:lnTo>
                    <a:lnTo>
                      <a:pt x="113737" y="103510"/>
                    </a:lnTo>
                    <a:lnTo>
                      <a:pt x="112591" y="102363"/>
                    </a:lnTo>
                    <a:lnTo>
                      <a:pt x="111709" y="104744"/>
                    </a:lnTo>
                    <a:lnTo>
                      <a:pt x="107918" y="107036"/>
                    </a:lnTo>
                    <a:lnTo>
                      <a:pt x="106155" y="106507"/>
                    </a:lnTo>
                    <a:lnTo>
                      <a:pt x="106155" y="105009"/>
                    </a:lnTo>
                    <a:lnTo>
                      <a:pt x="103862" y="104744"/>
                    </a:lnTo>
                    <a:lnTo>
                      <a:pt x="102981" y="107036"/>
                    </a:lnTo>
                    <a:lnTo>
                      <a:pt x="102099" y="106155"/>
                    </a:lnTo>
                    <a:lnTo>
                      <a:pt x="101570" y="105009"/>
                    </a:lnTo>
                    <a:lnTo>
                      <a:pt x="85788" y="104127"/>
                    </a:lnTo>
                    <a:lnTo>
                      <a:pt x="65950" y="105009"/>
                    </a:lnTo>
                    <a:lnTo>
                      <a:pt x="59514" y="105009"/>
                    </a:lnTo>
                    <a:lnTo>
                      <a:pt x="60131" y="106507"/>
                    </a:lnTo>
                    <a:lnTo>
                      <a:pt x="59514" y="108535"/>
                    </a:lnTo>
                    <a:lnTo>
                      <a:pt x="58367" y="110299"/>
                    </a:lnTo>
                    <a:lnTo>
                      <a:pt x="57486" y="111974"/>
                    </a:lnTo>
                    <a:lnTo>
                      <a:pt x="57221" y="113208"/>
                    </a:lnTo>
                    <a:lnTo>
                      <a:pt x="57486" y="114883"/>
                    </a:lnTo>
                    <a:lnTo>
                      <a:pt x="58367" y="116382"/>
                    </a:lnTo>
                    <a:lnTo>
                      <a:pt x="60395" y="116999"/>
                    </a:lnTo>
                    <a:lnTo>
                      <a:pt x="61012" y="119909"/>
                    </a:lnTo>
                    <a:lnTo>
                      <a:pt x="61541" y="120438"/>
                    </a:lnTo>
                    <a:lnTo>
                      <a:pt x="59514" y="120438"/>
                    </a:lnTo>
                    <a:lnTo>
                      <a:pt x="58896" y="122201"/>
                    </a:lnTo>
                    <a:lnTo>
                      <a:pt x="60395" y="123348"/>
                    </a:lnTo>
                    <a:lnTo>
                      <a:pt x="61277" y="124229"/>
                    </a:lnTo>
                    <a:lnTo>
                      <a:pt x="59866" y="125728"/>
                    </a:lnTo>
                    <a:lnTo>
                      <a:pt x="60395" y="126257"/>
                    </a:lnTo>
                    <a:lnTo>
                      <a:pt x="59866" y="128638"/>
                    </a:lnTo>
                    <a:lnTo>
                      <a:pt x="61277" y="130930"/>
                    </a:lnTo>
                    <a:lnTo>
                      <a:pt x="61277" y="134457"/>
                    </a:lnTo>
                    <a:lnTo>
                      <a:pt x="59866" y="136485"/>
                    </a:lnTo>
                    <a:lnTo>
                      <a:pt x="61894" y="139130"/>
                    </a:lnTo>
                    <a:lnTo>
                      <a:pt x="60660" y="139747"/>
                    </a:lnTo>
                    <a:lnTo>
                      <a:pt x="61012" y="141158"/>
                    </a:lnTo>
                    <a:lnTo>
                      <a:pt x="62423" y="142657"/>
                    </a:lnTo>
                    <a:lnTo>
                      <a:pt x="60395" y="144684"/>
                    </a:lnTo>
                    <a:lnTo>
                      <a:pt x="58896" y="140629"/>
                    </a:lnTo>
                    <a:lnTo>
                      <a:pt x="55105" y="137719"/>
                    </a:lnTo>
                    <a:lnTo>
                      <a:pt x="51667" y="133840"/>
                    </a:lnTo>
                    <a:lnTo>
                      <a:pt x="49022" y="133575"/>
                    </a:lnTo>
                    <a:lnTo>
                      <a:pt x="42585" y="131283"/>
                    </a:lnTo>
                    <a:lnTo>
                      <a:pt x="40822" y="130930"/>
                    </a:lnTo>
                    <a:lnTo>
                      <a:pt x="34386" y="133311"/>
                    </a:lnTo>
                    <a:lnTo>
                      <a:pt x="30947" y="133840"/>
                    </a:lnTo>
                    <a:lnTo>
                      <a:pt x="26274" y="136837"/>
                    </a:lnTo>
                    <a:lnTo>
                      <a:pt x="23365" y="139747"/>
                    </a:lnTo>
                    <a:lnTo>
                      <a:pt x="20455" y="140629"/>
                    </a:lnTo>
                    <a:lnTo>
                      <a:pt x="18074" y="139747"/>
                    </a:lnTo>
                    <a:lnTo>
                      <a:pt x="17193" y="137719"/>
                    </a:lnTo>
                    <a:lnTo>
                      <a:pt x="15782" y="136837"/>
                    </a:lnTo>
                    <a:lnTo>
                      <a:pt x="16399" y="134192"/>
                    </a:lnTo>
                    <a:lnTo>
                      <a:pt x="13137" y="133311"/>
                    </a:lnTo>
                    <a:lnTo>
                      <a:pt x="13137" y="130930"/>
                    </a:lnTo>
                    <a:lnTo>
                      <a:pt x="12520" y="128638"/>
                    </a:lnTo>
                    <a:lnTo>
                      <a:pt x="11991" y="127756"/>
                    </a:lnTo>
                    <a:lnTo>
                      <a:pt x="11991" y="126874"/>
                    </a:lnTo>
                    <a:lnTo>
                      <a:pt x="10845" y="125375"/>
                    </a:lnTo>
                    <a:lnTo>
                      <a:pt x="9346" y="123700"/>
                    </a:lnTo>
                    <a:lnTo>
                      <a:pt x="8200" y="121937"/>
                    </a:lnTo>
                    <a:lnTo>
                      <a:pt x="5290" y="122201"/>
                    </a:lnTo>
                    <a:lnTo>
                      <a:pt x="1499" y="1216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2" name="Freihandform: Form 1821">
                <a:extLst>
                  <a:ext uri="{FF2B5EF4-FFF2-40B4-BE49-F238E27FC236}">
                    <a16:creationId xmlns:a16="http://schemas.microsoft.com/office/drawing/2014/main" id="{B9F63033-AB29-05A6-D318-358FFAA5067E}"/>
                  </a:ext>
                </a:extLst>
              </p:cNvPr>
              <p:cNvSpPr/>
              <p:nvPr/>
            </p:nvSpPr>
            <p:spPr>
              <a:xfrm>
                <a:off x="4319974" y="4258664"/>
                <a:ext cx="276848" cy="340946"/>
              </a:xfrm>
              <a:custGeom>
                <a:avLst/>
                <a:gdLst>
                  <a:gd name="connsiteX0" fmla="*/ 17016 w 276848"/>
                  <a:gd name="connsiteY0" fmla="*/ 35708 h 340946"/>
                  <a:gd name="connsiteX1" fmla="*/ 18515 w 276848"/>
                  <a:gd name="connsiteY1" fmla="*/ 33945 h 340946"/>
                  <a:gd name="connsiteX2" fmla="*/ 24599 w 276848"/>
                  <a:gd name="connsiteY2" fmla="*/ 33680 h 340946"/>
                  <a:gd name="connsiteX3" fmla="*/ 24599 w 276848"/>
                  <a:gd name="connsiteY3" fmla="*/ 19132 h 340946"/>
                  <a:gd name="connsiteX4" fmla="*/ 22836 w 276848"/>
                  <a:gd name="connsiteY4" fmla="*/ 18515 h 340946"/>
                  <a:gd name="connsiteX5" fmla="*/ 22836 w 276848"/>
                  <a:gd name="connsiteY5" fmla="*/ 16752 h 340946"/>
                  <a:gd name="connsiteX6" fmla="*/ 23717 w 276848"/>
                  <a:gd name="connsiteY6" fmla="*/ 16752 h 340946"/>
                  <a:gd name="connsiteX7" fmla="*/ 26098 w 276848"/>
                  <a:gd name="connsiteY7" fmla="*/ 15606 h 340946"/>
                  <a:gd name="connsiteX8" fmla="*/ 26715 w 276848"/>
                  <a:gd name="connsiteY8" fmla="*/ 14107 h 340946"/>
                  <a:gd name="connsiteX9" fmla="*/ 27861 w 276848"/>
                  <a:gd name="connsiteY9" fmla="*/ 14107 h 340946"/>
                  <a:gd name="connsiteX10" fmla="*/ 28126 w 276848"/>
                  <a:gd name="connsiteY10" fmla="*/ 12608 h 340946"/>
                  <a:gd name="connsiteX11" fmla="*/ 30154 w 276848"/>
                  <a:gd name="connsiteY11" fmla="*/ 11462 h 340946"/>
                  <a:gd name="connsiteX12" fmla="*/ 30154 w 276848"/>
                  <a:gd name="connsiteY12" fmla="*/ 10845 h 340946"/>
                  <a:gd name="connsiteX13" fmla="*/ 30418 w 276848"/>
                  <a:gd name="connsiteY13" fmla="*/ 9346 h 340946"/>
                  <a:gd name="connsiteX14" fmla="*/ 31300 w 276848"/>
                  <a:gd name="connsiteY14" fmla="*/ 8729 h 340946"/>
                  <a:gd name="connsiteX15" fmla="*/ 33063 w 276848"/>
                  <a:gd name="connsiteY15" fmla="*/ 8729 h 340946"/>
                  <a:gd name="connsiteX16" fmla="*/ 35356 w 276848"/>
                  <a:gd name="connsiteY16" fmla="*/ 7847 h 340946"/>
                  <a:gd name="connsiteX17" fmla="*/ 36237 w 276848"/>
                  <a:gd name="connsiteY17" fmla="*/ 7582 h 340946"/>
                  <a:gd name="connsiteX18" fmla="*/ 36854 w 276848"/>
                  <a:gd name="connsiteY18" fmla="*/ 7582 h 340946"/>
                  <a:gd name="connsiteX19" fmla="*/ 36854 w 276848"/>
                  <a:gd name="connsiteY19" fmla="*/ 6701 h 340946"/>
                  <a:gd name="connsiteX20" fmla="*/ 35356 w 276848"/>
                  <a:gd name="connsiteY20" fmla="*/ 5819 h 340946"/>
                  <a:gd name="connsiteX21" fmla="*/ 33063 w 276848"/>
                  <a:gd name="connsiteY21" fmla="*/ 2645 h 340946"/>
                  <a:gd name="connsiteX22" fmla="*/ 32799 w 276848"/>
                  <a:gd name="connsiteY22" fmla="*/ 1146 h 340946"/>
                  <a:gd name="connsiteX23" fmla="*/ 30506 w 276848"/>
                  <a:gd name="connsiteY23" fmla="*/ 1146 h 340946"/>
                  <a:gd name="connsiteX24" fmla="*/ 30242 w 276848"/>
                  <a:gd name="connsiteY24" fmla="*/ 0 h 340946"/>
                  <a:gd name="connsiteX25" fmla="*/ 27861 w 276848"/>
                  <a:gd name="connsiteY25" fmla="*/ 2645 h 340946"/>
                  <a:gd name="connsiteX26" fmla="*/ 27597 w 276848"/>
                  <a:gd name="connsiteY26" fmla="*/ 4937 h 340946"/>
                  <a:gd name="connsiteX27" fmla="*/ 21160 w 276848"/>
                  <a:gd name="connsiteY27" fmla="*/ 6701 h 340946"/>
                  <a:gd name="connsiteX28" fmla="*/ 20543 w 276848"/>
                  <a:gd name="connsiteY28" fmla="*/ 10228 h 340946"/>
                  <a:gd name="connsiteX29" fmla="*/ 18515 w 276848"/>
                  <a:gd name="connsiteY29" fmla="*/ 10845 h 340946"/>
                  <a:gd name="connsiteX30" fmla="*/ 17898 w 276848"/>
                  <a:gd name="connsiteY30" fmla="*/ 9963 h 340946"/>
                  <a:gd name="connsiteX31" fmla="*/ 16399 w 276848"/>
                  <a:gd name="connsiteY31" fmla="*/ 11374 h 340946"/>
                  <a:gd name="connsiteX32" fmla="*/ 16399 w 276848"/>
                  <a:gd name="connsiteY32" fmla="*/ 13401 h 340946"/>
                  <a:gd name="connsiteX33" fmla="*/ 14107 w 276848"/>
                  <a:gd name="connsiteY33" fmla="*/ 14283 h 340946"/>
                  <a:gd name="connsiteX34" fmla="*/ 13225 w 276848"/>
                  <a:gd name="connsiteY34" fmla="*/ 16047 h 340946"/>
                  <a:gd name="connsiteX35" fmla="*/ 14107 w 276848"/>
                  <a:gd name="connsiteY35" fmla="*/ 15782 h 340946"/>
                  <a:gd name="connsiteX36" fmla="*/ 14989 w 276848"/>
                  <a:gd name="connsiteY36" fmla="*/ 16047 h 340946"/>
                  <a:gd name="connsiteX37" fmla="*/ 14107 w 276848"/>
                  <a:gd name="connsiteY37" fmla="*/ 16928 h 340946"/>
                  <a:gd name="connsiteX38" fmla="*/ 13225 w 276848"/>
                  <a:gd name="connsiteY38" fmla="*/ 16664 h 340946"/>
                  <a:gd name="connsiteX39" fmla="*/ 13490 w 276848"/>
                  <a:gd name="connsiteY39" fmla="*/ 17810 h 340946"/>
                  <a:gd name="connsiteX40" fmla="*/ 14636 w 276848"/>
                  <a:gd name="connsiteY40" fmla="*/ 18427 h 340946"/>
                  <a:gd name="connsiteX41" fmla="*/ 15782 w 276848"/>
                  <a:gd name="connsiteY41" fmla="*/ 19573 h 340946"/>
                  <a:gd name="connsiteX42" fmla="*/ 16047 w 276848"/>
                  <a:gd name="connsiteY42" fmla="*/ 23629 h 340946"/>
                  <a:gd name="connsiteX43" fmla="*/ 16928 w 276848"/>
                  <a:gd name="connsiteY43" fmla="*/ 26891 h 340946"/>
                  <a:gd name="connsiteX44" fmla="*/ 16664 w 276848"/>
                  <a:gd name="connsiteY44" fmla="*/ 28037 h 340946"/>
                  <a:gd name="connsiteX45" fmla="*/ 17545 w 276848"/>
                  <a:gd name="connsiteY45" fmla="*/ 29536 h 340946"/>
                  <a:gd name="connsiteX46" fmla="*/ 15782 w 276848"/>
                  <a:gd name="connsiteY46" fmla="*/ 32799 h 340946"/>
                  <a:gd name="connsiteX47" fmla="*/ 17016 w 276848"/>
                  <a:gd name="connsiteY47" fmla="*/ 35708 h 340946"/>
                  <a:gd name="connsiteX48" fmla="*/ 50344 w 276848"/>
                  <a:gd name="connsiteY48" fmla="*/ 322961 h 340946"/>
                  <a:gd name="connsiteX49" fmla="*/ 47964 w 276848"/>
                  <a:gd name="connsiteY49" fmla="*/ 322079 h 340946"/>
                  <a:gd name="connsiteX50" fmla="*/ 42673 w 276848"/>
                  <a:gd name="connsiteY50" fmla="*/ 318552 h 340946"/>
                  <a:gd name="connsiteX51" fmla="*/ 42938 w 276848"/>
                  <a:gd name="connsiteY51" fmla="*/ 317406 h 340946"/>
                  <a:gd name="connsiteX52" fmla="*/ 41792 w 276848"/>
                  <a:gd name="connsiteY52" fmla="*/ 316524 h 340946"/>
                  <a:gd name="connsiteX53" fmla="*/ 40029 w 276848"/>
                  <a:gd name="connsiteY53" fmla="*/ 315114 h 340946"/>
                  <a:gd name="connsiteX54" fmla="*/ 36502 w 276848"/>
                  <a:gd name="connsiteY54" fmla="*/ 315114 h 340946"/>
                  <a:gd name="connsiteX55" fmla="*/ 35003 w 276848"/>
                  <a:gd name="connsiteY55" fmla="*/ 314849 h 340946"/>
                  <a:gd name="connsiteX56" fmla="*/ 33239 w 276848"/>
                  <a:gd name="connsiteY56" fmla="*/ 314849 h 340946"/>
                  <a:gd name="connsiteX57" fmla="*/ 31212 w 276848"/>
                  <a:gd name="connsiteY57" fmla="*/ 314849 h 340946"/>
                  <a:gd name="connsiteX58" fmla="*/ 28037 w 276848"/>
                  <a:gd name="connsiteY58" fmla="*/ 316613 h 340946"/>
                  <a:gd name="connsiteX59" fmla="*/ 24864 w 276848"/>
                  <a:gd name="connsiteY59" fmla="*/ 318640 h 340946"/>
                  <a:gd name="connsiteX60" fmla="*/ 23100 w 276848"/>
                  <a:gd name="connsiteY60" fmla="*/ 319258 h 340946"/>
                  <a:gd name="connsiteX61" fmla="*/ 22571 w 276848"/>
                  <a:gd name="connsiteY61" fmla="*/ 320668 h 340946"/>
                  <a:gd name="connsiteX62" fmla="*/ 20808 w 276848"/>
                  <a:gd name="connsiteY62" fmla="*/ 321550 h 340946"/>
                  <a:gd name="connsiteX63" fmla="*/ 18163 w 276848"/>
                  <a:gd name="connsiteY63" fmla="*/ 320933 h 340946"/>
                  <a:gd name="connsiteX64" fmla="*/ 14900 w 276848"/>
                  <a:gd name="connsiteY64" fmla="*/ 321286 h 340946"/>
                  <a:gd name="connsiteX65" fmla="*/ 13754 w 276848"/>
                  <a:gd name="connsiteY65" fmla="*/ 320668 h 340946"/>
                  <a:gd name="connsiteX66" fmla="*/ 13137 w 276848"/>
                  <a:gd name="connsiteY66" fmla="*/ 319522 h 340946"/>
                  <a:gd name="connsiteX67" fmla="*/ 10492 w 276848"/>
                  <a:gd name="connsiteY67" fmla="*/ 319258 h 340946"/>
                  <a:gd name="connsiteX68" fmla="*/ 8464 w 276848"/>
                  <a:gd name="connsiteY68" fmla="*/ 320139 h 340946"/>
                  <a:gd name="connsiteX69" fmla="*/ 6701 w 276848"/>
                  <a:gd name="connsiteY69" fmla="*/ 321286 h 340946"/>
                  <a:gd name="connsiteX70" fmla="*/ 6172 w 276848"/>
                  <a:gd name="connsiteY70" fmla="*/ 321550 h 340946"/>
                  <a:gd name="connsiteX71" fmla="*/ 5555 w 276848"/>
                  <a:gd name="connsiteY71" fmla="*/ 322167 h 340946"/>
                  <a:gd name="connsiteX72" fmla="*/ 4144 w 276848"/>
                  <a:gd name="connsiteY72" fmla="*/ 321286 h 340946"/>
                  <a:gd name="connsiteX73" fmla="*/ 4408 w 276848"/>
                  <a:gd name="connsiteY73" fmla="*/ 320933 h 340946"/>
                  <a:gd name="connsiteX74" fmla="*/ 4408 w 276848"/>
                  <a:gd name="connsiteY74" fmla="*/ 318023 h 340946"/>
                  <a:gd name="connsiteX75" fmla="*/ 4408 w 276848"/>
                  <a:gd name="connsiteY75" fmla="*/ 315114 h 340946"/>
                  <a:gd name="connsiteX76" fmla="*/ 2998 w 276848"/>
                  <a:gd name="connsiteY76" fmla="*/ 312469 h 340946"/>
                  <a:gd name="connsiteX77" fmla="*/ 2116 w 276848"/>
                  <a:gd name="connsiteY77" fmla="*/ 311323 h 340946"/>
                  <a:gd name="connsiteX78" fmla="*/ 1499 w 276848"/>
                  <a:gd name="connsiteY78" fmla="*/ 309912 h 340946"/>
                  <a:gd name="connsiteX79" fmla="*/ 617 w 276848"/>
                  <a:gd name="connsiteY79" fmla="*/ 307267 h 340946"/>
                  <a:gd name="connsiteX80" fmla="*/ 0 w 276848"/>
                  <a:gd name="connsiteY80" fmla="*/ 305856 h 340946"/>
                  <a:gd name="connsiteX81" fmla="*/ 617 w 276848"/>
                  <a:gd name="connsiteY81" fmla="*/ 304974 h 340946"/>
                  <a:gd name="connsiteX82" fmla="*/ 1234 w 276848"/>
                  <a:gd name="connsiteY82" fmla="*/ 305239 h 340946"/>
                  <a:gd name="connsiteX83" fmla="*/ 1851 w 276848"/>
                  <a:gd name="connsiteY83" fmla="*/ 307267 h 340946"/>
                  <a:gd name="connsiteX84" fmla="*/ 2116 w 276848"/>
                  <a:gd name="connsiteY84" fmla="*/ 308678 h 340946"/>
                  <a:gd name="connsiteX85" fmla="*/ 3262 w 276848"/>
                  <a:gd name="connsiteY85" fmla="*/ 310705 h 340946"/>
                  <a:gd name="connsiteX86" fmla="*/ 3879 w 276848"/>
                  <a:gd name="connsiteY86" fmla="*/ 311852 h 340946"/>
                  <a:gd name="connsiteX87" fmla="*/ 5378 w 276848"/>
                  <a:gd name="connsiteY87" fmla="*/ 312998 h 340946"/>
                  <a:gd name="connsiteX88" fmla="*/ 5378 w 276848"/>
                  <a:gd name="connsiteY88" fmla="*/ 311852 h 340946"/>
                  <a:gd name="connsiteX89" fmla="*/ 5114 w 276848"/>
                  <a:gd name="connsiteY89" fmla="*/ 311323 h 340946"/>
                  <a:gd name="connsiteX90" fmla="*/ 5114 w 276848"/>
                  <a:gd name="connsiteY90" fmla="*/ 309912 h 340946"/>
                  <a:gd name="connsiteX91" fmla="*/ 4497 w 276848"/>
                  <a:gd name="connsiteY91" fmla="*/ 308148 h 340946"/>
                  <a:gd name="connsiteX92" fmla="*/ 4232 w 276848"/>
                  <a:gd name="connsiteY92" fmla="*/ 307267 h 340946"/>
                  <a:gd name="connsiteX93" fmla="*/ 4232 w 276848"/>
                  <a:gd name="connsiteY93" fmla="*/ 306121 h 340946"/>
                  <a:gd name="connsiteX94" fmla="*/ 4761 w 276848"/>
                  <a:gd name="connsiteY94" fmla="*/ 306121 h 340946"/>
                  <a:gd name="connsiteX95" fmla="*/ 5378 w 276848"/>
                  <a:gd name="connsiteY95" fmla="*/ 306121 h 340946"/>
                  <a:gd name="connsiteX96" fmla="*/ 5995 w 276848"/>
                  <a:gd name="connsiteY96" fmla="*/ 307267 h 340946"/>
                  <a:gd name="connsiteX97" fmla="*/ 6260 w 276848"/>
                  <a:gd name="connsiteY97" fmla="*/ 306650 h 340946"/>
                  <a:gd name="connsiteX98" fmla="*/ 5995 w 276848"/>
                  <a:gd name="connsiteY98" fmla="*/ 305768 h 340946"/>
                  <a:gd name="connsiteX99" fmla="*/ 5995 w 276848"/>
                  <a:gd name="connsiteY99" fmla="*/ 301977 h 340946"/>
                  <a:gd name="connsiteX100" fmla="*/ 6613 w 276848"/>
                  <a:gd name="connsiteY100" fmla="*/ 299684 h 340946"/>
                  <a:gd name="connsiteX101" fmla="*/ 6613 w 276848"/>
                  <a:gd name="connsiteY101" fmla="*/ 295629 h 340946"/>
                  <a:gd name="connsiteX102" fmla="*/ 5731 w 276848"/>
                  <a:gd name="connsiteY102" fmla="*/ 292366 h 340946"/>
                  <a:gd name="connsiteX103" fmla="*/ 6348 w 276848"/>
                  <a:gd name="connsiteY103" fmla="*/ 290338 h 340946"/>
                  <a:gd name="connsiteX104" fmla="*/ 6084 w 276848"/>
                  <a:gd name="connsiteY104" fmla="*/ 287693 h 340946"/>
                  <a:gd name="connsiteX105" fmla="*/ 5819 w 276848"/>
                  <a:gd name="connsiteY105" fmla="*/ 286194 h 340946"/>
                  <a:gd name="connsiteX106" fmla="*/ 4937 w 276848"/>
                  <a:gd name="connsiteY106" fmla="*/ 284696 h 340946"/>
                  <a:gd name="connsiteX107" fmla="*/ 4408 w 276848"/>
                  <a:gd name="connsiteY107" fmla="*/ 283814 h 340946"/>
                  <a:gd name="connsiteX108" fmla="*/ 4144 w 276848"/>
                  <a:gd name="connsiteY108" fmla="*/ 280904 h 340946"/>
                  <a:gd name="connsiteX109" fmla="*/ 4144 w 276848"/>
                  <a:gd name="connsiteY109" fmla="*/ 278877 h 340946"/>
                  <a:gd name="connsiteX110" fmla="*/ 4408 w 276848"/>
                  <a:gd name="connsiteY110" fmla="*/ 277730 h 340946"/>
                  <a:gd name="connsiteX111" fmla="*/ 4937 w 276848"/>
                  <a:gd name="connsiteY111" fmla="*/ 278348 h 340946"/>
                  <a:gd name="connsiteX112" fmla="*/ 5555 w 276848"/>
                  <a:gd name="connsiteY112" fmla="*/ 280111 h 340946"/>
                  <a:gd name="connsiteX113" fmla="*/ 6172 w 276848"/>
                  <a:gd name="connsiteY113" fmla="*/ 281257 h 340946"/>
                  <a:gd name="connsiteX114" fmla="*/ 5907 w 276848"/>
                  <a:gd name="connsiteY114" fmla="*/ 282403 h 340946"/>
                  <a:gd name="connsiteX115" fmla="*/ 6789 w 276848"/>
                  <a:gd name="connsiteY115" fmla="*/ 283902 h 340946"/>
                  <a:gd name="connsiteX116" fmla="*/ 7406 w 276848"/>
                  <a:gd name="connsiteY116" fmla="*/ 283902 h 340946"/>
                  <a:gd name="connsiteX117" fmla="*/ 6789 w 276848"/>
                  <a:gd name="connsiteY117" fmla="*/ 284519 h 340946"/>
                  <a:gd name="connsiteX118" fmla="*/ 6789 w 276848"/>
                  <a:gd name="connsiteY118" fmla="*/ 284784 h 340946"/>
                  <a:gd name="connsiteX119" fmla="*/ 7671 w 276848"/>
                  <a:gd name="connsiteY119" fmla="*/ 284519 h 340946"/>
                  <a:gd name="connsiteX120" fmla="*/ 9170 w 276848"/>
                  <a:gd name="connsiteY120" fmla="*/ 283021 h 340946"/>
                  <a:gd name="connsiteX121" fmla="*/ 9170 w 276848"/>
                  <a:gd name="connsiteY121" fmla="*/ 282403 h 340946"/>
                  <a:gd name="connsiteX122" fmla="*/ 9170 w 276848"/>
                  <a:gd name="connsiteY122" fmla="*/ 281257 h 340946"/>
                  <a:gd name="connsiteX123" fmla="*/ 9787 w 276848"/>
                  <a:gd name="connsiteY123" fmla="*/ 280640 h 340946"/>
                  <a:gd name="connsiteX124" fmla="*/ 11021 w 276848"/>
                  <a:gd name="connsiteY124" fmla="*/ 280023 h 340946"/>
                  <a:gd name="connsiteX125" fmla="*/ 11638 w 276848"/>
                  <a:gd name="connsiteY125" fmla="*/ 278259 h 340946"/>
                  <a:gd name="connsiteX126" fmla="*/ 11638 w 276848"/>
                  <a:gd name="connsiteY126" fmla="*/ 277113 h 340946"/>
                  <a:gd name="connsiteX127" fmla="*/ 11903 w 276848"/>
                  <a:gd name="connsiteY127" fmla="*/ 275085 h 340946"/>
                  <a:gd name="connsiteX128" fmla="*/ 11903 w 276848"/>
                  <a:gd name="connsiteY128" fmla="*/ 273057 h 340946"/>
                  <a:gd name="connsiteX129" fmla="*/ 12167 w 276848"/>
                  <a:gd name="connsiteY129" fmla="*/ 270677 h 340946"/>
                  <a:gd name="connsiteX130" fmla="*/ 13314 w 276848"/>
                  <a:gd name="connsiteY130" fmla="*/ 270060 h 340946"/>
                  <a:gd name="connsiteX131" fmla="*/ 13931 w 276848"/>
                  <a:gd name="connsiteY131" fmla="*/ 270060 h 340946"/>
                  <a:gd name="connsiteX132" fmla="*/ 14548 w 276848"/>
                  <a:gd name="connsiteY132" fmla="*/ 269178 h 340946"/>
                  <a:gd name="connsiteX133" fmla="*/ 13931 w 276848"/>
                  <a:gd name="connsiteY133" fmla="*/ 268296 h 340946"/>
                  <a:gd name="connsiteX134" fmla="*/ 13666 w 276848"/>
                  <a:gd name="connsiteY134" fmla="*/ 268561 h 340946"/>
                  <a:gd name="connsiteX135" fmla="*/ 13401 w 276848"/>
                  <a:gd name="connsiteY135" fmla="*/ 267679 h 340946"/>
                  <a:gd name="connsiteX136" fmla="*/ 14636 w 276848"/>
                  <a:gd name="connsiteY136" fmla="*/ 265387 h 340946"/>
                  <a:gd name="connsiteX137" fmla="*/ 15165 w 276848"/>
                  <a:gd name="connsiteY137" fmla="*/ 263623 h 340946"/>
                  <a:gd name="connsiteX138" fmla="*/ 15429 w 276848"/>
                  <a:gd name="connsiteY138" fmla="*/ 263359 h 340946"/>
                  <a:gd name="connsiteX139" fmla="*/ 15429 w 276848"/>
                  <a:gd name="connsiteY139" fmla="*/ 261155 h 340946"/>
                  <a:gd name="connsiteX140" fmla="*/ 16311 w 276848"/>
                  <a:gd name="connsiteY140" fmla="*/ 260537 h 340946"/>
                  <a:gd name="connsiteX141" fmla="*/ 17722 w 276848"/>
                  <a:gd name="connsiteY141" fmla="*/ 259656 h 340946"/>
                  <a:gd name="connsiteX142" fmla="*/ 16840 w 276848"/>
                  <a:gd name="connsiteY142" fmla="*/ 257011 h 340946"/>
                  <a:gd name="connsiteX143" fmla="*/ 17722 w 276848"/>
                  <a:gd name="connsiteY143" fmla="*/ 256746 h 340946"/>
                  <a:gd name="connsiteX144" fmla="*/ 18075 w 276848"/>
                  <a:gd name="connsiteY144" fmla="*/ 252338 h 340946"/>
                  <a:gd name="connsiteX145" fmla="*/ 18692 w 276848"/>
                  <a:gd name="connsiteY145" fmla="*/ 249693 h 340946"/>
                  <a:gd name="connsiteX146" fmla="*/ 18956 w 276848"/>
                  <a:gd name="connsiteY146" fmla="*/ 247048 h 340946"/>
                  <a:gd name="connsiteX147" fmla="*/ 18075 w 276848"/>
                  <a:gd name="connsiteY147" fmla="*/ 245285 h 340946"/>
                  <a:gd name="connsiteX148" fmla="*/ 18339 w 276848"/>
                  <a:gd name="connsiteY148" fmla="*/ 244403 h 340946"/>
                  <a:gd name="connsiteX149" fmla="*/ 18956 w 276848"/>
                  <a:gd name="connsiteY149" fmla="*/ 244403 h 340946"/>
                  <a:gd name="connsiteX150" fmla="*/ 19221 w 276848"/>
                  <a:gd name="connsiteY150" fmla="*/ 243786 h 340946"/>
                  <a:gd name="connsiteX151" fmla="*/ 18956 w 276848"/>
                  <a:gd name="connsiteY151" fmla="*/ 242639 h 340946"/>
                  <a:gd name="connsiteX152" fmla="*/ 18956 w 276848"/>
                  <a:gd name="connsiteY152" fmla="*/ 241141 h 340946"/>
                  <a:gd name="connsiteX153" fmla="*/ 19573 w 276848"/>
                  <a:gd name="connsiteY153" fmla="*/ 240876 h 340946"/>
                  <a:gd name="connsiteX154" fmla="*/ 19838 w 276848"/>
                  <a:gd name="connsiteY154" fmla="*/ 239730 h 340946"/>
                  <a:gd name="connsiteX155" fmla="*/ 20102 w 276848"/>
                  <a:gd name="connsiteY155" fmla="*/ 239113 h 340946"/>
                  <a:gd name="connsiteX156" fmla="*/ 20102 w 276848"/>
                  <a:gd name="connsiteY156" fmla="*/ 237085 h 340946"/>
                  <a:gd name="connsiteX157" fmla="*/ 21249 w 276848"/>
                  <a:gd name="connsiteY157" fmla="*/ 236820 h 340946"/>
                  <a:gd name="connsiteX158" fmla="*/ 21778 w 276848"/>
                  <a:gd name="connsiteY158" fmla="*/ 237085 h 340946"/>
                  <a:gd name="connsiteX159" fmla="*/ 22659 w 276848"/>
                  <a:gd name="connsiteY159" fmla="*/ 236203 h 340946"/>
                  <a:gd name="connsiteX160" fmla="*/ 24158 w 276848"/>
                  <a:gd name="connsiteY160" fmla="*/ 235674 h 340946"/>
                  <a:gd name="connsiteX161" fmla="*/ 25304 w 276848"/>
                  <a:gd name="connsiteY161" fmla="*/ 232764 h 340946"/>
                  <a:gd name="connsiteX162" fmla="*/ 27068 w 276848"/>
                  <a:gd name="connsiteY162" fmla="*/ 231883 h 340946"/>
                  <a:gd name="connsiteX163" fmla="*/ 28831 w 276848"/>
                  <a:gd name="connsiteY163" fmla="*/ 231265 h 340946"/>
                  <a:gd name="connsiteX164" fmla="*/ 29448 w 276848"/>
                  <a:gd name="connsiteY164" fmla="*/ 235409 h 340946"/>
                  <a:gd name="connsiteX165" fmla="*/ 31212 w 276848"/>
                  <a:gd name="connsiteY165" fmla="*/ 234528 h 340946"/>
                  <a:gd name="connsiteX166" fmla="*/ 31212 w 276848"/>
                  <a:gd name="connsiteY166" fmla="*/ 232853 h 340946"/>
                  <a:gd name="connsiteX167" fmla="*/ 29184 w 276848"/>
                  <a:gd name="connsiteY167" fmla="*/ 230472 h 340946"/>
                  <a:gd name="connsiteX168" fmla="*/ 27685 w 276848"/>
                  <a:gd name="connsiteY168" fmla="*/ 230208 h 340946"/>
                  <a:gd name="connsiteX169" fmla="*/ 25040 w 276848"/>
                  <a:gd name="connsiteY169" fmla="*/ 231089 h 340946"/>
                  <a:gd name="connsiteX170" fmla="*/ 24158 w 276848"/>
                  <a:gd name="connsiteY170" fmla="*/ 231971 h 340946"/>
                  <a:gd name="connsiteX171" fmla="*/ 23277 w 276848"/>
                  <a:gd name="connsiteY171" fmla="*/ 231706 h 340946"/>
                  <a:gd name="connsiteX172" fmla="*/ 23277 w 276848"/>
                  <a:gd name="connsiteY172" fmla="*/ 230560 h 340946"/>
                  <a:gd name="connsiteX173" fmla="*/ 23541 w 276848"/>
                  <a:gd name="connsiteY173" fmla="*/ 229679 h 340946"/>
                  <a:gd name="connsiteX174" fmla="*/ 23277 w 276848"/>
                  <a:gd name="connsiteY174" fmla="*/ 229414 h 340946"/>
                  <a:gd name="connsiteX175" fmla="*/ 23541 w 276848"/>
                  <a:gd name="connsiteY175" fmla="*/ 228532 h 340946"/>
                  <a:gd name="connsiteX176" fmla="*/ 23277 w 276848"/>
                  <a:gd name="connsiteY176" fmla="*/ 226505 h 340946"/>
                  <a:gd name="connsiteX177" fmla="*/ 23541 w 276848"/>
                  <a:gd name="connsiteY177" fmla="*/ 225358 h 340946"/>
                  <a:gd name="connsiteX178" fmla="*/ 24158 w 276848"/>
                  <a:gd name="connsiteY178" fmla="*/ 225358 h 340946"/>
                  <a:gd name="connsiteX179" fmla="*/ 25040 w 276848"/>
                  <a:gd name="connsiteY179" fmla="*/ 224477 h 340946"/>
                  <a:gd name="connsiteX180" fmla="*/ 25304 w 276848"/>
                  <a:gd name="connsiteY180" fmla="*/ 224124 h 340946"/>
                  <a:gd name="connsiteX181" fmla="*/ 25922 w 276848"/>
                  <a:gd name="connsiteY181" fmla="*/ 223242 h 340946"/>
                  <a:gd name="connsiteX182" fmla="*/ 25304 w 276848"/>
                  <a:gd name="connsiteY182" fmla="*/ 222625 h 340946"/>
                  <a:gd name="connsiteX183" fmla="*/ 26186 w 276848"/>
                  <a:gd name="connsiteY183" fmla="*/ 221479 h 340946"/>
                  <a:gd name="connsiteX184" fmla="*/ 26451 w 276848"/>
                  <a:gd name="connsiteY184" fmla="*/ 221479 h 340946"/>
                  <a:gd name="connsiteX185" fmla="*/ 26715 w 276848"/>
                  <a:gd name="connsiteY185" fmla="*/ 220862 h 340946"/>
                  <a:gd name="connsiteX186" fmla="*/ 26980 w 276848"/>
                  <a:gd name="connsiteY186" fmla="*/ 221126 h 340946"/>
                  <a:gd name="connsiteX187" fmla="*/ 28478 w 276848"/>
                  <a:gd name="connsiteY187" fmla="*/ 220509 h 340946"/>
                  <a:gd name="connsiteX188" fmla="*/ 29096 w 276848"/>
                  <a:gd name="connsiteY188" fmla="*/ 219098 h 340946"/>
                  <a:gd name="connsiteX189" fmla="*/ 29977 w 276848"/>
                  <a:gd name="connsiteY189" fmla="*/ 217952 h 340946"/>
                  <a:gd name="connsiteX190" fmla="*/ 31123 w 276848"/>
                  <a:gd name="connsiteY190" fmla="*/ 217071 h 340946"/>
                  <a:gd name="connsiteX191" fmla="*/ 32270 w 276848"/>
                  <a:gd name="connsiteY191" fmla="*/ 215307 h 340946"/>
                  <a:gd name="connsiteX192" fmla="*/ 33151 w 276848"/>
                  <a:gd name="connsiteY192" fmla="*/ 213808 h 340946"/>
                  <a:gd name="connsiteX193" fmla="*/ 32270 w 276848"/>
                  <a:gd name="connsiteY193" fmla="*/ 210899 h 340946"/>
                  <a:gd name="connsiteX194" fmla="*/ 33151 w 276848"/>
                  <a:gd name="connsiteY194" fmla="*/ 210017 h 340946"/>
                  <a:gd name="connsiteX195" fmla="*/ 34650 w 276848"/>
                  <a:gd name="connsiteY195" fmla="*/ 208606 h 340946"/>
                  <a:gd name="connsiteX196" fmla="*/ 35796 w 276848"/>
                  <a:gd name="connsiteY196" fmla="*/ 206226 h 340946"/>
                  <a:gd name="connsiteX197" fmla="*/ 36678 w 276848"/>
                  <a:gd name="connsiteY197" fmla="*/ 205344 h 340946"/>
                  <a:gd name="connsiteX198" fmla="*/ 37824 w 276848"/>
                  <a:gd name="connsiteY198" fmla="*/ 205344 h 340946"/>
                  <a:gd name="connsiteX199" fmla="*/ 38089 w 276848"/>
                  <a:gd name="connsiteY199" fmla="*/ 206226 h 340946"/>
                  <a:gd name="connsiteX200" fmla="*/ 38353 w 276848"/>
                  <a:gd name="connsiteY200" fmla="*/ 206578 h 340946"/>
                  <a:gd name="connsiteX201" fmla="*/ 38618 w 276848"/>
                  <a:gd name="connsiteY201" fmla="*/ 206226 h 340946"/>
                  <a:gd name="connsiteX202" fmla="*/ 38882 w 276848"/>
                  <a:gd name="connsiteY202" fmla="*/ 205344 h 340946"/>
                  <a:gd name="connsiteX203" fmla="*/ 39147 w 276848"/>
                  <a:gd name="connsiteY203" fmla="*/ 205080 h 340946"/>
                  <a:gd name="connsiteX204" fmla="*/ 39764 w 276848"/>
                  <a:gd name="connsiteY204" fmla="*/ 205080 h 340946"/>
                  <a:gd name="connsiteX205" fmla="*/ 40381 w 276848"/>
                  <a:gd name="connsiteY205" fmla="*/ 205080 h 340946"/>
                  <a:gd name="connsiteX206" fmla="*/ 40646 w 276848"/>
                  <a:gd name="connsiteY206" fmla="*/ 205344 h 340946"/>
                  <a:gd name="connsiteX207" fmla="*/ 41527 w 276848"/>
                  <a:gd name="connsiteY207" fmla="*/ 205609 h 340946"/>
                  <a:gd name="connsiteX208" fmla="*/ 42144 w 276848"/>
                  <a:gd name="connsiteY208" fmla="*/ 205344 h 340946"/>
                  <a:gd name="connsiteX209" fmla="*/ 43908 w 276848"/>
                  <a:gd name="connsiteY209" fmla="*/ 203052 h 340946"/>
                  <a:gd name="connsiteX210" fmla="*/ 43908 w 276848"/>
                  <a:gd name="connsiteY210" fmla="*/ 201024 h 340946"/>
                  <a:gd name="connsiteX211" fmla="*/ 44790 w 276848"/>
                  <a:gd name="connsiteY211" fmla="*/ 199525 h 340946"/>
                  <a:gd name="connsiteX212" fmla="*/ 45054 w 276848"/>
                  <a:gd name="connsiteY212" fmla="*/ 198026 h 340946"/>
                  <a:gd name="connsiteX213" fmla="*/ 45671 w 276848"/>
                  <a:gd name="connsiteY213" fmla="*/ 198379 h 340946"/>
                  <a:gd name="connsiteX214" fmla="*/ 46288 w 276848"/>
                  <a:gd name="connsiteY214" fmla="*/ 198379 h 340946"/>
                  <a:gd name="connsiteX215" fmla="*/ 46906 w 276848"/>
                  <a:gd name="connsiteY215" fmla="*/ 198379 h 340946"/>
                  <a:gd name="connsiteX216" fmla="*/ 47787 w 276848"/>
                  <a:gd name="connsiteY216" fmla="*/ 198026 h 340946"/>
                  <a:gd name="connsiteX217" fmla="*/ 48052 w 276848"/>
                  <a:gd name="connsiteY217" fmla="*/ 196615 h 340946"/>
                  <a:gd name="connsiteX218" fmla="*/ 48669 w 276848"/>
                  <a:gd name="connsiteY218" fmla="*/ 194588 h 340946"/>
                  <a:gd name="connsiteX219" fmla="*/ 49286 w 276848"/>
                  <a:gd name="connsiteY219" fmla="*/ 192824 h 340946"/>
                  <a:gd name="connsiteX220" fmla="*/ 49022 w 276848"/>
                  <a:gd name="connsiteY220" fmla="*/ 191678 h 340946"/>
                  <a:gd name="connsiteX221" fmla="*/ 49903 w 276848"/>
                  <a:gd name="connsiteY221" fmla="*/ 190532 h 340946"/>
                  <a:gd name="connsiteX222" fmla="*/ 50785 w 276848"/>
                  <a:gd name="connsiteY222" fmla="*/ 189915 h 340946"/>
                  <a:gd name="connsiteX223" fmla="*/ 50785 w 276848"/>
                  <a:gd name="connsiteY223" fmla="*/ 188769 h 340946"/>
                  <a:gd name="connsiteX224" fmla="*/ 51931 w 276848"/>
                  <a:gd name="connsiteY224" fmla="*/ 185506 h 340946"/>
                  <a:gd name="connsiteX225" fmla="*/ 51314 w 276848"/>
                  <a:gd name="connsiteY225" fmla="*/ 179952 h 340946"/>
                  <a:gd name="connsiteX226" fmla="*/ 51931 w 276848"/>
                  <a:gd name="connsiteY226" fmla="*/ 175279 h 340946"/>
                  <a:gd name="connsiteX227" fmla="*/ 51314 w 276848"/>
                  <a:gd name="connsiteY227" fmla="*/ 174133 h 340946"/>
                  <a:gd name="connsiteX228" fmla="*/ 52196 w 276848"/>
                  <a:gd name="connsiteY228" fmla="*/ 172986 h 340946"/>
                  <a:gd name="connsiteX229" fmla="*/ 53077 w 276848"/>
                  <a:gd name="connsiteY229" fmla="*/ 165668 h 340946"/>
                  <a:gd name="connsiteX230" fmla="*/ 52460 w 276848"/>
                  <a:gd name="connsiteY230" fmla="*/ 163905 h 340946"/>
                  <a:gd name="connsiteX231" fmla="*/ 51579 w 276848"/>
                  <a:gd name="connsiteY231" fmla="*/ 161260 h 340946"/>
                  <a:gd name="connsiteX232" fmla="*/ 50168 w 276848"/>
                  <a:gd name="connsiteY232" fmla="*/ 159497 h 340946"/>
                  <a:gd name="connsiteX233" fmla="*/ 50432 w 276848"/>
                  <a:gd name="connsiteY233" fmla="*/ 158615 h 340946"/>
                  <a:gd name="connsiteX234" fmla="*/ 51050 w 276848"/>
                  <a:gd name="connsiteY234" fmla="*/ 157469 h 340946"/>
                  <a:gd name="connsiteX235" fmla="*/ 50785 w 276848"/>
                  <a:gd name="connsiteY235" fmla="*/ 156322 h 340946"/>
                  <a:gd name="connsiteX236" fmla="*/ 47611 w 276848"/>
                  <a:gd name="connsiteY236" fmla="*/ 152267 h 340946"/>
                  <a:gd name="connsiteX237" fmla="*/ 46200 w 276848"/>
                  <a:gd name="connsiteY237" fmla="*/ 150503 h 340946"/>
                  <a:gd name="connsiteX238" fmla="*/ 46200 w 276848"/>
                  <a:gd name="connsiteY238" fmla="*/ 148740 h 340946"/>
                  <a:gd name="connsiteX239" fmla="*/ 45583 w 276848"/>
                  <a:gd name="connsiteY239" fmla="*/ 147858 h 340946"/>
                  <a:gd name="connsiteX240" fmla="*/ 44701 w 276848"/>
                  <a:gd name="connsiteY240" fmla="*/ 145566 h 340946"/>
                  <a:gd name="connsiteX241" fmla="*/ 43555 w 276848"/>
                  <a:gd name="connsiteY241" fmla="*/ 143538 h 340946"/>
                  <a:gd name="connsiteX242" fmla="*/ 43026 w 276848"/>
                  <a:gd name="connsiteY242" fmla="*/ 142392 h 340946"/>
                  <a:gd name="connsiteX243" fmla="*/ 41880 w 276848"/>
                  <a:gd name="connsiteY243" fmla="*/ 139747 h 340946"/>
                  <a:gd name="connsiteX244" fmla="*/ 42233 w 276848"/>
                  <a:gd name="connsiteY244" fmla="*/ 139218 h 340946"/>
                  <a:gd name="connsiteX245" fmla="*/ 42233 w 276848"/>
                  <a:gd name="connsiteY245" fmla="*/ 138072 h 340946"/>
                  <a:gd name="connsiteX246" fmla="*/ 41351 w 276848"/>
                  <a:gd name="connsiteY246" fmla="*/ 136925 h 340946"/>
                  <a:gd name="connsiteX247" fmla="*/ 39059 w 276848"/>
                  <a:gd name="connsiteY247" fmla="*/ 133399 h 340946"/>
                  <a:gd name="connsiteX248" fmla="*/ 39059 w 276848"/>
                  <a:gd name="connsiteY248" fmla="*/ 132782 h 340946"/>
                  <a:gd name="connsiteX249" fmla="*/ 39588 w 276848"/>
                  <a:gd name="connsiteY249" fmla="*/ 131635 h 340946"/>
                  <a:gd name="connsiteX250" fmla="*/ 39588 w 276848"/>
                  <a:gd name="connsiteY250" fmla="*/ 131106 h 340946"/>
                  <a:gd name="connsiteX251" fmla="*/ 39323 w 276848"/>
                  <a:gd name="connsiteY251" fmla="*/ 129960 h 340946"/>
                  <a:gd name="connsiteX252" fmla="*/ 39323 w 276848"/>
                  <a:gd name="connsiteY252" fmla="*/ 129078 h 340946"/>
                  <a:gd name="connsiteX253" fmla="*/ 38442 w 276848"/>
                  <a:gd name="connsiteY253" fmla="*/ 127315 h 340946"/>
                  <a:gd name="connsiteX254" fmla="*/ 38442 w 276848"/>
                  <a:gd name="connsiteY254" fmla="*/ 126169 h 340946"/>
                  <a:gd name="connsiteX255" fmla="*/ 38706 w 276848"/>
                  <a:gd name="connsiteY255" fmla="*/ 125552 h 340946"/>
                  <a:gd name="connsiteX256" fmla="*/ 38442 w 276848"/>
                  <a:gd name="connsiteY256" fmla="*/ 124141 h 340946"/>
                  <a:gd name="connsiteX257" fmla="*/ 37295 w 276848"/>
                  <a:gd name="connsiteY257" fmla="*/ 122995 h 340946"/>
                  <a:gd name="connsiteX258" fmla="*/ 37824 w 276848"/>
                  <a:gd name="connsiteY258" fmla="*/ 120703 h 340946"/>
                  <a:gd name="connsiteX259" fmla="*/ 34915 w 276848"/>
                  <a:gd name="connsiteY259" fmla="*/ 118939 h 340946"/>
                  <a:gd name="connsiteX260" fmla="*/ 34650 w 276848"/>
                  <a:gd name="connsiteY260" fmla="*/ 118057 h 340946"/>
                  <a:gd name="connsiteX261" fmla="*/ 34915 w 276848"/>
                  <a:gd name="connsiteY261" fmla="*/ 115677 h 340946"/>
                  <a:gd name="connsiteX262" fmla="*/ 35796 w 276848"/>
                  <a:gd name="connsiteY262" fmla="*/ 114531 h 340946"/>
                  <a:gd name="connsiteX263" fmla="*/ 36414 w 276848"/>
                  <a:gd name="connsiteY263" fmla="*/ 114178 h 340946"/>
                  <a:gd name="connsiteX264" fmla="*/ 36943 w 276848"/>
                  <a:gd name="connsiteY264" fmla="*/ 113561 h 340946"/>
                  <a:gd name="connsiteX265" fmla="*/ 36943 w 276848"/>
                  <a:gd name="connsiteY265" fmla="*/ 112679 h 340946"/>
                  <a:gd name="connsiteX266" fmla="*/ 38089 w 276848"/>
                  <a:gd name="connsiteY266" fmla="*/ 112679 h 340946"/>
                  <a:gd name="connsiteX267" fmla="*/ 37207 w 276848"/>
                  <a:gd name="connsiteY267" fmla="*/ 114178 h 340946"/>
                  <a:gd name="connsiteX268" fmla="*/ 36061 w 276848"/>
                  <a:gd name="connsiteY268" fmla="*/ 115060 h 340946"/>
                  <a:gd name="connsiteX269" fmla="*/ 35796 w 276848"/>
                  <a:gd name="connsiteY269" fmla="*/ 115589 h 340946"/>
                  <a:gd name="connsiteX270" fmla="*/ 35179 w 276848"/>
                  <a:gd name="connsiteY270" fmla="*/ 116735 h 340946"/>
                  <a:gd name="connsiteX271" fmla="*/ 35179 w 276848"/>
                  <a:gd name="connsiteY271" fmla="*/ 117881 h 340946"/>
                  <a:gd name="connsiteX272" fmla="*/ 36678 w 276848"/>
                  <a:gd name="connsiteY272" fmla="*/ 114619 h 340946"/>
                  <a:gd name="connsiteX273" fmla="*/ 38177 w 276848"/>
                  <a:gd name="connsiteY273" fmla="*/ 114354 h 340946"/>
                  <a:gd name="connsiteX274" fmla="*/ 38442 w 276848"/>
                  <a:gd name="connsiteY274" fmla="*/ 113208 h 340946"/>
                  <a:gd name="connsiteX275" fmla="*/ 39059 w 276848"/>
                  <a:gd name="connsiteY275" fmla="*/ 112591 h 340946"/>
                  <a:gd name="connsiteX276" fmla="*/ 39059 w 276848"/>
                  <a:gd name="connsiteY276" fmla="*/ 110828 h 340946"/>
                  <a:gd name="connsiteX277" fmla="*/ 39588 w 276848"/>
                  <a:gd name="connsiteY277" fmla="*/ 110299 h 340946"/>
                  <a:gd name="connsiteX278" fmla="*/ 40469 w 276848"/>
                  <a:gd name="connsiteY278" fmla="*/ 109417 h 340946"/>
                  <a:gd name="connsiteX279" fmla="*/ 39852 w 276848"/>
                  <a:gd name="connsiteY279" fmla="*/ 110563 h 340946"/>
                  <a:gd name="connsiteX280" fmla="*/ 39235 w 276848"/>
                  <a:gd name="connsiteY280" fmla="*/ 111092 h 340946"/>
                  <a:gd name="connsiteX281" fmla="*/ 40117 w 276848"/>
                  <a:gd name="connsiteY281" fmla="*/ 110563 h 340946"/>
                  <a:gd name="connsiteX282" fmla="*/ 40734 w 276848"/>
                  <a:gd name="connsiteY282" fmla="*/ 110299 h 340946"/>
                  <a:gd name="connsiteX283" fmla="*/ 41351 w 276848"/>
                  <a:gd name="connsiteY283" fmla="*/ 109153 h 340946"/>
                  <a:gd name="connsiteX284" fmla="*/ 42850 w 276848"/>
                  <a:gd name="connsiteY284" fmla="*/ 109417 h 340946"/>
                  <a:gd name="connsiteX285" fmla="*/ 43731 w 276848"/>
                  <a:gd name="connsiteY285" fmla="*/ 108888 h 340946"/>
                  <a:gd name="connsiteX286" fmla="*/ 43996 w 276848"/>
                  <a:gd name="connsiteY286" fmla="*/ 107125 h 340946"/>
                  <a:gd name="connsiteX287" fmla="*/ 43379 w 276848"/>
                  <a:gd name="connsiteY287" fmla="*/ 105626 h 340946"/>
                  <a:gd name="connsiteX288" fmla="*/ 43114 w 276848"/>
                  <a:gd name="connsiteY288" fmla="*/ 102452 h 340946"/>
                  <a:gd name="connsiteX289" fmla="*/ 43643 w 276848"/>
                  <a:gd name="connsiteY289" fmla="*/ 102452 h 340946"/>
                  <a:gd name="connsiteX290" fmla="*/ 43643 w 276848"/>
                  <a:gd name="connsiteY290" fmla="*/ 100424 h 340946"/>
                  <a:gd name="connsiteX291" fmla="*/ 43379 w 276848"/>
                  <a:gd name="connsiteY291" fmla="*/ 98396 h 340946"/>
                  <a:gd name="connsiteX292" fmla="*/ 41880 w 276848"/>
                  <a:gd name="connsiteY292" fmla="*/ 96368 h 340946"/>
                  <a:gd name="connsiteX293" fmla="*/ 41263 w 276848"/>
                  <a:gd name="connsiteY293" fmla="*/ 95134 h 340946"/>
                  <a:gd name="connsiteX294" fmla="*/ 40646 w 276848"/>
                  <a:gd name="connsiteY294" fmla="*/ 94869 h 340946"/>
                  <a:gd name="connsiteX295" fmla="*/ 40646 w 276848"/>
                  <a:gd name="connsiteY295" fmla="*/ 93988 h 340946"/>
                  <a:gd name="connsiteX296" fmla="*/ 39500 w 276848"/>
                  <a:gd name="connsiteY296" fmla="*/ 92224 h 340946"/>
                  <a:gd name="connsiteX297" fmla="*/ 38618 w 276848"/>
                  <a:gd name="connsiteY297" fmla="*/ 89050 h 340946"/>
                  <a:gd name="connsiteX298" fmla="*/ 37472 w 276848"/>
                  <a:gd name="connsiteY298" fmla="*/ 87287 h 340946"/>
                  <a:gd name="connsiteX299" fmla="*/ 36854 w 276848"/>
                  <a:gd name="connsiteY299" fmla="*/ 85788 h 340946"/>
                  <a:gd name="connsiteX300" fmla="*/ 36325 w 276848"/>
                  <a:gd name="connsiteY300" fmla="*/ 84024 h 340946"/>
                  <a:gd name="connsiteX301" fmla="*/ 36325 w 276848"/>
                  <a:gd name="connsiteY301" fmla="*/ 82878 h 340946"/>
                  <a:gd name="connsiteX302" fmla="*/ 34827 w 276848"/>
                  <a:gd name="connsiteY302" fmla="*/ 80850 h 340946"/>
                  <a:gd name="connsiteX303" fmla="*/ 34827 w 276848"/>
                  <a:gd name="connsiteY303" fmla="*/ 79352 h 340946"/>
                  <a:gd name="connsiteX304" fmla="*/ 33945 w 276848"/>
                  <a:gd name="connsiteY304" fmla="*/ 77324 h 340946"/>
                  <a:gd name="connsiteX305" fmla="*/ 32799 w 276848"/>
                  <a:gd name="connsiteY305" fmla="*/ 73797 h 340946"/>
                  <a:gd name="connsiteX306" fmla="*/ 31652 w 276848"/>
                  <a:gd name="connsiteY306" fmla="*/ 72033 h 340946"/>
                  <a:gd name="connsiteX307" fmla="*/ 31917 w 276848"/>
                  <a:gd name="connsiteY307" fmla="*/ 68771 h 340946"/>
                  <a:gd name="connsiteX308" fmla="*/ 31652 w 276848"/>
                  <a:gd name="connsiteY308" fmla="*/ 67625 h 340946"/>
                  <a:gd name="connsiteX309" fmla="*/ 30771 w 276848"/>
                  <a:gd name="connsiteY309" fmla="*/ 64980 h 340946"/>
                  <a:gd name="connsiteX310" fmla="*/ 30771 w 276848"/>
                  <a:gd name="connsiteY310" fmla="*/ 64098 h 340946"/>
                  <a:gd name="connsiteX311" fmla="*/ 30771 w 276848"/>
                  <a:gd name="connsiteY311" fmla="*/ 63834 h 340946"/>
                  <a:gd name="connsiteX312" fmla="*/ 30154 w 276848"/>
                  <a:gd name="connsiteY312" fmla="*/ 63217 h 340946"/>
                  <a:gd name="connsiteX313" fmla="*/ 30154 w 276848"/>
                  <a:gd name="connsiteY313" fmla="*/ 62071 h 340946"/>
                  <a:gd name="connsiteX314" fmla="*/ 27773 w 276848"/>
                  <a:gd name="connsiteY314" fmla="*/ 59778 h 340946"/>
                  <a:gd name="connsiteX315" fmla="*/ 26627 w 276848"/>
                  <a:gd name="connsiteY315" fmla="*/ 57398 h 340946"/>
                  <a:gd name="connsiteX316" fmla="*/ 25481 w 276848"/>
                  <a:gd name="connsiteY316" fmla="*/ 56780 h 340946"/>
                  <a:gd name="connsiteX317" fmla="*/ 22836 w 276848"/>
                  <a:gd name="connsiteY317" fmla="*/ 50697 h 340946"/>
                  <a:gd name="connsiteX318" fmla="*/ 21954 w 276848"/>
                  <a:gd name="connsiteY318" fmla="*/ 50432 h 340946"/>
                  <a:gd name="connsiteX319" fmla="*/ 22307 w 276848"/>
                  <a:gd name="connsiteY319" fmla="*/ 49286 h 340946"/>
                  <a:gd name="connsiteX320" fmla="*/ 21160 w 276848"/>
                  <a:gd name="connsiteY320" fmla="*/ 46377 h 340946"/>
                  <a:gd name="connsiteX321" fmla="*/ 19662 w 276848"/>
                  <a:gd name="connsiteY321" fmla="*/ 45230 h 340946"/>
                  <a:gd name="connsiteX322" fmla="*/ 19044 w 276848"/>
                  <a:gd name="connsiteY322" fmla="*/ 43467 h 340946"/>
                  <a:gd name="connsiteX323" fmla="*/ 19662 w 276848"/>
                  <a:gd name="connsiteY323" fmla="*/ 41968 h 340946"/>
                  <a:gd name="connsiteX324" fmla="*/ 20279 w 276848"/>
                  <a:gd name="connsiteY324" fmla="*/ 41968 h 340946"/>
                  <a:gd name="connsiteX325" fmla="*/ 20279 w 276848"/>
                  <a:gd name="connsiteY325" fmla="*/ 42497 h 340946"/>
                  <a:gd name="connsiteX326" fmla="*/ 19133 w 276848"/>
                  <a:gd name="connsiteY326" fmla="*/ 43379 h 340946"/>
                  <a:gd name="connsiteX327" fmla="*/ 20279 w 276848"/>
                  <a:gd name="connsiteY327" fmla="*/ 43379 h 340946"/>
                  <a:gd name="connsiteX328" fmla="*/ 20014 w 276848"/>
                  <a:gd name="connsiteY328" fmla="*/ 43379 h 340946"/>
                  <a:gd name="connsiteX329" fmla="*/ 21160 w 276848"/>
                  <a:gd name="connsiteY329" fmla="*/ 43379 h 340946"/>
                  <a:gd name="connsiteX330" fmla="*/ 22307 w 276848"/>
                  <a:gd name="connsiteY330" fmla="*/ 42497 h 340946"/>
                  <a:gd name="connsiteX331" fmla="*/ 24070 w 276848"/>
                  <a:gd name="connsiteY331" fmla="*/ 42497 h 340946"/>
                  <a:gd name="connsiteX332" fmla="*/ 25569 w 276848"/>
                  <a:gd name="connsiteY332" fmla="*/ 41968 h 340946"/>
                  <a:gd name="connsiteX333" fmla="*/ 26186 w 276848"/>
                  <a:gd name="connsiteY333" fmla="*/ 41968 h 340946"/>
                  <a:gd name="connsiteX334" fmla="*/ 27332 w 276848"/>
                  <a:gd name="connsiteY334" fmla="*/ 41968 h 340946"/>
                  <a:gd name="connsiteX335" fmla="*/ 27861 w 276848"/>
                  <a:gd name="connsiteY335" fmla="*/ 41351 h 340946"/>
                  <a:gd name="connsiteX336" fmla="*/ 28478 w 276848"/>
                  <a:gd name="connsiteY336" fmla="*/ 41086 h 340946"/>
                  <a:gd name="connsiteX337" fmla="*/ 28743 w 276848"/>
                  <a:gd name="connsiteY337" fmla="*/ 41351 h 340946"/>
                  <a:gd name="connsiteX338" fmla="*/ 29889 w 276848"/>
                  <a:gd name="connsiteY338" fmla="*/ 41086 h 340946"/>
                  <a:gd name="connsiteX339" fmla="*/ 30771 w 276848"/>
                  <a:gd name="connsiteY339" fmla="*/ 41351 h 340946"/>
                  <a:gd name="connsiteX340" fmla="*/ 32181 w 276848"/>
                  <a:gd name="connsiteY340" fmla="*/ 41351 h 340946"/>
                  <a:gd name="connsiteX341" fmla="*/ 33063 w 276848"/>
                  <a:gd name="connsiteY341" fmla="*/ 39940 h 340946"/>
                  <a:gd name="connsiteX342" fmla="*/ 34209 w 276848"/>
                  <a:gd name="connsiteY342" fmla="*/ 39059 h 340946"/>
                  <a:gd name="connsiteX343" fmla="*/ 34827 w 276848"/>
                  <a:gd name="connsiteY343" fmla="*/ 37648 h 340946"/>
                  <a:gd name="connsiteX344" fmla="*/ 36590 w 276848"/>
                  <a:gd name="connsiteY344" fmla="*/ 37648 h 340946"/>
                  <a:gd name="connsiteX345" fmla="*/ 37736 w 276848"/>
                  <a:gd name="connsiteY345" fmla="*/ 38530 h 340946"/>
                  <a:gd name="connsiteX346" fmla="*/ 39500 w 276848"/>
                  <a:gd name="connsiteY346" fmla="*/ 37648 h 340946"/>
                  <a:gd name="connsiteX347" fmla="*/ 41527 w 276848"/>
                  <a:gd name="connsiteY347" fmla="*/ 37648 h 340946"/>
                  <a:gd name="connsiteX348" fmla="*/ 42673 w 276848"/>
                  <a:gd name="connsiteY348" fmla="*/ 37648 h 340946"/>
                  <a:gd name="connsiteX349" fmla="*/ 44172 w 276848"/>
                  <a:gd name="connsiteY349" fmla="*/ 37648 h 340946"/>
                  <a:gd name="connsiteX350" fmla="*/ 45319 w 276848"/>
                  <a:gd name="connsiteY350" fmla="*/ 37295 h 340946"/>
                  <a:gd name="connsiteX351" fmla="*/ 47082 w 276848"/>
                  <a:gd name="connsiteY351" fmla="*/ 37648 h 340946"/>
                  <a:gd name="connsiteX352" fmla="*/ 52284 w 276848"/>
                  <a:gd name="connsiteY352" fmla="*/ 37648 h 340946"/>
                  <a:gd name="connsiteX353" fmla="*/ 56957 w 276848"/>
                  <a:gd name="connsiteY353" fmla="*/ 36502 h 340946"/>
                  <a:gd name="connsiteX354" fmla="*/ 58103 w 276848"/>
                  <a:gd name="connsiteY354" fmla="*/ 37648 h 340946"/>
                  <a:gd name="connsiteX355" fmla="*/ 61630 w 276848"/>
                  <a:gd name="connsiteY355" fmla="*/ 37648 h 340946"/>
                  <a:gd name="connsiteX356" fmla="*/ 63129 w 276848"/>
                  <a:gd name="connsiteY356" fmla="*/ 37648 h 340946"/>
                  <a:gd name="connsiteX357" fmla="*/ 67802 w 276848"/>
                  <a:gd name="connsiteY357" fmla="*/ 38530 h 340946"/>
                  <a:gd name="connsiteX358" fmla="*/ 68683 w 276848"/>
                  <a:gd name="connsiteY358" fmla="*/ 37648 h 340946"/>
                  <a:gd name="connsiteX359" fmla="*/ 70711 w 276848"/>
                  <a:gd name="connsiteY359" fmla="*/ 38530 h 340946"/>
                  <a:gd name="connsiteX360" fmla="*/ 72739 w 276848"/>
                  <a:gd name="connsiteY360" fmla="*/ 37648 h 340946"/>
                  <a:gd name="connsiteX361" fmla="*/ 93194 w 276848"/>
                  <a:gd name="connsiteY361" fmla="*/ 37295 h 340946"/>
                  <a:gd name="connsiteX362" fmla="*/ 108624 w 276848"/>
                  <a:gd name="connsiteY362" fmla="*/ 37031 h 340946"/>
                  <a:gd name="connsiteX363" fmla="*/ 110387 w 276848"/>
                  <a:gd name="connsiteY363" fmla="*/ 38530 h 340946"/>
                  <a:gd name="connsiteX364" fmla="*/ 111886 w 276848"/>
                  <a:gd name="connsiteY364" fmla="*/ 38530 h 340946"/>
                  <a:gd name="connsiteX365" fmla="*/ 114266 w 276848"/>
                  <a:gd name="connsiteY365" fmla="*/ 36766 h 340946"/>
                  <a:gd name="connsiteX366" fmla="*/ 116030 w 276848"/>
                  <a:gd name="connsiteY366" fmla="*/ 37912 h 340946"/>
                  <a:gd name="connsiteX367" fmla="*/ 116559 w 276848"/>
                  <a:gd name="connsiteY367" fmla="*/ 39676 h 340946"/>
                  <a:gd name="connsiteX368" fmla="*/ 116823 w 276848"/>
                  <a:gd name="connsiteY368" fmla="*/ 41086 h 340946"/>
                  <a:gd name="connsiteX369" fmla="*/ 117705 w 276848"/>
                  <a:gd name="connsiteY369" fmla="*/ 42585 h 340946"/>
                  <a:gd name="connsiteX370" fmla="*/ 117705 w 276848"/>
                  <a:gd name="connsiteY370" fmla="*/ 43820 h 340946"/>
                  <a:gd name="connsiteX371" fmla="*/ 116559 w 276848"/>
                  <a:gd name="connsiteY371" fmla="*/ 44349 h 340946"/>
                  <a:gd name="connsiteX372" fmla="*/ 117440 w 276848"/>
                  <a:gd name="connsiteY372" fmla="*/ 45230 h 340946"/>
                  <a:gd name="connsiteX373" fmla="*/ 117705 w 276848"/>
                  <a:gd name="connsiteY373" fmla="*/ 46994 h 340946"/>
                  <a:gd name="connsiteX374" fmla="*/ 116823 w 276848"/>
                  <a:gd name="connsiteY374" fmla="*/ 47611 h 340946"/>
                  <a:gd name="connsiteX375" fmla="*/ 117440 w 276848"/>
                  <a:gd name="connsiteY375" fmla="*/ 49374 h 340946"/>
                  <a:gd name="connsiteX376" fmla="*/ 118322 w 276848"/>
                  <a:gd name="connsiteY376" fmla="*/ 49991 h 340946"/>
                  <a:gd name="connsiteX377" fmla="*/ 116823 w 276848"/>
                  <a:gd name="connsiteY377" fmla="*/ 50256 h 340946"/>
                  <a:gd name="connsiteX378" fmla="*/ 118322 w 276848"/>
                  <a:gd name="connsiteY378" fmla="*/ 52284 h 340946"/>
                  <a:gd name="connsiteX379" fmla="*/ 118058 w 276848"/>
                  <a:gd name="connsiteY379" fmla="*/ 54664 h 340946"/>
                  <a:gd name="connsiteX380" fmla="*/ 118675 w 276848"/>
                  <a:gd name="connsiteY380" fmla="*/ 56428 h 340946"/>
                  <a:gd name="connsiteX381" fmla="*/ 119292 w 276848"/>
                  <a:gd name="connsiteY381" fmla="*/ 58808 h 340946"/>
                  <a:gd name="connsiteX382" fmla="*/ 119292 w 276848"/>
                  <a:gd name="connsiteY382" fmla="*/ 59954 h 340946"/>
                  <a:gd name="connsiteX383" fmla="*/ 120791 w 276848"/>
                  <a:gd name="connsiteY383" fmla="*/ 61101 h 340946"/>
                  <a:gd name="connsiteX384" fmla="*/ 120791 w 276848"/>
                  <a:gd name="connsiteY384" fmla="*/ 62247 h 340946"/>
                  <a:gd name="connsiteX385" fmla="*/ 121937 w 276848"/>
                  <a:gd name="connsiteY385" fmla="*/ 63393 h 340946"/>
                  <a:gd name="connsiteX386" fmla="*/ 121320 w 276848"/>
                  <a:gd name="connsiteY386" fmla="*/ 65156 h 340946"/>
                  <a:gd name="connsiteX387" fmla="*/ 122466 w 276848"/>
                  <a:gd name="connsiteY387" fmla="*/ 66303 h 340946"/>
                  <a:gd name="connsiteX388" fmla="*/ 122466 w 276848"/>
                  <a:gd name="connsiteY388" fmla="*/ 67449 h 340946"/>
                  <a:gd name="connsiteX389" fmla="*/ 123612 w 276848"/>
                  <a:gd name="connsiteY389" fmla="*/ 68595 h 340946"/>
                  <a:gd name="connsiteX390" fmla="*/ 122995 w 276848"/>
                  <a:gd name="connsiteY390" fmla="*/ 69477 h 340946"/>
                  <a:gd name="connsiteX391" fmla="*/ 122113 w 276848"/>
                  <a:gd name="connsiteY391" fmla="*/ 70358 h 340946"/>
                  <a:gd name="connsiteX392" fmla="*/ 123259 w 276848"/>
                  <a:gd name="connsiteY392" fmla="*/ 71240 h 340946"/>
                  <a:gd name="connsiteX393" fmla="*/ 123259 w 276848"/>
                  <a:gd name="connsiteY393" fmla="*/ 72386 h 340946"/>
                  <a:gd name="connsiteX394" fmla="*/ 123524 w 276848"/>
                  <a:gd name="connsiteY394" fmla="*/ 73268 h 340946"/>
                  <a:gd name="connsiteX395" fmla="*/ 125287 w 276848"/>
                  <a:gd name="connsiteY395" fmla="*/ 74414 h 340946"/>
                  <a:gd name="connsiteX396" fmla="*/ 125287 w 276848"/>
                  <a:gd name="connsiteY396" fmla="*/ 76177 h 340946"/>
                  <a:gd name="connsiteX397" fmla="*/ 126169 w 276848"/>
                  <a:gd name="connsiteY397" fmla="*/ 77676 h 340946"/>
                  <a:gd name="connsiteX398" fmla="*/ 126433 w 276848"/>
                  <a:gd name="connsiteY398" fmla="*/ 75913 h 340946"/>
                  <a:gd name="connsiteX399" fmla="*/ 126698 w 276848"/>
                  <a:gd name="connsiteY399" fmla="*/ 75913 h 340946"/>
                  <a:gd name="connsiteX400" fmla="*/ 128197 w 276848"/>
                  <a:gd name="connsiteY400" fmla="*/ 76442 h 340946"/>
                  <a:gd name="connsiteX401" fmla="*/ 127932 w 276848"/>
                  <a:gd name="connsiteY401" fmla="*/ 77941 h 340946"/>
                  <a:gd name="connsiteX402" fmla="*/ 127051 w 276848"/>
                  <a:gd name="connsiteY402" fmla="*/ 78823 h 340946"/>
                  <a:gd name="connsiteX403" fmla="*/ 127668 w 276848"/>
                  <a:gd name="connsiteY403" fmla="*/ 79352 h 340946"/>
                  <a:gd name="connsiteX404" fmla="*/ 128285 w 276848"/>
                  <a:gd name="connsiteY404" fmla="*/ 79616 h 340946"/>
                  <a:gd name="connsiteX405" fmla="*/ 128285 w 276848"/>
                  <a:gd name="connsiteY405" fmla="*/ 80498 h 340946"/>
                  <a:gd name="connsiteX406" fmla="*/ 128902 w 276848"/>
                  <a:gd name="connsiteY406" fmla="*/ 81115 h 340946"/>
                  <a:gd name="connsiteX407" fmla="*/ 129784 w 276848"/>
                  <a:gd name="connsiteY407" fmla="*/ 82878 h 340946"/>
                  <a:gd name="connsiteX408" fmla="*/ 129519 w 276848"/>
                  <a:gd name="connsiteY408" fmla="*/ 84642 h 340946"/>
                  <a:gd name="connsiteX409" fmla="*/ 131018 w 276848"/>
                  <a:gd name="connsiteY409" fmla="*/ 84289 h 340946"/>
                  <a:gd name="connsiteX410" fmla="*/ 130754 w 276848"/>
                  <a:gd name="connsiteY410" fmla="*/ 85788 h 340946"/>
                  <a:gd name="connsiteX411" fmla="*/ 131900 w 276848"/>
                  <a:gd name="connsiteY411" fmla="*/ 86669 h 340946"/>
                  <a:gd name="connsiteX412" fmla="*/ 131547 w 276848"/>
                  <a:gd name="connsiteY412" fmla="*/ 88168 h 340946"/>
                  <a:gd name="connsiteX413" fmla="*/ 132429 w 276848"/>
                  <a:gd name="connsiteY413" fmla="*/ 87904 h 340946"/>
                  <a:gd name="connsiteX414" fmla="*/ 133046 w 276848"/>
                  <a:gd name="connsiteY414" fmla="*/ 88786 h 340946"/>
                  <a:gd name="connsiteX415" fmla="*/ 134192 w 276848"/>
                  <a:gd name="connsiteY415" fmla="*/ 89315 h 340946"/>
                  <a:gd name="connsiteX416" fmla="*/ 133575 w 276848"/>
                  <a:gd name="connsiteY416" fmla="*/ 90461 h 340946"/>
                  <a:gd name="connsiteX417" fmla="*/ 135074 w 276848"/>
                  <a:gd name="connsiteY417" fmla="*/ 91078 h 340946"/>
                  <a:gd name="connsiteX418" fmla="*/ 135074 w 276848"/>
                  <a:gd name="connsiteY418" fmla="*/ 91960 h 340946"/>
                  <a:gd name="connsiteX419" fmla="*/ 136220 w 276848"/>
                  <a:gd name="connsiteY419" fmla="*/ 91960 h 340946"/>
                  <a:gd name="connsiteX420" fmla="*/ 135956 w 276848"/>
                  <a:gd name="connsiteY420" fmla="*/ 93106 h 340946"/>
                  <a:gd name="connsiteX421" fmla="*/ 137102 w 276848"/>
                  <a:gd name="connsiteY421" fmla="*/ 93370 h 340946"/>
                  <a:gd name="connsiteX422" fmla="*/ 139130 w 276848"/>
                  <a:gd name="connsiteY422" fmla="*/ 92489 h 340946"/>
                  <a:gd name="connsiteX423" fmla="*/ 140540 w 276848"/>
                  <a:gd name="connsiteY423" fmla="*/ 93106 h 340946"/>
                  <a:gd name="connsiteX424" fmla="*/ 141422 w 276848"/>
                  <a:gd name="connsiteY424" fmla="*/ 91960 h 340946"/>
                  <a:gd name="connsiteX425" fmla="*/ 144949 w 276848"/>
                  <a:gd name="connsiteY425" fmla="*/ 91960 h 340946"/>
                  <a:gd name="connsiteX426" fmla="*/ 145566 w 276848"/>
                  <a:gd name="connsiteY426" fmla="*/ 93459 h 340946"/>
                  <a:gd name="connsiteX427" fmla="*/ 147329 w 276848"/>
                  <a:gd name="connsiteY427" fmla="*/ 93459 h 340946"/>
                  <a:gd name="connsiteX428" fmla="*/ 147329 w 276848"/>
                  <a:gd name="connsiteY428" fmla="*/ 91960 h 340946"/>
                  <a:gd name="connsiteX429" fmla="*/ 149357 w 276848"/>
                  <a:gd name="connsiteY429" fmla="*/ 90813 h 340946"/>
                  <a:gd name="connsiteX430" fmla="*/ 152531 w 276848"/>
                  <a:gd name="connsiteY430" fmla="*/ 90813 h 340946"/>
                  <a:gd name="connsiteX431" fmla="*/ 153413 w 276848"/>
                  <a:gd name="connsiteY431" fmla="*/ 91342 h 340946"/>
                  <a:gd name="connsiteX432" fmla="*/ 154295 w 276848"/>
                  <a:gd name="connsiteY432" fmla="*/ 90813 h 340946"/>
                  <a:gd name="connsiteX433" fmla="*/ 156587 w 276848"/>
                  <a:gd name="connsiteY433" fmla="*/ 90813 h 340946"/>
                  <a:gd name="connsiteX434" fmla="*/ 157733 w 276848"/>
                  <a:gd name="connsiteY434" fmla="*/ 89050 h 340946"/>
                  <a:gd name="connsiteX435" fmla="*/ 160907 w 276848"/>
                  <a:gd name="connsiteY435" fmla="*/ 89050 h 340946"/>
                  <a:gd name="connsiteX436" fmla="*/ 162318 w 276848"/>
                  <a:gd name="connsiteY436" fmla="*/ 89667 h 340946"/>
                  <a:gd name="connsiteX437" fmla="*/ 162935 w 276848"/>
                  <a:gd name="connsiteY437" fmla="*/ 90813 h 340946"/>
                  <a:gd name="connsiteX438" fmla="*/ 174926 w 276848"/>
                  <a:gd name="connsiteY438" fmla="*/ 90813 h 340946"/>
                  <a:gd name="connsiteX439" fmla="*/ 174309 w 276848"/>
                  <a:gd name="connsiteY439" fmla="*/ 87904 h 340946"/>
                  <a:gd name="connsiteX440" fmla="*/ 175808 w 276848"/>
                  <a:gd name="connsiteY440" fmla="*/ 82614 h 340946"/>
                  <a:gd name="connsiteX441" fmla="*/ 175191 w 276848"/>
                  <a:gd name="connsiteY441" fmla="*/ 80586 h 340946"/>
                  <a:gd name="connsiteX442" fmla="*/ 177571 w 276848"/>
                  <a:gd name="connsiteY442" fmla="*/ 80321 h 340946"/>
                  <a:gd name="connsiteX443" fmla="*/ 177307 w 276848"/>
                  <a:gd name="connsiteY443" fmla="*/ 78294 h 340946"/>
                  <a:gd name="connsiteX444" fmla="*/ 179070 w 276848"/>
                  <a:gd name="connsiteY444" fmla="*/ 78911 h 340946"/>
                  <a:gd name="connsiteX445" fmla="*/ 177571 w 276848"/>
                  <a:gd name="connsiteY445" fmla="*/ 74502 h 340946"/>
                  <a:gd name="connsiteX446" fmla="*/ 176954 w 276848"/>
                  <a:gd name="connsiteY446" fmla="*/ 71593 h 340946"/>
                  <a:gd name="connsiteX447" fmla="*/ 177836 w 276848"/>
                  <a:gd name="connsiteY447" fmla="*/ 69917 h 340946"/>
                  <a:gd name="connsiteX448" fmla="*/ 179246 w 276848"/>
                  <a:gd name="connsiteY448" fmla="*/ 67008 h 340946"/>
                  <a:gd name="connsiteX449" fmla="*/ 179246 w 276848"/>
                  <a:gd name="connsiteY449" fmla="*/ 65862 h 340946"/>
                  <a:gd name="connsiteX450" fmla="*/ 195293 w 276848"/>
                  <a:gd name="connsiteY450" fmla="*/ 66126 h 340946"/>
                  <a:gd name="connsiteX451" fmla="*/ 196439 w 276848"/>
                  <a:gd name="connsiteY451" fmla="*/ 64098 h 340946"/>
                  <a:gd name="connsiteX452" fmla="*/ 202523 w 276848"/>
                  <a:gd name="connsiteY452" fmla="*/ 64098 h 340946"/>
                  <a:gd name="connsiteX453" fmla="*/ 201641 w 276848"/>
                  <a:gd name="connsiteY453" fmla="*/ 67625 h 340946"/>
                  <a:gd name="connsiteX454" fmla="*/ 201024 w 276848"/>
                  <a:gd name="connsiteY454" fmla="*/ 70270 h 340946"/>
                  <a:gd name="connsiteX455" fmla="*/ 200759 w 276848"/>
                  <a:gd name="connsiteY455" fmla="*/ 73180 h 340946"/>
                  <a:gd name="connsiteX456" fmla="*/ 228180 w 276848"/>
                  <a:gd name="connsiteY456" fmla="*/ 73180 h 340946"/>
                  <a:gd name="connsiteX457" fmla="*/ 228797 w 276848"/>
                  <a:gd name="connsiteY457" fmla="*/ 75825 h 340946"/>
                  <a:gd name="connsiteX458" fmla="*/ 229679 w 276848"/>
                  <a:gd name="connsiteY458" fmla="*/ 76089 h 340946"/>
                  <a:gd name="connsiteX459" fmla="*/ 229679 w 276848"/>
                  <a:gd name="connsiteY459" fmla="*/ 77236 h 340946"/>
                  <a:gd name="connsiteX460" fmla="*/ 230825 w 276848"/>
                  <a:gd name="connsiteY460" fmla="*/ 78117 h 340946"/>
                  <a:gd name="connsiteX461" fmla="*/ 230560 w 276848"/>
                  <a:gd name="connsiteY461" fmla="*/ 78999 h 340946"/>
                  <a:gd name="connsiteX462" fmla="*/ 230825 w 276848"/>
                  <a:gd name="connsiteY462" fmla="*/ 80145 h 340946"/>
                  <a:gd name="connsiteX463" fmla="*/ 227651 w 276848"/>
                  <a:gd name="connsiteY463" fmla="*/ 85082 h 340946"/>
                  <a:gd name="connsiteX464" fmla="*/ 227386 w 276848"/>
                  <a:gd name="connsiteY464" fmla="*/ 87110 h 340946"/>
                  <a:gd name="connsiteX465" fmla="*/ 227386 w 276848"/>
                  <a:gd name="connsiteY465" fmla="*/ 89138 h 340946"/>
                  <a:gd name="connsiteX466" fmla="*/ 227651 w 276848"/>
                  <a:gd name="connsiteY466" fmla="*/ 90902 h 340946"/>
                  <a:gd name="connsiteX467" fmla="*/ 228268 w 276848"/>
                  <a:gd name="connsiteY467" fmla="*/ 92665 h 340946"/>
                  <a:gd name="connsiteX468" fmla="*/ 228533 w 276848"/>
                  <a:gd name="connsiteY468" fmla="*/ 93811 h 340946"/>
                  <a:gd name="connsiteX469" fmla="*/ 229414 w 276848"/>
                  <a:gd name="connsiteY469" fmla="*/ 94693 h 340946"/>
                  <a:gd name="connsiteX470" fmla="*/ 229943 w 276848"/>
                  <a:gd name="connsiteY470" fmla="*/ 98219 h 340946"/>
                  <a:gd name="connsiteX471" fmla="*/ 231089 w 276848"/>
                  <a:gd name="connsiteY471" fmla="*/ 98748 h 340946"/>
                  <a:gd name="connsiteX472" fmla="*/ 230472 w 276848"/>
                  <a:gd name="connsiteY472" fmla="*/ 101041 h 340946"/>
                  <a:gd name="connsiteX473" fmla="*/ 231089 w 276848"/>
                  <a:gd name="connsiteY473" fmla="*/ 103069 h 340946"/>
                  <a:gd name="connsiteX474" fmla="*/ 231089 w 276848"/>
                  <a:gd name="connsiteY474" fmla="*/ 104568 h 340946"/>
                  <a:gd name="connsiteX475" fmla="*/ 231089 w 276848"/>
                  <a:gd name="connsiteY475" fmla="*/ 106596 h 340946"/>
                  <a:gd name="connsiteX476" fmla="*/ 230208 w 276848"/>
                  <a:gd name="connsiteY476" fmla="*/ 106596 h 340946"/>
                  <a:gd name="connsiteX477" fmla="*/ 229943 w 276848"/>
                  <a:gd name="connsiteY477" fmla="*/ 109505 h 340946"/>
                  <a:gd name="connsiteX478" fmla="*/ 229062 w 276848"/>
                  <a:gd name="connsiteY478" fmla="*/ 113032 h 340946"/>
                  <a:gd name="connsiteX479" fmla="*/ 229943 w 276848"/>
                  <a:gd name="connsiteY479" fmla="*/ 115412 h 340946"/>
                  <a:gd name="connsiteX480" fmla="*/ 229414 w 276848"/>
                  <a:gd name="connsiteY480" fmla="*/ 118851 h 340946"/>
                  <a:gd name="connsiteX481" fmla="*/ 229062 w 276848"/>
                  <a:gd name="connsiteY481" fmla="*/ 121496 h 340946"/>
                  <a:gd name="connsiteX482" fmla="*/ 227298 w 276848"/>
                  <a:gd name="connsiteY482" fmla="*/ 126169 h 340946"/>
                  <a:gd name="connsiteX483" fmla="*/ 228444 w 276848"/>
                  <a:gd name="connsiteY483" fmla="*/ 129343 h 340946"/>
                  <a:gd name="connsiteX484" fmla="*/ 229062 w 276848"/>
                  <a:gd name="connsiteY484" fmla="*/ 131988 h 340946"/>
                  <a:gd name="connsiteX485" fmla="*/ 229679 w 276848"/>
                  <a:gd name="connsiteY485" fmla="*/ 133751 h 340946"/>
                  <a:gd name="connsiteX486" fmla="*/ 231442 w 276848"/>
                  <a:gd name="connsiteY486" fmla="*/ 134369 h 340946"/>
                  <a:gd name="connsiteX487" fmla="*/ 231442 w 276848"/>
                  <a:gd name="connsiteY487" fmla="*/ 136397 h 340946"/>
                  <a:gd name="connsiteX488" fmla="*/ 232588 w 276848"/>
                  <a:gd name="connsiteY488" fmla="*/ 136132 h 340946"/>
                  <a:gd name="connsiteX489" fmla="*/ 233734 w 276848"/>
                  <a:gd name="connsiteY489" fmla="*/ 137631 h 340946"/>
                  <a:gd name="connsiteX490" fmla="*/ 234352 w 276848"/>
                  <a:gd name="connsiteY490" fmla="*/ 139130 h 340946"/>
                  <a:gd name="connsiteX491" fmla="*/ 236379 w 276848"/>
                  <a:gd name="connsiteY491" fmla="*/ 140276 h 340946"/>
                  <a:gd name="connsiteX492" fmla="*/ 235498 w 276848"/>
                  <a:gd name="connsiteY492" fmla="*/ 141158 h 340946"/>
                  <a:gd name="connsiteX493" fmla="*/ 235498 w 276848"/>
                  <a:gd name="connsiteY493" fmla="*/ 142304 h 340946"/>
                  <a:gd name="connsiteX494" fmla="*/ 236644 w 276848"/>
                  <a:gd name="connsiteY494" fmla="*/ 145478 h 340946"/>
                  <a:gd name="connsiteX495" fmla="*/ 237526 w 276848"/>
                  <a:gd name="connsiteY495" fmla="*/ 147770 h 340946"/>
                  <a:gd name="connsiteX496" fmla="*/ 238936 w 276848"/>
                  <a:gd name="connsiteY496" fmla="*/ 150062 h 340946"/>
                  <a:gd name="connsiteX497" fmla="*/ 238055 w 276848"/>
                  <a:gd name="connsiteY497" fmla="*/ 152090 h 340946"/>
                  <a:gd name="connsiteX498" fmla="*/ 238672 w 276848"/>
                  <a:gd name="connsiteY498" fmla="*/ 153589 h 340946"/>
                  <a:gd name="connsiteX499" fmla="*/ 238407 w 276848"/>
                  <a:gd name="connsiteY499" fmla="*/ 158527 h 340946"/>
                  <a:gd name="connsiteX500" fmla="*/ 238143 w 276848"/>
                  <a:gd name="connsiteY500" fmla="*/ 160555 h 340946"/>
                  <a:gd name="connsiteX501" fmla="*/ 236115 w 276848"/>
                  <a:gd name="connsiteY501" fmla="*/ 161172 h 340946"/>
                  <a:gd name="connsiteX502" fmla="*/ 235498 w 276848"/>
                  <a:gd name="connsiteY502" fmla="*/ 162318 h 340946"/>
                  <a:gd name="connsiteX503" fmla="*/ 236115 w 276848"/>
                  <a:gd name="connsiteY503" fmla="*/ 164698 h 340946"/>
                  <a:gd name="connsiteX504" fmla="*/ 235850 w 276848"/>
                  <a:gd name="connsiteY504" fmla="*/ 165580 h 340946"/>
                  <a:gd name="connsiteX505" fmla="*/ 236997 w 276848"/>
                  <a:gd name="connsiteY505" fmla="*/ 167343 h 340946"/>
                  <a:gd name="connsiteX506" fmla="*/ 235850 w 276848"/>
                  <a:gd name="connsiteY506" fmla="*/ 170253 h 340946"/>
                  <a:gd name="connsiteX507" fmla="*/ 235233 w 276848"/>
                  <a:gd name="connsiteY507" fmla="*/ 172546 h 340946"/>
                  <a:gd name="connsiteX508" fmla="*/ 236379 w 276848"/>
                  <a:gd name="connsiteY508" fmla="*/ 172546 h 340946"/>
                  <a:gd name="connsiteX509" fmla="*/ 237261 w 276848"/>
                  <a:gd name="connsiteY509" fmla="*/ 170782 h 340946"/>
                  <a:gd name="connsiteX510" fmla="*/ 238672 w 276848"/>
                  <a:gd name="connsiteY510" fmla="*/ 169636 h 340946"/>
                  <a:gd name="connsiteX511" fmla="*/ 241846 w 276848"/>
                  <a:gd name="connsiteY511" fmla="*/ 168225 h 340946"/>
                  <a:gd name="connsiteX512" fmla="*/ 243609 w 276848"/>
                  <a:gd name="connsiteY512" fmla="*/ 167343 h 340946"/>
                  <a:gd name="connsiteX513" fmla="*/ 245637 w 276848"/>
                  <a:gd name="connsiteY513" fmla="*/ 167343 h 340946"/>
                  <a:gd name="connsiteX514" fmla="*/ 247400 w 276848"/>
                  <a:gd name="connsiteY514" fmla="*/ 168225 h 340946"/>
                  <a:gd name="connsiteX515" fmla="*/ 248899 w 276848"/>
                  <a:gd name="connsiteY515" fmla="*/ 168225 h 340946"/>
                  <a:gd name="connsiteX516" fmla="*/ 250663 w 276848"/>
                  <a:gd name="connsiteY516" fmla="*/ 167343 h 340946"/>
                  <a:gd name="connsiteX517" fmla="*/ 252426 w 276848"/>
                  <a:gd name="connsiteY517" fmla="*/ 168225 h 340946"/>
                  <a:gd name="connsiteX518" fmla="*/ 255071 w 276848"/>
                  <a:gd name="connsiteY518" fmla="*/ 168225 h 340946"/>
                  <a:gd name="connsiteX519" fmla="*/ 256482 w 276848"/>
                  <a:gd name="connsiteY519" fmla="*/ 167608 h 340946"/>
                  <a:gd name="connsiteX520" fmla="*/ 258510 w 276848"/>
                  <a:gd name="connsiteY520" fmla="*/ 167608 h 340946"/>
                  <a:gd name="connsiteX521" fmla="*/ 261419 w 276848"/>
                  <a:gd name="connsiteY521" fmla="*/ 165580 h 340946"/>
                  <a:gd name="connsiteX522" fmla="*/ 263712 w 276848"/>
                  <a:gd name="connsiteY522" fmla="*/ 165051 h 340946"/>
                  <a:gd name="connsiteX523" fmla="*/ 268032 w 276848"/>
                  <a:gd name="connsiteY523" fmla="*/ 166197 h 340946"/>
                  <a:gd name="connsiteX524" fmla="*/ 270060 w 276848"/>
                  <a:gd name="connsiteY524" fmla="*/ 165845 h 340946"/>
                  <a:gd name="connsiteX525" fmla="*/ 271823 w 276848"/>
                  <a:gd name="connsiteY525" fmla="*/ 167608 h 340946"/>
                  <a:gd name="connsiteX526" fmla="*/ 272705 w 276848"/>
                  <a:gd name="connsiteY526" fmla="*/ 166109 h 340946"/>
                  <a:gd name="connsiteX527" fmla="*/ 272705 w 276848"/>
                  <a:gd name="connsiteY527" fmla="*/ 164963 h 340946"/>
                  <a:gd name="connsiteX528" fmla="*/ 274204 w 276848"/>
                  <a:gd name="connsiteY528" fmla="*/ 164434 h 340946"/>
                  <a:gd name="connsiteX529" fmla="*/ 276232 w 276848"/>
                  <a:gd name="connsiteY529" fmla="*/ 167873 h 340946"/>
                  <a:gd name="connsiteX530" fmla="*/ 275967 w 276848"/>
                  <a:gd name="connsiteY530" fmla="*/ 171399 h 340946"/>
                  <a:gd name="connsiteX531" fmla="*/ 276849 w 276848"/>
                  <a:gd name="connsiteY531" fmla="*/ 175543 h 340946"/>
                  <a:gd name="connsiteX532" fmla="*/ 275702 w 276848"/>
                  <a:gd name="connsiteY532" fmla="*/ 176690 h 340946"/>
                  <a:gd name="connsiteX533" fmla="*/ 275702 w 276848"/>
                  <a:gd name="connsiteY533" fmla="*/ 179070 h 340946"/>
                  <a:gd name="connsiteX534" fmla="*/ 273939 w 276848"/>
                  <a:gd name="connsiteY534" fmla="*/ 182597 h 340946"/>
                  <a:gd name="connsiteX535" fmla="*/ 275350 w 276848"/>
                  <a:gd name="connsiteY535" fmla="*/ 186388 h 340946"/>
                  <a:gd name="connsiteX536" fmla="*/ 274204 w 276848"/>
                  <a:gd name="connsiteY536" fmla="*/ 187534 h 340946"/>
                  <a:gd name="connsiteX537" fmla="*/ 273939 w 276848"/>
                  <a:gd name="connsiteY537" fmla="*/ 195734 h 340946"/>
                  <a:gd name="connsiteX538" fmla="*/ 275085 w 276848"/>
                  <a:gd name="connsiteY538" fmla="*/ 197497 h 340946"/>
                  <a:gd name="connsiteX539" fmla="*/ 275702 w 276848"/>
                  <a:gd name="connsiteY539" fmla="*/ 200142 h 340946"/>
                  <a:gd name="connsiteX540" fmla="*/ 273057 w 276848"/>
                  <a:gd name="connsiteY540" fmla="*/ 204198 h 340946"/>
                  <a:gd name="connsiteX541" fmla="*/ 271559 w 276848"/>
                  <a:gd name="connsiteY541" fmla="*/ 210370 h 340946"/>
                  <a:gd name="connsiteX542" fmla="*/ 274468 w 276848"/>
                  <a:gd name="connsiteY542" fmla="*/ 215660 h 340946"/>
                  <a:gd name="connsiteX543" fmla="*/ 230120 w 276848"/>
                  <a:gd name="connsiteY543" fmla="*/ 215660 h 340946"/>
                  <a:gd name="connsiteX544" fmla="*/ 228356 w 276848"/>
                  <a:gd name="connsiteY544" fmla="*/ 294659 h 340946"/>
                  <a:gd name="connsiteX545" fmla="*/ 230120 w 276848"/>
                  <a:gd name="connsiteY545" fmla="*/ 297568 h 340946"/>
                  <a:gd name="connsiteX546" fmla="*/ 231266 w 276848"/>
                  <a:gd name="connsiteY546" fmla="*/ 298715 h 340946"/>
                  <a:gd name="connsiteX547" fmla="*/ 231266 w 276848"/>
                  <a:gd name="connsiteY547" fmla="*/ 302770 h 340946"/>
                  <a:gd name="connsiteX548" fmla="*/ 233911 w 276848"/>
                  <a:gd name="connsiteY548" fmla="*/ 305063 h 340946"/>
                  <a:gd name="connsiteX549" fmla="*/ 234792 w 276848"/>
                  <a:gd name="connsiteY549" fmla="*/ 305944 h 340946"/>
                  <a:gd name="connsiteX550" fmla="*/ 238319 w 276848"/>
                  <a:gd name="connsiteY550" fmla="*/ 309471 h 340946"/>
                  <a:gd name="connsiteX551" fmla="*/ 243609 w 276848"/>
                  <a:gd name="connsiteY551" fmla="*/ 316172 h 340946"/>
                  <a:gd name="connsiteX552" fmla="*/ 250927 w 276848"/>
                  <a:gd name="connsiteY552" fmla="*/ 323137 h 340946"/>
                  <a:gd name="connsiteX553" fmla="*/ 253572 w 276848"/>
                  <a:gd name="connsiteY553" fmla="*/ 327545 h 340946"/>
                  <a:gd name="connsiteX554" fmla="*/ 259656 w 276848"/>
                  <a:gd name="connsiteY554" fmla="*/ 331337 h 340946"/>
                  <a:gd name="connsiteX555" fmla="*/ 213544 w 276848"/>
                  <a:gd name="connsiteY555" fmla="*/ 340595 h 340946"/>
                  <a:gd name="connsiteX556" fmla="*/ 210634 w 276848"/>
                  <a:gd name="connsiteY556" fmla="*/ 339448 h 340946"/>
                  <a:gd name="connsiteX557" fmla="*/ 209488 w 276848"/>
                  <a:gd name="connsiteY557" fmla="*/ 338567 h 340946"/>
                  <a:gd name="connsiteX558" fmla="*/ 205432 w 276848"/>
                  <a:gd name="connsiteY558" fmla="*/ 339184 h 340946"/>
                  <a:gd name="connsiteX559" fmla="*/ 203405 w 276848"/>
                  <a:gd name="connsiteY559" fmla="*/ 340330 h 340946"/>
                  <a:gd name="connsiteX560" fmla="*/ 201377 w 276848"/>
                  <a:gd name="connsiteY560" fmla="*/ 340947 h 340946"/>
                  <a:gd name="connsiteX561" fmla="*/ 200230 w 276848"/>
                  <a:gd name="connsiteY561" fmla="*/ 340595 h 340946"/>
                  <a:gd name="connsiteX562" fmla="*/ 199966 w 276848"/>
                  <a:gd name="connsiteY562" fmla="*/ 340066 h 340946"/>
                  <a:gd name="connsiteX563" fmla="*/ 199349 w 276848"/>
                  <a:gd name="connsiteY563" fmla="*/ 340595 h 340946"/>
                  <a:gd name="connsiteX564" fmla="*/ 197585 w 276848"/>
                  <a:gd name="connsiteY564" fmla="*/ 339713 h 340946"/>
                  <a:gd name="connsiteX565" fmla="*/ 196086 w 276848"/>
                  <a:gd name="connsiteY565" fmla="*/ 339448 h 340946"/>
                  <a:gd name="connsiteX566" fmla="*/ 195205 w 276848"/>
                  <a:gd name="connsiteY566" fmla="*/ 339713 h 340946"/>
                  <a:gd name="connsiteX567" fmla="*/ 193177 w 276848"/>
                  <a:gd name="connsiteY567" fmla="*/ 337949 h 340946"/>
                  <a:gd name="connsiteX568" fmla="*/ 190268 w 276848"/>
                  <a:gd name="connsiteY568" fmla="*/ 337068 h 340946"/>
                  <a:gd name="connsiteX569" fmla="*/ 188857 w 276848"/>
                  <a:gd name="connsiteY569" fmla="*/ 337068 h 340946"/>
                  <a:gd name="connsiteX570" fmla="*/ 187358 w 276848"/>
                  <a:gd name="connsiteY570" fmla="*/ 337068 h 340946"/>
                  <a:gd name="connsiteX571" fmla="*/ 186476 w 276848"/>
                  <a:gd name="connsiteY571" fmla="*/ 338214 h 340946"/>
                  <a:gd name="connsiteX572" fmla="*/ 185859 w 276848"/>
                  <a:gd name="connsiteY572" fmla="*/ 337332 h 340946"/>
                  <a:gd name="connsiteX573" fmla="*/ 182949 w 276848"/>
                  <a:gd name="connsiteY573" fmla="*/ 336980 h 340946"/>
                  <a:gd name="connsiteX574" fmla="*/ 181803 w 276848"/>
                  <a:gd name="connsiteY574" fmla="*/ 336715 h 340946"/>
                  <a:gd name="connsiteX575" fmla="*/ 180304 w 276848"/>
                  <a:gd name="connsiteY575" fmla="*/ 336980 h 340946"/>
                  <a:gd name="connsiteX576" fmla="*/ 178541 w 276848"/>
                  <a:gd name="connsiteY576" fmla="*/ 336980 h 340946"/>
                  <a:gd name="connsiteX577" fmla="*/ 178276 w 276848"/>
                  <a:gd name="connsiteY577" fmla="*/ 337332 h 340946"/>
                  <a:gd name="connsiteX578" fmla="*/ 178012 w 276848"/>
                  <a:gd name="connsiteY578" fmla="*/ 336980 h 340946"/>
                  <a:gd name="connsiteX579" fmla="*/ 177130 w 276848"/>
                  <a:gd name="connsiteY579" fmla="*/ 336980 h 340946"/>
                  <a:gd name="connsiteX580" fmla="*/ 176866 w 276848"/>
                  <a:gd name="connsiteY580" fmla="*/ 336362 h 340946"/>
                  <a:gd name="connsiteX581" fmla="*/ 173956 w 276848"/>
                  <a:gd name="connsiteY581" fmla="*/ 336627 h 340946"/>
                  <a:gd name="connsiteX582" fmla="*/ 169283 w 276848"/>
                  <a:gd name="connsiteY582" fmla="*/ 336362 h 340946"/>
                  <a:gd name="connsiteX583" fmla="*/ 169283 w 276848"/>
                  <a:gd name="connsiteY583" fmla="*/ 335833 h 340946"/>
                  <a:gd name="connsiteX584" fmla="*/ 166903 w 276848"/>
                  <a:gd name="connsiteY584" fmla="*/ 335833 h 340946"/>
                  <a:gd name="connsiteX585" fmla="*/ 166903 w 276848"/>
                  <a:gd name="connsiteY585" fmla="*/ 335216 h 340946"/>
                  <a:gd name="connsiteX586" fmla="*/ 166021 w 276848"/>
                  <a:gd name="connsiteY586" fmla="*/ 335216 h 340946"/>
                  <a:gd name="connsiteX587" fmla="*/ 165139 w 276848"/>
                  <a:gd name="connsiteY587" fmla="*/ 335216 h 340946"/>
                  <a:gd name="connsiteX588" fmla="*/ 164522 w 276848"/>
                  <a:gd name="connsiteY588" fmla="*/ 336715 h 340946"/>
                  <a:gd name="connsiteX589" fmla="*/ 160996 w 276848"/>
                  <a:gd name="connsiteY589" fmla="*/ 335833 h 340946"/>
                  <a:gd name="connsiteX590" fmla="*/ 156940 w 276848"/>
                  <a:gd name="connsiteY590" fmla="*/ 334070 h 340946"/>
                  <a:gd name="connsiteX591" fmla="*/ 154912 w 276848"/>
                  <a:gd name="connsiteY591" fmla="*/ 331778 h 340946"/>
                  <a:gd name="connsiteX592" fmla="*/ 154030 w 276848"/>
                  <a:gd name="connsiteY592" fmla="*/ 331249 h 340946"/>
                  <a:gd name="connsiteX593" fmla="*/ 152884 w 276848"/>
                  <a:gd name="connsiteY593" fmla="*/ 329750 h 340946"/>
                  <a:gd name="connsiteX594" fmla="*/ 152355 w 276848"/>
                  <a:gd name="connsiteY594" fmla="*/ 329397 h 340946"/>
                  <a:gd name="connsiteX595" fmla="*/ 151738 w 276848"/>
                  <a:gd name="connsiteY595" fmla="*/ 328515 h 340946"/>
                  <a:gd name="connsiteX596" fmla="*/ 150592 w 276848"/>
                  <a:gd name="connsiteY596" fmla="*/ 326223 h 340946"/>
                  <a:gd name="connsiteX597" fmla="*/ 149710 w 276848"/>
                  <a:gd name="connsiteY597" fmla="*/ 324195 h 340946"/>
                  <a:gd name="connsiteX598" fmla="*/ 97514 w 276848"/>
                  <a:gd name="connsiteY598" fmla="*/ 324460 h 340946"/>
                  <a:gd name="connsiteX599" fmla="*/ 58456 w 276848"/>
                  <a:gd name="connsiteY599" fmla="*/ 324460 h 340946"/>
                  <a:gd name="connsiteX600" fmla="*/ 56957 w 276848"/>
                  <a:gd name="connsiteY600" fmla="*/ 325959 h 340946"/>
                  <a:gd name="connsiteX601" fmla="*/ 53430 w 276848"/>
                  <a:gd name="connsiteY601" fmla="*/ 325959 h 340946"/>
                  <a:gd name="connsiteX602" fmla="*/ 51667 w 276848"/>
                  <a:gd name="connsiteY602" fmla="*/ 325077 h 340946"/>
                  <a:gd name="connsiteX603" fmla="*/ 50344 w 276848"/>
                  <a:gd name="connsiteY603" fmla="*/ 322961 h 340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</a:cxnLst>
                <a:rect l="l" t="t" r="r" b="b"/>
                <a:pathLst>
                  <a:path w="276848" h="340946">
                    <a:moveTo>
                      <a:pt x="17016" y="35708"/>
                    </a:moveTo>
                    <a:lnTo>
                      <a:pt x="18515" y="33945"/>
                    </a:lnTo>
                    <a:lnTo>
                      <a:pt x="24599" y="33680"/>
                    </a:lnTo>
                    <a:lnTo>
                      <a:pt x="24599" y="19132"/>
                    </a:lnTo>
                    <a:lnTo>
                      <a:pt x="22836" y="18515"/>
                    </a:lnTo>
                    <a:lnTo>
                      <a:pt x="22836" y="16752"/>
                    </a:lnTo>
                    <a:lnTo>
                      <a:pt x="23717" y="16752"/>
                    </a:lnTo>
                    <a:lnTo>
                      <a:pt x="26098" y="15606"/>
                    </a:lnTo>
                    <a:lnTo>
                      <a:pt x="26715" y="14107"/>
                    </a:lnTo>
                    <a:lnTo>
                      <a:pt x="27861" y="14107"/>
                    </a:lnTo>
                    <a:lnTo>
                      <a:pt x="28126" y="12608"/>
                    </a:lnTo>
                    <a:lnTo>
                      <a:pt x="30154" y="11462"/>
                    </a:lnTo>
                    <a:lnTo>
                      <a:pt x="30154" y="10845"/>
                    </a:lnTo>
                    <a:lnTo>
                      <a:pt x="30418" y="9346"/>
                    </a:lnTo>
                    <a:lnTo>
                      <a:pt x="31300" y="8729"/>
                    </a:lnTo>
                    <a:lnTo>
                      <a:pt x="33063" y="8729"/>
                    </a:lnTo>
                    <a:lnTo>
                      <a:pt x="35356" y="7847"/>
                    </a:lnTo>
                    <a:lnTo>
                      <a:pt x="36237" y="7582"/>
                    </a:lnTo>
                    <a:lnTo>
                      <a:pt x="36854" y="7582"/>
                    </a:lnTo>
                    <a:lnTo>
                      <a:pt x="36854" y="6701"/>
                    </a:lnTo>
                    <a:lnTo>
                      <a:pt x="35356" y="5819"/>
                    </a:lnTo>
                    <a:lnTo>
                      <a:pt x="33063" y="2645"/>
                    </a:lnTo>
                    <a:lnTo>
                      <a:pt x="32799" y="1146"/>
                    </a:lnTo>
                    <a:lnTo>
                      <a:pt x="30506" y="1146"/>
                    </a:lnTo>
                    <a:lnTo>
                      <a:pt x="30242" y="0"/>
                    </a:lnTo>
                    <a:lnTo>
                      <a:pt x="27861" y="2645"/>
                    </a:lnTo>
                    <a:lnTo>
                      <a:pt x="27597" y="4937"/>
                    </a:lnTo>
                    <a:lnTo>
                      <a:pt x="21160" y="6701"/>
                    </a:lnTo>
                    <a:lnTo>
                      <a:pt x="20543" y="10228"/>
                    </a:lnTo>
                    <a:lnTo>
                      <a:pt x="18515" y="10845"/>
                    </a:lnTo>
                    <a:lnTo>
                      <a:pt x="17898" y="9963"/>
                    </a:lnTo>
                    <a:lnTo>
                      <a:pt x="16399" y="11374"/>
                    </a:lnTo>
                    <a:lnTo>
                      <a:pt x="16399" y="13401"/>
                    </a:lnTo>
                    <a:lnTo>
                      <a:pt x="14107" y="14283"/>
                    </a:lnTo>
                    <a:lnTo>
                      <a:pt x="13225" y="16047"/>
                    </a:lnTo>
                    <a:lnTo>
                      <a:pt x="14107" y="15782"/>
                    </a:lnTo>
                    <a:lnTo>
                      <a:pt x="14989" y="16047"/>
                    </a:lnTo>
                    <a:lnTo>
                      <a:pt x="14107" y="16928"/>
                    </a:lnTo>
                    <a:lnTo>
                      <a:pt x="13225" y="16664"/>
                    </a:lnTo>
                    <a:lnTo>
                      <a:pt x="13490" y="17810"/>
                    </a:lnTo>
                    <a:lnTo>
                      <a:pt x="14636" y="18427"/>
                    </a:lnTo>
                    <a:lnTo>
                      <a:pt x="15782" y="19573"/>
                    </a:lnTo>
                    <a:lnTo>
                      <a:pt x="16047" y="23629"/>
                    </a:lnTo>
                    <a:lnTo>
                      <a:pt x="16928" y="26891"/>
                    </a:lnTo>
                    <a:lnTo>
                      <a:pt x="16664" y="28037"/>
                    </a:lnTo>
                    <a:lnTo>
                      <a:pt x="17545" y="29536"/>
                    </a:lnTo>
                    <a:lnTo>
                      <a:pt x="15782" y="32799"/>
                    </a:lnTo>
                    <a:lnTo>
                      <a:pt x="17016" y="35708"/>
                    </a:lnTo>
                    <a:close/>
                    <a:moveTo>
                      <a:pt x="50344" y="322961"/>
                    </a:moveTo>
                    <a:lnTo>
                      <a:pt x="47964" y="322079"/>
                    </a:lnTo>
                    <a:lnTo>
                      <a:pt x="42673" y="318552"/>
                    </a:lnTo>
                    <a:lnTo>
                      <a:pt x="42938" y="317406"/>
                    </a:lnTo>
                    <a:lnTo>
                      <a:pt x="41792" y="316524"/>
                    </a:lnTo>
                    <a:lnTo>
                      <a:pt x="40029" y="315114"/>
                    </a:lnTo>
                    <a:lnTo>
                      <a:pt x="36502" y="315114"/>
                    </a:lnTo>
                    <a:lnTo>
                      <a:pt x="35003" y="314849"/>
                    </a:lnTo>
                    <a:lnTo>
                      <a:pt x="33239" y="314849"/>
                    </a:lnTo>
                    <a:lnTo>
                      <a:pt x="31212" y="314849"/>
                    </a:lnTo>
                    <a:lnTo>
                      <a:pt x="28037" y="316613"/>
                    </a:lnTo>
                    <a:lnTo>
                      <a:pt x="24864" y="318640"/>
                    </a:lnTo>
                    <a:lnTo>
                      <a:pt x="23100" y="319258"/>
                    </a:lnTo>
                    <a:lnTo>
                      <a:pt x="22571" y="320668"/>
                    </a:lnTo>
                    <a:lnTo>
                      <a:pt x="20808" y="321550"/>
                    </a:lnTo>
                    <a:lnTo>
                      <a:pt x="18163" y="320933"/>
                    </a:lnTo>
                    <a:lnTo>
                      <a:pt x="14900" y="321286"/>
                    </a:lnTo>
                    <a:lnTo>
                      <a:pt x="13754" y="320668"/>
                    </a:lnTo>
                    <a:lnTo>
                      <a:pt x="13137" y="319522"/>
                    </a:lnTo>
                    <a:lnTo>
                      <a:pt x="10492" y="319258"/>
                    </a:lnTo>
                    <a:lnTo>
                      <a:pt x="8464" y="320139"/>
                    </a:lnTo>
                    <a:lnTo>
                      <a:pt x="6701" y="321286"/>
                    </a:lnTo>
                    <a:lnTo>
                      <a:pt x="6172" y="321550"/>
                    </a:lnTo>
                    <a:lnTo>
                      <a:pt x="5555" y="322167"/>
                    </a:lnTo>
                    <a:lnTo>
                      <a:pt x="4144" y="321286"/>
                    </a:lnTo>
                    <a:lnTo>
                      <a:pt x="4408" y="320933"/>
                    </a:lnTo>
                    <a:lnTo>
                      <a:pt x="4408" y="318023"/>
                    </a:lnTo>
                    <a:lnTo>
                      <a:pt x="4408" y="315114"/>
                    </a:lnTo>
                    <a:lnTo>
                      <a:pt x="2998" y="312469"/>
                    </a:lnTo>
                    <a:lnTo>
                      <a:pt x="2116" y="311323"/>
                    </a:lnTo>
                    <a:lnTo>
                      <a:pt x="1499" y="309912"/>
                    </a:lnTo>
                    <a:lnTo>
                      <a:pt x="617" y="307267"/>
                    </a:lnTo>
                    <a:lnTo>
                      <a:pt x="0" y="305856"/>
                    </a:lnTo>
                    <a:lnTo>
                      <a:pt x="617" y="304974"/>
                    </a:lnTo>
                    <a:lnTo>
                      <a:pt x="1234" y="305239"/>
                    </a:lnTo>
                    <a:lnTo>
                      <a:pt x="1851" y="307267"/>
                    </a:lnTo>
                    <a:lnTo>
                      <a:pt x="2116" y="308678"/>
                    </a:lnTo>
                    <a:lnTo>
                      <a:pt x="3262" y="310705"/>
                    </a:lnTo>
                    <a:lnTo>
                      <a:pt x="3879" y="311852"/>
                    </a:lnTo>
                    <a:lnTo>
                      <a:pt x="5378" y="312998"/>
                    </a:lnTo>
                    <a:lnTo>
                      <a:pt x="5378" y="311852"/>
                    </a:lnTo>
                    <a:lnTo>
                      <a:pt x="5114" y="311323"/>
                    </a:lnTo>
                    <a:lnTo>
                      <a:pt x="5114" y="309912"/>
                    </a:lnTo>
                    <a:lnTo>
                      <a:pt x="4497" y="308148"/>
                    </a:lnTo>
                    <a:lnTo>
                      <a:pt x="4232" y="307267"/>
                    </a:lnTo>
                    <a:lnTo>
                      <a:pt x="4232" y="306121"/>
                    </a:lnTo>
                    <a:lnTo>
                      <a:pt x="4761" y="306121"/>
                    </a:lnTo>
                    <a:lnTo>
                      <a:pt x="5378" y="306121"/>
                    </a:lnTo>
                    <a:lnTo>
                      <a:pt x="5995" y="307267"/>
                    </a:lnTo>
                    <a:lnTo>
                      <a:pt x="6260" y="306650"/>
                    </a:lnTo>
                    <a:lnTo>
                      <a:pt x="5995" y="305768"/>
                    </a:lnTo>
                    <a:lnTo>
                      <a:pt x="5995" y="301977"/>
                    </a:lnTo>
                    <a:lnTo>
                      <a:pt x="6613" y="299684"/>
                    </a:lnTo>
                    <a:lnTo>
                      <a:pt x="6613" y="295629"/>
                    </a:lnTo>
                    <a:lnTo>
                      <a:pt x="5731" y="292366"/>
                    </a:lnTo>
                    <a:lnTo>
                      <a:pt x="6348" y="290338"/>
                    </a:lnTo>
                    <a:lnTo>
                      <a:pt x="6084" y="287693"/>
                    </a:lnTo>
                    <a:lnTo>
                      <a:pt x="5819" y="286194"/>
                    </a:lnTo>
                    <a:lnTo>
                      <a:pt x="4937" y="284696"/>
                    </a:lnTo>
                    <a:lnTo>
                      <a:pt x="4408" y="283814"/>
                    </a:lnTo>
                    <a:lnTo>
                      <a:pt x="4144" y="280904"/>
                    </a:lnTo>
                    <a:lnTo>
                      <a:pt x="4144" y="278877"/>
                    </a:lnTo>
                    <a:lnTo>
                      <a:pt x="4408" y="277730"/>
                    </a:lnTo>
                    <a:lnTo>
                      <a:pt x="4937" y="278348"/>
                    </a:lnTo>
                    <a:lnTo>
                      <a:pt x="5555" y="280111"/>
                    </a:lnTo>
                    <a:lnTo>
                      <a:pt x="6172" y="281257"/>
                    </a:lnTo>
                    <a:lnTo>
                      <a:pt x="5907" y="282403"/>
                    </a:lnTo>
                    <a:lnTo>
                      <a:pt x="6789" y="283902"/>
                    </a:lnTo>
                    <a:lnTo>
                      <a:pt x="7406" y="283902"/>
                    </a:lnTo>
                    <a:lnTo>
                      <a:pt x="6789" y="284519"/>
                    </a:lnTo>
                    <a:lnTo>
                      <a:pt x="6789" y="284784"/>
                    </a:lnTo>
                    <a:lnTo>
                      <a:pt x="7671" y="284519"/>
                    </a:lnTo>
                    <a:lnTo>
                      <a:pt x="9170" y="283021"/>
                    </a:lnTo>
                    <a:lnTo>
                      <a:pt x="9170" y="282403"/>
                    </a:lnTo>
                    <a:lnTo>
                      <a:pt x="9170" y="281257"/>
                    </a:lnTo>
                    <a:lnTo>
                      <a:pt x="9787" y="280640"/>
                    </a:lnTo>
                    <a:lnTo>
                      <a:pt x="11021" y="280023"/>
                    </a:lnTo>
                    <a:lnTo>
                      <a:pt x="11638" y="278259"/>
                    </a:lnTo>
                    <a:lnTo>
                      <a:pt x="11638" y="277113"/>
                    </a:lnTo>
                    <a:lnTo>
                      <a:pt x="11903" y="275085"/>
                    </a:lnTo>
                    <a:lnTo>
                      <a:pt x="11903" y="273057"/>
                    </a:lnTo>
                    <a:lnTo>
                      <a:pt x="12167" y="270677"/>
                    </a:lnTo>
                    <a:lnTo>
                      <a:pt x="13314" y="270060"/>
                    </a:lnTo>
                    <a:lnTo>
                      <a:pt x="13931" y="270060"/>
                    </a:lnTo>
                    <a:lnTo>
                      <a:pt x="14548" y="269178"/>
                    </a:lnTo>
                    <a:lnTo>
                      <a:pt x="13931" y="268296"/>
                    </a:lnTo>
                    <a:lnTo>
                      <a:pt x="13666" y="268561"/>
                    </a:lnTo>
                    <a:lnTo>
                      <a:pt x="13401" y="267679"/>
                    </a:lnTo>
                    <a:lnTo>
                      <a:pt x="14636" y="265387"/>
                    </a:lnTo>
                    <a:lnTo>
                      <a:pt x="15165" y="263623"/>
                    </a:lnTo>
                    <a:lnTo>
                      <a:pt x="15429" y="263359"/>
                    </a:lnTo>
                    <a:lnTo>
                      <a:pt x="15429" y="261155"/>
                    </a:lnTo>
                    <a:lnTo>
                      <a:pt x="16311" y="260537"/>
                    </a:lnTo>
                    <a:lnTo>
                      <a:pt x="17722" y="259656"/>
                    </a:lnTo>
                    <a:lnTo>
                      <a:pt x="16840" y="257011"/>
                    </a:lnTo>
                    <a:lnTo>
                      <a:pt x="17722" y="256746"/>
                    </a:lnTo>
                    <a:lnTo>
                      <a:pt x="18075" y="252338"/>
                    </a:lnTo>
                    <a:lnTo>
                      <a:pt x="18692" y="249693"/>
                    </a:lnTo>
                    <a:lnTo>
                      <a:pt x="18956" y="247048"/>
                    </a:lnTo>
                    <a:lnTo>
                      <a:pt x="18075" y="245285"/>
                    </a:lnTo>
                    <a:lnTo>
                      <a:pt x="18339" y="244403"/>
                    </a:lnTo>
                    <a:lnTo>
                      <a:pt x="18956" y="244403"/>
                    </a:lnTo>
                    <a:lnTo>
                      <a:pt x="19221" y="243786"/>
                    </a:lnTo>
                    <a:lnTo>
                      <a:pt x="18956" y="242639"/>
                    </a:lnTo>
                    <a:lnTo>
                      <a:pt x="18956" y="241141"/>
                    </a:lnTo>
                    <a:lnTo>
                      <a:pt x="19573" y="240876"/>
                    </a:lnTo>
                    <a:lnTo>
                      <a:pt x="19838" y="239730"/>
                    </a:lnTo>
                    <a:lnTo>
                      <a:pt x="20102" y="239113"/>
                    </a:lnTo>
                    <a:lnTo>
                      <a:pt x="20102" y="237085"/>
                    </a:lnTo>
                    <a:lnTo>
                      <a:pt x="21249" y="236820"/>
                    </a:lnTo>
                    <a:lnTo>
                      <a:pt x="21778" y="237085"/>
                    </a:lnTo>
                    <a:lnTo>
                      <a:pt x="22659" y="236203"/>
                    </a:lnTo>
                    <a:lnTo>
                      <a:pt x="24158" y="235674"/>
                    </a:lnTo>
                    <a:lnTo>
                      <a:pt x="25304" y="232764"/>
                    </a:lnTo>
                    <a:lnTo>
                      <a:pt x="27068" y="231883"/>
                    </a:lnTo>
                    <a:lnTo>
                      <a:pt x="28831" y="231265"/>
                    </a:lnTo>
                    <a:lnTo>
                      <a:pt x="29448" y="235409"/>
                    </a:lnTo>
                    <a:lnTo>
                      <a:pt x="31212" y="234528"/>
                    </a:lnTo>
                    <a:lnTo>
                      <a:pt x="31212" y="232853"/>
                    </a:lnTo>
                    <a:lnTo>
                      <a:pt x="29184" y="230472"/>
                    </a:lnTo>
                    <a:lnTo>
                      <a:pt x="27685" y="230208"/>
                    </a:lnTo>
                    <a:lnTo>
                      <a:pt x="25040" y="231089"/>
                    </a:lnTo>
                    <a:lnTo>
                      <a:pt x="24158" y="231971"/>
                    </a:lnTo>
                    <a:lnTo>
                      <a:pt x="23277" y="231706"/>
                    </a:lnTo>
                    <a:lnTo>
                      <a:pt x="23277" y="230560"/>
                    </a:lnTo>
                    <a:lnTo>
                      <a:pt x="23541" y="229679"/>
                    </a:lnTo>
                    <a:lnTo>
                      <a:pt x="23277" y="229414"/>
                    </a:lnTo>
                    <a:lnTo>
                      <a:pt x="23541" y="228532"/>
                    </a:lnTo>
                    <a:lnTo>
                      <a:pt x="23277" y="226505"/>
                    </a:lnTo>
                    <a:lnTo>
                      <a:pt x="23541" y="225358"/>
                    </a:lnTo>
                    <a:lnTo>
                      <a:pt x="24158" y="225358"/>
                    </a:lnTo>
                    <a:lnTo>
                      <a:pt x="25040" y="224477"/>
                    </a:lnTo>
                    <a:lnTo>
                      <a:pt x="25304" y="224124"/>
                    </a:lnTo>
                    <a:lnTo>
                      <a:pt x="25922" y="223242"/>
                    </a:lnTo>
                    <a:lnTo>
                      <a:pt x="25304" y="222625"/>
                    </a:lnTo>
                    <a:lnTo>
                      <a:pt x="26186" y="221479"/>
                    </a:lnTo>
                    <a:lnTo>
                      <a:pt x="26451" y="221479"/>
                    </a:lnTo>
                    <a:lnTo>
                      <a:pt x="26715" y="220862"/>
                    </a:lnTo>
                    <a:lnTo>
                      <a:pt x="26980" y="221126"/>
                    </a:lnTo>
                    <a:lnTo>
                      <a:pt x="28478" y="220509"/>
                    </a:lnTo>
                    <a:lnTo>
                      <a:pt x="29096" y="219098"/>
                    </a:lnTo>
                    <a:lnTo>
                      <a:pt x="29977" y="217952"/>
                    </a:lnTo>
                    <a:lnTo>
                      <a:pt x="31123" y="217071"/>
                    </a:lnTo>
                    <a:lnTo>
                      <a:pt x="32270" y="215307"/>
                    </a:lnTo>
                    <a:lnTo>
                      <a:pt x="33151" y="213808"/>
                    </a:lnTo>
                    <a:lnTo>
                      <a:pt x="32270" y="210899"/>
                    </a:lnTo>
                    <a:lnTo>
                      <a:pt x="33151" y="210017"/>
                    </a:lnTo>
                    <a:lnTo>
                      <a:pt x="34650" y="208606"/>
                    </a:lnTo>
                    <a:lnTo>
                      <a:pt x="35796" y="206226"/>
                    </a:lnTo>
                    <a:lnTo>
                      <a:pt x="36678" y="205344"/>
                    </a:lnTo>
                    <a:lnTo>
                      <a:pt x="37824" y="205344"/>
                    </a:lnTo>
                    <a:lnTo>
                      <a:pt x="38089" y="206226"/>
                    </a:lnTo>
                    <a:lnTo>
                      <a:pt x="38353" y="206578"/>
                    </a:lnTo>
                    <a:lnTo>
                      <a:pt x="38618" y="206226"/>
                    </a:lnTo>
                    <a:lnTo>
                      <a:pt x="38882" y="205344"/>
                    </a:lnTo>
                    <a:lnTo>
                      <a:pt x="39147" y="205080"/>
                    </a:lnTo>
                    <a:lnTo>
                      <a:pt x="39764" y="205080"/>
                    </a:lnTo>
                    <a:lnTo>
                      <a:pt x="40381" y="205080"/>
                    </a:lnTo>
                    <a:lnTo>
                      <a:pt x="40646" y="205344"/>
                    </a:lnTo>
                    <a:lnTo>
                      <a:pt x="41527" y="205609"/>
                    </a:lnTo>
                    <a:lnTo>
                      <a:pt x="42144" y="205344"/>
                    </a:lnTo>
                    <a:lnTo>
                      <a:pt x="43908" y="203052"/>
                    </a:lnTo>
                    <a:lnTo>
                      <a:pt x="43908" y="201024"/>
                    </a:lnTo>
                    <a:lnTo>
                      <a:pt x="44790" y="199525"/>
                    </a:lnTo>
                    <a:lnTo>
                      <a:pt x="45054" y="198026"/>
                    </a:lnTo>
                    <a:lnTo>
                      <a:pt x="45671" y="198379"/>
                    </a:lnTo>
                    <a:lnTo>
                      <a:pt x="46288" y="198379"/>
                    </a:lnTo>
                    <a:lnTo>
                      <a:pt x="46906" y="198379"/>
                    </a:lnTo>
                    <a:lnTo>
                      <a:pt x="47787" y="198026"/>
                    </a:lnTo>
                    <a:lnTo>
                      <a:pt x="48052" y="196615"/>
                    </a:lnTo>
                    <a:lnTo>
                      <a:pt x="48669" y="194588"/>
                    </a:lnTo>
                    <a:lnTo>
                      <a:pt x="49286" y="192824"/>
                    </a:lnTo>
                    <a:lnTo>
                      <a:pt x="49022" y="191678"/>
                    </a:lnTo>
                    <a:lnTo>
                      <a:pt x="49903" y="190532"/>
                    </a:lnTo>
                    <a:lnTo>
                      <a:pt x="50785" y="189915"/>
                    </a:lnTo>
                    <a:lnTo>
                      <a:pt x="50785" y="188769"/>
                    </a:lnTo>
                    <a:lnTo>
                      <a:pt x="51931" y="185506"/>
                    </a:lnTo>
                    <a:lnTo>
                      <a:pt x="51314" y="179952"/>
                    </a:lnTo>
                    <a:lnTo>
                      <a:pt x="51931" y="175279"/>
                    </a:lnTo>
                    <a:lnTo>
                      <a:pt x="51314" y="174133"/>
                    </a:lnTo>
                    <a:lnTo>
                      <a:pt x="52196" y="172986"/>
                    </a:lnTo>
                    <a:lnTo>
                      <a:pt x="53077" y="165668"/>
                    </a:lnTo>
                    <a:lnTo>
                      <a:pt x="52460" y="163905"/>
                    </a:lnTo>
                    <a:lnTo>
                      <a:pt x="51579" y="161260"/>
                    </a:lnTo>
                    <a:lnTo>
                      <a:pt x="50168" y="159497"/>
                    </a:lnTo>
                    <a:lnTo>
                      <a:pt x="50432" y="158615"/>
                    </a:lnTo>
                    <a:lnTo>
                      <a:pt x="51050" y="157469"/>
                    </a:lnTo>
                    <a:lnTo>
                      <a:pt x="50785" y="156322"/>
                    </a:lnTo>
                    <a:lnTo>
                      <a:pt x="47611" y="152267"/>
                    </a:lnTo>
                    <a:lnTo>
                      <a:pt x="46200" y="150503"/>
                    </a:lnTo>
                    <a:lnTo>
                      <a:pt x="46200" y="148740"/>
                    </a:lnTo>
                    <a:lnTo>
                      <a:pt x="45583" y="147858"/>
                    </a:lnTo>
                    <a:lnTo>
                      <a:pt x="44701" y="145566"/>
                    </a:lnTo>
                    <a:lnTo>
                      <a:pt x="43555" y="143538"/>
                    </a:lnTo>
                    <a:lnTo>
                      <a:pt x="43026" y="142392"/>
                    </a:lnTo>
                    <a:lnTo>
                      <a:pt x="41880" y="139747"/>
                    </a:lnTo>
                    <a:lnTo>
                      <a:pt x="42233" y="139218"/>
                    </a:lnTo>
                    <a:lnTo>
                      <a:pt x="42233" y="138072"/>
                    </a:lnTo>
                    <a:lnTo>
                      <a:pt x="41351" y="136925"/>
                    </a:lnTo>
                    <a:lnTo>
                      <a:pt x="39059" y="133399"/>
                    </a:lnTo>
                    <a:lnTo>
                      <a:pt x="39059" y="132782"/>
                    </a:lnTo>
                    <a:lnTo>
                      <a:pt x="39588" y="131635"/>
                    </a:lnTo>
                    <a:lnTo>
                      <a:pt x="39588" y="131106"/>
                    </a:lnTo>
                    <a:lnTo>
                      <a:pt x="39323" y="129960"/>
                    </a:lnTo>
                    <a:lnTo>
                      <a:pt x="39323" y="129078"/>
                    </a:lnTo>
                    <a:lnTo>
                      <a:pt x="38442" y="127315"/>
                    </a:lnTo>
                    <a:lnTo>
                      <a:pt x="38442" y="126169"/>
                    </a:lnTo>
                    <a:lnTo>
                      <a:pt x="38706" y="125552"/>
                    </a:lnTo>
                    <a:lnTo>
                      <a:pt x="38442" y="124141"/>
                    </a:lnTo>
                    <a:lnTo>
                      <a:pt x="37295" y="122995"/>
                    </a:lnTo>
                    <a:lnTo>
                      <a:pt x="37824" y="120703"/>
                    </a:lnTo>
                    <a:lnTo>
                      <a:pt x="34915" y="118939"/>
                    </a:lnTo>
                    <a:lnTo>
                      <a:pt x="34650" y="118057"/>
                    </a:lnTo>
                    <a:lnTo>
                      <a:pt x="34915" y="115677"/>
                    </a:lnTo>
                    <a:lnTo>
                      <a:pt x="35796" y="114531"/>
                    </a:lnTo>
                    <a:lnTo>
                      <a:pt x="36414" y="114178"/>
                    </a:lnTo>
                    <a:lnTo>
                      <a:pt x="36943" y="113561"/>
                    </a:lnTo>
                    <a:lnTo>
                      <a:pt x="36943" y="112679"/>
                    </a:lnTo>
                    <a:lnTo>
                      <a:pt x="38089" y="112679"/>
                    </a:lnTo>
                    <a:lnTo>
                      <a:pt x="37207" y="114178"/>
                    </a:lnTo>
                    <a:lnTo>
                      <a:pt x="36061" y="115060"/>
                    </a:lnTo>
                    <a:lnTo>
                      <a:pt x="35796" y="115589"/>
                    </a:lnTo>
                    <a:lnTo>
                      <a:pt x="35179" y="116735"/>
                    </a:lnTo>
                    <a:lnTo>
                      <a:pt x="35179" y="117881"/>
                    </a:lnTo>
                    <a:lnTo>
                      <a:pt x="36678" y="114619"/>
                    </a:lnTo>
                    <a:lnTo>
                      <a:pt x="38177" y="114354"/>
                    </a:lnTo>
                    <a:lnTo>
                      <a:pt x="38442" y="113208"/>
                    </a:lnTo>
                    <a:lnTo>
                      <a:pt x="39059" y="112591"/>
                    </a:lnTo>
                    <a:lnTo>
                      <a:pt x="39059" y="110828"/>
                    </a:lnTo>
                    <a:lnTo>
                      <a:pt x="39588" y="110299"/>
                    </a:lnTo>
                    <a:lnTo>
                      <a:pt x="40469" y="109417"/>
                    </a:lnTo>
                    <a:lnTo>
                      <a:pt x="39852" y="110563"/>
                    </a:lnTo>
                    <a:lnTo>
                      <a:pt x="39235" y="111092"/>
                    </a:lnTo>
                    <a:lnTo>
                      <a:pt x="40117" y="110563"/>
                    </a:lnTo>
                    <a:lnTo>
                      <a:pt x="40734" y="110299"/>
                    </a:lnTo>
                    <a:lnTo>
                      <a:pt x="41351" y="109153"/>
                    </a:lnTo>
                    <a:lnTo>
                      <a:pt x="42850" y="109417"/>
                    </a:lnTo>
                    <a:lnTo>
                      <a:pt x="43731" y="108888"/>
                    </a:lnTo>
                    <a:lnTo>
                      <a:pt x="43996" y="107125"/>
                    </a:lnTo>
                    <a:lnTo>
                      <a:pt x="43379" y="105626"/>
                    </a:lnTo>
                    <a:lnTo>
                      <a:pt x="43114" y="102452"/>
                    </a:lnTo>
                    <a:lnTo>
                      <a:pt x="43643" y="102452"/>
                    </a:lnTo>
                    <a:lnTo>
                      <a:pt x="43643" y="100424"/>
                    </a:lnTo>
                    <a:lnTo>
                      <a:pt x="43379" y="98396"/>
                    </a:lnTo>
                    <a:lnTo>
                      <a:pt x="41880" y="96368"/>
                    </a:lnTo>
                    <a:lnTo>
                      <a:pt x="41263" y="95134"/>
                    </a:lnTo>
                    <a:lnTo>
                      <a:pt x="40646" y="94869"/>
                    </a:lnTo>
                    <a:lnTo>
                      <a:pt x="40646" y="93988"/>
                    </a:lnTo>
                    <a:lnTo>
                      <a:pt x="39500" y="92224"/>
                    </a:lnTo>
                    <a:lnTo>
                      <a:pt x="38618" y="89050"/>
                    </a:lnTo>
                    <a:lnTo>
                      <a:pt x="37472" y="87287"/>
                    </a:lnTo>
                    <a:lnTo>
                      <a:pt x="36854" y="85788"/>
                    </a:lnTo>
                    <a:lnTo>
                      <a:pt x="36325" y="84024"/>
                    </a:lnTo>
                    <a:lnTo>
                      <a:pt x="36325" y="82878"/>
                    </a:lnTo>
                    <a:lnTo>
                      <a:pt x="34827" y="80850"/>
                    </a:lnTo>
                    <a:lnTo>
                      <a:pt x="34827" y="79352"/>
                    </a:lnTo>
                    <a:lnTo>
                      <a:pt x="33945" y="77324"/>
                    </a:lnTo>
                    <a:lnTo>
                      <a:pt x="32799" y="73797"/>
                    </a:lnTo>
                    <a:lnTo>
                      <a:pt x="31652" y="72033"/>
                    </a:lnTo>
                    <a:lnTo>
                      <a:pt x="31917" y="68771"/>
                    </a:lnTo>
                    <a:lnTo>
                      <a:pt x="31652" y="67625"/>
                    </a:lnTo>
                    <a:lnTo>
                      <a:pt x="30771" y="64980"/>
                    </a:lnTo>
                    <a:lnTo>
                      <a:pt x="30771" y="64098"/>
                    </a:lnTo>
                    <a:lnTo>
                      <a:pt x="30771" y="63834"/>
                    </a:lnTo>
                    <a:lnTo>
                      <a:pt x="30154" y="63217"/>
                    </a:lnTo>
                    <a:lnTo>
                      <a:pt x="30154" y="62071"/>
                    </a:lnTo>
                    <a:lnTo>
                      <a:pt x="27773" y="59778"/>
                    </a:lnTo>
                    <a:lnTo>
                      <a:pt x="26627" y="57398"/>
                    </a:lnTo>
                    <a:lnTo>
                      <a:pt x="25481" y="56780"/>
                    </a:lnTo>
                    <a:lnTo>
                      <a:pt x="22836" y="50697"/>
                    </a:lnTo>
                    <a:lnTo>
                      <a:pt x="21954" y="50432"/>
                    </a:lnTo>
                    <a:lnTo>
                      <a:pt x="22307" y="49286"/>
                    </a:lnTo>
                    <a:lnTo>
                      <a:pt x="21160" y="46377"/>
                    </a:lnTo>
                    <a:lnTo>
                      <a:pt x="19662" y="45230"/>
                    </a:lnTo>
                    <a:lnTo>
                      <a:pt x="19044" y="43467"/>
                    </a:lnTo>
                    <a:lnTo>
                      <a:pt x="19662" y="41968"/>
                    </a:lnTo>
                    <a:lnTo>
                      <a:pt x="20279" y="41968"/>
                    </a:lnTo>
                    <a:lnTo>
                      <a:pt x="20279" y="42497"/>
                    </a:lnTo>
                    <a:lnTo>
                      <a:pt x="19133" y="43379"/>
                    </a:lnTo>
                    <a:lnTo>
                      <a:pt x="20279" y="43379"/>
                    </a:lnTo>
                    <a:lnTo>
                      <a:pt x="20014" y="43379"/>
                    </a:lnTo>
                    <a:lnTo>
                      <a:pt x="21160" y="43379"/>
                    </a:lnTo>
                    <a:lnTo>
                      <a:pt x="22307" y="42497"/>
                    </a:lnTo>
                    <a:lnTo>
                      <a:pt x="24070" y="42497"/>
                    </a:lnTo>
                    <a:lnTo>
                      <a:pt x="25569" y="41968"/>
                    </a:lnTo>
                    <a:lnTo>
                      <a:pt x="26186" y="41968"/>
                    </a:lnTo>
                    <a:lnTo>
                      <a:pt x="27332" y="41968"/>
                    </a:lnTo>
                    <a:lnTo>
                      <a:pt x="27861" y="41351"/>
                    </a:lnTo>
                    <a:lnTo>
                      <a:pt x="28478" y="41086"/>
                    </a:lnTo>
                    <a:lnTo>
                      <a:pt x="28743" y="41351"/>
                    </a:lnTo>
                    <a:lnTo>
                      <a:pt x="29889" y="41086"/>
                    </a:lnTo>
                    <a:lnTo>
                      <a:pt x="30771" y="41351"/>
                    </a:lnTo>
                    <a:lnTo>
                      <a:pt x="32181" y="41351"/>
                    </a:lnTo>
                    <a:lnTo>
                      <a:pt x="33063" y="39940"/>
                    </a:lnTo>
                    <a:lnTo>
                      <a:pt x="34209" y="39059"/>
                    </a:lnTo>
                    <a:lnTo>
                      <a:pt x="34827" y="37648"/>
                    </a:lnTo>
                    <a:lnTo>
                      <a:pt x="36590" y="37648"/>
                    </a:lnTo>
                    <a:lnTo>
                      <a:pt x="37736" y="38530"/>
                    </a:lnTo>
                    <a:lnTo>
                      <a:pt x="39500" y="37648"/>
                    </a:lnTo>
                    <a:lnTo>
                      <a:pt x="41527" y="37648"/>
                    </a:lnTo>
                    <a:lnTo>
                      <a:pt x="42673" y="37648"/>
                    </a:lnTo>
                    <a:lnTo>
                      <a:pt x="44172" y="37648"/>
                    </a:lnTo>
                    <a:lnTo>
                      <a:pt x="45319" y="37295"/>
                    </a:lnTo>
                    <a:lnTo>
                      <a:pt x="47082" y="37648"/>
                    </a:lnTo>
                    <a:lnTo>
                      <a:pt x="52284" y="37648"/>
                    </a:lnTo>
                    <a:lnTo>
                      <a:pt x="56957" y="36502"/>
                    </a:lnTo>
                    <a:lnTo>
                      <a:pt x="58103" y="37648"/>
                    </a:lnTo>
                    <a:lnTo>
                      <a:pt x="61630" y="37648"/>
                    </a:lnTo>
                    <a:lnTo>
                      <a:pt x="63129" y="37648"/>
                    </a:lnTo>
                    <a:lnTo>
                      <a:pt x="67802" y="38530"/>
                    </a:lnTo>
                    <a:lnTo>
                      <a:pt x="68683" y="37648"/>
                    </a:lnTo>
                    <a:lnTo>
                      <a:pt x="70711" y="38530"/>
                    </a:lnTo>
                    <a:lnTo>
                      <a:pt x="72739" y="37648"/>
                    </a:lnTo>
                    <a:lnTo>
                      <a:pt x="93194" y="37295"/>
                    </a:lnTo>
                    <a:lnTo>
                      <a:pt x="108624" y="37031"/>
                    </a:lnTo>
                    <a:lnTo>
                      <a:pt x="110387" y="38530"/>
                    </a:lnTo>
                    <a:lnTo>
                      <a:pt x="111886" y="38530"/>
                    </a:lnTo>
                    <a:lnTo>
                      <a:pt x="114266" y="36766"/>
                    </a:lnTo>
                    <a:lnTo>
                      <a:pt x="116030" y="37912"/>
                    </a:lnTo>
                    <a:lnTo>
                      <a:pt x="116559" y="39676"/>
                    </a:lnTo>
                    <a:lnTo>
                      <a:pt x="116823" y="41086"/>
                    </a:lnTo>
                    <a:lnTo>
                      <a:pt x="117705" y="42585"/>
                    </a:lnTo>
                    <a:lnTo>
                      <a:pt x="117705" y="43820"/>
                    </a:lnTo>
                    <a:lnTo>
                      <a:pt x="116559" y="44349"/>
                    </a:lnTo>
                    <a:lnTo>
                      <a:pt x="117440" y="45230"/>
                    </a:lnTo>
                    <a:lnTo>
                      <a:pt x="117705" y="46994"/>
                    </a:lnTo>
                    <a:lnTo>
                      <a:pt x="116823" y="47611"/>
                    </a:lnTo>
                    <a:lnTo>
                      <a:pt x="117440" y="49374"/>
                    </a:lnTo>
                    <a:lnTo>
                      <a:pt x="118322" y="49991"/>
                    </a:lnTo>
                    <a:lnTo>
                      <a:pt x="116823" y="50256"/>
                    </a:lnTo>
                    <a:lnTo>
                      <a:pt x="118322" y="52284"/>
                    </a:lnTo>
                    <a:lnTo>
                      <a:pt x="118058" y="54664"/>
                    </a:lnTo>
                    <a:lnTo>
                      <a:pt x="118675" y="56428"/>
                    </a:lnTo>
                    <a:lnTo>
                      <a:pt x="119292" y="58808"/>
                    </a:lnTo>
                    <a:lnTo>
                      <a:pt x="119292" y="59954"/>
                    </a:lnTo>
                    <a:lnTo>
                      <a:pt x="120791" y="61101"/>
                    </a:lnTo>
                    <a:lnTo>
                      <a:pt x="120791" y="62247"/>
                    </a:lnTo>
                    <a:lnTo>
                      <a:pt x="121937" y="63393"/>
                    </a:lnTo>
                    <a:lnTo>
                      <a:pt x="121320" y="65156"/>
                    </a:lnTo>
                    <a:lnTo>
                      <a:pt x="122466" y="66303"/>
                    </a:lnTo>
                    <a:lnTo>
                      <a:pt x="122466" y="67449"/>
                    </a:lnTo>
                    <a:lnTo>
                      <a:pt x="123612" y="68595"/>
                    </a:lnTo>
                    <a:lnTo>
                      <a:pt x="122995" y="69477"/>
                    </a:lnTo>
                    <a:lnTo>
                      <a:pt x="122113" y="70358"/>
                    </a:lnTo>
                    <a:lnTo>
                      <a:pt x="123259" y="71240"/>
                    </a:lnTo>
                    <a:lnTo>
                      <a:pt x="123259" y="72386"/>
                    </a:lnTo>
                    <a:lnTo>
                      <a:pt x="123524" y="73268"/>
                    </a:lnTo>
                    <a:lnTo>
                      <a:pt x="125287" y="74414"/>
                    </a:lnTo>
                    <a:lnTo>
                      <a:pt x="125287" y="76177"/>
                    </a:lnTo>
                    <a:lnTo>
                      <a:pt x="126169" y="77676"/>
                    </a:lnTo>
                    <a:lnTo>
                      <a:pt x="126433" y="75913"/>
                    </a:lnTo>
                    <a:lnTo>
                      <a:pt x="126698" y="75913"/>
                    </a:lnTo>
                    <a:lnTo>
                      <a:pt x="128197" y="76442"/>
                    </a:lnTo>
                    <a:lnTo>
                      <a:pt x="127932" y="77941"/>
                    </a:lnTo>
                    <a:lnTo>
                      <a:pt x="127051" y="78823"/>
                    </a:lnTo>
                    <a:lnTo>
                      <a:pt x="127668" y="79352"/>
                    </a:lnTo>
                    <a:lnTo>
                      <a:pt x="128285" y="79616"/>
                    </a:lnTo>
                    <a:lnTo>
                      <a:pt x="128285" y="80498"/>
                    </a:lnTo>
                    <a:lnTo>
                      <a:pt x="128902" y="81115"/>
                    </a:lnTo>
                    <a:lnTo>
                      <a:pt x="129784" y="82878"/>
                    </a:lnTo>
                    <a:lnTo>
                      <a:pt x="129519" y="84642"/>
                    </a:lnTo>
                    <a:lnTo>
                      <a:pt x="131018" y="84289"/>
                    </a:lnTo>
                    <a:lnTo>
                      <a:pt x="130754" y="85788"/>
                    </a:lnTo>
                    <a:lnTo>
                      <a:pt x="131900" y="86669"/>
                    </a:lnTo>
                    <a:lnTo>
                      <a:pt x="131547" y="88168"/>
                    </a:lnTo>
                    <a:lnTo>
                      <a:pt x="132429" y="87904"/>
                    </a:lnTo>
                    <a:lnTo>
                      <a:pt x="133046" y="88786"/>
                    </a:lnTo>
                    <a:lnTo>
                      <a:pt x="134192" y="89315"/>
                    </a:lnTo>
                    <a:lnTo>
                      <a:pt x="133575" y="90461"/>
                    </a:lnTo>
                    <a:lnTo>
                      <a:pt x="135074" y="91078"/>
                    </a:lnTo>
                    <a:lnTo>
                      <a:pt x="135074" y="91960"/>
                    </a:lnTo>
                    <a:lnTo>
                      <a:pt x="136220" y="91960"/>
                    </a:lnTo>
                    <a:lnTo>
                      <a:pt x="135956" y="93106"/>
                    </a:lnTo>
                    <a:lnTo>
                      <a:pt x="137102" y="93370"/>
                    </a:lnTo>
                    <a:lnTo>
                      <a:pt x="139130" y="92489"/>
                    </a:lnTo>
                    <a:lnTo>
                      <a:pt x="140540" y="93106"/>
                    </a:lnTo>
                    <a:lnTo>
                      <a:pt x="141422" y="91960"/>
                    </a:lnTo>
                    <a:lnTo>
                      <a:pt x="144949" y="91960"/>
                    </a:lnTo>
                    <a:lnTo>
                      <a:pt x="145566" y="93459"/>
                    </a:lnTo>
                    <a:lnTo>
                      <a:pt x="147329" y="93459"/>
                    </a:lnTo>
                    <a:lnTo>
                      <a:pt x="147329" y="91960"/>
                    </a:lnTo>
                    <a:lnTo>
                      <a:pt x="149357" y="90813"/>
                    </a:lnTo>
                    <a:lnTo>
                      <a:pt x="152531" y="90813"/>
                    </a:lnTo>
                    <a:lnTo>
                      <a:pt x="153413" y="91342"/>
                    </a:lnTo>
                    <a:lnTo>
                      <a:pt x="154295" y="90813"/>
                    </a:lnTo>
                    <a:lnTo>
                      <a:pt x="156587" y="90813"/>
                    </a:lnTo>
                    <a:lnTo>
                      <a:pt x="157733" y="89050"/>
                    </a:lnTo>
                    <a:lnTo>
                      <a:pt x="160907" y="89050"/>
                    </a:lnTo>
                    <a:lnTo>
                      <a:pt x="162318" y="89667"/>
                    </a:lnTo>
                    <a:lnTo>
                      <a:pt x="162935" y="90813"/>
                    </a:lnTo>
                    <a:lnTo>
                      <a:pt x="174926" y="90813"/>
                    </a:lnTo>
                    <a:lnTo>
                      <a:pt x="174309" y="87904"/>
                    </a:lnTo>
                    <a:lnTo>
                      <a:pt x="175808" y="82614"/>
                    </a:lnTo>
                    <a:lnTo>
                      <a:pt x="175191" y="80586"/>
                    </a:lnTo>
                    <a:lnTo>
                      <a:pt x="177571" y="80321"/>
                    </a:lnTo>
                    <a:lnTo>
                      <a:pt x="177307" y="78294"/>
                    </a:lnTo>
                    <a:lnTo>
                      <a:pt x="179070" y="78911"/>
                    </a:lnTo>
                    <a:lnTo>
                      <a:pt x="177571" y="74502"/>
                    </a:lnTo>
                    <a:lnTo>
                      <a:pt x="176954" y="71593"/>
                    </a:lnTo>
                    <a:lnTo>
                      <a:pt x="177836" y="69917"/>
                    </a:lnTo>
                    <a:lnTo>
                      <a:pt x="179246" y="67008"/>
                    </a:lnTo>
                    <a:lnTo>
                      <a:pt x="179246" y="65862"/>
                    </a:lnTo>
                    <a:lnTo>
                      <a:pt x="195293" y="66126"/>
                    </a:lnTo>
                    <a:lnTo>
                      <a:pt x="196439" y="64098"/>
                    </a:lnTo>
                    <a:lnTo>
                      <a:pt x="202523" y="64098"/>
                    </a:lnTo>
                    <a:lnTo>
                      <a:pt x="201641" y="67625"/>
                    </a:lnTo>
                    <a:lnTo>
                      <a:pt x="201024" y="70270"/>
                    </a:lnTo>
                    <a:lnTo>
                      <a:pt x="200759" y="73180"/>
                    </a:lnTo>
                    <a:lnTo>
                      <a:pt x="228180" y="73180"/>
                    </a:lnTo>
                    <a:lnTo>
                      <a:pt x="228797" y="75825"/>
                    </a:lnTo>
                    <a:lnTo>
                      <a:pt x="229679" y="76089"/>
                    </a:lnTo>
                    <a:lnTo>
                      <a:pt x="229679" y="77236"/>
                    </a:lnTo>
                    <a:lnTo>
                      <a:pt x="230825" y="78117"/>
                    </a:lnTo>
                    <a:lnTo>
                      <a:pt x="230560" y="78999"/>
                    </a:lnTo>
                    <a:lnTo>
                      <a:pt x="230825" y="80145"/>
                    </a:lnTo>
                    <a:lnTo>
                      <a:pt x="227651" y="85082"/>
                    </a:lnTo>
                    <a:lnTo>
                      <a:pt x="227386" y="87110"/>
                    </a:lnTo>
                    <a:lnTo>
                      <a:pt x="227386" y="89138"/>
                    </a:lnTo>
                    <a:lnTo>
                      <a:pt x="227651" y="90902"/>
                    </a:lnTo>
                    <a:lnTo>
                      <a:pt x="228268" y="92665"/>
                    </a:lnTo>
                    <a:lnTo>
                      <a:pt x="228533" y="93811"/>
                    </a:lnTo>
                    <a:lnTo>
                      <a:pt x="229414" y="94693"/>
                    </a:lnTo>
                    <a:lnTo>
                      <a:pt x="229943" y="98219"/>
                    </a:lnTo>
                    <a:lnTo>
                      <a:pt x="231089" y="98748"/>
                    </a:lnTo>
                    <a:lnTo>
                      <a:pt x="230472" y="101041"/>
                    </a:lnTo>
                    <a:lnTo>
                      <a:pt x="231089" y="103069"/>
                    </a:lnTo>
                    <a:lnTo>
                      <a:pt x="231089" y="104568"/>
                    </a:lnTo>
                    <a:lnTo>
                      <a:pt x="231089" y="106596"/>
                    </a:lnTo>
                    <a:lnTo>
                      <a:pt x="230208" y="106596"/>
                    </a:lnTo>
                    <a:lnTo>
                      <a:pt x="229943" y="109505"/>
                    </a:lnTo>
                    <a:lnTo>
                      <a:pt x="229062" y="113032"/>
                    </a:lnTo>
                    <a:lnTo>
                      <a:pt x="229943" y="115412"/>
                    </a:lnTo>
                    <a:lnTo>
                      <a:pt x="229414" y="118851"/>
                    </a:lnTo>
                    <a:lnTo>
                      <a:pt x="229062" y="121496"/>
                    </a:lnTo>
                    <a:lnTo>
                      <a:pt x="227298" y="126169"/>
                    </a:lnTo>
                    <a:lnTo>
                      <a:pt x="228444" y="129343"/>
                    </a:lnTo>
                    <a:lnTo>
                      <a:pt x="229062" y="131988"/>
                    </a:lnTo>
                    <a:lnTo>
                      <a:pt x="229679" y="133751"/>
                    </a:lnTo>
                    <a:lnTo>
                      <a:pt x="231442" y="134369"/>
                    </a:lnTo>
                    <a:lnTo>
                      <a:pt x="231442" y="136397"/>
                    </a:lnTo>
                    <a:lnTo>
                      <a:pt x="232588" y="136132"/>
                    </a:lnTo>
                    <a:lnTo>
                      <a:pt x="233734" y="137631"/>
                    </a:lnTo>
                    <a:lnTo>
                      <a:pt x="234352" y="139130"/>
                    </a:lnTo>
                    <a:lnTo>
                      <a:pt x="236379" y="140276"/>
                    </a:lnTo>
                    <a:lnTo>
                      <a:pt x="235498" y="141158"/>
                    </a:lnTo>
                    <a:lnTo>
                      <a:pt x="235498" y="142304"/>
                    </a:lnTo>
                    <a:lnTo>
                      <a:pt x="236644" y="145478"/>
                    </a:lnTo>
                    <a:lnTo>
                      <a:pt x="237526" y="147770"/>
                    </a:lnTo>
                    <a:lnTo>
                      <a:pt x="238936" y="150062"/>
                    </a:lnTo>
                    <a:lnTo>
                      <a:pt x="238055" y="152090"/>
                    </a:lnTo>
                    <a:lnTo>
                      <a:pt x="238672" y="153589"/>
                    </a:lnTo>
                    <a:lnTo>
                      <a:pt x="238407" y="158527"/>
                    </a:lnTo>
                    <a:lnTo>
                      <a:pt x="238143" y="160555"/>
                    </a:lnTo>
                    <a:lnTo>
                      <a:pt x="236115" y="161172"/>
                    </a:lnTo>
                    <a:lnTo>
                      <a:pt x="235498" y="162318"/>
                    </a:lnTo>
                    <a:lnTo>
                      <a:pt x="236115" y="164698"/>
                    </a:lnTo>
                    <a:lnTo>
                      <a:pt x="235850" y="165580"/>
                    </a:lnTo>
                    <a:lnTo>
                      <a:pt x="236997" y="167343"/>
                    </a:lnTo>
                    <a:lnTo>
                      <a:pt x="235850" y="170253"/>
                    </a:lnTo>
                    <a:lnTo>
                      <a:pt x="235233" y="172546"/>
                    </a:lnTo>
                    <a:lnTo>
                      <a:pt x="236379" y="172546"/>
                    </a:lnTo>
                    <a:lnTo>
                      <a:pt x="237261" y="170782"/>
                    </a:lnTo>
                    <a:lnTo>
                      <a:pt x="238672" y="169636"/>
                    </a:lnTo>
                    <a:lnTo>
                      <a:pt x="241846" y="168225"/>
                    </a:lnTo>
                    <a:lnTo>
                      <a:pt x="243609" y="167343"/>
                    </a:lnTo>
                    <a:lnTo>
                      <a:pt x="245637" y="167343"/>
                    </a:lnTo>
                    <a:lnTo>
                      <a:pt x="247400" y="168225"/>
                    </a:lnTo>
                    <a:lnTo>
                      <a:pt x="248899" y="168225"/>
                    </a:lnTo>
                    <a:lnTo>
                      <a:pt x="250663" y="167343"/>
                    </a:lnTo>
                    <a:lnTo>
                      <a:pt x="252426" y="168225"/>
                    </a:lnTo>
                    <a:lnTo>
                      <a:pt x="255071" y="168225"/>
                    </a:lnTo>
                    <a:lnTo>
                      <a:pt x="256482" y="167608"/>
                    </a:lnTo>
                    <a:lnTo>
                      <a:pt x="258510" y="167608"/>
                    </a:lnTo>
                    <a:lnTo>
                      <a:pt x="261419" y="165580"/>
                    </a:lnTo>
                    <a:lnTo>
                      <a:pt x="263712" y="165051"/>
                    </a:lnTo>
                    <a:lnTo>
                      <a:pt x="268032" y="166197"/>
                    </a:lnTo>
                    <a:lnTo>
                      <a:pt x="270060" y="165845"/>
                    </a:lnTo>
                    <a:lnTo>
                      <a:pt x="271823" y="167608"/>
                    </a:lnTo>
                    <a:lnTo>
                      <a:pt x="272705" y="166109"/>
                    </a:lnTo>
                    <a:lnTo>
                      <a:pt x="272705" y="164963"/>
                    </a:lnTo>
                    <a:lnTo>
                      <a:pt x="274204" y="164434"/>
                    </a:lnTo>
                    <a:lnTo>
                      <a:pt x="276232" y="167873"/>
                    </a:lnTo>
                    <a:lnTo>
                      <a:pt x="275967" y="171399"/>
                    </a:lnTo>
                    <a:lnTo>
                      <a:pt x="276849" y="175543"/>
                    </a:lnTo>
                    <a:lnTo>
                      <a:pt x="275702" y="176690"/>
                    </a:lnTo>
                    <a:lnTo>
                      <a:pt x="275702" y="179070"/>
                    </a:lnTo>
                    <a:lnTo>
                      <a:pt x="273939" y="182597"/>
                    </a:lnTo>
                    <a:lnTo>
                      <a:pt x="275350" y="186388"/>
                    </a:lnTo>
                    <a:lnTo>
                      <a:pt x="274204" y="187534"/>
                    </a:lnTo>
                    <a:lnTo>
                      <a:pt x="273939" y="195734"/>
                    </a:lnTo>
                    <a:lnTo>
                      <a:pt x="275085" y="197497"/>
                    </a:lnTo>
                    <a:lnTo>
                      <a:pt x="275702" y="200142"/>
                    </a:lnTo>
                    <a:lnTo>
                      <a:pt x="273057" y="204198"/>
                    </a:lnTo>
                    <a:lnTo>
                      <a:pt x="271559" y="210370"/>
                    </a:lnTo>
                    <a:lnTo>
                      <a:pt x="274468" y="215660"/>
                    </a:lnTo>
                    <a:lnTo>
                      <a:pt x="230120" y="215660"/>
                    </a:lnTo>
                    <a:lnTo>
                      <a:pt x="228356" y="294659"/>
                    </a:lnTo>
                    <a:lnTo>
                      <a:pt x="230120" y="297568"/>
                    </a:lnTo>
                    <a:lnTo>
                      <a:pt x="231266" y="298715"/>
                    </a:lnTo>
                    <a:lnTo>
                      <a:pt x="231266" y="302770"/>
                    </a:lnTo>
                    <a:lnTo>
                      <a:pt x="233911" y="305063"/>
                    </a:lnTo>
                    <a:lnTo>
                      <a:pt x="234792" y="305944"/>
                    </a:lnTo>
                    <a:lnTo>
                      <a:pt x="238319" y="309471"/>
                    </a:lnTo>
                    <a:lnTo>
                      <a:pt x="243609" y="316172"/>
                    </a:lnTo>
                    <a:lnTo>
                      <a:pt x="250927" y="323137"/>
                    </a:lnTo>
                    <a:lnTo>
                      <a:pt x="253572" y="327545"/>
                    </a:lnTo>
                    <a:lnTo>
                      <a:pt x="259656" y="331337"/>
                    </a:lnTo>
                    <a:lnTo>
                      <a:pt x="213544" y="340595"/>
                    </a:lnTo>
                    <a:lnTo>
                      <a:pt x="210634" y="339448"/>
                    </a:lnTo>
                    <a:lnTo>
                      <a:pt x="209488" y="338567"/>
                    </a:lnTo>
                    <a:lnTo>
                      <a:pt x="205432" y="339184"/>
                    </a:lnTo>
                    <a:lnTo>
                      <a:pt x="203405" y="340330"/>
                    </a:lnTo>
                    <a:lnTo>
                      <a:pt x="201377" y="340947"/>
                    </a:lnTo>
                    <a:lnTo>
                      <a:pt x="200230" y="340595"/>
                    </a:lnTo>
                    <a:lnTo>
                      <a:pt x="199966" y="340066"/>
                    </a:lnTo>
                    <a:lnTo>
                      <a:pt x="199349" y="340595"/>
                    </a:lnTo>
                    <a:lnTo>
                      <a:pt x="197585" y="339713"/>
                    </a:lnTo>
                    <a:lnTo>
                      <a:pt x="196086" y="339448"/>
                    </a:lnTo>
                    <a:lnTo>
                      <a:pt x="195205" y="339713"/>
                    </a:lnTo>
                    <a:lnTo>
                      <a:pt x="193177" y="337949"/>
                    </a:lnTo>
                    <a:lnTo>
                      <a:pt x="190268" y="337068"/>
                    </a:lnTo>
                    <a:lnTo>
                      <a:pt x="188857" y="337068"/>
                    </a:lnTo>
                    <a:lnTo>
                      <a:pt x="187358" y="337068"/>
                    </a:lnTo>
                    <a:lnTo>
                      <a:pt x="186476" y="338214"/>
                    </a:lnTo>
                    <a:lnTo>
                      <a:pt x="185859" y="337332"/>
                    </a:lnTo>
                    <a:lnTo>
                      <a:pt x="182949" y="336980"/>
                    </a:lnTo>
                    <a:lnTo>
                      <a:pt x="181803" y="336715"/>
                    </a:lnTo>
                    <a:lnTo>
                      <a:pt x="180304" y="336980"/>
                    </a:lnTo>
                    <a:lnTo>
                      <a:pt x="178541" y="336980"/>
                    </a:lnTo>
                    <a:lnTo>
                      <a:pt x="178276" y="337332"/>
                    </a:lnTo>
                    <a:lnTo>
                      <a:pt x="178012" y="336980"/>
                    </a:lnTo>
                    <a:lnTo>
                      <a:pt x="177130" y="336980"/>
                    </a:lnTo>
                    <a:lnTo>
                      <a:pt x="176866" y="336362"/>
                    </a:lnTo>
                    <a:lnTo>
                      <a:pt x="173956" y="336627"/>
                    </a:lnTo>
                    <a:lnTo>
                      <a:pt x="169283" y="336362"/>
                    </a:lnTo>
                    <a:lnTo>
                      <a:pt x="169283" y="335833"/>
                    </a:lnTo>
                    <a:lnTo>
                      <a:pt x="166903" y="335833"/>
                    </a:lnTo>
                    <a:lnTo>
                      <a:pt x="166903" y="335216"/>
                    </a:lnTo>
                    <a:lnTo>
                      <a:pt x="166021" y="335216"/>
                    </a:lnTo>
                    <a:lnTo>
                      <a:pt x="165139" y="335216"/>
                    </a:lnTo>
                    <a:lnTo>
                      <a:pt x="164522" y="336715"/>
                    </a:lnTo>
                    <a:lnTo>
                      <a:pt x="160996" y="335833"/>
                    </a:lnTo>
                    <a:lnTo>
                      <a:pt x="156940" y="334070"/>
                    </a:lnTo>
                    <a:lnTo>
                      <a:pt x="154912" y="331778"/>
                    </a:lnTo>
                    <a:lnTo>
                      <a:pt x="154030" y="331249"/>
                    </a:lnTo>
                    <a:lnTo>
                      <a:pt x="152884" y="329750"/>
                    </a:lnTo>
                    <a:lnTo>
                      <a:pt x="152355" y="329397"/>
                    </a:lnTo>
                    <a:lnTo>
                      <a:pt x="151738" y="328515"/>
                    </a:lnTo>
                    <a:lnTo>
                      <a:pt x="150592" y="326223"/>
                    </a:lnTo>
                    <a:lnTo>
                      <a:pt x="149710" y="324195"/>
                    </a:lnTo>
                    <a:lnTo>
                      <a:pt x="97514" y="324460"/>
                    </a:lnTo>
                    <a:lnTo>
                      <a:pt x="58456" y="324460"/>
                    </a:lnTo>
                    <a:lnTo>
                      <a:pt x="56957" y="325959"/>
                    </a:lnTo>
                    <a:lnTo>
                      <a:pt x="53430" y="325959"/>
                    </a:lnTo>
                    <a:lnTo>
                      <a:pt x="51667" y="325077"/>
                    </a:lnTo>
                    <a:lnTo>
                      <a:pt x="50344" y="32296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3" name="Freihandform: Form 1822">
                <a:extLst>
                  <a:ext uri="{FF2B5EF4-FFF2-40B4-BE49-F238E27FC236}">
                    <a16:creationId xmlns:a16="http://schemas.microsoft.com/office/drawing/2014/main" id="{D5440118-3BFC-2740-D6CD-CA988F3BAD09}"/>
                  </a:ext>
                </a:extLst>
              </p:cNvPr>
              <p:cNvSpPr/>
              <p:nvPr/>
            </p:nvSpPr>
            <p:spPr>
              <a:xfrm>
                <a:off x="4225634" y="3220217"/>
                <a:ext cx="86581" cy="175807"/>
              </a:xfrm>
              <a:custGeom>
                <a:avLst/>
                <a:gdLst>
                  <a:gd name="connsiteX0" fmla="*/ 21866 w 86581"/>
                  <a:gd name="connsiteY0" fmla="*/ 9875 h 175807"/>
                  <a:gd name="connsiteX1" fmla="*/ 22747 w 86581"/>
                  <a:gd name="connsiteY1" fmla="*/ 9258 h 175807"/>
                  <a:gd name="connsiteX2" fmla="*/ 24158 w 86581"/>
                  <a:gd name="connsiteY2" fmla="*/ 8993 h 175807"/>
                  <a:gd name="connsiteX3" fmla="*/ 24775 w 86581"/>
                  <a:gd name="connsiteY3" fmla="*/ 9610 h 175807"/>
                  <a:gd name="connsiteX4" fmla="*/ 25657 w 86581"/>
                  <a:gd name="connsiteY4" fmla="*/ 9258 h 175807"/>
                  <a:gd name="connsiteX5" fmla="*/ 25921 w 86581"/>
                  <a:gd name="connsiteY5" fmla="*/ 8729 h 175807"/>
                  <a:gd name="connsiteX6" fmla="*/ 25921 w 86581"/>
                  <a:gd name="connsiteY6" fmla="*/ 7847 h 175807"/>
                  <a:gd name="connsiteX7" fmla="*/ 27949 w 86581"/>
                  <a:gd name="connsiteY7" fmla="*/ 6084 h 175807"/>
                  <a:gd name="connsiteX8" fmla="*/ 28302 w 86581"/>
                  <a:gd name="connsiteY8" fmla="*/ 4937 h 175807"/>
                  <a:gd name="connsiteX9" fmla="*/ 29713 w 86581"/>
                  <a:gd name="connsiteY9" fmla="*/ 4320 h 175807"/>
                  <a:gd name="connsiteX10" fmla="*/ 31211 w 86581"/>
                  <a:gd name="connsiteY10" fmla="*/ 4056 h 175807"/>
                  <a:gd name="connsiteX11" fmla="*/ 32005 w 86581"/>
                  <a:gd name="connsiteY11" fmla="*/ 3791 h 175807"/>
                  <a:gd name="connsiteX12" fmla="*/ 32358 w 86581"/>
                  <a:gd name="connsiteY12" fmla="*/ 2909 h 175807"/>
                  <a:gd name="connsiteX13" fmla="*/ 33239 w 86581"/>
                  <a:gd name="connsiteY13" fmla="*/ 2028 h 175807"/>
                  <a:gd name="connsiteX14" fmla="*/ 34121 w 86581"/>
                  <a:gd name="connsiteY14" fmla="*/ 1675 h 175807"/>
                  <a:gd name="connsiteX15" fmla="*/ 35532 w 86581"/>
                  <a:gd name="connsiteY15" fmla="*/ 2028 h 175807"/>
                  <a:gd name="connsiteX16" fmla="*/ 36766 w 86581"/>
                  <a:gd name="connsiteY16" fmla="*/ 1675 h 175807"/>
                  <a:gd name="connsiteX17" fmla="*/ 37560 w 86581"/>
                  <a:gd name="connsiteY17" fmla="*/ 1146 h 175807"/>
                  <a:gd name="connsiteX18" fmla="*/ 37912 w 86581"/>
                  <a:gd name="connsiteY18" fmla="*/ 1146 h 175807"/>
                  <a:gd name="connsiteX19" fmla="*/ 39323 w 86581"/>
                  <a:gd name="connsiteY19" fmla="*/ 529 h 175807"/>
                  <a:gd name="connsiteX20" fmla="*/ 40822 w 86581"/>
                  <a:gd name="connsiteY20" fmla="*/ 529 h 175807"/>
                  <a:gd name="connsiteX21" fmla="*/ 41351 w 86581"/>
                  <a:gd name="connsiteY21" fmla="*/ 264 h 175807"/>
                  <a:gd name="connsiteX22" fmla="*/ 41968 w 86581"/>
                  <a:gd name="connsiteY22" fmla="*/ 264 h 175807"/>
                  <a:gd name="connsiteX23" fmla="*/ 42850 w 86581"/>
                  <a:gd name="connsiteY23" fmla="*/ 264 h 175807"/>
                  <a:gd name="connsiteX24" fmla="*/ 43731 w 86581"/>
                  <a:gd name="connsiteY24" fmla="*/ 264 h 175807"/>
                  <a:gd name="connsiteX25" fmla="*/ 45495 w 86581"/>
                  <a:gd name="connsiteY25" fmla="*/ 0 h 175807"/>
                  <a:gd name="connsiteX26" fmla="*/ 46024 w 86581"/>
                  <a:gd name="connsiteY26" fmla="*/ 264 h 175807"/>
                  <a:gd name="connsiteX27" fmla="*/ 46376 w 86581"/>
                  <a:gd name="connsiteY27" fmla="*/ 882 h 175807"/>
                  <a:gd name="connsiteX28" fmla="*/ 45759 w 86581"/>
                  <a:gd name="connsiteY28" fmla="*/ 1411 h 175807"/>
                  <a:gd name="connsiteX29" fmla="*/ 44878 w 86581"/>
                  <a:gd name="connsiteY29" fmla="*/ 2028 h 175807"/>
                  <a:gd name="connsiteX30" fmla="*/ 44613 w 86581"/>
                  <a:gd name="connsiteY30" fmla="*/ 2909 h 175807"/>
                  <a:gd name="connsiteX31" fmla="*/ 44878 w 86581"/>
                  <a:gd name="connsiteY31" fmla="*/ 3791 h 175807"/>
                  <a:gd name="connsiteX32" fmla="*/ 45495 w 86581"/>
                  <a:gd name="connsiteY32" fmla="*/ 4320 h 175807"/>
                  <a:gd name="connsiteX33" fmla="*/ 46376 w 86581"/>
                  <a:gd name="connsiteY33" fmla="*/ 4937 h 175807"/>
                  <a:gd name="connsiteX34" fmla="*/ 46641 w 86581"/>
                  <a:gd name="connsiteY34" fmla="*/ 4937 h 175807"/>
                  <a:gd name="connsiteX35" fmla="*/ 47258 w 86581"/>
                  <a:gd name="connsiteY35" fmla="*/ 4320 h 175807"/>
                  <a:gd name="connsiteX36" fmla="*/ 47787 w 86581"/>
                  <a:gd name="connsiteY36" fmla="*/ 3791 h 175807"/>
                  <a:gd name="connsiteX37" fmla="*/ 47787 w 86581"/>
                  <a:gd name="connsiteY37" fmla="*/ 2909 h 175807"/>
                  <a:gd name="connsiteX38" fmla="*/ 47787 w 86581"/>
                  <a:gd name="connsiteY38" fmla="*/ 2557 h 175807"/>
                  <a:gd name="connsiteX39" fmla="*/ 46024 w 86581"/>
                  <a:gd name="connsiteY39" fmla="*/ 3439 h 175807"/>
                  <a:gd name="connsiteX40" fmla="*/ 46376 w 86581"/>
                  <a:gd name="connsiteY40" fmla="*/ 3174 h 175807"/>
                  <a:gd name="connsiteX41" fmla="*/ 46024 w 86581"/>
                  <a:gd name="connsiteY41" fmla="*/ 2909 h 175807"/>
                  <a:gd name="connsiteX42" fmla="*/ 46024 w 86581"/>
                  <a:gd name="connsiteY42" fmla="*/ 2292 h 175807"/>
                  <a:gd name="connsiteX43" fmla="*/ 46641 w 86581"/>
                  <a:gd name="connsiteY43" fmla="*/ 1675 h 175807"/>
                  <a:gd name="connsiteX44" fmla="*/ 47258 w 86581"/>
                  <a:gd name="connsiteY44" fmla="*/ 2028 h 175807"/>
                  <a:gd name="connsiteX45" fmla="*/ 49286 w 86581"/>
                  <a:gd name="connsiteY45" fmla="*/ 2028 h 175807"/>
                  <a:gd name="connsiteX46" fmla="*/ 49815 w 86581"/>
                  <a:gd name="connsiteY46" fmla="*/ 1146 h 175807"/>
                  <a:gd name="connsiteX47" fmla="*/ 50432 w 86581"/>
                  <a:gd name="connsiteY47" fmla="*/ 1146 h 175807"/>
                  <a:gd name="connsiteX48" fmla="*/ 50697 w 86581"/>
                  <a:gd name="connsiteY48" fmla="*/ 1411 h 175807"/>
                  <a:gd name="connsiteX49" fmla="*/ 51049 w 86581"/>
                  <a:gd name="connsiteY49" fmla="*/ 2028 h 175807"/>
                  <a:gd name="connsiteX50" fmla="*/ 51578 w 86581"/>
                  <a:gd name="connsiteY50" fmla="*/ 2028 h 175807"/>
                  <a:gd name="connsiteX51" fmla="*/ 51843 w 86581"/>
                  <a:gd name="connsiteY51" fmla="*/ 2028 h 175807"/>
                  <a:gd name="connsiteX52" fmla="*/ 52460 w 86581"/>
                  <a:gd name="connsiteY52" fmla="*/ 2292 h 175807"/>
                  <a:gd name="connsiteX53" fmla="*/ 52725 w 86581"/>
                  <a:gd name="connsiteY53" fmla="*/ 2909 h 175807"/>
                  <a:gd name="connsiteX54" fmla="*/ 53342 w 86581"/>
                  <a:gd name="connsiteY54" fmla="*/ 2909 h 175807"/>
                  <a:gd name="connsiteX55" fmla="*/ 53959 w 86581"/>
                  <a:gd name="connsiteY55" fmla="*/ 2909 h 175807"/>
                  <a:gd name="connsiteX56" fmla="*/ 54488 w 86581"/>
                  <a:gd name="connsiteY56" fmla="*/ 3174 h 175807"/>
                  <a:gd name="connsiteX57" fmla="*/ 54840 w 86581"/>
                  <a:gd name="connsiteY57" fmla="*/ 3791 h 175807"/>
                  <a:gd name="connsiteX58" fmla="*/ 54224 w 86581"/>
                  <a:gd name="connsiteY58" fmla="*/ 4056 h 175807"/>
                  <a:gd name="connsiteX59" fmla="*/ 53606 w 86581"/>
                  <a:gd name="connsiteY59" fmla="*/ 4056 h 175807"/>
                  <a:gd name="connsiteX60" fmla="*/ 53342 w 86581"/>
                  <a:gd name="connsiteY60" fmla="*/ 3791 h 175807"/>
                  <a:gd name="connsiteX61" fmla="*/ 52196 w 86581"/>
                  <a:gd name="connsiteY61" fmla="*/ 4056 h 175807"/>
                  <a:gd name="connsiteX62" fmla="*/ 51578 w 86581"/>
                  <a:gd name="connsiteY62" fmla="*/ 4320 h 175807"/>
                  <a:gd name="connsiteX63" fmla="*/ 52460 w 86581"/>
                  <a:gd name="connsiteY63" fmla="*/ 4585 h 175807"/>
                  <a:gd name="connsiteX64" fmla="*/ 53959 w 86581"/>
                  <a:gd name="connsiteY64" fmla="*/ 4937 h 175807"/>
                  <a:gd name="connsiteX65" fmla="*/ 54224 w 86581"/>
                  <a:gd name="connsiteY65" fmla="*/ 4937 h 175807"/>
                  <a:gd name="connsiteX66" fmla="*/ 54224 w 86581"/>
                  <a:gd name="connsiteY66" fmla="*/ 5202 h 175807"/>
                  <a:gd name="connsiteX67" fmla="*/ 53342 w 86581"/>
                  <a:gd name="connsiteY67" fmla="*/ 5202 h 175807"/>
                  <a:gd name="connsiteX68" fmla="*/ 52725 w 86581"/>
                  <a:gd name="connsiteY68" fmla="*/ 5819 h 175807"/>
                  <a:gd name="connsiteX69" fmla="*/ 52725 w 86581"/>
                  <a:gd name="connsiteY69" fmla="*/ 6348 h 175807"/>
                  <a:gd name="connsiteX70" fmla="*/ 52725 w 86581"/>
                  <a:gd name="connsiteY70" fmla="*/ 7582 h 175807"/>
                  <a:gd name="connsiteX71" fmla="*/ 53342 w 86581"/>
                  <a:gd name="connsiteY71" fmla="*/ 8376 h 175807"/>
                  <a:gd name="connsiteX72" fmla="*/ 55634 w 86581"/>
                  <a:gd name="connsiteY72" fmla="*/ 9875 h 175807"/>
                  <a:gd name="connsiteX73" fmla="*/ 56868 w 86581"/>
                  <a:gd name="connsiteY73" fmla="*/ 11021 h 175807"/>
                  <a:gd name="connsiteX74" fmla="*/ 56604 w 86581"/>
                  <a:gd name="connsiteY74" fmla="*/ 11638 h 175807"/>
                  <a:gd name="connsiteX75" fmla="*/ 55987 w 86581"/>
                  <a:gd name="connsiteY75" fmla="*/ 11638 h 175807"/>
                  <a:gd name="connsiteX76" fmla="*/ 55634 w 86581"/>
                  <a:gd name="connsiteY76" fmla="*/ 12520 h 175807"/>
                  <a:gd name="connsiteX77" fmla="*/ 55105 w 86581"/>
                  <a:gd name="connsiteY77" fmla="*/ 11903 h 175807"/>
                  <a:gd name="connsiteX78" fmla="*/ 54488 w 86581"/>
                  <a:gd name="connsiteY78" fmla="*/ 11374 h 175807"/>
                  <a:gd name="connsiteX79" fmla="*/ 53606 w 86581"/>
                  <a:gd name="connsiteY79" fmla="*/ 11638 h 175807"/>
                  <a:gd name="connsiteX80" fmla="*/ 52725 w 86581"/>
                  <a:gd name="connsiteY80" fmla="*/ 13401 h 175807"/>
                  <a:gd name="connsiteX81" fmla="*/ 54840 w 86581"/>
                  <a:gd name="connsiteY81" fmla="*/ 13401 h 175807"/>
                  <a:gd name="connsiteX82" fmla="*/ 55634 w 86581"/>
                  <a:gd name="connsiteY82" fmla="*/ 13049 h 175807"/>
                  <a:gd name="connsiteX83" fmla="*/ 55634 w 86581"/>
                  <a:gd name="connsiteY83" fmla="*/ 13401 h 175807"/>
                  <a:gd name="connsiteX84" fmla="*/ 56251 w 86581"/>
                  <a:gd name="connsiteY84" fmla="*/ 14548 h 175807"/>
                  <a:gd name="connsiteX85" fmla="*/ 58279 w 86581"/>
                  <a:gd name="connsiteY85" fmla="*/ 15165 h 175807"/>
                  <a:gd name="connsiteX86" fmla="*/ 59161 w 86581"/>
                  <a:gd name="connsiteY86" fmla="*/ 15165 h 175807"/>
                  <a:gd name="connsiteX87" fmla="*/ 60307 w 86581"/>
                  <a:gd name="connsiteY87" fmla="*/ 14283 h 175807"/>
                  <a:gd name="connsiteX88" fmla="*/ 60924 w 86581"/>
                  <a:gd name="connsiteY88" fmla="*/ 13401 h 175807"/>
                  <a:gd name="connsiteX89" fmla="*/ 61189 w 86581"/>
                  <a:gd name="connsiteY89" fmla="*/ 11638 h 175807"/>
                  <a:gd name="connsiteX90" fmla="*/ 62070 w 86581"/>
                  <a:gd name="connsiteY90" fmla="*/ 11021 h 175807"/>
                  <a:gd name="connsiteX91" fmla="*/ 64187 w 86581"/>
                  <a:gd name="connsiteY91" fmla="*/ 11021 h 175807"/>
                  <a:gd name="connsiteX92" fmla="*/ 67625 w 86581"/>
                  <a:gd name="connsiteY92" fmla="*/ 9258 h 175807"/>
                  <a:gd name="connsiteX93" fmla="*/ 67889 w 86581"/>
                  <a:gd name="connsiteY93" fmla="*/ 8111 h 175807"/>
                  <a:gd name="connsiteX94" fmla="*/ 67889 w 86581"/>
                  <a:gd name="connsiteY94" fmla="*/ 6701 h 175807"/>
                  <a:gd name="connsiteX95" fmla="*/ 68507 w 86581"/>
                  <a:gd name="connsiteY95" fmla="*/ 5819 h 175807"/>
                  <a:gd name="connsiteX96" fmla="*/ 70270 w 86581"/>
                  <a:gd name="connsiteY96" fmla="*/ 5555 h 175807"/>
                  <a:gd name="connsiteX97" fmla="*/ 70887 w 86581"/>
                  <a:gd name="connsiteY97" fmla="*/ 5819 h 175807"/>
                  <a:gd name="connsiteX98" fmla="*/ 71152 w 86581"/>
                  <a:gd name="connsiteY98" fmla="*/ 6701 h 175807"/>
                  <a:gd name="connsiteX99" fmla="*/ 70887 w 86581"/>
                  <a:gd name="connsiteY99" fmla="*/ 7847 h 175807"/>
                  <a:gd name="connsiteX100" fmla="*/ 72298 w 86581"/>
                  <a:gd name="connsiteY100" fmla="*/ 10139 h 175807"/>
                  <a:gd name="connsiteX101" fmla="*/ 72562 w 86581"/>
                  <a:gd name="connsiteY101" fmla="*/ 11374 h 175807"/>
                  <a:gd name="connsiteX102" fmla="*/ 70270 w 86581"/>
                  <a:gd name="connsiteY102" fmla="*/ 13049 h 175807"/>
                  <a:gd name="connsiteX103" fmla="*/ 69653 w 86581"/>
                  <a:gd name="connsiteY103" fmla="*/ 14548 h 175807"/>
                  <a:gd name="connsiteX104" fmla="*/ 68771 w 86581"/>
                  <a:gd name="connsiteY104" fmla="*/ 15694 h 175807"/>
                  <a:gd name="connsiteX105" fmla="*/ 68771 w 86581"/>
                  <a:gd name="connsiteY105" fmla="*/ 16840 h 175807"/>
                  <a:gd name="connsiteX106" fmla="*/ 69388 w 86581"/>
                  <a:gd name="connsiteY106" fmla="*/ 17457 h 175807"/>
                  <a:gd name="connsiteX107" fmla="*/ 70535 w 86581"/>
                  <a:gd name="connsiteY107" fmla="*/ 18074 h 175807"/>
                  <a:gd name="connsiteX108" fmla="*/ 71152 w 86581"/>
                  <a:gd name="connsiteY108" fmla="*/ 18074 h 175807"/>
                  <a:gd name="connsiteX109" fmla="*/ 71681 w 86581"/>
                  <a:gd name="connsiteY109" fmla="*/ 18956 h 175807"/>
                  <a:gd name="connsiteX110" fmla="*/ 71152 w 86581"/>
                  <a:gd name="connsiteY110" fmla="*/ 19750 h 175807"/>
                  <a:gd name="connsiteX111" fmla="*/ 70005 w 86581"/>
                  <a:gd name="connsiteY111" fmla="*/ 20631 h 175807"/>
                  <a:gd name="connsiteX112" fmla="*/ 67625 w 86581"/>
                  <a:gd name="connsiteY112" fmla="*/ 21248 h 175807"/>
                  <a:gd name="connsiteX113" fmla="*/ 66479 w 86581"/>
                  <a:gd name="connsiteY113" fmla="*/ 21248 h 175807"/>
                  <a:gd name="connsiteX114" fmla="*/ 64187 w 86581"/>
                  <a:gd name="connsiteY114" fmla="*/ 21866 h 175807"/>
                  <a:gd name="connsiteX115" fmla="*/ 61189 w 86581"/>
                  <a:gd name="connsiteY115" fmla="*/ 23894 h 175807"/>
                  <a:gd name="connsiteX116" fmla="*/ 60043 w 86581"/>
                  <a:gd name="connsiteY116" fmla="*/ 26186 h 175807"/>
                  <a:gd name="connsiteX117" fmla="*/ 59778 w 86581"/>
                  <a:gd name="connsiteY117" fmla="*/ 29713 h 175807"/>
                  <a:gd name="connsiteX118" fmla="*/ 59778 w 86581"/>
                  <a:gd name="connsiteY118" fmla="*/ 31212 h 175807"/>
                  <a:gd name="connsiteX119" fmla="*/ 60043 w 86581"/>
                  <a:gd name="connsiteY119" fmla="*/ 32005 h 175807"/>
                  <a:gd name="connsiteX120" fmla="*/ 60924 w 86581"/>
                  <a:gd name="connsiteY120" fmla="*/ 32358 h 175807"/>
                  <a:gd name="connsiteX121" fmla="*/ 61189 w 86581"/>
                  <a:gd name="connsiteY121" fmla="*/ 32622 h 175807"/>
                  <a:gd name="connsiteX122" fmla="*/ 61806 w 86581"/>
                  <a:gd name="connsiteY122" fmla="*/ 32358 h 175807"/>
                  <a:gd name="connsiteX123" fmla="*/ 61541 w 86581"/>
                  <a:gd name="connsiteY123" fmla="*/ 32887 h 175807"/>
                  <a:gd name="connsiteX124" fmla="*/ 61189 w 86581"/>
                  <a:gd name="connsiteY124" fmla="*/ 33239 h 175807"/>
                  <a:gd name="connsiteX125" fmla="*/ 61806 w 86581"/>
                  <a:gd name="connsiteY125" fmla="*/ 34650 h 175807"/>
                  <a:gd name="connsiteX126" fmla="*/ 62423 w 86581"/>
                  <a:gd name="connsiteY126" fmla="*/ 35003 h 175807"/>
                  <a:gd name="connsiteX127" fmla="*/ 62952 w 86581"/>
                  <a:gd name="connsiteY127" fmla="*/ 35532 h 175807"/>
                  <a:gd name="connsiteX128" fmla="*/ 63217 w 86581"/>
                  <a:gd name="connsiteY128" fmla="*/ 36678 h 175807"/>
                  <a:gd name="connsiteX129" fmla="*/ 63569 w 86581"/>
                  <a:gd name="connsiteY129" fmla="*/ 37295 h 175807"/>
                  <a:gd name="connsiteX130" fmla="*/ 64716 w 86581"/>
                  <a:gd name="connsiteY130" fmla="*/ 37912 h 175807"/>
                  <a:gd name="connsiteX131" fmla="*/ 64716 w 86581"/>
                  <a:gd name="connsiteY131" fmla="*/ 38177 h 175807"/>
                  <a:gd name="connsiteX132" fmla="*/ 65862 w 86581"/>
                  <a:gd name="connsiteY132" fmla="*/ 38441 h 175807"/>
                  <a:gd name="connsiteX133" fmla="*/ 66479 w 86581"/>
                  <a:gd name="connsiteY133" fmla="*/ 38441 h 175807"/>
                  <a:gd name="connsiteX134" fmla="*/ 67096 w 86581"/>
                  <a:gd name="connsiteY134" fmla="*/ 38706 h 175807"/>
                  <a:gd name="connsiteX135" fmla="*/ 67625 w 86581"/>
                  <a:gd name="connsiteY135" fmla="*/ 39588 h 175807"/>
                  <a:gd name="connsiteX136" fmla="*/ 67361 w 86581"/>
                  <a:gd name="connsiteY136" fmla="*/ 40205 h 175807"/>
                  <a:gd name="connsiteX137" fmla="*/ 67889 w 86581"/>
                  <a:gd name="connsiteY137" fmla="*/ 40469 h 175807"/>
                  <a:gd name="connsiteX138" fmla="*/ 69124 w 86581"/>
                  <a:gd name="connsiteY138" fmla="*/ 41086 h 175807"/>
                  <a:gd name="connsiteX139" fmla="*/ 71152 w 86581"/>
                  <a:gd name="connsiteY139" fmla="*/ 40822 h 175807"/>
                  <a:gd name="connsiteX140" fmla="*/ 72033 w 86581"/>
                  <a:gd name="connsiteY140" fmla="*/ 41968 h 175807"/>
                  <a:gd name="connsiteX141" fmla="*/ 72298 w 86581"/>
                  <a:gd name="connsiteY141" fmla="*/ 43114 h 175807"/>
                  <a:gd name="connsiteX142" fmla="*/ 72033 w 86581"/>
                  <a:gd name="connsiteY142" fmla="*/ 43996 h 175807"/>
                  <a:gd name="connsiteX143" fmla="*/ 72033 w 86581"/>
                  <a:gd name="connsiteY143" fmla="*/ 44260 h 175807"/>
                  <a:gd name="connsiteX144" fmla="*/ 72298 w 86581"/>
                  <a:gd name="connsiteY144" fmla="*/ 44878 h 175807"/>
                  <a:gd name="connsiteX145" fmla="*/ 72562 w 86581"/>
                  <a:gd name="connsiteY145" fmla="*/ 45495 h 175807"/>
                  <a:gd name="connsiteX146" fmla="*/ 74061 w 86581"/>
                  <a:gd name="connsiteY146" fmla="*/ 45495 h 175807"/>
                  <a:gd name="connsiteX147" fmla="*/ 74326 w 86581"/>
                  <a:gd name="connsiteY147" fmla="*/ 45759 h 175807"/>
                  <a:gd name="connsiteX148" fmla="*/ 74061 w 86581"/>
                  <a:gd name="connsiteY148" fmla="*/ 46377 h 175807"/>
                  <a:gd name="connsiteX149" fmla="*/ 72562 w 86581"/>
                  <a:gd name="connsiteY149" fmla="*/ 46906 h 175807"/>
                  <a:gd name="connsiteX150" fmla="*/ 72033 w 86581"/>
                  <a:gd name="connsiteY150" fmla="*/ 47523 h 175807"/>
                  <a:gd name="connsiteX151" fmla="*/ 71681 w 86581"/>
                  <a:gd name="connsiteY151" fmla="*/ 48052 h 175807"/>
                  <a:gd name="connsiteX152" fmla="*/ 72033 w 86581"/>
                  <a:gd name="connsiteY152" fmla="*/ 49286 h 175807"/>
                  <a:gd name="connsiteX153" fmla="*/ 72915 w 86581"/>
                  <a:gd name="connsiteY153" fmla="*/ 49815 h 175807"/>
                  <a:gd name="connsiteX154" fmla="*/ 72915 w 86581"/>
                  <a:gd name="connsiteY154" fmla="*/ 50432 h 175807"/>
                  <a:gd name="connsiteX155" fmla="*/ 74678 w 86581"/>
                  <a:gd name="connsiteY155" fmla="*/ 51314 h 175807"/>
                  <a:gd name="connsiteX156" fmla="*/ 74943 w 86581"/>
                  <a:gd name="connsiteY156" fmla="*/ 52196 h 175807"/>
                  <a:gd name="connsiteX157" fmla="*/ 74678 w 86581"/>
                  <a:gd name="connsiteY157" fmla="*/ 52196 h 175807"/>
                  <a:gd name="connsiteX158" fmla="*/ 74061 w 86581"/>
                  <a:gd name="connsiteY158" fmla="*/ 52196 h 175807"/>
                  <a:gd name="connsiteX159" fmla="*/ 72915 w 86581"/>
                  <a:gd name="connsiteY159" fmla="*/ 53606 h 175807"/>
                  <a:gd name="connsiteX160" fmla="*/ 72298 w 86581"/>
                  <a:gd name="connsiteY160" fmla="*/ 54224 h 175807"/>
                  <a:gd name="connsiteX161" fmla="*/ 72562 w 86581"/>
                  <a:gd name="connsiteY161" fmla="*/ 55634 h 175807"/>
                  <a:gd name="connsiteX162" fmla="*/ 72298 w 86581"/>
                  <a:gd name="connsiteY162" fmla="*/ 56869 h 175807"/>
                  <a:gd name="connsiteX163" fmla="*/ 70887 w 86581"/>
                  <a:gd name="connsiteY163" fmla="*/ 57398 h 175807"/>
                  <a:gd name="connsiteX164" fmla="*/ 70270 w 86581"/>
                  <a:gd name="connsiteY164" fmla="*/ 58279 h 175807"/>
                  <a:gd name="connsiteX165" fmla="*/ 70005 w 86581"/>
                  <a:gd name="connsiteY165" fmla="*/ 60043 h 175807"/>
                  <a:gd name="connsiteX166" fmla="*/ 70005 w 86581"/>
                  <a:gd name="connsiteY166" fmla="*/ 61189 h 175807"/>
                  <a:gd name="connsiteX167" fmla="*/ 69388 w 86581"/>
                  <a:gd name="connsiteY167" fmla="*/ 62070 h 175807"/>
                  <a:gd name="connsiteX168" fmla="*/ 69653 w 86581"/>
                  <a:gd name="connsiteY168" fmla="*/ 62423 h 175807"/>
                  <a:gd name="connsiteX169" fmla="*/ 70005 w 86581"/>
                  <a:gd name="connsiteY169" fmla="*/ 62952 h 175807"/>
                  <a:gd name="connsiteX170" fmla="*/ 69388 w 86581"/>
                  <a:gd name="connsiteY170" fmla="*/ 63834 h 175807"/>
                  <a:gd name="connsiteX171" fmla="*/ 67889 w 86581"/>
                  <a:gd name="connsiteY171" fmla="*/ 63569 h 175807"/>
                  <a:gd name="connsiteX172" fmla="*/ 67361 w 86581"/>
                  <a:gd name="connsiteY172" fmla="*/ 63569 h 175807"/>
                  <a:gd name="connsiteX173" fmla="*/ 66743 w 86581"/>
                  <a:gd name="connsiteY173" fmla="*/ 65333 h 175807"/>
                  <a:gd name="connsiteX174" fmla="*/ 66743 w 86581"/>
                  <a:gd name="connsiteY174" fmla="*/ 66126 h 175807"/>
                  <a:gd name="connsiteX175" fmla="*/ 65597 w 86581"/>
                  <a:gd name="connsiteY175" fmla="*/ 66479 h 175807"/>
                  <a:gd name="connsiteX176" fmla="*/ 64451 w 86581"/>
                  <a:gd name="connsiteY176" fmla="*/ 66743 h 175807"/>
                  <a:gd name="connsiteX177" fmla="*/ 63569 w 86581"/>
                  <a:gd name="connsiteY177" fmla="*/ 69124 h 175807"/>
                  <a:gd name="connsiteX178" fmla="*/ 60924 w 86581"/>
                  <a:gd name="connsiteY178" fmla="*/ 70270 h 175807"/>
                  <a:gd name="connsiteX179" fmla="*/ 58896 w 86581"/>
                  <a:gd name="connsiteY179" fmla="*/ 72034 h 175807"/>
                  <a:gd name="connsiteX180" fmla="*/ 58632 w 86581"/>
                  <a:gd name="connsiteY180" fmla="*/ 72915 h 175807"/>
                  <a:gd name="connsiteX181" fmla="*/ 58632 w 86581"/>
                  <a:gd name="connsiteY181" fmla="*/ 73180 h 175807"/>
                  <a:gd name="connsiteX182" fmla="*/ 58632 w 86581"/>
                  <a:gd name="connsiteY182" fmla="*/ 73444 h 175807"/>
                  <a:gd name="connsiteX183" fmla="*/ 58279 w 86581"/>
                  <a:gd name="connsiteY183" fmla="*/ 73180 h 175807"/>
                  <a:gd name="connsiteX184" fmla="*/ 58015 w 86581"/>
                  <a:gd name="connsiteY184" fmla="*/ 72563 h 175807"/>
                  <a:gd name="connsiteX185" fmla="*/ 57750 w 86581"/>
                  <a:gd name="connsiteY185" fmla="*/ 72563 h 175807"/>
                  <a:gd name="connsiteX186" fmla="*/ 57397 w 86581"/>
                  <a:gd name="connsiteY186" fmla="*/ 73444 h 175807"/>
                  <a:gd name="connsiteX187" fmla="*/ 54840 w 86581"/>
                  <a:gd name="connsiteY187" fmla="*/ 73797 h 175807"/>
                  <a:gd name="connsiteX188" fmla="*/ 54224 w 86581"/>
                  <a:gd name="connsiteY188" fmla="*/ 74326 h 175807"/>
                  <a:gd name="connsiteX189" fmla="*/ 53342 w 86581"/>
                  <a:gd name="connsiteY189" fmla="*/ 75472 h 175807"/>
                  <a:gd name="connsiteX190" fmla="*/ 53342 w 86581"/>
                  <a:gd name="connsiteY190" fmla="*/ 77235 h 175807"/>
                  <a:gd name="connsiteX191" fmla="*/ 52460 w 86581"/>
                  <a:gd name="connsiteY191" fmla="*/ 77588 h 175807"/>
                  <a:gd name="connsiteX192" fmla="*/ 52196 w 86581"/>
                  <a:gd name="connsiteY192" fmla="*/ 78382 h 175807"/>
                  <a:gd name="connsiteX193" fmla="*/ 51843 w 86581"/>
                  <a:gd name="connsiteY193" fmla="*/ 79263 h 175807"/>
                  <a:gd name="connsiteX194" fmla="*/ 52725 w 86581"/>
                  <a:gd name="connsiteY194" fmla="*/ 81027 h 175807"/>
                  <a:gd name="connsiteX195" fmla="*/ 53077 w 86581"/>
                  <a:gd name="connsiteY195" fmla="*/ 82526 h 175807"/>
                  <a:gd name="connsiteX196" fmla="*/ 53959 w 86581"/>
                  <a:gd name="connsiteY196" fmla="*/ 83936 h 175807"/>
                  <a:gd name="connsiteX197" fmla="*/ 54488 w 86581"/>
                  <a:gd name="connsiteY197" fmla="*/ 84289 h 175807"/>
                  <a:gd name="connsiteX198" fmla="*/ 54840 w 86581"/>
                  <a:gd name="connsiteY198" fmla="*/ 84553 h 175807"/>
                  <a:gd name="connsiteX199" fmla="*/ 54488 w 86581"/>
                  <a:gd name="connsiteY199" fmla="*/ 85171 h 175807"/>
                  <a:gd name="connsiteX200" fmla="*/ 55634 w 86581"/>
                  <a:gd name="connsiteY200" fmla="*/ 85171 h 175807"/>
                  <a:gd name="connsiteX201" fmla="*/ 56251 w 86581"/>
                  <a:gd name="connsiteY201" fmla="*/ 86317 h 175807"/>
                  <a:gd name="connsiteX202" fmla="*/ 56604 w 86581"/>
                  <a:gd name="connsiteY202" fmla="*/ 87199 h 175807"/>
                  <a:gd name="connsiteX203" fmla="*/ 58015 w 86581"/>
                  <a:gd name="connsiteY203" fmla="*/ 87728 h 175807"/>
                  <a:gd name="connsiteX204" fmla="*/ 58279 w 86581"/>
                  <a:gd name="connsiteY204" fmla="*/ 89491 h 175807"/>
                  <a:gd name="connsiteX205" fmla="*/ 59161 w 86581"/>
                  <a:gd name="connsiteY205" fmla="*/ 88609 h 175807"/>
                  <a:gd name="connsiteX206" fmla="*/ 59778 w 86581"/>
                  <a:gd name="connsiteY206" fmla="*/ 90373 h 175807"/>
                  <a:gd name="connsiteX207" fmla="*/ 60043 w 86581"/>
                  <a:gd name="connsiteY207" fmla="*/ 90990 h 175807"/>
                  <a:gd name="connsiteX208" fmla="*/ 61541 w 86581"/>
                  <a:gd name="connsiteY208" fmla="*/ 91519 h 175807"/>
                  <a:gd name="connsiteX209" fmla="*/ 62423 w 86581"/>
                  <a:gd name="connsiteY209" fmla="*/ 90637 h 175807"/>
                  <a:gd name="connsiteX210" fmla="*/ 63834 w 86581"/>
                  <a:gd name="connsiteY210" fmla="*/ 90637 h 175807"/>
                  <a:gd name="connsiteX211" fmla="*/ 64187 w 86581"/>
                  <a:gd name="connsiteY211" fmla="*/ 91519 h 175807"/>
                  <a:gd name="connsiteX212" fmla="*/ 65597 w 86581"/>
                  <a:gd name="connsiteY212" fmla="*/ 91871 h 175807"/>
                  <a:gd name="connsiteX213" fmla="*/ 66479 w 86581"/>
                  <a:gd name="connsiteY213" fmla="*/ 92665 h 175807"/>
                  <a:gd name="connsiteX214" fmla="*/ 66479 w 86581"/>
                  <a:gd name="connsiteY214" fmla="*/ 91519 h 175807"/>
                  <a:gd name="connsiteX215" fmla="*/ 65597 w 86581"/>
                  <a:gd name="connsiteY215" fmla="*/ 90990 h 175807"/>
                  <a:gd name="connsiteX216" fmla="*/ 65333 w 86581"/>
                  <a:gd name="connsiteY216" fmla="*/ 89491 h 175807"/>
                  <a:gd name="connsiteX217" fmla="*/ 65597 w 86581"/>
                  <a:gd name="connsiteY217" fmla="*/ 88609 h 175807"/>
                  <a:gd name="connsiteX218" fmla="*/ 66479 w 86581"/>
                  <a:gd name="connsiteY218" fmla="*/ 86846 h 175807"/>
                  <a:gd name="connsiteX219" fmla="*/ 66214 w 86581"/>
                  <a:gd name="connsiteY219" fmla="*/ 85435 h 175807"/>
                  <a:gd name="connsiteX220" fmla="*/ 65333 w 86581"/>
                  <a:gd name="connsiteY220" fmla="*/ 84818 h 175807"/>
                  <a:gd name="connsiteX221" fmla="*/ 65333 w 86581"/>
                  <a:gd name="connsiteY221" fmla="*/ 83407 h 175807"/>
                  <a:gd name="connsiteX222" fmla="*/ 65862 w 86581"/>
                  <a:gd name="connsiteY222" fmla="*/ 83055 h 175807"/>
                  <a:gd name="connsiteX223" fmla="*/ 66214 w 86581"/>
                  <a:gd name="connsiteY223" fmla="*/ 82526 h 175807"/>
                  <a:gd name="connsiteX224" fmla="*/ 67625 w 86581"/>
                  <a:gd name="connsiteY224" fmla="*/ 82790 h 175807"/>
                  <a:gd name="connsiteX225" fmla="*/ 68507 w 86581"/>
                  <a:gd name="connsiteY225" fmla="*/ 83407 h 175807"/>
                  <a:gd name="connsiteX226" fmla="*/ 70535 w 86581"/>
                  <a:gd name="connsiteY226" fmla="*/ 82526 h 175807"/>
                  <a:gd name="connsiteX227" fmla="*/ 72033 w 86581"/>
                  <a:gd name="connsiteY227" fmla="*/ 83407 h 175807"/>
                  <a:gd name="connsiteX228" fmla="*/ 73180 w 86581"/>
                  <a:gd name="connsiteY228" fmla="*/ 83936 h 175807"/>
                  <a:gd name="connsiteX229" fmla="*/ 73180 w 86581"/>
                  <a:gd name="connsiteY229" fmla="*/ 84818 h 175807"/>
                  <a:gd name="connsiteX230" fmla="*/ 72562 w 86581"/>
                  <a:gd name="connsiteY230" fmla="*/ 86581 h 175807"/>
                  <a:gd name="connsiteX231" fmla="*/ 72033 w 86581"/>
                  <a:gd name="connsiteY231" fmla="*/ 88345 h 175807"/>
                  <a:gd name="connsiteX232" fmla="*/ 71416 w 86581"/>
                  <a:gd name="connsiteY232" fmla="*/ 88874 h 175807"/>
                  <a:gd name="connsiteX233" fmla="*/ 72298 w 86581"/>
                  <a:gd name="connsiteY233" fmla="*/ 90108 h 175807"/>
                  <a:gd name="connsiteX234" fmla="*/ 72298 w 86581"/>
                  <a:gd name="connsiteY234" fmla="*/ 90373 h 175807"/>
                  <a:gd name="connsiteX235" fmla="*/ 73180 w 86581"/>
                  <a:gd name="connsiteY235" fmla="*/ 91254 h 175807"/>
                  <a:gd name="connsiteX236" fmla="*/ 73444 w 86581"/>
                  <a:gd name="connsiteY236" fmla="*/ 91871 h 175807"/>
                  <a:gd name="connsiteX237" fmla="*/ 73444 w 86581"/>
                  <a:gd name="connsiteY237" fmla="*/ 92400 h 175807"/>
                  <a:gd name="connsiteX238" fmla="*/ 73797 w 86581"/>
                  <a:gd name="connsiteY238" fmla="*/ 93018 h 175807"/>
                  <a:gd name="connsiteX239" fmla="*/ 74943 w 86581"/>
                  <a:gd name="connsiteY239" fmla="*/ 93282 h 175807"/>
                  <a:gd name="connsiteX240" fmla="*/ 75472 w 86581"/>
                  <a:gd name="connsiteY240" fmla="*/ 94164 h 175807"/>
                  <a:gd name="connsiteX241" fmla="*/ 75825 w 86581"/>
                  <a:gd name="connsiteY241" fmla="*/ 95310 h 175807"/>
                  <a:gd name="connsiteX242" fmla="*/ 75472 w 86581"/>
                  <a:gd name="connsiteY242" fmla="*/ 96456 h 175807"/>
                  <a:gd name="connsiteX243" fmla="*/ 75208 w 86581"/>
                  <a:gd name="connsiteY243" fmla="*/ 97690 h 175807"/>
                  <a:gd name="connsiteX244" fmla="*/ 75472 w 86581"/>
                  <a:gd name="connsiteY244" fmla="*/ 98837 h 175807"/>
                  <a:gd name="connsiteX245" fmla="*/ 76354 w 86581"/>
                  <a:gd name="connsiteY245" fmla="*/ 98837 h 175807"/>
                  <a:gd name="connsiteX246" fmla="*/ 76971 w 86581"/>
                  <a:gd name="connsiteY246" fmla="*/ 99101 h 175807"/>
                  <a:gd name="connsiteX247" fmla="*/ 77588 w 86581"/>
                  <a:gd name="connsiteY247" fmla="*/ 99454 h 175807"/>
                  <a:gd name="connsiteX248" fmla="*/ 78470 w 86581"/>
                  <a:gd name="connsiteY248" fmla="*/ 100247 h 175807"/>
                  <a:gd name="connsiteX249" fmla="*/ 77588 w 86581"/>
                  <a:gd name="connsiteY249" fmla="*/ 100247 h 175807"/>
                  <a:gd name="connsiteX250" fmla="*/ 76354 w 86581"/>
                  <a:gd name="connsiteY250" fmla="*/ 99983 h 175807"/>
                  <a:gd name="connsiteX251" fmla="*/ 75825 w 86581"/>
                  <a:gd name="connsiteY251" fmla="*/ 100247 h 175807"/>
                  <a:gd name="connsiteX252" fmla="*/ 77235 w 86581"/>
                  <a:gd name="connsiteY252" fmla="*/ 101482 h 175807"/>
                  <a:gd name="connsiteX253" fmla="*/ 76971 w 86581"/>
                  <a:gd name="connsiteY253" fmla="*/ 101746 h 175807"/>
                  <a:gd name="connsiteX254" fmla="*/ 77235 w 86581"/>
                  <a:gd name="connsiteY254" fmla="*/ 102011 h 175807"/>
                  <a:gd name="connsiteX255" fmla="*/ 78470 w 86581"/>
                  <a:gd name="connsiteY255" fmla="*/ 102011 h 175807"/>
                  <a:gd name="connsiteX256" fmla="*/ 79881 w 86581"/>
                  <a:gd name="connsiteY256" fmla="*/ 102892 h 175807"/>
                  <a:gd name="connsiteX257" fmla="*/ 81026 w 86581"/>
                  <a:gd name="connsiteY257" fmla="*/ 103157 h 175807"/>
                  <a:gd name="connsiteX258" fmla="*/ 82261 w 86581"/>
                  <a:gd name="connsiteY258" fmla="*/ 103157 h 175807"/>
                  <a:gd name="connsiteX259" fmla="*/ 80145 w 86581"/>
                  <a:gd name="connsiteY259" fmla="*/ 99983 h 175807"/>
                  <a:gd name="connsiteX260" fmla="*/ 82790 w 86581"/>
                  <a:gd name="connsiteY260" fmla="*/ 101482 h 175807"/>
                  <a:gd name="connsiteX261" fmla="*/ 83054 w 86581"/>
                  <a:gd name="connsiteY261" fmla="*/ 102363 h 175807"/>
                  <a:gd name="connsiteX262" fmla="*/ 83054 w 86581"/>
                  <a:gd name="connsiteY262" fmla="*/ 102892 h 175807"/>
                  <a:gd name="connsiteX263" fmla="*/ 84289 w 86581"/>
                  <a:gd name="connsiteY263" fmla="*/ 103774 h 175807"/>
                  <a:gd name="connsiteX264" fmla="*/ 83407 w 86581"/>
                  <a:gd name="connsiteY264" fmla="*/ 109946 h 175807"/>
                  <a:gd name="connsiteX265" fmla="*/ 83672 w 86581"/>
                  <a:gd name="connsiteY265" fmla="*/ 111709 h 175807"/>
                  <a:gd name="connsiteX266" fmla="*/ 83672 w 86581"/>
                  <a:gd name="connsiteY266" fmla="*/ 116294 h 175807"/>
                  <a:gd name="connsiteX267" fmla="*/ 84818 w 86581"/>
                  <a:gd name="connsiteY267" fmla="*/ 118057 h 175807"/>
                  <a:gd name="connsiteX268" fmla="*/ 85435 w 86581"/>
                  <a:gd name="connsiteY268" fmla="*/ 118675 h 175807"/>
                  <a:gd name="connsiteX269" fmla="*/ 86317 w 86581"/>
                  <a:gd name="connsiteY269" fmla="*/ 119556 h 175807"/>
                  <a:gd name="connsiteX270" fmla="*/ 86581 w 86581"/>
                  <a:gd name="connsiteY270" fmla="*/ 120173 h 175807"/>
                  <a:gd name="connsiteX271" fmla="*/ 85435 w 86581"/>
                  <a:gd name="connsiteY271" fmla="*/ 121849 h 175807"/>
                  <a:gd name="connsiteX272" fmla="*/ 83407 w 86581"/>
                  <a:gd name="connsiteY272" fmla="*/ 123612 h 175807"/>
                  <a:gd name="connsiteX273" fmla="*/ 81908 w 86581"/>
                  <a:gd name="connsiteY273" fmla="*/ 125111 h 175807"/>
                  <a:gd name="connsiteX274" fmla="*/ 79616 w 86581"/>
                  <a:gd name="connsiteY274" fmla="*/ 126257 h 175807"/>
                  <a:gd name="connsiteX275" fmla="*/ 75208 w 86581"/>
                  <a:gd name="connsiteY275" fmla="*/ 127756 h 175807"/>
                  <a:gd name="connsiteX276" fmla="*/ 72033 w 86581"/>
                  <a:gd name="connsiteY276" fmla="*/ 128902 h 175807"/>
                  <a:gd name="connsiteX277" fmla="*/ 70270 w 86581"/>
                  <a:gd name="connsiteY277" fmla="*/ 132076 h 175807"/>
                  <a:gd name="connsiteX278" fmla="*/ 69653 w 86581"/>
                  <a:gd name="connsiteY278" fmla="*/ 131812 h 175807"/>
                  <a:gd name="connsiteX279" fmla="*/ 69124 w 86581"/>
                  <a:gd name="connsiteY279" fmla="*/ 132076 h 175807"/>
                  <a:gd name="connsiteX280" fmla="*/ 68771 w 86581"/>
                  <a:gd name="connsiteY280" fmla="*/ 133575 h 175807"/>
                  <a:gd name="connsiteX281" fmla="*/ 68242 w 86581"/>
                  <a:gd name="connsiteY281" fmla="*/ 133840 h 175807"/>
                  <a:gd name="connsiteX282" fmla="*/ 67625 w 86581"/>
                  <a:gd name="connsiteY282" fmla="*/ 133222 h 175807"/>
                  <a:gd name="connsiteX283" fmla="*/ 67361 w 86581"/>
                  <a:gd name="connsiteY283" fmla="*/ 131812 h 175807"/>
                  <a:gd name="connsiteX284" fmla="*/ 66743 w 86581"/>
                  <a:gd name="connsiteY284" fmla="*/ 132341 h 175807"/>
                  <a:gd name="connsiteX285" fmla="*/ 66479 w 86581"/>
                  <a:gd name="connsiteY285" fmla="*/ 133222 h 175807"/>
                  <a:gd name="connsiteX286" fmla="*/ 66479 w 86581"/>
                  <a:gd name="connsiteY286" fmla="*/ 134721 h 175807"/>
                  <a:gd name="connsiteX287" fmla="*/ 66743 w 86581"/>
                  <a:gd name="connsiteY287" fmla="*/ 135867 h 175807"/>
                  <a:gd name="connsiteX288" fmla="*/ 66214 w 86581"/>
                  <a:gd name="connsiteY288" fmla="*/ 136749 h 175807"/>
                  <a:gd name="connsiteX289" fmla="*/ 64980 w 86581"/>
                  <a:gd name="connsiteY289" fmla="*/ 137895 h 175807"/>
                  <a:gd name="connsiteX290" fmla="*/ 63834 w 86581"/>
                  <a:gd name="connsiteY290" fmla="*/ 139041 h 175807"/>
                  <a:gd name="connsiteX291" fmla="*/ 63217 w 86581"/>
                  <a:gd name="connsiteY291" fmla="*/ 140276 h 175807"/>
                  <a:gd name="connsiteX292" fmla="*/ 62070 w 86581"/>
                  <a:gd name="connsiteY292" fmla="*/ 140805 h 175807"/>
                  <a:gd name="connsiteX293" fmla="*/ 60660 w 86581"/>
                  <a:gd name="connsiteY293" fmla="*/ 140805 h 175807"/>
                  <a:gd name="connsiteX294" fmla="*/ 60043 w 86581"/>
                  <a:gd name="connsiteY294" fmla="*/ 142039 h 175807"/>
                  <a:gd name="connsiteX295" fmla="*/ 60043 w 86581"/>
                  <a:gd name="connsiteY295" fmla="*/ 143450 h 175807"/>
                  <a:gd name="connsiteX296" fmla="*/ 59161 w 86581"/>
                  <a:gd name="connsiteY296" fmla="*/ 144332 h 175807"/>
                  <a:gd name="connsiteX297" fmla="*/ 57750 w 86581"/>
                  <a:gd name="connsiteY297" fmla="*/ 145213 h 175807"/>
                  <a:gd name="connsiteX298" fmla="*/ 57397 w 86581"/>
                  <a:gd name="connsiteY298" fmla="*/ 147594 h 175807"/>
                  <a:gd name="connsiteX299" fmla="*/ 60043 w 86581"/>
                  <a:gd name="connsiteY299" fmla="*/ 155970 h 175807"/>
                  <a:gd name="connsiteX300" fmla="*/ 59514 w 86581"/>
                  <a:gd name="connsiteY300" fmla="*/ 157204 h 175807"/>
                  <a:gd name="connsiteX301" fmla="*/ 60660 w 86581"/>
                  <a:gd name="connsiteY301" fmla="*/ 159497 h 175807"/>
                  <a:gd name="connsiteX302" fmla="*/ 59161 w 86581"/>
                  <a:gd name="connsiteY302" fmla="*/ 164169 h 175807"/>
                  <a:gd name="connsiteX303" fmla="*/ 58015 w 86581"/>
                  <a:gd name="connsiteY303" fmla="*/ 165316 h 175807"/>
                  <a:gd name="connsiteX304" fmla="*/ 55987 w 86581"/>
                  <a:gd name="connsiteY304" fmla="*/ 168578 h 175807"/>
                  <a:gd name="connsiteX305" fmla="*/ 52460 w 86581"/>
                  <a:gd name="connsiteY305" fmla="*/ 173163 h 175807"/>
                  <a:gd name="connsiteX306" fmla="*/ 49815 w 86581"/>
                  <a:gd name="connsiteY306" fmla="*/ 172016 h 175807"/>
                  <a:gd name="connsiteX307" fmla="*/ 49286 w 86581"/>
                  <a:gd name="connsiteY307" fmla="*/ 173515 h 175807"/>
                  <a:gd name="connsiteX308" fmla="*/ 45142 w 86581"/>
                  <a:gd name="connsiteY308" fmla="*/ 175808 h 175807"/>
                  <a:gd name="connsiteX309" fmla="*/ 38441 w 86581"/>
                  <a:gd name="connsiteY309" fmla="*/ 156587 h 175807"/>
                  <a:gd name="connsiteX310" fmla="*/ 35796 w 86581"/>
                  <a:gd name="connsiteY310" fmla="*/ 146624 h 175807"/>
                  <a:gd name="connsiteX311" fmla="*/ 34121 w 86581"/>
                  <a:gd name="connsiteY311" fmla="*/ 130665 h 175807"/>
                  <a:gd name="connsiteX312" fmla="*/ 27420 w 86581"/>
                  <a:gd name="connsiteY312" fmla="*/ 122466 h 175807"/>
                  <a:gd name="connsiteX313" fmla="*/ 18692 w 86581"/>
                  <a:gd name="connsiteY313" fmla="*/ 118675 h 175807"/>
                  <a:gd name="connsiteX314" fmla="*/ 17193 w 86581"/>
                  <a:gd name="connsiteY314" fmla="*/ 111709 h 175807"/>
                  <a:gd name="connsiteX315" fmla="*/ 11903 w 86581"/>
                  <a:gd name="connsiteY315" fmla="*/ 104391 h 175807"/>
                  <a:gd name="connsiteX316" fmla="*/ 11021 w 86581"/>
                  <a:gd name="connsiteY316" fmla="*/ 104391 h 175807"/>
                  <a:gd name="connsiteX317" fmla="*/ 8111 w 86581"/>
                  <a:gd name="connsiteY317" fmla="*/ 102892 h 175807"/>
                  <a:gd name="connsiteX318" fmla="*/ 6436 w 86581"/>
                  <a:gd name="connsiteY318" fmla="*/ 102363 h 175807"/>
                  <a:gd name="connsiteX319" fmla="*/ 5202 w 86581"/>
                  <a:gd name="connsiteY319" fmla="*/ 101482 h 175807"/>
                  <a:gd name="connsiteX320" fmla="*/ 3703 w 86581"/>
                  <a:gd name="connsiteY320" fmla="*/ 96456 h 175807"/>
                  <a:gd name="connsiteX321" fmla="*/ 881 w 86581"/>
                  <a:gd name="connsiteY321" fmla="*/ 88609 h 175807"/>
                  <a:gd name="connsiteX322" fmla="*/ 0 w 86581"/>
                  <a:gd name="connsiteY322" fmla="*/ 87463 h 175807"/>
                  <a:gd name="connsiteX323" fmla="*/ 0 w 86581"/>
                  <a:gd name="connsiteY323" fmla="*/ 85435 h 175807"/>
                  <a:gd name="connsiteX324" fmla="*/ 264 w 86581"/>
                  <a:gd name="connsiteY324" fmla="*/ 80410 h 175807"/>
                  <a:gd name="connsiteX325" fmla="*/ 2292 w 86581"/>
                  <a:gd name="connsiteY325" fmla="*/ 77235 h 175807"/>
                  <a:gd name="connsiteX326" fmla="*/ 5554 w 86581"/>
                  <a:gd name="connsiteY326" fmla="*/ 76089 h 175807"/>
                  <a:gd name="connsiteX327" fmla="*/ 6701 w 86581"/>
                  <a:gd name="connsiteY327" fmla="*/ 73444 h 175807"/>
                  <a:gd name="connsiteX328" fmla="*/ 7847 w 86581"/>
                  <a:gd name="connsiteY328" fmla="*/ 70799 h 175807"/>
                  <a:gd name="connsiteX329" fmla="*/ 12255 w 86581"/>
                  <a:gd name="connsiteY329" fmla="*/ 69124 h 175807"/>
                  <a:gd name="connsiteX330" fmla="*/ 13666 w 86581"/>
                  <a:gd name="connsiteY330" fmla="*/ 68242 h 175807"/>
                  <a:gd name="connsiteX331" fmla="*/ 13666 w 86581"/>
                  <a:gd name="connsiteY331" fmla="*/ 67008 h 175807"/>
                  <a:gd name="connsiteX332" fmla="*/ 14548 w 86581"/>
                  <a:gd name="connsiteY332" fmla="*/ 66126 h 175807"/>
                  <a:gd name="connsiteX333" fmla="*/ 13930 w 86581"/>
                  <a:gd name="connsiteY333" fmla="*/ 64980 h 175807"/>
                  <a:gd name="connsiteX334" fmla="*/ 15429 w 86581"/>
                  <a:gd name="connsiteY334" fmla="*/ 63217 h 175807"/>
                  <a:gd name="connsiteX335" fmla="*/ 15165 w 86581"/>
                  <a:gd name="connsiteY335" fmla="*/ 59161 h 175807"/>
                  <a:gd name="connsiteX336" fmla="*/ 16046 w 86581"/>
                  <a:gd name="connsiteY336" fmla="*/ 57133 h 175807"/>
                  <a:gd name="connsiteX337" fmla="*/ 16311 w 86581"/>
                  <a:gd name="connsiteY337" fmla="*/ 54488 h 175807"/>
                  <a:gd name="connsiteX338" fmla="*/ 17457 w 86581"/>
                  <a:gd name="connsiteY338" fmla="*/ 53342 h 175807"/>
                  <a:gd name="connsiteX339" fmla="*/ 17457 w 86581"/>
                  <a:gd name="connsiteY339" fmla="*/ 52460 h 175807"/>
                  <a:gd name="connsiteX340" fmla="*/ 18692 w 86581"/>
                  <a:gd name="connsiteY340" fmla="*/ 51843 h 175807"/>
                  <a:gd name="connsiteX341" fmla="*/ 18692 w 86581"/>
                  <a:gd name="connsiteY341" fmla="*/ 50697 h 175807"/>
                  <a:gd name="connsiteX342" fmla="*/ 16311 w 86581"/>
                  <a:gd name="connsiteY342" fmla="*/ 50432 h 175807"/>
                  <a:gd name="connsiteX343" fmla="*/ 16046 w 86581"/>
                  <a:gd name="connsiteY343" fmla="*/ 49286 h 175807"/>
                  <a:gd name="connsiteX344" fmla="*/ 15694 w 86581"/>
                  <a:gd name="connsiteY344" fmla="*/ 47258 h 175807"/>
                  <a:gd name="connsiteX345" fmla="*/ 17193 w 86581"/>
                  <a:gd name="connsiteY345" fmla="*/ 43996 h 175807"/>
                  <a:gd name="connsiteX346" fmla="*/ 16046 w 86581"/>
                  <a:gd name="connsiteY346" fmla="*/ 40822 h 175807"/>
                  <a:gd name="connsiteX347" fmla="*/ 14812 w 86581"/>
                  <a:gd name="connsiteY347" fmla="*/ 38706 h 175807"/>
                  <a:gd name="connsiteX348" fmla="*/ 14548 w 86581"/>
                  <a:gd name="connsiteY348" fmla="*/ 37295 h 175807"/>
                  <a:gd name="connsiteX349" fmla="*/ 14548 w 86581"/>
                  <a:gd name="connsiteY349" fmla="*/ 35267 h 175807"/>
                  <a:gd name="connsiteX350" fmla="*/ 14812 w 86581"/>
                  <a:gd name="connsiteY350" fmla="*/ 31212 h 175807"/>
                  <a:gd name="connsiteX351" fmla="*/ 15429 w 86581"/>
                  <a:gd name="connsiteY351" fmla="*/ 28831 h 175807"/>
                  <a:gd name="connsiteX352" fmla="*/ 15165 w 86581"/>
                  <a:gd name="connsiteY352" fmla="*/ 27420 h 175807"/>
                  <a:gd name="connsiteX353" fmla="*/ 15429 w 86581"/>
                  <a:gd name="connsiteY353" fmla="*/ 25304 h 175807"/>
                  <a:gd name="connsiteX354" fmla="*/ 16575 w 86581"/>
                  <a:gd name="connsiteY354" fmla="*/ 23894 h 175807"/>
                  <a:gd name="connsiteX355" fmla="*/ 16046 w 86581"/>
                  <a:gd name="connsiteY355" fmla="*/ 21248 h 175807"/>
                  <a:gd name="connsiteX356" fmla="*/ 14548 w 86581"/>
                  <a:gd name="connsiteY356" fmla="*/ 20984 h 175807"/>
                  <a:gd name="connsiteX357" fmla="*/ 12520 w 86581"/>
                  <a:gd name="connsiteY357" fmla="*/ 21248 h 175807"/>
                  <a:gd name="connsiteX358" fmla="*/ 12520 w 86581"/>
                  <a:gd name="connsiteY358" fmla="*/ 17457 h 175807"/>
                  <a:gd name="connsiteX359" fmla="*/ 15694 w 86581"/>
                  <a:gd name="connsiteY359" fmla="*/ 17193 h 175807"/>
                  <a:gd name="connsiteX360" fmla="*/ 16928 w 86581"/>
                  <a:gd name="connsiteY360" fmla="*/ 17457 h 175807"/>
                  <a:gd name="connsiteX361" fmla="*/ 17457 w 86581"/>
                  <a:gd name="connsiteY361" fmla="*/ 17193 h 175807"/>
                  <a:gd name="connsiteX362" fmla="*/ 18074 w 86581"/>
                  <a:gd name="connsiteY362" fmla="*/ 15958 h 175807"/>
                  <a:gd name="connsiteX363" fmla="*/ 16928 w 86581"/>
                  <a:gd name="connsiteY363" fmla="*/ 14812 h 175807"/>
                  <a:gd name="connsiteX364" fmla="*/ 16928 w 86581"/>
                  <a:gd name="connsiteY364" fmla="*/ 13930 h 175807"/>
                  <a:gd name="connsiteX365" fmla="*/ 17457 w 86581"/>
                  <a:gd name="connsiteY365" fmla="*/ 13666 h 175807"/>
                  <a:gd name="connsiteX366" fmla="*/ 18339 w 86581"/>
                  <a:gd name="connsiteY366" fmla="*/ 13666 h 175807"/>
                  <a:gd name="connsiteX367" fmla="*/ 19221 w 86581"/>
                  <a:gd name="connsiteY367" fmla="*/ 13930 h 175807"/>
                  <a:gd name="connsiteX368" fmla="*/ 21248 w 86581"/>
                  <a:gd name="connsiteY368" fmla="*/ 14283 h 175807"/>
                  <a:gd name="connsiteX369" fmla="*/ 22130 w 86581"/>
                  <a:gd name="connsiteY369" fmla="*/ 13930 h 175807"/>
                  <a:gd name="connsiteX370" fmla="*/ 22130 w 86581"/>
                  <a:gd name="connsiteY370" fmla="*/ 12520 h 175807"/>
                  <a:gd name="connsiteX371" fmla="*/ 21513 w 86581"/>
                  <a:gd name="connsiteY371" fmla="*/ 11903 h 175807"/>
                  <a:gd name="connsiteX372" fmla="*/ 20984 w 86581"/>
                  <a:gd name="connsiteY372" fmla="*/ 11021 h 175807"/>
                  <a:gd name="connsiteX373" fmla="*/ 21866 w 86581"/>
                  <a:gd name="connsiteY373" fmla="*/ 10757 h 175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</a:cxnLst>
                <a:rect l="l" t="t" r="r" b="b"/>
                <a:pathLst>
                  <a:path w="86581" h="175807">
                    <a:moveTo>
                      <a:pt x="21866" y="9875"/>
                    </a:moveTo>
                    <a:lnTo>
                      <a:pt x="22747" y="9258"/>
                    </a:lnTo>
                    <a:lnTo>
                      <a:pt x="24158" y="8993"/>
                    </a:lnTo>
                    <a:lnTo>
                      <a:pt x="24775" y="9610"/>
                    </a:lnTo>
                    <a:lnTo>
                      <a:pt x="25657" y="9258"/>
                    </a:lnTo>
                    <a:lnTo>
                      <a:pt x="25921" y="8729"/>
                    </a:lnTo>
                    <a:lnTo>
                      <a:pt x="25921" y="7847"/>
                    </a:lnTo>
                    <a:lnTo>
                      <a:pt x="27949" y="6084"/>
                    </a:lnTo>
                    <a:lnTo>
                      <a:pt x="28302" y="4937"/>
                    </a:lnTo>
                    <a:lnTo>
                      <a:pt x="29713" y="4320"/>
                    </a:lnTo>
                    <a:lnTo>
                      <a:pt x="31211" y="4056"/>
                    </a:lnTo>
                    <a:lnTo>
                      <a:pt x="32005" y="3791"/>
                    </a:lnTo>
                    <a:lnTo>
                      <a:pt x="32358" y="2909"/>
                    </a:lnTo>
                    <a:lnTo>
                      <a:pt x="33239" y="2028"/>
                    </a:lnTo>
                    <a:lnTo>
                      <a:pt x="34121" y="1675"/>
                    </a:lnTo>
                    <a:lnTo>
                      <a:pt x="35532" y="2028"/>
                    </a:lnTo>
                    <a:lnTo>
                      <a:pt x="36766" y="1675"/>
                    </a:lnTo>
                    <a:lnTo>
                      <a:pt x="37560" y="1146"/>
                    </a:lnTo>
                    <a:lnTo>
                      <a:pt x="37912" y="1146"/>
                    </a:lnTo>
                    <a:lnTo>
                      <a:pt x="39323" y="529"/>
                    </a:lnTo>
                    <a:lnTo>
                      <a:pt x="40822" y="529"/>
                    </a:lnTo>
                    <a:lnTo>
                      <a:pt x="41351" y="264"/>
                    </a:lnTo>
                    <a:lnTo>
                      <a:pt x="41968" y="264"/>
                    </a:lnTo>
                    <a:lnTo>
                      <a:pt x="42850" y="264"/>
                    </a:lnTo>
                    <a:lnTo>
                      <a:pt x="43731" y="264"/>
                    </a:lnTo>
                    <a:lnTo>
                      <a:pt x="45495" y="0"/>
                    </a:lnTo>
                    <a:lnTo>
                      <a:pt x="46024" y="264"/>
                    </a:lnTo>
                    <a:lnTo>
                      <a:pt x="46376" y="882"/>
                    </a:lnTo>
                    <a:lnTo>
                      <a:pt x="45759" y="1411"/>
                    </a:lnTo>
                    <a:lnTo>
                      <a:pt x="44878" y="2028"/>
                    </a:lnTo>
                    <a:lnTo>
                      <a:pt x="44613" y="2909"/>
                    </a:lnTo>
                    <a:lnTo>
                      <a:pt x="44878" y="3791"/>
                    </a:lnTo>
                    <a:lnTo>
                      <a:pt x="45495" y="4320"/>
                    </a:lnTo>
                    <a:lnTo>
                      <a:pt x="46376" y="4937"/>
                    </a:lnTo>
                    <a:lnTo>
                      <a:pt x="46641" y="4937"/>
                    </a:lnTo>
                    <a:lnTo>
                      <a:pt x="47258" y="4320"/>
                    </a:lnTo>
                    <a:lnTo>
                      <a:pt x="47787" y="3791"/>
                    </a:lnTo>
                    <a:lnTo>
                      <a:pt x="47787" y="2909"/>
                    </a:lnTo>
                    <a:lnTo>
                      <a:pt x="47787" y="2557"/>
                    </a:lnTo>
                    <a:lnTo>
                      <a:pt x="46024" y="3439"/>
                    </a:lnTo>
                    <a:lnTo>
                      <a:pt x="46376" y="3174"/>
                    </a:lnTo>
                    <a:lnTo>
                      <a:pt x="46024" y="2909"/>
                    </a:lnTo>
                    <a:lnTo>
                      <a:pt x="46024" y="2292"/>
                    </a:lnTo>
                    <a:lnTo>
                      <a:pt x="46641" y="1675"/>
                    </a:lnTo>
                    <a:lnTo>
                      <a:pt x="47258" y="2028"/>
                    </a:lnTo>
                    <a:lnTo>
                      <a:pt x="49286" y="2028"/>
                    </a:lnTo>
                    <a:lnTo>
                      <a:pt x="49815" y="1146"/>
                    </a:lnTo>
                    <a:lnTo>
                      <a:pt x="50432" y="1146"/>
                    </a:lnTo>
                    <a:lnTo>
                      <a:pt x="50697" y="1411"/>
                    </a:lnTo>
                    <a:lnTo>
                      <a:pt x="51049" y="2028"/>
                    </a:lnTo>
                    <a:lnTo>
                      <a:pt x="51578" y="2028"/>
                    </a:lnTo>
                    <a:lnTo>
                      <a:pt x="51843" y="2028"/>
                    </a:lnTo>
                    <a:lnTo>
                      <a:pt x="52460" y="2292"/>
                    </a:lnTo>
                    <a:lnTo>
                      <a:pt x="52725" y="2909"/>
                    </a:lnTo>
                    <a:lnTo>
                      <a:pt x="53342" y="2909"/>
                    </a:lnTo>
                    <a:lnTo>
                      <a:pt x="53959" y="2909"/>
                    </a:lnTo>
                    <a:lnTo>
                      <a:pt x="54488" y="3174"/>
                    </a:lnTo>
                    <a:lnTo>
                      <a:pt x="54840" y="3791"/>
                    </a:lnTo>
                    <a:lnTo>
                      <a:pt x="54224" y="4056"/>
                    </a:lnTo>
                    <a:lnTo>
                      <a:pt x="53606" y="4056"/>
                    </a:lnTo>
                    <a:lnTo>
                      <a:pt x="53342" y="3791"/>
                    </a:lnTo>
                    <a:lnTo>
                      <a:pt x="52196" y="4056"/>
                    </a:lnTo>
                    <a:lnTo>
                      <a:pt x="51578" y="4320"/>
                    </a:lnTo>
                    <a:lnTo>
                      <a:pt x="52460" y="4585"/>
                    </a:lnTo>
                    <a:lnTo>
                      <a:pt x="53959" y="4937"/>
                    </a:lnTo>
                    <a:lnTo>
                      <a:pt x="54224" y="4937"/>
                    </a:lnTo>
                    <a:lnTo>
                      <a:pt x="54224" y="5202"/>
                    </a:lnTo>
                    <a:lnTo>
                      <a:pt x="53342" y="5202"/>
                    </a:lnTo>
                    <a:lnTo>
                      <a:pt x="52725" y="5819"/>
                    </a:lnTo>
                    <a:lnTo>
                      <a:pt x="52725" y="6348"/>
                    </a:lnTo>
                    <a:lnTo>
                      <a:pt x="52725" y="7582"/>
                    </a:lnTo>
                    <a:lnTo>
                      <a:pt x="53342" y="8376"/>
                    </a:lnTo>
                    <a:lnTo>
                      <a:pt x="55634" y="9875"/>
                    </a:lnTo>
                    <a:lnTo>
                      <a:pt x="56868" y="11021"/>
                    </a:lnTo>
                    <a:lnTo>
                      <a:pt x="56604" y="11638"/>
                    </a:lnTo>
                    <a:lnTo>
                      <a:pt x="55987" y="11638"/>
                    </a:lnTo>
                    <a:lnTo>
                      <a:pt x="55634" y="12520"/>
                    </a:lnTo>
                    <a:lnTo>
                      <a:pt x="55105" y="11903"/>
                    </a:lnTo>
                    <a:lnTo>
                      <a:pt x="54488" y="11374"/>
                    </a:lnTo>
                    <a:lnTo>
                      <a:pt x="53606" y="11638"/>
                    </a:lnTo>
                    <a:lnTo>
                      <a:pt x="52725" y="13401"/>
                    </a:lnTo>
                    <a:lnTo>
                      <a:pt x="54840" y="13401"/>
                    </a:lnTo>
                    <a:lnTo>
                      <a:pt x="55634" y="13049"/>
                    </a:lnTo>
                    <a:lnTo>
                      <a:pt x="55634" y="13401"/>
                    </a:lnTo>
                    <a:lnTo>
                      <a:pt x="56251" y="14548"/>
                    </a:lnTo>
                    <a:lnTo>
                      <a:pt x="58279" y="15165"/>
                    </a:lnTo>
                    <a:lnTo>
                      <a:pt x="59161" y="15165"/>
                    </a:lnTo>
                    <a:lnTo>
                      <a:pt x="60307" y="14283"/>
                    </a:lnTo>
                    <a:lnTo>
                      <a:pt x="60924" y="13401"/>
                    </a:lnTo>
                    <a:lnTo>
                      <a:pt x="61189" y="11638"/>
                    </a:lnTo>
                    <a:lnTo>
                      <a:pt x="62070" y="11021"/>
                    </a:lnTo>
                    <a:lnTo>
                      <a:pt x="64187" y="11021"/>
                    </a:lnTo>
                    <a:lnTo>
                      <a:pt x="67625" y="9258"/>
                    </a:lnTo>
                    <a:lnTo>
                      <a:pt x="67889" y="8111"/>
                    </a:lnTo>
                    <a:lnTo>
                      <a:pt x="67889" y="6701"/>
                    </a:lnTo>
                    <a:lnTo>
                      <a:pt x="68507" y="5819"/>
                    </a:lnTo>
                    <a:lnTo>
                      <a:pt x="70270" y="5555"/>
                    </a:lnTo>
                    <a:lnTo>
                      <a:pt x="70887" y="5819"/>
                    </a:lnTo>
                    <a:lnTo>
                      <a:pt x="71152" y="6701"/>
                    </a:lnTo>
                    <a:lnTo>
                      <a:pt x="70887" y="7847"/>
                    </a:lnTo>
                    <a:lnTo>
                      <a:pt x="72298" y="10139"/>
                    </a:lnTo>
                    <a:lnTo>
                      <a:pt x="72562" y="11374"/>
                    </a:lnTo>
                    <a:lnTo>
                      <a:pt x="70270" y="13049"/>
                    </a:lnTo>
                    <a:lnTo>
                      <a:pt x="69653" y="14548"/>
                    </a:lnTo>
                    <a:lnTo>
                      <a:pt x="68771" y="15694"/>
                    </a:lnTo>
                    <a:lnTo>
                      <a:pt x="68771" y="16840"/>
                    </a:lnTo>
                    <a:lnTo>
                      <a:pt x="69388" y="17457"/>
                    </a:lnTo>
                    <a:lnTo>
                      <a:pt x="70535" y="18074"/>
                    </a:lnTo>
                    <a:lnTo>
                      <a:pt x="71152" y="18074"/>
                    </a:lnTo>
                    <a:lnTo>
                      <a:pt x="71681" y="18956"/>
                    </a:lnTo>
                    <a:lnTo>
                      <a:pt x="71152" y="19750"/>
                    </a:lnTo>
                    <a:lnTo>
                      <a:pt x="70005" y="20631"/>
                    </a:lnTo>
                    <a:lnTo>
                      <a:pt x="67625" y="21248"/>
                    </a:lnTo>
                    <a:lnTo>
                      <a:pt x="66479" y="21248"/>
                    </a:lnTo>
                    <a:lnTo>
                      <a:pt x="64187" y="21866"/>
                    </a:lnTo>
                    <a:lnTo>
                      <a:pt x="61189" y="23894"/>
                    </a:lnTo>
                    <a:lnTo>
                      <a:pt x="60043" y="26186"/>
                    </a:lnTo>
                    <a:lnTo>
                      <a:pt x="59778" y="29713"/>
                    </a:lnTo>
                    <a:lnTo>
                      <a:pt x="59778" y="31212"/>
                    </a:lnTo>
                    <a:lnTo>
                      <a:pt x="60043" y="32005"/>
                    </a:lnTo>
                    <a:lnTo>
                      <a:pt x="60924" y="32358"/>
                    </a:lnTo>
                    <a:lnTo>
                      <a:pt x="61189" y="32622"/>
                    </a:lnTo>
                    <a:lnTo>
                      <a:pt x="61806" y="32358"/>
                    </a:lnTo>
                    <a:lnTo>
                      <a:pt x="61541" y="32887"/>
                    </a:lnTo>
                    <a:lnTo>
                      <a:pt x="61189" y="33239"/>
                    </a:lnTo>
                    <a:lnTo>
                      <a:pt x="61806" y="34650"/>
                    </a:lnTo>
                    <a:lnTo>
                      <a:pt x="62423" y="35003"/>
                    </a:lnTo>
                    <a:lnTo>
                      <a:pt x="62952" y="35532"/>
                    </a:lnTo>
                    <a:lnTo>
                      <a:pt x="63217" y="36678"/>
                    </a:lnTo>
                    <a:lnTo>
                      <a:pt x="63569" y="37295"/>
                    </a:lnTo>
                    <a:lnTo>
                      <a:pt x="64716" y="37912"/>
                    </a:lnTo>
                    <a:lnTo>
                      <a:pt x="64716" y="38177"/>
                    </a:lnTo>
                    <a:lnTo>
                      <a:pt x="65862" y="38441"/>
                    </a:lnTo>
                    <a:lnTo>
                      <a:pt x="66479" y="38441"/>
                    </a:lnTo>
                    <a:lnTo>
                      <a:pt x="67096" y="38706"/>
                    </a:lnTo>
                    <a:lnTo>
                      <a:pt x="67625" y="39588"/>
                    </a:lnTo>
                    <a:lnTo>
                      <a:pt x="67361" y="40205"/>
                    </a:lnTo>
                    <a:lnTo>
                      <a:pt x="67889" y="40469"/>
                    </a:lnTo>
                    <a:lnTo>
                      <a:pt x="69124" y="41086"/>
                    </a:lnTo>
                    <a:lnTo>
                      <a:pt x="71152" y="40822"/>
                    </a:lnTo>
                    <a:lnTo>
                      <a:pt x="72033" y="41968"/>
                    </a:lnTo>
                    <a:lnTo>
                      <a:pt x="72298" y="43114"/>
                    </a:lnTo>
                    <a:lnTo>
                      <a:pt x="72033" y="43996"/>
                    </a:lnTo>
                    <a:lnTo>
                      <a:pt x="72033" y="44260"/>
                    </a:lnTo>
                    <a:lnTo>
                      <a:pt x="72298" y="44878"/>
                    </a:lnTo>
                    <a:lnTo>
                      <a:pt x="72562" y="45495"/>
                    </a:lnTo>
                    <a:lnTo>
                      <a:pt x="74061" y="45495"/>
                    </a:lnTo>
                    <a:lnTo>
                      <a:pt x="74326" y="45759"/>
                    </a:lnTo>
                    <a:lnTo>
                      <a:pt x="74061" y="46377"/>
                    </a:lnTo>
                    <a:lnTo>
                      <a:pt x="72562" y="46906"/>
                    </a:lnTo>
                    <a:lnTo>
                      <a:pt x="72033" y="47523"/>
                    </a:lnTo>
                    <a:lnTo>
                      <a:pt x="71681" y="48052"/>
                    </a:lnTo>
                    <a:lnTo>
                      <a:pt x="72033" y="49286"/>
                    </a:lnTo>
                    <a:lnTo>
                      <a:pt x="72915" y="49815"/>
                    </a:lnTo>
                    <a:lnTo>
                      <a:pt x="72915" y="50432"/>
                    </a:lnTo>
                    <a:lnTo>
                      <a:pt x="74678" y="51314"/>
                    </a:lnTo>
                    <a:lnTo>
                      <a:pt x="74943" y="52196"/>
                    </a:lnTo>
                    <a:lnTo>
                      <a:pt x="74678" y="52196"/>
                    </a:lnTo>
                    <a:lnTo>
                      <a:pt x="74061" y="52196"/>
                    </a:lnTo>
                    <a:lnTo>
                      <a:pt x="72915" y="53606"/>
                    </a:lnTo>
                    <a:lnTo>
                      <a:pt x="72298" y="54224"/>
                    </a:lnTo>
                    <a:lnTo>
                      <a:pt x="72562" y="55634"/>
                    </a:lnTo>
                    <a:lnTo>
                      <a:pt x="72298" y="56869"/>
                    </a:lnTo>
                    <a:lnTo>
                      <a:pt x="70887" y="57398"/>
                    </a:lnTo>
                    <a:lnTo>
                      <a:pt x="70270" y="58279"/>
                    </a:lnTo>
                    <a:lnTo>
                      <a:pt x="70005" y="60043"/>
                    </a:lnTo>
                    <a:lnTo>
                      <a:pt x="70005" y="61189"/>
                    </a:lnTo>
                    <a:lnTo>
                      <a:pt x="69388" y="62070"/>
                    </a:lnTo>
                    <a:lnTo>
                      <a:pt x="69653" y="62423"/>
                    </a:lnTo>
                    <a:lnTo>
                      <a:pt x="70005" y="62952"/>
                    </a:lnTo>
                    <a:lnTo>
                      <a:pt x="69388" y="63834"/>
                    </a:lnTo>
                    <a:lnTo>
                      <a:pt x="67889" y="63569"/>
                    </a:lnTo>
                    <a:lnTo>
                      <a:pt x="67361" y="63569"/>
                    </a:lnTo>
                    <a:lnTo>
                      <a:pt x="66743" y="65333"/>
                    </a:lnTo>
                    <a:lnTo>
                      <a:pt x="66743" y="66126"/>
                    </a:lnTo>
                    <a:lnTo>
                      <a:pt x="65597" y="66479"/>
                    </a:lnTo>
                    <a:lnTo>
                      <a:pt x="64451" y="66743"/>
                    </a:lnTo>
                    <a:lnTo>
                      <a:pt x="63569" y="69124"/>
                    </a:lnTo>
                    <a:lnTo>
                      <a:pt x="60924" y="70270"/>
                    </a:lnTo>
                    <a:lnTo>
                      <a:pt x="58896" y="72034"/>
                    </a:lnTo>
                    <a:lnTo>
                      <a:pt x="58632" y="72915"/>
                    </a:lnTo>
                    <a:lnTo>
                      <a:pt x="58632" y="73180"/>
                    </a:lnTo>
                    <a:lnTo>
                      <a:pt x="58632" y="73444"/>
                    </a:lnTo>
                    <a:lnTo>
                      <a:pt x="58279" y="73180"/>
                    </a:lnTo>
                    <a:lnTo>
                      <a:pt x="58015" y="72563"/>
                    </a:lnTo>
                    <a:lnTo>
                      <a:pt x="57750" y="72563"/>
                    </a:lnTo>
                    <a:lnTo>
                      <a:pt x="57397" y="73444"/>
                    </a:lnTo>
                    <a:lnTo>
                      <a:pt x="54840" y="73797"/>
                    </a:lnTo>
                    <a:lnTo>
                      <a:pt x="54224" y="74326"/>
                    </a:lnTo>
                    <a:lnTo>
                      <a:pt x="53342" y="75472"/>
                    </a:lnTo>
                    <a:lnTo>
                      <a:pt x="53342" y="77235"/>
                    </a:lnTo>
                    <a:lnTo>
                      <a:pt x="52460" y="77588"/>
                    </a:lnTo>
                    <a:lnTo>
                      <a:pt x="52196" y="78382"/>
                    </a:lnTo>
                    <a:lnTo>
                      <a:pt x="51843" y="79263"/>
                    </a:lnTo>
                    <a:lnTo>
                      <a:pt x="52725" y="81027"/>
                    </a:lnTo>
                    <a:lnTo>
                      <a:pt x="53077" y="82526"/>
                    </a:lnTo>
                    <a:lnTo>
                      <a:pt x="53959" y="83936"/>
                    </a:lnTo>
                    <a:lnTo>
                      <a:pt x="54488" y="84289"/>
                    </a:lnTo>
                    <a:lnTo>
                      <a:pt x="54840" y="84553"/>
                    </a:lnTo>
                    <a:lnTo>
                      <a:pt x="54488" y="85171"/>
                    </a:lnTo>
                    <a:lnTo>
                      <a:pt x="55634" y="85171"/>
                    </a:lnTo>
                    <a:lnTo>
                      <a:pt x="56251" y="86317"/>
                    </a:lnTo>
                    <a:lnTo>
                      <a:pt x="56604" y="87199"/>
                    </a:lnTo>
                    <a:lnTo>
                      <a:pt x="58015" y="87728"/>
                    </a:lnTo>
                    <a:lnTo>
                      <a:pt x="58279" y="89491"/>
                    </a:lnTo>
                    <a:lnTo>
                      <a:pt x="59161" y="88609"/>
                    </a:lnTo>
                    <a:lnTo>
                      <a:pt x="59778" y="90373"/>
                    </a:lnTo>
                    <a:lnTo>
                      <a:pt x="60043" y="90990"/>
                    </a:lnTo>
                    <a:lnTo>
                      <a:pt x="61541" y="91519"/>
                    </a:lnTo>
                    <a:lnTo>
                      <a:pt x="62423" y="90637"/>
                    </a:lnTo>
                    <a:lnTo>
                      <a:pt x="63834" y="90637"/>
                    </a:lnTo>
                    <a:lnTo>
                      <a:pt x="64187" y="91519"/>
                    </a:lnTo>
                    <a:lnTo>
                      <a:pt x="65597" y="91871"/>
                    </a:lnTo>
                    <a:lnTo>
                      <a:pt x="66479" y="92665"/>
                    </a:lnTo>
                    <a:lnTo>
                      <a:pt x="66479" y="91519"/>
                    </a:lnTo>
                    <a:lnTo>
                      <a:pt x="65597" y="90990"/>
                    </a:lnTo>
                    <a:lnTo>
                      <a:pt x="65333" y="89491"/>
                    </a:lnTo>
                    <a:lnTo>
                      <a:pt x="65597" y="88609"/>
                    </a:lnTo>
                    <a:lnTo>
                      <a:pt x="66479" y="86846"/>
                    </a:lnTo>
                    <a:lnTo>
                      <a:pt x="66214" y="85435"/>
                    </a:lnTo>
                    <a:lnTo>
                      <a:pt x="65333" y="84818"/>
                    </a:lnTo>
                    <a:lnTo>
                      <a:pt x="65333" y="83407"/>
                    </a:lnTo>
                    <a:lnTo>
                      <a:pt x="65862" y="83055"/>
                    </a:lnTo>
                    <a:lnTo>
                      <a:pt x="66214" y="82526"/>
                    </a:lnTo>
                    <a:lnTo>
                      <a:pt x="67625" y="82790"/>
                    </a:lnTo>
                    <a:lnTo>
                      <a:pt x="68507" y="83407"/>
                    </a:lnTo>
                    <a:lnTo>
                      <a:pt x="70535" y="82526"/>
                    </a:lnTo>
                    <a:lnTo>
                      <a:pt x="72033" y="83407"/>
                    </a:lnTo>
                    <a:lnTo>
                      <a:pt x="73180" y="83936"/>
                    </a:lnTo>
                    <a:lnTo>
                      <a:pt x="73180" y="84818"/>
                    </a:lnTo>
                    <a:lnTo>
                      <a:pt x="72562" y="86581"/>
                    </a:lnTo>
                    <a:lnTo>
                      <a:pt x="72033" y="88345"/>
                    </a:lnTo>
                    <a:lnTo>
                      <a:pt x="71416" y="88874"/>
                    </a:lnTo>
                    <a:lnTo>
                      <a:pt x="72298" y="90108"/>
                    </a:lnTo>
                    <a:lnTo>
                      <a:pt x="72298" y="90373"/>
                    </a:lnTo>
                    <a:lnTo>
                      <a:pt x="73180" y="91254"/>
                    </a:lnTo>
                    <a:lnTo>
                      <a:pt x="73444" y="91871"/>
                    </a:lnTo>
                    <a:lnTo>
                      <a:pt x="73444" y="92400"/>
                    </a:lnTo>
                    <a:lnTo>
                      <a:pt x="73797" y="93018"/>
                    </a:lnTo>
                    <a:lnTo>
                      <a:pt x="74943" y="93282"/>
                    </a:lnTo>
                    <a:lnTo>
                      <a:pt x="75472" y="94164"/>
                    </a:lnTo>
                    <a:lnTo>
                      <a:pt x="75825" y="95310"/>
                    </a:lnTo>
                    <a:lnTo>
                      <a:pt x="75472" y="96456"/>
                    </a:lnTo>
                    <a:lnTo>
                      <a:pt x="75208" y="97690"/>
                    </a:lnTo>
                    <a:lnTo>
                      <a:pt x="75472" y="98837"/>
                    </a:lnTo>
                    <a:lnTo>
                      <a:pt x="76354" y="98837"/>
                    </a:lnTo>
                    <a:lnTo>
                      <a:pt x="76971" y="99101"/>
                    </a:lnTo>
                    <a:lnTo>
                      <a:pt x="77588" y="99454"/>
                    </a:lnTo>
                    <a:lnTo>
                      <a:pt x="78470" y="100247"/>
                    </a:lnTo>
                    <a:lnTo>
                      <a:pt x="77588" y="100247"/>
                    </a:lnTo>
                    <a:lnTo>
                      <a:pt x="76354" y="99983"/>
                    </a:lnTo>
                    <a:lnTo>
                      <a:pt x="75825" y="100247"/>
                    </a:lnTo>
                    <a:lnTo>
                      <a:pt x="77235" y="101482"/>
                    </a:lnTo>
                    <a:lnTo>
                      <a:pt x="76971" y="101746"/>
                    </a:lnTo>
                    <a:lnTo>
                      <a:pt x="77235" y="102011"/>
                    </a:lnTo>
                    <a:lnTo>
                      <a:pt x="78470" y="102011"/>
                    </a:lnTo>
                    <a:lnTo>
                      <a:pt x="79881" y="102892"/>
                    </a:lnTo>
                    <a:lnTo>
                      <a:pt x="81026" y="103157"/>
                    </a:lnTo>
                    <a:lnTo>
                      <a:pt x="82261" y="103157"/>
                    </a:lnTo>
                    <a:lnTo>
                      <a:pt x="80145" y="99983"/>
                    </a:lnTo>
                    <a:lnTo>
                      <a:pt x="82790" y="101482"/>
                    </a:lnTo>
                    <a:lnTo>
                      <a:pt x="83054" y="102363"/>
                    </a:lnTo>
                    <a:lnTo>
                      <a:pt x="83054" y="102892"/>
                    </a:lnTo>
                    <a:lnTo>
                      <a:pt x="84289" y="103774"/>
                    </a:lnTo>
                    <a:lnTo>
                      <a:pt x="83407" y="109946"/>
                    </a:lnTo>
                    <a:lnTo>
                      <a:pt x="83672" y="111709"/>
                    </a:lnTo>
                    <a:lnTo>
                      <a:pt x="83672" y="116294"/>
                    </a:lnTo>
                    <a:lnTo>
                      <a:pt x="84818" y="118057"/>
                    </a:lnTo>
                    <a:lnTo>
                      <a:pt x="85435" y="118675"/>
                    </a:lnTo>
                    <a:lnTo>
                      <a:pt x="86317" y="119556"/>
                    </a:lnTo>
                    <a:lnTo>
                      <a:pt x="86581" y="120173"/>
                    </a:lnTo>
                    <a:lnTo>
                      <a:pt x="85435" y="121849"/>
                    </a:lnTo>
                    <a:lnTo>
                      <a:pt x="83407" y="123612"/>
                    </a:lnTo>
                    <a:lnTo>
                      <a:pt x="81908" y="125111"/>
                    </a:lnTo>
                    <a:lnTo>
                      <a:pt x="79616" y="126257"/>
                    </a:lnTo>
                    <a:lnTo>
                      <a:pt x="75208" y="127756"/>
                    </a:lnTo>
                    <a:lnTo>
                      <a:pt x="72033" y="128902"/>
                    </a:lnTo>
                    <a:lnTo>
                      <a:pt x="70270" y="132076"/>
                    </a:lnTo>
                    <a:lnTo>
                      <a:pt x="69653" y="131812"/>
                    </a:lnTo>
                    <a:lnTo>
                      <a:pt x="69124" y="132076"/>
                    </a:lnTo>
                    <a:lnTo>
                      <a:pt x="68771" y="133575"/>
                    </a:lnTo>
                    <a:lnTo>
                      <a:pt x="68242" y="133840"/>
                    </a:lnTo>
                    <a:lnTo>
                      <a:pt x="67625" y="133222"/>
                    </a:lnTo>
                    <a:lnTo>
                      <a:pt x="67361" y="131812"/>
                    </a:lnTo>
                    <a:lnTo>
                      <a:pt x="66743" y="132341"/>
                    </a:lnTo>
                    <a:lnTo>
                      <a:pt x="66479" y="133222"/>
                    </a:lnTo>
                    <a:lnTo>
                      <a:pt x="66479" y="134721"/>
                    </a:lnTo>
                    <a:lnTo>
                      <a:pt x="66743" y="135867"/>
                    </a:lnTo>
                    <a:lnTo>
                      <a:pt x="66214" y="136749"/>
                    </a:lnTo>
                    <a:lnTo>
                      <a:pt x="64980" y="137895"/>
                    </a:lnTo>
                    <a:lnTo>
                      <a:pt x="63834" y="139041"/>
                    </a:lnTo>
                    <a:lnTo>
                      <a:pt x="63217" y="140276"/>
                    </a:lnTo>
                    <a:lnTo>
                      <a:pt x="62070" y="140805"/>
                    </a:lnTo>
                    <a:lnTo>
                      <a:pt x="60660" y="140805"/>
                    </a:lnTo>
                    <a:lnTo>
                      <a:pt x="60043" y="142039"/>
                    </a:lnTo>
                    <a:lnTo>
                      <a:pt x="60043" y="143450"/>
                    </a:lnTo>
                    <a:lnTo>
                      <a:pt x="59161" y="144332"/>
                    </a:lnTo>
                    <a:lnTo>
                      <a:pt x="57750" y="145213"/>
                    </a:lnTo>
                    <a:lnTo>
                      <a:pt x="57397" y="147594"/>
                    </a:lnTo>
                    <a:lnTo>
                      <a:pt x="60043" y="155970"/>
                    </a:lnTo>
                    <a:lnTo>
                      <a:pt x="59514" y="157204"/>
                    </a:lnTo>
                    <a:lnTo>
                      <a:pt x="60660" y="159497"/>
                    </a:lnTo>
                    <a:lnTo>
                      <a:pt x="59161" y="164169"/>
                    </a:lnTo>
                    <a:lnTo>
                      <a:pt x="58015" y="165316"/>
                    </a:lnTo>
                    <a:lnTo>
                      <a:pt x="55987" y="168578"/>
                    </a:lnTo>
                    <a:lnTo>
                      <a:pt x="52460" y="173163"/>
                    </a:lnTo>
                    <a:lnTo>
                      <a:pt x="49815" y="172016"/>
                    </a:lnTo>
                    <a:lnTo>
                      <a:pt x="49286" y="173515"/>
                    </a:lnTo>
                    <a:lnTo>
                      <a:pt x="45142" y="175808"/>
                    </a:lnTo>
                    <a:lnTo>
                      <a:pt x="38441" y="156587"/>
                    </a:lnTo>
                    <a:lnTo>
                      <a:pt x="35796" y="146624"/>
                    </a:lnTo>
                    <a:lnTo>
                      <a:pt x="34121" y="130665"/>
                    </a:lnTo>
                    <a:lnTo>
                      <a:pt x="27420" y="122466"/>
                    </a:lnTo>
                    <a:lnTo>
                      <a:pt x="18692" y="118675"/>
                    </a:lnTo>
                    <a:lnTo>
                      <a:pt x="17193" y="111709"/>
                    </a:lnTo>
                    <a:lnTo>
                      <a:pt x="11903" y="104391"/>
                    </a:lnTo>
                    <a:lnTo>
                      <a:pt x="11021" y="104391"/>
                    </a:lnTo>
                    <a:lnTo>
                      <a:pt x="8111" y="102892"/>
                    </a:lnTo>
                    <a:lnTo>
                      <a:pt x="6436" y="102363"/>
                    </a:lnTo>
                    <a:lnTo>
                      <a:pt x="5202" y="101482"/>
                    </a:lnTo>
                    <a:lnTo>
                      <a:pt x="3703" y="96456"/>
                    </a:lnTo>
                    <a:lnTo>
                      <a:pt x="881" y="88609"/>
                    </a:lnTo>
                    <a:lnTo>
                      <a:pt x="0" y="87463"/>
                    </a:lnTo>
                    <a:lnTo>
                      <a:pt x="0" y="85435"/>
                    </a:lnTo>
                    <a:lnTo>
                      <a:pt x="264" y="80410"/>
                    </a:lnTo>
                    <a:lnTo>
                      <a:pt x="2292" y="77235"/>
                    </a:lnTo>
                    <a:lnTo>
                      <a:pt x="5554" y="76089"/>
                    </a:lnTo>
                    <a:lnTo>
                      <a:pt x="6701" y="73444"/>
                    </a:lnTo>
                    <a:lnTo>
                      <a:pt x="7847" y="70799"/>
                    </a:lnTo>
                    <a:lnTo>
                      <a:pt x="12255" y="69124"/>
                    </a:lnTo>
                    <a:lnTo>
                      <a:pt x="13666" y="68242"/>
                    </a:lnTo>
                    <a:lnTo>
                      <a:pt x="13666" y="67008"/>
                    </a:lnTo>
                    <a:lnTo>
                      <a:pt x="14548" y="66126"/>
                    </a:lnTo>
                    <a:lnTo>
                      <a:pt x="13930" y="64980"/>
                    </a:lnTo>
                    <a:lnTo>
                      <a:pt x="15429" y="63217"/>
                    </a:lnTo>
                    <a:lnTo>
                      <a:pt x="15165" y="59161"/>
                    </a:lnTo>
                    <a:lnTo>
                      <a:pt x="16046" y="57133"/>
                    </a:lnTo>
                    <a:lnTo>
                      <a:pt x="16311" y="54488"/>
                    </a:lnTo>
                    <a:lnTo>
                      <a:pt x="17457" y="53342"/>
                    </a:lnTo>
                    <a:lnTo>
                      <a:pt x="17457" y="52460"/>
                    </a:lnTo>
                    <a:lnTo>
                      <a:pt x="18692" y="51843"/>
                    </a:lnTo>
                    <a:lnTo>
                      <a:pt x="18692" y="50697"/>
                    </a:lnTo>
                    <a:lnTo>
                      <a:pt x="16311" y="50432"/>
                    </a:lnTo>
                    <a:lnTo>
                      <a:pt x="16046" y="49286"/>
                    </a:lnTo>
                    <a:lnTo>
                      <a:pt x="15694" y="47258"/>
                    </a:lnTo>
                    <a:lnTo>
                      <a:pt x="17193" y="43996"/>
                    </a:lnTo>
                    <a:lnTo>
                      <a:pt x="16046" y="40822"/>
                    </a:lnTo>
                    <a:lnTo>
                      <a:pt x="14812" y="38706"/>
                    </a:lnTo>
                    <a:lnTo>
                      <a:pt x="14548" y="37295"/>
                    </a:lnTo>
                    <a:lnTo>
                      <a:pt x="14548" y="35267"/>
                    </a:lnTo>
                    <a:lnTo>
                      <a:pt x="14812" y="31212"/>
                    </a:lnTo>
                    <a:lnTo>
                      <a:pt x="15429" y="28831"/>
                    </a:lnTo>
                    <a:lnTo>
                      <a:pt x="15165" y="27420"/>
                    </a:lnTo>
                    <a:lnTo>
                      <a:pt x="15429" y="25304"/>
                    </a:lnTo>
                    <a:lnTo>
                      <a:pt x="16575" y="23894"/>
                    </a:lnTo>
                    <a:lnTo>
                      <a:pt x="16046" y="21248"/>
                    </a:lnTo>
                    <a:lnTo>
                      <a:pt x="14548" y="20984"/>
                    </a:lnTo>
                    <a:lnTo>
                      <a:pt x="12520" y="21248"/>
                    </a:lnTo>
                    <a:lnTo>
                      <a:pt x="12520" y="17457"/>
                    </a:lnTo>
                    <a:lnTo>
                      <a:pt x="15694" y="17193"/>
                    </a:lnTo>
                    <a:lnTo>
                      <a:pt x="16928" y="17457"/>
                    </a:lnTo>
                    <a:lnTo>
                      <a:pt x="17457" y="17193"/>
                    </a:lnTo>
                    <a:lnTo>
                      <a:pt x="18074" y="15958"/>
                    </a:lnTo>
                    <a:lnTo>
                      <a:pt x="16928" y="14812"/>
                    </a:lnTo>
                    <a:lnTo>
                      <a:pt x="16928" y="13930"/>
                    </a:lnTo>
                    <a:lnTo>
                      <a:pt x="17457" y="13666"/>
                    </a:lnTo>
                    <a:lnTo>
                      <a:pt x="18339" y="13666"/>
                    </a:lnTo>
                    <a:lnTo>
                      <a:pt x="19221" y="13930"/>
                    </a:lnTo>
                    <a:lnTo>
                      <a:pt x="21248" y="14283"/>
                    </a:lnTo>
                    <a:lnTo>
                      <a:pt x="22130" y="13930"/>
                    </a:lnTo>
                    <a:lnTo>
                      <a:pt x="22130" y="12520"/>
                    </a:lnTo>
                    <a:lnTo>
                      <a:pt x="21513" y="11903"/>
                    </a:lnTo>
                    <a:lnTo>
                      <a:pt x="20984" y="11021"/>
                    </a:lnTo>
                    <a:lnTo>
                      <a:pt x="21866" y="1075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4" name="Freihandform: Form 1823">
                <a:extLst>
                  <a:ext uri="{FF2B5EF4-FFF2-40B4-BE49-F238E27FC236}">
                    <a16:creationId xmlns:a16="http://schemas.microsoft.com/office/drawing/2014/main" id="{0205D8A8-9BA7-CF91-D16B-7AEEF7C1BC15}"/>
                  </a:ext>
                </a:extLst>
              </p:cNvPr>
              <p:cNvSpPr/>
              <p:nvPr/>
            </p:nvSpPr>
            <p:spPr>
              <a:xfrm>
                <a:off x="3688336" y="3734415"/>
                <a:ext cx="133310" cy="108711"/>
              </a:xfrm>
              <a:custGeom>
                <a:avLst/>
                <a:gdLst>
                  <a:gd name="connsiteX0" fmla="*/ 20984 w 133310"/>
                  <a:gd name="connsiteY0" fmla="*/ 15077 h 108711"/>
                  <a:gd name="connsiteX1" fmla="*/ 20455 w 133310"/>
                  <a:gd name="connsiteY1" fmla="*/ 21513 h 108711"/>
                  <a:gd name="connsiteX2" fmla="*/ 17810 w 133310"/>
                  <a:gd name="connsiteY2" fmla="*/ 28214 h 108711"/>
                  <a:gd name="connsiteX3" fmla="*/ 12520 w 133310"/>
                  <a:gd name="connsiteY3" fmla="*/ 36414 h 108711"/>
                  <a:gd name="connsiteX4" fmla="*/ 6084 w 133310"/>
                  <a:gd name="connsiteY4" fmla="*/ 43732 h 108711"/>
                  <a:gd name="connsiteX5" fmla="*/ 3527 w 133310"/>
                  <a:gd name="connsiteY5" fmla="*/ 44261 h 108711"/>
                  <a:gd name="connsiteX6" fmla="*/ 1763 w 133310"/>
                  <a:gd name="connsiteY6" fmla="*/ 46906 h 108711"/>
                  <a:gd name="connsiteX7" fmla="*/ 0 w 133310"/>
                  <a:gd name="connsiteY7" fmla="*/ 50697 h 108711"/>
                  <a:gd name="connsiteX8" fmla="*/ 1146 w 133310"/>
                  <a:gd name="connsiteY8" fmla="*/ 49815 h 108711"/>
                  <a:gd name="connsiteX9" fmla="*/ 2292 w 133310"/>
                  <a:gd name="connsiteY9" fmla="*/ 50168 h 108711"/>
                  <a:gd name="connsiteX10" fmla="*/ 6436 w 133310"/>
                  <a:gd name="connsiteY10" fmla="*/ 50697 h 108711"/>
                  <a:gd name="connsiteX11" fmla="*/ 8464 w 133310"/>
                  <a:gd name="connsiteY11" fmla="*/ 52460 h 108711"/>
                  <a:gd name="connsiteX12" fmla="*/ 10492 w 133310"/>
                  <a:gd name="connsiteY12" fmla="*/ 56516 h 108711"/>
                  <a:gd name="connsiteX13" fmla="*/ 10757 w 133310"/>
                  <a:gd name="connsiteY13" fmla="*/ 59161 h 108711"/>
                  <a:gd name="connsiteX14" fmla="*/ 12520 w 133310"/>
                  <a:gd name="connsiteY14" fmla="*/ 62335 h 108711"/>
                  <a:gd name="connsiteX15" fmla="*/ 14548 w 133310"/>
                  <a:gd name="connsiteY15" fmla="*/ 66479 h 108711"/>
                  <a:gd name="connsiteX16" fmla="*/ 14283 w 133310"/>
                  <a:gd name="connsiteY16" fmla="*/ 69124 h 108711"/>
                  <a:gd name="connsiteX17" fmla="*/ 15165 w 133310"/>
                  <a:gd name="connsiteY17" fmla="*/ 67625 h 108711"/>
                  <a:gd name="connsiteX18" fmla="*/ 15429 w 133310"/>
                  <a:gd name="connsiteY18" fmla="*/ 66479 h 108711"/>
                  <a:gd name="connsiteX19" fmla="*/ 15782 w 133310"/>
                  <a:gd name="connsiteY19" fmla="*/ 64716 h 108711"/>
                  <a:gd name="connsiteX20" fmla="*/ 16928 w 133310"/>
                  <a:gd name="connsiteY20" fmla="*/ 64451 h 108711"/>
                  <a:gd name="connsiteX21" fmla="*/ 16311 w 133310"/>
                  <a:gd name="connsiteY21" fmla="*/ 65862 h 108711"/>
                  <a:gd name="connsiteX22" fmla="*/ 16928 w 133310"/>
                  <a:gd name="connsiteY22" fmla="*/ 66744 h 108711"/>
                  <a:gd name="connsiteX23" fmla="*/ 18339 w 133310"/>
                  <a:gd name="connsiteY23" fmla="*/ 65862 h 108711"/>
                  <a:gd name="connsiteX24" fmla="*/ 20455 w 133310"/>
                  <a:gd name="connsiteY24" fmla="*/ 62952 h 108711"/>
                  <a:gd name="connsiteX25" fmla="*/ 20984 w 133310"/>
                  <a:gd name="connsiteY25" fmla="*/ 62071 h 108711"/>
                  <a:gd name="connsiteX26" fmla="*/ 21866 w 133310"/>
                  <a:gd name="connsiteY26" fmla="*/ 62335 h 108711"/>
                  <a:gd name="connsiteX27" fmla="*/ 23365 w 133310"/>
                  <a:gd name="connsiteY27" fmla="*/ 62335 h 108711"/>
                  <a:gd name="connsiteX28" fmla="*/ 21866 w 133310"/>
                  <a:gd name="connsiteY28" fmla="*/ 62952 h 108711"/>
                  <a:gd name="connsiteX29" fmla="*/ 20719 w 133310"/>
                  <a:gd name="connsiteY29" fmla="*/ 64451 h 108711"/>
                  <a:gd name="connsiteX30" fmla="*/ 19838 w 133310"/>
                  <a:gd name="connsiteY30" fmla="*/ 65245 h 108711"/>
                  <a:gd name="connsiteX31" fmla="*/ 19573 w 133310"/>
                  <a:gd name="connsiteY31" fmla="*/ 65862 h 108711"/>
                  <a:gd name="connsiteX32" fmla="*/ 19221 w 133310"/>
                  <a:gd name="connsiteY32" fmla="*/ 67361 h 108711"/>
                  <a:gd name="connsiteX33" fmla="*/ 18074 w 133310"/>
                  <a:gd name="connsiteY33" fmla="*/ 67361 h 108711"/>
                  <a:gd name="connsiteX34" fmla="*/ 17810 w 133310"/>
                  <a:gd name="connsiteY34" fmla="*/ 67361 h 108711"/>
                  <a:gd name="connsiteX35" fmla="*/ 16046 w 133310"/>
                  <a:gd name="connsiteY35" fmla="*/ 68242 h 108711"/>
                  <a:gd name="connsiteX36" fmla="*/ 15429 w 133310"/>
                  <a:gd name="connsiteY36" fmla="*/ 70006 h 108711"/>
                  <a:gd name="connsiteX37" fmla="*/ 15782 w 133310"/>
                  <a:gd name="connsiteY37" fmla="*/ 72034 h 108711"/>
                  <a:gd name="connsiteX38" fmla="*/ 16311 w 133310"/>
                  <a:gd name="connsiteY38" fmla="*/ 72563 h 108711"/>
                  <a:gd name="connsiteX39" fmla="*/ 17193 w 133310"/>
                  <a:gd name="connsiteY39" fmla="*/ 70535 h 108711"/>
                  <a:gd name="connsiteX40" fmla="*/ 20984 w 133310"/>
                  <a:gd name="connsiteY40" fmla="*/ 67361 h 108711"/>
                  <a:gd name="connsiteX41" fmla="*/ 20455 w 133310"/>
                  <a:gd name="connsiteY41" fmla="*/ 70006 h 108711"/>
                  <a:gd name="connsiteX42" fmla="*/ 20719 w 133310"/>
                  <a:gd name="connsiteY42" fmla="*/ 70535 h 108711"/>
                  <a:gd name="connsiteX43" fmla="*/ 20455 w 133310"/>
                  <a:gd name="connsiteY43" fmla="*/ 71152 h 108711"/>
                  <a:gd name="connsiteX44" fmla="*/ 19573 w 133310"/>
                  <a:gd name="connsiteY44" fmla="*/ 70535 h 108711"/>
                  <a:gd name="connsiteX45" fmla="*/ 19221 w 133310"/>
                  <a:gd name="connsiteY45" fmla="*/ 70535 h 108711"/>
                  <a:gd name="connsiteX46" fmla="*/ 17193 w 133310"/>
                  <a:gd name="connsiteY46" fmla="*/ 73797 h 108711"/>
                  <a:gd name="connsiteX47" fmla="*/ 17193 w 133310"/>
                  <a:gd name="connsiteY47" fmla="*/ 74326 h 108711"/>
                  <a:gd name="connsiteX48" fmla="*/ 18339 w 133310"/>
                  <a:gd name="connsiteY48" fmla="*/ 74326 h 108711"/>
                  <a:gd name="connsiteX49" fmla="*/ 20719 w 133310"/>
                  <a:gd name="connsiteY49" fmla="*/ 73444 h 108711"/>
                  <a:gd name="connsiteX50" fmla="*/ 20102 w 133310"/>
                  <a:gd name="connsiteY50" fmla="*/ 74591 h 108711"/>
                  <a:gd name="connsiteX51" fmla="*/ 18692 w 133310"/>
                  <a:gd name="connsiteY51" fmla="*/ 76089 h 108711"/>
                  <a:gd name="connsiteX52" fmla="*/ 19221 w 133310"/>
                  <a:gd name="connsiteY52" fmla="*/ 77235 h 108711"/>
                  <a:gd name="connsiteX53" fmla="*/ 46641 w 133310"/>
                  <a:gd name="connsiteY53" fmla="*/ 71416 h 108711"/>
                  <a:gd name="connsiteX54" fmla="*/ 51578 w 133310"/>
                  <a:gd name="connsiteY54" fmla="*/ 70535 h 108711"/>
                  <a:gd name="connsiteX55" fmla="*/ 55987 w 133310"/>
                  <a:gd name="connsiteY55" fmla="*/ 71681 h 108711"/>
                  <a:gd name="connsiteX56" fmla="*/ 61541 w 133310"/>
                  <a:gd name="connsiteY56" fmla="*/ 75208 h 108711"/>
                  <a:gd name="connsiteX57" fmla="*/ 67625 w 133310"/>
                  <a:gd name="connsiteY57" fmla="*/ 80498 h 108711"/>
                  <a:gd name="connsiteX58" fmla="*/ 72915 w 133310"/>
                  <a:gd name="connsiteY58" fmla="*/ 77588 h 108711"/>
                  <a:gd name="connsiteX59" fmla="*/ 77324 w 133310"/>
                  <a:gd name="connsiteY59" fmla="*/ 77588 h 108711"/>
                  <a:gd name="connsiteX60" fmla="*/ 79616 w 133310"/>
                  <a:gd name="connsiteY60" fmla="*/ 81909 h 108711"/>
                  <a:gd name="connsiteX61" fmla="*/ 72651 w 133310"/>
                  <a:gd name="connsiteY61" fmla="*/ 84553 h 108711"/>
                  <a:gd name="connsiteX62" fmla="*/ 66479 w 133310"/>
                  <a:gd name="connsiteY62" fmla="*/ 85700 h 108711"/>
                  <a:gd name="connsiteX63" fmla="*/ 62688 w 133310"/>
                  <a:gd name="connsiteY63" fmla="*/ 82526 h 108711"/>
                  <a:gd name="connsiteX64" fmla="*/ 58015 w 133310"/>
                  <a:gd name="connsiteY64" fmla="*/ 80498 h 108711"/>
                  <a:gd name="connsiteX65" fmla="*/ 53959 w 133310"/>
                  <a:gd name="connsiteY65" fmla="*/ 79263 h 108711"/>
                  <a:gd name="connsiteX66" fmla="*/ 48669 w 133310"/>
                  <a:gd name="connsiteY66" fmla="*/ 78382 h 108711"/>
                  <a:gd name="connsiteX67" fmla="*/ 44349 w 133310"/>
                  <a:gd name="connsiteY67" fmla="*/ 81909 h 108711"/>
                  <a:gd name="connsiteX68" fmla="*/ 37295 w 133310"/>
                  <a:gd name="connsiteY68" fmla="*/ 82790 h 108711"/>
                  <a:gd name="connsiteX69" fmla="*/ 14900 w 133310"/>
                  <a:gd name="connsiteY69" fmla="*/ 89844 h 108711"/>
                  <a:gd name="connsiteX70" fmla="*/ 14900 w 133310"/>
                  <a:gd name="connsiteY70" fmla="*/ 90637 h 108711"/>
                  <a:gd name="connsiteX71" fmla="*/ 14019 w 133310"/>
                  <a:gd name="connsiteY71" fmla="*/ 94428 h 108711"/>
                  <a:gd name="connsiteX72" fmla="*/ 14019 w 133310"/>
                  <a:gd name="connsiteY72" fmla="*/ 96544 h 108711"/>
                  <a:gd name="connsiteX73" fmla="*/ 13137 w 133310"/>
                  <a:gd name="connsiteY73" fmla="*/ 97955 h 108711"/>
                  <a:gd name="connsiteX74" fmla="*/ 13666 w 133310"/>
                  <a:gd name="connsiteY74" fmla="*/ 98837 h 108711"/>
                  <a:gd name="connsiteX75" fmla="*/ 14283 w 133310"/>
                  <a:gd name="connsiteY75" fmla="*/ 98220 h 108711"/>
                  <a:gd name="connsiteX76" fmla="*/ 15165 w 133310"/>
                  <a:gd name="connsiteY76" fmla="*/ 98220 h 108711"/>
                  <a:gd name="connsiteX77" fmla="*/ 15165 w 133310"/>
                  <a:gd name="connsiteY77" fmla="*/ 99454 h 108711"/>
                  <a:gd name="connsiteX78" fmla="*/ 14019 w 133310"/>
                  <a:gd name="connsiteY78" fmla="*/ 101746 h 108711"/>
                  <a:gd name="connsiteX79" fmla="*/ 15782 w 133310"/>
                  <a:gd name="connsiteY79" fmla="*/ 99983 h 108711"/>
                  <a:gd name="connsiteX80" fmla="*/ 16928 w 133310"/>
                  <a:gd name="connsiteY80" fmla="*/ 98572 h 108711"/>
                  <a:gd name="connsiteX81" fmla="*/ 17810 w 133310"/>
                  <a:gd name="connsiteY81" fmla="*/ 98220 h 108711"/>
                  <a:gd name="connsiteX82" fmla="*/ 17193 w 133310"/>
                  <a:gd name="connsiteY82" fmla="*/ 99983 h 108711"/>
                  <a:gd name="connsiteX83" fmla="*/ 18074 w 133310"/>
                  <a:gd name="connsiteY83" fmla="*/ 99718 h 108711"/>
                  <a:gd name="connsiteX84" fmla="*/ 18692 w 133310"/>
                  <a:gd name="connsiteY84" fmla="*/ 99718 h 108711"/>
                  <a:gd name="connsiteX85" fmla="*/ 18956 w 133310"/>
                  <a:gd name="connsiteY85" fmla="*/ 99983 h 108711"/>
                  <a:gd name="connsiteX86" fmla="*/ 19573 w 133310"/>
                  <a:gd name="connsiteY86" fmla="*/ 100336 h 108711"/>
                  <a:gd name="connsiteX87" fmla="*/ 20102 w 133310"/>
                  <a:gd name="connsiteY87" fmla="*/ 99983 h 108711"/>
                  <a:gd name="connsiteX88" fmla="*/ 20455 w 133310"/>
                  <a:gd name="connsiteY88" fmla="*/ 99983 h 108711"/>
                  <a:gd name="connsiteX89" fmla="*/ 21248 w 133310"/>
                  <a:gd name="connsiteY89" fmla="*/ 101746 h 108711"/>
                  <a:gd name="connsiteX90" fmla="*/ 22483 w 133310"/>
                  <a:gd name="connsiteY90" fmla="*/ 101746 h 108711"/>
                  <a:gd name="connsiteX91" fmla="*/ 23629 w 133310"/>
                  <a:gd name="connsiteY91" fmla="*/ 101482 h 108711"/>
                  <a:gd name="connsiteX92" fmla="*/ 24775 w 133310"/>
                  <a:gd name="connsiteY92" fmla="*/ 101129 h 108711"/>
                  <a:gd name="connsiteX93" fmla="*/ 28302 w 133310"/>
                  <a:gd name="connsiteY93" fmla="*/ 101129 h 108711"/>
                  <a:gd name="connsiteX94" fmla="*/ 29448 w 133310"/>
                  <a:gd name="connsiteY94" fmla="*/ 100600 h 108711"/>
                  <a:gd name="connsiteX95" fmla="*/ 29713 w 133310"/>
                  <a:gd name="connsiteY95" fmla="*/ 99718 h 108711"/>
                  <a:gd name="connsiteX96" fmla="*/ 30065 w 133310"/>
                  <a:gd name="connsiteY96" fmla="*/ 99718 h 108711"/>
                  <a:gd name="connsiteX97" fmla="*/ 34121 w 133310"/>
                  <a:gd name="connsiteY97" fmla="*/ 101129 h 108711"/>
                  <a:gd name="connsiteX98" fmla="*/ 35003 w 133310"/>
                  <a:gd name="connsiteY98" fmla="*/ 101482 h 108711"/>
                  <a:gd name="connsiteX99" fmla="*/ 36149 w 133310"/>
                  <a:gd name="connsiteY99" fmla="*/ 101129 h 108711"/>
                  <a:gd name="connsiteX100" fmla="*/ 37912 w 133310"/>
                  <a:gd name="connsiteY100" fmla="*/ 101129 h 108711"/>
                  <a:gd name="connsiteX101" fmla="*/ 38794 w 133310"/>
                  <a:gd name="connsiteY101" fmla="*/ 100600 h 108711"/>
                  <a:gd name="connsiteX102" fmla="*/ 39059 w 133310"/>
                  <a:gd name="connsiteY102" fmla="*/ 102363 h 108711"/>
                  <a:gd name="connsiteX103" fmla="*/ 39411 w 133310"/>
                  <a:gd name="connsiteY103" fmla="*/ 101482 h 108711"/>
                  <a:gd name="connsiteX104" fmla="*/ 40293 w 133310"/>
                  <a:gd name="connsiteY104" fmla="*/ 98220 h 108711"/>
                  <a:gd name="connsiteX105" fmla="*/ 41703 w 133310"/>
                  <a:gd name="connsiteY105" fmla="*/ 96192 h 108711"/>
                  <a:gd name="connsiteX106" fmla="*/ 41968 w 133310"/>
                  <a:gd name="connsiteY106" fmla="*/ 96809 h 108711"/>
                  <a:gd name="connsiteX107" fmla="*/ 43202 w 133310"/>
                  <a:gd name="connsiteY107" fmla="*/ 95927 h 108711"/>
                  <a:gd name="connsiteX108" fmla="*/ 44084 w 133310"/>
                  <a:gd name="connsiteY108" fmla="*/ 96192 h 108711"/>
                  <a:gd name="connsiteX109" fmla="*/ 44349 w 133310"/>
                  <a:gd name="connsiteY109" fmla="*/ 96809 h 108711"/>
                  <a:gd name="connsiteX110" fmla="*/ 42850 w 133310"/>
                  <a:gd name="connsiteY110" fmla="*/ 97073 h 108711"/>
                  <a:gd name="connsiteX111" fmla="*/ 41439 w 133310"/>
                  <a:gd name="connsiteY111" fmla="*/ 98837 h 108711"/>
                  <a:gd name="connsiteX112" fmla="*/ 41086 w 133310"/>
                  <a:gd name="connsiteY112" fmla="*/ 101482 h 108711"/>
                  <a:gd name="connsiteX113" fmla="*/ 39059 w 133310"/>
                  <a:gd name="connsiteY113" fmla="*/ 102892 h 108711"/>
                  <a:gd name="connsiteX114" fmla="*/ 37912 w 133310"/>
                  <a:gd name="connsiteY114" fmla="*/ 102363 h 108711"/>
                  <a:gd name="connsiteX115" fmla="*/ 36149 w 133310"/>
                  <a:gd name="connsiteY115" fmla="*/ 102011 h 108711"/>
                  <a:gd name="connsiteX116" fmla="*/ 34386 w 133310"/>
                  <a:gd name="connsiteY116" fmla="*/ 102892 h 108711"/>
                  <a:gd name="connsiteX117" fmla="*/ 32093 w 133310"/>
                  <a:gd name="connsiteY117" fmla="*/ 101746 h 108711"/>
                  <a:gd name="connsiteX118" fmla="*/ 26803 w 133310"/>
                  <a:gd name="connsiteY118" fmla="*/ 101746 h 108711"/>
                  <a:gd name="connsiteX119" fmla="*/ 25657 w 133310"/>
                  <a:gd name="connsiteY119" fmla="*/ 101746 h 108711"/>
                  <a:gd name="connsiteX120" fmla="*/ 22747 w 133310"/>
                  <a:gd name="connsiteY120" fmla="*/ 102892 h 108711"/>
                  <a:gd name="connsiteX121" fmla="*/ 20102 w 133310"/>
                  <a:gd name="connsiteY121" fmla="*/ 102363 h 108711"/>
                  <a:gd name="connsiteX122" fmla="*/ 19221 w 133310"/>
                  <a:gd name="connsiteY122" fmla="*/ 101746 h 108711"/>
                  <a:gd name="connsiteX123" fmla="*/ 18956 w 133310"/>
                  <a:gd name="connsiteY123" fmla="*/ 102363 h 108711"/>
                  <a:gd name="connsiteX124" fmla="*/ 18339 w 133310"/>
                  <a:gd name="connsiteY124" fmla="*/ 100600 h 108711"/>
                  <a:gd name="connsiteX125" fmla="*/ 14548 w 133310"/>
                  <a:gd name="connsiteY125" fmla="*/ 103510 h 108711"/>
                  <a:gd name="connsiteX126" fmla="*/ 13666 w 133310"/>
                  <a:gd name="connsiteY126" fmla="*/ 105802 h 108711"/>
                  <a:gd name="connsiteX127" fmla="*/ 14548 w 133310"/>
                  <a:gd name="connsiteY127" fmla="*/ 107301 h 108711"/>
                  <a:gd name="connsiteX128" fmla="*/ 14900 w 133310"/>
                  <a:gd name="connsiteY128" fmla="*/ 108712 h 108711"/>
                  <a:gd name="connsiteX129" fmla="*/ 26538 w 133310"/>
                  <a:gd name="connsiteY129" fmla="*/ 104920 h 108711"/>
                  <a:gd name="connsiteX130" fmla="*/ 44084 w 133310"/>
                  <a:gd name="connsiteY130" fmla="*/ 102892 h 108711"/>
                  <a:gd name="connsiteX131" fmla="*/ 47523 w 133310"/>
                  <a:gd name="connsiteY131" fmla="*/ 99718 h 108711"/>
                  <a:gd name="connsiteX132" fmla="*/ 80498 w 133310"/>
                  <a:gd name="connsiteY132" fmla="*/ 99718 h 108711"/>
                  <a:gd name="connsiteX133" fmla="*/ 88962 w 133310"/>
                  <a:gd name="connsiteY133" fmla="*/ 99983 h 108711"/>
                  <a:gd name="connsiteX134" fmla="*/ 90990 w 133310"/>
                  <a:gd name="connsiteY134" fmla="*/ 99983 h 108711"/>
                  <a:gd name="connsiteX135" fmla="*/ 98572 w 133310"/>
                  <a:gd name="connsiteY135" fmla="*/ 102892 h 108711"/>
                  <a:gd name="connsiteX136" fmla="*/ 116382 w 133310"/>
                  <a:gd name="connsiteY136" fmla="*/ 106419 h 108711"/>
                  <a:gd name="connsiteX137" fmla="*/ 133311 w 133310"/>
                  <a:gd name="connsiteY137" fmla="*/ 104656 h 108711"/>
                  <a:gd name="connsiteX138" fmla="*/ 132693 w 133310"/>
                  <a:gd name="connsiteY138" fmla="*/ 101746 h 108711"/>
                  <a:gd name="connsiteX139" fmla="*/ 132429 w 133310"/>
                  <a:gd name="connsiteY139" fmla="*/ 99454 h 108711"/>
                  <a:gd name="connsiteX140" fmla="*/ 132958 w 133310"/>
                  <a:gd name="connsiteY140" fmla="*/ 95927 h 108711"/>
                  <a:gd name="connsiteX141" fmla="*/ 131812 w 133310"/>
                  <a:gd name="connsiteY141" fmla="*/ 91254 h 108711"/>
                  <a:gd name="connsiteX142" fmla="*/ 131547 w 133310"/>
                  <a:gd name="connsiteY142" fmla="*/ 88345 h 108711"/>
                  <a:gd name="connsiteX143" fmla="*/ 127756 w 133310"/>
                  <a:gd name="connsiteY143" fmla="*/ 83407 h 108711"/>
                  <a:gd name="connsiteX144" fmla="*/ 122818 w 133310"/>
                  <a:gd name="connsiteY144" fmla="*/ 84289 h 108711"/>
                  <a:gd name="connsiteX145" fmla="*/ 121937 w 133310"/>
                  <a:gd name="connsiteY145" fmla="*/ 80762 h 108711"/>
                  <a:gd name="connsiteX146" fmla="*/ 120173 w 133310"/>
                  <a:gd name="connsiteY146" fmla="*/ 78382 h 108711"/>
                  <a:gd name="connsiteX147" fmla="*/ 117881 w 133310"/>
                  <a:gd name="connsiteY147" fmla="*/ 76354 h 108711"/>
                  <a:gd name="connsiteX148" fmla="*/ 116647 w 133310"/>
                  <a:gd name="connsiteY148" fmla="*/ 74591 h 108711"/>
                  <a:gd name="connsiteX149" fmla="*/ 119909 w 133310"/>
                  <a:gd name="connsiteY149" fmla="*/ 70535 h 108711"/>
                  <a:gd name="connsiteX150" fmla="*/ 119556 w 133310"/>
                  <a:gd name="connsiteY150" fmla="*/ 63569 h 108711"/>
                  <a:gd name="connsiteX151" fmla="*/ 117881 w 133310"/>
                  <a:gd name="connsiteY151" fmla="*/ 60307 h 108711"/>
                  <a:gd name="connsiteX152" fmla="*/ 116999 w 133310"/>
                  <a:gd name="connsiteY152" fmla="*/ 58279 h 108711"/>
                  <a:gd name="connsiteX153" fmla="*/ 114619 w 133310"/>
                  <a:gd name="connsiteY153" fmla="*/ 56869 h 108711"/>
                  <a:gd name="connsiteX154" fmla="*/ 115500 w 133310"/>
                  <a:gd name="connsiteY154" fmla="*/ 54224 h 108711"/>
                  <a:gd name="connsiteX155" fmla="*/ 115500 w 133310"/>
                  <a:gd name="connsiteY155" fmla="*/ 52196 h 108711"/>
                  <a:gd name="connsiteX156" fmla="*/ 113737 w 133310"/>
                  <a:gd name="connsiteY156" fmla="*/ 48933 h 108711"/>
                  <a:gd name="connsiteX157" fmla="*/ 112591 w 133310"/>
                  <a:gd name="connsiteY157" fmla="*/ 47170 h 108711"/>
                  <a:gd name="connsiteX158" fmla="*/ 110827 w 133310"/>
                  <a:gd name="connsiteY158" fmla="*/ 45142 h 108711"/>
                  <a:gd name="connsiteX159" fmla="*/ 109946 w 133310"/>
                  <a:gd name="connsiteY159" fmla="*/ 42233 h 108711"/>
                  <a:gd name="connsiteX160" fmla="*/ 105273 w 133310"/>
                  <a:gd name="connsiteY160" fmla="*/ 38441 h 108711"/>
                  <a:gd name="connsiteX161" fmla="*/ 102099 w 133310"/>
                  <a:gd name="connsiteY161" fmla="*/ 37560 h 108711"/>
                  <a:gd name="connsiteX162" fmla="*/ 100071 w 133310"/>
                  <a:gd name="connsiteY162" fmla="*/ 36414 h 108711"/>
                  <a:gd name="connsiteX163" fmla="*/ 101217 w 133310"/>
                  <a:gd name="connsiteY163" fmla="*/ 35003 h 108711"/>
                  <a:gd name="connsiteX164" fmla="*/ 100600 w 133310"/>
                  <a:gd name="connsiteY164" fmla="*/ 33504 h 108711"/>
                  <a:gd name="connsiteX165" fmla="*/ 98837 w 133310"/>
                  <a:gd name="connsiteY165" fmla="*/ 30594 h 108711"/>
                  <a:gd name="connsiteX166" fmla="*/ 96544 w 133310"/>
                  <a:gd name="connsiteY166" fmla="*/ 29096 h 108711"/>
                  <a:gd name="connsiteX167" fmla="*/ 94252 w 133310"/>
                  <a:gd name="connsiteY167" fmla="*/ 27068 h 108711"/>
                  <a:gd name="connsiteX168" fmla="*/ 92489 w 133310"/>
                  <a:gd name="connsiteY168" fmla="*/ 25304 h 108711"/>
                  <a:gd name="connsiteX169" fmla="*/ 92753 w 133310"/>
                  <a:gd name="connsiteY169" fmla="*/ 22395 h 108711"/>
                  <a:gd name="connsiteX170" fmla="*/ 91254 w 133310"/>
                  <a:gd name="connsiteY170" fmla="*/ 21249 h 108711"/>
                  <a:gd name="connsiteX171" fmla="*/ 92136 w 133310"/>
                  <a:gd name="connsiteY171" fmla="*/ 18604 h 108711"/>
                  <a:gd name="connsiteX172" fmla="*/ 90373 w 133310"/>
                  <a:gd name="connsiteY172" fmla="*/ 15077 h 108711"/>
                  <a:gd name="connsiteX173" fmla="*/ 86317 w 133310"/>
                  <a:gd name="connsiteY173" fmla="*/ 16047 h 108711"/>
                  <a:gd name="connsiteX174" fmla="*/ 85788 w 133310"/>
                  <a:gd name="connsiteY174" fmla="*/ 15429 h 108711"/>
                  <a:gd name="connsiteX175" fmla="*/ 86581 w 133310"/>
                  <a:gd name="connsiteY175" fmla="*/ 13402 h 108711"/>
                  <a:gd name="connsiteX176" fmla="*/ 82878 w 133310"/>
                  <a:gd name="connsiteY176" fmla="*/ 14812 h 108711"/>
                  <a:gd name="connsiteX177" fmla="*/ 82261 w 133310"/>
                  <a:gd name="connsiteY177" fmla="*/ 12520 h 108711"/>
                  <a:gd name="connsiteX178" fmla="*/ 78734 w 133310"/>
                  <a:gd name="connsiteY178" fmla="*/ 11638 h 108711"/>
                  <a:gd name="connsiteX179" fmla="*/ 75825 w 133310"/>
                  <a:gd name="connsiteY179" fmla="*/ 8993 h 108711"/>
                  <a:gd name="connsiteX180" fmla="*/ 75560 w 133310"/>
                  <a:gd name="connsiteY180" fmla="*/ 6965 h 108711"/>
                  <a:gd name="connsiteX181" fmla="*/ 70270 w 133310"/>
                  <a:gd name="connsiteY181" fmla="*/ 3174 h 108711"/>
                  <a:gd name="connsiteX182" fmla="*/ 68859 w 133310"/>
                  <a:gd name="connsiteY182" fmla="*/ 2557 h 108711"/>
                  <a:gd name="connsiteX183" fmla="*/ 67096 w 133310"/>
                  <a:gd name="connsiteY183" fmla="*/ 264 h 108711"/>
                  <a:gd name="connsiteX184" fmla="*/ 66214 w 133310"/>
                  <a:gd name="connsiteY184" fmla="*/ 529 h 108711"/>
                  <a:gd name="connsiteX185" fmla="*/ 64451 w 133310"/>
                  <a:gd name="connsiteY185" fmla="*/ 1146 h 108711"/>
                  <a:gd name="connsiteX186" fmla="*/ 61806 w 133310"/>
                  <a:gd name="connsiteY186" fmla="*/ 793 h 108711"/>
                  <a:gd name="connsiteX187" fmla="*/ 60660 w 133310"/>
                  <a:gd name="connsiteY187" fmla="*/ 529 h 108711"/>
                  <a:gd name="connsiteX188" fmla="*/ 58632 w 133310"/>
                  <a:gd name="connsiteY188" fmla="*/ 1411 h 108711"/>
                  <a:gd name="connsiteX189" fmla="*/ 57750 w 133310"/>
                  <a:gd name="connsiteY189" fmla="*/ 793 h 108711"/>
                  <a:gd name="connsiteX190" fmla="*/ 55987 w 133310"/>
                  <a:gd name="connsiteY190" fmla="*/ 1675 h 108711"/>
                  <a:gd name="connsiteX191" fmla="*/ 54576 w 133310"/>
                  <a:gd name="connsiteY191" fmla="*/ 0 h 108711"/>
                  <a:gd name="connsiteX192" fmla="*/ 53342 w 133310"/>
                  <a:gd name="connsiteY192" fmla="*/ 2292 h 108711"/>
                  <a:gd name="connsiteX193" fmla="*/ 51314 w 133310"/>
                  <a:gd name="connsiteY193" fmla="*/ 264 h 108711"/>
                  <a:gd name="connsiteX194" fmla="*/ 47787 w 133310"/>
                  <a:gd name="connsiteY194" fmla="*/ 2557 h 108711"/>
                  <a:gd name="connsiteX195" fmla="*/ 44878 w 133310"/>
                  <a:gd name="connsiteY195" fmla="*/ 2292 h 108711"/>
                  <a:gd name="connsiteX196" fmla="*/ 43202 w 133310"/>
                  <a:gd name="connsiteY196" fmla="*/ 3791 h 108711"/>
                  <a:gd name="connsiteX197" fmla="*/ 38530 w 133310"/>
                  <a:gd name="connsiteY197" fmla="*/ 4056 h 108711"/>
                  <a:gd name="connsiteX198" fmla="*/ 33239 w 133310"/>
                  <a:gd name="connsiteY198" fmla="*/ 4585 h 108711"/>
                  <a:gd name="connsiteX199" fmla="*/ 31476 w 133310"/>
                  <a:gd name="connsiteY199" fmla="*/ 2821 h 108711"/>
                  <a:gd name="connsiteX200" fmla="*/ 29184 w 133310"/>
                  <a:gd name="connsiteY200" fmla="*/ 3791 h 108711"/>
                  <a:gd name="connsiteX201" fmla="*/ 25922 w 133310"/>
                  <a:gd name="connsiteY201" fmla="*/ 6084 h 108711"/>
                  <a:gd name="connsiteX202" fmla="*/ 22483 w 133310"/>
                  <a:gd name="connsiteY202" fmla="*/ 10757 h 108711"/>
                  <a:gd name="connsiteX203" fmla="*/ 20455 w 133310"/>
                  <a:gd name="connsiteY203" fmla="*/ 13402 h 108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</a:cxnLst>
                <a:rect l="l" t="t" r="r" b="b"/>
                <a:pathLst>
                  <a:path w="133310" h="108711">
                    <a:moveTo>
                      <a:pt x="20984" y="15077"/>
                    </a:moveTo>
                    <a:lnTo>
                      <a:pt x="20455" y="21513"/>
                    </a:lnTo>
                    <a:lnTo>
                      <a:pt x="17810" y="28214"/>
                    </a:lnTo>
                    <a:lnTo>
                      <a:pt x="12520" y="36414"/>
                    </a:lnTo>
                    <a:lnTo>
                      <a:pt x="6084" y="43732"/>
                    </a:lnTo>
                    <a:lnTo>
                      <a:pt x="3527" y="44261"/>
                    </a:lnTo>
                    <a:lnTo>
                      <a:pt x="1763" y="46906"/>
                    </a:lnTo>
                    <a:lnTo>
                      <a:pt x="0" y="50697"/>
                    </a:lnTo>
                    <a:lnTo>
                      <a:pt x="1146" y="49815"/>
                    </a:lnTo>
                    <a:lnTo>
                      <a:pt x="2292" y="50168"/>
                    </a:lnTo>
                    <a:lnTo>
                      <a:pt x="6436" y="50697"/>
                    </a:lnTo>
                    <a:lnTo>
                      <a:pt x="8464" y="52460"/>
                    </a:lnTo>
                    <a:lnTo>
                      <a:pt x="10492" y="56516"/>
                    </a:lnTo>
                    <a:lnTo>
                      <a:pt x="10757" y="59161"/>
                    </a:lnTo>
                    <a:lnTo>
                      <a:pt x="12520" y="62335"/>
                    </a:lnTo>
                    <a:lnTo>
                      <a:pt x="14548" y="66479"/>
                    </a:lnTo>
                    <a:lnTo>
                      <a:pt x="14283" y="69124"/>
                    </a:lnTo>
                    <a:lnTo>
                      <a:pt x="15165" y="67625"/>
                    </a:lnTo>
                    <a:lnTo>
                      <a:pt x="15429" y="66479"/>
                    </a:lnTo>
                    <a:lnTo>
                      <a:pt x="15782" y="64716"/>
                    </a:lnTo>
                    <a:lnTo>
                      <a:pt x="16928" y="64451"/>
                    </a:lnTo>
                    <a:lnTo>
                      <a:pt x="16311" y="65862"/>
                    </a:lnTo>
                    <a:lnTo>
                      <a:pt x="16928" y="66744"/>
                    </a:lnTo>
                    <a:lnTo>
                      <a:pt x="18339" y="65862"/>
                    </a:lnTo>
                    <a:lnTo>
                      <a:pt x="20455" y="62952"/>
                    </a:lnTo>
                    <a:lnTo>
                      <a:pt x="20984" y="62071"/>
                    </a:lnTo>
                    <a:lnTo>
                      <a:pt x="21866" y="62335"/>
                    </a:lnTo>
                    <a:lnTo>
                      <a:pt x="23365" y="62335"/>
                    </a:lnTo>
                    <a:lnTo>
                      <a:pt x="21866" y="62952"/>
                    </a:lnTo>
                    <a:lnTo>
                      <a:pt x="20719" y="64451"/>
                    </a:lnTo>
                    <a:lnTo>
                      <a:pt x="19838" y="65245"/>
                    </a:lnTo>
                    <a:lnTo>
                      <a:pt x="19573" y="65862"/>
                    </a:lnTo>
                    <a:lnTo>
                      <a:pt x="19221" y="67361"/>
                    </a:lnTo>
                    <a:lnTo>
                      <a:pt x="18074" y="67361"/>
                    </a:lnTo>
                    <a:lnTo>
                      <a:pt x="17810" y="67361"/>
                    </a:lnTo>
                    <a:lnTo>
                      <a:pt x="16046" y="68242"/>
                    </a:lnTo>
                    <a:lnTo>
                      <a:pt x="15429" y="70006"/>
                    </a:lnTo>
                    <a:lnTo>
                      <a:pt x="15782" y="72034"/>
                    </a:lnTo>
                    <a:lnTo>
                      <a:pt x="16311" y="72563"/>
                    </a:lnTo>
                    <a:lnTo>
                      <a:pt x="17193" y="70535"/>
                    </a:lnTo>
                    <a:lnTo>
                      <a:pt x="20984" y="67361"/>
                    </a:lnTo>
                    <a:lnTo>
                      <a:pt x="20455" y="70006"/>
                    </a:lnTo>
                    <a:lnTo>
                      <a:pt x="20719" y="70535"/>
                    </a:lnTo>
                    <a:lnTo>
                      <a:pt x="20455" y="71152"/>
                    </a:lnTo>
                    <a:lnTo>
                      <a:pt x="19573" y="70535"/>
                    </a:lnTo>
                    <a:lnTo>
                      <a:pt x="19221" y="70535"/>
                    </a:lnTo>
                    <a:lnTo>
                      <a:pt x="17193" y="73797"/>
                    </a:lnTo>
                    <a:lnTo>
                      <a:pt x="17193" y="74326"/>
                    </a:lnTo>
                    <a:lnTo>
                      <a:pt x="18339" y="74326"/>
                    </a:lnTo>
                    <a:lnTo>
                      <a:pt x="20719" y="73444"/>
                    </a:lnTo>
                    <a:lnTo>
                      <a:pt x="20102" y="74591"/>
                    </a:lnTo>
                    <a:lnTo>
                      <a:pt x="18692" y="76089"/>
                    </a:lnTo>
                    <a:lnTo>
                      <a:pt x="19221" y="77235"/>
                    </a:lnTo>
                    <a:lnTo>
                      <a:pt x="46641" y="71416"/>
                    </a:lnTo>
                    <a:lnTo>
                      <a:pt x="51578" y="70535"/>
                    </a:lnTo>
                    <a:lnTo>
                      <a:pt x="55987" y="71681"/>
                    </a:lnTo>
                    <a:lnTo>
                      <a:pt x="61541" y="75208"/>
                    </a:lnTo>
                    <a:lnTo>
                      <a:pt x="67625" y="80498"/>
                    </a:lnTo>
                    <a:lnTo>
                      <a:pt x="72915" y="77588"/>
                    </a:lnTo>
                    <a:lnTo>
                      <a:pt x="77324" y="77588"/>
                    </a:lnTo>
                    <a:lnTo>
                      <a:pt x="79616" y="81909"/>
                    </a:lnTo>
                    <a:lnTo>
                      <a:pt x="72651" y="84553"/>
                    </a:lnTo>
                    <a:lnTo>
                      <a:pt x="66479" y="85700"/>
                    </a:lnTo>
                    <a:lnTo>
                      <a:pt x="62688" y="82526"/>
                    </a:lnTo>
                    <a:lnTo>
                      <a:pt x="58015" y="80498"/>
                    </a:lnTo>
                    <a:lnTo>
                      <a:pt x="53959" y="79263"/>
                    </a:lnTo>
                    <a:lnTo>
                      <a:pt x="48669" y="78382"/>
                    </a:lnTo>
                    <a:lnTo>
                      <a:pt x="44349" y="81909"/>
                    </a:lnTo>
                    <a:lnTo>
                      <a:pt x="37295" y="82790"/>
                    </a:lnTo>
                    <a:lnTo>
                      <a:pt x="14900" y="89844"/>
                    </a:lnTo>
                    <a:lnTo>
                      <a:pt x="14900" y="90637"/>
                    </a:lnTo>
                    <a:lnTo>
                      <a:pt x="14019" y="94428"/>
                    </a:lnTo>
                    <a:lnTo>
                      <a:pt x="14019" y="96544"/>
                    </a:lnTo>
                    <a:lnTo>
                      <a:pt x="13137" y="97955"/>
                    </a:lnTo>
                    <a:lnTo>
                      <a:pt x="13666" y="98837"/>
                    </a:lnTo>
                    <a:lnTo>
                      <a:pt x="14283" y="98220"/>
                    </a:lnTo>
                    <a:lnTo>
                      <a:pt x="15165" y="98220"/>
                    </a:lnTo>
                    <a:lnTo>
                      <a:pt x="15165" y="99454"/>
                    </a:lnTo>
                    <a:lnTo>
                      <a:pt x="14019" y="101746"/>
                    </a:lnTo>
                    <a:lnTo>
                      <a:pt x="15782" y="99983"/>
                    </a:lnTo>
                    <a:lnTo>
                      <a:pt x="16928" y="98572"/>
                    </a:lnTo>
                    <a:lnTo>
                      <a:pt x="17810" y="98220"/>
                    </a:lnTo>
                    <a:lnTo>
                      <a:pt x="17193" y="99983"/>
                    </a:lnTo>
                    <a:lnTo>
                      <a:pt x="18074" y="99718"/>
                    </a:lnTo>
                    <a:lnTo>
                      <a:pt x="18692" y="99718"/>
                    </a:lnTo>
                    <a:lnTo>
                      <a:pt x="18956" y="99983"/>
                    </a:lnTo>
                    <a:lnTo>
                      <a:pt x="19573" y="100336"/>
                    </a:lnTo>
                    <a:lnTo>
                      <a:pt x="20102" y="99983"/>
                    </a:lnTo>
                    <a:lnTo>
                      <a:pt x="20455" y="99983"/>
                    </a:lnTo>
                    <a:lnTo>
                      <a:pt x="21248" y="101746"/>
                    </a:lnTo>
                    <a:lnTo>
                      <a:pt x="22483" y="101746"/>
                    </a:lnTo>
                    <a:lnTo>
                      <a:pt x="23629" y="101482"/>
                    </a:lnTo>
                    <a:lnTo>
                      <a:pt x="24775" y="101129"/>
                    </a:lnTo>
                    <a:lnTo>
                      <a:pt x="28302" y="101129"/>
                    </a:lnTo>
                    <a:lnTo>
                      <a:pt x="29448" y="100600"/>
                    </a:lnTo>
                    <a:lnTo>
                      <a:pt x="29713" y="99718"/>
                    </a:lnTo>
                    <a:lnTo>
                      <a:pt x="30065" y="99718"/>
                    </a:lnTo>
                    <a:lnTo>
                      <a:pt x="34121" y="101129"/>
                    </a:lnTo>
                    <a:lnTo>
                      <a:pt x="35003" y="101482"/>
                    </a:lnTo>
                    <a:lnTo>
                      <a:pt x="36149" y="101129"/>
                    </a:lnTo>
                    <a:lnTo>
                      <a:pt x="37912" y="101129"/>
                    </a:lnTo>
                    <a:lnTo>
                      <a:pt x="38794" y="100600"/>
                    </a:lnTo>
                    <a:lnTo>
                      <a:pt x="39059" y="102363"/>
                    </a:lnTo>
                    <a:lnTo>
                      <a:pt x="39411" y="101482"/>
                    </a:lnTo>
                    <a:lnTo>
                      <a:pt x="40293" y="98220"/>
                    </a:lnTo>
                    <a:lnTo>
                      <a:pt x="41703" y="96192"/>
                    </a:lnTo>
                    <a:lnTo>
                      <a:pt x="41968" y="96809"/>
                    </a:lnTo>
                    <a:lnTo>
                      <a:pt x="43202" y="95927"/>
                    </a:lnTo>
                    <a:lnTo>
                      <a:pt x="44084" y="96192"/>
                    </a:lnTo>
                    <a:lnTo>
                      <a:pt x="44349" y="96809"/>
                    </a:lnTo>
                    <a:lnTo>
                      <a:pt x="42850" y="97073"/>
                    </a:lnTo>
                    <a:lnTo>
                      <a:pt x="41439" y="98837"/>
                    </a:lnTo>
                    <a:lnTo>
                      <a:pt x="41086" y="101482"/>
                    </a:lnTo>
                    <a:lnTo>
                      <a:pt x="39059" y="102892"/>
                    </a:lnTo>
                    <a:lnTo>
                      <a:pt x="37912" y="102363"/>
                    </a:lnTo>
                    <a:lnTo>
                      <a:pt x="36149" y="102011"/>
                    </a:lnTo>
                    <a:lnTo>
                      <a:pt x="34386" y="102892"/>
                    </a:lnTo>
                    <a:lnTo>
                      <a:pt x="32093" y="101746"/>
                    </a:lnTo>
                    <a:lnTo>
                      <a:pt x="26803" y="101746"/>
                    </a:lnTo>
                    <a:lnTo>
                      <a:pt x="25657" y="101746"/>
                    </a:lnTo>
                    <a:lnTo>
                      <a:pt x="22747" y="102892"/>
                    </a:lnTo>
                    <a:lnTo>
                      <a:pt x="20102" y="102363"/>
                    </a:lnTo>
                    <a:lnTo>
                      <a:pt x="19221" y="101746"/>
                    </a:lnTo>
                    <a:lnTo>
                      <a:pt x="18956" y="102363"/>
                    </a:lnTo>
                    <a:lnTo>
                      <a:pt x="18339" y="100600"/>
                    </a:lnTo>
                    <a:lnTo>
                      <a:pt x="14548" y="103510"/>
                    </a:lnTo>
                    <a:lnTo>
                      <a:pt x="13666" y="105802"/>
                    </a:lnTo>
                    <a:lnTo>
                      <a:pt x="14548" y="107301"/>
                    </a:lnTo>
                    <a:lnTo>
                      <a:pt x="14900" y="108712"/>
                    </a:lnTo>
                    <a:lnTo>
                      <a:pt x="26538" y="104920"/>
                    </a:lnTo>
                    <a:lnTo>
                      <a:pt x="44084" y="102892"/>
                    </a:lnTo>
                    <a:lnTo>
                      <a:pt x="47523" y="99718"/>
                    </a:lnTo>
                    <a:lnTo>
                      <a:pt x="80498" y="99718"/>
                    </a:lnTo>
                    <a:lnTo>
                      <a:pt x="88962" y="99983"/>
                    </a:lnTo>
                    <a:lnTo>
                      <a:pt x="90990" y="99983"/>
                    </a:lnTo>
                    <a:lnTo>
                      <a:pt x="98572" y="102892"/>
                    </a:lnTo>
                    <a:lnTo>
                      <a:pt x="116382" y="106419"/>
                    </a:lnTo>
                    <a:lnTo>
                      <a:pt x="133311" y="104656"/>
                    </a:lnTo>
                    <a:lnTo>
                      <a:pt x="132693" y="101746"/>
                    </a:lnTo>
                    <a:lnTo>
                      <a:pt x="132429" y="99454"/>
                    </a:lnTo>
                    <a:lnTo>
                      <a:pt x="132958" y="95927"/>
                    </a:lnTo>
                    <a:lnTo>
                      <a:pt x="131812" y="91254"/>
                    </a:lnTo>
                    <a:lnTo>
                      <a:pt x="131547" y="88345"/>
                    </a:lnTo>
                    <a:lnTo>
                      <a:pt x="127756" y="83407"/>
                    </a:lnTo>
                    <a:lnTo>
                      <a:pt x="122818" y="84289"/>
                    </a:lnTo>
                    <a:lnTo>
                      <a:pt x="121937" y="80762"/>
                    </a:lnTo>
                    <a:lnTo>
                      <a:pt x="120173" y="78382"/>
                    </a:lnTo>
                    <a:lnTo>
                      <a:pt x="117881" y="76354"/>
                    </a:lnTo>
                    <a:lnTo>
                      <a:pt x="116647" y="74591"/>
                    </a:lnTo>
                    <a:lnTo>
                      <a:pt x="119909" y="70535"/>
                    </a:lnTo>
                    <a:lnTo>
                      <a:pt x="119556" y="63569"/>
                    </a:lnTo>
                    <a:lnTo>
                      <a:pt x="117881" y="60307"/>
                    </a:lnTo>
                    <a:lnTo>
                      <a:pt x="116999" y="58279"/>
                    </a:lnTo>
                    <a:lnTo>
                      <a:pt x="114619" y="56869"/>
                    </a:lnTo>
                    <a:lnTo>
                      <a:pt x="115500" y="54224"/>
                    </a:lnTo>
                    <a:lnTo>
                      <a:pt x="115500" y="52196"/>
                    </a:lnTo>
                    <a:lnTo>
                      <a:pt x="113737" y="48933"/>
                    </a:lnTo>
                    <a:lnTo>
                      <a:pt x="112591" y="47170"/>
                    </a:lnTo>
                    <a:lnTo>
                      <a:pt x="110827" y="45142"/>
                    </a:lnTo>
                    <a:lnTo>
                      <a:pt x="109946" y="42233"/>
                    </a:lnTo>
                    <a:lnTo>
                      <a:pt x="105273" y="38441"/>
                    </a:lnTo>
                    <a:lnTo>
                      <a:pt x="102099" y="37560"/>
                    </a:lnTo>
                    <a:lnTo>
                      <a:pt x="100071" y="36414"/>
                    </a:lnTo>
                    <a:lnTo>
                      <a:pt x="101217" y="35003"/>
                    </a:lnTo>
                    <a:lnTo>
                      <a:pt x="100600" y="33504"/>
                    </a:lnTo>
                    <a:lnTo>
                      <a:pt x="98837" y="30594"/>
                    </a:lnTo>
                    <a:lnTo>
                      <a:pt x="96544" y="29096"/>
                    </a:lnTo>
                    <a:lnTo>
                      <a:pt x="94252" y="27068"/>
                    </a:lnTo>
                    <a:lnTo>
                      <a:pt x="92489" y="25304"/>
                    </a:lnTo>
                    <a:lnTo>
                      <a:pt x="92753" y="22395"/>
                    </a:lnTo>
                    <a:lnTo>
                      <a:pt x="91254" y="21249"/>
                    </a:lnTo>
                    <a:lnTo>
                      <a:pt x="92136" y="18604"/>
                    </a:lnTo>
                    <a:lnTo>
                      <a:pt x="90373" y="15077"/>
                    </a:lnTo>
                    <a:lnTo>
                      <a:pt x="86317" y="16047"/>
                    </a:lnTo>
                    <a:lnTo>
                      <a:pt x="85788" y="15429"/>
                    </a:lnTo>
                    <a:lnTo>
                      <a:pt x="86581" y="13402"/>
                    </a:lnTo>
                    <a:lnTo>
                      <a:pt x="82878" y="14812"/>
                    </a:lnTo>
                    <a:lnTo>
                      <a:pt x="82261" y="12520"/>
                    </a:lnTo>
                    <a:lnTo>
                      <a:pt x="78734" y="11638"/>
                    </a:lnTo>
                    <a:lnTo>
                      <a:pt x="75825" y="8993"/>
                    </a:lnTo>
                    <a:lnTo>
                      <a:pt x="75560" y="6965"/>
                    </a:lnTo>
                    <a:lnTo>
                      <a:pt x="70270" y="3174"/>
                    </a:lnTo>
                    <a:lnTo>
                      <a:pt x="68859" y="2557"/>
                    </a:lnTo>
                    <a:lnTo>
                      <a:pt x="67096" y="264"/>
                    </a:lnTo>
                    <a:lnTo>
                      <a:pt x="66214" y="529"/>
                    </a:lnTo>
                    <a:lnTo>
                      <a:pt x="64451" y="1146"/>
                    </a:lnTo>
                    <a:lnTo>
                      <a:pt x="61806" y="793"/>
                    </a:lnTo>
                    <a:lnTo>
                      <a:pt x="60660" y="529"/>
                    </a:lnTo>
                    <a:lnTo>
                      <a:pt x="58632" y="1411"/>
                    </a:lnTo>
                    <a:lnTo>
                      <a:pt x="57750" y="793"/>
                    </a:lnTo>
                    <a:lnTo>
                      <a:pt x="55987" y="1675"/>
                    </a:lnTo>
                    <a:lnTo>
                      <a:pt x="54576" y="0"/>
                    </a:lnTo>
                    <a:lnTo>
                      <a:pt x="53342" y="2292"/>
                    </a:lnTo>
                    <a:lnTo>
                      <a:pt x="51314" y="264"/>
                    </a:lnTo>
                    <a:lnTo>
                      <a:pt x="47787" y="2557"/>
                    </a:lnTo>
                    <a:lnTo>
                      <a:pt x="44878" y="2292"/>
                    </a:lnTo>
                    <a:lnTo>
                      <a:pt x="43202" y="3791"/>
                    </a:lnTo>
                    <a:lnTo>
                      <a:pt x="38530" y="4056"/>
                    </a:lnTo>
                    <a:lnTo>
                      <a:pt x="33239" y="4585"/>
                    </a:lnTo>
                    <a:lnTo>
                      <a:pt x="31476" y="2821"/>
                    </a:lnTo>
                    <a:lnTo>
                      <a:pt x="29184" y="3791"/>
                    </a:lnTo>
                    <a:lnTo>
                      <a:pt x="25922" y="6084"/>
                    </a:lnTo>
                    <a:lnTo>
                      <a:pt x="22483" y="10757"/>
                    </a:lnTo>
                    <a:lnTo>
                      <a:pt x="2045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5" name="Freihandform: Form 1824">
                <a:extLst>
                  <a:ext uri="{FF2B5EF4-FFF2-40B4-BE49-F238E27FC236}">
                    <a16:creationId xmlns:a16="http://schemas.microsoft.com/office/drawing/2014/main" id="{38AA32E1-E826-5C83-535C-3F42A11D9F84}"/>
                  </a:ext>
                </a:extLst>
              </p:cNvPr>
              <p:cNvSpPr/>
              <p:nvPr/>
            </p:nvSpPr>
            <p:spPr>
              <a:xfrm>
                <a:off x="4072486" y="3564955"/>
                <a:ext cx="342710" cy="293336"/>
              </a:xfrm>
              <a:custGeom>
                <a:avLst/>
                <a:gdLst>
                  <a:gd name="connsiteX0" fmla="*/ 69124 w 342710"/>
                  <a:gd name="connsiteY0" fmla="*/ 288751 h 293336"/>
                  <a:gd name="connsiteX1" fmla="*/ 65950 w 342710"/>
                  <a:gd name="connsiteY1" fmla="*/ 282844 h 293336"/>
                  <a:gd name="connsiteX2" fmla="*/ 58368 w 342710"/>
                  <a:gd name="connsiteY2" fmla="*/ 275614 h 293336"/>
                  <a:gd name="connsiteX3" fmla="*/ 55987 w 342710"/>
                  <a:gd name="connsiteY3" fmla="*/ 277025 h 293336"/>
                  <a:gd name="connsiteX4" fmla="*/ 55722 w 342710"/>
                  <a:gd name="connsiteY4" fmla="*/ 278171 h 293336"/>
                  <a:gd name="connsiteX5" fmla="*/ 54488 w 342710"/>
                  <a:gd name="connsiteY5" fmla="*/ 278789 h 293336"/>
                  <a:gd name="connsiteX6" fmla="*/ 53078 w 342710"/>
                  <a:gd name="connsiteY6" fmla="*/ 278789 h 293336"/>
                  <a:gd name="connsiteX7" fmla="*/ 52460 w 342710"/>
                  <a:gd name="connsiteY7" fmla="*/ 279935 h 293336"/>
                  <a:gd name="connsiteX8" fmla="*/ 51579 w 342710"/>
                  <a:gd name="connsiteY8" fmla="*/ 278789 h 293336"/>
                  <a:gd name="connsiteX9" fmla="*/ 48140 w 342710"/>
                  <a:gd name="connsiteY9" fmla="*/ 281169 h 293336"/>
                  <a:gd name="connsiteX10" fmla="*/ 48405 w 342710"/>
                  <a:gd name="connsiteY10" fmla="*/ 284608 h 293336"/>
                  <a:gd name="connsiteX11" fmla="*/ 49551 w 342710"/>
                  <a:gd name="connsiteY11" fmla="*/ 286636 h 293336"/>
                  <a:gd name="connsiteX12" fmla="*/ 49551 w 342710"/>
                  <a:gd name="connsiteY12" fmla="*/ 288751 h 293336"/>
                  <a:gd name="connsiteX13" fmla="*/ 47523 w 342710"/>
                  <a:gd name="connsiteY13" fmla="*/ 288751 h 293336"/>
                  <a:gd name="connsiteX14" fmla="*/ 41704 w 342710"/>
                  <a:gd name="connsiteY14" fmla="*/ 277642 h 293336"/>
                  <a:gd name="connsiteX15" fmla="*/ 42585 w 342710"/>
                  <a:gd name="connsiteY15" fmla="*/ 275879 h 293336"/>
                  <a:gd name="connsiteX16" fmla="*/ 46377 w 342710"/>
                  <a:gd name="connsiteY16" fmla="*/ 275614 h 293336"/>
                  <a:gd name="connsiteX17" fmla="*/ 46994 w 342710"/>
                  <a:gd name="connsiteY17" fmla="*/ 274115 h 293336"/>
                  <a:gd name="connsiteX18" fmla="*/ 43996 w 342710"/>
                  <a:gd name="connsiteY18" fmla="*/ 268561 h 293336"/>
                  <a:gd name="connsiteX19" fmla="*/ 42850 w 342710"/>
                  <a:gd name="connsiteY19" fmla="*/ 267679 h 293336"/>
                  <a:gd name="connsiteX20" fmla="*/ 39676 w 342710"/>
                  <a:gd name="connsiteY20" fmla="*/ 268032 h 293336"/>
                  <a:gd name="connsiteX21" fmla="*/ 38794 w 342710"/>
                  <a:gd name="connsiteY21" fmla="*/ 269178 h 293336"/>
                  <a:gd name="connsiteX22" fmla="*/ 37913 w 342710"/>
                  <a:gd name="connsiteY22" fmla="*/ 269795 h 293336"/>
                  <a:gd name="connsiteX23" fmla="*/ 31476 w 342710"/>
                  <a:gd name="connsiteY23" fmla="*/ 269795 h 293336"/>
                  <a:gd name="connsiteX24" fmla="*/ 20984 w 342710"/>
                  <a:gd name="connsiteY24" fmla="*/ 260449 h 293336"/>
                  <a:gd name="connsiteX25" fmla="*/ 19221 w 342710"/>
                  <a:gd name="connsiteY25" fmla="*/ 260449 h 293336"/>
                  <a:gd name="connsiteX26" fmla="*/ 18075 w 342710"/>
                  <a:gd name="connsiteY26" fmla="*/ 258951 h 293336"/>
                  <a:gd name="connsiteX27" fmla="*/ 18692 w 342710"/>
                  <a:gd name="connsiteY27" fmla="*/ 253131 h 293336"/>
                  <a:gd name="connsiteX28" fmla="*/ 23894 w 342710"/>
                  <a:gd name="connsiteY28" fmla="*/ 252250 h 293336"/>
                  <a:gd name="connsiteX29" fmla="*/ 25393 w 342710"/>
                  <a:gd name="connsiteY29" fmla="*/ 251985 h 293336"/>
                  <a:gd name="connsiteX30" fmla="*/ 25393 w 342710"/>
                  <a:gd name="connsiteY30" fmla="*/ 251104 h 293336"/>
                  <a:gd name="connsiteX31" fmla="*/ 23629 w 342710"/>
                  <a:gd name="connsiteY31" fmla="*/ 249957 h 293336"/>
                  <a:gd name="connsiteX32" fmla="*/ 19221 w 342710"/>
                  <a:gd name="connsiteY32" fmla="*/ 249605 h 293336"/>
                  <a:gd name="connsiteX33" fmla="*/ 18692 w 342710"/>
                  <a:gd name="connsiteY33" fmla="*/ 246695 h 293336"/>
                  <a:gd name="connsiteX34" fmla="*/ 16311 w 342710"/>
                  <a:gd name="connsiteY34" fmla="*/ 245813 h 293336"/>
                  <a:gd name="connsiteX35" fmla="*/ 15165 w 342710"/>
                  <a:gd name="connsiteY35" fmla="*/ 245813 h 293336"/>
                  <a:gd name="connsiteX36" fmla="*/ 15782 w 342710"/>
                  <a:gd name="connsiteY36" fmla="*/ 244403 h 293336"/>
                  <a:gd name="connsiteX37" fmla="*/ 14284 w 342710"/>
                  <a:gd name="connsiteY37" fmla="*/ 244667 h 293336"/>
                  <a:gd name="connsiteX38" fmla="*/ 11109 w 342710"/>
                  <a:gd name="connsiteY38" fmla="*/ 244050 h 293336"/>
                  <a:gd name="connsiteX39" fmla="*/ 10492 w 342710"/>
                  <a:gd name="connsiteY39" fmla="*/ 242022 h 293336"/>
                  <a:gd name="connsiteX40" fmla="*/ 9346 w 342710"/>
                  <a:gd name="connsiteY40" fmla="*/ 241141 h 293336"/>
                  <a:gd name="connsiteX41" fmla="*/ 7318 w 342710"/>
                  <a:gd name="connsiteY41" fmla="*/ 238231 h 293336"/>
                  <a:gd name="connsiteX42" fmla="*/ 5819 w 342710"/>
                  <a:gd name="connsiteY42" fmla="*/ 236820 h 293336"/>
                  <a:gd name="connsiteX43" fmla="*/ 4673 w 342710"/>
                  <a:gd name="connsiteY43" fmla="*/ 236468 h 293336"/>
                  <a:gd name="connsiteX44" fmla="*/ 5202 w 342710"/>
                  <a:gd name="connsiteY44" fmla="*/ 235057 h 293336"/>
                  <a:gd name="connsiteX45" fmla="*/ 3791 w 342710"/>
                  <a:gd name="connsiteY45" fmla="*/ 233911 h 293336"/>
                  <a:gd name="connsiteX46" fmla="*/ 4937 w 342710"/>
                  <a:gd name="connsiteY46" fmla="*/ 232676 h 293336"/>
                  <a:gd name="connsiteX47" fmla="*/ 5819 w 342710"/>
                  <a:gd name="connsiteY47" fmla="*/ 230384 h 293336"/>
                  <a:gd name="connsiteX48" fmla="*/ 5555 w 342710"/>
                  <a:gd name="connsiteY48" fmla="*/ 228356 h 293336"/>
                  <a:gd name="connsiteX49" fmla="*/ 882 w 342710"/>
                  <a:gd name="connsiteY49" fmla="*/ 224565 h 293336"/>
                  <a:gd name="connsiteX50" fmla="*/ 0 w 342710"/>
                  <a:gd name="connsiteY50" fmla="*/ 222802 h 293336"/>
                  <a:gd name="connsiteX51" fmla="*/ 2645 w 342710"/>
                  <a:gd name="connsiteY51" fmla="*/ 218129 h 293336"/>
                  <a:gd name="connsiteX52" fmla="*/ 2645 w 342710"/>
                  <a:gd name="connsiteY52" fmla="*/ 211692 h 293336"/>
                  <a:gd name="connsiteX53" fmla="*/ 9875 w 342710"/>
                  <a:gd name="connsiteY53" fmla="*/ 212309 h 293336"/>
                  <a:gd name="connsiteX54" fmla="*/ 20720 w 342710"/>
                  <a:gd name="connsiteY54" fmla="*/ 211163 h 293336"/>
                  <a:gd name="connsiteX55" fmla="*/ 24511 w 342710"/>
                  <a:gd name="connsiteY55" fmla="*/ 203845 h 293336"/>
                  <a:gd name="connsiteX56" fmla="*/ 53959 w 342710"/>
                  <a:gd name="connsiteY56" fmla="*/ 202699 h 293336"/>
                  <a:gd name="connsiteX57" fmla="*/ 62688 w 342710"/>
                  <a:gd name="connsiteY57" fmla="*/ 202964 h 293336"/>
                  <a:gd name="connsiteX58" fmla="*/ 63305 w 342710"/>
                  <a:gd name="connsiteY58" fmla="*/ 200054 h 293336"/>
                  <a:gd name="connsiteX59" fmla="*/ 73180 w 342710"/>
                  <a:gd name="connsiteY59" fmla="*/ 202699 h 293336"/>
                  <a:gd name="connsiteX60" fmla="*/ 73797 w 342710"/>
                  <a:gd name="connsiteY60" fmla="*/ 198291 h 293336"/>
                  <a:gd name="connsiteX61" fmla="*/ 75825 w 342710"/>
                  <a:gd name="connsiteY61" fmla="*/ 197409 h 293336"/>
                  <a:gd name="connsiteX62" fmla="*/ 78999 w 342710"/>
                  <a:gd name="connsiteY62" fmla="*/ 196263 h 293336"/>
                  <a:gd name="connsiteX63" fmla="*/ 81115 w 342710"/>
                  <a:gd name="connsiteY63" fmla="*/ 193882 h 293336"/>
                  <a:gd name="connsiteX64" fmla="*/ 81997 w 342710"/>
                  <a:gd name="connsiteY64" fmla="*/ 192472 h 293336"/>
                  <a:gd name="connsiteX65" fmla="*/ 81997 w 342710"/>
                  <a:gd name="connsiteY65" fmla="*/ 188945 h 293336"/>
                  <a:gd name="connsiteX66" fmla="*/ 84289 w 342710"/>
                  <a:gd name="connsiteY66" fmla="*/ 187534 h 293336"/>
                  <a:gd name="connsiteX67" fmla="*/ 83407 w 342710"/>
                  <a:gd name="connsiteY67" fmla="*/ 184008 h 293336"/>
                  <a:gd name="connsiteX68" fmla="*/ 84818 w 342710"/>
                  <a:gd name="connsiteY68" fmla="*/ 178453 h 293336"/>
                  <a:gd name="connsiteX69" fmla="*/ 88345 w 342710"/>
                  <a:gd name="connsiteY69" fmla="*/ 176425 h 293336"/>
                  <a:gd name="connsiteX70" fmla="*/ 88345 w 342710"/>
                  <a:gd name="connsiteY70" fmla="*/ 160996 h 293336"/>
                  <a:gd name="connsiteX71" fmla="*/ 92489 w 342710"/>
                  <a:gd name="connsiteY71" fmla="*/ 146712 h 293336"/>
                  <a:gd name="connsiteX72" fmla="*/ 88962 w 342710"/>
                  <a:gd name="connsiteY72" fmla="*/ 106419 h 293336"/>
                  <a:gd name="connsiteX73" fmla="*/ 122202 w 342710"/>
                  <a:gd name="connsiteY73" fmla="*/ 100865 h 293336"/>
                  <a:gd name="connsiteX74" fmla="*/ 154824 w 342710"/>
                  <a:gd name="connsiteY74" fmla="*/ 51579 h 293336"/>
                  <a:gd name="connsiteX75" fmla="*/ 254895 w 342710"/>
                  <a:gd name="connsiteY75" fmla="*/ 0 h 293336"/>
                  <a:gd name="connsiteX76" fmla="*/ 289369 w 342710"/>
                  <a:gd name="connsiteY76" fmla="*/ 10757 h 293336"/>
                  <a:gd name="connsiteX77" fmla="*/ 303035 w 342710"/>
                  <a:gd name="connsiteY77" fmla="*/ 21513 h 293336"/>
                  <a:gd name="connsiteX78" fmla="*/ 319963 w 342710"/>
                  <a:gd name="connsiteY78" fmla="*/ 12520 h 293336"/>
                  <a:gd name="connsiteX79" fmla="*/ 324372 w 342710"/>
                  <a:gd name="connsiteY79" fmla="*/ 36149 h 293336"/>
                  <a:gd name="connsiteX80" fmla="*/ 324019 w 342710"/>
                  <a:gd name="connsiteY80" fmla="*/ 49286 h 293336"/>
                  <a:gd name="connsiteX81" fmla="*/ 326400 w 342710"/>
                  <a:gd name="connsiteY81" fmla="*/ 50697 h 293336"/>
                  <a:gd name="connsiteX82" fmla="*/ 333629 w 342710"/>
                  <a:gd name="connsiteY82" fmla="*/ 62952 h 293336"/>
                  <a:gd name="connsiteX83" fmla="*/ 333365 w 342710"/>
                  <a:gd name="connsiteY83" fmla="*/ 64187 h 293336"/>
                  <a:gd name="connsiteX84" fmla="*/ 331866 w 342710"/>
                  <a:gd name="connsiteY84" fmla="*/ 65333 h 293336"/>
                  <a:gd name="connsiteX85" fmla="*/ 335128 w 342710"/>
                  <a:gd name="connsiteY85" fmla="*/ 69389 h 293336"/>
                  <a:gd name="connsiteX86" fmla="*/ 342711 w 342710"/>
                  <a:gd name="connsiteY86" fmla="*/ 77853 h 293336"/>
                  <a:gd name="connsiteX87" fmla="*/ 337156 w 342710"/>
                  <a:gd name="connsiteY87" fmla="*/ 88345 h 293336"/>
                  <a:gd name="connsiteX88" fmla="*/ 334511 w 342710"/>
                  <a:gd name="connsiteY88" fmla="*/ 117176 h 293336"/>
                  <a:gd name="connsiteX89" fmla="*/ 333629 w 342710"/>
                  <a:gd name="connsiteY89" fmla="*/ 164170 h 293336"/>
                  <a:gd name="connsiteX90" fmla="*/ 309736 w 342710"/>
                  <a:gd name="connsiteY90" fmla="*/ 192736 h 293336"/>
                  <a:gd name="connsiteX91" fmla="*/ 301889 w 342710"/>
                  <a:gd name="connsiteY91" fmla="*/ 206755 h 293336"/>
                  <a:gd name="connsiteX92" fmla="*/ 297216 w 342710"/>
                  <a:gd name="connsiteY92" fmla="*/ 214602 h 293336"/>
                  <a:gd name="connsiteX93" fmla="*/ 298097 w 342710"/>
                  <a:gd name="connsiteY93" fmla="*/ 217864 h 293336"/>
                  <a:gd name="connsiteX94" fmla="*/ 294306 w 342710"/>
                  <a:gd name="connsiteY94" fmla="*/ 219627 h 293336"/>
                  <a:gd name="connsiteX95" fmla="*/ 294571 w 342710"/>
                  <a:gd name="connsiteY95" fmla="*/ 222537 h 293336"/>
                  <a:gd name="connsiteX96" fmla="*/ 290515 w 342710"/>
                  <a:gd name="connsiteY96" fmla="*/ 225447 h 293336"/>
                  <a:gd name="connsiteX97" fmla="*/ 295188 w 342710"/>
                  <a:gd name="connsiteY97" fmla="*/ 241758 h 293336"/>
                  <a:gd name="connsiteX98" fmla="*/ 288134 w 342710"/>
                  <a:gd name="connsiteY98" fmla="*/ 243257 h 293336"/>
                  <a:gd name="connsiteX99" fmla="*/ 285578 w 342710"/>
                  <a:gd name="connsiteY99" fmla="*/ 247048 h 293336"/>
                  <a:gd name="connsiteX100" fmla="*/ 290779 w 342710"/>
                  <a:gd name="connsiteY100" fmla="*/ 248194 h 293336"/>
                  <a:gd name="connsiteX101" fmla="*/ 285842 w 342710"/>
                  <a:gd name="connsiteY101" fmla="*/ 249957 h 293336"/>
                  <a:gd name="connsiteX102" fmla="*/ 281786 w 342710"/>
                  <a:gd name="connsiteY102" fmla="*/ 249076 h 293336"/>
                  <a:gd name="connsiteX103" fmla="*/ 278524 w 342710"/>
                  <a:gd name="connsiteY103" fmla="*/ 249076 h 293336"/>
                  <a:gd name="connsiteX104" fmla="*/ 275350 w 342710"/>
                  <a:gd name="connsiteY104" fmla="*/ 251104 h 293336"/>
                  <a:gd name="connsiteX105" fmla="*/ 271294 w 342710"/>
                  <a:gd name="connsiteY105" fmla="*/ 254013 h 293336"/>
                  <a:gd name="connsiteX106" fmla="*/ 270677 w 342710"/>
                  <a:gd name="connsiteY106" fmla="*/ 257804 h 293336"/>
                  <a:gd name="connsiteX107" fmla="*/ 269178 w 342710"/>
                  <a:gd name="connsiteY107" fmla="*/ 259832 h 293336"/>
                  <a:gd name="connsiteX108" fmla="*/ 262213 w 342710"/>
                  <a:gd name="connsiteY108" fmla="*/ 258333 h 293336"/>
                  <a:gd name="connsiteX109" fmla="*/ 247048 w 342710"/>
                  <a:gd name="connsiteY109" fmla="*/ 251633 h 293336"/>
                  <a:gd name="connsiteX110" fmla="*/ 218481 w 342710"/>
                  <a:gd name="connsiteY110" fmla="*/ 254542 h 293336"/>
                  <a:gd name="connsiteX111" fmla="*/ 214337 w 342710"/>
                  <a:gd name="connsiteY111" fmla="*/ 259568 h 293336"/>
                  <a:gd name="connsiteX112" fmla="*/ 207372 w 342710"/>
                  <a:gd name="connsiteY112" fmla="*/ 266268 h 293336"/>
                  <a:gd name="connsiteX113" fmla="*/ 186035 w 342710"/>
                  <a:gd name="connsiteY113" fmla="*/ 262125 h 293336"/>
                  <a:gd name="connsiteX114" fmla="*/ 175279 w 342710"/>
                  <a:gd name="connsiteY114" fmla="*/ 255159 h 293336"/>
                  <a:gd name="connsiteX115" fmla="*/ 158086 w 342710"/>
                  <a:gd name="connsiteY115" fmla="*/ 258951 h 293336"/>
                  <a:gd name="connsiteX116" fmla="*/ 151650 w 342710"/>
                  <a:gd name="connsiteY116" fmla="*/ 260714 h 293336"/>
                  <a:gd name="connsiteX117" fmla="*/ 145213 w 342710"/>
                  <a:gd name="connsiteY117" fmla="*/ 258951 h 293336"/>
                  <a:gd name="connsiteX118" fmla="*/ 136749 w 342710"/>
                  <a:gd name="connsiteY118" fmla="*/ 246166 h 293336"/>
                  <a:gd name="connsiteX119" fmla="*/ 130401 w 342710"/>
                  <a:gd name="connsiteY119" fmla="*/ 244667 h 293336"/>
                  <a:gd name="connsiteX120" fmla="*/ 114002 w 342710"/>
                  <a:gd name="connsiteY120" fmla="*/ 239730 h 293336"/>
                  <a:gd name="connsiteX121" fmla="*/ 103862 w 342710"/>
                  <a:gd name="connsiteY121" fmla="*/ 242904 h 293336"/>
                  <a:gd name="connsiteX122" fmla="*/ 94164 w 342710"/>
                  <a:gd name="connsiteY122" fmla="*/ 243521 h 293336"/>
                  <a:gd name="connsiteX123" fmla="*/ 86581 w 342710"/>
                  <a:gd name="connsiteY123" fmla="*/ 248723 h 293336"/>
                  <a:gd name="connsiteX124" fmla="*/ 83407 w 342710"/>
                  <a:gd name="connsiteY124" fmla="*/ 268296 h 293336"/>
                  <a:gd name="connsiteX125" fmla="*/ 77588 w 342710"/>
                  <a:gd name="connsiteY125" fmla="*/ 275879 h 293336"/>
                  <a:gd name="connsiteX126" fmla="*/ 78470 w 342710"/>
                  <a:gd name="connsiteY126" fmla="*/ 285489 h 293336"/>
                  <a:gd name="connsiteX127" fmla="*/ 77853 w 342710"/>
                  <a:gd name="connsiteY127" fmla="*/ 291661 h 293336"/>
                  <a:gd name="connsiteX128" fmla="*/ 74326 w 342710"/>
                  <a:gd name="connsiteY128" fmla="*/ 293336 h 293336"/>
                  <a:gd name="connsiteX129" fmla="*/ 73444 w 342710"/>
                  <a:gd name="connsiteY129" fmla="*/ 291661 h 293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</a:cxnLst>
                <a:rect l="l" t="t" r="r" b="b"/>
                <a:pathLst>
                  <a:path w="342710" h="293336">
                    <a:moveTo>
                      <a:pt x="69124" y="288751"/>
                    </a:moveTo>
                    <a:lnTo>
                      <a:pt x="65950" y="282844"/>
                    </a:lnTo>
                    <a:lnTo>
                      <a:pt x="58368" y="275614"/>
                    </a:lnTo>
                    <a:lnTo>
                      <a:pt x="55987" y="277025"/>
                    </a:lnTo>
                    <a:lnTo>
                      <a:pt x="55722" y="278171"/>
                    </a:lnTo>
                    <a:lnTo>
                      <a:pt x="54488" y="278789"/>
                    </a:lnTo>
                    <a:lnTo>
                      <a:pt x="53078" y="278789"/>
                    </a:lnTo>
                    <a:lnTo>
                      <a:pt x="52460" y="279935"/>
                    </a:lnTo>
                    <a:lnTo>
                      <a:pt x="51579" y="278789"/>
                    </a:lnTo>
                    <a:lnTo>
                      <a:pt x="48140" y="281169"/>
                    </a:lnTo>
                    <a:lnTo>
                      <a:pt x="48405" y="284608"/>
                    </a:lnTo>
                    <a:lnTo>
                      <a:pt x="49551" y="286636"/>
                    </a:lnTo>
                    <a:lnTo>
                      <a:pt x="49551" y="288751"/>
                    </a:lnTo>
                    <a:lnTo>
                      <a:pt x="47523" y="288751"/>
                    </a:lnTo>
                    <a:lnTo>
                      <a:pt x="41704" y="277642"/>
                    </a:lnTo>
                    <a:lnTo>
                      <a:pt x="42585" y="275879"/>
                    </a:lnTo>
                    <a:lnTo>
                      <a:pt x="46377" y="275614"/>
                    </a:lnTo>
                    <a:lnTo>
                      <a:pt x="46994" y="274115"/>
                    </a:lnTo>
                    <a:lnTo>
                      <a:pt x="43996" y="268561"/>
                    </a:lnTo>
                    <a:lnTo>
                      <a:pt x="42850" y="267679"/>
                    </a:lnTo>
                    <a:lnTo>
                      <a:pt x="39676" y="268032"/>
                    </a:lnTo>
                    <a:lnTo>
                      <a:pt x="38794" y="269178"/>
                    </a:lnTo>
                    <a:lnTo>
                      <a:pt x="37913" y="269795"/>
                    </a:lnTo>
                    <a:lnTo>
                      <a:pt x="31476" y="269795"/>
                    </a:lnTo>
                    <a:lnTo>
                      <a:pt x="20984" y="260449"/>
                    </a:lnTo>
                    <a:lnTo>
                      <a:pt x="19221" y="260449"/>
                    </a:lnTo>
                    <a:lnTo>
                      <a:pt x="18075" y="258951"/>
                    </a:lnTo>
                    <a:lnTo>
                      <a:pt x="18692" y="253131"/>
                    </a:lnTo>
                    <a:lnTo>
                      <a:pt x="23894" y="252250"/>
                    </a:lnTo>
                    <a:lnTo>
                      <a:pt x="25393" y="251985"/>
                    </a:lnTo>
                    <a:lnTo>
                      <a:pt x="25393" y="251104"/>
                    </a:lnTo>
                    <a:lnTo>
                      <a:pt x="23629" y="249957"/>
                    </a:lnTo>
                    <a:lnTo>
                      <a:pt x="19221" y="249605"/>
                    </a:lnTo>
                    <a:lnTo>
                      <a:pt x="18692" y="246695"/>
                    </a:lnTo>
                    <a:lnTo>
                      <a:pt x="16311" y="245813"/>
                    </a:lnTo>
                    <a:lnTo>
                      <a:pt x="15165" y="245813"/>
                    </a:lnTo>
                    <a:lnTo>
                      <a:pt x="15782" y="244403"/>
                    </a:lnTo>
                    <a:lnTo>
                      <a:pt x="14284" y="244667"/>
                    </a:lnTo>
                    <a:lnTo>
                      <a:pt x="11109" y="244050"/>
                    </a:lnTo>
                    <a:lnTo>
                      <a:pt x="10492" y="242022"/>
                    </a:lnTo>
                    <a:lnTo>
                      <a:pt x="9346" y="241141"/>
                    </a:lnTo>
                    <a:lnTo>
                      <a:pt x="7318" y="238231"/>
                    </a:lnTo>
                    <a:lnTo>
                      <a:pt x="5819" y="236820"/>
                    </a:lnTo>
                    <a:lnTo>
                      <a:pt x="4673" y="236468"/>
                    </a:lnTo>
                    <a:lnTo>
                      <a:pt x="5202" y="235057"/>
                    </a:lnTo>
                    <a:lnTo>
                      <a:pt x="3791" y="233911"/>
                    </a:lnTo>
                    <a:lnTo>
                      <a:pt x="4937" y="232676"/>
                    </a:lnTo>
                    <a:lnTo>
                      <a:pt x="5819" y="230384"/>
                    </a:lnTo>
                    <a:lnTo>
                      <a:pt x="5555" y="228356"/>
                    </a:lnTo>
                    <a:lnTo>
                      <a:pt x="882" y="224565"/>
                    </a:lnTo>
                    <a:lnTo>
                      <a:pt x="0" y="222802"/>
                    </a:lnTo>
                    <a:lnTo>
                      <a:pt x="2645" y="218129"/>
                    </a:lnTo>
                    <a:lnTo>
                      <a:pt x="2645" y="211692"/>
                    </a:lnTo>
                    <a:lnTo>
                      <a:pt x="9875" y="212309"/>
                    </a:lnTo>
                    <a:lnTo>
                      <a:pt x="20720" y="211163"/>
                    </a:lnTo>
                    <a:lnTo>
                      <a:pt x="24511" y="203845"/>
                    </a:lnTo>
                    <a:lnTo>
                      <a:pt x="53959" y="202699"/>
                    </a:lnTo>
                    <a:lnTo>
                      <a:pt x="62688" y="202964"/>
                    </a:lnTo>
                    <a:lnTo>
                      <a:pt x="63305" y="200054"/>
                    </a:lnTo>
                    <a:lnTo>
                      <a:pt x="73180" y="202699"/>
                    </a:lnTo>
                    <a:lnTo>
                      <a:pt x="73797" y="198291"/>
                    </a:lnTo>
                    <a:lnTo>
                      <a:pt x="75825" y="197409"/>
                    </a:lnTo>
                    <a:lnTo>
                      <a:pt x="78999" y="196263"/>
                    </a:lnTo>
                    <a:lnTo>
                      <a:pt x="81115" y="193882"/>
                    </a:lnTo>
                    <a:lnTo>
                      <a:pt x="81997" y="192472"/>
                    </a:lnTo>
                    <a:lnTo>
                      <a:pt x="81997" y="188945"/>
                    </a:lnTo>
                    <a:lnTo>
                      <a:pt x="84289" y="187534"/>
                    </a:lnTo>
                    <a:lnTo>
                      <a:pt x="83407" y="184008"/>
                    </a:lnTo>
                    <a:lnTo>
                      <a:pt x="84818" y="178453"/>
                    </a:lnTo>
                    <a:lnTo>
                      <a:pt x="88345" y="176425"/>
                    </a:lnTo>
                    <a:lnTo>
                      <a:pt x="88345" y="160996"/>
                    </a:lnTo>
                    <a:lnTo>
                      <a:pt x="92489" y="146712"/>
                    </a:lnTo>
                    <a:lnTo>
                      <a:pt x="88962" y="106419"/>
                    </a:lnTo>
                    <a:lnTo>
                      <a:pt x="122202" y="100865"/>
                    </a:lnTo>
                    <a:lnTo>
                      <a:pt x="154824" y="51579"/>
                    </a:lnTo>
                    <a:lnTo>
                      <a:pt x="254895" y="0"/>
                    </a:lnTo>
                    <a:lnTo>
                      <a:pt x="289369" y="10757"/>
                    </a:lnTo>
                    <a:lnTo>
                      <a:pt x="303035" y="21513"/>
                    </a:lnTo>
                    <a:lnTo>
                      <a:pt x="319963" y="12520"/>
                    </a:lnTo>
                    <a:lnTo>
                      <a:pt x="324372" y="36149"/>
                    </a:lnTo>
                    <a:lnTo>
                      <a:pt x="324019" y="49286"/>
                    </a:lnTo>
                    <a:lnTo>
                      <a:pt x="326400" y="50697"/>
                    </a:lnTo>
                    <a:lnTo>
                      <a:pt x="333629" y="62952"/>
                    </a:lnTo>
                    <a:lnTo>
                      <a:pt x="333365" y="64187"/>
                    </a:lnTo>
                    <a:lnTo>
                      <a:pt x="331866" y="65333"/>
                    </a:lnTo>
                    <a:lnTo>
                      <a:pt x="335128" y="69389"/>
                    </a:lnTo>
                    <a:lnTo>
                      <a:pt x="342711" y="77853"/>
                    </a:lnTo>
                    <a:lnTo>
                      <a:pt x="337156" y="88345"/>
                    </a:lnTo>
                    <a:lnTo>
                      <a:pt x="334511" y="117176"/>
                    </a:lnTo>
                    <a:lnTo>
                      <a:pt x="333629" y="164170"/>
                    </a:lnTo>
                    <a:lnTo>
                      <a:pt x="309736" y="192736"/>
                    </a:lnTo>
                    <a:lnTo>
                      <a:pt x="301889" y="206755"/>
                    </a:lnTo>
                    <a:lnTo>
                      <a:pt x="297216" y="214602"/>
                    </a:lnTo>
                    <a:lnTo>
                      <a:pt x="298097" y="217864"/>
                    </a:lnTo>
                    <a:lnTo>
                      <a:pt x="294306" y="219627"/>
                    </a:lnTo>
                    <a:lnTo>
                      <a:pt x="294571" y="222537"/>
                    </a:lnTo>
                    <a:lnTo>
                      <a:pt x="290515" y="225447"/>
                    </a:lnTo>
                    <a:lnTo>
                      <a:pt x="295188" y="241758"/>
                    </a:lnTo>
                    <a:lnTo>
                      <a:pt x="288134" y="243257"/>
                    </a:lnTo>
                    <a:lnTo>
                      <a:pt x="285578" y="247048"/>
                    </a:lnTo>
                    <a:lnTo>
                      <a:pt x="290779" y="248194"/>
                    </a:lnTo>
                    <a:lnTo>
                      <a:pt x="285842" y="249957"/>
                    </a:lnTo>
                    <a:lnTo>
                      <a:pt x="281786" y="249076"/>
                    </a:lnTo>
                    <a:lnTo>
                      <a:pt x="278524" y="249076"/>
                    </a:lnTo>
                    <a:lnTo>
                      <a:pt x="275350" y="251104"/>
                    </a:lnTo>
                    <a:lnTo>
                      <a:pt x="271294" y="254013"/>
                    </a:lnTo>
                    <a:lnTo>
                      <a:pt x="270677" y="257804"/>
                    </a:lnTo>
                    <a:lnTo>
                      <a:pt x="269178" y="259832"/>
                    </a:lnTo>
                    <a:lnTo>
                      <a:pt x="262213" y="258333"/>
                    </a:lnTo>
                    <a:lnTo>
                      <a:pt x="247048" y="251633"/>
                    </a:lnTo>
                    <a:lnTo>
                      <a:pt x="218481" y="254542"/>
                    </a:lnTo>
                    <a:lnTo>
                      <a:pt x="214337" y="259568"/>
                    </a:lnTo>
                    <a:lnTo>
                      <a:pt x="207372" y="266268"/>
                    </a:lnTo>
                    <a:lnTo>
                      <a:pt x="186035" y="262125"/>
                    </a:lnTo>
                    <a:lnTo>
                      <a:pt x="175279" y="255159"/>
                    </a:lnTo>
                    <a:lnTo>
                      <a:pt x="158086" y="258951"/>
                    </a:lnTo>
                    <a:lnTo>
                      <a:pt x="151650" y="260714"/>
                    </a:lnTo>
                    <a:lnTo>
                      <a:pt x="145213" y="258951"/>
                    </a:lnTo>
                    <a:lnTo>
                      <a:pt x="136749" y="246166"/>
                    </a:lnTo>
                    <a:lnTo>
                      <a:pt x="130401" y="244667"/>
                    </a:lnTo>
                    <a:lnTo>
                      <a:pt x="114002" y="239730"/>
                    </a:lnTo>
                    <a:lnTo>
                      <a:pt x="103862" y="242904"/>
                    </a:lnTo>
                    <a:lnTo>
                      <a:pt x="94164" y="243521"/>
                    </a:lnTo>
                    <a:lnTo>
                      <a:pt x="86581" y="248723"/>
                    </a:lnTo>
                    <a:lnTo>
                      <a:pt x="83407" y="268296"/>
                    </a:lnTo>
                    <a:lnTo>
                      <a:pt x="77588" y="275879"/>
                    </a:lnTo>
                    <a:lnTo>
                      <a:pt x="78470" y="285489"/>
                    </a:lnTo>
                    <a:lnTo>
                      <a:pt x="77853" y="291661"/>
                    </a:lnTo>
                    <a:lnTo>
                      <a:pt x="74326" y="293336"/>
                    </a:lnTo>
                    <a:lnTo>
                      <a:pt x="73444" y="2916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6" name="Freihandform: Form 1825">
                <a:extLst>
                  <a:ext uri="{FF2B5EF4-FFF2-40B4-BE49-F238E27FC236}">
                    <a16:creationId xmlns:a16="http://schemas.microsoft.com/office/drawing/2014/main" id="{C5F55D0E-5938-A493-208C-1F29B6892D74}"/>
                  </a:ext>
                </a:extLst>
              </p:cNvPr>
              <p:cNvSpPr/>
              <p:nvPr/>
            </p:nvSpPr>
            <p:spPr>
              <a:xfrm>
                <a:off x="3699710" y="3471320"/>
                <a:ext cx="266268" cy="311498"/>
              </a:xfrm>
              <a:custGeom>
                <a:avLst/>
                <a:gdLst>
                  <a:gd name="connsiteX0" fmla="*/ 107301 w 266268"/>
                  <a:gd name="connsiteY0" fmla="*/ 309736 h 311498"/>
                  <a:gd name="connsiteX1" fmla="*/ 109329 w 266268"/>
                  <a:gd name="connsiteY1" fmla="*/ 310265 h 311498"/>
                  <a:gd name="connsiteX2" fmla="*/ 111974 w 266268"/>
                  <a:gd name="connsiteY2" fmla="*/ 307090 h 311498"/>
                  <a:gd name="connsiteX3" fmla="*/ 111974 w 266268"/>
                  <a:gd name="connsiteY3" fmla="*/ 304181 h 311498"/>
                  <a:gd name="connsiteX4" fmla="*/ 111092 w 266268"/>
                  <a:gd name="connsiteY4" fmla="*/ 303916 h 311498"/>
                  <a:gd name="connsiteX5" fmla="*/ 111092 w 266268"/>
                  <a:gd name="connsiteY5" fmla="*/ 302153 h 311498"/>
                  <a:gd name="connsiteX6" fmla="*/ 114619 w 266268"/>
                  <a:gd name="connsiteY6" fmla="*/ 291044 h 311498"/>
                  <a:gd name="connsiteX7" fmla="*/ 116118 w 266268"/>
                  <a:gd name="connsiteY7" fmla="*/ 291661 h 311498"/>
                  <a:gd name="connsiteX8" fmla="*/ 119292 w 266268"/>
                  <a:gd name="connsiteY8" fmla="*/ 290162 h 311498"/>
                  <a:gd name="connsiteX9" fmla="*/ 119292 w 266268"/>
                  <a:gd name="connsiteY9" fmla="*/ 288399 h 311498"/>
                  <a:gd name="connsiteX10" fmla="*/ 121055 w 266268"/>
                  <a:gd name="connsiteY10" fmla="*/ 289016 h 311498"/>
                  <a:gd name="connsiteX11" fmla="*/ 132165 w 266268"/>
                  <a:gd name="connsiteY11" fmla="*/ 302153 h 311498"/>
                  <a:gd name="connsiteX12" fmla="*/ 136220 w 266268"/>
                  <a:gd name="connsiteY12" fmla="*/ 293953 h 311498"/>
                  <a:gd name="connsiteX13" fmla="*/ 142657 w 266268"/>
                  <a:gd name="connsiteY13" fmla="*/ 293424 h 311498"/>
                  <a:gd name="connsiteX14" fmla="*/ 147859 w 266268"/>
                  <a:gd name="connsiteY14" fmla="*/ 293953 h 311498"/>
                  <a:gd name="connsiteX15" fmla="*/ 149005 w 266268"/>
                  <a:gd name="connsiteY15" fmla="*/ 295717 h 311498"/>
                  <a:gd name="connsiteX16" fmla="*/ 156058 w 266268"/>
                  <a:gd name="connsiteY16" fmla="*/ 295100 h 311498"/>
                  <a:gd name="connsiteX17" fmla="*/ 164522 w 266268"/>
                  <a:gd name="connsiteY17" fmla="*/ 293424 h 311498"/>
                  <a:gd name="connsiteX18" fmla="*/ 163640 w 266268"/>
                  <a:gd name="connsiteY18" fmla="*/ 290162 h 311498"/>
                  <a:gd name="connsiteX19" fmla="*/ 166286 w 266268"/>
                  <a:gd name="connsiteY19" fmla="*/ 287253 h 311498"/>
                  <a:gd name="connsiteX20" fmla="*/ 166286 w 266268"/>
                  <a:gd name="connsiteY20" fmla="*/ 291926 h 311498"/>
                  <a:gd name="connsiteX21" fmla="*/ 250222 w 266268"/>
                  <a:gd name="connsiteY21" fmla="*/ 291926 h 311498"/>
                  <a:gd name="connsiteX22" fmla="*/ 253484 w 266268"/>
                  <a:gd name="connsiteY22" fmla="*/ 271823 h 311498"/>
                  <a:gd name="connsiteX23" fmla="*/ 247312 w 266268"/>
                  <a:gd name="connsiteY23" fmla="*/ 267415 h 311498"/>
                  <a:gd name="connsiteX24" fmla="*/ 228356 w 266268"/>
                  <a:gd name="connsiteY24" fmla="*/ 55370 h 311498"/>
                  <a:gd name="connsiteX25" fmla="*/ 266269 w 266268"/>
                  <a:gd name="connsiteY25" fmla="*/ 55987 h 311498"/>
                  <a:gd name="connsiteX26" fmla="*/ 184889 w 266268"/>
                  <a:gd name="connsiteY26" fmla="*/ 0 h 311498"/>
                  <a:gd name="connsiteX27" fmla="*/ 184360 w 266268"/>
                  <a:gd name="connsiteY27" fmla="*/ 30594 h 311498"/>
                  <a:gd name="connsiteX28" fmla="*/ 113473 w 266268"/>
                  <a:gd name="connsiteY28" fmla="*/ 30594 h 311498"/>
                  <a:gd name="connsiteX29" fmla="*/ 108535 w 266268"/>
                  <a:gd name="connsiteY29" fmla="*/ 95046 h 311498"/>
                  <a:gd name="connsiteX30" fmla="*/ 99454 w 266268"/>
                  <a:gd name="connsiteY30" fmla="*/ 98308 h 311498"/>
                  <a:gd name="connsiteX31" fmla="*/ 87816 w 266268"/>
                  <a:gd name="connsiteY31" fmla="*/ 108447 h 311498"/>
                  <a:gd name="connsiteX32" fmla="*/ 94164 w 266268"/>
                  <a:gd name="connsiteY32" fmla="*/ 144949 h 311498"/>
                  <a:gd name="connsiteX33" fmla="*/ 3791 w 266268"/>
                  <a:gd name="connsiteY33" fmla="*/ 146359 h 311498"/>
                  <a:gd name="connsiteX34" fmla="*/ 2292 w 266268"/>
                  <a:gd name="connsiteY34" fmla="*/ 151914 h 311498"/>
                  <a:gd name="connsiteX35" fmla="*/ 1499 w 266268"/>
                  <a:gd name="connsiteY35" fmla="*/ 154295 h 311498"/>
                  <a:gd name="connsiteX36" fmla="*/ 1499 w 266268"/>
                  <a:gd name="connsiteY36" fmla="*/ 155088 h 311498"/>
                  <a:gd name="connsiteX37" fmla="*/ 617 w 266268"/>
                  <a:gd name="connsiteY37" fmla="*/ 157821 h 311498"/>
                  <a:gd name="connsiteX38" fmla="*/ 0 w 266268"/>
                  <a:gd name="connsiteY38" fmla="*/ 161524 h 311498"/>
                  <a:gd name="connsiteX39" fmla="*/ 2028 w 266268"/>
                  <a:gd name="connsiteY39" fmla="*/ 158968 h 311498"/>
                  <a:gd name="connsiteX40" fmla="*/ 1146 w 266268"/>
                  <a:gd name="connsiteY40" fmla="*/ 157821 h 311498"/>
                  <a:gd name="connsiteX41" fmla="*/ 2028 w 266268"/>
                  <a:gd name="connsiteY41" fmla="*/ 157204 h 311498"/>
                  <a:gd name="connsiteX42" fmla="*/ 2292 w 266268"/>
                  <a:gd name="connsiteY42" fmla="*/ 156058 h 311498"/>
                  <a:gd name="connsiteX43" fmla="*/ 2292 w 266268"/>
                  <a:gd name="connsiteY43" fmla="*/ 155088 h 311498"/>
                  <a:gd name="connsiteX44" fmla="*/ 2028 w 266268"/>
                  <a:gd name="connsiteY44" fmla="*/ 155088 h 311498"/>
                  <a:gd name="connsiteX45" fmla="*/ 2028 w 266268"/>
                  <a:gd name="connsiteY45" fmla="*/ 154295 h 311498"/>
                  <a:gd name="connsiteX46" fmla="*/ 3174 w 266268"/>
                  <a:gd name="connsiteY46" fmla="*/ 153677 h 311498"/>
                  <a:gd name="connsiteX47" fmla="*/ 4056 w 266268"/>
                  <a:gd name="connsiteY47" fmla="*/ 151032 h 311498"/>
                  <a:gd name="connsiteX48" fmla="*/ 4408 w 266268"/>
                  <a:gd name="connsiteY48" fmla="*/ 151650 h 311498"/>
                  <a:gd name="connsiteX49" fmla="*/ 6701 w 266268"/>
                  <a:gd name="connsiteY49" fmla="*/ 156587 h 311498"/>
                  <a:gd name="connsiteX50" fmla="*/ 6436 w 266268"/>
                  <a:gd name="connsiteY50" fmla="*/ 158086 h 311498"/>
                  <a:gd name="connsiteX51" fmla="*/ 5819 w 266268"/>
                  <a:gd name="connsiteY51" fmla="*/ 161524 h 311498"/>
                  <a:gd name="connsiteX52" fmla="*/ 6965 w 266268"/>
                  <a:gd name="connsiteY52" fmla="*/ 162759 h 311498"/>
                  <a:gd name="connsiteX53" fmla="*/ 7318 w 266268"/>
                  <a:gd name="connsiteY53" fmla="*/ 164522 h 311498"/>
                  <a:gd name="connsiteX54" fmla="*/ 8729 w 266268"/>
                  <a:gd name="connsiteY54" fmla="*/ 163552 h 311498"/>
                  <a:gd name="connsiteX55" fmla="*/ 10228 w 266268"/>
                  <a:gd name="connsiteY55" fmla="*/ 164169 h 311498"/>
                  <a:gd name="connsiteX56" fmla="*/ 11991 w 266268"/>
                  <a:gd name="connsiteY56" fmla="*/ 165933 h 311498"/>
                  <a:gd name="connsiteX57" fmla="*/ 12256 w 266268"/>
                  <a:gd name="connsiteY57" fmla="*/ 165668 h 311498"/>
                  <a:gd name="connsiteX58" fmla="*/ 12256 w 266268"/>
                  <a:gd name="connsiteY58" fmla="*/ 161877 h 311498"/>
                  <a:gd name="connsiteX59" fmla="*/ 12873 w 266268"/>
                  <a:gd name="connsiteY59" fmla="*/ 162406 h 311498"/>
                  <a:gd name="connsiteX60" fmla="*/ 13402 w 266268"/>
                  <a:gd name="connsiteY60" fmla="*/ 163552 h 311498"/>
                  <a:gd name="connsiteX61" fmla="*/ 14283 w 266268"/>
                  <a:gd name="connsiteY61" fmla="*/ 163552 h 311498"/>
                  <a:gd name="connsiteX62" fmla="*/ 13666 w 266268"/>
                  <a:gd name="connsiteY62" fmla="*/ 164169 h 311498"/>
                  <a:gd name="connsiteX63" fmla="*/ 14019 w 266268"/>
                  <a:gd name="connsiteY63" fmla="*/ 164169 h 311498"/>
                  <a:gd name="connsiteX64" fmla="*/ 14283 w 266268"/>
                  <a:gd name="connsiteY64" fmla="*/ 164169 h 311498"/>
                  <a:gd name="connsiteX65" fmla="*/ 14283 w 266268"/>
                  <a:gd name="connsiteY65" fmla="*/ 165668 h 311498"/>
                  <a:gd name="connsiteX66" fmla="*/ 15165 w 266268"/>
                  <a:gd name="connsiteY66" fmla="*/ 165668 h 311498"/>
                  <a:gd name="connsiteX67" fmla="*/ 16664 w 266268"/>
                  <a:gd name="connsiteY67" fmla="*/ 169460 h 311498"/>
                  <a:gd name="connsiteX68" fmla="*/ 15694 w 266268"/>
                  <a:gd name="connsiteY68" fmla="*/ 169460 h 311498"/>
                  <a:gd name="connsiteX69" fmla="*/ 16664 w 266268"/>
                  <a:gd name="connsiteY69" fmla="*/ 171135 h 311498"/>
                  <a:gd name="connsiteX70" fmla="*/ 17546 w 266268"/>
                  <a:gd name="connsiteY70" fmla="*/ 171487 h 311498"/>
                  <a:gd name="connsiteX71" fmla="*/ 17810 w 266268"/>
                  <a:gd name="connsiteY71" fmla="*/ 172898 h 311498"/>
                  <a:gd name="connsiteX72" fmla="*/ 18692 w 266268"/>
                  <a:gd name="connsiteY72" fmla="*/ 172898 h 311498"/>
                  <a:gd name="connsiteX73" fmla="*/ 19221 w 266268"/>
                  <a:gd name="connsiteY73" fmla="*/ 174926 h 311498"/>
                  <a:gd name="connsiteX74" fmla="*/ 18692 w 266268"/>
                  <a:gd name="connsiteY74" fmla="*/ 176425 h 311498"/>
                  <a:gd name="connsiteX75" fmla="*/ 17810 w 266268"/>
                  <a:gd name="connsiteY75" fmla="*/ 176689 h 311498"/>
                  <a:gd name="connsiteX76" fmla="*/ 18692 w 266268"/>
                  <a:gd name="connsiteY76" fmla="*/ 178188 h 311498"/>
                  <a:gd name="connsiteX77" fmla="*/ 18692 w 266268"/>
                  <a:gd name="connsiteY77" fmla="*/ 179952 h 311498"/>
                  <a:gd name="connsiteX78" fmla="*/ 16311 w 266268"/>
                  <a:gd name="connsiteY78" fmla="*/ 181098 h 311498"/>
                  <a:gd name="connsiteX79" fmla="*/ 16047 w 266268"/>
                  <a:gd name="connsiteY79" fmla="*/ 182244 h 311498"/>
                  <a:gd name="connsiteX80" fmla="*/ 15165 w 266268"/>
                  <a:gd name="connsiteY80" fmla="*/ 182509 h 311498"/>
                  <a:gd name="connsiteX81" fmla="*/ 14548 w 266268"/>
                  <a:gd name="connsiteY81" fmla="*/ 183390 h 311498"/>
                  <a:gd name="connsiteX82" fmla="*/ 13137 w 266268"/>
                  <a:gd name="connsiteY82" fmla="*/ 184360 h 311498"/>
                  <a:gd name="connsiteX83" fmla="*/ 12520 w 266268"/>
                  <a:gd name="connsiteY83" fmla="*/ 185506 h 311498"/>
                  <a:gd name="connsiteX84" fmla="*/ 12873 w 266268"/>
                  <a:gd name="connsiteY84" fmla="*/ 186652 h 311498"/>
                  <a:gd name="connsiteX85" fmla="*/ 13137 w 266268"/>
                  <a:gd name="connsiteY85" fmla="*/ 187534 h 311498"/>
                  <a:gd name="connsiteX86" fmla="*/ 13666 w 266268"/>
                  <a:gd name="connsiteY86" fmla="*/ 188680 h 311498"/>
                  <a:gd name="connsiteX87" fmla="*/ 14548 w 266268"/>
                  <a:gd name="connsiteY87" fmla="*/ 189298 h 311498"/>
                  <a:gd name="connsiteX88" fmla="*/ 17546 w 266268"/>
                  <a:gd name="connsiteY88" fmla="*/ 186917 h 311498"/>
                  <a:gd name="connsiteX89" fmla="*/ 16047 w 266268"/>
                  <a:gd name="connsiteY89" fmla="*/ 189298 h 311498"/>
                  <a:gd name="connsiteX90" fmla="*/ 13666 w 266268"/>
                  <a:gd name="connsiteY90" fmla="*/ 191943 h 311498"/>
                  <a:gd name="connsiteX91" fmla="*/ 13402 w 266268"/>
                  <a:gd name="connsiteY91" fmla="*/ 192736 h 311498"/>
                  <a:gd name="connsiteX92" fmla="*/ 13137 w 266268"/>
                  <a:gd name="connsiteY92" fmla="*/ 193970 h 311498"/>
                  <a:gd name="connsiteX93" fmla="*/ 13137 w 266268"/>
                  <a:gd name="connsiteY93" fmla="*/ 195381 h 311498"/>
                  <a:gd name="connsiteX94" fmla="*/ 13402 w 266268"/>
                  <a:gd name="connsiteY94" fmla="*/ 194852 h 311498"/>
                  <a:gd name="connsiteX95" fmla="*/ 13402 w 266268"/>
                  <a:gd name="connsiteY95" fmla="*/ 193618 h 311498"/>
                  <a:gd name="connsiteX96" fmla="*/ 14900 w 266268"/>
                  <a:gd name="connsiteY96" fmla="*/ 191943 h 311498"/>
                  <a:gd name="connsiteX97" fmla="*/ 15165 w 266268"/>
                  <a:gd name="connsiteY97" fmla="*/ 191943 h 311498"/>
                  <a:gd name="connsiteX98" fmla="*/ 14548 w 266268"/>
                  <a:gd name="connsiteY98" fmla="*/ 193618 h 311498"/>
                  <a:gd name="connsiteX99" fmla="*/ 16047 w 266268"/>
                  <a:gd name="connsiteY99" fmla="*/ 191943 h 311498"/>
                  <a:gd name="connsiteX100" fmla="*/ 16928 w 266268"/>
                  <a:gd name="connsiteY100" fmla="*/ 192207 h 311498"/>
                  <a:gd name="connsiteX101" fmla="*/ 16047 w 266268"/>
                  <a:gd name="connsiteY101" fmla="*/ 193618 h 311498"/>
                  <a:gd name="connsiteX102" fmla="*/ 14548 w 266268"/>
                  <a:gd name="connsiteY102" fmla="*/ 195381 h 311498"/>
                  <a:gd name="connsiteX103" fmla="*/ 13137 w 266268"/>
                  <a:gd name="connsiteY103" fmla="*/ 195998 h 311498"/>
                  <a:gd name="connsiteX104" fmla="*/ 11638 w 266268"/>
                  <a:gd name="connsiteY104" fmla="*/ 195646 h 311498"/>
                  <a:gd name="connsiteX105" fmla="*/ 11374 w 266268"/>
                  <a:gd name="connsiteY105" fmla="*/ 195646 h 311498"/>
                  <a:gd name="connsiteX106" fmla="*/ 12873 w 266268"/>
                  <a:gd name="connsiteY106" fmla="*/ 198908 h 311498"/>
                  <a:gd name="connsiteX107" fmla="*/ 15165 w 266268"/>
                  <a:gd name="connsiteY107" fmla="*/ 200054 h 311498"/>
                  <a:gd name="connsiteX108" fmla="*/ 16928 w 266268"/>
                  <a:gd name="connsiteY108" fmla="*/ 201817 h 311498"/>
                  <a:gd name="connsiteX109" fmla="*/ 16047 w 266268"/>
                  <a:gd name="connsiteY109" fmla="*/ 204991 h 311498"/>
                  <a:gd name="connsiteX110" fmla="*/ 17810 w 266268"/>
                  <a:gd name="connsiteY110" fmla="*/ 207019 h 311498"/>
                  <a:gd name="connsiteX111" fmla="*/ 17546 w 266268"/>
                  <a:gd name="connsiteY111" fmla="*/ 209664 h 311498"/>
                  <a:gd name="connsiteX112" fmla="*/ 18956 w 266268"/>
                  <a:gd name="connsiteY112" fmla="*/ 213720 h 311498"/>
                  <a:gd name="connsiteX113" fmla="*/ 18956 w 266268"/>
                  <a:gd name="connsiteY113" fmla="*/ 218129 h 311498"/>
                  <a:gd name="connsiteX114" fmla="*/ 18692 w 266268"/>
                  <a:gd name="connsiteY114" fmla="*/ 220156 h 311498"/>
                  <a:gd name="connsiteX115" fmla="*/ 20455 w 266268"/>
                  <a:gd name="connsiteY115" fmla="*/ 220774 h 311498"/>
                  <a:gd name="connsiteX116" fmla="*/ 20102 w 266268"/>
                  <a:gd name="connsiteY116" fmla="*/ 222802 h 311498"/>
                  <a:gd name="connsiteX117" fmla="*/ 19221 w 266268"/>
                  <a:gd name="connsiteY117" fmla="*/ 224829 h 311498"/>
                  <a:gd name="connsiteX118" fmla="*/ 18339 w 266268"/>
                  <a:gd name="connsiteY118" fmla="*/ 227474 h 311498"/>
                  <a:gd name="connsiteX119" fmla="*/ 18339 w 266268"/>
                  <a:gd name="connsiteY119" fmla="*/ 230649 h 311498"/>
                  <a:gd name="connsiteX120" fmla="*/ 18339 w 266268"/>
                  <a:gd name="connsiteY120" fmla="*/ 235057 h 311498"/>
                  <a:gd name="connsiteX121" fmla="*/ 19573 w 266268"/>
                  <a:gd name="connsiteY121" fmla="*/ 237085 h 311498"/>
                  <a:gd name="connsiteX122" fmla="*/ 18692 w 266268"/>
                  <a:gd name="connsiteY122" fmla="*/ 240611 h 311498"/>
                  <a:gd name="connsiteX123" fmla="*/ 16664 w 266268"/>
                  <a:gd name="connsiteY123" fmla="*/ 242375 h 311498"/>
                  <a:gd name="connsiteX124" fmla="*/ 15429 w 266268"/>
                  <a:gd name="connsiteY124" fmla="*/ 244138 h 311498"/>
                  <a:gd name="connsiteX125" fmla="*/ 15429 w 266268"/>
                  <a:gd name="connsiteY125" fmla="*/ 249605 h 311498"/>
                  <a:gd name="connsiteX126" fmla="*/ 14283 w 266268"/>
                  <a:gd name="connsiteY126" fmla="*/ 251721 h 311498"/>
                  <a:gd name="connsiteX127" fmla="*/ 13402 w 266268"/>
                  <a:gd name="connsiteY127" fmla="*/ 253749 h 311498"/>
                  <a:gd name="connsiteX128" fmla="*/ 11374 w 266268"/>
                  <a:gd name="connsiteY128" fmla="*/ 256658 h 311498"/>
                  <a:gd name="connsiteX129" fmla="*/ 10228 w 266268"/>
                  <a:gd name="connsiteY129" fmla="*/ 260449 h 311498"/>
                  <a:gd name="connsiteX130" fmla="*/ 9081 w 266268"/>
                  <a:gd name="connsiteY130" fmla="*/ 267150 h 311498"/>
                  <a:gd name="connsiteX131" fmla="*/ 7847 w 266268"/>
                  <a:gd name="connsiteY131" fmla="*/ 271206 h 311498"/>
                  <a:gd name="connsiteX132" fmla="*/ 7318 w 266268"/>
                  <a:gd name="connsiteY132" fmla="*/ 274468 h 311498"/>
                  <a:gd name="connsiteX133" fmla="*/ 9081 w 266268"/>
                  <a:gd name="connsiteY133" fmla="*/ 276496 h 311498"/>
                  <a:gd name="connsiteX134" fmla="*/ 11109 w 266268"/>
                  <a:gd name="connsiteY134" fmla="*/ 273851 h 311498"/>
                  <a:gd name="connsiteX135" fmla="*/ 14548 w 266268"/>
                  <a:gd name="connsiteY135" fmla="*/ 269178 h 311498"/>
                  <a:gd name="connsiteX136" fmla="*/ 17810 w 266268"/>
                  <a:gd name="connsiteY136" fmla="*/ 266886 h 311498"/>
                  <a:gd name="connsiteX137" fmla="*/ 20102 w 266268"/>
                  <a:gd name="connsiteY137" fmla="*/ 265916 h 311498"/>
                  <a:gd name="connsiteX138" fmla="*/ 21866 w 266268"/>
                  <a:gd name="connsiteY138" fmla="*/ 267679 h 311498"/>
                  <a:gd name="connsiteX139" fmla="*/ 27156 w 266268"/>
                  <a:gd name="connsiteY139" fmla="*/ 267150 h 311498"/>
                  <a:gd name="connsiteX140" fmla="*/ 31829 w 266268"/>
                  <a:gd name="connsiteY140" fmla="*/ 266886 h 311498"/>
                  <a:gd name="connsiteX141" fmla="*/ 33504 w 266268"/>
                  <a:gd name="connsiteY141" fmla="*/ 265387 h 311498"/>
                  <a:gd name="connsiteX142" fmla="*/ 36414 w 266268"/>
                  <a:gd name="connsiteY142" fmla="*/ 265651 h 311498"/>
                  <a:gd name="connsiteX143" fmla="*/ 39940 w 266268"/>
                  <a:gd name="connsiteY143" fmla="*/ 263359 h 311498"/>
                  <a:gd name="connsiteX144" fmla="*/ 41968 w 266268"/>
                  <a:gd name="connsiteY144" fmla="*/ 265387 h 311498"/>
                  <a:gd name="connsiteX145" fmla="*/ 43203 w 266268"/>
                  <a:gd name="connsiteY145" fmla="*/ 263094 h 311498"/>
                  <a:gd name="connsiteX146" fmla="*/ 44613 w 266268"/>
                  <a:gd name="connsiteY146" fmla="*/ 264770 h 311498"/>
                  <a:gd name="connsiteX147" fmla="*/ 46377 w 266268"/>
                  <a:gd name="connsiteY147" fmla="*/ 263888 h 311498"/>
                  <a:gd name="connsiteX148" fmla="*/ 47258 w 266268"/>
                  <a:gd name="connsiteY148" fmla="*/ 264505 h 311498"/>
                  <a:gd name="connsiteX149" fmla="*/ 49286 w 266268"/>
                  <a:gd name="connsiteY149" fmla="*/ 263623 h 311498"/>
                  <a:gd name="connsiteX150" fmla="*/ 50432 w 266268"/>
                  <a:gd name="connsiteY150" fmla="*/ 263888 h 311498"/>
                  <a:gd name="connsiteX151" fmla="*/ 53078 w 266268"/>
                  <a:gd name="connsiteY151" fmla="*/ 264241 h 311498"/>
                  <a:gd name="connsiteX152" fmla="*/ 54841 w 266268"/>
                  <a:gd name="connsiteY152" fmla="*/ 263623 h 311498"/>
                  <a:gd name="connsiteX153" fmla="*/ 55722 w 266268"/>
                  <a:gd name="connsiteY153" fmla="*/ 263359 h 311498"/>
                  <a:gd name="connsiteX154" fmla="*/ 57486 w 266268"/>
                  <a:gd name="connsiteY154" fmla="*/ 265651 h 311498"/>
                  <a:gd name="connsiteX155" fmla="*/ 58897 w 266268"/>
                  <a:gd name="connsiteY155" fmla="*/ 266268 h 311498"/>
                  <a:gd name="connsiteX156" fmla="*/ 64187 w 266268"/>
                  <a:gd name="connsiteY156" fmla="*/ 270060 h 311498"/>
                  <a:gd name="connsiteX157" fmla="*/ 64451 w 266268"/>
                  <a:gd name="connsiteY157" fmla="*/ 272088 h 311498"/>
                  <a:gd name="connsiteX158" fmla="*/ 67361 w 266268"/>
                  <a:gd name="connsiteY158" fmla="*/ 274733 h 311498"/>
                  <a:gd name="connsiteX159" fmla="*/ 70887 w 266268"/>
                  <a:gd name="connsiteY159" fmla="*/ 275614 h 311498"/>
                  <a:gd name="connsiteX160" fmla="*/ 71505 w 266268"/>
                  <a:gd name="connsiteY160" fmla="*/ 277907 h 311498"/>
                  <a:gd name="connsiteX161" fmla="*/ 75208 w 266268"/>
                  <a:gd name="connsiteY161" fmla="*/ 276496 h 311498"/>
                  <a:gd name="connsiteX162" fmla="*/ 74414 w 266268"/>
                  <a:gd name="connsiteY162" fmla="*/ 278524 h 311498"/>
                  <a:gd name="connsiteX163" fmla="*/ 74943 w 266268"/>
                  <a:gd name="connsiteY163" fmla="*/ 279141 h 311498"/>
                  <a:gd name="connsiteX164" fmla="*/ 78999 w 266268"/>
                  <a:gd name="connsiteY164" fmla="*/ 278171 h 311498"/>
                  <a:gd name="connsiteX165" fmla="*/ 80762 w 266268"/>
                  <a:gd name="connsiteY165" fmla="*/ 281698 h 311498"/>
                  <a:gd name="connsiteX166" fmla="*/ 79881 w 266268"/>
                  <a:gd name="connsiteY166" fmla="*/ 284343 h 311498"/>
                  <a:gd name="connsiteX167" fmla="*/ 81380 w 266268"/>
                  <a:gd name="connsiteY167" fmla="*/ 285489 h 311498"/>
                  <a:gd name="connsiteX168" fmla="*/ 81115 w 266268"/>
                  <a:gd name="connsiteY168" fmla="*/ 288399 h 311498"/>
                  <a:gd name="connsiteX169" fmla="*/ 82878 w 266268"/>
                  <a:gd name="connsiteY169" fmla="*/ 290162 h 311498"/>
                  <a:gd name="connsiteX170" fmla="*/ 85171 w 266268"/>
                  <a:gd name="connsiteY170" fmla="*/ 292190 h 311498"/>
                  <a:gd name="connsiteX171" fmla="*/ 87463 w 266268"/>
                  <a:gd name="connsiteY171" fmla="*/ 293689 h 311498"/>
                  <a:gd name="connsiteX172" fmla="*/ 89226 w 266268"/>
                  <a:gd name="connsiteY172" fmla="*/ 296598 h 311498"/>
                  <a:gd name="connsiteX173" fmla="*/ 89844 w 266268"/>
                  <a:gd name="connsiteY173" fmla="*/ 298097 h 311498"/>
                  <a:gd name="connsiteX174" fmla="*/ 88697 w 266268"/>
                  <a:gd name="connsiteY174" fmla="*/ 299508 h 311498"/>
                  <a:gd name="connsiteX175" fmla="*/ 90725 w 266268"/>
                  <a:gd name="connsiteY175" fmla="*/ 300654 h 311498"/>
                  <a:gd name="connsiteX176" fmla="*/ 93900 w 266268"/>
                  <a:gd name="connsiteY176" fmla="*/ 301536 h 311498"/>
                  <a:gd name="connsiteX177" fmla="*/ 98572 w 266268"/>
                  <a:gd name="connsiteY177" fmla="*/ 305327 h 311498"/>
                  <a:gd name="connsiteX178" fmla="*/ 99454 w 266268"/>
                  <a:gd name="connsiteY178" fmla="*/ 308237 h 311498"/>
                  <a:gd name="connsiteX179" fmla="*/ 101217 w 266268"/>
                  <a:gd name="connsiteY179" fmla="*/ 310265 h 311498"/>
                  <a:gd name="connsiteX180" fmla="*/ 105626 w 266268"/>
                  <a:gd name="connsiteY180" fmla="*/ 310617 h 311498"/>
                  <a:gd name="connsiteX181" fmla="*/ 107301 w 266268"/>
                  <a:gd name="connsiteY181" fmla="*/ 311499 h 31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</a:cxnLst>
                <a:rect l="l" t="t" r="r" b="b"/>
                <a:pathLst>
                  <a:path w="266268" h="311498">
                    <a:moveTo>
                      <a:pt x="107301" y="309736"/>
                    </a:moveTo>
                    <a:lnTo>
                      <a:pt x="109329" y="310265"/>
                    </a:lnTo>
                    <a:lnTo>
                      <a:pt x="111974" y="307090"/>
                    </a:lnTo>
                    <a:lnTo>
                      <a:pt x="111974" y="304181"/>
                    </a:lnTo>
                    <a:lnTo>
                      <a:pt x="111092" y="303916"/>
                    </a:lnTo>
                    <a:lnTo>
                      <a:pt x="111092" y="302153"/>
                    </a:lnTo>
                    <a:lnTo>
                      <a:pt x="114619" y="291044"/>
                    </a:lnTo>
                    <a:lnTo>
                      <a:pt x="116118" y="291661"/>
                    </a:lnTo>
                    <a:lnTo>
                      <a:pt x="119292" y="290162"/>
                    </a:lnTo>
                    <a:lnTo>
                      <a:pt x="119292" y="288399"/>
                    </a:lnTo>
                    <a:lnTo>
                      <a:pt x="121055" y="289016"/>
                    </a:lnTo>
                    <a:lnTo>
                      <a:pt x="132165" y="302153"/>
                    </a:lnTo>
                    <a:lnTo>
                      <a:pt x="136220" y="293953"/>
                    </a:lnTo>
                    <a:lnTo>
                      <a:pt x="142657" y="293424"/>
                    </a:lnTo>
                    <a:lnTo>
                      <a:pt x="147859" y="293953"/>
                    </a:lnTo>
                    <a:lnTo>
                      <a:pt x="149005" y="295717"/>
                    </a:lnTo>
                    <a:lnTo>
                      <a:pt x="156058" y="295100"/>
                    </a:lnTo>
                    <a:lnTo>
                      <a:pt x="164522" y="293424"/>
                    </a:lnTo>
                    <a:lnTo>
                      <a:pt x="163640" y="290162"/>
                    </a:lnTo>
                    <a:lnTo>
                      <a:pt x="166286" y="287253"/>
                    </a:lnTo>
                    <a:lnTo>
                      <a:pt x="166286" y="291926"/>
                    </a:lnTo>
                    <a:lnTo>
                      <a:pt x="250222" y="291926"/>
                    </a:lnTo>
                    <a:lnTo>
                      <a:pt x="253484" y="271823"/>
                    </a:lnTo>
                    <a:lnTo>
                      <a:pt x="247312" y="267415"/>
                    </a:lnTo>
                    <a:lnTo>
                      <a:pt x="228356" y="55370"/>
                    </a:lnTo>
                    <a:lnTo>
                      <a:pt x="266269" y="55987"/>
                    </a:lnTo>
                    <a:lnTo>
                      <a:pt x="184889" y="0"/>
                    </a:lnTo>
                    <a:lnTo>
                      <a:pt x="184360" y="30594"/>
                    </a:lnTo>
                    <a:lnTo>
                      <a:pt x="113473" y="30594"/>
                    </a:lnTo>
                    <a:lnTo>
                      <a:pt x="108535" y="95046"/>
                    </a:lnTo>
                    <a:lnTo>
                      <a:pt x="99454" y="98308"/>
                    </a:lnTo>
                    <a:lnTo>
                      <a:pt x="87816" y="108447"/>
                    </a:lnTo>
                    <a:lnTo>
                      <a:pt x="94164" y="144949"/>
                    </a:lnTo>
                    <a:lnTo>
                      <a:pt x="3791" y="146359"/>
                    </a:lnTo>
                    <a:lnTo>
                      <a:pt x="2292" y="151914"/>
                    </a:lnTo>
                    <a:lnTo>
                      <a:pt x="1499" y="154295"/>
                    </a:lnTo>
                    <a:lnTo>
                      <a:pt x="1499" y="155088"/>
                    </a:lnTo>
                    <a:lnTo>
                      <a:pt x="617" y="157821"/>
                    </a:lnTo>
                    <a:lnTo>
                      <a:pt x="0" y="161524"/>
                    </a:lnTo>
                    <a:lnTo>
                      <a:pt x="2028" y="158968"/>
                    </a:lnTo>
                    <a:lnTo>
                      <a:pt x="1146" y="157821"/>
                    </a:lnTo>
                    <a:lnTo>
                      <a:pt x="2028" y="157204"/>
                    </a:lnTo>
                    <a:lnTo>
                      <a:pt x="2292" y="156058"/>
                    </a:lnTo>
                    <a:lnTo>
                      <a:pt x="2292" y="155088"/>
                    </a:lnTo>
                    <a:lnTo>
                      <a:pt x="2028" y="155088"/>
                    </a:lnTo>
                    <a:lnTo>
                      <a:pt x="2028" y="154295"/>
                    </a:lnTo>
                    <a:lnTo>
                      <a:pt x="3174" y="153677"/>
                    </a:lnTo>
                    <a:lnTo>
                      <a:pt x="4056" y="151032"/>
                    </a:lnTo>
                    <a:lnTo>
                      <a:pt x="4408" y="151650"/>
                    </a:lnTo>
                    <a:lnTo>
                      <a:pt x="6701" y="156587"/>
                    </a:lnTo>
                    <a:lnTo>
                      <a:pt x="6436" y="158086"/>
                    </a:lnTo>
                    <a:lnTo>
                      <a:pt x="5819" y="161524"/>
                    </a:lnTo>
                    <a:lnTo>
                      <a:pt x="6965" y="162759"/>
                    </a:lnTo>
                    <a:lnTo>
                      <a:pt x="7318" y="164522"/>
                    </a:lnTo>
                    <a:lnTo>
                      <a:pt x="8729" y="163552"/>
                    </a:lnTo>
                    <a:lnTo>
                      <a:pt x="10228" y="164169"/>
                    </a:lnTo>
                    <a:lnTo>
                      <a:pt x="11991" y="165933"/>
                    </a:lnTo>
                    <a:lnTo>
                      <a:pt x="12256" y="165668"/>
                    </a:lnTo>
                    <a:lnTo>
                      <a:pt x="12256" y="161877"/>
                    </a:lnTo>
                    <a:lnTo>
                      <a:pt x="12873" y="162406"/>
                    </a:lnTo>
                    <a:lnTo>
                      <a:pt x="13402" y="163552"/>
                    </a:lnTo>
                    <a:lnTo>
                      <a:pt x="14283" y="163552"/>
                    </a:lnTo>
                    <a:lnTo>
                      <a:pt x="13666" y="164169"/>
                    </a:lnTo>
                    <a:lnTo>
                      <a:pt x="14019" y="164169"/>
                    </a:lnTo>
                    <a:lnTo>
                      <a:pt x="14283" y="164169"/>
                    </a:lnTo>
                    <a:lnTo>
                      <a:pt x="14283" y="165668"/>
                    </a:lnTo>
                    <a:lnTo>
                      <a:pt x="15165" y="165668"/>
                    </a:lnTo>
                    <a:lnTo>
                      <a:pt x="16664" y="169460"/>
                    </a:lnTo>
                    <a:lnTo>
                      <a:pt x="15694" y="169460"/>
                    </a:lnTo>
                    <a:lnTo>
                      <a:pt x="16664" y="171135"/>
                    </a:lnTo>
                    <a:lnTo>
                      <a:pt x="17546" y="171487"/>
                    </a:lnTo>
                    <a:lnTo>
                      <a:pt x="17810" y="172898"/>
                    </a:lnTo>
                    <a:lnTo>
                      <a:pt x="18692" y="172898"/>
                    </a:lnTo>
                    <a:lnTo>
                      <a:pt x="19221" y="174926"/>
                    </a:lnTo>
                    <a:lnTo>
                      <a:pt x="18692" y="176425"/>
                    </a:lnTo>
                    <a:lnTo>
                      <a:pt x="17810" y="176689"/>
                    </a:lnTo>
                    <a:lnTo>
                      <a:pt x="18692" y="178188"/>
                    </a:lnTo>
                    <a:lnTo>
                      <a:pt x="18692" y="179952"/>
                    </a:lnTo>
                    <a:lnTo>
                      <a:pt x="16311" y="181098"/>
                    </a:lnTo>
                    <a:lnTo>
                      <a:pt x="16047" y="182244"/>
                    </a:lnTo>
                    <a:lnTo>
                      <a:pt x="15165" y="182509"/>
                    </a:lnTo>
                    <a:lnTo>
                      <a:pt x="14548" y="183390"/>
                    </a:lnTo>
                    <a:lnTo>
                      <a:pt x="13137" y="184360"/>
                    </a:lnTo>
                    <a:lnTo>
                      <a:pt x="12520" y="185506"/>
                    </a:lnTo>
                    <a:lnTo>
                      <a:pt x="12873" y="186652"/>
                    </a:lnTo>
                    <a:lnTo>
                      <a:pt x="13137" y="187534"/>
                    </a:lnTo>
                    <a:lnTo>
                      <a:pt x="13666" y="188680"/>
                    </a:lnTo>
                    <a:lnTo>
                      <a:pt x="14548" y="189298"/>
                    </a:lnTo>
                    <a:lnTo>
                      <a:pt x="17546" y="186917"/>
                    </a:lnTo>
                    <a:lnTo>
                      <a:pt x="16047" y="189298"/>
                    </a:lnTo>
                    <a:lnTo>
                      <a:pt x="13666" y="191943"/>
                    </a:lnTo>
                    <a:lnTo>
                      <a:pt x="13402" y="192736"/>
                    </a:lnTo>
                    <a:lnTo>
                      <a:pt x="13137" y="193970"/>
                    </a:lnTo>
                    <a:lnTo>
                      <a:pt x="13137" y="195381"/>
                    </a:lnTo>
                    <a:lnTo>
                      <a:pt x="13402" y="194852"/>
                    </a:lnTo>
                    <a:lnTo>
                      <a:pt x="13402" y="193618"/>
                    </a:lnTo>
                    <a:lnTo>
                      <a:pt x="14900" y="191943"/>
                    </a:lnTo>
                    <a:lnTo>
                      <a:pt x="15165" y="191943"/>
                    </a:lnTo>
                    <a:lnTo>
                      <a:pt x="14548" y="193618"/>
                    </a:lnTo>
                    <a:lnTo>
                      <a:pt x="16047" y="191943"/>
                    </a:lnTo>
                    <a:lnTo>
                      <a:pt x="16928" y="192207"/>
                    </a:lnTo>
                    <a:lnTo>
                      <a:pt x="16047" y="193618"/>
                    </a:lnTo>
                    <a:lnTo>
                      <a:pt x="14548" y="195381"/>
                    </a:lnTo>
                    <a:lnTo>
                      <a:pt x="13137" y="195998"/>
                    </a:lnTo>
                    <a:lnTo>
                      <a:pt x="11638" y="195646"/>
                    </a:lnTo>
                    <a:lnTo>
                      <a:pt x="11374" y="195646"/>
                    </a:lnTo>
                    <a:lnTo>
                      <a:pt x="12873" y="198908"/>
                    </a:lnTo>
                    <a:lnTo>
                      <a:pt x="15165" y="200054"/>
                    </a:lnTo>
                    <a:lnTo>
                      <a:pt x="16928" y="201817"/>
                    </a:lnTo>
                    <a:lnTo>
                      <a:pt x="16047" y="204991"/>
                    </a:lnTo>
                    <a:lnTo>
                      <a:pt x="17810" y="207019"/>
                    </a:lnTo>
                    <a:lnTo>
                      <a:pt x="17546" y="209664"/>
                    </a:lnTo>
                    <a:lnTo>
                      <a:pt x="18956" y="213720"/>
                    </a:lnTo>
                    <a:lnTo>
                      <a:pt x="18956" y="218129"/>
                    </a:lnTo>
                    <a:lnTo>
                      <a:pt x="18692" y="220156"/>
                    </a:lnTo>
                    <a:lnTo>
                      <a:pt x="20455" y="220774"/>
                    </a:lnTo>
                    <a:lnTo>
                      <a:pt x="20102" y="222802"/>
                    </a:lnTo>
                    <a:lnTo>
                      <a:pt x="19221" y="224829"/>
                    </a:lnTo>
                    <a:lnTo>
                      <a:pt x="18339" y="227474"/>
                    </a:lnTo>
                    <a:lnTo>
                      <a:pt x="18339" y="230649"/>
                    </a:lnTo>
                    <a:lnTo>
                      <a:pt x="18339" y="235057"/>
                    </a:lnTo>
                    <a:lnTo>
                      <a:pt x="19573" y="237085"/>
                    </a:lnTo>
                    <a:lnTo>
                      <a:pt x="18692" y="240611"/>
                    </a:lnTo>
                    <a:lnTo>
                      <a:pt x="16664" y="242375"/>
                    </a:lnTo>
                    <a:lnTo>
                      <a:pt x="15429" y="244138"/>
                    </a:lnTo>
                    <a:lnTo>
                      <a:pt x="15429" y="249605"/>
                    </a:lnTo>
                    <a:lnTo>
                      <a:pt x="14283" y="251721"/>
                    </a:lnTo>
                    <a:lnTo>
                      <a:pt x="13402" y="253749"/>
                    </a:lnTo>
                    <a:lnTo>
                      <a:pt x="11374" y="256658"/>
                    </a:lnTo>
                    <a:lnTo>
                      <a:pt x="10228" y="260449"/>
                    </a:lnTo>
                    <a:lnTo>
                      <a:pt x="9081" y="267150"/>
                    </a:lnTo>
                    <a:lnTo>
                      <a:pt x="7847" y="271206"/>
                    </a:lnTo>
                    <a:lnTo>
                      <a:pt x="7318" y="274468"/>
                    </a:lnTo>
                    <a:lnTo>
                      <a:pt x="9081" y="276496"/>
                    </a:lnTo>
                    <a:lnTo>
                      <a:pt x="11109" y="273851"/>
                    </a:lnTo>
                    <a:lnTo>
                      <a:pt x="14548" y="269178"/>
                    </a:lnTo>
                    <a:lnTo>
                      <a:pt x="17810" y="266886"/>
                    </a:lnTo>
                    <a:lnTo>
                      <a:pt x="20102" y="265916"/>
                    </a:lnTo>
                    <a:lnTo>
                      <a:pt x="21866" y="267679"/>
                    </a:lnTo>
                    <a:lnTo>
                      <a:pt x="27156" y="267150"/>
                    </a:lnTo>
                    <a:lnTo>
                      <a:pt x="31829" y="266886"/>
                    </a:lnTo>
                    <a:lnTo>
                      <a:pt x="33504" y="265387"/>
                    </a:lnTo>
                    <a:lnTo>
                      <a:pt x="36414" y="265651"/>
                    </a:lnTo>
                    <a:lnTo>
                      <a:pt x="39940" y="263359"/>
                    </a:lnTo>
                    <a:lnTo>
                      <a:pt x="41968" y="265387"/>
                    </a:lnTo>
                    <a:lnTo>
                      <a:pt x="43203" y="263094"/>
                    </a:lnTo>
                    <a:lnTo>
                      <a:pt x="44613" y="264770"/>
                    </a:lnTo>
                    <a:lnTo>
                      <a:pt x="46377" y="263888"/>
                    </a:lnTo>
                    <a:lnTo>
                      <a:pt x="47258" y="264505"/>
                    </a:lnTo>
                    <a:lnTo>
                      <a:pt x="49286" y="263623"/>
                    </a:lnTo>
                    <a:lnTo>
                      <a:pt x="50432" y="263888"/>
                    </a:lnTo>
                    <a:lnTo>
                      <a:pt x="53078" y="264241"/>
                    </a:lnTo>
                    <a:lnTo>
                      <a:pt x="54841" y="263623"/>
                    </a:lnTo>
                    <a:lnTo>
                      <a:pt x="55722" y="263359"/>
                    </a:lnTo>
                    <a:lnTo>
                      <a:pt x="57486" y="265651"/>
                    </a:lnTo>
                    <a:lnTo>
                      <a:pt x="58897" y="266268"/>
                    </a:lnTo>
                    <a:lnTo>
                      <a:pt x="64187" y="270060"/>
                    </a:lnTo>
                    <a:lnTo>
                      <a:pt x="64451" y="272088"/>
                    </a:lnTo>
                    <a:lnTo>
                      <a:pt x="67361" y="274733"/>
                    </a:lnTo>
                    <a:lnTo>
                      <a:pt x="70887" y="275614"/>
                    </a:lnTo>
                    <a:lnTo>
                      <a:pt x="71505" y="277907"/>
                    </a:lnTo>
                    <a:lnTo>
                      <a:pt x="75208" y="276496"/>
                    </a:lnTo>
                    <a:lnTo>
                      <a:pt x="74414" y="278524"/>
                    </a:lnTo>
                    <a:lnTo>
                      <a:pt x="74943" y="279141"/>
                    </a:lnTo>
                    <a:lnTo>
                      <a:pt x="78999" y="278171"/>
                    </a:lnTo>
                    <a:lnTo>
                      <a:pt x="80762" y="281698"/>
                    </a:lnTo>
                    <a:lnTo>
                      <a:pt x="79881" y="284343"/>
                    </a:lnTo>
                    <a:lnTo>
                      <a:pt x="81380" y="285489"/>
                    </a:lnTo>
                    <a:lnTo>
                      <a:pt x="81115" y="288399"/>
                    </a:lnTo>
                    <a:lnTo>
                      <a:pt x="82878" y="290162"/>
                    </a:lnTo>
                    <a:lnTo>
                      <a:pt x="85171" y="292190"/>
                    </a:lnTo>
                    <a:lnTo>
                      <a:pt x="87463" y="293689"/>
                    </a:lnTo>
                    <a:lnTo>
                      <a:pt x="89226" y="296598"/>
                    </a:lnTo>
                    <a:lnTo>
                      <a:pt x="89844" y="298097"/>
                    </a:lnTo>
                    <a:lnTo>
                      <a:pt x="88697" y="299508"/>
                    </a:lnTo>
                    <a:lnTo>
                      <a:pt x="90725" y="300654"/>
                    </a:lnTo>
                    <a:lnTo>
                      <a:pt x="93900" y="301536"/>
                    </a:lnTo>
                    <a:lnTo>
                      <a:pt x="98572" y="305327"/>
                    </a:lnTo>
                    <a:lnTo>
                      <a:pt x="99454" y="308237"/>
                    </a:lnTo>
                    <a:lnTo>
                      <a:pt x="101217" y="310265"/>
                    </a:lnTo>
                    <a:lnTo>
                      <a:pt x="105626" y="310617"/>
                    </a:lnTo>
                    <a:lnTo>
                      <a:pt x="107301" y="31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27" name="Freihandform: Form 1826">
                <a:extLst>
                  <a:ext uri="{FF2B5EF4-FFF2-40B4-BE49-F238E27FC236}">
                    <a16:creationId xmlns:a16="http://schemas.microsoft.com/office/drawing/2014/main" id="{772449FF-A01C-E074-CCC5-4197A8BDF7A3}"/>
                  </a:ext>
                </a:extLst>
              </p:cNvPr>
              <p:cNvSpPr/>
              <p:nvPr/>
            </p:nvSpPr>
            <p:spPr>
              <a:xfrm>
                <a:off x="3785498" y="3254338"/>
                <a:ext cx="261860" cy="205873"/>
              </a:xfrm>
              <a:custGeom>
                <a:avLst/>
                <a:gdLst>
                  <a:gd name="connsiteX0" fmla="*/ 235674 w 261860"/>
                  <a:gd name="connsiteY0" fmla="*/ 19221 h 205873"/>
                  <a:gd name="connsiteX1" fmla="*/ 234792 w 261860"/>
                  <a:gd name="connsiteY1" fmla="*/ 20102 h 205873"/>
                  <a:gd name="connsiteX2" fmla="*/ 233558 w 261860"/>
                  <a:gd name="connsiteY2" fmla="*/ 20367 h 205873"/>
                  <a:gd name="connsiteX3" fmla="*/ 232147 w 261860"/>
                  <a:gd name="connsiteY3" fmla="*/ 21249 h 205873"/>
                  <a:gd name="connsiteX4" fmla="*/ 231001 w 261860"/>
                  <a:gd name="connsiteY4" fmla="*/ 21249 h 205873"/>
                  <a:gd name="connsiteX5" fmla="*/ 229238 w 261860"/>
                  <a:gd name="connsiteY5" fmla="*/ 21249 h 205873"/>
                  <a:gd name="connsiteX6" fmla="*/ 226857 w 261860"/>
                  <a:gd name="connsiteY6" fmla="*/ 20102 h 205873"/>
                  <a:gd name="connsiteX7" fmla="*/ 223948 w 261860"/>
                  <a:gd name="connsiteY7" fmla="*/ 17722 h 205873"/>
                  <a:gd name="connsiteX8" fmla="*/ 223948 w 261860"/>
                  <a:gd name="connsiteY8" fmla="*/ 18075 h 205873"/>
                  <a:gd name="connsiteX9" fmla="*/ 225447 w 261860"/>
                  <a:gd name="connsiteY9" fmla="*/ 19221 h 205873"/>
                  <a:gd name="connsiteX10" fmla="*/ 226857 w 261860"/>
                  <a:gd name="connsiteY10" fmla="*/ 20631 h 205873"/>
                  <a:gd name="connsiteX11" fmla="*/ 223948 w 261860"/>
                  <a:gd name="connsiteY11" fmla="*/ 20102 h 205873"/>
                  <a:gd name="connsiteX12" fmla="*/ 223419 w 261860"/>
                  <a:gd name="connsiteY12" fmla="*/ 18956 h 205873"/>
                  <a:gd name="connsiteX13" fmla="*/ 223419 w 261860"/>
                  <a:gd name="connsiteY13" fmla="*/ 17722 h 205873"/>
                  <a:gd name="connsiteX14" fmla="*/ 223683 w 261860"/>
                  <a:gd name="connsiteY14" fmla="*/ 17193 h 205873"/>
                  <a:gd name="connsiteX15" fmla="*/ 222184 w 261860"/>
                  <a:gd name="connsiteY15" fmla="*/ 14548 h 205873"/>
                  <a:gd name="connsiteX16" fmla="*/ 222537 w 261860"/>
                  <a:gd name="connsiteY16" fmla="*/ 12784 h 205873"/>
                  <a:gd name="connsiteX17" fmla="*/ 222184 w 261860"/>
                  <a:gd name="connsiteY17" fmla="*/ 12784 h 205873"/>
                  <a:gd name="connsiteX18" fmla="*/ 220156 w 261860"/>
                  <a:gd name="connsiteY18" fmla="*/ 16576 h 205873"/>
                  <a:gd name="connsiteX19" fmla="*/ 219275 w 261860"/>
                  <a:gd name="connsiteY19" fmla="*/ 16576 h 205873"/>
                  <a:gd name="connsiteX20" fmla="*/ 219010 w 261860"/>
                  <a:gd name="connsiteY20" fmla="*/ 16576 h 205873"/>
                  <a:gd name="connsiteX21" fmla="*/ 217864 w 261860"/>
                  <a:gd name="connsiteY21" fmla="*/ 18075 h 205873"/>
                  <a:gd name="connsiteX22" fmla="*/ 214955 w 261860"/>
                  <a:gd name="connsiteY22" fmla="*/ 18956 h 205873"/>
                  <a:gd name="connsiteX23" fmla="*/ 212574 w 261860"/>
                  <a:gd name="connsiteY23" fmla="*/ 18956 h 205873"/>
                  <a:gd name="connsiteX24" fmla="*/ 209400 w 261860"/>
                  <a:gd name="connsiteY24" fmla="*/ 18075 h 205873"/>
                  <a:gd name="connsiteX25" fmla="*/ 207901 w 261860"/>
                  <a:gd name="connsiteY25" fmla="*/ 16576 h 205873"/>
                  <a:gd name="connsiteX26" fmla="*/ 206138 w 261860"/>
                  <a:gd name="connsiteY26" fmla="*/ 17193 h 205873"/>
                  <a:gd name="connsiteX27" fmla="*/ 205873 w 261860"/>
                  <a:gd name="connsiteY27" fmla="*/ 18339 h 205873"/>
                  <a:gd name="connsiteX28" fmla="*/ 204727 w 261860"/>
                  <a:gd name="connsiteY28" fmla="*/ 18604 h 205873"/>
                  <a:gd name="connsiteX29" fmla="*/ 202964 w 261860"/>
                  <a:gd name="connsiteY29" fmla="*/ 18339 h 205873"/>
                  <a:gd name="connsiteX30" fmla="*/ 202435 w 261860"/>
                  <a:gd name="connsiteY30" fmla="*/ 17193 h 205873"/>
                  <a:gd name="connsiteX31" fmla="*/ 201553 w 261860"/>
                  <a:gd name="connsiteY31" fmla="*/ 18075 h 205873"/>
                  <a:gd name="connsiteX32" fmla="*/ 200319 w 261860"/>
                  <a:gd name="connsiteY32" fmla="*/ 17722 h 205873"/>
                  <a:gd name="connsiteX33" fmla="*/ 198291 w 261860"/>
                  <a:gd name="connsiteY33" fmla="*/ 18604 h 205873"/>
                  <a:gd name="connsiteX34" fmla="*/ 195381 w 261860"/>
                  <a:gd name="connsiteY34" fmla="*/ 18956 h 205873"/>
                  <a:gd name="connsiteX35" fmla="*/ 193353 w 261860"/>
                  <a:gd name="connsiteY35" fmla="*/ 19485 h 205873"/>
                  <a:gd name="connsiteX36" fmla="*/ 190179 w 261860"/>
                  <a:gd name="connsiteY36" fmla="*/ 19485 h 205873"/>
                  <a:gd name="connsiteX37" fmla="*/ 186388 w 261860"/>
                  <a:gd name="connsiteY37" fmla="*/ 18339 h 205873"/>
                  <a:gd name="connsiteX38" fmla="*/ 184007 w 261860"/>
                  <a:gd name="connsiteY38" fmla="*/ 17722 h 205873"/>
                  <a:gd name="connsiteX39" fmla="*/ 181979 w 261860"/>
                  <a:gd name="connsiteY39" fmla="*/ 15694 h 205873"/>
                  <a:gd name="connsiteX40" fmla="*/ 180216 w 261860"/>
                  <a:gd name="connsiteY40" fmla="*/ 13402 h 205873"/>
                  <a:gd name="connsiteX41" fmla="*/ 179070 w 261860"/>
                  <a:gd name="connsiteY41" fmla="*/ 12784 h 205873"/>
                  <a:gd name="connsiteX42" fmla="*/ 177924 w 261860"/>
                  <a:gd name="connsiteY42" fmla="*/ 11021 h 205873"/>
                  <a:gd name="connsiteX43" fmla="*/ 176425 w 261860"/>
                  <a:gd name="connsiteY43" fmla="*/ 10492 h 205873"/>
                  <a:gd name="connsiteX44" fmla="*/ 174926 w 261860"/>
                  <a:gd name="connsiteY44" fmla="*/ 8993 h 205873"/>
                  <a:gd name="connsiteX45" fmla="*/ 174662 w 261860"/>
                  <a:gd name="connsiteY45" fmla="*/ 6348 h 205873"/>
                  <a:gd name="connsiteX46" fmla="*/ 173780 w 261860"/>
                  <a:gd name="connsiteY46" fmla="*/ 6348 h 205873"/>
                  <a:gd name="connsiteX47" fmla="*/ 173251 w 261860"/>
                  <a:gd name="connsiteY47" fmla="*/ 2557 h 205873"/>
                  <a:gd name="connsiteX48" fmla="*/ 173515 w 261860"/>
                  <a:gd name="connsiteY48" fmla="*/ 2292 h 205873"/>
                  <a:gd name="connsiteX49" fmla="*/ 173780 w 261860"/>
                  <a:gd name="connsiteY49" fmla="*/ 882 h 205873"/>
                  <a:gd name="connsiteX50" fmla="*/ 171752 w 261860"/>
                  <a:gd name="connsiteY50" fmla="*/ 882 h 205873"/>
                  <a:gd name="connsiteX51" fmla="*/ 170341 w 261860"/>
                  <a:gd name="connsiteY51" fmla="*/ 0 h 205873"/>
                  <a:gd name="connsiteX52" fmla="*/ 169371 w 261860"/>
                  <a:gd name="connsiteY52" fmla="*/ 264 h 205873"/>
                  <a:gd name="connsiteX53" fmla="*/ 168842 w 261860"/>
                  <a:gd name="connsiteY53" fmla="*/ 882 h 205873"/>
                  <a:gd name="connsiteX54" fmla="*/ 168578 w 261860"/>
                  <a:gd name="connsiteY54" fmla="*/ 1675 h 205873"/>
                  <a:gd name="connsiteX55" fmla="*/ 167344 w 261860"/>
                  <a:gd name="connsiteY55" fmla="*/ 1411 h 205873"/>
                  <a:gd name="connsiteX56" fmla="*/ 166815 w 261860"/>
                  <a:gd name="connsiteY56" fmla="*/ 2028 h 205873"/>
                  <a:gd name="connsiteX57" fmla="*/ 164434 w 261860"/>
                  <a:gd name="connsiteY57" fmla="*/ 2028 h 205873"/>
                  <a:gd name="connsiteX58" fmla="*/ 164434 w 261860"/>
                  <a:gd name="connsiteY58" fmla="*/ 3439 h 205873"/>
                  <a:gd name="connsiteX59" fmla="*/ 162142 w 261860"/>
                  <a:gd name="connsiteY59" fmla="*/ 3791 h 205873"/>
                  <a:gd name="connsiteX60" fmla="*/ 159849 w 261860"/>
                  <a:gd name="connsiteY60" fmla="*/ 4320 h 205873"/>
                  <a:gd name="connsiteX61" fmla="*/ 156852 w 261860"/>
                  <a:gd name="connsiteY61" fmla="*/ 8376 h 205873"/>
                  <a:gd name="connsiteX62" fmla="*/ 156323 w 261860"/>
                  <a:gd name="connsiteY62" fmla="*/ 11638 h 205873"/>
                  <a:gd name="connsiteX63" fmla="*/ 154559 w 261860"/>
                  <a:gd name="connsiteY63" fmla="*/ 14548 h 205873"/>
                  <a:gd name="connsiteX64" fmla="*/ 154295 w 261860"/>
                  <a:gd name="connsiteY64" fmla="*/ 17193 h 205873"/>
                  <a:gd name="connsiteX65" fmla="*/ 155088 w 261860"/>
                  <a:gd name="connsiteY65" fmla="*/ 18956 h 205873"/>
                  <a:gd name="connsiteX66" fmla="*/ 152796 w 261860"/>
                  <a:gd name="connsiteY66" fmla="*/ 20631 h 205873"/>
                  <a:gd name="connsiteX67" fmla="*/ 151914 w 261860"/>
                  <a:gd name="connsiteY67" fmla="*/ 22130 h 205873"/>
                  <a:gd name="connsiteX68" fmla="*/ 150768 w 261860"/>
                  <a:gd name="connsiteY68" fmla="*/ 25304 h 205873"/>
                  <a:gd name="connsiteX69" fmla="*/ 149269 w 261860"/>
                  <a:gd name="connsiteY69" fmla="*/ 27949 h 205873"/>
                  <a:gd name="connsiteX70" fmla="*/ 147858 w 261860"/>
                  <a:gd name="connsiteY70" fmla="*/ 32005 h 205873"/>
                  <a:gd name="connsiteX71" fmla="*/ 146977 w 261860"/>
                  <a:gd name="connsiteY71" fmla="*/ 35003 h 205873"/>
                  <a:gd name="connsiteX72" fmla="*/ 145213 w 261860"/>
                  <a:gd name="connsiteY72" fmla="*/ 34650 h 205873"/>
                  <a:gd name="connsiteX73" fmla="*/ 144332 w 261860"/>
                  <a:gd name="connsiteY73" fmla="*/ 35884 h 205873"/>
                  <a:gd name="connsiteX74" fmla="*/ 143185 w 261860"/>
                  <a:gd name="connsiteY74" fmla="*/ 36149 h 205873"/>
                  <a:gd name="connsiteX75" fmla="*/ 142921 w 261860"/>
                  <a:gd name="connsiteY75" fmla="*/ 37560 h 205873"/>
                  <a:gd name="connsiteX76" fmla="*/ 142921 w 261860"/>
                  <a:gd name="connsiteY76" fmla="*/ 39940 h 205873"/>
                  <a:gd name="connsiteX77" fmla="*/ 141687 w 261860"/>
                  <a:gd name="connsiteY77" fmla="*/ 41351 h 205873"/>
                  <a:gd name="connsiteX78" fmla="*/ 141158 w 261860"/>
                  <a:gd name="connsiteY78" fmla="*/ 43731 h 205873"/>
                  <a:gd name="connsiteX79" fmla="*/ 140805 w 261860"/>
                  <a:gd name="connsiteY79" fmla="*/ 45759 h 205873"/>
                  <a:gd name="connsiteX80" fmla="*/ 138777 w 261860"/>
                  <a:gd name="connsiteY80" fmla="*/ 46024 h 205873"/>
                  <a:gd name="connsiteX81" fmla="*/ 137631 w 261860"/>
                  <a:gd name="connsiteY81" fmla="*/ 46906 h 205873"/>
                  <a:gd name="connsiteX82" fmla="*/ 136749 w 261860"/>
                  <a:gd name="connsiteY82" fmla="*/ 49815 h 205873"/>
                  <a:gd name="connsiteX83" fmla="*/ 133222 w 261860"/>
                  <a:gd name="connsiteY83" fmla="*/ 51579 h 205873"/>
                  <a:gd name="connsiteX84" fmla="*/ 130930 w 261860"/>
                  <a:gd name="connsiteY84" fmla="*/ 53077 h 205873"/>
                  <a:gd name="connsiteX85" fmla="*/ 128285 w 261860"/>
                  <a:gd name="connsiteY85" fmla="*/ 53342 h 205873"/>
                  <a:gd name="connsiteX86" fmla="*/ 126522 w 261860"/>
                  <a:gd name="connsiteY86" fmla="*/ 56516 h 205873"/>
                  <a:gd name="connsiteX87" fmla="*/ 123876 w 261860"/>
                  <a:gd name="connsiteY87" fmla="*/ 57398 h 205873"/>
                  <a:gd name="connsiteX88" fmla="*/ 122731 w 261860"/>
                  <a:gd name="connsiteY88" fmla="*/ 55987 h 205873"/>
                  <a:gd name="connsiteX89" fmla="*/ 121055 w 261860"/>
                  <a:gd name="connsiteY89" fmla="*/ 55987 h 205873"/>
                  <a:gd name="connsiteX90" fmla="*/ 120174 w 261860"/>
                  <a:gd name="connsiteY90" fmla="*/ 56251 h 205873"/>
                  <a:gd name="connsiteX91" fmla="*/ 119821 w 261860"/>
                  <a:gd name="connsiteY91" fmla="*/ 57750 h 205873"/>
                  <a:gd name="connsiteX92" fmla="*/ 118410 w 261860"/>
                  <a:gd name="connsiteY92" fmla="*/ 58279 h 205873"/>
                  <a:gd name="connsiteX93" fmla="*/ 117528 w 261860"/>
                  <a:gd name="connsiteY93" fmla="*/ 58015 h 205873"/>
                  <a:gd name="connsiteX94" fmla="*/ 116647 w 261860"/>
                  <a:gd name="connsiteY94" fmla="*/ 58896 h 205873"/>
                  <a:gd name="connsiteX95" fmla="*/ 114883 w 261860"/>
                  <a:gd name="connsiteY95" fmla="*/ 59426 h 205873"/>
                  <a:gd name="connsiteX96" fmla="*/ 112238 w 261860"/>
                  <a:gd name="connsiteY96" fmla="*/ 60924 h 205873"/>
                  <a:gd name="connsiteX97" fmla="*/ 109946 w 261860"/>
                  <a:gd name="connsiteY97" fmla="*/ 61189 h 205873"/>
                  <a:gd name="connsiteX98" fmla="*/ 109329 w 261860"/>
                  <a:gd name="connsiteY98" fmla="*/ 61806 h 205873"/>
                  <a:gd name="connsiteX99" fmla="*/ 106684 w 261860"/>
                  <a:gd name="connsiteY99" fmla="*/ 62335 h 205873"/>
                  <a:gd name="connsiteX100" fmla="*/ 104920 w 261860"/>
                  <a:gd name="connsiteY100" fmla="*/ 63569 h 205873"/>
                  <a:gd name="connsiteX101" fmla="*/ 102628 w 261860"/>
                  <a:gd name="connsiteY101" fmla="*/ 66126 h 205873"/>
                  <a:gd name="connsiteX102" fmla="*/ 101746 w 261860"/>
                  <a:gd name="connsiteY102" fmla="*/ 68507 h 205873"/>
                  <a:gd name="connsiteX103" fmla="*/ 99454 w 261860"/>
                  <a:gd name="connsiteY103" fmla="*/ 71416 h 205873"/>
                  <a:gd name="connsiteX104" fmla="*/ 97690 w 261860"/>
                  <a:gd name="connsiteY104" fmla="*/ 74590 h 205873"/>
                  <a:gd name="connsiteX105" fmla="*/ 94428 w 261860"/>
                  <a:gd name="connsiteY105" fmla="*/ 76089 h 205873"/>
                  <a:gd name="connsiteX106" fmla="*/ 91519 w 261860"/>
                  <a:gd name="connsiteY106" fmla="*/ 78734 h 205873"/>
                  <a:gd name="connsiteX107" fmla="*/ 89226 w 261860"/>
                  <a:gd name="connsiteY107" fmla="*/ 80762 h 205873"/>
                  <a:gd name="connsiteX108" fmla="*/ 87463 w 261860"/>
                  <a:gd name="connsiteY108" fmla="*/ 83936 h 205873"/>
                  <a:gd name="connsiteX109" fmla="*/ 86581 w 261860"/>
                  <a:gd name="connsiteY109" fmla="*/ 87199 h 205873"/>
                  <a:gd name="connsiteX110" fmla="*/ 86317 w 261860"/>
                  <a:gd name="connsiteY110" fmla="*/ 88874 h 205873"/>
                  <a:gd name="connsiteX111" fmla="*/ 86317 w 261860"/>
                  <a:gd name="connsiteY111" fmla="*/ 90373 h 205873"/>
                  <a:gd name="connsiteX112" fmla="*/ 87463 w 261860"/>
                  <a:gd name="connsiteY112" fmla="*/ 91254 h 205873"/>
                  <a:gd name="connsiteX113" fmla="*/ 88345 w 261860"/>
                  <a:gd name="connsiteY113" fmla="*/ 93282 h 205873"/>
                  <a:gd name="connsiteX114" fmla="*/ 85964 w 261860"/>
                  <a:gd name="connsiteY114" fmla="*/ 94164 h 205873"/>
                  <a:gd name="connsiteX115" fmla="*/ 83407 w 261860"/>
                  <a:gd name="connsiteY115" fmla="*/ 96544 h 205873"/>
                  <a:gd name="connsiteX116" fmla="*/ 81644 w 261860"/>
                  <a:gd name="connsiteY116" fmla="*/ 99101 h 205873"/>
                  <a:gd name="connsiteX117" fmla="*/ 80145 w 261860"/>
                  <a:gd name="connsiteY117" fmla="*/ 102011 h 205873"/>
                  <a:gd name="connsiteX118" fmla="*/ 78117 w 261860"/>
                  <a:gd name="connsiteY118" fmla="*/ 104920 h 205873"/>
                  <a:gd name="connsiteX119" fmla="*/ 76707 w 261860"/>
                  <a:gd name="connsiteY119" fmla="*/ 106155 h 205873"/>
                  <a:gd name="connsiteX120" fmla="*/ 76354 w 261860"/>
                  <a:gd name="connsiteY120" fmla="*/ 109064 h 205873"/>
                  <a:gd name="connsiteX121" fmla="*/ 74943 w 261860"/>
                  <a:gd name="connsiteY121" fmla="*/ 111709 h 205873"/>
                  <a:gd name="connsiteX122" fmla="*/ 73444 w 261860"/>
                  <a:gd name="connsiteY122" fmla="*/ 113120 h 205873"/>
                  <a:gd name="connsiteX123" fmla="*/ 73180 w 261860"/>
                  <a:gd name="connsiteY123" fmla="*/ 115148 h 205873"/>
                  <a:gd name="connsiteX124" fmla="*/ 74061 w 261860"/>
                  <a:gd name="connsiteY124" fmla="*/ 118057 h 205873"/>
                  <a:gd name="connsiteX125" fmla="*/ 74326 w 261860"/>
                  <a:gd name="connsiteY125" fmla="*/ 120703 h 205873"/>
                  <a:gd name="connsiteX126" fmla="*/ 73709 w 261860"/>
                  <a:gd name="connsiteY126" fmla="*/ 122466 h 205873"/>
                  <a:gd name="connsiteX127" fmla="*/ 72298 w 261860"/>
                  <a:gd name="connsiteY127" fmla="*/ 125111 h 205873"/>
                  <a:gd name="connsiteX128" fmla="*/ 72298 w 261860"/>
                  <a:gd name="connsiteY128" fmla="*/ 127403 h 205873"/>
                  <a:gd name="connsiteX129" fmla="*/ 72034 w 261860"/>
                  <a:gd name="connsiteY129" fmla="*/ 129784 h 205873"/>
                  <a:gd name="connsiteX130" fmla="*/ 72915 w 261860"/>
                  <a:gd name="connsiteY130" fmla="*/ 131195 h 205873"/>
                  <a:gd name="connsiteX131" fmla="*/ 75472 w 261860"/>
                  <a:gd name="connsiteY131" fmla="*/ 132693 h 205873"/>
                  <a:gd name="connsiteX132" fmla="*/ 76971 w 261860"/>
                  <a:gd name="connsiteY132" fmla="*/ 132958 h 205873"/>
                  <a:gd name="connsiteX133" fmla="*/ 76089 w 261860"/>
                  <a:gd name="connsiteY133" fmla="*/ 134457 h 205873"/>
                  <a:gd name="connsiteX134" fmla="*/ 76089 w 261860"/>
                  <a:gd name="connsiteY134" fmla="*/ 136132 h 205873"/>
                  <a:gd name="connsiteX135" fmla="*/ 76354 w 261860"/>
                  <a:gd name="connsiteY135" fmla="*/ 139042 h 205873"/>
                  <a:gd name="connsiteX136" fmla="*/ 76089 w 261860"/>
                  <a:gd name="connsiteY136" fmla="*/ 141158 h 205873"/>
                  <a:gd name="connsiteX137" fmla="*/ 75472 w 261860"/>
                  <a:gd name="connsiteY137" fmla="*/ 144067 h 205873"/>
                  <a:gd name="connsiteX138" fmla="*/ 72915 w 261860"/>
                  <a:gd name="connsiteY138" fmla="*/ 146360 h 205873"/>
                  <a:gd name="connsiteX139" fmla="*/ 72298 w 261860"/>
                  <a:gd name="connsiteY139" fmla="*/ 150151 h 205873"/>
                  <a:gd name="connsiteX140" fmla="*/ 72034 w 261860"/>
                  <a:gd name="connsiteY140" fmla="*/ 151914 h 205873"/>
                  <a:gd name="connsiteX141" fmla="*/ 70799 w 261860"/>
                  <a:gd name="connsiteY141" fmla="*/ 154559 h 205873"/>
                  <a:gd name="connsiteX142" fmla="*/ 70006 w 261860"/>
                  <a:gd name="connsiteY142" fmla="*/ 157733 h 205873"/>
                  <a:gd name="connsiteX143" fmla="*/ 68771 w 261860"/>
                  <a:gd name="connsiteY143" fmla="*/ 160114 h 205873"/>
                  <a:gd name="connsiteX144" fmla="*/ 67890 w 261860"/>
                  <a:gd name="connsiteY144" fmla="*/ 161877 h 205873"/>
                  <a:gd name="connsiteX145" fmla="*/ 66215 w 261860"/>
                  <a:gd name="connsiteY145" fmla="*/ 162671 h 205873"/>
                  <a:gd name="connsiteX146" fmla="*/ 64716 w 261860"/>
                  <a:gd name="connsiteY146" fmla="*/ 164787 h 205873"/>
                  <a:gd name="connsiteX147" fmla="*/ 63217 w 261860"/>
                  <a:gd name="connsiteY147" fmla="*/ 165933 h 205873"/>
                  <a:gd name="connsiteX148" fmla="*/ 62071 w 261860"/>
                  <a:gd name="connsiteY148" fmla="*/ 168578 h 205873"/>
                  <a:gd name="connsiteX149" fmla="*/ 59161 w 261860"/>
                  <a:gd name="connsiteY149" fmla="*/ 169724 h 205873"/>
                  <a:gd name="connsiteX150" fmla="*/ 56516 w 261860"/>
                  <a:gd name="connsiteY150" fmla="*/ 171135 h 205873"/>
                  <a:gd name="connsiteX151" fmla="*/ 53606 w 261860"/>
                  <a:gd name="connsiteY151" fmla="*/ 173515 h 205873"/>
                  <a:gd name="connsiteX152" fmla="*/ 51843 w 261860"/>
                  <a:gd name="connsiteY152" fmla="*/ 174926 h 205873"/>
                  <a:gd name="connsiteX153" fmla="*/ 49551 w 261860"/>
                  <a:gd name="connsiteY153" fmla="*/ 176425 h 205873"/>
                  <a:gd name="connsiteX154" fmla="*/ 45495 w 261860"/>
                  <a:gd name="connsiteY154" fmla="*/ 177307 h 205873"/>
                  <a:gd name="connsiteX155" fmla="*/ 42850 w 261860"/>
                  <a:gd name="connsiteY155" fmla="*/ 179599 h 205873"/>
                  <a:gd name="connsiteX156" fmla="*/ 41351 w 261860"/>
                  <a:gd name="connsiteY156" fmla="*/ 181980 h 205873"/>
                  <a:gd name="connsiteX157" fmla="*/ 40205 w 261860"/>
                  <a:gd name="connsiteY157" fmla="*/ 182861 h 205873"/>
                  <a:gd name="connsiteX158" fmla="*/ 37912 w 261860"/>
                  <a:gd name="connsiteY158" fmla="*/ 184625 h 205873"/>
                  <a:gd name="connsiteX159" fmla="*/ 37560 w 261860"/>
                  <a:gd name="connsiteY159" fmla="*/ 186035 h 205873"/>
                  <a:gd name="connsiteX160" fmla="*/ 35267 w 261860"/>
                  <a:gd name="connsiteY160" fmla="*/ 189298 h 205873"/>
                  <a:gd name="connsiteX161" fmla="*/ 30859 w 261860"/>
                  <a:gd name="connsiteY161" fmla="*/ 190444 h 205873"/>
                  <a:gd name="connsiteX162" fmla="*/ 29095 w 261860"/>
                  <a:gd name="connsiteY162" fmla="*/ 192736 h 205873"/>
                  <a:gd name="connsiteX163" fmla="*/ 25304 w 261860"/>
                  <a:gd name="connsiteY163" fmla="*/ 193882 h 205873"/>
                  <a:gd name="connsiteX164" fmla="*/ 21513 w 261860"/>
                  <a:gd name="connsiteY164" fmla="*/ 193353 h 205873"/>
                  <a:gd name="connsiteX165" fmla="*/ 18603 w 261860"/>
                  <a:gd name="connsiteY165" fmla="*/ 194499 h 205873"/>
                  <a:gd name="connsiteX166" fmla="*/ 17457 w 261860"/>
                  <a:gd name="connsiteY166" fmla="*/ 195117 h 205873"/>
                  <a:gd name="connsiteX167" fmla="*/ 12785 w 261860"/>
                  <a:gd name="connsiteY167" fmla="*/ 195117 h 205873"/>
                  <a:gd name="connsiteX168" fmla="*/ 8112 w 261860"/>
                  <a:gd name="connsiteY168" fmla="*/ 196263 h 205873"/>
                  <a:gd name="connsiteX169" fmla="*/ 4937 w 261860"/>
                  <a:gd name="connsiteY169" fmla="*/ 196527 h 205873"/>
                  <a:gd name="connsiteX170" fmla="*/ 2028 w 261860"/>
                  <a:gd name="connsiteY170" fmla="*/ 199437 h 205873"/>
                  <a:gd name="connsiteX171" fmla="*/ 0 w 261860"/>
                  <a:gd name="connsiteY171" fmla="*/ 205256 h 205873"/>
                  <a:gd name="connsiteX172" fmla="*/ 44613 w 261860"/>
                  <a:gd name="connsiteY172" fmla="*/ 205873 h 205873"/>
                  <a:gd name="connsiteX173" fmla="*/ 99454 w 261860"/>
                  <a:gd name="connsiteY173" fmla="*/ 205873 h 205873"/>
                  <a:gd name="connsiteX174" fmla="*/ 99718 w 261860"/>
                  <a:gd name="connsiteY174" fmla="*/ 179599 h 205873"/>
                  <a:gd name="connsiteX175" fmla="*/ 102893 w 261860"/>
                  <a:gd name="connsiteY175" fmla="*/ 178188 h 205873"/>
                  <a:gd name="connsiteX176" fmla="*/ 104127 w 261860"/>
                  <a:gd name="connsiteY176" fmla="*/ 177042 h 205873"/>
                  <a:gd name="connsiteX177" fmla="*/ 105273 w 261860"/>
                  <a:gd name="connsiteY177" fmla="*/ 176160 h 205873"/>
                  <a:gd name="connsiteX178" fmla="*/ 106155 w 261860"/>
                  <a:gd name="connsiteY178" fmla="*/ 174926 h 205873"/>
                  <a:gd name="connsiteX179" fmla="*/ 107566 w 261860"/>
                  <a:gd name="connsiteY179" fmla="*/ 174397 h 205873"/>
                  <a:gd name="connsiteX180" fmla="*/ 111974 w 261860"/>
                  <a:gd name="connsiteY180" fmla="*/ 172369 h 205873"/>
                  <a:gd name="connsiteX181" fmla="*/ 115148 w 261860"/>
                  <a:gd name="connsiteY181" fmla="*/ 169107 h 205873"/>
                  <a:gd name="connsiteX182" fmla="*/ 118675 w 261860"/>
                  <a:gd name="connsiteY182" fmla="*/ 166197 h 205873"/>
                  <a:gd name="connsiteX183" fmla="*/ 119292 w 261860"/>
                  <a:gd name="connsiteY183" fmla="*/ 165051 h 205873"/>
                  <a:gd name="connsiteX184" fmla="*/ 121055 w 261860"/>
                  <a:gd name="connsiteY184" fmla="*/ 164787 h 205873"/>
                  <a:gd name="connsiteX185" fmla="*/ 122731 w 261860"/>
                  <a:gd name="connsiteY185" fmla="*/ 163552 h 205873"/>
                  <a:gd name="connsiteX186" fmla="*/ 125375 w 261860"/>
                  <a:gd name="connsiteY186" fmla="*/ 163552 h 205873"/>
                  <a:gd name="connsiteX187" fmla="*/ 126522 w 261860"/>
                  <a:gd name="connsiteY187" fmla="*/ 163023 h 205873"/>
                  <a:gd name="connsiteX188" fmla="*/ 127668 w 261860"/>
                  <a:gd name="connsiteY188" fmla="*/ 161524 h 205873"/>
                  <a:gd name="connsiteX189" fmla="*/ 128902 w 261860"/>
                  <a:gd name="connsiteY189" fmla="*/ 159761 h 205873"/>
                  <a:gd name="connsiteX190" fmla="*/ 132429 w 261860"/>
                  <a:gd name="connsiteY190" fmla="*/ 157733 h 205873"/>
                  <a:gd name="connsiteX191" fmla="*/ 136220 w 261860"/>
                  <a:gd name="connsiteY191" fmla="*/ 157469 h 205873"/>
                  <a:gd name="connsiteX192" fmla="*/ 138777 w 261860"/>
                  <a:gd name="connsiteY192" fmla="*/ 157469 h 205873"/>
                  <a:gd name="connsiteX193" fmla="*/ 141158 w 261860"/>
                  <a:gd name="connsiteY193" fmla="*/ 158615 h 205873"/>
                  <a:gd name="connsiteX194" fmla="*/ 144332 w 261860"/>
                  <a:gd name="connsiteY194" fmla="*/ 158879 h 205873"/>
                  <a:gd name="connsiteX195" fmla="*/ 145831 w 261860"/>
                  <a:gd name="connsiteY195" fmla="*/ 157469 h 205873"/>
                  <a:gd name="connsiteX196" fmla="*/ 146360 w 261860"/>
                  <a:gd name="connsiteY196" fmla="*/ 153677 h 205873"/>
                  <a:gd name="connsiteX197" fmla="*/ 147241 w 261860"/>
                  <a:gd name="connsiteY197" fmla="*/ 152796 h 205873"/>
                  <a:gd name="connsiteX198" fmla="*/ 148123 w 261860"/>
                  <a:gd name="connsiteY198" fmla="*/ 153060 h 205873"/>
                  <a:gd name="connsiteX199" fmla="*/ 150151 w 261860"/>
                  <a:gd name="connsiteY199" fmla="*/ 152796 h 205873"/>
                  <a:gd name="connsiteX200" fmla="*/ 152267 w 261860"/>
                  <a:gd name="connsiteY200" fmla="*/ 152796 h 205873"/>
                  <a:gd name="connsiteX201" fmla="*/ 153677 w 261860"/>
                  <a:gd name="connsiteY201" fmla="*/ 151650 h 205873"/>
                  <a:gd name="connsiteX202" fmla="*/ 156587 w 261860"/>
                  <a:gd name="connsiteY202" fmla="*/ 151914 h 205873"/>
                  <a:gd name="connsiteX203" fmla="*/ 161260 w 261860"/>
                  <a:gd name="connsiteY203" fmla="*/ 152531 h 205873"/>
                  <a:gd name="connsiteX204" fmla="*/ 166197 w 261860"/>
                  <a:gd name="connsiteY204" fmla="*/ 151032 h 205873"/>
                  <a:gd name="connsiteX205" fmla="*/ 169989 w 261860"/>
                  <a:gd name="connsiteY205" fmla="*/ 148740 h 205873"/>
                  <a:gd name="connsiteX206" fmla="*/ 173515 w 261860"/>
                  <a:gd name="connsiteY206" fmla="*/ 144949 h 205873"/>
                  <a:gd name="connsiteX207" fmla="*/ 175543 w 261860"/>
                  <a:gd name="connsiteY207" fmla="*/ 143186 h 205873"/>
                  <a:gd name="connsiteX208" fmla="*/ 176425 w 261860"/>
                  <a:gd name="connsiteY208" fmla="*/ 142304 h 205873"/>
                  <a:gd name="connsiteX209" fmla="*/ 176690 w 261860"/>
                  <a:gd name="connsiteY209" fmla="*/ 139042 h 205873"/>
                  <a:gd name="connsiteX210" fmla="*/ 178453 w 261860"/>
                  <a:gd name="connsiteY210" fmla="*/ 137014 h 205873"/>
                  <a:gd name="connsiteX211" fmla="*/ 179952 w 261860"/>
                  <a:gd name="connsiteY211" fmla="*/ 135603 h 205873"/>
                  <a:gd name="connsiteX212" fmla="*/ 181362 w 261860"/>
                  <a:gd name="connsiteY212" fmla="*/ 133840 h 205873"/>
                  <a:gd name="connsiteX213" fmla="*/ 183390 w 261860"/>
                  <a:gd name="connsiteY213" fmla="*/ 133575 h 205873"/>
                  <a:gd name="connsiteX214" fmla="*/ 184889 w 261860"/>
                  <a:gd name="connsiteY214" fmla="*/ 132958 h 205873"/>
                  <a:gd name="connsiteX215" fmla="*/ 187182 w 261860"/>
                  <a:gd name="connsiteY215" fmla="*/ 132693 h 205873"/>
                  <a:gd name="connsiteX216" fmla="*/ 189298 w 261860"/>
                  <a:gd name="connsiteY216" fmla="*/ 132693 h 205873"/>
                  <a:gd name="connsiteX217" fmla="*/ 190973 w 261860"/>
                  <a:gd name="connsiteY217" fmla="*/ 132076 h 205873"/>
                  <a:gd name="connsiteX218" fmla="*/ 190973 w 261860"/>
                  <a:gd name="connsiteY218" fmla="*/ 131547 h 205873"/>
                  <a:gd name="connsiteX219" fmla="*/ 191590 w 261860"/>
                  <a:gd name="connsiteY219" fmla="*/ 130930 h 205873"/>
                  <a:gd name="connsiteX220" fmla="*/ 193089 w 261860"/>
                  <a:gd name="connsiteY220" fmla="*/ 130665 h 205873"/>
                  <a:gd name="connsiteX221" fmla="*/ 194235 w 261860"/>
                  <a:gd name="connsiteY221" fmla="*/ 130048 h 205873"/>
                  <a:gd name="connsiteX222" fmla="*/ 195998 w 261860"/>
                  <a:gd name="connsiteY222" fmla="*/ 129167 h 205873"/>
                  <a:gd name="connsiteX223" fmla="*/ 196527 w 261860"/>
                  <a:gd name="connsiteY223" fmla="*/ 127403 h 205873"/>
                  <a:gd name="connsiteX224" fmla="*/ 197762 w 261860"/>
                  <a:gd name="connsiteY224" fmla="*/ 126257 h 205873"/>
                  <a:gd name="connsiteX225" fmla="*/ 198908 w 261860"/>
                  <a:gd name="connsiteY225" fmla="*/ 125111 h 205873"/>
                  <a:gd name="connsiteX226" fmla="*/ 200054 w 261860"/>
                  <a:gd name="connsiteY226" fmla="*/ 124758 h 205873"/>
                  <a:gd name="connsiteX227" fmla="*/ 200936 w 261860"/>
                  <a:gd name="connsiteY227" fmla="*/ 124494 h 205873"/>
                  <a:gd name="connsiteX228" fmla="*/ 201817 w 261860"/>
                  <a:gd name="connsiteY228" fmla="*/ 124758 h 205873"/>
                  <a:gd name="connsiteX229" fmla="*/ 202699 w 261860"/>
                  <a:gd name="connsiteY229" fmla="*/ 125111 h 205873"/>
                  <a:gd name="connsiteX230" fmla="*/ 204110 w 261860"/>
                  <a:gd name="connsiteY230" fmla="*/ 125111 h 205873"/>
                  <a:gd name="connsiteX231" fmla="*/ 205609 w 261860"/>
                  <a:gd name="connsiteY231" fmla="*/ 124758 h 205873"/>
                  <a:gd name="connsiteX232" fmla="*/ 206755 w 261860"/>
                  <a:gd name="connsiteY232" fmla="*/ 123877 h 205873"/>
                  <a:gd name="connsiteX233" fmla="*/ 207372 w 261860"/>
                  <a:gd name="connsiteY233" fmla="*/ 122466 h 205873"/>
                  <a:gd name="connsiteX234" fmla="*/ 207901 w 261860"/>
                  <a:gd name="connsiteY234" fmla="*/ 120438 h 205873"/>
                  <a:gd name="connsiteX235" fmla="*/ 206755 w 261860"/>
                  <a:gd name="connsiteY235" fmla="*/ 119292 h 205873"/>
                  <a:gd name="connsiteX236" fmla="*/ 205344 w 261860"/>
                  <a:gd name="connsiteY236" fmla="*/ 119556 h 205873"/>
                  <a:gd name="connsiteX237" fmla="*/ 204110 w 261860"/>
                  <a:gd name="connsiteY237" fmla="*/ 118939 h 205873"/>
                  <a:gd name="connsiteX238" fmla="*/ 203581 w 261860"/>
                  <a:gd name="connsiteY238" fmla="*/ 119556 h 205873"/>
                  <a:gd name="connsiteX239" fmla="*/ 202699 w 261860"/>
                  <a:gd name="connsiteY239" fmla="*/ 118939 h 205873"/>
                  <a:gd name="connsiteX240" fmla="*/ 201817 w 261860"/>
                  <a:gd name="connsiteY240" fmla="*/ 117176 h 205873"/>
                  <a:gd name="connsiteX241" fmla="*/ 202699 w 261860"/>
                  <a:gd name="connsiteY241" fmla="*/ 115501 h 205873"/>
                  <a:gd name="connsiteX242" fmla="*/ 202964 w 261860"/>
                  <a:gd name="connsiteY242" fmla="*/ 114883 h 205873"/>
                  <a:gd name="connsiteX243" fmla="*/ 204110 w 261860"/>
                  <a:gd name="connsiteY243" fmla="*/ 114619 h 205873"/>
                  <a:gd name="connsiteX244" fmla="*/ 205873 w 261860"/>
                  <a:gd name="connsiteY244" fmla="*/ 114002 h 205873"/>
                  <a:gd name="connsiteX245" fmla="*/ 206138 w 261860"/>
                  <a:gd name="connsiteY245" fmla="*/ 113120 h 205873"/>
                  <a:gd name="connsiteX246" fmla="*/ 205873 w 261860"/>
                  <a:gd name="connsiteY246" fmla="*/ 112503 h 205873"/>
                  <a:gd name="connsiteX247" fmla="*/ 204110 w 261860"/>
                  <a:gd name="connsiteY247" fmla="*/ 112503 h 205873"/>
                  <a:gd name="connsiteX248" fmla="*/ 202964 w 261860"/>
                  <a:gd name="connsiteY248" fmla="*/ 111974 h 205873"/>
                  <a:gd name="connsiteX249" fmla="*/ 202082 w 261860"/>
                  <a:gd name="connsiteY249" fmla="*/ 111092 h 205873"/>
                  <a:gd name="connsiteX250" fmla="*/ 202082 w 261860"/>
                  <a:gd name="connsiteY250" fmla="*/ 109064 h 205873"/>
                  <a:gd name="connsiteX251" fmla="*/ 203228 w 261860"/>
                  <a:gd name="connsiteY251" fmla="*/ 106684 h 205873"/>
                  <a:gd name="connsiteX252" fmla="*/ 203228 w 261860"/>
                  <a:gd name="connsiteY252" fmla="*/ 105538 h 205873"/>
                  <a:gd name="connsiteX253" fmla="*/ 205873 w 261860"/>
                  <a:gd name="connsiteY253" fmla="*/ 104920 h 205873"/>
                  <a:gd name="connsiteX254" fmla="*/ 209664 w 261860"/>
                  <a:gd name="connsiteY254" fmla="*/ 106155 h 205873"/>
                  <a:gd name="connsiteX255" fmla="*/ 212045 w 261860"/>
                  <a:gd name="connsiteY255" fmla="*/ 105802 h 205873"/>
                  <a:gd name="connsiteX256" fmla="*/ 214337 w 261860"/>
                  <a:gd name="connsiteY256" fmla="*/ 104656 h 205873"/>
                  <a:gd name="connsiteX257" fmla="*/ 216982 w 261860"/>
                  <a:gd name="connsiteY257" fmla="*/ 104656 h 205873"/>
                  <a:gd name="connsiteX258" fmla="*/ 220774 w 261860"/>
                  <a:gd name="connsiteY258" fmla="*/ 102363 h 205873"/>
                  <a:gd name="connsiteX259" fmla="*/ 221655 w 261860"/>
                  <a:gd name="connsiteY259" fmla="*/ 101129 h 205873"/>
                  <a:gd name="connsiteX260" fmla="*/ 221038 w 261860"/>
                  <a:gd name="connsiteY260" fmla="*/ 98572 h 205873"/>
                  <a:gd name="connsiteX261" fmla="*/ 222537 w 261860"/>
                  <a:gd name="connsiteY261" fmla="*/ 97073 h 205873"/>
                  <a:gd name="connsiteX262" fmla="*/ 226328 w 261860"/>
                  <a:gd name="connsiteY262" fmla="*/ 96192 h 205873"/>
                  <a:gd name="connsiteX263" fmla="*/ 231001 w 261860"/>
                  <a:gd name="connsiteY263" fmla="*/ 94781 h 205873"/>
                  <a:gd name="connsiteX264" fmla="*/ 234792 w 261860"/>
                  <a:gd name="connsiteY264" fmla="*/ 94164 h 205873"/>
                  <a:gd name="connsiteX265" fmla="*/ 240347 w 261860"/>
                  <a:gd name="connsiteY265" fmla="*/ 95663 h 205873"/>
                  <a:gd name="connsiteX266" fmla="*/ 246166 w 261860"/>
                  <a:gd name="connsiteY266" fmla="*/ 95310 h 205873"/>
                  <a:gd name="connsiteX267" fmla="*/ 250839 w 261860"/>
                  <a:gd name="connsiteY267" fmla="*/ 94428 h 205873"/>
                  <a:gd name="connsiteX268" fmla="*/ 253131 w 261860"/>
                  <a:gd name="connsiteY268" fmla="*/ 95310 h 205873"/>
                  <a:gd name="connsiteX269" fmla="*/ 257187 w 261860"/>
                  <a:gd name="connsiteY269" fmla="*/ 96192 h 205873"/>
                  <a:gd name="connsiteX270" fmla="*/ 258686 w 261860"/>
                  <a:gd name="connsiteY270" fmla="*/ 95927 h 205873"/>
                  <a:gd name="connsiteX271" fmla="*/ 259215 w 261860"/>
                  <a:gd name="connsiteY271" fmla="*/ 94781 h 205873"/>
                  <a:gd name="connsiteX272" fmla="*/ 258422 w 261860"/>
                  <a:gd name="connsiteY272" fmla="*/ 93635 h 205873"/>
                  <a:gd name="connsiteX273" fmla="*/ 255512 w 261860"/>
                  <a:gd name="connsiteY273" fmla="*/ 93899 h 205873"/>
                  <a:gd name="connsiteX274" fmla="*/ 257187 w 261860"/>
                  <a:gd name="connsiteY274" fmla="*/ 92400 h 205873"/>
                  <a:gd name="connsiteX275" fmla="*/ 257540 w 261860"/>
                  <a:gd name="connsiteY275" fmla="*/ 90990 h 205873"/>
                  <a:gd name="connsiteX276" fmla="*/ 258422 w 261860"/>
                  <a:gd name="connsiteY276" fmla="*/ 88080 h 205873"/>
                  <a:gd name="connsiteX277" fmla="*/ 260185 w 261860"/>
                  <a:gd name="connsiteY277" fmla="*/ 88080 h 205873"/>
                  <a:gd name="connsiteX278" fmla="*/ 261860 w 261860"/>
                  <a:gd name="connsiteY278" fmla="*/ 85700 h 205873"/>
                  <a:gd name="connsiteX279" fmla="*/ 260449 w 261860"/>
                  <a:gd name="connsiteY279" fmla="*/ 82526 h 205873"/>
                  <a:gd name="connsiteX280" fmla="*/ 257187 w 261860"/>
                  <a:gd name="connsiteY280" fmla="*/ 81644 h 205873"/>
                  <a:gd name="connsiteX281" fmla="*/ 256041 w 261860"/>
                  <a:gd name="connsiteY281" fmla="*/ 81027 h 205873"/>
                  <a:gd name="connsiteX282" fmla="*/ 254895 w 261860"/>
                  <a:gd name="connsiteY282" fmla="*/ 81027 h 205873"/>
                  <a:gd name="connsiteX283" fmla="*/ 251985 w 261860"/>
                  <a:gd name="connsiteY283" fmla="*/ 78117 h 205873"/>
                  <a:gd name="connsiteX284" fmla="*/ 251368 w 261860"/>
                  <a:gd name="connsiteY284" fmla="*/ 75208 h 205873"/>
                  <a:gd name="connsiteX285" fmla="*/ 252602 w 261860"/>
                  <a:gd name="connsiteY285" fmla="*/ 73444 h 205873"/>
                  <a:gd name="connsiteX286" fmla="*/ 252602 w 261860"/>
                  <a:gd name="connsiteY286" fmla="*/ 71416 h 205873"/>
                  <a:gd name="connsiteX287" fmla="*/ 251721 w 261860"/>
                  <a:gd name="connsiteY287" fmla="*/ 70270 h 205873"/>
                  <a:gd name="connsiteX288" fmla="*/ 249605 w 261860"/>
                  <a:gd name="connsiteY288" fmla="*/ 70535 h 205873"/>
                  <a:gd name="connsiteX289" fmla="*/ 249076 w 261860"/>
                  <a:gd name="connsiteY289" fmla="*/ 69036 h 205873"/>
                  <a:gd name="connsiteX290" fmla="*/ 249605 w 261860"/>
                  <a:gd name="connsiteY290" fmla="*/ 67008 h 205873"/>
                  <a:gd name="connsiteX291" fmla="*/ 248723 w 261860"/>
                  <a:gd name="connsiteY291" fmla="*/ 66479 h 205873"/>
                  <a:gd name="connsiteX292" fmla="*/ 248723 w 261860"/>
                  <a:gd name="connsiteY292" fmla="*/ 64098 h 205873"/>
                  <a:gd name="connsiteX293" fmla="*/ 249957 w 261860"/>
                  <a:gd name="connsiteY293" fmla="*/ 60307 h 205873"/>
                  <a:gd name="connsiteX294" fmla="*/ 249957 w 261860"/>
                  <a:gd name="connsiteY294" fmla="*/ 58279 h 205873"/>
                  <a:gd name="connsiteX295" fmla="*/ 249605 w 261860"/>
                  <a:gd name="connsiteY295" fmla="*/ 57133 h 205873"/>
                  <a:gd name="connsiteX296" fmla="*/ 247577 w 261860"/>
                  <a:gd name="connsiteY296" fmla="*/ 55987 h 205873"/>
                  <a:gd name="connsiteX297" fmla="*/ 248458 w 261860"/>
                  <a:gd name="connsiteY297" fmla="*/ 54224 h 205873"/>
                  <a:gd name="connsiteX298" fmla="*/ 248194 w 261860"/>
                  <a:gd name="connsiteY298" fmla="*/ 51314 h 205873"/>
                  <a:gd name="connsiteX299" fmla="*/ 249605 w 261860"/>
                  <a:gd name="connsiteY299" fmla="*/ 46024 h 205873"/>
                  <a:gd name="connsiteX300" fmla="*/ 247577 w 261860"/>
                  <a:gd name="connsiteY300" fmla="*/ 44613 h 205873"/>
                  <a:gd name="connsiteX301" fmla="*/ 246431 w 261860"/>
                  <a:gd name="connsiteY301" fmla="*/ 43114 h 205873"/>
                  <a:gd name="connsiteX302" fmla="*/ 246166 w 261860"/>
                  <a:gd name="connsiteY302" fmla="*/ 38794 h 205873"/>
                  <a:gd name="connsiteX303" fmla="*/ 247577 w 261860"/>
                  <a:gd name="connsiteY303" fmla="*/ 36149 h 205873"/>
                  <a:gd name="connsiteX304" fmla="*/ 246695 w 261860"/>
                  <a:gd name="connsiteY304" fmla="*/ 34121 h 205873"/>
                  <a:gd name="connsiteX305" fmla="*/ 244932 w 261860"/>
                  <a:gd name="connsiteY305" fmla="*/ 32887 h 205873"/>
                  <a:gd name="connsiteX306" fmla="*/ 246166 w 261860"/>
                  <a:gd name="connsiteY306" fmla="*/ 32005 h 205873"/>
                  <a:gd name="connsiteX307" fmla="*/ 246431 w 261860"/>
                  <a:gd name="connsiteY307" fmla="*/ 30594 h 205873"/>
                  <a:gd name="connsiteX308" fmla="*/ 247048 w 261860"/>
                  <a:gd name="connsiteY308" fmla="*/ 28831 h 205873"/>
                  <a:gd name="connsiteX309" fmla="*/ 244403 w 261860"/>
                  <a:gd name="connsiteY309" fmla="*/ 28567 h 205873"/>
                  <a:gd name="connsiteX310" fmla="*/ 242639 w 261860"/>
                  <a:gd name="connsiteY310" fmla="*/ 26803 h 205873"/>
                  <a:gd name="connsiteX311" fmla="*/ 241758 w 261860"/>
                  <a:gd name="connsiteY311" fmla="*/ 25304 h 205873"/>
                  <a:gd name="connsiteX312" fmla="*/ 239994 w 261860"/>
                  <a:gd name="connsiteY312" fmla="*/ 25657 h 205873"/>
                  <a:gd name="connsiteX313" fmla="*/ 238231 w 261860"/>
                  <a:gd name="connsiteY313" fmla="*/ 23276 h 205873"/>
                  <a:gd name="connsiteX314" fmla="*/ 236820 w 261860"/>
                  <a:gd name="connsiteY314" fmla="*/ 23012 h 205873"/>
                  <a:gd name="connsiteX315" fmla="*/ 237349 w 261860"/>
                  <a:gd name="connsiteY315" fmla="*/ 21249 h 2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</a:cxnLst>
                <a:rect l="l" t="t" r="r" b="b"/>
                <a:pathLst>
                  <a:path w="261860" h="205873">
                    <a:moveTo>
                      <a:pt x="235674" y="19221"/>
                    </a:moveTo>
                    <a:lnTo>
                      <a:pt x="234792" y="20102"/>
                    </a:lnTo>
                    <a:lnTo>
                      <a:pt x="233558" y="20367"/>
                    </a:lnTo>
                    <a:lnTo>
                      <a:pt x="232147" y="21249"/>
                    </a:lnTo>
                    <a:lnTo>
                      <a:pt x="231001" y="21249"/>
                    </a:lnTo>
                    <a:lnTo>
                      <a:pt x="229238" y="21249"/>
                    </a:lnTo>
                    <a:lnTo>
                      <a:pt x="226857" y="20102"/>
                    </a:lnTo>
                    <a:lnTo>
                      <a:pt x="223948" y="17722"/>
                    </a:lnTo>
                    <a:lnTo>
                      <a:pt x="223948" y="18075"/>
                    </a:lnTo>
                    <a:lnTo>
                      <a:pt x="225447" y="19221"/>
                    </a:lnTo>
                    <a:lnTo>
                      <a:pt x="226857" y="20631"/>
                    </a:lnTo>
                    <a:lnTo>
                      <a:pt x="223948" y="20102"/>
                    </a:lnTo>
                    <a:lnTo>
                      <a:pt x="223419" y="18956"/>
                    </a:lnTo>
                    <a:lnTo>
                      <a:pt x="223419" y="17722"/>
                    </a:lnTo>
                    <a:lnTo>
                      <a:pt x="223683" y="17193"/>
                    </a:lnTo>
                    <a:lnTo>
                      <a:pt x="222184" y="14548"/>
                    </a:lnTo>
                    <a:lnTo>
                      <a:pt x="222537" y="12784"/>
                    </a:lnTo>
                    <a:lnTo>
                      <a:pt x="222184" y="12784"/>
                    </a:lnTo>
                    <a:lnTo>
                      <a:pt x="220156" y="16576"/>
                    </a:lnTo>
                    <a:lnTo>
                      <a:pt x="219275" y="16576"/>
                    </a:lnTo>
                    <a:lnTo>
                      <a:pt x="219010" y="16576"/>
                    </a:lnTo>
                    <a:lnTo>
                      <a:pt x="217864" y="18075"/>
                    </a:lnTo>
                    <a:lnTo>
                      <a:pt x="214955" y="18956"/>
                    </a:lnTo>
                    <a:lnTo>
                      <a:pt x="212574" y="18956"/>
                    </a:lnTo>
                    <a:lnTo>
                      <a:pt x="209400" y="18075"/>
                    </a:lnTo>
                    <a:lnTo>
                      <a:pt x="207901" y="16576"/>
                    </a:lnTo>
                    <a:lnTo>
                      <a:pt x="206138" y="17193"/>
                    </a:lnTo>
                    <a:lnTo>
                      <a:pt x="205873" y="18339"/>
                    </a:lnTo>
                    <a:lnTo>
                      <a:pt x="204727" y="18604"/>
                    </a:lnTo>
                    <a:lnTo>
                      <a:pt x="202964" y="18339"/>
                    </a:lnTo>
                    <a:lnTo>
                      <a:pt x="202435" y="17193"/>
                    </a:lnTo>
                    <a:lnTo>
                      <a:pt x="201553" y="18075"/>
                    </a:lnTo>
                    <a:lnTo>
                      <a:pt x="200319" y="17722"/>
                    </a:lnTo>
                    <a:lnTo>
                      <a:pt x="198291" y="18604"/>
                    </a:lnTo>
                    <a:lnTo>
                      <a:pt x="195381" y="18956"/>
                    </a:lnTo>
                    <a:lnTo>
                      <a:pt x="193353" y="19485"/>
                    </a:lnTo>
                    <a:lnTo>
                      <a:pt x="190179" y="19485"/>
                    </a:lnTo>
                    <a:lnTo>
                      <a:pt x="186388" y="18339"/>
                    </a:lnTo>
                    <a:lnTo>
                      <a:pt x="184007" y="17722"/>
                    </a:lnTo>
                    <a:lnTo>
                      <a:pt x="181979" y="15694"/>
                    </a:lnTo>
                    <a:lnTo>
                      <a:pt x="180216" y="13402"/>
                    </a:lnTo>
                    <a:lnTo>
                      <a:pt x="179070" y="12784"/>
                    </a:lnTo>
                    <a:lnTo>
                      <a:pt x="177924" y="11021"/>
                    </a:lnTo>
                    <a:lnTo>
                      <a:pt x="176425" y="10492"/>
                    </a:lnTo>
                    <a:lnTo>
                      <a:pt x="174926" y="8993"/>
                    </a:lnTo>
                    <a:lnTo>
                      <a:pt x="174662" y="6348"/>
                    </a:lnTo>
                    <a:lnTo>
                      <a:pt x="173780" y="6348"/>
                    </a:lnTo>
                    <a:lnTo>
                      <a:pt x="173251" y="2557"/>
                    </a:lnTo>
                    <a:lnTo>
                      <a:pt x="173515" y="2292"/>
                    </a:lnTo>
                    <a:lnTo>
                      <a:pt x="173780" y="882"/>
                    </a:lnTo>
                    <a:lnTo>
                      <a:pt x="171752" y="882"/>
                    </a:lnTo>
                    <a:lnTo>
                      <a:pt x="170341" y="0"/>
                    </a:lnTo>
                    <a:lnTo>
                      <a:pt x="169371" y="264"/>
                    </a:lnTo>
                    <a:lnTo>
                      <a:pt x="168842" y="882"/>
                    </a:lnTo>
                    <a:lnTo>
                      <a:pt x="168578" y="1675"/>
                    </a:lnTo>
                    <a:lnTo>
                      <a:pt x="167344" y="1411"/>
                    </a:lnTo>
                    <a:lnTo>
                      <a:pt x="166815" y="2028"/>
                    </a:lnTo>
                    <a:lnTo>
                      <a:pt x="164434" y="2028"/>
                    </a:lnTo>
                    <a:lnTo>
                      <a:pt x="164434" y="3439"/>
                    </a:lnTo>
                    <a:lnTo>
                      <a:pt x="162142" y="3791"/>
                    </a:lnTo>
                    <a:lnTo>
                      <a:pt x="159849" y="4320"/>
                    </a:lnTo>
                    <a:lnTo>
                      <a:pt x="156852" y="8376"/>
                    </a:lnTo>
                    <a:lnTo>
                      <a:pt x="156323" y="11638"/>
                    </a:lnTo>
                    <a:lnTo>
                      <a:pt x="154559" y="14548"/>
                    </a:lnTo>
                    <a:lnTo>
                      <a:pt x="154295" y="17193"/>
                    </a:lnTo>
                    <a:lnTo>
                      <a:pt x="155088" y="18956"/>
                    </a:lnTo>
                    <a:lnTo>
                      <a:pt x="152796" y="20631"/>
                    </a:lnTo>
                    <a:lnTo>
                      <a:pt x="151914" y="22130"/>
                    </a:lnTo>
                    <a:lnTo>
                      <a:pt x="150768" y="25304"/>
                    </a:lnTo>
                    <a:lnTo>
                      <a:pt x="149269" y="27949"/>
                    </a:lnTo>
                    <a:lnTo>
                      <a:pt x="147858" y="32005"/>
                    </a:lnTo>
                    <a:lnTo>
                      <a:pt x="146977" y="35003"/>
                    </a:lnTo>
                    <a:lnTo>
                      <a:pt x="145213" y="34650"/>
                    </a:lnTo>
                    <a:lnTo>
                      <a:pt x="144332" y="35884"/>
                    </a:lnTo>
                    <a:lnTo>
                      <a:pt x="143185" y="36149"/>
                    </a:lnTo>
                    <a:lnTo>
                      <a:pt x="142921" y="37560"/>
                    </a:lnTo>
                    <a:lnTo>
                      <a:pt x="142921" y="39940"/>
                    </a:lnTo>
                    <a:lnTo>
                      <a:pt x="141687" y="41351"/>
                    </a:lnTo>
                    <a:lnTo>
                      <a:pt x="141158" y="43731"/>
                    </a:lnTo>
                    <a:lnTo>
                      <a:pt x="140805" y="45759"/>
                    </a:lnTo>
                    <a:lnTo>
                      <a:pt x="138777" y="46024"/>
                    </a:lnTo>
                    <a:lnTo>
                      <a:pt x="137631" y="46906"/>
                    </a:lnTo>
                    <a:lnTo>
                      <a:pt x="136749" y="49815"/>
                    </a:lnTo>
                    <a:lnTo>
                      <a:pt x="133222" y="51579"/>
                    </a:lnTo>
                    <a:lnTo>
                      <a:pt x="130930" y="53077"/>
                    </a:lnTo>
                    <a:lnTo>
                      <a:pt x="128285" y="53342"/>
                    </a:lnTo>
                    <a:lnTo>
                      <a:pt x="126522" y="56516"/>
                    </a:lnTo>
                    <a:lnTo>
                      <a:pt x="123876" y="57398"/>
                    </a:lnTo>
                    <a:lnTo>
                      <a:pt x="122731" y="55987"/>
                    </a:lnTo>
                    <a:lnTo>
                      <a:pt x="121055" y="55987"/>
                    </a:lnTo>
                    <a:lnTo>
                      <a:pt x="120174" y="56251"/>
                    </a:lnTo>
                    <a:lnTo>
                      <a:pt x="119821" y="57750"/>
                    </a:lnTo>
                    <a:lnTo>
                      <a:pt x="118410" y="58279"/>
                    </a:lnTo>
                    <a:lnTo>
                      <a:pt x="117528" y="58015"/>
                    </a:lnTo>
                    <a:lnTo>
                      <a:pt x="116647" y="58896"/>
                    </a:lnTo>
                    <a:lnTo>
                      <a:pt x="114883" y="59426"/>
                    </a:lnTo>
                    <a:lnTo>
                      <a:pt x="112238" y="60924"/>
                    </a:lnTo>
                    <a:lnTo>
                      <a:pt x="109946" y="61189"/>
                    </a:lnTo>
                    <a:lnTo>
                      <a:pt x="109329" y="61806"/>
                    </a:lnTo>
                    <a:lnTo>
                      <a:pt x="106684" y="62335"/>
                    </a:lnTo>
                    <a:lnTo>
                      <a:pt x="104920" y="63569"/>
                    </a:lnTo>
                    <a:lnTo>
                      <a:pt x="102628" y="66126"/>
                    </a:lnTo>
                    <a:lnTo>
                      <a:pt x="101746" y="68507"/>
                    </a:lnTo>
                    <a:lnTo>
                      <a:pt x="99454" y="71416"/>
                    </a:lnTo>
                    <a:lnTo>
                      <a:pt x="97690" y="74590"/>
                    </a:lnTo>
                    <a:lnTo>
                      <a:pt x="94428" y="76089"/>
                    </a:lnTo>
                    <a:lnTo>
                      <a:pt x="91519" y="78734"/>
                    </a:lnTo>
                    <a:lnTo>
                      <a:pt x="89226" y="80762"/>
                    </a:lnTo>
                    <a:lnTo>
                      <a:pt x="87463" y="83936"/>
                    </a:lnTo>
                    <a:lnTo>
                      <a:pt x="86581" y="87199"/>
                    </a:lnTo>
                    <a:lnTo>
                      <a:pt x="86317" y="88874"/>
                    </a:lnTo>
                    <a:lnTo>
                      <a:pt x="86317" y="90373"/>
                    </a:lnTo>
                    <a:lnTo>
                      <a:pt x="87463" y="91254"/>
                    </a:lnTo>
                    <a:lnTo>
                      <a:pt x="88345" y="93282"/>
                    </a:lnTo>
                    <a:lnTo>
                      <a:pt x="85964" y="94164"/>
                    </a:lnTo>
                    <a:lnTo>
                      <a:pt x="83407" y="96544"/>
                    </a:lnTo>
                    <a:lnTo>
                      <a:pt x="81644" y="99101"/>
                    </a:lnTo>
                    <a:lnTo>
                      <a:pt x="80145" y="102011"/>
                    </a:lnTo>
                    <a:lnTo>
                      <a:pt x="78117" y="104920"/>
                    </a:lnTo>
                    <a:lnTo>
                      <a:pt x="76707" y="106155"/>
                    </a:lnTo>
                    <a:lnTo>
                      <a:pt x="76354" y="109064"/>
                    </a:lnTo>
                    <a:lnTo>
                      <a:pt x="74943" y="111709"/>
                    </a:lnTo>
                    <a:lnTo>
                      <a:pt x="73444" y="113120"/>
                    </a:lnTo>
                    <a:lnTo>
                      <a:pt x="73180" y="115148"/>
                    </a:lnTo>
                    <a:lnTo>
                      <a:pt x="74061" y="118057"/>
                    </a:lnTo>
                    <a:lnTo>
                      <a:pt x="74326" y="120703"/>
                    </a:lnTo>
                    <a:lnTo>
                      <a:pt x="73709" y="122466"/>
                    </a:lnTo>
                    <a:lnTo>
                      <a:pt x="72298" y="125111"/>
                    </a:lnTo>
                    <a:lnTo>
                      <a:pt x="72298" y="127403"/>
                    </a:lnTo>
                    <a:lnTo>
                      <a:pt x="72034" y="129784"/>
                    </a:lnTo>
                    <a:lnTo>
                      <a:pt x="72915" y="131195"/>
                    </a:lnTo>
                    <a:lnTo>
                      <a:pt x="75472" y="132693"/>
                    </a:lnTo>
                    <a:lnTo>
                      <a:pt x="76971" y="132958"/>
                    </a:lnTo>
                    <a:lnTo>
                      <a:pt x="76089" y="134457"/>
                    </a:lnTo>
                    <a:lnTo>
                      <a:pt x="76089" y="136132"/>
                    </a:lnTo>
                    <a:lnTo>
                      <a:pt x="76354" y="139042"/>
                    </a:lnTo>
                    <a:lnTo>
                      <a:pt x="76089" y="141158"/>
                    </a:lnTo>
                    <a:lnTo>
                      <a:pt x="75472" y="144067"/>
                    </a:lnTo>
                    <a:lnTo>
                      <a:pt x="72915" y="146360"/>
                    </a:lnTo>
                    <a:lnTo>
                      <a:pt x="72298" y="150151"/>
                    </a:lnTo>
                    <a:lnTo>
                      <a:pt x="72034" y="151914"/>
                    </a:lnTo>
                    <a:lnTo>
                      <a:pt x="70799" y="154559"/>
                    </a:lnTo>
                    <a:lnTo>
                      <a:pt x="70006" y="157733"/>
                    </a:lnTo>
                    <a:lnTo>
                      <a:pt x="68771" y="160114"/>
                    </a:lnTo>
                    <a:lnTo>
                      <a:pt x="67890" y="161877"/>
                    </a:lnTo>
                    <a:lnTo>
                      <a:pt x="66215" y="162671"/>
                    </a:lnTo>
                    <a:lnTo>
                      <a:pt x="64716" y="164787"/>
                    </a:lnTo>
                    <a:lnTo>
                      <a:pt x="63217" y="165933"/>
                    </a:lnTo>
                    <a:lnTo>
                      <a:pt x="62071" y="168578"/>
                    </a:lnTo>
                    <a:lnTo>
                      <a:pt x="59161" y="169724"/>
                    </a:lnTo>
                    <a:lnTo>
                      <a:pt x="56516" y="171135"/>
                    </a:lnTo>
                    <a:lnTo>
                      <a:pt x="53606" y="173515"/>
                    </a:lnTo>
                    <a:lnTo>
                      <a:pt x="51843" y="174926"/>
                    </a:lnTo>
                    <a:lnTo>
                      <a:pt x="49551" y="176425"/>
                    </a:lnTo>
                    <a:lnTo>
                      <a:pt x="45495" y="177307"/>
                    </a:lnTo>
                    <a:lnTo>
                      <a:pt x="42850" y="179599"/>
                    </a:lnTo>
                    <a:lnTo>
                      <a:pt x="41351" y="181980"/>
                    </a:lnTo>
                    <a:lnTo>
                      <a:pt x="40205" y="182861"/>
                    </a:lnTo>
                    <a:lnTo>
                      <a:pt x="37912" y="184625"/>
                    </a:lnTo>
                    <a:lnTo>
                      <a:pt x="37560" y="186035"/>
                    </a:lnTo>
                    <a:lnTo>
                      <a:pt x="35267" y="189298"/>
                    </a:lnTo>
                    <a:lnTo>
                      <a:pt x="30859" y="190444"/>
                    </a:lnTo>
                    <a:lnTo>
                      <a:pt x="29095" y="192736"/>
                    </a:lnTo>
                    <a:lnTo>
                      <a:pt x="25304" y="193882"/>
                    </a:lnTo>
                    <a:lnTo>
                      <a:pt x="21513" y="193353"/>
                    </a:lnTo>
                    <a:lnTo>
                      <a:pt x="18603" y="194499"/>
                    </a:lnTo>
                    <a:lnTo>
                      <a:pt x="17457" y="195117"/>
                    </a:lnTo>
                    <a:lnTo>
                      <a:pt x="12785" y="195117"/>
                    </a:lnTo>
                    <a:lnTo>
                      <a:pt x="8112" y="196263"/>
                    </a:lnTo>
                    <a:lnTo>
                      <a:pt x="4937" y="196527"/>
                    </a:lnTo>
                    <a:lnTo>
                      <a:pt x="2028" y="199437"/>
                    </a:lnTo>
                    <a:lnTo>
                      <a:pt x="0" y="205256"/>
                    </a:lnTo>
                    <a:lnTo>
                      <a:pt x="44613" y="205873"/>
                    </a:lnTo>
                    <a:lnTo>
                      <a:pt x="99454" y="205873"/>
                    </a:lnTo>
                    <a:lnTo>
                      <a:pt x="99718" y="179599"/>
                    </a:lnTo>
                    <a:lnTo>
                      <a:pt x="102893" y="178188"/>
                    </a:lnTo>
                    <a:lnTo>
                      <a:pt x="104127" y="177042"/>
                    </a:lnTo>
                    <a:lnTo>
                      <a:pt x="105273" y="176160"/>
                    </a:lnTo>
                    <a:lnTo>
                      <a:pt x="106155" y="174926"/>
                    </a:lnTo>
                    <a:lnTo>
                      <a:pt x="107566" y="174397"/>
                    </a:lnTo>
                    <a:lnTo>
                      <a:pt x="111974" y="172369"/>
                    </a:lnTo>
                    <a:lnTo>
                      <a:pt x="115148" y="169107"/>
                    </a:lnTo>
                    <a:lnTo>
                      <a:pt x="118675" y="166197"/>
                    </a:lnTo>
                    <a:lnTo>
                      <a:pt x="119292" y="165051"/>
                    </a:lnTo>
                    <a:lnTo>
                      <a:pt x="121055" y="164787"/>
                    </a:lnTo>
                    <a:lnTo>
                      <a:pt x="122731" y="163552"/>
                    </a:lnTo>
                    <a:lnTo>
                      <a:pt x="125375" y="163552"/>
                    </a:lnTo>
                    <a:lnTo>
                      <a:pt x="126522" y="163023"/>
                    </a:lnTo>
                    <a:lnTo>
                      <a:pt x="127668" y="161524"/>
                    </a:lnTo>
                    <a:lnTo>
                      <a:pt x="128902" y="159761"/>
                    </a:lnTo>
                    <a:lnTo>
                      <a:pt x="132429" y="157733"/>
                    </a:lnTo>
                    <a:lnTo>
                      <a:pt x="136220" y="157469"/>
                    </a:lnTo>
                    <a:lnTo>
                      <a:pt x="138777" y="157469"/>
                    </a:lnTo>
                    <a:lnTo>
                      <a:pt x="141158" y="158615"/>
                    </a:lnTo>
                    <a:lnTo>
                      <a:pt x="144332" y="158879"/>
                    </a:lnTo>
                    <a:lnTo>
                      <a:pt x="145831" y="157469"/>
                    </a:lnTo>
                    <a:lnTo>
                      <a:pt x="146360" y="153677"/>
                    </a:lnTo>
                    <a:lnTo>
                      <a:pt x="147241" y="152796"/>
                    </a:lnTo>
                    <a:lnTo>
                      <a:pt x="148123" y="153060"/>
                    </a:lnTo>
                    <a:lnTo>
                      <a:pt x="150151" y="152796"/>
                    </a:lnTo>
                    <a:lnTo>
                      <a:pt x="152267" y="152796"/>
                    </a:lnTo>
                    <a:lnTo>
                      <a:pt x="153677" y="151650"/>
                    </a:lnTo>
                    <a:lnTo>
                      <a:pt x="156587" y="151914"/>
                    </a:lnTo>
                    <a:lnTo>
                      <a:pt x="161260" y="152531"/>
                    </a:lnTo>
                    <a:lnTo>
                      <a:pt x="166197" y="151032"/>
                    </a:lnTo>
                    <a:lnTo>
                      <a:pt x="169989" y="148740"/>
                    </a:lnTo>
                    <a:lnTo>
                      <a:pt x="173515" y="144949"/>
                    </a:lnTo>
                    <a:lnTo>
                      <a:pt x="175543" y="143186"/>
                    </a:lnTo>
                    <a:lnTo>
                      <a:pt x="176425" y="142304"/>
                    </a:lnTo>
                    <a:lnTo>
                      <a:pt x="176690" y="139042"/>
                    </a:lnTo>
                    <a:lnTo>
                      <a:pt x="178453" y="137014"/>
                    </a:lnTo>
                    <a:lnTo>
                      <a:pt x="179952" y="135603"/>
                    </a:lnTo>
                    <a:lnTo>
                      <a:pt x="181362" y="133840"/>
                    </a:lnTo>
                    <a:lnTo>
                      <a:pt x="183390" y="133575"/>
                    </a:lnTo>
                    <a:lnTo>
                      <a:pt x="184889" y="132958"/>
                    </a:lnTo>
                    <a:lnTo>
                      <a:pt x="187182" y="132693"/>
                    </a:lnTo>
                    <a:lnTo>
                      <a:pt x="189298" y="132693"/>
                    </a:lnTo>
                    <a:lnTo>
                      <a:pt x="190973" y="132076"/>
                    </a:lnTo>
                    <a:lnTo>
                      <a:pt x="190973" y="131547"/>
                    </a:lnTo>
                    <a:lnTo>
                      <a:pt x="191590" y="130930"/>
                    </a:lnTo>
                    <a:lnTo>
                      <a:pt x="193089" y="130665"/>
                    </a:lnTo>
                    <a:lnTo>
                      <a:pt x="194235" y="130048"/>
                    </a:lnTo>
                    <a:lnTo>
                      <a:pt x="195998" y="129167"/>
                    </a:lnTo>
                    <a:lnTo>
                      <a:pt x="196527" y="127403"/>
                    </a:lnTo>
                    <a:lnTo>
                      <a:pt x="197762" y="126257"/>
                    </a:lnTo>
                    <a:lnTo>
                      <a:pt x="198908" y="125111"/>
                    </a:lnTo>
                    <a:lnTo>
                      <a:pt x="200054" y="124758"/>
                    </a:lnTo>
                    <a:lnTo>
                      <a:pt x="200936" y="124494"/>
                    </a:lnTo>
                    <a:lnTo>
                      <a:pt x="201817" y="124758"/>
                    </a:lnTo>
                    <a:lnTo>
                      <a:pt x="202699" y="125111"/>
                    </a:lnTo>
                    <a:lnTo>
                      <a:pt x="204110" y="125111"/>
                    </a:lnTo>
                    <a:lnTo>
                      <a:pt x="205609" y="124758"/>
                    </a:lnTo>
                    <a:lnTo>
                      <a:pt x="206755" y="123877"/>
                    </a:lnTo>
                    <a:lnTo>
                      <a:pt x="207372" y="122466"/>
                    </a:lnTo>
                    <a:lnTo>
                      <a:pt x="207901" y="120438"/>
                    </a:lnTo>
                    <a:lnTo>
                      <a:pt x="206755" y="119292"/>
                    </a:lnTo>
                    <a:lnTo>
                      <a:pt x="205344" y="119556"/>
                    </a:lnTo>
                    <a:lnTo>
                      <a:pt x="204110" y="118939"/>
                    </a:lnTo>
                    <a:lnTo>
                      <a:pt x="203581" y="119556"/>
                    </a:lnTo>
                    <a:lnTo>
                      <a:pt x="202699" y="118939"/>
                    </a:lnTo>
                    <a:lnTo>
                      <a:pt x="201817" y="117176"/>
                    </a:lnTo>
                    <a:lnTo>
                      <a:pt x="202699" y="115501"/>
                    </a:lnTo>
                    <a:lnTo>
                      <a:pt x="202964" y="114883"/>
                    </a:lnTo>
                    <a:lnTo>
                      <a:pt x="204110" y="114619"/>
                    </a:lnTo>
                    <a:lnTo>
                      <a:pt x="205873" y="114002"/>
                    </a:lnTo>
                    <a:lnTo>
                      <a:pt x="206138" y="113120"/>
                    </a:lnTo>
                    <a:lnTo>
                      <a:pt x="205873" y="112503"/>
                    </a:lnTo>
                    <a:lnTo>
                      <a:pt x="204110" y="112503"/>
                    </a:lnTo>
                    <a:lnTo>
                      <a:pt x="202964" y="111974"/>
                    </a:lnTo>
                    <a:lnTo>
                      <a:pt x="202082" y="111092"/>
                    </a:lnTo>
                    <a:lnTo>
                      <a:pt x="202082" y="109064"/>
                    </a:lnTo>
                    <a:lnTo>
                      <a:pt x="203228" y="106684"/>
                    </a:lnTo>
                    <a:lnTo>
                      <a:pt x="203228" y="105538"/>
                    </a:lnTo>
                    <a:lnTo>
                      <a:pt x="205873" y="104920"/>
                    </a:lnTo>
                    <a:lnTo>
                      <a:pt x="209664" y="106155"/>
                    </a:lnTo>
                    <a:lnTo>
                      <a:pt x="212045" y="105802"/>
                    </a:lnTo>
                    <a:lnTo>
                      <a:pt x="214337" y="104656"/>
                    </a:lnTo>
                    <a:lnTo>
                      <a:pt x="216982" y="104656"/>
                    </a:lnTo>
                    <a:lnTo>
                      <a:pt x="220774" y="102363"/>
                    </a:lnTo>
                    <a:lnTo>
                      <a:pt x="221655" y="101129"/>
                    </a:lnTo>
                    <a:lnTo>
                      <a:pt x="221038" y="98572"/>
                    </a:lnTo>
                    <a:lnTo>
                      <a:pt x="222537" y="97073"/>
                    </a:lnTo>
                    <a:lnTo>
                      <a:pt x="226328" y="96192"/>
                    </a:lnTo>
                    <a:lnTo>
                      <a:pt x="231001" y="94781"/>
                    </a:lnTo>
                    <a:lnTo>
                      <a:pt x="234792" y="94164"/>
                    </a:lnTo>
                    <a:lnTo>
                      <a:pt x="240347" y="95663"/>
                    </a:lnTo>
                    <a:lnTo>
                      <a:pt x="246166" y="95310"/>
                    </a:lnTo>
                    <a:lnTo>
                      <a:pt x="250839" y="94428"/>
                    </a:lnTo>
                    <a:lnTo>
                      <a:pt x="253131" y="95310"/>
                    </a:lnTo>
                    <a:lnTo>
                      <a:pt x="257187" y="96192"/>
                    </a:lnTo>
                    <a:lnTo>
                      <a:pt x="258686" y="95927"/>
                    </a:lnTo>
                    <a:lnTo>
                      <a:pt x="259215" y="94781"/>
                    </a:lnTo>
                    <a:lnTo>
                      <a:pt x="258422" y="93635"/>
                    </a:lnTo>
                    <a:lnTo>
                      <a:pt x="255512" y="93899"/>
                    </a:lnTo>
                    <a:lnTo>
                      <a:pt x="257187" y="92400"/>
                    </a:lnTo>
                    <a:lnTo>
                      <a:pt x="257540" y="90990"/>
                    </a:lnTo>
                    <a:lnTo>
                      <a:pt x="258422" y="88080"/>
                    </a:lnTo>
                    <a:lnTo>
                      <a:pt x="260185" y="88080"/>
                    </a:lnTo>
                    <a:lnTo>
                      <a:pt x="261860" y="85700"/>
                    </a:lnTo>
                    <a:lnTo>
                      <a:pt x="260449" y="82526"/>
                    </a:lnTo>
                    <a:lnTo>
                      <a:pt x="257187" y="81644"/>
                    </a:lnTo>
                    <a:lnTo>
                      <a:pt x="256041" y="81027"/>
                    </a:lnTo>
                    <a:lnTo>
                      <a:pt x="254895" y="81027"/>
                    </a:lnTo>
                    <a:lnTo>
                      <a:pt x="251985" y="78117"/>
                    </a:lnTo>
                    <a:lnTo>
                      <a:pt x="251368" y="75208"/>
                    </a:lnTo>
                    <a:lnTo>
                      <a:pt x="252602" y="73444"/>
                    </a:lnTo>
                    <a:lnTo>
                      <a:pt x="252602" y="71416"/>
                    </a:lnTo>
                    <a:lnTo>
                      <a:pt x="251721" y="70270"/>
                    </a:lnTo>
                    <a:lnTo>
                      <a:pt x="249605" y="70535"/>
                    </a:lnTo>
                    <a:lnTo>
                      <a:pt x="249076" y="69036"/>
                    </a:lnTo>
                    <a:lnTo>
                      <a:pt x="249605" y="67008"/>
                    </a:lnTo>
                    <a:lnTo>
                      <a:pt x="248723" y="66479"/>
                    </a:lnTo>
                    <a:lnTo>
                      <a:pt x="248723" y="64098"/>
                    </a:lnTo>
                    <a:lnTo>
                      <a:pt x="249957" y="60307"/>
                    </a:lnTo>
                    <a:lnTo>
                      <a:pt x="249957" y="58279"/>
                    </a:lnTo>
                    <a:lnTo>
                      <a:pt x="249605" y="57133"/>
                    </a:lnTo>
                    <a:lnTo>
                      <a:pt x="247577" y="55987"/>
                    </a:lnTo>
                    <a:lnTo>
                      <a:pt x="248458" y="54224"/>
                    </a:lnTo>
                    <a:lnTo>
                      <a:pt x="248194" y="51314"/>
                    </a:lnTo>
                    <a:lnTo>
                      <a:pt x="249605" y="46024"/>
                    </a:lnTo>
                    <a:lnTo>
                      <a:pt x="247577" y="44613"/>
                    </a:lnTo>
                    <a:lnTo>
                      <a:pt x="246431" y="43114"/>
                    </a:lnTo>
                    <a:lnTo>
                      <a:pt x="246166" y="38794"/>
                    </a:lnTo>
                    <a:lnTo>
                      <a:pt x="247577" y="36149"/>
                    </a:lnTo>
                    <a:lnTo>
                      <a:pt x="246695" y="34121"/>
                    </a:lnTo>
                    <a:lnTo>
                      <a:pt x="244932" y="32887"/>
                    </a:lnTo>
                    <a:lnTo>
                      <a:pt x="246166" y="32005"/>
                    </a:lnTo>
                    <a:lnTo>
                      <a:pt x="246431" y="30594"/>
                    </a:lnTo>
                    <a:lnTo>
                      <a:pt x="247048" y="28831"/>
                    </a:lnTo>
                    <a:lnTo>
                      <a:pt x="244403" y="28567"/>
                    </a:lnTo>
                    <a:lnTo>
                      <a:pt x="242639" y="26803"/>
                    </a:lnTo>
                    <a:lnTo>
                      <a:pt x="241758" y="25304"/>
                    </a:lnTo>
                    <a:lnTo>
                      <a:pt x="239994" y="25657"/>
                    </a:lnTo>
                    <a:lnTo>
                      <a:pt x="238231" y="23276"/>
                    </a:lnTo>
                    <a:lnTo>
                      <a:pt x="236820" y="23012"/>
                    </a:lnTo>
                    <a:lnTo>
                      <a:pt x="237349" y="212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8" name="Freihandform: Form 1827">
                <a:extLst>
                  <a:ext uri="{FF2B5EF4-FFF2-40B4-BE49-F238E27FC236}">
                    <a16:creationId xmlns:a16="http://schemas.microsoft.com/office/drawing/2014/main" id="{0D61EA36-D739-A972-F8D3-1B8BDACF872A}"/>
                  </a:ext>
                </a:extLst>
              </p:cNvPr>
              <p:cNvSpPr/>
              <p:nvPr/>
            </p:nvSpPr>
            <p:spPr>
              <a:xfrm>
                <a:off x="4265839" y="3321963"/>
                <a:ext cx="343592" cy="345002"/>
              </a:xfrm>
              <a:custGeom>
                <a:avLst/>
                <a:gdLst>
                  <a:gd name="connsiteX0" fmla="*/ 322873 w 343592"/>
                  <a:gd name="connsiteY0" fmla="*/ 345003 h 345002"/>
                  <a:gd name="connsiteX1" fmla="*/ 210899 w 343592"/>
                  <a:gd name="connsiteY1" fmla="*/ 282668 h 345002"/>
                  <a:gd name="connsiteX2" fmla="*/ 142921 w 343592"/>
                  <a:gd name="connsiteY2" fmla="*/ 247665 h 345002"/>
                  <a:gd name="connsiteX3" fmla="*/ 126610 w 343592"/>
                  <a:gd name="connsiteY3" fmla="*/ 255512 h 345002"/>
                  <a:gd name="connsiteX4" fmla="*/ 109681 w 343592"/>
                  <a:gd name="connsiteY4" fmla="*/ 264505 h 345002"/>
                  <a:gd name="connsiteX5" fmla="*/ 96015 w 343592"/>
                  <a:gd name="connsiteY5" fmla="*/ 253749 h 345002"/>
                  <a:gd name="connsiteX6" fmla="*/ 61541 w 343592"/>
                  <a:gd name="connsiteY6" fmla="*/ 242992 h 345002"/>
                  <a:gd name="connsiteX7" fmla="*/ 51049 w 343592"/>
                  <a:gd name="connsiteY7" fmla="*/ 222537 h 345002"/>
                  <a:gd name="connsiteX8" fmla="*/ 39411 w 343592"/>
                  <a:gd name="connsiteY8" fmla="*/ 218129 h 345002"/>
                  <a:gd name="connsiteX9" fmla="*/ 33239 w 343592"/>
                  <a:gd name="connsiteY9" fmla="*/ 215572 h 345002"/>
                  <a:gd name="connsiteX10" fmla="*/ 28037 w 343592"/>
                  <a:gd name="connsiteY10" fmla="*/ 217864 h 345002"/>
                  <a:gd name="connsiteX11" fmla="*/ 26274 w 343592"/>
                  <a:gd name="connsiteY11" fmla="*/ 217864 h 345002"/>
                  <a:gd name="connsiteX12" fmla="*/ 23012 w 343592"/>
                  <a:gd name="connsiteY12" fmla="*/ 214955 h 345002"/>
                  <a:gd name="connsiteX13" fmla="*/ 22218 w 343592"/>
                  <a:gd name="connsiteY13" fmla="*/ 211163 h 345002"/>
                  <a:gd name="connsiteX14" fmla="*/ 18956 w 343592"/>
                  <a:gd name="connsiteY14" fmla="*/ 208871 h 345002"/>
                  <a:gd name="connsiteX15" fmla="*/ 18074 w 343592"/>
                  <a:gd name="connsiteY15" fmla="*/ 197145 h 345002"/>
                  <a:gd name="connsiteX16" fmla="*/ 4144 w 343592"/>
                  <a:gd name="connsiteY16" fmla="*/ 176160 h 345002"/>
                  <a:gd name="connsiteX17" fmla="*/ 4408 w 343592"/>
                  <a:gd name="connsiteY17" fmla="*/ 174397 h 345002"/>
                  <a:gd name="connsiteX18" fmla="*/ 4937 w 343592"/>
                  <a:gd name="connsiteY18" fmla="*/ 172634 h 345002"/>
                  <a:gd name="connsiteX19" fmla="*/ 6436 w 343592"/>
                  <a:gd name="connsiteY19" fmla="*/ 172369 h 345002"/>
                  <a:gd name="connsiteX20" fmla="*/ 6701 w 343592"/>
                  <a:gd name="connsiteY20" fmla="*/ 171223 h 345002"/>
                  <a:gd name="connsiteX21" fmla="*/ 9346 w 343592"/>
                  <a:gd name="connsiteY21" fmla="*/ 170077 h 345002"/>
                  <a:gd name="connsiteX22" fmla="*/ 14019 w 343592"/>
                  <a:gd name="connsiteY22" fmla="*/ 167167 h 345002"/>
                  <a:gd name="connsiteX23" fmla="*/ 15782 w 343592"/>
                  <a:gd name="connsiteY23" fmla="*/ 163023 h 345002"/>
                  <a:gd name="connsiteX24" fmla="*/ 14283 w 343592"/>
                  <a:gd name="connsiteY24" fmla="*/ 162759 h 345002"/>
                  <a:gd name="connsiteX25" fmla="*/ 14636 w 343592"/>
                  <a:gd name="connsiteY25" fmla="*/ 158703 h 345002"/>
                  <a:gd name="connsiteX26" fmla="*/ 13137 w 343592"/>
                  <a:gd name="connsiteY26" fmla="*/ 158086 h 345002"/>
                  <a:gd name="connsiteX27" fmla="*/ 12255 w 343592"/>
                  <a:gd name="connsiteY27" fmla="*/ 153678 h 345002"/>
                  <a:gd name="connsiteX28" fmla="*/ 11374 w 343592"/>
                  <a:gd name="connsiteY28" fmla="*/ 150768 h 345002"/>
                  <a:gd name="connsiteX29" fmla="*/ 10492 w 343592"/>
                  <a:gd name="connsiteY29" fmla="*/ 146448 h 345002"/>
                  <a:gd name="connsiteX30" fmla="*/ 11109 w 343592"/>
                  <a:gd name="connsiteY30" fmla="*/ 144420 h 345002"/>
                  <a:gd name="connsiteX31" fmla="*/ 12873 w 343592"/>
                  <a:gd name="connsiteY31" fmla="*/ 142921 h 345002"/>
                  <a:gd name="connsiteX32" fmla="*/ 11991 w 343592"/>
                  <a:gd name="connsiteY32" fmla="*/ 141158 h 345002"/>
                  <a:gd name="connsiteX33" fmla="*/ 13401 w 343592"/>
                  <a:gd name="connsiteY33" fmla="*/ 140276 h 345002"/>
                  <a:gd name="connsiteX34" fmla="*/ 15429 w 343592"/>
                  <a:gd name="connsiteY34" fmla="*/ 133840 h 345002"/>
                  <a:gd name="connsiteX35" fmla="*/ 10845 w 343592"/>
                  <a:gd name="connsiteY35" fmla="*/ 123965 h 345002"/>
                  <a:gd name="connsiteX36" fmla="*/ 12520 w 343592"/>
                  <a:gd name="connsiteY36" fmla="*/ 109946 h 345002"/>
                  <a:gd name="connsiteX37" fmla="*/ 12520 w 343592"/>
                  <a:gd name="connsiteY37" fmla="*/ 106155 h 345002"/>
                  <a:gd name="connsiteX38" fmla="*/ 11638 w 343592"/>
                  <a:gd name="connsiteY38" fmla="*/ 101482 h 345002"/>
                  <a:gd name="connsiteX39" fmla="*/ 9610 w 343592"/>
                  <a:gd name="connsiteY39" fmla="*/ 94517 h 345002"/>
                  <a:gd name="connsiteX40" fmla="*/ 7847 w 343592"/>
                  <a:gd name="connsiteY40" fmla="*/ 89844 h 345002"/>
                  <a:gd name="connsiteX41" fmla="*/ 5819 w 343592"/>
                  <a:gd name="connsiteY41" fmla="*/ 85788 h 345002"/>
                  <a:gd name="connsiteX42" fmla="*/ 2909 w 343592"/>
                  <a:gd name="connsiteY42" fmla="*/ 80498 h 345002"/>
                  <a:gd name="connsiteX43" fmla="*/ 0 w 343592"/>
                  <a:gd name="connsiteY43" fmla="*/ 76971 h 345002"/>
                  <a:gd name="connsiteX44" fmla="*/ 4937 w 343592"/>
                  <a:gd name="connsiteY44" fmla="*/ 74061 h 345002"/>
                  <a:gd name="connsiteX45" fmla="*/ 9081 w 343592"/>
                  <a:gd name="connsiteY45" fmla="*/ 71769 h 345002"/>
                  <a:gd name="connsiteX46" fmla="*/ 9610 w 343592"/>
                  <a:gd name="connsiteY46" fmla="*/ 70270 h 345002"/>
                  <a:gd name="connsiteX47" fmla="*/ 12255 w 343592"/>
                  <a:gd name="connsiteY47" fmla="*/ 71416 h 345002"/>
                  <a:gd name="connsiteX48" fmla="*/ 15782 w 343592"/>
                  <a:gd name="connsiteY48" fmla="*/ 66832 h 345002"/>
                  <a:gd name="connsiteX49" fmla="*/ 17810 w 343592"/>
                  <a:gd name="connsiteY49" fmla="*/ 63569 h 345002"/>
                  <a:gd name="connsiteX50" fmla="*/ 18956 w 343592"/>
                  <a:gd name="connsiteY50" fmla="*/ 62423 h 345002"/>
                  <a:gd name="connsiteX51" fmla="*/ 20455 w 343592"/>
                  <a:gd name="connsiteY51" fmla="*/ 57750 h 345002"/>
                  <a:gd name="connsiteX52" fmla="*/ 19309 w 343592"/>
                  <a:gd name="connsiteY52" fmla="*/ 55370 h 345002"/>
                  <a:gd name="connsiteX53" fmla="*/ 19838 w 343592"/>
                  <a:gd name="connsiteY53" fmla="*/ 54224 h 345002"/>
                  <a:gd name="connsiteX54" fmla="*/ 17193 w 343592"/>
                  <a:gd name="connsiteY54" fmla="*/ 45848 h 345002"/>
                  <a:gd name="connsiteX55" fmla="*/ 17545 w 343592"/>
                  <a:gd name="connsiteY55" fmla="*/ 43467 h 345002"/>
                  <a:gd name="connsiteX56" fmla="*/ 18956 w 343592"/>
                  <a:gd name="connsiteY56" fmla="*/ 42585 h 345002"/>
                  <a:gd name="connsiteX57" fmla="*/ 19573 w 343592"/>
                  <a:gd name="connsiteY57" fmla="*/ 41704 h 345002"/>
                  <a:gd name="connsiteX58" fmla="*/ 19838 w 343592"/>
                  <a:gd name="connsiteY58" fmla="*/ 40293 h 345002"/>
                  <a:gd name="connsiteX59" fmla="*/ 20455 w 343592"/>
                  <a:gd name="connsiteY59" fmla="*/ 39059 h 345002"/>
                  <a:gd name="connsiteX60" fmla="*/ 21866 w 343592"/>
                  <a:gd name="connsiteY60" fmla="*/ 39059 h 345002"/>
                  <a:gd name="connsiteX61" fmla="*/ 23012 w 343592"/>
                  <a:gd name="connsiteY61" fmla="*/ 38530 h 345002"/>
                  <a:gd name="connsiteX62" fmla="*/ 23365 w 343592"/>
                  <a:gd name="connsiteY62" fmla="*/ 37295 h 345002"/>
                  <a:gd name="connsiteX63" fmla="*/ 24775 w 343592"/>
                  <a:gd name="connsiteY63" fmla="*/ 36149 h 345002"/>
                  <a:gd name="connsiteX64" fmla="*/ 26010 w 343592"/>
                  <a:gd name="connsiteY64" fmla="*/ 35003 h 345002"/>
                  <a:gd name="connsiteX65" fmla="*/ 26538 w 343592"/>
                  <a:gd name="connsiteY65" fmla="*/ 34121 h 345002"/>
                  <a:gd name="connsiteX66" fmla="*/ 26274 w 343592"/>
                  <a:gd name="connsiteY66" fmla="*/ 32975 h 345002"/>
                  <a:gd name="connsiteX67" fmla="*/ 26010 w 343592"/>
                  <a:gd name="connsiteY67" fmla="*/ 31476 h 345002"/>
                  <a:gd name="connsiteX68" fmla="*/ 26538 w 343592"/>
                  <a:gd name="connsiteY68" fmla="*/ 30594 h 345002"/>
                  <a:gd name="connsiteX69" fmla="*/ 27156 w 343592"/>
                  <a:gd name="connsiteY69" fmla="*/ 30065 h 345002"/>
                  <a:gd name="connsiteX70" fmla="*/ 27420 w 343592"/>
                  <a:gd name="connsiteY70" fmla="*/ 31476 h 345002"/>
                  <a:gd name="connsiteX71" fmla="*/ 28037 w 343592"/>
                  <a:gd name="connsiteY71" fmla="*/ 32093 h 345002"/>
                  <a:gd name="connsiteX72" fmla="*/ 28566 w 343592"/>
                  <a:gd name="connsiteY72" fmla="*/ 31829 h 345002"/>
                  <a:gd name="connsiteX73" fmla="*/ 28919 w 343592"/>
                  <a:gd name="connsiteY73" fmla="*/ 30330 h 345002"/>
                  <a:gd name="connsiteX74" fmla="*/ 29448 w 343592"/>
                  <a:gd name="connsiteY74" fmla="*/ 30065 h 345002"/>
                  <a:gd name="connsiteX75" fmla="*/ 30065 w 343592"/>
                  <a:gd name="connsiteY75" fmla="*/ 30330 h 345002"/>
                  <a:gd name="connsiteX76" fmla="*/ 31829 w 343592"/>
                  <a:gd name="connsiteY76" fmla="*/ 27156 h 345002"/>
                  <a:gd name="connsiteX77" fmla="*/ 35003 w 343592"/>
                  <a:gd name="connsiteY77" fmla="*/ 26010 h 345002"/>
                  <a:gd name="connsiteX78" fmla="*/ 39147 w 343592"/>
                  <a:gd name="connsiteY78" fmla="*/ 24511 h 345002"/>
                  <a:gd name="connsiteX79" fmla="*/ 41439 w 343592"/>
                  <a:gd name="connsiteY79" fmla="*/ 23365 h 345002"/>
                  <a:gd name="connsiteX80" fmla="*/ 42850 w 343592"/>
                  <a:gd name="connsiteY80" fmla="*/ 21866 h 345002"/>
                  <a:gd name="connsiteX81" fmla="*/ 44966 w 343592"/>
                  <a:gd name="connsiteY81" fmla="*/ 19838 h 345002"/>
                  <a:gd name="connsiteX82" fmla="*/ 46376 w 343592"/>
                  <a:gd name="connsiteY82" fmla="*/ 18427 h 345002"/>
                  <a:gd name="connsiteX83" fmla="*/ 45847 w 343592"/>
                  <a:gd name="connsiteY83" fmla="*/ 17810 h 345002"/>
                  <a:gd name="connsiteX84" fmla="*/ 45230 w 343592"/>
                  <a:gd name="connsiteY84" fmla="*/ 16928 h 345002"/>
                  <a:gd name="connsiteX85" fmla="*/ 44349 w 343592"/>
                  <a:gd name="connsiteY85" fmla="*/ 16311 h 345002"/>
                  <a:gd name="connsiteX86" fmla="*/ 43202 w 343592"/>
                  <a:gd name="connsiteY86" fmla="*/ 14548 h 345002"/>
                  <a:gd name="connsiteX87" fmla="*/ 43467 w 343592"/>
                  <a:gd name="connsiteY87" fmla="*/ 9963 h 345002"/>
                  <a:gd name="connsiteX88" fmla="*/ 43202 w 343592"/>
                  <a:gd name="connsiteY88" fmla="*/ 8200 h 345002"/>
                  <a:gd name="connsiteX89" fmla="*/ 43820 w 343592"/>
                  <a:gd name="connsiteY89" fmla="*/ 2028 h 345002"/>
                  <a:gd name="connsiteX90" fmla="*/ 45230 w 343592"/>
                  <a:gd name="connsiteY90" fmla="*/ 1763 h 345002"/>
                  <a:gd name="connsiteX91" fmla="*/ 45847 w 343592"/>
                  <a:gd name="connsiteY91" fmla="*/ 2645 h 345002"/>
                  <a:gd name="connsiteX92" fmla="*/ 46994 w 343592"/>
                  <a:gd name="connsiteY92" fmla="*/ 3174 h 345002"/>
                  <a:gd name="connsiteX93" fmla="*/ 49286 w 343592"/>
                  <a:gd name="connsiteY93" fmla="*/ 3527 h 345002"/>
                  <a:gd name="connsiteX94" fmla="*/ 49022 w 343592"/>
                  <a:gd name="connsiteY94" fmla="*/ 2645 h 345002"/>
                  <a:gd name="connsiteX95" fmla="*/ 49639 w 343592"/>
                  <a:gd name="connsiteY95" fmla="*/ 2645 h 345002"/>
                  <a:gd name="connsiteX96" fmla="*/ 51667 w 343592"/>
                  <a:gd name="connsiteY96" fmla="*/ 3791 h 345002"/>
                  <a:gd name="connsiteX97" fmla="*/ 48140 w 343592"/>
                  <a:gd name="connsiteY97" fmla="*/ 0 h 345002"/>
                  <a:gd name="connsiteX98" fmla="*/ 50785 w 343592"/>
                  <a:gd name="connsiteY98" fmla="*/ 264 h 345002"/>
                  <a:gd name="connsiteX99" fmla="*/ 54311 w 343592"/>
                  <a:gd name="connsiteY99" fmla="*/ 2028 h 345002"/>
                  <a:gd name="connsiteX100" fmla="*/ 55458 w 343592"/>
                  <a:gd name="connsiteY100" fmla="*/ 3527 h 345002"/>
                  <a:gd name="connsiteX101" fmla="*/ 58896 w 343592"/>
                  <a:gd name="connsiteY101" fmla="*/ 5555 h 345002"/>
                  <a:gd name="connsiteX102" fmla="*/ 57750 w 343592"/>
                  <a:gd name="connsiteY102" fmla="*/ 6436 h 345002"/>
                  <a:gd name="connsiteX103" fmla="*/ 57221 w 343592"/>
                  <a:gd name="connsiteY103" fmla="*/ 7582 h 345002"/>
                  <a:gd name="connsiteX104" fmla="*/ 59249 w 343592"/>
                  <a:gd name="connsiteY104" fmla="*/ 7847 h 345002"/>
                  <a:gd name="connsiteX105" fmla="*/ 61277 w 343592"/>
                  <a:gd name="connsiteY105" fmla="*/ 9963 h 345002"/>
                  <a:gd name="connsiteX106" fmla="*/ 66214 w 343592"/>
                  <a:gd name="connsiteY106" fmla="*/ 10492 h 345002"/>
                  <a:gd name="connsiteX107" fmla="*/ 71504 w 343592"/>
                  <a:gd name="connsiteY107" fmla="*/ 10492 h 345002"/>
                  <a:gd name="connsiteX108" fmla="*/ 73268 w 343592"/>
                  <a:gd name="connsiteY108" fmla="*/ 9346 h 345002"/>
                  <a:gd name="connsiteX109" fmla="*/ 74943 w 343592"/>
                  <a:gd name="connsiteY109" fmla="*/ 9346 h 345002"/>
                  <a:gd name="connsiteX110" fmla="*/ 77588 w 343592"/>
                  <a:gd name="connsiteY110" fmla="*/ 8464 h 345002"/>
                  <a:gd name="connsiteX111" fmla="*/ 78734 w 343592"/>
                  <a:gd name="connsiteY111" fmla="*/ 7582 h 345002"/>
                  <a:gd name="connsiteX112" fmla="*/ 80850 w 343592"/>
                  <a:gd name="connsiteY112" fmla="*/ 7582 h 345002"/>
                  <a:gd name="connsiteX113" fmla="*/ 82878 w 343592"/>
                  <a:gd name="connsiteY113" fmla="*/ 7847 h 345002"/>
                  <a:gd name="connsiteX114" fmla="*/ 84024 w 343592"/>
                  <a:gd name="connsiteY114" fmla="*/ 9346 h 345002"/>
                  <a:gd name="connsiteX115" fmla="*/ 87816 w 343592"/>
                  <a:gd name="connsiteY115" fmla="*/ 10492 h 345002"/>
                  <a:gd name="connsiteX116" fmla="*/ 91871 w 343592"/>
                  <a:gd name="connsiteY116" fmla="*/ 10492 h 345002"/>
                  <a:gd name="connsiteX117" fmla="*/ 94252 w 343592"/>
                  <a:gd name="connsiteY117" fmla="*/ 11638 h 345002"/>
                  <a:gd name="connsiteX118" fmla="*/ 96809 w 343592"/>
                  <a:gd name="connsiteY118" fmla="*/ 12520 h 345002"/>
                  <a:gd name="connsiteX119" fmla="*/ 100335 w 343592"/>
                  <a:gd name="connsiteY119" fmla="*/ 13137 h 345002"/>
                  <a:gd name="connsiteX120" fmla="*/ 101834 w 343592"/>
                  <a:gd name="connsiteY120" fmla="*/ 13666 h 345002"/>
                  <a:gd name="connsiteX121" fmla="*/ 102981 w 343592"/>
                  <a:gd name="connsiteY121" fmla="*/ 14548 h 345002"/>
                  <a:gd name="connsiteX122" fmla="*/ 105890 w 343592"/>
                  <a:gd name="connsiteY122" fmla="*/ 16928 h 345002"/>
                  <a:gd name="connsiteX123" fmla="*/ 107301 w 343592"/>
                  <a:gd name="connsiteY123" fmla="*/ 17810 h 345002"/>
                  <a:gd name="connsiteX124" fmla="*/ 110298 w 343592"/>
                  <a:gd name="connsiteY124" fmla="*/ 18427 h 345002"/>
                  <a:gd name="connsiteX125" fmla="*/ 112062 w 343592"/>
                  <a:gd name="connsiteY125" fmla="*/ 19221 h 345002"/>
                  <a:gd name="connsiteX126" fmla="*/ 115853 w 343592"/>
                  <a:gd name="connsiteY126" fmla="*/ 19838 h 345002"/>
                  <a:gd name="connsiteX127" fmla="*/ 121320 w 343592"/>
                  <a:gd name="connsiteY127" fmla="*/ 20102 h 345002"/>
                  <a:gd name="connsiteX128" fmla="*/ 123700 w 343592"/>
                  <a:gd name="connsiteY128" fmla="*/ 22483 h 345002"/>
                  <a:gd name="connsiteX129" fmla="*/ 124229 w 343592"/>
                  <a:gd name="connsiteY129" fmla="*/ 24775 h 345002"/>
                  <a:gd name="connsiteX130" fmla="*/ 125728 w 343592"/>
                  <a:gd name="connsiteY130" fmla="*/ 26274 h 345002"/>
                  <a:gd name="connsiteX131" fmla="*/ 125728 w 343592"/>
                  <a:gd name="connsiteY131" fmla="*/ 28567 h 345002"/>
                  <a:gd name="connsiteX132" fmla="*/ 125111 w 343592"/>
                  <a:gd name="connsiteY132" fmla="*/ 29801 h 345002"/>
                  <a:gd name="connsiteX133" fmla="*/ 125728 w 343592"/>
                  <a:gd name="connsiteY133" fmla="*/ 31212 h 345002"/>
                  <a:gd name="connsiteX134" fmla="*/ 126874 w 343592"/>
                  <a:gd name="connsiteY134" fmla="*/ 31829 h 345002"/>
                  <a:gd name="connsiteX135" fmla="*/ 129784 w 343592"/>
                  <a:gd name="connsiteY135" fmla="*/ 30594 h 345002"/>
                  <a:gd name="connsiteX136" fmla="*/ 131900 w 343592"/>
                  <a:gd name="connsiteY136" fmla="*/ 30594 h 345002"/>
                  <a:gd name="connsiteX137" fmla="*/ 131018 w 343592"/>
                  <a:gd name="connsiteY137" fmla="*/ 31829 h 345002"/>
                  <a:gd name="connsiteX138" fmla="*/ 131283 w 343592"/>
                  <a:gd name="connsiteY138" fmla="*/ 34121 h 345002"/>
                  <a:gd name="connsiteX139" fmla="*/ 131018 w 343592"/>
                  <a:gd name="connsiteY139" fmla="*/ 35620 h 345002"/>
                  <a:gd name="connsiteX140" fmla="*/ 129255 w 343592"/>
                  <a:gd name="connsiteY140" fmla="*/ 39059 h 345002"/>
                  <a:gd name="connsiteX141" fmla="*/ 131547 w 343592"/>
                  <a:gd name="connsiteY141" fmla="*/ 43202 h 345002"/>
                  <a:gd name="connsiteX142" fmla="*/ 133046 w 343592"/>
                  <a:gd name="connsiteY142" fmla="*/ 44349 h 345002"/>
                  <a:gd name="connsiteX143" fmla="*/ 138248 w 343592"/>
                  <a:gd name="connsiteY143" fmla="*/ 47876 h 345002"/>
                  <a:gd name="connsiteX144" fmla="*/ 141775 w 343592"/>
                  <a:gd name="connsiteY144" fmla="*/ 48669 h 345002"/>
                  <a:gd name="connsiteX145" fmla="*/ 145301 w 343592"/>
                  <a:gd name="connsiteY145" fmla="*/ 49551 h 345002"/>
                  <a:gd name="connsiteX146" fmla="*/ 149092 w 343592"/>
                  <a:gd name="connsiteY146" fmla="*/ 52460 h 345002"/>
                  <a:gd name="connsiteX147" fmla="*/ 150856 w 343592"/>
                  <a:gd name="connsiteY147" fmla="*/ 52813 h 345002"/>
                  <a:gd name="connsiteX148" fmla="*/ 152267 w 343592"/>
                  <a:gd name="connsiteY148" fmla="*/ 51314 h 345002"/>
                  <a:gd name="connsiteX149" fmla="*/ 156058 w 343592"/>
                  <a:gd name="connsiteY149" fmla="*/ 50168 h 345002"/>
                  <a:gd name="connsiteX150" fmla="*/ 159849 w 343592"/>
                  <a:gd name="connsiteY150" fmla="*/ 51314 h 345002"/>
                  <a:gd name="connsiteX151" fmla="*/ 164257 w 343592"/>
                  <a:gd name="connsiteY151" fmla="*/ 52460 h 345002"/>
                  <a:gd name="connsiteX152" fmla="*/ 169195 w 343592"/>
                  <a:gd name="connsiteY152" fmla="*/ 53695 h 345002"/>
                  <a:gd name="connsiteX153" fmla="*/ 171223 w 343592"/>
                  <a:gd name="connsiteY153" fmla="*/ 54841 h 345002"/>
                  <a:gd name="connsiteX154" fmla="*/ 174133 w 343592"/>
                  <a:gd name="connsiteY154" fmla="*/ 55370 h 345002"/>
                  <a:gd name="connsiteX155" fmla="*/ 177659 w 343592"/>
                  <a:gd name="connsiteY155" fmla="*/ 57133 h 345002"/>
                  <a:gd name="connsiteX156" fmla="*/ 179422 w 343592"/>
                  <a:gd name="connsiteY156" fmla="*/ 57486 h 345002"/>
                  <a:gd name="connsiteX157" fmla="*/ 181186 w 343592"/>
                  <a:gd name="connsiteY157" fmla="*/ 59249 h 345002"/>
                  <a:gd name="connsiteX158" fmla="*/ 183214 w 343592"/>
                  <a:gd name="connsiteY158" fmla="*/ 59514 h 345002"/>
                  <a:gd name="connsiteX159" fmla="*/ 184360 w 343592"/>
                  <a:gd name="connsiteY159" fmla="*/ 59778 h 345002"/>
                  <a:gd name="connsiteX160" fmla="*/ 186652 w 343592"/>
                  <a:gd name="connsiteY160" fmla="*/ 60924 h 345002"/>
                  <a:gd name="connsiteX161" fmla="*/ 189298 w 343592"/>
                  <a:gd name="connsiteY161" fmla="*/ 64187 h 345002"/>
                  <a:gd name="connsiteX162" fmla="*/ 194587 w 343592"/>
                  <a:gd name="connsiteY162" fmla="*/ 67625 h 345002"/>
                  <a:gd name="connsiteX163" fmla="*/ 195469 w 343592"/>
                  <a:gd name="connsiteY163" fmla="*/ 68242 h 345002"/>
                  <a:gd name="connsiteX164" fmla="*/ 196351 w 343592"/>
                  <a:gd name="connsiteY164" fmla="*/ 68859 h 345002"/>
                  <a:gd name="connsiteX165" fmla="*/ 198114 w 343592"/>
                  <a:gd name="connsiteY165" fmla="*/ 70887 h 345002"/>
                  <a:gd name="connsiteX166" fmla="*/ 198643 w 343592"/>
                  <a:gd name="connsiteY166" fmla="*/ 71152 h 345002"/>
                  <a:gd name="connsiteX167" fmla="*/ 202170 w 343592"/>
                  <a:gd name="connsiteY167" fmla="*/ 71152 h 345002"/>
                  <a:gd name="connsiteX168" fmla="*/ 202699 w 343592"/>
                  <a:gd name="connsiteY168" fmla="*/ 72915 h 345002"/>
                  <a:gd name="connsiteX169" fmla="*/ 203933 w 343592"/>
                  <a:gd name="connsiteY169" fmla="*/ 73532 h 345002"/>
                  <a:gd name="connsiteX170" fmla="*/ 207107 w 343592"/>
                  <a:gd name="connsiteY170" fmla="*/ 74061 h 345002"/>
                  <a:gd name="connsiteX171" fmla="*/ 208518 w 343592"/>
                  <a:gd name="connsiteY171" fmla="*/ 71769 h 345002"/>
                  <a:gd name="connsiteX172" fmla="*/ 210017 w 343592"/>
                  <a:gd name="connsiteY172" fmla="*/ 70270 h 345002"/>
                  <a:gd name="connsiteX173" fmla="*/ 211780 w 343592"/>
                  <a:gd name="connsiteY173" fmla="*/ 69388 h 345002"/>
                  <a:gd name="connsiteX174" fmla="*/ 215572 w 343592"/>
                  <a:gd name="connsiteY174" fmla="*/ 67096 h 345002"/>
                  <a:gd name="connsiteX175" fmla="*/ 216453 w 343592"/>
                  <a:gd name="connsiteY175" fmla="*/ 66832 h 345002"/>
                  <a:gd name="connsiteX176" fmla="*/ 218481 w 343592"/>
                  <a:gd name="connsiteY176" fmla="*/ 63569 h 345002"/>
                  <a:gd name="connsiteX177" fmla="*/ 219363 w 343592"/>
                  <a:gd name="connsiteY177" fmla="*/ 62423 h 345002"/>
                  <a:gd name="connsiteX178" fmla="*/ 220244 w 343592"/>
                  <a:gd name="connsiteY178" fmla="*/ 60924 h 345002"/>
                  <a:gd name="connsiteX179" fmla="*/ 220773 w 343592"/>
                  <a:gd name="connsiteY179" fmla="*/ 59514 h 345002"/>
                  <a:gd name="connsiteX180" fmla="*/ 221391 w 343592"/>
                  <a:gd name="connsiteY180" fmla="*/ 57133 h 345002"/>
                  <a:gd name="connsiteX181" fmla="*/ 223419 w 343592"/>
                  <a:gd name="connsiteY181" fmla="*/ 57133 h 345002"/>
                  <a:gd name="connsiteX182" fmla="*/ 224300 w 343592"/>
                  <a:gd name="connsiteY182" fmla="*/ 55105 h 345002"/>
                  <a:gd name="connsiteX183" fmla="*/ 225182 w 343592"/>
                  <a:gd name="connsiteY183" fmla="*/ 53342 h 345002"/>
                  <a:gd name="connsiteX184" fmla="*/ 225799 w 343592"/>
                  <a:gd name="connsiteY184" fmla="*/ 50168 h 345002"/>
                  <a:gd name="connsiteX185" fmla="*/ 224036 w 343592"/>
                  <a:gd name="connsiteY185" fmla="*/ 48140 h 345002"/>
                  <a:gd name="connsiteX186" fmla="*/ 222890 w 343592"/>
                  <a:gd name="connsiteY186" fmla="*/ 45230 h 345002"/>
                  <a:gd name="connsiteX187" fmla="*/ 221126 w 343592"/>
                  <a:gd name="connsiteY187" fmla="*/ 44349 h 345002"/>
                  <a:gd name="connsiteX188" fmla="*/ 220773 w 343592"/>
                  <a:gd name="connsiteY188" fmla="*/ 41439 h 345002"/>
                  <a:gd name="connsiteX189" fmla="*/ 219892 w 343592"/>
                  <a:gd name="connsiteY189" fmla="*/ 39676 h 345002"/>
                  <a:gd name="connsiteX190" fmla="*/ 219627 w 343592"/>
                  <a:gd name="connsiteY190" fmla="*/ 37648 h 345002"/>
                  <a:gd name="connsiteX191" fmla="*/ 219892 w 343592"/>
                  <a:gd name="connsiteY191" fmla="*/ 34738 h 345002"/>
                  <a:gd name="connsiteX192" fmla="*/ 219627 w 343592"/>
                  <a:gd name="connsiteY192" fmla="*/ 32093 h 345002"/>
                  <a:gd name="connsiteX193" fmla="*/ 219627 w 343592"/>
                  <a:gd name="connsiteY193" fmla="*/ 28038 h 345002"/>
                  <a:gd name="connsiteX194" fmla="*/ 219892 w 343592"/>
                  <a:gd name="connsiteY194" fmla="*/ 25657 h 345002"/>
                  <a:gd name="connsiteX195" fmla="*/ 221126 w 343592"/>
                  <a:gd name="connsiteY195" fmla="*/ 23012 h 345002"/>
                  <a:gd name="connsiteX196" fmla="*/ 224300 w 343592"/>
                  <a:gd name="connsiteY196" fmla="*/ 20984 h 345002"/>
                  <a:gd name="connsiteX197" fmla="*/ 225446 w 343592"/>
                  <a:gd name="connsiteY197" fmla="*/ 24511 h 345002"/>
                  <a:gd name="connsiteX198" fmla="*/ 227563 w 343592"/>
                  <a:gd name="connsiteY198" fmla="*/ 24511 h 345002"/>
                  <a:gd name="connsiteX199" fmla="*/ 228709 w 343592"/>
                  <a:gd name="connsiteY199" fmla="*/ 23894 h 345002"/>
                  <a:gd name="connsiteX200" fmla="*/ 228092 w 343592"/>
                  <a:gd name="connsiteY200" fmla="*/ 20720 h 345002"/>
                  <a:gd name="connsiteX201" fmla="*/ 226681 w 343592"/>
                  <a:gd name="connsiteY201" fmla="*/ 19221 h 345002"/>
                  <a:gd name="connsiteX202" fmla="*/ 226945 w 343592"/>
                  <a:gd name="connsiteY202" fmla="*/ 18075 h 345002"/>
                  <a:gd name="connsiteX203" fmla="*/ 227827 w 343592"/>
                  <a:gd name="connsiteY203" fmla="*/ 16664 h 345002"/>
                  <a:gd name="connsiteX204" fmla="*/ 229590 w 343592"/>
                  <a:gd name="connsiteY204" fmla="*/ 17457 h 345002"/>
                  <a:gd name="connsiteX205" fmla="*/ 231001 w 343592"/>
                  <a:gd name="connsiteY205" fmla="*/ 16311 h 345002"/>
                  <a:gd name="connsiteX206" fmla="*/ 233911 w 343592"/>
                  <a:gd name="connsiteY206" fmla="*/ 16664 h 345002"/>
                  <a:gd name="connsiteX207" fmla="*/ 232500 w 343592"/>
                  <a:gd name="connsiteY207" fmla="*/ 15165 h 345002"/>
                  <a:gd name="connsiteX208" fmla="*/ 231883 w 343592"/>
                  <a:gd name="connsiteY208" fmla="*/ 12255 h 345002"/>
                  <a:gd name="connsiteX209" fmla="*/ 232764 w 343592"/>
                  <a:gd name="connsiteY209" fmla="*/ 11638 h 345002"/>
                  <a:gd name="connsiteX210" fmla="*/ 233646 w 343592"/>
                  <a:gd name="connsiteY210" fmla="*/ 11638 h 345002"/>
                  <a:gd name="connsiteX211" fmla="*/ 234528 w 343592"/>
                  <a:gd name="connsiteY211" fmla="*/ 12873 h 345002"/>
                  <a:gd name="connsiteX212" fmla="*/ 235674 w 343592"/>
                  <a:gd name="connsiteY212" fmla="*/ 13137 h 345002"/>
                  <a:gd name="connsiteX213" fmla="*/ 237173 w 343592"/>
                  <a:gd name="connsiteY213" fmla="*/ 14548 h 345002"/>
                  <a:gd name="connsiteX214" fmla="*/ 238936 w 343592"/>
                  <a:gd name="connsiteY214" fmla="*/ 14283 h 345002"/>
                  <a:gd name="connsiteX215" fmla="*/ 242110 w 343592"/>
                  <a:gd name="connsiteY215" fmla="*/ 12520 h 345002"/>
                  <a:gd name="connsiteX216" fmla="*/ 244138 w 343592"/>
                  <a:gd name="connsiteY216" fmla="*/ 11638 h 345002"/>
                  <a:gd name="connsiteX217" fmla="*/ 246519 w 343592"/>
                  <a:gd name="connsiteY217" fmla="*/ 10757 h 345002"/>
                  <a:gd name="connsiteX218" fmla="*/ 247929 w 343592"/>
                  <a:gd name="connsiteY218" fmla="*/ 11374 h 345002"/>
                  <a:gd name="connsiteX219" fmla="*/ 249076 w 343592"/>
                  <a:gd name="connsiteY219" fmla="*/ 11638 h 345002"/>
                  <a:gd name="connsiteX220" fmla="*/ 250839 w 343592"/>
                  <a:gd name="connsiteY220" fmla="*/ 11109 h 345002"/>
                  <a:gd name="connsiteX221" fmla="*/ 252955 w 343592"/>
                  <a:gd name="connsiteY221" fmla="*/ 10492 h 345002"/>
                  <a:gd name="connsiteX222" fmla="*/ 251985 w 343592"/>
                  <a:gd name="connsiteY222" fmla="*/ 9610 h 345002"/>
                  <a:gd name="connsiteX223" fmla="*/ 252338 w 343592"/>
                  <a:gd name="connsiteY223" fmla="*/ 8729 h 345002"/>
                  <a:gd name="connsiteX224" fmla="*/ 250574 w 343592"/>
                  <a:gd name="connsiteY224" fmla="*/ 6965 h 345002"/>
                  <a:gd name="connsiteX225" fmla="*/ 251985 w 343592"/>
                  <a:gd name="connsiteY225" fmla="*/ 6436 h 345002"/>
                  <a:gd name="connsiteX226" fmla="*/ 253749 w 343592"/>
                  <a:gd name="connsiteY226" fmla="*/ 6436 h 345002"/>
                  <a:gd name="connsiteX227" fmla="*/ 255512 w 343592"/>
                  <a:gd name="connsiteY227" fmla="*/ 7318 h 345002"/>
                  <a:gd name="connsiteX228" fmla="*/ 255247 w 343592"/>
                  <a:gd name="connsiteY228" fmla="*/ 8200 h 345002"/>
                  <a:gd name="connsiteX229" fmla="*/ 254366 w 343592"/>
                  <a:gd name="connsiteY229" fmla="*/ 11109 h 345002"/>
                  <a:gd name="connsiteX230" fmla="*/ 255865 w 343592"/>
                  <a:gd name="connsiteY230" fmla="*/ 10492 h 345002"/>
                  <a:gd name="connsiteX231" fmla="*/ 257275 w 343592"/>
                  <a:gd name="connsiteY231" fmla="*/ 9081 h 345002"/>
                  <a:gd name="connsiteX232" fmla="*/ 256658 w 343592"/>
                  <a:gd name="connsiteY232" fmla="*/ 7847 h 345002"/>
                  <a:gd name="connsiteX233" fmla="*/ 259038 w 343592"/>
                  <a:gd name="connsiteY233" fmla="*/ 7582 h 345002"/>
                  <a:gd name="connsiteX234" fmla="*/ 261331 w 343592"/>
                  <a:gd name="connsiteY234" fmla="*/ 7847 h 345002"/>
                  <a:gd name="connsiteX235" fmla="*/ 262213 w 343592"/>
                  <a:gd name="connsiteY235" fmla="*/ 6701 h 345002"/>
                  <a:gd name="connsiteX236" fmla="*/ 263447 w 343592"/>
                  <a:gd name="connsiteY236" fmla="*/ 6701 h 345002"/>
                  <a:gd name="connsiteX237" fmla="*/ 265475 w 343592"/>
                  <a:gd name="connsiteY237" fmla="*/ 7582 h 345002"/>
                  <a:gd name="connsiteX238" fmla="*/ 265122 w 343592"/>
                  <a:gd name="connsiteY238" fmla="*/ 6965 h 345002"/>
                  <a:gd name="connsiteX239" fmla="*/ 266004 w 343592"/>
                  <a:gd name="connsiteY239" fmla="*/ 7318 h 345002"/>
                  <a:gd name="connsiteX240" fmla="*/ 267150 w 343592"/>
                  <a:gd name="connsiteY240" fmla="*/ 7318 h 345002"/>
                  <a:gd name="connsiteX241" fmla="*/ 268385 w 343592"/>
                  <a:gd name="connsiteY241" fmla="*/ 8464 h 345002"/>
                  <a:gd name="connsiteX242" fmla="*/ 269795 w 343592"/>
                  <a:gd name="connsiteY242" fmla="*/ 8729 h 345002"/>
                  <a:gd name="connsiteX243" fmla="*/ 271294 w 343592"/>
                  <a:gd name="connsiteY243" fmla="*/ 8464 h 345002"/>
                  <a:gd name="connsiteX244" fmla="*/ 272705 w 343592"/>
                  <a:gd name="connsiteY244" fmla="*/ 8200 h 345002"/>
                  <a:gd name="connsiteX245" fmla="*/ 273586 w 343592"/>
                  <a:gd name="connsiteY245" fmla="*/ 9346 h 345002"/>
                  <a:gd name="connsiteX246" fmla="*/ 275085 w 343592"/>
                  <a:gd name="connsiteY246" fmla="*/ 9346 h 345002"/>
                  <a:gd name="connsiteX247" fmla="*/ 275085 w 343592"/>
                  <a:gd name="connsiteY247" fmla="*/ 11109 h 345002"/>
                  <a:gd name="connsiteX248" fmla="*/ 276231 w 343592"/>
                  <a:gd name="connsiteY248" fmla="*/ 11109 h 345002"/>
                  <a:gd name="connsiteX249" fmla="*/ 277730 w 343592"/>
                  <a:gd name="connsiteY249" fmla="*/ 12255 h 345002"/>
                  <a:gd name="connsiteX250" fmla="*/ 279406 w 343592"/>
                  <a:gd name="connsiteY250" fmla="*/ 11638 h 345002"/>
                  <a:gd name="connsiteX251" fmla="*/ 280640 w 343592"/>
                  <a:gd name="connsiteY251" fmla="*/ 12520 h 345002"/>
                  <a:gd name="connsiteX252" fmla="*/ 282932 w 343592"/>
                  <a:gd name="connsiteY252" fmla="*/ 13137 h 345002"/>
                  <a:gd name="connsiteX253" fmla="*/ 285313 w 343592"/>
                  <a:gd name="connsiteY253" fmla="*/ 13666 h 345002"/>
                  <a:gd name="connsiteX254" fmla="*/ 286459 w 343592"/>
                  <a:gd name="connsiteY254" fmla="*/ 14019 h 345002"/>
                  <a:gd name="connsiteX255" fmla="*/ 287076 w 343592"/>
                  <a:gd name="connsiteY255" fmla="*/ 14548 h 345002"/>
                  <a:gd name="connsiteX256" fmla="*/ 287076 w 343592"/>
                  <a:gd name="connsiteY256" fmla="*/ 14900 h 345002"/>
                  <a:gd name="connsiteX257" fmla="*/ 287076 w 343592"/>
                  <a:gd name="connsiteY257" fmla="*/ 16047 h 345002"/>
                  <a:gd name="connsiteX258" fmla="*/ 287341 w 343592"/>
                  <a:gd name="connsiteY258" fmla="*/ 17810 h 345002"/>
                  <a:gd name="connsiteX259" fmla="*/ 288222 w 343592"/>
                  <a:gd name="connsiteY259" fmla="*/ 18692 h 345002"/>
                  <a:gd name="connsiteX260" fmla="*/ 287870 w 343592"/>
                  <a:gd name="connsiteY260" fmla="*/ 19838 h 345002"/>
                  <a:gd name="connsiteX261" fmla="*/ 288222 w 343592"/>
                  <a:gd name="connsiteY261" fmla="*/ 20102 h 345002"/>
                  <a:gd name="connsiteX262" fmla="*/ 287341 w 343592"/>
                  <a:gd name="connsiteY262" fmla="*/ 19838 h 345002"/>
                  <a:gd name="connsiteX263" fmla="*/ 287341 w 343592"/>
                  <a:gd name="connsiteY263" fmla="*/ 22483 h 345002"/>
                  <a:gd name="connsiteX264" fmla="*/ 287870 w 343592"/>
                  <a:gd name="connsiteY264" fmla="*/ 23629 h 345002"/>
                  <a:gd name="connsiteX265" fmla="*/ 289633 w 343592"/>
                  <a:gd name="connsiteY265" fmla="*/ 23629 h 345002"/>
                  <a:gd name="connsiteX266" fmla="*/ 290250 w 343592"/>
                  <a:gd name="connsiteY266" fmla="*/ 24246 h 345002"/>
                  <a:gd name="connsiteX267" fmla="*/ 290867 w 343592"/>
                  <a:gd name="connsiteY267" fmla="*/ 24775 h 345002"/>
                  <a:gd name="connsiteX268" fmla="*/ 291661 w 343592"/>
                  <a:gd name="connsiteY268" fmla="*/ 25657 h 345002"/>
                  <a:gd name="connsiteX269" fmla="*/ 292278 w 343592"/>
                  <a:gd name="connsiteY269" fmla="*/ 26539 h 345002"/>
                  <a:gd name="connsiteX270" fmla="*/ 292543 w 343592"/>
                  <a:gd name="connsiteY270" fmla="*/ 25657 h 345002"/>
                  <a:gd name="connsiteX271" fmla="*/ 292014 w 343592"/>
                  <a:gd name="connsiteY271" fmla="*/ 24775 h 345002"/>
                  <a:gd name="connsiteX272" fmla="*/ 293777 w 343592"/>
                  <a:gd name="connsiteY272" fmla="*/ 21249 h 345002"/>
                  <a:gd name="connsiteX273" fmla="*/ 295452 w 343592"/>
                  <a:gd name="connsiteY273" fmla="*/ 20102 h 345002"/>
                  <a:gd name="connsiteX274" fmla="*/ 295805 w 343592"/>
                  <a:gd name="connsiteY274" fmla="*/ 23629 h 345002"/>
                  <a:gd name="connsiteX275" fmla="*/ 293424 w 343592"/>
                  <a:gd name="connsiteY275" fmla="*/ 24775 h 345002"/>
                  <a:gd name="connsiteX276" fmla="*/ 294570 w 343592"/>
                  <a:gd name="connsiteY276" fmla="*/ 25657 h 345002"/>
                  <a:gd name="connsiteX277" fmla="*/ 294923 w 343592"/>
                  <a:gd name="connsiteY277" fmla="*/ 27156 h 345002"/>
                  <a:gd name="connsiteX278" fmla="*/ 296951 w 343592"/>
                  <a:gd name="connsiteY278" fmla="*/ 26803 h 345002"/>
                  <a:gd name="connsiteX279" fmla="*/ 298979 w 343592"/>
                  <a:gd name="connsiteY279" fmla="*/ 26539 h 345002"/>
                  <a:gd name="connsiteX280" fmla="*/ 301007 w 343592"/>
                  <a:gd name="connsiteY280" fmla="*/ 26274 h 345002"/>
                  <a:gd name="connsiteX281" fmla="*/ 303123 w 343592"/>
                  <a:gd name="connsiteY281" fmla="*/ 26274 h 345002"/>
                  <a:gd name="connsiteX282" fmla="*/ 305151 w 343592"/>
                  <a:gd name="connsiteY282" fmla="*/ 26803 h 345002"/>
                  <a:gd name="connsiteX283" fmla="*/ 306561 w 343592"/>
                  <a:gd name="connsiteY283" fmla="*/ 28302 h 345002"/>
                  <a:gd name="connsiteX284" fmla="*/ 306561 w 343592"/>
                  <a:gd name="connsiteY284" fmla="*/ 28567 h 345002"/>
                  <a:gd name="connsiteX285" fmla="*/ 306032 w 343592"/>
                  <a:gd name="connsiteY285" fmla="*/ 28919 h 345002"/>
                  <a:gd name="connsiteX286" fmla="*/ 306561 w 343592"/>
                  <a:gd name="connsiteY286" fmla="*/ 29184 h 345002"/>
                  <a:gd name="connsiteX287" fmla="*/ 307443 w 343592"/>
                  <a:gd name="connsiteY287" fmla="*/ 29184 h 345002"/>
                  <a:gd name="connsiteX288" fmla="*/ 308589 w 343592"/>
                  <a:gd name="connsiteY288" fmla="*/ 30065 h 345002"/>
                  <a:gd name="connsiteX289" fmla="*/ 309206 w 343592"/>
                  <a:gd name="connsiteY289" fmla="*/ 30330 h 345002"/>
                  <a:gd name="connsiteX290" fmla="*/ 310617 w 343592"/>
                  <a:gd name="connsiteY290" fmla="*/ 32093 h 345002"/>
                  <a:gd name="connsiteX291" fmla="*/ 312381 w 343592"/>
                  <a:gd name="connsiteY291" fmla="*/ 32975 h 345002"/>
                  <a:gd name="connsiteX292" fmla="*/ 313262 w 343592"/>
                  <a:gd name="connsiteY292" fmla="*/ 31829 h 345002"/>
                  <a:gd name="connsiteX293" fmla="*/ 313262 w 343592"/>
                  <a:gd name="connsiteY293" fmla="*/ 30330 h 345002"/>
                  <a:gd name="connsiteX294" fmla="*/ 314408 w 343592"/>
                  <a:gd name="connsiteY294" fmla="*/ 30330 h 345002"/>
                  <a:gd name="connsiteX295" fmla="*/ 315907 w 343592"/>
                  <a:gd name="connsiteY295" fmla="*/ 29448 h 345002"/>
                  <a:gd name="connsiteX296" fmla="*/ 317406 w 343592"/>
                  <a:gd name="connsiteY296" fmla="*/ 29801 h 345002"/>
                  <a:gd name="connsiteX297" fmla="*/ 318817 w 343592"/>
                  <a:gd name="connsiteY297" fmla="*/ 30947 h 345002"/>
                  <a:gd name="connsiteX298" fmla="*/ 319081 w 343592"/>
                  <a:gd name="connsiteY298" fmla="*/ 29801 h 345002"/>
                  <a:gd name="connsiteX299" fmla="*/ 319963 w 343592"/>
                  <a:gd name="connsiteY299" fmla="*/ 30330 h 345002"/>
                  <a:gd name="connsiteX300" fmla="*/ 320845 w 343592"/>
                  <a:gd name="connsiteY300" fmla="*/ 29801 h 345002"/>
                  <a:gd name="connsiteX301" fmla="*/ 322344 w 343592"/>
                  <a:gd name="connsiteY301" fmla="*/ 29801 h 345002"/>
                  <a:gd name="connsiteX302" fmla="*/ 325253 w 343592"/>
                  <a:gd name="connsiteY302" fmla="*/ 30947 h 345002"/>
                  <a:gd name="connsiteX303" fmla="*/ 327016 w 343592"/>
                  <a:gd name="connsiteY303" fmla="*/ 30594 h 345002"/>
                  <a:gd name="connsiteX304" fmla="*/ 327898 w 343592"/>
                  <a:gd name="connsiteY304" fmla="*/ 31212 h 345002"/>
                  <a:gd name="connsiteX305" fmla="*/ 329044 w 343592"/>
                  <a:gd name="connsiteY305" fmla="*/ 32975 h 345002"/>
                  <a:gd name="connsiteX306" fmla="*/ 329044 w 343592"/>
                  <a:gd name="connsiteY306" fmla="*/ 34386 h 345002"/>
                  <a:gd name="connsiteX307" fmla="*/ 331072 w 343592"/>
                  <a:gd name="connsiteY307" fmla="*/ 37031 h 345002"/>
                  <a:gd name="connsiteX308" fmla="*/ 331954 w 343592"/>
                  <a:gd name="connsiteY308" fmla="*/ 39059 h 345002"/>
                  <a:gd name="connsiteX309" fmla="*/ 330455 w 343592"/>
                  <a:gd name="connsiteY309" fmla="*/ 40822 h 345002"/>
                  <a:gd name="connsiteX310" fmla="*/ 329573 w 343592"/>
                  <a:gd name="connsiteY310" fmla="*/ 42850 h 345002"/>
                  <a:gd name="connsiteX311" fmla="*/ 327281 w 343592"/>
                  <a:gd name="connsiteY311" fmla="*/ 45230 h 345002"/>
                  <a:gd name="connsiteX312" fmla="*/ 327016 w 343592"/>
                  <a:gd name="connsiteY312" fmla="*/ 49551 h 345002"/>
                  <a:gd name="connsiteX313" fmla="*/ 327016 w 343592"/>
                  <a:gd name="connsiteY313" fmla="*/ 51931 h 345002"/>
                  <a:gd name="connsiteX314" fmla="*/ 327898 w 343592"/>
                  <a:gd name="connsiteY314" fmla="*/ 54841 h 345002"/>
                  <a:gd name="connsiteX315" fmla="*/ 330808 w 343592"/>
                  <a:gd name="connsiteY315" fmla="*/ 61277 h 345002"/>
                  <a:gd name="connsiteX316" fmla="*/ 329573 w 343592"/>
                  <a:gd name="connsiteY316" fmla="*/ 67625 h 345002"/>
                  <a:gd name="connsiteX317" fmla="*/ 328427 w 343592"/>
                  <a:gd name="connsiteY317" fmla="*/ 69124 h 345002"/>
                  <a:gd name="connsiteX318" fmla="*/ 326135 w 343592"/>
                  <a:gd name="connsiteY318" fmla="*/ 72034 h 345002"/>
                  <a:gd name="connsiteX319" fmla="*/ 325253 w 343592"/>
                  <a:gd name="connsiteY319" fmla="*/ 74679 h 345002"/>
                  <a:gd name="connsiteX320" fmla="*/ 325253 w 343592"/>
                  <a:gd name="connsiteY320" fmla="*/ 76706 h 345002"/>
                  <a:gd name="connsiteX321" fmla="*/ 327545 w 343592"/>
                  <a:gd name="connsiteY321" fmla="*/ 82261 h 345002"/>
                  <a:gd name="connsiteX322" fmla="*/ 328163 w 343592"/>
                  <a:gd name="connsiteY322" fmla="*/ 85788 h 345002"/>
                  <a:gd name="connsiteX323" fmla="*/ 329573 w 343592"/>
                  <a:gd name="connsiteY323" fmla="*/ 88962 h 345002"/>
                  <a:gd name="connsiteX324" fmla="*/ 329926 w 343592"/>
                  <a:gd name="connsiteY324" fmla="*/ 93018 h 345002"/>
                  <a:gd name="connsiteX325" fmla="*/ 332836 w 343592"/>
                  <a:gd name="connsiteY325" fmla="*/ 99454 h 345002"/>
                  <a:gd name="connsiteX326" fmla="*/ 341829 w 343592"/>
                  <a:gd name="connsiteY326" fmla="*/ 279670 h 345002"/>
                  <a:gd name="connsiteX327" fmla="*/ 343592 w 343592"/>
                  <a:gd name="connsiteY327" fmla="*/ 329309 h 345002"/>
                  <a:gd name="connsiteX328" fmla="*/ 321991 w 343592"/>
                  <a:gd name="connsiteY328" fmla="*/ 328427 h 345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43592" h="345002">
                    <a:moveTo>
                      <a:pt x="322873" y="345003"/>
                    </a:moveTo>
                    <a:lnTo>
                      <a:pt x="210899" y="282668"/>
                    </a:lnTo>
                    <a:lnTo>
                      <a:pt x="142921" y="247665"/>
                    </a:lnTo>
                    <a:lnTo>
                      <a:pt x="126610" y="255512"/>
                    </a:lnTo>
                    <a:lnTo>
                      <a:pt x="109681" y="264505"/>
                    </a:lnTo>
                    <a:lnTo>
                      <a:pt x="96015" y="253749"/>
                    </a:lnTo>
                    <a:lnTo>
                      <a:pt x="61541" y="242992"/>
                    </a:lnTo>
                    <a:lnTo>
                      <a:pt x="51049" y="222537"/>
                    </a:lnTo>
                    <a:lnTo>
                      <a:pt x="39411" y="218129"/>
                    </a:lnTo>
                    <a:lnTo>
                      <a:pt x="33239" y="215572"/>
                    </a:lnTo>
                    <a:lnTo>
                      <a:pt x="28037" y="217864"/>
                    </a:lnTo>
                    <a:lnTo>
                      <a:pt x="26274" y="217864"/>
                    </a:lnTo>
                    <a:lnTo>
                      <a:pt x="23012" y="214955"/>
                    </a:lnTo>
                    <a:lnTo>
                      <a:pt x="22218" y="211163"/>
                    </a:lnTo>
                    <a:lnTo>
                      <a:pt x="18956" y="208871"/>
                    </a:lnTo>
                    <a:lnTo>
                      <a:pt x="18074" y="197145"/>
                    </a:lnTo>
                    <a:lnTo>
                      <a:pt x="4144" y="176160"/>
                    </a:lnTo>
                    <a:lnTo>
                      <a:pt x="4408" y="174397"/>
                    </a:lnTo>
                    <a:lnTo>
                      <a:pt x="4937" y="172634"/>
                    </a:lnTo>
                    <a:lnTo>
                      <a:pt x="6436" y="172369"/>
                    </a:lnTo>
                    <a:lnTo>
                      <a:pt x="6701" y="171223"/>
                    </a:lnTo>
                    <a:lnTo>
                      <a:pt x="9346" y="170077"/>
                    </a:lnTo>
                    <a:lnTo>
                      <a:pt x="14019" y="167167"/>
                    </a:lnTo>
                    <a:lnTo>
                      <a:pt x="15782" y="163023"/>
                    </a:lnTo>
                    <a:lnTo>
                      <a:pt x="14283" y="162759"/>
                    </a:lnTo>
                    <a:lnTo>
                      <a:pt x="14636" y="158703"/>
                    </a:lnTo>
                    <a:lnTo>
                      <a:pt x="13137" y="158086"/>
                    </a:lnTo>
                    <a:lnTo>
                      <a:pt x="12255" y="153678"/>
                    </a:lnTo>
                    <a:lnTo>
                      <a:pt x="11374" y="150768"/>
                    </a:lnTo>
                    <a:lnTo>
                      <a:pt x="10492" y="146448"/>
                    </a:lnTo>
                    <a:lnTo>
                      <a:pt x="11109" y="144420"/>
                    </a:lnTo>
                    <a:lnTo>
                      <a:pt x="12873" y="142921"/>
                    </a:lnTo>
                    <a:lnTo>
                      <a:pt x="11991" y="141158"/>
                    </a:lnTo>
                    <a:lnTo>
                      <a:pt x="13401" y="140276"/>
                    </a:lnTo>
                    <a:lnTo>
                      <a:pt x="15429" y="133840"/>
                    </a:lnTo>
                    <a:lnTo>
                      <a:pt x="10845" y="123965"/>
                    </a:lnTo>
                    <a:lnTo>
                      <a:pt x="12520" y="109946"/>
                    </a:lnTo>
                    <a:lnTo>
                      <a:pt x="12520" y="106155"/>
                    </a:lnTo>
                    <a:lnTo>
                      <a:pt x="11638" y="101482"/>
                    </a:lnTo>
                    <a:lnTo>
                      <a:pt x="9610" y="94517"/>
                    </a:lnTo>
                    <a:lnTo>
                      <a:pt x="7847" y="89844"/>
                    </a:lnTo>
                    <a:lnTo>
                      <a:pt x="5819" y="85788"/>
                    </a:lnTo>
                    <a:lnTo>
                      <a:pt x="2909" y="80498"/>
                    </a:lnTo>
                    <a:lnTo>
                      <a:pt x="0" y="76971"/>
                    </a:lnTo>
                    <a:lnTo>
                      <a:pt x="4937" y="74061"/>
                    </a:lnTo>
                    <a:lnTo>
                      <a:pt x="9081" y="71769"/>
                    </a:lnTo>
                    <a:lnTo>
                      <a:pt x="9610" y="70270"/>
                    </a:lnTo>
                    <a:lnTo>
                      <a:pt x="12255" y="71416"/>
                    </a:lnTo>
                    <a:lnTo>
                      <a:pt x="15782" y="66832"/>
                    </a:lnTo>
                    <a:lnTo>
                      <a:pt x="17810" y="63569"/>
                    </a:lnTo>
                    <a:lnTo>
                      <a:pt x="18956" y="62423"/>
                    </a:lnTo>
                    <a:lnTo>
                      <a:pt x="20455" y="57750"/>
                    </a:lnTo>
                    <a:lnTo>
                      <a:pt x="19309" y="55370"/>
                    </a:lnTo>
                    <a:lnTo>
                      <a:pt x="19838" y="54224"/>
                    </a:lnTo>
                    <a:lnTo>
                      <a:pt x="17193" y="45848"/>
                    </a:lnTo>
                    <a:lnTo>
                      <a:pt x="17545" y="43467"/>
                    </a:lnTo>
                    <a:lnTo>
                      <a:pt x="18956" y="42585"/>
                    </a:lnTo>
                    <a:lnTo>
                      <a:pt x="19573" y="41704"/>
                    </a:lnTo>
                    <a:lnTo>
                      <a:pt x="19838" y="40293"/>
                    </a:lnTo>
                    <a:lnTo>
                      <a:pt x="20455" y="39059"/>
                    </a:lnTo>
                    <a:lnTo>
                      <a:pt x="21866" y="39059"/>
                    </a:lnTo>
                    <a:lnTo>
                      <a:pt x="23012" y="38530"/>
                    </a:lnTo>
                    <a:lnTo>
                      <a:pt x="23365" y="37295"/>
                    </a:lnTo>
                    <a:lnTo>
                      <a:pt x="24775" y="36149"/>
                    </a:lnTo>
                    <a:lnTo>
                      <a:pt x="26010" y="35003"/>
                    </a:lnTo>
                    <a:lnTo>
                      <a:pt x="26538" y="34121"/>
                    </a:lnTo>
                    <a:lnTo>
                      <a:pt x="26274" y="32975"/>
                    </a:lnTo>
                    <a:lnTo>
                      <a:pt x="26010" y="31476"/>
                    </a:lnTo>
                    <a:lnTo>
                      <a:pt x="26538" y="30594"/>
                    </a:lnTo>
                    <a:lnTo>
                      <a:pt x="27156" y="30065"/>
                    </a:lnTo>
                    <a:lnTo>
                      <a:pt x="27420" y="31476"/>
                    </a:lnTo>
                    <a:lnTo>
                      <a:pt x="28037" y="32093"/>
                    </a:lnTo>
                    <a:lnTo>
                      <a:pt x="28566" y="31829"/>
                    </a:lnTo>
                    <a:lnTo>
                      <a:pt x="28919" y="30330"/>
                    </a:lnTo>
                    <a:lnTo>
                      <a:pt x="29448" y="30065"/>
                    </a:lnTo>
                    <a:lnTo>
                      <a:pt x="30065" y="30330"/>
                    </a:lnTo>
                    <a:lnTo>
                      <a:pt x="31829" y="27156"/>
                    </a:lnTo>
                    <a:lnTo>
                      <a:pt x="35003" y="26010"/>
                    </a:lnTo>
                    <a:lnTo>
                      <a:pt x="39147" y="24511"/>
                    </a:lnTo>
                    <a:lnTo>
                      <a:pt x="41439" y="23365"/>
                    </a:lnTo>
                    <a:lnTo>
                      <a:pt x="42850" y="21866"/>
                    </a:lnTo>
                    <a:lnTo>
                      <a:pt x="44966" y="19838"/>
                    </a:lnTo>
                    <a:lnTo>
                      <a:pt x="46376" y="18427"/>
                    </a:lnTo>
                    <a:lnTo>
                      <a:pt x="45847" y="17810"/>
                    </a:lnTo>
                    <a:lnTo>
                      <a:pt x="45230" y="16928"/>
                    </a:lnTo>
                    <a:lnTo>
                      <a:pt x="44349" y="16311"/>
                    </a:lnTo>
                    <a:lnTo>
                      <a:pt x="43202" y="14548"/>
                    </a:lnTo>
                    <a:lnTo>
                      <a:pt x="43467" y="9963"/>
                    </a:lnTo>
                    <a:lnTo>
                      <a:pt x="43202" y="8200"/>
                    </a:lnTo>
                    <a:lnTo>
                      <a:pt x="43820" y="2028"/>
                    </a:lnTo>
                    <a:lnTo>
                      <a:pt x="45230" y="1763"/>
                    </a:lnTo>
                    <a:lnTo>
                      <a:pt x="45847" y="2645"/>
                    </a:lnTo>
                    <a:lnTo>
                      <a:pt x="46994" y="3174"/>
                    </a:lnTo>
                    <a:lnTo>
                      <a:pt x="49286" y="3527"/>
                    </a:lnTo>
                    <a:lnTo>
                      <a:pt x="49022" y="2645"/>
                    </a:lnTo>
                    <a:lnTo>
                      <a:pt x="49639" y="2645"/>
                    </a:lnTo>
                    <a:lnTo>
                      <a:pt x="51667" y="3791"/>
                    </a:lnTo>
                    <a:lnTo>
                      <a:pt x="48140" y="0"/>
                    </a:lnTo>
                    <a:lnTo>
                      <a:pt x="50785" y="264"/>
                    </a:lnTo>
                    <a:lnTo>
                      <a:pt x="54311" y="2028"/>
                    </a:lnTo>
                    <a:lnTo>
                      <a:pt x="55458" y="3527"/>
                    </a:lnTo>
                    <a:lnTo>
                      <a:pt x="58896" y="5555"/>
                    </a:lnTo>
                    <a:lnTo>
                      <a:pt x="57750" y="6436"/>
                    </a:lnTo>
                    <a:lnTo>
                      <a:pt x="57221" y="7582"/>
                    </a:lnTo>
                    <a:lnTo>
                      <a:pt x="59249" y="7847"/>
                    </a:lnTo>
                    <a:lnTo>
                      <a:pt x="61277" y="9963"/>
                    </a:lnTo>
                    <a:lnTo>
                      <a:pt x="66214" y="10492"/>
                    </a:lnTo>
                    <a:lnTo>
                      <a:pt x="71504" y="10492"/>
                    </a:lnTo>
                    <a:lnTo>
                      <a:pt x="73268" y="9346"/>
                    </a:lnTo>
                    <a:lnTo>
                      <a:pt x="74943" y="9346"/>
                    </a:lnTo>
                    <a:lnTo>
                      <a:pt x="77588" y="8464"/>
                    </a:lnTo>
                    <a:lnTo>
                      <a:pt x="78734" y="7582"/>
                    </a:lnTo>
                    <a:lnTo>
                      <a:pt x="80850" y="7582"/>
                    </a:lnTo>
                    <a:lnTo>
                      <a:pt x="82878" y="7847"/>
                    </a:lnTo>
                    <a:lnTo>
                      <a:pt x="84024" y="9346"/>
                    </a:lnTo>
                    <a:lnTo>
                      <a:pt x="87816" y="10492"/>
                    </a:lnTo>
                    <a:lnTo>
                      <a:pt x="91871" y="10492"/>
                    </a:lnTo>
                    <a:lnTo>
                      <a:pt x="94252" y="11638"/>
                    </a:lnTo>
                    <a:lnTo>
                      <a:pt x="96809" y="12520"/>
                    </a:lnTo>
                    <a:lnTo>
                      <a:pt x="100335" y="13137"/>
                    </a:lnTo>
                    <a:lnTo>
                      <a:pt x="101834" y="13666"/>
                    </a:lnTo>
                    <a:lnTo>
                      <a:pt x="102981" y="14548"/>
                    </a:lnTo>
                    <a:lnTo>
                      <a:pt x="105890" y="16928"/>
                    </a:lnTo>
                    <a:lnTo>
                      <a:pt x="107301" y="17810"/>
                    </a:lnTo>
                    <a:lnTo>
                      <a:pt x="110298" y="18427"/>
                    </a:lnTo>
                    <a:lnTo>
                      <a:pt x="112062" y="19221"/>
                    </a:lnTo>
                    <a:lnTo>
                      <a:pt x="115853" y="19838"/>
                    </a:lnTo>
                    <a:lnTo>
                      <a:pt x="121320" y="20102"/>
                    </a:lnTo>
                    <a:lnTo>
                      <a:pt x="123700" y="22483"/>
                    </a:lnTo>
                    <a:lnTo>
                      <a:pt x="124229" y="24775"/>
                    </a:lnTo>
                    <a:lnTo>
                      <a:pt x="125728" y="26274"/>
                    </a:lnTo>
                    <a:lnTo>
                      <a:pt x="125728" y="28567"/>
                    </a:lnTo>
                    <a:lnTo>
                      <a:pt x="125111" y="29801"/>
                    </a:lnTo>
                    <a:lnTo>
                      <a:pt x="125728" y="31212"/>
                    </a:lnTo>
                    <a:lnTo>
                      <a:pt x="126874" y="31829"/>
                    </a:lnTo>
                    <a:lnTo>
                      <a:pt x="129784" y="30594"/>
                    </a:lnTo>
                    <a:lnTo>
                      <a:pt x="131900" y="30594"/>
                    </a:lnTo>
                    <a:lnTo>
                      <a:pt x="131018" y="31829"/>
                    </a:lnTo>
                    <a:lnTo>
                      <a:pt x="131283" y="34121"/>
                    </a:lnTo>
                    <a:lnTo>
                      <a:pt x="131018" y="35620"/>
                    </a:lnTo>
                    <a:lnTo>
                      <a:pt x="129255" y="39059"/>
                    </a:lnTo>
                    <a:lnTo>
                      <a:pt x="131547" y="43202"/>
                    </a:lnTo>
                    <a:lnTo>
                      <a:pt x="133046" y="44349"/>
                    </a:lnTo>
                    <a:lnTo>
                      <a:pt x="138248" y="47876"/>
                    </a:lnTo>
                    <a:lnTo>
                      <a:pt x="141775" y="48669"/>
                    </a:lnTo>
                    <a:lnTo>
                      <a:pt x="145301" y="49551"/>
                    </a:lnTo>
                    <a:lnTo>
                      <a:pt x="149092" y="52460"/>
                    </a:lnTo>
                    <a:lnTo>
                      <a:pt x="150856" y="52813"/>
                    </a:lnTo>
                    <a:lnTo>
                      <a:pt x="152267" y="51314"/>
                    </a:lnTo>
                    <a:lnTo>
                      <a:pt x="156058" y="50168"/>
                    </a:lnTo>
                    <a:lnTo>
                      <a:pt x="159849" y="51314"/>
                    </a:lnTo>
                    <a:lnTo>
                      <a:pt x="164257" y="52460"/>
                    </a:lnTo>
                    <a:lnTo>
                      <a:pt x="169195" y="53695"/>
                    </a:lnTo>
                    <a:lnTo>
                      <a:pt x="171223" y="54841"/>
                    </a:lnTo>
                    <a:lnTo>
                      <a:pt x="174133" y="55370"/>
                    </a:lnTo>
                    <a:lnTo>
                      <a:pt x="177659" y="57133"/>
                    </a:lnTo>
                    <a:lnTo>
                      <a:pt x="179422" y="57486"/>
                    </a:lnTo>
                    <a:lnTo>
                      <a:pt x="181186" y="59249"/>
                    </a:lnTo>
                    <a:lnTo>
                      <a:pt x="183214" y="59514"/>
                    </a:lnTo>
                    <a:lnTo>
                      <a:pt x="184360" y="59778"/>
                    </a:lnTo>
                    <a:lnTo>
                      <a:pt x="186652" y="60924"/>
                    </a:lnTo>
                    <a:lnTo>
                      <a:pt x="189298" y="64187"/>
                    </a:lnTo>
                    <a:lnTo>
                      <a:pt x="194587" y="67625"/>
                    </a:lnTo>
                    <a:lnTo>
                      <a:pt x="195469" y="68242"/>
                    </a:lnTo>
                    <a:lnTo>
                      <a:pt x="196351" y="68859"/>
                    </a:lnTo>
                    <a:lnTo>
                      <a:pt x="198114" y="70887"/>
                    </a:lnTo>
                    <a:lnTo>
                      <a:pt x="198643" y="71152"/>
                    </a:lnTo>
                    <a:lnTo>
                      <a:pt x="202170" y="71152"/>
                    </a:lnTo>
                    <a:lnTo>
                      <a:pt x="202699" y="72915"/>
                    </a:lnTo>
                    <a:lnTo>
                      <a:pt x="203933" y="73532"/>
                    </a:lnTo>
                    <a:lnTo>
                      <a:pt x="207107" y="74061"/>
                    </a:lnTo>
                    <a:lnTo>
                      <a:pt x="208518" y="71769"/>
                    </a:lnTo>
                    <a:lnTo>
                      <a:pt x="210017" y="70270"/>
                    </a:lnTo>
                    <a:lnTo>
                      <a:pt x="211780" y="69388"/>
                    </a:lnTo>
                    <a:lnTo>
                      <a:pt x="215572" y="67096"/>
                    </a:lnTo>
                    <a:lnTo>
                      <a:pt x="216453" y="66832"/>
                    </a:lnTo>
                    <a:lnTo>
                      <a:pt x="218481" y="63569"/>
                    </a:lnTo>
                    <a:lnTo>
                      <a:pt x="219363" y="62423"/>
                    </a:lnTo>
                    <a:lnTo>
                      <a:pt x="220244" y="60924"/>
                    </a:lnTo>
                    <a:lnTo>
                      <a:pt x="220773" y="59514"/>
                    </a:lnTo>
                    <a:lnTo>
                      <a:pt x="221391" y="57133"/>
                    </a:lnTo>
                    <a:lnTo>
                      <a:pt x="223419" y="57133"/>
                    </a:lnTo>
                    <a:lnTo>
                      <a:pt x="224300" y="55105"/>
                    </a:lnTo>
                    <a:lnTo>
                      <a:pt x="225182" y="53342"/>
                    </a:lnTo>
                    <a:lnTo>
                      <a:pt x="225799" y="50168"/>
                    </a:lnTo>
                    <a:lnTo>
                      <a:pt x="224036" y="48140"/>
                    </a:lnTo>
                    <a:lnTo>
                      <a:pt x="222890" y="45230"/>
                    </a:lnTo>
                    <a:lnTo>
                      <a:pt x="221126" y="44349"/>
                    </a:lnTo>
                    <a:lnTo>
                      <a:pt x="220773" y="41439"/>
                    </a:lnTo>
                    <a:lnTo>
                      <a:pt x="219892" y="39676"/>
                    </a:lnTo>
                    <a:lnTo>
                      <a:pt x="219627" y="37648"/>
                    </a:lnTo>
                    <a:lnTo>
                      <a:pt x="219892" y="34738"/>
                    </a:lnTo>
                    <a:lnTo>
                      <a:pt x="219627" y="32093"/>
                    </a:lnTo>
                    <a:lnTo>
                      <a:pt x="219627" y="28038"/>
                    </a:lnTo>
                    <a:lnTo>
                      <a:pt x="219892" y="25657"/>
                    </a:lnTo>
                    <a:lnTo>
                      <a:pt x="221126" y="23012"/>
                    </a:lnTo>
                    <a:lnTo>
                      <a:pt x="224300" y="20984"/>
                    </a:lnTo>
                    <a:lnTo>
                      <a:pt x="225446" y="24511"/>
                    </a:lnTo>
                    <a:lnTo>
                      <a:pt x="227563" y="24511"/>
                    </a:lnTo>
                    <a:lnTo>
                      <a:pt x="228709" y="23894"/>
                    </a:lnTo>
                    <a:lnTo>
                      <a:pt x="228092" y="20720"/>
                    </a:lnTo>
                    <a:lnTo>
                      <a:pt x="226681" y="19221"/>
                    </a:lnTo>
                    <a:lnTo>
                      <a:pt x="226945" y="18075"/>
                    </a:lnTo>
                    <a:lnTo>
                      <a:pt x="227827" y="16664"/>
                    </a:lnTo>
                    <a:lnTo>
                      <a:pt x="229590" y="17457"/>
                    </a:lnTo>
                    <a:lnTo>
                      <a:pt x="231001" y="16311"/>
                    </a:lnTo>
                    <a:lnTo>
                      <a:pt x="233911" y="16664"/>
                    </a:lnTo>
                    <a:lnTo>
                      <a:pt x="232500" y="15165"/>
                    </a:lnTo>
                    <a:lnTo>
                      <a:pt x="231883" y="12255"/>
                    </a:lnTo>
                    <a:lnTo>
                      <a:pt x="232764" y="11638"/>
                    </a:lnTo>
                    <a:lnTo>
                      <a:pt x="233646" y="11638"/>
                    </a:lnTo>
                    <a:lnTo>
                      <a:pt x="234528" y="12873"/>
                    </a:lnTo>
                    <a:lnTo>
                      <a:pt x="235674" y="13137"/>
                    </a:lnTo>
                    <a:lnTo>
                      <a:pt x="237173" y="14548"/>
                    </a:lnTo>
                    <a:lnTo>
                      <a:pt x="238936" y="14283"/>
                    </a:lnTo>
                    <a:lnTo>
                      <a:pt x="242110" y="12520"/>
                    </a:lnTo>
                    <a:lnTo>
                      <a:pt x="244138" y="11638"/>
                    </a:lnTo>
                    <a:lnTo>
                      <a:pt x="246519" y="10757"/>
                    </a:lnTo>
                    <a:lnTo>
                      <a:pt x="247929" y="11374"/>
                    </a:lnTo>
                    <a:lnTo>
                      <a:pt x="249076" y="11638"/>
                    </a:lnTo>
                    <a:lnTo>
                      <a:pt x="250839" y="11109"/>
                    </a:lnTo>
                    <a:lnTo>
                      <a:pt x="252955" y="10492"/>
                    </a:lnTo>
                    <a:lnTo>
                      <a:pt x="251985" y="9610"/>
                    </a:lnTo>
                    <a:lnTo>
                      <a:pt x="252338" y="8729"/>
                    </a:lnTo>
                    <a:lnTo>
                      <a:pt x="250574" y="6965"/>
                    </a:lnTo>
                    <a:lnTo>
                      <a:pt x="251985" y="6436"/>
                    </a:lnTo>
                    <a:lnTo>
                      <a:pt x="253749" y="6436"/>
                    </a:lnTo>
                    <a:lnTo>
                      <a:pt x="255512" y="7318"/>
                    </a:lnTo>
                    <a:lnTo>
                      <a:pt x="255247" y="8200"/>
                    </a:lnTo>
                    <a:lnTo>
                      <a:pt x="254366" y="11109"/>
                    </a:lnTo>
                    <a:lnTo>
                      <a:pt x="255865" y="10492"/>
                    </a:lnTo>
                    <a:lnTo>
                      <a:pt x="257275" y="9081"/>
                    </a:lnTo>
                    <a:lnTo>
                      <a:pt x="256658" y="7847"/>
                    </a:lnTo>
                    <a:lnTo>
                      <a:pt x="259038" y="7582"/>
                    </a:lnTo>
                    <a:lnTo>
                      <a:pt x="261331" y="7847"/>
                    </a:lnTo>
                    <a:lnTo>
                      <a:pt x="262213" y="6701"/>
                    </a:lnTo>
                    <a:lnTo>
                      <a:pt x="263447" y="6701"/>
                    </a:lnTo>
                    <a:lnTo>
                      <a:pt x="265475" y="7582"/>
                    </a:lnTo>
                    <a:lnTo>
                      <a:pt x="265122" y="6965"/>
                    </a:lnTo>
                    <a:lnTo>
                      <a:pt x="266004" y="7318"/>
                    </a:lnTo>
                    <a:lnTo>
                      <a:pt x="267150" y="7318"/>
                    </a:lnTo>
                    <a:lnTo>
                      <a:pt x="268385" y="8464"/>
                    </a:lnTo>
                    <a:lnTo>
                      <a:pt x="269795" y="8729"/>
                    </a:lnTo>
                    <a:lnTo>
                      <a:pt x="271294" y="8464"/>
                    </a:lnTo>
                    <a:lnTo>
                      <a:pt x="272705" y="8200"/>
                    </a:lnTo>
                    <a:lnTo>
                      <a:pt x="273586" y="9346"/>
                    </a:lnTo>
                    <a:lnTo>
                      <a:pt x="275085" y="9346"/>
                    </a:lnTo>
                    <a:lnTo>
                      <a:pt x="275085" y="11109"/>
                    </a:lnTo>
                    <a:lnTo>
                      <a:pt x="276231" y="11109"/>
                    </a:lnTo>
                    <a:lnTo>
                      <a:pt x="277730" y="12255"/>
                    </a:lnTo>
                    <a:lnTo>
                      <a:pt x="279406" y="11638"/>
                    </a:lnTo>
                    <a:lnTo>
                      <a:pt x="280640" y="12520"/>
                    </a:lnTo>
                    <a:lnTo>
                      <a:pt x="282932" y="13137"/>
                    </a:lnTo>
                    <a:lnTo>
                      <a:pt x="285313" y="13666"/>
                    </a:lnTo>
                    <a:lnTo>
                      <a:pt x="286459" y="14019"/>
                    </a:lnTo>
                    <a:lnTo>
                      <a:pt x="287076" y="14548"/>
                    </a:lnTo>
                    <a:lnTo>
                      <a:pt x="287076" y="14900"/>
                    </a:lnTo>
                    <a:lnTo>
                      <a:pt x="287076" y="16047"/>
                    </a:lnTo>
                    <a:lnTo>
                      <a:pt x="287341" y="17810"/>
                    </a:lnTo>
                    <a:lnTo>
                      <a:pt x="288222" y="18692"/>
                    </a:lnTo>
                    <a:lnTo>
                      <a:pt x="287870" y="19838"/>
                    </a:lnTo>
                    <a:lnTo>
                      <a:pt x="288222" y="20102"/>
                    </a:lnTo>
                    <a:lnTo>
                      <a:pt x="287341" y="19838"/>
                    </a:lnTo>
                    <a:lnTo>
                      <a:pt x="287341" y="22483"/>
                    </a:lnTo>
                    <a:lnTo>
                      <a:pt x="287870" y="23629"/>
                    </a:lnTo>
                    <a:lnTo>
                      <a:pt x="289633" y="23629"/>
                    </a:lnTo>
                    <a:lnTo>
                      <a:pt x="290250" y="24246"/>
                    </a:lnTo>
                    <a:lnTo>
                      <a:pt x="290867" y="24775"/>
                    </a:lnTo>
                    <a:lnTo>
                      <a:pt x="291661" y="25657"/>
                    </a:lnTo>
                    <a:lnTo>
                      <a:pt x="292278" y="26539"/>
                    </a:lnTo>
                    <a:lnTo>
                      <a:pt x="292543" y="25657"/>
                    </a:lnTo>
                    <a:lnTo>
                      <a:pt x="292014" y="24775"/>
                    </a:lnTo>
                    <a:lnTo>
                      <a:pt x="293777" y="21249"/>
                    </a:lnTo>
                    <a:lnTo>
                      <a:pt x="295452" y="20102"/>
                    </a:lnTo>
                    <a:lnTo>
                      <a:pt x="295805" y="23629"/>
                    </a:lnTo>
                    <a:lnTo>
                      <a:pt x="293424" y="24775"/>
                    </a:lnTo>
                    <a:lnTo>
                      <a:pt x="294570" y="25657"/>
                    </a:lnTo>
                    <a:lnTo>
                      <a:pt x="294923" y="27156"/>
                    </a:lnTo>
                    <a:lnTo>
                      <a:pt x="296951" y="26803"/>
                    </a:lnTo>
                    <a:lnTo>
                      <a:pt x="298979" y="26539"/>
                    </a:lnTo>
                    <a:lnTo>
                      <a:pt x="301007" y="26274"/>
                    </a:lnTo>
                    <a:lnTo>
                      <a:pt x="303123" y="26274"/>
                    </a:lnTo>
                    <a:lnTo>
                      <a:pt x="305151" y="26803"/>
                    </a:lnTo>
                    <a:lnTo>
                      <a:pt x="306561" y="28302"/>
                    </a:lnTo>
                    <a:lnTo>
                      <a:pt x="306561" y="28567"/>
                    </a:lnTo>
                    <a:lnTo>
                      <a:pt x="306032" y="28919"/>
                    </a:lnTo>
                    <a:lnTo>
                      <a:pt x="306561" y="29184"/>
                    </a:lnTo>
                    <a:lnTo>
                      <a:pt x="307443" y="29184"/>
                    </a:lnTo>
                    <a:lnTo>
                      <a:pt x="308589" y="30065"/>
                    </a:lnTo>
                    <a:lnTo>
                      <a:pt x="309206" y="30330"/>
                    </a:lnTo>
                    <a:lnTo>
                      <a:pt x="310617" y="32093"/>
                    </a:lnTo>
                    <a:lnTo>
                      <a:pt x="312381" y="32975"/>
                    </a:lnTo>
                    <a:lnTo>
                      <a:pt x="313262" y="31829"/>
                    </a:lnTo>
                    <a:lnTo>
                      <a:pt x="313262" y="30330"/>
                    </a:lnTo>
                    <a:lnTo>
                      <a:pt x="314408" y="30330"/>
                    </a:lnTo>
                    <a:lnTo>
                      <a:pt x="315907" y="29448"/>
                    </a:lnTo>
                    <a:lnTo>
                      <a:pt x="317406" y="29801"/>
                    </a:lnTo>
                    <a:lnTo>
                      <a:pt x="318817" y="30947"/>
                    </a:lnTo>
                    <a:lnTo>
                      <a:pt x="319081" y="29801"/>
                    </a:lnTo>
                    <a:lnTo>
                      <a:pt x="319963" y="30330"/>
                    </a:lnTo>
                    <a:lnTo>
                      <a:pt x="320845" y="29801"/>
                    </a:lnTo>
                    <a:lnTo>
                      <a:pt x="322344" y="29801"/>
                    </a:lnTo>
                    <a:lnTo>
                      <a:pt x="325253" y="30947"/>
                    </a:lnTo>
                    <a:lnTo>
                      <a:pt x="327016" y="30594"/>
                    </a:lnTo>
                    <a:lnTo>
                      <a:pt x="327898" y="31212"/>
                    </a:lnTo>
                    <a:lnTo>
                      <a:pt x="329044" y="32975"/>
                    </a:lnTo>
                    <a:lnTo>
                      <a:pt x="329044" y="34386"/>
                    </a:lnTo>
                    <a:lnTo>
                      <a:pt x="331072" y="37031"/>
                    </a:lnTo>
                    <a:lnTo>
                      <a:pt x="331954" y="39059"/>
                    </a:lnTo>
                    <a:lnTo>
                      <a:pt x="330455" y="40822"/>
                    </a:lnTo>
                    <a:lnTo>
                      <a:pt x="329573" y="42850"/>
                    </a:lnTo>
                    <a:lnTo>
                      <a:pt x="327281" y="45230"/>
                    </a:lnTo>
                    <a:lnTo>
                      <a:pt x="327016" y="49551"/>
                    </a:lnTo>
                    <a:lnTo>
                      <a:pt x="327016" y="51931"/>
                    </a:lnTo>
                    <a:lnTo>
                      <a:pt x="327898" y="54841"/>
                    </a:lnTo>
                    <a:lnTo>
                      <a:pt x="330808" y="61277"/>
                    </a:lnTo>
                    <a:lnTo>
                      <a:pt x="329573" y="67625"/>
                    </a:lnTo>
                    <a:lnTo>
                      <a:pt x="328427" y="69124"/>
                    </a:lnTo>
                    <a:lnTo>
                      <a:pt x="326135" y="72034"/>
                    </a:lnTo>
                    <a:lnTo>
                      <a:pt x="325253" y="74679"/>
                    </a:lnTo>
                    <a:lnTo>
                      <a:pt x="325253" y="76706"/>
                    </a:lnTo>
                    <a:lnTo>
                      <a:pt x="327545" y="82261"/>
                    </a:lnTo>
                    <a:lnTo>
                      <a:pt x="328163" y="85788"/>
                    </a:lnTo>
                    <a:lnTo>
                      <a:pt x="329573" y="88962"/>
                    </a:lnTo>
                    <a:lnTo>
                      <a:pt x="329926" y="93018"/>
                    </a:lnTo>
                    <a:lnTo>
                      <a:pt x="332836" y="99454"/>
                    </a:lnTo>
                    <a:lnTo>
                      <a:pt x="341829" y="279670"/>
                    </a:lnTo>
                    <a:lnTo>
                      <a:pt x="343592" y="329309"/>
                    </a:lnTo>
                    <a:lnTo>
                      <a:pt x="321991" y="32842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9" name="Freihandform: Form 1828">
                <a:extLst>
                  <a:ext uri="{FF2B5EF4-FFF2-40B4-BE49-F238E27FC236}">
                    <a16:creationId xmlns:a16="http://schemas.microsoft.com/office/drawing/2014/main" id="{A1277131-54D3-A8A5-BDB5-173C53180C2D}"/>
                  </a:ext>
                </a:extLst>
              </p:cNvPr>
              <p:cNvSpPr/>
              <p:nvPr/>
            </p:nvSpPr>
            <p:spPr>
              <a:xfrm>
                <a:off x="3701473" y="3804949"/>
                <a:ext cx="66479" cy="20102"/>
              </a:xfrm>
              <a:custGeom>
                <a:avLst/>
                <a:gdLst>
                  <a:gd name="connsiteX0" fmla="*/ 1763 w 66479"/>
                  <a:gd name="connsiteY0" fmla="*/ 19309 h 20102"/>
                  <a:gd name="connsiteX1" fmla="*/ 24158 w 66479"/>
                  <a:gd name="connsiteY1" fmla="*/ 12255 h 20102"/>
                  <a:gd name="connsiteX2" fmla="*/ 31212 w 66479"/>
                  <a:gd name="connsiteY2" fmla="*/ 11374 h 20102"/>
                  <a:gd name="connsiteX3" fmla="*/ 35532 w 66479"/>
                  <a:gd name="connsiteY3" fmla="*/ 7935 h 20102"/>
                  <a:gd name="connsiteX4" fmla="*/ 40822 w 66479"/>
                  <a:gd name="connsiteY4" fmla="*/ 8729 h 20102"/>
                  <a:gd name="connsiteX5" fmla="*/ 44878 w 66479"/>
                  <a:gd name="connsiteY5" fmla="*/ 9963 h 20102"/>
                  <a:gd name="connsiteX6" fmla="*/ 49551 w 66479"/>
                  <a:gd name="connsiteY6" fmla="*/ 11991 h 20102"/>
                  <a:gd name="connsiteX7" fmla="*/ 53342 w 66479"/>
                  <a:gd name="connsiteY7" fmla="*/ 15165 h 20102"/>
                  <a:gd name="connsiteX8" fmla="*/ 59514 w 66479"/>
                  <a:gd name="connsiteY8" fmla="*/ 14019 h 20102"/>
                  <a:gd name="connsiteX9" fmla="*/ 66479 w 66479"/>
                  <a:gd name="connsiteY9" fmla="*/ 11374 h 20102"/>
                  <a:gd name="connsiteX10" fmla="*/ 64187 w 66479"/>
                  <a:gd name="connsiteY10" fmla="*/ 7053 h 20102"/>
                  <a:gd name="connsiteX11" fmla="*/ 59778 w 66479"/>
                  <a:gd name="connsiteY11" fmla="*/ 7053 h 20102"/>
                  <a:gd name="connsiteX12" fmla="*/ 54488 w 66479"/>
                  <a:gd name="connsiteY12" fmla="*/ 9963 h 20102"/>
                  <a:gd name="connsiteX13" fmla="*/ 48404 w 66479"/>
                  <a:gd name="connsiteY13" fmla="*/ 4673 h 20102"/>
                  <a:gd name="connsiteX14" fmla="*/ 42850 w 66479"/>
                  <a:gd name="connsiteY14" fmla="*/ 1146 h 20102"/>
                  <a:gd name="connsiteX15" fmla="*/ 38441 w 66479"/>
                  <a:gd name="connsiteY15" fmla="*/ 0 h 20102"/>
                  <a:gd name="connsiteX16" fmla="*/ 33504 w 66479"/>
                  <a:gd name="connsiteY16" fmla="*/ 882 h 20102"/>
                  <a:gd name="connsiteX17" fmla="*/ 6084 w 66479"/>
                  <a:gd name="connsiteY17" fmla="*/ 6701 h 20102"/>
                  <a:gd name="connsiteX18" fmla="*/ 6436 w 66479"/>
                  <a:gd name="connsiteY18" fmla="*/ 7935 h 20102"/>
                  <a:gd name="connsiteX19" fmla="*/ 7318 w 66479"/>
                  <a:gd name="connsiteY19" fmla="*/ 9346 h 20102"/>
                  <a:gd name="connsiteX20" fmla="*/ 7847 w 66479"/>
                  <a:gd name="connsiteY20" fmla="*/ 12255 h 20102"/>
                  <a:gd name="connsiteX21" fmla="*/ 11374 w 66479"/>
                  <a:gd name="connsiteY21" fmla="*/ 12520 h 20102"/>
                  <a:gd name="connsiteX22" fmla="*/ 11638 w 66479"/>
                  <a:gd name="connsiteY22" fmla="*/ 11991 h 20102"/>
                  <a:gd name="connsiteX23" fmla="*/ 11638 w 66479"/>
                  <a:gd name="connsiteY23" fmla="*/ 11374 h 20102"/>
                  <a:gd name="connsiteX24" fmla="*/ 11903 w 66479"/>
                  <a:gd name="connsiteY24" fmla="*/ 12255 h 20102"/>
                  <a:gd name="connsiteX25" fmla="*/ 13137 w 66479"/>
                  <a:gd name="connsiteY25" fmla="*/ 10757 h 20102"/>
                  <a:gd name="connsiteX26" fmla="*/ 16576 w 66479"/>
                  <a:gd name="connsiteY26" fmla="*/ 9963 h 20102"/>
                  <a:gd name="connsiteX27" fmla="*/ 23012 w 66479"/>
                  <a:gd name="connsiteY27" fmla="*/ 9963 h 20102"/>
                  <a:gd name="connsiteX28" fmla="*/ 26539 w 66479"/>
                  <a:gd name="connsiteY28" fmla="*/ 8729 h 20102"/>
                  <a:gd name="connsiteX29" fmla="*/ 29184 w 66479"/>
                  <a:gd name="connsiteY29" fmla="*/ 8464 h 20102"/>
                  <a:gd name="connsiteX30" fmla="*/ 32093 w 66479"/>
                  <a:gd name="connsiteY30" fmla="*/ 9963 h 20102"/>
                  <a:gd name="connsiteX31" fmla="*/ 33504 w 66479"/>
                  <a:gd name="connsiteY31" fmla="*/ 8729 h 20102"/>
                  <a:gd name="connsiteX32" fmla="*/ 33239 w 66479"/>
                  <a:gd name="connsiteY32" fmla="*/ 9963 h 20102"/>
                  <a:gd name="connsiteX33" fmla="*/ 31212 w 66479"/>
                  <a:gd name="connsiteY33" fmla="*/ 9963 h 20102"/>
                  <a:gd name="connsiteX34" fmla="*/ 28831 w 66479"/>
                  <a:gd name="connsiteY34" fmla="*/ 8464 h 20102"/>
                  <a:gd name="connsiteX35" fmla="*/ 26539 w 66479"/>
                  <a:gd name="connsiteY35" fmla="*/ 9963 h 20102"/>
                  <a:gd name="connsiteX36" fmla="*/ 23276 w 66479"/>
                  <a:gd name="connsiteY36" fmla="*/ 9963 h 20102"/>
                  <a:gd name="connsiteX37" fmla="*/ 20720 w 66479"/>
                  <a:gd name="connsiteY37" fmla="*/ 10757 h 20102"/>
                  <a:gd name="connsiteX38" fmla="*/ 14548 w 66479"/>
                  <a:gd name="connsiteY38" fmla="*/ 10757 h 20102"/>
                  <a:gd name="connsiteX39" fmla="*/ 13666 w 66479"/>
                  <a:gd name="connsiteY39" fmla="*/ 11991 h 20102"/>
                  <a:gd name="connsiteX40" fmla="*/ 13930 w 66479"/>
                  <a:gd name="connsiteY40" fmla="*/ 14019 h 20102"/>
                  <a:gd name="connsiteX41" fmla="*/ 15429 w 66479"/>
                  <a:gd name="connsiteY41" fmla="*/ 14019 h 20102"/>
                  <a:gd name="connsiteX42" fmla="*/ 13666 w 66479"/>
                  <a:gd name="connsiteY42" fmla="*/ 15165 h 20102"/>
                  <a:gd name="connsiteX43" fmla="*/ 13137 w 66479"/>
                  <a:gd name="connsiteY43" fmla="*/ 14019 h 20102"/>
                  <a:gd name="connsiteX44" fmla="*/ 9875 w 66479"/>
                  <a:gd name="connsiteY44" fmla="*/ 15165 h 20102"/>
                  <a:gd name="connsiteX45" fmla="*/ 8464 w 66479"/>
                  <a:gd name="connsiteY45" fmla="*/ 14548 h 20102"/>
                  <a:gd name="connsiteX46" fmla="*/ 8464 w 66479"/>
                  <a:gd name="connsiteY46" fmla="*/ 16311 h 20102"/>
                  <a:gd name="connsiteX47" fmla="*/ 7847 w 66479"/>
                  <a:gd name="connsiteY47" fmla="*/ 14548 h 20102"/>
                  <a:gd name="connsiteX48" fmla="*/ 6084 w 66479"/>
                  <a:gd name="connsiteY48" fmla="*/ 14019 h 20102"/>
                  <a:gd name="connsiteX49" fmla="*/ 5819 w 66479"/>
                  <a:gd name="connsiteY49" fmla="*/ 10757 h 20102"/>
                  <a:gd name="connsiteX50" fmla="*/ 4673 w 66479"/>
                  <a:gd name="connsiteY50" fmla="*/ 10228 h 20102"/>
                  <a:gd name="connsiteX51" fmla="*/ 3791 w 66479"/>
                  <a:gd name="connsiteY51" fmla="*/ 9610 h 20102"/>
                  <a:gd name="connsiteX52" fmla="*/ 2292 w 66479"/>
                  <a:gd name="connsiteY52" fmla="*/ 9963 h 20102"/>
                  <a:gd name="connsiteX53" fmla="*/ 264 w 66479"/>
                  <a:gd name="connsiteY53" fmla="*/ 11991 h 20102"/>
                  <a:gd name="connsiteX54" fmla="*/ 0 w 66479"/>
                  <a:gd name="connsiteY54" fmla="*/ 12520 h 20102"/>
                  <a:gd name="connsiteX55" fmla="*/ 882 w 66479"/>
                  <a:gd name="connsiteY55" fmla="*/ 15518 h 20102"/>
                  <a:gd name="connsiteX56" fmla="*/ 882 w 66479"/>
                  <a:gd name="connsiteY56" fmla="*/ 18339 h 20102"/>
                  <a:gd name="connsiteX57" fmla="*/ 1763 w 66479"/>
                  <a:gd name="connsiteY57" fmla="*/ 19309 h 20102"/>
                  <a:gd name="connsiteX58" fmla="*/ 1763 w 66479"/>
                  <a:gd name="connsiteY58" fmla="*/ 20102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66479" h="20102">
                    <a:moveTo>
                      <a:pt x="1763" y="19309"/>
                    </a:moveTo>
                    <a:lnTo>
                      <a:pt x="24158" y="12255"/>
                    </a:lnTo>
                    <a:lnTo>
                      <a:pt x="31212" y="11374"/>
                    </a:lnTo>
                    <a:lnTo>
                      <a:pt x="35532" y="7935"/>
                    </a:lnTo>
                    <a:lnTo>
                      <a:pt x="40822" y="8729"/>
                    </a:lnTo>
                    <a:lnTo>
                      <a:pt x="44878" y="9963"/>
                    </a:lnTo>
                    <a:lnTo>
                      <a:pt x="49551" y="11991"/>
                    </a:lnTo>
                    <a:lnTo>
                      <a:pt x="53342" y="15165"/>
                    </a:lnTo>
                    <a:lnTo>
                      <a:pt x="59514" y="14019"/>
                    </a:lnTo>
                    <a:lnTo>
                      <a:pt x="66479" y="11374"/>
                    </a:lnTo>
                    <a:lnTo>
                      <a:pt x="64187" y="7053"/>
                    </a:lnTo>
                    <a:lnTo>
                      <a:pt x="59778" y="7053"/>
                    </a:lnTo>
                    <a:lnTo>
                      <a:pt x="54488" y="9963"/>
                    </a:lnTo>
                    <a:lnTo>
                      <a:pt x="48404" y="4673"/>
                    </a:lnTo>
                    <a:lnTo>
                      <a:pt x="42850" y="1146"/>
                    </a:lnTo>
                    <a:lnTo>
                      <a:pt x="38441" y="0"/>
                    </a:lnTo>
                    <a:lnTo>
                      <a:pt x="33504" y="882"/>
                    </a:lnTo>
                    <a:lnTo>
                      <a:pt x="6084" y="6701"/>
                    </a:lnTo>
                    <a:lnTo>
                      <a:pt x="6436" y="7935"/>
                    </a:lnTo>
                    <a:lnTo>
                      <a:pt x="7318" y="9346"/>
                    </a:lnTo>
                    <a:lnTo>
                      <a:pt x="7847" y="12255"/>
                    </a:lnTo>
                    <a:lnTo>
                      <a:pt x="11374" y="12520"/>
                    </a:lnTo>
                    <a:lnTo>
                      <a:pt x="11638" y="11991"/>
                    </a:lnTo>
                    <a:lnTo>
                      <a:pt x="11638" y="11374"/>
                    </a:lnTo>
                    <a:lnTo>
                      <a:pt x="11903" y="12255"/>
                    </a:lnTo>
                    <a:lnTo>
                      <a:pt x="13137" y="10757"/>
                    </a:lnTo>
                    <a:lnTo>
                      <a:pt x="16576" y="9963"/>
                    </a:lnTo>
                    <a:lnTo>
                      <a:pt x="23012" y="9963"/>
                    </a:lnTo>
                    <a:lnTo>
                      <a:pt x="26539" y="8729"/>
                    </a:lnTo>
                    <a:lnTo>
                      <a:pt x="29184" y="8464"/>
                    </a:lnTo>
                    <a:lnTo>
                      <a:pt x="32093" y="9963"/>
                    </a:lnTo>
                    <a:lnTo>
                      <a:pt x="33504" y="8729"/>
                    </a:lnTo>
                    <a:lnTo>
                      <a:pt x="33239" y="9963"/>
                    </a:lnTo>
                    <a:lnTo>
                      <a:pt x="31212" y="9963"/>
                    </a:lnTo>
                    <a:lnTo>
                      <a:pt x="28831" y="8464"/>
                    </a:lnTo>
                    <a:lnTo>
                      <a:pt x="26539" y="9963"/>
                    </a:lnTo>
                    <a:lnTo>
                      <a:pt x="23276" y="9963"/>
                    </a:lnTo>
                    <a:lnTo>
                      <a:pt x="20720" y="10757"/>
                    </a:lnTo>
                    <a:lnTo>
                      <a:pt x="14548" y="10757"/>
                    </a:lnTo>
                    <a:lnTo>
                      <a:pt x="13666" y="11991"/>
                    </a:lnTo>
                    <a:lnTo>
                      <a:pt x="13930" y="14019"/>
                    </a:lnTo>
                    <a:lnTo>
                      <a:pt x="15429" y="14019"/>
                    </a:lnTo>
                    <a:lnTo>
                      <a:pt x="13666" y="15165"/>
                    </a:lnTo>
                    <a:lnTo>
                      <a:pt x="13137" y="14019"/>
                    </a:lnTo>
                    <a:lnTo>
                      <a:pt x="9875" y="15165"/>
                    </a:lnTo>
                    <a:lnTo>
                      <a:pt x="8464" y="14548"/>
                    </a:lnTo>
                    <a:lnTo>
                      <a:pt x="8464" y="16311"/>
                    </a:lnTo>
                    <a:lnTo>
                      <a:pt x="7847" y="14548"/>
                    </a:lnTo>
                    <a:lnTo>
                      <a:pt x="6084" y="14019"/>
                    </a:lnTo>
                    <a:lnTo>
                      <a:pt x="5819" y="10757"/>
                    </a:lnTo>
                    <a:lnTo>
                      <a:pt x="4673" y="10228"/>
                    </a:lnTo>
                    <a:lnTo>
                      <a:pt x="3791" y="9610"/>
                    </a:lnTo>
                    <a:lnTo>
                      <a:pt x="2292" y="9963"/>
                    </a:lnTo>
                    <a:lnTo>
                      <a:pt x="264" y="11991"/>
                    </a:lnTo>
                    <a:lnTo>
                      <a:pt x="0" y="12520"/>
                    </a:lnTo>
                    <a:lnTo>
                      <a:pt x="882" y="15518"/>
                    </a:lnTo>
                    <a:lnTo>
                      <a:pt x="882" y="18339"/>
                    </a:lnTo>
                    <a:lnTo>
                      <a:pt x="1763" y="19309"/>
                    </a:lnTo>
                    <a:lnTo>
                      <a:pt x="1763" y="201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0" name="Freihandform: Form 1829">
                <a:extLst>
                  <a:ext uri="{FF2B5EF4-FFF2-40B4-BE49-F238E27FC236}">
                    <a16:creationId xmlns:a16="http://schemas.microsoft.com/office/drawing/2014/main" id="{4E23BA45-8173-D938-B5C2-7E4707814F1B}"/>
                  </a:ext>
                </a:extLst>
              </p:cNvPr>
              <p:cNvSpPr/>
              <p:nvPr/>
            </p:nvSpPr>
            <p:spPr>
              <a:xfrm>
                <a:off x="3697682" y="3459594"/>
                <a:ext cx="187269" cy="173250"/>
              </a:xfrm>
              <a:custGeom>
                <a:avLst/>
                <a:gdLst>
                  <a:gd name="connsiteX0" fmla="*/ 186917 w 187269"/>
                  <a:gd name="connsiteY0" fmla="*/ 11726 h 173250"/>
                  <a:gd name="connsiteX1" fmla="*/ 186388 w 187269"/>
                  <a:gd name="connsiteY1" fmla="*/ 42321 h 173250"/>
                  <a:gd name="connsiteX2" fmla="*/ 115500 w 187269"/>
                  <a:gd name="connsiteY2" fmla="*/ 42321 h 173250"/>
                  <a:gd name="connsiteX3" fmla="*/ 110563 w 187269"/>
                  <a:gd name="connsiteY3" fmla="*/ 106772 h 173250"/>
                  <a:gd name="connsiteX4" fmla="*/ 101482 w 187269"/>
                  <a:gd name="connsiteY4" fmla="*/ 110034 h 173250"/>
                  <a:gd name="connsiteX5" fmla="*/ 89844 w 187269"/>
                  <a:gd name="connsiteY5" fmla="*/ 120174 h 173250"/>
                  <a:gd name="connsiteX6" fmla="*/ 96192 w 187269"/>
                  <a:gd name="connsiteY6" fmla="*/ 156675 h 173250"/>
                  <a:gd name="connsiteX7" fmla="*/ 5819 w 187269"/>
                  <a:gd name="connsiteY7" fmla="*/ 158086 h 173250"/>
                  <a:gd name="connsiteX8" fmla="*/ 3527 w 187269"/>
                  <a:gd name="connsiteY8" fmla="*/ 166021 h 173250"/>
                  <a:gd name="connsiteX9" fmla="*/ 3527 w 187269"/>
                  <a:gd name="connsiteY9" fmla="*/ 166815 h 173250"/>
                  <a:gd name="connsiteX10" fmla="*/ 2645 w 187269"/>
                  <a:gd name="connsiteY10" fmla="*/ 169548 h 173250"/>
                  <a:gd name="connsiteX11" fmla="*/ 2028 w 187269"/>
                  <a:gd name="connsiteY11" fmla="*/ 173251 h 173250"/>
                  <a:gd name="connsiteX12" fmla="*/ 529 w 187269"/>
                  <a:gd name="connsiteY12" fmla="*/ 172722 h 173250"/>
                  <a:gd name="connsiteX13" fmla="*/ 0 w 187269"/>
                  <a:gd name="connsiteY13" fmla="*/ 169548 h 173250"/>
                  <a:gd name="connsiteX14" fmla="*/ 264 w 187269"/>
                  <a:gd name="connsiteY14" fmla="*/ 165404 h 173250"/>
                  <a:gd name="connsiteX15" fmla="*/ 1763 w 187269"/>
                  <a:gd name="connsiteY15" fmla="*/ 162230 h 173250"/>
                  <a:gd name="connsiteX16" fmla="*/ 1763 w 187269"/>
                  <a:gd name="connsiteY16" fmla="*/ 159585 h 173250"/>
                  <a:gd name="connsiteX17" fmla="*/ 2292 w 187269"/>
                  <a:gd name="connsiteY17" fmla="*/ 156411 h 173250"/>
                  <a:gd name="connsiteX18" fmla="*/ 2645 w 187269"/>
                  <a:gd name="connsiteY18" fmla="*/ 154030 h 173250"/>
                  <a:gd name="connsiteX19" fmla="*/ 3174 w 187269"/>
                  <a:gd name="connsiteY19" fmla="*/ 149357 h 173250"/>
                  <a:gd name="connsiteX20" fmla="*/ 3791 w 187269"/>
                  <a:gd name="connsiteY20" fmla="*/ 146712 h 173250"/>
                  <a:gd name="connsiteX21" fmla="*/ 4673 w 187269"/>
                  <a:gd name="connsiteY21" fmla="*/ 144420 h 173250"/>
                  <a:gd name="connsiteX22" fmla="*/ 6436 w 187269"/>
                  <a:gd name="connsiteY22" fmla="*/ 142656 h 173250"/>
                  <a:gd name="connsiteX23" fmla="*/ 6084 w 187269"/>
                  <a:gd name="connsiteY23" fmla="*/ 140893 h 173250"/>
                  <a:gd name="connsiteX24" fmla="*/ 6965 w 187269"/>
                  <a:gd name="connsiteY24" fmla="*/ 138248 h 173250"/>
                  <a:gd name="connsiteX25" fmla="*/ 10757 w 187269"/>
                  <a:gd name="connsiteY25" fmla="*/ 136573 h 173250"/>
                  <a:gd name="connsiteX26" fmla="*/ 11109 w 187269"/>
                  <a:gd name="connsiteY26" fmla="*/ 135691 h 173250"/>
                  <a:gd name="connsiteX27" fmla="*/ 11374 w 187269"/>
                  <a:gd name="connsiteY27" fmla="*/ 137454 h 173250"/>
                  <a:gd name="connsiteX28" fmla="*/ 12255 w 187269"/>
                  <a:gd name="connsiteY28" fmla="*/ 137454 h 173250"/>
                  <a:gd name="connsiteX29" fmla="*/ 13137 w 187269"/>
                  <a:gd name="connsiteY29" fmla="*/ 137102 h 173250"/>
                  <a:gd name="connsiteX30" fmla="*/ 13666 w 187269"/>
                  <a:gd name="connsiteY30" fmla="*/ 135691 h 173250"/>
                  <a:gd name="connsiteX31" fmla="*/ 17457 w 187269"/>
                  <a:gd name="connsiteY31" fmla="*/ 128990 h 173250"/>
                  <a:gd name="connsiteX32" fmla="*/ 18956 w 187269"/>
                  <a:gd name="connsiteY32" fmla="*/ 123171 h 173250"/>
                  <a:gd name="connsiteX33" fmla="*/ 18692 w 187269"/>
                  <a:gd name="connsiteY33" fmla="*/ 120526 h 173250"/>
                  <a:gd name="connsiteX34" fmla="*/ 20367 w 187269"/>
                  <a:gd name="connsiteY34" fmla="*/ 119027 h 173250"/>
                  <a:gd name="connsiteX35" fmla="*/ 21866 w 187269"/>
                  <a:gd name="connsiteY35" fmla="*/ 117881 h 173250"/>
                  <a:gd name="connsiteX36" fmla="*/ 23365 w 187269"/>
                  <a:gd name="connsiteY36" fmla="*/ 116999 h 173250"/>
                  <a:gd name="connsiteX37" fmla="*/ 23629 w 187269"/>
                  <a:gd name="connsiteY37" fmla="*/ 114972 h 173250"/>
                  <a:gd name="connsiteX38" fmla="*/ 20719 w 187269"/>
                  <a:gd name="connsiteY38" fmla="*/ 115501 h 173250"/>
                  <a:gd name="connsiteX39" fmla="*/ 20984 w 187269"/>
                  <a:gd name="connsiteY39" fmla="*/ 113825 h 173250"/>
                  <a:gd name="connsiteX40" fmla="*/ 21866 w 187269"/>
                  <a:gd name="connsiteY40" fmla="*/ 111709 h 173250"/>
                  <a:gd name="connsiteX41" fmla="*/ 24775 w 187269"/>
                  <a:gd name="connsiteY41" fmla="*/ 108535 h 173250"/>
                  <a:gd name="connsiteX42" fmla="*/ 26803 w 187269"/>
                  <a:gd name="connsiteY42" fmla="*/ 107125 h 173250"/>
                  <a:gd name="connsiteX43" fmla="*/ 28566 w 187269"/>
                  <a:gd name="connsiteY43" fmla="*/ 104480 h 173250"/>
                  <a:gd name="connsiteX44" fmla="*/ 30330 w 187269"/>
                  <a:gd name="connsiteY44" fmla="*/ 101570 h 173250"/>
                  <a:gd name="connsiteX45" fmla="*/ 31740 w 187269"/>
                  <a:gd name="connsiteY45" fmla="*/ 98925 h 173250"/>
                  <a:gd name="connsiteX46" fmla="*/ 32975 w 187269"/>
                  <a:gd name="connsiteY46" fmla="*/ 95134 h 173250"/>
                  <a:gd name="connsiteX47" fmla="*/ 32358 w 187269"/>
                  <a:gd name="connsiteY47" fmla="*/ 95663 h 173250"/>
                  <a:gd name="connsiteX48" fmla="*/ 30594 w 187269"/>
                  <a:gd name="connsiteY48" fmla="*/ 97162 h 173250"/>
                  <a:gd name="connsiteX49" fmla="*/ 29448 w 187269"/>
                  <a:gd name="connsiteY49" fmla="*/ 98925 h 173250"/>
                  <a:gd name="connsiteX50" fmla="*/ 28831 w 187269"/>
                  <a:gd name="connsiteY50" fmla="*/ 100336 h 173250"/>
                  <a:gd name="connsiteX51" fmla="*/ 27420 w 187269"/>
                  <a:gd name="connsiteY51" fmla="*/ 100953 h 173250"/>
                  <a:gd name="connsiteX52" fmla="*/ 28302 w 187269"/>
                  <a:gd name="connsiteY52" fmla="*/ 98572 h 173250"/>
                  <a:gd name="connsiteX53" fmla="*/ 29713 w 187269"/>
                  <a:gd name="connsiteY53" fmla="*/ 96897 h 173250"/>
                  <a:gd name="connsiteX54" fmla="*/ 32622 w 187269"/>
                  <a:gd name="connsiteY54" fmla="*/ 93106 h 173250"/>
                  <a:gd name="connsiteX55" fmla="*/ 32622 w 187269"/>
                  <a:gd name="connsiteY55" fmla="*/ 91078 h 173250"/>
                  <a:gd name="connsiteX56" fmla="*/ 34121 w 187269"/>
                  <a:gd name="connsiteY56" fmla="*/ 88433 h 173250"/>
                  <a:gd name="connsiteX57" fmla="*/ 35884 w 187269"/>
                  <a:gd name="connsiteY57" fmla="*/ 86670 h 173250"/>
                  <a:gd name="connsiteX58" fmla="*/ 38177 w 187269"/>
                  <a:gd name="connsiteY58" fmla="*/ 83407 h 173250"/>
                  <a:gd name="connsiteX59" fmla="*/ 39676 w 187269"/>
                  <a:gd name="connsiteY59" fmla="*/ 80498 h 173250"/>
                  <a:gd name="connsiteX60" fmla="*/ 41703 w 187269"/>
                  <a:gd name="connsiteY60" fmla="*/ 78823 h 173250"/>
                  <a:gd name="connsiteX61" fmla="*/ 43996 w 187269"/>
                  <a:gd name="connsiteY61" fmla="*/ 77588 h 173250"/>
                  <a:gd name="connsiteX62" fmla="*/ 46641 w 187269"/>
                  <a:gd name="connsiteY62" fmla="*/ 76177 h 173250"/>
                  <a:gd name="connsiteX63" fmla="*/ 49551 w 187269"/>
                  <a:gd name="connsiteY63" fmla="*/ 75296 h 173250"/>
                  <a:gd name="connsiteX64" fmla="*/ 51314 w 187269"/>
                  <a:gd name="connsiteY64" fmla="*/ 74150 h 173250"/>
                  <a:gd name="connsiteX65" fmla="*/ 51578 w 187269"/>
                  <a:gd name="connsiteY65" fmla="*/ 70623 h 173250"/>
                  <a:gd name="connsiteX66" fmla="*/ 50432 w 187269"/>
                  <a:gd name="connsiteY66" fmla="*/ 67713 h 173250"/>
                  <a:gd name="connsiteX67" fmla="*/ 50432 w 187269"/>
                  <a:gd name="connsiteY67" fmla="*/ 65068 h 173250"/>
                  <a:gd name="connsiteX68" fmla="*/ 51049 w 187269"/>
                  <a:gd name="connsiteY68" fmla="*/ 62423 h 173250"/>
                  <a:gd name="connsiteX69" fmla="*/ 51931 w 187269"/>
                  <a:gd name="connsiteY69" fmla="*/ 60660 h 173250"/>
                  <a:gd name="connsiteX70" fmla="*/ 52196 w 187269"/>
                  <a:gd name="connsiteY70" fmla="*/ 58632 h 173250"/>
                  <a:gd name="connsiteX71" fmla="*/ 51578 w 187269"/>
                  <a:gd name="connsiteY71" fmla="*/ 56957 h 173250"/>
                  <a:gd name="connsiteX72" fmla="*/ 51578 w 187269"/>
                  <a:gd name="connsiteY72" fmla="*/ 54576 h 173250"/>
                  <a:gd name="connsiteX73" fmla="*/ 53077 w 187269"/>
                  <a:gd name="connsiteY73" fmla="*/ 52813 h 173250"/>
                  <a:gd name="connsiteX74" fmla="*/ 54841 w 187269"/>
                  <a:gd name="connsiteY74" fmla="*/ 50520 h 173250"/>
                  <a:gd name="connsiteX75" fmla="*/ 55370 w 187269"/>
                  <a:gd name="connsiteY75" fmla="*/ 48140 h 173250"/>
                  <a:gd name="connsiteX76" fmla="*/ 56604 w 187269"/>
                  <a:gd name="connsiteY76" fmla="*/ 45848 h 173250"/>
                  <a:gd name="connsiteX77" fmla="*/ 58015 w 187269"/>
                  <a:gd name="connsiteY77" fmla="*/ 43820 h 173250"/>
                  <a:gd name="connsiteX78" fmla="*/ 57133 w 187269"/>
                  <a:gd name="connsiteY78" fmla="*/ 40910 h 173250"/>
                  <a:gd name="connsiteX79" fmla="*/ 58015 w 187269"/>
                  <a:gd name="connsiteY79" fmla="*/ 39147 h 173250"/>
                  <a:gd name="connsiteX80" fmla="*/ 57750 w 187269"/>
                  <a:gd name="connsiteY80" fmla="*/ 37119 h 173250"/>
                  <a:gd name="connsiteX81" fmla="*/ 59161 w 187269"/>
                  <a:gd name="connsiteY81" fmla="*/ 35003 h 173250"/>
                  <a:gd name="connsiteX82" fmla="*/ 61806 w 187269"/>
                  <a:gd name="connsiteY82" fmla="*/ 33240 h 173250"/>
                  <a:gd name="connsiteX83" fmla="*/ 64098 w 187269"/>
                  <a:gd name="connsiteY83" fmla="*/ 32975 h 173250"/>
                  <a:gd name="connsiteX84" fmla="*/ 65862 w 187269"/>
                  <a:gd name="connsiteY84" fmla="*/ 31564 h 173250"/>
                  <a:gd name="connsiteX85" fmla="*/ 67625 w 187269"/>
                  <a:gd name="connsiteY85" fmla="*/ 28655 h 173250"/>
                  <a:gd name="connsiteX86" fmla="*/ 69388 w 187269"/>
                  <a:gd name="connsiteY86" fmla="*/ 27156 h 173250"/>
                  <a:gd name="connsiteX87" fmla="*/ 71681 w 187269"/>
                  <a:gd name="connsiteY87" fmla="*/ 26539 h 173250"/>
                  <a:gd name="connsiteX88" fmla="*/ 73180 w 187269"/>
                  <a:gd name="connsiteY88" fmla="*/ 25657 h 173250"/>
                  <a:gd name="connsiteX89" fmla="*/ 75825 w 187269"/>
                  <a:gd name="connsiteY89" fmla="*/ 24246 h 173250"/>
                  <a:gd name="connsiteX90" fmla="*/ 77235 w 187269"/>
                  <a:gd name="connsiteY90" fmla="*/ 22483 h 173250"/>
                  <a:gd name="connsiteX91" fmla="*/ 78117 w 187269"/>
                  <a:gd name="connsiteY91" fmla="*/ 21072 h 173250"/>
                  <a:gd name="connsiteX92" fmla="*/ 79881 w 187269"/>
                  <a:gd name="connsiteY92" fmla="*/ 19573 h 173250"/>
                  <a:gd name="connsiteX93" fmla="*/ 80762 w 187269"/>
                  <a:gd name="connsiteY93" fmla="*/ 17281 h 173250"/>
                  <a:gd name="connsiteX94" fmla="*/ 81379 w 187269"/>
                  <a:gd name="connsiteY94" fmla="*/ 14283 h 173250"/>
                  <a:gd name="connsiteX95" fmla="*/ 83407 w 187269"/>
                  <a:gd name="connsiteY95" fmla="*/ 12255 h 173250"/>
                  <a:gd name="connsiteX96" fmla="*/ 83672 w 187269"/>
                  <a:gd name="connsiteY96" fmla="*/ 8817 h 173250"/>
                  <a:gd name="connsiteX97" fmla="*/ 83672 w 187269"/>
                  <a:gd name="connsiteY97" fmla="*/ 6436 h 173250"/>
                  <a:gd name="connsiteX98" fmla="*/ 84553 w 187269"/>
                  <a:gd name="connsiteY98" fmla="*/ 5290 h 173250"/>
                  <a:gd name="connsiteX99" fmla="*/ 86934 w 187269"/>
                  <a:gd name="connsiteY99" fmla="*/ 3791 h 173250"/>
                  <a:gd name="connsiteX100" fmla="*/ 86934 w 187269"/>
                  <a:gd name="connsiteY100" fmla="*/ 2116 h 173250"/>
                  <a:gd name="connsiteX101" fmla="*/ 87198 w 187269"/>
                  <a:gd name="connsiteY101" fmla="*/ 617 h 173250"/>
                  <a:gd name="connsiteX102" fmla="*/ 87816 w 187269"/>
                  <a:gd name="connsiteY102" fmla="*/ 0 h 173250"/>
                  <a:gd name="connsiteX103" fmla="*/ 132429 w 187269"/>
                  <a:gd name="connsiteY103" fmla="*/ 617 h 173250"/>
                  <a:gd name="connsiteX104" fmla="*/ 187270 w 187269"/>
                  <a:gd name="connsiteY104" fmla="*/ 617 h 173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87269" h="173250">
                    <a:moveTo>
                      <a:pt x="186917" y="11726"/>
                    </a:moveTo>
                    <a:lnTo>
                      <a:pt x="186388" y="42321"/>
                    </a:lnTo>
                    <a:lnTo>
                      <a:pt x="115500" y="42321"/>
                    </a:lnTo>
                    <a:lnTo>
                      <a:pt x="110563" y="106772"/>
                    </a:lnTo>
                    <a:lnTo>
                      <a:pt x="101482" y="110034"/>
                    </a:lnTo>
                    <a:lnTo>
                      <a:pt x="89844" y="120174"/>
                    </a:lnTo>
                    <a:lnTo>
                      <a:pt x="96192" y="156675"/>
                    </a:lnTo>
                    <a:lnTo>
                      <a:pt x="5819" y="158086"/>
                    </a:lnTo>
                    <a:lnTo>
                      <a:pt x="3527" y="166021"/>
                    </a:lnTo>
                    <a:lnTo>
                      <a:pt x="3527" y="166815"/>
                    </a:lnTo>
                    <a:lnTo>
                      <a:pt x="2645" y="169548"/>
                    </a:lnTo>
                    <a:lnTo>
                      <a:pt x="2028" y="173251"/>
                    </a:lnTo>
                    <a:lnTo>
                      <a:pt x="529" y="172722"/>
                    </a:lnTo>
                    <a:lnTo>
                      <a:pt x="0" y="169548"/>
                    </a:lnTo>
                    <a:lnTo>
                      <a:pt x="264" y="165404"/>
                    </a:lnTo>
                    <a:lnTo>
                      <a:pt x="1763" y="162230"/>
                    </a:lnTo>
                    <a:lnTo>
                      <a:pt x="1763" y="159585"/>
                    </a:lnTo>
                    <a:lnTo>
                      <a:pt x="2292" y="156411"/>
                    </a:lnTo>
                    <a:lnTo>
                      <a:pt x="2645" y="154030"/>
                    </a:lnTo>
                    <a:lnTo>
                      <a:pt x="3174" y="149357"/>
                    </a:lnTo>
                    <a:lnTo>
                      <a:pt x="3791" y="146712"/>
                    </a:lnTo>
                    <a:lnTo>
                      <a:pt x="4673" y="144420"/>
                    </a:lnTo>
                    <a:lnTo>
                      <a:pt x="6436" y="142656"/>
                    </a:lnTo>
                    <a:lnTo>
                      <a:pt x="6084" y="140893"/>
                    </a:lnTo>
                    <a:lnTo>
                      <a:pt x="6965" y="138248"/>
                    </a:lnTo>
                    <a:lnTo>
                      <a:pt x="10757" y="136573"/>
                    </a:lnTo>
                    <a:lnTo>
                      <a:pt x="11109" y="135691"/>
                    </a:lnTo>
                    <a:lnTo>
                      <a:pt x="11374" y="137454"/>
                    </a:lnTo>
                    <a:lnTo>
                      <a:pt x="12255" y="137454"/>
                    </a:lnTo>
                    <a:lnTo>
                      <a:pt x="13137" y="137102"/>
                    </a:lnTo>
                    <a:lnTo>
                      <a:pt x="13666" y="135691"/>
                    </a:lnTo>
                    <a:lnTo>
                      <a:pt x="17457" y="128990"/>
                    </a:lnTo>
                    <a:lnTo>
                      <a:pt x="18956" y="123171"/>
                    </a:lnTo>
                    <a:lnTo>
                      <a:pt x="18692" y="120526"/>
                    </a:lnTo>
                    <a:lnTo>
                      <a:pt x="20367" y="119027"/>
                    </a:lnTo>
                    <a:lnTo>
                      <a:pt x="21866" y="117881"/>
                    </a:lnTo>
                    <a:lnTo>
                      <a:pt x="23365" y="116999"/>
                    </a:lnTo>
                    <a:lnTo>
                      <a:pt x="23629" y="114972"/>
                    </a:lnTo>
                    <a:lnTo>
                      <a:pt x="20719" y="115501"/>
                    </a:lnTo>
                    <a:lnTo>
                      <a:pt x="20984" y="113825"/>
                    </a:lnTo>
                    <a:lnTo>
                      <a:pt x="21866" y="111709"/>
                    </a:lnTo>
                    <a:lnTo>
                      <a:pt x="24775" y="108535"/>
                    </a:lnTo>
                    <a:lnTo>
                      <a:pt x="26803" y="107125"/>
                    </a:lnTo>
                    <a:lnTo>
                      <a:pt x="28566" y="104480"/>
                    </a:lnTo>
                    <a:lnTo>
                      <a:pt x="30330" y="101570"/>
                    </a:lnTo>
                    <a:lnTo>
                      <a:pt x="31740" y="98925"/>
                    </a:lnTo>
                    <a:lnTo>
                      <a:pt x="32975" y="95134"/>
                    </a:lnTo>
                    <a:lnTo>
                      <a:pt x="32358" y="95663"/>
                    </a:lnTo>
                    <a:lnTo>
                      <a:pt x="30594" y="97162"/>
                    </a:lnTo>
                    <a:lnTo>
                      <a:pt x="29448" y="98925"/>
                    </a:lnTo>
                    <a:lnTo>
                      <a:pt x="28831" y="100336"/>
                    </a:lnTo>
                    <a:lnTo>
                      <a:pt x="27420" y="100953"/>
                    </a:lnTo>
                    <a:lnTo>
                      <a:pt x="28302" y="98572"/>
                    </a:lnTo>
                    <a:lnTo>
                      <a:pt x="29713" y="96897"/>
                    </a:lnTo>
                    <a:lnTo>
                      <a:pt x="32622" y="93106"/>
                    </a:lnTo>
                    <a:lnTo>
                      <a:pt x="32622" y="91078"/>
                    </a:lnTo>
                    <a:lnTo>
                      <a:pt x="34121" y="88433"/>
                    </a:lnTo>
                    <a:lnTo>
                      <a:pt x="35884" y="86670"/>
                    </a:lnTo>
                    <a:lnTo>
                      <a:pt x="38177" y="83407"/>
                    </a:lnTo>
                    <a:lnTo>
                      <a:pt x="39676" y="80498"/>
                    </a:lnTo>
                    <a:lnTo>
                      <a:pt x="41703" y="78823"/>
                    </a:lnTo>
                    <a:lnTo>
                      <a:pt x="43996" y="77588"/>
                    </a:lnTo>
                    <a:lnTo>
                      <a:pt x="46641" y="76177"/>
                    </a:lnTo>
                    <a:lnTo>
                      <a:pt x="49551" y="75296"/>
                    </a:lnTo>
                    <a:lnTo>
                      <a:pt x="51314" y="74150"/>
                    </a:lnTo>
                    <a:lnTo>
                      <a:pt x="51578" y="70623"/>
                    </a:lnTo>
                    <a:lnTo>
                      <a:pt x="50432" y="67713"/>
                    </a:lnTo>
                    <a:lnTo>
                      <a:pt x="50432" y="65068"/>
                    </a:lnTo>
                    <a:lnTo>
                      <a:pt x="51049" y="62423"/>
                    </a:lnTo>
                    <a:lnTo>
                      <a:pt x="51931" y="60660"/>
                    </a:lnTo>
                    <a:lnTo>
                      <a:pt x="52196" y="58632"/>
                    </a:lnTo>
                    <a:lnTo>
                      <a:pt x="51578" y="56957"/>
                    </a:lnTo>
                    <a:lnTo>
                      <a:pt x="51578" y="54576"/>
                    </a:lnTo>
                    <a:lnTo>
                      <a:pt x="53077" y="52813"/>
                    </a:lnTo>
                    <a:lnTo>
                      <a:pt x="54841" y="50520"/>
                    </a:lnTo>
                    <a:lnTo>
                      <a:pt x="55370" y="48140"/>
                    </a:lnTo>
                    <a:lnTo>
                      <a:pt x="56604" y="45848"/>
                    </a:lnTo>
                    <a:lnTo>
                      <a:pt x="58015" y="43820"/>
                    </a:lnTo>
                    <a:lnTo>
                      <a:pt x="57133" y="40910"/>
                    </a:lnTo>
                    <a:lnTo>
                      <a:pt x="58015" y="39147"/>
                    </a:lnTo>
                    <a:lnTo>
                      <a:pt x="57750" y="37119"/>
                    </a:lnTo>
                    <a:lnTo>
                      <a:pt x="59161" y="35003"/>
                    </a:lnTo>
                    <a:lnTo>
                      <a:pt x="61806" y="33240"/>
                    </a:lnTo>
                    <a:lnTo>
                      <a:pt x="64098" y="32975"/>
                    </a:lnTo>
                    <a:lnTo>
                      <a:pt x="65862" y="31564"/>
                    </a:lnTo>
                    <a:lnTo>
                      <a:pt x="67625" y="28655"/>
                    </a:lnTo>
                    <a:lnTo>
                      <a:pt x="69388" y="27156"/>
                    </a:lnTo>
                    <a:lnTo>
                      <a:pt x="71681" y="26539"/>
                    </a:lnTo>
                    <a:lnTo>
                      <a:pt x="73180" y="25657"/>
                    </a:lnTo>
                    <a:lnTo>
                      <a:pt x="75825" y="24246"/>
                    </a:lnTo>
                    <a:lnTo>
                      <a:pt x="77235" y="22483"/>
                    </a:lnTo>
                    <a:lnTo>
                      <a:pt x="78117" y="21072"/>
                    </a:lnTo>
                    <a:lnTo>
                      <a:pt x="79881" y="19573"/>
                    </a:lnTo>
                    <a:lnTo>
                      <a:pt x="80762" y="17281"/>
                    </a:lnTo>
                    <a:lnTo>
                      <a:pt x="81379" y="14283"/>
                    </a:lnTo>
                    <a:lnTo>
                      <a:pt x="83407" y="12255"/>
                    </a:lnTo>
                    <a:lnTo>
                      <a:pt x="83672" y="8817"/>
                    </a:lnTo>
                    <a:lnTo>
                      <a:pt x="83672" y="6436"/>
                    </a:lnTo>
                    <a:lnTo>
                      <a:pt x="84553" y="5290"/>
                    </a:lnTo>
                    <a:lnTo>
                      <a:pt x="86934" y="3791"/>
                    </a:lnTo>
                    <a:lnTo>
                      <a:pt x="86934" y="2116"/>
                    </a:lnTo>
                    <a:lnTo>
                      <a:pt x="87198" y="617"/>
                    </a:lnTo>
                    <a:lnTo>
                      <a:pt x="87816" y="0"/>
                    </a:lnTo>
                    <a:lnTo>
                      <a:pt x="132429" y="617"/>
                    </a:lnTo>
                    <a:lnTo>
                      <a:pt x="187270" y="617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1" name="Freihandform: Form 1830">
                <a:extLst>
                  <a:ext uri="{FF2B5EF4-FFF2-40B4-BE49-F238E27FC236}">
                    <a16:creationId xmlns:a16="http://schemas.microsoft.com/office/drawing/2014/main" id="{7F810F9D-3159-0BFC-31F9-593883A9489A}"/>
                  </a:ext>
                </a:extLst>
              </p:cNvPr>
              <p:cNvSpPr/>
              <p:nvPr/>
            </p:nvSpPr>
            <p:spPr>
              <a:xfrm>
                <a:off x="3884599" y="3225771"/>
                <a:ext cx="442781" cy="451774"/>
              </a:xfrm>
              <a:custGeom>
                <a:avLst/>
                <a:gdLst>
                  <a:gd name="connsiteX0" fmla="*/ 138248 w 442781"/>
                  <a:gd name="connsiteY0" fmla="*/ 50080 h 451774"/>
                  <a:gd name="connsiteX1" fmla="*/ 137719 w 442781"/>
                  <a:gd name="connsiteY1" fmla="*/ 51579 h 451774"/>
                  <a:gd name="connsiteX2" fmla="*/ 139130 w 442781"/>
                  <a:gd name="connsiteY2" fmla="*/ 51843 h 451774"/>
                  <a:gd name="connsiteX3" fmla="*/ 140893 w 442781"/>
                  <a:gd name="connsiteY3" fmla="*/ 54224 h 451774"/>
                  <a:gd name="connsiteX4" fmla="*/ 142657 w 442781"/>
                  <a:gd name="connsiteY4" fmla="*/ 53871 h 451774"/>
                  <a:gd name="connsiteX5" fmla="*/ 143538 w 442781"/>
                  <a:gd name="connsiteY5" fmla="*/ 55370 h 451774"/>
                  <a:gd name="connsiteX6" fmla="*/ 145302 w 442781"/>
                  <a:gd name="connsiteY6" fmla="*/ 57133 h 451774"/>
                  <a:gd name="connsiteX7" fmla="*/ 147947 w 442781"/>
                  <a:gd name="connsiteY7" fmla="*/ 57398 h 451774"/>
                  <a:gd name="connsiteX8" fmla="*/ 147330 w 442781"/>
                  <a:gd name="connsiteY8" fmla="*/ 59161 h 451774"/>
                  <a:gd name="connsiteX9" fmla="*/ 147065 w 442781"/>
                  <a:gd name="connsiteY9" fmla="*/ 60660 h 451774"/>
                  <a:gd name="connsiteX10" fmla="*/ 145831 w 442781"/>
                  <a:gd name="connsiteY10" fmla="*/ 61453 h 451774"/>
                  <a:gd name="connsiteX11" fmla="*/ 147594 w 442781"/>
                  <a:gd name="connsiteY11" fmla="*/ 62688 h 451774"/>
                  <a:gd name="connsiteX12" fmla="*/ 148476 w 442781"/>
                  <a:gd name="connsiteY12" fmla="*/ 64716 h 451774"/>
                  <a:gd name="connsiteX13" fmla="*/ 147065 w 442781"/>
                  <a:gd name="connsiteY13" fmla="*/ 67361 h 451774"/>
                  <a:gd name="connsiteX14" fmla="*/ 147330 w 442781"/>
                  <a:gd name="connsiteY14" fmla="*/ 71681 h 451774"/>
                  <a:gd name="connsiteX15" fmla="*/ 148476 w 442781"/>
                  <a:gd name="connsiteY15" fmla="*/ 73180 h 451774"/>
                  <a:gd name="connsiteX16" fmla="*/ 150503 w 442781"/>
                  <a:gd name="connsiteY16" fmla="*/ 74591 h 451774"/>
                  <a:gd name="connsiteX17" fmla="*/ 149093 w 442781"/>
                  <a:gd name="connsiteY17" fmla="*/ 79881 h 451774"/>
                  <a:gd name="connsiteX18" fmla="*/ 149357 w 442781"/>
                  <a:gd name="connsiteY18" fmla="*/ 82790 h 451774"/>
                  <a:gd name="connsiteX19" fmla="*/ 148476 w 442781"/>
                  <a:gd name="connsiteY19" fmla="*/ 84554 h 451774"/>
                  <a:gd name="connsiteX20" fmla="*/ 150503 w 442781"/>
                  <a:gd name="connsiteY20" fmla="*/ 85700 h 451774"/>
                  <a:gd name="connsiteX21" fmla="*/ 150856 w 442781"/>
                  <a:gd name="connsiteY21" fmla="*/ 86846 h 451774"/>
                  <a:gd name="connsiteX22" fmla="*/ 150856 w 442781"/>
                  <a:gd name="connsiteY22" fmla="*/ 88874 h 451774"/>
                  <a:gd name="connsiteX23" fmla="*/ 149622 w 442781"/>
                  <a:gd name="connsiteY23" fmla="*/ 92665 h 451774"/>
                  <a:gd name="connsiteX24" fmla="*/ 149622 w 442781"/>
                  <a:gd name="connsiteY24" fmla="*/ 95046 h 451774"/>
                  <a:gd name="connsiteX25" fmla="*/ 150503 w 442781"/>
                  <a:gd name="connsiteY25" fmla="*/ 95575 h 451774"/>
                  <a:gd name="connsiteX26" fmla="*/ 149975 w 442781"/>
                  <a:gd name="connsiteY26" fmla="*/ 97602 h 451774"/>
                  <a:gd name="connsiteX27" fmla="*/ 150503 w 442781"/>
                  <a:gd name="connsiteY27" fmla="*/ 99101 h 451774"/>
                  <a:gd name="connsiteX28" fmla="*/ 152619 w 442781"/>
                  <a:gd name="connsiteY28" fmla="*/ 98837 h 451774"/>
                  <a:gd name="connsiteX29" fmla="*/ 153501 w 442781"/>
                  <a:gd name="connsiteY29" fmla="*/ 99983 h 451774"/>
                  <a:gd name="connsiteX30" fmla="*/ 153501 w 442781"/>
                  <a:gd name="connsiteY30" fmla="*/ 102011 h 451774"/>
                  <a:gd name="connsiteX31" fmla="*/ 152267 w 442781"/>
                  <a:gd name="connsiteY31" fmla="*/ 103774 h 451774"/>
                  <a:gd name="connsiteX32" fmla="*/ 152884 w 442781"/>
                  <a:gd name="connsiteY32" fmla="*/ 106684 h 451774"/>
                  <a:gd name="connsiteX33" fmla="*/ 155794 w 442781"/>
                  <a:gd name="connsiteY33" fmla="*/ 109593 h 451774"/>
                  <a:gd name="connsiteX34" fmla="*/ 156940 w 442781"/>
                  <a:gd name="connsiteY34" fmla="*/ 109593 h 451774"/>
                  <a:gd name="connsiteX35" fmla="*/ 158086 w 442781"/>
                  <a:gd name="connsiteY35" fmla="*/ 110210 h 451774"/>
                  <a:gd name="connsiteX36" fmla="*/ 161348 w 442781"/>
                  <a:gd name="connsiteY36" fmla="*/ 111092 h 451774"/>
                  <a:gd name="connsiteX37" fmla="*/ 162759 w 442781"/>
                  <a:gd name="connsiteY37" fmla="*/ 114266 h 451774"/>
                  <a:gd name="connsiteX38" fmla="*/ 161084 w 442781"/>
                  <a:gd name="connsiteY38" fmla="*/ 116647 h 451774"/>
                  <a:gd name="connsiteX39" fmla="*/ 159320 w 442781"/>
                  <a:gd name="connsiteY39" fmla="*/ 116647 h 451774"/>
                  <a:gd name="connsiteX40" fmla="*/ 158439 w 442781"/>
                  <a:gd name="connsiteY40" fmla="*/ 119556 h 451774"/>
                  <a:gd name="connsiteX41" fmla="*/ 158086 w 442781"/>
                  <a:gd name="connsiteY41" fmla="*/ 120967 h 451774"/>
                  <a:gd name="connsiteX42" fmla="*/ 156411 w 442781"/>
                  <a:gd name="connsiteY42" fmla="*/ 122466 h 451774"/>
                  <a:gd name="connsiteX43" fmla="*/ 159320 w 442781"/>
                  <a:gd name="connsiteY43" fmla="*/ 122201 h 451774"/>
                  <a:gd name="connsiteX44" fmla="*/ 160114 w 442781"/>
                  <a:gd name="connsiteY44" fmla="*/ 123348 h 451774"/>
                  <a:gd name="connsiteX45" fmla="*/ 159585 w 442781"/>
                  <a:gd name="connsiteY45" fmla="*/ 124494 h 451774"/>
                  <a:gd name="connsiteX46" fmla="*/ 158086 w 442781"/>
                  <a:gd name="connsiteY46" fmla="*/ 124758 h 451774"/>
                  <a:gd name="connsiteX47" fmla="*/ 154030 w 442781"/>
                  <a:gd name="connsiteY47" fmla="*/ 123877 h 451774"/>
                  <a:gd name="connsiteX48" fmla="*/ 151738 w 442781"/>
                  <a:gd name="connsiteY48" fmla="*/ 122995 h 451774"/>
                  <a:gd name="connsiteX49" fmla="*/ 147065 w 442781"/>
                  <a:gd name="connsiteY49" fmla="*/ 123877 h 451774"/>
                  <a:gd name="connsiteX50" fmla="*/ 141246 w 442781"/>
                  <a:gd name="connsiteY50" fmla="*/ 124229 h 451774"/>
                  <a:gd name="connsiteX51" fmla="*/ 135691 w 442781"/>
                  <a:gd name="connsiteY51" fmla="*/ 122730 h 451774"/>
                  <a:gd name="connsiteX52" fmla="*/ 131900 w 442781"/>
                  <a:gd name="connsiteY52" fmla="*/ 123348 h 451774"/>
                  <a:gd name="connsiteX53" fmla="*/ 127227 w 442781"/>
                  <a:gd name="connsiteY53" fmla="*/ 124758 h 451774"/>
                  <a:gd name="connsiteX54" fmla="*/ 123436 w 442781"/>
                  <a:gd name="connsiteY54" fmla="*/ 125640 h 451774"/>
                  <a:gd name="connsiteX55" fmla="*/ 121937 w 442781"/>
                  <a:gd name="connsiteY55" fmla="*/ 127139 h 451774"/>
                  <a:gd name="connsiteX56" fmla="*/ 122554 w 442781"/>
                  <a:gd name="connsiteY56" fmla="*/ 129696 h 451774"/>
                  <a:gd name="connsiteX57" fmla="*/ 121673 w 442781"/>
                  <a:gd name="connsiteY57" fmla="*/ 130930 h 451774"/>
                  <a:gd name="connsiteX58" fmla="*/ 117881 w 442781"/>
                  <a:gd name="connsiteY58" fmla="*/ 133222 h 451774"/>
                  <a:gd name="connsiteX59" fmla="*/ 115236 w 442781"/>
                  <a:gd name="connsiteY59" fmla="*/ 133222 h 451774"/>
                  <a:gd name="connsiteX60" fmla="*/ 112944 w 442781"/>
                  <a:gd name="connsiteY60" fmla="*/ 134369 h 451774"/>
                  <a:gd name="connsiteX61" fmla="*/ 110563 w 442781"/>
                  <a:gd name="connsiteY61" fmla="*/ 134721 h 451774"/>
                  <a:gd name="connsiteX62" fmla="*/ 106772 w 442781"/>
                  <a:gd name="connsiteY62" fmla="*/ 133487 h 451774"/>
                  <a:gd name="connsiteX63" fmla="*/ 104127 w 442781"/>
                  <a:gd name="connsiteY63" fmla="*/ 134104 h 451774"/>
                  <a:gd name="connsiteX64" fmla="*/ 104127 w 442781"/>
                  <a:gd name="connsiteY64" fmla="*/ 135250 h 451774"/>
                  <a:gd name="connsiteX65" fmla="*/ 102981 w 442781"/>
                  <a:gd name="connsiteY65" fmla="*/ 137631 h 451774"/>
                  <a:gd name="connsiteX66" fmla="*/ 102981 w 442781"/>
                  <a:gd name="connsiteY66" fmla="*/ 139659 h 451774"/>
                  <a:gd name="connsiteX67" fmla="*/ 103862 w 442781"/>
                  <a:gd name="connsiteY67" fmla="*/ 140540 h 451774"/>
                  <a:gd name="connsiteX68" fmla="*/ 105009 w 442781"/>
                  <a:gd name="connsiteY68" fmla="*/ 141069 h 451774"/>
                  <a:gd name="connsiteX69" fmla="*/ 106772 w 442781"/>
                  <a:gd name="connsiteY69" fmla="*/ 141069 h 451774"/>
                  <a:gd name="connsiteX70" fmla="*/ 107037 w 442781"/>
                  <a:gd name="connsiteY70" fmla="*/ 141687 h 451774"/>
                  <a:gd name="connsiteX71" fmla="*/ 106772 w 442781"/>
                  <a:gd name="connsiteY71" fmla="*/ 142568 h 451774"/>
                  <a:gd name="connsiteX72" fmla="*/ 105009 w 442781"/>
                  <a:gd name="connsiteY72" fmla="*/ 143186 h 451774"/>
                  <a:gd name="connsiteX73" fmla="*/ 103862 w 442781"/>
                  <a:gd name="connsiteY73" fmla="*/ 143450 h 451774"/>
                  <a:gd name="connsiteX74" fmla="*/ 103598 w 442781"/>
                  <a:gd name="connsiteY74" fmla="*/ 144067 h 451774"/>
                  <a:gd name="connsiteX75" fmla="*/ 102716 w 442781"/>
                  <a:gd name="connsiteY75" fmla="*/ 145742 h 451774"/>
                  <a:gd name="connsiteX76" fmla="*/ 103598 w 442781"/>
                  <a:gd name="connsiteY76" fmla="*/ 147506 h 451774"/>
                  <a:gd name="connsiteX77" fmla="*/ 104480 w 442781"/>
                  <a:gd name="connsiteY77" fmla="*/ 148123 h 451774"/>
                  <a:gd name="connsiteX78" fmla="*/ 105009 w 442781"/>
                  <a:gd name="connsiteY78" fmla="*/ 147506 h 451774"/>
                  <a:gd name="connsiteX79" fmla="*/ 106243 w 442781"/>
                  <a:gd name="connsiteY79" fmla="*/ 148123 h 451774"/>
                  <a:gd name="connsiteX80" fmla="*/ 107654 w 442781"/>
                  <a:gd name="connsiteY80" fmla="*/ 147858 h 451774"/>
                  <a:gd name="connsiteX81" fmla="*/ 108800 w 442781"/>
                  <a:gd name="connsiteY81" fmla="*/ 149005 h 451774"/>
                  <a:gd name="connsiteX82" fmla="*/ 108271 w 442781"/>
                  <a:gd name="connsiteY82" fmla="*/ 151032 h 451774"/>
                  <a:gd name="connsiteX83" fmla="*/ 107654 w 442781"/>
                  <a:gd name="connsiteY83" fmla="*/ 152443 h 451774"/>
                  <a:gd name="connsiteX84" fmla="*/ 106508 w 442781"/>
                  <a:gd name="connsiteY84" fmla="*/ 153325 h 451774"/>
                  <a:gd name="connsiteX85" fmla="*/ 105009 w 442781"/>
                  <a:gd name="connsiteY85" fmla="*/ 153678 h 451774"/>
                  <a:gd name="connsiteX86" fmla="*/ 103598 w 442781"/>
                  <a:gd name="connsiteY86" fmla="*/ 153678 h 451774"/>
                  <a:gd name="connsiteX87" fmla="*/ 102716 w 442781"/>
                  <a:gd name="connsiteY87" fmla="*/ 153325 h 451774"/>
                  <a:gd name="connsiteX88" fmla="*/ 101835 w 442781"/>
                  <a:gd name="connsiteY88" fmla="*/ 153060 h 451774"/>
                  <a:gd name="connsiteX89" fmla="*/ 100953 w 442781"/>
                  <a:gd name="connsiteY89" fmla="*/ 153325 h 451774"/>
                  <a:gd name="connsiteX90" fmla="*/ 99807 w 442781"/>
                  <a:gd name="connsiteY90" fmla="*/ 153678 h 451774"/>
                  <a:gd name="connsiteX91" fmla="*/ 98660 w 442781"/>
                  <a:gd name="connsiteY91" fmla="*/ 154824 h 451774"/>
                  <a:gd name="connsiteX92" fmla="*/ 97426 w 442781"/>
                  <a:gd name="connsiteY92" fmla="*/ 155970 h 451774"/>
                  <a:gd name="connsiteX93" fmla="*/ 96897 w 442781"/>
                  <a:gd name="connsiteY93" fmla="*/ 157733 h 451774"/>
                  <a:gd name="connsiteX94" fmla="*/ 95134 w 442781"/>
                  <a:gd name="connsiteY94" fmla="*/ 158615 h 451774"/>
                  <a:gd name="connsiteX95" fmla="*/ 93988 w 442781"/>
                  <a:gd name="connsiteY95" fmla="*/ 159232 h 451774"/>
                  <a:gd name="connsiteX96" fmla="*/ 92489 w 442781"/>
                  <a:gd name="connsiteY96" fmla="*/ 159497 h 451774"/>
                  <a:gd name="connsiteX97" fmla="*/ 91872 w 442781"/>
                  <a:gd name="connsiteY97" fmla="*/ 160114 h 451774"/>
                  <a:gd name="connsiteX98" fmla="*/ 91872 w 442781"/>
                  <a:gd name="connsiteY98" fmla="*/ 160643 h 451774"/>
                  <a:gd name="connsiteX99" fmla="*/ 90196 w 442781"/>
                  <a:gd name="connsiteY99" fmla="*/ 161260 h 451774"/>
                  <a:gd name="connsiteX100" fmla="*/ 88080 w 442781"/>
                  <a:gd name="connsiteY100" fmla="*/ 161260 h 451774"/>
                  <a:gd name="connsiteX101" fmla="*/ 85788 w 442781"/>
                  <a:gd name="connsiteY101" fmla="*/ 161525 h 451774"/>
                  <a:gd name="connsiteX102" fmla="*/ 84289 w 442781"/>
                  <a:gd name="connsiteY102" fmla="*/ 162142 h 451774"/>
                  <a:gd name="connsiteX103" fmla="*/ 82261 w 442781"/>
                  <a:gd name="connsiteY103" fmla="*/ 162406 h 451774"/>
                  <a:gd name="connsiteX104" fmla="*/ 80851 w 442781"/>
                  <a:gd name="connsiteY104" fmla="*/ 164170 h 451774"/>
                  <a:gd name="connsiteX105" fmla="*/ 79352 w 442781"/>
                  <a:gd name="connsiteY105" fmla="*/ 165580 h 451774"/>
                  <a:gd name="connsiteX106" fmla="*/ 77588 w 442781"/>
                  <a:gd name="connsiteY106" fmla="*/ 167608 h 451774"/>
                  <a:gd name="connsiteX107" fmla="*/ 77324 w 442781"/>
                  <a:gd name="connsiteY107" fmla="*/ 170870 h 451774"/>
                  <a:gd name="connsiteX108" fmla="*/ 76442 w 442781"/>
                  <a:gd name="connsiteY108" fmla="*/ 171752 h 451774"/>
                  <a:gd name="connsiteX109" fmla="*/ 74414 w 442781"/>
                  <a:gd name="connsiteY109" fmla="*/ 173515 h 451774"/>
                  <a:gd name="connsiteX110" fmla="*/ 70887 w 442781"/>
                  <a:gd name="connsiteY110" fmla="*/ 177307 h 451774"/>
                  <a:gd name="connsiteX111" fmla="*/ 67096 w 442781"/>
                  <a:gd name="connsiteY111" fmla="*/ 179599 h 451774"/>
                  <a:gd name="connsiteX112" fmla="*/ 62159 w 442781"/>
                  <a:gd name="connsiteY112" fmla="*/ 181098 h 451774"/>
                  <a:gd name="connsiteX113" fmla="*/ 57486 w 442781"/>
                  <a:gd name="connsiteY113" fmla="*/ 180481 h 451774"/>
                  <a:gd name="connsiteX114" fmla="*/ 54576 w 442781"/>
                  <a:gd name="connsiteY114" fmla="*/ 180216 h 451774"/>
                  <a:gd name="connsiteX115" fmla="*/ 53166 w 442781"/>
                  <a:gd name="connsiteY115" fmla="*/ 181362 h 451774"/>
                  <a:gd name="connsiteX116" fmla="*/ 51050 w 442781"/>
                  <a:gd name="connsiteY116" fmla="*/ 181362 h 451774"/>
                  <a:gd name="connsiteX117" fmla="*/ 49022 w 442781"/>
                  <a:gd name="connsiteY117" fmla="*/ 181627 h 451774"/>
                  <a:gd name="connsiteX118" fmla="*/ 48140 w 442781"/>
                  <a:gd name="connsiteY118" fmla="*/ 181362 h 451774"/>
                  <a:gd name="connsiteX119" fmla="*/ 47258 w 442781"/>
                  <a:gd name="connsiteY119" fmla="*/ 182244 h 451774"/>
                  <a:gd name="connsiteX120" fmla="*/ 46729 w 442781"/>
                  <a:gd name="connsiteY120" fmla="*/ 186035 h 451774"/>
                  <a:gd name="connsiteX121" fmla="*/ 45230 w 442781"/>
                  <a:gd name="connsiteY121" fmla="*/ 187446 h 451774"/>
                  <a:gd name="connsiteX122" fmla="*/ 42056 w 442781"/>
                  <a:gd name="connsiteY122" fmla="*/ 187182 h 451774"/>
                  <a:gd name="connsiteX123" fmla="*/ 39676 w 442781"/>
                  <a:gd name="connsiteY123" fmla="*/ 186035 h 451774"/>
                  <a:gd name="connsiteX124" fmla="*/ 37119 w 442781"/>
                  <a:gd name="connsiteY124" fmla="*/ 186035 h 451774"/>
                  <a:gd name="connsiteX125" fmla="*/ 33328 w 442781"/>
                  <a:gd name="connsiteY125" fmla="*/ 186300 h 451774"/>
                  <a:gd name="connsiteX126" fmla="*/ 29801 w 442781"/>
                  <a:gd name="connsiteY126" fmla="*/ 188328 h 451774"/>
                  <a:gd name="connsiteX127" fmla="*/ 28567 w 442781"/>
                  <a:gd name="connsiteY127" fmla="*/ 190091 h 451774"/>
                  <a:gd name="connsiteX128" fmla="*/ 27421 w 442781"/>
                  <a:gd name="connsiteY128" fmla="*/ 191590 h 451774"/>
                  <a:gd name="connsiteX129" fmla="*/ 26274 w 442781"/>
                  <a:gd name="connsiteY129" fmla="*/ 192119 h 451774"/>
                  <a:gd name="connsiteX130" fmla="*/ 23629 w 442781"/>
                  <a:gd name="connsiteY130" fmla="*/ 192119 h 451774"/>
                  <a:gd name="connsiteX131" fmla="*/ 21954 w 442781"/>
                  <a:gd name="connsiteY131" fmla="*/ 193353 h 451774"/>
                  <a:gd name="connsiteX132" fmla="*/ 20191 w 442781"/>
                  <a:gd name="connsiteY132" fmla="*/ 193618 h 451774"/>
                  <a:gd name="connsiteX133" fmla="*/ 19573 w 442781"/>
                  <a:gd name="connsiteY133" fmla="*/ 194764 h 451774"/>
                  <a:gd name="connsiteX134" fmla="*/ 16047 w 442781"/>
                  <a:gd name="connsiteY134" fmla="*/ 197673 h 451774"/>
                  <a:gd name="connsiteX135" fmla="*/ 12873 w 442781"/>
                  <a:gd name="connsiteY135" fmla="*/ 200936 h 451774"/>
                  <a:gd name="connsiteX136" fmla="*/ 8464 w 442781"/>
                  <a:gd name="connsiteY136" fmla="*/ 202964 h 451774"/>
                  <a:gd name="connsiteX137" fmla="*/ 7054 w 442781"/>
                  <a:gd name="connsiteY137" fmla="*/ 203493 h 451774"/>
                  <a:gd name="connsiteX138" fmla="*/ 6172 w 442781"/>
                  <a:gd name="connsiteY138" fmla="*/ 204727 h 451774"/>
                  <a:gd name="connsiteX139" fmla="*/ 5026 w 442781"/>
                  <a:gd name="connsiteY139" fmla="*/ 205609 h 451774"/>
                  <a:gd name="connsiteX140" fmla="*/ 3791 w 442781"/>
                  <a:gd name="connsiteY140" fmla="*/ 206755 h 451774"/>
                  <a:gd name="connsiteX141" fmla="*/ 617 w 442781"/>
                  <a:gd name="connsiteY141" fmla="*/ 208166 h 451774"/>
                  <a:gd name="connsiteX142" fmla="*/ 353 w 442781"/>
                  <a:gd name="connsiteY142" fmla="*/ 234440 h 451774"/>
                  <a:gd name="connsiteX143" fmla="*/ 0 w 442781"/>
                  <a:gd name="connsiteY143" fmla="*/ 245549 h 451774"/>
                  <a:gd name="connsiteX144" fmla="*/ 81380 w 442781"/>
                  <a:gd name="connsiteY144" fmla="*/ 301536 h 451774"/>
                  <a:gd name="connsiteX145" fmla="*/ 189033 w 442781"/>
                  <a:gd name="connsiteY145" fmla="*/ 372952 h 451774"/>
                  <a:gd name="connsiteX146" fmla="*/ 209753 w 442781"/>
                  <a:gd name="connsiteY146" fmla="*/ 398609 h 451774"/>
                  <a:gd name="connsiteX147" fmla="*/ 210370 w 442781"/>
                  <a:gd name="connsiteY147" fmla="*/ 400373 h 451774"/>
                  <a:gd name="connsiteX148" fmla="*/ 208871 w 442781"/>
                  <a:gd name="connsiteY148" fmla="*/ 405927 h 451774"/>
                  <a:gd name="connsiteX149" fmla="*/ 209753 w 442781"/>
                  <a:gd name="connsiteY149" fmla="*/ 407073 h 451774"/>
                  <a:gd name="connsiteX150" fmla="*/ 212133 w 442781"/>
                  <a:gd name="connsiteY150" fmla="*/ 407955 h 451774"/>
                  <a:gd name="connsiteX151" fmla="*/ 214161 w 442781"/>
                  <a:gd name="connsiteY151" fmla="*/ 409718 h 451774"/>
                  <a:gd name="connsiteX152" fmla="*/ 216454 w 442781"/>
                  <a:gd name="connsiteY152" fmla="*/ 410600 h 451774"/>
                  <a:gd name="connsiteX153" fmla="*/ 219627 w 442781"/>
                  <a:gd name="connsiteY153" fmla="*/ 411482 h 451774"/>
                  <a:gd name="connsiteX154" fmla="*/ 222273 w 442781"/>
                  <a:gd name="connsiteY154" fmla="*/ 412628 h 451774"/>
                  <a:gd name="connsiteX155" fmla="*/ 221126 w 442781"/>
                  <a:gd name="connsiteY155" fmla="*/ 415273 h 451774"/>
                  <a:gd name="connsiteX156" fmla="*/ 223419 w 442781"/>
                  <a:gd name="connsiteY156" fmla="*/ 418183 h 451774"/>
                  <a:gd name="connsiteX157" fmla="*/ 224918 w 442781"/>
                  <a:gd name="connsiteY157" fmla="*/ 418800 h 451774"/>
                  <a:gd name="connsiteX158" fmla="*/ 225799 w 442781"/>
                  <a:gd name="connsiteY158" fmla="*/ 420211 h 451774"/>
                  <a:gd name="connsiteX159" fmla="*/ 226946 w 442781"/>
                  <a:gd name="connsiteY159" fmla="*/ 419329 h 451774"/>
                  <a:gd name="connsiteX160" fmla="*/ 229855 w 442781"/>
                  <a:gd name="connsiteY160" fmla="*/ 420828 h 451774"/>
                  <a:gd name="connsiteX161" fmla="*/ 230472 w 442781"/>
                  <a:gd name="connsiteY161" fmla="*/ 420211 h 451774"/>
                  <a:gd name="connsiteX162" fmla="*/ 232235 w 442781"/>
                  <a:gd name="connsiteY162" fmla="*/ 419682 h 451774"/>
                  <a:gd name="connsiteX163" fmla="*/ 233646 w 442781"/>
                  <a:gd name="connsiteY163" fmla="*/ 420211 h 451774"/>
                  <a:gd name="connsiteX164" fmla="*/ 234881 w 442781"/>
                  <a:gd name="connsiteY164" fmla="*/ 421709 h 451774"/>
                  <a:gd name="connsiteX165" fmla="*/ 236908 w 442781"/>
                  <a:gd name="connsiteY165" fmla="*/ 423737 h 451774"/>
                  <a:gd name="connsiteX166" fmla="*/ 238055 w 442781"/>
                  <a:gd name="connsiteY166" fmla="*/ 424354 h 451774"/>
                  <a:gd name="connsiteX167" fmla="*/ 239201 w 442781"/>
                  <a:gd name="connsiteY167" fmla="*/ 425148 h 451774"/>
                  <a:gd name="connsiteX168" fmla="*/ 240347 w 442781"/>
                  <a:gd name="connsiteY168" fmla="*/ 424883 h 451774"/>
                  <a:gd name="connsiteX169" fmla="*/ 241493 w 442781"/>
                  <a:gd name="connsiteY169" fmla="*/ 424619 h 451774"/>
                  <a:gd name="connsiteX170" fmla="*/ 242992 w 442781"/>
                  <a:gd name="connsiteY170" fmla="*/ 425501 h 451774"/>
                  <a:gd name="connsiteX171" fmla="*/ 245902 w 442781"/>
                  <a:gd name="connsiteY171" fmla="*/ 427529 h 451774"/>
                  <a:gd name="connsiteX172" fmla="*/ 248282 w 442781"/>
                  <a:gd name="connsiteY172" fmla="*/ 428058 h 451774"/>
                  <a:gd name="connsiteX173" fmla="*/ 250927 w 442781"/>
                  <a:gd name="connsiteY173" fmla="*/ 428410 h 451774"/>
                  <a:gd name="connsiteX174" fmla="*/ 253220 w 442781"/>
                  <a:gd name="connsiteY174" fmla="*/ 428675 h 451774"/>
                  <a:gd name="connsiteX175" fmla="*/ 254719 w 442781"/>
                  <a:gd name="connsiteY175" fmla="*/ 430174 h 451774"/>
                  <a:gd name="connsiteX176" fmla="*/ 254366 w 442781"/>
                  <a:gd name="connsiteY176" fmla="*/ 436522 h 451774"/>
                  <a:gd name="connsiteX177" fmla="*/ 255248 w 442781"/>
                  <a:gd name="connsiteY177" fmla="*/ 437139 h 451774"/>
                  <a:gd name="connsiteX178" fmla="*/ 255248 w 442781"/>
                  <a:gd name="connsiteY178" fmla="*/ 439519 h 451774"/>
                  <a:gd name="connsiteX179" fmla="*/ 254719 w 442781"/>
                  <a:gd name="connsiteY179" fmla="*/ 441547 h 451774"/>
                  <a:gd name="connsiteX180" fmla="*/ 253484 w 442781"/>
                  <a:gd name="connsiteY180" fmla="*/ 442429 h 451774"/>
                  <a:gd name="connsiteX181" fmla="*/ 254101 w 442781"/>
                  <a:gd name="connsiteY181" fmla="*/ 443840 h 451774"/>
                  <a:gd name="connsiteX182" fmla="*/ 252867 w 442781"/>
                  <a:gd name="connsiteY182" fmla="*/ 444457 h 451774"/>
                  <a:gd name="connsiteX183" fmla="*/ 251721 w 442781"/>
                  <a:gd name="connsiteY183" fmla="*/ 447102 h 451774"/>
                  <a:gd name="connsiteX184" fmla="*/ 253484 w 442781"/>
                  <a:gd name="connsiteY184" fmla="*/ 449130 h 451774"/>
                  <a:gd name="connsiteX185" fmla="*/ 255512 w 442781"/>
                  <a:gd name="connsiteY185" fmla="*/ 449659 h 451774"/>
                  <a:gd name="connsiteX186" fmla="*/ 256746 w 442781"/>
                  <a:gd name="connsiteY186" fmla="*/ 451775 h 451774"/>
                  <a:gd name="connsiteX187" fmla="*/ 276849 w 442781"/>
                  <a:gd name="connsiteY187" fmla="*/ 445603 h 451774"/>
                  <a:gd name="connsiteX188" fmla="*/ 310088 w 442781"/>
                  <a:gd name="connsiteY188" fmla="*/ 440048 h 451774"/>
                  <a:gd name="connsiteX189" fmla="*/ 342710 w 442781"/>
                  <a:gd name="connsiteY189" fmla="*/ 390762 h 451774"/>
                  <a:gd name="connsiteX190" fmla="*/ 442782 w 442781"/>
                  <a:gd name="connsiteY190" fmla="*/ 339184 h 451774"/>
                  <a:gd name="connsiteX191" fmla="*/ 432290 w 442781"/>
                  <a:gd name="connsiteY191" fmla="*/ 318729 h 451774"/>
                  <a:gd name="connsiteX192" fmla="*/ 420652 w 442781"/>
                  <a:gd name="connsiteY192" fmla="*/ 314320 h 451774"/>
                  <a:gd name="connsiteX193" fmla="*/ 414480 w 442781"/>
                  <a:gd name="connsiteY193" fmla="*/ 311763 h 451774"/>
                  <a:gd name="connsiteX194" fmla="*/ 409278 w 442781"/>
                  <a:gd name="connsiteY194" fmla="*/ 314056 h 451774"/>
                  <a:gd name="connsiteX195" fmla="*/ 407514 w 442781"/>
                  <a:gd name="connsiteY195" fmla="*/ 314056 h 451774"/>
                  <a:gd name="connsiteX196" fmla="*/ 404252 w 442781"/>
                  <a:gd name="connsiteY196" fmla="*/ 311146 h 451774"/>
                  <a:gd name="connsiteX197" fmla="*/ 403459 w 442781"/>
                  <a:gd name="connsiteY197" fmla="*/ 307355 h 451774"/>
                  <a:gd name="connsiteX198" fmla="*/ 400196 w 442781"/>
                  <a:gd name="connsiteY198" fmla="*/ 305063 h 451774"/>
                  <a:gd name="connsiteX199" fmla="*/ 399315 w 442781"/>
                  <a:gd name="connsiteY199" fmla="*/ 293336 h 451774"/>
                  <a:gd name="connsiteX200" fmla="*/ 385384 w 442781"/>
                  <a:gd name="connsiteY200" fmla="*/ 272352 h 451774"/>
                  <a:gd name="connsiteX201" fmla="*/ 385649 w 442781"/>
                  <a:gd name="connsiteY201" fmla="*/ 270589 h 451774"/>
                  <a:gd name="connsiteX202" fmla="*/ 386178 w 442781"/>
                  <a:gd name="connsiteY202" fmla="*/ 268825 h 451774"/>
                  <a:gd name="connsiteX203" fmla="*/ 387676 w 442781"/>
                  <a:gd name="connsiteY203" fmla="*/ 268561 h 451774"/>
                  <a:gd name="connsiteX204" fmla="*/ 387941 w 442781"/>
                  <a:gd name="connsiteY204" fmla="*/ 267415 h 451774"/>
                  <a:gd name="connsiteX205" fmla="*/ 390586 w 442781"/>
                  <a:gd name="connsiteY205" fmla="*/ 266268 h 451774"/>
                  <a:gd name="connsiteX206" fmla="*/ 395259 w 442781"/>
                  <a:gd name="connsiteY206" fmla="*/ 263359 h 451774"/>
                  <a:gd name="connsiteX207" fmla="*/ 397022 w 442781"/>
                  <a:gd name="connsiteY207" fmla="*/ 259215 h 451774"/>
                  <a:gd name="connsiteX208" fmla="*/ 395523 w 442781"/>
                  <a:gd name="connsiteY208" fmla="*/ 258951 h 451774"/>
                  <a:gd name="connsiteX209" fmla="*/ 395876 w 442781"/>
                  <a:gd name="connsiteY209" fmla="*/ 254895 h 451774"/>
                  <a:gd name="connsiteX210" fmla="*/ 394377 w 442781"/>
                  <a:gd name="connsiteY210" fmla="*/ 254278 h 451774"/>
                  <a:gd name="connsiteX211" fmla="*/ 393496 w 442781"/>
                  <a:gd name="connsiteY211" fmla="*/ 249869 h 451774"/>
                  <a:gd name="connsiteX212" fmla="*/ 392614 w 442781"/>
                  <a:gd name="connsiteY212" fmla="*/ 246960 h 451774"/>
                  <a:gd name="connsiteX213" fmla="*/ 391732 w 442781"/>
                  <a:gd name="connsiteY213" fmla="*/ 242639 h 451774"/>
                  <a:gd name="connsiteX214" fmla="*/ 392349 w 442781"/>
                  <a:gd name="connsiteY214" fmla="*/ 240612 h 451774"/>
                  <a:gd name="connsiteX215" fmla="*/ 394113 w 442781"/>
                  <a:gd name="connsiteY215" fmla="*/ 239113 h 451774"/>
                  <a:gd name="connsiteX216" fmla="*/ 393231 w 442781"/>
                  <a:gd name="connsiteY216" fmla="*/ 237349 h 451774"/>
                  <a:gd name="connsiteX217" fmla="*/ 394642 w 442781"/>
                  <a:gd name="connsiteY217" fmla="*/ 236468 h 451774"/>
                  <a:gd name="connsiteX218" fmla="*/ 396670 w 442781"/>
                  <a:gd name="connsiteY218" fmla="*/ 230031 h 451774"/>
                  <a:gd name="connsiteX219" fmla="*/ 392085 w 442781"/>
                  <a:gd name="connsiteY219" fmla="*/ 220156 h 451774"/>
                  <a:gd name="connsiteX220" fmla="*/ 393760 w 442781"/>
                  <a:gd name="connsiteY220" fmla="*/ 206138 h 451774"/>
                  <a:gd name="connsiteX221" fmla="*/ 393760 w 442781"/>
                  <a:gd name="connsiteY221" fmla="*/ 202346 h 451774"/>
                  <a:gd name="connsiteX222" fmla="*/ 392878 w 442781"/>
                  <a:gd name="connsiteY222" fmla="*/ 197673 h 451774"/>
                  <a:gd name="connsiteX223" fmla="*/ 390851 w 442781"/>
                  <a:gd name="connsiteY223" fmla="*/ 190708 h 451774"/>
                  <a:gd name="connsiteX224" fmla="*/ 389087 w 442781"/>
                  <a:gd name="connsiteY224" fmla="*/ 186035 h 451774"/>
                  <a:gd name="connsiteX225" fmla="*/ 387059 w 442781"/>
                  <a:gd name="connsiteY225" fmla="*/ 181980 h 451774"/>
                  <a:gd name="connsiteX226" fmla="*/ 384150 w 442781"/>
                  <a:gd name="connsiteY226" fmla="*/ 176690 h 451774"/>
                  <a:gd name="connsiteX227" fmla="*/ 381240 w 442781"/>
                  <a:gd name="connsiteY227" fmla="*/ 173163 h 451774"/>
                  <a:gd name="connsiteX228" fmla="*/ 386178 w 442781"/>
                  <a:gd name="connsiteY228" fmla="*/ 170253 h 451774"/>
                  <a:gd name="connsiteX229" fmla="*/ 379477 w 442781"/>
                  <a:gd name="connsiteY229" fmla="*/ 151032 h 451774"/>
                  <a:gd name="connsiteX230" fmla="*/ 376832 w 442781"/>
                  <a:gd name="connsiteY230" fmla="*/ 141069 h 451774"/>
                  <a:gd name="connsiteX231" fmla="*/ 375157 w 442781"/>
                  <a:gd name="connsiteY231" fmla="*/ 125111 h 451774"/>
                  <a:gd name="connsiteX232" fmla="*/ 368456 w 442781"/>
                  <a:gd name="connsiteY232" fmla="*/ 116911 h 451774"/>
                  <a:gd name="connsiteX233" fmla="*/ 359727 w 442781"/>
                  <a:gd name="connsiteY233" fmla="*/ 113120 h 451774"/>
                  <a:gd name="connsiteX234" fmla="*/ 358228 w 442781"/>
                  <a:gd name="connsiteY234" fmla="*/ 106155 h 451774"/>
                  <a:gd name="connsiteX235" fmla="*/ 352938 w 442781"/>
                  <a:gd name="connsiteY235" fmla="*/ 98837 h 451774"/>
                  <a:gd name="connsiteX236" fmla="*/ 352057 w 442781"/>
                  <a:gd name="connsiteY236" fmla="*/ 98837 h 451774"/>
                  <a:gd name="connsiteX237" fmla="*/ 349147 w 442781"/>
                  <a:gd name="connsiteY237" fmla="*/ 97338 h 451774"/>
                  <a:gd name="connsiteX238" fmla="*/ 347472 w 442781"/>
                  <a:gd name="connsiteY238" fmla="*/ 96809 h 451774"/>
                  <a:gd name="connsiteX239" fmla="*/ 346237 w 442781"/>
                  <a:gd name="connsiteY239" fmla="*/ 95575 h 451774"/>
                  <a:gd name="connsiteX240" fmla="*/ 344827 w 442781"/>
                  <a:gd name="connsiteY240" fmla="*/ 90902 h 451774"/>
                  <a:gd name="connsiteX241" fmla="*/ 341917 w 442781"/>
                  <a:gd name="connsiteY241" fmla="*/ 83055 h 451774"/>
                  <a:gd name="connsiteX242" fmla="*/ 341036 w 442781"/>
                  <a:gd name="connsiteY242" fmla="*/ 81909 h 451774"/>
                  <a:gd name="connsiteX243" fmla="*/ 341036 w 442781"/>
                  <a:gd name="connsiteY243" fmla="*/ 79881 h 451774"/>
                  <a:gd name="connsiteX244" fmla="*/ 341300 w 442781"/>
                  <a:gd name="connsiteY244" fmla="*/ 74855 h 451774"/>
                  <a:gd name="connsiteX245" fmla="*/ 343328 w 442781"/>
                  <a:gd name="connsiteY245" fmla="*/ 71681 h 451774"/>
                  <a:gd name="connsiteX246" fmla="*/ 346590 w 442781"/>
                  <a:gd name="connsiteY246" fmla="*/ 70535 h 451774"/>
                  <a:gd name="connsiteX247" fmla="*/ 347736 w 442781"/>
                  <a:gd name="connsiteY247" fmla="*/ 67890 h 451774"/>
                  <a:gd name="connsiteX248" fmla="*/ 348882 w 442781"/>
                  <a:gd name="connsiteY248" fmla="*/ 65245 h 451774"/>
                  <a:gd name="connsiteX249" fmla="*/ 353291 w 442781"/>
                  <a:gd name="connsiteY249" fmla="*/ 63569 h 451774"/>
                  <a:gd name="connsiteX250" fmla="*/ 354701 w 442781"/>
                  <a:gd name="connsiteY250" fmla="*/ 62688 h 451774"/>
                  <a:gd name="connsiteX251" fmla="*/ 354701 w 442781"/>
                  <a:gd name="connsiteY251" fmla="*/ 61453 h 451774"/>
                  <a:gd name="connsiteX252" fmla="*/ 355583 w 442781"/>
                  <a:gd name="connsiteY252" fmla="*/ 60660 h 451774"/>
                  <a:gd name="connsiteX253" fmla="*/ 354966 w 442781"/>
                  <a:gd name="connsiteY253" fmla="*/ 59426 h 451774"/>
                  <a:gd name="connsiteX254" fmla="*/ 356465 w 442781"/>
                  <a:gd name="connsiteY254" fmla="*/ 57662 h 451774"/>
                  <a:gd name="connsiteX255" fmla="*/ 356200 w 442781"/>
                  <a:gd name="connsiteY255" fmla="*/ 53606 h 451774"/>
                  <a:gd name="connsiteX256" fmla="*/ 357082 w 442781"/>
                  <a:gd name="connsiteY256" fmla="*/ 51579 h 451774"/>
                  <a:gd name="connsiteX257" fmla="*/ 357346 w 442781"/>
                  <a:gd name="connsiteY257" fmla="*/ 48933 h 451774"/>
                  <a:gd name="connsiteX258" fmla="*/ 358493 w 442781"/>
                  <a:gd name="connsiteY258" fmla="*/ 47787 h 451774"/>
                  <a:gd name="connsiteX259" fmla="*/ 358493 w 442781"/>
                  <a:gd name="connsiteY259" fmla="*/ 46906 h 451774"/>
                  <a:gd name="connsiteX260" fmla="*/ 359727 w 442781"/>
                  <a:gd name="connsiteY260" fmla="*/ 46288 h 451774"/>
                  <a:gd name="connsiteX261" fmla="*/ 359727 w 442781"/>
                  <a:gd name="connsiteY261" fmla="*/ 45142 h 451774"/>
                  <a:gd name="connsiteX262" fmla="*/ 357346 w 442781"/>
                  <a:gd name="connsiteY262" fmla="*/ 44878 h 451774"/>
                  <a:gd name="connsiteX263" fmla="*/ 357082 w 442781"/>
                  <a:gd name="connsiteY263" fmla="*/ 43732 h 451774"/>
                  <a:gd name="connsiteX264" fmla="*/ 356729 w 442781"/>
                  <a:gd name="connsiteY264" fmla="*/ 41704 h 451774"/>
                  <a:gd name="connsiteX265" fmla="*/ 358228 w 442781"/>
                  <a:gd name="connsiteY265" fmla="*/ 38441 h 451774"/>
                  <a:gd name="connsiteX266" fmla="*/ 357082 w 442781"/>
                  <a:gd name="connsiteY266" fmla="*/ 35267 h 451774"/>
                  <a:gd name="connsiteX267" fmla="*/ 355848 w 442781"/>
                  <a:gd name="connsiteY267" fmla="*/ 33151 h 451774"/>
                  <a:gd name="connsiteX268" fmla="*/ 355583 w 442781"/>
                  <a:gd name="connsiteY268" fmla="*/ 31741 h 451774"/>
                  <a:gd name="connsiteX269" fmla="*/ 355583 w 442781"/>
                  <a:gd name="connsiteY269" fmla="*/ 29713 h 451774"/>
                  <a:gd name="connsiteX270" fmla="*/ 355848 w 442781"/>
                  <a:gd name="connsiteY270" fmla="*/ 25657 h 451774"/>
                  <a:gd name="connsiteX271" fmla="*/ 356465 w 442781"/>
                  <a:gd name="connsiteY271" fmla="*/ 23276 h 451774"/>
                  <a:gd name="connsiteX272" fmla="*/ 356200 w 442781"/>
                  <a:gd name="connsiteY272" fmla="*/ 21866 h 451774"/>
                  <a:gd name="connsiteX273" fmla="*/ 356465 w 442781"/>
                  <a:gd name="connsiteY273" fmla="*/ 19750 h 451774"/>
                  <a:gd name="connsiteX274" fmla="*/ 357611 w 442781"/>
                  <a:gd name="connsiteY274" fmla="*/ 18339 h 451774"/>
                  <a:gd name="connsiteX275" fmla="*/ 357082 w 442781"/>
                  <a:gd name="connsiteY275" fmla="*/ 15694 h 451774"/>
                  <a:gd name="connsiteX276" fmla="*/ 355583 w 442781"/>
                  <a:gd name="connsiteY276" fmla="*/ 15429 h 451774"/>
                  <a:gd name="connsiteX277" fmla="*/ 353555 w 442781"/>
                  <a:gd name="connsiteY277" fmla="*/ 15694 h 451774"/>
                  <a:gd name="connsiteX278" fmla="*/ 353555 w 442781"/>
                  <a:gd name="connsiteY278" fmla="*/ 11903 h 451774"/>
                  <a:gd name="connsiteX279" fmla="*/ 356729 w 442781"/>
                  <a:gd name="connsiteY279" fmla="*/ 11638 h 451774"/>
                  <a:gd name="connsiteX280" fmla="*/ 357964 w 442781"/>
                  <a:gd name="connsiteY280" fmla="*/ 11903 h 451774"/>
                  <a:gd name="connsiteX281" fmla="*/ 358493 w 442781"/>
                  <a:gd name="connsiteY281" fmla="*/ 11638 h 451774"/>
                  <a:gd name="connsiteX282" fmla="*/ 359110 w 442781"/>
                  <a:gd name="connsiteY282" fmla="*/ 10492 h 451774"/>
                  <a:gd name="connsiteX283" fmla="*/ 357964 w 442781"/>
                  <a:gd name="connsiteY283" fmla="*/ 9258 h 451774"/>
                  <a:gd name="connsiteX284" fmla="*/ 357964 w 442781"/>
                  <a:gd name="connsiteY284" fmla="*/ 8376 h 451774"/>
                  <a:gd name="connsiteX285" fmla="*/ 358493 w 442781"/>
                  <a:gd name="connsiteY285" fmla="*/ 8111 h 451774"/>
                  <a:gd name="connsiteX286" fmla="*/ 359374 w 442781"/>
                  <a:gd name="connsiteY286" fmla="*/ 8111 h 451774"/>
                  <a:gd name="connsiteX287" fmla="*/ 360256 w 442781"/>
                  <a:gd name="connsiteY287" fmla="*/ 8376 h 451774"/>
                  <a:gd name="connsiteX288" fmla="*/ 362284 w 442781"/>
                  <a:gd name="connsiteY288" fmla="*/ 8729 h 451774"/>
                  <a:gd name="connsiteX289" fmla="*/ 363166 w 442781"/>
                  <a:gd name="connsiteY289" fmla="*/ 8376 h 451774"/>
                  <a:gd name="connsiteX290" fmla="*/ 363166 w 442781"/>
                  <a:gd name="connsiteY290" fmla="*/ 6965 h 451774"/>
                  <a:gd name="connsiteX291" fmla="*/ 362548 w 442781"/>
                  <a:gd name="connsiteY291" fmla="*/ 6348 h 451774"/>
                  <a:gd name="connsiteX292" fmla="*/ 362019 w 442781"/>
                  <a:gd name="connsiteY292" fmla="*/ 5467 h 451774"/>
                  <a:gd name="connsiteX293" fmla="*/ 362901 w 442781"/>
                  <a:gd name="connsiteY293" fmla="*/ 5202 h 451774"/>
                  <a:gd name="connsiteX294" fmla="*/ 362901 w 442781"/>
                  <a:gd name="connsiteY294" fmla="*/ 4320 h 451774"/>
                  <a:gd name="connsiteX295" fmla="*/ 361402 w 442781"/>
                  <a:gd name="connsiteY295" fmla="*/ 4056 h 451774"/>
                  <a:gd name="connsiteX296" fmla="*/ 360256 w 442781"/>
                  <a:gd name="connsiteY296" fmla="*/ 4320 h 451774"/>
                  <a:gd name="connsiteX297" fmla="*/ 359727 w 442781"/>
                  <a:gd name="connsiteY297" fmla="*/ 4320 h 451774"/>
                  <a:gd name="connsiteX298" fmla="*/ 359110 w 442781"/>
                  <a:gd name="connsiteY298" fmla="*/ 4585 h 451774"/>
                  <a:gd name="connsiteX299" fmla="*/ 358757 w 442781"/>
                  <a:gd name="connsiteY299" fmla="*/ 4937 h 451774"/>
                  <a:gd name="connsiteX300" fmla="*/ 356465 w 442781"/>
                  <a:gd name="connsiteY300" fmla="*/ 4320 h 451774"/>
                  <a:gd name="connsiteX301" fmla="*/ 354966 w 442781"/>
                  <a:gd name="connsiteY301" fmla="*/ 4320 h 451774"/>
                  <a:gd name="connsiteX302" fmla="*/ 354173 w 442781"/>
                  <a:gd name="connsiteY302" fmla="*/ 3439 h 451774"/>
                  <a:gd name="connsiteX303" fmla="*/ 353555 w 442781"/>
                  <a:gd name="connsiteY303" fmla="*/ 3703 h 451774"/>
                  <a:gd name="connsiteX304" fmla="*/ 352938 w 442781"/>
                  <a:gd name="connsiteY304" fmla="*/ 4056 h 451774"/>
                  <a:gd name="connsiteX305" fmla="*/ 351527 w 442781"/>
                  <a:gd name="connsiteY305" fmla="*/ 4937 h 451774"/>
                  <a:gd name="connsiteX306" fmla="*/ 350029 w 442781"/>
                  <a:gd name="connsiteY306" fmla="*/ 5467 h 451774"/>
                  <a:gd name="connsiteX307" fmla="*/ 347736 w 442781"/>
                  <a:gd name="connsiteY307" fmla="*/ 6084 h 451774"/>
                  <a:gd name="connsiteX308" fmla="*/ 344827 w 442781"/>
                  <a:gd name="connsiteY308" fmla="*/ 5467 h 451774"/>
                  <a:gd name="connsiteX309" fmla="*/ 344209 w 442781"/>
                  <a:gd name="connsiteY309" fmla="*/ 4937 h 451774"/>
                  <a:gd name="connsiteX310" fmla="*/ 344827 w 442781"/>
                  <a:gd name="connsiteY310" fmla="*/ 4320 h 451774"/>
                  <a:gd name="connsiteX311" fmla="*/ 344209 w 442781"/>
                  <a:gd name="connsiteY311" fmla="*/ 4056 h 451774"/>
                  <a:gd name="connsiteX312" fmla="*/ 344827 w 442781"/>
                  <a:gd name="connsiteY312" fmla="*/ 3439 h 451774"/>
                  <a:gd name="connsiteX313" fmla="*/ 344827 w 442781"/>
                  <a:gd name="connsiteY313" fmla="*/ 2557 h 451774"/>
                  <a:gd name="connsiteX314" fmla="*/ 344209 w 442781"/>
                  <a:gd name="connsiteY314" fmla="*/ 2821 h 451774"/>
                  <a:gd name="connsiteX315" fmla="*/ 343592 w 442781"/>
                  <a:gd name="connsiteY315" fmla="*/ 3174 h 451774"/>
                  <a:gd name="connsiteX316" fmla="*/ 343063 w 442781"/>
                  <a:gd name="connsiteY316" fmla="*/ 3439 h 451774"/>
                  <a:gd name="connsiteX317" fmla="*/ 342181 w 442781"/>
                  <a:gd name="connsiteY317" fmla="*/ 2557 h 451774"/>
                  <a:gd name="connsiteX318" fmla="*/ 341564 w 442781"/>
                  <a:gd name="connsiteY318" fmla="*/ 2821 h 451774"/>
                  <a:gd name="connsiteX319" fmla="*/ 340418 w 442781"/>
                  <a:gd name="connsiteY319" fmla="*/ 2557 h 451774"/>
                  <a:gd name="connsiteX320" fmla="*/ 339272 w 442781"/>
                  <a:gd name="connsiteY320" fmla="*/ 1146 h 451774"/>
                  <a:gd name="connsiteX321" fmla="*/ 338655 w 442781"/>
                  <a:gd name="connsiteY321" fmla="*/ 529 h 451774"/>
                  <a:gd name="connsiteX322" fmla="*/ 338390 w 442781"/>
                  <a:gd name="connsiteY322" fmla="*/ 529 h 451774"/>
                  <a:gd name="connsiteX323" fmla="*/ 337773 w 442781"/>
                  <a:gd name="connsiteY323" fmla="*/ 794 h 451774"/>
                  <a:gd name="connsiteX324" fmla="*/ 336627 w 442781"/>
                  <a:gd name="connsiteY324" fmla="*/ 529 h 451774"/>
                  <a:gd name="connsiteX325" fmla="*/ 336010 w 442781"/>
                  <a:gd name="connsiteY325" fmla="*/ 529 h 451774"/>
                  <a:gd name="connsiteX326" fmla="*/ 336010 w 442781"/>
                  <a:gd name="connsiteY326" fmla="*/ 0 h 451774"/>
                  <a:gd name="connsiteX327" fmla="*/ 335745 w 442781"/>
                  <a:gd name="connsiteY327" fmla="*/ 0 h 451774"/>
                  <a:gd name="connsiteX328" fmla="*/ 335481 w 442781"/>
                  <a:gd name="connsiteY328" fmla="*/ 529 h 451774"/>
                  <a:gd name="connsiteX329" fmla="*/ 334599 w 442781"/>
                  <a:gd name="connsiteY329" fmla="*/ 0 h 451774"/>
                  <a:gd name="connsiteX330" fmla="*/ 333982 w 442781"/>
                  <a:gd name="connsiteY330" fmla="*/ 0 h 451774"/>
                  <a:gd name="connsiteX331" fmla="*/ 333982 w 442781"/>
                  <a:gd name="connsiteY331" fmla="*/ 529 h 451774"/>
                  <a:gd name="connsiteX332" fmla="*/ 333453 w 442781"/>
                  <a:gd name="connsiteY332" fmla="*/ 264 h 451774"/>
                  <a:gd name="connsiteX333" fmla="*/ 333100 w 442781"/>
                  <a:gd name="connsiteY333" fmla="*/ 0 h 451774"/>
                  <a:gd name="connsiteX334" fmla="*/ 332571 w 442781"/>
                  <a:gd name="connsiteY334" fmla="*/ 264 h 451774"/>
                  <a:gd name="connsiteX335" fmla="*/ 332219 w 442781"/>
                  <a:gd name="connsiteY335" fmla="*/ 529 h 451774"/>
                  <a:gd name="connsiteX336" fmla="*/ 332571 w 442781"/>
                  <a:gd name="connsiteY336" fmla="*/ 794 h 451774"/>
                  <a:gd name="connsiteX337" fmla="*/ 333717 w 442781"/>
                  <a:gd name="connsiteY337" fmla="*/ 1146 h 451774"/>
                  <a:gd name="connsiteX338" fmla="*/ 333982 w 442781"/>
                  <a:gd name="connsiteY338" fmla="*/ 1675 h 451774"/>
                  <a:gd name="connsiteX339" fmla="*/ 333717 w 442781"/>
                  <a:gd name="connsiteY339" fmla="*/ 2557 h 451774"/>
                  <a:gd name="connsiteX340" fmla="*/ 333453 w 442781"/>
                  <a:gd name="connsiteY340" fmla="*/ 3439 h 451774"/>
                  <a:gd name="connsiteX341" fmla="*/ 332219 w 442781"/>
                  <a:gd name="connsiteY341" fmla="*/ 4320 h 451774"/>
                  <a:gd name="connsiteX342" fmla="*/ 331337 w 442781"/>
                  <a:gd name="connsiteY342" fmla="*/ 4320 h 451774"/>
                  <a:gd name="connsiteX343" fmla="*/ 330543 w 442781"/>
                  <a:gd name="connsiteY343" fmla="*/ 4320 h 451774"/>
                  <a:gd name="connsiteX344" fmla="*/ 329662 w 442781"/>
                  <a:gd name="connsiteY344" fmla="*/ 4320 h 451774"/>
                  <a:gd name="connsiteX345" fmla="*/ 329044 w 442781"/>
                  <a:gd name="connsiteY345" fmla="*/ 4320 h 451774"/>
                  <a:gd name="connsiteX346" fmla="*/ 327898 w 442781"/>
                  <a:gd name="connsiteY346" fmla="*/ 5467 h 451774"/>
                  <a:gd name="connsiteX347" fmla="*/ 327016 w 442781"/>
                  <a:gd name="connsiteY347" fmla="*/ 5202 h 451774"/>
                  <a:gd name="connsiteX348" fmla="*/ 326135 w 442781"/>
                  <a:gd name="connsiteY348" fmla="*/ 4937 h 451774"/>
                  <a:gd name="connsiteX349" fmla="*/ 325871 w 442781"/>
                  <a:gd name="connsiteY349" fmla="*/ 4320 h 451774"/>
                  <a:gd name="connsiteX350" fmla="*/ 325253 w 442781"/>
                  <a:gd name="connsiteY350" fmla="*/ 4056 h 451774"/>
                  <a:gd name="connsiteX351" fmla="*/ 324989 w 442781"/>
                  <a:gd name="connsiteY351" fmla="*/ 3439 h 451774"/>
                  <a:gd name="connsiteX352" fmla="*/ 324636 w 442781"/>
                  <a:gd name="connsiteY352" fmla="*/ 3174 h 451774"/>
                  <a:gd name="connsiteX353" fmla="*/ 324372 w 442781"/>
                  <a:gd name="connsiteY353" fmla="*/ 3439 h 451774"/>
                  <a:gd name="connsiteX354" fmla="*/ 323843 w 442781"/>
                  <a:gd name="connsiteY354" fmla="*/ 3439 h 451774"/>
                  <a:gd name="connsiteX355" fmla="*/ 323225 w 442781"/>
                  <a:gd name="connsiteY355" fmla="*/ 3703 h 451774"/>
                  <a:gd name="connsiteX356" fmla="*/ 322079 w 442781"/>
                  <a:gd name="connsiteY356" fmla="*/ 3439 h 451774"/>
                  <a:gd name="connsiteX357" fmla="*/ 320316 w 442781"/>
                  <a:gd name="connsiteY357" fmla="*/ 2821 h 451774"/>
                  <a:gd name="connsiteX358" fmla="*/ 319434 w 442781"/>
                  <a:gd name="connsiteY358" fmla="*/ 2292 h 451774"/>
                  <a:gd name="connsiteX359" fmla="*/ 319699 w 442781"/>
                  <a:gd name="connsiteY359" fmla="*/ 2028 h 451774"/>
                  <a:gd name="connsiteX360" fmla="*/ 319699 w 442781"/>
                  <a:gd name="connsiteY360" fmla="*/ 1146 h 451774"/>
                  <a:gd name="connsiteX361" fmla="*/ 319081 w 442781"/>
                  <a:gd name="connsiteY361" fmla="*/ 529 h 451774"/>
                  <a:gd name="connsiteX362" fmla="*/ 317671 w 442781"/>
                  <a:gd name="connsiteY362" fmla="*/ 0 h 451774"/>
                  <a:gd name="connsiteX363" fmla="*/ 315378 w 442781"/>
                  <a:gd name="connsiteY363" fmla="*/ 0 h 451774"/>
                  <a:gd name="connsiteX364" fmla="*/ 314497 w 442781"/>
                  <a:gd name="connsiteY364" fmla="*/ 264 h 451774"/>
                  <a:gd name="connsiteX365" fmla="*/ 314761 w 442781"/>
                  <a:gd name="connsiteY365" fmla="*/ 794 h 451774"/>
                  <a:gd name="connsiteX366" fmla="*/ 314761 w 442781"/>
                  <a:gd name="connsiteY366" fmla="*/ 1411 h 451774"/>
                  <a:gd name="connsiteX367" fmla="*/ 314144 w 442781"/>
                  <a:gd name="connsiteY367" fmla="*/ 1675 h 451774"/>
                  <a:gd name="connsiteX368" fmla="*/ 313615 w 442781"/>
                  <a:gd name="connsiteY368" fmla="*/ 2028 h 451774"/>
                  <a:gd name="connsiteX369" fmla="*/ 313262 w 442781"/>
                  <a:gd name="connsiteY369" fmla="*/ 2557 h 451774"/>
                  <a:gd name="connsiteX370" fmla="*/ 313615 w 442781"/>
                  <a:gd name="connsiteY370" fmla="*/ 3439 h 451774"/>
                  <a:gd name="connsiteX371" fmla="*/ 312733 w 442781"/>
                  <a:gd name="connsiteY371" fmla="*/ 4320 h 451774"/>
                  <a:gd name="connsiteX372" fmla="*/ 307796 w 442781"/>
                  <a:gd name="connsiteY372" fmla="*/ 6084 h 451774"/>
                  <a:gd name="connsiteX373" fmla="*/ 304269 w 442781"/>
                  <a:gd name="connsiteY373" fmla="*/ 6348 h 451774"/>
                  <a:gd name="connsiteX374" fmla="*/ 303035 w 442781"/>
                  <a:gd name="connsiteY374" fmla="*/ 6084 h 451774"/>
                  <a:gd name="connsiteX375" fmla="*/ 302241 w 442781"/>
                  <a:gd name="connsiteY375" fmla="*/ 6348 h 451774"/>
                  <a:gd name="connsiteX376" fmla="*/ 301007 w 442781"/>
                  <a:gd name="connsiteY376" fmla="*/ 7847 h 451774"/>
                  <a:gd name="connsiteX377" fmla="*/ 299332 w 442781"/>
                  <a:gd name="connsiteY377" fmla="*/ 7847 h 451774"/>
                  <a:gd name="connsiteX378" fmla="*/ 298450 w 442781"/>
                  <a:gd name="connsiteY378" fmla="*/ 9610 h 451774"/>
                  <a:gd name="connsiteX379" fmla="*/ 296070 w 442781"/>
                  <a:gd name="connsiteY379" fmla="*/ 10757 h 451774"/>
                  <a:gd name="connsiteX380" fmla="*/ 294042 w 442781"/>
                  <a:gd name="connsiteY380" fmla="*/ 11638 h 451774"/>
                  <a:gd name="connsiteX381" fmla="*/ 292543 w 442781"/>
                  <a:gd name="connsiteY381" fmla="*/ 10757 h 451774"/>
                  <a:gd name="connsiteX382" fmla="*/ 291132 w 442781"/>
                  <a:gd name="connsiteY382" fmla="*/ 10492 h 451774"/>
                  <a:gd name="connsiteX383" fmla="*/ 289369 w 442781"/>
                  <a:gd name="connsiteY383" fmla="*/ 9258 h 451774"/>
                  <a:gd name="connsiteX384" fmla="*/ 289633 w 442781"/>
                  <a:gd name="connsiteY384" fmla="*/ 7847 h 451774"/>
                  <a:gd name="connsiteX385" fmla="*/ 282668 w 442781"/>
                  <a:gd name="connsiteY385" fmla="*/ 4937 h 451774"/>
                  <a:gd name="connsiteX386" fmla="*/ 278259 w 442781"/>
                  <a:gd name="connsiteY386" fmla="*/ 5467 h 451774"/>
                  <a:gd name="connsiteX387" fmla="*/ 276584 w 442781"/>
                  <a:gd name="connsiteY387" fmla="*/ 4937 h 451774"/>
                  <a:gd name="connsiteX388" fmla="*/ 275967 w 442781"/>
                  <a:gd name="connsiteY388" fmla="*/ 4320 h 451774"/>
                  <a:gd name="connsiteX389" fmla="*/ 274821 w 442781"/>
                  <a:gd name="connsiteY389" fmla="*/ 4937 h 451774"/>
                  <a:gd name="connsiteX390" fmla="*/ 272176 w 442781"/>
                  <a:gd name="connsiteY390" fmla="*/ 4937 h 451774"/>
                  <a:gd name="connsiteX391" fmla="*/ 271030 w 442781"/>
                  <a:gd name="connsiteY391" fmla="*/ 5467 h 451774"/>
                  <a:gd name="connsiteX392" fmla="*/ 270148 w 442781"/>
                  <a:gd name="connsiteY392" fmla="*/ 4937 h 451774"/>
                  <a:gd name="connsiteX393" fmla="*/ 268649 w 442781"/>
                  <a:gd name="connsiteY393" fmla="*/ 5467 h 451774"/>
                  <a:gd name="connsiteX394" fmla="*/ 265740 w 442781"/>
                  <a:gd name="connsiteY394" fmla="*/ 4937 h 451774"/>
                  <a:gd name="connsiteX395" fmla="*/ 264593 w 442781"/>
                  <a:gd name="connsiteY395" fmla="*/ 4320 h 451774"/>
                  <a:gd name="connsiteX396" fmla="*/ 261684 w 442781"/>
                  <a:gd name="connsiteY396" fmla="*/ 5467 h 451774"/>
                  <a:gd name="connsiteX397" fmla="*/ 259039 w 442781"/>
                  <a:gd name="connsiteY397" fmla="*/ 6348 h 451774"/>
                  <a:gd name="connsiteX398" fmla="*/ 256129 w 442781"/>
                  <a:gd name="connsiteY398" fmla="*/ 7847 h 451774"/>
                  <a:gd name="connsiteX399" fmla="*/ 252602 w 442781"/>
                  <a:gd name="connsiteY399" fmla="*/ 7847 h 451774"/>
                  <a:gd name="connsiteX400" fmla="*/ 251456 w 442781"/>
                  <a:gd name="connsiteY400" fmla="*/ 6348 h 451774"/>
                  <a:gd name="connsiteX401" fmla="*/ 250927 w 442781"/>
                  <a:gd name="connsiteY401" fmla="*/ 6965 h 451774"/>
                  <a:gd name="connsiteX402" fmla="*/ 251192 w 442781"/>
                  <a:gd name="connsiteY402" fmla="*/ 7847 h 451774"/>
                  <a:gd name="connsiteX403" fmla="*/ 250927 w 442781"/>
                  <a:gd name="connsiteY403" fmla="*/ 8376 h 451774"/>
                  <a:gd name="connsiteX404" fmla="*/ 248811 w 442781"/>
                  <a:gd name="connsiteY404" fmla="*/ 8993 h 451774"/>
                  <a:gd name="connsiteX405" fmla="*/ 247665 w 442781"/>
                  <a:gd name="connsiteY405" fmla="*/ 8376 h 451774"/>
                  <a:gd name="connsiteX406" fmla="*/ 246783 w 442781"/>
                  <a:gd name="connsiteY406" fmla="*/ 6965 h 451774"/>
                  <a:gd name="connsiteX407" fmla="*/ 245373 w 442781"/>
                  <a:gd name="connsiteY407" fmla="*/ 6965 h 451774"/>
                  <a:gd name="connsiteX408" fmla="*/ 244138 w 442781"/>
                  <a:gd name="connsiteY408" fmla="*/ 6965 h 451774"/>
                  <a:gd name="connsiteX409" fmla="*/ 242992 w 442781"/>
                  <a:gd name="connsiteY409" fmla="*/ 8376 h 451774"/>
                  <a:gd name="connsiteX410" fmla="*/ 242992 w 442781"/>
                  <a:gd name="connsiteY410" fmla="*/ 9258 h 451774"/>
                  <a:gd name="connsiteX411" fmla="*/ 241493 w 442781"/>
                  <a:gd name="connsiteY411" fmla="*/ 9875 h 451774"/>
                  <a:gd name="connsiteX412" fmla="*/ 238936 w 442781"/>
                  <a:gd name="connsiteY412" fmla="*/ 8729 h 451774"/>
                  <a:gd name="connsiteX413" fmla="*/ 236027 w 442781"/>
                  <a:gd name="connsiteY413" fmla="*/ 9610 h 451774"/>
                  <a:gd name="connsiteX414" fmla="*/ 234263 w 442781"/>
                  <a:gd name="connsiteY414" fmla="*/ 11903 h 451774"/>
                  <a:gd name="connsiteX415" fmla="*/ 233999 w 442781"/>
                  <a:gd name="connsiteY415" fmla="*/ 11903 h 451774"/>
                  <a:gd name="connsiteX416" fmla="*/ 232500 w 442781"/>
                  <a:gd name="connsiteY416" fmla="*/ 11638 h 451774"/>
                  <a:gd name="connsiteX417" fmla="*/ 226946 w 442781"/>
                  <a:gd name="connsiteY417" fmla="*/ 11903 h 451774"/>
                  <a:gd name="connsiteX418" fmla="*/ 222273 w 442781"/>
                  <a:gd name="connsiteY418" fmla="*/ 11286 h 451774"/>
                  <a:gd name="connsiteX419" fmla="*/ 216718 w 442781"/>
                  <a:gd name="connsiteY419" fmla="*/ 13666 h 451774"/>
                  <a:gd name="connsiteX420" fmla="*/ 216189 w 442781"/>
                  <a:gd name="connsiteY420" fmla="*/ 13666 h 451774"/>
                  <a:gd name="connsiteX421" fmla="*/ 214426 w 442781"/>
                  <a:gd name="connsiteY421" fmla="*/ 12167 h 451774"/>
                  <a:gd name="connsiteX422" fmla="*/ 212662 w 442781"/>
                  <a:gd name="connsiteY422" fmla="*/ 13049 h 451774"/>
                  <a:gd name="connsiteX423" fmla="*/ 210370 w 442781"/>
                  <a:gd name="connsiteY423" fmla="*/ 12520 h 451774"/>
                  <a:gd name="connsiteX424" fmla="*/ 209135 w 442781"/>
                  <a:gd name="connsiteY424" fmla="*/ 12167 h 451774"/>
                  <a:gd name="connsiteX425" fmla="*/ 207725 w 442781"/>
                  <a:gd name="connsiteY425" fmla="*/ 14195 h 451774"/>
                  <a:gd name="connsiteX426" fmla="*/ 206843 w 442781"/>
                  <a:gd name="connsiteY426" fmla="*/ 12167 h 451774"/>
                  <a:gd name="connsiteX427" fmla="*/ 205961 w 442781"/>
                  <a:gd name="connsiteY427" fmla="*/ 13931 h 451774"/>
                  <a:gd name="connsiteX428" fmla="*/ 203934 w 442781"/>
                  <a:gd name="connsiteY428" fmla="*/ 14548 h 451774"/>
                  <a:gd name="connsiteX429" fmla="*/ 203669 w 442781"/>
                  <a:gd name="connsiteY429" fmla="*/ 15694 h 451774"/>
                  <a:gd name="connsiteX430" fmla="*/ 201024 w 442781"/>
                  <a:gd name="connsiteY430" fmla="*/ 16840 h 451774"/>
                  <a:gd name="connsiteX431" fmla="*/ 199878 w 442781"/>
                  <a:gd name="connsiteY431" fmla="*/ 16840 h 451774"/>
                  <a:gd name="connsiteX432" fmla="*/ 199261 w 442781"/>
                  <a:gd name="connsiteY432" fmla="*/ 18075 h 451774"/>
                  <a:gd name="connsiteX433" fmla="*/ 197762 w 442781"/>
                  <a:gd name="connsiteY433" fmla="*/ 18075 h 451774"/>
                  <a:gd name="connsiteX434" fmla="*/ 195469 w 442781"/>
                  <a:gd name="connsiteY434" fmla="*/ 18604 h 451774"/>
                  <a:gd name="connsiteX435" fmla="*/ 194323 w 442781"/>
                  <a:gd name="connsiteY435" fmla="*/ 20102 h 451774"/>
                  <a:gd name="connsiteX436" fmla="*/ 192824 w 442781"/>
                  <a:gd name="connsiteY436" fmla="*/ 20102 h 451774"/>
                  <a:gd name="connsiteX437" fmla="*/ 191061 w 442781"/>
                  <a:gd name="connsiteY437" fmla="*/ 20632 h 451774"/>
                  <a:gd name="connsiteX438" fmla="*/ 191414 w 442781"/>
                  <a:gd name="connsiteY438" fmla="*/ 22130 h 451774"/>
                  <a:gd name="connsiteX439" fmla="*/ 190797 w 442781"/>
                  <a:gd name="connsiteY439" fmla="*/ 23541 h 451774"/>
                  <a:gd name="connsiteX440" fmla="*/ 189298 w 442781"/>
                  <a:gd name="connsiteY440" fmla="*/ 22659 h 451774"/>
                  <a:gd name="connsiteX441" fmla="*/ 187887 w 442781"/>
                  <a:gd name="connsiteY441" fmla="*/ 22659 h 451774"/>
                  <a:gd name="connsiteX442" fmla="*/ 188769 w 442781"/>
                  <a:gd name="connsiteY442" fmla="*/ 23894 h 451774"/>
                  <a:gd name="connsiteX443" fmla="*/ 188769 w 442781"/>
                  <a:gd name="connsiteY443" fmla="*/ 25922 h 451774"/>
                  <a:gd name="connsiteX444" fmla="*/ 185859 w 442781"/>
                  <a:gd name="connsiteY444" fmla="*/ 25657 h 451774"/>
                  <a:gd name="connsiteX445" fmla="*/ 186124 w 442781"/>
                  <a:gd name="connsiteY445" fmla="*/ 26803 h 451774"/>
                  <a:gd name="connsiteX446" fmla="*/ 183831 w 442781"/>
                  <a:gd name="connsiteY446" fmla="*/ 25922 h 451774"/>
                  <a:gd name="connsiteX447" fmla="*/ 182068 w 442781"/>
                  <a:gd name="connsiteY447" fmla="*/ 26451 h 451774"/>
                  <a:gd name="connsiteX448" fmla="*/ 182332 w 442781"/>
                  <a:gd name="connsiteY448" fmla="*/ 29096 h 451774"/>
                  <a:gd name="connsiteX449" fmla="*/ 182068 w 442781"/>
                  <a:gd name="connsiteY449" fmla="*/ 29977 h 451774"/>
                  <a:gd name="connsiteX450" fmla="*/ 179952 w 442781"/>
                  <a:gd name="connsiteY450" fmla="*/ 31123 h 451774"/>
                  <a:gd name="connsiteX451" fmla="*/ 178276 w 442781"/>
                  <a:gd name="connsiteY451" fmla="*/ 31123 h 451774"/>
                  <a:gd name="connsiteX452" fmla="*/ 178276 w 442781"/>
                  <a:gd name="connsiteY452" fmla="*/ 30594 h 451774"/>
                  <a:gd name="connsiteX453" fmla="*/ 178541 w 442781"/>
                  <a:gd name="connsiteY453" fmla="*/ 29096 h 451774"/>
                  <a:gd name="connsiteX454" fmla="*/ 176513 w 442781"/>
                  <a:gd name="connsiteY454" fmla="*/ 29096 h 451774"/>
                  <a:gd name="connsiteX455" fmla="*/ 171840 w 442781"/>
                  <a:gd name="connsiteY455" fmla="*/ 29977 h 451774"/>
                  <a:gd name="connsiteX456" fmla="*/ 171576 w 442781"/>
                  <a:gd name="connsiteY456" fmla="*/ 31476 h 451774"/>
                  <a:gd name="connsiteX457" fmla="*/ 167432 w 442781"/>
                  <a:gd name="connsiteY457" fmla="*/ 31741 h 451774"/>
                  <a:gd name="connsiteX458" fmla="*/ 166286 w 442781"/>
                  <a:gd name="connsiteY458" fmla="*/ 32358 h 451774"/>
                  <a:gd name="connsiteX459" fmla="*/ 163640 w 442781"/>
                  <a:gd name="connsiteY459" fmla="*/ 32005 h 451774"/>
                  <a:gd name="connsiteX460" fmla="*/ 161877 w 442781"/>
                  <a:gd name="connsiteY460" fmla="*/ 33504 h 451774"/>
                  <a:gd name="connsiteX461" fmla="*/ 159849 w 442781"/>
                  <a:gd name="connsiteY461" fmla="*/ 34033 h 451774"/>
                  <a:gd name="connsiteX462" fmla="*/ 159585 w 442781"/>
                  <a:gd name="connsiteY462" fmla="*/ 36414 h 451774"/>
                  <a:gd name="connsiteX463" fmla="*/ 158703 w 442781"/>
                  <a:gd name="connsiteY463" fmla="*/ 37560 h 451774"/>
                  <a:gd name="connsiteX464" fmla="*/ 159320 w 442781"/>
                  <a:gd name="connsiteY464" fmla="*/ 39940 h 451774"/>
                  <a:gd name="connsiteX465" fmla="*/ 158703 w 442781"/>
                  <a:gd name="connsiteY465" fmla="*/ 40822 h 451774"/>
                  <a:gd name="connsiteX466" fmla="*/ 156675 w 442781"/>
                  <a:gd name="connsiteY466" fmla="*/ 43732 h 451774"/>
                  <a:gd name="connsiteX467" fmla="*/ 156940 w 442781"/>
                  <a:gd name="connsiteY467" fmla="*/ 41351 h 451774"/>
                  <a:gd name="connsiteX468" fmla="*/ 156411 w 442781"/>
                  <a:gd name="connsiteY468" fmla="*/ 42233 h 451774"/>
                  <a:gd name="connsiteX469" fmla="*/ 152267 w 442781"/>
                  <a:gd name="connsiteY469" fmla="*/ 43379 h 451774"/>
                  <a:gd name="connsiteX470" fmla="*/ 150239 w 442781"/>
                  <a:gd name="connsiteY470" fmla="*/ 44878 h 451774"/>
                  <a:gd name="connsiteX471" fmla="*/ 148828 w 442781"/>
                  <a:gd name="connsiteY471" fmla="*/ 46024 h 451774"/>
                  <a:gd name="connsiteX472" fmla="*/ 148828 w 442781"/>
                  <a:gd name="connsiteY472" fmla="*/ 47523 h 451774"/>
                  <a:gd name="connsiteX473" fmla="*/ 145302 w 442781"/>
                  <a:gd name="connsiteY473" fmla="*/ 48052 h 451774"/>
                  <a:gd name="connsiteX474" fmla="*/ 145037 w 442781"/>
                  <a:gd name="connsiteY474" fmla="*/ 48669 h 451774"/>
                  <a:gd name="connsiteX475" fmla="*/ 143538 w 442781"/>
                  <a:gd name="connsiteY475" fmla="*/ 49551 h 451774"/>
                  <a:gd name="connsiteX476" fmla="*/ 142039 w 442781"/>
                  <a:gd name="connsiteY476" fmla="*/ 50080 h 451774"/>
                  <a:gd name="connsiteX477" fmla="*/ 140011 w 442781"/>
                  <a:gd name="connsiteY477" fmla="*/ 50080 h 451774"/>
                  <a:gd name="connsiteX478" fmla="*/ 139482 w 442781"/>
                  <a:gd name="connsiteY478" fmla="*/ 49551 h 451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</a:cxnLst>
                <a:rect l="l" t="t" r="r" b="b"/>
                <a:pathLst>
                  <a:path w="442781" h="451774">
                    <a:moveTo>
                      <a:pt x="138248" y="50080"/>
                    </a:moveTo>
                    <a:lnTo>
                      <a:pt x="137719" y="51579"/>
                    </a:lnTo>
                    <a:lnTo>
                      <a:pt x="139130" y="51843"/>
                    </a:lnTo>
                    <a:lnTo>
                      <a:pt x="140893" y="54224"/>
                    </a:lnTo>
                    <a:lnTo>
                      <a:pt x="142657" y="53871"/>
                    </a:lnTo>
                    <a:lnTo>
                      <a:pt x="143538" y="55370"/>
                    </a:lnTo>
                    <a:lnTo>
                      <a:pt x="145302" y="57133"/>
                    </a:lnTo>
                    <a:lnTo>
                      <a:pt x="147947" y="57398"/>
                    </a:lnTo>
                    <a:lnTo>
                      <a:pt x="147330" y="59161"/>
                    </a:lnTo>
                    <a:lnTo>
                      <a:pt x="147065" y="60660"/>
                    </a:lnTo>
                    <a:lnTo>
                      <a:pt x="145831" y="61453"/>
                    </a:lnTo>
                    <a:lnTo>
                      <a:pt x="147594" y="62688"/>
                    </a:lnTo>
                    <a:lnTo>
                      <a:pt x="148476" y="64716"/>
                    </a:lnTo>
                    <a:lnTo>
                      <a:pt x="147065" y="67361"/>
                    </a:lnTo>
                    <a:lnTo>
                      <a:pt x="147330" y="71681"/>
                    </a:lnTo>
                    <a:lnTo>
                      <a:pt x="148476" y="73180"/>
                    </a:lnTo>
                    <a:lnTo>
                      <a:pt x="150503" y="74591"/>
                    </a:lnTo>
                    <a:lnTo>
                      <a:pt x="149093" y="79881"/>
                    </a:lnTo>
                    <a:lnTo>
                      <a:pt x="149357" y="82790"/>
                    </a:lnTo>
                    <a:lnTo>
                      <a:pt x="148476" y="84554"/>
                    </a:lnTo>
                    <a:lnTo>
                      <a:pt x="150503" y="85700"/>
                    </a:lnTo>
                    <a:lnTo>
                      <a:pt x="150856" y="86846"/>
                    </a:lnTo>
                    <a:lnTo>
                      <a:pt x="150856" y="88874"/>
                    </a:lnTo>
                    <a:lnTo>
                      <a:pt x="149622" y="92665"/>
                    </a:lnTo>
                    <a:lnTo>
                      <a:pt x="149622" y="95046"/>
                    </a:lnTo>
                    <a:lnTo>
                      <a:pt x="150503" y="95575"/>
                    </a:lnTo>
                    <a:lnTo>
                      <a:pt x="149975" y="97602"/>
                    </a:lnTo>
                    <a:lnTo>
                      <a:pt x="150503" y="99101"/>
                    </a:lnTo>
                    <a:lnTo>
                      <a:pt x="152619" y="98837"/>
                    </a:lnTo>
                    <a:lnTo>
                      <a:pt x="153501" y="99983"/>
                    </a:lnTo>
                    <a:lnTo>
                      <a:pt x="153501" y="102011"/>
                    </a:lnTo>
                    <a:lnTo>
                      <a:pt x="152267" y="103774"/>
                    </a:lnTo>
                    <a:lnTo>
                      <a:pt x="152884" y="106684"/>
                    </a:lnTo>
                    <a:lnTo>
                      <a:pt x="155794" y="109593"/>
                    </a:lnTo>
                    <a:lnTo>
                      <a:pt x="156940" y="109593"/>
                    </a:lnTo>
                    <a:lnTo>
                      <a:pt x="158086" y="110210"/>
                    </a:lnTo>
                    <a:lnTo>
                      <a:pt x="161348" y="111092"/>
                    </a:lnTo>
                    <a:lnTo>
                      <a:pt x="162759" y="114266"/>
                    </a:lnTo>
                    <a:lnTo>
                      <a:pt x="161084" y="116647"/>
                    </a:lnTo>
                    <a:lnTo>
                      <a:pt x="159320" y="116647"/>
                    </a:lnTo>
                    <a:lnTo>
                      <a:pt x="158439" y="119556"/>
                    </a:lnTo>
                    <a:lnTo>
                      <a:pt x="158086" y="120967"/>
                    </a:lnTo>
                    <a:lnTo>
                      <a:pt x="156411" y="122466"/>
                    </a:lnTo>
                    <a:lnTo>
                      <a:pt x="159320" y="122201"/>
                    </a:lnTo>
                    <a:lnTo>
                      <a:pt x="160114" y="123348"/>
                    </a:lnTo>
                    <a:lnTo>
                      <a:pt x="159585" y="124494"/>
                    </a:lnTo>
                    <a:lnTo>
                      <a:pt x="158086" y="124758"/>
                    </a:lnTo>
                    <a:lnTo>
                      <a:pt x="154030" y="123877"/>
                    </a:lnTo>
                    <a:lnTo>
                      <a:pt x="151738" y="122995"/>
                    </a:lnTo>
                    <a:lnTo>
                      <a:pt x="147065" y="123877"/>
                    </a:lnTo>
                    <a:lnTo>
                      <a:pt x="141246" y="124229"/>
                    </a:lnTo>
                    <a:lnTo>
                      <a:pt x="135691" y="122730"/>
                    </a:lnTo>
                    <a:lnTo>
                      <a:pt x="131900" y="123348"/>
                    </a:lnTo>
                    <a:lnTo>
                      <a:pt x="127227" y="124758"/>
                    </a:lnTo>
                    <a:lnTo>
                      <a:pt x="123436" y="125640"/>
                    </a:lnTo>
                    <a:lnTo>
                      <a:pt x="121937" y="127139"/>
                    </a:lnTo>
                    <a:lnTo>
                      <a:pt x="122554" y="129696"/>
                    </a:lnTo>
                    <a:lnTo>
                      <a:pt x="121673" y="130930"/>
                    </a:lnTo>
                    <a:lnTo>
                      <a:pt x="117881" y="133222"/>
                    </a:lnTo>
                    <a:lnTo>
                      <a:pt x="115236" y="133222"/>
                    </a:lnTo>
                    <a:lnTo>
                      <a:pt x="112944" y="134369"/>
                    </a:lnTo>
                    <a:lnTo>
                      <a:pt x="110563" y="134721"/>
                    </a:lnTo>
                    <a:lnTo>
                      <a:pt x="106772" y="133487"/>
                    </a:lnTo>
                    <a:lnTo>
                      <a:pt x="104127" y="134104"/>
                    </a:lnTo>
                    <a:lnTo>
                      <a:pt x="104127" y="135250"/>
                    </a:lnTo>
                    <a:lnTo>
                      <a:pt x="102981" y="137631"/>
                    </a:lnTo>
                    <a:lnTo>
                      <a:pt x="102981" y="139659"/>
                    </a:lnTo>
                    <a:lnTo>
                      <a:pt x="103862" y="140540"/>
                    </a:lnTo>
                    <a:lnTo>
                      <a:pt x="105009" y="141069"/>
                    </a:lnTo>
                    <a:lnTo>
                      <a:pt x="106772" y="141069"/>
                    </a:lnTo>
                    <a:lnTo>
                      <a:pt x="107037" y="141687"/>
                    </a:lnTo>
                    <a:lnTo>
                      <a:pt x="106772" y="142568"/>
                    </a:lnTo>
                    <a:lnTo>
                      <a:pt x="105009" y="143186"/>
                    </a:lnTo>
                    <a:lnTo>
                      <a:pt x="103862" y="143450"/>
                    </a:lnTo>
                    <a:lnTo>
                      <a:pt x="103598" y="144067"/>
                    </a:lnTo>
                    <a:lnTo>
                      <a:pt x="102716" y="145742"/>
                    </a:lnTo>
                    <a:lnTo>
                      <a:pt x="103598" y="147506"/>
                    </a:lnTo>
                    <a:lnTo>
                      <a:pt x="104480" y="148123"/>
                    </a:lnTo>
                    <a:lnTo>
                      <a:pt x="105009" y="147506"/>
                    </a:lnTo>
                    <a:lnTo>
                      <a:pt x="106243" y="148123"/>
                    </a:lnTo>
                    <a:lnTo>
                      <a:pt x="107654" y="147858"/>
                    </a:lnTo>
                    <a:lnTo>
                      <a:pt x="108800" y="149005"/>
                    </a:lnTo>
                    <a:lnTo>
                      <a:pt x="108271" y="151032"/>
                    </a:lnTo>
                    <a:lnTo>
                      <a:pt x="107654" y="152443"/>
                    </a:lnTo>
                    <a:lnTo>
                      <a:pt x="106508" y="153325"/>
                    </a:lnTo>
                    <a:lnTo>
                      <a:pt x="105009" y="153678"/>
                    </a:lnTo>
                    <a:lnTo>
                      <a:pt x="103598" y="153678"/>
                    </a:lnTo>
                    <a:lnTo>
                      <a:pt x="102716" y="153325"/>
                    </a:lnTo>
                    <a:lnTo>
                      <a:pt x="101835" y="153060"/>
                    </a:lnTo>
                    <a:lnTo>
                      <a:pt x="100953" y="153325"/>
                    </a:lnTo>
                    <a:lnTo>
                      <a:pt x="99807" y="153678"/>
                    </a:lnTo>
                    <a:lnTo>
                      <a:pt x="98660" y="154824"/>
                    </a:lnTo>
                    <a:lnTo>
                      <a:pt x="97426" y="155970"/>
                    </a:lnTo>
                    <a:lnTo>
                      <a:pt x="96897" y="157733"/>
                    </a:lnTo>
                    <a:lnTo>
                      <a:pt x="95134" y="158615"/>
                    </a:lnTo>
                    <a:lnTo>
                      <a:pt x="93988" y="159232"/>
                    </a:lnTo>
                    <a:lnTo>
                      <a:pt x="92489" y="159497"/>
                    </a:lnTo>
                    <a:lnTo>
                      <a:pt x="91872" y="160114"/>
                    </a:lnTo>
                    <a:lnTo>
                      <a:pt x="91872" y="160643"/>
                    </a:lnTo>
                    <a:lnTo>
                      <a:pt x="90196" y="161260"/>
                    </a:lnTo>
                    <a:lnTo>
                      <a:pt x="88080" y="161260"/>
                    </a:lnTo>
                    <a:lnTo>
                      <a:pt x="85788" y="161525"/>
                    </a:lnTo>
                    <a:lnTo>
                      <a:pt x="84289" y="162142"/>
                    </a:lnTo>
                    <a:lnTo>
                      <a:pt x="82261" y="162406"/>
                    </a:lnTo>
                    <a:lnTo>
                      <a:pt x="80851" y="164170"/>
                    </a:lnTo>
                    <a:lnTo>
                      <a:pt x="79352" y="165580"/>
                    </a:lnTo>
                    <a:lnTo>
                      <a:pt x="77588" y="167608"/>
                    </a:lnTo>
                    <a:lnTo>
                      <a:pt x="77324" y="170870"/>
                    </a:lnTo>
                    <a:lnTo>
                      <a:pt x="76442" y="171752"/>
                    </a:lnTo>
                    <a:lnTo>
                      <a:pt x="74414" y="173515"/>
                    </a:lnTo>
                    <a:lnTo>
                      <a:pt x="70887" y="177307"/>
                    </a:lnTo>
                    <a:lnTo>
                      <a:pt x="67096" y="179599"/>
                    </a:lnTo>
                    <a:lnTo>
                      <a:pt x="62159" y="181098"/>
                    </a:lnTo>
                    <a:lnTo>
                      <a:pt x="57486" y="180481"/>
                    </a:lnTo>
                    <a:lnTo>
                      <a:pt x="54576" y="180216"/>
                    </a:lnTo>
                    <a:lnTo>
                      <a:pt x="53166" y="181362"/>
                    </a:lnTo>
                    <a:lnTo>
                      <a:pt x="51050" y="181362"/>
                    </a:lnTo>
                    <a:lnTo>
                      <a:pt x="49022" y="181627"/>
                    </a:lnTo>
                    <a:lnTo>
                      <a:pt x="48140" y="181362"/>
                    </a:lnTo>
                    <a:lnTo>
                      <a:pt x="47258" y="182244"/>
                    </a:lnTo>
                    <a:lnTo>
                      <a:pt x="46729" y="186035"/>
                    </a:lnTo>
                    <a:lnTo>
                      <a:pt x="45230" y="187446"/>
                    </a:lnTo>
                    <a:lnTo>
                      <a:pt x="42056" y="187182"/>
                    </a:lnTo>
                    <a:lnTo>
                      <a:pt x="39676" y="186035"/>
                    </a:lnTo>
                    <a:lnTo>
                      <a:pt x="37119" y="186035"/>
                    </a:lnTo>
                    <a:lnTo>
                      <a:pt x="33328" y="186300"/>
                    </a:lnTo>
                    <a:lnTo>
                      <a:pt x="29801" y="188328"/>
                    </a:lnTo>
                    <a:lnTo>
                      <a:pt x="28567" y="190091"/>
                    </a:lnTo>
                    <a:lnTo>
                      <a:pt x="27421" y="191590"/>
                    </a:lnTo>
                    <a:lnTo>
                      <a:pt x="26274" y="192119"/>
                    </a:lnTo>
                    <a:lnTo>
                      <a:pt x="23629" y="192119"/>
                    </a:lnTo>
                    <a:lnTo>
                      <a:pt x="21954" y="193353"/>
                    </a:lnTo>
                    <a:lnTo>
                      <a:pt x="20191" y="193618"/>
                    </a:lnTo>
                    <a:lnTo>
                      <a:pt x="19573" y="194764"/>
                    </a:lnTo>
                    <a:lnTo>
                      <a:pt x="16047" y="197673"/>
                    </a:lnTo>
                    <a:lnTo>
                      <a:pt x="12873" y="200936"/>
                    </a:lnTo>
                    <a:lnTo>
                      <a:pt x="8464" y="202964"/>
                    </a:lnTo>
                    <a:lnTo>
                      <a:pt x="7054" y="203493"/>
                    </a:lnTo>
                    <a:lnTo>
                      <a:pt x="6172" y="204727"/>
                    </a:lnTo>
                    <a:lnTo>
                      <a:pt x="5026" y="205609"/>
                    </a:lnTo>
                    <a:lnTo>
                      <a:pt x="3791" y="206755"/>
                    </a:lnTo>
                    <a:lnTo>
                      <a:pt x="617" y="208166"/>
                    </a:lnTo>
                    <a:lnTo>
                      <a:pt x="353" y="234440"/>
                    </a:lnTo>
                    <a:lnTo>
                      <a:pt x="0" y="245549"/>
                    </a:lnTo>
                    <a:lnTo>
                      <a:pt x="81380" y="301536"/>
                    </a:lnTo>
                    <a:lnTo>
                      <a:pt x="189033" y="372952"/>
                    </a:lnTo>
                    <a:lnTo>
                      <a:pt x="209753" y="398609"/>
                    </a:lnTo>
                    <a:lnTo>
                      <a:pt x="210370" y="400373"/>
                    </a:lnTo>
                    <a:lnTo>
                      <a:pt x="208871" y="405927"/>
                    </a:lnTo>
                    <a:lnTo>
                      <a:pt x="209753" y="407073"/>
                    </a:lnTo>
                    <a:lnTo>
                      <a:pt x="212133" y="407955"/>
                    </a:lnTo>
                    <a:lnTo>
                      <a:pt x="214161" y="409718"/>
                    </a:lnTo>
                    <a:lnTo>
                      <a:pt x="216454" y="410600"/>
                    </a:lnTo>
                    <a:lnTo>
                      <a:pt x="219627" y="411482"/>
                    </a:lnTo>
                    <a:lnTo>
                      <a:pt x="222273" y="412628"/>
                    </a:lnTo>
                    <a:lnTo>
                      <a:pt x="221126" y="415273"/>
                    </a:lnTo>
                    <a:lnTo>
                      <a:pt x="223419" y="418183"/>
                    </a:lnTo>
                    <a:lnTo>
                      <a:pt x="224918" y="418800"/>
                    </a:lnTo>
                    <a:lnTo>
                      <a:pt x="225799" y="420211"/>
                    </a:lnTo>
                    <a:lnTo>
                      <a:pt x="226946" y="419329"/>
                    </a:lnTo>
                    <a:lnTo>
                      <a:pt x="229855" y="420828"/>
                    </a:lnTo>
                    <a:lnTo>
                      <a:pt x="230472" y="420211"/>
                    </a:lnTo>
                    <a:lnTo>
                      <a:pt x="232235" y="419682"/>
                    </a:lnTo>
                    <a:lnTo>
                      <a:pt x="233646" y="420211"/>
                    </a:lnTo>
                    <a:lnTo>
                      <a:pt x="234881" y="421709"/>
                    </a:lnTo>
                    <a:lnTo>
                      <a:pt x="236908" y="423737"/>
                    </a:lnTo>
                    <a:lnTo>
                      <a:pt x="238055" y="424354"/>
                    </a:lnTo>
                    <a:lnTo>
                      <a:pt x="239201" y="425148"/>
                    </a:lnTo>
                    <a:lnTo>
                      <a:pt x="240347" y="424883"/>
                    </a:lnTo>
                    <a:lnTo>
                      <a:pt x="241493" y="424619"/>
                    </a:lnTo>
                    <a:lnTo>
                      <a:pt x="242992" y="425501"/>
                    </a:lnTo>
                    <a:lnTo>
                      <a:pt x="245902" y="427529"/>
                    </a:lnTo>
                    <a:lnTo>
                      <a:pt x="248282" y="428058"/>
                    </a:lnTo>
                    <a:lnTo>
                      <a:pt x="250927" y="428410"/>
                    </a:lnTo>
                    <a:lnTo>
                      <a:pt x="253220" y="428675"/>
                    </a:lnTo>
                    <a:lnTo>
                      <a:pt x="254719" y="430174"/>
                    </a:lnTo>
                    <a:lnTo>
                      <a:pt x="254366" y="436522"/>
                    </a:lnTo>
                    <a:lnTo>
                      <a:pt x="255248" y="437139"/>
                    </a:lnTo>
                    <a:lnTo>
                      <a:pt x="255248" y="439519"/>
                    </a:lnTo>
                    <a:lnTo>
                      <a:pt x="254719" y="441547"/>
                    </a:lnTo>
                    <a:lnTo>
                      <a:pt x="253484" y="442429"/>
                    </a:lnTo>
                    <a:lnTo>
                      <a:pt x="254101" y="443840"/>
                    </a:lnTo>
                    <a:lnTo>
                      <a:pt x="252867" y="444457"/>
                    </a:lnTo>
                    <a:lnTo>
                      <a:pt x="251721" y="447102"/>
                    </a:lnTo>
                    <a:lnTo>
                      <a:pt x="253484" y="449130"/>
                    </a:lnTo>
                    <a:lnTo>
                      <a:pt x="255512" y="449659"/>
                    </a:lnTo>
                    <a:lnTo>
                      <a:pt x="256746" y="451775"/>
                    </a:lnTo>
                    <a:lnTo>
                      <a:pt x="276849" y="445603"/>
                    </a:lnTo>
                    <a:lnTo>
                      <a:pt x="310088" y="440048"/>
                    </a:lnTo>
                    <a:lnTo>
                      <a:pt x="342710" y="390762"/>
                    </a:lnTo>
                    <a:lnTo>
                      <a:pt x="442782" y="339184"/>
                    </a:lnTo>
                    <a:lnTo>
                      <a:pt x="432290" y="318729"/>
                    </a:lnTo>
                    <a:lnTo>
                      <a:pt x="420652" y="314320"/>
                    </a:lnTo>
                    <a:lnTo>
                      <a:pt x="414480" y="311763"/>
                    </a:lnTo>
                    <a:lnTo>
                      <a:pt x="409278" y="314056"/>
                    </a:lnTo>
                    <a:lnTo>
                      <a:pt x="407514" y="314056"/>
                    </a:lnTo>
                    <a:lnTo>
                      <a:pt x="404252" y="311146"/>
                    </a:lnTo>
                    <a:lnTo>
                      <a:pt x="403459" y="307355"/>
                    </a:lnTo>
                    <a:lnTo>
                      <a:pt x="400196" y="305063"/>
                    </a:lnTo>
                    <a:lnTo>
                      <a:pt x="399315" y="293336"/>
                    </a:lnTo>
                    <a:lnTo>
                      <a:pt x="385384" y="272352"/>
                    </a:lnTo>
                    <a:lnTo>
                      <a:pt x="385649" y="270589"/>
                    </a:lnTo>
                    <a:lnTo>
                      <a:pt x="386178" y="268825"/>
                    </a:lnTo>
                    <a:lnTo>
                      <a:pt x="387676" y="268561"/>
                    </a:lnTo>
                    <a:lnTo>
                      <a:pt x="387941" y="267415"/>
                    </a:lnTo>
                    <a:lnTo>
                      <a:pt x="390586" y="266268"/>
                    </a:lnTo>
                    <a:lnTo>
                      <a:pt x="395259" y="263359"/>
                    </a:lnTo>
                    <a:lnTo>
                      <a:pt x="397022" y="259215"/>
                    </a:lnTo>
                    <a:lnTo>
                      <a:pt x="395523" y="258951"/>
                    </a:lnTo>
                    <a:lnTo>
                      <a:pt x="395876" y="254895"/>
                    </a:lnTo>
                    <a:lnTo>
                      <a:pt x="394377" y="254278"/>
                    </a:lnTo>
                    <a:lnTo>
                      <a:pt x="393496" y="249869"/>
                    </a:lnTo>
                    <a:lnTo>
                      <a:pt x="392614" y="246960"/>
                    </a:lnTo>
                    <a:lnTo>
                      <a:pt x="391732" y="242639"/>
                    </a:lnTo>
                    <a:lnTo>
                      <a:pt x="392349" y="240612"/>
                    </a:lnTo>
                    <a:lnTo>
                      <a:pt x="394113" y="239113"/>
                    </a:lnTo>
                    <a:lnTo>
                      <a:pt x="393231" y="237349"/>
                    </a:lnTo>
                    <a:lnTo>
                      <a:pt x="394642" y="236468"/>
                    </a:lnTo>
                    <a:lnTo>
                      <a:pt x="396670" y="230031"/>
                    </a:lnTo>
                    <a:lnTo>
                      <a:pt x="392085" y="220156"/>
                    </a:lnTo>
                    <a:lnTo>
                      <a:pt x="393760" y="206138"/>
                    </a:lnTo>
                    <a:lnTo>
                      <a:pt x="393760" y="202346"/>
                    </a:lnTo>
                    <a:lnTo>
                      <a:pt x="392878" y="197673"/>
                    </a:lnTo>
                    <a:lnTo>
                      <a:pt x="390851" y="190708"/>
                    </a:lnTo>
                    <a:lnTo>
                      <a:pt x="389087" y="186035"/>
                    </a:lnTo>
                    <a:lnTo>
                      <a:pt x="387059" y="181980"/>
                    </a:lnTo>
                    <a:lnTo>
                      <a:pt x="384150" y="176690"/>
                    </a:lnTo>
                    <a:lnTo>
                      <a:pt x="381240" y="173163"/>
                    </a:lnTo>
                    <a:lnTo>
                      <a:pt x="386178" y="170253"/>
                    </a:lnTo>
                    <a:lnTo>
                      <a:pt x="379477" y="151032"/>
                    </a:lnTo>
                    <a:lnTo>
                      <a:pt x="376832" y="141069"/>
                    </a:lnTo>
                    <a:lnTo>
                      <a:pt x="375157" y="125111"/>
                    </a:lnTo>
                    <a:lnTo>
                      <a:pt x="368456" y="116911"/>
                    </a:lnTo>
                    <a:lnTo>
                      <a:pt x="359727" y="113120"/>
                    </a:lnTo>
                    <a:lnTo>
                      <a:pt x="358228" y="106155"/>
                    </a:lnTo>
                    <a:lnTo>
                      <a:pt x="352938" y="98837"/>
                    </a:lnTo>
                    <a:lnTo>
                      <a:pt x="352057" y="98837"/>
                    </a:lnTo>
                    <a:lnTo>
                      <a:pt x="349147" y="97338"/>
                    </a:lnTo>
                    <a:lnTo>
                      <a:pt x="347472" y="96809"/>
                    </a:lnTo>
                    <a:lnTo>
                      <a:pt x="346237" y="95575"/>
                    </a:lnTo>
                    <a:lnTo>
                      <a:pt x="344827" y="90902"/>
                    </a:lnTo>
                    <a:lnTo>
                      <a:pt x="341917" y="83055"/>
                    </a:lnTo>
                    <a:lnTo>
                      <a:pt x="341036" y="81909"/>
                    </a:lnTo>
                    <a:lnTo>
                      <a:pt x="341036" y="79881"/>
                    </a:lnTo>
                    <a:lnTo>
                      <a:pt x="341300" y="74855"/>
                    </a:lnTo>
                    <a:lnTo>
                      <a:pt x="343328" y="71681"/>
                    </a:lnTo>
                    <a:lnTo>
                      <a:pt x="346590" y="70535"/>
                    </a:lnTo>
                    <a:lnTo>
                      <a:pt x="347736" y="67890"/>
                    </a:lnTo>
                    <a:lnTo>
                      <a:pt x="348882" y="65245"/>
                    </a:lnTo>
                    <a:lnTo>
                      <a:pt x="353291" y="63569"/>
                    </a:lnTo>
                    <a:lnTo>
                      <a:pt x="354701" y="62688"/>
                    </a:lnTo>
                    <a:lnTo>
                      <a:pt x="354701" y="61453"/>
                    </a:lnTo>
                    <a:lnTo>
                      <a:pt x="355583" y="60660"/>
                    </a:lnTo>
                    <a:lnTo>
                      <a:pt x="354966" y="59426"/>
                    </a:lnTo>
                    <a:lnTo>
                      <a:pt x="356465" y="57662"/>
                    </a:lnTo>
                    <a:lnTo>
                      <a:pt x="356200" y="53606"/>
                    </a:lnTo>
                    <a:lnTo>
                      <a:pt x="357082" y="51579"/>
                    </a:lnTo>
                    <a:lnTo>
                      <a:pt x="357346" y="48933"/>
                    </a:lnTo>
                    <a:lnTo>
                      <a:pt x="358493" y="47787"/>
                    </a:lnTo>
                    <a:lnTo>
                      <a:pt x="358493" y="46906"/>
                    </a:lnTo>
                    <a:lnTo>
                      <a:pt x="359727" y="46288"/>
                    </a:lnTo>
                    <a:lnTo>
                      <a:pt x="359727" y="45142"/>
                    </a:lnTo>
                    <a:lnTo>
                      <a:pt x="357346" y="44878"/>
                    </a:lnTo>
                    <a:lnTo>
                      <a:pt x="357082" y="43732"/>
                    </a:lnTo>
                    <a:lnTo>
                      <a:pt x="356729" y="41704"/>
                    </a:lnTo>
                    <a:lnTo>
                      <a:pt x="358228" y="38441"/>
                    </a:lnTo>
                    <a:lnTo>
                      <a:pt x="357082" y="35267"/>
                    </a:lnTo>
                    <a:lnTo>
                      <a:pt x="355848" y="33151"/>
                    </a:lnTo>
                    <a:lnTo>
                      <a:pt x="355583" y="31741"/>
                    </a:lnTo>
                    <a:lnTo>
                      <a:pt x="355583" y="29713"/>
                    </a:lnTo>
                    <a:lnTo>
                      <a:pt x="355848" y="25657"/>
                    </a:lnTo>
                    <a:lnTo>
                      <a:pt x="356465" y="23276"/>
                    </a:lnTo>
                    <a:lnTo>
                      <a:pt x="356200" y="21866"/>
                    </a:lnTo>
                    <a:lnTo>
                      <a:pt x="356465" y="19750"/>
                    </a:lnTo>
                    <a:lnTo>
                      <a:pt x="357611" y="18339"/>
                    </a:lnTo>
                    <a:lnTo>
                      <a:pt x="357082" y="15694"/>
                    </a:lnTo>
                    <a:lnTo>
                      <a:pt x="355583" y="15429"/>
                    </a:lnTo>
                    <a:lnTo>
                      <a:pt x="353555" y="15694"/>
                    </a:lnTo>
                    <a:lnTo>
                      <a:pt x="353555" y="11903"/>
                    </a:lnTo>
                    <a:lnTo>
                      <a:pt x="356729" y="11638"/>
                    </a:lnTo>
                    <a:lnTo>
                      <a:pt x="357964" y="11903"/>
                    </a:lnTo>
                    <a:lnTo>
                      <a:pt x="358493" y="11638"/>
                    </a:lnTo>
                    <a:lnTo>
                      <a:pt x="359110" y="10492"/>
                    </a:lnTo>
                    <a:lnTo>
                      <a:pt x="357964" y="9258"/>
                    </a:lnTo>
                    <a:lnTo>
                      <a:pt x="357964" y="8376"/>
                    </a:lnTo>
                    <a:lnTo>
                      <a:pt x="358493" y="8111"/>
                    </a:lnTo>
                    <a:lnTo>
                      <a:pt x="359374" y="8111"/>
                    </a:lnTo>
                    <a:lnTo>
                      <a:pt x="360256" y="8376"/>
                    </a:lnTo>
                    <a:lnTo>
                      <a:pt x="362284" y="8729"/>
                    </a:lnTo>
                    <a:lnTo>
                      <a:pt x="363166" y="8376"/>
                    </a:lnTo>
                    <a:lnTo>
                      <a:pt x="363166" y="6965"/>
                    </a:lnTo>
                    <a:lnTo>
                      <a:pt x="362548" y="6348"/>
                    </a:lnTo>
                    <a:lnTo>
                      <a:pt x="362019" y="5467"/>
                    </a:lnTo>
                    <a:lnTo>
                      <a:pt x="362901" y="5202"/>
                    </a:lnTo>
                    <a:lnTo>
                      <a:pt x="362901" y="4320"/>
                    </a:lnTo>
                    <a:lnTo>
                      <a:pt x="361402" y="4056"/>
                    </a:lnTo>
                    <a:lnTo>
                      <a:pt x="360256" y="4320"/>
                    </a:lnTo>
                    <a:lnTo>
                      <a:pt x="359727" y="4320"/>
                    </a:lnTo>
                    <a:lnTo>
                      <a:pt x="359110" y="4585"/>
                    </a:lnTo>
                    <a:lnTo>
                      <a:pt x="358757" y="4937"/>
                    </a:lnTo>
                    <a:lnTo>
                      <a:pt x="356465" y="4320"/>
                    </a:lnTo>
                    <a:lnTo>
                      <a:pt x="354966" y="4320"/>
                    </a:lnTo>
                    <a:lnTo>
                      <a:pt x="354173" y="3439"/>
                    </a:lnTo>
                    <a:lnTo>
                      <a:pt x="353555" y="3703"/>
                    </a:lnTo>
                    <a:lnTo>
                      <a:pt x="352938" y="4056"/>
                    </a:lnTo>
                    <a:lnTo>
                      <a:pt x="351527" y="4937"/>
                    </a:lnTo>
                    <a:lnTo>
                      <a:pt x="350029" y="5467"/>
                    </a:lnTo>
                    <a:lnTo>
                      <a:pt x="347736" y="6084"/>
                    </a:lnTo>
                    <a:lnTo>
                      <a:pt x="344827" y="5467"/>
                    </a:lnTo>
                    <a:lnTo>
                      <a:pt x="344209" y="4937"/>
                    </a:lnTo>
                    <a:lnTo>
                      <a:pt x="344827" y="4320"/>
                    </a:lnTo>
                    <a:lnTo>
                      <a:pt x="344209" y="4056"/>
                    </a:lnTo>
                    <a:lnTo>
                      <a:pt x="344827" y="3439"/>
                    </a:lnTo>
                    <a:lnTo>
                      <a:pt x="344827" y="2557"/>
                    </a:lnTo>
                    <a:lnTo>
                      <a:pt x="344209" y="2821"/>
                    </a:lnTo>
                    <a:lnTo>
                      <a:pt x="343592" y="3174"/>
                    </a:lnTo>
                    <a:lnTo>
                      <a:pt x="343063" y="3439"/>
                    </a:lnTo>
                    <a:lnTo>
                      <a:pt x="342181" y="2557"/>
                    </a:lnTo>
                    <a:lnTo>
                      <a:pt x="341564" y="2821"/>
                    </a:lnTo>
                    <a:lnTo>
                      <a:pt x="340418" y="2557"/>
                    </a:lnTo>
                    <a:lnTo>
                      <a:pt x="339272" y="1146"/>
                    </a:lnTo>
                    <a:lnTo>
                      <a:pt x="338655" y="529"/>
                    </a:lnTo>
                    <a:lnTo>
                      <a:pt x="338390" y="529"/>
                    </a:lnTo>
                    <a:lnTo>
                      <a:pt x="337773" y="794"/>
                    </a:lnTo>
                    <a:lnTo>
                      <a:pt x="336627" y="529"/>
                    </a:lnTo>
                    <a:lnTo>
                      <a:pt x="336010" y="529"/>
                    </a:lnTo>
                    <a:lnTo>
                      <a:pt x="336010" y="0"/>
                    </a:lnTo>
                    <a:lnTo>
                      <a:pt x="335745" y="0"/>
                    </a:lnTo>
                    <a:lnTo>
                      <a:pt x="335481" y="529"/>
                    </a:lnTo>
                    <a:lnTo>
                      <a:pt x="334599" y="0"/>
                    </a:lnTo>
                    <a:lnTo>
                      <a:pt x="333982" y="0"/>
                    </a:lnTo>
                    <a:lnTo>
                      <a:pt x="333982" y="529"/>
                    </a:lnTo>
                    <a:lnTo>
                      <a:pt x="333453" y="264"/>
                    </a:lnTo>
                    <a:lnTo>
                      <a:pt x="333100" y="0"/>
                    </a:lnTo>
                    <a:lnTo>
                      <a:pt x="332571" y="264"/>
                    </a:lnTo>
                    <a:lnTo>
                      <a:pt x="332219" y="529"/>
                    </a:lnTo>
                    <a:lnTo>
                      <a:pt x="332571" y="794"/>
                    </a:lnTo>
                    <a:lnTo>
                      <a:pt x="333717" y="1146"/>
                    </a:lnTo>
                    <a:lnTo>
                      <a:pt x="333982" y="1675"/>
                    </a:lnTo>
                    <a:lnTo>
                      <a:pt x="333717" y="2557"/>
                    </a:lnTo>
                    <a:lnTo>
                      <a:pt x="333453" y="3439"/>
                    </a:lnTo>
                    <a:lnTo>
                      <a:pt x="332219" y="4320"/>
                    </a:lnTo>
                    <a:lnTo>
                      <a:pt x="331337" y="4320"/>
                    </a:lnTo>
                    <a:lnTo>
                      <a:pt x="330543" y="4320"/>
                    </a:lnTo>
                    <a:lnTo>
                      <a:pt x="329662" y="4320"/>
                    </a:lnTo>
                    <a:lnTo>
                      <a:pt x="329044" y="4320"/>
                    </a:lnTo>
                    <a:lnTo>
                      <a:pt x="327898" y="5467"/>
                    </a:lnTo>
                    <a:lnTo>
                      <a:pt x="327016" y="5202"/>
                    </a:lnTo>
                    <a:lnTo>
                      <a:pt x="326135" y="4937"/>
                    </a:lnTo>
                    <a:lnTo>
                      <a:pt x="325871" y="4320"/>
                    </a:lnTo>
                    <a:lnTo>
                      <a:pt x="325253" y="4056"/>
                    </a:lnTo>
                    <a:lnTo>
                      <a:pt x="324989" y="3439"/>
                    </a:lnTo>
                    <a:lnTo>
                      <a:pt x="324636" y="3174"/>
                    </a:lnTo>
                    <a:lnTo>
                      <a:pt x="324372" y="3439"/>
                    </a:lnTo>
                    <a:lnTo>
                      <a:pt x="323843" y="3439"/>
                    </a:lnTo>
                    <a:lnTo>
                      <a:pt x="323225" y="3703"/>
                    </a:lnTo>
                    <a:lnTo>
                      <a:pt x="322079" y="3439"/>
                    </a:lnTo>
                    <a:lnTo>
                      <a:pt x="320316" y="2821"/>
                    </a:lnTo>
                    <a:lnTo>
                      <a:pt x="319434" y="2292"/>
                    </a:lnTo>
                    <a:lnTo>
                      <a:pt x="319699" y="2028"/>
                    </a:lnTo>
                    <a:lnTo>
                      <a:pt x="319699" y="1146"/>
                    </a:lnTo>
                    <a:lnTo>
                      <a:pt x="319081" y="529"/>
                    </a:lnTo>
                    <a:lnTo>
                      <a:pt x="317671" y="0"/>
                    </a:lnTo>
                    <a:lnTo>
                      <a:pt x="315378" y="0"/>
                    </a:lnTo>
                    <a:lnTo>
                      <a:pt x="314497" y="264"/>
                    </a:lnTo>
                    <a:lnTo>
                      <a:pt x="314761" y="794"/>
                    </a:lnTo>
                    <a:lnTo>
                      <a:pt x="314761" y="1411"/>
                    </a:lnTo>
                    <a:lnTo>
                      <a:pt x="314144" y="1675"/>
                    </a:lnTo>
                    <a:lnTo>
                      <a:pt x="313615" y="2028"/>
                    </a:lnTo>
                    <a:lnTo>
                      <a:pt x="313262" y="2557"/>
                    </a:lnTo>
                    <a:lnTo>
                      <a:pt x="313615" y="3439"/>
                    </a:lnTo>
                    <a:lnTo>
                      <a:pt x="312733" y="4320"/>
                    </a:lnTo>
                    <a:lnTo>
                      <a:pt x="307796" y="6084"/>
                    </a:lnTo>
                    <a:lnTo>
                      <a:pt x="304269" y="6348"/>
                    </a:lnTo>
                    <a:lnTo>
                      <a:pt x="303035" y="6084"/>
                    </a:lnTo>
                    <a:lnTo>
                      <a:pt x="302241" y="6348"/>
                    </a:lnTo>
                    <a:lnTo>
                      <a:pt x="301007" y="7847"/>
                    </a:lnTo>
                    <a:lnTo>
                      <a:pt x="299332" y="7847"/>
                    </a:lnTo>
                    <a:lnTo>
                      <a:pt x="298450" y="9610"/>
                    </a:lnTo>
                    <a:lnTo>
                      <a:pt x="296070" y="10757"/>
                    </a:lnTo>
                    <a:lnTo>
                      <a:pt x="294042" y="11638"/>
                    </a:lnTo>
                    <a:lnTo>
                      <a:pt x="292543" y="10757"/>
                    </a:lnTo>
                    <a:lnTo>
                      <a:pt x="291132" y="10492"/>
                    </a:lnTo>
                    <a:lnTo>
                      <a:pt x="289369" y="9258"/>
                    </a:lnTo>
                    <a:lnTo>
                      <a:pt x="289633" y="7847"/>
                    </a:lnTo>
                    <a:lnTo>
                      <a:pt x="282668" y="4937"/>
                    </a:lnTo>
                    <a:lnTo>
                      <a:pt x="278259" y="5467"/>
                    </a:lnTo>
                    <a:lnTo>
                      <a:pt x="276584" y="4937"/>
                    </a:lnTo>
                    <a:lnTo>
                      <a:pt x="275967" y="4320"/>
                    </a:lnTo>
                    <a:lnTo>
                      <a:pt x="274821" y="4937"/>
                    </a:lnTo>
                    <a:lnTo>
                      <a:pt x="272176" y="4937"/>
                    </a:lnTo>
                    <a:lnTo>
                      <a:pt x="271030" y="5467"/>
                    </a:lnTo>
                    <a:lnTo>
                      <a:pt x="270148" y="4937"/>
                    </a:lnTo>
                    <a:lnTo>
                      <a:pt x="268649" y="5467"/>
                    </a:lnTo>
                    <a:lnTo>
                      <a:pt x="265740" y="4937"/>
                    </a:lnTo>
                    <a:lnTo>
                      <a:pt x="264593" y="4320"/>
                    </a:lnTo>
                    <a:lnTo>
                      <a:pt x="261684" y="5467"/>
                    </a:lnTo>
                    <a:lnTo>
                      <a:pt x="259039" y="6348"/>
                    </a:lnTo>
                    <a:lnTo>
                      <a:pt x="256129" y="7847"/>
                    </a:lnTo>
                    <a:lnTo>
                      <a:pt x="252602" y="7847"/>
                    </a:lnTo>
                    <a:lnTo>
                      <a:pt x="251456" y="6348"/>
                    </a:lnTo>
                    <a:lnTo>
                      <a:pt x="250927" y="6965"/>
                    </a:lnTo>
                    <a:lnTo>
                      <a:pt x="251192" y="7847"/>
                    </a:lnTo>
                    <a:lnTo>
                      <a:pt x="250927" y="8376"/>
                    </a:lnTo>
                    <a:lnTo>
                      <a:pt x="248811" y="8993"/>
                    </a:lnTo>
                    <a:lnTo>
                      <a:pt x="247665" y="8376"/>
                    </a:lnTo>
                    <a:lnTo>
                      <a:pt x="246783" y="6965"/>
                    </a:lnTo>
                    <a:lnTo>
                      <a:pt x="245373" y="6965"/>
                    </a:lnTo>
                    <a:lnTo>
                      <a:pt x="244138" y="6965"/>
                    </a:lnTo>
                    <a:lnTo>
                      <a:pt x="242992" y="8376"/>
                    </a:lnTo>
                    <a:lnTo>
                      <a:pt x="242992" y="9258"/>
                    </a:lnTo>
                    <a:lnTo>
                      <a:pt x="241493" y="9875"/>
                    </a:lnTo>
                    <a:lnTo>
                      <a:pt x="238936" y="8729"/>
                    </a:lnTo>
                    <a:lnTo>
                      <a:pt x="236027" y="9610"/>
                    </a:lnTo>
                    <a:lnTo>
                      <a:pt x="234263" y="11903"/>
                    </a:lnTo>
                    <a:lnTo>
                      <a:pt x="233999" y="11903"/>
                    </a:lnTo>
                    <a:lnTo>
                      <a:pt x="232500" y="11638"/>
                    </a:lnTo>
                    <a:lnTo>
                      <a:pt x="226946" y="11903"/>
                    </a:lnTo>
                    <a:lnTo>
                      <a:pt x="222273" y="11286"/>
                    </a:lnTo>
                    <a:lnTo>
                      <a:pt x="216718" y="13666"/>
                    </a:lnTo>
                    <a:lnTo>
                      <a:pt x="216189" y="13666"/>
                    </a:lnTo>
                    <a:lnTo>
                      <a:pt x="214426" y="12167"/>
                    </a:lnTo>
                    <a:lnTo>
                      <a:pt x="212662" y="13049"/>
                    </a:lnTo>
                    <a:lnTo>
                      <a:pt x="210370" y="12520"/>
                    </a:lnTo>
                    <a:lnTo>
                      <a:pt x="209135" y="12167"/>
                    </a:lnTo>
                    <a:lnTo>
                      <a:pt x="207725" y="14195"/>
                    </a:lnTo>
                    <a:lnTo>
                      <a:pt x="206843" y="12167"/>
                    </a:lnTo>
                    <a:lnTo>
                      <a:pt x="205961" y="13931"/>
                    </a:lnTo>
                    <a:lnTo>
                      <a:pt x="203934" y="14548"/>
                    </a:lnTo>
                    <a:lnTo>
                      <a:pt x="203669" y="15694"/>
                    </a:lnTo>
                    <a:lnTo>
                      <a:pt x="201024" y="16840"/>
                    </a:lnTo>
                    <a:lnTo>
                      <a:pt x="199878" y="16840"/>
                    </a:lnTo>
                    <a:lnTo>
                      <a:pt x="199261" y="18075"/>
                    </a:lnTo>
                    <a:lnTo>
                      <a:pt x="197762" y="18075"/>
                    </a:lnTo>
                    <a:lnTo>
                      <a:pt x="195469" y="18604"/>
                    </a:lnTo>
                    <a:lnTo>
                      <a:pt x="194323" y="20102"/>
                    </a:lnTo>
                    <a:lnTo>
                      <a:pt x="192824" y="20102"/>
                    </a:lnTo>
                    <a:lnTo>
                      <a:pt x="191061" y="20632"/>
                    </a:lnTo>
                    <a:lnTo>
                      <a:pt x="191414" y="22130"/>
                    </a:lnTo>
                    <a:lnTo>
                      <a:pt x="190797" y="23541"/>
                    </a:lnTo>
                    <a:lnTo>
                      <a:pt x="189298" y="22659"/>
                    </a:lnTo>
                    <a:lnTo>
                      <a:pt x="187887" y="22659"/>
                    </a:lnTo>
                    <a:lnTo>
                      <a:pt x="188769" y="23894"/>
                    </a:lnTo>
                    <a:lnTo>
                      <a:pt x="188769" y="25922"/>
                    </a:lnTo>
                    <a:lnTo>
                      <a:pt x="185859" y="25657"/>
                    </a:lnTo>
                    <a:lnTo>
                      <a:pt x="186124" y="26803"/>
                    </a:lnTo>
                    <a:lnTo>
                      <a:pt x="183831" y="25922"/>
                    </a:lnTo>
                    <a:lnTo>
                      <a:pt x="182068" y="26451"/>
                    </a:lnTo>
                    <a:lnTo>
                      <a:pt x="182332" y="29096"/>
                    </a:lnTo>
                    <a:lnTo>
                      <a:pt x="182068" y="29977"/>
                    </a:lnTo>
                    <a:lnTo>
                      <a:pt x="179952" y="31123"/>
                    </a:lnTo>
                    <a:lnTo>
                      <a:pt x="178276" y="31123"/>
                    </a:lnTo>
                    <a:lnTo>
                      <a:pt x="178276" y="30594"/>
                    </a:lnTo>
                    <a:lnTo>
                      <a:pt x="178541" y="29096"/>
                    </a:lnTo>
                    <a:lnTo>
                      <a:pt x="176513" y="29096"/>
                    </a:lnTo>
                    <a:lnTo>
                      <a:pt x="171840" y="29977"/>
                    </a:lnTo>
                    <a:lnTo>
                      <a:pt x="171576" y="31476"/>
                    </a:lnTo>
                    <a:lnTo>
                      <a:pt x="167432" y="31741"/>
                    </a:lnTo>
                    <a:lnTo>
                      <a:pt x="166286" y="32358"/>
                    </a:lnTo>
                    <a:lnTo>
                      <a:pt x="163640" y="32005"/>
                    </a:lnTo>
                    <a:lnTo>
                      <a:pt x="161877" y="33504"/>
                    </a:lnTo>
                    <a:lnTo>
                      <a:pt x="159849" y="34033"/>
                    </a:lnTo>
                    <a:lnTo>
                      <a:pt x="159585" y="36414"/>
                    </a:lnTo>
                    <a:lnTo>
                      <a:pt x="158703" y="37560"/>
                    </a:lnTo>
                    <a:lnTo>
                      <a:pt x="159320" y="39940"/>
                    </a:lnTo>
                    <a:lnTo>
                      <a:pt x="158703" y="40822"/>
                    </a:lnTo>
                    <a:lnTo>
                      <a:pt x="156675" y="43732"/>
                    </a:lnTo>
                    <a:lnTo>
                      <a:pt x="156940" y="41351"/>
                    </a:lnTo>
                    <a:lnTo>
                      <a:pt x="156411" y="42233"/>
                    </a:lnTo>
                    <a:lnTo>
                      <a:pt x="152267" y="43379"/>
                    </a:lnTo>
                    <a:lnTo>
                      <a:pt x="150239" y="44878"/>
                    </a:lnTo>
                    <a:lnTo>
                      <a:pt x="148828" y="46024"/>
                    </a:lnTo>
                    <a:lnTo>
                      <a:pt x="148828" y="47523"/>
                    </a:lnTo>
                    <a:lnTo>
                      <a:pt x="145302" y="48052"/>
                    </a:lnTo>
                    <a:lnTo>
                      <a:pt x="145037" y="48669"/>
                    </a:lnTo>
                    <a:lnTo>
                      <a:pt x="143538" y="49551"/>
                    </a:lnTo>
                    <a:lnTo>
                      <a:pt x="142039" y="50080"/>
                    </a:lnTo>
                    <a:lnTo>
                      <a:pt x="140011" y="50080"/>
                    </a:lnTo>
                    <a:lnTo>
                      <a:pt x="139482" y="4955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2" name="Freihandform: Form 1831">
                <a:extLst>
                  <a:ext uri="{FF2B5EF4-FFF2-40B4-BE49-F238E27FC236}">
                    <a16:creationId xmlns:a16="http://schemas.microsoft.com/office/drawing/2014/main" id="{8E88E6CF-C2A1-11B9-783C-06430CFE4AB5}"/>
                  </a:ext>
                </a:extLst>
              </p:cNvPr>
              <p:cNvSpPr/>
              <p:nvPr/>
            </p:nvSpPr>
            <p:spPr>
              <a:xfrm>
                <a:off x="4863532" y="3700293"/>
                <a:ext cx="148123" cy="142303"/>
              </a:xfrm>
              <a:custGeom>
                <a:avLst/>
                <a:gdLst>
                  <a:gd name="connsiteX0" fmla="*/ 43996 w 148123"/>
                  <a:gd name="connsiteY0" fmla="*/ 529 h 142303"/>
                  <a:gd name="connsiteX1" fmla="*/ 43467 w 148123"/>
                  <a:gd name="connsiteY1" fmla="*/ 793 h 142303"/>
                  <a:gd name="connsiteX2" fmla="*/ 43732 w 148123"/>
                  <a:gd name="connsiteY2" fmla="*/ 1763 h 142303"/>
                  <a:gd name="connsiteX3" fmla="*/ 43996 w 148123"/>
                  <a:gd name="connsiteY3" fmla="*/ 2292 h 142303"/>
                  <a:gd name="connsiteX4" fmla="*/ 44261 w 148123"/>
                  <a:gd name="connsiteY4" fmla="*/ 2557 h 142303"/>
                  <a:gd name="connsiteX5" fmla="*/ 44613 w 148123"/>
                  <a:gd name="connsiteY5" fmla="*/ 3174 h 142303"/>
                  <a:gd name="connsiteX6" fmla="*/ 44878 w 148123"/>
                  <a:gd name="connsiteY6" fmla="*/ 4056 h 142303"/>
                  <a:gd name="connsiteX7" fmla="*/ 44878 w 148123"/>
                  <a:gd name="connsiteY7" fmla="*/ 4585 h 142303"/>
                  <a:gd name="connsiteX8" fmla="*/ 45759 w 148123"/>
                  <a:gd name="connsiteY8" fmla="*/ 6348 h 142303"/>
                  <a:gd name="connsiteX9" fmla="*/ 46906 w 148123"/>
                  <a:gd name="connsiteY9" fmla="*/ 7230 h 142303"/>
                  <a:gd name="connsiteX10" fmla="*/ 47523 w 148123"/>
                  <a:gd name="connsiteY10" fmla="*/ 8376 h 142303"/>
                  <a:gd name="connsiteX11" fmla="*/ 47523 w 148123"/>
                  <a:gd name="connsiteY11" fmla="*/ 8993 h 142303"/>
                  <a:gd name="connsiteX12" fmla="*/ 47523 w 148123"/>
                  <a:gd name="connsiteY12" fmla="*/ 9610 h 142303"/>
                  <a:gd name="connsiteX13" fmla="*/ 48140 w 148123"/>
                  <a:gd name="connsiteY13" fmla="*/ 9875 h 142303"/>
                  <a:gd name="connsiteX14" fmla="*/ 48405 w 148123"/>
                  <a:gd name="connsiteY14" fmla="*/ 10139 h 142303"/>
                  <a:gd name="connsiteX15" fmla="*/ 48669 w 148123"/>
                  <a:gd name="connsiteY15" fmla="*/ 9875 h 142303"/>
                  <a:gd name="connsiteX16" fmla="*/ 48934 w 148123"/>
                  <a:gd name="connsiteY16" fmla="*/ 10139 h 142303"/>
                  <a:gd name="connsiteX17" fmla="*/ 49551 w 148123"/>
                  <a:gd name="connsiteY17" fmla="*/ 12784 h 142303"/>
                  <a:gd name="connsiteX18" fmla="*/ 51050 w 148123"/>
                  <a:gd name="connsiteY18" fmla="*/ 16576 h 142303"/>
                  <a:gd name="connsiteX19" fmla="*/ 51579 w 148123"/>
                  <a:gd name="connsiteY19" fmla="*/ 17193 h 142303"/>
                  <a:gd name="connsiteX20" fmla="*/ 52196 w 148123"/>
                  <a:gd name="connsiteY20" fmla="*/ 18604 h 142303"/>
                  <a:gd name="connsiteX21" fmla="*/ 52196 w 148123"/>
                  <a:gd name="connsiteY21" fmla="*/ 20367 h 142303"/>
                  <a:gd name="connsiteX22" fmla="*/ 53695 w 148123"/>
                  <a:gd name="connsiteY22" fmla="*/ 21249 h 142303"/>
                  <a:gd name="connsiteX23" fmla="*/ 53959 w 148123"/>
                  <a:gd name="connsiteY23" fmla="*/ 22395 h 142303"/>
                  <a:gd name="connsiteX24" fmla="*/ 53959 w 148123"/>
                  <a:gd name="connsiteY24" fmla="*/ 23012 h 142303"/>
                  <a:gd name="connsiteX25" fmla="*/ 53959 w 148123"/>
                  <a:gd name="connsiteY25" fmla="*/ 24158 h 142303"/>
                  <a:gd name="connsiteX26" fmla="*/ 54841 w 148123"/>
                  <a:gd name="connsiteY26" fmla="*/ 25657 h 142303"/>
                  <a:gd name="connsiteX27" fmla="*/ 55370 w 148123"/>
                  <a:gd name="connsiteY27" fmla="*/ 29096 h 142303"/>
                  <a:gd name="connsiteX28" fmla="*/ 56251 w 148123"/>
                  <a:gd name="connsiteY28" fmla="*/ 31476 h 142303"/>
                  <a:gd name="connsiteX29" fmla="*/ 57133 w 148123"/>
                  <a:gd name="connsiteY29" fmla="*/ 33151 h 142303"/>
                  <a:gd name="connsiteX30" fmla="*/ 56604 w 148123"/>
                  <a:gd name="connsiteY30" fmla="*/ 33151 h 142303"/>
                  <a:gd name="connsiteX31" fmla="*/ 57750 w 148123"/>
                  <a:gd name="connsiteY31" fmla="*/ 33769 h 142303"/>
                  <a:gd name="connsiteX32" fmla="*/ 57750 w 148123"/>
                  <a:gd name="connsiteY32" fmla="*/ 35532 h 142303"/>
                  <a:gd name="connsiteX33" fmla="*/ 56604 w 148123"/>
                  <a:gd name="connsiteY33" fmla="*/ 36149 h 142303"/>
                  <a:gd name="connsiteX34" fmla="*/ 57750 w 148123"/>
                  <a:gd name="connsiteY34" fmla="*/ 37295 h 142303"/>
                  <a:gd name="connsiteX35" fmla="*/ 57486 w 148123"/>
                  <a:gd name="connsiteY35" fmla="*/ 37560 h 142303"/>
                  <a:gd name="connsiteX36" fmla="*/ 58279 w 148123"/>
                  <a:gd name="connsiteY36" fmla="*/ 37912 h 142303"/>
                  <a:gd name="connsiteX37" fmla="*/ 59514 w 148123"/>
                  <a:gd name="connsiteY37" fmla="*/ 46024 h 142303"/>
                  <a:gd name="connsiteX38" fmla="*/ 60660 w 148123"/>
                  <a:gd name="connsiteY38" fmla="*/ 50961 h 142303"/>
                  <a:gd name="connsiteX39" fmla="*/ 61542 w 148123"/>
                  <a:gd name="connsiteY39" fmla="*/ 53342 h 142303"/>
                  <a:gd name="connsiteX40" fmla="*/ 64451 w 148123"/>
                  <a:gd name="connsiteY40" fmla="*/ 55987 h 142303"/>
                  <a:gd name="connsiteX41" fmla="*/ 63834 w 148123"/>
                  <a:gd name="connsiteY41" fmla="*/ 57133 h 142303"/>
                  <a:gd name="connsiteX42" fmla="*/ 64716 w 148123"/>
                  <a:gd name="connsiteY42" fmla="*/ 57398 h 142303"/>
                  <a:gd name="connsiteX43" fmla="*/ 64980 w 148123"/>
                  <a:gd name="connsiteY43" fmla="*/ 58896 h 142303"/>
                  <a:gd name="connsiteX44" fmla="*/ 64980 w 148123"/>
                  <a:gd name="connsiteY44" fmla="*/ 59425 h 142303"/>
                  <a:gd name="connsiteX45" fmla="*/ 64980 w 148123"/>
                  <a:gd name="connsiteY45" fmla="*/ 60043 h 142303"/>
                  <a:gd name="connsiteX46" fmla="*/ 65333 w 148123"/>
                  <a:gd name="connsiteY46" fmla="*/ 60043 h 142303"/>
                  <a:gd name="connsiteX47" fmla="*/ 64980 w 148123"/>
                  <a:gd name="connsiteY47" fmla="*/ 60924 h 142303"/>
                  <a:gd name="connsiteX48" fmla="*/ 64716 w 148123"/>
                  <a:gd name="connsiteY48" fmla="*/ 60924 h 142303"/>
                  <a:gd name="connsiteX49" fmla="*/ 64980 w 148123"/>
                  <a:gd name="connsiteY49" fmla="*/ 62688 h 142303"/>
                  <a:gd name="connsiteX50" fmla="*/ 66215 w 148123"/>
                  <a:gd name="connsiteY50" fmla="*/ 62688 h 142303"/>
                  <a:gd name="connsiteX51" fmla="*/ 67361 w 148123"/>
                  <a:gd name="connsiteY51" fmla="*/ 62688 h 142303"/>
                  <a:gd name="connsiteX52" fmla="*/ 68243 w 148123"/>
                  <a:gd name="connsiteY52" fmla="*/ 62688 h 142303"/>
                  <a:gd name="connsiteX53" fmla="*/ 68507 w 148123"/>
                  <a:gd name="connsiteY53" fmla="*/ 63569 h 142303"/>
                  <a:gd name="connsiteX54" fmla="*/ 70006 w 148123"/>
                  <a:gd name="connsiteY54" fmla="*/ 67008 h 142303"/>
                  <a:gd name="connsiteX55" fmla="*/ 70270 w 148123"/>
                  <a:gd name="connsiteY55" fmla="*/ 67890 h 142303"/>
                  <a:gd name="connsiteX56" fmla="*/ 71416 w 148123"/>
                  <a:gd name="connsiteY56" fmla="*/ 69653 h 142303"/>
                  <a:gd name="connsiteX57" fmla="*/ 71416 w 148123"/>
                  <a:gd name="connsiteY57" fmla="*/ 72563 h 142303"/>
                  <a:gd name="connsiteX58" fmla="*/ 71416 w 148123"/>
                  <a:gd name="connsiteY58" fmla="*/ 73709 h 142303"/>
                  <a:gd name="connsiteX59" fmla="*/ 71769 w 148123"/>
                  <a:gd name="connsiteY59" fmla="*/ 73709 h 142303"/>
                  <a:gd name="connsiteX60" fmla="*/ 72563 w 148123"/>
                  <a:gd name="connsiteY60" fmla="*/ 73709 h 142303"/>
                  <a:gd name="connsiteX61" fmla="*/ 73444 w 148123"/>
                  <a:gd name="connsiteY61" fmla="*/ 73709 h 142303"/>
                  <a:gd name="connsiteX62" fmla="*/ 73444 w 148123"/>
                  <a:gd name="connsiteY62" fmla="*/ 72563 h 142303"/>
                  <a:gd name="connsiteX63" fmla="*/ 74326 w 148123"/>
                  <a:gd name="connsiteY63" fmla="*/ 71681 h 142303"/>
                  <a:gd name="connsiteX64" fmla="*/ 73180 w 148123"/>
                  <a:gd name="connsiteY64" fmla="*/ 68771 h 142303"/>
                  <a:gd name="connsiteX65" fmla="*/ 72563 w 148123"/>
                  <a:gd name="connsiteY65" fmla="*/ 68771 h 142303"/>
                  <a:gd name="connsiteX66" fmla="*/ 72034 w 148123"/>
                  <a:gd name="connsiteY66" fmla="*/ 66126 h 142303"/>
                  <a:gd name="connsiteX67" fmla="*/ 72915 w 148123"/>
                  <a:gd name="connsiteY67" fmla="*/ 64451 h 142303"/>
                  <a:gd name="connsiteX68" fmla="*/ 73797 w 148123"/>
                  <a:gd name="connsiteY68" fmla="*/ 63569 h 142303"/>
                  <a:gd name="connsiteX69" fmla="*/ 74326 w 148123"/>
                  <a:gd name="connsiteY69" fmla="*/ 62952 h 142303"/>
                  <a:gd name="connsiteX70" fmla="*/ 74943 w 148123"/>
                  <a:gd name="connsiteY70" fmla="*/ 64451 h 142303"/>
                  <a:gd name="connsiteX71" fmla="*/ 76971 w 148123"/>
                  <a:gd name="connsiteY71" fmla="*/ 66126 h 142303"/>
                  <a:gd name="connsiteX72" fmla="*/ 78382 w 148123"/>
                  <a:gd name="connsiteY72" fmla="*/ 66479 h 142303"/>
                  <a:gd name="connsiteX73" fmla="*/ 78999 w 148123"/>
                  <a:gd name="connsiteY73" fmla="*/ 67361 h 142303"/>
                  <a:gd name="connsiteX74" fmla="*/ 77588 w 148123"/>
                  <a:gd name="connsiteY74" fmla="*/ 70006 h 142303"/>
                  <a:gd name="connsiteX75" fmla="*/ 78735 w 148123"/>
                  <a:gd name="connsiteY75" fmla="*/ 70006 h 142303"/>
                  <a:gd name="connsiteX76" fmla="*/ 78735 w 148123"/>
                  <a:gd name="connsiteY76" fmla="*/ 70535 h 142303"/>
                  <a:gd name="connsiteX77" fmla="*/ 79352 w 148123"/>
                  <a:gd name="connsiteY77" fmla="*/ 72034 h 142303"/>
                  <a:gd name="connsiteX78" fmla="*/ 79616 w 148123"/>
                  <a:gd name="connsiteY78" fmla="*/ 73180 h 142303"/>
                  <a:gd name="connsiteX79" fmla="*/ 79616 w 148123"/>
                  <a:gd name="connsiteY79" fmla="*/ 73709 h 142303"/>
                  <a:gd name="connsiteX80" fmla="*/ 80762 w 148123"/>
                  <a:gd name="connsiteY80" fmla="*/ 74326 h 142303"/>
                  <a:gd name="connsiteX81" fmla="*/ 80762 w 148123"/>
                  <a:gd name="connsiteY81" fmla="*/ 75208 h 142303"/>
                  <a:gd name="connsiteX82" fmla="*/ 80762 w 148123"/>
                  <a:gd name="connsiteY82" fmla="*/ 75825 h 142303"/>
                  <a:gd name="connsiteX83" fmla="*/ 81380 w 148123"/>
                  <a:gd name="connsiteY83" fmla="*/ 76706 h 142303"/>
                  <a:gd name="connsiteX84" fmla="*/ 83672 w 148123"/>
                  <a:gd name="connsiteY84" fmla="*/ 77588 h 142303"/>
                  <a:gd name="connsiteX85" fmla="*/ 84289 w 148123"/>
                  <a:gd name="connsiteY85" fmla="*/ 77853 h 142303"/>
                  <a:gd name="connsiteX86" fmla="*/ 85435 w 148123"/>
                  <a:gd name="connsiteY86" fmla="*/ 77235 h 142303"/>
                  <a:gd name="connsiteX87" fmla="*/ 86052 w 148123"/>
                  <a:gd name="connsiteY87" fmla="*/ 75472 h 142303"/>
                  <a:gd name="connsiteX88" fmla="*/ 86052 w 148123"/>
                  <a:gd name="connsiteY88" fmla="*/ 76706 h 142303"/>
                  <a:gd name="connsiteX89" fmla="*/ 86317 w 148123"/>
                  <a:gd name="connsiteY89" fmla="*/ 76706 h 142303"/>
                  <a:gd name="connsiteX90" fmla="*/ 86934 w 148123"/>
                  <a:gd name="connsiteY90" fmla="*/ 76706 h 142303"/>
                  <a:gd name="connsiteX91" fmla="*/ 86934 w 148123"/>
                  <a:gd name="connsiteY91" fmla="*/ 75472 h 142303"/>
                  <a:gd name="connsiteX92" fmla="*/ 87463 w 148123"/>
                  <a:gd name="connsiteY92" fmla="*/ 75472 h 142303"/>
                  <a:gd name="connsiteX93" fmla="*/ 87816 w 148123"/>
                  <a:gd name="connsiteY93" fmla="*/ 75825 h 142303"/>
                  <a:gd name="connsiteX94" fmla="*/ 88609 w 148123"/>
                  <a:gd name="connsiteY94" fmla="*/ 76706 h 142303"/>
                  <a:gd name="connsiteX95" fmla="*/ 88962 w 148123"/>
                  <a:gd name="connsiteY95" fmla="*/ 75825 h 142303"/>
                  <a:gd name="connsiteX96" fmla="*/ 88962 w 148123"/>
                  <a:gd name="connsiteY96" fmla="*/ 75472 h 142303"/>
                  <a:gd name="connsiteX97" fmla="*/ 88962 w 148123"/>
                  <a:gd name="connsiteY97" fmla="*/ 75208 h 142303"/>
                  <a:gd name="connsiteX98" fmla="*/ 89226 w 148123"/>
                  <a:gd name="connsiteY98" fmla="*/ 75825 h 142303"/>
                  <a:gd name="connsiteX99" fmla="*/ 89844 w 148123"/>
                  <a:gd name="connsiteY99" fmla="*/ 75825 h 142303"/>
                  <a:gd name="connsiteX100" fmla="*/ 89844 w 148123"/>
                  <a:gd name="connsiteY100" fmla="*/ 77235 h 142303"/>
                  <a:gd name="connsiteX101" fmla="*/ 90990 w 148123"/>
                  <a:gd name="connsiteY101" fmla="*/ 77235 h 142303"/>
                  <a:gd name="connsiteX102" fmla="*/ 90990 w 148123"/>
                  <a:gd name="connsiteY102" fmla="*/ 78382 h 142303"/>
                  <a:gd name="connsiteX103" fmla="*/ 91607 w 148123"/>
                  <a:gd name="connsiteY103" fmla="*/ 78382 h 142303"/>
                  <a:gd name="connsiteX104" fmla="*/ 91607 w 148123"/>
                  <a:gd name="connsiteY104" fmla="*/ 78117 h 142303"/>
                  <a:gd name="connsiteX105" fmla="*/ 92136 w 148123"/>
                  <a:gd name="connsiteY105" fmla="*/ 78117 h 142303"/>
                  <a:gd name="connsiteX106" fmla="*/ 92401 w 148123"/>
                  <a:gd name="connsiteY106" fmla="*/ 78382 h 142303"/>
                  <a:gd name="connsiteX107" fmla="*/ 92136 w 148123"/>
                  <a:gd name="connsiteY107" fmla="*/ 78999 h 142303"/>
                  <a:gd name="connsiteX108" fmla="*/ 92753 w 148123"/>
                  <a:gd name="connsiteY108" fmla="*/ 80145 h 142303"/>
                  <a:gd name="connsiteX109" fmla="*/ 94164 w 148123"/>
                  <a:gd name="connsiteY109" fmla="*/ 80145 h 142303"/>
                  <a:gd name="connsiteX110" fmla="*/ 94164 w 148123"/>
                  <a:gd name="connsiteY110" fmla="*/ 80762 h 142303"/>
                  <a:gd name="connsiteX111" fmla="*/ 93635 w 148123"/>
                  <a:gd name="connsiteY111" fmla="*/ 81644 h 142303"/>
                  <a:gd name="connsiteX112" fmla="*/ 94164 w 148123"/>
                  <a:gd name="connsiteY112" fmla="*/ 82526 h 142303"/>
                  <a:gd name="connsiteX113" fmla="*/ 94517 w 148123"/>
                  <a:gd name="connsiteY113" fmla="*/ 82526 h 142303"/>
                  <a:gd name="connsiteX114" fmla="*/ 94517 w 148123"/>
                  <a:gd name="connsiteY114" fmla="*/ 83055 h 142303"/>
                  <a:gd name="connsiteX115" fmla="*/ 95046 w 148123"/>
                  <a:gd name="connsiteY115" fmla="*/ 83055 h 142303"/>
                  <a:gd name="connsiteX116" fmla="*/ 95663 w 148123"/>
                  <a:gd name="connsiteY116" fmla="*/ 82526 h 142303"/>
                  <a:gd name="connsiteX117" fmla="*/ 96192 w 148123"/>
                  <a:gd name="connsiteY117" fmla="*/ 83055 h 142303"/>
                  <a:gd name="connsiteX118" fmla="*/ 96544 w 148123"/>
                  <a:gd name="connsiteY118" fmla="*/ 82526 h 142303"/>
                  <a:gd name="connsiteX119" fmla="*/ 97426 w 148123"/>
                  <a:gd name="connsiteY119" fmla="*/ 82526 h 142303"/>
                  <a:gd name="connsiteX120" fmla="*/ 99189 w 148123"/>
                  <a:gd name="connsiteY120" fmla="*/ 84289 h 142303"/>
                  <a:gd name="connsiteX121" fmla="*/ 100336 w 148123"/>
                  <a:gd name="connsiteY121" fmla="*/ 83936 h 142303"/>
                  <a:gd name="connsiteX122" fmla="*/ 103510 w 148123"/>
                  <a:gd name="connsiteY122" fmla="*/ 84818 h 142303"/>
                  <a:gd name="connsiteX123" fmla="*/ 104391 w 148123"/>
                  <a:gd name="connsiteY123" fmla="*/ 85964 h 142303"/>
                  <a:gd name="connsiteX124" fmla="*/ 106684 w 148123"/>
                  <a:gd name="connsiteY124" fmla="*/ 88874 h 142303"/>
                  <a:gd name="connsiteX125" fmla="*/ 107037 w 148123"/>
                  <a:gd name="connsiteY125" fmla="*/ 90990 h 142303"/>
                  <a:gd name="connsiteX126" fmla="*/ 108800 w 148123"/>
                  <a:gd name="connsiteY126" fmla="*/ 91519 h 142303"/>
                  <a:gd name="connsiteX127" fmla="*/ 109064 w 148123"/>
                  <a:gd name="connsiteY127" fmla="*/ 93018 h 142303"/>
                  <a:gd name="connsiteX128" fmla="*/ 111092 w 148123"/>
                  <a:gd name="connsiteY128" fmla="*/ 95046 h 142303"/>
                  <a:gd name="connsiteX129" fmla="*/ 111974 w 148123"/>
                  <a:gd name="connsiteY129" fmla="*/ 97338 h 142303"/>
                  <a:gd name="connsiteX130" fmla="*/ 114002 w 148123"/>
                  <a:gd name="connsiteY130" fmla="*/ 98837 h 142303"/>
                  <a:gd name="connsiteX131" fmla="*/ 116118 w 148123"/>
                  <a:gd name="connsiteY131" fmla="*/ 102363 h 142303"/>
                  <a:gd name="connsiteX132" fmla="*/ 116294 w 148123"/>
                  <a:gd name="connsiteY132" fmla="*/ 102363 h 142303"/>
                  <a:gd name="connsiteX133" fmla="*/ 116647 w 148123"/>
                  <a:gd name="connsiteY133" fmla="*/ 102628 h 142303"/>
                  <a:gd name="connsiteX134" fmla="*/ 118410 w 148123"/>
                  <a:gd name="connsiteY134" fmla="*/ 102363 h 142303"/>
                  <a:gd name="connsiteX135" fmla="*/ 118675 w 148123"/>
                  <a:gd name="connsiteY135" fmla="*/ 103774 h 142303"/>
                  <a:gd name="connsiteX136" fmla="*/ 121055 w 148123"/>
                  <a:gd name="connsiteY136" fmla="*/ 104127 h 142303"/>
                  <a:gd name="connsiteX137" fmla="*/ 121320 w 148123"/>
                  <a:gd name="connsiteY137" fmla="*/ 104127 h 142303"/>
                  <a:gd name="connsiteX138" fmla="*/ 121937 w 148123"/>
                  <a:gd name="connsiteY138" fmla="*/ 104391 h 142303"/>
                  <a:gd name="connsiteX139" fmla="*/ 122202 w 148123"/>
                  <a:gd name="connsiteY139" fmla="*/ 105802 h 142303"/>
                  <a:gd name="connsiteX140" fmla="*/ 124229 w 148123"/>
                  <a:gd name="connsiteY140" fmla="*/ 107565 h 142303"/>
                  <a:gd name="connsiteX141" fmla="*/ 124229 w 148123"/>
                  <a:gd name="connsiteY141" fmla="*/ 107918 h 142303"/>
                  <a:gd name="connsiteX142" fmla="*/ 125111 w 148123"/>
                  <a:gd name="connsiteY142" fmla="*/ 109593 h 142303"/>
                  <a:gd name="connsiteX143" fmla="*/ 125993 w 148123"/>
                  <a:gd name="connsiteY143" fmla="*/ 109593 h 142303"/>
                  <a:gd name="connsiteX144" fmla="*/ 127403 w 148123"/>
                  <a:gd name="connsiteY144" fmla="*/ 110475 h 142303"/>
                  <a:gd name="connsiteX145" fmla="*/ 127403 w 148123"/>
                  <a:gd name="connsiteY145" fmla="*/ 111357 h 142303"/>
                  <a:gd name="connsiteX146" fmla="*/ 128021 w 148123"/>
                  <a:gd name="connsiteY146" fmla="*/ 111974 h 142303"/>
                  <a:gd name="connsiteX147" fmla="*/ 127756 w 148123"/>
                  <a:gd name="connsiteY147" fmla="*/ 110475 h 142303"/>
                  <a:gd name="connsiteX148" fmla="*/ 127756 w 148123"/>
                  <a:gd name="connsiteY148" fmla="*/ 109593 h 142303"/>
                  <a:gd name="connsiteX149" fmla="*/ 126522 w 148123"/>
                  <a:gd name="connsiteY149" fmla="*/ 109329 h 142303"/>
                  <a:gd name="connsiteX150" fmla="*/ 127139 w 148123"/>
                  <a:gd name="connsiteY150" fmla="*/ 108712 h 142303"/>
                  <a:gd name="connsiteX151" fmla="*/ 128021 w 148123"/>
                  <a:gd name="connsiteY151" fmla="*/ 109593 h 142303"/>
                  <a:gd name="connsiteX152" fmla="*/ 128021 w 148123"/>
                  <a:gd name="connsiteY152" fmla="*/ 110475 h 142303"/>
                  <a:gd name="connsiteX153" fmla="*/ 128902 w 148123"/>
                  <a:gd name="connsiteY153" fmla="*/ 111357 h 142303"/>
                  <a:gd name="connsiteX154" fmla="*/ 129167 w 148123"/>
                  <a:gd name="connsiteY154" fmla="*/ 111974 h 142303"/>
                  <a:gd name="connsiteX155" fmla="*/ 129519 w 148123"/>
                  <a:gd name="connsiteY155" fmla="*/ 113385 h 142303"/>
                  <a:gd name="connsiteX156" fmla="*/ 130048 w 148123"/>
                  <a:gd name="connsiteY156" fmla="*/ 114619 h 142303"/>
                  <a:gd name="connsiteX157" fmla="*/ 131195 w 148123"/>
                  <a:gd name="connsiteY157" fmla="*/ 120173 h 142303"/>
                  <a:gd name="connsiteX158" fmla="*/ 133575 w 148123"/>
                  <a:gd name="connsiteY158" fmla="*/ 121320 h 142303"/>
                  <a:gd name="connsiteX159" fmla="*/ 134721 w 148123"/>
                  <a:gd name="connsiteY159" fmla="*/ 119821 h 142303"/>
                  <a:gd name="connsiteX160" fmla="*/ 134721 w 148123"/>
                  <a:gd name="connsiteY160" fmla="*/ 120438 h 142303"/>
                  <a:gd name="connsiteX161" fmla="*/ 135603 w 148123"/>
                  <a:gd name="connsiteY161" fmla="*/ 120438 h 142303"/>
                  <a:gd name="connsiteX162" fmla="*/ 136220 w 148123"/>
                  <a:gd name="connsiteY162" fmla="*/ 121320 h 142303"/>
                  <a:gd name="connsiteX163" fmla="*/ 136749 w 148123"/>
                  <a:gd name="connsiteY163" fmla="*/ 122201 h 142303"/>
                  <a:gd name="connsiteX164" fmla="*/ 137984 w 148123"/>
                  <a:gd name="connsiteY164" fmla="*/ 123965 h 142303"/>
                  <a:gd name="connsiteX165" fmla="*/ 139394 w 148123"/>
                  <a:gd name="connsiteY165" fmla="*/ 124758 h 142303"/>
                  <a:gd name="connsiteX166" fmla="*/ 139659 w 148123"/>
                  <a:gd name="connsiteY166" fmla="*/ 125640 h 142303"/>
                  <a:gd name="connsiteX167" fmla="*/ 139394 w 148123"/>
                  <a:gd name="connsiteY167" fmla="*/ 126522 h 142303"/>
                  <a:gd name="connsiteX168" fmla="*/ 140011 w 148123"/>
                  <a:gd name="connsiteY168" fmla="*/ 126786 h 142303"/>
                  <a:gd name="connsiteX169" fmla="*/ 140276 w 148123"/>
                  <a:gd name="connsiteY169" fmla="*/ 128902 h 142303"/>
                  <a:gd name="connsiteX170" fmla="*/ 140893 w 148123"/>
                  <a:gd name="connsiteY170" fmla="*/ 129167 h 142303"/>
                  <a:gd name="connsiteX171" fmla="*/ 141422 w 148123"/>
                  <a:gd name="connsiteY171" fmla="*/ 128902 h 142303"/>
                  <a:gd name="connsiteX172" fmla="*/ 142921 w 148123"/>
                  <a:gd name="connsiteY172" fmla="*/ 130313 h 142303"/>
                  <a:gd name="connsiteX173" fmla="*/ 144332 w 148123"/>
                  <a:gd name="connsiteY173" fmla="*/ 130665 h 142303"/>
                  <a:gd name="connsiteX174" fmla="*/ 143450 w 148123"/>
                  <a:gd name="connsiteY174" fmla="*/ 130930 h 142303"/>
                  <a:gd name="connsiteX175" fmla="*/ 144332 w 148123"/>
                  <a:gd name="connsiteY175" fmla="*/ 130930 h 142303"/>
                  <a:gd name="connsiteX176" fmla="*/ 144332 w 148123"/>
                  <a:gd name="connsiteY176" fmla="*/ 130665 h 142303"/>
                  <a:gd name="connsiteX177" fmla="*/ 145213 w 148123"/>
                  <a:gd name="connsiteY177" fmla="*/ 130313 h 142303"/>
                  <a:gd name="connsiteX178" fmla="*/ 145566 w 148123"/>
                  <a:gd name="connsiteY178" fmla="*/ 128550 h 142303"/>
                  <a:gd name="connsiteX179" fmla="*/ 146095 w 148123"/>
                  <a:gd name="connsiteY179" fmla="*/ 128902 h 142303"/>
                  <a:gd name="connsiteX180" fmla="*/ 146712 w 148123"/>
                  <a:gd name="connsiteY180" fmla="*/ 130313 h 142303"/>
                  <a:gd name="connsiteX181" fmla="*/ 147594 w 148123"/>
                  <a:gd name="connsiteY181" fmla="*/ 130313 h 142303"/>
                  <a:gd name="connsiteX182" fmla="*/ 148123 w 148123"/>
                  <a:gd name="connsiteY182" fmla="*/ 131194 h 142303"/>
                  <a:gd name="connsiteX183" fmla="*/ 148123 w 148123"/>
                  <a:gd name="connsiteY183" fmla="*/ 132341 h 142303"/>
                  <a:gd name="connsiteX184" fmla="*/ 146095 w 148123"/>
                  <a:gd name="connsiteY184" fmla="*/ 133575 h 142303"/>
                  <a:gd name="connsiteX185" fmla="*/ 144596 w 148123"/>
                  <a:gd name="connsiteY185" fmla="*/ 134457 h 142303"/>
                  <a:gd name="connsiteX186" fmla="*/ 144596 w 148123"/>
                  <a:gd name="connsiteY186" fmla="*/ 136132 h 142303"/>
                  <a:gd name="connsiteX187" fmla="*/ 142921 w 148123"/>
                  <a:gd name="connsiteY187" fmla="*/ 134104 h 142303"/>
                  <a:gd name="connsiteX188" fmla="*/ 142568 w 148123"/>
                  <a:gd name="connsiteY188" fmla="*/ 137014 h 142303"/>
                  <a:gd name="connsiteX189" fmla="*/ 143186 w 148123"/>
                  <a:gd name="connsiteY189" fmla="*/ 139394 h 142303"/>
                  <a:gd name="connsiteX190" fmla="*/ 141422 w 148123"/>
                  <a:gd name="connsiteY190" fmla="*/ 140805 h 142303"/>
                  <a:gd name="connsiteX191" fmla="*/ 140011 w 148123"/>
                  <a:gd name="connsiteY191" fmla="*/ 142304 h 142303"/>
                  <a:gd name="connsiteX192" fmla="*/ 137366 w 148123"/>
                  <a:gd name="connsiteY192" fmla="*/ 139394 h 142303"/>
                  <a:gd name="connsiteX193" fmla="*/ 135603 w 148123"/>
                  <a:gd name="connsiteY193" fmla="*/ 137366 h 142303"/>
                  <a:gd name="connsiteX194" fmla="*/ 134721 w 148123"/>
                  <a:gd name="connsiteY194" fmla="*/ 135868 h 142303"/>
                  <a:gd name="connsiteX195" fmla="*/ 131195 w 148123"/>
                  <a:gd name="connsiteY195" fmla="*/ 138512 h 142303"/>
                  <a:gd name="connsiteX196" fmla="*/ 131812 w 148123"/>
                  <a:gd name="connsiteY196" fmla="*/ 141422 h 142303"/>
                  <a:gd name="connsiteX197" fmla="*/ 131195 w 148123"/>
                  <a:gd name="connsiteY197" fmla="*/ 138512 h 142303"/>
                  <a:gd name="connsiteX198" fmla="*/ 127139 w 148123"/>
                  <a:gd name="connsiteY198" fmla="*/ 132341 h 142303"/>
                  <a:gd name="connsiteX199" fmla="*/ 125993 w 148123"/>
                  <a:gd name="connsiteY199" fmla="*/ 131459 h 142303"/>
                  <a:gd name="connsiteX200" fmla="*/ 124494 w 148123"/>
                  <a:gd name="connsiteY200" fmla="*/ 130665 h 142303"/>
                  <a:gd name="connsiteX201" fmla="*/ 122731 w 148123"/>
                  <a:gd name="connsiteY201" fmla="*/ 130048 h 142303"/>
                  <a:gd name="connsiteX202" fmla="*/ 121055 w 148123"/>
                  <a:gd name="connsiteY202" fmla="*/ 127756 h 142303"/>
                  <a:gd name="connsiteX203" fmla="*/ 119556 w 148123"/>
                  <a:gd name="connsiteY203" fmla="*/ 123965 h 142303"/>
                  <a:gd name="connsiteX204" fmla="*/ 117529 w 148123"/>
                  <a:gd name="connsiteY204" fmla="*/ 120967 h 142303"/>
                  <a:gd name="connsiteX205" fmla="*/ 114354 w 148123"/>
                  <a:gd name="connsiteY205" fmla="*/ 117793 h 142303"/>
                  <a:gd name="connsiteX206" fmla="*/ 111092 w 148123"/>
                  <a:gd name="connsiteY206" fmla="*/ 115412 h 142303"/>
                  <a:gd name="connsiteX207" fmla="*/ 108800 w 148123"/>
                  <a:gd name="connsiteY207" fmla="*/ 113385 h 142303"/>
                  <a:gd name="connsiteX208" fmla="*/ 105273 w 148123"/>
                  <a:gd name="connsiteY208" fmla="*/ 111357 h 142303"/>
                  <a:gd name="connsiteX209" fmla="*/ 101482 w 148123"/>
                  <a:gd name="connsiteY209" fmla="*/ 104656 h 142303"/>
                  <a:gd name="connsiteX210" fmla="*/ 99189 w 148123"/>
                  <a:gd name="connsiteY210" fmla="*/ 101482 h 142303"/>
                  <a:gd name="connsiteX211" fmla="*/ 97073 w 148123"/>
                  <a:gd name="connsiteY211" fmla="*/ 99101 h 142303"/>
                  <a:gd name="connsiteX212" fmla="*/ 95927 w 148123"/>
                  <a:gd name="connsiteY212" fmla="*/ 97955 h 142303"/>
                  <a:gd name="connsiteX213" fmla="*/ 93635 w 148123"/>
                  <a:gd name="connsiteY213" fmla="*/ 96809 h 142303"/>
                  <a:gd name="connsiteX214" fmla="*/ 91607 w 148123"/>
                  <a:gd name="connsiteY214" fmla="*/ 96809 h 142303"/>
                  <a:gd name="connsiteX215" fmla="*/ 89226 w 148123"/>
                  <a:gd name="connsiteY215" fmla="*/ 95310 h 142303"/>
                  <a:gd name="connsiteX216" fmla="*/ 87463 w 148123"/>
                  <a:gd name="connsiteY216" fmla="*/ 94428 h 142303"/>
                  <a:gd name="connsiteX217" fmla="*/ 84553 w 148123"/>
                  <a:gd name="connsiteY217" fmla="*/ 91871 h 142303"/>
                  <a:gd name="connsiteX218" fmla="*/ 83407 w 148123"/>
                  <a:gd name="connsiteY218" fmla="*/ 90990 h 142303"/>
                  <a:gd name="connsiteX219" fmla="*/ 81997 w 148123"/>
                  <a:gd name="connsiteY219" fmla="*/ 90108 h 142303"/>
                  <a:gd name="connsiteX220" fmla="*/ 80145 w 148123"/>
                  <a:gd name="connsiteY220" fmla="*/ 89755 h 142303"/>
                  <a:gd name="connsiteX221" fmla="*/ 78999 w 148123"/>
                  <a:gd name="connsiteY221" fmla="*/ 90373 h 142303"/>
                  <a:gd name="connsiteX222" fmla="*/ 77853 w 148123"/>
                  <a:gd name="connsiteY222" fmla="*/ 89755 h 142303"/>
                  <a:gd name="connsiteX223" fmla="*/ 76442 w 148123"/>
                  <a:gd name="connsiteY223" fmla="*/ 90990 h 142303"/>
                  <a:gd name="connsiteX224" fmla="*/ 75825 w 148123"/>
                  <a:gd name="connsiteY224" fmla="*/ 90637 h 142303"/>
                  <a:gd name="connsiteX225" fmla="*/ 74326 w 148123"/>
                  <a:gd name="connsiteY225" fmla="*/ 89491 h 142303"/>
                  <a:gd name="connsiteX226" fmla="*/ 73444 w 148123"/>
                  <a:gd name="connsiteY226" fmla="*/ 89226 h 142303"/>
                  <a:gd name="connsiteX227" fmla="*/ 73180 w 148123"/>
                  <a:gd name="connsiteY227" fmla="*/ 88874 h 142303"/>
                  <a:gd name="connsiteX228" fmla="*/ 72563 w 148123"/>
                  <a:gd name="connsiteY228" fmla="*/ 88874 h 142303"/>
                  <a:gd name="connsiteX229" fmla="*/ 71416 w 148123"/>
                  <a:gd name="connsiteY229" fmla="*/ 89491 h 142303"/>
                  <a:gd name="connsiteX230" fmla="*/ 71152 w 148123"/>
                  <a:gd name="connsiteY230" fmla="*/ 89226 h 142303"/>
                  <a:gd name="connsiteX231" fmla="*/ 70270 w 148123"/>
                  <a:gd name="connsiteY231" fmla="*/ 88874 h 142303"/>
                  <a:gd name="connsiteX232" fmla="*/ 69388 w 148123"/>
                  <a:gd name="connsiteY232" fmla="*/ 88874 h 142303"/>
                  <a:gd name="connsiteX233" fmla="*/ 69124 w 148123"/>
                  <a:gd name="connsiteY233" fmla="*/ 88080 h 142303"/>
                  <a:gd name="connsiteX234" fmla="*/ 67890 w 148123"/>
                  <a:gd name="connsiteY234" fmla="*/ 87463 h 142303"/>
                  <a:gd name="connsiteX235" fmla="*/ 67361 w 148123"/>
                  <a:gd name="connsiteY235" fmla="*/ 88080 h 142303"/>
                  <a:gd name="connsiteX236" fmla="*/ 66744 w 148123"/>
                  <a:gd name="connsiteY236" fmla="*/ 88609 h 142303"/>
                  <a:gd name="connsiteX237" fmla="*/ 66479 w 148123"/>
                  <a:gd name="connsiteY237" fmla="*/ 88874 h 142303"/>
                  <a:gd name="connsiteX238" fmla="*/ 65333 w 148123"/>
                  <a:gd name="connsiteY238" fmla="*/ 89226 h 142303"/>
                  <a:gd name="connsiteX239" fmla="*/ 64187 w 148123"/>
                  <a:gd name="connsiteY239" fmla="*/ 89491 h 142303"/>
                  <a:gd name="connsiteX240" fmla="*/ 63305 w 148123"/>
                  <a:gd name="connsiteY240" fmla="*/ 89491 h 142303"/>
                  <a:gd name="connsiteX241" fmla="*/ 62423 w 148123"/>
                  <a:gd name="connsiteY241" fmla="*/ 89491 h 142303"/>
                  <a:gd name="connsiteX242" fmla="*/ 61806 w 148123"/>
                  <a:gd name="connsiteY242" fmla="*/ 89755 h 142303"/>
                  <a:gd name="connsiteX243" fmla="*/ 61806 w 148123"/>
                  <a:gd name="connsiteY243" fmla="*/ 90373 h 142303"/>
                  <a:gd name="connsiteX244" fmla="*/ 61189 w 148123"/>
                  <a:gd name="connsiteY244" fmla="*/ 90990 h 142303"/>
                  <a:gd name="connsiteX245" fmla="*/ 60307 w 148123"/>
                  <a:gd name="connsiteY245" fmla="*/ 88874 h 142303"/>
                  <a:gd name="connsiteX246" fmla="*/ 59778 w 148123"/>
                  <a:gd name="connsiteY246" fmla="*/ 87463 h 142303"/>
                  <a:gd name="connsiteX247" fmla="*/ 58897 w 148123"/>
                  <a:gd name="connsiteY247" fmla="*/ 86317 h 142303"/>
                  <a:gd name="connsiteX248" fmla="*/ 58015 w 148123"/>
                  <a:gd name="connsiteY248" fmla="*/ 85700 h 142303"/>
                  <a:gd name="connsiteX249" fmla="*/ 56604 w 148123"/>
                  <a:gd name="connsiteY249" fmla="*/ 85435 h 142303"/>
                  <a:gd name="connsiteX250" fmla="*/ 56251 w 148123"/>
                  <a:gd name="connsiteY250" fmla="*/ 87199 h 142303"/>
                  <a:gd name="connsiteX251" fmla="*/ 55722 w 148123"/>
                  <a:gd name="connsiteY251" fmla="*/ 87728 h 142303"/>
                  <a:gd name="connsiteX252" fmla="*/ 55105 w 148123"/>
                  <a:gd name="connsiteY252" fmla="*/ 88345 h 142303"/>
                  <a:gd name="connsiteX253" fmla="*/ 54224 w 148123"/>
                  <a:gd name="connsiteY253" fmla="*/ 88345 h 142303"/>
                  <a:gd name="connsiteX254" fmla="*/ 53959 w 148123"/>
                  <a:gd name="connsiteY254" fmla="*/ 89491 h 142303"/>
                  <a:gd name="connsiteX255" fmla="*/ 52725 w 148123"/>
                  <a:gd name="connsiteY255" fmla="*/ 89491 h 142303"/>
                  <a:gd name="connsiteX256" fmla="*/ 51579 w 148123"/>
                  <a:gd name="connsiteY256" fmla="*/ 90108 h 142303"/>
                  <a:gd name="connsiteX257" fmla="*/ 51050 w 148123"/>
                  <a:gd name="connsiteY257" fmla="*/ 90108 h 142303"/>
                  <a:gd name="connsiteX258" fmla="*/ 50697 w 148123"/>
                  <a:gd name="connsiteY258" fmla="*/ 90108 h 142303"/>
                  <a:gd name="connsiteX259" fmla="*/ 50432 w 148123"/>
                  <a:gd name="connsiteY259" fmla="*/ 90108 h 142303"/>
                  <a:gd name="connsiteX260" fmla="*/ 49815 w 148123"/>
                  <a:gd name="connsiteY260" fmla="*/ 89755 h 142303"/>
                  <a:gd name="connsiteX261" fmla="*/ 48405 w 148123"/>
                  <a:gd name="connsiteY261" fmla="*/ 90637 h 142303"/>
                  <a:gd name="connsiteX262" fmla="*/ 47523 w 148123"/>
                  <a:gd name="connsiteY262" fmla="*/ 90637 h 142303"/>
                  <a:gd name="connsiteX263" fmla="*/ 45759 w 148123"/>
                  <a:gd name="connsiteY263" fmla="*/ 91254 h 142303"/>
                  <a:gd name="connsiteX264" fmla="*/ 44261 w 148123"/>
                  <a:gd name="connsiteY264" fmla="*/ 91254 h 142303"/>
                  <a:gd name="connsiteX265" fmla="*/ 43732 w 148123"/>
                  <a:gd name="connsiteY265" fmla="*/ 90373 h 142303"/>
                  <a:gd name="connsiteX266" fmla="*/ 42585 w 148123"/>
                  <a:gd name="connsiteY266" fmla="*/ 89491 h 142303"/>
                  <a:gd name="connsiteX267" fmla="*/ 41704 w 148123"/>
                  <a:gd name="connsiteY267" fmla="*/ 88874 h 142303"/>
                  <a:gd name="connsiteX268" fmla="*/ 41086 w 148123"/>
                  <a:gd name="connsiteY268" fmla="*/ 87199 h 142303"/>
                  <a:gd name="connsiteX269" fmla="*/ 40205 w 148123"/>
                  <a:gd name="connsiteY269" fmla="*/ 86317 h 142303"/>
                  <a:gd name="connsiteX270" fmla="*/ 39940 w 148123"/>
                  <a:gd name="connsiteY270" fmla="*/ 84553 h 142303"/>
                  <a:gd name="connsiteX271" fmla="*/ 38530 w 148123"/>
                  <a:gd name="connsiteY271" fmla="*/ 84553 h 142303"/>
                  <a:gd name="connsiteX272" fmla="*/ 37913 w 148123"/>
                  <a:gd name="connsiteY272" fmla="*/ 84818 h 142303"/>
                  <a:gd name="connsiteX273" fmla="*/ 37295 w 148123"/>
                  <a:gd name="connsiteY273" fmla="*/ 84818 h 142303"/>
                  <a:gd name="connsiteX274" fmla="*/ 34915 w 148123"/>
                  <a:gd name="connsiteY274" fmla="*/ 83672 h 142303"/>
                  <a:gd name="connsiteX275" fmla="*/ 34386 w 148123"/>
                  <a:gd name="connsiteY275" fmla="*/ 82526 h 142303"/>
                  <a:gd name="connsiteX276" fmla="*/ 34121 w 148123"/>
                  <a:gd name="connsiteY276" fmla="*/ 82526 h 142303"/>
                  <a:gd name="connsiteX277" fmla="*/ 33504 w 148123"/>
                  <a:gd name="connsiteY277" fmla="*/ 81908 h 142303"/>
                  <a:gd name="connsiteX278" fmla="*/ 32358 w 148123"/>
                  <a:gd name="connsiteY278" fmla="*/ 79881 h 142303"/>
                  <a:gd name="connsiteX279" fmla="*/ 31476 w 148123"/>
                  <a:gd name="connsiteY279" fmla="*/ 84818 h 142303"/>
                  <a:gd name="connsiteX280" fmla="*/ 32622 w 148123"/>
                  <a:gd name="connsiteY280" fmla="*/ 89226 h 142303"/>
                  <a:gd name="connsiteX281" fmla="*/ 29713 w 148123"/>
                  <a:gd name="connsiteY281" fmla="*/ 90373 h 142303"/>
                  <a:gd name="connsiteX282" fmla="*/ 29713 w 148123"/>
                  <a:gd name="connsiteY282" fmla="*/ 93899 h 142303"/>
                  <a:gd name="connsiteX283" fmla="*/ 27685 w 148123"/>
                  <a:gd name="connsiteY283" fmla="*/ 95046 h 142303"/>
                  <a:gd name="connsiteX284" fmla="*/ 27949 w 148123"/>
                  <a:gd name="connsiteY284" fmla="*/ 96809 h 142303"/>
                  <a:gd name="connsiteX285" fmla="*/ 27421 w 148123"/>
                  <a:gd name="connsiteY285" fmla="*/ 97955 h 142303"/>
                  <a:gd name="connsiteX286" fmla="*/ 25922 w 148123"/>
                  <a:gd name="connsiteY286" fmla="*/ 99366 h 142303"/>
                  <a:gd name="connsiteX287" fmla="*/ 24775 w 148123"/>
                  <a:gd name="connsiteY287" fmla="*/ 99101 h 142303"/>
                  <a:gd name="connsiteX288" fmla="*/ 24511 w 148123"/>
                  <a:gd name="connsiteY288" fmla="*/ 98837 h 142303"/>
                  <a:gd name="connsiteX289" fmla="*/ 24775 w 148123"/>
                  <a:gd name="connsiteY289" fmla="*/ 97338 h 142303"/>
                  <a:gd name="connsiteX290" fmla="*/ 24158 w 148123"/>
                  <a:gd name="connsiteY290" fmla="*/ 97338 h 142303"/>
                  <a:gd name="connsiteX291" fmla="*/ 23629 w 148123"/>
                  <a:gd name="connsiteY291" fmla="*/ 96809 h 142303"/>
                  <a:gd name="connsiteX292" fmla="*/ 23012 w 148123"/>
                  <a:gd name="connsiteY292" fmla="*/ 95663 h 142303"/>
                  <a:gd name="connsiteX293" fmla="*/ 22748 w 148123"/>
                  <a:gd name="connsiteY293" fmla="*/ 95310 h 142303"/>
                  <a:gd name="connsiteX294" fmla="*/ 21866 w 148123"/>
                  <a:gd name="connsiteY294" fmla="*/ 94428 h 142303"/>
                  <a:gd name="connsiteX295" fmla="*/ 21601 w 148123"/>
                  <a:gd name="connsiteY295" fmla="*/ 93282 h 142303"/>
                  <a:gd name="connsiteX296" fmla="*/ 20984 w 148123"/>
                  <a:gd name="connsiteY296" fmla="*/ 92400 h 142303"/>
                  <a:gd name="connsiteX297" fmla="*/ 20367 w 148123"/>
                  <a:gd name="connsiteY297" fmla="*/ 91254 h 142303"/>
                  <a:gd name="connsiteX298" fmla="*/ 19485 w 148123"/>
                  <a:gd name="connsiteY298" fmla="*/ 90990 h 142303"/>
                  <a:gd name="connsiteX299" fmla="*/ 17193 w 148123"/>
                  <a:gd name="connsiteY299" fmla="*/ 90990 h 142303"/>
                  <a:gd name="connsiteX300" fmla="*/ 16840 w 148123"/>
                  <a:gd name="connsiteY300" fmla="*/ 91254 h 142303"/>
                  <a:gd name="connsiteX301" fmla="*/ 16047 w 148123"/>
                  <a:gd name="connsiteY301" fmla="*/ 91254 h 142303"/>
                  <a:gd name="connsiteX302" fmla="*/ 15429 w 148123"/>
                  <a:gd name="connsiteY302" fmla="*/ 92753 h 142303"/>
                  <a:gd name="connsiteX303" fmla="*/ 15165 w 148123"/>
                  <a:gd name="connsiteY303" fmla="*/ 94781 h 142303"/>
                  <a:gd name="connsiteX304" fmla="*/ 13931 w 148123"/>
                  <a:gd name="connsiteY304" fmla="*/ 95310 h 142303"/>
                  <a:gd name="connsiteX305" fmla="*/ 12785 w 148123"/>
                  <a:gd name="connsiteY305" fmla="*/ 95663 h 142303"/>
                  <a:gd name="connsiteX306" fmla="*/ 12256 w 148123"/>
                  <a:gd name="connsiteY306" fmla="*/ 95046 h 142303"/>
                  <a:gd name="connsiteX307" fmla="*/ 12256 w 148123"/>
                  <a:gd name="connsiteY307" fmla="*/ 94428 h 142303"/>
                  <a:gd name="connsiteX308" fmla="*/ 11109 w 148123"/>
                  <a:gd name="connsiteY308" fmla="*/ 94164 h 142303"/>
                  <a:gd name="connsiteX309" fmla="*/ 9610 w 148123"/>
                  <a:gd name="connsiteY309" fmla="*/ 94164 h 142303"/>
                  <a:gd name="connsiteX310" fmla="*/ 8112 w 148123"/>
                  <a:gd name="connsiteY310" fmla="*/ 94164 h 142303"/>
                  <a:gd name="connsiteX311" fmla="*/ 7583 w 148123"/>
                  <a:gd name="connsiteY311" fmla="*/ 94164 h 142303"/>
                  <a:gd name="connsiteX312" fmla="*/ 6701 w 148123"/>
                  <a:gd name="connsiteY312" fmla="*/ 94428 h 142303"/>
                  <a:gd name="connsiteX313" fmla="*/ 5819 w 148123"/>
                  <a:gd name="connsiteY313" fmla="*/ 94164 h 142303"/>
                  <a:gd name="connsiteX314" fmla="*/ 4937 w 148123"/>
                  <a:gd name="connsiteY314" fmla="*/ 94781 h 142303"/>
                  <a:gd name="connsiteX315" fmla="*/ 4056 w 148123"/>
                  <a:gd name="connsiteY315" fmla="*/ 93547 h 142303"/>
                  <a:gd name="connsiteX316" fmla="*/ 4320 w 148123"/>
                  <a:gd name="connsiteY316" fmla="*/ 96809 h 142303"/>
                  <a:gd name="connsiteX317" fmla="*/ 2292 w 148123"/>
                  <a:gd name="connsiteY317" fmla="*/ 95310 h 142303"/>
                  <a:gd name="connsiteX318" fmla="*/ 0 w 148123"/>
                  <a:gd name="connsiteY318" fmla="*/ 72034 h 142303"/>
                  <a:gd name="connsiteX319" fmla="*/ 2028 w 148123"/>
                  <a:gd name="connsiteY319" fmla="*/ 70006 h 142303"/>
                  <a:gd name="connsiteX320" fmla="*/ 3791 w 148123"/>
                  <a:gd name="connsiteY320" fmla="*/ 64980 h 142303"/>
                  <a:gd name="connsiteX321" fmla="*/ 4056 w 148123"/>
                  <a:gd name="connsiteY321" fmla="*/ 64451 h 142303"/>
                  <a:gd name="connsiteX322" fmla="*/ 3791 w 148123"/>
                  <a:gd name="connsiteY322" fmla="*/ 63569 h 142303"/>
                  <a:gd name="connsiteX323" fmla="*/ 5202 w 148123"/>
                  <a:gd name="connsiteY323" fmla="*/ 57133 h 142303"/>
                  <a:gd name="connsiteX324" fmla="*/ 6436 w 148123"/>
                  <a:gd name="connsiteY324" fmla="*/ 55987 h 142303"/>
                  <a:gd name="connsiteX325" fmla="*/ 9346 w 148123"/>
                  <a:gd name="connsiteY325" fmla="*/ 45142 h 142303"/>
                  <a:gd name="connsiteX326" fmla="*/ 10492 w 148123"/>
                  <a:gd name="connsiteY326" fmla="*/ 43996 h 142303"/>
                  <a:gd name="connsiteX327" fmla="*/ 9346 w 148123"/>
                  <a:gd name="connsiteY327" fmla="*/ 41968 h 142303"/>
                  <a:gd name="connsiteX328" fmla="*/ 9346 w 148123"/>
                  <a:gd name="connsiteY328" fmla="*/ 40469 h 142303"/>
                  <a:gd name="connsiteX329" fmla="*/ 8993 w 148123"/>
                  <a:gd name="connsiteY329" fmla="*/ 38706 h 142303"/>
                  <a:gd name="connsiteX330" fmla="*/ 8112 w 148123"/>
                  <a:gd name="connsiteY330" fmla="*/ 37912 h 142303"/>
                  <a:gd name="connsiteX331" fmla="*/ 8993 w 148123"/>
                  <a:gd name="connsiteY331" fmla="*/ 36149 h 142303"/>
                  <a:gd name="connsiteX332" fmla="*/ 8993 w 148123"/>
                  <a:gd name="connsiteY332" fmla="*/ 34915 h 142303"/>
                  <a:gd name="connsiteX333" fmla="*/ 10140 w 148123"/>
                  <a:gd name="connsiteY333" fmla="*/ 33151 h 142303"/>
                  <a:gd name="connsiteX334" fmla="*/ 10492 w 148123"/>
                  <a:gd name="connsiteY334" fmla="*/ 29713 h 142303"/>
                  <a:gd name="connsiteX335" fmla="*/ 10492 w 148123"/>
                  <a:gd name="connsiteY335" fmla="*/ 29448 h 142303"/>
                  <a:gd name="connsiteX336" fmla="*/ 10492 w 148123"/>
                  <a:gd name="connsiteY336" fmla="*/ 27949 h 142303"/>
                  <a:gd name="connsiteX337" fmla="*/ 9875 w 148123"/>
                  <a:gd name="connsiteY337" fmla="*/ 27420 h 142303"/>
                  <a:gd name="connsiteX338" fmla="*/ 10140 w 148123"/>
                  <a:gd name="connsiteY338" fmla="*/ 25922 h 142303"/>
                  <a:gd name="connsiteX339" fmla="*/ 9875 w 148123"/>
                  <a:gd name="connsiteY339" fmla="*/ 25040 h 142303"/>
                  <a:gd name="connsiteX340" fmla="*/ 9875 w 148123"/>
                  <a:gd name="connsiteY340" fmla="*/ 24158 h 142303"/>
                  <a:gd name="connsiteX341" fmla="*/ 12520 w 148123"/>
                  <a:gd name="connsiteY341" fmla="*/ 25040 h 142303"/>
                  <a:gd name="connsiteX342" fmla="*/ 13137 w 148123"/>
                  <a:gd name="connsiteY342" fmla="*/ 24158 h 142303"/>
                  <a:gd name="connsiteX343" fmla="*/ 13931 w 148123"/>
                  <a:gd name="connsiteY343" fmla="*/ 25304 h 142303"/>
                  <a:gd name="connsiteX344" fmla="*/ 14900 w 148123"/>
                  <a:gd name="connsiteY344" fmla="*/ 25657 h 142303"/>
                  <a:gd name="connsiteX345" fmla="*/ 16311 w 148123"/>
                  <a:gd name="connsiteY345" fmla="*/ 24158 h 142303"/>
                  <a:gd name="connsiteX346" fmla="*/ 18604 w 148123"/>
                  <a:gd name="connsiteY346" fmla="*/ 25040 h 142303"/>
                  <a:gd name="connsiteX347" fmla="*/ 19838 w 148123"/>
                  <a:gd name="connsiteY347" fmla="*/ 24158 h 142303"/>
                  <a:gd name="connsiteX348" fmla="*/ 20984 w 148123"/>
                  <a:gd name="connsiteY348" fmla="*/ 22395 h 142303"/>
                  <a:gd name="connsiteX349" fmla="*/ 21249 w 148123"/>
                  <a:gd name="connsiteY349" fmla="*/ 19750 h 142303"/>
                  <a:gd name="connsiteX350" fmla="*/ 20631 w 148123"/>
                  <a:gd name="connsiteY350" fmla="*/ 18339 h 142303"/>
                  <a:gd name="connsiteX351" fmla="*/ 20984 w 148123"/>
                  <a:gd name="connsiteY351" fmla="*/ 17722 h 142303"/>
                  <a:gd name="connsiteX352" fmla="*/ 25304 w 148123"/>
                  <a:gd name="connsiteY352" fmla="*/ 16576 h 142303"/>
                  <a:gd name="connsiteX353" fmla="*/ 26539 w 148123"/>
                  <a:gd name="connsiteY353" fmla="*/ 14548 h 142303"/>
                  <a:gd name="connsiteX354" fmla="*/ 27068 w 148123"/>
                  <a:gd name="connsiteY354" fmla="*/ 13666 h 142303"/>
                  <a:gd name="connsiteX355" fmla="*/ 28302 w 148123"/>
                  <a:gd name="connsiteY355" fmla="*/ 14548 h 142303"/>
                  <a:gd name="connsiteX356" fmla="*/ 29448 w 148123"/>
                  <a:gd name="connsiteY356" fmla="*/ 14548 h 142303"/>
                  <a:gd name="connsiteX357" fmla="*/ 30330 w 148123"/>
                  <a:gd name="connsiteY357" fmla="*/ 13049 h 142303"/>
                  <a:gd name="connsiteX358" fmla="*/ 32622 w 148123"/>
                  <a:gd name="connsiteY358" fmla="*/ 11903 h 142303"/>
                  <a:gd name="connsiteX359" fmla="*/ 32358 w 148123"/>
                  <a:gd name="connsiteY359" fmla="*/ 13931 h 142303"/>
                  <a:gd name="connsiteX360" fmla="*/ 33857 w 148123"/>
                  <a:gd name="connsiteY360" fmla="*/ 13402 h 142303"/>
                  <a:gd name="connsiteX361" fmla="*/ 34121 w 148123"/>
                  <a:gd name="connsiteY361" fmla="*/ 11903 h 142303"/>
                  <a:gd name="connsiteX362" fmla="*/ 36414 w 148123"/>
                  <a:gd name="connsiteY362" fmla="*/ 14283 h 142303"/>
                  <a:gd name="connsiteX363" fmla="*/ 36766 w 148123"/>
                  <a:gd name="connsiteY363" fmla="*/ 13049 h 142303"/>
                  <a:gd name="connsiteX364" fmla="*/ 37295 w 148123"/>
                  <a:gd name="connsiteY364" fmla="*/ 10757 h 142303"/>
                  <a:gd name="connsiteX365" fmla="*/ 38794 w 148123"/>
                  <a:gd name="connsiteY365" fmla="*/ 9346 h 142303"/>
                  <a:gd name="connsiteX366" fmla="*/ 40822 w 148123"/>
                  <a:gd name="connsiteY366" fmla="*/ 4320 h 142303"/>
                  <a:gd name="connsiteX367" fmla="*/ 43467 w 148123"/>
                  <a:gd name="connsiteY367" fmla="*/ 793 h 142303"/>
                  <a:gd name="connsiteX368" fmla="*/ 43732 w 148123"/>
                  <a:gd name="connsiteY368" fmla="*/ 0 h 14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148123" h="142303">
                    <a:moveTo>
                      <a:pt x="43996" y="529"/>
                    </a:moveTo>
                    <a:lnTo>
                      <a:pt x="43467" y="793"/>
                    </a:lnTo>
                    <a:lnTo>
                      <a:pt x="43732" y="1763"/>
                    </a:lnTo>
                    <a:lnTo>
                      <a:pt x="43996" y="2292"/>
                    </a:lnTo>
                    <a:lnTo>
                      <a:pt x="44261" y="2557"/>
                    </a:lnTo>
                    <a:lnTo>
                      <a:pt x="44613" y="3174"/>
                    </a:lnTo>
                    <a:lnTo>
                      <a:pt x="44878" y="4056"/>
                    </a:lnTo>
                    <a:lnTo>
                      <a:pt x="44878" y="4585"/>
                    </a:lnTo>
                    <a:lnTo>
                      <a:pt x="45759" y="6348"/>
                    </a:lnTo>
                    <a:lnTo>
                      <a:pt x="46906" y="7230"/>
                    </a:lnTo>
                    <a:lnTo>
                      <a:pt x="47523" y="8376"/>
                    </a:lnTo>
                    <a:lnTo>
                      <a:pt x="47523" y="8993"/>
                    </a:lnTo>
                    <a:lnTo>
                      <a:pt x="47523" y="9610"/>
                    </a:lnTo>
                    <a:lnTo>
                      <a:pt x="48140" y="9875"/>
                    </a:lnTo>
                    <a:lnTo>
                      <a:pt x="48405" y="10139"/>
                    </a:lnTo>
                    <a:lnTo>
                      <a:pt x="48669" y="9875"/>
                    </a:lnTo>
                    <a:lnTo>
                      <a:pt x="48934" y="10139"/>
                    </a:lnTo>
                    <a:lnTo>
                      <a:pt x="49551" y="12784"/>
                    </a:lnTo>
                    <a:lnTo>
                      <a:pt x="51050" y="16576"/>
                    </a:lnTo>
                    <a:lnTo>
                      <a:pt x="51579" y="17193"/>
                    </a:lnTo>
                    <a:lnTo>
                      <a:pt x="52196" y="18604"/>
                    </a:lnTo>
                    <a:lnTo>
                      <a:pt x="52196" y="20367"/>
                    </a:lnTo>
                    <a:lnTo>
                      <a:pt x="53695" y="21249"/>
                    </a:lnTo>
                    <a:lnTo>
                      <a:pt x="53959" y="22395"/>
                    </a:lnTo>
                    <a:lnTo>
                      <a:pt x="53959" y="23012"/>
                    </a:lnTo>
                    <a:lnTo>
                      <a:pt x="53959" y="24158"/>
                    </a:lnTo>
                    <a:lnTo>
                      <a:pt x="54841" y="25657"/>
                    </a:lnTo>
                    <a:lnTo>
                      <a:pt x="55370" y="29096"/>
                    </a:lnTo>
                    <a:lnTo>
                      <a:pt x="56251" y="31476"/>
                    </a:lnTo>
                    <a:lnTo>
                      <a:pt x="57133" y="33151"/>
                    </a:lnTo>
                    <a:lnTo>
                      <a:pt x="56604" y="33151"/>
                    </a:lnTo>
                    <a:lnTo>
                      <a:pt x="57750" y="33769"/>
                    </a:lnTo>
                    <a:lnTo>
                      <a:pt x="57750" y="35532"/>
                    </a:lnTo>
                    <a:lnTo>
                      <a:pt x="56604" y="36149"/>
                    </a:lnTo>
                    <a:lnTo>
                      <a:pt x="57750" y="37295"/>
                    </a:lnTo>
                    <a:lnTo>
                      <a:pt x="57486" y="37560"/>
                    </a:lnTo>
                    <a:lnTo>
                      <a:pt x="58279" y="37912"/>
                    </a:lnTo>
                    <a:lnTo>
                      <a:pt x="59514" y="46024"/>
                    </a:lnTo>
                    <a:lnTo>
                      <a:pt x="60660" y="50961"/>
                    </a:lnTo>
                    <a:lnTo>
                      <a:pt x="61542" y="53342"/>
                    </a:lnTo>
                    <a:lnTo>
                      <a:pt x="64451" y="55987"/>
                    </a:lnTo>
                    <a:lnTo>
                      <a:pt x="63834" y="57133"/>
                    </a:lnTo>
                    <a:lnTo>
                      <a:pt x="64716" y="57398"/>
                    </a:lnTo>
                    <a:lnTo>
                      <a:pt x="64980" y="58896"/>
                    </a:lnTo>
                    <a:lnTo>
                      <a:pt x="64980" y="59425"/>
                    </a:lnTo>
                    <a:lnTo>
                      <a:pt x="64980" y="60043"/>
                    </a:lnTo>
                    <a:lnTo>
                      <a:pt x="65333" y="60043"/>
                    </a:lnTo>
                    <a:lnTo>
                      <a:pt x="64980" y="60924"/>
                    </a:lnTo>
                    <a:lnTo>
                      <a:pt x="64716" y="60924"/>
                    </a:lnTo>
                    <a:lnTo>
                      <a:pt x="64980" y="62688"/>
                    </a:lnTo>
                    <a:lnTo>
                      <a:pt x="66215" y="62688"/>
                    </a:lnTo>
                    <a:lnTo>
                      <a:pt x="67361" y="62688"/>
                    </a:lnTo>
                    <a:lnTo>
                      <a:pt x="68243" y="62688"/>
                    </a:lnTo>
                    <a:lnTo>
                      <a:pt x="68507" y="63569"/>
                    </a:lnTo>
                    <a:lnTo>
                      <a:pt x="70006" y="67008"/>
                    </a:lnTo>
                    <a:lnTo>
                      <a:pt x="70270" y="67890"/>
                    </a:lnTo>
                    <a:lnTo>
                      <a:pt x="71416" y="69653"/>
                    </a:lnTo>
                    <a:lnTo>
                      <a:pt x="71416" y="72563"/>
                    </a:lnTo>
                    <a:lnTo>
                      <a:pt x="71416" y="73709"/>
                    </a:lnTo>
                    <a:lnTo>
                      <a:pt x="71769" y="73709"/>
                    </a:lnTo>
                    <a:lnTo>
                      <a:pt x="72563" y="73709"/>
                    </a:lnTo>
                    <a:lnTo>
                      <a:pt x="73444" y="73709"/>
                    </a:lnTo>
                    <a:lnTo>
                      <a:pt x="73444" y="72563"/>
                    </a:lnTo>
                    <a:lnTo>
                      <a:pt x="74326" y="71681"/>
                    </a:lnTo>
                    <a:lnTo>
                      <a:pt x="73180" y="68771"/>
                    </a:lnTo>
                    <a:lnTo>
                      <a:pt x="72563" y="68771"/>
                    </a:lnTo>
                    <a:lnTo>
                      <a:pt x="72034" y="66126"/>
                    </a:lnTo>
                    <a:lnTo>
                      <a:pt x="72915" y="64451"/>
                    </a:lnTo>
                    <a:lnTo>
                      <a:pt x="73797" y="63569"/>
                    </a:lnTo>
                    <a:lnTo>
                      <a:pt x="74326" y="62952"/>
                    </a:lnTo>
                    <a:lnTo>
                      <a:pt x="74943" y="64451"/>
                    </a:lnTo>
                    <a:lnTo>
                      <a:pt x="76971" y="66126"/>
                    </a:lnTo>
                    <a:lnTo>
                      <a:pt x="78382" y="66479"/>
                    </a:lnTo>
                    <a:lnTo>
                      <a:pt x="78999" y="67361"/>
                    </a:lnTo>
                    <a:lnTo>
                      <a:pt x="77588" y="70006"/>
                    </a:lnTo>
                    <a:lnTo>
                      <a:pt x="78735" y="70006"/>
                    </a:lnTo>
                    <a:lnTo>
                      <a:pt x="78735" y="70535"/>
                    </a:lnTo>
                    <a:lnTo>
                      <a:pt x="79352" y="72034"/>
                    </a:lnTo>
                    <a:lnTo>
                      <a:pt x="79616" y="73180"/>
                    </a:lnTo>
                    <a:lnTo>
                      <a:pt x="79616" y="73709"/>
                    </a:lnTo>
                    <a:lnTo>
                      <a:pt x="80762" y="74326"/>
                    </a:lnTo>
                    <a:lnTo>
                      <a:pt x="80762" y="75208"/>
                    </a:lnTo>
                    <a:lnTo>
                      <a:pt x="80762" y="75825"/>
                    </a:lnTo>
                    <a:lnTo>
                      <a:pt x="81380" y="76706"/>
                    </a:lnTo>
                    <a:lnTo>
                      <a:pt x="83672" y="77588"/>
                    </a:lnTo>
                    <a:lnTo>
                      <a:pt x="84289" y="77853"/>
                    </a:lnTo>
                    <a:lnTo>
                      <a:pt x="85435" y="77235"/>
                    </a:lnTo>
                    <a:lnTo>
                      <a:pt x="86052" y="75472"/>
                    </a:lnTo>
                    <a:lnTo>
                      <a:pt x="86052" y="76706"/>
                    </a:lnTo>
                    <a:lnTo>
                      <a:pt x="86317" y="76706"/>
                    </a:lnTo>
                    <a:lnTo>
                      <a:pt x="86934" y="76706"/>
                    </a:lnTo>
                    <a:lnTo>
                      <a:pt x="86934" y="75472"/>
                    </a:lnTo>
                    <a:lnTo>
                      <a:pt x="87463" y="75472"/>
                    </a:lnTo>
                    <a:lnTo>
                      <a:pt x="87816" y="75825"/>
                    </a:lnTo>
                    <a:lnTo>
                      <a:pt x="88609" y="76706"/>
                    </a:lnTo>
                    <a:lnTo>
                      <a:pt x="88962" y="75825"/>
                    </a:lnTo>
                    <a:lnTo>
                      <a:pt x="88962" y="75472"/>
                    </a:lnTo>
                    <a:lnTo>
                      <a:pt x="88962" y="75208"/>
                    </a:lnTo>
                    <a:lnTo>
                      <a:pt x="89226" y="75825"/>
                    </a:lnTo>
                    <a:lnTo>
                      <a:pt x="89844" y="75825"/>
                    </a:lnTo>
                    <a:lnTo>
                      <a:pt x="89844" y="77235"/>
                    </a:lnTo>
                    <a:lnTo>
                      <a:pt x="90990" y="77235"/>
                    </a:lnTo>
                    <a:lnTo>
                      <a:pt x="90990" y="78382"/>
                    </a:lnTo>
                    <a:lnTo>
                      <a:pt x="91607" y="78382"/>
                    </a:lnTo>
                    <a:lnTo>
                      <a:pt x="91607" y="78117"/>
                    </a:lnTo>
                    <a:lnTo>
                      <a:pt x="92136" y="78117"/>
                    </a:lnTo>
                    <a:lnTo>
                      <a:pt x="92401" y="78382"/>
                    </a:lnTo>
                    <a:lnTo>
                      <a:pt x="92136" y="78999"/>
                    </a:lnTo>
                    <a:lnTo>
                      <a:pt x="92753" y="80145"/>
                    </a:lnTo>
                    <a:lnTo>
                      <a:pt x="94164" y="80145"/>
                    </a:lnTo>
                    <a:lnTo>
                      <a:pt x="94164" y="80762"/>
                    </a:lnTo>
                    <a:lnTo>
                      <a:pt x="93635" y="81644"/>
                    </a:lnTo>
                    <a:lnTo>
                      <a:pt x="94164" y="82526"/>
                    </a:lnTo>
                    <a:lnTo>
                      <a:pt x="94517" y="82526"/>
                    </a:lnTo>
                    <a:lnTo>
                      <a:pt x="94517" y="83055"/>
                    </a:lnTo>
                    <a:lnTo>
                      <a:pt x="95046" y="83055"/>
                    </a:lnTo>
                    <a:lnTo>
                      <a:pt x="95663" y="82526"/>
                    </a:lnTo>
                    <a:lnTo>
                      <a:pt x="96192" y="83055"/>
                    </a:lnTo>
                    <a:lnTo>
                      <a:pt x="96544" y="82526"/>
                    </a:lnTo>
                    <a:lnTo>
                      <a:pt x="97426" y="82526"/>
                    </a:lnTo>
                    <a:lnTo>
                      <a:pt x="99189" y="84289"/>
                    </a:lnTo>
                    <a:lnTo>
                      <a:pt x="100336" y="83936"/>
                    </a:lnTo>
                    <a:lnTo>
                      <a:pt x="103510" y="84818"/>
                    </a:lnTo>
                    <a:lnTo>
                      <a:pt x="104391" y="85964"/>
                    </a:lnTo>
                    <a:lnTo>
                      <a:pt x="106684" y="88874"/>
                    </a:lnTo>
                    <a:lnTo>
                      <a:pt x="107037" y="90990"/>
                    </a:lnTo>
                    <a:lnTo>
                      <a:pt x="108800" y="91519"/>
                    </a:lnTo>
                    <a:lnTo>
                      <a:pt x="109064" y="93018"/>
                    </a:lnTo>
                    <a:lnTo>
                      <a:pt x="111092" y="95046"/>
                    </a:lnTo>
                    <a:lnTo>
                      <a:pt x="111974" y="97338"/>
                    </a:lnTo>
                    <a:lnTo>
                      <a:pt x="114002" y="98837"/>
                    </a:lnTo>
                    <a:lnTo>
                      <a:pt x="116118" y="102363"/>
                    </a:lnTo>
                    <a:lnTo>
                      <a:pt x="116294" y="102363"/>
                    </a:lnTo>
                    <a:lnTo>
                      <a:pt x="116647" y="102628"/>
                    </a:lnTo>
                    <a:lnTo>
                      <a:pt x="118410" y="102363"/>
                    </a:lnTo>
                    <a:lnTo>
                      <a:pt x="118675" y="103774"/>
                    </a:lnTo>
                    <a:lnTo>
                      <a:pt x="121055" y="104127"/>
                    </a:lnTo>
                    <a:lnTo>
                      <a:pt x="121320" y="104127"/>
                    </a:lnTo>
                    <a:lnTo>
                      <a:pt x="121937" y="104391"/>
                    </a:lnTo>
                    <a:lnTo>
                      <a:pt x="122202" y="105802"/>
                    </a:lnTo>
                    <a:lnTo>
                      <a:pt x="124229" y="107565"/>
                    </a:lnTo>
                    <a:lnTo>
                      <a:pt x="124229" y="107918"/>
                    </a:lnTo>
                    <a:lnTo>
                      <a:pt x="125111" y="109593"/>
                    </a:lnTo>
                    <a:lnTo>
                      <a:pt x="125993" y="109593"/>
                    </a:lnTo>
                    <a:lnTo>
                      <a:pt x="127403" y="110475"/>
                    </a:lnTo>
                    <a:lnTo>
                      <a:pt x="127403" y="111357"/>
                    </a:lnTo>
                    <a:lnTo>
                      <a:pt x="128021" y="111974"/>
                    </a:lnTo>
                    <a:lnTo>
                      <a:pt x="127756" y="110475"/>
                    </a:lnTo>
                    <a:lnTo>
                      <a:pt x="127756" y="109593"/>
                    </a:lnTo>
                    <a:lnTo>
                      <a:pt x="126522" y="109329"/>
                    </a:lnTo>
                    <a:lnTo>
                      <a:pt x="127139" y="108712"/>
                    </a:lnTo>
                    <a:lnTo>
                      <a:pt x="128021" y="109593"/>
                    </a:lnTo>
                    <a:lnTo>
                      <a:pt x="128021" y="110475"/>
                    </a:lnTo>
                    <a:lnTo>
                      <a:pt x="128902" y="111357"/>
                    </a:lnTo>
                    <a:lnTo>
                      <a:pt x="129167" y="111974"/>
                    </a:lnTo>
                    <a:lnTo>
                      <a:pt x="129519" y="113385"/>
                    </a:lnTo>
                    <a:lnTo>
                      <a:pt x="130048" y="114619"/>
                    </a:lnTo>
                    <a:lnTo>
                      <a:pt x="131195" y="120173"/>
                    </a:lnTo>
                    <a:lnTo>
                      <a:pt x="133575" y="121320"/>
                    </a:lnTo>
                    <a:lnTo>
                      <a:pt x="134721" y="119821"/>
                    </a:lnTo>
                    <a:lnTo>
                      <a:pt x="134721" y="120438"/>
                    </a:lnTo>
                    <a:lnTo>
                      <a:pt x="135603" y="120438"/>
                    </a:lnTo>
                    <a:lnTo>
                      <a:pt x="136220" y="121320"/>
                    </a:lnTo>
                    <a:lnTo>
                      <a:pt x="136749" y="122201"/>
                    </a:lnTo>
                    <a:lnTo>
                      <a:pt x="137984" y="123965"/>
                    </a:lnTo>
                    <a:lnTo>
                      <a:pt x="139394" y="124758"/>
                    </a:lnTo>
                    <a:lnTo>
                      <a:pt x="139659" y="125640"/>
                    </a:lnTo>
                    <a:lnTo>
                      <a:pt x="139394" y="126522"/>
                    </a:lnTo>
                    <a:lnTo>
                      <a:pt x="140011" y="126786"/>
                    </a:lnTo>
                    <a:lnTo>
                      <a:pt x="140276" y="128902"/>
                    </a:lnTo>
                    <a:lnTo>
                      <a:pt x="140893" y="129167"/>
                    </a:lnTo>
                    <a:lnTo>
                      <a:pt x="141422" y="128902"/>
                    </a:lnTo>
                    <a:lnTo>
                      <a:pt x="142921" y="130313"/>
                    </a:lnTo>
                    <a:lnTo>
                      <a:pt x="144332" y="130665"/>
                    </a:lnTo>
                    <a:lnTo>
                      <a:pt x="143450" y="130930"/>
                    </a:lnTo>
                    <a:lnTo>
                      <a:pt x="144332" y="130930"/>
                    </a:lnTo>
                    <a:lnTo>
                      <a:pt x="144332" y="130665"/>
                    </a:lnTo>
                    <a:lnTo>
                      <a:pt x="145213" y="130313"/>
                    </a:lnTo>
                    <a:lnTo>
                      <a:pt x="145566" y="128550"/>
                    </a:lnTo>
                    <a:lnTo>
                      <a:pt x="146095" y="128902"/>
                    </a:lnTo>
                    <a:lnTo>
                      <a:pt x="146712" y="130313"/>
                    </a:lnTo>
                    <a:lnTo>
                      <a:pt x="147594" y="130313"/>
                    </a:lnTo>
                    <a:lnTo>
                      <a:pt x="148123" y="131194"/>
                    </a:lnTo>
                    <a:lnTo>
                      <a:pt x="148123" y="132341"/>
                    </a:lnTo>
                    <a:lnTo>
                      <a:pt x="146095" y="133575"/>
                    </a:lnTo>
                    <a:lnTo>
                      <a:pt x="144596" y="134457"/>
                    </a:lnTo>
                    <a:lnTo>
                      <a:pt x="144596" y="136132"/>
                    </a:lnTo>
                    <a:lnTo>
                      <a:pt x="142921" y="134104"/>
                    </a:lnTo>
                    <a:lnTo>
                      <a:pt x="142568" y="137014"/>
                    </a:lnTo>
                    <a:lnTo>
                      <a:pt x="143186" y="139394"/>
                    </a:lnTo>
                    <a:lnTo>
                      <a:pt x="141422" y="140805"/>
                    </a:lnTo>
                    <a:lnTo>
                      <a:pt x="140011" y="142304"/>
                    </a:lnTo>
                    <a:lnTo>
                      <a:pt x="137366" y="139394"/>
                    </a:lnTo>
                    <a:lnTo>
                      <a:pt x="135603" y="137366"/>
                    </a:lnTo>
                    <a:lnTo>
                      <a:pt x="134721" y="135868"/>
                    </a:lnTo>
                    <a:lnTo>
                      <a:pt x="131195" y="138512"/>
                    </a:lnTo>
                    <a:lnTo>
                      <a:pt x="131812" y="141422"/>
                    </a:lnTo>
                    <a:lnTo>
                      <a:pt x="131195" y="138512"/>
                    </a:lnTo>
                    <a:lnTo>
                      <a:pt x="127139" y="132341"/>
                    </a:lnTo>
                    <a:lnTo>
                      <a:pt x="125993" y="131459"/>
                    </a:lnTo>
                    <a:lnTo>
                      <a:pt x="124494" y="130665"/>
                    </a:lnTo>
                    <a:lnTo>
                      <a:pt x="122731" y="130048"/>
                    </a:lnTo>
                    <a:lnTo>
                      <a:pt x="121055" y="127756"/>
                    </a:lnTo>
                    <a:lnTo>
                      <a:pt x="119556" y="123965"/>
                    </a:lnTo>
                    <a:lnTo>
                      <a:pt x="117529" y="120967"/>
                    </a:lnTo>
                    <a:lnTo>
                      <a:pt x="114354" y="117793"/>
                    </a:lnTo>
                    <a:lnTo>
                      <a:pt x="111092" y="115412"/>
                    </a:lnTo>
                    <a:lnTo>
                      <a:pt x="108800" y="113385"/>
                    </a:lnTo>
                    <a:lnTo>
                      <a:pt x="105273" y="111357"/>
                    </a:lnTo>
                    <a:lnTo>
                      <a:pt x="101482" y="104656"/>
                    </a:lnTo>
                    <a:lnTo>
                      <a:pt x="99189" y="101482"/>
                    </a:lnTo>
                    <a:lnTo>
                      <a:pt x="97073" y="99101"/>
                    </a:lnTo>
                    <a:lnTo>
                      <a:pt x="95927" y="97955"/>
                    </a:lnTo>
                    <a:lnTo>
                      <a:pt x="93635" y="96809"/>
                    </a:lnTo>
                    <a:lnTo>
                      <a:pt x="91607" y="96809"/>
                    </a:lnTo>
                    <a:lnTo>
                      <a:pt x="89226" y="95310"/>
                    </a:lnTo>
                    <a:lnTo>
                      <a:pt x="87463" y="94428"/>
                    </a:lnTo>
                    <a:lnTo>
                      <a:pt x="84553" y="91871"/>
                    </a:lnTo>
                    <a:lnTo>
                      <a:pt x="83407" y="90990"/>
                    </a:lnTo>
                    <a:lnTo>
                      <a:pt x="81997" y="90108"/>
                    </a:lnTo>
                    <a:lnTo>
                      <a:pt x="80145" y="89755"/>
                    </a:lnTo>
                    <a:lnTo>
                      <a:pt x="78999" y="90373"/>
                    </a:lnTo>
                    <a:lnTo>
                      <a:pt x="77853" y="89755"/>
                    </a:lnTo>
                    <a:lnTo>
                      <a:pt x="76442" y="90990"/>
                    </a:lnTo>
                    <a:lnTo>
                      <a:pt x="75825" y="90637"/>
                    </a:lnTo>
                    <a:lnTo>
                      <a:pt x="74326" y="89491"/>
                    </a:lnTo>
                    <a:lnTo>
                      <a:pt x="73444" y="89226"/>
                    </a:lnTo>
                    <a:lnTo>
                      <a:pt x="73180" y="88874"/>
                    </a:lnTo>
                    <a:lnTo>
                      <a:pt x="72563" y="88874"/>
                    </a:lnTo>
                    <a:lnTo>
                      <a:pt x="71416" y="89491"/>
                    </a:lnTo>
                    <a:lnTo>
                      <a:pt x="71152" y="89226"/>
                    </a:lnTo>
                    <a:lnTo>
                      <a:pt x="70270" y="88874"/>
                    </a:lnTo>
                    <a:lnTo>
                      <a:pt x="69388" y="88874"/>
                    </a:lnTo>
                    <a:lnTo>
                      <a:pt x="69124" y="88080"/>
                    </a:lnTo>
                    <a:lnTo>
                      <a:pt x="67890" y="87463"/>
                    </a:lnTo>
                    <a:lnTo>
                      <a:pt x="67361" y="88080"/>
                    </a:lnTo>
                    <a:lnTo>
                      <a:pt x="66744" y="88609"/>
                    </a:lnTo>
                    <a:lnTo>
                      <a:pt x="66479" y="88874"/>
                    </a:lnTo>
                    <a:lnTo>
                      <a:pt x="65333" y="89226"/>
                    </a:lnTo>
                    <a:lnTo>
                      <a:pt x="64187" y="89491"/>
                    </a:lnTo>
                    <a:lnTo>
                      <a:pt x="63305" y="89491"/>
                    </a:lnTo>
                    <a:lnTo>
                      <a:pt x="62423" y="89491"/>
                    </a:lnTo>
                    <a:lnTo>
                      <a:pt x="61806" y="89755"/>
                    </a:lnTo>
                    <a:lnTo>
                      <a:pt x="61806" y="90373"/>
                    </a:lnTo>
                    <a:lnTo>
                      <a:pt x="61189" y="90990"/>
                    </a:lnTo>
                    <a:lnTo>
                      <a:pt x="60307" y="88874"/>
                    </a:lnTo>
                    <a:lnTo>
                      <a:pt x="59778" y="87463"/>
                    </a:lnTo>
                    <a:lnTo>
                      <a:pt x="58897" y="86317"/>
                    </a:lnTo>
                    <a:lnTo>
                      <a:pt x="58015" y="85700"/>
                    </a:lnTo>
                    <a:lnTo>
                      <a:pt x="56604" y="85435"/>
                    </a:lnTo>
                    <a:lnTo>
                      <a:pt x="56251" y="87199"/>
                    </a:lnTo>
                    <a:lnTo>
                      <a:pt x="55722" y="87728"/>
                    </a:lnTo>
                    <a:lnTo>
                      <a:pt x="55105" y="88345"/>
                    </a:lnTo>
                    <a:lnTo>
                      <a:pt x="54224" y="88345"/>
                    </a:lnTo>
                    <a:lnTo>
                      <a:pt x="53959" y="89491"/>
                    </a:lnTo>
                    <a:lnTo>
                      <a:pt x="52725" y="89491"/>
                    </a:lnTo>
                    <a:lnTo>
                      <a:pt x="51579" y="90108"/>
                    </a:lnTo>
                    <a:lnTo>
                      <a:pt x="51050" y="90108"/>
                    </a:lnTo>
                    <a:lnTo>
                      <a:pt x="50697" y="90108"/>
                    </a:lnTo>
                    <a:lnTo>
                      <a:pt x="50432" y="90108"/>
                    </a:lnTo>
                    <a:lnTo>
                      <a:pt x="49815" y="89755"/>
                    </a:lnTo>
                    <a:lnTo>
                      <a:pt x="48405" y="90637"/>
                    </a:lnTo>
                    <a:lnTo>
                      <a:pt x="47523" y="90637"/>
                    </a:lnTo>
                    <a:lnTo>
                      <a:pt x="45759" y="91254"/>
                    </a:lnTo>
                    <a:lnTo>
                      <a:pt x="44261" y="91254"/>
                    </a:lnTo>
                    <a:lnTo>
                      <a:pt x="43732" y="90373"/>
                    </a:lnTo>
                    <a:lnTo>
                      <a:pt x="42585" y="89491"/>
                    </a:lnTo>
                    <a:lnTo>
                      <a:pt x="41704" y="88874"/>
                    </a:lnTo>
                    <a:lnTo>
                      <a:pt x="41086" y="87199"/>
                    </a:lnTo>
                    <a:lnTo>
                      <a:pt x="40205" y="86317"/>
                    </a:lnTo>
                    <a:lnTo>
                      <a:pt x="39940" y="84553"/>
                    </a:lnTo>
                    <a:lnTo>
                      <a:pt x="38530" y="84553"/>
                    </a:lnTo>
                    <a:lnTo>
                      <a:pt x="37913" y="84818"/>
                    </a:lnTo>
                    <a:lnTo>
                      <a:pt x="37295" y="84818"/>
                    </a:lnTo>
                    <a:lnTo>
                      <a:pt x="34915" y="83672"/>
                    </a:lnTo>
                    <a:lnTo>
                      <a:pt x="34386" y="82526"/>
                    </a:lnTo>
                    <a:lnTo>
                      <a:pt x="34121" y="82526"/>
                    </a:lnTo>
                    <a:lnTo>
                      <a:pt x="33504" y="81908"/>
                    </a:lnTo>
                    <a:lnTo>
                      <a:pt x="32358" y="79881"/>
                    </a:lnTo>
                    <a:lnTo>
                      <a:pt x="31476" y="84818"/>
                    </a:lnTo>
                    <a:lnTo>
                      <a:pt x="32622" y="89226"/>
                    </a:lnTo>
                    <a:lnTo>
                      <a:pt x="29713" y="90373"/>
                    </a:lnTo>
                    <a:lnTo>
                      <a:pt x="29713" y="93899"/>
                    </a:lnTo>
                    <a:lnTo>
                      <a:pt x="27685" y="95046"/>
                    </a:lnTo>
                    <a:lnTo>
                      <a:pt x="27949" y="96809"/>
                    </a:lnTo>
                    <a:lnTo>
                      <a:pt x="27421" y="97955"/>
                    </a:lnTo>
                    <a:lnTo>
                      <a:pt x="25922" y="99366"/>
                    </a:lnTo>
                    <a:lnTo>
                      <a:pt x="24775" y="99101"/>
                    </a:lnTo>
                    <a:lnTo>
                      <a:pt x="24511" y="98837"/>
                    </a:lnTo>
                    <a:lnTo>
                      <a:pt x="24775" y="97338"/>
                    </a:lnTo>
                    <a:lnTo>
                      <a:pt x="24158" y="97338"/>
                    </a:lnTo>
                    <a:lnTo>
                      <a:pt x="23629" y="96809"/>
                    </a:lnTo>
                    <a:lnTo>
                      <a:pt x="23012" y="95663"/>
                    </a:lnTo>
                    <a:lnTo>
                      <a:pt x="22748" y="95310"/>
                    </a:lnTo>
                    <a:lnTo>
                      <a:pt x="21866" y="94428"/>
                    </a:lnTo>
                    <a:lnTo>
                      <a:pt x="21601" y="93282"/>
                    </a:lnTo>
                    <a:lnTo>
                      <a:pt x="20984" y="92400"/>
                    </a:lnTo>
                    <a:lnTo>
                      <a:pt x="20367" y="91254"/>
                    </a:lnTo>
                    <a:lnTo>
                      <a:pt x="19485" y="90990"/>
                    </a:lnTo>
                    <a:lnTo>
                      <a:pt x="17193" y="90990"/>
                    </a:lnTo>
                    <a:lnTo>
                      <a:pt x="16840" y="91254"/>
                    </a:lnTo>
                    <a:lnTo>
                      <a:pt x="16047" y="91254"/>
                    </a:lnTo>
                    <a:lnTo>
                      <a:pt x="15429" y="92753"/>
                    </a:lnTo>
                    <a:lnTo>
                      <a:pt x="15165" y="94781"/>
                    </a:lnTo>
                    <a:lnTo>
                      <a:pt x="13931" y="95310"/>
                    </a:lnTo>
                    <a:lnTo>
                      <a:pt x="12785" y="95663"/>
                    </a:lnTo>
                    <a:lnTo>
                      <a:pt x="12256" y="95046"/>
                    </a:lnTo>
                    <a:lnTo>
                      <a:pt x="12256" y="94428"/>
                    </a:lnTo>
                    <a:lnTo>
                      <a:pt x="11109" y="94164"/>
                    </a:lnTo>
                    <a:lnTo>
                      <a:pt x="9610" y="94164"/>
                    </a:lnTo>
                    <a:lnTo>
                      <a:pt x="8112" y="94164"/>
                    </a:lnTo>
                    <a:lnTo>
                      <a:pt x="7583" y="94164"/>
                    </a:lnTo>
                    <a:lnTo>
                      <a:pt x="6701" y="94428"/>
                    </a:lnTo>
                    <a:lnTo>
                      <a:pt x="5819" y="94164"/>
                    </a:lnTo>
                    <a:lnTo>
                      <a:pt x="4937" y="94781"/>
                    </a:lnTo>
                    <a:lnTo>
                      <a:pt x="4056" y="93547"/>
                    </a:lnTo>
                    <a:lnTo>
                      <a:pt x="4320" y="96809"/>
                    </a:lnTo>
                    <a:lnTo>
                      <a:pt x="2292" y="95310"/>
                    </a:lnTo>
                    <a:lnTo>
                      <a:pt x="0" y="72034"/>
                    </a:lnTo>
                    <a:lnTo>
                      <a:pt x="2028" y="70006"/>
                    </a:lnTo>
                    <a:lnTo>
                      <a:pt x="3791" y="64980"/>
                    </a:lnTo>
                    <a:lnTo>
                      <a:pt x="4056" y="64451"/>
                    </a:lnTo>
                    <a:lnTo>
                      <a:pt x="3791" y="63569"/>
                    </a:lnTo>
                    <a:lnTo>
                      <a:pt x="5202" y="57133"/>
                    </a:lnTo>
                    <a:lnTo>
                      <a:pt x="6436" y="55987"/>
                    </a:lnTo>
                    <a:lnTo>
                      <a:pt x="9346" y="45142"/>
                    </a:lnTo>
                    <a:lnTo>
                      <a:pt x="10492" y="43996"/>
                    </a:lnTo>
                    <a:lnTo>
                      <a:pt x="9346" y="41968"/>
                    </a:lnTo>
                    <a:lnTo>
                      <a:pt x="9346" y="40469"/>
                    </a:lnTo>
                    <a:lnTo>
                      <a:pt x="8993" y="38706"/>
                    </a:lnTo>
                    <a:lnTo>
                      <a:pt x="8112" y="37912"/>
                    </a:lnTo>
                    <a:lnTo>
                      <a:pt x="8993" y="36149"/>
                    </a:lnTo>
                    <a:lnTo>
                      <a:pt x="8993" y="34915"/>
                    </a:lnTo>
                    <a:lnTo>
                      <a:pt x="10140" y="33151"/>
                    </a:lnTo>
                    <a:lnTo>
                      <a:pt x="10492" y="29713"/>
                    </a:lnTo>
                    <a:lnTo>
                      <a:pt x="10492" y="29448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140" y="25922"/>
                    </a:lnTo>
                    <a:lnTo>
                      <a:pt x="9875" y="25040"/>
                    </a:lnTo>
                    <a:lnTo>
                      <a:pt x="9875" y="24158"/>
                    </a:lnTo>
                    <a:lnTo>
                      <a:pt x="12520" y="25040"/>
                    </a:lnTo>
                    <a:lnTo>
                      <a:pt x="13137" y="24158"/>
                    </a:lnTo>
                    <a:lnTo>
                      <a:pt x="13931" y="25304"/>
                    </a:lnTo>
                    <a:lnTo>
                      <a:pt x="14900" y="25657"/>
                    </a:lnTo>
                    <a:lnTo>
                      <a:pt x="16311" y="24158"/>
                    </a:lnTo>
                    <a:lnTo>
                      <a:pt x="18604" y="25040"/>
                    </a:lnTo>
                    <a:lnTo>
                      <a:pt x="19838" y="24158"/>
                    </a:lnTo>
                    <a:lnTo>
                      <a:pt x="20984" y="22395"/>
                    </a:lnTo>
                    <a:lnTo>
                      <a:pt x="21249" y="19750"/>
                    </a:lnTo>
                    <a:lnTo>
                      <a:pt x="20631" y="18339"/>
                    </a:lnTo>
                    <a:lnTo>
                      <a:pt x="20984" y="17722"/>
                    </a:lnTo>
                    <a:lnTo>
                      <a:pt x="25304" y="16576"/>
                    </a:lnTo>
                    <a:lnTo>
                      <a:pt x="26539" y="14548"/>
                    </a:lnTo>
                    <a:lnTo>
                      <a:pt x="27068" y="13666"/>
                    </a:lnTo>
                    <a:lnTo>
                      <a:pt x="28302" y="14548"/>
                    </a:lnTo>
                    <a:lnTo>
                      <a:pt x="29448" y="14548"/>
                    </a:lnTo>
                    <a:lnTo>
                      <a:pt x="30330" y="13049"/>
                    </a:lnTo>
                    <a:lnTo>
                      <a:pt x="32622" y="11903"/>
                    </a:lnTo>
                    <a:lnTo>
                      <a:pt x="32358" y="13931"/>
                    </a:lnTo>
                    <a:lnTo>
                      <a:pt x="33857" y="13402"/>
                    </a:lnTo>
                    <a:lnTo>
                      <a:pt x="34121" y="11903"/>
                    </a:lnTo>
                    <a:lnTo>
                      <a:pt x="36414" y="14283"/>
                    </a:lnTo>
                    <a:lnTo>
                      <a:pt x="36766" y="13049"/>
                    </a:lnTo>
                    <a:lnTo>
                      <a:pt x="37295" y="10757"/>
                    </a:lnTo>
                    <a:lnTo>
                      <a:pt x="38794" y="9346"/>
                    </a:lnTo>
                    <a:lnTo>
                      <a:pt x="40822" y="4320"/>
                    </a:lnTo>
                    <a:lnTo>
                      <a:pt x="43467" y="793"/>
                    </a:lnTo>
                    <a:lnTo>
                      <a:pt x="4373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3" name="Freihandform: Form 1832">
                <a:extLst>
                  <a:ext uri="{FF2B5EF4-FFF2-40B4-BE49-F238E27FC236}">
                    <a16:creationId xmlns:a16="http://schemas.microsoft.com/office/drawing/2014/main" id="{6900D3BE-92C5-2A6F-9AA6-46FC10D84A64}"/>
                  </a:ext>
                </a:extLst>
              </p:cNvPr>
              <p:cNvSpPr/>
              <p:nvPr/>
            </p:nvSpPr>
            <p:spPr>
              <a:xfrm>
                <a:off x="4591092" y="3361022"/>
                <a:ext cx="247047" cy="247664"/>
              </a:xfrm>
              <a:custGeom>
                <a:avLst/>
                <a:gdLst>
                  <a:gd name="connsiteX0" fmla="*/ 197762 w 247047"/>
                  <a:gd name="connsiteY0" fmla="*/ 7582 h 247664"/>
                  <a:gd name="connsiteX1" fmla="*/ 195998 w 247047"/>
                  <a:gd name="connsiteY1" fmla="*/ 10492 h 247664"/>
                  <a:gd name="connsiteX2" fmla="*/ 193353 w 247047"/>
                  <a:gd name="connsiteY2" fmla="*/ 11374 h 247664"/>
                  <a:gd name="connsiteX3" fmla="*/ 187799 w 247047"/>
                  <a:gd name="connsiteY3" fmla="*/ 13401 h 247664"/>
                  <a:gd name="connsiteX4" fmla="*/ 185771 w 247047"/>
                  <a:gd name="connsiteY4" fmla="*/ 13401 h 247664"/>
                  <a:gd name="connsiteX5" fmla="*/ 185506 w 247047"/>
                  <a:gd name="connsiteY5" fmla="*/ 13754 h 247664"/>
                  <a:gd name="connsiteX6" fmla="*/ 184625 w 247047"/>
                  <a:gd name="connsiteY6" fmla="*/ 13754 h 247664"/>
                  <a:gd name="connsiteX7" fmla="*/ 183478 w 247047"/>
                  <a:gd name="connsiteY7" fmla="*/ 13754 h 247664"/>
                  <a:gd name="connsiteX8" fmla="*/ 182861 w 247047"/>
                  <a:gd name="connsiteY8" fmla="*/ 13401 h 247664"/>
                  <a:gd name="connsiteX9" fmla="*/ 181980 w 247047"/>
                  <a:gd name="connsiteY9" fmla="*/ 13137 h 247664"/>
                  <a:gd name="connsiteX10" fmla="*/ 181980 w 247047"/>
                  <a:gd name="connsiteY10" fmla="*/ 13401 h 247664"/>
                  <a:gd name="connsiteX11" fmla="*/ 181451 w 247047"/>
                  <a:gd name="connsiteY11" fmla="*/ 13401 h 247664"/>
                  <a:gd name="connsiteX12" fmla="*/ 181098 w 247047"/>
                  <a:gd name="connsiteY12" fmla="*/ 13401 h 247664"/>
                  <a:gd name="connsiteX13" fmla="*/ 181098 w 247047"/>
                  <a:gd name="connsiteY13" fmla="*/ 13754 h 247664"/>
                  <a:gd name="connsiteX14" fmla="*/ 180216 w 247047"/>
                  <a:gd name="connsiteY14" fmla="*/ 14019 h 247664"/>
                  <a:gd name="connsiteX15" fmla="*/ 179952 w 247047"/>
                  <a:gd name="connsiteY15" fmla="*/ 14283 h 247664"/>
                  <a:gd name="connsiteX16" fmla="*/ 179334 w 247047"/>
                  <a:gd name="connsiteY16" fmla="*/ 14283 h 247664"/>
                  <a:gd name="connsiteX17" fmla="*/ 179070 w 247047"/>
                  <a:gd name="connsiteY17" fmla="*/ 14636 h 247664"/>
                  <a:gd name="connsiteX18" fmla="*/ 179334 w 247047"/>
                  <a:gd name="connsiteY18" fmla="*/ 14636 h 247664"/>
                  <a:gd name="connsiteX19" fmla="*/ 179334 w 247047"/>
                  <a:gd name="connsiteY19" fmla="*/ 14900 h 247664"/>
                  <a:gd name="connsiteX20" fmla="*/ 179070 w 247047"/>
                  <a:gd name="connsiteY20" fmla="*/ 14636 h 247664"/>
                  <a:gd name="connsiteX21" fmla="*/ 178805 w 247047"/>
                  <a:gd name="connsiteY21" fmla="*/ 14636 h 247664"/>
                  <a:gd name="connsiteX22" fmla="*/ 178188 w 247047"/>
                  <a:gd name="connsiteY22" fmla="*/ 14900 h 247664"/>
                  <a:gd name="connsiteX23" fmla="*/ 177924 w 247047"/>
                  <a:gd name="connsiteY23" fmla="*/ 15165 h 247664"/>
                  <a:gd name="connsiteX24" fmla="*/ 177307 w 247047"/>
                  <a:gd name="connsiteY24" fmla="*/ 15165 h 247664"/>
                  <a:gd name="connsiteX25" fmla="*/ 177924 w 247047"/>
                  <a:gd name="connsiteY25" fmla="*/ 15518 h 247664"/>
                  <a:gd name="connsiteX26" fmla="*/ 177042 w 247047"/>
                  <a:gd name="connsiteY26" fmla="*/ 15165 h 247664"/>
                  <a:gd name="connsiteX27" fmla="*/ 176161 w 247047"/>
                  <a:gd name="connsiteY27" fmla="*/ 15518 h 247664"/>
                  <a:gd name="connsiteX28" fmla="*/ 176161 w 247047"/>
                  <a:gd name="connsiteY28" fmla="*/ 14900 h 247664"/>
                  <a:gd name="connsiteX29" fmla="*/ 176161 w 247047"/>
                  <a:gd name="connsiteY29" fmla="*/ 14636 h 247664"/>
                  <a:gd name="connsiteX30" fmla="*/ 175279 w 247047"/>
                  <a:gd name="connsiteY30" fmla="*/ 14636 h 247664"/>
                  <a:gd name="connsiteX31" fmla="*/ 175543 w 247047"/>
                  <a:gd name="connsiteY31" fmla="*/ 14283 h 247664"/>
                  <a:gd name="connsiteX32" fmla="*/ 175896 w 247047"/>
                  <a:gd name="connsiteY32" fmla="*/ 13754 h 247664"/>
                  <a:gd name="connsiteX33" fmla="*/ 176161 w 247047"/>
                  <a:gd name="connsiteY33" fmla="*/ 14019 h 247664"/>
                  <a:gd name="connsiteX34" fmla="*/ 176425 w 247047"/>
                  <a:gd name="connsiteY34" fmla="*/ 13401 h 247664"/>
                  <a:gd name="connsiteX35" fmla="*/ 175896 w 247047"/>
                  <a:gd name="connsiteY35" fmla="*/ 12608 h 247664"/>
                  <a:gd name="connsiteX36" fmla="*/ 176161 w 247047"/>
                  <a:gd name="connsiteY36" fmla="*/ 12608 h 247664"/>
                  <a:gd name="connsiteX37" fmla="*/ 175014 w 247047"/>
                  <a:gd name="connsiteY37" fmla="*/ 12255 h 247664"/>
                  <a:gd name="connsiteX38" fmla="*/ 174750 w 247047"/>
                  <a:gd name="connsiteY38" fmla="*/ 12255 h 247664"/>
                  <a:gd name="connsiteX39" fmla="*/ 174750 w 247047"/>
                  <a:gd name="connsiteY39" fmla="*/ 12608 h 247664"/>
                  <a:gd name="connsiteX40" fmla="*/ 173868 w 247047"/>
                  <a:gd name="connsiteY40" fmla="*/ 13137 h 247664"/>
                  <a:gd name="connsiteX41" fmla="*/ 173515 w 247047"/>
                  <a:gd name="connsiteY41" fmla="*/ 13401 h 247664"/>
                  <a:gd name="connsiteX42" fmla="*/ 173251 w 247047"/>
                  <a:gd name="connsiteY42" fmla="*/ 13754 h 247664"/>
                  <a:gd name="connsiteX43" fmla="*/ 172898 w 247047"/>
                  <a:gd name="connsiteY43" fmla="*/ 13754 h 247664"/>
                  <a:gd name="connsiteX44" fmla="*/ 172634 w 247047"/>
                  <a:gd name="connsiteY44" fmla="*/ 14019 h 247664"/>
                  <a:gd name="connsiteX45" fmla="*/ 173251 w 247047"/>
                  <a:gd name="connsiteY45" fmla="*/ 14019 h 247664"/>
                  <a:gd name="connsiteX46" fmla="*/ 173868 w 247047"/>
                  <a:gd name="connsiteY46" fmla="*/ 14636 h 247664"/>
                  <a:gd name="connsiteX47" fmla="*/ 174397 w 247047"/>
                  <a:gd name="connsiteY47" fmla="*/ 13401 h 247664"/>
                  <a:gd name="connsiteX48" fmla="*/ 174397 w 247047"/>
                  <a:gd name="connsiteY48" fmla="*/ 13754 h 247664"/>
                  <a:gd name="connsiteX49" fmla="*/ 174397 w 247047"/>
                  <a:gd name="connsiteY49" fmla="*/ 14019 h 247664"/>
                  <a:gd name="connsiteX50" fmla="*/ 174133 w 247047"/>
                  <a:gd name="connsiteY50" fmla="*/ 14636 h 247664"/>
                  <a:gd name="connsiteX51" fmla="*/ 173868 w 247047"/>
                  <a:gd name="connsiteY51" fmla="*/ 14636 h 247664"/>
                  <a:gd name="connsiteX52" fmla="*/ 173868 w 247047"/>
                  <a:gd name="connsiteY52" fmla="*/ 14900 h 247664"/>
                  <a:gd name="connsiteX53" fmla="*/ 173868 w 247047"/>
                  <a:gd name="connsiteY53" fmla="*/ 15518 h 247664"/>
                  <a:gd name="connsiteX54" fmla="*/ 172898 w 247047"/>
                  <a:gd name="connsiteY54" fmla="*/ 15518 h 247664"/>
                  <a:gd name="connsiteX55" fmla="*/ 172634 w 247047"/>
                  <a:gd name="connsiteY55" fmla="*/ 15165 h 247664"/>
                  <a:gd name="connsiteX56" fmla="*/ 172369 w 247047"/>
                  <a:gd name="connsiteY56" fmla="*/ 14636 h 247664"/>
                  <a:gd name="connsiteX57" fmla="*/ 173251 w 247047"/>
                  <a:gd name="connsiteY57" fmla="*/ 15165 h 247664"/>
                  <a:gd name="connsiteX58" fmla="*/ 172898 w 247047"/>
                  <a:gd name="connsiteY58" fmla="*/ 14636 h 247664"/>
                  <a:gd name="connsiteX59" fmla="*/ 172369 w 247047"/>
                  <a:gd name="connsiteY59" fmla="*/ 14283 h 247664"/>
                  <a:gd name="connsiteX60" fmla="*/ 172017 w 247047"/>
                  <a:gd name="connsiteY60" fmla="*/ 13754 h 247664"/>
                  <a:gd name="connsiteX61" fmla="*/ 172017 w 247047"/>
                  <a:gd name="connsiteY61" fmla="*/ 13401 h 247664"/>
                  <a:gd name="connsiteX62" fmla="*/ 171752 w 247047"/>
                  <a:gd name="connsiteY62" fmla="*/ 14019 h 247664"/>
                  <a:gd name="connsiteX63" fmla="*/ 171488 w 247047"/>
                  <a:gd name="connsiteY63" fmla="*/ 14636 h 247664"/>
                  <a:gd name="connsiteX64" fmla="*/ 172017 w 247047"/>
                  <a:gd name="connsiteY64" fmla="*/ 14636 h 247664"/>
                  <a:gd name="connsiteX65" fmla="*/ 171752 w 247047"/>
                  <a:gd name="connsiteY65" fmla="*/ 14900 h 247664"/>
                  <a:gd name="connsiteX66" fmla="*/ 170959 w 247047"/>
                  <a:gd name="connsiteY66" fmla="*/ 14636 h 247664"/>
                  <a:gd name="connsiteX67" fmla="*/ 171752 w 247047"/>
                  <a:gd name="connsiteY67" fmla="*/ 14900 h 247664"/>
                  <a:gd name="connsiteX68" fmla="*/ 171488 w 247047"/>
                  <a:gd name="connsiteY68" fmla="*/ 14636 h 247664"/>
                  <a:gd name="connsiteX69" fmla="*/ 170959 w 247047"/>
                  <a:gd name="connsiteY69" fmla="*/ 14636 h 247664"/>
                  <a:gd name="connsiteX70" fmla="*/ 169460 w 247047"/>
                  <a:gd name="connsiteY70" fmla="*/ 14636 h 247664"/>
                  <a:gd name="connsiteX71" fmla="*/ 168578 w 247047"/>
                  <a:gd name="connsiteY71" fmla="*/ 15518 h 247664"/>
                  <a:gd name="connsiteX72" fmla="*/ 167432 w 247047"/>
                  <a:gd name="connsiteY72" fmla="*/ 15782 h 247664"/>
                  <a:gd name="connsiteX73" fmla="*/ 166550 w 247047"/>
                  <a:gd name="connsiteY73" fmla="*/ 15782 h 247664"/>
                  <a:gd name="connsiteX74" fmla="*/ 167432 w 247047"/>
                  <a:gd name="connsiteY74" fmla="*/ 15518 h 247664"/>
                  <a:gd name="connsiteX75" fmla="*/ 167696 w 247047"/>
                  <a:gd name="connsiteY75" fmla="*/ 15518 h 247664"/>
                  <a:gd name="connsiteX76" fmla="*/ 168313 w 247047"/>
                  <a:gd name="connsiteY76" fmla="*/ 15165 h 247664"/>
                  <a:gd name="connsiteX77" fmla="*/ 171223 w 247047"/>
                  <a:gd name="connsiteY77" fmla="*/ 13754 h 247664"/>
                  <a:gd name="connsiteX78" fmla="*/ 171223 w 247047"/>
                  <a:gd name="connsiteY78" fmla="*/ 13401 h 247664"/>
                  <a:gd name="connsiteX79" fmla="*/ 171752 w 247047"/>
                  <a:gd name="connsiteY79" fmla="*/ 13137 h 247664"/>
                  <a:gd name="connsiteX80" fmla="*/ 171488 w 247047"/>
                  <a:gd name="connsiteY80" fmla="*/ 13137 h 247664"/>
                  <a:gd name="connsiteX81" fmla="*/ 171223 w 247047"/>
                  <a:gd name="connsiteY81" fmla="*/ 13137 h 247664"/>
                  <a:gd name="connsiteX82" fmla="*/ 170606 w 247047"/>
                  <a:gd name="connsiteY82" fmla="*/ 13754 h 247664"/>
                  <a:gd name="connsiteX83" fmla="*/ 167696 w 247047"/>
                  <a:gd name="connsiteY83" fmla="*/ 15165 h 247664"/>
                  <a:gd name="connsiteX84" fmla="*/ 165404 w 247047"/>
                  <a:gd name="connsiteY84" fmla="*/ 15518 h 247664"/>
                  <a:gd name="connsiteX85" fmla="*/ 163640 w 247047"/>
                  <a:gd name="connsiteY85" fmla="*/ 15165 h 247664"/>
                  <a:gd name="connsiteX86" fmla="*/ 161877 w 247047"/>
                  <a:gd name="connsiteY86" fmla="*/ 13137 h 247664"/>
                  <a:gd name="connsiteX87" fmla="*/ 160114 w 247047"/>
                  <a:gd name="connsiteY87" fmla="*/ 11109 h 247664"/>
                  <a:gd name="connsiteX88" fmla="*/ 158703 w 247047"/>
                  <a:gd name="connsiteY88" fmla="*/ 10492 h 247664"/>
                  <a:gd name="connsiteX89" fmla="*/ 158968 w 247047"/>
                  <a:gd name="connsiteY89" fmla="*/ 9963 h 247664"/>
                  <a:gd name="connsiteX90" fmla="*/ 158703 w 247047"/>
                  <a:gd name="connsiteY90" fmla="*/ 9963 h 247664"/>
                  <a:gd name="connsiteX91" fmla="*/ 158350 w 247047"/>
                  <a:gd name="connsiteY91" fmla="*/ 10492 h 247664"/>
                  <a:gd name="connsiteX92" fmla="*/ 158350 w 247047"/>
                  <a:gd name="connsiteY92" fmla="*/ 10845 h 247664"/>
                  <a:gd name="connsiteX93" fmla="*/ 158086 w 247047"/>
                  <a:gd name="connsiteY93" fmla="*/ 11109 h 247664"/>
                  <a:gd name="connsiteX94" fmla="*/ 157821 w 247047"/>
                  <a:gd name="connsiteY94" fmla="*/ 10492 h 247664"/>
                  <a:gd name="connsiteX95" fmla="*/ 158350 w 247047"/>
                  <a:gd name="connsiteY95" fmla="*/ 9963 h 247664"/>
                  <a:gd name="connsiteX96" fmla="*/ 157821 w 247047"/>
                  <a:gd name="connsiteY96" fmla="*/ 9610 h 247664"/>
                  <a:gd name="connsiteX97" fmla="*/ 156587 w 247047"/>
                  <a:gd name="connsiteY97" fmla="*/ 9346 h 247664"/>
                  <a:gd name="connsiteX98" fmla="*/ 156587 w 247047"/>
                  <a:gd name="connsiteY98" fmla="*/ 9610 h 247664"/>
                  <a:gd name="connsiteX99" fmla="*/ 157204 w 247047"/>
                  <a:gd name="connsiteY99" fmla="*/ 9963 h 247664"/>
                  <a:gd name="connsiteX100" fmla="*/ 156940 w 247047"/>
                  <a:gd name="connsiteY100" fmla="*/ 10492 h 247664"/>
                  <a:gd name="connsiteX101" fmla="*/ 157469 w 247047"/>
                  <a:gd name="connsiteY101" fmla="*/ 11374 h 247664"/>
                  <a:gd name="connsiteX102" fmla="*/ 158086 w 247047"/>
                  <a:gd name="connsiteY102" fmla="*/ 12608 h 247664"/>
                  <a:gd name="connsiteX103" fmla="*/ 157821 w 247047"/>
                  <a:gd name="connsiteY103" fmla="*/ 12873 h 247664"/>
                  <a:gd name="connsiteX104" fmla="*/ 158086 w 247047"/>
                  <a:gd name="connsiteY104" fmla="*/ 13401 h 247664"/>
                  <a:gd name="connsiteX105" fmla="*/ 157821 w 247047"/>
                  <a:gd name="connsiteY105" fmla="*/ 13754 h 247664"/>
                  <a:gd name="connsiteX106" fmla="*/ 157204 w 247047"/>
                  <a:gd name="connsiteY106" fmla="*/ 14283 h 247664"/>
                  <a:gd name="connsiteX107" fmla="*/ 156940 w 247047"/>
                  <a:gd name="connsiteY107" fmla="*/ 14636 h 247664"/>
                  <a:gd name="connsiteX108" fmla="*/ 156940 w 247047"/>
                  <a:gd name="connsiteY108" fmla="*/ 13754 h 247664"/>
                  <a:gd name="connsiteX109" fmla="*/ 156587 w 247047"/>
                  <a:gd name="connsiteY109" fmla="*/ 13401 h 247664"/>
                  <a:gd name="connsiteX110" fmla="*/ 156323 w 247047"/>
                  <a:gd name="connsiteY110" fmla="*/ 13401 h 247664"/>
                  <a:gd name="connsiteX111" fmla="*/ 156058 w 247047"/>
                  <a:gd name="connsiteY111" fmla="*/ 14019 h 247664"/>
                  <a:gd name="connsiteX112" fmla="*/ 155705 w 247047"/>
                  <a:gd name="connsiteY112" fmla="*/ 14636 h 247664"/>
                  <a:gd name="connsiteX113" fmla="*/ 155441 w 247047"/>
                  <a:gd name="connsiteY113" fmla="*/ 14636 h 247664"/>
                  <a:gd name="connsiteX114" fmla="*/ 155441 w 247047"/>
                  <a:gd name="connsiteY114" fmla="*/ 15165 h 247664"/>
                  <a:gd name="connsiteX115" fmla="*/ 154295 w 247047"/>
                  <a:gd name="connsiteY115" fmla="*/ 14636 h 247664"/>
                  <a:gd name="connsiteX116" fmla="*/ 154295 w 247047"/>
                  <a:gd name="connsiteY116" fmla="*/ 15165 h 247664"/>
                  <a:gd name="connsiteX117" fmla="*/ 154559 w 247047"/>
                  <a:gd name="connsiteY117" fmla="*/ 15518 h 247664"/>
                  <a:gd name="connsiteX118" fmla="*/ 154295 w 247047"/>
                  <a:gd name="connsiteY118" fmla="*/ 15518 h 247664"/>
                  <a:gd name="connsiteX119" fmla="*/ 154030 w 247047"/>
                  <a:gd name="connsiteY119" fmla="*/ 14636 h 247664"/>
                  <a:gd name="connsiteX120" fmla="*/ 153677 w 247047"/>
                  <a:gd name="connsiteY120" fmla="*/ 14900 h 247664"/>
                  <a:gd name="connsiteX121" fmla="*/ 153413 w 247047"/>
                  <a:gd name="connsiteY121" fmla="*/ 14900 h 247664"/>
                  <a:gd name="connsiteX122" fmla="*/ 153677 w 247047"/>
                  <a:gd name="connsiteY122" fmla="*/ 14636 h 247664"/>
                  <a:gd name="connsiteX123" fmla="*/ 153413 w 247047"/>
                  <a:gd name="connsiteY123" fmla="*/ 14019 h 247664"/>
                  <a:gd name="connsiteX124" fmla="*/ 152796 w 247047"/>
                  <a:gd name="connsiteY124" fmla="*/ 13401 h 247664"/>
                  <a:gd name="connsiteX125" fmla="*/ 152531 w 247047"/>
                  <a:gd name="connsiteY125" fmla="*/ 13401 h 247664"/>
                  <a:gd name="connsiteX126" fmla="*/ 152531 w 247047"/>
                  <a:gd name="connsiteY126" fmla="*/ 13137 h 247664"/>
                  <a:gd name="connsiteX127" fmla="*/ 152531 w 247047"/>
                  <a:gd name="connsiteY127" fmla="*/ 11109 h 247664"/>
                  <a:gd name="connsiteX128" fmla="*/ 151914 w 247047"/>
                  <a:gd name="connsiteY128" fmla="*/ 11109 h 247664"/>
                  <a:gd name="connsiteX129" fmla="*/ 151914 w 247047"/>
                  <a:gd name="connsiteY129" fmla="*/ 10845 h 247664"/>
                  <a:gd name="connsiteX130" fmla="*/ 151121 w 247047"/>
                  <a:gd name="connsiteY130" fmla="*/ 11109 h 247664"/>
                  <a:gd name="connsiteX131" fmla="*/ 150768 w 247047"/>
                  <a:gd name="connsiteY131" fmla="*/ 11991 h 247664"/>
                  <a:gd name="connsiteX132" fmla="*/ 150503 w 247047"/>
                  <a:gd name="connsiteY132" fmla="*/ 11374 h 247664"/>
                  <a:gd name="connsiteX133" fmla="*/ 149357 w 247047"/>
                  <a:gd name="connsiteY133" fmla="*/ 11109 h 247664"/>
                  <a:gd name="connsiteX134" fmla="*/ 149622 w 247047"/>
                  <a:gd name="connsiteY134" fmla="*/ 10845 h 247664"/>
                  <a:gd name="connsiteX135" fmla="*/ 149357 w 247047"/>
                  <a:gd name="connsiteY135" fmla="*/ 10492 h 247664"/>
                  <a:gd name="connsiteX136" fmla="*/ 149005 w 247047"/>
                  <a:gd name="connsiteY136" fmla="*/ 10845 h 247664"/>
                  <a:gd name="connsiteX137" fmla="*/ 148476 w 247047"/>
                  <a:gd name="connsiteY137" fmla="*/ 10227 h 247664"/>
                  <a:gd name="connsiteX138" fmla="*/ 147858 w 247047"/>
                  <a:gd name="connsiteY138" fmla="*/ 9963 h 247664"/>
                  <a:gd name="connsiteX139" fmla="*/ 147594 w 247047"/>
                  <a:gd name="connsiteY139" fmla="*/ 9610 h 247664"/>
                  <a:gd name="connsiteX140" fmla="*/ 147329 w 247047"/>
                  <a:gd name="connsiteY140" fmla="*/ 9963 h 247664"/>
                  <a:gd name="connsiteX141" fmla="*/ 146977 w 247047"/>
                  <a:gd name="connsiteY141" fmla="*/ 9081 h 247664"/>
                  <a:gd name="connsiteX142" fmla="*/ 147329 w 247047"/>
                  <a:gd name="connsiteY142" fmla="*/ 9081 h 247664"/>
                  <a:gd name="connsiteX143" fmla="*/ 147329 w 247047"/>
                  <a:gd name="connsiteY143" fmla="*/ 8817 h 247664"/>
                  <a:gd name="connsiteX144" fmla="*/ 147329 w 247047"/>
                  <a:gd name="connsiteY144" fmla="*/ 8200 h 247664"/>
                  <a:gd name="connsiteX145" fmla="*/ 147329 w 247047"/>
                  <a:gd name="connsiteY145" fmla="*/ 7582 h 247664"/>
                  <a:gd name="connsiteX146" fmla="*/ 147594 w 247047"/>
                  <a:gd name="connsiteY146" fmla="*/ 7582 h 247664"/>
                  <a:gd name="connsiteX147" fmla="*/ 147858 w 247047"/>
                  <a:gd name="connsiteY147" fmla="*/ 7582 h 247664"/>
                  <a:gd name="connsiteX148" fmla="*/ 147858 w 247047"/>
                  <a:gd name="connsiteY148" fmla="*/ 7318 h 247664"/>
                  <a:gd name="connsiteX149" fmla="*/ 147858 w 247047"/>
                  <a:gd name="connsiteY149" fmla="*/ 7053 h 247664"/>
                  <a:gd name="connsiteX150" fmla="*/ 147594 w 247047"/>
                  <a:gd name="connsiteY150" fmla="*/ 6436 h 247664"/>
                  <a:gd name="connsiteX151" fmla="*/ 148123 w 247047"/>
                  <a:gd name="connsiteY151" fmla="*/ 6436 h 247664"/>
                  <a:gd name="connsiteX152" fmla="*/ 148476 w 247047"/>
                  <a:gd name="connsiteY152" fmla="*/ 6172 h 247664"/>
                  <a:gd name="connsiteX153" fmla="*/ 148123 w 247047"/>
                  <a:gd name="connsiteY153" fmla="*/ 6172 h 247664"/>
                  <a:gd name="connsiteX154" fmla="*/ 147858 w 247047"/>
                  <a:gd name="connsiteY154" fmla="*/ 5555 h 247664"/>
                  <a:gd name="connsiteX155" fmla="*/ 147594 w 247047"/>
                  <a:gd name="connsiteY155" fmla="*/ 5555 h 247664"/>
                  <a:gd name="connsiteX156" fmla="*/ 147594 w 247047"/>
                  <a:gd name="connsiteY156" fmla="*/ 5290 h 247664"/>
                  <a:gd name="connsiteX157" fmla="*/ 148123 w 247047"/>
                  <a:gd name="connsiteY157" fmla="*/ 5290 h 247664"/>
                  <a:gd name="connsiteX158" fmla="*/ 148740 w 247047"/>
                  <a:gd name="connsiteY158" fmla="*/ 5819 h 247664"/>
                  <a:gd name="connsiteX159" fmla="*/ 148740 w 247047"/>
                  <a:gd name="connsiteY159" fmla="*/ 5290 h 247664"/>
                  <a:gd name="connsiteX160" fmla="*/ 148123 w 247047"/>
                  <a:gd name="connsiteY160" fmla="*/ 4144 h 247664"/>
                  <a:gd name="connsiteX161" fmla="*/ 147858 w 247047"/>
                  <a:gd name="connsiteY161" fmla="*/ 4144 h 247664"/>
                  <a:gd name="connsiteX162" fmla="*/ 148476 w 247047"/>
                  <a:gd name="connsiteY162" fmla="*/ 3527 h 247664"/>
                  <a:gd name="connsiteX163" fmla="*/ 149357 w 247047"/>
                  <a:gd name="connsiteY163" fmla="*/ 4144 h 247664"/>
                  <a:gd name="connsiteX164" fmla="*/ 150239 w 247047"/>
                  <a:gd name="connsiteY164" fmla="*/ 5290 h 247664"/>
                  <a:gd name="connsiteX165" fmla="*/ 150503 w 247047"/>
                  <a:gd name="connsiteY165" fmla="*/ 5555 h 247664"/>
                  <a:gd name="connsiteX166" fmla="*/ 151650 w 247047"/>
                  <a:gd name="connsiteY166" fmla="*/ 7053 h 247664"/>
                  <a:gd name="connsiteX167" fmla="*/ 151650 w 247047"/>
                  <a:gd name="connsiteY167" fmla="*/ 7318 h 247664"/>
                  <a:gd name="connsiteX168" fmla="*/ 151914 w 247047"/>
                  <a:gd name="connsiteY168" fmla="*/ 7318 h 247664"/>
                  <a:gd name="connsiteX169" fmla="*/ 152267 w 247047"/>
                  <a:gd name="connsiteY169" fmla="*/ 7318 h 247664"/>
                  <a:gd name="connsiteX170" fmla="*/ 155176 w 247047"/>
                  <a:gd name="connsiteY170" fmla="*/ 9081 h 247664"/>
                  <a:gd name="connsiteX171" fmla="*/ 155441 w 247047"/>
                  <a:gd name="connsiteY171" fmla="*/ 9346 h 247664"/>
                  <a:gd name="connsiteX172" fmla="*/ 155705 w 247047"/>
                  <a:gd name="connsiteY172" fmla="*/ 9610 h 247664"/>
                  <a:gd name="connsiteX173" fmla="*/ 156323 w 247047"/>
                  <a:gd name="connsiteY173" fmla="*/ 9346 h 247664"/>
                  <a:gd name="connsiteX174" fmla="*/ 155705 w 247047"/>
                  <a:gd name="connsiteY174" fmla="*/ 9346 h 247664"/>
                  <a:gd name="connsiteX175" fmla="*/ 155441 w 247047"/>
                  <a:gd name="connsiteY175" fmla="*/ 9081 h 247664"/>
                  <a:gd name="connsiteX176" fmla="*/ 151914 w 247047"/>
                  <a:gd name="connsiteY176" fmla="*/ 7053 h 247664"/>
                  <a:gd name="connsiteX177" fmla="*/ 150503 w 247047"/>
                  <a:gd name="connsiteY177" fmla="*/ 5290 h 247664"/>
                  <a:gd name="connsiteX178" fmla="*/ 149886 w 247047"/>
                  <a:gd name="connsiteY178" fmla="*/ 4144 h 247664"/>
                  <a:gd name="connsiteX179" fmla="*/ 148740 w 247047"/>
                  <a:gd name="connsiteY179" fmla="*/ 3262 h 247664"/>
                  <a:gd name="connsiteX180" fmla="*/ 147858 w 247047"/>
                  <a:gd name="connsiteY180" fmla="*/ 3527 h 247664"/>
                  <a:gd name="connsiteX181" fmla="*/ 147329 w 247047"/>
                  <a:gd name="connsiteY181" fmla="*/ 3791 h 247664"/>
                  <a:gd name="connsiteX182" fmla="*/ 146712 w 247047"/>
                  <a:gd name="connsiteY182" fmla="*/ 3527 h 247664"/>
                  <a:gd name="connsiteX183" fmla="*/ 145566 w 247047"/>
                  <a:gd name="connsiteY183" fmla="*/ 2380 h 247664"/>
                  <a:gd name="connsiteX184" fmla="*/ 144949 w 247047"/>
                  <a:gd name="connsiteY184" fmla="*/ 2028 h 247664"/>
                  <a:gd name="connsiteX185" fmla="*/ 144067 w 247047"/>
                  <a:gd name="connsiteY185" fmla="*/ 1763 h 247664"/>
                  <a:gd name="connsiteX186" fmla="*/ 143538 w 247047"/>
                  <a:gd name="connsiteY186" fmla="*/ 2645 h 247664"/>
                  <a:gd name="connsiteX187" fmla="*/ 143185 w 247047"/>
                  <a:gd name="connsiteY187" fmla="*/ 3791 h 247664"/>
                  <a:gd name="connsiteX188" fmla="*/ 140893 w 247047"/>
                  <a:gd name="connsiteY188" fmla="*/ 3527 h 247664"/>
                  <a:gd name="connsiteX189" fmla="*/ 139130 w 247047"/>
                  <a:gd name="connsiteY189" fmla="*/ 3262 h 247664"/>
                  <a:gd name="connsiteX190" fmla="*/ 137631 w 247047"/>
                  <a:gd name="connsiteY190" fmla="*/ 3527 h 247664"/>
                  <a:gd name="connsiteX191" fmla="*/ 133840 w 247047"/>
                  <a:gd name="connsiteY191" fmla="*/ 2028 h 247664"/>
                  <a:gd name="connsiteX192" fmla="*/ 132164 w 247047"/>
                  <a:gd name="connsiteY192" fmla="*/ 1499 h 247664"/>
                  <a:gd name="connsiteX193" fmla="*/ 130313 w 247047"/>
                  <a:gd name="connsiteY193" fmla="*/ 1499 h 247664"/>
                  <a:gd name="connsiteX194" fmla="*/ 129784 w 247047"/>
                  <a:gd name="connsiteY194" fmla="*/ 2028 h 247664"/>
                  <a:gd name="connsiteX195" fmla="*/ 131547 w 247047"/>
                  <a:gd name="connsiteY195" fmla="*/ 2380 h 247664"/>
                  <a:gd name="connsiteX196" fmla="*/ 132429 w 247047"/>
                  <a:gd name="connsiteY196" fmla="*/ 2909 h 247664"/>
                  <a:gd name="connsiteX197" fmla="*/ 133046 w 247047"/>
                  <a:gd name="connsiteY197" fmla="*/ 4144 h 247664"/>
                  <a:gd name="connsiteX198" fmla="*/ 132694 w 247047"/>
                  <a:gd name="connsiteY198" fmla="*/ 4144 h 247664"/>
                  <a:gd name="connsiteX199" fmla="*/ 133046 w 247047"/>
                  <a:gd name="connsiteY199" fmla="*/ 4144 h 247664"/>
                  <a:gd name="connsiteX200" fmla="*/ 132164 w 247047"/>
                  <a:gd name="connsiteY200" fmla="*/ 4408 h 247664"/>
                  <a:gd name="connsiteX201" fmla="*/ 131812 w 247047"/>
                  <a:gd name="connsiteY201" fmla="*/ 4144 h 247664"/>
                  <a:gd name="connsiteX202" fmla="*/ 130666 w 247047"/>
                  <a:gd name="connsiteY202" fmla="*/ 4144 h 247664"/>
                  <a:gd name="connsiteX203" fmla="*/ 129519 w 247047"/>
                  <a:gd name="connsiteY203" fmla="*/ 5555 h 247664"/>
                  <a:gd name="connsiteX204" fmla="*/ 129167 w 247047"/>
                  <a:gd name="connsiteY204" fmla="*/ 5290 h 247664"/>
                  <a:gd name="connsiteX205" fmla="*/ 128902 w 247047"/>
                  <a:gd name="connsiteY205" fmla="*/ 5555 h 247664"/>
                  <a:gd name="connsiteX206" fmla="*/ 128020 w 247047"/>
                  <a:gd name="connsiteY206" fmla="*/ 6172 h 247664"/>
                  <a:gd name="connsiteX207" fmla="*/ 127403 w 247047"/>
                  <a:gd name="connsiteY207" fmla="*/ 5555 h 247664"/>
                  <a:gd name="connsiteX208" fmla="*/ 126257 w 247047"/>
                  <a:gd name="connsiteY208" fmla="*/ 5555 h 247664"/>
                  <a:gd name="connsiteX209" fmla="*/ 125993 w 247047"/>
                  <a:gd name="connsiteY209" fmla="*/ 5290 h 247664"/>
                  <a:gd name="connsiteX210" fmla="*/ 125728 w 247047"/>
                  <a:gd name="connsiteY210" fmla="*/ 5555 h 247664"/>
                  <a:gd name="connsiteX211" fmla="*/ 124846 w 247047"/>
                  <a:gd name="connsiteY211" fmla="*/ 6172 h 247664"/>
                  <a:gd name="connsiteX212" fmla="*/ 123700 w 247047"/>
                  <a:gd name="connsiteY212" fmla="*/ 6172 h 247664"/>
                  <a:gd name="connsiteX213" fmla="*/ 123083 w 247047"/>
                  <a:gd name="connsiteY213" fmla="*/ 6436 h 247664"/>
                  <a:gd name="connsiteX214" fmla="*/ 121937 w 247047"/>
                  <a:gd name="connsiteY214" fmla="*/ 6436 h 247664"/>
                  <a:gd name="connsiteX215" fmla="*/ 121055 w 247047"/>
                  <a:gd name="connsiteY215" fmla="*/ 6436 h 247664"/>
                  <a:gd name="connsiteX216" fmla="*/ 121055 w 247047"/>
                  <a:gd name="connsiteY216" fmla="*/ 6172 h 247664"/>
                  <a:gd name="connsiteX217" fmla="*/ 122202 w 247047"/>
                  <a:gd name="connsiteY217" fmla="*/ 6172 h 247664"/>
                  <a:gd name="connsiteX218" fmla="*/ 122818 w 247047"/>
                  <a:gd name="connsiteY218" fmla="*/ 5555 h 247664"/>
                  <a:gd name="connsiteX219" fmla="*/ 122202 w 247047"/>
                  <a:gd name="connsiteY219" fmla="*/ 5026 h 247664"/>
                  <a:gd name="connsiteX220" fmla="*/ 122818 w 247047"/>
                  <a:gd name="connsiteY220" fmla="*/ 4408 h 247664"/>
                  <a:gd name="connsiteX221" fmla="*/ 123347 w 247047"/>
                  <a:gd name="connsiteY221" fmla="*/ 3791 h 247664"/>
                  <a:gd name="connsiteX222" fmla="*/ 124846 w 247047"/>
                  <a:gd name="connsiteY222" fmla="*/ 3791 h 247664"/>
                  <a:gd name="connsiteX223" fmla="*/ 125993 w 247047"/>
                  <a:gd name="connsiteY223" fmla="*/ 4144 h 247664"/>
                  <a:gd name="connsiteX224" fmla="*/ 126874 w 247047"/>
                  <a:gd name="connsiteY224" fmla="*/ 3791 h 247664"/>
                  <a:gd name="connsiteX225" fmla="*/ 127227 w 247047"/>
                  <a:gd name="connsiteY225" fmla="*/ 3791 h 247664"/>
                  <a:gd name="connsiteX226" fmla="*/ 127403 w 247047"/>
                  <a:gd name="connsiteY226" fmla="*/ 3791 h 247664"/>
                  <a:gd name="connsiteX227" fmla="*/ 127403 w 247047"/>
                  <a:gd name="connsiteY227" fmla="*/ 3527 h 247664"/>
                  <a:gd name="connsiteX228" fmla="*/ 127227 w 247047"/>
                  <a:gd name="connsiteY228" fmla="*/ 3527 h 247664"/>
                  <a:gd name="connsiteX229" fmla="*/ 127403 w 247047"/>
                  <a:gd name="connsiteY229" fmla="*/ 2645 h 247664"/>
                  <a:gd name="connsiteX230" fmla="*/ 128020 w 247047"/>
                  <a:gd name="connsiteY230" fmla="*/ 2645 h 247664"/>
                  <a:gd name="connsiteX231" fmla="*/ 128902 w 247047"/>
                  <a:gd name="connsiteY231" fmla="*/ 2028 h 247664"/>
                  <a:gd name="connsiteX232" fmla="*/ 127756 w 247047"/>
                  <a:gd name="connsiteY232" fmla="*/ 882 h 247664"/>
                  <a:gd name="connsiteX233" fmla="*/ 126257 w 247047"/>
                  <a:gd name="connsiteY233" fmla="*/ 617 h 247664"/>
                  <a:gd name="connsiteX234" fmla="*/ 125111 w 247047"/>
                  <a:gd name="connsiteY234" fmla="*/ 1234 h 247664"/>
                  <a:gd name="connsiteX235" fmla="*/ 123700 w 247047"/>
                  <a:gd name="connsiteY235" fmla="*/ 1499 h 247664"/>
                  <a:gd name="connsiteX236" fmla="*/ 122202 w 247047"/>
                  <a:gd name="connsiteY236" fmla="*/ 2645 h 247664"/>
                  <a:gd name="connsiteX237" fmla="*/ 121320 w 247047"/>
                  <a:gd name="connsiteY237" fmla="*/ 2380 h 247664"/>
                  <a:gd name="connsiteX238" fmla="*/ 120438 w 247047"/>
                  <a:gd name="connsiteY238" fmla="*/ 4144 h 247664"/>
                  <a:gd name="connsiteX239" fmla="*/ 119821 w 247047"/>
                  <a:gd name="connsiteY239" fmla="*/ 5290 h 247664"/>
                  <a:gd name="connsiteX240" fmla="*/ 119027 w 247047"/>
                  <a:gd name="connsiteY240" fmla="*/ 5290 h 247664"/>
                  <a:gd name="connsiteX241" fmla="*/ 118146 w 247047"/>
                  <a:gd name="connsiteY241" fmla="*/ 5290 h 247664"/>
                  <a:gd name="connsiteX242" fmla="*/ 117529 w 247047"/>
                  <a:gd name="connsiteY242" fmla="*/ 5026 h 247664"/>
                  <a:gd name="connsiteX243" fmla="*/ 117264 w 247047"/>
                  <a:gd name="connsiteY243" fmla="*/ 5026 h 247664"/>
                  <a:gd name="connsiteX244" fmla="*/ 117529 w 247047"/>
                  <a:gd name="connsiteY244" fmla="*/ 5555 h 247664"/>
                  <a:gd name="connsiteX245" fmla="*/ 117793 w 247047"/>
                  <a:gd name="connsiteY245" fmla="*/ 3791 h 247664"/>
                  <a:gd name="connsiteX246" fmla="*/ 116647 w 247047"/>
                  <a:gd name="connsiteY246" fmla="*/ 3527 h 247664"/>
                  <a:gd name="connsiteX247" fmla="*/ 115765 w 247047"/>
                  <a:gd name="connsiteY247" fmla="*/ 4144 h 247664"/>
                  <a:gd name="connsiteX248" fmla="*/ 114972 w 247047"/>
                  <a:gd name="connsiteY248" fmla="*/ 2909 h 247664"/>
                  <a:gd name="connsiteX249" fmla="*/ 114002 w 247047"/>
                  <a:gd name="connsiteY249" fmla="*/ 3262 h 247664"/>
                  <a:gd name="connsiteX250" fmla="*/ 114354 w 247047"/>
                  <a:gd name="connsiteY250" fmla="*/ 4408 h 247664"/>
                  <a:gd name="connsiteX251" fmla="*/ 113473 w 247047"/>
                  <a:gd name="connsiteY251" fmla="*/ 5290 h 247664"/>
                  <a:gd name="connsiteX252" fmla="*/ 114354 w 247047"/>
                  <a:gd name="connsiteY252" fmla="*/ 6436 h 247664"/>
                  <a:gd name="connsiteX253" fmla="*/ 115501 w 247047"/>
                  <a:gd name="connsiteY253" fmla="*/ 8817 h 247664"/>
                  <a:gd name="connsiteX254" fmla="*/ 114354 w 247047"/>
                  <a:gd name="connsiteY254" fmla="*/ 9346 h 247664"/>
                  <a:gd name="connsiteX255" fmla="*/ 114002 w 247047"/>
                  <a:gd name="connsiteY255" fmla="*/ 9610 h 247664"/>
                  <a:gd name="connsiteX256" fmla="*/ 114619 w 247047"/>
                  <a:gd name="connsiteY256" fmla="*/ 9963 h 247664"/>
                  <a:gd name="connsiteX257" fmla="*/ 114972 w 247047"/>
                  <a:gd name="connsiteY257" fmla="*/ 9610 h 247664"/>
                  <a:gd name="connsiteX258" fmla="*/ 115501 w 247047"/>
                  <a:gd name="connsiteY258" fmla="*/ 9346 h 247664"/>
                  <a:gd name="connsiteX259" fmla="*/ 116118 w 247047"/>
                  <a:gd name="connsiteY259" fmla="*/ 9963 h 247664"/>
                  <a:gd name="connsiteX260" fmla="*/ 116118 w 247047"/>
                  <a:gd name="connsiteY260" fmla="*/ 10492 h 247664"/>
                  <a:gd name="connsiteX261" fmla="*/ 115765 w 247047"/>
                  <a:gd name="connsiteY261" fmla="*/ 10845 h 247664"/>
                  <a:gd name="connsiteX262" fmla="*/ 114972 w 247047"/>
                  <a:gd name="connsiteY262" fmla="*/ 10492 h 247664"/>
                  <a:gd name="connsiteX263" fmla="*/ 114354 w 247047"/>
                  <a:gd name="connsiteY263" fmla="*/ 11109 h 247664"/>
                  <a:gd name="connsiteX264" fmla="*/ 113737 w 247047"/>
                  <a:gd name="connsiteY264" fmla="*/ 11109 h 247664"/>
                  <a:gd name="connsiteX265" fmla="*/ 113208 w 247047"/>
                  <a:gd name="connsiteY265" fmla="*/ 11109 h 247664"/>
                  <a:gd name="connsiteX266" fmla="*/ 112591 w 247047"/>
                  <a:gd name="connsiteY266" fmla="*/ 11109 h 247664"/>
                  <a:gd name="connsiteX267" fmla="*/ 112591 w 247047"/>
                  <a:gd name="connsiteY267" fmla="*/ 10845 h 247664"/>
                  <a:gd name="connsiteX268" fmla="*/ 112856 w 247047"/>
                  <a:gd name="connsiteY268" fmla="*/ 9963 h 247664"/>
                  <a:gd name="connsiteX269" fmla="*/ 111445 w 247047"/>
                  <a:gd name="connsiteY269" fmla="*/ 9610 h 247664"/>
                  <a:gd name="connsiteX270" fmla="*/ 112856 w 247047"/>
                  <a:gd name="connsiteY270" fmla="*/ 7935 h 247664"/>
                  <a:gd name="connsiteX271" fmla="*/ 111092 w 247047"/>
                  <a:gd name="connsiteY271" fmla="*/ 5819 h 247664"/>
                  <a:gd name="connsiteX272" fmla="*/ 110563 w 247047"/>
                  <a:gd name="connsiteY272" fmla="*/ 6436 h 247664"/>
                  <a:gd name="connsiteX273" fmla="*/ 109946 w 247047"/>
                  <a:gd name="connsiteY273" fmla="*/ 6436 h 247664"/>
                  <a:gd name="connsiteX274" fmla="*/ 108447 w 247047"/>
                  <a:gd name="connsiteY274" fmla="*/ 7053 h 247664"/>
                  <a:gd name="connsiteX275" fmla="*/ 107654 w 247047"/>
                  <a:gd name="connsiteY275" fmla="*/ 8817 h 247664"/>
                  <a:gd name="connsiteX276" fmla="*/ 107301 w 247047"/>
                  <a:gd name="connsiteY276" fmla="*/ 9610 h 247664"/>
                  <a:gd name="connsiteX277" fmla="*/ 107654 w 247047"/>
                  <a:gd name="connsiteY277" fmla="*/ 11374 h 247664"/>
                  <a:gd name="connsiteX278" fmla="*/ 107301 w 247047"/>
                  <a:gd name="connsiteY278" fmla="*/ 11109 h 247664"/>
                  <a:gd name="connsiteX279" fmla="*/ 107037 w 247047"/>
                  <a:gd name="connsiteY279" fmla="*/ 11374 h 247664"/>
                  <a:gd name="connsiteX280" fmla="*/ 107037 w 247047"/>
                  <a:gd name="connsiteY280" fmla="*/ 11726 h 247664"/>
                  <a:gd name="connsiteX281" fmla="*/ 107301 w 247047"/>
                  <a:gd name="connsiteY281" fmla="*/ 12255 h 247664"/>
                  <a:gd name="connsiteX282" fmla="*/ 107301 w 247047"/>
                  <a:gd name="connsiteY282" fmla="*/ 12873 h 247664"/>
                  <a:gd name="connsiteX283" fmla="*/ 106155 w 247047"/>
                  <a:gd name="connsiteY283" fmla="*/ 13401 h 247664"/>
                  <a:gd name="connsiteX284" fmla="*/ 105273 w 247047"/>
                  <a:gd name="connsiteY284" fmla="*/ 13401 h 247664"/>
                  <a:gd name="connsiteX285" fmla="*/ 104391 w 247047"/>
                  <a:gd name="connsiteY285" fmla="*/ 9963 h 247664"/>
                  <a:gd name="connsiteX286" fmla="*/ 102981 w 247047"/>
                  <a:gd name="connsiteY286" fmla="*/ 10845 h 247664"/>
                  <a:gd name="connsiteX287" fmla="*/ 101217 w 247047"/>
                  <a:gd name="connsiteY287" fmla="*/ 11109 h 247664"/>
                  <a:gd name="connsiteX288" fmla="*/ 101482 w 247047"/>
                  <a:gd name="connsiteY288" fmla="*/ 13137 h 247664"/>
                  <a:gd name="connsiteX289" fmla="*/ 100600 w 247047"/>
                  <a:gd name="connsiteY289" fmla="*/ 12255 h 247664"/>
                  <a:gd name="connsiteX290" fmla="*/ 99454 w 247047"/>
                  <a:gd name="connsiteY290" fmla="*/ 13754 h 247664"/>
                  <a:gd name="connsiteX291" fmla="*/ 97691 w 247047"/>
                  <a:gd name="connsiteY291" fmla="*/ 13137 h 247664"/>
                  <a:gd name="connsiteX292" fmla="*/ 97073 w 247047"/>
                  <a:gd name="connsiteY292" fmla="*/ 14636 h 247664"/>
                  <a:gd name="connsiteX293" fmla="*/ 95398 w 247047"/>
                  <a:gd name="connsiteY293" fmla="*/ 15782 h 247664"/>
                  <a:gd name="connsiteX294" fmla="*/ 92489 w 247047"/>
                  <a:gd name="connsiteY294" fmla="*/ 18074 h 247664"/>
                  <a:gd name="connsiteX295" fmla="*/ 91607 w 247047"/>
                  <a:gd name="connsiteY295" fmla="*/ 21072 h 247664"/>
                  <a:gd name="connsiteX296" fmla="*/ 88962 w 247047"/>
                  <a:gd name="connsiteY296" fmla="*/ 20719 h 247664"/>
                  <a:gd name="connsiteX297" fmla="*/ 85700 w 247047"/>
                  <a:gd name="connsiteY297" fmla="*/ 18692 h 247664"/>
                  <a:gd name="connsiteX298" fmla="*/ 85435 w 247047"/>
                  <a:gd name="connsiteY298" fmla="*/ 17545 h 247664"/>
                  <a:gd name="connsiteX299" fmla="*/ 83143 w 247047"/>
                  <a:gd name="connsiteY299" fmla="*/ 16664 h 247664"/>
                  <a:gd name="connsiteX300" fmla="*/ 80498 w 247047"/>
                  <a:gd name="connsiteY300" fmla="*/ 16047 h 247664"/>
                  <a:gd name="connsiteX301" fmla="*/ 78999 w 247047"/>
                  <a:gd name="connsiteY301" fmla="*/ 15518 h 247664"/>
                  <a:gd name="connsiteX302" fmla="*/ 77588 w 247047"/>
                  <a:gd name="connsiteY302" fmla="*/ 15518 h 247664"/>
                  <a:gd name="connsiteX303" fmla="*/ 76971 w 247047"/>
                  <a:gd name="connsiteY303" fmla="*/ 14636 h 247664"/>
                  <a:gd name="connsiteX304" fmla="*/ 76089 w 247047"/>
                  <a:gd name="connsiteY304" fmla="*/ 14900 h 247664"/>
                  <a:gd name="connsiteX305" fmla="*/ 75560 w 247047"/>
                  <a:gd name="connsiteY305" fmla="*/ 15518 h 247664"/>
                  <a:gd name="connsiteX306" fmla="*/ 74326 w 247047"/>
                  <a:gd name="connsiteY306" fmla="*/ 15518 h 247664"/>
                  <a:gd name="connsiteX307" fmla="*/ 72034 w 247047"/>
                  <a:gd name="connsiteY307" fmla="*/ 15165 h 247664"/>
                  <a:gd name="connsiteX308" fmla="*/ 70887 w 247047"/>
                  <a:gd name="connsiteY308" fmla="*/ 14636 h 247664"/>
                  <a:gd name="connsiteX309" fmla="*/ 67096 w 247047"/>
                  <a:gd name="connsiteY309" fmla="*/ 14283 h 247664"/>
                  <a:gd name="connsiteX310" fmla="*/ 66215 w 247047"/>
                  <a:gd name="connsiteY310" fmla="*/ 14636 h 247664"/>
                  <a:gd name="connsiteX311" fmla="*/ 65597 w 247047"/>
                  <a:gd name="connsiteY311" fmla="*/ 13754 h 247664"/>
                  <a:gd name="connsiteX312" fmla="*/ 65068 w 247047"/>
                  <a:gd name="connsiteY312" fmla="*/ 11374 h 247664"/>
                  <a:gd name="connsiteX313" fmla="*/ 64716 w 247047"/>
                  <a:gd name="connsiteY313" fmla="*/ 10845 h 247664"/>
                  <a:gd name="connsiteX314" fmla="*/ 64451 w 247047"/>
                  <a:gd name="connsiteY314" fmla="*/ 10492 h 247664"/>
                  <a:gd name="connsiteX315" fmla="*/ 64187 w 247047"/>
                  <a:gd name="connsiteY315" fmla="*/ 10492 h 247664"/>
                  <a:gd name="connsiteX316" fmla="*/ 64187 w 247047"/>
                  <a:gd name="connsiteY316" fmla="*/ 10845 h 247664"/>
                  <a:gd name="connsiteX317" fmla="*/ 63834 w 247047"/>
                  <a:gd name="connsiteY317" fmla="*/ 11374 h 247664"/>
                  <a:gd name="connsiteX318" fmla="*/ 63569 w 247047"/>
                  <a:gd name="connsiteY318" fmla="*/ 11109 h 247664"/>
                  <a:gd name="connsiteX319" fmla="*/ 63305 w 247047"/>
                  <a:gd name="connsiteY319" fmla="*/ 11109 h 247664"/>
                  <a:gd name="connsiteX320" fmla="*/ 62688 w 247047"/>
                  <a:gd name="connsiteY320" fmla="*/ 11374 h 247664"/>
                  <a:gd name="connsiteX321" fmla="*/ 61277 w 247047"/>
                  <a:gd name="connsiteY321" fmla="*/ 12255 h 247664"/>
                  <a:gd name="connsiteX322" fmla="*/ 60043 w 247047"/>
                  <a:gd name="connsiteY322" fmla="*/ 12608 h 247664"/>
                  <a:gd name="connsiteX323" fmla="*/ 60043 w 247047"/>
                  <a:gd name="connsiteY323" fmla="*/ 12255 h 247664"/>
                  <a:gd name="connsiteX324" fmla="*/ 59514 w 247047"/>
                  <a:gd name="connsiteY324" fmla="*/ 11726 h 247664"/>
                  <a:gd name="connsiteX325" fmla="*/ 58896 w 247047"/>
                  <a:gd name="connsiteY325" fmla="*/ 11726 h 247664"/>
                  <a:gd name="connsiteX326" fmla="*/ 58632 w 247047"/>
                  <a:gd name="connsiteY326" fmla="*/ 11374 h 247664"/>
                  <a:gd name="connsiteX327" fmla="*/ 58015 w 247047"/>
                  <a:gd name="connsiteY327" fmla="*/ 11109 h 247664"/>
                  <a:gd name="connsiteX328" fmla="*/ 56604 w 247047"/>
                  <a:gd name="connsiteY328" fmla="*/ 11109 h 247664"/>
                  <a:gd name="connsiteX329" fmla="*/ 55370 w 247047"/>
                  <a:gd name="connsiteY329" fmla="*/ 10845 h 247664"/>
                  <a:gd name="connsiteX330" fmla="*/ 54488 w 247047"/>
                  <a:gd name="connsiteY330" fmla="*/ 9963 h 247664"/>
                  <a:gd name="connsiteX331" fmla="*/ 53695 w 247047"/>
                  <a:gd name="connsiteY331" fmla="*/ 8200 h 247664"/>
                  <a:gd name="connsiteX332" fmla="*/ 53959 w 247047"/>
                  <a:gd name="connsiteY332" fmla="*/ 7935 h 247664"/>
                  <a:gd name="connsiteX333" fmla="*/ 53695 w 247047"/>
                  <a:gd name="connsiteY333" fmla="*/ 7318 h 247664"/>
                  <a:gd name="connsiteX334" fmla="*/ 53077 w 247047"/>
                  <a:gd name="connsiteY334" fmla="*/ 7318 h 247664"/>
                  <a:gd name="connsiteX335" fmla="*/ 51050 w 247047"/>
                  <a:gd name="connsiteY335" fmla="*/ 7318 h 247664"/>
                  <a:gd name="connsiteX336" fmla="*/ 47787 w 247047"/>
                  <a:gd name="connsiteY336" fmla="*/ 6436 h 247664"/>
                  <a:gd name="connsiteX337" fmla="*/ 47523 w 247047"/>
                  <a:gd name="connsiteY337" fmla="*/ 6172 h 247664"/>
                  <a:gd name="connsiteX338" fmla="*/ 46906 w 247047"/>
                  <a:gd name="connsiteY338" fmla="*/ 6172 h 247664"/>
                  <a:gd name="connsiteX339" fmla="*/ 46112 w 247047"/>
                  <a:gd name="connsiteY339" fmla="*/ 6172 h 247664"/>
                  <a:gd name="connsiteX340" fmla="*/ 45495 w 247047"/>
                  <a:gd name="connsiteY340" fmla="*/ 5290 h 247664"/>
                  <a:gd name="connsiteX341" fmla="*/ 44613 w 247047"/>
                  <a:gd name="connsiteY341" fmla="*/ 5290 h 247664"/>
                  <a:gd name="connsiteX342" fmla="*/ 43731 w 247047"/>
                  <a:gd name="connsiteY342" fmla="*/ 5555 h 247664"/>
                  <a:gd name="connsiteX343" fmla="*/ 41968 w 247047"/>
                  <a:gd name="connsiteY343" fmla="*/ 5290 h 247664"/>
                  <a:gd name="connsiteX344" fmla="*/ 40558 w 247047"/>
                  <a:gd name="connsiteY344" fmla="*/ 4408 h 247664"/>
                  <a:gd name="connsiteX345" fmla="*/ 38794 w 247047"/>
                  <a:gd name="connsiteY345" fmla="*/ 3527 h 247664"/>
                  <a:gd name="connsiteX346" fmla="*/ 36766 w 247047"/>
                  <a:gd name="connsiteY346" fmla="*/ 2645 h 247664"/>
                  <a:gd name="connsiteX347" fmla="*/ 35003 w 247047"/>
                  <a:gd name="connsiteY347" fmla="*/ 2909 h 247664"/>
                  <a:gd name="connsiteX348" fmla="*/ 32975 w 247047"/>
                  <a:gd name="connsiteY348" fmla="*/ 2645 h 247664"/>
                  <a:gd name="connsiteX349" fmla="*/ 31741 w 247047"/>
                  <a:gd name="connsiteY349" fmla="*/ 1763 h 247664"/>
                  <a:gd name="connsiteX350" fmla="*/ 30065 w 247047"/>
                  <a:gd name="connsiteY350" fmla="*/ 882 h 247664"/>
                  <a:gd name="connsiteX351" fmla="*/ 28302 w 247047"/>
                  <a:gd name="connsiteY351" fmla="*/ 617 h 247664"/>
                  <a:gd name="connsiteX352" fmla="*/ 26539 w 247047"/>
                  <a:gd name="connsiteY352" fmla="*/ 1499 h 247664"/>
                  <a:gd name="connsiteX353" fmla="*/ 25393 w 247047"/>
                  <a:gd name="connsiteY353" fmla="*/ 617 h 247664"/>
                  <a:gd name="connsiteX354" fmla="*/ 23277 w 247047"/>
                  <a:gd name="connsiteY354" fmla="*/ 882 h 247664"/>
                  <a:gd name="connsiteX355" fmla="*/ 20984 w 247047"/>
                  <a:gd name="connsiteY355" fmla="*/ 882 h 247664"/>
                  <a:gd name="connsiteX356" fmla="*/ 18956 w 247047"/>
                  <a:gd name="connsiteY356" fmla="*/ 1234 h 247664"/>
                  <a:gd name="connsiteX357" fmla="*/ 16311 w 247047"/>
                  <a:gd name="connsiteY357" fmla="*/ 2028 h 247664"/>
                  <a:gd name="connsiteX358" fmla="*/ 12256 w 247047"/>
                  <a:gd name="connsiteY358" fmla="*/ 4144 h 247664"/>
                  <a:gd name="connsiteX359" fmla="*/ 10757 w 247047"/>
                  <a:gd name="connsiteY359" fmla="*/ 4144 h 247664"/>
                  <a:gd name="connsiteX360" fmla="*/ 8993 w 247047"/>
                  <a:gd name="connsiteY360" fmla="*/ 3791 h 247664"/>
                  <a:gd name="connsiteX361" fmla="*/ 8200 w 247047"/>
                  <a:gd name="connsiteY361" fmla="*/ 3791 h 247664"/>
                  <a:gd name="connsiteX362" fmla="*/ 7318 w 247047"/>
                  <a:gd name="connsiteY362" fmla="*/ 3527 h 247664"/>
                  <a:gd name="connsiteX363" fmla="*/ 6965 w 247047"/>
                  <a:gd name="connsiteY363" fmla="*/ 2645 h 247664"/>
                  <a:gd name="connsiteX364" fmla="*/ 6436 w 247047"/>
                  <a:gd name="connsiteY364" fmla="*/ 1763 h 247664"/>
                  <a:gd name="connsiteX365" fmla="*/ 6701 w 247047"/>
                  <a:gd name="connsiteY365" fmla="*/ 0 h 247664"/>
                  <a:gd name="connsiteX366" fmla="*/ 5202 w 247047"/>
                  <a:gd name="connsiteY366" fmla="*/ 1763 h 247664"/>
                  <a:gd name="connsiteX367" fmla="*/ 4320 w 247047"/>
                  <a:gd name="connsiteY367" fmla="*/ 3791 h 247664"/>
                  <a:gd name="connsiteX368" fmla="*/ 2028 w 247047"/>
                  <a:gd name="connsiteY368" fmla="*/ 6172 h 247664"/>
                  <a:gd name="connsiteX369" fmla="*/ 1763 w 247047"/>
                  <a:gd name="connsiteY369" fmla="*/ 10492 h 247664"/>
                  <a:gd name="connsiteX370" fmla="*/ 1763 w 247047"/>
                  <a:gd name="connsiteY370" fmla="*/ 12873 h 247664"/>
                  <a:gd name="connsiteX371" fmla="*/ 2645 w 247047"/>
                  <a:gd name="connsiteY371" fmla="*/ 15782 h 247664"/>
                  <a:gd name="connsiteX372" fmla="*/ 5555 w 247047"/>
                  <a:gd name="connsiteY372" fmla="*/ 22218 h 247664"/>
                  <a:gd name="connsiteX373" fmla="*/ 4320 w 247047"/>
                  <a:gd name="connsiteY373" fmla="*/ 28566 h 247664"/>
                  <a:gd name="connsiteX374" fmla="*/ 3174 w 247047"/>
                  <a:gd name="connsiteY374" fmla="*/ 30065 h 247664"/>
                  <a:gd name="connsiteX375" fmla="*/ 882 w 247047"/>
                  <a:gd name="connsiteY375" fmla="*/ 32975 h 247664"/>
                  <a:gd name="connsiteX376" fmla="*/ 0 w 247047"/>
                  <a:gd name="connsiteY376" fmla="*/ 35620 h 247664"/>
                  <a:gd name="connsiteX377" fmla="*/ 0 w 247047"/>
                  <a:gd name="connsiteY377" fmla="*/ 37648 h 247664"/>
                  <a:gd name="connsiteX378" fmla="*/ 2292 w 247047"/>
                  <a:gd name="connsiteY378" fmla="*/ 43202 h 247664"/>
                  <a:gd name="connsiteX379" fmla="*/ 2910 w 247047"/>
                  <a:gd name="connsiteY379" fmla="*/ 46729 h 247664"/>
                  <a:gd name="connsiteX380" fmla="*/ 4320 w 247047"/>
                  <a:gd name="connsiteY380" fmla="*/ 49903 h 247664"/>
                  <a:gd name="connsiteX381" fmla="*/ 4673 w 247047"/>
                  <a:gd name="connsiteY381" fmla="*/ 53959 h 247664"/>
                  <a:gd name="connsiteX382" fmla="*/ 7583 w 247047"/>
                  <a:gd name="connsiteY382" fmla="*/ 60395 h 247664"/>
                  <a:gd name="connsiteX383" fmla="*/ 16576 w 247047"/>
                  <a:gd name="connsiteY383" fmla="*/ 240611 h 247664"/>
                  <a:gd name="connsiteX384" fmla="*/ 152267 w 247047"/>
                  <a:gd name="connsiteY384" fmla="*/ 240611 h 247664"/>
                  <a:gd name="connsiteX385" fmla="*/ 153677 w 247047"/>
                  <a:gd name="connsiteY385" fmla="*/ 236291 h 247664"/>
                  <a:gd name="connsiteX386" fmla="*/ 154912 w 247047"/>
                  <a:gd name="connsiteY386" fmla="*/ 235145 h 247664"/>
                  <a:gd name="connsiteX387" fmla="*/ 156587 w 247047"/>
                  <a:gd name="connsiteY387" fmla="*/ 235410 h 247664"/>
                  <a:gd name="connsiteX388" fmla="*/ 156940 w 247047"/>
                  <a:gd name="connsiteY388" fmla="*/ 236820 h 247664"/>
                  <a:gd name="connsiteX389" fmla="*/ 155705 w 247047"/>
                  <a:gd name="connsiteY389" fmla="*/ 240964 h 247664"/>
                  <a:gd name="connsiteX390" fmla="*/ 189562 w 247047"/>
                  <a:gd name="connsiteY390" fmla="*/ 240964 h 247664"/>
                  <a:gd name="connsiteX391" fmla="*/ 193089 w 247047"/>
                  <a:gd name="connsiteY391" fmla="*/ 240964 h 247664"/>
                  <a:gd name="connsiteX392" fmla="*/ 201818 w 247047"/>
                  <a:gd name="connsiteY392" fmla="*/ 247665 h 247664"/>
                  <a:gd name="connsiteX393" fmla="*/ 209664 w 247047"/>
                  <a:gd name="connsiteY393" fmla="*/ 247400 h 247664"/>
                  <a:gd name="connsiteX394" fmla="*/ 211780 w 247047"/>
                  <a:gd name="connsiteY394" fmla="*/ 246519 h 247664"/>
                  <a:gd name="connsiteX395" fmla="*/ 214073 w 247047"/>
                  <a:gd name="connsiteY395" fmla="*/ 235410 h 247664"/>
                  <a:gd name="connsiteX396" fmla="*/ 226064 w 247047"/>
                  <a:gd name="connsiteY396" fmla="*/ 233911 h 247664"/>
                  <a:gd name="connsiteX397" fmla="*/ 230120 w 247047"/>
                  <a:gd name="connsiteY397" fmla="*/ 219627 h 247664"/>
                  <a:gd name="connsiteX398" fmla="*/ 236291 w 247047"/>
                  <a:gd name="connsiteY398" fmla="*/ 222008 h 247664"/>
                  <a:gd name="connsiteX399" fmla="*/ 237702 w 247047"/>
                  <a:gd name="connsiteY399" fmla="*/ 219627 h 247664"/>
                  <a:gd name="connsiteX400" fmla="*/ 243521 w 247047"/>
                  <a:gd name="connsiteY400" fmla="*/ 212662 h 247664"/>
                  <a:gd name="connsiteX401" fmla="*/ 242110 w 247047"/>
                  <a:gd name="connsiteY401" fmla="*/ 210017 h 247664"/>
                  <a:gd name="connsiteX402" fmla="*/ 241758 w 247047"/>
                  <a:gd name="connsiteY402" fmla="*/ 206490 h 247664"/>
                  <a:gd name="connsiteX403" fmla="*/ 240876 w 247047"/>
                  <a:gd name="connsiteY403" fmla="*/ 205344 h 247664"/>
                  <a:gd name="connsiteX404" fmla="*/ 240612 w 247047"/>
                  <a:gd name="connsiteY404" fmla="*/ 204462 h 247664"/>
                  <a:gd name="connsiteX405" fmla="*/ 240347 w 247047"/>
                  <a:gd name="connsiteY405" fmla="*/ 203581 h 247664"/>
                  <a:gd name="connsiteX406" fmla="*/ 241229 w 247047"/>
                  <a:gd name="connsiteY406" fmla="*/ 203052 h 247664"/>
                  <a:gd name="connsiteX407" fmla="*/ 240876 w 247047"/>
                  <a:gd name="connsiteY407" fmla="*/ 201553 h 247664"/>
                  <a:gd name="connsiteX408" fmla="*/ 240876 w 247047"/>
                  <a:gd name="connsiteY408" fmla="*/ 200671 h 247664"/>
                  <a:gd name="connsiteX409" fmla="*/ 241229 w 247047"/>
                  <a:gd name="connsiteY409" fmla="*/ 198026 h 247664"/>
                  <a:gd name="connsiteX410" fmla="*/ 240876 w 247047"/>
                  <a:gd name="connsiteY410" fmla="*/ 197497 h 247664"/>
                  <a:gd name="connsiteX411" fmla="*/ 241229 w 247047"/>
                  <a:gd name="connsiteY411" fmla="*/ 196615 h 247664"/>
                  <a:gd name="connsiteX412" fmla="*/ 241229 w 247047"/>
                  <a:gd name="connsiteY412" fmla="*/ 196351 h 247664"/>
                  <a:gd name="connsiteX413" fmla="*/ 240347 w 247047"/>
                  <a:gd name="connsiteY413" fmla="*/ 196351 h 247664"/>
                  <a:gd name="connsiteX414" fmla="*/ 240612 w 247047"/>
                  <a:gd name="connsiteY414" fmla="*/ 195998 h 247664"/>
                  <a:gd name="connsiteX415" fmla="*/ 240347 w 247047"/>
                  <a:gd name="connsiteY415" fmla="*/ 195734 h 247664"/>
                  <a:gd name="connsiteX416" fmla="*/ 239994 w 247047"/>
                  <a:gd name="connsiteY416" fmla="*/ 194588 h 247664"/>
                  <a:gd name="connsiteX417" fmla="*/ 239730 w 247047"/>
                  <a:gd name="connsiteY417" fmla="*/ 193089 h 247664"/>
                  <a:gd name="connsiteX418" fmla="*/ 239994 w 247047"/>
                  <a:gd name="connsiteY418" fmla="*/ 192560 h 247664"/>
                  <a:gd name="connsiteX419" fmla="*/ 240876 w 247047"/>
                  <a:gd name="connsiteY419" fmla="*/ 191942 h 247664"/>
                  <a:gd name="connsiteX420" fmla="*/ 241758 w 247047"/>
                  <a:gd name="connsiteY420" fmla="*/ 191942 h 247664"/>
                  <a:gd name="connsiteX421" fmla="*/ 241493 w 247047"/>
                  <a:gd name="connsiteY421" fmla="*/ 192207 h 247664"/>
                  <a:gd name="connsiteX422" fmla="*/ 241758 w 247047"/>
                  <a:gd name="connsiteY422" fmla="*/ 192560 h 247664"/>
                  <a:gd name="connsiteX423" fmla="*/ 242375 w 247047"/>
                  <a:gd name="connsiteY423" fmla="*/ 192824 h 247664"/>
                  <a:gd name="connsiteX424" fmla="*/ 243257 w 247047"/>
                  <a:gd name="connsiteY424" fmla="*/ 193089 h 247664"/>
                  <a:gd name="connsiteX425" fmla="*/ 244667 w 247047"/>
                  <a:gd name="connsiteY425" fmla="*/ 192824 h 247664"/>
                  <a:gd name="connsiteX426" fmla="*/ 245284 w 247047"/>
                  <a:gd name="connsiteY426" fmla="*/ 192824 h 247664"/>
                  <a:gd name="connsiteX427" fmla="*/ 245549 w 247047"/>
                  <a:gd name="connsiteY427" fmla="*/ 192560 h 247664"/>
                  <a:gd name="connsiteX428" fmla="*/ 246431 w 247047"/>
                  <a:gd name="connsiteY428" fmla="*/ 192824 h 247664"/>
                  <a:gd name="connsiteX429" fmla="*/ 246166 w 247047"/>
                  <a:gd name="connsiteY429" fmla="*/ 193353 h 247664"/>
                  <a:gd name="connsiteX430" fmla="*/ 246783 w 247047"/>
                  <a:gd name="connsiteY430" fmla="*/ 193706 h 247664"/>
                  <a:gd name="connsiteX431" fmla="*/ 247048 w 247047"/>
                  <a:gd name="connsiteY431" fmla="*/ 193353 h 247664"/>
                  <a:gd name="connsiteX432" fmla="*/ 247048 w 247047"/>
                  <a:gd name="connsiteY432" fmla="*/ 192824 h 247664"/>
                  <a:gd name="connsiteX433" fmla="*/ 246431 w 247047"/>
                  <a:gd name="connsiteY433" fmla="*/ 191325 h 247664"/>
                  <a:gd name="connsiteX434" fmla="*/ 245902 w 247047"/>
                  <a:gd name="connsiteY434" fmla="*/ 191325 h 247664"/>
                  <a:gd name="connsiteX435" fmla="*/ 245284 w 247047"/>
                  <a:gd name="connsiteY435" fmla="*/ 191325 h 247664"/>
                  <a:gd name="connsiteX436" fmla="*/ 242639 w 247047"/>
                  <a:gd name="connsiteY436" fmla="*/ 190796 h 247664"/>
                  <a:gd name="connsiteX437" fmla="*/ 242375 w 247047"/>
                  <a:gd name="connsiteY437" fmla="*/ 190796 h 247664"/>
                  <a:gd name="connsiteX438" fmla="*/ 242375 w 247047"/>
                  <a:gd name="connsiteY438" fmla="*/ 190179 h 247664"/>
                  <a:gd name="connsiteX439" fmla="*/ 241493 w 247047"/>
                  <a:gd name="connsiteY439" fmla="*/ 188151 h 247664"/>
                  <a:gd name="connsiteX440" fmla="*/ 240876 w 247047"/>
                  <a:gd name="connsiteY440" fmla="*/ 187887 h 247664"/>
                  <a:gd name="connsiteX441" fmla="*/ 240612 w 247047"/>
                  <a:gd name="connsiteY441" fmla="*/ 187534 h 247664"/>
                  <a:gd name="connsiteX442" fmla="*/ 240347 w 247047"/>
                  <a:gd name="connsiteY442" fmla="*/ 187534 h 247664"/>
                  <a:gd name="connsiteX443" fmla="*/ 240612 w 247047"/>
                  <a:gd name="connsiteY443" fmla="*/ 188151 h 247664"/>
                  <a:gd name="connsiteX444" fmla="*/ 240347 w 247047"/>
                  <a:gd name="connsiteY444" fmla="*/ 188416 h 247664"/>
                  <a:gd name="connsiteX445" fmla="*/ 240347 w 247047"/>
                  <a:gd name="connsiteY445" fmla="*/ 188151 h 247664"/>
                  <a:gd name="connsiteX446" fmla="*/ 239994 w 247047"/>
                  <a:gd name="connsiteY446" fmla="*/ 187887 h 247664"/>
                  <a:gd name="connsiteX447" fmla="*/ 239465 w 247047"/>
                  <a:gd name="connsiteY447" fmla="*/ 187270 h 247664"/>
                  <a:gd name="connsiteX448" fmla="*/ 237702 w 247047"/>
                  <a:gd name="connsiteY448" fmla="*/ 184624 h 247664"/>
                  <a:gd name="connsiteX449" fmla="*/ 237085 w 247047"/>
                  <a:gd name="connsiteY449" fmla="*/ 183743 h 247664"/>
                  <a:gd name="connsiteX450" fmla="*/ 236291 w 247047"/>
                  <a:gd name="connsiteY450" fmla="*/ 183214 h 247664"/>
                  <a:gd name="connsiteX451" fmla="*/ 233646 w 247047"/>
                  <a:gd name="connsiteY451" fmla="*/ 181186 h 247664"/>
                  <a:gd name="connsiteX452" fmla="*/ 233029 w 247047"/>
                  <a:gd name="connsiteY452" fmla="*/ 178805 h 247664"/>
                  <a:gd name="connsiteX453" fmla="*/ 231883 w 247047"/>
                  <a:gd name="connsiteY453" fmla="*/ 178276 h 247664"/>
                  <a:gd name="connsiteX454" fmla="*/ 231883 w 247047"/>
                  <a:gd name="connsiteY454" fmla="*/ 176513 h 247664"/>
                  <a:gd name="connsiteX455" fmla="*/ 231266 w 247047"/>
                  <a:gd name="connsiteY455" fmla="*/ 175279 h 247664"/>
                  <a:gd name="connsiteX456" fmla="*/ 229855 w 247047"/>
                  <a:gd name="connsiteY456" fmla="*/ 172105 h 247664"/>
                  <a:gd name="connsiteX457" fmla="*/ 228092 w 247047"/>
                  <a:gd name="connsiteY457" fmla="*/ 170958 h 247664"/>
                  <a:gd name="connsiteX458" fmla="*/ 227827 w 247047"/>
                  <a:gd name="connsiteY458" fmla="*/ 168049 h 247664"/>
                  <a:gd name="connsiteX459" fmla="*/ 226945 w 247047"/>
                  <a:gd name="connsiteY459" fmla="*/ 167432 h 247664"/>
                  <a:gd name="connsiteX460" fmla="*/ 226593 w 247047"/>
                  <a:gd name="connsiteY460" fmla="*/ 166285 h 247664"/>
                  <a:gd name="connsiteX461" fmla="*/ 224300 w 247047"/>
                  <a:gd name="connsiteY461" fmla="*/ 162494 h 247664"/>
                  <a:gd name="connsiteX462" fmla="*/ 221391 w 247047"/>
                  <a:gd name="connsiteY462" fmla="*/ 157557 h 247664"/>
                  <a:gd name="connsiteX463" fmla="*/ 221038 w 247047"/>
                  <a:gd name="connsiteY463" fmla="*/ 156323 h 247664"/>
                  <a:gd name="connsiteX464" fmla="*/ 220156 w 247047"/>
                  <a:gd name="connsiteY464" fmla="*/ 154030 h 247664"/>
                  <a:gd name="connsiteX465" fmla="*/ 218128 w 247047"/>
                  <a:gd name="connsiteY465" fmla="*/ 151385 h 247664"/>
                  <a:gd name="connsiteX466" fmla="*/ 217247 w 247047"/>
                  <a:gd name="connsiteY466" fmla="*/ 148476 h 247664"/>
                  <a:gd name="connsiteX467" fmla="*/ 215484 w 247047"/>
                  <a:gd name="connsiteY467" fmla="*/ 146448 h 247664"/>
                  <a:gd name="connsiteX468" fmla="*/ 214426 w 247047"/>
                  <a:gd name="connsiteY468" fmla="*/ 145301 h 247664"/>
                  <a:gd name="connsiteX469" fmla="*/ 213808 w 247047"/>
                  <a:gd name="connsiteY469" fmla="*/ 142921 h 247664"/>
                  <a:gd name="connsiteX470" fmla="*/ 212927 w 247047"/>
                  <a:gd name="connsiteY470" fmla="*/ 142656 h 247664"/>
                  <a:gd name="connsiteX471" fmla="*/ 211428 w 247047"/>
                  <a:gd name="connsiteY471" fmla="*/ 140893 h 247664"/>
                  <a:gd name="connsiteX472" fmla="*/ 211163 w 247047"/>
                  <a:gd name="connsiteY472" fmla="*/ 139747 h 247664"/>
                  <a:gd name="connsiteX473" fmla="*/ 209135 w 247047"/>
                  <a:gd name="connsiteY473" fmla="*/ 135956 h 247664"/>
                  <a:gd name="connsiteX474" fmla="*/ 208254 w 247047"/>
                  <a:gd name="connsiteY474" fmla="*/ 133311 h 247664"/>
                  <a:gd name="connsiteX475" fmla="*/ 206226 w 247047"/>
                  <a:gd name="connsiteY475" fmla="*/ 130665 h 247664"/>
                  <a:gd name="connsiteX476" fmla="*/ 205344 w 247047"/>
                  <a:gd name="connsiteY476" fmla="*/ 128373 h 247664"/>
                  <a:gd name="connsiteX477" fmla="*/ 204727 w 247047"/>
                  <a:gd name="connsiteY477" fmla="*/ 127756 h 247664"/>
                  <a:gd name="connsiteX478" fmla="*/ 204727 w 247047"/>
                  <a:gd name="connsiteY478" fmla="*/ 126610 h 247664"/>
                  <a:gd name="connsiteX479" fmla="*/ 204727 w 247047"/>
                  <a:gd name="connsiteY479" fmla="*/ 125993 h 247664"/>
                  <a:gd name="connsiteX480" fmla="*/ 204462 w 247047"/>
                  <a:gd name="connsiteY480" fmla="*/ 125464 h 247664"/>
                  <a:gd name="connsiteX481" fmla="*/ 204110 w 247047"/>
                  <a:gd name="connsiteY481" fmla="*/ 125111 h 247664"/>
                  <a:gd name="connsiteX482" fmla="*/ 203581 w 247047"/>
                  <a:gd name="connsiteY482" fmla="*/ 125464 h 247664"/>
                  <a:gd name="connsiteX483" fmla="*/ 202699 w 247047"/>
                  <a:gd name="connsiteY483" fmla="*/ 125464 h 247664"/>
                  <a:gd name="connsiteX484" fmla="*/ 202170 w 247047"/>
                  <a:gd name="connsiteY484" fmla="*/ 125111 h 247664"/>
                  <a:gd name="connsiteX485" fmla="*/ 202170 w 247047"/>
                  <a:gd name="connsiteY485" fmla="*/ 122818 h 247664"/>
                  <a:gd name="connsiteX486" fmla="*/ 202170 w 247047"/>
                  <a:gd name="connsiteY486" fmla="*/ 122554 h 247664"/>
                  <a:gd name="connsiteX487" fmla="*/ 202170 w 247047"/>
                  <a:gd name="connsiteY487" fmla="*/ 121937 h 247664"/>
                  <a:gd name="connsiteX488" fmla="*/ 201818 w 247047"/>
                  <a:gd name="connsiteY488" fmla="*/ 121055 h 247664"/>
                  <a:gd name="connsiteX489" fmla="*/ 202170 w 247047"/>
                  <a:gd name="connsiteY489" fmla="*/ 120438 h 247664"/>
                  <a:gd name="connsiteX490" fmla="*/ 202435 w 247047"/>
                  <a:gd name="connsiteY490" fmla="*/ 120438 h 247664"/>
                  <a:gd name="connsiteX491" fmla="*/ 202435 w 247047"/>
                  <a:gd name="connsiteY491" fmla="*/ 119909 h 247664"/>
                  <a:gd name="connsiteX492" fmla="*/ 202699 w 247047"/>
                  <a:gd name="connsiteY492" fmla="*/ 120438 h 247664"/>
                  <a:gd name="connsiteX493" fmla="*/ 202964 w 247047"/>
                  <a:gd name="connsiteY493" fmla="*/ 120791 h 247664"/>
                  <a:gd name="connsiteX494" fmla="*/ 203316 w 247047"/>
                  <a:gd name="connsiteY494" fmla="*/ 120438 h 247664"/>
                  <a:gd name="connsiteX495" fmla="*/ 203316 w 247047"/>
                  <a:gd name="connsiteY495" fmla="*/ 119644 h 247664"/>
                  <a:gd name="connsiteX496" fmla="*/ 203316 w 247047"/>
                  <a:gd name="connsiteY496" fmla="*/ 119027 h 247664"/>
                  <a:gd name="connsiteX497" fmla="*/ 202699 w 247047"/>
                  <a:gd name="connsiteY497" fmla="*/ 118410 h 247664"/>
                  <a:gd name="connsiteX498" fmla="*/ 201818 w 247047"/>
                  <a:gd name="connsiteY498" fmla="*/ 118146 h 247664"/>
                  <a:gd name="connsiteX499" fmla="*/ 200936 w 247047"/>
                  <a:gd name="connsiteY499" fmla="*/ 117617 h 247664"/>
                  <a:gd name="connsiteX500" fmla="*/ 200936 w 247047"/>
                  <a:gd name="connsiteY500" fmla="*/ 116647 h 247664"/>
                  <a:gd name="connsiteX501" fmla="*/ 200671 w 247047"/>
                  <a:gd name="connsiteY501" fmla="*/ 115501 h 247664"/>
                  <a:gd name="connsiteX502" fmla="*/ 200671 w 247047"/>
                  <a:gd name="connsiteY502" fmla="*/ 115236 h 247664"/>
                  <a:gd name="connsiteX503" fmla="*/ 200407 w 247047"/>
                  <a:gd name="connsiteY503" fmla="*/ 114354 h 247664"/>
                  <a:gd name="connsiteX504" fmla="*/ 199172 w 247047"/>
                  <a:gd name="connsiteY504" fmla="*/ 113473 h 247664"/>
                  <a:gd name="connsiteX505" fmla="*/ 198908 w 247047"/>
                  <a:gd name="connsiteY505" fmla="*/ 111709 h 247664"/>
                  <a:gd name="connsiteX506" fmla="*/ 199172 w 247047"/>
                  <a:gd name="connsiteY506" fmla="*/ 111180 h 247664"/>
                  <a:gd name="connsiteX507" fmla="*/ 198908 w 247047"/>
                  <a:gd name="connsiteY507" fmla="*/ 109946 h 247664"/>
                  <a:gd name="connsiteX508" fmla="*/ 196880 w 247047"/>
                  <a:gd name="connsiteY508" fmla="*/ 109417 h 247664"/>
                  <a:gd name="connsiteX509" fmla="*/ 195734 w 247047"/>
                  <a:gd name="connsiteY509" fmla="*/ 108535 h 247664"/>
                  <a:gd name="connsiteX510" fmla="*/ 195117 w 247047"/>
                  <a:gd name="connsiteY510" fmla="*/ 105626 h 247664"/>
                  <a:gd name="connsiteX511" fmla="*/ 193970 w 247047"/>
                  <a:gd name="connsiteY511" fmla="*/ 104744 h 247664"/>
                  <a:gd name="connsiteX512" fmla="*/ 193970 w 247047"/>
                  <a:gd name="connsiteY512" fmla="*/ 104479 h 247664"/>
                  <a:gd name="connsiteX513" fmla="*/ 192207 w 247047"/>
                  <a:gd name="connsiteY513" fmla="*/ 103245 h 247664"/>
                  <a:gd name="connsiteX514" fmla="*/ 191854 w 247047"/>
                  <a:gd name="connsiteY514" fmla="*/ 101834 h 247664"/>
                  <a:gd name="connsiteX515" fmla="*/ 190797 w 247047"/>
                  <a:gd name="connsiteY515" fmla="*/ 99807 h 247664"/>
                  <a:gd name="connsiteX516" fmla="*/ 191325 w 247047"/>
                  <a:gd name="connsiteY516" fmla="*/ 99189 h 247664"/>
                  <a:gd name="connsiteX517" fmla="*/ 191854 w 247047"/>
                  <a:gd name="connsiteY517" fmla="*/ 99807 h 247664"/>
                  <a:gd name="connsiteX518" fmla="*/ 191854 w 247047"/>
                  <a:gd name="connsiteY518" fmla="*/ 99454 h 247664"/>
                  <a:gd name="connsiteX519" fmla="*/ 192472 w 247047"/>
                  <a:gd name="connsiteY519" fmla="*/ 99807 h 247664"/>
                  <a:gd name="connsiteX520" fmla="*/ 193089 w 247047"/>
                  <a:gd name="connsiteY520" fmla="*/ 99807 h 247664"/>
                  <a:gd name="connsiteX521" fmla="*/ 192472 w 247047"/>
                  <a:gd name="connsiteY521" fmla="*/ 99189 h 247664"/>
                  <a:gd name="connsiteX522" fmla="*/ 191590 w 247047"/>
                  <a:gd name="connsiteY522" fmla="*/ 98925 h 247664"/>
                  <a:gd name="connsiteX523" fmla="*/ 192207 w 247047"/>
                  <a:gd name="connsiteY523" fmla="*/ 98308 h 247664"/>
                  <a:gd name="connsiteX524" fmla="*/ 192472 w 247047"/>
                  <a:gd name="connsiteY524" fmla="*/ 98043 h 247664"/>
                  <a:gd name="connsiteX525" fmla="*/ 192207 w 247047"/>
                  <a:gd name="connsiteY525" fmla="*/ 98043 h 247664"/>
                  <a:gd name="connsiteX526" fmla="*/ 191854 w 247047"/>
                  <a:gd name="connsiteY526" fmla="*/ 98043 h 247664"/>
                  <a:gd name="connsiteX527" fmla="*/ 191590 w 247047"/>
                  <a:gd name="connsiteY527" fmla="*/ 97779 h 247664"/>
                  <a:gd name="connsiteX528" fmla="*/ 191325 w 247047"/>
                  <a:gd name="connsiteY528" fmla="*/ 98043 h 247664"/>
                  <a:gd name="connsiteX529" fmla="*/ 190797 w 247047"/>
                  <a:gd name="connsiteY529" fmla="*/ 97426 h 247664"/>
                  <a:gd name="connsiteX530" fmla="*/ 190444 w 247047"/>
                  <a:gd name="connsiteY530" fmla="*/ 96809 h 247664"/>
                  <a:gd name="connsiteX531" fmla="*/ 190179 w 247047"/>
                  <a:gd name="connsiteY531" fmla="*/ 96544 h 247664"/>
                  <a:gd name="connsiteX532" fmla="*/ 189915 w 247047"/>
                  <a:gd name="connsiteY532" fmla="*/ 96015 h 247664"/>
                  <a:gd name="connsiteX533" fmla="*/ 190179 w 247047"/>
                  <a:gd name="connsiteY533" fmla="*/ 95398 h 247664"/>
                  <a:gd name="connsiteX534" fmla="*/ 190444 w 247047"/>
                  <a:gd name="connsiteY534" fmla="*/ 95134 h 247664"/>
                  <a:gd name="connsiteX535" fmla="*/ 191590 w 247047"/>
                  <a:gd name="connsiteY535" fmla="*/ 96280 h 247664"/>
                  <a:gd name="connsiteX536" fmla="*/ 191854 w 247047"/>
                  <a:gd name="connsiteY536" fmla="*/ 96544 h 247664"/>
                  <a:gd name="connsiteX537" fmla="*/ 192207 w 247047"/>
                  <a:gd name="connsiteY537" fmla="*/ 96544 h 247664"/>
                  <a:gd name="connsiteX538" fmla="*/ 192824 w 247047"/>
                  <a:gd name="connsiteY538" fmla="*/ 96015 h 247664"/>
                  <a:gd name="connsiteX539" fmla="*/ 192207 w 247047"/>
                  <a:gd name="connsiteY539" fmla="*/ 95134 h 247664"/>
                  <a:gd name="connsiteX540" fmla="*/ 191590 w 247047"/>
                  <a:gd name="connsiteY540" fmla="*/ 94781 h 247664"/>
                  <a:gd name="connsiteX541" fmla="*/ 190444 w 247047"/>
                  <a:gd name="connsiteY541" fmla="*/ 93106 h 247664"/>
                  <a:gd name="connsiteX542" fmla="*/ 189915 w 247047"/>
                  <a:gd name="connsiteY542" fmla="*/ 91607 h 247664"/>
                  <a:gd name="connsiteX543" fmla="*/ 188680 w 247047"/>
                  <a:gd name="connsiteY543" fmla="*/ 90461 h 247664"/>
                  <a:gd name="connsiteX544" fmla="*/ 188416 w 247047"/>
                  <a:gd name="connsiteY544" fmla="*/ 90725 h 247664"/>
                  <a:gd name="connsiteX545" fmla="*/ 187534 w 247047"/>
                  <a:gd name="connsiteY545" fmla="*/ 90461 h 247664"/>
                  <a:gd name="connsiteX546" fmla="*/ 187534 w 247047"/>
                  <a:gd name="connsiteY546" fmla="*/ 89843 h 247664"/>
                  <a:gd name="connsiteX547" fmla="*/ 186917 w 247047"/>
                  <a:gd name="connsiteY547" fmla="*/ 89843 h 247664"/>
                  <a:gd name="connsiteX548" fmla="*/ 186653 w 247047"/>
                  <a:gd name="connsiteY548" fmla="*/ 89843 h 247664"/>
                  <a:gd name="connsiteX549" fmla="*/ 186653 w 247047"/>
                  <a:gd name="connsiteY549" fmla="*/ 88962 h 247664"/>
                  <a:gd name="connsiteX550" fmla="*/ 186388 w 247047"/>
                  <a:gd name="connsiteY550" fmla="*/ 88962 h 247664"/>
                  <a:gd name="connsiteX551" fmla="*/ 185506 w 247047"/>
                  <a:gd name="connsiteY551" fmla="*/ 88433 h 247664"/>
                  <a:gd name="connsiteX552" fmla="*/ 184889 w 247047"/>
                  <a:gd name="connsiteY552" fmla="*/ 88080 h 247664"/>
                  <a:gd name="connsiteX553" fmla="*/ 184360 w 247047"/>
                  <a:gd name="connsiteY553" fmla="*/ 87199 h 247664"/>
                  <a:gd name="connsiteX554" fmla="*/ 184007 w 247047"/>
                  <a:gd name="connsiteY554" fmla="*/ 87199 h 247664"/>
                  <a:gd name="connsiteX555" fmla="*/ 182244 w 247047"/>
                  <a:gd name="connsiteY555" fmla="*/ 84642 h 247664"/>
                  <a:gd name="connsiteX556" fmla="*/ 181451 w 247047"/>
                  <a:gd name="connsiteY556" fmla="*/ 84289 h 247664"/>
                  <a:gd name="connsiteX557" fmla="*/ 180833 w 247047"/>
                  <a:gd name="connsiteY557" fmla="*/ 82878 h 247664"/>
                  <a:gd name="connsiteX558" fmla="*/ 179952 w 247047"/>
                  <a:gd name="connsiteY558" fmla="*/ 81732 h 247664"/>
                  <a:gd name="connsiteX559" fmla="*/ 178805 w 247047"/>
                  <a:gd name="connsiteY559" fmla="*/ 79087 h 247664"/>
                  <a:gd name="connsiteX560" fmla="*/ 178188 w 247047"/>
                  <a:gd name="connsiteY560" fmla="*/ 78734 h 247664"/>
                  <a:gd name="connsiteX561" fmla="*/ 177659 w 247047"/>
                  <a:gd name="connsiteY561" fmla="*/ 78205 h 247664"/>
                  <a:gd name="connsiteX562" fmla="*/ 175896 w 247047"/>
                  <a:gd name="connsiteY562" fmla="*/ 77324 h 247664"/>
                  <a:gd name="connsiteX563" fmla="*/ 174750 w 247047"/>
                  <a:gd name="connsiteY563" fmla="*/ 72915 h 247664"/>
                  <a:gd name="connsiteX564" fmla="*/ 174133 w 247047"/>
                  <a:gd name="connsiteY564" fmla="*/ 72386 h 247664"/>
                  <a:gd name="connsiteX565" fmla="*/ 173515 w 247047"/>
                  <a:gd name="connsiteY565" fmla="*/ 71504 h 247664"/>
                  <a:gd name="connsiteX566" fmla="*/ 172634 w 247047"/>
                  <a:gd name="connsiteY566" fmla="*/ 71504 h 247664"/>
                  <a:gd name="connsiteX567" fmla="*/ 171223 w 247047"/>
                  <a:gd name="connsiteY567" fmla="*/ 69477 h 247664"/>
                  <a:gd name="connsiteX568" fmla="*/ 170606 w 247047"/>
                  <a:gd name="connsiteY568" fmla="*/ 67978 h 247664"/>
                  <a:gd name="connsiteX569" fmla="*/ 169724 w 247047"/>
                  <a:gd name="connsiteY569" fmla="*/ 66832 h 247664"/>
                  <a:gd name="connsiteX570" fmla="*/ 169460 w 247047"/>
                  <a:gd name="connsiteY570" fmla="*/ 65068 h 247664"/>
                  <a:gd name="connsiteX571" fmla="*/ 169989 w 247047"/>
                  <a:gd name="connsiteY571" fmla="*/ 65068 h 247664"/>
                  <a:gd name="connsiteX572" fmla="*/ 169989 w 247047"/>
                  <a:gd name="connsiteY572" fmla="*/ 64804 h 247664"/>
                  <a:gd name="connsiteX573" fmla="*/ 170341 w 247047"/>
                  <a:gd name="connsiteY573" fmla="*/ 63922 h 247664"/>
                  <a:gd name="connsiteX574" fmla="*/ 168842 w 247047"/>
                  <a:gd name="connsiteY574" fmla="*/ 57750 h 247664"/>
                  <a:gd name="connsiteX575" fmla="*/ 167696 w 247047"/>
                  <a:gd name="connsiteY575" fmla="*/ 57221 h 247664"/>
                  <a:gd name="connsiteX576" fmla="*/ 165051 w 247047"/>
                  <a:gd name="connsiteY576" fmla="*/ 54312 h 247664"/>
                  <a:gd name="connsiteX577" fmla="*/ 163288 w 247047"/>
                  <a:gd name="connsiteY577" fmla="*/ 53430 h 247664"/>
                  <a:gd name="connsiteX578" fmla="*/ 162494 w 247047"/>
                  <a:gd name="connsiteY578" fmla="*/ 51667 h 247664"/>
                  <a:gd name="connsiteX579" fmla="*/ 163023 w 247047"/>
                  <a:gd name="connsiteY579" fmla="*/ 50520 h 247664"/>
                  <a:gd name="connsiteX580" fmla="*/ 163023 w 247047"/>
                  <a:gd name="connsiteY580" fmla="*/ 49639 h 247664"/>
                  <a:gd name="connsiteX581" fmla="*/ 163905 w 247047"/>
                  <a:gd name="connsiteY581" fmla="*/ 46994 h 247664"/>
                  <a:gd name="connsiteX582" fmla="*/ 165404 w 247047"/>
                  <a:gd name="connsiteY582" fmla="*/ 45848 h 247664"/>
                  <a:gd name="connsiteX583" fmla="*/ 165933 w 247047"/>
                  <a:gd name="connsiteY583" fmla="*/ 45230 h 247664"/>
                  <a:gd name="connsiteX584" fmla="*/ 165404 w 247047"/>
                  <a:gd name="connsiteY584" fmla="*/ 44966 h 247664"/>
                  <a:gd name="connsiteX585" fmla="*/ 164787 w 247047"/>
                  <a:gd name="connsiteY585" fmla="*/ 45230 h 247664"/>
                  <a:gd name="connsiteX586" fmla="*/ 164787 w 247047"/>
                  <a:gd name="connsiteY586" fmla="*/ 44349 h 247664"/>
                  <a:gd name="connsiteX587" fmla="*/ 164522 w 247047"/>
                  <a:gd name="connsiteY587" fmla="*/ 43467 h 247664"/>
                  <a:gd name="connsiteX588" fmla="*/ 164522 w 247047"/>
                  <a:gd name="connsiteY588" fmla="*/ 42938 h 247664"/>
                  <a:gd name="connsiteX589" fmla="*/ 164787 w 247047"/>
                  <a:gd name="connsiteY589" fmla="*/ 42585 h 247664"/>
                  <a:gd name="connsiteX590" fmla="*/ 165933 w 247047"/>
                  <a:gd name="connsiteY590" fmla="*/ 42585 h 247664"/>
                  <a:gd name="connsiteX591" fmla="*/ 166197 w 247047"/>
                  <a:gd name="connsiteY591" fmla="*/ 42938 h 247664"/>
                  <a:gd name="connsiteX592" fmla="*/ 166197 w 247047"/>
                  <a:gd name="connsiteY592" fmla="*/ 42321 h 247664"/>
                  <a:gd name="connsiteX593" fmla="*/ 166197 w 247047"/>
                  <a:gd name="connsiteY593" fmla="*/ 42056 h 247664"/>
                  <a:gd name="connsiteX594" fmla="*/ 166550 w 247047"/>
                  <a:gd name="connsiteY594" fmla="*/ 41704 h 247664"/>
                  <a:gd name="connsiteX595" fmla="*/ 166815 w 247047"/>
                  <a:gd name="connsiteY595" fmla="*/ 41704 h 247664"/>
                  <a:gd name="connsiteX596" fmla="*/ 166550 w 247047"/>
                  <a:gd name="connsiteY596" fmla="*/ 42056 h 247664"/>
                  <a:gd name="connsiteX597" fmla="*/ 166550 w 247047"/>
                  <a:gd name="connsiteY597" fmla="*/ 42585 h 247664"/>
                  <a:gd name="connsiteX598" fmla="*/ 166815 w 247047"/>
                  <a:gd name="connsiteY598" fmla="*/ 42585 h 247664"/>
                  <a:gd name="connsiteX599" fmla="*/ 167079 w 247047"/>
                  <a:gd name="connsiteY599" fmla="*/ 42938 h 247664"/>
                  <a:gd name="connsiteX600" fmla="*/ 166550 w 247047"/>
                  <a:gd name="connsiteY600" fmla="*/ 42938 h 247664"/>
                  <a:gd name="connsiteX601" fmla="*/ 166815 w 247047"/>
                  <a:gd name="connsiteY601" fmla="*/ 43202 h 247664"/>
                  <a:gd name="connsiteX602" fmla="*/ 167432 w 247047"/>
                  <a:gd name="connsiteY602" fmla="*/ 43467 h 247664"/>
                  <a:gd name="connsiteX603" fmla="*/ 167696 w 247047"/>
                  <a:gd name="connsiteY603" fmla="*/ 44349 h 247664"/>
                  <a:gd name="connsiteX604" fmla="*/ 168313 w 247047"/>
                  <a:gd name="connsiteY604" fmla="*/ 45230 h 247664"/>
                  <a:gd name="connsiteX605" fmla="*/ 168313 w 247047"/>
                  <a:gd name="connsiteY605" fmla="*/ 46377 h 247664"/>
                  <a:gd name="connsiteX606" fmla="*/ 167696 w 247047"/>
                  <a:gd name="connsiteY606" fmla="*/ 46377 h 247664"/>
                  <a:gd name="connsiteX607" fmla="*/ 168313 w 247047"/>
                  <a:gd name="connsiteY607" fmla="*/ 46994 h 247664"/>
                  <a:gd name="connsiteX608" fmla="*/ 168842 w 247047"/>
                  <a:gd name="connsiteY608" fmla="*/ 47875 h 247664"/>
                  <a:gd name="connsiteX609" fmla="*/ 169460 w 247047"/>
                  <a:gd name="connsiteY609" fmla="*/ 47875 h 247664"/>
                  <a:gd name="connsiteX610" fmla="*/ 169724 w 247047"/>
                  <a:gd name="connsiteY610" fmla="*/ 51667 h 247664"/>
                  <a:gd name="connsiteX611" fmla="*/ 170606 w 247047"/>
                  <a:gd name="connsiteY611" fmla="*/ 51931 h 247664"/>
                  <a:gd name="connsiteX612" fmla="*/ 171223 w 247047"/>
                  <a:gd name="connsiteY612" fmla="*/ 53959 h 247664"/>
                  <a:gd name="connsiteX613" fmla="*/ 170959 w 247047"/>
                  <a:gd name="connsiteY613" fmla="*/ 54576 h 247664"/>
                  <a:gd name="connsiteX614" fmla="*/ 170959 w 247047"/>
                  <a:gd name="connsiteY614" fmla="*/ 55458 h 247664"/>
                  <a:gd name="connsiteX615" fmla="*/ 172898 w 247047"/>
                  <a:gd name="connsiteY615" fmla="*/ 56340 h 247664"/>
                  <a:gd name="connsiteX616" fmla="*/ 173251 w 247047"/>
                  <a:gd name="connsiteY616" fmla="*/ 58367 h 247664"/>
                  <a:gd name="connsiteX617" fmla="*/ 174397 w 247047"/>
                  <a:gd name="connsiteY617" fmla="*/ 58985 h 247664"/>
                  <a:gd name="connsiteX618" fmla="*/ 174750 w 247047"/>
                  <a:gd name="connsiteY618" fmla="*/ 60395 h 247664"/>
                  <a:gd name="connsiteX619" fmla="*/ 176425 w 247047"/>
                  <a:gd name="connsiteY619" fmla="*/ 61541 h 247664"/>
                  <a:gd name="connsiteX620" fmla="*/ 178805 w 247047"/>
                  <a:gd name="connsiteY620" fmla="*/ 64451 h 247664"/>
                  <a:gd name="connsiteX621" fmla="*/ 179334 w 247047"/>
                  <a:gd name="connsiteY621" fmla="*/ 65068 h 247664"/>
                  <a:gd name="connsiteX622" fmla="*/ 181451 w 247047"/>
                  <a:gd name="connsiteY622" fmla="*/ 66567 h 247664"/>
                  <a:gd name="connsiteX623" fmla="*/ 181451 w 247047"/>
                  <a:gd name="connsiteY623" fmla="*/ 67713 h 247664"/>
                  <a:gd name="connsiteX624" fmla="*/ 181715 w 247047"/>
                  <a:gd name="connsiteY624" fmla="*/ 68242 h 247664"/>
                  <a:gd name="connsiteX625" fmla="*/ 181715 w 247047"/>
                  <a:gd name="connsiteY625" fmla="*/ 70358 h 247664"/>
                  <a:gd name="connsiteX626" fmla="*/ 181715 w 247047"/>
                  <a:gd name="connsiteY626" fmla="*/ 70887 h 247664"/>
                  <a:gd name="connsiteX627" fmla="*/ 182861 w 247047"/>
                  <a:gd name="connsiteY627" fmla="*/ 72386 h 247664"/>
                  <a:gd name="connsiteX628" fmla="*/ 182597 w 247047"/>
                  <a:gd name="connsiteY628" fmla="*/ 74943 h 247664"/>
                  <a:gd name="connsiteX629" fmla="*/ 183743 w 247047"/>
                  <a:gd name="connsiteY629" fmla="*/ 78205 h 247664"/>
                  <a:gd name="connsiteX630" fmla="*/ 184007 w 247047"/>
                  <a:gd name="connsiteY630" fmla="*/ 78470 h 247664"/>
                  <a:gd name="connsiteX631" fmla="*/ 184007 w 247047"/>
                  <a:gd name="connsiteY631" fmla="*/ 78205 h 247664"/>
                  <a:gd name="connsiteX632" fmla="*/ 183478 w 247047"/>
                  <a:gd name="connsiteY632" fmla="*/ 77059 h 247664"/>
                  <a:gd name="connsiteX633" fmla="*/ 183743 w 247047"/>
                  <a:gd name="connsiteY633" fmla="*/ 76706 h 247664"/>
                  <a:gd name="connsiteX634" fmla="*/ 184007 w 247047"/>
                  <a:gd name="connsiteY634" fmla="*/ 77059 h 247664"/>
                  <a:gd name="connsiteX635" fmla="*/ 184360 w 247047"/>
                  <a:gd name="connsiteY635" fmla="*/ 78205 h 247664"/>
                  <a:gd name="connsiteX636" fmla="*/ 184625 w 247047"/>
                  <a:gd name="connsiteY636" fmla="*/ 78734 h 247664"/>
                  <a:gd name="connsiteX637" fmla="*/ 185506 w 247047"/>
                  <a:gd name="connsiteY637" fmla="*/ 79087 h 247664"/>
                  <a:gd name="connsiteX638" fmla="*/ 186653 w 247047"/>
                  <a:gd name="connsiteY638" fmla="*/ 79352 h 247664"/>
                  <a:gd name="connsiteX639" fmla="*/ 187270 w 247047"/>
                  <a:gd name="connsiteY639" fmla="*/ 80850 h 247664"/>
                  <a:gd name="connsiteX640" fmla="*/ 188680 w 247047"/>
                  <a:gd name="connsiteY640" fmla="*/ 82525 h 247664"/>
                  <a:gd name="connsiteX641" fmla="*/ 191325 w 247047"/>
                  <a:gd name="connsiteY641" fmla="*/ 83407 h 247664"/>
                  <a:gd name="connsiteX642" fmla="*/ 192207 w 247047"/>
                  <a:gd name="connsiteY642" fmla="*/ 85523 h 247664"/>
                  <a:gd name="connsiteX643" fmla="*/ 192472 w 247047"/>
                  <a:gd name="connsiteY643" fmla="*/ 87199 h 247664"/>
                  <a:gd name="connsiteX644" fmla="*/ 193353 w 247047"/>
                  <a:gd name="connsiteY644" fmla="*/ 87199 h 247664"/>
                  <a:gd name="connsiteX645" fmla="*/ 193618 w 247047"/>
                  <a:gd name="connsiteY645" fmla="*/ 87199 h 247664"/>
                  <a:gd name="connsiteX646" fmla="*/ 194588 w 247047"/>
                  <a:gd name="connsiteY646" fmla="*/ 88962 h 247664"/>
                  <a:gd name="connsiteX647" fmla="*/ 195998 w 247047"/>
                  <a:gd name="connsiteY647" fmla="*/ 90461 h 247664"/>
                  <a:gd name="connsiteX648" fmla="*/ 195998 w 247047"/>
                  <a:gd name="connsiteY648" fmla="*/ 90725 h 247664"/>
                  <a:gd name="connsiteX649" fmla="*/ 196263 w 247047"/>
                  <a:gd name="connsiteY649" fmla="*/ 90990 h 247664"/>
                  <a:gd name="connsiteX650" fmla="*/ 196616 w 247047"/>
                  <a:gd name="connsiteY650" fmla="*/ 90725 h 247664"/>
                  <a:gd name="connsiteX651" fmla="*/ 198908 w 247047"/>
                  <a:gd name="connsiteY651" fmla="*/ 93106 h 247664"/>
                  <a:gd name="connsiteX652" fmla="*/ 200054 w 247047"/>
                  <a:gd name="connsiteY652" fmla="*/ 93635 h 247664"/>
                  <a:gd name="connsiteX653" fmla="*/ 200671 w 247047"/>
                  <a:gd name="connsiteY653" fmla="*/ 94252 h 247664"/>
                  <a:gd name="connsiteX654" fmla="*/ 202435 w 247047"/>
                  <a:gd name="connsiteY654" fmla="*/ 96280 h 247664"/>
                  <a:gd name="connsiteX655" fmla="*/ 203316 w 247047"/>
                  <a:gd name="connsiteY655" fmla="*/ 96544 h 247664"/>
                  <a:gd name="connsiteX656" fmla="*/ 205344 w 247047"/>
                  <a:gd name="connsiteY656" fmla="*/ 96809 h 247664"/>
                  <a:gd name="connsiteX657" fmla="*/ 206755 w 247047"/>
                  <a:gd name="connsiteY657" fmla="*/ 98308 h 247664"/>
                  <a:gd name="connsiteX658" fmla="*/ 206755 w 247047"/>
                  <a:gd name="connsiteY658" fmla="*/ 96809 h 247664"/>
                  <a:gd name="connsiteX659" fmla="*/ 206226 w 247047"/>
                  <a:gd name="connsiteY659" fmla="*/ 96809 h 247664"/>
                  <a:gd name="connsiteX660" fmla="*/ 207107 w 247047"/>
                  <a:gd name="connsiteY660" fmla="*/ 96809 h 247664"/>
                  <a:gd name="connsiteX661" fmla="*/ 207637 w 247047"/>
                  <a:gd name="connsiteY661" fmla="*/ 95134 h 247664"/>
                  <a:gd name="connsiteX662" fmla="*/ 207989 w 247047"/>
                  <a:gd name="connsiteY662" fmla="*/ 95134 h 247664"/>
                  <a:gd name="connsiteX663" fmla="*/ 207989 w 247047"/>
                  <a:gd name="connsiteY663" fmla="*/ 93635 h 247664"/>
                  <a:gd name="connsiteX664" fmla="*/ 209135 w 247047"/>
                  <a:gd name="connsiteY664" fmla="*/ 93635 h 247664"/>
                  <a:gd name="connsiteX665" fmla="*/ 209135 w 247047"/>
                  <a:gd name="connsiteY665" fmla="*/ 93106 h 247664"/>
                  <a:gd name="connsiteX666" fmla="*/ 210282 w 247047"/>
                  <a:gd name="connsiteY666" fmla="*/ 92489 h 247664"/>
                  <a:gd name="connsiteX667" fmla="*/ 210546 w 247047"/>
                  <a:gd name="connsiteY667" fmla="*/ 91342 h 247664"/>
                  <a:gd name="connsiteX668" fmla="*/ 210017 w 247047"/>
                  <a:gd name="connsiteY668" fmla="*/ 88962 h 247664"/>
                  <a:gd name="connsiteX669" fmla="*/ 210282 w 247047"/>
                  <a:gd name="connsiteY669" fmla="*/ 87199 h 247664"/>
                  <a:gd name="connsiteX670" fmla="*/ 209400 w 247047"/>
                  <a:gd name="connsiteY670" fmla="*/ 85523 h 247664"/>
                  <a:gd name="connsiteX671" fmla="*/ 208518 w 247047"/>
                  <a:gd name="connsiteY671" fmla="*/ 83407 h 247664"/>
                  <a:gd name="connsiteX672" fmla="*/ 209664 w 247047"/>
                  <a:gd name="connsiteY672" fmla="*/ 82525 h 247664"/>
                  <a:gd name="connsiteX673" fmla="*/ 209664 w 247047"/>
                  <a:gd name="connsiteY673" fmla="*/ 80498 h 247664"/>
                  <a:gd name="connsiteX674" fmla="*/ 210282 w 247047"/>
                  <a:gd name="connsiteY674" fmla="*/ 79087 h 247664"/>
                  <a:gd name="connsiteX675" fmla="*/ 210899 w 247047"/>
                  <a:gd name="connsiteY675" fmla="*/ 79087 h 247664"/>
                  <a:gd name="connsiteX676" fmla="*/ 210899 w 247047"/>
                  <a:gd name="connsiteY676" fmla="*/ 78205 h 247664"/>
                  <a:gd name="connsiteX677" fmla="*/ 213456 w 247047"/>
                  <a:gd name="connsiteY677" fmla="*/ 72915 h 247664"/>
                  <a:gd name="connsiteX678" fmla="*/ 212662 w 247047"/>
                  <a:gd name="connsiteY678" fmla="*/ 70623 h 247664"/>
                  <a:gd name="connsiteX679" fmla="*/ 213191 w 247047"/>
                  <a:gd name="connsiteY679" fmla="*/ 69477 h 247664"/>
                  <a:gd name="connsiteX680" fmla="*/ 212927 w 247047"/>
                  <a:gd name="connsiteY680" fmla="*/ 67713 h 247664"/>
                  <a:gd name="connsiteX681" fmla="*/ 213456 w 247047"/>
                  <a:gd name="connsiteY681" fmla="*/ 66832 h 247664"/>
                  <a:gd name="connsiteX682" fmla="*/ 213191 w 247047"/>
                  <a:gd name="connsiteY682" fmla="*/ 65068 h 247664"/>
                  <a:gd name="connsiteX683" fmla="*/ 213808 w 247047"/>
                  <a:gd name="connsiteY683" fmla="*/ 62423 h 247664"/>
                  <a:gd name="connsiteX684" fmla="*/ 214073 w 247047"/>
                  <a:gd name="connsiteY684" fmla="*/ 62423 h 247664"/>
                  <a:gd name="connsiteX685" fmla="*/ 214073 w 247047"/>
                  <a:gd name="connsiteY685" fmla="*/ 61541 h 247664"/>
                  <a:gd name="connsiteX686" fmla="*/ 213808 w 247047"/>
                  <a:gd name="connsiteY686" fmla="*/ 58985 h 247664"/>
                  <a:gd name="connsiteX687" fmla="*/ 214690 w 247047"/>
                  <a:gd name="connsiteY687" fmla="*/ 57750 h 247664"/>
                  <a:gd name="connsiteX688" fmla="*/ 215836 w 247047"/>
                  <a:gd name="connsiteY688" fmla="*/ 55193 h 247664"/>
                  <a:gd name="connsiteX689" fmla="*/ 217599 w 247047"/>
                  <a:gd name="connsiteY689" fmla="*/ 52548 h 247664"/>
                  <a:gd name="connsiteX690" fmla="*/ 215836 w 247047"/>
                  <a:gd name="connsiteY690" fmla="*/ 51667 h 247664"/>
                  <a:gd name="connsiteX691" fmla="*/ 216454 w 247047"/>
                  <a:gd name="connsiteY691" fmla="*/ 49903 h 247664"/>
                  <a:gd name="connsiteX692" fmla="*/ 215219 w 247047"/>
                  <a:gd name="connsiteY692" fmla="*/ 48757 h 247664"/>
                  <a:gd name="connsiteX693" fmla="*/ 214690 w 247047"/>
                  <a:gd name="connsiteY693" fmla="*/ 46112 h 247664"/>
                  <a:gd name="connsiteX694" fmla="*/ 213808 w 247047"/>
                  <a:gd name="connsiteY694" fmla="*/ 44613 h 247664"/>
                  <a:gd name="connsiteX695" fmla="*/ 212927 w 247047"/>
                  <a:gd name="connsiteY695" fmla="*/ 42585 h 247664"/>
                  <a:gd name="connsiteX696" fmla="*/ 212310 w 247047"/>
                  <a:gd name="connsiteY696" fmla="*/ 41439 h 247664"/>
                  <a:gd name="connsiteX697" fmla="*/ 209135 w 247047"/>
                  <a:gd name="connsiteY697" fmla="*/ 32358 h 247664"/>
                  <a:gd name="connsiteX698" fmla="*/ 207637 w 247047"/>
                  <a:gd name="connsiteY698" fmla="*/ 31212 h 247664"/>
                  <a:gd name="connsiteX699" fmla="*/ 207637 w 247047"/>
                  <a:gd name="connsiteY699" fmla="*/ 30065 h 247664"/>
                  <a:gd name="connsiteX700" fmla="*/ 206490 w 247047"/>
                  <a:gd name="connsiteY700" fmla="*/ 28302 h 247664"/>
                  <a:gd name="connsiteX701" fmla="*/ 206226 w 247047"/>
                  <a:gd name="connsiteY701" fmla="*/ 25657 h 247664"/>
                  <a:gd name="connsiteX702" fmla="*/ 205873 w 247047"/>
                  <a:gd name="connsiteY702" fmla="*/ 23629 h 247664"/>
                  <a:gd name="connsiteX703" fmla="*/ 202170 w 247047"/>
                  <a:gd name="connsiteY703" fmla="*/ 16928 h 247664"/>
                  <a:gd name="connsiteX704" fmla="*/ 200054 w 247047"/>
                  <a:gd name="connsiteY704" fmla="*/ 12608 h 247664"/>
                  <a:gd name="connsiteX705" fmla="*/ 198908 w 247047"/>
                  <a:gd name="connsiteY705" fmla="*/ 10227 h 247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</a:cxnLst>
                <a:rect l="l" t="t" r="r" b="b"/>
                <a:pathLst>
                  <a:path w="247047" h="247664">
                    <a:moveTo>
                      <a:pt x="197762" y="7582"/>
                    </a:moveTo>
                    <a:lnTo>
                      <a:pt x="195998" y="10492"/>
                    </a:lnTo>
                    <a:lnTo>
                      <a:pt x="193353" y="11374"/>
                    </a:lnTo>
                    <a:lnTo>
                      <a:pt x="187799" y="13401"/>
                    </a:lnTo>
                    <a:lnTo>
                      <a:pt x="185771" y="13401"/>
                    </a:lnTo>
                    <a:lnTo>
                      <a:pt x="185506" y="13754"/>
                    </a:lnTo>
                    <a:lnTo>
                      <a:pt x="184625" y="13754"/>
                    </a:lnTo>
                    <a:lnTo>
                      <a:pt x="183478" y="13754"/>
                    </a:lnTo>
                    <a:lnTo>
                      <a:pt x="182861" y="13401"/>
                    </a:lnTo>
                    <a:lnTo>
                      <a:pt x="181980" y="13137"/>
                    </a:lnTo>
                    <a:lnTo>
                      <a:pt x="181980" y="13401"/>
                    </a:lnTo>
                    <a:lnTo>
                      <a:pt x="181451" y="13401"/>
                    </a:lnTo>
                    <a:lnTo>
                      <a:pt x="181098" y="13401"/>
                    </a:lnTo>
                    <a:lnTo>
                      <a:pt x="181098" y="13754"/>
                    </a:lnTo>
                    <a:lnTo>
                      <a:pt x="180216" y="14019"/>
                    </a:lnTo>
                    <a:lnTo>
                      <a:pt x="179952" y="14283"/>
                    </a:lnTo>
                    <a:lnTo>
                      <a:pt x="179334" y="14283"/>
                    </a:lnTo>
                    <a:lnTo>
                      <a:pt x="179070" y="14636"/>
                    </a:lnTo>
                    <a:lnTo>
                      <a:pt x="179334" y="14636"/>
                    </a:lnTo>
                    <a:lnTo>
                      <a:pt x="179334" y="14900"/>
                    </a:lnTo>
                    <a:lnTo>
                      <a:pt x="179070" y="14636"/>
                    </a:lnTo>
                    <a:lnTo>
                      <a:pt x="178805" y="14636"/>
                    </a:lnTo>
                    <a:lnTo>
                      <a:pt x="178188" y="14900"/>
                    </a:lnTo>
                    <a:lnTo>
                      <a:pt x="177924" y="15165"/>
                    </a:lnTo>
                    <a:lnTo>
                      <a:pt x="177307" y="15165"/>
                    </a:lnTo>
                    <a:lnTo>
                      <a:pt x="177924" y="15518"/>
                    </a:lnTo>
                    <a:lnTo>
                      <a:pt x="177042" y="15165"/>
                    </a:lnTo>
                    <a:lnTo>
                      <a:pt x="176161" y="15518"/>
                    </a:lnTo>
                    <a:lnTo>
                      <a:pt x="176161" y="14900"/>
                    </a:lnTo>
                    <a:lnTo>
                      <a:pt x="176161" y="14636"/>
                    </a:lnTo>
                    <a:lnTo>
                      <a:pt x="175279" y="14636"/>
                    </a:lnTo>
                    <a:lnTo>
                      <a:pt x="175543" y="14283"/>
                    </a:lnTo>
                    <a:lnTo>
                      <a:pt x="175896" y="13754"/>
                    </a:lnTo>
                    <a:lnTo>
                      <a:pt x="176161" y="14019"/>
                    </a:lnTo>
                    <a:lnTo>
                      <a:pt x="176425" y="13401"/>
                    </a:lnTo>
                    <a:lnTo>
                      <a:pt x="175896" y="12608"/>
                    </a:lnTo>
                    <a:lnTo>
                      <a:pt x="176161" y="12608"/>
                    </a:lnTo>
                    <a:lnTo>
                      <a:pt x="175014" y="12255"/>
                    </a:lnTo>
                    <a:lnTo>
                      <a:pt x="174750" y="12255"/>
                    </a:lnTo>
                    <a:lnTo>
                      <a:pt x="174750" y="12608"/>
                    </a:lnTo>
                    <a:lnTo>
                      <a:pt x="173868" y="13137"/>
                    </a:lnTo>
                    <a:lnTo>
                      <a:pt x="173515" y="13401"/>
                    </a:lnTo>
                    <a:lnTo>
                      <a:pt x="173251" y="13754"/>
                    </a:lnTo>
                    <a:lnTo>
                      <a:pt x="172898" y="13754"/>
                    </a:lnTo>
                    <a:lnTo>
                      <a:pt x="172634" y="14019"/>
                    </a:lnTo>
                    <a:lnTo>
                      <a:pt x="173251" y="14019"/>
                    </a:lnTo>
                    <a:lnTo>
                      <a:pt x="173868" y="14636"/>
                    </a:lnTo>
                    <a:lnTo>
                      <a:pt x="174397" y="13401"/>
                    </a:lnTo>
                    <a:lnTo>
                      <a:pt x="174397" y="13754"/>
                    </a:lnTo>
                    <a:lnTo>
                      <a:pt x="174397" y="14019"/>
                    </a:lnTo>
                    <a:lnTo>
                      <a:pt x="174133" y="14636"/>
                    </a:lnTo>
                    <a:lnTo>
                      <a:pt x="173868" y="14636"/>
                    </a:lnTo>
                    <a:lnTo>
                      <a:pt x="173868" y="14900"/>
                    </a:lnTo>
                    <a:lnTo>
                      <a:pt x="173868" y="15518"/>
                    </a:lnTo>
                    <a:lnTo>
                      <a:pt x="172898" y="15518"/>
                    </a:lnTo>
                    <a:lnTo>
                      <a:pt x="172634" y="15165"/>
                    </a:lnTo>
                    <a:lnTo>
                      <a:pt x="172369" y="14636"/>
                    </a:lnTo>
                    <a:lnTo>
                      <a:pt x="173251" y="15165"/>
                    </a:lnTo>
                    <a:lnTo>
                      <a:pt x="172898" y="14636"/>
                    </a:lnTo>
                    <a:lnTo>
                      <a:pt x="172369" y="14283"/>
                    </a:lnTo>
                    <a:lnTo>
                      <a:pt x="172017" y="13754"/>
                    </a:lnTo>
                    <a:lnTo>
                      <a:pt x="172017" y="13401"/>
                    </a:lnTo>
                    <a:lnTo>
                      <a:pt x="171752" y="14019"/>
                    </a:lnTo>
                    <a:lnTo>
                      <a:pt x="171488" y="14636"/>
                    </a:lnTo>
                    <a:lnTo>
                      <a:pt x="172017" y="14636"/>
                    </a:lnTo>
                    <a:lnTo>
                      <a:pt x="171752" y="14900"/>
                    </a:lnTo>
                    <a:lnTo>
                      <a:pt x="170959" y="14636"/>
                    </a:lnTo>
                    <a:lnTo>
                      <a:pt x="171752" y="14900"/>
                    </a:lnTo>
                    <a:lnTo>
                      <a:pt x="171488" y="14636"/>
                    </a:lnTo>
                    <a:lnTo>
                      <a:pt x="170959" y="14636"/>
                    </a:lnTo>
                    <a:lnTo>
                      <a:pt x="169460" y="14636"/>
                    </a:lnTo>
                    <a:lnTo>
                      <a:pt x="168578" y="15518"/>
                    </a:lnTo>
                    <a:lnTo>
                      <a:pt x="167432" y="15782"/>
                    </a:lnTo>
                    <a:lnTo>
                      <a:pt x="166550" y="15782"/>
                    </a:lnTo>
                    <a:lnTo>
                      <a:pt x="167432" y="15518"/>
                    </a:lnTo>
                    <a:lnTo>
                      <a:pt x="167696" y="15518"/>
                    </a:lnTo>
                    <a:lnTo>
                      <a:pt x="168313" y="15165"/>
                    </a:lnTo>
                    <a:lnTo>
                      <a:pt x="171223" y="13754"/>
                    </a:lnTo>
                    <a:lnTo>
                      <a:pt x="171223" y="13401"/>
                    </a:lnTo>
                    <a:lnTo>
                      <a:pt x="171752" y="13137"/>
                    </a:lnTo>
                    <a:lnTo>
                      <a:pt x="171488" y="13137"/>
                    </a:lnTo>
                    <a:lnTo>
                      <a:pt x="171223" y="13137"/>
                    </a:lnTo>
                    <a:lnTo>
                      <a:pt x="170606" y="13754"/>
                    </a:lnTo>
                    <a:lnTo>
                      <a:pt x="167696" y="15165"/>
                    </a:lnTo>
                    <a:lnTo>
                      <a:pt x="165404" y="15518"/>
                    </a:lnTo>
                    <a:lnTo>
                      <a:pt x="163640" y="15165"/>
                    </a:lnTo>
                    <a:lnTo>
                      <a:pt x="161877" y="13137"/>
                    </a:lnTo>
                    <a:lnTo>
                      <a:pt x="160114" y="11109"/>
                    </a:lnTo>
                    <a:lnTo>
                      <a:pt x="158703" y="10492"/>
                    </a:lnTo>
                    <a:lnTo>
                      <a:pt x="158968" y="9963"/>
                    </a:lnTo>
                    <a:lnTo>
                      <a:pt x="158703" y="9963"/>
                    </a:lnTo>
                    <a:lnTo>
                      <a:pt x="158350" y="10492"/>
                    </a:lnTo>
                    <a:lnTo>
                      <a:pt x="158350" y="10845"/>
                    </a:lnTo>
                    <a:lnTo>
                      <a:pt x="158086" y="11109"/>
                    </a:lnTo>
                    <a:lnTo>
                      <a:pt x="157821" y="10492"/>
                    </a:lnTo>
                    <a:lnTo>
                      <a:pt x="158350" y="9963"/>
                    </a:lnTo>
                    <a:lnTo>
                      <a:pt x="157821" y="9610"/>
                    </a:lnTo>
                    <a:lnTo>
                      <a:pt x="156587" y="9346"/>
                    </a:lnTo>
                    <a:lnTo>
                      <a:pt x="156587" y="9610"/>
                    </a:lnTo>
                    <a:lnTo>
                      <a:pt x="157204" y="9963"/>
                    </a:lnTo>
                    <a:lnTo>
                      <a:pt x="156940" y="10492"/>
                    </a:lnTo>
                    <a:lnTo>
                      <a:pt x="157469" y="11374"/>
                    </a:lnTo>
                    <a:lnTo>
                      <a:pt x="158086" y="12608"/>
                    </a:lnTo>
                    <a:lnTo>
                      <a:pt x="157821" y="12873"/>
                    </a:lnTo>
                    <a:lnTo>
                      <a:pt x="158086" y="13401"/>
                    </a:lnTo>
                    <a:lnTo>
                      <a:pt x="157821" y="13754"/>
                    </a:lnTo>
                    <a:lnTo>
                      <a:pt x="157204" y="14283"/>
                    </a:lnTo>
                    <a:lnTo>
                      <a:pt x="156940" y="14636"/>
                    </a:lnTo>
                    <a:lnTo>
                      <a:pt x="156940" y="13754"/>
                    </a:lnTo>
                    <a:lnTo>
                      <a:pt x="156587" y="13401"/>
                    </a:lnTo>
                    <a:lnTo>
                      <a:pt x="156323" y="13401"/>
                    </a:lnTo>
                    <a:lnTo>
                      <a:pt x="156058" y="14019"/>
                    </a:lnTo>
                    <a:lnTo>
                      <a:pt x="155705" y="14636"/>
                    </a:lnTo>
                    <a:lnTo>
                      <a:pt x="155441" y="14636"/>
                    </a:lnTo>
                    <a:lnTo>
                      <a:pt x="155441" y="15165"/>
                    </a:lnTo>
                    <a:lnTo>
                      <a:pt x="154295" y="14636"/>
                    </a:lnTo>
                    <a:lnTo>
                      <a:pt x="154295" y="15165"/>
                    </a:lnTo>
                    <a:lnTo>
                      <a:pt x="154559" y="15518"/>
                    </a:lnTo>
                    <a:lnTo>
                      <a:pt x="154295" y="15518"/>
                    </a:lnTo>
                    <a:lnTo>
                      <a:pt x="154030" y="14636"/>
                    </a:lnTo>
                    <a:lnTo>
                      <a:pt x="153677" y="14900"/>
                    </a:lnTo>
                    <a:lnTo>
                      <a:pt x="153413" y="14900"/>
                    </a:lnTo>
                    <a:lnTo>
                      <a:pt x="153677" y="14636"/>
                    </a:lnTo>
                    <a:lnTo>
                      <a:pt x="153413" y="14019"/>
                    </a:lnTo>
                    <a:lnTo>
                      <a:pt x="152796" y="13401"/>
                    </a:lnTo>
                    <a:lnTo>
                      <a:pt x="152531" y="13401"/>
                    </a:lnTo>
                    <a:lnTo>
                      <a:pt x="152531" y="13137"/>
                    </a:lnTo>
                    <a:lnTo>
                      <a:pt x="152531" y="11109"/>
                    </a:lnTo>
                    <a:lnTo>
                      <a:pt x="151914" y="11109"/>
                    </a:lnTo>
                    <a:lnTo>
                      <a:pt x="151914" y="10845"/>
                    </a:lnTo>
                    <a:lnTo>
                      <a:pt x="151121" y="11109"/>
                    </a:lnTo>
                    <a:lnTo>
                      <a:pt x="150768" y="11991"/>
                    </a:lnTo>
                    <a:lnTo>
                      <a:pt x="150503" y="11374"/>
                    </a:lnTo>
                    <a:lnTo>
                      <a:pt x="149357" y="11109"/>
                    </a:lnTo>
                    <a:lnTo>
                      <a:pt x="149622" y="10845"/>
                    </a:lnTo>
                    <a:lnTo>
                      <a:pt x="149357" y="10492"/>
                    </a:lnTo>
                    <a:lnTo>
                      <a:pt x="149005" y="10845"/>
                    </a:lnTo>
                    <a:lnTo>
                      <a:pt x="148476" y="10227"/>
                    </a:lnTo>
                    <a:lnTo>
                      <a:pt x="147858" y="9963"/>
                    </a:lnTo>
                    <a:lnTo>
                      <a:pt x="147594" y="9610"/>
                    </a:lnTo>
                    <a:lnTo>
                      <a:pt x="147329" y="9963"/>
                    </a:lnTo>
                    <a:lnTo>
                      <a:pt x="146977" y="9081"/>
                    </a:lnTo>
                    <a:lnTo>
                      <a:pt x="147329" y="9081"/>
                    </a:lnTo>
                    <a:lnTo>
                      <a:pt x="147329" y="8817"/>
                    </a:lnTo>
                    <a:lnTo>
                      <a:pt x="147329" y="8200"/>
                    </a:lnTo>
                    <a:lnTo>
                      <a:pt x="147329" y="7582"/>
                    </a:lnTo>
                    <a:lnTo>
                      <a:pt x="147594" y="7582"/>
                    </a:lnTo>
                    <a:lnTo>
                      <a:pt x="147858" y="7582"/>
                    </a:lnTo>
                    <a:lnTo>
                      <a:pt x="147858" y="7318"/>
                    </a:lnTo>
                    <a:lnTo>
                      <a:pt x="147858" y="7053"/>
                    </a:lnTo>
                    <a:lnTo>
                      <a:pt x="147594" y="6436"/>
                    </a:lnTo>
                    <a:lnTo>
                      <a:pt x="148123" y="6436"/>
                    </a:lnTo>
                    <a:lnTo>
                      <a:pt x="148476" y="6172"/>
                    </a:lnTo>
                    <a:lnTo>
                      <a:pt x="148123" y="6172"/>
                    </a:lnTo>
                    <a:lnTo>
                      <a:pt x="147858" y="5555"/>
                    </a:lnTo>
                    <a:lnTo>
                      <a:pt x="147594" y="5555"/>
                    </a:lnTo>
                    <a:lnTo>
                      <a:pt x="147594" y="5290"/>
                    </a:lnTo>
                    <a:lnTo>
                      <a:pt x="148123" y="5290"/>
                    </a:lnTo>
                    <a:lnTo>
                      <a:pt x="148740" y="5819"/>
                    </a:lnTo>
                    <a:lnTo>
                      <a:pt x="148740" y="5290"/>
                    </a:lnTo>
                    <a:lnTo>
                      <a:pt x="148123" y="4144"/>
                    </a:lnTo>
                    <a:lnTo>
                      <a:pt x="147858" y="4144"/>
                    </a:lnTo>
                    <a:lnTo>
                      <a:pt x="148476" y="3527"/>
                    </a:lnTo>
                    <a:lnTo>
                      <a:pt x="149357" y="4144"/>
                    </a:lnTo>
                    <a:lnTo>
                      <a:pt x="150239" y="5290"/>
                    </a:lnTo>
                    <a:lnTo>
                      <a:pt x="150503" y="5555"/>
                    </a:lnTo>
                    <a:lnTo>
                      <a:pt x="151650" y="7053"/>
                    </a:lnTo>
                    <a:lnTo>
                      <a:pt x="151650" y="7318"/>
                    </a:lnTo>
                    <a:lnTo>
                      <a:pt x="151914" y="7318"/>
                    </a:lnTo>
                    <a:lnTo>
                      <a:pt x="152267" y="7318"/>
                    </a:lnTo>
                    <a:lnTo>
                      <a:pt x="155176" y="9081"/>
                    </a:lnTo>
                    <a:lnTo>
                      <a:pt x="155441" y="9346"/>
                    </a:lnTo>
                    <a:lnTo>
                      <a:pt x="155705" y="9610"/>
                    </a:lnTo>
                    <a:lnTo>
                      <a:pt x="156323" y="9346"/>
                    </a:lnTo>
                    <a:lnTo>
                      <a:pt x="155705" y="9346"/>
                    </a:lnTo>
                    <a:lnTo>
                      <a:pt x="155441" y="9081"/>
                    </a:lnTo>
                    <a:lnTo>
                      <a:pt x="151914" y="7053"/>
                    </a:lnTo>
                    <a:lnTo>
                      <a:pt x="150503" y="5290"/>
                    </a:lnTo>
                    <a:lnTo>
                      <a:pt x="149886" y="4144"/>
                    </a:lnTo>
                    <a:lnTo>
                      <a:pt x="148740" y="3262"/>
                    </a:lnTo>
                    <a:lnTo>
                      <a:pt x="147858" y="3527"/>
                    </a:lnTo>
                    <a:lnTo>
                      <a:pt x="147329" y="3791"/>
                    </a:lnTo>
                    <a:lnTo>
                      <a:pt x="146712" y="3527"/>
                    </a:lnTo>
                    <a:lnTo>
                      <a:pt x="145566" y="2380"/>
                    </a:lnTo>
                    <a:lnTo>
                      <a:pt x="144949" y="2028"/>
                    </a:lnTo>
                    <a:lnTo>
                      <a:pt x="144067" y="1763"/>
                    </a:lnTo>
                    <a:lnTo>
                      <a:pt x="143538" y="2645"/>
                    </a:lnTo>
                    <a:lnTo>
                      <a:pt x="143185" y="3791"/>
                    </a:lnTo>
                    <a:lnTo>
                      <a:pt x="140893" y="3527"/>
                    </a:lnTo>
                    <a:lnTo>
                      <a:pt x="139130" y="3262"/>
                    </a:lnTo>
                    <a:lnTo>
                      <a:pt x="137631" y="3527"/>
                    </a:lnTo>
                    <a:lnTo>
                      <a:pt x="133840" y="2028"/>
                    </a:lnTo>
                    <a:lnTo>
                      <a:pt x="132164" y="1499"/>
                    </a:lnTo>
                    <a:lnTo>
                      <a:pt x="130313" y="1499"/>
                    </a:lnTo>
                    <a:lnTo>
                      <a:pt x="129784" y="2028"/>
                    </a:lnTo>
                    <a:lnTo>
                      <a:pt x="131547" y="2380"/>
                    </a:lnTo>
                    <a:lnTo>
                      <a:pt x="132429" y="2909"/>
                    </a:lnTo>
                    <a:lnTo>
                      <a:pt x="133046" y="4144"/>
                    </a:lnTo>
                    <a:lnTo>
                      <a:pt x="132694" y="4144"/>
                    </a:lnTo>
                    <a:lnTo>
                      <a:pt x="133046" y="4144"/>
                    </a:lnTo>
                    <a:lnTo>
                      <a:pt x="132164" y="4408"/>
                    </a:lnTo>
                    <a:lnTo>
                      <a:pt x="131812" y="4144"/>
                    </a:lnTo>
                    <a:lnTo>
                      <a:pt x="130666" y="4144"/>
                    </a:lnTo>
                    <a:lnTo>
                      <a:pt x="129519" y="5555"/>
                    </a:lnTo>
                    <a:lnTo>
                      <a:pt x="129167" y="5290"/>
                    </a:lnTo>
                    <a:lnTo>
                      <a:pt x="128902" y="5555"/>
                    </a:lnTo>
                    <a:lnTo>
                      <a:pt x="128020" y="6172"/>
                    </a:lnTo>
                    <a:lnTo>
                      <a:pt x="127403" y="5555"/>
                    </a:lnTo>
                    <a:lnTo>
                      <a:pt x="126257" y="5555"/>
                    </a:lnTo>
                    <a:lnTo>
                      <a:pt x="125993" y="5290"/>
                    </a:lnTo>
                    <a:lnTo>
                      <a:pt x="125728" y="5555"/>
                    </a:lnTo>
                    <a:lnTo>
                      <a:pt x="124846" y="6172"/>
                    </a:lnTo>
                    <a:lnTo>
                      <a:pt x="123700" y="6172"/>
                    </a:lnTo>
                    <a:lnTo>
                      <a:pt x="123083" y="6436"/>
                    </a:lnTo>
                    <a:lnTo>
                      <a:pt x="121937" y="6436"/>
                    </a:lnTo>
                    <a:lnTo>
                      <a:pt x="121055" y="6436"/>
                    </a:lnTo>
                    <a:lnTo>
                      <a:pt x="121055" y="6172"/>
                    </a:lnTo>
                    <a:lnTo>
                      <a:pt x="122202" y="6172"/>
                    </a:lnTo>
                    <a:lnTo>
                      <a:pt x="122818" y="5555"/>
                    </a:lnTo>
                    <a:lnTo>
                      <a:pt x="122202" y="5026"/>
                    </a:lnTo>
                    <a:lnTo>
                      <a:pt x="122818" y="4408"/>
                    </a:lnTo>
                    <a:lnTo>
                      <a:pt x="123347" y="3791"/>
                    </a:lnTo>
                    <a:lnTo>
                      <a:pt x="124846" y="3791"/>
                    </a:lnTo>
                    <a:lnTo>
                      <a:pt x="125993" y="4144"/>
                    </a:lnTo>
                    <a:lnTo>
                      <a:pt x="126874" y="3791"/>
                    </a:lnTo>
                    <a:lnTo>
                      <a:pt x="127227" y="3791"/>
                    </a:lnTo>
                    <a:lnTo>
                      <a:pt x="127403" y="3791"/>
                    </a:lnTo>
                    <a:lnTo>
                      <a:pt x="127403" y="3527"/>
                    </a:lnTo>
                    <a:lnTo>
                      <a:pt x="127227" y="3527"/>
                    </a:lnTo>
                    <a:lnTo>
                      <a:pt x="127403" y="2645"/>
                    </a:lnTo>
                    <a:lnTo>
                      <a:pt x="128020" y="2645"/>
                    </a:lnTo>
                    <a:lnTo>
                      <a:pt x="128902" y="2028"/>
                    </a:lnTo>
                    <a:lnTo>
                      <a:pt x="127756" y="882"/>
                    </a:lnTo>
                    <a:lnTo>
                      <a:pt x="126257" y="617"/>
                    </a:lnTo>
                    <a:lnTo>
                      <a:pt x="125111" y="1234"/>
                    </a:lnTo>
                    <a:lnTo>
                      <a:pt x="123700" y="1499"/>
                    </a:lnTo>
                    <a:lnTo>
                      <a:pt x="122202" y="2645"/>
                    </a:lnTo>
                    <a:lnTo>
                      <a:pt x="121320" y="2380"/>
                    </a:lnTo>
                    <a:lnTo>
                      <a:pt x="120438" y="4144"/>
                    </a:lnTo>
                    <a:lnTo>
                      <a:pt x="119821" y="5290"/>
                    </a:lnTo>
                    <a:lnTo>
                      <a:pt x="119027" y="5290"/>
                    </a:lnTo>
                    <a:lnTo>
                      <a:pt x="118146" y="5290"/>
                    </a:lnTo>
                    <a:lnTo>
                      <a:pt x="117529" y="5026"/>
                    </a:lnTo>
                    <a:lnTo>
                      <a:pt x="117264" y="5026"/>
                    </a:lnTo>
                    <a:lnTo>
                      <a:pt x="117529" y="5555"/>
                    </a:lnTo>
                    <a:lnTo>
                      <a:pt x="117793" y="3791"/>
                    </a:lnTo>
                    <a:lnTo>
                      <a:pt x="116647" y="3527"/>
                    </a:lnTo>
                    <a:lnTo>
                      <a:pt x="115765" y="4144"/>
                    </a:lnTo>
                    <a:lnTo>
                      <a:pt x="114972" y="2909"/>
                    </a:lnTo>
                    <a:lnTo>
                      <a:pt x="114002" y="3262"/>
                    </a:lnTo>
                    <a:lnTo>
                      <a:pt x="114354" y="4408"/>
                    </a:lnTo>
                    <a:lnTo>
                      <a:pt x="113473" y="5290"/>
                    </a:lnTo>
                    <a:lnTo>
                      <a:pt x="114354" y="6436"/>
                    </a:lnTo>
                    <a:lnTo>
                      <a:pt x="115501" y="8817"/>
                    </a:lnTo>
                    <a:lnTo>
                      <a:pt x="114354" y="9346"/>
                    </a:lnTo>
                    <a:lnTo>
                      <a:pt x="114002" y="9610"/>
                    </a:lnTo>
                    <a:lnTo>
                      <a:pt x="114619" y="9963"/>
                    </a:lnTo>
                    <a:lnTo>
                      <a:pt x="114972" y="9610"/>
                    </a:lnTo>
                    <a:lnTo>
                      <a:pt x="115501" y="9346"/>
                    </a:lnTo>
                    <a:lnTo>
                      <a:pt x="116118" y="9963"/>
                    </a:lnTo>
                    <a:lnTo>
                      <a:pt x="116118" y="10492"/>
                    </a:lnTo>
                    <a:lnTo>
                      <a:pt x="115765" y="10845"/>
                    </a:lnTo>
                    <a:lnTo>
                      <a:pt x="114972" y="10492"/>
                    </a:lnTo>
                    <a:lnTo>
                      <a:pt x="114354" y="11109"/>
                    </a:lnTo>
                    <a:lnTo>
                      <a:pt x="113737" y="11109"/>
                    </a:lnTo>
                    <a:lnTo>
                      <a:pt x="113208" y="11109"/>
                    </a:lnTo>
                    <a:lnTo>
                      <a:pt x="112591" y="11109"/>
                    </a:lnTo>
                    <a:lnTo>
                      <a:pt x="112591" y="10845"/>
                    </a:lnTo>
                    <a:lnTo>
                      <a:pt x="112856" y="9963"/>
                    </a:lnTo>
                    <a:lnTo>
                      <a:pt x="111445" y="9610"/>
                    </a:lnTo>
                    <a:lnTo>
                      <a:pt x="112856" y="7935"/>
                    </a:lnTo>
                    <a:lnTo>
                      <a:pt x="111092" y="5819"/>
                    </a:lnTo>
                    <a:lnTo>
                      <a:pt x="110563" y="6436"/>
                    </a:lnTo>
                    <a:lnTo>
                      <a:pt x="109946" y="6436"/>
                    </a:lnTo>
                    <a:lnTo>
                      <a:pt x="108447" y="7053"/>
                    </a:lnTo>
                    <a:lnTo>
                      <a:pt x="107654" y="8817"/>
                    </a:lnTo>
                    <a:lnTo>
                      <a:pt x="107301" y="9610"/>
                    </a:lnTo>
                    <a:lnTo>
                      <a:pt x="107654" y="11374"/>
                    </a:lnTo>
                    <a:lnTo>
                      <a:pt x="107301" y="11109"/>
                    </a:lnTo>
                    <a:lnTo>
                      <a:pt x="107037" y="11374"/>
                    </a:lnTo>
                    <a:lnTo>
                      <a:pt x="107037" y="11726"/>
                    </a:lnTo>
                    <a:lnTo>
                      <a:pt x="107301" y="12255"/>
                    </a:lnTo>
                    <a:lnTo>
                      <a:pt x="107301" y="12873"/>
                    </a:lnTo>
                    <a:lnTo>
                      <a:pt x="106155" y="13401"/>
                    </a:lnTo>
                    <a:lnTo>
                      <a:pt x="105273" y="13401"/>
                    </a:lnTo>
                    <a:lnTo>
                      <a:pt x="104391" y="9963"/>
                    </a:lnTo>
                    <a:lnTo>
                      <a:pt x="102981" y="10845"/>
                    </a:lnTo>
                    <a:lnTo>
                      <a:pt x="101217" y="11109"/>
                    </a:lnTo>
                    <a:lnTo>
                      <a:pt x="101482" y="13137"/>
                    </a:lnTo>
                    <a:lnTo>
                      <a:pt x="100600" y="12255"/>
                    </a:lnTo>
                    <a:lnTo>
                      <a:pt x="99454" y="13754"/>
                    </a:lnTo>
                    <a:lnTo>
                      <a:pt x="97691" y="13137"/>
                    </a:lnTo>
                    <a:lnTo>
                      <a:pt x="97073" y="14636"/>
                    </a:lnTo>
                    <a:lnTo>
                      <a:pt x="95398" y="15782"/>
                    </a:lnTo>
                    <a:lnTo>
                      <a:pt x="92489" y="18074"/>
                    </a:lnTo>
                    <a:lnTo>
                      <a:pt x="91607" y="21072"/>
                    </a:lnTo>
                    <a:lnTo>
                      <a:pt x="88962" y="20719"/>
                    </a:lnTo>
                    <a:lnTo>
                      <a:pt x="85700" y="18692"/>
                    </a:lnTo>
                    <a:lnTo>
                      <a:pt x="85435" y="17545"/>
                    </a:lnTo>
                    <a:lnTo>
                      <a:pt x="83143" y="16664"/>
                    </a:lnTo>
                    <a:lnTo>
                      <a:pt x="80498" y="16047"/>
                    </a:lnTo>
                    <a:lnTo>
                      <a:pt x="78999" y="15518"/>
                    </a:lnTo>
                    <a:lnTo>
                      <a:pt x="77588" y="15518"/>
                    </a:lnTo>
                    <a:lnTo>
                      <a:pt x="76971" y="14636"/>
                    </a:lnTo>
                    <a:lnTo>
                      <a:pt x="76089" y="14900"/>
                    </a:lnTo>
                    <a:lnTo>
                      <a:pt x="75560" y="15518"/>
                    </a:lnTo>
                    <a:lnTo>
                      <a:pt x="74326" y="15518"/>
                    </a:lnTo>
                    <a:lnTo>
                      <a:pt x="72034" y="15165"/>
                    </a:lnTo>
                    <a:lnTo>
                      <a:pt x="70887" y="14636"/>
                    </a:lnTo>
                    <a:lnTo>
                      <a:pt x="67096" y="14283"/>
                    </a:lnTo>
                    <a:lnTo>
                      <a:pt x="66215" y="14636"/>
                    </a:lnTo>
                    <a:lnTo>
                      <a:pt x="65597" y="13754"/>
                    </a:lnTo>
                    <a:lnTo>
                      <a:pt x="65068" y="11374"/>
                    </a:lnTo>
                    <a:lnTo>
                      <a:pt x="64716" y="10845"/>
                    </a:lnTo>
                    <a:lnTo>
                      <a:pt x="64451" y="10492"/>
                    </a:lnTo>
                    <a:lnTo>
                      <a:pt x="64187" y="10492"/>
                    </a:lnTo>
                    <a:lnTo>
                      <a:pt x="64187" y="10845"/>
                    </a:lnTo>
                    <a:lnTo>
                      <a:pt x="63834" y="11374"/>
                    </a:lnTo>
                    <a:lnTo>
                      <a:pt x="63569" y="11109"/>
                    </a:lnTo>
                    <a:lnTo>
                      <a:pt x="63305" y="11109"/>
                    </a:lnTo>
                    <a:lnTo>
                      <a:pt x="62688" y="11374"/>
                    </a:lnTo>
                    <a:lnTo>
                      <a:pt x="61277" y="12255"/>
                    </a:lnTo>
                    <a:lnTo>
                      <a:pt x="60043" y="12608"/>
                    </a:lnTo>
                    <a:lnTo>
                      <a:pt x="60043" y="12255"/>
                    </a:lnTo>
                    <a:lnTo>
                      <a:pt x="59514" y="11726"/>
                    </a:lnTo>
                    <a:lnTo>
                      <a:pt x="58896" y="11726"/>
                    </a:lnTo>
                    <a:lnTo>
                      <a:pt x="58632" y="11374"/>
                    </a:lnTo>
                    <a:lnTo>
                      <a:pt x="58015" y="11109"/>
                    </a:lnTo>
                    <a:lnTo>
                      <a:pt x="56604" y="11109"/>
                    </a:lnTo>
                    <a:lnTo>
                      <a:pt x="55370" y="10845"/>
                    </a:lnTo>
                    <a:lnTo>
                      <a:pt x="54488" y="9963"/>
                    </a:lnTo>
                    <a:lnTo>
                      <a:pt x="53695" y="8200"/>
                    </a:lnTo>
                    <a:lnTo>
                      <a:pt x="53959" y="7935"/>
                    </a:lnTo>
                    <a:lnTo>
                      <a:pt x="53695" y="7318"/>
                    </a:lnTo>
                    <a:lnTo>
                      <a:pt x="53077" y="7318"/>
                    </a:lnTo>
                    <a:lnTo>
                      <a:pt x="51050" y="7318"/>
                    </a:lnTo>
                    <a:lnTo>
                      <a:pt x="47787" y="6436"/>
                    </a:lnTo>
                    <a:lnTo>
                      <a:pt x="47523" y="6172"/>
                    </a:lnTo>
                    <a:lnTo>
                      <a:pt x="46906" y="6172"/>
                    </a:lnTo>
                    <a:lnTo>
                      <a:pt x="46112" y="6172"/>
                    </a:lnTo>
                    <a:lnTo>
                      <a:pt x="45495" y="5290"/>
                    </a:lnTo>
                    <a:lnTo>
                      <a:pt x="44613" y="5290"/>
                    </a:lnTo>
                    <a:lnTo>
                      <a:pt x="43731" y="5555"/>
                    </a:lnTo>
                    <a:lnTo>
                      <a:pt x="41968" y="5290"/>
                    </a:lnTo>
                    <a:lnTo>
                      <a:pt x="40558" y="4408"/>
                    </a:lnTo>
                    <a:lnTo>
                      <a:pt x="38794" y="3527"/>
                    </a:lnTo>
                    <a:lnTo>
                      <a:pt x="36766" y="2645"/>
                    </a:lnTo>
                    <a:lnTo>
                      <a:pt x="35003" y="2909"/>
                    </a:lnTo>
                    <a:lnTo>
                      <a:pt x="32975" y="2645"/>
                    </a:lnTo>
                    <a:lnTo>
                      <a:pt x="31741" y="1763"/>
                    </a:lnTo>
                    <a:lnTo>
                      <a:pt x="30065" y="882"/>
                    </a:lnTo>
                    <a:lnTo>
                      <a:pt x="28302" y="617"/>
                    </a:lnTo>
                    <a:lnTo>
                      <a:pt x="26539" y="1499"/>
                    </a:lnTo>
                    <a:lnTo>
                      <a:pt x="25393" y="617"/>
                    </a:lnTo>
                    <a:lnTo>
                      <a:pt x="23277" y="882"/>
                    </a:lnTo>
                    <a:lnTo>
                      <a:pt x="20984" y="882"/>
                    </a:lnTo>
                    <a:lnTo>
                      <a:pt x="18956" y="1234"/>
                    </a:lnTo>
                    <a:lnTo>
                      <a:pt x="16311" y="2028"/>
                    </a:lnTo>
                    <a:lnTo>
                      <a:pt x="12256" y="4144"/>
                    </a:lnTo>
                    <a:lnTo>
                      <a:pt x="10757" y="4144"/>
                    </a:lnTo>
                    <a:lnTo>
                      <a:pt x="8993" y="3791"/>
                    </a:lnTo>
                    <a:lnTo>
                      <a:pt x="8200" y="3791"/>
                    </a:lnTo>
                    <a:lnTo>
                      <a:pt x="7318" y="3527"/>
                    </a:lnTo>
                    <a:lnTo>
                      <a:pt x="6965" y="2645"/>
                    </a:lnTo>
                    <a:lnTo>
                      <a:pt x="6436" y="1763"/>
                    </a:lnTo>
                    <a:lnTo>
                      <a:pt x="6701" y="0"/>
                    </a:lnTo>
                    <a:lnTo>
                      <a:pt x="5202" y="1763"/>
                    </a:lnTo>
                    <a:lnTo>
                      <a:pt x="4320" y="3791"/>
                    </a:lnTo>
                    <a:lnTo>
                      <a:pt x="2028" y="6172"/>
                    </a:lnTo>
                    <a:lnTo>
                      <a:pt x="1763" y="10492"/>
                    </a:lnTo>
                    <a:lnTo>
                      <a:pt x="1763" y="12873"/>
                    </a:lnTo>
                    <a:lnTo>
                      <a:pt x="2645" y="15782"/>
                    </a:lnTo>
                    <a:lnTo>
                      <a:pt x="5555" y="22218"/>
                    </a:lnTo>
                    <a:lnTo>
                      <a:pt x="4320" y="28566"/>
                    </a:lnTo>
                    <a:lnTo>
                      <a:pt x="3174" y="30065"/>
                    </a:lnTo>
                    <a:lnTo>
                      <a:pt x="882" y="32975"/>
                    </a:lnTo>
                    <a:lnTo>
                      <a:pt x="0" y="35620"/>
                    </a:lnTo>
                    <a:lnTo>
                      <a:pt x="0" y="37648"/>
                    </a:lnTo>
                    <a:lnTo>
                      <a:pt x="2292" y="43202"/>
                    </a:lnTo>
                    <a:lnTo>
                      <a:pt x="2910" y="46729"/>
                    </a:lnTo>
                    <a:lnTo>
                      <a:pt x="4320" y="49903"/>
                    </a:lnTo>
                    <a:lnTo>
                      <a:pt x="4673" y="53959"/>
                    </a:lnTo>
                    <a:lnTo>
                      <a:pt x="7583" y="60395"/>
                    </a:lnTo>
                    <a:lnTo>
                      <a:pt x="16576" y="240611"/>
                    </a:lnTo>
                    <a:lnTo>
                      <a:pt x="152267" y="240611"/>
                    </a:lnTo>
                    <a:lnTo>
                      <a:pt x="153677" y="236291"/>
                    </a:lnTo>
                    <a:lnTo>
                      <a:pt x="154912" y="235145"/>
                    </a:lnTo>
                    <a:lnTo>
                      <a:pt x="156587" y="235410"/>
                    </a:lnTo>
                    <a:lnTo>
                      <a:pt x="156940" y="236820"/>
                    </a:lnTo>
                    <a:lnTo>
                      <a:pt x="155705" y="240964"/>
                    </a:lnTo>
                    <a:lnTo>
                      <a:pt x="189562" y="240964"/>
                    </a:lnTo>
                    <a:lnTo>
                      <a:pt x="193089" y="240964"/>
                    </a:lnTo>
                    <a:lnTo>
                      <a:pt x="201818" y="247665"/>
                    </a:lnTo>
                    <a:lnTo>
                      <a:pt x="209664" y="247400"/>
                    </a:lnTo>
                    <a:lnTo>
                      <a:pt x="211780" y="246519"/>
                    </a:lnTo>
                    <a:lnTo>
                      <a:pt x="214073" y="235410"/>
                    </a:lnTo>
                    <a:lnTo>
                      <a:pt x="226064" y="233911"/>
                    </a:lnTo>
                    <a:lnTo>
                      <a:pt x="230120" y="219627"/>
                    </a:lnTo>
                    <a:lnTo>
                      <a:pt x="236291" y="222008"/>
                    </a:lnTo>
                    <a:lnTo>
                      <a:pt x="237702" y="219627"/>
                    </a:lnTo>
                    <a:lnTo>
                      <a:pt x="243521" y="212662"/>
                    </a:lnTo>
                    <a:lnTo>
                      <a:pt x="242110" y="210017"/>
                    </a:lnTo>
                    <a:lnTo>
                      <a:pt x="241758" y="206490"/>
                    </a:lnTo>
                    <a:lnTo>
                      <a:pt x="240876" y="205344"/>
                    </a:lnTo>
                    <a:lnTo>
                      <a:pt x="240612" y="204462"/>
                    </a:lnTo>
                    <a:lnTo>
                      <a:pt x="240347" y="203581"/>
                    </a:lnTo>
                    <a:lnTo>
                      <a:pt x="241229" y="203052"/>
                    </a:lnTo>
                    <a:lnTo>
                      <a:pt x="240876" y="201553"/>
                    </a:lnTo>
                    <a:lnTo>
                      <a:pt x="240876" y="200671"/>
                    </a:lnTo>
                    <a:lnTo>
                      <a:pt x="241229" y="198026"/>
                    </a:lnTo>
                    <a:lnTo>
                      <a:pt x="240876" y="197497"/>
                    </a:lnTo>
                    <a:lnTo>
                      <a:pt x="241229" y="196615"/>
                    </a:lnTo>
                    <a:lnTo>
                      <a:pt x="241229" y="196351"/>
                    </a:lnTo>
                    <a:lnTo>
                      <a:pt x="240347" y="196351"/>
                    </a:lnTo>
                    <a:lnTo>
                      <a:pt x="240612" y="195998"/>
                    </a:lnTo>
                    <a:lnTo>
                      <a:pt x="240347" y="195734"/>
                    </a:lnTo>
                    <a:lnTo>
                      <a:pt x="239994" y="194588"/>
                    </a:lnTo>
                    <a:lnTo>
                      <a:pt x="239730" y="193089"/>
                    </a:lnTo>
                    <a:lnTo>
                      <a:pt x="239994" y="192560"/>
                    </a:lnTo>
                    <a:lnTo>
                      <a:pt x="240876" y="191942"/>
                    </a:lnTo>
                    <a:lnTo>
                      <a:pt x="241758" y="191942"/>
                    </a:lnTo>
                    <a:lnTo>
                      <a:pt x="241493" y="192207"/>
                    </a:lnTo>
                    <a:lnTo>
                      <a:pt x="241758" y="192560"/>
                    </a:lnTo>
                    <a:lnTo>
                      <a:pt x="242375" y="192824"/>
                    </a:lnTo>
                    <a:lnTo>
                      <a:pt x="243257" y="193089"/>
                    </a:lnTo>
                    <a:lnTo>
                      <a:pt x="244667" y="192824"/>
                    </a:lnTo>
                    <a:lnTo>
                      <a:pt x="245284" y="192824"/>
                    </a:lnTo>
                    <a:lnTo>
                      <a:pt x="245549" y="192560"/>
                    </a:lnTo>
                    <a:lnTo>
                      <a:pt x="246431" y="192824"/>
                    </a:lnTo>
                    <a:lnTo>
                      <a:pt x="246166" y="193353"/>
                    </a:lnTo>
                    <a:lnTo>
                      <a:pt x="246783" y="193706"/>
                    </a:lnTo>
                    <a:lnTo>
                      <a:pt x="247048" y="193353"/>
                    </a:lnTo>
                    <a:lnTo>
                      <a:pt x="247048" y="192824"/>
                    </a:lnTo>
                    <a:lnTo>
                      <a:pt x="246431" y="191325"/>
                    </a:lnTo>
                    <a:lnTo>
                      <a:pt x="245902" y="191325"/>
                    </a:lnTo>
                    <a:lnTo>
                      <a:pt x="245284" y="191325"/>
                    </a:lnTo>
                    <a:lnTo>
                      <a:pt x="242639" y="190796"/>
                    </a:lnTo>
                    <a:lnTo>
                      <a:pt x="242375" y="190796"/>
                    </a:lnTo>
                    <a:lnTo>
                      <a:pt x="242375" y="190179"/>
                    </a:lnTo>
                    <a:lnTo>
                      <a:pt x="241493" y="188151"/>
                    </a:lnTo>
                    <a:lnTo>
                      <a:pt x="240876" y="187887"/>
                    </a:lnTo>
                    <a:lnTo>
                      <a:pt x="240612" y="187534"/>
                    </a:lnTo>
                    <a:lnTo>
                      <a:pt x="240347" y="187534"/>
                    </a:lnTo>
                    <a:lnTo>
                      <a:pt x="240612" y="188151"/>
                    </a:lnTo>
                    <a:lnTo>
                      <a:pt x="240347" y="188416"/>
                    </a:lnTo>
                    <a:lnTo>
                      <a:pt x="240347" y="188151"/>
                    </a:lnTo>
                    <a:lnTo>
                      <a:pt x="239994" y="187887"/>
                    </a:lnTo>
                    <a:lnTo>
                      <a:pt x="239465" y="187270"/>
                    </a:lnTo>
                    <a:lnTo>
                      <a:pt x="237702" y="184624"/>
                    </a:lnTo>
                    <a:lnTo>
                      <a:pt x="237085" y="183743"/>
                    </a:lnTo>
                    <a:lnTo>
                      <a:pt x="236291" y="183214"/>
                    </a:lnTo>
                    <a:lnTo>
                      <a:pt x="233646" y="181186"/>
                    </a:lnTo>
                    <a:lnTo>
                      <a:pt x="233029" y="178805"/>
                    </a:lnTo>
                    <a:lnTo>
                      <a:pt x="231883" y="178276"/>
                    </a:lnTo>
                    <a:lnTo>
                      <a:pt x="231883" y="176513"/>
                    </a:lnTo>
                    <a:lnTo>
                      <a:pt x="231266" y="175279"/>
                    </a:lnTo>
                    <a:lnTo>
                      <a:pt x="229855" y="172105"/>
                    </a:lnTo>
                    <a:lnTo>
                      <a:pt x="228092" y="170958"/>
                    </a:lnTo>
                    <a:lnTo>
                      <a:pt x="227827" y="168049"/>
                    </a:lnTo>
                    <a:lnTo>
                      <a:pt x="226945" y="167432"/>
                    </a:lnTo>
                    <a:lnTo>
                      <a:pt x="226593" y="166285"/>
                    </a:lnTo>
                    <a:lnTo>
                      <a:pt x="224300" y="162494"/>
                    </a:lnTo>
                    <a:lnTo>
                      <a:pt x="221391" y="157557"/>
                    </a:lnTo>
                    <a:lnTo>
                      <a:pt x="221038" y="156323"/>
                    </a:lnTo>
                    <a:lnTo>
                      <a:pt x="220156" y="154030"/>
                    </a:lnTo>
                    <a:lnTo>
                      <a:pt x="218128" y="151385"/>
                    </a:lnTo>
                    <a:lnTo>
                      <a:pt x="217247" y="148476"/>
                    </a:lnTo>
                    <a:lnTo>
                      <a:pt x="215484" y="146448"/>
                    </a:lnTo>
                    <a:lnTo>
                      <a:pt x="214426" y="145301"/>
                    </a:lnTo>
                    <a:lnTo>
                      <a:pt x="213808" y="142921"/>
                    </a:lnTo>
                    <a:lnTo>
                      <a:pt x="212927" y="142656"/>
                    </a:lnTo>
                    <a:lnTo>
                      <a:pt x="211428" y="140893"/>
                    </a:lnTo>
                    <a:lnTo>
                      <a:pt x="211163" y="139747"/>
                    </a:lnTo>
                    <a:lnTo>
                      <a:pt x="209135" y="135956"/>
                    </a:lnTo>
                    <a:lnTo>
                      <a:pt x="208254" y="133311"/>
                    </a:lnTo>
                    <a:lnTo>
                      <a:pt x="206226" y="130665"/>
                    </a:lnTo>
                    <a:lnTo>
                      <a:pt x="205344" y="128373"/>
                    </a:lnTo>
                    <a:lnTo>
                      <a:pt x="204727" y="127756"/>
                    </a:lnTo>
                    <a:lnTo>
                      <a:pt x="204727" y="126610"/>
                    </a:lnTo>
                    <a:lnTo>
                      <a:pt x="204727" y="125993"/>
                    </a:lnTo>
                    <a:lnTo>
                      <a:pt x="204462" y="125464"/>
                    </a:lnTo>
                    <a:lnTo>
                      <a:pt x="204110" y="125111"/>
                    </a:lnTo>
                    <a:lnTo>
                      <a:pt x="203581" y="125464"/>
                    </a:lnTo>
                    <a:lnTo>
                      <a:pt x="202699" y="125464"/>
                    </a:lnTo>
                    <a:lnTo>
                      <a:pt x="202170" y="125111"/>
                    </a:lnTo>
                    <a:lnTo>
                      <a:pt x="202170" y="122818"/>
                    </a:lnTo>
                    <a:lnTo>
                      <a:pt x="202170" y="122554"/>
                    </a:lnTo>
                    <a:lnTo>
                      <a:pt x="202170" y="121937"/>
                    </a:lnTo>
                    <a:lnTo>
                      <a:pt x="201818" y="121055"/>
                    </a:lnTo>
                    <a:lnTo>
                      <a:pt x="202170" y="120438"/>
                    </a:lnTo>
                    <a:lnTo>
                      <a:pt x="202435" y="120438"/>
                    </a:lnTo>
                    <a:lnTo>
                      <a:pt x="202435" y="119909"/>
                    </a:lnTo>
                    <a:lnTo>
                      <a:pt x="202699" y="120438"/>
                    </a:lnTo>
                    <a:lnTo>
                      <a:pt x="202964" y="120791"/>
                    </a:lnTo>
                    <a:lnTo>
                      <a:pt x="203316" y="120438"/>
                    </a:lnTo>
                    <a:lnTo>
                      <a:pt x="203316" y="119644"/>
                    </a:lnTo>
                    <a:lnTo>
                      <a:pt x="203316" y="119027"/>
                    </a:lnTo>
                    <a:lnTo>
                      <a:pt x="202699" y="118410"/>
                    </a:lnTo>
                    <a:lnTo>
                      <a:pt x="201818" y="118146"/>
                    </a:lnTo>
                    <a:lnTo>
                      <a:pt x="200936" y="117617"/>
                    </a:lnTo>
                    <a:lnTo>
                      <a:pt x="200936" y="116647"/>
                    </a:lnTo>
                    <a:lnTo>
                      <a:pt x="200671" y="115501"/>
                    </a:lnTo>
                    <a:lnTo>
                      <a:pt x="200671" y="115236"/>
                    </a:lnTo>
                    <a:lnTo>
                      <a:pt x="200407" y="114354"/>
                    </a:lnTo>
                    <a:lnTo>
                      <a:pt x="199172" y="113473"/>
                    </a:lnTo>
                    <a:lnTo>
                      <a:pt x="198908" y="111709"/>
                    </a:lnTo>
                    <a:lnTo>
                      <a:pt x="199172" y="111180"/>
                    </a:lnTo>
                    <a:lnTo>
                      <a:pt x="198908" y="109946"/>
                    </a:lnTo>
                    <a:lnTo>
                      <a:pt x="196880" y="109417"/>
                    </a:lnTo>
                    <a:lnTo>
                      <a:pt x="195734" y="108535"/>
                    </a:lnTo>
                    <a:lnTo>
                      <a:pt x="195117" y="105626"/>
                    </a:lnTo>
                    <a:lnTo>
                      <a:pt x="193970" y="104744"/>
                    </a:lnTo>
                    <a:lnTo>
                      <a:pt x="193970" y="104479"/>
                    </a:lnTo>
                    <a:lnTo>
                      <a:pt x="192207" y="103245"/>
                    </a:lnTo>
                    <a:lnTo>
                      <a:pt x="191854" y="101834"/>
                    </a:lnTo>
                    <a:lnTo>
                      <a:pt x="190797" y="99807"/>
                    </a:lnTo>
                    <a:lnTo>
                      <a:pt x="191325" y="99189"/>
                    </a:lnTo>
                    <a:lnTo>
                      <a:pt x="191854" y="99807"/>
                    </a:lnTo>
                    <a:lnTo>
                      <a:pt x="191854" y="99454"/>
                    </a:lnTo>
                    <a:lnTo>
                      <a:pt x="192472" y="99807"/>
                    </a:lnTo>
                    <a:lnTo>
                      <a:pt x="193089" y="99807"/>
                    </a:lnTo>
                    <a:lnTo>
                      <a:pt x="192472" y="99189"/>
                    </a:lnTo>
                    <a:lnTo>
                      <a:pt x="191590" y="98925"/>
                    </a:lnTo>
                    <a:lnTo>
                      <a:pt x="192207" y="98308"/>
                    </a:lnTo>
                    <a:lnTo>
                      <a:pt x="192472" y="98043"/>
                    </a:lnTo>
                    <a:lnTo>
                      <a:pt x="192207" y="98043"/>
                    </a:lnTo>
                    <a:lnTo>
                      <a:pt x="191854" y="98043"/>
                    </a:lnTo>
                    <a:lnTo>
                      <a:pt x="191590" y="97779"/>
                    </a:lnTo>
                    <a:lnTo>
                      <a:pt x="191325" y="98043"/>
                    </a:lnTo>
                    <a:lnTo>
                      <a:pt x="190797" y="97426"/>
                    </a:lnTo>
                    <a:lnTo>
                      <a:pt x="190444" y="96809"/>
                    </a:lnTo>
                    <a:lnTo>
                      <a:pt x="190179" y="96544"/>
                    </a:lnTo>
                    <a:lnTo>
                      <a:pt x="189915" y="96015"/>
                    </a:lnTo>
                    <a:lnTo>
                      <a:pt x="190179" y="95398"/>
                    </a:lnTo>
                    <a:lnTo>
                      <a:pt x="190444" y="95134"/>
                    </a:lnTo>
                    <a:lnTo>
                      <a:pt x="191590" y="96280"/>
                    </a:lnTo>
                    <a:lnTo>
                      <a:pt x="191854" y="96544"/>
                    </a:lnTo>
                    <a:lnTo>
                      <a:pt x="192207" y="96544"/>
                    </a:lnTo>
                    <a:lnTo>
                      <a:pt x="192824" y="96015"/>
                    </a:lnTo>
                    <a:lnTo>
                      <a:pt x="192207" y="95134"/>
                    </a:lnTo>
                    <a:lnTo>
                      <a:pt x="191590" y="94781"/>
                    </a:lnTo>
                    <a:lnTo>
                      <a:pt x="190444" y="93106"/>
                    </a:lnTo>
                    <a:lnTo>
                      <a:pt x="189915" y="91607"/>
                    </a:lnTo>
                    <a:lnTo>
                      <a:pt x="188680" y="90461"/>
                    </a:lnTo>
                    <a:lnTo>
                      <a:pt x="188416" y="90725"/>
                    </a:lnTo>
                    <a:lnTo>
                      <a:pt x="187534" y="90461"/>
                    </a:lnTo>
                    <a:lnTo>
                      <a:pt x="187534" y="89843"/>
                    </a:lnTo>
                    <a:lnTo>
                      <a:pt x="186917" y="89843"/>
                    </a:lnTo>
                    <a:lnTo>
                      <a:pt x="186653" y="89843"/>
                    </a:lnTo>
                    <a:lnTo>
                      <a:pt x="186653" y="88962"/>
                    </a:lnTo>
                    <a:lnTo>
                      <a:pt x="186388" y="88962"/>
                    </a:lnTo>
                    <a:lnTo>
                      <a:pt x="185506" y="88433"/>
                    </a:lnTo>
                    <a:lnTo>
                      <a:pt x="184889" y="88080"/>
                    </a:lnTo>
                    <a:lnTo>
                      <a:pt x="184360" y="87199"/>
                    </a:lnTo>
                    <a:lnTo>
                      <a:pt x="184007" y="87199"/>
                    </a:lnTo>
                    <a:lnTo>
                      <a:pt x="182244" y="84642"/>
                    </a:lnTo>
                    <a:lnTo>
                      <a:pt x="181451" y="84289"/>
                    </a:lnTo>
                    <a:lnTo>
                      <a:pt x="180833" y="82878"/>
                    </a:lnTo>
                    <a:lnTo>
                      <a:pt x="179952" y="81732"/>
                    </a:lnTo>
                    <a:lnTo>
                      <a:pt x="178805" y="79087"/>
                    </a:lnTo>
                    <a:lnTo>
                      <a:pt x="178188" y="78734"/>
                    </a:lnTo>
                    <a:lnTo>
                      <a:pt x="177659" y="78205"/>
                    </a:lnTo>
                    <a:lnTo>
                      <a:pt x="175896" y="77324"/>
                    </a:lnTo>
                    <a:lnTo>
                      <a:pt x="174750" y="72915"/>
                    </a:lnTo>
                    <a:lnTo>
                      <a:pt x="174133" y="72386"/>
                    </a:lnTo>
                    <a:lnTo>
                      <a:pt x="173515" y="71504"/>
                    </a:lnTo>
                    <a:lnTo>
                      <a:pt x="172634" y="71504"/>
                    </a:lnTo>
                    <a:lnTo>
                      <a:pt x="171223" y="69477"/>
                    </a:lnTo>
                    <a:lnTo>
                      <a:pt x="170606" y="67978"/>
                    </a:lnTo>
                    <a:lnTo>
                      <a:pt x="169724" y="66832"/>
                    </a:lnTo>
                    <a:lnTo>
                      <a:pt x="169460" y="65068"/>
                    </a:lnTo>
                    <a:lnTo>
                      <a:pt x="169989" y="65068"/>
                    </a:lnTo>
                    <a:lnTo>
                      <a:pt x="169989" y="64804"/>
                    </a:lnTo>
                    <a:lnTo>
                      <a:pt x="170341" y="63922"/>
                    </a:lnTo>
                    <a:lnTo>
                      <a:pt x="168842" y="57750"/>
                    </a:lnTo>
                    <a:lnTo>
                      <a:pt x="167696" y="57221"/>
                    </a:lnTo>
                    <a:lnTo>
                      <a:pt x="165051" y="54312"/>
                    </a:lnTo>
                    <a:lnTo>
                      <a:pt x="163288" y="53430"/>
                    </a:lnTo>
                    <a:lnTo>
                      <a:pt x="162494" y="51667"/>
                    </a:lnTo>
                    <a:lnTo>
                      <a:pt x="163023" y="50520"/>
                    </a:lnTo>
                    <a:lnTo>
                      <a:pt x="163023" y="49639"/>
                    </a:lnTo>
                    <a:lnTo>
                      <a:pt x="163905" y="46994"/>
                    </a:lnTo>
                    <a:lnTo>
                      <a:pt x="165404" y="45848"/>
                    </a:lnTo>
                    <a:lnTo>
                      <a:pt x="165933" y="45230"/>
                    </a:lnTo>
                    <a:lnTo>
                      <a:pt x="165404" y="44966"/>
                    </a:lnTo>
                    <a:lnTo>
                      <a:pt x="164787" y="45230"/>
                    </a:lnTo>
                    <a:lnTo>
                      <a:pt x="164787" y="44349"/>
                    </a:lnTo>
                    <a:lnTo>
                      <a:pt x="164522" y="43467"/>
                    </a:lnTo>
                    <a:lnTo>
                      <a:pt x="164522" y="42938"/>
                    </a:lnTo>
                    <a:lnTo>
                      <a:pt x="164787" y="42585"/>
                    </a:lnTo>
                    <a:lnTo>
                      <a:pt x="165933" y="42585"/>
                    </a:lnTo>
                    <a:lnTo>
                      <a:pt x="166197" y="42938"/>
                    </a:lnTo>
                    <a:lnTo>
                      <a:pt x="166197" y="42321"/>
                    </a:lnTo>
                    <a:lnTo>
                      <a:pt x="166197" y="42056"/>
                    </a:lnTo>
                    <a:lnTo>
                      <a:pt x="166550" y="41704"/>
                    </a:lnTo>
                    <a:lnTo>
                      <a:pt x="166815" y="41704"/>
                    </a:lnTo>
                    <a:lnTo>
                      <a:pt x="166550" y="42056"/>
                    </a:lnTo>
                    <a:lnTo>
                      <a:pt x="166550" y="42585"/>
                    </a:lnTo>
                    <a:lnTo>
                      <a:pt x="166815" y="42585"/>
                    </a:lnTo>
                    <a:lnTo>
                      <a:pt x="167079" y="42938"/>
                    </a:lnTo>
                    <a:lnTo>
                      <a:pt x="166550" y="42938"/>
                    </a:lnTo>
                    <a:lnTo>
                      <a:pt x="166815" y="43202"/>
                    </a:lnTo>
                    <a:lnTo>
                      <a:pt x="167432" y="43467"/>
                    </a:lnTo>
                    <a:lnTo>
                      <a:pt x="167696" y="44349"/>
                    </a:lnTo>
                    <a:lnTo>
                      <a:pt x="168313" y="45230"/>
                    </a:lnTo>
                    <a:lnTo>
                      <a:pt x="168313" y="46377"/>
                    </a:lnTo>
                    <a:lnTo>
                      <a:pt x="167696" y="46377"/>
                    </a:lnTo>
                    <a:lnTo>
                      <a:pt x="168313" y="46994"/>
                    </a:lnTo>
                    <a:lnTo>
                      <a:pt x="168842" y="47875"/>
                    </a:lnTo>
                    <a:lnTo>
                      <a:pt x="169460" y="47875"/>
                    </a:lnTo>
                    <a:lnTo>
                      <a:pt x="169724" y="51667"/>
                    </a:lnTo>
                    <a:lnTo>
                      <a:pt x="170606" y="51931"/>
                    </a:lnTo>
                    <a:lnTo>
                      <a:pt x="171223" y="53959"/>
                    </a:lnTo>
                    <a:lnTo>
                      <a:pt x="170959" y="54576"/>
                    </a:lnTo>
                    <a:lnTo>
                      <a:pt x="170959" y="55458"/>
                    </a:lnTo>
                    <a:lnTo>
                      <a:pt x="172898" y="56340"/>
                    </a:lnTo>
                    <a:lnTo>
                      <a:pt x="173251" y="58367"/>
                    </a:lnTo>
                    <a:lnTo>
                      <a:pt x="174397" y="58985"/>
                    </a:lnTo>
                    <a:lnTo>
                      <a:pt x="174750" y="60395"/>
                    </a:lnTo>
                    <a:lnTo>
                      <a:pt x="176425" y="61541"/>
                    </a:lnTo>
                    <a:lnTo>
                      <a:pt x="178805" y="64451"/>
                    </a:lnTo>
                    <a:lnTo>
                      <a:pt x="179334" y="65068"/>
                    </a:lnTo>
                    <a:lnTo>
                      <a:pt x="181451" y="66567"/>
                    </a:lnTo>
                    <a:lnTo>
                      <a:pt x="181451" y="67713"/>
                    </a:lnTo>
                    <a:lnTo>
                      <a:pt x="181715" y="68242"/>
                    </a:lnTo>
                    <a:lnTo>
                      <a:pt x="181715" y="70358"/>
                    </a:lnTo>
                    <a:lnTo>
                      <a:pt x="181715" y="70887"/>
                    </a:lnTo>
                    <a:lnTo>
                      <a:pt x="182861" y="72386"/>
                    </a:lnTo>
                    <a:lnTo>
                      <a:pt x="182597" y="74943"/>
                    </a:lnTo>
                    <a:lnTo>
                      <a:pt x="183743" y="78205"/>
                    </a:lnTo>
                    <a:lnTo>
                      <a:pt x="184007" y="78470"/>
                    </a:lnTo>
                    <a:lnTo>
                      <a:pt x="184007" y="78205"/>
                    </a:lnTo>
                    <a:lnTo>
                      <a:pt x="183478" y="77059"/>
                    </a:lnTo>
                    <a:lnTo>
                      <a:pt x="183743" y="76706"/>
                    </a:lnTo>
                    <a:lnTo>
                      <a:pt x="184007" y="77059"/>
                    </a:lnTo>
                    <a:lnTo>
                      <a:pt x="184360" y="78205"/>
                    </a:lnTo>
                    <a:lnTo>
                      <a:pt x="184625" y="78734"/>
                    </a:lnTo>
                    <a:lnTo>
                      <a:pt x="185506" y="79087"/>
                    </a:lnTo>
                    <a:lnTo>
                      <a:pt x="186653" y="79352"/>
                    </a:lnTo>
                    <a:lnTo>
                      <a:pt x="187270" y="80850"/>
                    </a:lnTo>
                    <a:lnTo>
                      <a:pt x="188680" y="82525"/>
                    </a:lnTo>
                    <a:lnTo>
                      <a:pt x="191325" y="83407"/>
                    </a:lnTo>
                    <a:lnTo>
                      <a:pt x="192207" y="85523"/>
                    </a:lnTo>
                    <a:lnTo>
                      <a:pt x="192472" y="87199"/>
                    </a:lnTo>
                    <a:lnTo>
                      <a:pt x="193353" y="87199"/>
                    </a:lnTo>
                    <a:lnTo>
                      <a:pt x="193618" y="87199"/>
                    </a:lnTo>
                    <a:lnTo>
                      <a:pt x="194588" y="88962"/>
                    </a:lnTo>
                    <a:lnTo>
                      <a:pt x="195998" y="90461"/>
                    </a:lnTo>
                    <a:lnTo>
                      <a:pt x="195998" y="90725"/>
                    </a:lnTo>
                    <a:lnTo>
                      <a:pt x="196263" y="90990"/>
                    </a:lnTo>
                    <a:lnTo>
                      <a:pt x="196616" y="90725"/>
                    </a:lnTo>
                    <a:lnTo>
                      <a:pt x="198908" y="93106"/>
                    </a:lnTo>
                    <a:lnTo>
                      <a:pt x="200054" y="93635"/>
                    </a:lnTo>
                    <a:lnTo>
                      <a:pt x="200671" y="94252"/>
                    </a:lnTo>
                    <a:lnTo>
                      <a:pt x="202435" y="96280"/>
                    </a:lnTo>
                    <a:lnTo>
                      <a:pt x="203316" y="96544"/>
                    </a:lnTo>
                    <a:lnTo>
                      <a:pt x="205344" y="96809"/>
                    </a:lnTo>
                    <a:lnTo>
                      <a:pt x="206755" y="98308"/>
                    </a:lnTo>
                    <a:lnTo>
                      <a:pt x="206755" y="96809"/>
                    </a:lnTo>
                    <a:lnTo>
                      <a:pt x="206226" y="96809"/>
                    </a:lnTo>
                    <a:lnTo>
                      <a:pt x="207107" y="96809"/>
                    </a:lnTo>
                    <a:lnTo>
                      <a:pt x="207637" y="95134"/>
                    </a:lnTo>
                    <a:lnTo>
                      <a:pt x="207989" y="95134"/>
                    </a:lnTo>
                    <a:lnTo>
                      <a:pt x="207989" y="93635"/>
                    </a:lnTo>
                    <a:lnTo>
                      <a:pt x="209135" y="93635"/>
                    </a:lnTo>
                    <a:lnTo>
                      <a:pt x="209135" y="93106"/>
                    </a:lnTo>
                    <a:lnTo>
                      <a:pt x="210282" y="92489"/>
                    </a:lnTo>
                    <a:lnTo>
                      <a:pt x="210546" y="91342"/>
                    </a:lnTo>
                    <a:lnTo>
                      <a:pt x="210017" y="88962"/>
                    </a:lnTo>
                    <a:lnTo>
                      <a:pt x="210282" y="87199"/>
                    </a:lnTo>
                    <a:lnTo>
                      <a:pt x="209400" y="85523"/>
                    </a:lnTo>
                    <a:lnTo>
                      <a:pt x="208518" y="83407"/>
                    </a:lnTo>
                    <a:lnTo>
                      <a:pt x="209664" y="82525"/>
                    </a:lnTo>
                    <a:lnTo>
                      <a:pt x="209664" y="80498"/>
                    </a:lnTo>
                    <a:lnTo>
                      <a:pt x="210282" y="79087"/>
                    </a:lnTo>
                    <a:lnTo>
                      <a:pt x="210899" y="79087"/>
                    </a:lnTo>
                    <a:lnTo>
                      <a:pt x="210899" y="78205"/>
                    </a:lnTo>
                    <a:lnTo>
                      <a:pt x="213456" y="72915"/>
                    </a:lnTo>
                    <a:lnTo>
                      <a:pt x="212662" y="70623"/>
                    </a:lnTo>
                    <a:lnTo>
                      <a:pt x="213191" y="69477"/>
                    </a:lnTo>
                    <a:lnTo>
                      <a:pt x="212927" y="67713"/>
                    </a:lnTo>
                    <a:lnTo>
                      <a:pt x="213456" y="66832"/>
                    </a:lnTo>
                    <a:lnTo>
                      <a:pt x="213191" y="65068"/>
                    </a:lnTo>
                    <a:lnTo>
                      <a:pt x="213808" y="62423"/>
                    </a:lnTo>
                    <a:lnTo>
                      <a:pt x="214073" y="62423"/>
                    </a:lnTo>
                    <a:lnTo>
                      <a:pt x="214073" y="61541"/>
                    </a:lnTo>
                    <a:lnTo>
                      <a:pt x="213808" y="58985"/>
                    </a:lnTo>
                    <a:lnTo>
                      <a:pt x="214690" y="57750"/>
                    </a:lnTo>
                    <a:lnTo>
                      <a:pt x="215836" y="55193"/>
                    </a:lnTo>
                    <a:lnTo>
                      <a:pt x="217599" y="52548"/>
                    </a:lnTo>
                    <a:lnTo>
                      <a:pt x="215836" y="51667"/>
                    </a:lnTo>
                    <a:lnTo>
                      <a:pt x="216454" y="49903"/>
                    </a:lnTo>
                    <a:lnTo>
                      <a:pt x="215219" y="48757"/>
                    </a:lnTo>
                    <a:lnTo>
                      <a:pt x="214690" y="46112"/>
                    </a:lnTo>
                    <a:lnTo>
                      <a:pt x="213808" y="44613"/>
                    </a:lnTo>
                    <a:lnTo>
                      <a:pt x="212927" y="42585"/>
                    </a:lnTo>
                    <a:lnTo>
                      <a:pt x="212310" y="41439"/>
                    </a:lnTo>
                    <a:lnTo>
                      <a:pt x="209135" y="32358"/>
                    </a:lnTo>
                    <a:lnTo>
                      <a:pt x="207637" y="31212"/>
                    </a:lnTo>
                    <a:lnTo>
                      <a:pt x="207637" y="30065"/>
                    </a:lnTo>
                    <a:lnTo>
                      <a:pt x="206490" y="28302"/>
                    </a:lnTo>
                    <a:lnTo>
                      <a:pt x="206226" y="25657"/>
                    </a:lnTo>
                    <a:lnTo>
                      <a:pt x="205873" y="23629"/>
                    </a:lnTo>
                    <a:lnTo>
                      <a:pt x="202170" y="16928"/>
                    </a:lnTo>
                    <a:lnTo>
                      <a:pt x="200054" y="12608"/>
                    </a:lnTo>
                    <a:lnTo>
                      <a:pt x="198908" y="10227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4" name="Freihandform: Form 1833">
                <a:extLst>
                  <a:ext uri="{FF2B5EF4-FFF2-40B4-BE49-F238E27FC236}">
                    <a16:creationId xmlns:a16="http://schemas.microsoft.com/office/drawing/2014/main" id="{CDEC3BB0-5876-B906-7F6B-7414234202EB}"/>
                  </a:ext>
                </a:extLst>
              </p:cNvPr>
              <p:cNvSpPr/>
              <p:nvPr/>
            </p:nvSpPr>
            <p:spPr>
              <a:xfrm>
                <a:off x="5308342" y="4647574"/>
                <a:ext cx="10492" cy="12255"/>
              </a:xfrm>
              <a:custGeom>
                <a:avLst/>
                <a:gdLst>
                  <a:gd name="connsiteX0" fmla="*/ 1410 w 10492"/>
                  <a:gd name="connsiteY0" fmla="*/ 12256 h 12255"/>
                  <a:gd name="connsiteX1" fmla="*/ 0 w 10492"/>
                  <a:gd name="connsiteY1" fmla="*/ 10757 h 12255"/>
                  <a:gd name="connsiteX2" fmla="*/ 1146 w 10492"/>
                  <a:gd name="connsiteY2" fmla="*/ 9875 h 12255"/>
                  <a:gd name="connsiteX3" fmla="*/ 1146 w 10492"/>
                  <a:gd name="connsiteY3" fmla="*/ 8464 h 12255"/>
                  <a:gd name="connsiteX4" fmla="*/ 2292 w 10492"/>
                  <a:gd name="connsiteY4" fmla="*/ 4408 h 12255"/>
                  <a:gd name="connsiteX5" fmla="*/ 4056 w 10492"/>
                  <a:gd name="connsiteY5" fmla="*/ 3791 h 12255"/>
                  <a:gd name="connsiteX6" fmla="*/ 4673 w 10492"/>
                  <a:gd name="connsiteY6" fmla="*/ 617 h 12255"/>
                  <a:gd name="connsiteX7" fmla="*/ 5466 w 10492"/>
                  <a:gd name="connsiteY7" fmla="*/ 0 h 12255"/>
                  <a:gd name="connsiteX8" fmla="*/ 8111 w 10492"/>
                  <a:gd name="connsiteY8" fmla="*/ 0 h 12255"/>
                  <a:gd name="connsiteX9" fmla="*/ 9611 w 10492"/>
                  <a:gd name="connsiteY9" fmla="*/ 2910 h 12255"/>
                  <a:gd name="connsiteX10" fmla="*/ 10227 w 10492"/>
                  <a:gd name="connsiteY10" fmla="*/ 4056 h 12255"/>
                  <a:gd name="connsiteX11" fmla="*/ 10492 w 10492"/>
                  <a:gd name="connsiteY11" fmla="*/ 7318 h 12255"/>
                  <a:gd name="connsiteX12" fmla="*/ 8729 w 10492"/>
                  <a:gd name="connsiteY12" fmla="*/ 9610 h 12255"/>
                  <a:gd name="connsiteX13" fmla="*/ 8993 w 10492"/>
                  <a:gd name="connsiteY13" fmla="*/ 10757 h 12255"/>
                  <a:gd name="connsiteX14" fmla="*/ 7582 w 10492"/>
                  <a:gd name="connsiteY14" fmla="*/ 11991 h 12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492" h="12255">
                    <a:moveTo>
                      <a:pt x="1410" y="12256"/>
                    </a:moveTo>
                    <a:lnTo>
                      <a:pt x="0" y="10757"/>
                    </a:lnTo>
                    <a:lnTo>
                      <a:pt x="1146" y="9875"/>
                    </a:lnTo>
                    <a:lnTo>
                      <a:pt x="1146" y="8464"/>
                    </a:lnTo>
                    <a:lnTo>
                      <a:pt x="2292" y="4408"/>
                    </a:lnTo>
                    <a:lnTo>
                      <a:pt x="4056" y="3791"/>
                    </a:lnTo>
                    <a:lnTo>
                      <a:pt x="4673" y="617"/>
                    </a:lnTo>
                    <a:lnTo>
                      <a:pt x="5466" y="0"/>
                    </a:lnTo>
                    <a:lnTo>
                      <a:pt x="8111" y="0"/>
                    </a:lnTo>
                    <a:lnTo>
                      <a:pt x="9611" y="2910"/>
                    </a:lnTo>
                    <a:lnTo>
                      <a:pt x="10227" y="4056"/>
                    </a:lnTo>
                    <a:lnTo>
                      <a:pt x="10492" y="7318"/>
                    </a:lnTo>
                    <a:lnTo>
                      <a:pt x="8729" y="9610"/>
                    </a:lnTo>
                    <a:lnTo>
                      <a:pt x="8993" y="10757"/>
                    </a:lnTo>
                    <a:lnTo>
                      <a:pt x="7582" y="119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5" name="Freihandform: Form 1834">
                <a:extLst>
                  <a:ext uri="{FF2B5EF4-FFF2-40B4-BE49-F238E27FC236}">
                    <a16:creationId xmlns:a16="http://schemas.microsoft.com/office/drawing/2014/main" id="{2BB2296D-DB83-B20F-2A89-02B5862312B8}"/>
                  </a:ext>
                </a:extLst>
              </p:cNvPr>
              <p:cNvSpPr/>
              <p:nvPr/>
            </p:nvSpPr>
            <p:spPr>
              <a:xfrm>
                <a:off x="5095680" y="5425131"/>
                <a:ext cx="7582" cy="6436"/>
              </a:xfrm>
              <a:custGeom>
                <a:avLst/>
                <a:gdLst>
                  <a:gd name="connsiteX0" fmla="*/ 1234 w 7582"/>
                  <a:gd name="connsiteY0" fmla="*/ 6436 h 6436"/>
                  <a:gd name="connsiteX1" fmla="*/ 0 w 7582"/>
                  <a:gd name="connsiteY1" fmla="*/ 5202 h 6436"/>
                  <a:gd name="connsiteX2" fmla="*/ 970 w 7582"/>
                  <a:gd name="connsiteY2" fmla="*/ 3350 h 6436"/>
                  <a:gd name="connsiteX3" fmla="*/ 1939 w 7582"/>
                  <a:gd name="connsiteY3" fmla="*/ 0 h 6436"/>
                  <a:gd name="connsiteX4" fmla="*/ 7582 w 7582"/>
                  <a:gd name="connsiteY4" fmla="*/ 617 h 6436"/>
                  <a:gd name="connsiteX5" fmla="*/ 7142 w 7582"/>
                  <a:gd name="connsiteY5" fmla="*/ 4320 h 6436"/>
                  <a:gd name="connsiteX6" fmla="*/ 6172 w 7582"/>
                  <a:gd name="connsiteY6" fmla="*/ 6172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6436">
                    <a:moveTo>
                      <a:pt x="1234" y="6436"/>
                    </a:moveTo>
                    <a:lnTo>
                      <a:pt x="0" y="5202"/>
                    </a:lnTo>
                    <a:lnTo>
                      <a:pt x="970" y="3350"/>
                    </a:lnTo>
                    <a:lnTo>
                      <a:pt x="1939" y="0"/>
                    </a:lnTo>
                    <a:lnTo>
                      <a:pt x="7582" y="617"/>
                    </a:lnTo>
                    <a:lnTo>
                      <a:pt x="7142" y="4320"/>
                    </a:lnTo>
                    <a:lnTo>
                      <a:pt x="6172" y="617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6" name="Freihandform: Form 1835">
                <a:extLst>
                  <a:ext uri="{FF2B5EF4-FFF2-40B4-BE49-F238E27FC236}">
                    <a16:creationId xmlns:a16="http://schemas.microsoft.com/office/drawing/2014/main" id="{6433AE0F-2B89-992D-124D-6F7645F1614D}"/>
                  </a:ext>
                </a:extLst>
              </p:cNvPr>
              <p:cNvSpPr/>
              <p:nvPr/>
            </p:nvSpPr>
            <p:spPr>
              <a:xfrm>
                <a:off x="5227668" y="5455021"/>
                <a:ext cx="7582" cy="5819"/>
              </a:xfrm>
              <a:custGeom>
                <a:avLst/>
                <a:gdLst>
                  <a:gd name="connsiteX0" fmla="*/ 1146 w 7582"/>
                  <a:gd name="connsiteY0" fmla="*/ 5819 h 5819"/>
                  <a:gd name="connsiteX1" fmla="*/ 0 w 7582"/>
                  <a:gd name="connsiteY1" fmla="*/ 4673 h 5819"/>
                  <a:gd name="connsiteX2" fmla="*/ 1852 w 7582"/>
                  <a:gd name="connsiteY2" fmla="*/ 970 h 5819"/>
                  <a:gd name="connsiteX3" fmla="*/ 3791 w 7582"/>
                  <a:gd name="connsiteY3" fmla="*/ 1411 h 5819"/>
                  <a:gd name="connsiteX4" fmla="*/ 7583 w 7582"/>
                  <a:gd name="connsiteY4" fmla="*/ 0 h 5819"/>
                  <a:gd name="connsiteX5" fmla="*/ 7054 w 7582"/>
                  <a:gd name="connsiteY5" fmla="*/ 3703 h 5819"/>
                  <a:gd name="connsiteX6" fmla="*/ 6084 w 7582"/>
                  <a:gd name="connsiteY6" fmla="*/ 5643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5819">
                    <a:moveTo>
                      <a:pt x="1146" y="5819"/>
                    </a:moveTo>
                    <a:lnTo>
                      <a:pt x="0" y="4673"/>
                    </a:lnTo>
                    <a:lnTo>
                      <a:pt x="1852" y="970"/>
                    </a:lnTo>
                    <a:lnTo>
                      <a:pt x="3791" y="1411"/>
                    </a:lnTo>
                    <a:lnTo>
                      <a:pt x="7583" y="0"/>
                    </a:lnTo>
                    <a:lnTo>
                      <a:pt x="7054" y="3703"/>
                    </a:lnTo>
                    <a:lnTo>
                      <a:pt x="6084" y="564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7" name="Freihandform: Form 1836">
                <a:extLst>
                  <a:ext uri="{FF2B5EF4-FFF2-40B4-BE49-F238E27FC236}">
                    <a16:creationId xmlns:a16="http://schemas.microsoft.com/office/drawing/2014/main" id="{3FBDB100-4B70-979E-B008-E6624B3F6EB8}"/>
                  </a:ext>
                </a:extLst>
              </p:cNvPr>
              <p:cNvSpPr/>
              <p:nvPr/>
            </p:nvSpPr>
            <p:spPr>
              <a:xfrm>
                <a:off x="5367238" y="5298522"/>
                <a:ext cx="5202" cy="4143"/>
              </a:xfrm>
              <a:custGeom>
                <a:avLst/>
                <a:gdLst>
                  <a:gd name="connsiteX0" fmla="*/ 265 w 5202"/>
                  <a:gd name="connsiteY0" fmla="*/ 4144 h 4143"/>
                  <a:gd name="connsiteX1" fmla="*/ 0 w 5202"/>
                  <a:gd name="connsiteY1" fmla="*/ 1058 h 4143"/>
                  <a:gd name="connsiteX2" fmla="*/ 2821 w 5202"/>
                  <a:gd name="connsiteY2" fmla="*/ 0 h 4143"/>
                  <a:gd name="connsiteX3" fmla="*/ 5026 w 5202"/>
                  <a:gd name="connsiteY3" fmla="*/ 1234 h 4143"/>
                  <a:gd name="connsiteX4" fmla="*/ 5202 w 5202"/>
                  <a:gd name="connsiteY4" fmla="*/ 3879 h 4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02" h="4143">
                    <a:moveTo>
                      <a:pt x="265" y="4144"/>
                    </a:moveTo>
                    <a:lnTo>
                      <a:pt x="0" y="1058"/>
                    </a:lnTo>
                    <a:lnTo>
                      <a:pt x="2821" y="0"/>
                    </a:lnTo>
                    <a:lnTo>
                      <a:pt x="5026" y="1234"/>
                    </a:lnTo>
                    <a:lnTo>
                      <a:pt x="5202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8" name="Freihandform: Form 1837">
                <a:extLst>
                  <a:ext uri="{FF2B5EF4-FFF2-40B4-BE49-F238E27FC236}">
                    <a16:creationId xmlns:a16="http://schemas.microsoft.com/office/drawing/2014/main" id="{4F0F415F-5F3E-9FA4-9CB5-AB1A6762C86E}"/>
                  </a:ext>
                </a:extLst>
              </p:cNvPr>
              <p:cNvSpPr/>
              <p:nvPr/>
            </p:nvSpPr>
            <p:spPr>
              <a:xfrm>
                <a:off x="5364858" y="5306986"/>
                <a:ext cx="4937" cy="2556"/>
              </a:xfrm>
              <a:custGeom>
                <a:avLst/>
                <a:gdLst>
                  <a:gd name="connsiteX0" fmla="*/ 0 w 4937"/>
                  <a:gd name="connsiteY0" fmla="*/ 2557 h 2556"/>
                  <a:gd name="connsiteX1" fmla="*/ 3615 w 4937"/>
                  <a:gd name="connsiteY1" fmla="*/ 0 h 2556"/>
                  <a:gd name="connsiteX2" fmla="*/ 4937 w 4937"/>
                  <a:gd name="connsiteY2" fmla="*/ 2292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37" h="2556">
                    <a:moveTo>
                      <a:pt x="0" y="2557"/>
                    </a:moveTo>
                    <a:lnTo>
                      <a:pt x="3615" y="0"/>
                    </a:lnTo>
                    <a:lnTo>
                      <a:pt x="4937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9" name="Freihandform: Form 1838">
                <a:extLst>
                  <a:ext uri="{FF2B5EF4-FFF2-40B4-BE49-F238E27FC236}">
                    <a16:creationId xmlns:a16="http://schemas.microsoft.com/office/drawing/2014/main" id="{0613B0E7-FA40-B001-8ACA-FFE3E07F06F2}"/>
                  </a:ext>
                </a:extLst>
              </p:cNvPr>
              <p:cNvSpPr/>
              <p:nvPr/>
            </p:nvSpPr>
            <p:spPr>
              <a:xfrm>
                <a:off x="4807193" y="3220217"/>
                <a:ext cx="134456" cy="124493"/>
              </a:xfrm>
              <a:custGeom>
                <a:avLst/>
                <a:gdLst>
                  <a:gd name="connsiteX0" fmla="*/ 71769 w 134456"/>
                  <a:gd name="connsiteY0" fmla="*/ 97426 h 124493"/>
                  <a:gd name="connsiteX1" fmla="*/ 44084 w 134456"/>
                  <a:gd name="connsiteY1" fmla="*/ 114883 h 124493"/>
                  <a:gd name="connsiteX2" fmla="*/ 32975 w 134456"/>
                  <a:gd name="connsiteY2" fmla="*/ 124494 h 124493"/>
                  <a:gd name="connsiteX3" fmla="*/ 23894 w 134456"/>
                  <a:gd name="connsiteY3" fmla="*/ 122995 h 124493"/>
                  <a:gd name="connsiteX4" fmla="*/ 22483 w 134456"/>
                  <a:gd name="connsiteY4" fmla="*/ 120702 h 124493"/>
                  <a:gd name="connsiteX5" fmla="*/ 18692 w 134456"/>
                  <a:gd name="connsiteY5" fmla="*/ 119204 h 124493"/>
                  <a:gd name="connsiteX6" fmla="*/ 16399 w 134456"/>
                  <a:gd name="connsiteY6" fmla="*/ 116029 h 124493"/>
                  <a:gd name="connsiteX7" fmla="*/ 14900 w 134456"/>
                  <a:gd name="connsiteY7" fmla="*/ 115148 h 124493"/>
                  <a:gd name="connsiteX8" fmla="*/ 14636 w 134456"/>
                  <a:gd name="connsiteY8" fmla="*/ 115765 h 124493"/>
                  <a:gd name="connsiteX9" fmla="*/ 12608 w 134456"/>
                  <a:gd name="connsiteY9" fmla="*/ 114266 h 124493"/>
                  <a:gd name="connsiteX10" fmla="*/ 10845 w 134456"/>
                  <a:gd name="connsiteY10" fmla="*/ 115148 h 124493"/>
                  <a:gd name="connsiteX11" fmla="*/ 10228 w 134456"/>
                  <a:gd name="connsiteY11" fmla="*/ 113385 h 124493"/>
                  <a:gd name="connsiteX12" fmla="*/ 8200 w 134456"/>
                  <a:gd name="connsiteY12" fmla="*/ 113737 h 124493"/>
                  <a:gd name="connsiteX13" fmla="*/ 8200 w 134456"/>
                  <a:gd name="connsiteY13" fmla="*/ 114619 h 124493"/>
                  <a:gd name="connsiteX14" fmla="*/ 7847 w 134456"/>
                  <a:gd name="connsiteY14" fmla="*/ 112503 h 124493"/>
                  <a:gd name="connsiteX15" fmla="*/ 7318 w 134456"/>
                  <a:gd name="connsiteY15" fmla="*/ 113120 h 124493"/>
                  <a:gd name="connsiteX16" fmla="*/ 7053 w 134456"/>
                  <a:gd name="connsiteY16" fmla="*/ 111092 h 124493"/>
                  <a:gd name="connsiteX17" fmla="*/ 7053 w 134456"/>
                  <a:gd name="connsiteY17" fmla="*/ 109329 h 124493"/>
                  <a:gd name="connsiteX18" fmla="*/ 7053 w 134456"/>
                  <a:gd name="connsiteY18" fmla="*/ 109064 h 124493"/>
                  <a:gd name="connsiteX19" fmla="*/ 6436 w 134456"/>
                  <a:gd name="connsiteY19" fmla="*/ 105802 h 124493"/>
                  <a:gd name="connsiteX20" fmla="*/ 7318 w 134456"/>
                  <a:gd name="connsiteY20" fmla="*/ 103510 h 124493"/>
                  <a:gd name="connsiteX21" fmla="*/ 6084 w 134456"/>
                  <a:gd name="connsiteY21" fmla="*/ 101746 h 124493"/>
                  <a:gd name="connsiteX22" fmla="*/ 6084 w 134456"/>
                  <a:gd name="connsiteY22" fmla="*/ 100247 h 124493"/>
                  <a:gd name="connsiteX23" fmla="*/ 6436 w 134456"/>
                  <a:gd name="connsiteY23" fmla="*/ 100247 h 124493"/>
                  <a:gd name="connsiteX24" fmla="*/ 7318 w 134456"/>
                  <a:gd name="connsiteY24" fmla="*/ 99101 h 124493"/>
                  <a:gd name="connsiteX25" fmla="*/ 8464 w 134456"/>
                  <a:gd name="connsiteY25" fmla="*/ 98220 h 124493"/>
                  <a:gd name="connsiteX26" fmla="*/ 8464 w 134456"/>
                  <a:gd name="connsiteY26" fmla="*/ 97426 h 124493"/>
                  <a:gd name="connsiteX27" fmla="*/ 8817 w 134456"/>
                  <a:gd name="connsiteY27" fmla="*/ 96456 h 124493"/>
                  <a:gd name="connsiteX28" fmla="*/ 11726 w 134456"/>
                  <a:gd name="connsiteY28" fmla="*/ 95310 h 124493"/>
                  <a:gd name="connsiteX29" fmla="*/ 12255 w 134456"/>
                  <a:gd name="connsiteY29" fmla="*/ 94781 h 124493"/>
                  <a:gd name="connsiteX30" fmla="*/ 11991 w 134456"/>
                  <a:gd name="connsiteY30" fmla="*/ 93899 h 124493"/>
                  <a:gd name="connsiteX31" fmla="*/ 12873 w 134456"/>
                  <a:gd name="connsiteY31" fmla="*/ 93547 h 124493"/>
                  <a:gd name="connsiteX32" fmla="*/ 13401 w 134456"/>
                  <a:gd name="connsiteY32" fmla="*/ 93547 h 124493"/>
                  <a:gd name="connsiteX33" fmla="*/ 14019 w 134456"/>
                  <a:gd name="connsiteY33" fmla="*/ 92136 h 124493"/>
                  <a:gd name="connsiteX34" fmla="*/ 13137 w 134456"/>
                  <a:gd name="connsiteY34" fmla="*/ 91871 h 124493"/>
                  <a:gd name="connsiteX35" fmla="*/ 12255 w 134456"/>
                  <a:gd name="connsiteY35" fmla="*/ 91519 h 124493"/>
                  <a:gd name="connsiteX36" fmla="*/ 11374 w 134456"/>
                  <a:gd name="connsiteY36" fmla="*/ 91871 h 124493"/>
                  <a:gd name="connsiteX37" fmla="*/ 10845 w 134456"/>
                  <a:gd name="connsiteY37" fmla="*/ 90990 h 124493"/>
                  <a:gd name="connsiteX38" fmla="*/ 11109 w 134456"/>
                  <a:gd name="connsiteY38" fmla="*/ 89843 h 124493"/>
                  <a:gd name="connsiteX39" fmla="*/ 11374 w 134456"/>
                  <a:gd name="connsiteY39" fmla="*/ 88874 h 124493"/>
                  <a:gd name="connsiteX40" fmla="*/ 12873 w 134456"/>
                  <a:gd name="connsiteY40" fmla="*/ 88080 h 124493"/>
                  <a:gd name="connsiteX41" fmla="*/ 13137 w 134456"/>
                  <a:gd name="connsiteY41" fmla="*/ 86317 h 124493"/>
                  <a:gd name="connsiteX42" fmla="*/ 13401 w 134456"/>
                  <a:gd name="connsiteY42" fmla="*/ 86581 h 124493"/>
                  <a:gd name="connsiteX43" fmla="*/ 13754 w 134456"/>
                  <a:gd name="connsiteY43" fmla="*/ 86317 h 124493"/>
                  <a:gd name="connsiteX44" fmla="*/ 15782 w 134456"/>
                  <a:gd name="connsiteY44" fmla="*/ 86317 h 124493"/>
                  <a:gd name="connsiteX45" fmla="*/ 17281 w 134456"/>
                  <a:gd name="connsiteY45" fmla="*/ 86846 h 124493"/>
                  <a:gd name="connsiteX46" fmla="*/ 19221 w 134456"/>
                  <a:gd name="connsiteY46" fmla="*/ 86317 h 124493"/>
                  <a:gd name="connsiteX47" fmla="*/ 19573 w 134456"/>
                  <a:gd name="connsiteY47" fmla="*/ 86317 h 124493"/>
                  <a:gd name="connsiteX48" fmla="*/ 18956 w 134456"/>
                  <a:gd name="connsiteY48" fmla="*/ 84818 h 124493"/>
                  <a:gd name="connsiteX49" fmla="*/ 18692 w 134456"/>
                  <a:gd name="connsiteY49" fmla="*/ 85171 h 124493"/>
                  <a:gd name="connsiteX50" fmla="*/ 18427 w 134456"/>
                  <a:gd name="connsiteY50" fmla="*/ 84818 h 124493"/>
                  <a:gd name="connsiteX51" fmla="*/ 17545 w 134456"/>
                  <a:gd name="connsiteY51" fmla="*/ 84553 h 124493"/>
                  <a:gd name="connsiteX52" fmla="*/ 16664 w 134456"/>
                  <a:gd name="connsiteY52" fmla="*/ 83407 h 124493"/>
                  <a:gd name="connsiteX53" fmla="*/ 16928 w 134456"/>
                  <a:gd name="connsiteY53" fmla="*/ 82173 h 124493"/>
                  <a:gd name="connsiteX54" fmla="*/ 18956 w 134456"/>
                  <a:gd name="connsiteY54" fmla="*/ 81027 h 124493"/>
                  <a:gd name="connsiteX55" fmla="*/ 20455 w 134456"/>
                  <a:gd name="connsiteY55" fmla="*/ 80762 h 124493"/>
                  <a:gd name="connsiteX56" fmla="*/ 20455 w 134456"/>
                  <a:gd name="connsiteY56" fmla="*/ 79881 h 124493"/>
                  <a:gd name="connsiteX57" fmla="*/ 20984 w 134456"/>
                  <a:gd name="connsiteY57" fmla="*/ 78999 h 124493"/>
                  <a:gd name="connsiteX58" fmla="*/ 22218 w 134456"/>
                  <a:gd name="connsiteY58" fmla="*/ 79263 h 124493"/>
                  <a:gd name="connsiteX59" fmla="*/ 23100 w 134456"/>
                  <a:gd name="connsiteY59" fmla="*/ 78734 h 124493"/>
                  <a:gd name="connsiteX60" fmla="*/ 22747 w 134456"/>
                  <a:gd name="connsiteY60" fmla="*/ 77588 h 124493"/>
                  <a:gd name="connsiteX61" fmla="*/ 21601 w 134456"/>
                  <a:gd name="connsiteY61" fmla="*/ 76354 h 124493"/>
                  <a:gd name="connsiteX62" fmla="*/ 20720 w 134456"/>
                  <a:gd name="connsiteY62" fmla="*/ 75472 h 124493"/>
                  <a:gd name="connsiteX63" fmla="*/ 20984 w 134456"/>
                  <a:gd name="connsiteY63" fmla="*/ 74943 h 124493"/>
                  <a:gd name="connsiteX64" fmla="*/ 20455 w 134456"/>
                  <a:gd name="connsiteY64" fmla="*/ 74590 h 124493"/>
                  <a:gd name="connsiteX65" fmla="*/ 20720 w 134456"/>
                  <a:gd name="connsiteY65" fmla="*/ 73444 h 124493"/>
                  <a:gd name="connsiteX66" fmla="*/ 20455 w 134456"/>
                  <a:gd name="connsiteY66" fmla="*/ 72563 h 124493"/>
                  <a:gd name="connsiteX67" fmla="*/ 20191 w 134456"/>
                  <a:gd name="connsiteY67" fmla="*/ 72034 h 124493"/>
                  <a:gd name="connsiteX68" fmla="*/ 19221 w 134456"/>
                  <a:gd name="connsiteY68" fmla="*/ 71152 h 124493"/>
                  <a:gd name="connsiteX69" fmla="*/ 17810 w 134456"/>
                  <a:gd name="connsiteY69" fmla="*/ 70799 h 124493"/>
                  <a:gd name="connsiteX70" fmla="*/ 17545 w 134456"/>
                  <a:gd name="connsiteY70" fmla="*/ 69388 h 124493"/>
                  <a:gd name="connsiteX71" fmla="*/ 17281 w 134456"/>
                  <a:gd name="connsiteY71" fmla="*/ 69388 h 124493"/>
                  <a:gd name="connsiteX72" fmla="*/ 16928 w 134456"/>
                  <a:gd name="connsiteY72" fmla="*/ 68771 h 124493"/>
                  <a:gd name="connsiteX73" fmla="*/ 17545 w 134456"/>
                  <a:gd name="connsiteY73" fmla="*/ 68242 h 124493"/>
                  <a:gd name="connsiteX74" fmla="*/ 17281 w 134456"/>
                  <a:gd name="connsiteY74" fmla="*/ 67008 h 124493"/>
                  <a:gd name="connsiteX75" fmla="*/ 16928 w 134456"/>
                  <a:gd name="connsiteY75" fmla="*/ 65597 h 124493"/>
                  <a:gd name="connsiteX76" fmla="*/ 16664 w 134456"/>
                  <a:gd name="connsiteY76" fmla="*/ 65333 h 124493"/>
                  <a:gd name="connsiteX77" fmla="*/ 16047 w 134456"/>
                  <a:gd name="connsiteY77" fmla="*/ 64716 h 124493"/>
                  <a:gd name="connsiteX78" fmla="*/ 14900 w 134456"/>
                  <a:gd name="connsiteY78" fmla="*/ 64716 h 124493"/>
                  <a:gd name="connsiteX79" fmla="*/ 14019 w 134456"/>
                  <a:gd name="connsiteY79" fmla="*/ 65597 h 124493"/>
                  <a:gd name="connsiteX80" fmla="*/ 14019 w 134456"/>
                  <a:gd name="connsiteY80" fmla="*/ 66743 h 124493"/>
                  <a:gd name="connsiteX81" fmla="*/ 13754 w 134456"/>
                  <a:gd name="connsiteY81" fmla="*/ 66743 h 124493"/>
                  <a:gd name="connsiteX82" fmla="*/ 13137 w 134456"/>
                  <a:gd name="connsiteY82" fmla="*/ 66126 h 124493"/>
                  <a:gd name="connsiteX83" fmla="*/ 12255 w 134456"/>
                  <a:gd name="connsiteY83" fmla="*/ 65862 h 124493"/>
                  <a:gd name="connsiteX84" fmla="*/ 11109 w 134456"/>
                  <a:gd name="connsiteY84" fmla="*/ 65597 h 124493"/>
                  <a:gd name="connsiteX85" fmla="*/ 11374 w 134456"/>
                  <a:gd name="connsiteY85" fmla="*/ 66743 h 124493"/>
                  <a:gd name="connsiteX86" fmla="*/ 10228 w 134456"/>
                  <a:gd name="connsiteY86" fmla="*/ 67008 h 124493"/>
                  <a:gd name="connsiteX87" fmla="*/ 9610 w 134456"/>
                  <a:gd name="connsiteY87" fmla="*/ 66126 h 124493"/>
                  <a:gd name="connsiteX88" fmla="*/ 8200 w 134456"/>
                  <a:gd name="connsiteY88" fmla="*/ 65597 h 124493"/>
                  <a:gd name="connsiteX89" fmla="*/ 4408 w 134456"/>
                  <a:gd name="connsiteY89" fmla="*/ 59161 h 124493"/>
                  <a:gd name="connsiteX90" fmla="*/ 4408 w 134456"/>
                  <a:gd name="connsiteY90" fmla="*/ 58279 h 124493"/>
                  <a:gd name="connsiteX91" fmla="*/ 4673 w 134456"/>
                  <a:gd name="connsiteY91" fmla="*/ 56516 h 124493"/>
                  <a:gd name="connsiteX92" fmla="*/ 3791 w 134456"/>
                  <a:gd name="connsiteY92" fmla="*/ 54224 h 124493"/>
                  <a:gd name="connsiteX93" fmla="*/ 6701 w 134456"/>
                  <a:gd name="connsiteY93" fmla="*/ 52725 h 124493"/>
                  <a:gd name="connsiteX94" fmla="*/ 6436 w 134456"/>
                  <a:gd name="connsiteY94" fmla="*/ 51843 h 124493"/>
                  <a:gd name="connsiteX95" fmla="*/ 5819 w 134456"/>
                  <a:gd name="connsiteY95" fmla="*/ 49815 h 124493"/>
                  <a:gd name="connsiteX96" fmla="*/ 5555 w 134456"/>
                  <a:gd name="connsiteY96" fmla="*/ 46641 h 124493"/>
                  <a:gd name="connsiteX97" fmla="*/ 2645 w 134456"/>
                  <a:gd name="connsiteY97" fmla="*/ 44878 h 124493"/>
                  <a:gd name="connsiteX98" fmla="*/ 2380 w 134456"/>
                  <a:gd name="connsiteY98" fmla="*/ 44878 h 124493"/>
                  <a:gd name="connsiteX99" fmla="*/ 2380 w 134456"/>
                  <a:gd name="connsiteY99" fmla="*/ 44260 h 124493"/>
                  <a:gd name="connsiteX100" fmla="*/ 0 w 134456"/>
                  <a:gd name="connsiteY100" fmla="*/ 42850 h 124493"/>
                  <a:gd name="connsiteX101" fmla="*/ 2028 w 134456"/>
                  <a:gd name="connsiteY101" fmla="*/ 42850 h 124493"/>
                  <a:gd name="connsiteX102" fmla="*/ 0 w 134456"/>
                  <a:gd name="connsiteY102" fmla="*/ 42850 h 124493"/>
                  <a:gd name="connsiteX103" fmla="*/ 2028 w 134456"/>
                  <a:gd name="connsiteY103" fmla="*/ 42850 h 124493"/>
                  <a:gd name="connsiteX104" fmla="*/ 2028 w 134456"/>
                  <a:gd name="connsiteY104" fmla="*/ 41968 h 124493"/>
                  <a:gd name="connsiteX105" fmla="*/ 1763 w 134456"/>
                  <a:gd name="connsiteY105" fmla="*/ 41086 h 124493"/>
                  <a:gd name="connsiteX106" fmla="*/ 2028 w 134456"/>
                  <a:gd name="connsiteY106" fmla="*/ 39940 h 124493"/>
                  <a:gd name="connsiteX107" fmla="*/ 2028 w 134456"/>
                  <a:gd name="connsiteY107" fmla="*/ 39323 h 124493"/>
                  <a:gd name="connsiteX108" fmla="*/ 3262 w 134456"/>
                  <a:gd name="connsiteY108" fmla="*/ 30594 h 124493"/>
                  <a:gd name="connsiteX109" fmla="*/ 8464 w 134456"/>
                  <a:gd name="connsiteY109" fmla="*/ 32622 h 124493"/>
                  <a:gd name="connsiteX110" fmla="*/ 8464 w 134456"/>
                  <a:gd name="connsiteY110" fmla="*/ 30859 h 124493"/>
                  <a:gd name="connsiteX111" fmla="*/ 9610 w 134456"/>
                  <a:gd name="connsiteY111" fmla="*/ 30242 h 124493"/>
                  <a:gd name="connsiteX112" fmla="*/ 14636 w 134456"/>
                  <a:gd name="connsiteY112" fmla="*/ 29448 h 124493"/>
                  <a:gd name="connsiteX113" fmla="*/ 12608 w 134456"/>
                  <a:gd name="connsiteY113" fmla="*/ 26451 h 124493"/>
                  <a:gd name="connsiteX114" fmla="*/ 13754 w 134456"/>
                  <a:gd name="connsiteY114" fmla="*/ 24158 h 124493"/>
                  <a:gd name="connsiteX115" fmla="*/ 18692 w 134456"/>
                  <a:gd name="connsiteY115" fmla="*/ 25657 h 124493"/>
                  <a:gd name="connsiteX116" fmla="*/ 18956 w 134456"/>
                  <a:gd name="connsiteY116" fmla="*/ 22659 h 124493"/>
                  <a:gd name="connsiteX117" fmla="*/ 17281 w 134456"/>
                  <a:gd name="connsiteY117" fmla="*/ 21866 h 124493"/>
                  <a:gd name="connsiteX118" fmla="*/ 13754 w 134456"/>
                  <a:gd name="connsiteY118" fmla="*/ 21248 h 124493"/>
                  <a:gd name="connsiteX119" fmla="*/ 13401 w 134456"/>
                  <a:gd name="connsiteY119" fmla="*/ 19221 h 124493"/>
                  <a:gd name="connsiteX120" fmla="*/ 13137 w 134456"/>
                  <a:gd name="connsiteY120" fmla="*/ 16311 h 124493"/>
                  <a:gd name="connsiteX121" fmla="*/ 15429 w 134456"/>
                  <a:gd name="connsiteY121" fmla="*/ 14548 h 124493"/>
                  <a:gd name="connsiteX122" fmla="*/ 16399 w 134456"/>
                  <a:gd name="connsiteY122" fmla="*/ 11374 h 124493"/>
                  <a:gd name="connsiteX123" fmla="*/ 24511 w 134456"/>
                  <a:gd name="connsiteY123" fmla="*/ 15694 h 124493"/>
                  <a:gd name="connsiteX124" fmla="*/ 28302 w 134456"/>
                  <a:gd name="connsiteY124" fmla="*/ 14812 h 124493"/>
                  <a:gd name="connsiteX125" fmla="*/ 31476 w 134456"/>
                  <a:gd name="connsiteY125" fmla="*/ 16311 h 124493"/>
                  <a:gd name="connsiteX126" fmla="*/ 37031 w 134456"/>
                  <a:gd name="connsiteY126" fmla="*/ 13666 h 124493"/>
                  <a:gd name="connsiteX127" fmla="*/ 39411 w 134456"/>
                  <a:gd name="connsiteY127" fmla="*/ 13666 h 124493"/>
                  <a:gd name="connsiteX128" fmla="*/ 41439 w 134456"/>
                  <a:gd name="connsiteY128" fmla="*/ 12520 h 124493"/>
                  <a:gd name="connsiteX129" fmla="*/ 46376 w 134456"/>
                  <a:gd name="connsiteY129" fmla="*/ 11374 h 124493"/>
                  <a:gd name="connsiteX130" fmla="*/ 51050 w 134456"/>
                  <a:gd name="connsiteY130" fmla="*/ 11903 h 124493"/>
                  <a:gd name="connsiteX131" fmla="*/ 55458 w 134456"/>
                  <a:gd name="connsiteY131" fmla="*/ 13666 h 124493"/>
                  <a:gd name="connsiteX132" fmla="*/ 63922 w 134456"/>
                  <a:gd name="connsiteY132" fmla="*/ 15429 h 124493"/>
                  <a:gd name="connsiteX133" fmla="*/ 70623 w 134456"/>
                  <a:gd name="connsiteY133" fmla="*/ 16047 h 124493"/>
                  <a:gd name="connsiteX134" fmla="*/ 78734 w 134456"/>
                  <a:gd name="connsiteY134" fmla="*/ 13666 h 124493"/>
                  <a:gd name="connsiteX135" fmla="*/ 83143 w 134456"/>
                  <a:gd name="connsiteY135" fmla="*/ 11021 h 124493"/>
                  <a:gd name="connsiteX136" fmla="*/ 86052 w 134456"/>
                  <a:gd name="connsiteY136" fmla="*/ 10757 h 124493"/>
                  <a:gd name="connsiteX137" fmla="*/ 87198 w 134456"/>
                  <a:gd name="connsiteY137" fmla="*/ 9875 h 124493"/>
                  <a:gd name="connsiteX138" fmla="*/ 91078 w 134456"/>
                  <a:gd name="connsiteY138" fmla="*/ 9258 h 124493"/>
                  <a:gd name="connsiteX139" fmla="*/ 97426 w 134456"/>
                  <a:gd name="connsiteY139" fmla="*/ 7847 h 124493"/>
                  <a:gd name="connsiteX140" fmla="*/ 100688 w 134456"/>
                  <a:gd name="connsiteY140" fmla="*/ 5202 h 124493"/>
                  <a:gd name="connsiteX141" fmla="*/ 103598 w 134456"/>
                  <a:gd name="connsiteY141" fmla="*/ 6348 h 124493"/>
                  <a:gd name="connsiteX142" fmla="*/ 108535 w 134456"/>
                  <a:gd name="connsiteY142" fmla="*/ 6701 h 124493"/>
                  <a:gd name="connsiteX143" fmla="*/ 113825 w 134456"/>
                  <a:gd name="connsiteY143" fmla="*/ 6701 h 124493"/>
                  <a:gd name="connsiteX144" fmla="*/ 117528 w 134456"/>
                  <a:gd name="connsiteY144" fmla="*/ 6084 h 124493"/>
                  <a:gd name="connsiteX145" fmla="*/ 121320 w 134456"/>
                  <a:gd name="connsiteY145" fmla="*/ 4585 h 124493"/>
                  <a:gd name="connsiteX146" fmla="*/ 124846 w 134456"/>
                  <a:gd name="connsiteY146" fmla="*/ 2909 h 124493"/>
                  <a:gd name="connsiteX147" fmla="*/ 127756 w 134456"/>
                  <a:gd name="connsiteY147" fmla="*/ 0 h 124493"/>
                  <a:gd name="connsiteX148" fmla="*/ 131900 w 134456"/>
                  <a:gd name="connsiteY148" fmla="*/ 1675 h 124493"/>
                  <a:gd name="connsiteX149" fmla="*/ 133311 w 134456"/>
                  <a:gd name="connsiteY149" fmla="*/ 4937 h 124493"/>
                  <a:gd name="connsiteX150" fmla="*/ 134457 w 134456"/>
                  <a:gd name="connsiteY150" fmla="*/ 8993 h 124493"/>
                  <a:gd name="connsiteX151" fmla="*/ 123083 w 134456"/>
                  <a:gd name="connsiteY151" fmla="*/ 17193 h 124493"/>
                  <a:gd name="connsiteX152" fmla="*/ 114619 w 134456"/>
                  <a:gd name="connsiteY152" fmla="*/ 19221 h 124493"/>
                  <a:gd name="connsiteX153" fmla="*/ 111709 w 134456"/>
                  <a:gd name="connsiteY153" fmla="*/ 24158 h 124493"/>
                  <a:gd name="connsiteX154" fmla="*/ 112591 w 134456"/>
                  <a:gd name="connsiteY154" fmla="*/ 30859 h 124493"/>
                  <a:gd name="connsiteX155" fmla="*/ 116999 w 134456"/>
                  <a:gd name="connsiteY155" fmla="*/ 35532 h 124493"/>
                  <a:gd name="connsiteX156" fmla="*/ 117881 w 134456"/>
                  <a:gd name="connsiteY156" fmla="*/ 41968 h 124493"/>
                  <a:gd name="connsiteX157" fmla="*/ 114619 w 134456"/>
                  <a:gd name="connsiteY157" fmla="*/ 43996 h 124493"/>
                  <a:gd name="connsiteX158" fmla="*/ 114972 w 134456"/>
                  <a:gd name="connsiteY158" fmla="*/ 47258 h 124493"/>
                  <a:gd name="connsiteX159" fmla="*/ 115853 w 134456"/>
                  <a:gd name="connsiteY159" fmla="*/ 51843 h 124493"/>
                  <a:gd name="connsiteX160" fmla="*/ 117264 w 134456"/>
                  <a:gd name="connsiteY160" fmla="*/ 63569 h 124493"/>
                  <a:gd name="connsiteX161" fmla="*/ 114972 w 134456"/>
                  <a:gd name="connsiteY161" fmla="*/ 67008 h 124493"/>
                  <a:gd name="connsiteX162" fmla="*/ 113208 w 134456"/>
                  <a:gd name="connsiteY162" fmla="*/ 72034 h 124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</a:cxnLst>
                <a:rect l="l" t="t" r="r" b="b"/>
                <a:pathLst>
                  <a:path w="134456" h="124493">
                    <a:moveTo>
                      <a:pt x="71769" y="97426"/>
                    </a:moveTo>
                    <a:lnTo>
                      <a:pt x="44084" y="114883"/>
                    </a:lnTo>
                    <a:lnTo>
                      <a:pt x="32975" y="124494"/>
                    </a:lnTo>
                    <a:lnTo>
                      <a:pt x="23894" y="122995"/>
                    </a:lnTo>
                    <a:lnTo>
                      <a:pt x="22483" y="120702"/>
                    </a:lnTo>
                    <a:lnTo>
                      <a:pt x="18692" y="119204"/>
                    </a:lnTo>
                    <a:lnTo>
                      <a:pt x="16399" y="116029"/>
                    </a:lnTo>
                    <a:lnTo>
                      <a:pt x="14900" y="115148"/>
                    </a:lnTo>
                    <a:lnTo>
                      <a:pt x="14636" y="115765"/>
                    </a:lnTo>
                    <a:lnTo>
                      <a:pt x="12608" y="114266"/>
                    </a:lnTo>
                    <a:lnTo>
                      <a:pt x="10845" y="115148"/>
                    </a:lnTo>
                    <a:lnTo>
                      <a:pt x="10228" y="113385"/>
                    </a:lnTo>
                    <a:lnTo>
                      <a:pt x="8200" y="113737"/>
                    </a:lnTo>
                    <a:lnTo>
                      <a:pt x="8200" y="114619"/>
                    </a:lnTo>
                    <a:lnTo>
                      <a:pt x="7847" y="112503"/>
                    </a:lnTo>
                    <a:lnTo>
                      <a:pt x="7318" y="113120"/>
                    </a:lnTo>
                    <a:lnTo>
                      <a:pt x="7053" y="111092"/>
                    </a:lnTo>
                    <a:lnTo>
                      <a:pt x="7053" y="109329"/>
                    </a:lnTo>
                    <a:lnTo>
                      <a:pt x="7053" y="109064"/>
                    </a:lnTo>
                    <a:lnTo>
                      <a:pt x="6436" y="105802"/>
                    </a:lnTo>
                    <a:lnTo>
                      <a:pt x="7318" y="103510"/>
                    </a:lnTo>
                    <a:lnTo>
                      <a:pt x="6084" y="101746"/>
                    </a:lnTo>
                    <a:lnTo>
                      <a:pt x="6084" y="100247"/>
                    </a:lnTo>
                    <a:lnTo>
                      <a:pt x="6436" y="100247"/>
                    </a:lnTo>
                    <a:lnTo>
                      <a:pt x="7318" y="99101"/>
                    </a:lnTo>
                    <a:lnTo>
                      <a:pt x="8464" y="98220"/>
                    </a:lnTo>
                    <a:lnTo>
                      <a:pt x="8464" y="97426"/>
                    </a:lnTo>
                    <a:lnTo>
                      <a:pt x="8817" y="96456"/>
                    </a:lnTo>
                    <a:lnTo>
                      <a:pt x="11726" y="95310"/>
                    </a:lnTo>
                    <a:lnTo>
                      <a:pt x="12255" y="94781"/>
                    </a:lnTo>
                    <a:lnTo>
                      <a:pt x="11991" y="93899"/>
                    </a:lnTo>
                    <a:lnTo>
                      <a:pt x="12873" y="93547"/>
                    </a:lnTo>
                    <a:lnTo>
                      <a:pt x="13401" y="93547"/>
                    </a:lnTo>
                    <a:lnTo>
                      <a:pt x="14019" y="92136"/>
                    </a:lnTo>
                    <a:lnTo>
                      <a:pt x="13137" y="91871"/>
                    </a:lnTo>
                    <a:lnTo>
                      <a:pt x="12255" y="91519"/>
                    </a:lnTo>
                    <a:lnTo>
                      <a:pt x="11374" y="91871"/>
                    </a:lnTo>
                    <a:lnTo>
                      <a:pt x="10845" y="90990"/>
                    </a:lnTo>
                    <a:lnTo>
                      <a:pt x="11109" y="89843"/>
                    </a:lnTo>
                    <a:lnTo>
                      <a:pt x="11374" y="88874"/>
                    </a:lnTo>
                    <a:lnTo>
                      <a:pt x="12873" y="88080"/>
                    </a:lnTo>
                    <a:lnTo>
                      <a:pt x="13137" y="86317"/>
                    </a:lnTo>
                    <a:lnTo>
                      <a:pt x="13401" y="86581"/>
                    </a:lnTo>
                    <a:lnTo>
                      <a:pt x="13754" y="86317"/>
                    </a:lnTo>
                    <a:lnTo>
                      <a:pt x="15782" y="86317"/>
                    </a:lnTo>
                    <a:lnTo>
                      <a:pt x="17281" y="86846"/>
                    </a:lnTo>
                    <a:lnTo>
                      <a:pt x="19221" y="86317"/>
                    </a:lnTo>
                    <a:lnTo>
                      <a:pt x="19573" y="86317"/>
                    </a:lnTo>
                    <a:lnTo>
                      <a:pt x="18956" y="84818"/>
                    </a:lnTo>
                    <a:lnTo>
                      <a:pt x="18692" y="85171"/>
                    </a:lnTo>
                    <a:lnTo>
                      <a:pt x="18427" y="84818"/>
                    </a:lnTo>
                    <a:lnTo>
                      <a:pt x="17545" y="84553"/>
                    </a:lnTo>
                    <a:lnTo>
                      <a:pt x="16664" y="83407"/>
                    </a:lnTo>
                    <a:lnTo>
                      <a:pt x="16928" y="82173"/>
                    </a:lnTo>
                    <a:lnTo>
                      <a:pt x="18956" y="81027"/>
                    </a:lnTo>
                    <a:lnTo>
                      <a:pt x="20455" y="80762"/>
                    </a:lnTo>
                    <a:lnTo>
                      <a:pt x="20455" y="79881"/>
                    </a:lnTo>
                    <a:lnTo>
                      <a:pt x="20984" y="78999"/>
                    </a:lnTo>
                    <a:lnTo>
                      <a:pt x="22218" y="79263"/>
                    </a:lnTo>
                    <a:lnTo>
                      <a:pt x="23100" y="78734"/>
                    </a:lnTo>
                    <a:lnTo>
                      <a:pt x="22747" y="77588"/>
                    </a:lnTo>
                    <a:lnTo>
                      <a:pt x="21601" y="76354"/>
                    </a:lnTo>
                    <a:lnTo>
                      <a:pt x="20720" y="75472"/>
                    </a:lnTo>
                    <a:lnTo>
                      <a:pt x="20984" y="74943"/>
                    </a:lnTo>
                    <a:lnTo>
                      <a:pt x="20455" y="74590"/>
                    </a:lnTo>
                    <a:lnTo>
                      <a:pt x="20720" y="73444"/>
                    </a:lnTo>
                    <a:lnTo>
                      <a:pt x="20455" y="72563"/>
                    </a:lnTo>
                    <a:lnTo>
                      <a:pt x="20191" y="72034"/>
                    </a:lnTo>
                    <a:lnTo>
                      <a:pt x="19221" y="71152"/>
                    </a:lnTo>
                    <a:lnTo>
                      <a:pt x="17810" y="70799"/>
                    </a:lnTo>
                    <a:lnTo>
                      <a:pt x="17545" y="69388"/>
                    </a:lnTo>
                    <a:lnTo>
                      <a:pt x="17281" y="69388"/>
                    </a:lnTo>
                    <a:lnTo>
                      <a:pt x="16928" y="68771"/>
                    </a:lnTo>
                    <a:lnTo>
                      <a:pt x="17545" y="68242"/>
                    </a:lnTo>
                    <a:lnTo>
                      <a:pt x="17281" y="67008"/>
                    </a:lnTo>
                    <a:lnTo>
                      <a:pt x="16928" y="65597"/>
                    </a:lnTo>
                    <a:lnTo>
                      <a:pt x="16664" y="65333"/>
                    </a:lnTo>
                    <a:lnTo>
                      <a:pt x="16047" y="64716"/>
                    </a:lnTo>
                    <a:lnTo>
                      <a:pt x="14900" y="64716"/>
                    </a:lnTo>
                    <a:lnTo>
                      <a:pt x="14019" y="65597"/>
                    </a:lnTo>
                    <a:lnTo>
                      <a:pt x="14019" y="66743"/>
                    </a:lnTo>
                    <a:lnTo>
                      <a:pt x="13754" y="66743"/>
                    </a:lnTo>
                    <a:lnTo>
                      <a:pt x="13137" y="66126"/>
                    </a:lnTo>
                    <a:lnTo>
                      <a:pt x="12255" y="65862"/>
                    </a:lnTo>
                    <a:lnTo>
                      <a:pt x="11109" y="65597"/>
                    </a:lnTo>
                    <a:lnTo>
                      <a:pt x="11374" y="66743"/>
                    </a:lnTo>
                    <a:lnTo>
                      <a:pt x="10228" y="67008"/>
                    </a:lnTo>
                    <a:lnTo>
                      <a:pt x="9610" y="66126"/>
                    </a:lnTo>
                    <a:lnTo>
                      <a:pt x="8200" y="65597"/>
                    </a:lnTo>
                    <a:lnTo>
                      <a:pt x="4408" y="59161"/>
                    </a:lnTo>
                    <a:lnTo>
                      <a:pt x="4408" y="58279"/>
                    </a:lnTo>
                    <a:lnTo>
                      <a:pt x="4673" y="56516"/>
                    </a:lnTo>
                    <a:lnTo>
                      <a:pt x="3791" y="54224"/>
                    </a:lnTo>
                    <a:lnTo>
                      <a:pt x="6701" y="52725"/>
                    </a:lnTo>
                    <a:lnTo>
                      <a:pt x="6436" y="51843"/>
                    </a:lnTo>
                    <a:lnTo>
                      <a:pt x="5819" y="49815"/>
                    </a:lnTo>
                    <a:lnTo>
                      <a:pt x="5555" y="46641"/>
                    </a:lnTo>
                    <a:lnTo>
                      <a:pt x="2645" y="44878"/>
                    </a:lnTo>
                    <a:lnTo>
                      <a:pt x="2380" y="44878"/>
                    </a:lnTo>
                    <a:lnTo>
                      <a:pt x="2380" y="4426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2028" y="41968"/>
                    </a:lnTo>
                    <a:lnTo>
                      <a:pt x="1763" y="41086"/>
                    </a:lnTo>
                    <a:lnTo>
                      <a:pt x="2028" y="39940"/>
                    </a:lnTo>
                    <a:lnTo>
                      <a:pt x="2028" y="39323"/>
                    </a:lnTo>
                    <a:lnTo>
                      <a:pt x="3262" y="30594"/>
                    </a:lnTo>
                    <a:lnTo>
                      <a:pt x="8464" y="32622"/>
                    </a:lnTo>
                    <a:lnTo>
                      <a:pt x="8464" y="30859"/>
                    </a:lnTo>
                    <a:lnTo>
                      <a:pt x="9610" y="30242"/>
                    </a:lnTo>
                    <a:lnTo>
                      <a:pt x="14636" y="29448"/>
                    </a:lnTo>
                    <a:lnTo>
                      <a:pt x="12608" y="26451"/>
                    </a:lnTo>
                    <a:lnTo>
                      <a:pt x="13754" y="24158"/>
                    </a:lnTo>
                    <a:lnTo>
                      <a:pt x="18692" y="25657"/>
                    </a:lnTo>
                    <a:lnTo>
                      <a:pt x="18956" y="22659"/>
                    </a:lnTo>
                    <a:lnTo>
                      <a:pt x="17281" y="21866"/>
                    </a:lnTo>
                    <a:lnTo>
                      <a:pt x="13754" y="21248"/>
                    </a:lnTo>
                    <a:lnTo>
                      <a:pt x="13401" y="19221"/>
                    </a:lnTo>
                    <a:lnTo>
                      <a:pt x="13137" y="16311"/>
                    </a:lnTo>
                    <a:lnTo>
                      <a:pt x="15429" y="14548"/>
                    </a:lnTo>
                    <a:lnTo>
                      <a:pt x="16399" y="11374"/>
                    </a:lnTo>
                    <a:lnTo>
                      <a:pt x="24511" y="15694"/>
                    </a:lnTo>
                    <a:lnTo>
                      <a:pt x="28302" y="14812"/>
                    </a:lnTo>
                    <a:lnTo>
                      <a:pt x="31476" y="16311"/>
                    </a:lnTo>
                    <a:lnTo>
                      <a:pt x="37031" y="13666"/>
                    </a:lnTo>
                    <a:lnTo>
                      <a:pt x="39411" y="13666"/>
                    </a:lnTo>
                    <a:lnTo>
                      <a:pt x="41439" y="12520"/>
                    </a:lnTo>
                    <a:lnTo>
                      <a:pt x="46376" y="11374"/>
                    </a:lnTo>
                    <a:lnTo>
                      <a:pt x="51050" y="11903"/>
                    </a:lnTo>
                    <a:lnTo>
                      <a:pt x="55458" y="13666"/>
                    </a:lnTo>
                    <a:lnTo>
                      <a:pt x="63922" y="15429"/>
                    </a:lnTo>
                    <a:lnTo>
                      <a:pt x="70623" y="16047"/>
                    </a:lnTo>
                    <a:lnTo>
                      <a:pt x="78734" y="13666"/>
                    </a:lnTo>
                    <a:lnTo>
                      <a:pt x="83143" y="11021"/>
                    </a:lnTo>
                    <a:lnTo>
                      <a:pt x="86052" y="10757"/>
                    </a:lnTo>
                    <a:lnTo>
                      <a:pt x="87198" y="9875"/>
                    </a:lnTo>
                    <a:lnTo>
                      <a:pt x="91078" y="9258"/>
                    </a:lnTo>
                    <a:lnTo>
                      <a:pt x="97426" y="7847"/>
                    </a:lnTo>
                    <a:lnTo>
                      <a:pt x="100688" y="5202"/>
                    </a:lnTo>
                    <a:lnTo>
                      <a:pt x="103598" y="6348"/>
                    </a:lnTo>
                    <a:lnTo>
                      <a:pt x="108535" y="6701"/>
                    </a:lnTo>
                    <a:lnTo>
                      <a:pt x="113825" y="6701"/>
                    </a:lnTo>
                    <a:lnTo>
                      <a:pt x="117528" y="6084"/>
                    </a:lnTo>
                    <a:lnTo>
                      <a:pt x="121320" y="4585"/>
                    </a:lnTo>
                    <a:lnTo>
                      <a:pt x="124846" y="2909"/>
                    </a:lnTo>
                    <a:lnTo>
                      <a:pt x="127756" y="0"/>
                    </a:lnTo>
                    <a:lnTo>
                      <a:pt x="131900" y="1675"/>
                    </a:lnTo>
                    <a:lnTo>
                      <a:pt x="133311" y="4937"/>
                    </a:lnTo>
                    <a:lnTo>
                      <a:pt x="134457" y="8993"/>
                    </a:lnTo>
                    <a:lnTo>
                      <a:pt x="123083" y="17193"/>
                    </a:lnTo>
                    <a:lnTo>
                      <a:pt x="114619" y="19221"/>
                    </a:lnTo>
                    <a:lnTo>
                      <a:pt x="111709" y="24158"/>
                    </a:lnTo>
                    <a:lnTo>
                      <a:pt x="112591" y="30859"/>
                    </a:lnTo>
                    <a:lnTo>
                      <a:pt x="116999" y="35532"/>
                    </a:lnTo>
                    <a:lnTo>
                      <a:pt x="117881" y="41968"/>
                    </a:lnTo>
                    <a:lnTo>
                      <a:pt x="114619" y="43996"/>
                    </a:lnTo>
                    <a:lnTo>
                      <a:pt x="114972" y="47258"/>
                    </a:lnTo>
                    <a:lnTo>
                      <a:pt x="115853" y="51843"/>
                    </a:lnTo>
                    <a:lnTo>
                      <a:pt x="117264" y="63569"/>
                    </a:lnTo>
                    <a:lnTo>
                      <a:pt x="114972" y="67008"/>
                    </a:lnTo>
                    <a:lnTo>
                      <a:pt x="113208" y="720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0" name="Freihandform: Form 1839">
                <a:extLst>
                  <a:ext uri="{FF2B5EF4-FFF2-40B4-BE49-F238E27FC236}">
                    <a16:creationId xmlns:a16="http://schemas.microsoft.com/office/drawing/2014/main" id="{F74A7A32-CFAC-4411-7AE6-216B46F4FEC0}"/>
                  </a:ext>
                </a:extLst>
              </p:cNvPr>
              <p:cNvSpPr/>
              <p:nvPr/>
            </p:nvSpPr>
            <p:spPr>
              <a:xfrm>
                <a:off x="4802255" y="3346738"/>
                <a:ext cx="469320" cy="404516"/>
              </a:xfrm>
              <a:custGeom>
                <a:avLst/>
                <a:gdLst>
                  <a:gd name="connsiteX0" fmla="*/ 212662 w 469320"/>
                  <a:gd name="connsiteY0" fmla="*/ 75296 h 404516"/>
                  <a:gd name="connsiteX1" fmla="*/ 231618 w 469320"/>
                  <a:gd name="connsiteY1" fmla="*/ 86317 h 404516"/>
                  <a:gd name="connsiteX2" fmla="*/ 252338 w 469320"/>
                  <a:gd name="connsiteY2" fmla="*/ 78470 h 404516"/>
                  <a:gd name="connsiteX3" fmla="*/ 272440 w 469320"/>
                  <a:gd name="connsiteY3" fmla="*/ 80233 h 404516"/>
                  <a:gd name="connsiteX4" fmla="*/ 274468 w 469320"/>
                  <a:gd name="connsiteY4" fmla="*/ 85171 h 404516"/>
                  <a:gd name="connsiteX5" fmla="*/ 274733 w 469320"/>
                  <a:gd name="connsiteY5" fmla="*/ 87551 h 404516"/>
                  <a:gd name="connsiteX6" fmla="*/ 274733 w 469320"/>
                  <a:gd name="connsiteY6" fmla="*/ 88962 h 404516"/>
                  <a:gd name="connsiteX7" fmla="*/ 277995 w 469320"/>
                  <a:gd name="connsiteY7" fmla="*/ 90725 h 404516"/>
                  <a:gd name="connsiteX8" fmla="*/ 278259 w 469320"/>
                  <a:gd name="connsiteY8" fmla="*/ 91342 h 404516"/>
                  <a:gd name="connsiteX9" fmla="*/ 293424 w 469320"/>
                  <a:gd name="connsiteY9" fmla="*/ 91342 h 404516"/>
                  <a:gd name="connsiteX10" fmla="*/ 293689 w 469320"/>
                  <a:gd name="connsiteY10" fmla="*/ 92224 h 404516"/>
                  <a:gd name="connsiteX11" fmla="*/ 295188 w 469320"/>
                  <a:gd name="connsiteY11" fmla="*/ 93018 h 404516"/>
                  <a:gd name="connsiteX12" fmla="*/ 296598 w 469320"/>
                  <a:gd name="connsiteY12" fmla="*/ 93899 h 404516"/>
                  <a:gd name="connsiteX13" fmla="*/ 296334 w 469320"/>
                  <a:gd name="connsiteY13" fmla="*/ 95663 h 404516"/>
                  <a:gd name="connsiteX14" fmla="*/ 294042 w 469320"/>
                  <a:gd name="connsiteY14" fmla="*/ 95663 h 404516"/>
                  <a:gd name="connsiteX15" fmla="*/ 295452 w 469320"/>
                  <a:gd name="connsiteY15" fmla="*/ 96015 h 404516"/>
                  <a:gd name="connsiteX16" fmla="*/ 296951 w 469320"/>
                  <a:gd name="connsiteY16" fmla="*/ 95663 h 404516"/>
                  <a:gd name="connsiteX17" fmla="*/ 296334 w 469320"/>
                  <a:gd name="connsiteY17" fmla="*/ 96280 h 404516"/>
                  <a:gd name="connsiteX18" fmla="*/ 296598 w 469320"/>
                  <a:gd name="connsiteY18" fmla="*/ 97426 h 404516"/>
                  <a:gd name="connsiteX19" fmla="*/ 297216 w 469320"/>
                  <a:gd name="connsiteY19" fmla="*/ 98572 h 404516"/>
                  <a:gd name="connsiteX20" fmla="*/ 298714 w 469320"/>
                  <a:gd name="connsiteY20" fmla="*/ 99807 h 404516"/>
                  <a:gd name="connsiteX21" fmla="*/ 297480 w 469320"/>
                  <a:gd name="connsiteY21" fmla="*/ 100336 h 404516"/>
                  <a:gd name="connsiteX22" fmla="*/ 297745 w 469320"/>
                  <a:gd name="connsiteY22" fmla="*/ 102099 h 404516"/>
                  <a:gd name="connsiteX23" fmla="*/ 300125 w 469320"/>
                  <a:gd name="connsiteY23" fmla="*/ 102981 h 404516"/>
                  <a:gd name="connsiteX24" fmla="*/ 300478 w 469320"/>
                  <a:gd name="connsiteY24" fmla="*/ 104127 h 404516"/>
                  <a:gd name="connsiteX25" fmla="*/ 302770 w 469320"/>
                  <a:gd name="connsiteY25" fmla="*/ 105626 h 404516"/>
                  <a:gd name="connsiteX26" fmla="*/ 303034 w 469320"/>
                  <a:gd name="connsiteY26" fmla="*/ 105890 h 404516"/>
                  <a:gd name="connsiteX27" fmla="*/ 304534 w 469320"/>
                  <a:gd name="connsiteY27" fmla="*/ 109064 h 404516"/>
                  <a:gd name="connsiteX28" fmla="*/ 304798 w 469320"/>
                  <a:gd name="connsiteY28" fmla="*/ 111092 h 404516"/>
                  <a:gd name="connsiteX29" fmla="*/ 304534 w 469320"/>
                  <a:gd name="connsiteY29" fmla="*/ 111445 h 404516"/>
                  <a:gd name="connsiteX30" fmla="*/ 304181 w 469320"/>
                  <a:gd name="connsiteY30" fmla="*/ 110828 h 404516"/>
                  <a:gd name="connsiteX31" fmla="*/ 304181 w 469320"/>
                  <a:gd name="connsiteY31" fmla="*/ 110563 h 404516"/>
                  <a:gd name="connsiteX32" fmla="*/ 303916 w 469320"/>
                  <a:gd name="connsiteY32" fmla="*/ 109946 h 404516"/>
                  <a:gd name="connsiteX33" fmla="*/ 303916 w 469320"/>
                  <a:gd name="connsiteY33" fmla="*/ 109064 h 404516"/>
                  <a:gd name="connsiteX34" fmla="*/ 303652 w 469320"/>
                  <a:gd name="connsiteY34" fmla="*/ 112062 h 404516"/>
                  <a:gd name="connsiteX35" fmla="*/ 303916 w 469320"/>
                  <a:gd name="connsiteY35" fmla="*/ 111709 h 404516"/>
                  <a:gd name="connsiteX36" fmla="*/ 304181 w 469320"/>
                  <a:gd name="connsiteY36" fmla="*/ 111709 h 404516"/>
                  <a:gd name="connsiteX37" fmla="*/ 304534 w 469320"/>
                  <a:gd name="connsiteY37" fmla="*/ 112856 h 404516"/>
                  <a:gd name="connsiteX38" fmla="*/ 304798 w 469320"/>
                  <a:gd name="connsiteY38" fmla="*/ 112591 h 404516"/>
                  <a:gd name="connsiteX39" fmla="*/ 304534 w 469320"/>
                  <a:gd name="connsiteY39" fmla="*/ 113473 h 404516"/>
                  <a:gd name="connsiteX40" fmla="*/ 304798 w 469320"/>
                  <a:gd name="connsiteY40" fmla="*/ 113208 h 404516"/>
                  <a:gd name="connsiteX41" fmla="*/ 305063 w 469320"/>
                  <a:gd name="connsiteY41" fmla="*/ 113473 h 404516"/>
                  <a:gd name="connsiteX42" fmla="*/ 304534 w 469320"/>
                  <a:gd name="connsiteY42" fmla="*/ 114090 h 404516"/>
                  <a:gd name="connsiteX43" fmla="*/ 304798 w 469320"/>
                  <a:gd name="connsiteY43" fmla="*/ 114090 h 404516"/>
                  <a:gd name="connsiteX44" fmla="*/ 304534 w 469320"/>
                  <a:gd name="connsiteY44" fmla="*/ 114619 h 404516"/>
                  <a:gd name="connsiteX45" fmla="*/ 305415 w 469320"/>
                  <a:gd name="connsiteY45" fmla="*/ 114619 h 404516"/>
                  <a:gd name="connsiteX46" fmla="*/ 305415 w 469320"/>
                  <a:gd name="connsiteY46" fmla="*/ 115501 h 404516"/>
                  <a:gd name="connsiteX47" fmla="*/ 305415 w 469320"/>
                  <a:gd name="connsiteY47" fmla="*/ 116382 h 404516"/>
                  <a:gd name="connsiteX48" fmla="*/ 307708 w 469320"/>
                  <a:gd name="connsiteY48" fmla="*/ 116382 h 404516"/>
                  <a:gd name="connsiteX49" fmla="*/ 307708 w 469320"/>
                  <a:gd name="connsiteY49" fmla="*/ 114619 h 404516"/>
                  <a:gd name="connsiteX50" fmla="*/ 308325 w 469320"/>
                  <a:gd name="connsiteY50" fmla="*/ 114619 h 404516"/>
                  <a:gd name="connsiteX51" fmla="*/ 310617 w 469320"/>
                  <a:gd name="connsiteY51" fmla="*/ 117528 h 404516"/>
                  <a:gd name="connsiteX52" fmla="*/ 310970 w 469320"/>
                  <a:gd name="connsiteY52" fmla="*/ 117528 h 404516"/>
                  <a:gd name="connsiteX53" fmla="*/ 310970 w 469320"/>
                  <a:gd name="connsiteY53" fmla="*/ 116382 h 404516"/>
                  <a:gd name="connsiteX54" fmla="*/ 311235 w 469320"/>
                  <a:gd name="connsiteY54" fmla="*/ 116647 h 404516"/>
                  <a:gd name="connsiteX55" fmla="*/ 311764 w 469320"/>
                  <a:gd name="connsiteY55" fmla="*/ 116382 h 404516"/>
                  <a:gd name="connsiteX56" fmla="*/ 314761 w 469320"/>
                  <a:gd name="connsiteY56" fmla="*/ 117264 h 404516"/>
                  <a:gd name="connsiteX57" fmla="*/ 314408 w 469320"/>
                  <a:gd name="connsiteY57" fmla="*/ 117881 h 404516"/>
                  <a:gd name="connsiteX58" fmla="*/ 315026 w 469320"/>
                  <a:gd name="connsiteY58" fmla="*/ 118410 h 404516"/>
                  <a:gd name="connsiteX59" fmla="*/ 314144 w 469320"/>
                  <a:gd name="connsiteY59" fmla="*/ 118410 h 404516"/>
                  <a:gd name="connsiteX60" fmla="*/ 312645 w 469320"/>
                  <a:gd name="connsiteY60" fmla="*/ 118763 h 404516"/>
                  <a:gd name="connsiteX61" fmla="*/ 311499 w 469320"/>
                  <a:gd name="connsiteY61" fmla="*/ 117264 h 404516"/>
                  <a:gd name="connsiteX62" fmla="*/ 311764 w 469320"/>
                  <a:gd name="connsiteY62" fmla="*/ 119645 h 404516"/>
                  <a:gd name="connsiteX63" fmla="*/ 312116 w 469320"/>
                  <a:gd name="connsiteY63" fmla="*/ 120174 h 404516"/>
                  <a:gd name="connsiteX64" fmla="*/ 314144 w 469320"/>
                  <a:gd name="connsiteY64" fmla="*/ 120791 h 404516"/>
                  <a:gd name="connsiteX65" fmla="*/ 315026 w 469320"/>
                  <a:gd name="connsiteY65" fmla="*/ 120174 h 404516"/>
                  <a:gd name="connsiteX66" fmla="*/ 315026 w 469320"/>
                  <a:gd name="connsiteY66" fmla="*/ 121055 h 404516"/>
                  <a:gd name="connsiteX67" fmla="*/ 314761 w 469320"/>
                  <a:gd name="connsiteY67" fmla="*/ 121320 h 404516"/>
                  <a:gd name="connsiteX68" fmla="*/ 315290 w 469320"/>
                  <a:gd name="connsiteY68" fmla="*/ 121320 h 404516"/>
                  <a:gd name="connsiteX69" fmla="*/ 316172 w 469320"/>
                  <a:gd name="connsiteY69" fmla="*/ 124229 h 404516"/>
                  <a:gd name="connsiteX70" fmla="*/ 317318 w 469320"/>
                  <a:gd name="connsiteY70" fmla="*/ 124846 h 404516"/>
                  <a:gd name="connsiteX71" fmla="*/ 317935 w 469320"/>
                  <a:gd name="connsiteY71" fmla="*/ 125728 h 404516"/>
                  <a:gd name="connsiteX72" fmla="*/ 317935 w 469320"/>
                  <a:gd name="connsiteY72" fmla="*/ 124846 h 404516"/>
                  <a:gd name="connsiteX73" fmla="*/ 318552 w 469320"/>
                  <a:gd name="connsiteY73" fmla="*/ 124582 h 404516"/>
                  <a:gd name="connsiteX74" fmla="*/ 318817 w 469320"/>
                  <a:gd name="connsiteY74" fmla="*/ 124846 h 404516"/>
                  <a:gd name="connsiteX75" fmla="*/ 318552 w 469320"/>
                  <a:gd name="connsiteY75" fmla="*/ 125464 h 404516"/>
                  <a:gd name="connsiteX76" fmla="*/ 318200 w 469320"/>
                  <a:gd name="connsiteY76" fmla="*/ 125993 h 404516"/>
                  <a:gd name="connsiteX77" fmla="*/ 318552 w 469320"/>
                  <a:gd name="connsiteY77" fmla="*/ 125993 h 404516"/>
                  <a:gd name="connsiteX78" fmla="*/ 318817 w 469320"/>
                  <a:gd name="connsiteY78" fmla="*/ 125728 h 404516"/>
                  <a:gd name="connsiteX79" fmla="*/ 319081 w 469320"/>
                  <a:gd name="connsiteY79" fmla="*/ 125993 h 404516"/>
                  <a:gd name="connsiteX80" fmla="*/ 318817 w 469320"/>
                  <a:gd name="connsiteY80" fmla="*/ 126345 h 404516"/>
                  <a:gd name="connsiteX81" fmla="*/ 321109 w 469320"/>
                  <a:gd name="connsiteY81" fmla="*/ 126874 h 404516"/>
                  <a:gd name="connsiteX82" fmla="*/ 320845 w 469320"/>
                  <a:gd name="connsiteY82" fmla="*/ 126345 h 404516"/>
                  <a:gd name="connsiteX83" fmla="*/ 321109 w 469320"/>
                  <a:gd name="connsiteY83" fmla="*/ 125728 h 404516"/>
                  <a:gd name="connsiteX84" fmla="*/ 321374 w 469320"/>
                  <a:gd name="connsiteY84" fmla="*/ 125728 h 404516"/>
                  <a:gd name="connsiteX85" fmla="*/ 321374 w 469320"/>
                  <a:gd name="connsiteY85" fmla="*/ 126345 h 404516"/>
                  <a:gd name="connsiteX86" fmla="*/ 321727 w 469320"/>
                  <a:gd name="connsiteY86" fmla="*/ 126874 h 404516"/>
                  <a:gd name="connsiteX87" fmla="*/ 323754 w 469320"/>
                  <a:gd name="connsiteY87" fmla="*/ 128638 h 404516"/>
                  <a:gd name="connsiteX88" fmla="*/ 324019 w 469320"/>
                  <a:gd name="connsiteY88" fmla="*/ 130930 h 404516"/>
                  <a:gd name="connsiteX89" fmla="*/ 328163 w 469320"/>
                  <a:gd name="connsiteY89" fmla="*/ 133928 h 404516"/>
                  <a:gd name="connsiteX90" fmla="*/ 331689 w 469320"/>
                  <a:gd name="connsiteY90" fmla="*/ 133928 h 404516"/>
                  <a:gd name="connsiteX91" fmla="*/ 335745 w 469320"/>
                  <a:gd name="connsiteY91" fmla="*/ 137984 h 404516"/>
                  <a:gd name="connsiteX92" fmla="*/ 335128 w 469320"/>
                  <a:gd name="connsiteY92" fmla="*/ 139130 h 404516"/>
                  <a:gd name="connsiteX93" fmla="*/ 335128 w 469320"/>
                  <a:gd name="connsiteY93" fmla="*/ 138248 h 404516"/>
                  <a:gd name="connsiteX94" fmla="*/ 332835 w 469320"/>
                  <a:gd name="connsiteY94" fmla="*/ 138248 h 404516"/>
                  <a:gd name="connsiteX95" fmla="*/ 331954 w 469320"/>
                  <a:gd name="connsiteY95" fmla="*/ 136837 h 404516"/>
                  <a:gd name="connsiteX96" fmla="*/ 331689 w 469320"/>
                  <a:gd name="connsiteY96" fmla="*/ 138248 h 404516"/>
                  <a:gd name="connsiteX97" fmla="*/ 332218 w 469320"/>
                  <a:gd name="connsiteY97" fmla="*/ 139394 h 404516"/>
                  <a:gd name="connsiteX98" fmla="*/ 332218 w 469320"/>
                  <a:gd name="connsiteY98" fmla="*/ 141158 h 404516"/>
                  <a:gd name="connsiteX99" fmla="*/ 335393 w 469320"/>
                  <a:gd name="connsiteY99" fmla="*/ 143803 h 404516"/>
                  <a:gd name="connsiteX100" fmla="*/ 335393 w 469320"/>
                  <a:gd name="connsiteY100" fmla="*/ 144067 h 404516"/>
                  <a:gd name="connsiteX101" fmla="*/ 336274 w 469320"/>
                  <a:gd name="connsiteY101" fmla="*/ 145301 h 404516"/>
                  <a:gd name="connsiteX102" fmla="*/ 338390 w 469320"/>
                  <a:gd name="connsiteY102" fmla="*/ 145831 h 404516"/>
                  <a:gd name="connsiteX103" fmla="*/ 338655 w 469320"/>
                  <a:gd name="connsiteY103" fmla="*/ 147329 h 404516"/>
                  <a:gd name="connsiteX104" fmla="*/ 338919 w 469320"/>
                  <a:gd name="connsiteY104" fmla="*/ 149093 h 404516"/>
                  <a:gd name="connsiteX105" fmla="*/ 338919 w 469320"/>
                  <a:gd name="connsiteY105" fmla="*/ 150239 h 404516"/>
                  <a:gd name="connsiteX106" fmla="*/ 337156 w 469320"/>
                  <a:gd name="connsiteY106" fmla="*/ 151121 h 404516"/>
                  <a:gd name="connsiteX107" fmla="*/ 336274 w 469320"/>
                  <a:gd name="connsiteY107" fmla="*/ 150239 h 404516"/>
                  <a:gd name="connsiteX108" fmla="*/ 336627 w 469320"/>
                  <a:gd name="connsiteY108" fmla="*/ 151121 h 404516"/>
                  <a:gd name="connsiteX109" fmla="*/ 336627 w 469320"/>
                  <a:gd name="connsiteY109" fmla="*/ 152267 h 404516"/>
                  <a:gd name="connsiteX110" fmla="*/ 336274 w 469320"/>
                  <a:gd name="connsiteY110" fmla="*/ 151385 h 404516"/>
                  <a:gd name="connsiteX111" fmla="*/ 336010 w 469320"/>
                  <a:gd name="connsiteY111" fmla="*/ 150239 h 404516"/>
                  <a:gd name="connsiteX112" fmla="*/ 333364 w 469320"/>
                  <a:gd name="connsiteY112" fmla="*/ 149622 h 404516"/>
                  <a:gd name="connsiteX113" fmla="*/ 333364 w 469320"/>
                  <a:gd name="connsiteY113" fmla="*/ 152002 h 404516"/>
                  <a:gd name="connsiteX114" fmla="*/ 333717 w 469320"/>
                  <a:gd name="connsiteY114" fmla="*/ 152884 h 404516"/>
                  <a:gd name="connsiteX115" fmla="*/ 333100 w 469320"/>
                  <a:gd name="connsiteY115" fmla="*/ 154295 h 404516"/>
                  <a:gd name="connsiteX116" fmla="*/ 333982 w 469320"/>
                  <a:gd name="connsiteY116" fmla="*/ 155441 h 404516"/>
                  <a:gd name="connsiteX117" fmla="*/ 334599 w 469320"/>
                  <a:gd name="connsiteY117" fmla="*/ 154559 h 404516"/>
                  <a:gd name="connsiteX118" fmla="*/ 334599 w 469320"/>
                  <a:gd name="connsiteY118" fmla="*/ 154030 h 404516"/>
                  <a:gd name="connsiteX119" fmla="*/ 336274 w 469320"/>
                  <a:gd name="connsiteY119" fmla="*/ 153766 h 404516"/>
                  <a:gd name="connsiteX120" fmla="*/ 336627 w 469320"/>
                  <a:gd name="connsiteY120" fmla="*/ 154559 h 404516"/>
                  <a:gd name="connsiteX121" fmla="*/ 336891 w 469320"/>
                  <a:gd name="connsiteY121" fmla="*/ 155441 h 404516"/>
                  <a:gd name="connsiteX122" fmla="*/ 337156 w 469320"/>
                  <a:gd name="connsiteY122" fmla="*/ 157204 h 404516"/>
                  <a:gd name="connsiteX123" fmla="*/ 337420 w 469320"/>
                  <a:gd name="connsiteY123" fmla="*/ 158968 h 404516"/>
                  <a:gd name="connsiteX124" fmla="*/ 337420 w 469320"/>
                  <a:gd name="connsiteY124" fmla="*/ 160114 h 404516"/>
                  <a:gd name="connsiteX125" fmla="*/ 340065 w 469320"/>
                  <a:gd name="connsiteY125" fmla="*/ 162142 h 404516"/>
                  <a:gd name="connsiteX126" fmla="*/ 340947 w 469320"/>
                  <a:gd name="connsiteY126" fmla="*/ 163023 h 404516"/>
                  <a:gd name="connsiteX127" fmla="*/ 340947 w 469320"/>
                  <a:gd name="connsiteY127" fmla="*/ 163905 h 404516"/>
                  <a:gd name="connsiteX128" fmla="*/ 339801 w 469320"/>
                  <a:gd name="connsiteY128" fmla="*/ 162142 h 404516"/>
                  <a:gd name="connsiteX129" fmla="*/ 338655 w 469320"/>
                  <a:gd name="connsiteY129" fmla="*/ 161877 h 404516"/>
                  <a:gd name="connsiteX130" fmla="*/ 338038 w 469320"/>
                  <a:gd name="connsiteY130" fmla="*/ 162494 h 404516"/>
                  <a:gd name="connsiteX131" fmla="*/ 340065 w 469320"/>
                  <a:gd name="connsiteY131" fmla="*/ 162759 h 404516"/>
                  <a:gd name="connsiteX132" fmla="*/ 340065 w 469320"/>
                  <a:gd name="connsiteY132" fmla="*/ 163905 h 404516"/>
                  <a:gd name="connsiteX133" fmla="*/ 343856 w 469320"/>
                  <a:gd name="connsiteY133" fmla="*/ 168578 h 404516"/>
                  <a:gd name="connsiteX134" fmla="*/ 343327 w 469320"/>
                  <a:gd name="connsiteY134" fmla="*/ 167432 h 404516"/>
                  <a:gd name="connsiteX135" fmla="*/ 343856 w 469320"/>
                  <a:gd name="connsiteY135" fmla="*/ 167696 h 404516"/>
                  <a:gd name="connsiteX136" fmla="*/ 343592 w 469320"/>
                  <a:gd name="connsiteY136" fmla="*/ 167432 h 404516"/>
                  <a:gd name="connsiteX137" fmla="*/ 344474 w 469320"/>
                  <a:gd name="connsiteY137" fmla="*/ 168578 h 404516"/>
                  <a:gd name="connsiteX138" fmla="*/ 346502 w 469320"/>
                  <a:gd name="connsiteY138" fmla="*/ 169460 h 404516"/>
                  <a:gd name="connsiteX139" fmla="*/ 347383 w 469320"/>
                  <a:gd name="connsiteY139" fmla="*/ 172369 h 404516"/>
                  <a:gd name="connsiteX140" fmla="*/ 347383 w 469320"/>
                  <a:gd name="connsiteY140" fmla="*/ 173868 h 404516"/>
                  <a:gd name="connsiteX141" fmla="*/ 348265 w 469320"/>
                  <a:gd name="connsiteY141" fmla="*/ 175014 h 404516"/>
                  <a:gd name="connsiteX142" fmla="*/ 347648 w 469320"/>
                  <a:gd name="connsiteY142" fmla="*/ 176778 h 404516"/>
                  <a:gd name="connsiteX143" fmla="*/ 348530 w 469320"/>
                  <a:gd name="connsiteY143" fmla="*/ 179423 h 404516"/>
                  <a:gd name="connsiteX144" fmla="*/ 348530 w 469320"/>
                  <a:gd name="connsiteY144" fmla="*/ 178541 h 404516"/>
                  <a:gd name="connsiteX145" fmla="*/ 348530 w 469320"/>
                  <a:gd name="connsiteY145" fmla="*/ 179423 h 404516"/>
                  <a:gd name="connsiteX146" fmla="*/ 351175 w 469320"/>
                  <a:gd name="connsiteY146" fmla="*/ 181098 h 404516"/>
                  <a:gd name="connsiteX147" fmla="*/ 352056 w 469320"/>
                  <a:gd name="connsiteY147" fmla="*/ 182332 h 404516"/>
                  <a:gd name="connsiteX148" fmla="*/ 352056 w 469320"/>
                  <a:gd name="connsiteY148" fmla="*/ 183743 h 404516"/>
                  <a:gd name="connsiteX149" fmla="*/ 352321 w 469320"/>
                  <a:gd name="connsiteY149" fmla="*/ 185506 h 404516"/>
                  <a:gd name="connsiteX150" fmla="*/ 352321 w 469320"/>
                  <a:gd name="connsiteY150" fmla="*/ 185859 h 404516"/>
                  <a:gd name="connsiteX151" fmla="*/ 354348 w 469320"/>
                  <a:gd name="connsiteY151" fmla="*/ 186652 h 404516"/>
                  <a:gd name="connsiteX152" fmla="*/ 354701 w 469320"/>
                  <a:gd name="connsiteY152" fmla="*/ 185859 h 404516"/>
                  <a:gd name="connsiteX153" fmla="*/ 358757 w 469320"/>
                  <a:gd name="connsiteY153" fmla="*/ 190444 h 404516"/>
                  <a:gd name="connsiteX154" fmla="*/ 362019 w 469320"/>
                  <a:gd name="connsiteY154" fmla="*/ 199261 h 404516"/>
                  <a:gd name="connsiteX155" fmla="*/ 372776 w 469320"/>
                  <a:gd name="connsiteY155" fmla="*/ 215572 h 404516"/>
                  <a:gd name="connsiteX156" fmla="*/ 383885 w 469320"/>
                  <a:gd name="connsiteY156" fmla="*/ 228356 h 404516"/>
                  <a:gd name="connsiteX157" fmla="*/ 446220 w 469320"/>
                  <a:gd name="connsiteY157" fmla="*/ 246783 h 404516"/>
                  <a:gd name="connsiteX158" fmla="*/ 455566 w 469320"/>
                  <a:gd name="connsiteY158" fmla="*/ 236820 h 404516"/>
                  <a:gd name="connsiteX159" fmla="*/ 469320 w 469320"/>
                  <a:gd name="connsiteY159" fmla="*/ 254366 h 404516"/>
                  <a:gd name="connsiteX160" fmla="*/ 451775 w 469320"/>
                  <a:gd name="connsiteY160" fmla="*/ 303035 h 404516"/>
                  <a:gd name="connsiteX161" fmla="*/ 389704 w 469320"/>
                  <a:gd name="connsiteY161" fmla="*/ 338655 h 404516"/>
                  <a:gd name="connsiteX162" fmla="*/ 313879 w 469320"/>
                  <a:gd name="connsiteY162" fmla="*/ 364312 h 404516"/>
                  <a:gd name="connsiteX163" fmla="*/ 278876 w 469320"/>
                  <a:gd name="connsiteY163" fmla="*/ 404517 h 404516"/>
                  <a:gd name="connsiteX164" fmla="*/ 274733 w 469320"/>
                  <a:gd name="connsiteY164" fmla="*/ 389087 h 404516"/>
                  <a:gd name="connsiteX165" fmla="*/ 232764 w 469320"/>
                  <a:gd name="connsiteY165" fmla="*/ 369514 h 404516"/>
                  <a:gd name="connsiteX166" fmla="*/ 231001 w 469320"/>
                  <a:gd name="connsiteY166" fmla="*/ 369514 h 404516"/>
                  <a:gd name="connsiteX167" fmla="*/ 230384 w 469320"/>
                  <a:gd name="connsiteY167" fmla="*/ 369514 h 404516"/>
                  <a:gd name="connsiteX168" fmla="*/ 227210 w 469320"/>
                  <a:gd name="connsiteY168" fmla="*/ 369514 h 404516"/>
                  <a:gd name="connsiteX169" fmla="*/ 223419 w 469320"/>
                  <a:gd name="connsiteY169" fmla="*/ 369514 h 404516"/>
                  <a:gd name="connsiteX170" fmla="*/ 223419 w 469320"/>
                  <a:gd name="connsiteY170" fmla="*/ 370748 h 404516"/>
                  <a:gd name="connsiteX171" fmla="*/ 220773 w 469320"/>
                  <a:gd name="connsiteY171" fmla="*/ 369866 h 404516"/>
                  <a:gd name="connsiteX172" fmla="*/ 220244 w 469320"/>
                  <a:gd name="connsiteY172" fmla="*/ 371630 h 404516"/>
                  <a:gd name="connsiteX173" fmla="*/ 220244 w 469320"/>
                  <a:gd name="connsiteY173" fmla="*/ 371277 h 404516"/>
                  <a:gd name="connsiteX174" fmla="*/ 220244 w 469320"/>
                  <a:gd name="connsiteY174" fmla="*/ 369866 h 404516"/>
                  <a:gd name="connsiteX175" fmla="*/ 217864 w 469320"/>
                  <a:gd name="connsiteY175" fmla="*/ 370748 h 404516"/>
                  <a:gd name="connsiteX176" fmla="*/ 216718 w 469320"/>
                  <a:gd name="connsiteY176" fmla="*/ 369866 h 404516"/>
                  <a:gd name="connsiteX177" fmla="*/ 214690 w 469320"/>
                  <a:gd name="connsiteY177" fmla="*/ 369514 h 404516"/>
                  <a:gd name="connsiteX178" fmla="*/ 213808 w 469320"/>
                  <a:gd name="connsiteY178" fmla="*/ 366957 h 404516"/>
                  <a:gd name="connsiteX179" fmla="*/ 211428 w 469320"/>
                  <a:gd name="connsiteY179" fmla="*/ 366957 h 404516"/>
                  <a:gd name="connsiteX180" fmla="*/ 208254 w 469320"/>
                  <a:gd name="connsiteY180" fmla="*/ 365722 h 404516"/>
                  <a:gd name="connsiteX181" fmla="*/ 205873 w 469320"/>
                  <a:gd name="connsiteY181" fmla="*/ 368103 h 404516"/>
                  <a:gd name="connsiteX182" fmla="*/ 205344 w 469320"/>
                  <a:gd name="connsiteY182" fmla="*/ 369514 h 404516"/>
                  <a:gd name="connsiteX183" fmla="*/ 202170 w 469320"/>
                  <a:gd name="connsiteY183" fmla="*/ 370748 h 404516"/>
                  <a:gd name="connsiteX184" fmla="*/ 207107 w 469320"/>
                  <a:gd name="connsiteY184" fmla="*/ 372776 h 404516"/>
                  <a:gd name="connsiteX185" fmla="*/ 202170 w 469320"/>
                  <a:gd name="connsiteY185" fmla="*/ 374187 h 404516"/>
                  <a:gd name="connsiteX186" fmla="*/ 202435 w 469320"/>
                  <a:gd name="connsiteY186" fmla="*/ 378331 h 404516"/>
                  <a:gd name="connsiteX187" fmla="*/ 202435 w 469320"/>
                  <a:gd name="connsiteY187" fmla="*/ 379212 h 404516"/>
                  <a:gd name="connsiteX188" fmla="*/ 202435 w 469320"/>
                  <a:gd name="connsiteY188" fmla="*/ 380623 h 404516"/>
                  <a:gd name="connsiteX189" fmla="*/ 202435 w 469320"/>
                  <a:gd name="connsiteY189" fmla="*/ 381505 h 404516"/>
                  <a:gd name="connsiteX190" fmla="*/ 202699 w 469320"/>
                  <a:gd name="connsiteY190" fmla="*/ 383532 h 404516"/>
                  <a:gd name="connsiteX191" fmla="*/ 206226 w 469320"/>
                  <a:gd name="connsiteY191" fmla="*/ 384150 h 404516"/>
                  <a:gd name="connsiteX192" fmla="*/ 206226 w 469320"/>
                  <a:gd name="connsiteY192" fmla="*/ 385031 h 404516"/>
                  <a:gd name="connsiteX193" fmla="*/ 203316 w 469320"/>
                  <a:gd name="connsiteY193" fmla="*/ 387059 h 404516"/>
                  <a:gd name="connsiteX194" fmla="*/ 205873 w 469320"/>
                  <a:gd name="connsiteY194" fmla="*/ 389352 h 404516"/>
                  <a:gd name="connsiteX195" fmla="*/ 202699 w 469320"/>
                  <a:gd name="connsiteY195" fmla="*/ 389352 h 404516"/>
                  <a:gd name="connsiteX196" fmla="*/ 202435 w 469320"/>
                  <a:gd name="connsiteY196" fmla="*/ 391468 h 404516"/>
                  <a:gd name="connsiteX197" fmla="*/ 200407 w 469320"/>
                  <a:gd name="connsiteY197" fmla="*/ 392614 h 404516"/>
                  <a:gd name="connsiteX198" fmla="*/ 200054 w 469320"/>
                  <a:gd name="connsiteY198" fmla="*/ 392614 h 404516"/>
                  <a:gd name="connsiteX199" fmla="*/ 200054 w 469320"/>
                  <a:gd name="connsiteY199" fmla="*/ 394025 h 404516"/>
                  <a:gd name="connsiteX200" fmla="*/ 197497 w 469320"/>
                  <a:gd name="connsiteY200" fmla="*/ 395259 h 404516"/>
                  <a:gd name="connsiteX201" fmla="*/ 196263 w 469320"/>
                  <a:gd name="connsiteY201" fmla="*/ 395259 h 404516"/>
                  <a:gd name="connsiteX202" fmla="*/ 196263 w 469320"/>
                  <a:gd name="connsiteY202" fmla="*/ 394025 h 404516"/>
                  <a:gd name="connsiteX203" fmla="*/ 196263 w 469320"/>
                  <a:gd name="connsiteY203" fmla="*/ 393496 h 404516"/>
                  <a:gd name="connsiteX204" fmla="*/ 196263 w 469320"/>
                  <a:gd name="connsiteY204" fmla="*/ 391468 h 404516"/>
                  <a:gd name="connsiteX205" fmla="*/ 193970 w 469320"/>
                  <a:gd name="connsiteY205" fmla="*/ 390498 h 404516"/>
                  <a:gd name="connsiteX206" fmla="*/ 195998 w 469320"/>
                  <a:gd name="connsiteY206" fmla="*/ 388470 h 404516"/>
                  <a:gd name="connsiteX207" fmla="*/ 193970 w 469320"/>
                  <a:gd name="connsiteY207" fmla="*/ 388470 h 404516"/>
                  <a:gd name="connsiteX208" fmla="*/ 193706 w 469320"/>
                  <a:gd name="connsiteY208" fmla="*/ 386707 h 404516"/>
                  <a:gd name="connsiteX209" fmla="*/ 193706 w 469320"/>
                  <a:gd name="connsiteY209" fmla="*/ 384150 h 404516"/>
                  <a:gd name="connsiteX210" fmla="*/ 190796 w 469320"/>
                  <a:gd name="connsiteY210" fmla="*/ 383532 h 404516"/>
                  <a:gd name="connsiteX211" fmla="*/ 190796 w 469320"/>
                  <a:gd name="connsiteY211" fmla="*/ 383003 h 404516"/>
                  <a:gd name="connsiteX212" fmla="*/ 190796 w 469320"/>
                  <a:gd name="connsiteY212" fmla="*/ 380623 h 404516"/>
                  <a:gd name="connsiteX213" fmla="*/ 190444 w 469320"/>
                  <a:gd name="connsiteY213" fmla="*/ 379212 h 404516"/>
                  <a:gd name="connsiteX214" fmla="*/ 190444 w 469320"/>
                  <a:gd name="connsiteY214" fmla="*/ 378595 h 404516"/>
                  <a:gd name="connsiteX215" fmla="*/ 187799 w 469320"/>
                  <a:gd name="connsiteY215" fmla="*/ 378595 h 404516"/>
                  <a:gd name="connsiteX216" fmla="*/ 187270 w 469320"/>
                  <a:gd name="connsiteY216" fmla="*/ 375421 h 404516"/>
                  <a:gd name="connsiteX217" fmla="*/ 187270 w 469320"/>
                  <a:gd name="connsiteY217" fmla="*/ 374187 h 404516"/>
                  <a:gd name="connsiteX218" fmla="*/ 187270 w 469320"/>
                  <a:gd name="connsiteY218" fmla="*/ 375421 h 404516"/>
                  <a:gd name="connsiteX219" fmla="*/ 187270 w 469320"/>
                  <a:gd name="connsiteY219" fmla="*/ 376832 h 404516"/>
                  <a:gd name="connsiteX220" fmla="*/ 187534 w 469320"/>
                  <a:gd name="connsiteY220" fmla="*/ 378595 h 404516"/>
                  <a:gd name="connsiteX221" fmla="*/ 187270 w 469320"/>
                  <a:gd name="connsiteY221" fmla="*/ 375421 h 404516"/>
                  <a:gd name="connsiteX222" fmla="*/ 186388 w 469320"/>
                  <a:gd name="connsiteY222" fmla="*/ 373658 h 404516"/>
                  <a:gd name="connsiteX223" fmla="*/ 186388 w 469320"/>
                  <a:gd name="connsiteY223" fmla="*/ 371630 h 404516"/>
                  <a:gd name="connsiteX224" fmla="*/ 184360 w 469320"/>
                  <a:gd name="connsiteY224" fmla="*/ 370748 h 404516"/>
                  <a:gd name="connsiteX225" fmla="*/ 184007 w 469320"/>
                  <a:gd name="connsiteY225" fmla="*/ 369514 h 404516"/>
                  <a:gd name="connsiteX226" fmla="*/ 183214 w 469320"/>
                  <a:gd name="connsiteY226" fmla="*/ 368103 h 404516"/>
                  <a:gd name="connsiteX227" fmla="*/ 180569 w 469320"/>
                  <a:gd name="connsiteY227" fmla="*/ 365722 h 404516"/>
                  <a:gd name="connsiteX228" fmla="*/ 180569 w 469320"/>
                  <a:gd name="connsiteY228" fmla="*/ 365193 h 404516"/>
                  <a:gd name="connsiteX229" fmla="*/ 180569 w 469320"/>
                  <a:gd name="connsiteY229" fmla="*/ 365722 h 404516"/>
                  <a:gd name="connsiteX230" fmla="*/ 180216 w 469320"/>
                  <a:gd name="connsiteY230" fmla="*/ 363430 h 404516"/>
                  <a:gd name="connsiteX231" fmla="*/ 178805 w 469320"/>
                  <a:gd name="connsiteY231" fmla="*/ 363430 h 404516"/>
                  <a:gd name="connsiteX232" fmla="*/ 177042 w 469320"/>
                  <a:gd name="connsiteY232" fmla="*/ 362284 h 404516"/>
                  <a:gd name="connsiteX233" fmla="*/ 176160 w 469320"/>
                  <a:gd name="connsiteY233" fmla="*/ 359639 h 404516"/>
                  <a:gd name="connsiteX234" fmla="*/ 175631 w 469320"/>
                  <a:gd name="connsiteY234" fmla="*/ 359639 h 404516"/>
                  <a:gd name="connsiteX235" fmla="*/ 173868 w 469320"/>
                  <a:gd name="connsiteY235" fmla="*/ 358757 h 404516"/>
                  <a:gd name="connsiteX236" fmla="*/ 173868 w 469320"/>
                  <a:gd name="connsiteY236" fmla="*/ 359639 h 404516"/>
                  <a:gd name="connsiteX237" fmla="*/ 173868 w 469320"/>
                  <a:gd name="connsiteY237" fmla="*/ 357875 h 404516"/>
                  <a:gd name="connsiteX238" fmla="*/ 172369 w 469320"/>
                  <a:gd name="connsiteY238" fmla="*/ 357875 h 404516"/>
                  <a:gd name="connsiteX239" fmla="*/ 172369 w 469320"/>
                  <a:gd name="connsiteY239" fmla="*/ 356994 h 404516"/>
                  <a:gd name="connsiteX240" fmla="*/ 170606 w 469320"/>
                  <a:gd name="connsiteY240" fmla="*/ 355319 h 404516"/>
                  <a:gd name="connsiteX241" fmla="*/ 170341 w 469320"/>
                  <a:gd name="connsiteY241" fmla="*/ 354349 h 404516"/>
                  <a:gd name="connsiteX242" fmla="*/ 169724 w 469320"/>
                  <a:gd name="connsiteY242" fmla="*/ 354084 h 404516"/>
                  <a:gd name="connsiteX243" fmla="*/ 169724 w 469320"/>
                  <a:gd name="connsiteY243" fmla="*/ 353555 h 404516"/>
                  <a:gd name="connsiteX244" fmla="*/ 167961 w 469320"/>
                  <a:gd name="connsiteY244" fmla="*/ 352321 h 404516"/>
                  <a:gd name="connsiteX245" fmla="*/ 167696 w 469320"/>
                  <a:gd name="connsiteY245" fmla="*/ 351439 h 404516"/>
                  <a:gd name="connsiteX246" fmla="*/ 167167 w 469320"/>
                  <a:gd name="connsiteY246" fmla="*/ 350293 h 404516"/>
                  <a:gd name="connsiteX247" fmla="*/ 167167 w 469320"/>
                  <a:gd name="connsiteY247" fmla="*/ 349676 h 404516"/>
                  <a:gd name="connsiteX248" fmla="*/ 167167 w 469320"/>
                  <a:gd name="connsiteY248" fmla="*/ 348882 h 404516"/>
                  <a:gd name="connsiteX249" fmla="*/ 166285 w 469320"/>
                  <a:gd name="connsiteY249" fmla="*/ 348882 h 404516"/>
                  <a:gd name="connsiteX250" fmla="*/ 166814 w 469320"/>
                  <a:gd name="connsiteY250" fmla="*/ 348001 h 404516"/>
                  <a:gd name="connsiteX251" fmla="*/ 166285 w 469320"/>
                  <a:gd name="connsiteY251" fmla="*/ 347119 h 404516"/>
                  <a:gd name="connsiteX252" fmla="*/ 166285 w 469320"/>
                  <a:gd name="connsiteY252" fmla="*/ 346766 h 404516"/>
                  <a:gd name="connsiteX253" fmla="*/ 163640 w 469320"/>
                  <a:gd name="connsiteY253" fmla="*/ 344209 h 404516"/>
                  <a:gd name="connsiteX254" fmla="*/ 163640 w 469320"/>
                  <a:gd name="connsiteY254" fmla="*/ 342975 h 404516"/>
                  <a:gd name="connsiteX255" fmla="*/ 163288 w 469320"/>
                  <a:gd name="connsiteY255" fmla="*/ 341564 h 404516"/>
                  <a:gd name="connsiteX256" fmla="*/ 163288 w 469320"/>
                  <a:gd name="connsiteY256" fmla="*/ 340418 h 404516"/>
                  <a:gd name="connsiteX257" fmla="*/ 160114 w 469320"/>
                  <a:gd name="connsiteY257" fmla="*/ 339801 h 404516"/>
                  <a:gd name="connsiteX258" fmla="*/ 160114 w 469320"/>
                  <a:gd name="connsiteY258" fmla="*/ 340418 h 404516"/>
                  <a:gd name="connsiteX259" fmla="*/ 159497 w 469320"/>
                  <a:gd name="connsiteY259" fmla="*/ 338655 h 404516"/>
                  <a:gd name="connsiteX260" fmla="*/ 159232 w 469320"/>
                  <a:gd name="connsiteY260" fmla="*/ 337509 h 404516"/>
                  <a:gd name="connsiteX261" fmla="*/ 158703 w 469320"/>
                  <a:gd name="connsiteY261" fmla="*/ 336010 h 404516"/>
                  <a:gd name="connsiteX262" fmla="*/ 159232 w 469320"/>
                  <a:gd name="connsiteY262" fmla="*/ 335128 h 404516"/>
                  <a:gd name="connsiteX263" fmla="*/ 159232 w 469320"/>
                  <a:gd name="connsiteY263" fmla="*/ 333717 h 404516"/>
                  <a:gd name="connsiteX264" fmla="*/ 158350 w 469320"/>
                  <a:gd name="connsiteY264" fmla="*/ 332483 h 404516"/>
                  <a:gd name="connsiteX265" fmla="*/ 156587 w 469320"/>
                  <a:gd name="connsiteY265" fmla="*/ 332483 h 404516"/>
                  <a:gd name="connsiteX266" fmla="*/ 156587 w 469320"/>
                  <a:gd name="connsiteY266" fmla="*/ 330455 h 404516"/>
                  <a:gd name="connsiteX267" fmla="*/ 156322 w 469320"/>
                  <a:gd name="connsiteY267" fmla="*/ 327546 h 404516"/>
                  <a:gd name="connsiteX268" fmla="*/ 155793 w 469320"/>
                  <a:gd name="connsiteY268" fmla="*/ 326928 h 404516"/>
                  <a:gd name="connsiteX269" fmla="*/ 154912 w 469320"/>
                  <a:gd name="connsiteY269" fmla="*/ 325253 h 404516"/>
                  <a:gd name="connsiteX270" fmla="*/ 154912 w 469320"/>
                  <a:gd name="connsiteY270" fmla="*/ 324019 h 404516"/>
                  <a:gd name="connsiteX271" fmla="*/ 152884 w 469320"/>
                  <a:gd name="connsiteY271" fmla="*/ 321462 h 404516"/>
                  <a:gd name="connsiteX272" fmla="*/ 152002 w 469320"/>
                  <a:gd name="connsiteY272" fmla="*/ 318552 h 404516"/>
                  <a:gd name="connsiteX273" fmla="*/ 152531 w 469320"/>
                  <a:gd name="connsiteY273" fmla="*/ 317054 h 404516"/>
                  <a:gd name="connsiteX274" fmla="*/ 149357 w 469320"/>
                  <a:gd name="connsiteY274" fmla="*/ 315907 h 404516"/>
                  <a:gd name="connsiteX275" fmla="*/ 147858 w 469320"/>
                  <a:gd name="connsiteY275" fmla="*/ 313262 h 404516"/>
                  <a:gd name="connsiteX276" fmla="*/ 149357 w 469320"/>
                  <a:gd name="connsiteY276" fmla="*/ 314761 h 404516"/>
                  <a:gd name="connsiteX277" fmla="*/ 149093 w 469320"/>
                  <a:gd name="connsiteY277" fmla="*/ 312381 h 404516"/>
                  <a:gd name="connsiteX278" fmla="*/ 148476 w 469320"/>
                  <a:gd name="connsiteY278" fmla="*/ 311499 h 404516"/>
                  <a:gd name="connsiteX279" fmla="*/ 147594 w 469320"/>
                  <a:gd name="connsiteY279" fmla="*/ 310353 h 404516"/>
                  <a:gd name="connsiteX280" fmla="*/ 145830 w 469320"/>
                  <a:gd name="connsiteY280" fmla="*/ 309736 h 404516"/>
                  <a:gd name="connsiteX281" fmla="*/ 145830 w 469320"/>
                  <a:gd name="connsiteY281" fmla="*/ 310353 h 404516"/>
                  <a:gd name="connsiteX282" fmla="*/ 145213 w 469320"/>
                  <a:gd name="connsiteY282" fmla="*/ 310353 h 404516"/>
                  <a:gd name="connsiteX283" fmla="*/ 143538 w 469320"/>
                  <a:gd name="connsiteY283" fmla="*/ 308942 h 404516"/>
                  <a:gd name="connsiteX284" fmla="*/ 143538 w 469320"/>
                  <a:gd name="connsiteY284" fmla="*/ 308589 h 404516"/>
                  <a:gd name="connsiteX285" fmla="*/ 142656 w 469320"/>
                  <a:gd name="connsiteY285" fmla="*/ 307708 h 404516"/>
                  <a:gd name="connsiteX286" fmla="*/ 142656 w 469320"/>
                  <a:gd name="connsiteY286" fmla="*/ 307090 h 404516"/>
                  <a:gd name="connsiteX287" fmla="*/ 142656 w 469320"/>
                  <a:gd name="connsiteY287" fmla="*/ 305944 h 404516"/>
                  <a:gd name="connsiteX288" fmla="*/ 142656 w 469320"/>
                  <a:gd name="connsiteY288" fmla="*/ 305415 h 404516"/>
                  <a:gd name="connsiteX289" fmla="*/ 140011 w 469320"/>
                  <a:gd name="connsiteY289" fmla="*/ 304181 h 404516"/>
                  <a:gd name="connsiteX290" fmla="*/ 139130 w 469320"/>
                  <a:gd name="connsiteY290" fmla="*/ 303035 h 404516"/>
                  <a:gd name="connsiteX291" fmla="*/ 138601 w 469320"/>
                  <a:gd name="connsiteY291" fmla="*/ 303035 h 404516"/>
                  <a:gd name="connsiteX292" fmla="*/ 135339 w 469320"/>
                  <a:gd name="connsiteY292" fmla="*/ 301624 h 404516"/>
                  <a:gd name="connsiteX293" fmla="*/ 135339 w 469320"/>
                  <a:gd name="connsiteY293" fmla="*/ 300478 h 404516"/>
                  <a:gd name="connsiteX294" fmla="*/ 135339 w 469320"/>
                  <a:gd name="connsiteY294" fmla="*/ 299244 h 404516"/>
                  <a:gd name="connsiteX295" fmla="*/ 132693 w 469320"/>
                  <a:gd name="connsiteY295" fmla="*/ 299244 h 404516"/>
                  <a:gd name="connsiteX296" fmla="*/ 132693 w 469320"/>
                  <a:gd name="connsiteY296" fmla="*/ 298715 h 404516"/>
                  <a:gd name="connsiteX297" fmla="*/ 132693 w 469320"/>
                  <a:gd name="connsiteY297" fmla="*/ 297480 h 404516"/>
                  <a:gd name="connsiteX298" fmla="*/ 131547 w 469320"/>
                  <a:gd name="connsiteY298" fmla="*/ 296951 h 404516"/>
                  <a:gd name="connsiteX299" fmla="*/ 129519 w 469320"/>
                  <a:gd name="connsiteY299" fmla="*/ 297480 h 404516"/>
                  <a:gd name="connsiteX300" fmla="*/ 128902 w 469320"/>
                  <a:gd name="connsiteY300" fmla="*/ 296951 h 404516"/>
                  <a:gd name="connsiteX301" fmla="*/ 128902 w 469320"/>
                  <a:gd name="connsiteY301" fmla="*/ 297480 h 404516"/>
                  <a:gd name="connsiteX302" fmla="*/ 128902 w 469320"/>
                  <a:gd name="connsiteY302" fmla="*/ 297833 h 404516"/>
                  <a:gd name="connsiteX303" fmla="*/ 123965 w 469320"/>
                  <a:gd name="connsiteY303" fmla="*/ 295717 h 404516"/>
                  <a:gd name="connsiteX304" fmla="*/ 123083 w 469320"/>
                  <a:gd name="connsiteY304" fmla="*/ 294042 h 404516"/>
                  <a:gd name="connsiteX305" fmla="*/ 120791 w 469320"/>
                  <a:gd name="connsiteY305" fmla="*/ 291926 h 404516"/>
                  <a:gd name="connsiteX306" fmla="*/ 119909 w 469320"/>
                  <a:gd name="connsiteY306" fmla="*/ 290515 h 404516"/>
                  <a:gd name="connsiteX307" fmla="*/ 120438 w 469320"/>
                  <a:gd name="connsiteY307" fmla="*/ 289369 h 404516"/>
                  <a:gd name="connsiteX308" fmla="*/ 119909 w 469320"/>
                  <a:gd name="connsiteY308" fmla="*/ 288751 h 404516"/>
                  <a:gd name="connsiteX309" fmla="*/ 119556 w 469320"/>
                  <a:gd name="connsiteY309" fmla="*/ 287870 h 404516"/>
                  <a:gd name="connsiteX310" fmla="*/ 119292 w 469320"/>
                  <a:gd name="connsiteY310" fmla="*/ 286988 h 404516"/>
                  <a:gd name="connsiteX311" fmla="*/ 119292 w 469320"/>
                  <a:gd name="connsiteY311" fmla="*/ 285842 h 404516"/>
                  <a:gd name="connsiteX312" fmla="*/ 117264 w 469320"/>
                  <a:gd name="connsiteY312" fmla="*/ 285842 h 404516"/>
                  <a:gd name="connsiteX313" fmla="*/ 117264 w 469320"/>
                  <a:gd name="connsiteY313" fmla="*/ 286106 h 404516"/>
                  <a:gd name="connsiteX314" fmla="*/ 116118 w 469320"/>
                  <a:gd name="connsiteY314" fmla="*/ 284960 h 404516"/>
                  <a:gd name="connsiteX315" fmla="*/ 116118 w 469320"/>
                  <a:gd name="connsiteY315" fmla="*/ 284431 h 404516"/>
                  <a:gd name="connsiteX316" fmla="*/ 116999 w 469320"/>
                  <a:gd name="connsiteY316" fmla="*/ 284431 h 404516"/>
                  <a:gd name="connsiteX317" fmla="*/ 116999 w 469320"/>
                  <a:gd name="connsiteY317" fmla="*/ 284079 h 404516"/>
                  <a:gd name="connsiteX318" fmla="*/ 116118 w 469320"/>
                  <a:gd name="connsiteY318" fmla="*/ 283197 h 404516"/>
                  <a:gd name="connsiteX319" fmla="*/ 116118 w 469320"/>
                  <a:gd name="connsiteY319" fmla="*/ 284079 h 404516"/>
                  <a:gd name="connsiteX320" fmla="*/ 115236 w 469320"/>
                  <a:gd name="connsiteY320" fmla="*/ 283197 h 404516"/>
                  <a:gd name="connsiteX321" fmla="*/ 115236 w 469320"/>
                  <a:gd name="connsiteY321" fmla="*/ 282051 h 404516"/>
                  <a:gd name="connsiteX322" fmla="*/ 116118 w 469320"/>
                  <a:gd name="connsiteY322" fmla="*/ 283197 h 404516"/>
                  <a:gd name="connsiteX323" fmla="*/ 115236 w 469320"/>
                  <a:gd name="connsiteY323" fmla="*/ 282051 h 404516"/>
                  <a:gd name="connsiteX324" fmla="*/ 113120 w 469320"/>
                  <a:gd name="connsiteY324" fmla="*/ 282051 h 404516"/>
                  <a:gd name="connsiteX325" fmla="*/ 113120 w 469320"/>
                  <a:gd name="connsiteY325" fmla="*/ 280287 h 404516"/>
                  <a:gd name="connsiteX326" fmla="*/ 112855 w 469320"/>
                  <a:gd name="connsiteY326" fmla="*/ 278877 h 404516"/>
                  <a:gd name="connsiteX327" fmla="*/ 112591 w 469320"/>
                  <a:gd name="connsiteY327" fmla="*/ 277642 h 404516"/>
                  <a:gd name="connsiteX328" fmla="*/ 111709 w 469320"/>
                  <a:gd name="connsiteY328" fmla="*/ 276496 h 404516"/>
                  <a:gd name="connsiteX329" fmla="*/ 109946 w 469320"/>
                  <a:gd name="connsiteY329" fmla="*/ 275085 h 404516"/>
                  <a:gd name="connsiteX330" fmla="*/ 109946 w 469320"/>
                  <a:gd name="connsiteY330" fmla="*/ 274733 h 404516"/>
                  <a:gd name="connsiteX331" fmla="*/ 109946 w 469320"/>
                  <a:gd name="connsiteY331" fmla="*/ 274204 h 404516"/>
                  <a:gd name="connsiteX332" fmla="*/ 109681 w 469320"/>
                  <a:gd name="connsiteY332" fmla="*/ 271559 h 404516"/>
                  <a:gd name="connsiteX333" fmla="*/ 109681 w 469320"/>
                  <a:gd name="connsiteY333" fmla="*/ 270412 h 404516"/>
                  <a:gd name="connsiteX334" fmla="*/ 109681 w 469320"/>
                  <a:gd name="connsiteY334" fmla="*/ 269266 h 404516"/>
                  <a:gd name="connsiteX335" fmla="*/ 109417 w 469320"/>
                  <a:gd name="connsiteY335" fmla="*/ 267767 h 404516"/>
                  <a:gd name="connsiteX336" fmla="*/ 109417 w 469320"/>
                  <a:gd name="connsiteY336" fmla="*/ 267503 h 404516"/>
                  <a:gd name="connsiteX337" fmla="*/ 109417 w 469320"/>
                  <a:gd name="connsiteY337" fmla="*/ 266621 h 404516"/>
                  <a:gd name="connsiteX338" fmla="*/ 109417 w 469320"/>
                  <a:gd name="connsiteY338" fmla="*/ 266004 h 404516"/>
                  <a:gd name="connsiteX339" fmla="*/ 109417 w 469320"/>
                  <a:gd name="connsiteY339" fmla="*/ 266621 h 404516"/>
                  <a:gd name="connsiteX340" fmla="*/ 109417 w 469320"/>
                  <a:gd name="connsiteY340" fmla="*/ 264858 h 404516"/>
                  <a:gd name="connsiteX341" fmla="*/ 109417 w 469320"/>
                  <a:gd name="connsiteY341" fmla="*/ 264241 h 404516"/>
                  <a:gd name="connsiteX342" fmla="*/ 109064 w 469320"/>
                  <a:gd name="connsiteY342" fmla="*/ 263094 h 404516"/>
                  <a:gd name="connsiteX343" fmla="*/ 109064 w 469320"/>
                  <a:gd name="connsiteY343" fmla="*/ 261067 h 404516"/>
                  <a:gd name="connsiteX344" fmla="*/ 108535 w 469320"/>
                  <a:gd name="connsiteY344" fmla="*/ 261684 h 404516"/>
                  <a:gd name="connsiteX345" fmla="*/ 105890 w 469320"/>
                  <a:gd name="connsiteY345" fmla="*/ 259568 h 404516"/>
                  <a:gd name="connsiteX346" fmla="*/ 105890 w 469320"/>
                  <a:gd name="connsiteY346" fmla="*/ 257893 h 404516"/>
                  <a:gd name="connsiteX347" fmla="*/ 105890 w 469320"/>
                  <a:gd name="connsiteY347" fmla="*/ 257540 h 404516"/>
                  <a:gd name="connsiteX348" fmla="*/ 105626 w 469320"/>
                  <a:gd name="connsiteY348" fmla="*/ 256129 h 404516"/>
                  <a:gd name="connsiteX349" fmla="*/ 105890 w 469320"/>
                  <a:gd name="connsiteY349" fmla="*/ 256658 h 404516"/>
                  <a:gd name="connsiteX350" fmla="*/ 105890 w 469320"/>
                  <a:gd name="connsiteY350" fmla="*/ 258686 h 404516"/>
                  <a:gd name="connsiteX351" fmla="*/ 105890 w 469320"/>
                  <a:gd name="connsiteY351" fmla="*/ 257893 h 404516"/>
                  <a:gd name="connsiteX352" fmla="*/ 105626 w 469320"/>
                  <a:gd name="connsiteY352" fmla="*/ 255777 h 404516"/>
                  <a:gd name="connsiteX353" fmla="*/ 105626 w 469320"/>
                  <a:gd name="connsiteY353" fmla="*/ 253220 h 404516"/>
                  <a:gd name="connsiteX354" fmla="*/ 105626 w 469320"/>
                  <a:gd name="connsiteY354" fmla="*/ 252338 h 404516"/>
                  <a:gd name="connsiteX355" fmla="*/ 107036 w 469320"/>
                  <a:gd name="connsiteY355" fmla="*/ 250575 h 404516"/>
                  <a:gd name="connsiteX356" fmla="*/ 105273 w 469320"/>
                  <a:gd name="connsiteY356" fmla="*/ 251456 h 404516"/>
                  <a:gd name="connsiteX357" fmla="*/ 105273 w 469320"/>
                  <a:gd name="connsiteY357" fmla="*/ 250310 h 404516"/>
                  <a:gd name="connsiteX358" fmla="*/ 105273 w 469320"/>
                  <a:gd name="connsiteY358" fmla="*/ 248811 h 404516"/>
                  <a:gd name="connsiteX359" fmla="*/ 107654 w 469320"/>
                  <a:gd name="connsiteY359" fmla="*/ 248194 h 404516"/>
                  <a:gd name="connsiteX360" fmla="*/ 108183 w 469320"/>
                  <a:gd name="connsiteY360" fmla="*/ 246783 h 404516"/>
                  <a:gd name="connsiteX361" fmla="*/ 108183 w 469320"/>
                  <a:gd name="connsiteY361" fmla="*/ 246431 h 404516"/>
                  <a:gd name="connsiteX362" fmla="*/ 108183 w 469320"/>
                  <a:gd name="connsiteY362" fmla="*/ 245020 h 404516"/>
                  <a:gd name="connsiteX363" fmla="*/ 108183 w 469320"/>
                  <a:gd name="connsiteY363" fmla="*/ 244756 h 404516"/>
                  <a:gd name="connsiteX364" fmla="*/ 108183 w 469320"/>
                  <a:gd name="connsiteY364" fmla="*/ 245020 h 404516"/>
                  <a:gd name="connsiteX365" fmla="*/ 108183 w 469320"/>
                  <a:gd name="connsiteY365" fmla="*/ 245902 h 404516"/>
                  <a:gd name="connsiteX366" fmla="*/ 107389 w 469320"/>
                  <a:gd name="connsiteY366" fmla="*/ 244756 h 404516"/>
                  <a:gd name="connsiteX367" fmla="*/ 107918 w 469320"/>
                  <a:gd name="connsiteY367" fmla="*/ 240612 h 404516"/>
                  <a:gd name="connsiteX368" fmla="*/ 104391 w 469320"/>
                  <a:gd name="connsiteY368" fmla="*/ 236556 h 404516"/>
                  <a:gd name="connsiteX369" fmla="*/ 104391 w 469320"/>
                  <a:gd name="connsiteY369" fmla="*/ 236027 h 404516"/>
                  <a:gd name="connsiteX370" fmla="*/ 103598 w 469320"/>
                  <a:gd name="connsiteY370" fmla="*/ 233382 h 404516"/>
                  <a:gd name="connsiteX371" fmla="*/ 104391 w 469320"/>
                  <a:gd name="connsiteY371" fmla="*/ 234792 h 404516"/>
                  <a:gd name="connsiteX372" fmla="*/ 104391 w 469320"/>
                  <a:gd name="connsiteY372" fmla="*/ 236027 h 404516"/>
                  <a:gd name="connsiteX373" fmla="*/ 100953 w 469320"/>
                  <a:gd name="connsiteY373" fmla="*/ 231618 h 404516"/>
                  <a:gd name="connsiteX374" fmla="*/ 103598 w 469320"/>
                  <a:gd name="connsiteY374" fmla="*/ 233382 h 404516"/>
                  <a:gd name="connsiteX375" fmla="*/ 104127 w 469320"/>
                  <a:gd name="connsiteY375" fmla="*/ 233382 h 404516"/>
                  <a:gd name="connsiteX376" fmla="*/ 104127 w 469320"/>
                  <a:gd name="connsiteY376" fmla="*/ 233029 h 404516"/>
                  <a:gd name="connsiteX377" fmla="*/ 103598 w 469320"/>
                  <a:gd name="connsiteY377" fmla="*/ 232147 h 404516"/>
                  <a:gd name="connsiteX378" fmla="*/ 103598 w 469320"/>
                  <a:gd name="connsiteY378" fmla="*/ 231618 h 404516"/>
                  <a:gd name="connsiteX379" fmla="*/ 103598 w 469320"/>
                  <a:gd name="connsiteY379" fmla="*/ 231001 h 404516"/>
                  <a:gd name="connsiteX380" fmla="*/ 100953 w 469320"/>
                  <a:gd name="connsiteY380" fmla="*/ 230472 h 404516"/>
                  <a:gd name="connsiteX381" fmla="*/ 100953 w 469320"/>
                  <a:gd name="connsiteY381" fmla="*/ 229591 h 404516"/>
                  <a:gd name="connsiteX382" fmla="*/ 100953 w 469320"/>
                  <a:gd name="connsiteY382" fmla="*/ 229238 h 404516"/>
                  <a:gd name="connsiteX383" fmla="*/ 100953 w 469320"/>
                  <a:gd name="connsiteY383" fmla="*/ 227474 h 404516"/>
                  <a:gd name="connsiteX384" fmla="*/ 100600 w 469320"/>
                  <a:gd name="connsiteY384" fmla="*/ 226064 h 404516"/>
                  <a:gd name="connsiteX385" fmla="*/ 100600 w 469320"/>
                  <a:gd name="connsiteY385" fmla="*/ 225447 h 404516"/>
                  <a:gd name="connsiteX386" fmla="*/ 98043 w 469320"/>
                  <a:gd name="connsiteY386" fmla="*/ 226064 h 404516"/>
                  <a:gd name="connsiteX387" fmla="*/ 98043 w 469320"/>
                  <a:gd name="connsiteY387" fmla="*/ 224918 h 404516"/>
                  <a:gd name="connsiteX388" fmla="*/ 97426 w 469320"/>
                  <a:gd name="connsiteY388" fmla="*/ 223683 h 404516"/>
                  <a:gd name="connsiteX389" fmla="*/ 97426 w 469320"/>
                  <a:gd name="connsiteY389" fmla="*/ 223154 h 404516"/>
                  <a:gd name="connsiteX390" fmla="*/ 97426 w 469320"/>
                  <a:gd name="connsiteY390" fmla="*/ 222008 h 404516"/>
                  <a:gd name="connsiteX391" fmla="*/ 97426 w 469320"/>
                  <a:gd name="connsiteY391" fmla="*/ 221126 h 404516"/>
                  <a:gd name="connsiteX392" fmla="*/ 97161 w 469320"/>
                  <a:gd name="connsiteY392" fmla="*/ 219363 h 404516"/>
                  <a:gd name="connsiteX393" fmla="*/ 96544 w 469320"/>
                  <a:gd name="connsiteY393" fmla="*/ 219363 h 404516"/>
                  <a:gd name="connsiteX394" fmla="*/ 96280 w 469320"/>
                  <a:gd name="connsiteY394" fmla="*/ 216718 h 404516"/>
                  <a:gd name="connsiteX395" fmla="*/ 94252 w 469320"/>
                  <a:gd name="connsiteY395" fmla="*/ 216189 h 404516"/>
                  <a:gd name="connsiteX396" fmla="*/ 94252 w 469320"/>
                  <a:gd name="connsiteY396" fmla="*/ 215572 h 404516"/>
                  <a:gd name="connsiteX397" fmla="*/ 93899 w 469320"/>
                  <a:gd name="connsiteY397" fmla="*/ 215572 h 404516"/>
                  <a:gd name="connsiteX398" fmla="*/ 93899 w 469320"/>
                  <a:gd name="connsiteY398" fmla="*/ 216189 h 404516"/>
                  <a:gd name="connsiteX399" fmla="*/ 93899 w 469320"/>
                  <a:gd name="connsiteY399" fmla="*/ 216718 h 404516"/>
                  <a:gd name="connsiteX400" fmla="*/ 93899 w 469320"/>
                  <a:gd name="connsiteY400" fmla="*/ 216189 h 404516"/>
                  <a:gd name="connsiteX401" fmla="*/ 93635 w 469320"/>
                  <a:gd name="connsiteY401" fmla="*/ 213808 h 404516"/>
                  <a:gd name="connsiteX402" fmla="*/ 90373 w 469320"/>
                  <a:gd name="connsiteY402" fmla="*/ 211163 h 404516"/>
                  <a:gd name="connsiteX403" fmla="*/ 90373 w 469320"/>
                  <a:gd name="connsiteY403" fmla="*/ 210017 h 404516"/>
                  <a:gd name="connsiteX404" fmla="*/ 89579 w 469320"/>
                  <a:gd name="connsiteY404" fmla="*/ 209400 h 404516"/>
                  <a:gd name="connsiteX405" fmla="*/ 87198 w 469320"/>
                  <a:gd name="connsiteY405" fmla="*/ 207637 h 404516"/>
                  <a:gd name="connsiteX406" fmla="*/ 87198 w 469320"/>
                  <a:gd name="connsiteY406" fmla="*/ 206490 h 404516"/>
                  <a:gd name="connsiteX407" fmla="*/ 84024 w 469320"/>
                  <a:gd name="connsiteY407" fmla="*/ 205080 h 404516"/>
                  <a:gd name="connsiteX408" fmla="*/ 83672 w 469320"/>
                  <a:gd name="connsiteY408" fmla="*/ 203934 h 404516"/>
                  <a:gd name="connsiteX409" fmla="*/ 83672 w 469320"/>
                  <a:gd name="connsiteY409" fmla="*/ 203316 h 404516"/>
                  <a:gd name="connsiteX410" fmla="*/ 82525 w 469320"/>
                  <a:gd name="connsiteY410" fmla="*/ 203316 h 404516"/>
                  <a:gd name="connsiteX411" fmla="*/ 79881 w 469320"/>
                  <a:gd name="connsiteY411" fmla="*/ 200936 h 404516"/>
                  <a:gd name="connsiteX412" fmla="*/ 79881 w 469320"/>
                  <a:gd name="connsiteY412" fmla="*/ 200142 h 404516"/>
                  <a:gd name="connsiteX413" fmla="*/ 79881 w 469320"/>
                  <a:gd name="connsiteY413" fmla="*/ 199525 h 404516"/>
                  <a:gd name="connsiteX414" fmla="*/ 79087 w 469320"/>
                  <a:gd name="connsiteY414" fmla="*/ 200142 h 404516"/>
                  <a:gd name="connsiteX415" fmla="*/ 79881 w 469320"/>
                  <a:gd name="connsiteY415" fmla="*/ 200936 h 404516"/>
                  <a:gd name="connsiteX416" fmla="*/ 77588 w 469320"/>
                  <a:gd name="connsiteY416" fmla="*/ 200936 h 404516"/>
                  <a:gd name="connsiteX417" fmla="*/ 74943 w 469320"/>
                  <a:gd name="connsiteY417" fmla="*/ 198379 h 404516"/>
                  <a:gd name="connsiteX418" fmla="*/ 74943 w 469320"/>
                  <a:gd name="connsiteY418" fmla="*/ 199261 h 404516"/>
                  <a:gd name="connsiteX419" fmla="*/ 74061 w 469320"/>
                  <a:gd name="connsiteY419" fmla="*/ 196880 h 404516"/>
                  <a:gd name="connsiteX420" fmla="*/ 73532 w 469320"/>
                  <a:gd name="connsiteY420" fmla="*/ 198379 h 404516"/>
                  <a:gd name="connsiteX421" fmla="*/ 73532 w 469320"/>
                  <a:gd name="connsiteY421" fmla="*/ 199261 h 404516"/>
                  <a:gd name="connsiteX422" fmla="*/ 71769 w 469320"/>
                  <a:gd name="connsiteY422" fmla="*/ 199261 h 404516"/>
                  <a:gd name="connsiteX423" fmla="*/ 71152 w 469320"/>
                  <a:gd name="connsiteY423" fmla="*/ 198379 h 404516"/>
                  <a:gd name="connsiteX424" fmla="*/ 70270 w 469320"/>
                  <a:gd name="connsiteY424" fmla="*/ 196616 h 404516"/>
                  <a:gd name="connsiteX425" fmla="*/ 70270 w 469320"/>
                  <a:gd name="connsiteY425" fmla="*/ 195734 h 404516"/>
                  <a:gd name="connsiteX426" fmla="*/ 67978 w 469320"/>
                  <a:gd name="connsiteY426" fmla="*/ 195117 h 404516"/>
                  <a:gd name="connsiteX427" fmla="*/ 67978 w 469320"/>
                  <a:gd name="connsiteY427" fmla="*/ 194852 h 404516"/>
                  <a:gd name="connsiteX428" fmla="*/ 70270 w 469320"/>
                  <a:gd name="connsiteY428" fmla="*/ 194852 h 404516"/>
                  <a:gd name="connsiteX429" fmla="*/ 67713 w 469320"/>
                  <a:gd name="connsiteY429" fmla="*/ 193353 h 404516"/>
                  <a:gd name="connsiteX430" fmla="*/ 67096 w 469320"/>
                  <a:gd name="connsiteY430" fmla="*/ 192824 h 404516"/>
                  <a:gd name="connsiteX431" fmla="*/ 66832 w 469320"/>
                  <a:gd name="connsiteY431" fmla="*/ 191061 h 404516"/>
                  <a:gd name="connsiteX432" fmla="*/ 66832 w 469320"/>
                  <a:gd name="connsiteY432" fmla="*/ 190444 h 404516"/>
                  <a:gd name="connsiteX433" fmla="*/ 64187 w 469320"/>
                  <a:gd name="connsiteY433" fmla="*/ 187887 h 404516"/>
                  <a:gd name="connsiteX434" fmla="*/ 63569 w 469320"/>
                  <a:gd name="connsiteY434" fmla="*/ 187887 h 404516"/>
                  <a:gd name="connsiteX435" fmla="*/ 60924 w 469320"/>
                  <a:gd name="connsiteY435" fmla="*/ 185859 h 404516"/>
                  <a:gd name="connsiteX436" fmla="*/ 63569 w 469320"/>
                  <a:gd name="connsiteY436" fmla="*/ 185506 h 404516"/>
                  <a:gd name="connsiteX437" fmla="*/ 60924 w 469320"/>
                  <a:gd name="connsiteY437" fmla="*/ 185506 h 404516"/>
                  <a:gd name="connsiteX438" fmla="*/ 60924 w 469320"/>
                  <a:gd name="connsiteY438" fmla="*/ 184096 h 404516"/>
                  <a:gd name="connsiteX439" fmla="*/ 64187 w 469320"/>
                  <a:gd name="connsiteY439" fmla="*/ 183743 h 404516"/>
                  <a:gd name="connsiteX440" fmla="*/ 63305 w 469320"/>
                  <a:gd name="connsiteY440" fmla="*/ 181098 h 404516"/>
                  <a:gd name="connsiteX441" fmla="*/ 63834 w 469320"/>
                  <a:gd name="connsiteY441" fmla="*/ 179423 h 404516"/>
                  <a:gd name="connsiteX442" fmla="*/ 60395 w 469320"/>
                  <a:gd name="connsiteY442" fmla="*/ 176778 h 404516"/>
                  <a:gd name="connsiteX443" fmla="*/ 62688 w 469320"/>
                  <a:gd name="connsiteY443" fmla="*/ 175631 h 404516"/>
                  <a:gd name="connsiteX444" fmla="*/ 60395 w 469320"/>
                  <a:gd name="connsiteY444" fmla="*/ 174133 h 404516"/>
                  <a:gd name="connsiteX445" fmla="*/ 60043 w 469320"/>
                  <a:gd name="connsiteY445" fmla="*/ 172369 h 404516"/>
                  <a:gd name="connsiteX446" fmla="*/ 58896 w 469320"/>
                  <a:gd name="connsiteY446" fmla="*/ 171223 h 404516"/>
                  <a:gd name="connsiteX447" fmla="*/ 56868 w 469320"/>
                  <a:gd name="connsiteY447" fmla="*/ 168578 h 404516"/>
                  <a:gd name="connsiteX448" fmla="*/ 56604 w 469320"/>
                  <a:gd name="connsiteY448" fmla="*/ 167432 h 404516"/>
                  <a:gd name="connsiteX449" fmla="*/ 55987 w 469320"/>
                  <a:gd name="connsiteY449" fmla="*/ 166550 h 404516"/>
                  <a:gd name="connsiteX450" fmla="*/ 53959 w 469320"/>
                  <a:gd name="connsiteY450" fmla="*/ 163905 h 404516"/>
                  <a:gd name="connsiteX451" fmla="*/ 53342 w 469320"/>
                  <a:gd name="connsiteY451" fmla="*/ 162759 h 404516"/>
                  <a:gd name="connsiteX452" fmla="*/ 50785 w 469320"/>
                  <a:gd name="connsiteY452" fmla="*/ 160114 h 404516"/>
                  <a:gd name="connsiteX453" fmla="*/ 50785 w 469320"/>
                  <a:gd name="connsiteY453" fmla="*/ 161260 h 404516"/>
                  <a:gd name="connsiteX454" fmla="*/ 49903 w 469320"/>
                  <a:gd name="connsiteY454" fmla="*/ 160114 h 404516"/>
                  <a:gd name="connsiteX455" fmla="*/ 47523 w 469320"/>
                  <a:gd name="connsiteY455" fmla="*/ 158350 h 404516"/>
                  <a:gd name="connsiteX456" fmla="*/ 49903 w 469320"/>
                  <a:gd name="connsiteY456" fmla="*/ 157204 h 404516"/>
                  <a:gd name="connsiteX457" fmla="*/ 49639 w 469320"/>
                  <a:gd name="connsiteY457" fmla="*/ 154030 h 404516"/>
                  <a:gd name="connsiteX458" fmla="*/ 49639 w 469320"/>
                  <a:gd name="connsiteY458" fmla="*/ 152884 h 404516"/>
                  <a:gd name="connsiteX459" fmla="*/ 48669 w 469320"/>
                  <a:gd name="connsiteY459" fmla="*/ 152884 h 404516"/>
                  <a:gd name="connsiteX460" fmla="*/ 45759 w 469320"/>
                  <a:gd name="connsiteY460" fmla="*/ 152884 h 404516"/>
                  <a:gd name="connsiteX461" fmla="*/ 43202 w 469320"/>
                  <a:gd name="connsiteY461" fmla="*/ 151121 h 404516"/>
                  <a:gd name="connsiteX462" fmla="*/ 42850 w 469320"/>
                  <a:gd name="connsiteY462" fmla="*/ 149093 h 404516"/>
                  <a:gd name="connsiteX463" fmla="*/ 42585 w 469320"/>
                  <a:gd name="connsiteY463" fmla="*/ 147329 h 404516"/>
                  <a:gd name="connsiteX464" fmla="*/ 39411 w 469320"/>
                  <a:gd name="connsiteY464" fmla="*/ 141775 h 404516"/>
                  <a:gd name="connsiteX465" fmla="*/ 38794 w 469320"/>
                  <a:gd name="connsiteY465" fmla="*/ 140011 h 404516"/>
                  <a:gd name="connsiteX466" fmla="*/ 35620 w 469320"/>
                  <a:gd name="connsiteY466" fmla="*/ 136837 h 404516"/>
                  <a:gd name="connsiteX467" fmla="*/ 34738 w 469320"/>
                  <a:gd name="connsiteY467" fmla="*/ 133928 h 404516"/>
                  <a:gd name="connsiteX468" fmla="*/ 34738 w 469320"/>
                  <a:gd name="connsiteY468" fmla="*/ 132693 h 404516"/>
                  <a:gd name="connsiteX469" fmla="*/ 29184 w 469320"/>
                  <a:gd name="connsiteY469" fmla="*/ 129519 h 404516"/>
                  <a:gd name="connsiteX470" fmla="*/ 28566 w 469320"/>
                  <a:gd name="connsiteY470" fmla="*/ 126874 h 404516"/>
                  <a:gd name="connsiteX471" fmla="*/ 28566 w 469320"/>
                  <a:gd name="connsiteY471" fmla="*/ 124582 h 404516"/>
                  <a:gd name="connsiteX472" fmla="*/ 26274 w 469320"/>
                  <a:gd name="connsiteY472" fmla="*/ 123083 h 404516"/>
                  <a:gd name="connsiteX473" fmla="*/ 26274 w 469320"/>
                  <a:gd name="connsiteY473" fmla="*/ 121937 h 404516"/>
                  <a:gd name="connsiteX474" fmla="*/ 25922 w 469320"/>
                  <a:gd name="connsiteY474" fmla="*/ 121320 h 404516"/>
                  <a:gd name="connsiteX475" fmla="*/ 21866 w 469320"/>
                  <a:gd name="connsiteY475" fmla="*/ 118410 h 404516"/>
                  <a:gd name="connsiteX476" fmla="*/ 21601 w 469320"/>
                  <a:gd name="connsiteY476" fmla="*/ 116382 h 404516"/>
                  <a:gd name="connsiteX477" fmla="*/ 21601 w 469320"/>
                  <a:gd name="connsiteY477" fmla="*/ 114090 h 404516"/>
                  <a:gd name="connsiteX478" fmla="*/ 20720 w 469320"/>
                  <a:gd name="connsiteY478" fmla="*/ 112856 h 404516"/>
                  <a:gd name="connsiteX479" fmla="*/ 18692 w 469320"/>
                  <a:gd name="connsiteY479" fmla="*/ 110299 h 404516"/>
                  <a:gd name="connsiteX480" fmla="*/ 18074 w 469320"/>
                  <a:gd name="connsiteY480" fmla="*/ 109946 h 404516"/>
                  <a:gd name="connsiteX481" fmla="*/ 17193 w 469320"/>
                  <a:gd name="connsiteY481" fmla="*/ 109064 h 404516"/>
                  <a:gd name="connsiteX482" fmla="*/ 15429 w 469320"/>
                  <a:gd name="connsiteY482" fmla="*/ 107389 h 404516"/>
                  <a:gd name="connsiteX483" fmla="*/ 15429 w 469320"/>
                  <a:gd name="connsiteY483" fmla="*/ 106507 h 404516"/>
                  <a:gd name="connsiteX484" fmla="*/ 14019 w 469320"/>
                  <a:gd name="connsiteY484" fmla="*/ 105626 h 404516"/>
                  <a:gd name="connsiteX485" fmla="*/ 14019 w 469320"/>
                  <a:gd name="connsiteY485" fmla="*/ 104127 h 404516"/>
                  <a:gd name="connsiteX486" fmla="*/ 14548 w 469320"/>
                  <a:gd name="connsiteY486" fmla="*/ 104127 h 404516"/>
                  <a:gd name="connsiteX487" fmla="*/ 14019 w 469320"/>
                  <a:gd name="connsiteY487" fmla="*/ 104127 h 404516"/>
                  <a:gd name="connsiteX488" fmla="*/ 11991 w 469320"/>
                  <a:gd name="connsiteY488" fmla="*/ 102981 h 404516"/>
                  <a:gd name="connsiteX489" fmla="*/ 11374 w 469320"/>
                  <a:gd name="connsiteY489" fmla="*/ 102099 h 404516"/>
                  <a:gd name="connsiteX490" fmla="*/ 10757 w 469320"/>
                  <a:gd name="connsiteY490" fmla="*/ 102099 h 404516"/>
                  <a:gd name="connsiteX491" fmla="*/ 10757 w 469320"/>
                  <a:gd name="connsiteY491" fmla="*/ 102981 h 404516"/>
                  <a:gd name="connsiteX492" fmla="*/ 8993 w 469320"/>
                  <a:gd name="connsiteY492" fmla="*/ 102099 h 404516"/>
                  <a:gd name="connsiteX493" fmla="*/ 8993 w 469320"/>
                  <a:gd name="connsiteY493" fmla="*/ 102981 h 404516"/>
                  <a:gd name="connsiteX494" fmla="*/ 5819 w 469320"/>
                  <a:gd name="connsiteY494" fmla="*/ 102981 h 404516"/>
                  <a:gd name="connsiteX495" fmla="*/ 5819 w 469320"/>
                  <a:gd name="connsiteY495" fmla="*/ 102099 h 404516"/>
                  <a:gd name="connsiteX496" fmla="*/ 5819 w 469320"/>
                  <a:gd name="connsiteY496" fmla="*/ 102981 h 404516"/>
                  <a:gd name="connsiteX497" fmla="*/ 5819 w 469320"/>
                  <a:gd name="connsiteY497" fmla="*/ 102099 h 404516"/>
                  <a:gd name="connsiteX498" fmla="*/ 5290 w 469320"/>
                  <a:gd name="connsiteY498" fmla="*/ 102981 h 404516"/>
                  <a:gd name="connsiteX499" fmla="*/ 3527 w 469320"/>
                  <a:gd name="connsiteY499" fmla="*/ 102099 h 404516"/>
                  <a:gd name="connsiteX500" fmla="*/ 2909 w 469320"/>
                  <a:gd name="connsiteY500" fmla="*/ 102099 h 404516"/>
                  <a:gd name="connsiteX501" fmla="*/ 2909 w 469320"/>
                  <a:gd name="connsiteY501" fmla="*/ 102981 h 404516"/>
                  <a:gd name="connsiteX502" fmla="*/ 2909 w 469320"/>
                  <a:gd name="connsiteY502" fmla="*/ 104127 h 404516"/>
                  <a:gd name="connsiteX503" fmla="*/ 2292 w 469320"/>
                  <a:gd name="connsiteY503" fmla="*/ 104127 h 404516"/>
                  <a:gd name="connsiteX504" fmla="*/ 2292 w 469320"/>
                  <a:gd name="connsiteY504" fmla="*/ 102981 h 404516"/>
                  <a:gd name="connsiteX505" fmla="*/ 0 w 469320"/>
                  <a:gd name="connsiteY505" fmla="*/ 102981 h 404516"/>
                  <a:gd name="connsiteX506" fmla="*/ 2028 w 469320"/>
                  <a:gd name="connsiteY506" fmla="*/ 101217 h 404516"/>
                  <a:gd name="connsiteX507" fmla="*/ 2028 w 469320"/>
                  <a:gd name="connsiteY507" fmla="*/ 100336 h 404516"/>
                  <a:gd name="connsiteX508" fmla="*/ 2645 w 469320"/>
                  <a:gd name="connsiteY508" fmla="*/ 101217 h 404516"/>
                  <a:gd name="connsiteX509" fmla="*/ 2645 w 469320"/>
                  <a:gd name="connsiteY509" fmla="*/ 100336 h 404516"/>
                  <a:gd name="connsiteX510" fmla="*/ 2645 w 469320"/>
                  <a:gd name="connsiteY510" fmla="*/ 99189 h 404516"/>
                  <a:gd name="connsiteX511" fmla="*/ 2645 w 469320"/>
                  <a:gd name="connsiteY511" fmla="*/ 98572 h 404516"/>
                  <a:gd name="connsiteX512" fmla="*/ 4937 w 469320"/>
                  <a:gd name="connsiteY512" fmla="*/ 91871 h 404516"/>
                  <a:gd name="connsiteX513" fmla="*/ 4673 w 469320"/>
                  <a:gd name="connsiteY513" fmla="*/ 88433 h 404516"/>
                  <a:gd name="connsiteX514" fmla="*/ 4408 w 469320"/>
                  <a:gd name="connsiteY514" fmla="*/ 85171 h 404516"/>
                  <a:gd name="connsiteX515" fmla="*/ 4408 w 469320"/>
                  <a:gd name="connsiteY515" fmla="*/ 83143 h 404516"/>
                  <a:gd name="connsiteX516" fmla="*/ 4408 w 469320"/>
                  <a:gd name="connsiteY516" fmla="*/ 82878 h 404516"/>
                  <a:gd name="connsiteX517" fmla="*/ 4056 w 469320"/>
                  <a:gd name="connsiteY517" fmla="*/ 80233 h 404516"/>
                  <a:gd name="connsiteX518" fmla="*/ 4056 w 469320"/>
                  <a:gd name="connsiteY518" fmla="*/ 79352 h 404516"/>
                  <a:gd name="connsiteX519" fmla="*/ 4056 w 469320"/>
                  <a:gd name="connsiteY519" fmla="*/ 79087 h 404516"/>
                  <a:gd name="connsiteX520" fmla="*/ 5819 w 469320"/>
                  <a:gd name="connsiteY520" fmla="*/ 73797 h 404516"/>
                  <a:gd name="connsiteX521" fmla="*/ 6436 w 469320"/>
                  <a:gd name="connsiteY521" fmla="*/ 73797 h 404516"/>
                  <a:gd name="connsiteX522" fmla="*/ 6436 w 469320"/>
                  <a:gd name="connsiteY522" fmla="*/ 72915 h 404516"/>
                  <a:gd name="connsiteX523" fmla="*/ 6436 w 469320"/>
                  <a:gd name="connsiteY523" fmla="*/ 71769 h 404516"/>
                  <a:gd name="connsiteX524" fmla="*/ 6701 w 469320"/>
                  <a:gd name="connsiteY524" fmla="*/ 70887 h 404516"/>
                  <a:gd name="connsiteX525" fmla="*/ 30330 w 469320"/>
                  <a:gd name="connsiteY525" fmla="*/ 74943 h 404516"/>
                  <a:gd name="connsiteX526" fmla="*/ 33239 w 469320"/>
                  <a:gd name="connsiteY526" fmla="*/ 70887 h 404516"/>
                  <a:gd name="connsiteX527" fmla="*/ 38530 w 469320"/>
                  <a:gd name="connsiteY527" fmla="*/ 67978 h 404516"/>
                  <a:gd name="connsiteX528" fmla="*/ 41968 w 469320"/>
                  <a:gd name="connsiteY528" fmla="*/ 58632 h 404516"/>
                  <a:gd name="connsiteX529" fmla="*/ 59249 w 469320"/>
                  <a:gd name="connsiteY529" fmla="*/ 55458 h 404516"/>
                  <a:gd name="connsiteX530" fmla="*/ 61277 w 469320"/>
                  <a:gd name="connsiteY530" fmla="*/ 46994 h 404516"/>
                  <a:gd name="connsiteX531" fmla="*/ 67096 w 469320"/>
                  <a:gd name="connsiteY531" fmla="*/ 43467 h 404516"/>
                  <a:gd name="connsiteX532" fmla="*/ 43202 w 469320"/>
                  <a:gd name="connsiteY532" fmla="*/ 18075 h 404516"/>
                  <a:gd name="connsiteX533" fmla="*/ 84024 w 469320"/>
                  <a:gd name="connsiteY533" fmla="*/ 5290 h 404516"/>
                  <a:gd name="connsiteX534" fmla="*/ 89226 w 469320"/>
                  <a:gd name="connsiteY534" fmla="*/ 0 h 404516"/>
                  <a:gd name="connsiteX535" fmla="*/ 104744 w 469320"/>
                  <a:gd name="connsiteY535" fmla="*/ 3791 h 404516"/>
                  <a:gd name="connsiteX536" fmla="*/ 137102 w 469320"/>
                  <a:gd name="connsiteY536" fmla="*/ 21866 h 404516"/>
                  <a:gd name="connsiteX537" fmla="*/ 171840 w 469320"/>
                  <a:gd name="connsiteY537" fmla="*/ 37031 h 404516"/>
                  <a:gd name="connsiteX538" fmla="*/ 174750 w 469320"/>
                  <a:gd name="connsiteY538" fmla="*/ 45230 h 404516"/>
                  <a:gd name="connsiteX539" fmla="*/ 187799 w 469320"/>
                  <a:gd name="connsiteY539" fmla="*/ 45495 h 404516"/>
                  <a:gd name="connsiteX540" fmla="*/ 188151 w 469320"/>
                  <a:gd name="connsiteY540" fmla="*/ 53077 h 404516"/>
                  <a:gd name="connsiteX541" fmla="*/ 187270 w 469320"/>
                  <a:gd name="connsiteY541" fmla="*/ 64804 h 404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</a:cxnLst>
                <a:rect l="l" t="t" r="r" b="b"/>
                <a:pathLst>
                  <a:path w="469320" h="404516">
                    <a:moveTo>
                      <a:pt x="212662" y="75296"/>
                    </a:moveTo>
                    <a:lnTo>
                      <a:pt x="231618" y="86317"/>
                    </a:lnTo>
                    <a:lnTo>
                      <a:pt x="252338" y="78470"/>
                    </a:lnTo>
                    <a:lnTo>
                      <a:pt x="272440" y="80233"/>
                    </a:lnTo>
                    <a:lnTo>
                      <a:pt x="274468" y="85171"/>
                    </a:lnTo>
                    <a:lnTo>
                      <a:pt x="274733" y="87551"/>
                    </a:lnTo>
                    <a:lnTo>
                      <a:pt x="274733" y="88962"/>
                    </a:lnTo>
                    <a:lnTo>
                      <a:pt x="277995" y="90725"/>
                    </a:lnTo>
                    <a:lnTo>
                      <a:pt x="278259" y="91342"/>
                    </a:lnTo>
                    <a:lnTo>
                      <a:pt x="293424" y="91342"/>
                    </a:lnTo>
                    <a:lnTo>
                      <a:pt x="293689" y="92224"/>
                    </a:lnTo>
                    <a:lnTo>
                      <a:pt x="295188" y="93018"/>
                    </a:lnTo>
                    <a:lnTo>
                      <a:pt x="296598" y="93899"/>
                    </a:lnTo>
                    <a:lnTo>
                      <a:pt x="296334" y="95663"/>
                    </a:lnTo>
                    <a:lnTo>
                      <a:pt x="294042" y="95663"/>
                    </a:lnTo>
                    <a:lnTo>
                      <a:pt x="295452" y="96015"/>
                    </a:lnTo>
                    <a:lnTo>
                      <a:pt x="296951" y="95663"/>
                    </a:lnTo>
                    <a:lnTo>
                      <a:pt x="296334" y="96280"/>
                    </a:lnTo>
                    <a:lnTo>
                      <a:pt x="296598" y="97426"/>
                    </a:lnTo>
                    <a:lnTo>
                      <a:pt x="297216" y="98572"/>
                    </a:lnTo>
                    <a:lnTo>
                      <a:pt x="298714" y="99807"/>
                    </a:lnTo>
                    <a:lnTo>
                      <a:pt x="297480" y="100336"/>
                    </a:lnTo>
                    <a:lnTo>
                      <a:pt x="297745" y="102099"/>
                    </a:lnTo>
                    <a:lnTo>
                      <a:pt x="300125" y="102981"/>
                    </a:lnTo>
                    <a:lnTo>
                      <a:pt x="300478" y="104127"/>
                    </a:lnTo>
                    <a:lnTo>
                      <a:pt x="302770" y="105626"/>
                    </a:lnTo>
                    <a:lnTo>
                      <a:pt x="303034" y="105890"/>
                    </a:lnTo>
                    <a:lnTo>
                      <a:pt x="304534" y="109064"/>
                    </a:lnTo>
                    <a:lnTo>
                      <a:pt x="304798" y="111092"/>
                    </a:lnTo>
                    <a:lnTo>
                      <a:pt x="304534" y="111445"/>
                    </a:lnTo>
                    <a:lnTo>
                      <a:pt x="304181" y="110828"/>
                    </a:lnTo>
                    <a:lnTo>
                      <a:pt x="304181" y="110563"/>
                    </a:lnTo>
                    <a:lnTo>
                      <a:pt x="303916" y="109946"/>
                    </a:lnTo>
                    <a:lnTo>
                      <a:pt x="303916" y="109064"/>
                    </a:lnTo>
                    <a:lnTo>
                      <a:pt x="303652" y="112062"/>
                    </a:lnTo>
                    <a:lnTo>
                      <a:pt x="303916" y="111709"/>
                    </a:lnTo>
                    <a:lnTo>
                      <a:pt x="304181" y="111709"/>
                    </a:lnTo>
                    <a:lnTo>
                      <a:pt x="304534" y="112856"/>
                    </a:lnTo>
                    <a:lnTo>
                      <a:pt x="304798" y="112591"/>
                    </a:lnTo>
                    <a:lnTo>
                      <a:pt x="304534" y="113473"/>
                    </a:lnTo>
                    <a:lnTo>
                      <a:pt x="304798" y="113208"/>
                    </a:lnTo>
                    <a:lnTo>
                      <a:pt x="305063" y="113473"/>
                    </a:lnTo>
                    <a:lnTo>
                      <a:pt x="304534" y="114090"/>
                    </a:lnTo>
                    <a:lnTo>
                      <a:pt x="304798" y="114090"/>
                    </a:lnTo>
                    <a:lnTo>
                      <a:pt x="304534" y="114619"/>
                    </a:lnTo>
                    <a:lnTo>
                      <a:pt x="305415" y="114619"/>
                    </a:lnTo>
                    <a:lnTo>
                      <a:pt x="305415" y="115501"/>
                    </a:lnTo>
                    <a:lnTo>
                      <a:pt x="305415" y="116382"/>
                    </a:lnTo>
                    <a:lnTo>
                      <a:pt x="307708" y="116382"/>
                    </a:lnTo>
                    <a:lnTo>
                      <a:pt x="307708" y="114619"/>
                    </a:lnTo>
                    <a:lnTo>
                      <a:pt x="308325" y="114619"/>
                    </a:lnTo>
                    <a:lnTo>
                      <a:pt x="310617" y="117528"/>
                    </a:lnTo>
                    <a:lnTo>
                      <a:pt x="310970" y="117528"/>
                    </a:lnTo>
                    <a:lnTo>
                      <a:pt x="310970" y="116382"/>
                    </a:lnTo>
                    <a:lnTo>
                      <a:pt x="311235" y="116647"/>
                    </a:lnTo>
                    <a:lnTo>
                      <a:pt x="311764" y="116382"/>
                    </a:lnTo>
                    <a:lnTo>
                      <a:pt x="314761" y="117264"/>
                    </a:lnTo>
                    <a:lnTo>
                      <a:pt x="314408" y="117881"/>
                    </a:lnTo>
                    <a:lnTo>
                      <a:pt x="315026" y="118410"/>
                    </a:lnTo>
                    <a:lnTo>
                      <a:pt x="314144" y="118410"/>
                    </a:lnTo>
                    <a:lnTo>
                      <a:pt x="312645" y="118763"/>
                    </a:lnTo>
                    <a:lnTo>
                      <a:pt x="311499" y="117264"/>
                    </a:lnTo>
                    <a:lnTo>
                      <a:pt x="311764" y="119645"/>
                    </a:lnTo>
                    <a:lnTo>
                      <a:pt x="312116" y="120174"/>
                    </a:lnTo>
                    <a:lnTo>
                      <a:pt x="314144" y="120791"/>
                    </a:lnTo>
                    <a:lnTo>
                      <a:pt x="315026" y="120174"/>
                    </a:lnTo>
                    <a:lnTo>
                      <a:pt x="315026" y="121055"/>
                    </a:lnTo>
                    <a:lnTo>
                      <a:pt x="314761" y="121320"/>
                    </a:lnTo>
                    <a:lnTo>
                      <a:pt x="315290" y="121320"/>
                    </a:lnTo>
                    <a:lnTo>
                      <a:pt x="316172" y="124229"/>
                    </a:lnTo>
                    <a:lnTo>
                      <a:pt x="317318" y="124846"/>
                    </a:lnTo>
                    <a:lnTo>
                      <a:pt x="317935" y="125728"/>
                    </a:lnTo>
                    <a:lnTo>
                      <a:pt x="317935" y="124846"/>
                    </a:lnTo>
                    <a:lnTo>
                      <a:pt x="318552" y="124582"/>
                    </a:lnTo>
                    <a:lnTo>
                      <a:pt x="318817" y="124846"/>
                    </a:lnTo>
                    <a:lnTo>
                      <a:pt x="318552" y="125464"/>
                    </a:lnTo>
                    <a:lnTo>
                      <a:pt x="318200" y="125993"/>
                    </a:lnTo>
                    <a:lnTo>
                      <a:pt x="318552" y="125993"/>
                    </a:lnTo>
                    <a:lnTo>
                      <a:pt x="318817" y="125728"/>
                    </a:lnTo>
                    <a:lnTo>
                      <a:pt x="319081" y="125993"/>
                    </a:lnTo>
                    <a:lnTo>
                      <a:pt x="318817" y="126345"/>
                    </a:lnTo>
                    <a:lnTo>
                      <a:pt x="321109" y="126874"/>
                    </a:lnTo>
                    <a:lnTo>
                      <a:pt x="320845" y="126345"/>
                    </a:lnTo>
                    <a:lnTo>
                      <a:pt x="321109" y="125728"/>
                    </a:lnTo>
                    <a:lnTo>
                      <a:pt x="321374" y="125728"/>
                    </a:lnTo>
                    <a:lnTo>
                      <a:pt x="321374" y="126345"/>
                    </a:lnTo>
                    <a:lnTo>
                      <a:pt x="321727" y="126874"/>
                    </a:lnTo>
                    <a:lnTo>
                      <a:pt x="323754" y="128638"/>
                    </a:lnTo>
                    <a:lnTo>
                      <a:pt x="324019" y="130930"/>
                    </a:lnTo>
                    <a:lnTo>
                      <a:pt x="328163" y="133928"/>
                    </a:lnTo>
                    <a:lnTo>
                      <a:pt x="331689" y="133928"/>
                    </a:lnTo>
                    <a:lnTo>
                      <a:pt x="335745" y="137984"/>
                    </a:lnTo>
                    <a:lnTo>
                      <a:pt x="335128" y="139130"/>
                    </a:lnTo>
                    <a:lnTo>
                      <a:pt x="335128" y="138248"/>
                    </a:lnTo>
                    <a:lnTo>
                      <a:pt x="332835" y="138248"/>
                    </a:lnTo>
                    <a:lnTo>
                      <a:pt x="331954" y="136837"/>
                    </a:lnTo>
                    <a:lnTo>
                      <a:pt x="331689" y="138248"/>
                    </a:lnTo>
                    <a:lnTo>
                      <a:pt x="332218" y="139394"/>
                    </a:lnTo>
                    <a:lnTo>
                      <a:pt x="332218" y="141158"/>
                    </a:lnTo>
                    <a:lnTo>
                      <a:pt x="335393" y="143803"/>
                    </a:lnTo>
                    <a:lnTo>
                      <a:pt x="335393" y="144067"/>
                    </a:lnTo>
                    <a:lnTo>
                      <a:pt x="336274" y="145301"/>
                    </a:lnTo>
                    <a:lnTo>
                      <a:pt x="338390" y="145831"/>
                    </a:lnTo>
                    <a:lnTo>
                      <a:pt x="338655" y="147329"/>
                    </a:lnTo>
                    <a:lnTo>
                      <a:pt x="338919" y="149093"/>
                    </a:lnTo>
                    <a:lnTo>
                      <a:pt x="338919" y="150239"/>
                    </a:lnTo>
                    <a:lnTo>
                      <a:pt x="337156" y="151121"/>
                    </a:lnTo>
                    <a:lnTo>
                      <a:pt x="336274" y="150239"/>
                    </a:lnTo>
                    <a:lnTo>
                      <a:pt x="336627" y="151121"/>
                    </a:lnTo>
                    <a:lnTo>
                      <a:pt x="336627" y="152267"/>
                    </a:lnTo>
                    <a:lnTo>
                      <a:pt x="336274" y="151385"/>
                    </a:lnTo>
                    <a:lnTo>
                      <a:pt x="336010" y="150239"/>
                    </a:lnTo>
                    <a:lnTo>
                      <a:pt x="333364" y="149622"/>
                    </a:lnTo>
                    <a:lnTo>
                      <a:pt x="333364" y="152002"/>
                    </a:lnTo>
                    <a:lnTo>
                      <a:pt x="333717" y="152884"/>
                    </a:lnTo>
                    <a:lnTo>
                      <a:pt x="333100" y="154295"/>
                    </a:lnTo>
                    <a:lnTo>
                      <a:pt x="333982" y="155441"/>
                    </a:lnTo>
                    <a:lnTo>
                      <a:pt x="334599" y="154559"/>
                    </a:lnTo>
                    <a:lnTo>
                      <a:pt x="334599" y="154030"/>
                    </a:lnTo>
                    <a:lnTo>
                      <a:pt x="336274" y="153766"/>
                    </a:lnTo>
                    <a:lnTo>
                      <a:pt x="336627" y="154559"/>
                    </a:lnTo>
                    <a:lnTo>
                      <a:pt x="336891" y="155441"/>
                    </a:lnTo>
                    <a:lnTo>
                      <a:pt x="337156" y="157204"/>
                    </a:lnTo>
                    <a:lnTo>
                      <a:pt x="337420" y="158968"/>
                    </a:lnTo>
                    <a:lnTo>
                      <a:pt x="337420" y="160114"/>
                    </a:lnTo>
                    <a:lnTo>
                      <a:pt x="340065" y="162142"/>
                    </a:lnTo>
                    <a:lnTo>
                      <a:pt x="340947" y="163023"/>
                    </a:lnTo>
                    <a:lnTo>
                      <a:pt x="340947" y="163905"/>
                    </a:lnTo>
                    <a:lnTo>
                      <a:pt x="339801" y="162142"/>
                    </a:lnTo>
                    <a:lnTo>
                      <a:pt x="338655" y="161877"/>
                    </a:lnTo>
                    <a:lnTo>
                      <a:pt x="338038" y="162494"/>
                    </a:lnTo>
                    <a:lnTo>
                      <a:pt x="340065" y="162759"/>
                    </a:lnTo>
                    <a:lnTo>
                      <a:pt x="340065" y="163905"/>
                    </a:lnTo>
                    <a:lnTo>
                      <a:pt x="343856" y="168578"/>
                    </a:lnTo>
                    <a:lnTo>
                      <a:pt x="343327" y="167432"/>
                    </a:lnTo>
                    <a:lnTo>
                      <a:pt x="343856" y="167696"/>
                    </a:lnTo>
                    <a:lnTo>
                      <a:pt x="343592" y="167432"/>
                    </a:lnTo>
                    <a:lnTo>
                      <a:pt x="344474" y="168578"/>
                    </a:lnTo>
                    <a:lnTo>
                      <a:pt x="346502" y="169460"/>
                    </a:lnTo>
                    <a:lnTo>
                      <a:pt x="347383" y="172369"/>
                    </a:lnTo>
                    <a:lnTo>
                      <a:pt x="347383" y="173868"/>
                    </a:lnTo>
                    <a:lnTo>
                      <a:pt x="348265" y="175014"/>
                    </a:lnTo>
                    <a:lnTo>
                      <a:pt x="347648" y="176778"/>
                    </a:lnTo>
                    <a:lnTo>
                      <a:pt x="348530" y="179423"/>
                    </a:lnTo>
                    <a:lnTo>
                      <a:pt x="348530" y="178541"/>
                    </a:lnTo>
                    <a:lnTo>
                      <a:pt x="348530" y="179423"/>
                    </a:lnTo>
                    <a:lnTo>
                      <a:pt x="351175" y="181098"/>
                    </a:lnTo>
                    <a:lnTo>
                      <a:pt x="352056" y="182332"/>
                    </a:lnTo>
                    <a:lnTo>
                      <a:pt x="352056" y="183743"/>
                    </a:lnTo>
                    <a:lnTo>
                      <a:pt x="352321" y="185506"/>
                    </a:lnTo>
                    <a:lnTo>
                      <a:pt x="352321" y="185859"/>
                    </a:lnTo>
                    <a:lnTo>
                      <a:pt x="354348" y="186652"/>
                    </a:lnTo>
                    <a:lnTo>
                      <a:pt x="354701" y="185859"/>
                    </a:lnTo>
                    <a:lnTo>
                      <a:pt x="358757" y="190444"/>
                    </a:lnTo>
                    <a:lnTo>
                      <a:pt x="362019" y="199261"/>
                    </a:lnTo>
                    <a:lnTo>
                      <a:pt x="372776" y="215572"/>
                    </a:lnTo>
                    <a:lnTo>
                      <a:pt x="383885" y="228356"/>
                    </a:lnTo>
                    <a:lnTo>
                      <a:pt x="446220" y="246783"/>
                    </a:lnTo>
                    <a:lnTo>
                      <a:pt x="455566" y="236820"/>
                    </a:lnTo>
                    <a:lnTo>
                      <a:pt x="469320" y="254366"/>
                    </a:lnTo>
                    <a:lnTo>
                      <a:pt x="451775" y="303035"/>
                    </a:lnTo>
                    <a:lnTo>
                      <a:pt x="389704" y="338655"/>
                    </a:lnTo>
                    <a:lnTo>
                      <a:pt x="313879" y="364312"/>
                    </a:lnTo>
                    <a:lnTo>
                      <a:pt x="278876" y="404517"/>
                    </a:lnTo>
                    <a:lnTo>
                      <a:pt x="274733" y="389087"/>
                    </a:lnTo>
                    <a:lnTo>
                      <a:pt x="232764" y="369514"/>
                    </a:lnTo>
                    <a:lnTo>
                      <a:pt x="231001" y="369514"/>
                    </a:lnTo>
                    <a:lnTo>
                      <a:pt x="230384" y="369514"/>
                    </a:lnTo>
                    <a:lnTo>
                      <a:pt x="227210" y="369514"/>
                    </a:lnTo>
                    <a:lnTo>
                      <a:pt x="223419" y="369514"/>
                    </a:lnTo>
                    <a:lnTo>
                      <a:pt x="223419" y="370748"/>
                    </a:lnTo>
                    <a:lnTo>
                      <a:pt x="220773" y="369866"/>
                    </a:lnTo>
                    <a:lnTo>
                      <a:pt x="220244" y="371630"/>
                    </a:lnTo>
                    <a:lnTo>
                      <a:pt x="220244" y="371277"/>
                    </a:lnTo>
                    <a:lnTo>
                      <a:pt x="220244" y="369866"/>
                    </a:lnTo>
                    <a:lnTo>
                      <a:pt x="217864" y="370748"/>
                    </a:lnTo>
                    <a:lnTo>
                      <a:pt x="216718" y="369866"/>
                    </a:lnTo>
                    <a:lnTo>
                      <a:pt x="214690" y="369514"/>
                    </a:lnTo>
                    <a:lnTo>
                      <a:pt x="213808" y="366957"/>
                    </a:lnTo>
                    <a:lnTo>
                      <a:pt x="211428" y="366957"/>
                    </a:lnTo>
                    <a:lnTo>
                      <a:pt x="208254" y="365722"/>
                    </a:lnTo>
                    <a:lnTo>
                      <a:pt x="205873" y="368103"/>
                    </a:lnTo>
                    <a:lnTo>
                      <a:pt x="205344" y="369514"/>
                    </a:lnTo>
                    <a:lnTo>
                      <a:pt x="202170" y="370748"/>
                    </a:lnTo>
                    <a:lnTo>
                      <a:pt x="207107" y="372776"/>
                    </a:lnTo>
                    <a:lnTo>
                      <a:pt x="202170" y="374187"/>
                    </a:lnTo>
                    <a:lnTo>
                      <a:pt x="202435" y="378331"/>
                    </a:lnTo>
                    <a:lnTo>
                      <a:pt x="202435" y="379212"/>
                    </a:lnTo>
                    <a:lnTo>
                      <a:pt x="202435" y="380623"/>
                    </a:lnTo>
                    <a:lnTo>
                      <a:pt x="202435" y="381505"/>
                    </a:lnTo>
                    <a:lnTo>
                      <a:pt x="202699" y="383532"/>
                    </a:lnTo>
                    <a:lnTo>
                      <a:pt x="206226" y="384150"/>
                    </a:lnTo>
                    <a:lnTo>
                      <a:pt x="206226" y="385031"/>
                    </a:lnTo>
                    <a:lnTo>
                      <a:pt x="203316" y="387059"/>
                    </a:lnTo>
                    <a:lnTo>
                      <a:pt x="205873" y="389352"/>
                    </a:lnTo>
                    <a:lnTo>
                      <a:pt x="202699" y="389352"/>
                    </a:lnTo>
                    <a:lnTo>
                      <a:pt x="202435" y="391468"/>
                    </a:lnTo>
                    <a:lnTo>
                      <a:pt x="200407" y="392614"/>
                    </a:lnTo>
                    <a:lnTo>
                      <a:pt x="200054" y="392614"/>
                    </a:lnTo>
                    <a:lnTo>
                      <a:pt x="200054" y="394025"/>
                    </a:lnTo>
                    <a:lnTo>
                      <a:pt x="197497" y="395259"/>
                    </a:lnTo>
                    <a:lnTo>
                      <a:pt x="196263" y="395259"/>
                    </a:lnTo>
                    <a:lnTo>
                      <a:pt x="196263" y="394025"/>
                    </a:lnTo>
                    <a:lnTo>
                      <a:pt x="196263" y="393496"/>
                    </a:lnTo>
                    <a:lnTo>
                      <a:pt x="196263" y="391468"/>
                    </a:lnTo>
                    <a:lnTo>
                      <a:pt x="193970" y="390498"/>
                    </a:lnTo>
                    <a:lnTo>
                      <a:pt x="195998" y="388470"/>
                    </a:lnTo>
                    <a:lnTo>
                      <a:pt x="193970" y="388470"/>
                    </a:lnTo>
                    <a:lnTo>
                      <a:pt x="193706" y="386707"/>
                    </a:lnTo>
                    <a:lnTo>
                      <a:pt x="193706" y="384150"/>
                    </a:lnTo>
                    <a:lnTo>
                      <a:pt x="190796" y="383532"/>
                    </a:lnTo>
                    <a:lnTo>
                      <a:pt x="190796" y="383003"/>
                    </a:lnTo>
                    <a:lnTo>
                      <a:pt x="190796" y="380623"/>
                    </a:lnTo>
                    <a:lnTo>
                      <a:pt x="190444" y="379212"/>
                    </a:lnTo>
                    <a:lnTo>
                      <a:pt x="190444" y="378595"/>
                    </a:lnTo>
                    <a:lnTo>
                      <a:pt x="187799" y="378595"/>
                    </a:lnTo>
                    <a:lnTo>
                      <a:pt x="187270" y="375421"/>
                    </a:lnTo>
                    <a:lnTo>
                      <a:pt x="187270" y="374187"/>
                    </a:lnTo>
                    <a:lnTo>
                      <a:pt x="187270" y="375421"/>
                    </a:lnTo>
                    <a:lnTo>
                      <a:pt x="187270" y="376832"/>
                    </a:lnTo>
                    <a:lnTo>
                      <a:pt x="187534" y="378595"/>
                    </a:lnTo>
                    <a:lnTo>
                      <a:pt x="187270" y="375421"/>
                    </a:lnTo>
                    <a:lnTo>
                      <a:pt x="186388" y="373658"/>
                    </a:lnTo>
                    <a:lnTo>
                      <a:pt x="186388" y="371630"/>
                    </a:lnTo>
                    <a:lnTo>
                      <a:pt x="184360" y="370748"/>
                    </a:lnTo>
                    <a:lnTo>
                      <a:pt x="184007" y="369514"/>
                    </a:lnTo>
                    <a:lnTo>
                      <a:pt x="183214" y="368103"/>
                    </a:lnTo>
                    <a:lnTo>
                      <a:pt x="180569" y="365722"/>
                    </a:lnTo>
                    <a:lnTo>
                      <a:pt x="180569" y="365193"/>
                    </a:lnTo>
                    <a:lnTo>
                      <a:pt x="180569" y="365722"/>
                    </a:lnTo>
                    <a:lnTo>
                      <a:pt x="180216" y="363430"/>
                    </a:lnTo>
                    <a:lnTo>
                      <a:pt x="178805" y="363430"/>
                    </a:lnTo>
                    <a:lnTo>
                      <a:pt x="177042" y="362284"/>
                    </a:lnTo>
                    <a:lnTo>
                      <a:pt x="176160" y="359639"/>
                    </a:lnTo>
                    <a:lnTo>
                      <a:pt x="175631" y="359639"/>
                    </a:lnTo>
                    <a:lnTo>
                      <a:pt x="173868" y="358757"/>
                    </a:lnTo>
                    <a:lnTo>
                      <a:pt x="173868" y="359639"/>
                    </a:lnTo>
                    <a:lnTo>
                      <a:pt x="173868" y="357875"/>
                    </a:lnTo>
                    <a:lnTo>
                      <a:pt x="172369" y="357875"/>
                    </a:lnTo>
                    <a:lnTo>
                      <a:pt x="172369" y="356994"/>
                    </a:lnTo>
                    <a:lnTo>
                      <a:pt x="170606" y="355319"/>
                    </a:lnTo>
                    <a:lnTo>
                      <a:pt x="170341" y="354349"/>
                    </a:lnTo>
                    <a:lnTo>
                      <a:pt x="169724" y="354084"/>
                    </a:lnTo>
                    <a:lnTo>
                      <a:pt x="169724" y="353555"/>
                    </a:lnTo>
                    <a:lnTo>
                      <a:pt x="167961" y="352321"/>
                    </a:lnTo>
                    <a:lnTo>
                      <a:pt x="167696" y="351439"/>
                    </a:lnTo>
                    <a:lnTo>
                      <a:pt x="167167" y="350293"/>
                    </a:lnTo>
                    <a:lnTo>
                      <a:pt x="167167" y="349676"/>
                    </a:lnTo>
                    <a:lnTo>
                      <a:pt x="167167" y="348882"/>
                    </a:lnTo>
                    <a:lnTo>
                      <a:pt x="166285" y="348882"/>
                    </a:lnTo>
                    <a:lnTo>
                      <a:pt x="166814" y="348001"/>
                    </a:lnTo>
                    <a:lnTo>
                      <a:pt x="166285" y="347119"/>
                    </a:lnTo>
                    <a:lnTo>
                      <a:pt x="166285" y="346766"/>
                    </a:lnTo>
                    <a:lnTo>
                      <a:pt x="163640" y="344209"/>
                    </a:lnTo>
                    <a:lnTo>
                      <a:pt x="163640" y="342975"/>
                    </a:lnTo>
                    <a:lnTo>
                      <a:pt x="163288" y="341564"/>
                    </a:lnTo>
                    <a:lnTo>
                      <a:pt x="163288" y="340418"/>
                    </a:lnTo>
                    <a:lnTo>
                      <a:pt x="160114" y="339801"/>
                    </a:lnTo>
                    <a:lnTo>
                      <a:pt x="160114" y="340418"/>
                    </a:lnTo>
                    <a:lnTo>
                      <a:pt x="159497" y="338655"/>
                    </a:lnTo>
                    <a:lnTo>
                      <a:pt x="159232" y="337509"/>
                    </a:lnTo>
                    <a:lnTo>
                      <a:pt x="158703" y="336010"/>
                    </a:lnTo>
                    <a:lnTo>
                      <a:pt x="159232" y="335128"/>
                    </a:lnTo>
                    <a:lnTo>
                      <a:pt x="159232" y="333717"/>
                    </a:lnTo>
                    <a:lnTo>
                      <a:pt x="158350" y="332483"/>
                    </a:lnTo>
                    <a:lnTo>
                      <a:pt x="156587" y="332483"/>
                    </a:lnTo>
                    <a:lnTo>
                      <a:pt x="156587" y="330455"/>
                    </a:lnTo>
                    <a:lnTo>
                      <a:pt x="156322" y="327546"/>
                    </a:lnTo>
                    <a:lnTo>
                      <a:pt x="155793" y="326928"/>
                    </a:lnTo>
                    <a:lnTo>
                      <a:pt x="154912" y="325253"/>
                    </a:lnTo>
                    <a:lnTo>
                      <a:pt x="154912" y="324019"/>
                    </a:lnTo>
                    <a:lnTo>
                      <a:pt x="152884" y="321462"/>
                    </a:lnTo>
                    <a:lnTo>
                      <a:pt x="152002" y="318552"/>
                    </a:lnTo>
                    <a:lnTo>
                      <a:pt x="152531" y="317054"/>
                    </a:lnTo>
                    <a:lnTo>
                      <a:pt x="149357" y="315907"/>
                    </a:lnTo>
                    <a:lnTo>
                      <a:pt x="147858" y="313262"/>
                    </a:lnTo>
                    <a:lnTo>
                      <a:pt x="149357" y="314761"/>
                    </a:lnTo>
                    <a:lnTo>
                      <a:pt x="149093" y="312381"/>
                    </a:lnTo>
                    <a:lnTo>
                      <a:pt x="148476" y="311499"/>
                    </a:lnTo>
                    <a:lnTo>
                      <a:pt x="147594" y="310353"/>
                    </a:lnTo>
                    <a:lnTo>
                      <a:pt x="145830" y="309736"/>
                    </a:lnTo>
                    <a:lnTo>
                      <a:pt x="145830" y="310353"/>
                    </a:lnTo>
                    <a:lnTo>
                      <a:pt x="145213" y="310353"/>
                    </a:lnTo>
                    <a:lnTo>
                      <a:pt x="143538" y="308942"/>
                    </a:lnTo>
                    <a:lnTo>
                      <a:pt x="143538" y="308589"/>
                    </a:lnTo>
                    <a:lnTo>
                      <a:pt x="142656" y="307708"/>
                    </a:lnTo>
                    <a:lnTo>
                      <a:pt x="142656" y="307090"/>
                    </a:lnTo>
                    <a:lnTo>
                      <a:pt x="142656" y="305944"/>
                    </a:lnTo>
                    <a:lnTo>
                      <a:pt x="142656" y="305415"/>
                    </a:lnTo>
                    <a:lnTo>
                      <a:pt x="140011" y="304181"/>
                    </a:lnTo>
                    <a:lnTo>
                      <a:pt x="139130" y="303035"/>
                    </a:lnTo>
                    <a:lnTo>
                      <a:pt x="138601" y="303035"/>
                    </a:lnTo>
                    <a:lnTo>
                      <a:pt x="135339" y="301624"/>
                    </a:lnTo>
                    <a:lnTo>
                      <a:pt x="135339" y="300478"/>
                    </a:lnTo>
                    <a:lnTo>
                      <a:pt x="135339" y="299244"/>
                    </a:lnTo>
                    <a:lnTo>
                      <a:pt x="132693" y="299244"/>
                    </a:lnTo>
                    <a:lnTo>
                      <a:pt x="132693" y="298715"/>
                    </a:lnTo>
                    <a:lnTo>
                      <a:pt x="132693" y="297480"/>
                    </a:lnTo>
                    <a:lnTo>
                      <a:pt x="131547" y="296951"/>
                    </a:lnTo>
                    <a:lnTo>
                      <a:pt x="129519" y="297480"/>
                    </a:lnTo>
                    <a:lnTo>
                      <a:pt x="128902" y="296951"/>
                    </a:lnTo>
                    <a:lnTo>
                      <a:pt x="128902" y="297480"/>
                    </a:lnTo>
                    <a:lnTo>
                      <a:pt x="128902" y="297833"/>
                    </a:lnTo>
                    <a:lnTo>
                      <a:pt x="123965" y="295717"/>
                    </a:lnTo>
                    <a:lnTo>
                      <a:pt x="123083" y="294042"/>
                    </a:lnTo>
                    <a:lnTo>
                      <a:pt x="120791" y="291926"/>
                    </a:lnTo>
                    <a:lnTo>
                      <a:pt x="119909" y="290515"/>
                    </a:lnTo>
                    <a:lnTo>
                      <a:pt x="120438" y="289369"/>
                    </a:lnTo>
                    <a:lnTo>
                      <a:pt x="119909" y="288751"/>
                    </a:lnTo>
                    <a:lnTo>
                      <a:pt x="119556" y="287870"/>
                    </a:lnTo>
                    <a:lnTo>
                      <a:pt x="119292" y="286988"/>
                    </a:lnTo>
                    <a:lnTo>
                      <a:pt x="119292" y="285842"/>
                    </a:lnTo>
                    <a:lnTo>
                      <a:pt x="117264" y="285842"/>
                    </a:lnTo>
                    <a:lnTo>
                      <a:pt x="117264" y="286106"/>
                    </a:lnTo>
                    <a:lnTo>
                      <a:pt x="116118" y="284960"/>
                    </a:lnTo>
                    <a:lnTo>
                      <a:pt x="116118" y="284431"/>
                    </a:lnTo>
                    <a:lnTo>
                      <a:pt x="116999" y="284431"/>
                    </a:lnTo>
                    <a:lnTo>
                      <a:pt x="116999" y="284079"/>
                    </a:lnTo>
                    <a:lnTo>
                      <a:pt x="116118" y="283197"/>
                    </a:lnTo>
                    <a:lnTo>
                      <a:pt x="116118" y="284079"/>
                    </a:lnTo>
                    <a:lnTo>
                      <a:pt x="115236" y="283197"/>
                    </a:lnTo>
                    <a:lnTo>
                      <a:pt x="115236" y="282051"/>
                    </a:lnTo>
                    <a:lnTo>
                      <a:pt x="116118" y="283197"/>
                    </a:lnTo>
                    <a:lnTo>
                      <a:pt x="115236" y="282051"/>
                    </a:lnTo>
                    <a:lnTo>
                      <a:pt x="113120" y="282051"/>
                    </a:lnTo>
                    <a:lnTo>
                      <a:pt x="113120" y="280287"/>
                    </a:lnTo>
                    <a:lnTo>
                      <a:pt x="112855" y="278877"/>
                    </a:lnTo>
                    <a:lnTo>
                      <a:pt x="112591" y="277642"/>
                    </a:lnTo>
                    <a:lnTo>
                      <a:pt x="111709" y="276496"/>
                    </a:lnTo>
                    <a:lnTo>
                      <a:pt x="109946" y="275085"/>
                    </a:lnTo>
                    <a:lnTo>
                      <a:pt x="109946" y="274733"/>
                    </a:lnTo>
                    <a:lnTo>
                      <a:pt x="109946" y="274204"/>
                    </a:lnTo>
                    <a:lnTo>
                      <a:pt x="109681" y="271559"/>
                    </a:lnTo>
                    <a:lnTo>
                      <a:pt x="109681" y="270412"/>
                    </a:lnTo>
                    <a:lnTo>
                      <a:pt x="109681" y="269266"/>
                    </a:lnTo>
                    <a:lnTo>
                      <a:pt x="109417" y="267767"/>
                    </a:lnTo>
                    <a:lnTo>
                      <a:pt x="109417" y="267503"/>
                    </a:lnTo>
                    <a:lnTo>
                      <a:pt x="109417" y="266621"/>
                    </a:lnTo>
                    <a:lnTo>
                      <a:pt x="109417" y="266004"/>
                    </a:lnTo>
                    <a:lnTo>
                      <a:pt x="109417" y="266621"/>
                    </a:lnTo>
                    <a:lnTo>
                      <a:pt x="109417" y="264858"/>
                    </a:lnTo>
                    <a:lnTo>
                      <a:pt x="109417" y="264241"/>
                    </a:lnTo>
                    <a:lnTo>
                      <a:pt x="109064" y="263094"/>
                    </a:lnTo>
                    <a:lnTo>
                      <a:pt x="109064" y="261067"/>
                    </a:lnTo>
                    <a:lnTo>
                      <a:pt x="108535" y="261684"/>
                    </a:lnTo>
                    <a:lnTo>
                      <a:pt x="105890" y="259568"/>
                    </a:lnTo>
                    <a:lnTo>
                      <a:pt x="105890" y="257893"/>
                    </a:lnTo>
                    <a:lnTo>
                      <a:pt x="105890" y="257540"/>
                    </a:lnTo>
                    <a:lnTo>
                      <a:pt x="105626" y="256129"/>
                    </a:lnTo>
                    <a:lnTo>
                      <a:pt x="105890" y="256658"/>
                    </a:lnTo>
                    <a:lnTo>
                      <a:pt x="105890" y="258686"/>
                    </a:lnTo>
                    <a:lnTo>
                      <a:pt x="105890" y="257893"/>
                    </a:lnTo>
                    <a:lnTo>
                      <a:pt x="105626" y="255777"/>
                    </a:lnTo>
                    <a:lnTo>
                      <a:pt x="105626" y="253220"/>
                    </a:lnTo>
                    <a:lnTo>
                      <a:pt x="105626" y="252338"/>
                    </a:lnTo>
                    <a:lnTo>
                      <a:pt x="107036" y="250575"/>
                    </a:lnTo>
                    <a:lnTo>
                      <a:pt x="105273" y="251456"/>
                    </a:lnTo>
                    <a:lnTo>
                      <a:pt x="105273" y="250310"/>
                    </a:lnTo>
                    <a:lnTo>
                      <a:pt x="105273" y="248811"/>
                    </a:lnTo>
                    <a:lnTo>
                      <a:pt x="107654" y="248194"/>
                    </a:lnTo>
                    <a:lnTo>
                      <a:pt x="108183" y="246783"/>
                    </a:lnTo>
                    <a:lnTo>
                      <a:pt x="108183" y="246431"/>
                    </a:lnTo>
                    <a:lnTo>
                      <a:pt x="108183" y="245020"/>
                    </a:lnTo>
                    <a:lnTo>
                      <a:pt x="108183" y="244756"/>
                    </a:lnTo>
                    <a:lnTo>
                      <a:pt x="108183" y="245020"/>
                    </a:lnTo>
                    <a:lnTo>
                      <a:pt x="108183" y="245902"/>
                    </a:lnTo>
                    <a:lnTo>
                      <a:pt x="107389" y="244756"/>
                    </a:lnTo>
                    <a:lnTo>
                      <a:pt x="107918" y="240612"/>
                    </a:lnTo>
                    <a:lnTo>
                      <a:pt x="104391" y="236556"/>
                    </a:lnTo>
                    <a:lnTo>
                      <a:pt x="104391" y="236027"/>
                    </a:lnTo>
                    <a:lnTo>
                      <a:pt x="103598" y="233382"/>
                    </a:lnTo>
                    <a:lnTo>
                      <a:pt x="104391" y="234792"/>
                    </a:lnTo>
                    <a:lnTo>
                      <a:pt x="104391" y="236027"/>
                    </a:lnTo>
                    <a:lnTo>
                      <a:pt x="100953" y="231618"/>
                    </a:lnTo>
                    <a:lnTo>
                      <a:pt x="103598" y="233382"/>
                    </a:lnTo>
                    <a:lnTo>
                      <a:pt x="104127" y="233382"/>
                    </a:lnTo>
                    <a:lnTo>
                      <a:pt x="104127" y="233029"/>
                    </a:lnTo>
                    <a:lnTo>
                      <a:pt x="103598" y="232147"/>
                    </a:lnTo>
                    <a:lnTo>
                      <a:pt x="103598" y="231618"/>
                    </a:lnTo>
                    <a:lnTo>
                      <a:pt x="103598" y="231001"/>
                    </a:lnTo>
                    <a:lnTo>
                      <a:pt x="100953" y="230472"/>
                    </a:lnTo>
                    <a:lnTo>
                      <a:pt x="100953" y="229591"/>
                    </a:lnTo>
                    <a:lnTo>
                      <a:pt x="100953" y="229238"/>
                    </a:lnTo>
                    <a:lnTo>
                      <a:pt x="100953" y="227474"/>
                    </a:lnTo>
                    <a:lnTo>
                      <a:pt x="100600" y="226064"/>
                    </a:lnTo>
                    <a:lnTo>
                      <a:pt x="100600" y="225447"/>
                    </a:lnTo>
                    <a:lnTo>
                      <a:pt x="98043" y="226064"/>
                    </a:lnTo>
                    <a:lnTo>
                      <a:pt x="98043" y="224918"/>
                    </a:lnTo>
                    <a:lnTo>
                      <a:pt x="97426" y="223683"/>
                    </a:lnTo>
                    <a:lnTo>
                      <a:pt x="97426" y="223154"/>
                    </a:lnTo>
                    <a:lnTo>
                      <a:pt x="97426" y="222008"/>
                    </a:lnTo>
                    <a:lnTo>
                      <a:pt x="97426" y="221126"/>
                    </a:lnTo>
                    <a:lnTo>
                      <a:pt x="97161" y="219363"/>
                    </a:lnTo>
                    <a:lnTo>
                      <a:pt x="96544" y="219363"/>
                    </a:lnTo>
                    <a:lnTo>
                      <a:pt x="96280" y="216718"/>
                    </a:lnTo>
                    <a:lnTo>
                      <a:pt x="94252" y="216189"/>
                    </a:lnTo>
                    <a:lnTo>
                      <a:pt x="94252" y="215572"/>
                    </a:lnTo>
                    <a:lnTo>
                      <a:pt x="93899" y="215572"/>
                    </a:lnTo>
                    <a:lnTo>
                      <a:pt x="93899" y="216189"/>
                    </a:lnTo>
                    <a:lnTo>
                      <a:pt x="93899" y="216718"/>
                    </a:lnTo>
                    <a:lnTo>
                      <a:pt x="93899" y="216189"/>
                    </a:lnTo>
                    <a:lnTo>
                      <a:pt x="93635" y="213808"/>
                    </a:lnTo>
                    <a:lnTo>
                      <a:pt x="90373" y="211163"/>
                    </a:lnTo>
                    <a:lnTo>
                      <a:pt x="90373" y="210017"/>
                    </a:lnTo>
                    <a:lnTo>
                      <a:pt x="89579" y="209400"/>
                    </a:lnTo>
                    <a:lnTo>
                      <a:pt x="87198" y="207637"/>
                    </a:lnTo>
                    <a:lnTo>
                      <a:pt x="87198" y="206490"/>
                    </a:lnTo>
                    <a:lnTo>
                      <a:pt x="84024" y="205080"/>
                    </a:lnTo>
                    <a:lnTo>
                      <a:pt x="83672" y="203934"/>
                    </a:lnTo>
                    <a:lnTo>
                      <a:pt x="83672" y="203316"/>
                    </a:lnTo>
                    <a:lnTo>
                      <a:pt x="82525" y="203316"/>
                    </a:lnTo>
                    <a:lnTo>
                      <a:pt x="79881" y="200936"/>
                    </a:lnTo>
                    <a:lnTo>
                      <a:pt x="79881" y="200142"/>
                    </a:lnTo>
                    <a:lnTo>
                      <a:pt x="79881" y="199525"/>
                    </a:lnTo>
                    <a:lnTo>
                      <a:pt x="79087" y="200142"/>
                    </a:lnTo>
                    <a:lnTo>
                      <a:pt x="79881" y="200936"/>
                    </a:lnTo>
                    <a:lnTo>
                      <a:pt x="77588" y="200936"/>
                    </a:lnTo>
                    <a:lnTo>
                      <a:pt x="74943" y="198379"/>
                    </a:lnTo>
                    <a:lnTo>
                      <a:pt x="74943" y="199261"/>
                    </a:lnTo>
                    <a:lnTo>
                      <a:pt x="74061" y="196880"/>
                    </a:lnTo>
                    <a:lnTo>
                      <a:pt x="73532" y="198379"/>
                    </a:lnTo>
                    <a:lnTo>
                      <a:pt x="73532" y="199261"/>
                    </a:lnTo>
                    <a:lnTo>
                      <a:pt x="71769" y="199261"/>
                    </a:lnTo>
                    <a:lnTo>
                      <a:pt x="71152" y="198379"/>
                    </a:lnTo>
                    <a:lnTo>
                      <a:pt x="70270" y="196616"/>
                    </a:lnTo>
                    <a:lnTo>
                      <a:pt x="70270" y="195734"/>
                    </a:lnTo>
                    <a:lnTo>
                      <a:pt x="67978" y="195117"/>
                    </a:lnTo>
                    <a:lnTo>
                      <a:pt x="67978" y="194852"/>
                    </a:lnTo>
                    <a:lnTo>
                      <a:pt x="70270" y="194852"/>
                    </a:lnTo>
                    <a:lnTo>
                      <a:pt x="67713" y="193353"/>
                    </a:lnTo>
                    <a:lnTo>
                      <a:pt x="67096" y="192824"/>
                    </a:lnTo>
                    <a:lnTo>
                      <a:pt x="66832" y="191061"/>
                    </a:lnTo>
                    <a:lnTo>
                      <a:pt x="66832" y="190444"/>
                    </a:lnTo>
                    <a:lnTo>
                      <a:pt x="64187" y="187887"/>
                    </a:lnTo>
                    <a:lnTo>
                      <a:pt x="63569" y="187887"/>
                    </a:lnTo>
                    <a:lnTo>
                      <a:pt x="60924" y="185859"/>
                    </a:lnTo>
                    <a:lnTo>
                      <a:pt x="63569" y="185506"/>
                    </a:lnTo>
                    <a:lnTo>
                      <a:pt x="60924" y="185506"/>
                    </a:lnTo>
                    <a:lnTo>
                      <a:pt x="60924" y="184096"/>
                    </a:lnTo>
                    <a:lnTo>
                      <a:pt x="64187" y="183743"/>
                    </a:lnTo>
                    <a:lnTo>
                      <a:pt x="63305" y="181098"/>
                    </a:lnTo>
                    <a:lnTo>
                      <a:pt x="63834" y="179423"/>
                    </a:lnTo>
                    <a:lnTo>
                      <a:pt x="60395" y="176778"/>
                    </a:lnTo>
                    <a:lnTo>
                      <a:pt x="62688" y="175631"/>
                    </a:lnTo>
                    <a:lnTo>
                      <a:pt x="60395" y="174133"/>
                    </a:lnTo>
                    <a:lnTo>
                      <a:pt x="60043" y="172369"/>
                    </a:lnTo>
                    <a:lnTo>
                      <a:pt x="58896" y="171223"/>
                    </a:lnTo>
                    <a:lnTo>
                      <a:pt x="56868" y="168578"/>
                    </a:lnTo>
                    <a:lnTo>
                      <a:pt x="56604" y="167432"/>
                    </a:lnTo>
                    <a:lnTo>
                      <a:pt x="55987" y="166550"/>
                    </a:lnTo>
                    <a:lnTo>
                      <a:pt x="53959" y="163905"/>
                    </a:lnTo>
                    <a:lnTo>
                      <a:pt x="53342" y="162759"/>
                    </a:lnTo>
                    <a:lnTo>
                      <a:pt x="50785" y="160114"/>
                    </a:lnTo>
                    <a:lnTo>
                      <a:pt x="50785" y="161260"/>
                    </a:lnTo>
                    <a:lnTo>
                      <a:pt x="49903" y="160114"/>
                    </a:lnTo>
                    <a:lnTo>
                      <a:pt x="47523" y="158350"/>
                    </a:lnTo>
                    <a:lnTo>
                      <a:pt x="49903" y="157204"/>
                    </a:lnTo>
                    <a:lnTo>
                      <a:pt x="49639" y="154030"/>
                    </a:lnTo>
                    <a:lnTo>
                      <a:pt x="49639" y="152884"/>
                    </a:lnTo>
                    <a:lnTo>
                      <a:pt x="48669" y="152884"/>
                    </a:lnTo>
                    <a:lnTo>
                      <a:pt x="45759" y="152884"/>
                    </a:lnTo>
                    <a:lnTo>
                      <a:pt x="43202" y="151121"/>
                    </a:lnTo>
                    <a:lnTo>
                      <a:pt x="42850" y="149093"/>
                    </a:lnTo>
                    <a:lnTo>
                      <a:pt x="42585" y="147329"/>
                    </a:lnTo>
                    <a:lnTo>
                      <a:pt x="39411" y="141775"/>
                    </a:lnTo>
                    <a:lnTo>
                      <a:pt x="38794" y="140011"/>
                    </a:lnTo>
                    <a:lnTo>
                      <a:pt x="35620" y="136837"/>
                    </a:lnTo>
                    <a:lnTo>
                      <a:pt x="34738" y="133928"/>
                    </a:lnTo>
                    <a:lnTo>
                      <a:pt x="34738" y="132693"/>
                    </a:lnTo>
                    <a:lnTo>
                      <a:pt x="29184" y="129519"/>
                    </a:lnTo>
                    <a:lnTo>
                      <a:pt x="28566" y="126874"/>
                    </a:lnTo>
                    <a:lnTo>
                      <a:pt x="28566" y="124582"/>
                    </a:lnTo>
                    <a:lnTo>
                      <a:pt x="26274" y="123083"/>
                    </a:lnTo>
                    <a:lnTo>
                      <a:pt x="26274" y="121937"/>
                    </a:lnTo>
                    <a:lnTo>
                      <a:pt x="25922" y="121320"/>
                    </a:lnTo>
                    <a:lnTo>
                      <a:pt x="21866" y="118410"/>
                    </a:lnTo>
                    <a:lnTo>
                      <a:pt x="21601" y="116382"/>
                    </a:lnTo>
                    <a:lnTo>
                      <a:pt x="21601" y="114090"/>
                    </a:lnTo>
                    <a:lnTo>
                      <a:pt x="20720" y="112856"/>
                    </a:lnTo>
                    <a:lnTo>
                      <a:pt x="18692" y="110299"/>
                    </a:lnTo>
                    <a:lnTo>
                      <a:pt x="18074" y="109946"/>
                    </a:lnTo>
                    <a:lnTo>
                      <a:pt x="17193" y="109064"/>
                    </a:lnTo>
                    <a:lnTo>
                      <a:pt x="15429" y="107389"/>
                    </a:lnTo>
                    <a:lnTo>
                      <a:pt x="15429" y="106507"/>
                    </a:lnTo>
                    <a:lnTo>
                      <a:pt x="14019" y="105626"/>
                    </a:lnTo>
                    <a:lnTo>
                      <a:pt x="14019" y="104127"/>
                    </a:lnTo>
                    <a:lnTo>
                      <a:pt x="14548" y="104127"/>
                    </a:lnTo>
                    <a:lnTo>
                      <a:pt x="14019" y="104127"/>
                    </a:lnTo>
                    <a:lnTo>
                      <a:pt x="11991" y="102981"/>
                    </a:lnTo>
                    <a:lnTo>
                      <a:pt x="11374" y="102099"/>
                    </a:lnTo>
                    <a:lnTo>
                      <a:pt x="10757" y="102099"/>
                    </a:lnTo>
                    <a:lnTo>
                      <a:pt x="10757" y="102981"/>
                    </a:lnTo>
                    <a:lnTo>
                      <a:pt x="8993" y="102099"/>
                    </a:lnTo>
                    <a:lnTo>
                      <a:pt x="8993" y="102981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290" y="102981"/>
                    </a:lnTo>
                    <a:lnTo>
                      <a:pt x="3527" y="102099"/>
                    </a:lnTo>
                    <a:lnTo>
                      <a:pt x="2909" y="102099"/>
                    </a:lnTo>
                    <a:lnTo>
                      <a:pt x="2909" y="102981"/>
                    </a:lnTo>
                    <a:lnTo>
                      <a:pt x="2909" y="104127"/>
                    </a:lnTo>
                    <a:lnTo>
                      <a:pt x="2292" y="104127"/>
                    </a:lnTo>
                    <a:lnTo>
                      <a:pt x="2292" y="102981"/>
                    </a:lnTo>
                    <a:lnTo>
                      <a:pt x="0" y="102981"/>
                    </a:lnTo>
                    <a:lnTo>
                      <a:pt x="2028" y="101217"/>
                    </a:lnTo>
                    <a:lnTo>
                      <a:pt x="2028" y="100336"/>
                    </a:lnTo>
                    <a:lnTo>
                      <a:pt x="2645" y="101217"/>
                    </a:lnTo>
                    <a:lnTo>
                      <a:pt x="2645" y="100336"/>
                    </a:lnTo>
                    <a:lnTo>
                      <a:pt x="2645" y="99189"/>
                    </a:lnTo>
                    <a:lnTo>
                      <a:pt x="2645" y="98572"/>
                    </a:lnTo>
                    <a:lnTo>
                      <a:pt x="4937" y="91871"/>
                    </a:lnTo>
                    <a:lnTo>
                      <a:pt x="4673" y="88433"/>
                    </a:lnTo>
                    <a:lnTo>
                      <a:pt x="4408" y="85171"/>
                    </a:lnTo>
                    <a:lnTo>
                      <a:pt x="4408" y="83143"/>
                    </a:lnTo>
                    <a:lnTo>
                      <a:pt x="4408" y="82878"/>
                    </a:lnTo>
                    <a:lnTo>
                      <a:pt x="4056" y="80233"/>
                    </a:lnTo>
                    <a:lnTo>
                      <a:pt x="4056" y="79352"/>
                    </a:lnTo>
                    <a:lnTo>
                      <a:pt x="4056" y="79087"/>
                    </a:lnTo>
                    <a:lnTo>
                      <a:pt x="5819" y="73797"/>
                    </a:lnTo>
                    <a:lnTo>
                      <a:pt x="6436" y="73797"/>
                    </a:lnTo>
                    <a:lnTo>
                      <a:pt x="6436" y="72915"/>
                    </a:lnTo>
                    <a:lnTo>
                      <a:pt x="6436" y="71769"/>
                    </a:lnTo>
                    <a:lnTo>
                      <a:pt x="6701" y="70887"/>
                    </a:lnTo>
                    <a:lnTo>
                      <a:pt x="30330" y="74943"/>
                    </a:lnTo>
                    <a:lnTo>
                      <a:pt x="33239" y="70887"/>
                    </a:lnTo>
                    <a:lnTo>
                      <a:pt x="38530" y="67978"/>
                    </a:lnTo>
                    <a:lnTo>
                      <a:pt x="41968" y="58632"/>
                    </a:lnTo>
                    <a:lnTo>
                      <a:pt x="59249" y="55458"/>
                    </a:lnTo>
                    <a:lnTo>
                      <a:pt x="61277" y="46994"/>
                    </a:lnTo>
                    <a:lnTo>
                      <a:pt x="67096" y="43467"/>
                    </a:lnTo>
                    <a:lnTo>
                      <a:pt x="43202" y="18075"/>
                    </a:lnTo>
                    <a:lnTo>
                      <a:pt x="84024" y="5290"/>
                    </a:lnTo>
                    <a:lnTo>
                      <a:pt x="89226" y="0"/>
                    </a:lnTo>
                    <a:lnTo>
                      <a:pt x="104744" y="3791"/>
                    </a:lnTo>
                    <a:lnTo>
                      <a:pt x="137102" y="21866"/>
                    </a:lnTo>
                    <a:lnTo>
                      <a:pt x="171840" y="37031"/>
                    </a:lnTo>
                    <a:lnTo>
                      <a:pt x="174750" y="45230"/>
                    </a:lnTo>
                    <a:lnTo>
                      <a:pt x="187799" y="45495"/>
                    </a:lnTo>
                    <a:lnTo>
                      <a:pt x="188151" y="53077"/>
                    </a:lnTo>
                    <a:lnTo>
                      <a:pt x="187270" y="6480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1" name="Freihandform: Form 1840">
                <a:extLst>
                  <a:ext uri="{FF2B5EF4-FFF2-40B4-BE49-F238E27FC236}">
                    <a16:creationId xmlns:a16="http://schemas.microsoft.com/office/drawing/2014/main" id="{9859DC61-0F00-F71B-F4C1-9267295069C9}"/>
                  </a:ext>
                </a:extLst>
              </p:cNvPr>
              <p:cNvSpPr/>
              <p:nvPr/>
            </p:nvSpPr>
            <p:spPr>
              <a:xfrm>
                <a:off x="5154576" y="3498741"/>
                <a:ext cx="18691" cy="38441"/>
              </a:xfrm>
              <a:custGeom>
                <a:avLst/>
                <a:gdLst>
                  <a:gd name="connsiteX0" fmla="*/ 11638 w 18691"/>
                  <a:gd name="connsiteY0" fmla="*/ 37295 h 38441"/>
                  <a:gd name="connsiteX1" fmla="*/ 6436 w 18691"/>
                  <a:gd name="connsiteY1" fmla="*/ 38441 h 38441"/>
                  <a:gd name="connsiteX2" fmla="*/ 2381 w 18691"/>
                  <a:gd name="connsiteY2" fmla="*/ 33857 h 38441"/>
                  <a:gd name="connsiteX3" fmla="*/ 3791 w 18691"/>
                  <a:gd name="connsiteY3" fmla="*/ 33240 h 38441"/>
                  <a:gd name="connsiteX4" fmla="*/ 617 w 18691"/>
                  <a:gd name="connsiteY4" fmla="*/ 24511 h 38441"/>
                  <a:gd name="connsiteX5" fmla="*/ 0 w 18691"/>
                  <a:gd name="connsiteY5" fmla="*/ 15165 h 38441"/>
                  <a:gd name="connsiteX6" fmla="*/ 1499 w 18691"/>
                  <a:gd name="connsiteY6" fmla="*/ 16576 h 38441"/>
                  <a:gd name="connsiteX7" fmla="*/ 265 w 18691"/>
                  <a:gd name="connsiteY7" fmla="*/ 13666 h 38441"/>
                  <a:gd name="connsiteX8" fmla="*/ 2645 w 18691"/>
                  <a:gd name="connsiteY8" fmla="*/ 13666 h 38441"/>
                  <a:gd name="connsiteX9" fmla="*/ 3527 w 18691"/>
                  <a:gd name="connsiteY9" fmla="*/ 12520 h 38441"/>
                  <a:gd name="connsiteX10" fmla="*/ 2645 w 18691"/>
                  <a:gd name="connsiteY10" fmla="*/ 12784 h 38441"/>
                  <a:gd name="connsiteX11" fmla="*/ 2028 w 18691"/>
                  <a:gd name="connsiteY11" fmla="*/ 10757 h 38441"/>
                  <a:gd name="connsiteX12" fmla="*/ 2028 w 18691"/>
                  <a:gd name="connsiteY12" fmla="*/ 8729 h 38441"/>
                  <a:gd name="connsiteX13" fmla="*/ 2910 w 18691"/>
                  <a:gd name="connsiteY13" fmla="*/ 9258 h 38441"/>
                  <a:gd name="connsiteX14" fmla="*/ 3262 w 18691"/>
                  <a:gd name="connsiteY14" fmla="*/ 8993 h 38441"/>
                  <a:gd name="connsiteX15" fmla="*/ 3262 w 18691"/>
                  <a:gd name="connsiteY15" fmla="*/ 8464 h 38441"/>
                  <a:gd name="connsiteX16" fmla="*/ 2645 w 18691"/>
                  <a:gd name="connsiteY16" fmla="*/ 7847 h 38441"/>
                  <a:gd name="connsiteX17" fmla="*/ 3527 w 18691"/>
                  <a:gd name="connsiteY17" fmla="*/ 4320 h 38441"/>
                  <a:gd name="connsiteX18" fmla="*/ 4144 w 18691"/>
                  <a:gd name="connsiteY18" fmla="*/ 2910 h 38441"/>
                  <a:gd name="connsiteX19" fmla="*/ 7935 w 18691"/>
                  <a:gd name="connsiteY19" fmla="*/ 0 h 38441"/>
                  <a:gd name="connsiteX20" fmla="*/ 9963 w 18691"/>
                  <a:gd name="connsiteY20" fmla="*/ 1146 h 38441"/>
                  <a:gd name="connsiteX21" fmla="*/ 10492 w 18691"/>
                  <a:gd name="connsiteY21" fmla="*/ 3174 h 38441"/>
                  <a:gd name="connsiteX22" fmla="*/ 11991 w 18691"/>
                  <a:gd name="connsiteY22" fmla="*/ 4937 h 38441"/>
                  <a:gd name="connsiteX23" fmla="*/ 15165 w 18691"/>
                  <a:gd name="connsiteY23" fmla="*/ 5466 h 38441"/>
                  <a:gd name="connsiteX24" fmla="*/ 16399 w 18691"/>
                  <a:gd name="connsiteY24" fmla="*/ 8993 h 38441"/>
                  <a:gd name="connsiteX25" fmla="*/ 15782 w 18691"/>
                  <a:gd name="connsiteY25" fmla="*/ 13137 h 38441"/>
                  <a:gd name="connsiteX26" fmla="*/ 14283 w 18691"/>
                  <a:gd name="connsiteY26" fmla="*/ 13402 h 38441"/>
                  <a:gd name="connsiteX27" fmla="*/ 14283 w 18691"/>
                  <a:gd name="connsiteY27" fmla="*/ 15429 h 38441"/>
                  <a:gd name="connsiteX28" fmla="*/ 15165 w 18691"/>
                  <a:gd name="connsiteY28" fmla="*/ 16576 h 38441"/>
                  <a:gd name="connsiteX29" fmla="*/ 15782 w 18691"/>
                  <a:gd name="connsiteY29" fmla="*/ 17457 h 38441"/>
                  <a:gd name="connsiteX30" fmla="*/ 17810 w 18691"/>
                  <a:gd name="connsiteY30" fmla="*/ 21513 h 38441"/>
                  <a:gd name="connsiteX31" fmla="*/ 18692 w 18691"/>
                  <a:gd name="connsiteY31" fmla="*/ 27949 h 38441"/>
                  <a:gd name="connsiteX32" fmla="*/ 16399 w 18691"/>
                  <a:gd name="connsiteY32" fmla="*/ 31476 h 38441"/>
                  <a:gd name="connsiteX33" fmla="*/ 16399 w 18691"/>
                  <a:gd name="connsiteY33" fmla="*/ 34121 h 38441"/>
                  <a:gd name="connsiteX34" fmla="*/ 15782 w 18691"/>
                  <a:gd name="connsiteY34" fmla="*/ 35003 h 38441"/>
                  <a:gd name="connsiteX35" fmla="*/ 15518 w 18691"/>
                  <a:gd name="connsiteY35" fmla="*/ 35884 h 38441"/>
                  <a:gd name="connsiteX36" fmla="*/ 15165 w 18691"/>
                  <a:gd name="connsiteY36" fmla="*/ 36149 h 38441"/>
                  <a:gd name="connsiteX37" fmla="*/ 14636 w 18691"/>
                  <a:gd name="connsiteY37" fmla="*/ 36766 h 38441"/>
                  <a:gd name="connsiteX38" fmla="*/ 14636 w 18691"/>
                  <a:gd name="connsiteY38" fmla="*/ 37031 h 38441"/>
                  <a:gd name="connsiteX39" fmla="*/ 14636 w 18691"/>
                  <a:gd name="connsiteY39" fmla="*/ 37295 h 38441"/>
                  <a:gd name="connsiteX40" fmla="*/ 14283 w 18691"/>
                  <a:gd name="connsiteY40" fmla="*/ 37295 h 38441"/>
                  <a:gd name="connsiteX41" fmla="*/ 14019 w 18691"/>
                  <a:gd name="connsiteY41" fmla="*/ 37295 h 38441"/>
                  <a:gd name="connsiteX42" fmla="*/ 14019 w 18691"/>
                  <a:gd name="connsiteY42" fmla="*/ 37031 h 38441"/>
                  <a:gd name="connsiteX43" fmla="*/ 14019 w 18691"/>
                  <a:gd name="connsiteY43" fmla="*/ 37295 h 38441"/>
                  <a:gd name="connsiteX44" fmla="*/ 13490 w 18691"/>
                  <a:gd name="connsiteY44" fmla="*/ 37031 h 3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8691" h="38441">
                    <a:moveTo>
                      <a:pt x="11638" y="37295"/>
                    </a:moveTo>
                    <a:lnTo>
                      <a:pt x="6436" y="38441"/>
                    </a:lnTo>
                    <a:lnTo>
                      <a:pt x="2381" y="33857"/>
                    </a:lnTo>
                    <a:lnTo>
                      <a:pt x="3791" y="33240"/>
                    </a:lnTo>
                    <a:lnTo>
                      <a:pt x="617" y="24511"/>
                    </a:lnTo>
                    <a:lnTo>
                      <a:pt x="0" y="15165"/>
                    </a:lnTo>
                    <a:lnTo>
                      <a:pt x="1499" y="16576"/>
                    </a:lnTo>
                    <a:lnTo>
                      <a:pt x="265" y="13666"/>
                    </a:lnTo>
                    <a:lnTo>
                      <a:pt x="2645" y="13666"/>
                    </a:lnTo>
                    <a:lnTo>
                      <a:pt x="3527" y="12520"/>
                    </a:lnTo>
                    <a:lnTo>
                      <a:pt x="2645" y="12784"/>
                    </a:lnTo>
                    <a:lnTo>
                      <a:pt x="2028" y="10757"/>
                    </a:lnTo>
                    <a:lnTo>
                      <a:pt x="2028" y="8729"/>
                    </a:lnTo>
                    <a:lnTo>
                      <a:pt x="2910" y="9258"/>
                    </a:lnTo>
                    <a:lnTo>
                      <a:pt x="3262" y="8993"/>
                    </a:lnTo>
                    <a:lnTo>
                      <a:pt x="3262" y="8464"/>
                    </a:lnTo>
                    <a:lnTo>
                      <a:pt x="2645" y="7847"/>
                    </a:lnTo>
                    <a:lnTo>
                      <a:pt x="3527" y="4320"/>
                    </a:lnTo>
                    <a:lnTo>
                      <a:pt x="4144" y="2910"/>
                    </a:lnTo>
                    <a:lnTo>
                      <a:pt x="7935" y="0"/>
                    </a:lnTo>
                    <a:lnTo>
                      <a:pt x="9963" y="1146"/>
                    </a:lnTo>
                    <a:lnTo>
                      <a:pt x="10492" y="3174"/>
                    </a:lnTo>
                    <a:lnTo>
                      <a:pt x="11991" y="4937"/>
                    </a:lnTo>
                    <a:lnTo>
                      <a:pt x="15165" y="5466"/>
                    </a:lnTo>
                    <a:lnTo>
                      <a:pt x="16399" y="8993"/>
                    </a:lnTo>
                    <a:lnTo>
                      <a:pt x="15782" y="13137"/>
                    </a:lnTo>
                    <a:lnTo>
                      <a:pt x="14283" y="13402"/>
                    </a:lnTo>
                    <a:lnTo>
                      <a:pt x="14283" y="15429"/>
                    </a:lnTo>
                    <a:lnTo>
                      <a:pt x="15165" y="16576"/>
                    </a:lnTo>
                    <a:lnTo>
                      <a:pt x="15782" y="17457"/>
                    </a:lnTo>
                    <a:lnTo>
                      <a:pt x="17810" y="21513"/>
                    </a:lnTo>
                    <a:lnTo>
                      <a:pt x="18692" y="27949"/>
                    </a:lnTo>
                    <a:lnTo>
                      <a:pt x="16399" y="31476"/>
                    </a:lnTo>
                    <a:lnTo>
                      <a:pt x="16399" y="34121"/>
                    </a:lnTo>
                    <a:lnTo>
                      <a:pt x="15782" y="35003"/>
                    </a:lnTo>
                    <a:lnTo>
                      <a:pt x="15518" y="35884"/>
                    </a:lnTo>
                    <a:lnTo>
                      <a:pt x="15165" y="36149"/>
                    </a:lnTo>
                    <a:lnTo>
                      <a:pt x="14636" y="36766"/>
                    </a:lnTo>
                    <a:lnTo>
                      <a:pt x="14636" y="37031"/>
                    </a:lnTo>
                    <a:lnTo>
                      <a:pt x="14636" y="37295"/>
                    </a:lnTo>
                    <a:lnTo>
                      <a:pt x="14283" y="37295"/>
                    </a:lnTo>
                    <a:lnTo>
                      <a:pt x="14019" y="37295"/>
                    </a:lnTo>
                    <a:lnTo>
                      <a:pt x="14019" y="37031"/>
                    </a:lnTo>
                    <a:lnTo>
                      <a:pt x="14019" y="37295"/>
                    </a:lnTo>
                    <a:lnTo>
                      <a:pt x="13490" y="370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2" name="Freihandform: Form 1841">
                <a:extLst>
                  <a:ext uri="{FF2B5EF4-FFF2-40B4-BE49-F238E27FC236}">
                    <a16:creationId xmlns:a16="http://schemas.microsoft.com/office/drawing/2014/main" id="{FF5E0A18-3960-0E88-6B15-C06E04ADE9B1}"/>
                  </a:ext>
                </a:extLst>
              </p:cNvPr>
              <p:cNvSpPr/>
              <p:nvPr/>
            </p:nvSpPr>
            <p:spPr>
              <a:xfrm>
                <a:off x="5191959" y="3492569"/>
                <a:ext cx="164434" cy="243432"/>
              </a:xfrm>
              <a:custGeom>
                <a:avLst/>
                <a:gdLst>
                  <a:gd name="connsiteX0" fmla="*/ 149005 w 164434"/>
                  <a:gd name="connsiteY0" fmla="*/ 141775 h 243432"/>
                  <a:gd name="connsiteX1" fmla="*/ 147241 w 164434"/>
                  <a:gd name="connsiteY1" fmla="*/ 142921 h 243432"/>
                  <a:gd name="connsiteX2" fmla="*/ 145214 w 164434"/>
                  <a:gd name="connsiteY2" fmla="*/ 147329 h 243432"/>
                  <a:gd name="connsiteX3" fmla="*/ 142568 w 164434"/>
                  <a:gd name="connsiteY3" fmla="*/ 149974 h 243432"/>
                  <a:gd name="connsiteX4" fmla="*/ 144596 w 164434"/>
                  <a:gd name="connsiteY4" fmla="*/ 154647 h 243432"/>
                  <a:gd name="connsiteX5" fmla="*/ 145214 w 164434"/>
                  <a:gd name="connsiteY5" fmla="*/ 152002 h 243432"/>
                  <a:gd name="connsiteX6" fmla="*/ 144949 w 164434"/>
                  <a:gd name="connsiteY6" fmla="*/ 151121 h 243432"/>
                  <a:gd name="connsiteX7" fmla="*/ 145831 w 164434"/>
                  <a:gd name="connsiteY7" fmla="*/ 151121 h 243432"/>
                  <a:gd name="connsiteX8" fmla="*/ 145566 w 164434"/>
                  <a:gd name="connsiteY8" fmla="*/ 149093 h 243432"/>
                  <a:gd name="connsiteX9" fmla="*/ 147859 w 164434"/>
                  <a:gd name="connsiteY9" fmla="*/ 148476 h 243432"/>
                  <a:gd name="connsiteX10" fmla="*/ 150239 w 164434"/>
                  <a:gd name="connsiteY10" fmla="*/ 146095 h 243432"/>
                  <a:gd name="connsiteX11" fmla="*/ 149093 w 164434"/>
                  <a:gd name="connsiteY11" fmla="*/ 143450 h 243432"/>
                  <a:gd name="connsiteX12" fmla="*/ 149093 w 164434"/>
                  <a:gd name="connsiteY12" fmla="*/ 141775 h 243432"/>
                  <a:gd name="connsiteX13" fmla="*/ 0 w 164434"/>
                  <a:gd name="connsiteY13" fmla="*/ 192824 h 243432"/>
                  <a:gd name="connsiteX14" fmla="*/ 62071 w 164434"/>
                  <a:gd name="connsiteY14" fmla="*/ 157204 h 243432"/>
                  <a:gd name="connsiteX15" fmla="*/ 79616 w 164434"/>
                  <a:gd name="connsiteY15" fmla="*/ 108535 h 243432"/>
                  <a:gd name="connsiteX16" fmla="*/ 65862 w 164434"/>
                  <a:gd name="connsiteY16" fmla="*/ 91078 h 243432"/>
                  <a:gd name="connsiteX17" fmla="*/ 64099 w 164434"/>
                  <a:gd name="connsiteY17" fmla="*/ 78822 h 243432"/>
                  <a:gd name="connsiteX18" fmla="*/ 69388 w 164434"/>
                  <a:gd name="connsiteY18" fmla="*/ 69212 h 243432"/>
                  <a:gd name="connsiteX19" fmla="*/ 69388 w 164434"/>
                  <a:gd name="connsiteY19" fmla="*/ 63393 h 243432"/>
                  <a:gd name="connsiteX20" fmla="*/ 66744 w 164434"/>
                  <a:gd name="connsiteY20" fmla="*/ 59602 h 243432"/>
                  <a:gd name="connsiteX21" fmla="*/ 71417 w 164434"/>
                  <a:gd name="connsiteY21" fmla="*/ 58456 h 243432"/>
                  <a:gd name="connsiteX22" fmla="*/ 78999 w 164434"/>
                  <a:gd name="connsiteY22" fmla="*/ 58456 h 243432"/>
                  <a:gd name="connsiteX23" fmla="*/ 74062 w 164434"/>
                  <a:gd name="connsiteY23" fmla="*/ 52901 h 243432"/>
                  <a:gd name="connsiteX24" fmla="*/ 70799 w 164434"/>
                  <a:gd name="connsiteY24" fmla="*/ 45054 h 243432"/>
                  <a:gd name="connsiteX25" fmla="*/ 72562 w 164434"/>
                  <a:gd name="connsiteY25" fmla="*/ 39764 h 243432"/>
                  <a:gd name="connsiteX26" fmla="*/ 75825 w 164434"/>
                  <a:gd name="connsiteY26" fmla="*/ 36854 h 243432"/>
                  <a:gd name="connsiteX27" fmla="*/ 83672 w 164434"/>
                  <a:gd name="connsiteY27" fmla="*/ 30683 h 243432"/>
                  <a:gd name="connsiteX28" fmla="*/ 86581 w 164434"/>
                  <a:gd name="connsiteY28" fmla="*/ 34738 h 243432"/>
                  <a:gd name="connsiteX29" fmla="*/ 90637 w 164434"/>
                  <a:gd name="connsiteY29" fmla="*/ 39147 h 243432"/>
                  <a:gd name="connsiteX30" fmla="*/ 91166 w 164434"/>
                  <a:gd name="connsiteY30" fmla="*/ 43467 h 243432"/>
                  <a:gd name="connsiteX31" fmla="*/ 94958 w 164434"/>
                  <a:gd name="connsiteY31" fmla="*/ 50785 h 243432"/>
                  <a:gd name="connsiteX32" fmla="*/ 95839 w 164434"/>
                  <a:gd name="connsiteY32" fmla="*/ 56340 h 243432"/>
                  <a:gd name="connsiteX33" fmla="*/ 100776 w 164434"/>
                  <a:gd name="connsiteY33" fmla="*/ 58367 h 243432"/>
                  <a:gd name="connsiteX34" fmla="*/ 102540 w 164434"/>
                  <a:gd name="connsiteY34" fmla="*/ 60660 h 243432"/>
                  <a:gd name="connsiteX35" fmla="*/ 107477 w 164434"/>
                  <a:gd name="connsiteY35" fmla="*/ 63569 h 243432"/>
                  <a:gd name="connsiteX36" fmla="*/ 112768 w 164434"/>
                  <a:gd name="connsiteY36" fmla="*/ 63834 h 243432"/>
                  <a:gd name="connsiteX37" fmla="*/ 115942 w 164434"/>
                  <a:gd name="connsiteY37" fmla="*/ 65333 h 243432"/>
                  <a:gd name="connsiteX38" fmla="*/ 119733 w 164434"/>
                  <a:gd name="connsiteY38" fmla="*/ 66743 h 243432"/>
                  <a:gd name="connsiteX39" fmla="*/ 126169 w 164434"/>
                  <a:gd name="connsiteY39" fmla="*/ 66126 h 243432"/>
                  <a:gd name="connsiteX40" fmla="*/ 130225 w 164434"/>
                  <a:gd name="connsiteY40" fmla="*/ 67890 h 243432"/>
                  <a:gd name="connsiteX41" fmla="*/ 133135 w 164434"/>
                  <a:gd name="connsiteY41" fmla="*/ 67272 h 243432"/>
                  <a:gd name="connsiteX42" fmla="*/ 134016 w 164434"/>
                  <a:gd name="connsiteY42" fmla="*/ 67890 h 243432"/>
                  <a:gd name="connsiteX43" fmla="*/ 136661 w 164434"/>
                  <a:gd name="connsiteY43" fmla="*/ 69653 h 243432"/>
                  <a:gd name="connsiteX44" fmla="*/ 137278 w 164434"/>
                  <a:gd name="connsiteY44" fmla="*/ 69653 h 243432"/>
                  <a:gd name="connsiteX45" fmla="*/ 138160 w 164434"/>
                  <a:gd name="connsiteY45" fmla="*/ 70270 h 243432"/>
                  <a:gd name="connsiteX46" fmla="*/ 140805 w 164434"/>
                  <a:gd name="connsiteY46" fmla="*/ 73444 h 243432"/>
                  <a:gd name="connsiteX47" fmla="*/ 142833 w 164434"/>
                  <a:gd name="connsiteY47" fmla="*/ 76354 h 243432"/>
                  <a:gd name="connsiteX48" fmla="*/ 144332 w 164434"/>
                  <a:gd name="connsiteY48" fmla="*/ 78999 h 243432"/>
                  <a:gd name="connsiteX49" fmla="*/ 146360 w 164434"/>
                  <a:gd name="connsiteY49" fmla="*/ 81644 h 243432"/>
                  <a:gd name="connsiteX50" fmla="*/ 148652 w 164434"/>
                  <a:gd name="connsiteY50" fmla="*/ 83143 h 243432"/>
                  <a:gd name="connsiteX51" fmla="*/ 149798 w 164434"/>
                  <a:gd name="connsiteY51" fmla="*/ 85171 h 243432"/>
                  <a:gd name="connsiteX52" fmla="*/ 152443 w 164434"/>
                  <a:gd name="connsiteY52" fmla="*/ 87199 h 243432"/>
                  <a:gd name="connsiteX53" fmla="*/ 153325 w 164434"/>
                  <a:gd name="connsiteY53" fmla="*/ 90108 h 243432"/>
                  <a:gd name="connsiteX54" fmla="*/ 158262 w 164434"/>
                  <a:gd name="connsiteY54" fmla="*/ 94517 h 243432"/>
                  <a:gd name="connsiteX55" fmla="*/ 157733 w 164434"/>
                  <a:gd name="connsiteY55" fmla="*/ 95663 h 243432"/>
                  <a:gd name="connsiteX56" fmla="*/ 161525 w 164434"/>
                  <a:gd name="connsiteY56" fmla="*/ 95663 h 243432"/>
                  <a:gd name="connsiteX57" fmla="*/ 163288 w 164434"/>
                  <a:gd name="connsiteY57" fmla="*/ 96544 h 243432"/>
                  <a:gd name="connsiteX58" fmla="*/ 163288 w 164434"/>
                  <a:gd name="connsiteY58" fmla="*/ 96280 h 243432"/>
                  <a:gd name="connsiteX59" fmla="*/ 164434 w 164434"/>
                  <a:gd name="connsiteY59" fmla="*/ 98043 h 243432"/>
                  <a:gd name="connsiteX60" fmla="*/ 161789 w 164434"/>
                  <a:gd name="connsiteY60" fmla="*/ 100688 h 243432"/>
                  <a:gd name="connsiteX61" fmla="*/ 162318 w 164434"/>
                  <a:gd name="connsiteY61" fmla="*/ 106243 h 243432"/>
                  <a:gd name="connsiteX62" fmla="*/ 162054 w 164434"/>
                  <a:gd name="connsiteY62" fmla="*/ 110034 h 243432"/>
                  <a:gd name="connsiteX63" fmla="*/ 160026 w 164434"/>
                  <a:gd name="connsiteY63" fmla="*/ 111797 h 243432"/>
                  <a:gd name="connsiteX64" fmla="*/ 159409 w 164434"/>
                  <a:gd name="connsiteY64" fmla="*/ 114707 h 243432"/>
                  <a:gd name="connsiteX65" fmla="*/ 159144 w 164434"/>
                  <a:gd name="connsiteY65" fmla="*/ 118498 h 243432"/>
                  <a:gd name="connsiteX66" fmla="*/ 156499 w 164434"/>
                  <a:gd name="connsiteY66" fmla="*/ 122025 h 243432"/>
                  <a:gd name="connsiteX67" fmla="*/ 151826 w 164434"/>
                  <a:gd name="connsiteY67" fmla="*/ 124670 h 243432"/>
                  <a:gd name="connsiteX68" fmla="*/ 149181 w 164434"/>
                  <a:gd name="connsiteY68" fmla="*/ 127315 h 243432"/>
                  <a:gd name="connsiteX69" fmla="*/ 147418 w 164434"/>
                  <a:gd name="connsiteY69" fmla="*/ 128197 h 243432"/>
                  <a:gd name="connsiteX70" fmla="*/ 146272 w 164434"/>
                  <a:gd name="connsiteY70" fmla="*/ 133134 h 243432"/>
                  <a:gd name="connsiteX71" fmla="*/ 143627 w 164434"/>
                  <a:gd name="connsiteY71" fmla="*/ 137543 h 243432"/>
                  <a:gd name="connsiteX72" fmla="*/ 143009 w 164434"/>
                  <a:gd name="connsiteY72" fmla="*/ 138689 h 243432"/>
                  <a:gd name="connsiteX73" fmla="*/ 143891 w 164434"/>
                  <a:gd name="connsiteY73" fmla="*/ 140100 h 243432"/>
                  <a:gd name="connsiteX74" fmla="*/ 143274 w 164434"/>
                  <a:gd name="connsiteY74" fmla="*/ 140364 h 243432"/>
                  <a:gd name="connsiteX75" fmla="*/ 140981 w 164434"/>
                  <a:gd name="connsiteY75" fmla="*/ 142127 h 243432"/>
                  <a:gd name="connsiteX76" fmla="*/ 141246 w 164434"/>
                  <a:gd name="connsiteY76" fmla="*/ 146183 h 243432"/>
                  <a:gd name="connsiteX77" fmla="*/ 138336 w 164434"/>
                  <a:gd name="connsiteY77" fmla="*/ 148564 h 243432"/>
                  <a:gd name="connsiteX78" fmla="*/ 136926 w 164434"/>
                  <a:gd name="connsiteY78" fmla="*/ 148564 h 243432"/>
                  <a:gd name="connsiteX79" fmla="*/ 135162 w 164434"/>
                  <a:gd name="connsiteY79" fmla="*/ 148564 h 243432"/>
                  <a:gd name="connsiteX80" fmla="*/ 133664 w 164434"/>
                  <a:gd name="connsiteY80" fmla="*/ 147418 h 243432"/>
                  <a:gd name="connsiteX81" fmla="*/ 134545 w 164434"/>
                  <a:gd name="connsiteY81" fmla="*/ 146800 h 243432"/>
                  <a:gd name="connsiteX82" fmla="*/ 134016 w 164434"/>
                  <a:gd name="connsiteY82" fmla="*/ 143009 h 243432"/>
                  <a:gd name="connsiteX83" fmla="*/ 131106 w 164434"/>
                  <a:gd name="connsiteY83" fmla="*/ 144772 h 243432"/>
                  <a:gd name="connsiteX84" fmla="*/ 130754 w 164434"/>
                  <a:gd name="connsiteY84" fmla="*/ 147418 h 243432"/>
                  <a:gd name="connsiteX85" fmla="*/ 128461 w 164434"/>
                  <a:gd name="connsiteY85" fmla="*/ 148564 h 243432"/>
                  <a:gd name="connsiteX86" fmla="*/ 128461 w 164434"/>
                  <a:gd name="connsiteY86" fmla="*/ 150327 h 243432"/>
                  <a:gd name="connsiteX87" fmla="*/ 126434 w 164434"/>
                  <a:gd name="connsiteY87" fmla="*/ 152972 h 243432"/>
                  <a:gd name="connsiteX88" fmla="*/ 126698 w 164434"/>
                  <a:gd name="connsiteY88" fmla="*/ 155617 h 243432"/>
                  <a:gd name="connsiteX89" fmla="*/ 126963 w 164434"/>
                  <a:gd name="connsiteY89" fmla="*/ 159144 h 243432"/>
                  <a:gd name="connsiteX90" fmla="*/ 124670 w 164434"/>
                  <a:gd name="connsiteY90" fmla="*/ 162053 h 243432"/>
                  <a:gd name="connsiteX91" fmla="*/ 124405 w 164434"/>
                  <a:gd name="connsiteY91" fmla="*/ 165845 h 243432"/>
                  <a:gd name="connsiteX92" fmla="*/ 124670 w 164434"/>
                  <a:gd name="connsiteY92" fmla="*/ 167344 h 243432"/>
                  <a:gd name="connsiteX93" fmla="*/ 125816 w 164434"/>
                  <a:gd name="connsiteY93" fmla="*/ 172898 h 243432"/>
                  <a:gd name="connsiteX94" fmla="*/ 125287 w 164434"/>
                  <a:gd name="connsiteY94" fmla="*/ 176954 h 243432"/>
                  <a:gd name="connsiteX95" fmla="*/ 128726 w 164434"/>
                  <a:gd name="connsiteY95" fmla="*/ 180128 h 243432"/>
                  <a:gd name="connsiteX96" fmla="*/ 129079 w 164434"/>
                  <a:gd name="connsiteY96" fmla="*/ 183038 h 243432"/>
                  <a:gd name="connsiteX97" fmla="*/ 126169 w 164434"/>
                  <a:gd name="connsiteY97" fmla="*/ 184184 h 243432"/>
                  <a:gd name="connsiteX98" fmla="*/ 122907 w 164434"/>
                  <a:gd name="connsiteY98" fmla="*/ 184801 h 243432"/>
                  <a:gd name="connsiteX99" fmla="*/ 118851 w 164434"/>
                  <a:gd name="connsiteY99" fmla="*/ 188328 h 243432"/>
                  <a:gd name="connsiteX100" fmla="*/ 110651 w 164434"/>
                  <a:gd name="connsiteY100" fmla="*/ 187446 h 243432"/>
                  <a:gd name="connsiteX101" fmla="*/ 107742 w 164434"/>
                  <a:gd name="connsiteY101" fmla="*/ 189474 h 243432"/>
                  <a:gd name="connsiteX102" fmla="*/ 105097 w 164434"/>
                  <a:gd name="connsiteY102" fmla="*/ 197321 h 243432"/>
                  <a:gd name="connsiteX103" fmla="*/ 103334 w 164434"/>
                  <a:gd name="connsiteY103" fmla="*/ 201112 h 243432"/>
                  <a:gd name="connsiteX104" fmla="*/ 102452 w 164434"/>
                  <a:gd name="connsiteY104" fmla="*/ 205168 h 243432"/>
                  <a:gd name="connsiteX105" fmla="*/ 99807 w 164434"/>
                  <a:gd name="connsiteY105" fmla="*/ 206578 h 243432"/>
                  <a:gd name="connsiteX106" fmla="*/ 98925 w 164434"/>
                  <a:gd name="connsiteY106" fmla="*/ 209488 h 243432"/>
                  <a:gd name="connsiteX107" fmla="*/ 94252 w 164434"/>
                  <a:gd name="connsiteY107" fmla="*/ 209488 h 243432"/>
                  <a:gd name="connsiteX108" fmla="*/ 92753 w 164434"/>
                  <a:gd name="connsiteY108" fmla="*/ 210017 h 243432"/>
                  <a:gd name="connsiteX109" fmla="*/ 87199 w 164434"/>
                  <a:gd name="connsiteY109" fmla="*/ 210634 h 243432"/>
                  <a:gd name="connsiteX110" fmla="*/ 84289 w 164434"/>
                  <a:gd name="connsiteY110" fmla="*/ 213279 h 243432"/>
                  <a:gd name="connsiteX111" fmla="*/ 78734 w 164434"/>
                  <a:gd name="connsiteY111" fmla="*/ 212133 h 243432"/>
                  <a:gd name="connsiteX112" fmla="*/ 78470 w 164434"/>
                  <a:gd name="connsiteY112" fmla="*/ 216542 h 243432"/>
                  <a:gd name="connsiteX113" fmla="*/ 75560 w 164434"/>
                  <a:gd name="connsiteY113" fmla="*/ 220068 h 243432"/>
                  <a:gd name="connsiteX114" fmla="*/ 76442 w 164434"/>
                  <a:gd name="connsiteY114" fmla="*/ 222449 h 243432"/>
                  <a:gd name="connsiteX115" fmla="*/ 76442 w 164434"/>
                  <a:gd name="connsiteY115" fmla="*/ 224212 h 243432"/>
                  <a:gd name="connsiteX116" fmla="*/ 76707 w 164434"/>
                  <a:gd name="connsiteY116" fmla="*/ 228003 h 243432"/>
                  <a:gd name="connsiteX117" fmla="*/ 73797 w 164434"/>
                  <a:gd name="connsiteY117" fmla="*/ 229767 h 243432"/>
                  <a:gd name="connsiteX118" fmla="*/ 73533 w 164434"/>
                  <a:gd name="connsiteY118" fmla="*/ 232941 h 243432"/>
                  <a:gd name="connsiteX119" fmla="*/ 70888 w 164434"/>
                  <a:gd name="connsiteY119" fmla="*/ 233558 h 243432"/>
                  <a:gd name="connsiteX120" fmla="*/ 67978 w 164434"/>
                  <a:gd name="connsiteY120" fmla="*/ 234087 h 243432"/>
                  <a:gd name="connsiteX121" fmla="*/ 64804 w 164434"/>
                  <a:gd name="connsiteY121" fmla="*/ 234087 h 243432"/>
                  <a:gd name="connsiteX122" fmla="*/ 60131 w 164434"/>
                  <a:gd name="connsiteY122" fmla="*/ 232941 h 243432"/>
                  <a:gd name="connsiteX123" fmla="*/ 57838 w 164434"/>
                  <a:gd name="connsiteY123" fmla="*/ 232941 h 243432"/>
                  <a:gd name="connsiteX124" fmla="*/ 53518 w 164434"/>
                  <a:gd name="connsiteY124" fmla="*/ 232059 h 243432"/>
                  <a:gd name="connsiteX125" fmla="*/ 49110 w 164434"/>
                  <a:gd name="connsiteY125" fmla="*/ 233558 h 243432"/>
                  <a:gd name="connsiteX126" fmla="*/ 47964 w 164434"/>
                  <a:gd name="connsiteY126" fmla="*/ 236468 h 243432"/>
                  <a:gd name="connsiteX127" fmla="*/ 43908 w 164434"/>
                  <a:gd name="connsiteY127" fmla="*/ 237349 h 243432"/>
                  <a:gd name="connsiteX128" fmla="*/ 42762 w 164434"/>
                  <a:gd name="connsiteY128" fmla="*/ 239377 h 243432"/>
                  <a:gd name="connsiteX129" fmla="*/ 40117 w 164434"/>
                  <a:gd name="connsiteY129" fmla="*/ 241140 h 243432"/>
                  <a:gd name="connsiteX130" fmla="*/ 36943 w 164434"/>
                  <a:gd name="connsiteY130" fmla="*/ 241140 h 243432"/>
                  <a:gd name="connsiteX131" fmla="*/ 33416 w 164434"/>
                  <a:gd name="connsiteY131" fmla="*/ 243168 h 243432"/>
                  <a:gd name="connsiteX132" fmla="*/ 30771 w 164434"/>
                  <a:gd name="connsiteY132" fmla="*/ 243433 h 243432"/>
                  <a:gd name="connsiteX133" fmla="*/ 27597 w 164434"/>
                  <a:gd name="connsiteY133" fmla="*/ 240788 h 243432"/>
                  <a:gd name="connsiteX134" fmla="*/ 26098 w 164434"/>
                  <a:gd name="connsiteY134" fmla="*/ 237614 h 243432"/>
                  <a:gd name="connsiteX135" fmla="*/ 23188 w 164434"/>
                  <a:gd name="connsiteY135" fmla="*/ 235586 h 243432"/>
                  <a:gd name="connsiteX136" fmla="*/ 22042 w 164434"/>
                  <a:gd name="connsiteY136" fmla="*/ 230384 h 243432"/>
                  <a:gd name="connsiteX137" fmla="*/ 19132 w 164434"/>
                  <a:gd name="connsiteY137" fmla="*/ 224565 h 243432"/>
                  <a:gd name="connsiteX138" fmla="*/ 0 w 164434"/>
                  <a:gd name="connsiteY138" fmla="*/ 192824 h 243432"/>
                  <a:gd name="connsiteX139" fmla="*/ 81909 w 164434"/>
                  <a:gd name="connsiteY139" fmla="*/ 20984 h 243432"/>
                  <a:gd name="connsiteX140" fmla="*/ 82173 w 164434"/>
                  <a:gd name="connsiteY140" fmla="*/ 19221 h 243432"/>
                  <a:gd name="connsiteX141" fmla="*/ 81909 w 164434"/>
                  <a:gd name="connsiteY141" fmla="*/ 17810 h 243432"/>
                  <a:gd name="connsiteX142" fmla="*/ 80410 w 164434"/>
                  <a:gd name="connsiteY142" fmla="*/ 17193 h 243432"/>
                  <a:gd name="connsiteX143" fmla="*/ 78999 w 164434"/>
                  <a:gd name="connsiteY143" fmla="*/ 16311 h 243432"/>
                  <a:gd name="connsiteX144" fmla="*/ 80145 w 164434"/>
                  <a:gd name="connsiteY144" fmla="*/ 16047 h 243432"/>
                  <a:gd name="connsiteX145" fmla="*/ 81027 w 164434"/>
                  <a:gd name="connsiteY145" fmla="*/ 14548 h 243432"/>
                  <a:gd name="connsiteX146" fmla="*/ 81644 w 164434"/>
                  <a:gd name="connsiteY146" fmla="*/ 12167 h 243432"/>
                  <a:gd name="connsiteX147" fmla="*/ 82261 w 164434"/>
                  <a:gd name="connsiteY147" fmla="*/ 11021 h 243432"/>
                  <a:gd name="connsiteX148" fmla="*/ 81644 w 164434"/>
                  <a:gd name="connsiteY148" fmla="*/ 9875 h 243432"/>
                  <a:gd name="connsiteX149" fmla="*/ 81379 w 164434"/>
                  <a:gd name="connsiteY149" fmla="*/ 9610 h 243432"/>
                  <a:gd name="connsiteX150" fmla="*/ 81027 w 164434"/>
                  <a:gd name="connsiteY150" fmla="*/ 7847 h 243432"/>
                  <a:gd name="connsiteX151" fmla="*/ 81379 w 164434"/>
                  <a:gd name="connsiteY151" fmla="*/ 6965 h 243432"/>
                  <a:gd name="connsiteX152" fmla="*/ 81027 w 164434"/>
                  <a:gd name="connsiteY152" fmla="*/ 6965 h 243432"/>
                  <a:gd name="connsiteX153" fmla="*/ 80145 w 164434"/>
                  <a:gd name="connsiteY153" fmla="*/ 6348 h 243432"/>
                  <a:gd name="connsiteX154" fmla="*/ 80145 w 164434"/>
                  <a:gd name="connsiteY154" fmla="*/ 5466 h 243432"/>
                  <a:gd name="connsiteX155" fmla="*/ 78999 w 164434"/>
                  <a:gd name="connsiteY155" fmla="*/ 5202 h 243432"/>
                  <a:gd name="connsiteX156" fmla="*/ 80763 w 164434"/>
                  <a:gd name="connsiteY156" fmla="*/ 4937 h 243432"/>
                  <a:gd name="connsiteX157" fmla="*/ 80498 w 164434"/>
                  <a:gd name="connsiteY157" fmla="*/ 4320 h 243432"/>
                  <a:gd name="connsiteX158" fmla="*/ 80763 w 164434"/>
                  <a:gd name="connsiteY158" fmla="*/ 4585 h 243432"/>
                  <a:gd name="connsiteX159" fmla="*/ 80763 w 164434"/>
                  <a:gd name="connsiteY159" fmla="*/ 4056 h 243432"/>
                  <a:gd name="connsiteX160" fmla="*/ 80498 w 164434"/>
                  <a:gd name="connsiteY160" fmla="*/ 3439 h 243432"/>
                  <a:gd name="connsiteX161" fmla="*/ 80498 w 164434"/>
                  <a:gd name="connsiteY161" fmla="*/ 3174 h 243432"/>
                  <a:gd name="connsiteX162" fmla="*/ 80763 w 164434"/>
                  <a:gd name="connsiteY162" fmla="*/ 2645 h 243432"/>
                  <a:gd name="connsiteX163" fmla="*/ 81644 w 164434"/>
                  <a:gd name="connsiteY163" fmla="*/ 1763 h 243432"/>
                  <a:gd name="connsiteX164" fmla="*/ 81909 w 164434"/>
                  <a:gd name="connsiteY164" fmla="*/ 882 h 243432"/>
                  <a:gd name="connsiteX165" fmla="*/ 80763 w 164434"/>
                  <a:gd name="connsiteY165" fmla="*/ 0 h 243432"/>
                  <a:gd name="connsiteX166" fmla="*/ 80145 w 164434"/>
                  <a:gd name="connsiteY166" fmla="*/ 617 h 243432"/>
                  <a:gd name="connsiteX167" fmla="*/ 79616 w 164434"/>
                  <a:gd name="connsiteY167" fmla="*/ 0 h 243432"/>
                  <a:gd name="connsiteX168" fmla="*/ 78999 w 164434"/>
                  <a:gd name="connsiteY168" fmla="*/ 1499 h 243432"/>
                  <a:gd name="connsiteX169" fmla="*/ 78117 w 164434"/>
                  <a:gd name="connsiteY169" fmla="*/ 1763 h 243432"/>
                  <a:gd name="connsiteX170" fmla="*/ 78382 w 164434"/>
                  <a:gd name="connsiteY170" fmla="*/ 2910 h 243432"/>
                  <a:gd name="connsiteX171" fmla="*/ 79263 w 164434"/>
                  <a:gd name="connsiteY171" fmla="*/ 3527 h 243432"/>
                  <a:gd name="connsiteX172" fmla="*/ 78117 w 164434"/>
                  <a:gd name="connsiteY172" fmla="*/ 3791 h 243432"/>
                  <a:gd name="connsiteX173" fmla="*/ 77500 w 164434"/>
                  <a:gd name="connsiteY173" fmla="*/ 3174 h 243432"/>
                  <a:gd name="connsiteX174" fmla="*/ 76001 w 164434"/>
                  <a:gd name="connsiteY174" fmla="*/ 2292 h 243432"/>
                  <a:gd name="connsiteX175" fmla="*/ 75737 w 164434"/>
                  <a:gd name="connsiteY175" fmla="*/ 3439 h 243432"/>
                  <a:gd name="connsiteX176" fmla="*/ 74238 w 164434"/>
                  <a:gd name="connsiteY176" fmla="*/ 4937 h 243432"/>
                  <a:gd name="connsiteX177" fmla="*/ 74767 w 164434"/>
                  <a:gd name="connsiteY177" fmla="*/ 6436 h 243432"/>
                  <a:gd name="connsiteX178" fmla="*/ 73621 w 164434"/>
                  <a:gd name="connsiteY178" fmla="*/ 7582 h 243432"/>
                  <a:gd name="connsiteX179" fmla="*/ 73356 w 164434"/>
                  <a:gd name="connsiteY179" fmla="*/ 9081 h 243432"/>
                  <a:gd name="connsiteX180" fmla="*/ 73621 w 164434"/>
                  <a:gd name="connsiteY180" fmla="*/ 10227 h 243432"/>
                  <a:gd name="connsiteX181" fmla="*/ 73004 w 164434"/>
                  <a:gd name="connsiteY181" fmla="*/ 11374 h 243432"/>
                  <a:gd name="connsiteX182" fmla="*/ 74767 w 164434"/>
                  <a:gd name="connsiteY182" fmla="*/ 12520 h 243432"/>
                  <a:gd name="connsiteX183" fmla="*/ 73621 w 164434"/>
                  <a:gd name="connsiteY183" fmla="*/ 14019 h 243432"/>
                  <a:gd name="connsiteX184" fmla="*/ 73356 w 164434"/>
                  <a:gd name="connsiteY184" fmla="*/ 15165 h 243432"/>
                  <a:gd name="connsiteX185" fmla="*/ 75384 w 164434"/>
                  <a:gd name="connsiteY185" fmla="*/ 23629 h 243432"/>
                  <a:gd name="connsiteX186" fmla="*/ 81909 w 164434"/>
                  <a:gd name="connsiteY186" fmla="*/ 20984 h 243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</a:cxnLst>
                <a:rect l="l" t="t" r="r" b="b"/>
                <a:pathLst>
                  <a:path w="164434" h="243432">
                    <a:moveTo>
                      <a:pt x="149005" y="141775"/>
                    </a:moveTo>
                    <a:lnTo>
                      <a:pt x="147241" y="142921"/>
                    </a:lnTo>
                    <a:lnTo>
                      <a:pt x="145214" y="147329"/>
                    </a:lnTo>
                    <a:lnTo>
                      <a:pt x="142568" y="149974"/>
                    </a:lnTo>
                    <a:lnTo>
                      <a:pt x="144596" y="154647"/>
                    </a:lnTo>
                    <a:lnTo>
                      <a:pt x="145214" y="152002"/>
                    </a:lnTo>
                    <a:lnTo>
                      <a:pt x="144949" y="151121"/>
                    </a:lnTo>
                    <a:lnTo>
                      <a:pt x="145831" y="151121"/>
                    </a:lnTo>
                    <a:lnTo>
                      <a:pt x="145566" y="149093"/>
                    </a:lnTo>
                    <a:lnTo>
                      <a:pt x="147859" y="148476"/>
                    </a:lnTo>
                    <a:lnTo>
                      <a:pt x="150239" y="146095"/>
                    </a:lnTo>
                    <a:lnTo>
                      <a:pt x="149093" y="143450"/>
                    </a:lnTo>
                    <a:lnTo>
                      <a:pt x="149093" y="141775"/>
                    </a:lnTo>
                    <a:close/>
                    <a:moveTo>
                      <a:pt x="0" y="192824"/>
                    </a:moveTo>
                    <a:lnTo>
                      <a:pt x="62071" y="157204"/>
                    </a:lnTo>
                    <a:lnTo>
                      <a:pt x="79616" y="108535"/>
                    </a:lnTo>
                    <a:lnTo>
                      <a:pt x="65862" y="91078"/>
                    </a:lnTo>
                    <a:lnTo>
                      <a:pt x="64099" y="78822"/>
                    </a:lnTo>
                    <a:lnTo>
                      <a:pt x="69388" y="69212"/>
                    </a:lnTo>
                    <a:lnTo>
                      <a:pt x="69388" y="63393"/>
                    </a:lnTo>
                    <a:lnTo>
                      <a:pt x="66744" y="59602"/>
                    </a:lnTo>
                    <a:lnTo>
                      <a:pt x="71417" y="58456"/>
                    </a:lnTo>
                    <a:lnTo>
                      <a:pt x="78999" y="58456"/>
                    </a:lnTo>
                    <a:lnTo>
                      <a:pt x="74062" y="52901"/>
                    </a:lnTo>
                    <a:lnTo>
                      <a:pt x="70799" y="45054"/>
                    </a:lnTo>
                    <a:lnTo>
                      <a:pt x="72562" y="39764"/>
                    </a:lnTo>
                    <a:lnTo>
                      <a:pt x="75825" y="36854"/>
                    </a:lnTo>
                    <a:lnTo>
                      <a:pt x="83672" y="30683"/>
                    </a:lnTo>
                    <a:lnTo>
                      <a:pt x="86581" y="34738"/>
                    </a:lnTo>
                    <a:lnTo>
                      <a:pt x="90637" y="39147"/>
                    </a:lnTo>
                    <a:lnTo>
                      <a:pt x="91166" y="43467"/>
                    </a:lnTo>
                    <a:lnTo>
                      <a:pt x="94958" y="50785"/>
                    </a:lnTo>
                    <a:lnTo>
                      <a:pt x="95839" y="56340"/>
                    </a:lnTo>
                    <a:lnTo>
                      <a:pt x="100776" y="58367"/>
                    </a:lnTo>
                    <a:lnTo>
                      <a:pt x="102540" y="60660"/>
                    </a:lnTo>
                    <a:lnTo>
                      <a:pt x="107477" y="63569"/>
                    </a:lnTo>
                    <a:lnTo>
                      <a:pt x="112768" y="63834"/>
                    </a:lnTo>
                    <a:lnTo>
                      <a:pt x="115942" y="65333"/>
                    </a:lnTo>
                    <a:lnTo>
                      <a:pt x="119733" y="66743"/>
                    </a:lnTo>
                    <a:lnTo>
                      <a:pt x="126169" y="66126"/>
                    </a:lnTo>
                    <a:lnTo>
                      <a:pt x="130225" y="67890"/>
                    </a:lnTo>
                    <a:lnTo>
                      <a:pt x="133135" y="67272"/>
                    </a:lnTo>
                    <a:lnTo>
                      <a:pt x="134016" y="67890"/>
                    </a:lnTo>
                    <a:lnTo>
                      <a:pt x="136661" y="69653"/>
                    </a:lnTo>
                    <a:lnTo>
                      <a:pt x="137278" y="69653"/>
                    </a:lnTo>
                    <a:lnTo>
                      <a:pt x="138160" y="70270"/>
                    </a:lnTo>
                    <a:lnTo>
                      <a:pt x="140805" y="73444"/>
                    </a:lnTo>
                    <a:lnTo>
                      <a:pt x="142833" y="76354"/>
                    </a:lnTo>
                    <a:lnTo>
                      <a:pt x="144332" y="78999"/>
                    </a:lnTo>
                    <a:lnTo>
                      <a:pt x="146360" y="81644"/>
                    </a:lnTo>
                    <a:lnTo>
                      <a:pt x="148652" y="83143"/>
                    </a:lnTo>
                    <a:lnTo>
                      <a:pt x="149798" y="85171"/>
                    </a:lnTo>
                    <a:lnTo>
                      <a:pt x="152443" y="87199"/>
                    </a:lnTo>
                    <a:lnTo>
                      <a:pt x="153325" y="90108"/>
                    </a:lnTo>
                    <a:lnTo>
                      <a:pt x="158262" y="94517"/>
                    </a:lnTo>
                    <a:lnTo>
                      <a:pt x="157733" y="95663"/>
                    </a:lnTo>
                    <a:lnTo>
                      <a:pt x="161525" y="95663"/>
                    </a:lnTo>
                    <a:lnTo>
                      <a:pt x="163288" y="96544"/>
                    </a:lnTo>
                    <a:lnTo>
                      <a:pt x="163288" y="96280"/>
                    </a:lnTo>
                    <a:lnTo>
                      <a:pt x="164434" y="98043"/>
                    </a:lnTo>
                    <a:lnTo>
                      <a:pt x="161789" y="100688"/>
                    </a:lnTo>
                    <a:lnTo>
                      <a:pt x="162318" y="106243"/>
                    </a:lnTo>
                    <a:lnTo>
                      <a:pt x="162054" y="110034"/>
                    </a:lnTo>
                    <a:lnTo>
                      <a:pt x="160026" y="111797"/>
                    </a:lnTo>
                    <a:lnTo>
                      <a:pt x="159409" y="114707"/>
                    </a:lnTo>
                    <a:lnTo>
                      <a:pt x="159144" y="118498"/>
                    </a:lnTo>
                    <a:lnTo>
                      <a:pt x="156499" y="122025"/>
                    </a:lnTo>
                    <a:lnTo>
                      <a:pt x="151826" y="124670"/>
                    </a:lnTo>
                    <a:lnTo>
                      <a:pt x="149181" y="127315"/>
                    </a:lnTo>
                    <a:lnTo>
                      <a:pt x="147418" y="128197"/>
                    </a:lnTo>
                    <a:lnTo>
                      <a:pt x="146272" y="133134"/>
                    </a:lnTo>
                    <a:lnTo>
                      <a:pt x="143627" y="137543"/>
                    </a:lnTo>
                    <a:lnTo>
                      <a:pt x="143009" y="138689"/>
                    </a:lnTo>
                    <a:lnTo>
                      <a:pt x="143891" y="140100"/>
                    </a:lnTo>
                    <a:lnTo>
                      <a:pt x="143274" y="140364"/>
                    </a:lnTo>
                    <a:lnTo>
                      <a:pt x="140981" y="142127"/>
                    </a:lnTo>
                    <a:lnTo>
                      <a:pt x="141246" y="146183"/>
                    </a:lnTo>
                    <a:lnTo>
                      <a:pt x="138336" y="148564"/>
                    </a:lnTo>
                    <a:lnTo>
                      <a:pt x="136926" y="148564"/>
                    </a:lnTo>
                    <a:lnTo>
                      <a:pt x="135162" y="148564"/>
                    </a:lnTo>
                    <a:lnTo>
                      <a:pt x="133664" y="147418"/>
                    </a:lnTo>
                    <a:lnTo>
                      <a:pt x="134545" y="146800"/>
                    </a:lnTo>
                    <a:lnTo>
                      <a:pt x="134016" y="143009"/>
                    </a:lnTo>
                    <a:lnTo>
                      <a:pt x="131106" y="144772"/>
                    </a:lnTo>
                    <a:lnTo>
                      <a:pt x="130754" y="147418"/>
                    </a:lnTo>
                    <a:lnTo>
                      <a:pt x="128461" y="148564"/>
                    </a:lnTo>
                    <a:lnTo>
                      <a:pt x="128461" y="150327"/>
                    </a:lnTo>
                    <a:lnTo>
                      <a:pt x="126434" y="152972"/>
                    </a:lnTo>
                    <a:lnTo>
                      <a:pt x="126698" y="155617"/>
                    </a:lnTo>
                    <a:lnTo>
                      <a:pt x="126963" y="159144"/>
                    </a:lnTo>
                    <a:lnTo>
                      <a:pt x="124670" y="162053"/>
                    </a:lnTo>
                    <a:lnTo>
                      <a:pt x="124405" y="165845"/>
                    </a:lnTo>
                    <a:lnTo>
                      <a:pt x="124670" y="167344"/>
                    </a:lnTo>
                    <a:lnTo>
                      <a:pt x="125816" y="172898"/>
                    </a:lnTo>
                    <a:lnTo>
                      <a:pt x="125287" y="176954"/>
                    </a:lnTo>
                    <a:lnTo>
                      <a:pt x="128726" y="180128"/>
                    </a:lnTo>
                    <a:lnTo>
                      <a:pt x="129079" y="183038"/>
                    </a:lnTo>
                    <a:lnTo>
                      <a:pt x="126169" y="184184"/>
                    </a:lnTo>
                    <a:lnTo>
                      <a:pt x="122907" y="184801"/>
                    </a:lnTo>
                    <a:lnTo>
                      <a:pt x="118851" y="188328"/>
                    </a:lnTo>
                    <a:lnTo>
                      <a:pt x="110651" y="187446"/>
                    </a:lnTo>
                    <a:lnTo>
                      <a:pt x="107742" y="189474"/>
                    </a:lnTo>
                    <a:lnTo>
                      <a:pt x="105097" y="197321"/>
                    </a:lnTo>
                    <a:lnTo>
                      <a:pt x="103334" y="201112"/>
                    </a:lnTo>
                    <a:lnTo>
                      <a:pt x="102452" y="205168"/>
                    </a:lnTo>
                    <a:lnTo>
                      <a:pt x="99807" y="206578"/>
                    </a:lnTo>
                    <a:lnTo>
                      <a:pt x="98925" y="209488"/>
                    </a:lnTo>
                    <a:lnTo>
                      <a:pt x="94252" y="209488"/>
                    </a:lnTo>
                    <a:lnTo>
                      <a:pt x="92753" y="210017"/>
                    </a:lnTo>
                    <a:lnTo>
                      <a:pt x="87199" y="210634"/>
                    </a:lnTo>
                    <a:lnTo>
                      <a:pt x="84289" y="213279"/>
                    </a:lnTo>
                    <a:lnTo>
                      <a:pt x="78734" y="212133"/>
                    </a:lnTo>
                    <a:lnTo>
                      <a:pt x="78470" y="216542"/>
                    </a:lnTo>
                    <a:lnTo>
                      <a:pt x="75560" y="220068"/>
                    </a:lnTo>
                    <a:lnTo>
                      <a:pt x="76442" y="222449"/>
                    </a:lnTo>
                    <a:lnTo>
                      <a:pt x="76442" y="224212"/>
                    </a:lnTo>
                    <a:lnTo>
                      <a:pt x="76707" y="228003"/>
                    </a:lnTo>
                    <a:lnTo>
                      <a:pt x="73797" y="229767"/>
                    </a:lnTo>
                    <a:lnTo>
                      <a:pt x="73533" y="232941"/>
                    </a:lnTo>
                    <a:lnTo>
                      <a:pt x="70888" y="233558"/>
                    </a:lnTo>
                    <a:lnTo>
                      <a:pt x="67978" y="234087"/>
                    </a:lnTo>
                    <a:lnTo>
                      <a:pt x="64804" y="234087"/>
                    </a:lnTo>
                    <a:lnTo>
                      <a:pt x="60131" y="232941"/>
                    </a:lnTo>
                    <a:lnTo>
                      <a:pt x="57838" y="232941"/>
                    </a:lnTo>
                    <a:lnTo>
                      <a:pt x="53518" y="232059"/>
                    </a:lnTo>
                    <a:lnTo>
                      <a:pt x="49110" y="233558"/>
                    </a:lnTo>
                    <a:lnTo>
                      <a:pt x="47964" y="236468"/>
                    </a:lnTo>
                    <a:lnTo>
                      <a:pt x="43908" y="237349"/>
                    </a:lnTo>
                    <a:lnTo>
                      <a:pt x="42762" y="239377"/>
                    </a:lnTo>
                    <a:lnTo>
                      <a:pt x="40117" y="241140"/>
                    </a:lnTo>
                    <a:lnTo>
                      <a:pt x="36943" y="241140"/>
                    </a:lnTo>
                    <a:lnTo>
                      <a:pt x="33416" y="243168"/>
                    </a:lnTo>
                    <a:lnTo>
                      <a:pt x="30771" y="243433"/>
                    </a:lnTo>
                    <a:lnTo>
                      <a:pt x="27597" y="240788"/>
                    </a:lnTo>
                    <a:lnTo>
                      <a:pt x="26098" y="237614"/>
                    </a:lnTo>
                    <a:lnTo>
                      <a:pt x="23188" y="235586"/>
                    </a:lnTo>
                    <a:lnTo>
                      <a:pt x="22042" y="230384"/>
                    </a:lnTo>
                    <a:lnTo>
                      <a:pt x="19132" y="224565"/>
                    </a:lnTo>
                    <a:lnTo>
                      <a:pt x="0" y="192824"/>
                    </a:lnTo>
                    <a:close/>
                    <a:moveTo>
                      <a:pt x="81909" y="20984"/>
                    </a:moveTo>
                    <a:lnTo>
                      <a:pt x="82173" y="19221"/>
                    </a:lnTo>
                    <a:lnTo>
                      <a:pt x="81909" y="17810"/>
                    </a:lnTo>
                    <a:lnTo>
                      <a:pt x="80410" y="17193"/>
                    </a:lnTo>
                    <a:lnTo>
                      <a:pt x="78999" y="16311"/>
                    </a:lnTo>
                    <a:lnTo>
                      <a:pt x="80145" y="16047"/>
                    </a:lnTo>
                    <a:lnTo>
                      <a:pt x="81027" y="14548"/>
                    </a:lnTo>
                    <a:lnTo>
                      <a:pt x="81644" y="12167"/>
                    </a:lnTo>
                    <a:lnTo>
                      <a:pt x="82261" y="11021"/>
                    </a:lnTo>
                    <a:lnTo>
                      <a:pt x="81644" y="9875"/>
                    </a:lnTo>
                    <a:lnTo>
                      <a:pt x="81379" y="9610"/>
                    </a:lnTo>
                    <a:lnTo>
                      <a:pt x="81027" y="7847"/>
                    </a:lnTo>
                    <a:lnTo>
                      <a:pt x="81379" y="6965"/>
                    </a:lnTo>
                    <a:lnTo>
                      <a:pt x="81027" y="6965"/>
                    </a:lnTo>
                    <a:lnTo>
                      <a:pt x="80145" y="6348"/>
                    </a:lnTo>
                    <a:lnTo>
                      <a:pt x="80145" y="5466"/>
                    </a:lnTo>
                    <a:lnTo>
                      <a:pt x="78999" y="5202"/>
                    </a:lnTo>
                    <a:lnTo>
                      <a:pt x="80763" y="4937"/>
                    </a:lnTo>
                    <a:lnTo>
                      <a:pt x="80498" y="4320"/>
                    </a:lnTo>
                    <a:lnTo>
                      <a:pt x="80763" y="4585"/>
                    </a:lnTo>
                    <a:lnTo>
                      <a:pt x="80763" y="4056"/>
                    </a:lnTo>
                    <a:lnTo>
                      <a:pt x="80498" y="3439"/>
                    </a:lnTo>
                    <a:lnTo>
                      <a:pt x="80498" y="3174"/>
                    </a:lnTo>
                    <a:lnTo>
                      <a:pt x="80763" y="2645"/>
                    </a:lnTo>
                    <a:lnTo>
                      <a:pt x="81644" y="1763"/>
                    </a:lnTo>
                    <a:lnTo>
                      <a:pt x="81909" y="882"/>
                    </a:lnTo>
                    <a:lnTo>
                      <a:pt x="80763" y="0"/>
                    </a:lnTo>
                    <a:lnTo>
                      <a:pt x="80145" y="617"/>
                    </a:lnTo>
                    <a:lnTo>
                      <a:pt x="79616" y="0"/>
                    </a:lnTo>
                    <a:lnTo>
                      <a:pt x="78999" y="1499"/>
                    </a:lnTo>
                    <a:lnTo>
                      <a:pt x="78117" y="1763"/>
                    </a:lnTo>
                    <a:lnTo>
                      <a:pt x="78382" y="2910"/>
                    </a:lnTo>
                    <a:lnTo>
                      <a:pt x="79263" y="3527"/>
                    </a:lnTo>
                    <a:lnTo>
                      <a:pt x="78117" y="3791"/>
                    </a:lnTo>
                    <a:lnTo>
                      <a:pt x="77500" y="3174"/>
                    </a:lnTo>
                    <a:lnTo>
                      <a:pt x="76001" y="2292"/>
                    </a:lnTo>
                    <a:lnTo>
                      <a:pt x="75737" y="3439"/>
                    </a:lnTo>
                    <a:lnTo>
                      <a:pt x="74238" y="4937"/>
                    </a:lnTo>
                    <a:lnTo>
                      <a:pt x="74767" y="6436"/>
                    </a:lnTo>
                    <a:lnTo>
                      <a:pt x="73621" y="7582"/>
                    </a:lnTo>
                    <a:lnTo>
                      <a:pt x="73356" y="9081"/>
                    </a:lnTo>
                    <a:lnTo>
                      <a:pt x="73621" y="10227"/>
                    </a:lnTo>
                    <a:lnTo>
                      <a:pt x="73004" y="11374"/>
                    </a:lnTo>
                    <a:lnTo>
                      <a:pt x="74767" y="12520"/>
                    </a:lnTo>
                    <a:lnTo>
                      <a:pt x="73621" y="14019"/>
                    </a:lnTo>
                    <a:lnTo>
                      <a:pt x="73356" y="15165"/>
                    </a:lnTo>
                    <a:lnTo>
                      <a:pt x="75384" y="23629"/>
                    </a:lnTo>
                    <a:lnTo>
                      <a:pt x="81909" y="209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3" name="Freihandform: Form 1842">
                <a:extLst>
                  <a:ext uri="{FF2B5EF4-FFF2-40B4-BE49-F238E27FC236}">
                    <a16:creationId xmlns:a16="http://schemas.microsoft.com/office/drawing/2014/main" id="{05885473-5CEF-59C8-54EC-560F6EFBC57E}"/>
                  </a:ext>
                </a:extLst>
              </p:cNvPr>
              <p:cNvSpPr/>
              <p:nvPr/>
            </p:nvSpPr>
            <p:spPr>
              <a:xfrm>
                <a:off x="4878962" y="3218453"/>
                <a:ext cx="215571" cy="214601"/>
              </a:xfrm>
              <a:custGeom>
                <a:avLst/>
                <a:gdLst>
                  <a:gd name="connsiteX0" fmla="*/ 61542 w 215571"/>
                  <a:gd name="connsiteY0" fmla="*/ 6701 h 214601"/>
                  <a:gd name="connsiteX1" fmla="*/ 62688 w 215571"/>
                  <a:gd name="connsiteY1" fmla="*/ 10757 h 214601"/>
                  <a:gd name="connsiteX2" fmla="*/ 51314 w 215571"/>
                  <a:gd name="connsiteY2" fmla="*/ 18956 h 214601"/>
                  <a:gd name="connsiteX3" fmla="*/ 42850 w 215571"/>
                  <a:gd name="connsiteY3" fmla="*/ 20984 h 214601"/>
                  <a:gd name="connsiteX4" fmla="*/ 39940 w 215571"/>
                  <a:gd name="connsiteY4" fmla="*/ 25922 h 214601"/>
                  <a:gd name="connsiteX5" fmla="*/ 40822 w 215571"/>
                  <a:gd name="connsiteY5" fmla="*/ 32622 h 214601"/>
                  <a:gd name="connsiteX6" fmla="*/ 45230 w 215571"/>
                  <a:gd name="connsiteY6" fmla="*/ 37295 h 214601"/>
                  <a:gd name="connsiteX7" fmla="*/ 46112 w 215571"/>
                  <a:gd name="connsiteY7" fmla="*/ 43732 h 214601"/>
                  <a:gd name="connsiteX8" fmla="*/ 42850 w 215571"/>
                  <a:gd name="connsiteY8" fmla="*/ 45759 h 214601"/>
                  <a:gd name="connsiteX9" fmla="*/ 43203 w 215571"/>
                  <a:gd name="connsiteY9" fmla="*/ 49022 h 214601"/>
                  <a:gd name="connsiteX10" fmla="*/ 44084 w 215571"/>
                  <a:gd name="connsiteY10" fmla="*/ 53606 h 214601"/>
                  <a:gd name="connsiteX11" fmla="*/ 45495 w 215571"/>
                  <a:gd name="connsiteY11" fmla="*/ 65333 h 214601"/>
                  <a:gd name="connsiteX12" fmla="*/ 43203 w 215571"/>
                  <a:gd name="connsiteY12" fmla="*/ 68771 h 214601"/>
                  <a:gd name="connsiteX13" fmla="*/ 41439 w 215571"/>
                  <a:gd name="connsiteY13" fmla="*/ 73797 h 214601"/>
                  <a:gd name="connsiteX14" fmla="*/ 0 w 215571"/>
                  <a:gd name="connsiteY14" fmla="*/ 99189 h 214601"/>
                  <a:gd name="connsiteX15" fmla="*/ 12520 w 215571"/>
                  <a:gd name="connsiteY15" fmla="*/ 128285 h 214601"/>
                  <a:gd name="connsiteX16" fmla="*/ 28038 w 215571"/>
                  <a:gd name="connsiteY16" fmla="*/ 132076 h 214601"/>
                  <a:gd name="connsiteX17" fmla="*/ 60395 w 215571"/>
                  <a:gd name="connsiteY17" fmla="*/ 150151 h 214601"/>
                  <a:gd name="connsiteX18" fmla="*/ 95134 w 215571"/>
                  <a:gd name="connsiteY18" fmla="*/ 165316 h 214601"/>
                  <a:gd name="connsiteX19" fmla="*/ 98043 w 215571"/>
                  <a:gd name="connsiteY19" fmla="*/ 173515 h 214601"/>
                  <a:gd name="connsiteX20" fmla="*/ 111092 w 215571"/>
                  <a:gd name="connsiteY20" fmla="*/ 173780 h 214601"/>
                  <a:gd name="connsiteX21" fmla="*/ 111445 w 215571"/>
                  <a:gd name="connsiteY21" fmla="*/ 181362 h 214601"/>
                  <a:gd name="connsiteX22" fmla="*/ 110563 w 215571"/>
                  <a:gd name="connsiteY22" fmla="*/ 193089 h 214601"/>
                  <a:gd name="connsiteX23" fmla="*/ 135956 w 215571"/>
                  <a:gd name="connsiteY23" fmla="*/ 203581 h 214601"/>
                  <a:gd name="connsiteX24" fmla="*/ 154912 w 215571"/>
                  <a:gd name="connsiteY24" fmla="*/ 214602 h 214601"/>
                  <a:gd name="connsiteX25" fmla="*/ 175632 w 215571"/>
                  <a:gd name="connsiteY25" fmla="*/ 206755 h 214601"/>
                  <a:gd name="connsiteX26" fmla="*/ 177307 w 215571"/>
                  <a:gd name="connsiteY26" fmla="*/ 204727 h 214601"/>
                  <a:gd name="connsiteX27" fmla="*/ 178188 w 215571"/>
                  <a:gd name="connsiteY27" fmla="*/ 202082 h 214601"/>
                  <a:gd name="connsiteX28" fmla="*/ 181980 w 215571"/>
                  <a:gd name="connsiteY28" fmla="*/ 193618 h 214601"/>
                  <a:gd name="connsiteX29" fmla="*/ 185242 w 215571"/>
                  <a:gd name="connsiteY29" fmla="*/ 184889 h 214601"/>
                  <a:gd name="connsiteX30" fmla="*/ 185506 w 215571"/>
                  <a:gd name="connsiteY30" fmla="*/ 183743 h 214601"/>
                  <a:gd name="connsiteX31" fmla="*/ 190179 w 215571"/>
                  <a:gd name="connsiteY31" fmla="*/ 181362 h 214601"/>
                  <a:gd name="connsiteX32" fmla="*/ 196880 w 215571"/>
                  <a:gd name="connsiteY32" fmla="*/ 181362 h 214601"/>
                  <a:gd name="connsiteX33" fmla="*/ 202170 w 215571"/>
                  <a:gd name="connsiteY33" fmla="*/ 184625 h 214601"/>
                  <a:gd name="connsiteX34" fmla="*/ 205961 w 215571"/>
                  <a:gd name="connsiteY34" fmla="*/ 181980 h 214601"/>
                  <a:gd name="connsiteX35" fmla="*/ 206843 w 215571"/>
                  <a:gd name="connsiteY35" fmla="*/ 183126 h 214601"/>
                  <a:gd name="connsiteX36" fmla="*/ 209136 w 215571"/>
                  <a:gd name="connsiteY36" fmla="*/ 183743 h 214601"/>
                  <a:gd name="connsiteX37" fmla="*/ 211781 w 215571"/>
                  <a:gd name="connsiteY37" fmla="*/ 184889 h 214601"/>
                  <a:gd name="connsiteX38" fmla="*/ 212662 w 215571"/>
                  <a:gd name="connsiteY38" fmla="*/ 185771 h 214601"/>
                  <a:gd name="connsiteX39" fmla="*/ 215572 w 215571"/>
                  <a:gd name="connsiteY39" fmla="*/ 185771 h 214601"/>
                  <a:gd name="connsiteX40" fmla="*/ 215572 w 215571"/>
                  <a:gd name="connsiteY40" fmla="*/ 184889 h 214601"/>
                  <a:gd name="connsiteX41" fmla="*/ 215572 w 215571"/>
                  <a:gd name="connsiteY41" fmla="*/ 184625 h 214601"/>
                  <a:gd name="connsiteX42" fmla="*/ 212398 w 215571"/>
                  <a:gd name="connsiteY42" fmla="*/ 183743 h 214601"/>
                  <a:gd name="connsiteX43" fmla="*/ 212045 w 215571"/>
                  <a:gd name="connsiteY43" fmla="*/ 181980 h 214601"/>
                  <a:gd name="connsiteX44" fmla="*/ 211781 w 215571"/>
                  <a:gd name="connsiteY44" fmla="*/ 180216 h 214601"/>
                  <a:gd name="connsiteX45" fmla="*/ 211781 w 215571"/>
                  <a:gd name="connsiteY45" fmla="*/ 179070 h 214601"/>
                  <a:gd name="connsiteX46" fmla="*/ 211516 w 215571"/>
                  <a:gd name="connsiteY46" fmla="*/ 178453 h 214601"/>
                  <a:gd name="connsiteX47" fmla="*/ 208254 w 215571"/>
                  <a:gd name="connsiteY47" fmla="*/ 175279 h 214601"/>
                  <a:gd name="connsiteX48" fmla="*/ 207372 w 215571"/>
                  <a:gd name="connsiteY48" fmla="*/ 175279 h 214601"/>
                  <a:gd name="connsiteX49" fmla="*/ 205609 w 215571"/>
                  <a:gd name="connsiteY49" fmla="*/ 173515 h 214601"/>
                  <a:gd name="connsiteX50" fmla="*/ 203934 w 215571"/>
                  <a:gd name="connsiteY50" fmla="*/ 171752 h 214601"/>
                  <a:gd name="connsiteX51" fmla="*/ 202435 w 215571"/>
                  <a:gd name="connsiteY51" fmla="*/ 171752 h 214601"/>
                  <a:gd name="connsiteX52" fmla="*/ 200407 w 215571"/>
                  <a:gd name="connsiteY52" fmla="*/ 158615 h 214601"/>
                  <a:gd name="connsiteX53" fmla="*/ 193706 w 215571"/>
                  <a:gd name="connsiteY53" fmla="*/ 158615 h 214601"/>
                  <a:gd name="connsiteX54" fmla="*/ 192472 w 215571"/>
                  <a:gd name="connsiteY54" fmla="*/ 149005 h 214601"/>
                  <a:gd name="connsiteX55" fmla="*/ 193970 w 215571"/>
                  <a:gd name="connsiteY55" fmla="*/ 138248 h 214601"/>
                  <a:gd name="connsiteX56" fmla="*/ 192472 w 215571"/>
                  <a:gd name="connsiteY56" fmla="*/ 137366 h 214601"/>
                  <a:gd name="connsiteX57" fmla="*/ 192207 w 215571"/>
                  <a:gd name="connsiteY57" fmla="*/ 135868 h 214601"/>
                  <a:gd name="connsiteX58" fmla="*/ 190444 w 215571"/>
                  <a:gd name="connsiteY58" fmla="*/ 135339 h 214601"/>
                  <a:gd name="connsiteX59" fmla="*/ 190444 w 215571"/>
                  <a:gd name="connsiteY59" fmla="*/ 133575 h 214601"/>
                  <a:gd name="connsiteX60" fmla="*/ 189562 w 215571"/>
                  <a:gd name="connsiteY60" fmla="*/ 133575 h 214601"/>
                  <a:gd name="connsiteX61" fmla="*/ 188416 w 215571"/>
                  <a:gd name="connsiteY61" fmla="*/ 131812 h 214601"/>
                  <a:gd name="connsiteX62" fmla="*/ 187005 w 215571"/>
                  <a:gd name="connsiteY62" fmla="*/ 130930 h 214601"/>
                  <a:gd name="connsiteX63" fmla="*/ 185242 w 215571"/>
                  <a:gd name="connsiteY63" fmla="*/ 129519 h 214601"/>
                  <a:gd name="connsiteX64" fmla="*/ 183126 w 215571"/>
                  <a:gd name="connsiteY64" fmla="*/ 126257 h 214601"/>
                  <a:gd name="connsiteX65" fmla="*/ 182861 w 215571"/>
                  <a:gd name="connsiteY65" fmla="*/ 123612 h 214601"/>
                  <a:gd name="connsiteX66" fmla="*/ 181980 w 215571"/>
                  <a:gd name="connsiteY66" fmla="*/ 122466 h 214601"/>
                  <a:gd name="connsiteX67" fmla="*/ 179687 w 215571"/>
                  <a:gd name="connsiteY67" fmla="*/ 122466 h 214601"/>
                  <a:gd name="connsiteX68" fmla="*/ 176778 w 215571"/>
                  <a:gd name="connsiteY68" fmla="*/ 122466 h 214601"/>
                  <a:gd name="connsiteX69" fmla="*/ 172369 w 215571"/>
                  <a:gd name="connsiteY69" fmla="*/ 118057 h 214601"/>
                  <a:gd name="connsiteX70" fmla="*/ 169812 w 215571"/>
                  <a:gd name="connsiteY70" fmla="*/ 116647 h 214601"/>
                  <a:gd name="connsiteX71" fmla="*/ 168578 w 215571"/>
                  <a:gd name="connsiteY71" fmla="*/ 115501 h 214601"/>
                  <a:gd name="connsiteX72" fmla="*/ 166550 w 215571"/>
                  <a:gd name="connsiteY72" fmla="*/ 114266 h 214601"/>
                  <a:gd name="connsiteX73" fmla="*/ 159849 w 215571"/>
                  <a:gd name="connsiteY73" fmla="*/ 110828 h 214601"/>
                  <a:gd name="connsiteX74" fmla="*/ 156675 w 215571"/>
                  <a:gd name="connsiteY74" fmla="*/ 109329 h 214601"/>
                  <a:gd name="connsiteX75" fmla="*/ 154030 w 215571"/>
                  <a:gd name="connsiteY75" fmla="*/ 111357 h 214601"/>
                  <a:gd name="connsiteX76" fmla="*/ 153413 w 215571"/>
                  <a:gd name="connsiteY76" fmla="*/ 107036 h 214601"/>
                  <a:gd name="connsiteX77" fmla="*/ 150768 w 215571"/>
                  <a:gd name="connsiteY77" fmla="*/ 107036 h 214601"/>
                  <a:gd name="connsiteX78" fmla="*/ 150503 w 215571"/>
                  <a:gd name="connsiteY78" fmla="*/ 106419 h 214601"/>
                  <a:gd name="connsiteX79" fmla="*/ 150503 w 215571"/>
                  <a:gd name="connsiteY79" fmla="*/ 105538 h 214601"/>
                  <a:gd name="connsiteX80" fmla="*/ 155441 w 215571"/>
                  <a:gd name="connsiteY80" fmla="*/ 105273 h 214601"/>
                  <a:gd name="connsiteX81" fmla="*/ 154912 w 215571"/>
                  <a:gd name="connsiteY81" fmla="*/ 102011 h 214601"/>
                  <a:gd name="connsiteX82" fmla="*/ 152884 w 215571"/>
                  <a:gd name="connsiteY82" fmla="*/ 101217 h 214601"/>
                  <a:gd name="connsiteX83" fmla="*/ 149622 w 215571"/>
                  <a:gd name="connsiteY83" fmla="*/ 99189 h 214601"/>
                  <a:gd name="connsiteX84" fmla="*/ 149357 w 215571"/>
                  <a:gd name="connsiteY84" fmla="*/ 97955 h 214601"/>
                  <a:gd name="connsiteX85" fmla="*/ 148476 w 215571"/>
                  <a:gd name="connsiteY85" fmla="*/ 96544 h 214601"/>
                  <a:gd name="connsiteX86" fmla="*/ 146095 w 215571"/>
                  <a:gd name="connsiteY86" fmla="*/ 96544 h 214601"/>
                  <a:gd name="connsiteX87" fmla="*/ 146095 w 215571"/>
                  <a:gd name="connsiteY87" fmla="*/ 95310 h 214601"/>
                  <a:gd name="connsiteX88" fmla="*/ 148476 w 215571"/>
                  <a:gd name="connsiteY88" fmla="*/ 95310 h 214601"/>
                  <a:gd name="connsiteX89" fmla="*/ 147330 w 215571"/>
                  <a:gd name="connsiteY89" fmla="*/ 93635 h 214601"/>
                  <a:gd name="connsiteX90" fmla="*/ 145831 w 215571"/>
                  <a:gd name="connsiteY90" fmla="*/ 93635 h 214601"/>
                  <a:gd name="connsiteX91" fmla="*/ 144420 w 215571"/>
                  <a:gd name="connsiteY91" fmla="*/ 93899 h 214601"/>
                  <a:gd name="connsiteX92" fmla="*/ 142657 w 215571"/>
                  <a:gd name="connsiteY92" fmla="*/ 93635 h 214601"/>
                  <a:gd name="connsiteX93" fmla="*/ 142657 w 215571"/>
                  <a:gd name="connsiteY93" fmla="*/ 92136 h 214601"/>
                  <a:gd name="connsiteX94" fmla="*/ 141775 w 215571"/>
                  <a:gd name="connsiteY94" fmla="*/ 90990 h 214601"/>
                  <a:gd name="connsiteX95" fmla="*/ 141510 w 215571"/>
                  <a:gd name="connsiteY95" fmla="*/ 89226 h 214601"/>
                  <a:gd name="connsiteX96" fmla="*/ 140540 w 215571"/>
                  <a:gd name="connsiteY96" fmla="*/ 88345 h 214601"/>
                  <a:gd name="connsiteX97" fmla="*/ 137631 w 215571"/>
                  <a:gd name="connsiteY97" fmla="*/ 84818 h 214601"/>
                  <a:gd name="connsiteX98" fmla="*/ 135339 w 215571"/>
                  <a:gd name="connsiteY98" fmla="*/ 84818 h 214601"/>
                  <a:gd name="connsiteX99" fmla="*/ 137102 w 215571"/>
                  <a:gd name="connsiteY99" fmla="*/ 83672 h 214601"/>
                  <a:gd name="connsiteX100" fmla="*/ 136838 w 215571"/>
                  <a:gd name="connsiteY100" fmla="*/ 81644 h 214601"/>
                  <a:gd name="connsiteX101" fmla="*/ 137984 w 215571"/>
                  <a:gd name="connsiteY101" fmla="*/ 80762 h 214601"/>
                  <a:gd name="connsiteX102" fmla="*/ 137631 w 215571"/>
                  <a:gd name="connsiteY102" fmla="*/ 78734 h 214601"/>
                  <a:gd name="connsiteX103" fmla="*/ 137366 w 215571"/>
                  <a:gd name="connsiteY103" fmla="*/ 77236 h 214601"/>
                  <a:gd name="connsiteX104" fmla="*/ 137102 w 215571"/>
                  <a:gd name="connsiteY104" fmla="*/ 76354 h 214601"/>
                  <a:gd name="connsiteX105" fmla="*/ 136220 w 215571"/>
                  <a:gd name="connsiteY105" fmla="*/ 75208 h 214601"/>
                  <a:gd name="connsiteX106" fmla="*/ 135603 w 215571"/>
                  <a:gd name="connsiteY106" fmla="*/ 75208 h 214601"/>
                  <a:gd name="connsiteX107" fmla="*/ 133575 w 215571"/>
                  <a:gd name="connsiteY107" fmla="*/ 72563 h 214601"/>
                  <a:gd name="connsiteX108" fmla="*/ 136838 w 215571"/>
                  <a:gd name="connsiteY108" fmla="*/ 72563 h 214601"/>
                  <a:gd name="connsiteX109" fmla="*/ 135956 w 215571"/>
                  <a:gd name="connsiteY109" fmla="*/ 72298 h 214601"/>
                  <a:gd name="connsiteX110" fmla="*/ 135339 w 215571"/>
                  <a:gd name="connsiteY110" fmla="*/ 68771 h 214601"/>
                  <a:gd name="connsiteX111" fmla="*/ 136220 w 215571"/>
                  <a:gd name="connsiteY111" fmla="*/ 69389 h 214601"/>
                  <a:gd name="connsiteX112" fmla="*/ 137631 w 215571"/>
                  <a:gd name="connsiteY112" fmla="*/ 69389 h 214601"/>
                  <a:gd name="connsiteX113" fmla="*/ 138513 w 215571"/>
                  <a:gd name="connsiteY113" fmla="*/ 69389 h 214601"/>
                  <a:gd name="connsiteX114" fmla="*/ 139130 w 215571"/>
                  <a:gd name="connsiteY114" fmla="*/ 70006 h 214601"/>
                  <a:gd name="connsiteX115" fmla="*/ 139130 w 215571"/>
                  <a:gd name="connsiteY115" fmla="*/ 69389 h 214601"/>
                  <a:gd name="connsiteX116" fmla="*/ 139130 w 215571"/>
                  <a:gd name="connsiteY116" fmla="*/ 68771 h 214601"/>
                  <a:gd name="connsiteX117" fmla="*/ 138865 w 215571"/>
                  <a:gd name="connsiteY117" fmla="*/ 67361 h 214601"/>
                  <a:gd name="connsiteX118" fmla="*/ 137984 w 215571"/>
                  <a:gd name="connsiteY118" fmla="*/ 65597 h 214601"/>
                  <a:gd name="connsiteX119" fmla="*/ 138513 w 215571"/>
                  <a:gd name="connsiteY119" fmla="*/ 65333 h 214601"/>
                  <a:gd name="connsiteX120" fmla="*/ 138248 w 215571"/>
                  <a:gd name="connsiteY120" fmla="*/ 63834 h 214601"/>
                  <a:gd name="connsiteX121" fmla="*/ 139747 w 215571"/>
                  <a:gd name="connsiteY121" fmla="*/ 62688 h 214601"/>
                  <a:gd name="connsiteX122" fmla="*/ 139394 w 215571"/>
                  <a:gd name="connsiteY122" fmla="*/ 60924 h 214601"/>
                  <a:gd name="connsiteX123" fmla="*/ 140893 w 215571"/>
                  <a:gd name="connsiteY123" fmla="*/ 61542 h 214601"/>
                  <a:gd name="connsiteX124" fmla="*/ 140893 w 215571"/>
                  <a:gd name="connsiteY124" fmla="*/ 60924 h 214601"/>
                  <a:gd name="connsiteX125" fmla="*/ 142392 w 215571"/>
                  <a:gd name="connsiteY125" fmla="*/ 60043 h 214601"/>
                  <a:gd name="connsiteX126" fmla="*/ 140276 w 215571"/>
                  <a:gd name="connsiteY126" fmla="*/ 58279 h 214601"/>
                  <a:gd name="connsiteX127" fmla="*/ 141775 w 215571"/>
                  <a:gd name="connsiteY127" fmla="*/ 57133 h 214601"/>
                  <a:gd name="connsiteX128" fmla="*/ 141775 w 215571"/>
                  <a:gd name="connsiteY128" fmla="*/ 55987 h 214601"/>
                  <a:gd name="connsiteX129" fmla="*/ 142657 w 215571"/>
                  <a:gd name="connsiteY129" fmla="*/ 57133 h 214601"/>
                  <a:gd name="connsiteX130" fmla="*/ 146095 w 215571"/>
                  <a:gd name="connsiteY130" fmla="*/ 57133 h 214601"/>
                  <a:gd name="connsiteX131" fmla="*/ 145831 w 215571"/>
                  <a:gd name="connsiteY131" fmla="*/ 56516 h 214601"/>
                  <a:gd name="connsiteX132" fmla="*/ 146095 w 215571"/>
                  <a:gd name="connsiteY132" fmla="*/ 55105 h 214601"/>
                  <a:gd name="connsiteX133" fmla="*/ 148211 w 215571"/>
                  <a:gd name="connsiteY133" fmla="*/ 53606 h 214601"/>
                  <a:gd name="connsiteX134" fmla="*/ 145213 w 215571"/>
                  <a:gd name="connsiteY134" fmla="*/ 52725 h 214601"/>
                  <a:gd name="connsiteX135" fmla="*/ 144949 w 215571"/>
                  <a:gd name="connsiteY135" fmla="*/ 51050 h 214601"/>
                  <a:gd name="connsiteX136" fmla="*/ 144684 w 215571"/>
                  <a:gd name="connsiteY136" fmla="*/ 49815 h 214601"/>
                  <a:gd name="connsiteX137" fmla="*/ 141775 w 215571"/>
                  <a:gd name="connsiteY137" fmla="*/ 48669 h 214601"/>
                  <a:gd name="connsiteX138" fmla="*/ 140893 w 215571"/>
                  <a:gd name="connsiteY138" fmla="*/ 46641 h 214601"/>
                  <a:gd name="connsiteX139" fmla="*/ 140893 w 215571"/>
                  <a:gd name="connsiteY139" fmla="*/ 46024 h 214601"/>
                  <a:gd name="connsiteX140" fmla="*/ 140540 w 215571"/>
                  <a:gd name="connsiteY140" fmla="*/ 44613 h 214601"/>
                  <a:gd name="connsiteX141" fmla="*/ 140011 w 215571"/>
                  <a:gd name="connsiteY141" fmla="*/ 41704 h 214601"/>
                  <a:gd name="connsiteX142" fmla="*/ 140540 w 215571"/>
                  <a:gd name="connsiteY142" fmla="*/ 41704 h 214601"/>
                  <a:gd name="connsiteX143" fmla="*/ 143538 w 215571"/>
                  <a:gd name="connsiteY143" fmla="*/ 41704 h 214601"/>
                  <a:gd name="connsiteX144" fmla="*/ 145831 w 215571"/>
                  <a:gd name="connsiteY144" fmla="*/ 41086 h 214601"/>
                  <a:gd name="connsiteX145" fmla="*/ 146095 w 215571"/>
                  <a:gd name="connsiteY145" fmla="*/ 41086 h 214601"/>
                  <a:gd name="connsiteX146" fmla="*/ 146712 w 215571"/>
                  <a:gd name="connsiteY146" fmla="*/ 39940 h 214601"/>
                  <a:gd name="connsiteX147" fmla="*/ 146448 w 215571"/>
                  <a:gd name="connsiteY147" fmla="*/ 37295 h 214601"/>
                  <a:gd name="connsiteX148" fmla="*/ 145831 w 215571"/>
                  <a:gd name="connsiteY148" fmla="*/ 38177 h 214601"/>
                  <a:gd name="connsiteX149" fmla="*/ 143803 w 215571"/>
                  <a:gd name="connsiteY149" fmla="*/ 39940 h 214601"/>
                  <a:gd name="connsiteX150" fmla="*/ 142921 w 215571"/>
                  <a:gd name="connsiteY150" fmla="*/ 38177 h 214601"/>
                  <a:gd name="connsiteX151" fmla="*/ 142392 w 215571"/>
                  <a:gd name="connsiteY151" fmla="*/ 37031 h 214601"/>
                  <a:gd name="connsiteX152" fmla="*/ 140893 w 215571"/>
                  <a:gd name="connsiteY152" fmla="*/ 37295 h 214601"/>
                  <a:gd name="connsiteX153" fmla="*/ 138865 w 215571"/>
                  <a:gd name="connsiteY153" fmla="*/ 37295 h 214601"/>
                  <a:gd name="connsiteX154" fmla="*/ 137102 w 215571"/>
                  <a:gd name="connsiteY154" fmla="*/ 38177 h 214601"/>
                  <a:gd name="connsiteX155" fmla="*/ 135956 w 215571"/>
                  <a:gd name="connsiteY155" fmla="*/ 38177 h 214601"/>
                  <a:gd name="connsiteX156" fmla="*/ 131547 w 215571"/>
                  <a:gd name="connsiteY156" fmla="*/ 35003 h 214601"/>
                  <a:gd name="connsiteX157" fmla="*/ 128638 w 215571"/>
                  <a:gd name="connsiteY157" fmla="*/ 33769 h 214601"/>
                  <a:gd name="connsiteX158" fmla="*/ 127756 w 215571"/>
                  <a:gd name="connsiteY158" fmla="*/ 34386 h 214601"/>
                  <a:gd name="connsiteX159" fmla="*/ 126874 w 215571"/>
                  <a:gd name="connsiteY159" fmla="*/ 34386 h 214601"/>
                  <a:gd name="connsiteX160" fmla="*/ 125111 w 215571"/>
                  <a:gd name="connsiteY160" fmla="*/ 33240 h 214601"/>
                  <a:gd name="connsiteX161" fmla="*/ 126610 w 215571"/>
                  <a:gd name="connsiteY161" fmla="*/ 31741 h 214601"/>
                  <a:gd name="connsiteX162" fmla="*/ 124846 w 215571"/>
                  <a:gd name="connsiteY162" fmla="*/ 30859 h 214601"/>
                  <a:gd name="connsiteX163" fmla="*/ 124229 w 215571"/>
                  <a:gd name="connsiteY163" fmla="*/ 28214 h 214601"/>
                  <a:gd name="connsiteX164" fmla="*/ 123700 w 215571"/>
                  <a:gd name="connsiteY164" fmla="*/ 27420 h 214601"/>
                  <a:gd name="connsiteX165" fmla="*/ 123348 w 215571"/>
                  <a:gd name="connsiteY165" fmla="*/ 27068 h 214601"/>
                  <a:gd name="connsiteX166" fmla="*/ 123083 w 215571"/>
                  <a:gd name="connsiteY166" fmla="*/ 24423 h 214601"/>
                  <a:gd name="connsiteX167" fmla="*/ 122202 w 215571"/>
                  <a:gd name="connsiteY167" fmla="*/ 23629 h 214601"/>
                  <a:gd name="connsiteX168" fmla="*/ 118410 w 215571"/>
                  <a:gd name="connsiteY168" fmla="*/ 22747 h 214601"/>
                  <a:gd name="connsiteX169" fmla="*/ 118410 w 215571"/>
                  <a:gd name="connsiteY169" fmla="*/ 21866 h 214601"/>
                  <a:gd name="connsiteX170" fmla="*/ 116647 w 215571"/>
                  <a:gd name="connsiteY170" fmla="*/ 20984 h 214601"/>
                  <a:gd name="connsiteX171" fmla="*/ 116382 w 215571"/>
                  <a:gd name="connsiteY171" fmla="*/ 20102 h 214601"/>
                  <a:gd name="connsiteX172" fmla="*/ 116382 w 215571"/>
                  <a:gd name="connsiteY172" fmla="*/ 18956 h 214601"/>
                  <a:gd name="connsiteX173" fmla="*/ 117529 w 215571"/>
                  <a:gd name="connsiteY173" fmla="*/ 17193 h 214601"/>
                  <a:gd name="connsiteX174" fmla="*/ 117529 w 215571"/>
                  <a:gd name="connsiteY174" fmla="*/ 16576 h 214601"/>
                  <a:gd name="connsiteX175" fmla="*/ 115765 w 215571"/>
                  <a:gd name="connsiteY175" fmla="*/ 17722 h 214601"/>
                  <a:gd name="connsiteX176" fmla="*/ 114354 w 215571"/>
                  <a:gd name="connsiteY176" fmla="*/ 14283 h 214601"/>
                  <a:gd name="connsiteX177" fmla="*/ 112591 w 215571"/>
                  <a:gd name="connsiteY177" fmla="*/ 14283 h 214601"/>
                  <a:gd name="connsiteX178" fmla="*/ 112327 w 215571"/>
                  <a:gd name="connsiteY178" fmla="*/ 13666 h 214601"/>
                  <a:gd name="connsiteX179" fmla="*/ 112327 w 215571"/>
                  <a:gd name="connsiteY179" fmla="*/ 12785 h 214601"/>
                  <a:gd name="connsiteX180" fmla="*/ 111974 w 215571"/>
                  <a:gd name="connsiteY180" fmla="*/ 11638 h 214601"/>
                  <a:gd name="connsiteX181" fmla="*/ 111974 w 215571"/>
                  <a:gd name="connsiteY181" fmla="*/ 11021 h 214601"/>
                  <a:gd name="connsiteX182" fmla="*/ 111709 w 215571"/>
                  <a:gd name="connsiteY182" fmla="*/ 9875 h 214601"/>
                  <a:gd name="connsiteX183" fmla="*/ 113737 w 215571"/>
                  <a:gd name="connsiteY183" fmla="*/ 8112 h 214601"/>
                  <a:gd name="connsiteX184" fmla="*/ 110299 w 215571"/>
                  <a:gd name="connsiteY184" fmla="*/ 6348 h 214601"/>
                  <a:gd name="connsiteX185" fmla="*/ 110299 w 215571"/>
                  <a:gd name="connsiteY185" fmla="*/ 4056 h 214601"/>
                  <a:gd name="connsiteX186" fmla="*/ 108800 w 215571"/>
                  <a:gd name="connsiteY186" fmla="*/ 2292 h 214601"/>
                  <a:gd name="connsiteX187" fmla="*/ 101835 w 215571"/>
                  <a:gd name="connsiteY187" fmla="*/ 7847 h 214601"/>
                  <a:gd name="connsiteX188" fmla="*/ 100071 w 215571"/>
                  <a:gd name="connsiteY188" fmla="*/ 8112 h 214601"/>
                  <a:gd name="connsiteX189" fmla="*/ 99718 w 215571"/>
                  <a:gd name="connsiteY189" fmla="*/ 4673 h 214601"/>
                  <a:gd name="connsiteX190" fmla="*/ 98043 w 215571"/>
                  <a:gd name="connsiteY190" fmla="*/ 2292 h 214601"/>
                  <a:gd name="connsiteX191" fmla="*/ 93018 w 215571"/>
                  <a:gd name="connsiteY191" fmla="*/ 2292 h 214601"/>
                  <a:gd name="connsiteX192" fmla="*/ 92489 w 215571"/>
                  <a:gd name="connsiteY192" fmla="*/ 4320 h 214601"/>
                  <a:gd name="connsiteX193" fmla="*/ 87199 w 215571"/>
                  <a:gd name="connsiteY193" fmla="*/ 2910 h 214601"/>
                  <a:gd name="connsiteX194" fmla="*/ 84906 w 215571"/>
                  <a:gd name="connsiteY194" fmla="*/ 2292 h 214601"/>
                  <a:gd name="connsiteX195" fmla="*/ 82526 w 215571"/>
                  <a:gd name="connsiteY195" fmla="*/ 1411 h 214601"/>
                  <a:gd name="connsiteX196" fmla="*/ 81644 w 215571"/>
                  <a:gd name="connsiteY196" fmla="*/ 2028 h 214601"/>
                  <a:gd name="connsiteX197" fmla="*/ 76971 w 215571"/>
                  <a:gd name="connsiteY197" fmla="*/ 1411 h 214601"/>
                  <a:gd name="connsiteX198" fmla="*/ 74414 w 215571"/>
                  <a:gd name="connsiteY198" fmla="*/ 0 h 214601"/>
                  <a:gd name="connsiteX199" fmla="*/ 70270 w 215571"/>
                  <a:gd name="connsiteY199" fmla="*/ 2028 h 214601"/>
                  <a:gd name="connsiteX200" fmla="*/ 67978 w 215571"/>
                  <a:gd name="connsiteY200" fmla="*/ 1146 h 214601"/>
                  <a:gd name="connsiteX201" fmla="*/ 67096 w 215571"/>
                  <a:gd name="connsiteY201" fmla="*/ 1146 h 214601"/>
                  <a:gd name="connsiteX202" fmla="*/ 65597 w 215571"/>
                  <a:gd name="connsiteY202" fmla="*/ 4056 h 21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</a:cxnLst>
                <a:rect l="l" t="t" r="r" b="b"/>
                <a:pathLst>
                  <a:path w="215571" h="214601">
                    <a:moveTo>
                      <a:pt x="61542" y="6701"/>
                    </a:moveTo>
                    <a:lnTo>
                      <a:pt x="62688" y="10757"/>
                    </a:lnTo>
                    <a:lnTo>
                      <a:pt x="51314" y="18956"/>
                    </a:lnTo>
                    <a:lnTo>
                      <a:pt x="42850" y="20984"/>
                    </a:lnTo>
                    <a:lnTo>
                      <a:pt x="39940" y="25922"/>
                    </a:lnTo>
                    <a:lnTo>
                      <a:pt x="40822" y="32622"/>
                    </a:lnTo>
                    <a:lnTo>
                      <a:pt x="45230" y="37295"/>
                    </a:lnTo>
                    <a:lnTo>
                      <a:pt x="46112" y="43732"/>
                    </a:lnTo>
                    <a:lnTo>
                      <a:pt x="42850" y="45759"/>
                    </a:lnTo>
                    <a:lnTo>
                      <a:pt x="43203" y="49022"/>
                    </a:lnTo>
                    <a:lnTo>
                      <a:pt x="44084" y="53606"/>
                    </a:lnTo>
                    <a:lnTo>
                      <a:pt x="45495" y="65333"/>
                    </a:lnTo>
                    <a:lnTo>
                      <a:pt x="43203" y="68771"/>
                    </a:lnTo>
                    <a:lnTo>
                      <a:pt x="41439" y="73797"/>
                    </a:lnTo>
                    <a:lnTo>
                      <a:pt x="0" y="99189"/>
                    </a:lnTo>
                    <a:lnTo>
                      <a:pt x="12520" y="128285"/>
                    </a:lnTo>
                    <a:lnTo>
                      <a:pt x="28038" y="132076"/>
                    </a:lnTo>
                    <a:lnTo>
                      <a:pt x="60395" y="150151"/>
                    </a:lnTo>
                    <a:lnTo>
                      <a:pt x="95134" y="165316"/>
                    </a:lnTo>
                    <a:lnTo>
                      <a:pt x="98043" y="173515"/>
                    </a:lnTo>
                    <a:lnTo>
                      <a:pt x="111092" y="173780"/>
                    </a:lnTo>
                    <a:lnTo>
                      <a:pt x="111445" y="181362"/>
                    </a:lnTo>
                    <a:lnTo>
                      <a:pt x="110563" y="193089"/>
                    </a:lnTo>
                    <a:lnTo>
                      <a:pt x="135956" y="203581"/>
                    </a:lnTo>
                    <a:lnTo>
                      <a:pt x="154912" y="214602"/>
                    </a:lnTo>
                    <a:lnTo>
                      <a:pt x="175632" y="206755"/>
                    </a:lnTo>
                    <a:lnTo>
                      <a:pt x="177307" y="204727"/>
                    </a:lnTo>
                    <a:lnTo>
                      <a:pt x="178188" y="202082"/>
                    </a:lnTo>
                    <a:lnTo>
                      <a:pt x="181980" y="193618"/>
                    </a:lnTo>
                    <a:lnTo>
                      <a:pt x="185242" y="184889"/>
                    </a:lnTo>
                    <a:lnTo>
                      <a:pt x="185506" y="183743"/>
                    </a:lnTo>
                    <a:lnTo>
                      <a:pt x="190179" y="181362"/>
                    </a:lnTo>
                    <a:lnTo>
                      <a:pt x="196880" y="181362"/>
                    </a:lnTo>
                    <a:lnTo>
                      <a:pt x="202170" y="184625"/>
                    </a:lnTo>
                    <a:lnTo>
                      <a:pt x="205961" y="181980"/>
                    </a:lnTo>
                    <a:lnTo>
                      <a:pt x="206843" y="183126"/>
                    </a:lnTo>
                    <a:lnTo>
                      <a:pt x="209136" y="183743"/>
                    </a:lnTo>
                    <a:lnTo>
                      <a:pt x="211781" y="184889"/>
                    </a:lnTo>
                    <a:lnTo>
                      <a:pt x="212662" y="185771"/>
                    </a:lnTo>
                    <a:lnTo>
                      <a:pt x="215572" y="185771"/>
                    </a:lnTo>
                    <a:lnTo>
                      <a:pt x="215572" y="184889"/>
                    </a:lnTo>
                    <a:lnTo>
                      <a:pt x="215572" y="184625"/>
                    </a:lnTo>
                    <a:lnTo>
                      <a:pt x="212398" y="183743"/>
                    </a:lnTo>
                    <a:lnTo>
                      <a:pt x="212045" y="181980"/>
                    </a:lnTo>
                    <a:lnTo>
                      <a:pt x="211781" y="180216"/>
                    </a:lnTo>
                    <a:lnTo>
                      <a:pt x="211781" y="179070"/>
                    </a:lnTo>
                    <a:lnTo>
                      <a:pt x="211516" y="178453"/>
                    </a:lnTo>
                    <a:lnTo>
                      <a:pt x="208254" y="175279"/>
                    </a:lnTo>
                    <a:lnTo>
                      <a:pt x="207372" y="175279"/>
                    </a:lnTo>
                    <a:lnTo>
                      <a:pt x="205609" y="173515"/>
                    </a:lnTo>
                    <a:lnTo>
                      <a:pt x="203934" y="171752"/>
                    </a:lnTo>
                    <a:lnTo>
                      <a:pt x="202435" y="171752"/>
                    </a:lnTo>
                    <a:lnTo>
                      <a:pt x="200407" y="158615"/>
                    </a:lnTo>
                    <a:lnTo>
                      <a:pt x="193706" y="158615"/>
                    </a:lnTo>
                    <a:lnTo>
                      <a:pt x="192472" y="149005"/>
                    </a:lnTo>
                    <a:lnTo>
                      <a:pt x="193970" y="138248"/>
                    </a:lnTo>
                    <a:lnTo>
                      <a:pt x="192472" y="137366"/>
                    </a:lnTo>
                    <a:lnTo>
                      <a:pt x="192207" y="135868"/>
                    </a:lnTo>
                    <a:lnTo>
                      <a:pt x="190444" y="135339"/>
                    </a:lnTo>
                    <a:lnTo>
                      <a:pt x="190444" y="133575"/>
                    </a:lnTo>
                    <a:lnTo>
                      <a:pt x="189562" y="133575"/>
                    </a:lnTo>
                    <a:lnTo>
                      <a:pt x="188416" y="131812"/>
                    </a:lnTo>
                    <a:lnTo>
                      <a:pt x="187005" y="130930"/>
                    </a:lnTo>
                    <a:lnTo>
                      <a:pt x="185242" y="129519"/>
                    </a:lnTo>
                    <a:lnTo>
                      <a:pt x="183126" y="126257"/>
                    </a:lnTo>
                    <a:lnTo>
                      <a:pt x="182861" y="123612"/>
                    </a:lnTo>
                    <a:lnTo>
                      <a:pt x="181980" y="122466"/>
                    </a:lnTo>
                    <a:lnTo>
                      <a:pt x="179687" y="122466"/>
                    </a:lnTo>
                    <a:lnTo>
                      <a:pt x="176778" y="122466"/>
                    </a:lnTo>
                    <a:lnTo>
                      <a:pt x="172369" y="118057"/>
                    </a:lnTo>
                    <a:lnTo>
                      <a:pt x="169812" y="116647"/>
                    </a:lnTo>
                    <a:lnTo>
                      <a:pt x="168578" y="115501"/>
                    </a:lnTo>
                    <a:lnTo>
                      <a:pt x="166550" y="114266"/>
                    </a:lnTo>
                    <a:lnTo>
                      <a:pt x="159849" y="110828"/>
                    </a:lnTo>
                    <a:lnTo>
                      <a:pt x="156675" y="109329"/>
                    </a:lnTo>
                    <a:lnTo>
                      <a:pt x="154030" y="111357"/>
                    </a:lnTo>
                    <a:lnTo>
                      <a:pt x="153413" y="107036"/>
                    </a:lnTo>
                    <a:lnTo>
                      <a:pt x="150768" y="107036"/>
                    </a:lnTo>
                    <a:lnTo>
                      <a:pt x="150503" y="106419"/>
                    </a:lnTo>
                    <a:lnTo>
                      <a:pt x="150503" y="105538"/>
                    </a:lnTo>
                    <a:lnTo>
                      <a:pt x="155441" y="105273"/>
                    </a:lnTo>
                    <a:lnTo>
                      <a:pt x="154912" y="102011"/>
                    </a:lnTo>
                    <a:lnTo>
                      <a:pt x="152884" y="101217"/>
                    </a:lnTo>
                    <a:lnTo>
                      <a:pt x="149622" y="99189"/>
                    </a:lnTo>
                    <a:lnTo>
                      <a:pt x="149357" y="97955"/>
                    </a:lnTo>
                    <a:lnTo>
                      <a:pt x="148476" y="96544"/>
                    </a:lnTo>
                    <a:lnTo>
                      <a:pt x="146095" y="96544"/>
                    </a:lnTo>
                    <a:lnTo>
                      <a:pt x="146095" y="95310"/>
                    </a:lnTo>
                    <a:lnTo>
                      <a:pt x="148476" y="95310"/>
                    </a:lnTo>
                    <a:lnTo>
                      <a:pt x="147330" y="93635"/>
                    </a:lnTo>
                    <a:lnTo>
                      <a:pt x="145831" y="93635"/>
                    </a:lnTo>
                    <a:lnTo>
                      <a:pt x="144420" y="93899"/>
                    </a:lnTo>
                    <a:lnTo>
                      <a:pt x="142657" y="93635"/>
                    </a:lnTo>
                    <a:lnTo>
                      <a:pt x="142657" y="92136"/>
                    </a:lnTo>
                    <a:lnTo>
                      <a:pt x="141775" y="90990"/>
                    </a:lnTo>
                    <a:lnTo>
                      <a:pt x="141510" y="89226"/>
                    </a:lnTo>
                    <a:lnTo>
                      <a:pt x="140540" y="88345"/>
                    </a:lnTo>
                    <a:lnTo>
                      <a:pt x="137631" y="84818"/>
                    </a:lnTo>
                    <a:lnTo>
                      <a:pt x="135339" y="84818"/>
                    </a:lnTo>
                    <a:lnTo>
                      <a:pt x="137102" y="83672"/>
                    </a:lnTo>
                    <a:lnTo>
                      <a:pt x="136838" y="81644"/>
                    </a:lnTo>
                    <a:lnTo>
                      <a:pt x="137984" y="80762"/>
                    </a:lnTo>
                    <a:lnTo>
                      <a:pt x="137631" y="78734"/>
                    </a:lnTo>
                    <a:lnTo>
                      <a:pt x="137366" y="77236"/>
                    </a:lnTo>
                    <a:lnTo>
                      <a:pt x="137102" y="76354"/>
                    </a:lnTo>
                    <a:lnTo>
                      <a:pt x="136220" y="75208"/>
                    </a:lnTo>
                    <a:lnTo>
                      <a:pt x="135603" y="75208"/>
                    </a:lnTo>
                    <a:lnTo>
                      <a:pt x="133575" y="72563"/>
                    </a:lnTo>
                    <a:lnTo>
                      <a:pt x="136838" y="72563"/>
                    </a:lnTo>
                    <a:lnTo>
                      <a:pt x="135956" y="72298"/>
                    </a:lnTo>
                    <a:lnTo>
                      <a:pt x="135339" y="68771"/>
                    </a:lnTo>
                    <a:lnTo>
                      <a:pt x="136220" y="69389"/>
                    </a:lnTo>
                    <a:lnTo>
                      <a:pt x="137631" y="69389"/>
                    </a:lnTo>
                    <a:lnTo>
                      <a:pt x="138513" y="69389"/>
                    </a:lnTo>
                    <a:lnTo>
                      <a:pt x="139130" y="70006"/>
                    </a:lnTo>
                    <a:lnTo>
                      <a:pt x="139130" y="69389"/>
                    </a:lnTo>
                    <a:lnTo>
                      <a:pt x="139130" y="68771"/>
                    </a:lnTo>
                    <a:lnTo>
                      <a:pt x="138865" y="67361"/>
                    </a:lnTo>
                    <a:lnTo>
                      <a:pt x="137984" y="65597"/>
                    </a:lnTo>
                    <a:lnTo>
                      <a:pt x="138513" y="65333"/>
                    </a:lnTo>
                    <a:lnTo>
                      <a:pt x="138248" y="63834"/>
                    </a:lnTo>
                    <a:lnTo>
                      <a:pt x="139747" y="62688"/>
                    </a:lnTo>
                    <a:lnTo>
                      <a:pt x="139394" y="60924"/>
                    </a:lnTo>
                    <a:lnTo>
                      <a:pt x="140893" y="61542"/>
                    </a:lnTo>
                    <a:lnTo>
                      <a:pt x="140893" y="60924"/>
                    </a:lnTo>
                    <a:lnTo>
                      <a:pt x="142392" y="60043"/>
                    </a:lnTo>
                    <a:lnTo>
                      <a:pt x="140276" y="58279"/>
                    </a:lnTo>
                    <a:lnTo>
                      <a:pt x="141775" y="57133"/>
                    </a:lnTo>
                    <a:lnTo>
                      <a:pt x="141775" y="55987"/>
                    </a:lnTo>
                    <a:lnTo>
                      <a:pt x="142657" y="57133"/>
                    </a:lnTo>
                    <a:lnTo>
                      <a:pt x="146095" y="57133"/>
                    </a:lnTo>
                    <a:lnTo>
                      <a:pt x="145831" y="56516"/>
                    </a:lnTo>
                    <a:lnTo>
                      <a:pt x="146095" y="55105"/>
                    </a:lnTo>
                    <a:lnTo>
                      <a:pt x="148211" y="53606"/>
                    </a:lnTo>
                    <a:lnTo>
                      <a:pt x="145213" y="52725"/>
                    </a:lnTo>
                    <a:lnTo>
                      <a:pt x="144949" y="51050"/>
                    </a:lnTo>
                    <a:lnTo>
                      <a:pt x="144684" y="49815"/>
                    </a:lnTo>
                    <a:lnTo>
                      <a:pt x="141775" y="48669"/>
                    </a:lnTo>
                    <a:lnTo>
                      <a:pt x="140893" y="46641"/>
                    </a:lnTo>
                    <a:lnTo>
                      <a:pt x="140893" y="46024"/>
                    </a:lnTo>
                    <a:lnTo>
                      <a:pt x="140540" y="44613"/>
                    </a:lnTo>
                    <a:lnTo>
                      <a:pt x="140011" y="41704"/>
                    </a:lnTo>
                    <a:lnTo>
                      <a:pt x="140540" y="41704"/>
                    </a:lnTo>
                    <a:lnTo>
                      <a:pt x="143538" y="41704"/>
                    </a:lnTo>
                    <a:lnTo>
                      <a:pt x="145831" y="41086"/>
                    </a:lnTo>
                    <a:lnTo>
                      <a:pt x="146095" y="41086"/>
                    </a:lnTo>
                    <a:lnTo>
                      <a:pt x="146712" y="39940"/>
                    </a:lnTo>
                    <a:lnTo>
                      <a:pt x="146448" y="37295"/>
                    </a:lnTo>
                    <a:lnTo>
                      <a:pt x="145831" y="38177"/>
                    </a:lnTo>
                    <a:lnTo>
                      <a:pt x="143803" y="39940"/>
                    </a:lnTo>
                    <a:lnTo>
                      <a:pt x="142921" y="38177"/>
                    </a:lnTo>
                    <a:lnTo>
                      <a:pt x="142392" y="37031"/>
                    </a:lnTo>
                    <a:lnTo>
                      <a:pt x="140893" y="37295"/>
                    </a:lnTo>
                    <a:lnTo>
                      <a:pt x="138865" y="37295"/>
                    </a:lnTo>
                    <a:lnTo>
                      <a:pt x="137102" y="38177"/>
                    </a:lnTo>
                    <a:lnTo>
                      <a:pt x="135956" y="38177"/>
                    </a:lnTo>
                    <a:lnTo>
                      <a:pt x="131547" y="35003"/>
                    </a:lnTo>
                    <a:lnTo>
                      <a:pt x="128638" y="33769"/>
                    </a:lnTo>
                    <a:lnTo>
                      <a:pt x="127756" y="34386"/>
                    </a:lnTo>
                    <a:lnTo>
                      <a:pt x="126874" y="34386"/>
                    </a:lnTo>
                    <a:lnTo>
                      <a:pt x="125111" y="33240"/>
                    </a:lnTo>
                    <a:lnTo>
                      <a:pt x="126610" y="31741"/>
                    </a:lnTo>
                    <a:lnTo>
                      <a:pt x="124846" y="30859"/>
                    </a:lnTo>
                    <a:lnTo>
                      <a:pt x="124229" y="28214"/>
                    </a:lnTo>
                    <a:lnTo>
                      <a:pt x="123700" y="27420"/>
                    </a:lnTo>
                    <a:lnTo>
                      <a:pt x="123348" y="27068"/>
                    </a:lnTo>
                    <a:lnTo>
                      <a:pt x="123083" y="24423"/>
                    </a:lnTo>
                    <a:lnTo>
                      <a:pt x="122202" y="23629"/>
                    </a:lnTo>
                    <a:lnTo>
                      <a:pt x="118410" y="22747"/>
                    </a:lnTo>
                    <a:lnTo>
                      <a:pt x="118410" y="21866"/>
                    </a:lnTo>
                    <a:lnTo>
                      <a:pt x="116647" y="20984"/>
                    </a:lnTo>
                    <a:lnTo>
                      <a:pt x="116382" y="20102"/>
                    </a:lnTo>
                    <a:lnTo>
                      <a:pt x="116382" y="18956"/>
                    </a:lnTo>
                    <a:lnTo>
                      <a:pt x="117529" y="17193"/>
                    </a:lnTo>
                    <a:lnTo>
                      <a:pt x="117529" y="16576"/>
                    </a:lnTo>
                    <a:lnTo>
                      <a:pt x="115765" y="17722"/>
                    </a:lnTo>
                    <a:lnTo>
                      <a:pt x="114354" y="14283"/>
                    </a:lnTo>
                    <a:lnTo>
                      <a:pt x="112591" y="14283"/>
                    </a:lnTo>
                    <a:lnTo>
                      <a:pt x="112327" y="13666"/>
                    </a:lnTo>
                    <a:lnTo>
                      <a:pt x="112327" y="12785"/>
                    </a:lnTo>
                    <a:lnTo>
                      <a:pt x="111974" y="11638"/>
                    </a:lnTo>
                    <a:lnTo>
                      <a:pt x="111974" y="11021"/>
                    </a:lnTo>
                    <a:lnTo>
                      <a:pt x="111709" y="9875"/>
                    </a:lnTo>
                    <a:lnTo>
                      <a:pt x="113737" y="8112"/>
                    </a:lnTo>
                    <a:lnTo>
                      <a:pt x="110299" y="6348"/>
                    </a:lnTo>
                    <a:lnTo>
                      <a:pt x="110299" y="4056"/>
                    </a:lnTo>
                    <a:lnTo>
                      <a:pt x="108800" y="2292"/>
                    </a:lnTo>
                    <a:lnTo>
                      <a:pt x="101835" y="7847"/>
                    </a:lnTo>
                    <a:lnTo>
                      <a:pt x="100071" y="8112"/>
                    </a:lnTo>
                    <a:lnTo>
                      <a:pt x="99718" y="4673"/>
                    </a:lnTo>
                    <a:lnTo>
                      <a:pt x="98043" y="2292"/>
                    </a:lnTo>
                    <a:lnTo>
                      <a:pt x="93018" y="2292"/>
                    </a:lnTo>
                    <a:lnTo>
                      <a:pt x="92489" y="4320"/>
                    </a:lnTo>
                    <a:lnTo>
                      <a:pt x="87199" y="2910"/>
                    </a:lnTo>
                    <a:lnTo>
                      <a:pt x="84906" y="2292"/>
                    </a:lnTo>
                    <a:lnTo>
                      <a:pt x="82526" y="1411"/>
                    </a:lnTo>
                    <a:lnTo>
                      <a:pt x="81644" y="2028"/>
                    </a:lnTo>
                    <a:lnTo>
                      <a:pt x="76971" y="1411"/>
                    </a:lnTo>
                    <a:lnTo>
                      <a:pt x="74414" y="0"/>
                    </a:lnTo>
                    <a:lnTo>
                      <a:pt x="70270" y="2028"/>
                    </a:lnTo>
                    <a:lnTo>
                      <a:pt x="67978" y="1146"/>
                    </a:lnTo>
                    <a:lnTo>
                      <a:pt x="67096" y="1146"/>
                    </a:lnTo>
                    <a:lnTo>
                      <a:pt x="65597" y="40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4" name="Freihandform: Form 1843">
                <a:extLst>
                  <a:ext uri="{FF2B5EF4-FFF2-40B4-BE49-F238E27FC236}">
                    <a16:creationId xmlns:a16="http://schemas.microsoft.com/office/drawing/2014/main" id="{C6EA52E5-7757-009D-5A4A-631C5C98E325}"/>
                  </a:ext>
                </a:extLst>
              </p:cNvPr>
              <p:cNvSpPr/>
              <p:nvPr/>
            </p:nvSpPr>
            <p:spPr>
              <a:xfrm>
                <a:off x="5144966" y="3495831"/>
                <a:ext cx="5290" cy="10492"/>
              </a:xfrm>
              <a:custGeom>
                <a:avLst/>
                <a:gdLst>
                  <a:gd name="connsiteX0" fmla="*/ 2028 w 5290"/>
                  <a:gd name="connsiteY0" fmla="*/ 0 h 10492"/>
                  <a:gd name="connsiteX1" fmla="*/ 2910 w 5290"/>
                  <a:gd name="connsiteY1" fmla="*/ 0 h 10492"/>
                  <a:gd name="connsiteX2" fmla="*/ 3263 w 5290"/>
                  <a:gd name="connsiteY2" fmla="*/ 264 h 10492"/>
                  <a:gd name="connsiteX3" fmla="*/ 3792 w 5290"/>
                  <a:gd name="connsiteY3" fmla="*/ 0 h 10492"/>
                  <a:gd name="connsiteX4" fmla="*/ 4056 w 5290"/>
                  <a:gd name="connsiteY4" fmla="*/ 529 h 10492"/>
                  <a:gd name="connsiteX5" fmla="*/ 4408 w 5290"/>
                  <a:gd name="connsiteY5" fmla="*/ 1411 h 10492"/>
                  <a:gd name="connsiteX6" fmla="*/ 4937 w 5290"/>
                  <a:gd name="connsiteY6" fmla="*/ 2292 h 10492"/>
                  <a:gd name="connsiteX7" fmla="*/ 5290 w 5290"/>
                  <a:gd name="connsiteY7" fmla="*/ 4937 h 10492"/>
                  <a:gd name="connsiteX8" fmla="*/ 3792 w 5290"/>
                  <a:gd name="connsiteY8" fmla="*/ 9258 h 10492"/>
                  <a:gd name="connsiteX9" fmla="*/ 3527 w 5290"/>
                  <a:gd name="connsiteY9" fmla="*/ 10492 h 10492"/>
                  <a:gd name="connsiteX10" fmla="*/ 2910 w 5290"/>
                  <a:gd name="connsiteY10" fmla="*/ 8376 h 10492"/>
                  <a:gd name="connsiteX11" fmla="*/ 617 w 5290"/>
                  <a:gd name="connsiteY11" fmla="*/ 8111 h 10492"/>
                  <a:gd name="connsiteX12" fmla="*/ 265 w 5290"/>
                  <a:gd name="connsiteY12" fmla="*/ 6348 h 10492"/>
                  <a:gd name="connsiteX13" fmla="*/ 617 w 5290"/>
                  <a:gd name="connsiteY13" fmla="*/ 4320 h 10492"/>
                  <a:gd name="connsiteX14" fmla="*/ 0 w 5290"/>
                  <a:gd name="connsiteY14" fmla="*/ 2028 h 10492"/>
                  <a:gd name="connsiteX15" fmla="*/ 617 w 5290"/>
                  <a:gd name="connsiteY15" fmla="*/ 529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290" h="10492">
                    <a:moveTo>
                      <a:pt x="2028" y="0"/>
                    </a:moveTo>
                    <a:lnTo>
                      <a:pt x="2910" y="0"/>
                    </a:lnTo>
                    <a:lnTo>
                      <a:pt x="3263" y="264"/>
                    </a:lnTo>
                    <a:lnTo>
                      <a:pt x="3792" y="0"/>
                    </a:lnTo>
                    <a:lnTo>
                      <a:pt x="4056" y="529"/>
                    </a:lnTo>
                    <a:lnTo>
                      <a:pt x="4408" y="1411"/>
                    </a:lnTo>
                    <a:lnTo>
                      <a:pt x="4937" y="2292"/>
                    </a:lnTo>
                    <a:lnTo>
                      <a:pt x="5290" y="4937"/>
                    </a:lnTo>
                    <a:lnTo>
                      <a:pt x="3792" y="9258"/>
                    </a:lnTo>
                    <a:lnTo>
                      <a:pt x="3527" y="10492"/>
                    </a:lnTo>
                    <a:lnTo>
                      <a:pt x="2910" y="8376"/>
                    </a:lnTo>
                    <a:lnTo>
                      <a:pt x="617" y="8111"/>
                    </a:lnTo>
                    <a:lnTo>
                      <a:pt x="265" y="6348"/>
                    </a:lnTo>
                    <a:lnTo>
                      <a:pt x="617" y="4320"/>
                    </a:lnTo>
                    <a:lnTo>
                      <a:pt x="0" y="2028"/>
                    </a:lnTo>
                    <a:lnTo>
                      <a:pt x="617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5" name="Freihandform: Form 1844">
                <a:extLst>
                  <a:ext uri="{FF2B5EF4-FFF2-40B4-BE49-F238E27FC236}">
                    <a16:creationId xmlns:a16="http://schemas.microsoft.com/office/drawing/2014/main" id="{EC574E5B-4F84-5320-970E-A9D4CCCE894B}"/>
                  </a:ext>
                </a:extLst>
              </p:cNvPr>
              <p:cNvSpPr/>
              <p:nvPr/>
            </p:nvSpPr>
            <p:spPr>
              <a:xfrm>
                <a:off x="5161012" y="3506852"/>
                <a:ext cx="114883" cy="86669"/>
              </a:xfrm>
              <a:custGeom>
                <a:avLst/>
                <a:gdLst>
                  <a:gd name="connsiteX0" fmla="*/ 0 w 114883"/>
                  <a:gd name="connsiteY0" fmla="*/ 30330 h 86669"/>
                  <a:gd name="connsiteX1" fmla="*/ 3262 w 114883"/>
                  <a:gd name="connsiteY1" fmla="*/ 39147 h 86669"/>
                  <a:gd name="connsiteX2" fmla="*/ 14019 w 114883"/>
                  <a:gd name="connsiteY2" fmla="*/ 55458 h 86669"/>
                  <a:gd name="connsiteX3" fmla="*/ 25128 w 114883"/>
                  <a:gd name="connsiteY3" fmla="*/ 68242 h 86669"/>
                  <a:gd name="connsiteX4" fmla="*/ 87463 w 114883"/>
                  <a:gd name="connsiteY4" fmla="*/ 86670 h 86669"/>
                  <a:gd name="connsiteX5" fmla="*/ 96809 w 114883"/>
                  <a:gd name="connsiteY5" fmla="*/ 76706 h 86669"/>
                  <a:gd name="connsiteX6" fmla="*/ 95134 w 114883"/>
                  <a:gd name="connsiteY6" fmla="*/ 64451 h 86669"/>
                  <a:gd name="connsiteX7" fmla="*/ 100336 w 114883"/>
                  <a:gd name="connsiteY7" fmla="*/ 54841 h 86669"/>
                  <a:gd name="connsiteX8" fmla="*/ 100336 w 114883"/>
                  <a:gd name="connsiteY8" fmla="*/ 49022 h 86669"/>
                  <a:gd name="connsiteX9" fmla="*/ 97691 w 114883"/>
                  <a:gd name="connsiteY9" fmla="*/ 45230 h 86669"/>
                  <a:gd name="connsiteX10" fmla="*/ 102364 w 114883"/>
                  <a:gd name="connsiteY10" fmla="*/ 44084 h 86669"/>
                  <a:gd name="connsiteX11" fmla="*/ 109946 w 114883"/>
                  <a:gd name="connsiteY11" fmla="*/ 44084 h 86669"/>
                  <a:gd name="connsiteX12" fmla="*/ 105273 w 114883"/>
                  <a:gd name="connsiteY12" fmla="*/ 38530 h 86669"/>
                  <a:gd name="connsiteX13" fmla="*/ 101747 w 114883"/>
                  <a:gd name="connsiteY13" fmla="*/ 30683 h 86669"/>
                  <a:gd name="connsiteX14" fmla="*/ 103510 w 114883"/>
                  <a:gd name="connsiteY14" fmla="*/ 25393 h 86669"/>
                  <a:gd name="connsiteX15" fmla="*/ 106772 w 114883"/>
                  <a:gd name="connsiteY15" fmla="*/ 22483 h 86669"/>
                  <a:gd name="connsiteX16" fmla="*/ 114619 w 114883"/>
                  <a:gd name="connsiteY16" fmla="*/ 16399 h 86669"/>
                  <a:gd name="connsiteX17" fmla="*/ 114355 w 114883"/>
                  <a:gd name="connsiteY17" fmla="*/ 13402 h 86669"/>
                  <a:gd name="connsiteX18" fmla="*/ 114884 w 114883"/>
                  <a:gd name="connsiteY18" fmla="*/ 12255 h 86669"/>
                  <a:gd name="connsiteX19" fmla="*/ 114619 w 114883"/>
                  <a:gd name="connsiteY19" fmla="*/ 10492 h 86669"/>
                  <a:gd name="connsiteX20" fmla="*/ 113737 w 114883"/>
                  <a:gd name="connsiteY20" fmla="*/ 10845 h 86669"/>
                  <a:gd name="connsiteX21" fmla="*/ 113208 w 114883"/>
                  <a:gd name="connsiteY21" fmla="*/ 10492 h 86669"/>
                  <a:gd name="connsiteX22" fmla="*/ 113208 w 114883"/>
                  <a:gd name="connsiteY22" fmla="*/ 9081 h 86669"/>
                  <a:gd name="connsiteX23" fmla="*/ 113737 w 114883"/>
                  <a:gd name="connsiteY23" fmla="*/ 7582 h 86669"/>
                  <a:gd name="connsiteX24" fmla="*/ 112856 w 114883"/>
                  <a:gd name="connsiteY24" fmla="*/ 6701 h 86669"/>
                  <a:gd name="connsiteX25" fmla="*/ 106508 w 114883"/>
                  <a:gd name="connsiteY25" fmla="*/ 9346 h 86669"/>
                  <a:gd name="connsiteX26" fmla="*/ 104392 w 114883"/>
                  <a:gd name="connsiteY26" fmla="*/ 882 h 86669"/>
                  <a:gd name="connsiteX27" fmla="*/ 103510 w 114883"/>
                  <a:gd name="connsiteY27" fmla="*/ 1146 h 86669"/>
                  <a:gd name="connsiteX28" fmla="*/ 103863 w 114883"/>
                  <a:gd name="connsiteY28" fmla="*/ 353 h 86669"/>
                  <a:gd name="connsiteX29" fmla="*/ 103245 w 114883"/>
                  <a:gd name="connsiteY29" fmla="*/ 0 h 86669"/>
                  <a:gd name="connsiteX30" fmla="*/ 102364 w 114883"/>
                  <a:gd name="connsiteY30" fmla="*/ 353 h 86669"/>
                  <a:gd name="connsiteX31" fmla="*/ 101482 w 114883"/>
                  <a:gd name="connsiteY31" fmla="*/ 2028 h 86669"/>
                  <a:gd name="connsiteX32" fmla="*/ 98925 w 114883"/>
                  <a:gd name="connsiteY32" fmla="*/ 2910 h 86669"/>
                  <a:gd name="connsiteX33" fmla="*/ 98572 w 114883"/>
                  <a:gd name="connsiteY33" fmla="*/ 4408 h 86669"/>
                  <a:gd name="connsiteX34" fmla="*/ 98043 w 114883"/>
                  <a:gd name="connsiteY34" fmla="*/ 5026 h 86669"/>
                  <a:gd name="connsiteX35" fmla="*/ 97691 w 114883"/>
                  <a:gd name="connsiteY35" fmla="*/ 5819 h 86669"/>
                  <a:gd name="connsiteX36" fmla="*/ 98308 w 114883"/>
                  <a:gd name="connsiteY36" fmla="*/ 6701 h 86669"/>
                  <a:gd name="connsiteX37" fmla="*/ 96809 w 114883"/>
                  <a:gd name="connsiteY37" fmla="*/ 7053 h 86669"/>
                  <a:gd name="connsiteX38" fmla="*/ 96280 w 114883"/>
                  <a:gd name="connsiteY38" fmla="*/ 7318 h 86669"/>
                  <a:gd name="connsiteX39" fmla="*/ 95398 w 114883"/>
                  <a:gd name="connsiteY39" fmla="*/ 7053 h 86669"/>
                  <a:gd name="connsiteX40" fmla="*/ 95134 w 114883"/>
                  <a:gd name="connsiteY40" fmla="*/ 6701 h 86669"/>
                  <a:gd name="connsiteX41" fmla="*/ 95134 w 114883"/>
                  <a:gd name="connsiteY41" fmla="*/ 5819 h 86669"/>
                  <a:gd name="connsiteX42" fmla="*/ 94781 w 114883"/>
                  <a:gd name="connsiteY42" fmla="*/ 5290 h 86669"/>
                  <a:gd name="connsiteX43" fmla="*/ 94517 w 114883"/>
                  <a:gd name="connsiteY43" fmla="*/ 5290 h 86669"/>
                  <a:gd name="connsiteX44" fmla="*/ 94781 w 114883"/>
                  <a:gd name="connsiteY44" fmla="*/ 5290 h 86669"/>
                  <a:gd name="connsiteX45" fmla="*/ 95134 w 114883"/>
                  <a:gd name="connsiteY45" fmla="*/ 5026 h 86669"/>
                  <a:gd name="connsiteX46" fmla="*/ 94781 w 114883"/>
                  <a:gd name="connsiteY46" fmla="*/ 5026 h 86669"/>
                  <a:gd name="connsiteX47" fmla="*/ 94252 w 114883"/>
                  <a:gd name="connsiteY47" fmla="*/ 5290 h 86669"/>
                  <a:gd name="connsiteX48" fmla="*/ 93018 w 114883"/>
                  <a:gd name="connsiteY48" fmla="*/ 6701 h 86669"/>
                  <a:gd name="connsiteX49" fmla="*/ 93018 w 114883"/>
                  <a:gd name="connsiteY49" fmla="*/ 7053 h 86669"/>
                  <a:gd name="connsiteX50" fmla="*/ 92753 w 114883"/>
                  <a:gd name="connsiteY50" fmla="*/ 7318 h 86669"/>
                  <a:gd name="connsiteX51" fmla="*/ 93371 w 114883"/>
                  <a:gd name="connsiteY51" fmla="*/ 7318 h 86669"/>
                  <a:gd name="connsiteX52" fmla="*/ 93371 w 114883"/>
                  <a:gd name="connsiteY52" fmla="*/ 7582 h 86669"/>
                  <a:gd name="connsiteX53" fmla="*/ 93900 w 114883"/>
                  <a:gd name="connsiteY53" fmla="*/ 8200 h 86669"/>
                  <a:gd name="connsiteX54" fmla="*/ 93900 w 114883"/>
                  <a:gd name="connsiteY54" fmla="*/ 8464 h 86669"/>
                  <a:gd name="connsiteX55" fmla="*/ 93371 w 114883"/>
                  <a:gd name="connsiteY55" fmla="*/ 8464 h 86669"/>
                  <a:gd name="connsiteX56" fmla="*/ 93018 w 114883"/>
                  <a:gd name="connsiteY56" fmla="*/ 9346 h 86669"/>
                  <a:gd name="connsiteX57" fmla="*/ 93371 w 114883"/>
                  <a:gd name="connsiteY57" fmla="*/ 9699 h 86669"/>
                  <a:gd name="connsiteX58" fmla="*/ 93018 w 114883"/>
                  <a:gd name="connsiteY58" fmla="*/ 9963 h 86669"/>
                  <a:gd name="connsiteX59" fmla="*/ 92753 w 114883"/>
                  <a:gd name="connsiteY59" fmla="*/ 10228 h 86669"/>
                  <a:gd name="connsiteX60" fmla="*/ 92489 w 114883"/>
                  <a:gd name="connsiteY60" fmla="*/ 10492 h 86669"/>
                  <a:gd name="connsiteX61" fmla="*/ 92489 w 114883"/>
                  <a:gd name="connsiteY61" fmla="*/ 11109 h 86669"/>
                  <a:gd name="connsiteX62" fmla="*/ 93018 w 114883"/>
                  <a:gd name="connsiteY62" fmla="*/ 11109 h 86669"/>
                  <a:gd name="connsiteX63" fmla="*/ 93371 w 114883"/>
                  <a:gd name="connsiteY63" fmla="*/ 10845 h 86669"/>
                  <a:gd name="connsiteX64" fmla="*/ 93018 w 114883"/>
                  <a:gd name="connsiteY64" fmla="*/ 10492 h 86669"/>
                  <a:gd name="connsiteX65" fmla="*/ 93371 w 114883"/>
                  <a:gd name="connsiteY65" fmla="*/ 10492 h 86669"/>
                  <a:gd name="connsiteX66" fmla="*/ 93371 w 114883"/>
                  <a:gd name="connsiteY66" fmla="*/ 10845 h 86669"/>
                  <a:gd name="connsiteX67" fmla="*/ 93371 w 114883"/>
                  <a:gd name="connsiteY67" fmla="*/ 11109 h 86669"/>
                  <a:gd name="connsiteX68" fmla="*/ 92753 w 114883"/>
                  <a:gd name="connsiteY68" fmla="*/ 11991 h 86669"/>
                  <a:gd name="connsiteX69" fmla="*/ 91872 w 114883"/>
                  <a:gd name="connsiteY69" fmla="*/ 11991 h 86669"/>
                  <a:gd name="connsiteX70" fmla="*/ 91255 w 114883"/>
                  <a:gd name="connsiteY70" fmla="*/ 12255 h 86669"/>
                  <a:gd name="connsiteX71" fmla="*/ 90461 w 114883"/>
                  <a:gd name="connsiteY71" fmla="*/ 12873 h 86669"/>
                  <a:gd name="connsiteX72" fmla="*/ 89844 w 114883"/>
                  <a:gd name="connsiteY72" fmla="*/ 14019 h 86669"/>
                  <a:gd name="connsiteX73" fmla="*/ 89226 w 114883"/>
                  <a:gd name="connsiteY73" fmla="*/ 16664 h 86669"/>
                  <a:gd name="connsiteX74" fmla="*/ 87199 w 114883"/>
                  <a:gd name="connsiteY74" fmla="*/ 19309 h 86669"/>
                  <a:gd name="connsiteX75" fmla="*/ 84642 w 114883"/>
                  <a:gd name="connsiteY75" fmla="*/ 21601 h 86669"/>
                  <a:gd name="connsiteX76" fmla="*/ 84025 w 114883"/>
                  <a:gd name="connsiteY76" fmla="*/ 21601 h 86669"/>
                  <a:gd name="connsiteX77" fmla="*/ 82526 w 114883"/>
                  <a:gd name="connsiteY77" fmla="*/ 21954 h 86669"/>
                  <a:gd name="connsiteX78" fmla="*/ 80851 w 114883"/>
                  <a:gd name="connsiteY78" fmla="*/ 22747 h 86669"/>
                  <a:gd name="connsiteX79" fmla="*/ 80498 w 114883"/>
                  <a:gd name="connsiteY79" fmla="*/ 24246 h 86669"/>
                  <a:gd name="connsiteX80" fmla="*/ 79969 w 114883"/>
                  <a:gd name="connsiteY80" fmla="*/ 24863 h 86669"/>
                  <a:gd name="connsiteX81" fmla="*/ 80234 w 114883"/>
                  <a:gd name="connsiteY81" fmla="*/ 25128 h 86669"/>
                  <a:gd name="connsiteX82" fmla="*/ 80234 w 114883"/>
                  <a:gd name="connsiteY82" fmla="*/ 25393 h 86669"/>
                  <a:gd name="connsiteX83" fmla="*/ 79616 w 114883"/>
                  <a:gd name="connsiteY83" fmla="*/ 25128 h 86669"/>
                  <a:gd name="connsiteX84" fmla="*/ 79352 w 114883"/>
                  <a:gd name="connsiteY84" fmla="*/ 24863 h 86669"/>
                  <a:gd name="connsiteX85" fmla="*/ 78470 w 114883"/>
                  <a:gd name="connsiteY85" fmla="*/ 24863 h 86669"/>
                  <a:gd name="connsiteX86" fmla="*/ 78205 w 114883"/>
                  <a:gd name="connsiteY86" fmla="*/ 25128 h 86669"/>
                  <a:gd name="connsiteX87" fmla="*/ 78205 w 114883"/>
                  <a:gd name="connsiteY87" fmla="*/ 25393 h 86669"/>
                  <a:gd name="connsiteX88" fmla="*/ 79616 w 114883"/>
                  <a:gd name="connsiteY88" fmla="*/ 26891 h 86669"/>
                  <a:gd name="connsiteX89" fmla="*/ 79969 w 114883"/>
                  <a:gd name="connsiteY89" fmla="*/ 28037 h 86669"/>
                  <a:gd name="connsiteX90" fmla="*/ 79616 w 114883"/>
                  <a:gd name="connsiteY90" fmla="*/ 28302 h 86669"/>
                  <a:gd name="connsiteX91" fmla="*/ 79087 w 114883"/>
                  <a:gd name="connsiteY91" fmla="*/ 28302 h 86669"/>
                  <a:gd name="connsiteX92" fmla="*/ 77589 w 114883"/>
                  <a:gd name="connsiteY92" fmla="*/ 27156 h 86669"/>
                  <a:gd name="connsiteX93" fmla="*/ 77059 w 114883"/>
                  <a:gd name="connsiteY93" fmla="*/ 26891 h 86669"/>
                  <a:gd name="connsiteX94" fmla="*/ 76442 w 114883"/>
                  <a:gd name="connsiteY94" fmla="*/ 27156 h 86669"/>
                  <a:gd name="connsiteX95" fmla="*/ 76442 w 114883"/>
                  <a:gd name="connsiteY95" fmla="*/ 28655 h 86669"/>
                  <a:gd name="connsiteX96" fmla="*/ 76707 w 114883"/>
                  <a:gd name="connsiteY96" fmla="*/ 29184 h 86669"/>
                  <a:gd name="connsiteX97" fmla="*/ 77059 w 114883"/>
                  <a:gd name="connsiteY97" fmla="*/ 29184 h 86669"/>
                  <a:gd name="connsiteX98" fmla="*/ 78205 w 114883"/>
                  <a:gd name="connsiteY98" fmla="*/ 30065 h 86669"/>
                  <a:gd name="connsiteX99" fmla="*/ 77589 w 114883"/>
                  <a:gd name="connsiteY99" fmla="*/ 30330 h 86669"/>
                  <a:gd name="connsiteX100" fmla="*/ 78470 w 114883"/>
                  <a:gd name="connsiteY100" fmla="*/ 31564 h 86669"/>
                  <a:gd name="connsiteX101" fmla="*/ 78205 w 114883"/>
                  <a:gd name="connsiteY101" fmla="*/ 31564 h 86669"/>
                  <a:gd name="connsiteX102" fmla="*/ 78205 w 114883"/>
                  <a:gd name="connsiteY102" fmla="*/ 31212 h 86669"/>
                  <a:gd name="connsiteX103" fmla="*/ 77853 w 114883"/>
                  <a:gd name="connsiteY103" fmla="*/ 31212 h 86669"/>
                  <a:gd name="connsiteX104" fmla="*/ 76707 w 114883"/>
                  <a:gd name="connsiteY104" fmla="*/ 30947 h 86669"/>
                  <a:gd name="connsiteX105" fmla="*/ 76089 w 114883"/>
                  <a:gd name="connsiteY105" fmla="*/ 31212 h 86669"/>
                  <a:gd name="connsiteX106" fmla="*/ 75825 w 114883"/>
                  <a:gd name="connsiteY106" fmla="*/ 31564 h 86669"/>
                  <a:gd name="connsiteX107" fmla="*/ 76089 w 114883"/>
                  <a:gd name="connsiteY107" fmla="*/ 32711 h 86669"/>
                  <a:gd name="connsiteX108" fmla="*/ 76089 w 114883"/>
                  <a:gd name="connsiteY108" fmla="*/ 32975 h 86669"/>
                  <a:gd name="connsiteX109" fmla="*/ 76089 w 114883"/>
                  <a:gd name="connsiteY109" fmla="*/ 33240 h 86669"/>
                  <a:gd name="connsiteX110" fmla="*/ 76442 w 114883"/>
                  <a:gd name="connsiteY110" fmla="*/ 32711 h 86669"/>
                  <a:gd name="connsiteX111" fmla="*/ 76442 w 114883"/>
                  <a:gd name="connsiteY111" fmla="*/ 33240 h 86669"/>
                  <a:gd name="connsiteX112" fmla="*/ 76442 w 114883"/>
                  <a:gd name="connsiteY112" fmla="*/ 33857 h 86669"/>
                  <a:gd name="connsiteX113" fmla="*/ 76089 w 114883"/>
                  <a:gd name="connsiteY113" fmla="*/ 33857 h 86669"/>
                  <a:gd name="connsiteX114" fmla="*/ 75825 w 114883"/>
                  <a:gd name="connsiteY114" fmla="*/ 33857 h 86669"/>
                  <a:gd name="connsiteX115" fmla="*/ 74943 w 114883"/>
                  <a:gd name="connsiteY115" fmla="*/ 33857 h 86669"/>
                  <a:gd name="connsiteX116" fmla="*/ 74679 w 114883"/>
                  <a:gd name="connsiteY116" fmla="*/ 33592 h 86669"/>
                  <a:gd name="connsiteX117" fmla="*/ 74062 w 114883"/>
                  <a:gd name="connsiteY117" fmla="*/ 33857 h 86669"/>
                  <a:gd name="connsiteX118" fmla="*/ 74062 w 114883"/>
                  <a:gd name="connsiteY118" fmla="*/ 34474 h 86669"/>
                  <a:gd name="connsiteX119" fmla="*/ 74679 w 114883"/>
                  <a:gd name="connsiteY119" fmla="*/ 34738 h 86669"/>
                  <a:gd name="connsiteX120" fmla="*/ 75296 w 114883"/>
                  <a:gd name="connsiteY120" fmla="*/ 35620 h 86669"/>
                  <a:gd name="connsiteX121" fmla="*/ 75560 w 114883"/>
                  <a:gd name="connsiteY121" fmla="*/ 36766 h 86669"/>
                  <a:gd name="connsiteX122" fmla="*/ 75560 w 114883"/>
                  <a:gd name="connsiteY122" fmla="*/ 37912 h 86669"/>
                  <a:gd name="connsiteX123" fmla="*/ 74943 w 114883"/>
                  <a:gd name="connsiteY123" fmla="*/ 38530 h 86669"/>
                  <a:gd name="connsiteX124" fmla="*/ 74679 w 114883"/>
                  <a:gd name="connsiteY124" fmla="*/ 38794 h 86669"/>
                  <a:gd name="connsiteX125" fmla="*/ 74414 w 114883"/>
                  <a:gd name="connsiteY125" fmla="*/ 39147 h 86669"/>
                  <a:gd name="connsiteX126" fmla="*/ 74943 w 114883"/>
                  <a:gd name="connsiteY126" fmla="*/ 39147 h 86669"/>
                  <a:gd name="connsiteX127" fmla="*/ 74943 w 114883"/>
                  <a:gd name="connsiteY127" fmla="*/ 39411 h 86669"/>
                  <a:gd name="connsiteX128" fmla="*/ 74679 w 114883"/>
                  <a:gd name="connsiteY128" fmla="*/ 39411 h 86669"/>
                  <a:gd name="connsiteX129" fmla="*/ 74414 w 114883"/>
                  <a:gd name="connsiteY129" fmla="*/ 39411 h 86669"/>
                  <a:gd name="connsiteX130" fmla="*/ 74062 w 114883"/>
                  <a:gd name="connsiteY130" fmla="*/ 39411 h 86669"/>
                  <a:gd name="connsiteX131" fmla="*/ 73797 w 114883"/>
                  <a:gd name="connsiteY131" fmla="*/ 39411 h 86669"/>
                  <a:gd name="connsiteX132" fmla="*/ 73797 w 114883"/>
                  <a:gd name="connsiteY132" fmla="*/ 38794 h 86669"/>
                  <a:gd name="connsiteX133" fmla="*/ 73533 w 114883"/>
                  <a:gd name="connsiteY133" fmla="*/ 38794 h 86669"/>
                  <a:gd name="connsiteX134" fmla="*/ 73180 w 114883"/>
                  <a:gd name="connsiteY134" fmla="*/ 38265 h 86669"/>
                  <a:gd name="connsiteX135" fmla="*/ 72651 w 114883"/>
                  <a:gd name="connsiteY135" fmla="*/ 38265 h 86669"/>
                  <a:gd name="connsiteX136" fmla="*/ 72298 w 114883"/>
                  <a:gd name="connsiteY136" fmla="*/ 38530 h 86669"/>
                  <a:gd name="connsiteX137" fmla="*/ 71505 w 114883"/>
                  <a:gd name="connsiteY137" fmla="*/ 39411 h 86669"/>
                  <a:gd name="connsiteX138" fmla="*/ 70623 w 114883"/>
                  <a:gd name="connsiteY138" fmla="*/ 40028 h 86669"/>
                  <a:gd name="connsiteX139" fmla="*/ 70006 w 114883"/>
                  <a:gd name="connsiteY139" fmla="*/ 41175 h 86669"/>
                  <a:gd name="connsiteX140" fmla="*/ 69388 w 114883"/>
                  <a:gd name="connsiteY140" fmla="*/ 41439 h 86669"/>
                  <a:gd name="connsiteX141" fmla="*/ 68595 w 114883"/>
                  <a:gd name="connsiteY141" fmla="*/ 42056 h 86669"/>
                  <a:gd name="connsiteX142" fmla="*/ 65597 w 114883"/>
                  <a:gd name="connsiteY142" fmla="*/ 42585 h 86669"/>
                  <a:gd name="connsiteX143" fmla="*/ 62423 w 114883"/>
                  <a:gd name="connsiteY143" fmla="*/ 43202 h 86669"/>
                  <a:gd name="connsiteX144" fmla="*/ 62159 w 114883"/>
                  <a:gd name="connsiteY144" fmla="*/ 43202 h 86669"/>
                  <a:gd name="connsiteX145" fmla="*/ 61806 w 114883"/>
                  <a:gd name="connsiteY145" fmla="*/ 43202 h 86669"/>
                  <a:gd name="connsiteX146" fmla="*/ 61277 w 114883"/>
                  <a:gd name="connsiteY146" fmla="*/ 43202 h 86669"/>
                  <a:gd name="connsiteX147" fmla="*/ 60396 w 114883"/>
                  <a:gd name="connsiteY147" fmla="*/ 42938 h 86669"/>
                  <a:gd name="connsiteX148" fmla="*/ 59514 w 114883"/>
                  <a:gd name="connsiteY148" fmla="*/ 42585 h 86669"/>
                  <a:gd name="connsiteX149" fmla="*/ 58985 w 114883"/>
                  <a:gd name="connsiteY149" fmla="*/ 43202 h 86669"/>
                  <a:gd name="connsiteX150" fmla="*/ 57751 w 114883"/>
                  <a:gd name="connsiteY150" fmla="*/ 43467 h 86669"/>
                  <a:gd name="connsiteX151" fmla="*/ 56869 w 114883"/>
                  <a:gd name="connsiteY151" fmla="*/ 44084 h 86669"/>
                  <a:gd name="connsiteX152" fmla="*/ 56251 w 114883"/>
                  <a:gd name="connsiteY152" fmla="*/ 44084 h 86669"/>
                  <a:gd name="connsiteX153" fmla="*/ 55987 w 114883"/>
                  <a:gd name="connsiteY153" fmla="*/ 43820 h 86669"/>
                  <a:gd name="connsiteX154" fmla="*/ 56251 w 114883"/>
                  <a:gd name="connsiteY154" fmla="*/ 42938 h 86669"/>
                  <a:gd name="connsiteX155" fmla="*/ 55987 w 114883"/>
                  <a:gd name="connsiteY155" fmla="*/ 42585 h 86669"/>
                  <a:gd name="connsiteX156" fmla="*/ 55458 w 114883"/>
                  <a:gd name="connsiteY156" fmla="*/ 42585 h 86669"/>
                  <a:gd name="connsiteX157" fmla="*/ 54841 w 114883"/>
                  <a:gd name="connsiteY157" fmla="*/ 42585 h 86669"/>
                  <a:gd name="connsiteX158" fmla="*/ 53695 w 114883"/>
                  <a:gd name="connsiteY158" fmla="*/ 42938 h 86669"/>
                  <a:gd name="connsiteX159" fmla="*/ 53078 w 114883"/>
                  <a:gd name="connsiteY159" fmla="*/ 42585 h 86669"/>
                  <a:gd name="connsiteX160" fmla="*/ 52813 w 114883"/>
                  <a:gd name="connsiteY160" fmla="*/ 42585 h 86669"/>
                  <a:gd name="connsiteX161" fmla="*/ 52549 w 114883"/>
                  <a:gd name="connsiteY161" fmla="*/ 42056 h 86669"/>
                  <a:gd name="connsiteX162" fmla="*/ 52549 w 114883"/>
                  <a:gd name="connsiteY162" fmla="*/ 41175 h 86669"/>
                  <a:gd name="connsiteX163" fmla="*/ 52549 w 114883"/>
                  <a:gd name="connsiteY163" fmla="*/ 40822 h 86669"/>
                  <a:gd name="connsiteX164" fmla="*/ 52196 w 114883"/>
                  <a:gd name="connsiteY164" fmla="*/ 40558 h 86669"/>
                  <a:gd name="connsiteX165" fmla="*/ 51931 w 114883"/>
                  <a:gd name="connsiteY165" fmla="*/ 40822 h 86669"/>
                  <a:gd name="connsiteX166" fmla="*/ 50433 w 114883"/>
                  <a:gd name="connsiteY166" fmla="*/ 42585 h 86669"/>
                  <a:gd name="connsiteX167" fmla="*/ 50168 w 114883"/>
                  <a:gd name="connsiteY167" fmla="*/ 42585 h 86669"/>
                  <a:gd name="connsiteX168" fmla="*/ 49904 w 114883"/>
                  <a:gd name="connsiteY168" fmla="*/ 42585 h 86669"/>
                  <a:gd name="connsiteX169" fmla="*/ 49904 w 114883"/>
                  <a:gd name="connsiteY169" fmla="*/ 42056 h 86669"/>
                  <a:gd name="connsiteX170" fmla="*/ 49286 w 114883"/>
                  <a:gd name="connsiteY170" fmla="*/ 41439 h 86669"/>
                  <a:gd name="connsiteX171" fmla="*/ 47788 w 114883"/>
                  <a:gd name="connsiteY171" fmla="*/ 40822 h 86669"/>
                  <a:gd name="connsiteX172" fmla="*/ 47259 w 114883"/>
                  <a:gd name="connsiteY172" fmla="*/ 40822 h 86669"/>
                  <a:gd name="connsiteX173" fmla="*/ 46994 w 114883"/>
                  <a:gd name="connsiteY173" fmla="*/ 40822 h 86669"/>
                  <a:gd name="connsiteX174" fmla="*/ 47259 w 114883"/>
                  <a:gd name="connsiteY174" fmla="*/ 41704 h 86669"/>
                  <a:gd name="connsiteX175" fmla="*/ 46994 w 114883"/>
                  <a:gd name="connsiteY175" fmla="*/ 42056 h 86669"/>
                  <a:gd name="connsiteX176" fmla="*/ 46730 w 114883"/>
                  <a:gd name="connsiteY176" fmla="*/ 41704 h 86669"/>
                  <a:gd name="connsiteX177" fmla="*/ 45230 w 114883"/>
                  <a:gd name="connsiteY177" fmla="*/ 41439 h 86669"/>
                  <a:gd name="connsiteX178" fmla="*/ 44084 w 114883"/>
                  <a:gd name="connsiteY178" fmla="*/ 41175 h 86669"/>
                  <a:gd name="connsiteX179" fmla="*/ 43732 w 114883"/>
                  <a:gd name="connsiteY179" fmla="*/ 41175 h 86669"/>
                  <a:gd name="connsiteX180" fmla="*/ 44084 w 114883"/>
                  <a:gd name="connsiteY180" fmla="*/ 41439 h 86669"/>
                  <a:gd name="connsiteX181" fmla="*/ 44084 w 114883"/>
                  <a:gd name="connsiteY181" fmla="*/ 42056 h 86669"/>
                  <a:gd name="connsiteX182" fmla="*/ 43732 w 114883"/>
                  <a:gd name="connsiteY182" fmla="*/ 42056 h 86669"/>
                  <a:gd name="connsiteX183" fmla="*/ 42850 w 114883"/>
                  <a:gd name="connsiteY183" fmla="*/ 41704 h 86669"/>
                  <a:gd name="connsiteX184" fmla="*/ 41704 w 114883"/>
                  <a:gd name="connsiteY184" fmla="*/ 41175 h 86669"/>
                  <a:gd name="connsiteX185" fmla="*/ 41175 w 114883"/>
                  <a:gd name="connsiteY185" fmla="*/ 41175 h 86669"/>
                  <a:gd name="connsiteX186" fmla="*/ 39412 w 114883"/>
                  <a:gd name="connsiteY186" fmla="*/ 42056 h 86669"/>
                  <a:gd name="connsiteX187" fmla="*/ 38530 w 114883"/>
                  <a:gd name="connsiteY187" fmla="*/ 42056 h 86669"/>
                  <a:gd name="connsiteX188" fmla="*/ 38177 w 114883"/>
                  <a:gd name="connsiteY188" fmla="*/ 42056 h 86669"/>
                  <a:gd name="connsiteX189" fmla="*/ 37913 w 114883"/>
                  <a:gd name="connsiteY189" fmla="*/ 41704 h 86669"/>
                  <a:gd name="connsiteX190" fmla="*/ 37648 w 114883"/>
                  <a:gd name="connsiteY190" fmla="*/ 41175 h 86669"/>
                  <a:gd name="connsiteX191" fmla="*/ 37296 w 114883"/>
                  <a:gd name="connsiteY191" fmla="*/ 41175 h 86669"/>
                  <a:gd name="connsiteX192" fmla="*/ 37648 w 114883"/>
                  <a:gd name="connsiteY192" fmla="*/ 42056 h 86669"/>
                  <a:gd name="connsiteX193" fmla="*/ 37296 w 114883"/>
                  <a:gd name="connsiteY193" fmla="*/ 42056 h 86669"/>
                  <a:gd name="connsiteX194" fmla="*/ 36767 w 114883"/>
                  <a:gd name="connsiteY194" fmla="*/ 40293 h 86669"/>
                  <a:gd name="connsiteX195" fmla="*/ 36502 w 114883"/>
                  <a:gd name="connsiteY195" fmla="*/ 40028 h 86669"/>
                  <a:gd name="connsiteX196" fmla="*/ 35885 w 114883"/>
                  <a:gd name="connsiteY196" fmla="*/ 40293 h 86669"/>
                  <a:gd name="connsiteX197" fmla="*/ 35267 w 114883"/>
                  <a:gd name="connsiteY197" fmla="*/ 40028 h 86669"/>
                  <a:gd name="connsiteX198" fmla="*/ 35003 w 114883"/>
                  <a:gd name="connsiteY198" fmla="*/ 40028 h 86669"/>
                  <a:gd name="connsiteX199" fmla="*/ 35003 w 114883"/>
                  <a:gd name="connsiteY199" fmla="*/ 40558 h 86669"/>
                  <a:gd name="connsiteX200" fmla="*/ 35267 w 114883"/>
                  <a:gd name="connsiteY200" fmla="*/ 40822 h 86669"/>
                  <a:gd name="connsiteX201" fmla="*/ 35003 w 114883"/>
                  <a:gd name="connsiteY201" fmla="*/ 41175 h 86669"/>
                  <a:gd name="connsiteX202" fmla="*/ 35003 w 114883"/>
                  <a:gd name="connsiteY202" fmla="*/ 41704 h 86669"/>
                  <a:gd name="connsiteX203" fmla="*/ 34474 w 114883"/>
                  <a:gd name="connsiteY203" fmla="*/ 42056 h 86669"/>
                  <a:gd name="connsiteX204" fmla="*/ 33504 w 114883"/>
                  <a:gd name="connsiteY204" fmla="*/ 41704 h 86669"/>
                  <a:gd name="connsiteX205" fmla="*/ 32975 w 114883"/>
                  <a:gd name="connsiteY205" fmla="*/ 42056 h 86669"/>
                  <a:gd name="connsiteX206" fmla="*/ 32358 w 114883"/>
                  <a:gd name="connsiteY206" fmla="*/ 42321 h 86669"/>
                  <a:gd name="connsiteX207" fmla="*/ 32093 w 114883"/>
                  <a:gd name="connsiteY207" fmla="*/ 42585 h 86669"/>
                  <a:gd name="connsiteX208" fmla="*/ 32093 w 114883"/>
                  <a:gd name="connsiteY208" fmla="*/ 43202 h 86669"/>
                  <a:gd name="connsiteX209" fmla="*/ 32093 w 114883"/>
                  <a:gd name="connsiteY209" fmla="*/ 43820 h 86669"/>
                  <a:gd name="connsiteX210" fmla="*/ 31829 w 114883"/>
                  <a:gd name="connsiteY210" fmla="*/ 43820 h 86669"/>
                  <a:gd name="connsiteX211" fmla="*/ 31476 w 114883"/>
                  <a:gd name="connsiteY211" fmla="*/ 43820 h 86669"/>
                  <a:gd name="connsiteX212" fmla="*/ 31212 w 114883"/>
                  <a:gd name="connsiteY212" fmla="*/ 44613 h 86669"/>
                  <a:gd name="connsiteX213" fmla="*/ 30947 w 114883"/>
                  <a:gd name="connsiteY213" fmla="*/ 44966 h 86669"/>
                  <a:gd name="connsiteX214" fmla="*/ 30066 w 114883"/>
                  <a:gd name="connsiteY214" fmla="*/ 44966 h 86669"/>
                  <a:gd name="connsiteX215" fmla="*/ 29448 w 114883"/>
                  <a:gd name="connsiteY215" fmla="*/ 45230 h 86669"/>
                  <a:gd name="connsiteX216" fmla="*/ 29713 w 114883"/>
                  <a:gd name="connsiteY216" fmla="*/ 44966 h 86669"/>
                  <a:gd name="connsiteX217" fmla="*/ 29448 w 114883"/>
                  <a:gd name="connsiteY217" fmla="*/ 44613 h 86669"/>
                  <a:gd name="connsiteX218" fmla="*/ 29184 w 114883"/>
                  <a:gd name="connsiteY218" fmla="*/ 44966 h 86669"/>
                  <a:gd name="connsiteX219" fmla="*/ 28566 w 114883"/>
                  <a:gd name="connsiteY219" fmla="*/ 45495 h 86669"/>
                  <a:gd name="connsiteX220" fmla="*/ 27685 w 114883"/>
                  <a:gd name="connsiteY220" fmla="*/ 45495 h 86669"/>
                  <a:gd name="connsiteX221" fmla="*/ 26539 w 114883"/>
                  <a:gd name="connsiteY221" fmla="*/ 45495 h 86669"/>
                  <a:gd name="connsiteX222" fmla="*/ 26275 w 114883"/>
                  <a:gd name="connsiteY222" fmla="*/ 45495 h 86669"/>
                  <a:gd name="connsiteX223" fmla="*/ 25922 w 114883"/>
                  <a:gd name="connsiteY223" fmla="*/ 45848 h 86669"/>
                  <a:gd name="connsiteX224" fmla="*/ 25922 w 114883"/>
                  <a:gd name="connsiteY224" fmla="*/ 46377 h 86669"/>
                  <a:gd name="connsiteX225" fmla="*/ 25393 w 114883"/>
                  <a:gd name="connsiteY225" fmla="*/ 46377 h 86669"/>
                  <a:gd name="connsiteX226" fmla="*/ 25128 w 114883"/>
                  <a:gd name="connsiteY226" fmla="*/ 46112 h 86669"/>
                  <a:gd name="connsiteX227" fmla="*/ 24864 w 114883"/>
                  <a:gd name="connsiteY227" fmla="*/ 45495 h 86669"/>
                  <a:gd name="connsiteX228" fmla="*/ 24246 w 114883"/>
                  <a:gd name="connsiteY228" fmla="*/ 45230 h 86669"/>
                  <a:gd name="connsiteX229" fmla="*/ 23629 w 114883"/>
                  <a:gd name="connsiteY229" fmla="*/ 44966 h 86669"/>
                  <a:gd name="connsiteX230" fmla="*/ 23100 w 114883"/>
                  <a:gd name="connsiteY230" fmla="*/ 44966 h 86669"/>
                  <a:gd name="connsiteX231" fmla="*/ 22483 w 114883"/>
                  <a:gd name="connsiteY231" fmla="*/ 44613 h 86669"/>
                  <a:gd name="connsiteX232" fmla="*/ 22130 w 114883"/>
                  <a:gd name="connsiteY232" fmla="*/ 44966 h 86669"/>
                  <a:gd name="connsiteX233" fmla="*/ 22130 w 114883"/>
                  <a:gd name="connsiteY233" fmla="*/ 45230 h 86669"/>
                  <a:gd name="connsiteX234" fmla="*/ 22483 w 114883"/>
                  <a:gd name="connsiteY234" fmla="*/ 45495 h 86669"/>
                  <a:gd name="connsiteX235" fmla="*/ 22483 w 114883"/>
                  <a:gd name="connsiteY235" fmla="*/ 46112 h 86669"/>
                  <a:gd name="connsiteX236" fmla="*/ 22483 w 114883"/>
                  <a:gd name="connsiteY236" fmla="*/ 46377 h 86669"/>
                  <a:gd name="connsiteX237" fmla="*/ 21866 w 114883"/>
                  <a:gd name="connsiteY237" fmla="*/ 46377 h 86669"/>
                  <a:gd name="connsiteX238" fmla="*/ 21601 w 114883"/>
                  <a:gd name="connsiteY238" fmla="*/ 45495 h 86669"/>
                  <a:gd name="connsiteX239" fmla="*/ 21337 w 114883"/>
                  <a:gd name="connsiteY239" fmla="*/ 45230 h 86669"/>
                  <a:gd name="connsiteX240" fmla="*/ 20984 w 114883"/>
                  <a:gd name="connsiteY240" fmla="*/ 44966 h 86669"/>
                  <a:gd name="connsiteX241" fmla="*/ 20720 w 114883"/>
                  <a:gd name="connsiteY241" fmla="*/ 44966 h 86669"/>
                  <a:gd name="connsiteX242" fmla="*/ 20103 w 114883"/>
                  <a:gd name="connsiteY242" fmla="*/ 44966 h 86669"/>
                  <a:gd name="connsiteX243" fmla="*/ 19838 w 114883"/>
                  <a:gd name="connsiteY243" fmla="*/ 44966 h 86669"/>
                  <a:gd name="connsiteX244" fmla="*/ 19574 w 114883"/>
                  <a:gd name="connsiteY244" fmla="*/ 44966 h 86669"/>
                  <a:gd name="connsiteX245" fmla="*/ 19221 w 114883"/>
                  <a:gd name="connsiteY245" fmla="*/ 44349 h 86669"/>
                  <a:gd name="connsiteX246" fmla="*/ 19221 w 114883"/>
                  <a:gd name="connsiteY246" fmla="*/ 44084 h 86669"/>
                  <a:gd name="connsiteX247" fmla="*/ 18956 w 114883"/>
                  <a:gd name="connsiteY247" fmla="*/ 43820 h 86669"/>
                  <a:gd name="connsiteX248" fmla="*/ 18692 w 114883"/>
                  <a:gd name="connsiteY248" fmla="*/ 43467 h 86669"/>
                  <a:gd name="connsiteX249" fmla="*/ 18339 w 114883"/>
                  <a:gd name="connsiteY249" fmla="*/ 43467 h 86669"/>
                  <a:gd name="connsiteX250" fmla="*/ 17810 w 114883"/>
                  <a:gd name="connsiteY250" fmla="*/ 42585 h 86669"/>
                  <a:gd name="connsiteX251" fmla="*/ 16576 w 114883"/>
                  <a:gd name="connsiteY251" fmla="*/ 42056 h 86669"/>
                  <a:gd name="connsiteX252" fmla="*/ 16929 w 114883"/>
                  <a:gd name="connsiteY252" fmla="*/ 40822 h 86669"/>
                  <a:gd name="connsiteX253" fmla="*/ 17810 w 114883"/>
                  <a:gd name="connsiteY253" fmla="*/ 40293 h 86669"/>
                  <a:gd name="connsiteX254" fmla="*/ 18339 w 114883"/>
                  <a:gd name="connsiteY254" fmla="*/ 39147 h 86669"/>
                  <a:gd name="connsiteX255" fmla="*/ 18692 w 114883"/>
                  <a:gd name="connsiteY255" fmla="*/ 38265 h 86669"/>
                  <a:gd name="connsiteX256" fmla="*/ 18339 w 114883"/>
                  <a:gd name="connsiteY256" fmla="*/ 38265 h 86669"/>
                  <a:gd name="connsiteX257" fmla="*/ 17193 w 114883"/>
                  <a:gd name="connsiteY257" fmla="*/ 37912 h 86669"/>
                  <a:gd name="connsiteX258" fmla="*/ 16576 w 114883"/>
                  <a:gd name="connsiteY258" fmla="*/ 38530 h 86669"/>
                  <a:gd name="connsiteX259" fmla="*/ 16311 w 114883"/>
                  <a:gd name="connsiteY259" fmla="*/ 38265 h 86669"/>
                  <a:gd name="connsiteX260" fmla="*/ 15782 w 114883"/>
                  <a:gd name="connsiteY260" fmla="*/ 38530 h 86669"/>
                  <a:gd name="connsiteX261" fmla="*/ 15782 w 114883"/>
                  <a:gd name="connsiteY261" fmla="*/ 38265 h 86669"/>
                  <a:gd name="connsiteX262" fmla="*/ 15429 w 114883"/>
                  <a:gd name="connsiteY262" fmla="*/ 38265 h 86669"/>
                  <a:gd name="connsiteX263" fmla="*/ 15429 w 114883"/>
                  <a:gd name="connsiteY263" fmla="*/ 38530 h 86669"/>
                  <a:gd name="connsiteX264" fmla="*/ 15429 w 114883"/>
                  <a:gd name="connsiteY264" fmla="*/ 39147 h 86669"/>
                  <a:gd name="connsiteX265" fmla="*/ 15429 w 114883"/>
                  <a:gd name="connsiteY265" fmla="*/ 39411 h 86669"/>
                  <a:gd name="connsiteX266" fmla="*/ 15165 w 114883"/>
                  <a:gd name="connsiteY266" fmla="*/ 39411 h 86669"/>
                  <a:gd name="connsiteX267" fmla="*/ 14900 w 114883"/>
                  <a:gd name="connsiteY267" fmla="*/ 39411 h 86669"/>
                  <a:gd name="connsiteX268" fmla="*/ 14900 w 114883"/>
                  <a:gd name="connsiteY268" fmla="*/ 39147 h 86669"/>
                  <a:gd name="connsiteX269" fmla="*/ 14900 w 114883"/>
                  <a:gd name="connsiteY269" fmla="*/ 38265 h 86669"/>
                  <a:gd name="connsiteX270" fmla="*/ 14900 w 114883"/>
                  <a:gd name="connsiteY270" fmla="*/ 36502 h 86669"/>
                  <a:gd name="connsiteX271" fmla="*/ 14548 w 114883"/>
                  <a:gd name="connsiteY271" fmla="*/ 35620 h 86669"/>
                  <a:gd name="connsiteX272" fmla="*/ 14283 w 114883"/>
                  <a:gd name="connsiteY272" fmla="*/ 35355 h 86669"/>
                  <a:gd name="connsiteX273" fmla="*/ 14019 w 114883"/>
                  <a:gd name="connsiteY273" fmla="*/ 35003 h 86669"/>
                  <a:gd name="connsiteX274" fmla="*/ 13137 w 114883"/>
                  <a:gd name="connsiteY274" fmla="*/ 34738 h 86669"/>
                  <a:gd name="connsiteX275" fmla="*/ 12873 w 114883"/>
                  <a:gd name="connsiteY275" fmla="*/ 34738 h 86669"/>
                  <a:gd name="connsiteX276" fmla="*/ 12873 w 114883"/>
                  <a:gd name="connsiteY276" fmla="*/ 35003 h 86669"/>
                  <a:gd name="connsiteX277" fmla="*/ 12873 w 114883"/>
                  <a:gd name="connsiteY277" fmla="*/ 35620 h 86669"/>
                  <a:gd name="connsiteX278" fmla="*/ 13137 w 114883"/>
                  <a:gd name="connsiteY278" fmla="*/ 36766 h 86669"/>
                  <a:gd name="connsiteX279" fmla="*/ 13137 w 114883"/>
                  <a:gd name="connsiteY279" fmla="*/ 38265 h 86669"/>
                  <a:gd name="connsiteX280" fmla="*/ 13402 w 114883"/>
                  <a:gd name="connsiteY280" fmla="*/ 38530 h 86669"/>
                  <a:gd name="connsiteX281" fmla="*/ 13137 w 114883"/>
                  <a:gd name="connsiteY281" fmla="*/ 39147 h 86669"/>
                  <a:gd name="connsiteX282" fmla="*/ 12873 w 114883"/>
                  <a:gd name="connsiteY282" fmla="*/ 39147 h 86669"/>
                  <a:gd name="connsiteX283" fmla="*/ 12520 w 114883"/>
                  <a:gd name="connsiteY283" fmla="*/ 39411 h 86669"/>
                  <a:gd name="connsiteX284" fmla="*/ 12520 w 114883"/>
                  <a:gd name="connsiteY284" fmla="*/ 39147 h 86669"/>
                  <a:gd name="connsiteX285" fmla="*/ 12520 w 114883"/>
                  <a:gd name="connsiteY285" fmla="*/ 38530 h 86669"/>
                  <a:gd name="connsiteX286" fmla="*/ 12873 w 114883"/>
                  <a:gd name="connsiteY286" fmla="*/ 37648 h 86669"/>
                  <a:gd name="connsiteX287" fmla="*/ 12256 w 114883"/>
                  <a:gd name="connsiteY287" fmla="*/ 36766 h 86669"/>
                  <a:gd name="connsiteX288" fmla="*/ 11991 w 114883"/>
                  <a:gd name="connsiteY288" fmla="*/ 36502 h 86669"/>
                  <a:gd name="connsiteX289" fmla="*/ 11109 w 114883"/>
                  <a:gd name="connsiteY289" fmla="*/ 36149 h 86669"/>
                  <a:gd name="connsiteX290" fmla="*/ 10492 w 114883"/>
                  <a:gd name="connsiteY290" fmla="*/ 36149 h 86669"/>
                  <a:gd name="connsiteX291" fmla="*/ 9963 w 114883"/>
                  <a:gd name="connsiteY291" fmla="*/ 36502 h 86669"/>
                  <a:gd name="connsiteX292" fmla="*/ 9611 w 114883"/>
                  <a:gd name="connsiteY292" fmla="*/ 36766 h 86669"/>
                  <a:gd name="connsiteX293" fmla="*/ 9082 w 114883"/>
                  <a:gd name="connsiteY293" fmla="*/ 37912 h 86669"/>
                  <a:gd name="connsiteX294" fmla="*/ 8729 w 114883"/>
                  <a:gd name="connsiteY294" fmla="*/ 38265 h 86669"/>
                  <a:gd name="connsiteX295" fmla="*/ 8464 w 114883"/>
                  <a:gd name="connsiteY295" fmla="*/ 38265 h 86669"/>
                  <a:gd name="connsiteX296" fmla="*/ 7054 w 114883"/>
                  <a:gd name="connsiteY296" fmla="*/ 37031 h 86669"/>
                  <a:gd name="connsiteX297" fmla="*/ 6701 w 114883"/>
                  <a:gd name="connsiteY297" fmla="*/ 36766 h 86669"/>
                  <a:gd name="connsiteX298" fmla="*/ 6701 w 114883"/>
                  <a:gd name="connsiteY298" fmla="*/ 36502 h 86669"/>
                  <a:gd name="connsiteX299" fmla="*/ 6701 w 114883"/>
                  <a:gd name="connsiteY299" fmla="*/ 35620 h 86669"/>
                  <a:gd name="connsiteX300" fmla="*/ 7054 w 114883"/>
                  <a:gd name="connsiteY300" fmla="*/ 35355 h 86669"/>
                  <a:gd name="connsiteX301" fmla="*/ 6701 w 114883"/>
                  <a:gd name="connsiteY301" fmla="*/ 34209 h 86669"/>
                  <a:gd name="connsiteX302" fmla="*/ 6701 w 114883"/>
                  <a:gd name="connsiteY302" fmla="*/ 33857 h 86669"/>
                  <a:gd name="connsiteX303" fmla="*/ 7054 w 114883"/>
                  <a:gd name="connsiteY303" fmla="*/ 33592 h 86669"/>
                  <a:gd name="connsiteX304" fmla="*/ 7054 w 114883"/>
                  <a:gd name="connsiteY304" fmla="*/ 33240 h 86669"/>
                  <a:gd name="connsiteX305" fmla="*/ 7318 w 114883"/>
                  <a:gd name="connsiteY305" fmla="*/ 33592 h 86669"/>
                  <a:gd name="connsiteX306" fmla="*/ 7847 w 114883"/>
                  <a:gd name="connsiteY306" fmla="*/ 33592 h 86669"/>
                  <a:gd name="connsiteX307" fmla="*/ 9346 w 114883"/>
                  <a:gd name="connsiteY307" fmla="*/ 32975 h 86669"/>
                  <a:gd name="connsiteX308" fmla="*/ 9611 w 114883"/>
                  <a:gd name="connsiteY308" fmla="*/ 32711 h 86669"/>
                  <a:gd name="connsiteX309" fmla="*/ 9611 w 114883"/>
                  <a:gd name="connsiteY309" fmla="*/ 32446 h 86669"/>
                  <a:gd name="connsiteX310" fmla="*/ 9346 w 114883"/>
                  <a:gd name="connsiteY310" fmla="*/ 31829 h 86669"/>
                  <a:gd name="connsiteX311" fmla="*/ 9082 w 114883"/>
                  <a:gd name="connsiteY311" fmla="*/ 31212 h 86669"/>
                  <a:gd name="connsiteX312" fmla="*/ 9346 w 114883"/>
                  <a:gd name="connsiteY312" fmla="*/ 30947 h 86669"/>
                  <a:gd name="connsiteX313" fmla="*/ 10845 w 114883"/>
                  <a:gd name="connsiteY313" fmla="*/ 30683 h 86669"/>
                  <a:gd name="connsiteX314" fmla="*/ 11109 w 114883"/>
                  <a:gd name="connsiteY314" fmla="*/ 30683 h 86669"/>
                  <a:gd name="connsiteX315" fmla="*/ 11374 w 114883"/>
                  <a:gd name="connsiteY315" fmla="*/ 30330 h 86669"/>
                  <a:gd name="connsiteX316" fmla="*/ 11638 w 114883"/>
                  <a:gd name="connsiteY316" fmla="*/ 30065 h 86669"/>
                  <a:gd name="connsiteX317" fmla="*/ 11374 w 114883"/>
                  <a:gd name="connsiteY317" fmla="*/ 29801 h 86669"/>
                  <a:gd name="connsiteX318" fmla="*/ 11109 w 114883"/>
                  <a:gd name="connsiteY318" fmla="*/ 29448 h 86669"/>
                  <a:gd name="connsiteX319" fmla="*/ 10492 w 114883"/>
                  <a:gd name="connsiteY319" fmla="*/ 29801 h 86669"/>
                  <a:gd name="connsiteX320" fmla="*/ 10228 w 114883"/>
                  <a:gd name="connsiteY320" fmla="*/ 30065 h 86669"/>
                  <a:gd name="connsiteX321" fmla="*/ 9611 w 114883"/>
                  <a:gd name="connsiteY321" fmla="*/ 30330 h 86669"/>
                  <a:gd name="connsiteX322" fmla="*/ 8729 w 114883"/>
                  <a:gd name="connsiteY322" fmla="*/ 30330 h 86669"/>
                  <a:gd name="connsiteX323" fmla="*/ 8200 w 114883"/>
                  <a:gd name="connsiteY323" fmla="*/ 30683 h 86669"/>
                  <a:gd name="connsiteX324" fmla="*/ 7318 w 114883"/>
                  <a:gd name="connsiteY324" fmla="*/ 30683 h 86669"/>
                  <a:gd name="connsiteX325" fmla="*/ 6437 w 114883"/>
                  <a:gd name="connsiteY325" fmla="*/ 30947 h 86669"/>
                  <a:gd name="connsiteX326" fmla="*/ 6172 w 114883"/>
                  <a:gd name="connsiteY326" fmla="*/ 30683 h 86669"/>
                  <a:gd name="connsiteX327" fmla="*/ 6172 w 114883"/>
                  <a:gd name="connsiteY327" fmla="*/ 30065 h 86669"/>
                  <a:gd name="connsiteX328" fmla="*/ 6172 w 114883"/>
                  <a:gd name="connsiteY328" fmla="*/ 29801 h 86669"/>
                  <a:gd name="connsiteX329" fmla="*/ 6172 w 114883"/>
                  <a:gd name="connsiteY329" fmla="*/ 29448 h 86669"/>
                  <a:gd name="connsiteX330" fmla="*/ 6701 w 114883"/>
                  <a:gd name="connsiteY330" fmla="*/ 29184 h 86669"/>
                  <a:gd name="connsiteX331" fmla="*/ 7054 w 114883"/>
                  <a:gd name="connsiteY331" fmla="*/ 28919 h 86669"/>
                  <a:gd name="connsiteX332" fmla="*/ 5202 w 114883"/>
                  <a:gd name="connsiteY332" fmla="*/ 29184 h 8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</a:cxnLst>
                <a:rect l="l" t="t" r="r" b="b"/>
                <a:pathLst>
                  <a:path w="114883" h="86669">
                    <a:moveTo>
                      <a:pt x="0" y="30330"/>
                    </a:moveTo>
                    <a:lnTo>
                      <a:pt x="3262" y="39147"/>
                    </a:lnTo>
                    <a:lnTo>
                      <a:pt x="14019" y="55458"/>
                    </a:lnTo>
                    <a:lnTo>
                      <a:pt x="25128" y="68242"/>
                    </a:lnTo>
                    <a:lnTo>
                      <a:pt x="87463" y="86670"/>
                    </a:lnTo>
                    <a:lnTo>
                      <a:pt x="96809" y="76706"/>
                    </a:lnTo>
                    <a:lnTo>
                      <a:pt x="95134" y="64451"/>
                    </a:lnTo>
                    <a:lnTo>
                      <a:pt x="100336" y="54841"/>
                    </a:lnTo>
                    <a:lnTo>
                      <a:pt x="100336" y="49022"/>
                    </a:lnTo>
                    <a:lnTo>
                      <a:pt x="97691" y="45230"/>
                    </a:lnTo>
                    <a:lnTo>
                      <a:pt x="102364" y="44084"/>
                    </a:lnTo>
                    <a:lnTo>
                      <a:pt x="109946" y="44084"/>
                    </a:lnTo>
                    <a:lnTo>
                      <a:pt x="105273" y="38530"/>
                    </a:lnTo>
                    <a:lnTo>
                      <a:pt x="101747" y="30683"/>
                    </a:lnTo>
                    <a:lnTo>
                      <a:pt x="103510" y="25393"/>
                    </a:lnTo>
                    <a:lnTo>
                      <a:pt x="106772" y="22483"/>
                    </a:lnTo>
                    <a:lnTo>
                      <a:pt x="114619" y="16399"/>
                    </a:lnTo>
                    <a:lnTo>
                      <a:pt x="114355" y="13402"/>
                    </a:lnTo>
                    <a:lnTo>
                      <a:pt x="114884" y="12255"/>
                    </a:lnTo>
                    <a:lnTo>
                      <a:pt x="114619" y="10492"/>
                    </a:lnTo>
                    <a:lnTo>
                      <a:pt x="113737" y="10845"/>
                    </a:lnTo>
                    <a:lnTo>
                      <a:pt x="113208" y="10492"/>
                    </a:lnTo>
                    <a:lnTo>
                      <a:pt x="113208" y="9081"/>
                    </a:lnTo>
                    <a:lnTo>
                      <a:pt x="113737" y="7582"/>
                    </a:lnTo>
                    <a:lnTo>
                      <a:pt x="112856" y="6701"/>
                    </a:lnTo>
                    <a:lnTo>
                      <a:pt x="106508" y="9346"/>
                    </a:lnTo>
                    <a:lnTo>
                      <a:pt x="104392" y="882"/>
                    </a:lnTo>
                    <a:lnTo>
                      <a:pt x="103510" y="1146"/>
                    </a:lnTo>
                    <a:lnTo>
                      <a:pt x="103863" y="353"/>
                    </a:lnTo>
                    <a:lnTo>
                      <a:pt x="103245" y="0"/>
                    </a:lnTo>
                    <a:lnTo>
                      <a:pt x="102364" y="353"/>
                    </a:lnTo>
                    <a:lnTo>
                      <a:pt x="101482" y="2028"/>
                    </a:lnTo>
                    <a:lnTo>
                      <a:pt x="98925" y="2910"/>
                    </a:lnTo>
                    <a:lnTo>
                      <a:pt x="98572" y="4408"/>
                    </a:lnTo>
                    <a:lnTo>
                      <a:pt x="98043" y="5026"/>
                    </a:lnTo>
                    <a:lnTo>
                      <a:pt x="97691" y="5819"/>
                    </a:lnTo>
                    <a:lnTo>
                      <a:pt x="98308" y="6701"/>
                    </a:lnTo>
                    <a:lnTo>
                      <a:pt x="96809" y="7053"/>
                    </a:lnTo>
                    <a:lnTo>
                      <a:pt x="96280" y="7318"/>
                    </a:lnTo>
                    <a:lnTo>
                      <a:pt x="95398" y="7053"/>
                    </a:lnTo>
                    <a:lnTo>
                      <a:pt x="95134" y="6701"/>
                    </a:lnTo>
                    <a:lnTo>
                      <a:pt x="95134" y="5819"/>
                    </a:lnTo>
                    <a:lnTo>
                      <a:pt x="94781" y="5290"/>
                    </a:lnTo>
                    <a:lnTo>
                      <a:pt x="94517" y="5290"/>
                    </a:lnTo>
                    <a:lnTo>
                      <a:pt x="94781" y="5290"/>
                    </a:lnTo>
                    <a:lnTo>
                      <a:pt x="95134" y="5026"/>
                    </a:lnTo>
                    <a:lnTo>
                      <a:pt x="94781" y="5026"/>
                    </a:lnTo>
                    <a:lnTo>
                      <a:pt x="94252" y="5290"/>
                    </a:lnTo>
                    <a:lnTo>
                      <a:pt x="93018" y="6701"/>
                    </a:lnTo>
                    <a:lnTo>
                      <a:pt x="93018" y="7053"/>
                    </a:lnTo>
                    <a:lnTo>
                      <a:pt x="92753" y="7318"/>
                    </a:lnTo>
                    <a:lnTo>
                      <a:pt x="93371" y="7318"/>
                    </a:lnTo>
                    <a:lnTo>
                      <a:pt x="93371" y="7582"/>
                    </a:lnTo>
                    <a:lnTo>
                      <a:pt x="93900" y="8200"/>
                    </a:lnTo>
                    <a:lnTo>
                      <a:pt x="93900" y="8464"/>
                    </a:lnTo>
                    <a:lnTo>
                      <a:pt x="93371" y="8464"/>
                    </a:lnTo>
                    <a:lnTo>
                      <a:pt x="93018" y="9346"/>
                    </a:lnTo>
                    <a:lnTo>
                      <a:pt x="93371" y="9699"/>
                    </a:lnTo>
                    <a:lnTo>
                      <a:pt x="93018" y="9963"/>
                    </a:lnTo>
                    <a:lnTo>
                      <a:pt x="92753" y="10228"/>
                    </a:lnTo>
                    <a:lnTo>
                      <a:pt x="92489" y="10492"/>
                    </a:lnTo>
                    <a:lnTo>
                      <a:pt x="92489" y="11109"/>
                    </a:lnTo>
                    <a:lnTo>
                      <a:pt x="93018" y="11109"/>
                    </a:lnTo>
                    <a:lnTo>
                      <a:pt x="93371" y="10845"/>
                    </a:lnTo>
                    <a:lnTo>
                      <a:pt x="93018" y="10492"/>
                    </a:lnTo>
                    <a:lnTo>
                      <a:pt x="93371" y="10492"/>
                    </a:lnTo>
                    <a:lnTo>
                      <a:pt x="93371" y="10845"/>
                    </a:lnTo>
                    <a:lnTo>
                      <a:pt x="93371" y="11109"/>
                    </a:lnTo>
                    <a:lnTo>
                      <a:pt x="92753" y="11991"/>
                    </a:lnTo>
                    <a:lnTo>
                      <a:pt x="91872" y="11991"/>
                    </a:lnTo>
                    <a:lnTo>
                      <a:pt x="91255" y="12255"/>
                    </a:lnTo>
                    <a:lnTo>
                      <a:pt x="90461" y="12873"/>
                    </a:lnTo>
                    <a:lnTo>
                      <a:pt x="89844" y="14019"/>
                    </a:lnTo>
                    <a:lnTo>
                      <a:pt x="89226" y="16664"/>
                    </a:lnTo>
                    <a:lnTo>
                      <a:pt x="87199" y="19309"/>
                    </a:lnTo>
                    <a:lnTo>
                      <a:pt x="84642" y="21601"/>
                    </a:lnTo>
                    <a:lnTo>
                      <a:pt x="84025" y="21601"/>
                    </a:lnTo>
                    <a:lnTo>
                      <a:pt x="82526" y="21954"/>
                    </a:lnTo>
                    <a:lnTo>
                      <a:pt x="80851" y="22747"/>
                    </a:lnTo>
                    <a:lnTo>
                      <a:pt x="80498" y="24246"/>
                    </a:lnTo>
                    <a:lnTo>
                      <a:pt x="79969" y="24863"/>
                    </a:lnTo>
                    <a:lnTo>
                      <a:pt x="80234" y="25128"/>
                    </a:lnTo>
                    <a:lnTo>
                      <a:pt x="80234" y="25393"/>
                    </a:lnTo>
                    <a:lnTo>
                      <a:pt x="79616" y="25128"/>
                    </a:lnTo>
                    <a:lnTo>
                      <a:pt x="79352" y="24863"/>
                    </a:lnTo>
                    <a:lnTo>
                      <a:pt x="78470" y="24863"/>
                    </a:lnTo>
                    <a:lnTo>
                      <a:pt x="78205" y="25128"/>
                    </a:lnTo>
                    <a:lnTo>
                      <a:pt x="78205" y="25393"/>
                    </a:lnTo>
                    <a:lnTo>
                      <a:pt x="79616" y="26891"/>
                    </a:lnTo>
                    <a:lnTo>
                      <a:pt x="79969" y="28037"/>
                    </a:lnTo>
                    <a:lnTo>
                      <a:pt x="79616" y="28302"/>
                    </a:lnTo>
                    <a:lnTo>
                      <a:pt x="79087" y="28302"/>
                    </a:lnTo>
                    <a:lnTo>
                      <a:pt x="77589" y="27156"/>
                    </a:lnTo>
                    <a:lnTo>
                      <a:pt x="77059" y="26891"/>
                    </a:lnTo>
                    <a:lnTo>
                      <a:pt x="76442" y="27156"/>
                    </a:lnTo>
                    <a:lnTo>
                      <a:pt x="76442" y="28655"/>
                    </a:lnTo>
                    <a:lnTo>
                      <a:pt x="76707" y="29184"/>
                    </a:lnTo>
                    <a:lnTo>
                      <a:pt x="77059" y="29184"/>
                    </a:lnTo>
                    <a:lnTo>
                      <a:pt x="78205" y="30065"/>
                    </a:lnTo>
                    <a:lnTo>
                      <a:pt x="77589" y="30330"/>
                    </a:lnTo>
                    <a:lnTo>
                      <a:pt x="78470" y="31564"/>
                    </a:lnTo>
                    <a:lnTo>
                      <a:pt x="78205" y="31564"/>
                    </a:lnTo>
                    <a:lnTo>
                      <a:pt x="78205" y="31212"/>
                    </a:lnTo>
                    <a:lnTo>
                      <a:pt x="77853" y="31212"/>
                    </a:lnTo>
                    <a:lnTo>
                      <a:pt x="76707" y="30947"/>
                    </a:lnTo>
                    <a:lnTo>
                      <a:pt x="76089" y="31212"/>
                    </a:lnTo>
                    <a:lnTo>
                      <a:pt x="75825" y="31564"/>
                    </a:lnTo>
                    <a:lnTo>
                      <a:pt x="76089" y="32711"/>
                    </a:lnTo>
                    <a:lnTo>
                      <a:pt x="76089" y="32975"/>
                    </a:lnTo>
                    <a:lnTo>
                      <a:pt x="76089" y="33240"/>
                    </a:lnTo>
                    <a:lnTo>
                      <a:pt x="76442" y="32711"/>
                    </a:lnTo>
                    <a:lnTo>
                      <a:pt x="76442" y="33240"/>
                    </a:lnTo>
                    <a:lnTo>
                      <a:pt x="76442" y="33857"/>
                    </a:lnTo>
                    <a:lnTo>
                      <a:pt x="76089" y="33857"/>
                    </a:lnTo>
                    <a:lnTo>
                      <a:pt x="75825" y="33857"/>
                    </a:lnTo>
                    <a:lnTo>
                      <a:pt x="74943" y="33857"/>
                    </a:lnTo>
                    <a:lnTo>
                      <a:pt x="74679" y="33592"/>
                    </a:lnTo>
                    <a:lnTo>
                      <a:pt x="74062" y="33857"/>
                    </a:lnTo>
                    <a:lnTo>
                      <a:pt x="74062" y="34474"/>
                    </a:lnTo>
                    <a:lnTo>
                      <a:pt x="74679" y="34738"/>
                    </a:lnTo>
                    <a:lnTo>
                      <a:pt x="75296" y="35620"/>
                    </a:lnTo>
                    <a:lnTo>
                      <a:pt x="75560" y="36766"/>
                    </a:lnTo>
                    <a:lnTo>
                      <a:pt x="75560" y="37912"/>
                    </a:lnTo>
                    <a:lnTo>
                      <a:pt x="74943" y="38530"/>
                    </a:lnTo>
                    <a:lnTo>
                      <a:pt x="74679" y="38794"/>
                    </a:lnTo>
                    <a:lnTo>
                      <a:pt x="74414" y="39147"/>
                    </a:lnTo>
                    <a:lnTo>
                      <a:pt x="74943" y="39147"/>
                    </a:lnTo>
                    <a:lnTo>
                      <a:pt x="74943" y="39411"/>
                    </a:lnTo>
                    <a:lnTo>
                      <a:pt x="74679" y="39411"/>
                    </a:lnTo>
                    <a:lnTo>
                      <a:pt x="74414" y="39411"/>
                    </a:lnTo>
                    <a:lnTo>
                      <a:pt x="74062" y="39411"/>
                    </a:lnTo>
                    <a:lnTo>
                      <a:pt x="73797" y="39411"/>
                    </a:lnTo>
                    <a:lnTo>
                      <a:pt x="73797" y="38794"/>
                    </a:lnTo>
                    <a:lnTo>
                      <a:pt x="73533" y="38794"/>
                    </a:lnTo>
                    <a:lnTo>
                      <a:pt x="73180" y="38265"/>
                    </a:lnTo>
                    <a:lnTo>
                      <a:pt x="72651" y="38265"/>
                    </a:lnTo>
                    <a:lnTo>
                      <a:pt x="72298" y="38530"/>
                    </a:lnTo>
                    <a:lnTo>
                      <a:pt x="71505" y="39411"/>
                    </a:lnTo>
                    <a:lnTo>
                      <a:pt x="70623" y="40028"/>
                    </a:lnTo>
                    <a:lnTo>
                      <a:pt x="70006" y="41175"/>
                    </a:lnTo>
                    <a:lnTo>
                      <a:pt x="69388" y="41439"/>
                    </a:lnTo>
                    <a:lnTo>
                      <a:pt x="68595" y="42056"/>
                    </a:lnTo>
                    <a:lnTo>
                      <a:pt x="65597" y="42585"/>
                    </a:lnTo>
                    <a:lnTo>
                      <a:pt x="62423" y="43202"/>
                    </a:lnTo>
                    <a:lnTo>
                      <a:pt x="62159" y="43202"/>
                    </a:lnTo>
                    <a:lnTo>
                      <a:pt x="61806" y="43202"/>
                    </a:lnTo>
                    <a:lnTo>
                      <a:pt x="61277" y="43202"/>
                    </a:lnTo>
                    <a:lnTo>
                      <a:pt x="60396" y="42938"/>
                    </a:lnTo>
                    <a:lnTo>
                      <a:pt x="59514" y="42585"/>
                    </a:lnTo>
                    <a:lnTo>
                      <a:pt x="58985" y="43202"/>
                    </a:lnTo>
                    <a:lnTo>
                      <a:pt x="57751" y="43467"/>
                    </a:lnTo>
                    <a:lnTo>
                      <a:pt x="56869" y="44084"/>
                    </a:lnTo>
                    <a:lnTo>
                      <a:pt x="56251" y="44084"/>
                    </a:lnTo>
                    <a:lnTo>
                      <a:pt x="55987" y="43820"/>
                    </a:lnTo>
                    <a:lnTo>
                      <a:pt x="56251" y="42938"/>
                    </a:lnTo>
                    <a:lnTo>
                      <a:pt x="55987" y="42585"/>
                    </a:lnTo>
                    <a:lnTo>
                      <a:pt x="55458" y="42585"/>
                    </a:lnTo>
                    <a:lnTo>
                      <a:pt x="54841" y="42585"/>
                    </a:lnTo>
                    <a:lnTo>
                      <a:pt x="53695" y="42938"/>
                    </a:lnTo>
                    <a:lnTo>
                      <a:pt x="53078" y="42585"/>
                    </a:lnTo>
                    <a:lnTo>
                      <a:pt x="52813" y="42585"/>
                    </a:lnTo>
                    <a:lnTo>
                      <a:pt x="52549" y="42056"/>
                    </a:lnTo>
                    <a:lnTo>
                      <a:pt x="52549" y="41175"/>
                    </a:lnTo>
                    <a:lnTo>
                      <a:pt x="52549" y="40822"/>
                    </a:lnTo>
                    <a:lnTo>
                      <a:pt x="52196" y="40558"/>
                    </a:lnTo>
                    <a:lnTo>
                      <a:pt x="51931" y="40822"/>
                    </a:lnTo>
                    <a:lnTo>
                      <a:pt x="50433" y="42585"/>
                    </a:lnTo>
                    <a:lnTo>
                      <a:pt x="50168" y="42585"/>
                    </a:lnTo>
                    <a:lnTo>
                      <a:pt x="49904" y="42585"/>
                    </a:lnTo>
                    <a:lnTo>
                      <a:pt x="49904" y="42056"/>
                    </a:lnTo>
                    <a:lnTo>
                      <a:pt x="49286" y="41439"/>
                    </a:lnTo>
                    <a:lnTo>
                      <a:pt x="47788" y="40822"/>
                    </a:lnTo>
                    <a:lnTo>
                      <a:pt x="47259" y="40822"/>
                    </a:lnTo>
                    <a:lnTo>
                      <a:pt x="46994" y="40822"/>
                    </a:lnTo>
                    <a:lnTo>
                      <a:pt x="47259" y="41704"/>
                    </a:lnTo>
                    <a:lnTo>
                      <a:pt x="46994" y="42056"/>
                    </a:lnTo>
                    <a:lnTo>
                      <a:pt x="46730" y="41704"/>
                    </a:lnTo>
                    <a:lnTo>
                      <a:pt x="45230" y="41439"/>
                    </a:lnTo>
                    <a:lnTo>
                      <a:pt x="44084" y="41175"/>
                    </a:lnTo>
                    <a:lnTo>
                      <a:pt x="43732" y="41175"/>
                    </a:lnTo>
                    <a:lnTo>
                      <a:pt x="44084" y="41439"/>
                    </a:lnTo>
                    <a:lnTo>
                      <a:pt x="44084" y="42056"/>
                    </a:lnTo>
                    <a:lnTo>
                      <a:pt x="43732" y="42056"/>
                    </a:lnTo>
                    <a:lnTo>
                      <a:pt x="42850" y="41704"/>
                    </a:lnTo>
                    <a:lnTo>
                      <a:pt x="41704" y="41175"/>
                    </a:lnTo>
                    <a:lnTo>
                      <a:pt x="41175" y="41175"/>
                    </a:lnTo>
                    <a:lnTo>
                      <a:pt x="39412" y="42056"/>
                    </a:lnTo>
                    <a:lnTo>
                      <a:pt x="38530" y="42056"/>
                    </a:lnTo>
                    <a:lnTo>
                      <a:pt x="38177" y="42056"/>
                    </a:lnTo>
                    <a:lnTo>
                      <a:pt x="37913" y="41704"/>
                    </a:lnTo>
                    <a:lnTo>
                      <a:pt x="37648" y="41175"/>
                    </a:lnTo>
                    <a:lnTo>
                      <a:pt x="37296" y="41175"/>
                    </a:lnTo>
                    <a:lnTo>
                      <a:pt x="37648" y="42056"/>
                    </a:lnTo>
                    <a:lnTo>
                      <a:pt x="37296" y="42056"/>
                    </a:lnTo>
                    <a:lnTo>
                      <a:pt x="36767" y="40293"/>
                    </a:lnTo>
                    <a:lnTo>
                      <a:pt x="36502" y="40028"/>
                    </a:lnTo>
                    <a:lnTo>
                      <a:pt x="35885" y="40293"/>
                    </a:lnTo>
                    <a:lnTo>
                      <a:pt x="35267" y="40028"/>
                    </a:lnTo>
                    <a:lnTo>
                      <a:pt x="35003" y="40028"/>
                    </a:lnTo>
                    <a:lnTo>
                      <a:pt x="35003" y="40558"/>
                    </a:lnTo>
                    <a:lnTo>
                      <a:pt x="35267" y="40822"/>
                    </a:lnTo>
                    <a:lnTo>
                      <a:pt x="35003" y="41175"/>
                    </a:lnTo>
                    <a:lnTo>
                      <a:pt x="35003" y="41704"/>
                    </a:lnTo>
                    <a:lnTo>
                      <a:pt x="34474" y="42056"/>
                    </a:lnTo>
                    <a:lnTo>
                      <a:pt x="33504" y="41704"/>
                    </a:lnTo>
                    <a:lnTo>
                      <a:pt x="32975" y="42056"/>
                    </a:lnTo>
                    <a:lnTo>
                      <a:pt x="32358" y="42321"/>
                    </a:lnTo>
                    <a:lnTo>
                      <a:pt x="32093" y="42585"/>
                    </a:lnTo>
                    <a:lnTo>
                      <a:pt x="32093" y="43202"/>
                    </a:lnTo>
                    <a:lnTo>
                      <a:pt x="32093" y="43820"/>
                    </a:lnTo>
                    <a:lnTo>
                      <a:pt x="31829" y="43820"/>
                    </a:lnTo>
                    <a:lnTo>
                      <a:pt x="31476" y="43820"/>
                    </a:lnTo>
                    <a:lnTo>
                      <a:pt x="31212" y="44613"/>
                    </a:lnTo>
                    <a:lnTo>
                      <a:pt x="30947" y="44966"/>
                    </a:lnTo>
                    <a:lnTo>
                      <a:pt x="30066" y="44966"/>
                    </a:lnTo>
                    <a:lnTo>
                      <a:pt x="29448" y="45230"/>
                    </a:lnTo>
                    <a:lnTo>
                      <a:pt x="29713" y="44966"/>
                    </a:lnTo>
                    <a:lnTo>
                      <a:pt x="29448" y="44613"/>
                    </a:lnTo>
                    <a:lnTo>
                      <a:pt x="29184" y="44966"/>
                    </a:lnTo>
                    <a:lnTo>
                      <a:pt x="28566" y="45495"/>
                    </a:lnTo>
                    <a:lnTo>
                      <a:pt x="27685" y="45495"/>
                    </a:lnTo>
                    <a:lnTo>
                      <a:pt x="26539" y="45495"/>
                    </a:lnTo>
                    <a:lnTo>
                      <a:pt x="26275" y="45495"/>
                    </a:lnTo>
                    <a:lnTo>
                      <a:pt x="25922" y="45848"/>
                    </a:lnTo>
                    <a:lnTo>
                      <a:pt x="25922" y="46377"/>
                    </a:lnTo>
                    <a:lnTo>
                      <a:pt x="25393" y="46377"/>
                    </a:lnTo>
                    <a:lnTo>
                      <a:pt x="25128" y="46112"/>
                    </a:lnTo>
                    <a:lnTo>
                      <a:pt x="24864" y="45495"/>
                    </a:lnTo>
                    <a:lnTo>
                      <a:pt x="24246" y="45230"/>
                    </a:lnTo>
                    <a:lnTo>
                      <a:pt x="23629" y="44966"/>
                    </a:lnTo>
                    <a:lnTo>
                      <a:pt x="23100" y="44966"/>
                    </a:lnTo>
                    <a:lnTo>
                      <a:pt x="22483" y="44613"/>
                    </a:lnTo>
                    <a:lnTo>
                      <a:pt x="22130" y="44966"/>
                    </a:lnTo>
                    <a:lnTo>
                      <a:pt x="22130" y="45230"/>
                    </a:lnTo>
                    <a:lnTo>
                      <a:pt x="22483" y="45495"/>
                    </a:lnTo>
                    <a:lnTo>
                      <a:pt x="22483" y="46112"/>
                    </a:lnTo>
                    <a:lnTo>
                      <a:pt x="22483" y="46377"/>
                    </a:lnTo>
                    <a:lnTo>
                      <a:pt x="21866" y="46377"/>
                    </a:lnTo>
                    <a:lnTo>
                      <a:pt x="21601" y="45495"/>
                    </a:lnTo>
                    <a:lnTo>
                      <a:pt x="21337" y="45230"/>
                    </a:lnTo>
                    <a:lnTo>
                      <a:pt x="20984" y="44966"/>
                    </a:lnTo>
                    <a:lnTo>
                      <a:pt x="20720" y="44966"/>
                    </a:lnTo>
                    <a:lnTo>
                      <a:pt x="20103" y="44966"/>
                    </a:lnTo>
                    <a:lnTo>
                      <a:pt x="19838" y="44966"/>
                    </a:lnTo>
                    <a:lnTo>
                      <a:pt x="19574" y="44966"/>
                    </a:lnTo>
                    <a:lnTo>
                      <a:pt x="19221" y="44349"/>
                    </a:lnTo>
                    <a:lnTo>
                      <a:pt x="19221" y="44084"/>
                    </a:lnTo>
                    <a:lnTo>
                      <a:pt x="18956" y="43820"/>
                    </a:lnTo>
                    <a:lnTo>
                      <a:pt x="18692" y="43467"/>
                    </a:lnTo>
                    <a:lnTo>
                      <a:pt x="18339" y="43467"/>
                    </a:lnTo>
                    <a:lnTo>
                      <a:pt x="17810" y="42585"/>
                    </a:lnTo>
                    <a:lnTo>
                      <a:pt x="16576" y="42056"/>
                    </a:lnTo>
                    <a:lnTo>
                      <a:pt x="16929" y="40822"/>
                    </a:lnTo>
                    <a:lnTo>
                      <a:pt x="17810" y="40293"/>
                    </a:lnTo>
                    <a:lnTo>
                      <a:pt x="18339" y="39147"/>
                    </a:lnTo>
                    <a:lnTo>
                      <a:pt x="18692" y="38265"/>
                    </a:lnTo>
                    <a:lnTo>
                      <a:pt x="18339" y="38265"/>
                    </a:lnTo>
                    <a:lnTo>
                      <a:pt x="17193" y="37912"/>
                    </a:lnTo>
                    <a:lnTo>
                      <a:pt x="16576" y="38530"/>
                    </a:lnTo>
                    <a:lnTo>
                      <a:pt x="16311" y="38265"/>
                    </a:lnTo>
                    <a:lnTo>
                      <a:pt x="15782" y="38530"/>
                    </a:lnTo>
                    <a:lnTo>
                      <a:pt x="15782" y="38265"/>
                    </a:lnTo>
                    <a:lnTo>
                      <a:pt x="15429" y="38265"/>
                    </a:lnTo>
                    <a:lnTo>
                      <a:pt x="15429" y="38530"/>
                    </a:lnTo>
                    <a:lnTo>
                      <a:pt x="15429" y="39147"/>
                    </a:lnTo>
                    <a:lnTo>
                      <a:pt x="15429" y="39411"/>
                    </a:lnTo>
                    <a:lnTo>
                      <a:pt x="15165" y="39411"/>
                    </a:lnTo>
                    <a:lnTo>
                      <a:pt x="14900" y="39411"/>
                    </a:lnTo>
                    <a:lnTo>
                      <a:pt x="14900" y="39147"/>
                    </a:lnTo>
                    <a:lnTo>
                      <a:pt x="14900" y="38265"/>
                    </a:lnTo>
                    <a:lnTo>
                      <a:pt x="14900" y="36502"/>
                    </a:lnTo>
                    <a:lnTo>
                      <a:pt x="14548" y="35620"/>
                    </a:lnTo>
                    <a:lnTo>
                      <a:pt x="14283" y="35355"/>
                    </a:lnTo>
                    <a:lnTo>
                      <a:pt x="14019" y="35003"/>
                    </a:lnTo>
                    <a:lnTo>
                      <a:pt x="13137" y="34738"/>
                    </a:lnTo>
                    <a:lnTo>
                      <a:pt x="12873" y="34738"/>
                    </a:lnTo>
                    <a:lnTo>
                      <a:pt x="12873" y="35003"/>
                    </a:lnTo>
                    <a:lnTo>
                      <a:pt x="12873" y="35620"/>
                    </a:lnTo>
                    <a:lnTo>
                      <a:pt x="13137" y="36766"/>
                    </a:lnTo>
                    <a:lnTo>
                      <a:pt x="13137" y="38265"/>
                    </a:lnTo>
                    <a:lnTo>
                      <a:pt x="13402" y="38530"/>
                    </a:lnTo>
                    <a:lnTo>
                      <a:pt x="13137" y="39147"/>
                    </a:lnTo>
                    <a:lnTo>
                      <a:pt x="12873" y="39147"/>
                    </a:lnTo>
                    <a:lnTo>
                      <a:pt x="12520" y="39411"/>
                    </a:lnTo>
                    <a:lnTo>
                      <a:pt x="12520" y="39147"/>
                    </a:lnTo>
                    <a:lnTo>
                      <a:pt x="12520" y="38530"/>
                    </a:lnTo>
                    <a:lnTo>
                      <a:pt x="12873" y="37648"/>
                    </a:lnTo>
                    <a:lnTo>
                      <a:pt x="12256" y="36766"/>
                    </a:lnTo>
                    <a:lnTo>
                      <a:pt x="11991" y="36502"/>
                    </a:lnTo>
                    <a:lnTo>
                      <a:pt x="11109" y="36149"/>
                    </a:lnTo>
                    <a:lnTo>
                      <a:pt x="10492" y="36149"/>
                    </a:lnTo>
                    <a:lnTo>
                      <a:pt x="9963" y="36502"/>
                    </a:lnTo>
                    <a:lnTo>
                      <a:pt x="9611" y="36766"/>
                    </a:lnTo>
                    <a:lnTo>
                      <a:pt x="9082" y="37912"/>
                    </a:lnTo>
                    <a:lnTo>
                      <a:pt x="8729" y="38265"/>
                    </a:lnTo>
                    <a:lnTo>
                      <a:pt x="8464" y="38265"/>
                    </a:lnTo>
                    <a:lnTo>
                      <a:pt x="7054" y="37031"/>
                    </a:lnTo>
                    <a:lnTo>
                      <a:pt x="6701" y="36766"/>
                    </a:lnTo>
                    <a:lnTo>
                      <a:pt x="6701" y="36502"/>
                    </a:lnTo>
                    <a:lnTo>
                      <a:pt x="6701" y="35620"/>
                    </a:lnTo>
                    <a:lnTo>
                      <a:pt x="7054" y="35355"/>
                    </a:lnTo>
                    <a:lnTo>
                      <a:pt x="6701" y="34209"/>
                    </a:lnTo>
                    <a:lnTo>
                      <a:pt x="6701" y="33857"/>
                    </a:lnTo>
                    <a:lnTo>
                      <a:pt x="7054" y="33592"/>
                    </a:lnTo>
                    <a:lnTo>
                      <a:pt x="7054" y="33240"/>
                    </a:lnTo>
                    <a:lnTo>
                      <a:pt x="7318" y="33592"/>
                    </a:lnTo>
                    <a:lnTo>
                      <a:pt x="7847" y="33592"/>
                    </a:lnTo>
                    <a:lnTo>
                      <a:pt x="9346" y="32975"/>
                    </a:lnTo>
                    <a:lnTo>
                      <a:pt x="9611" y="32711"/>
                    </a:lnTo>
                    <a:lnTo>
                      <a:pt x="9611" y="32446"/>
                    </a:lnTo>
                    <a:lnTo>
                      <a:pt x="9346" y="31829"/>
                    </a:lnTo>
                    <a:lnTo>
                      <a:pt x="9082" y="31212"/>
                    </a:lnTo>
                    <a:lnTo>
                      <a:pt x="9346" y="30947"/>
                    </a:lnTo>
                    <a:lnTo>
                      <a:pt x="10845" y="30683"/>
                    </a:lnTo>
                    <a:lnTo>
                      <a:pt x="11109" y="30683"/>
                    </a:lnTo>
                    <a:lnTo>
                      <a:pt x="11374" y="30330"/>
                    </a:lnTo>
                    <a:lnTo>
                      <a:pt x="11638" y="30065"/>
                    </a:lnTo>
                    <a:lnTo>
                      <a:pt x="11374" y="29801"/>
                    </a:lnTo>
                    <a:lnTo>
                      <a:pt x="11109" y="29448"/>
                    </a:lnTo>
                    <a:lnTo>
                      <a:pt x="10492" y="29801"/>
                    </a:lnTo>
                    <a:lnTo>
                      <a:pt x="10228" y="30065"/>
                    </a:lnTo>
                    <a:lnTo>
                      <a:pt x="9611" y="30330"/>
                    </a:lnTo>
                    <a:lnTo>
                      <a:pt x="8729" y="30330"/>
                    </a:lnTo>
                    <a:lnTo>
                      <a:pt x="8200" y="30683"/>
                    </a:lnTo>
                    <a:lnTo>
                      <a:pt x="7318" y="30683"/>
                    </a:lnTo>
                    <a:lnTo>
                      <a:pt x="6437" y="30947"/>
                    </a:lnTo>
                    <a:lnTo>
                      <a:pt x="6172" y="30683"/>
                    </a:lnTo>
                    <a:lnTo>
                      <a:pt x="6172" y="30065"/>
                    </a:lnTo>
                    <a:lnTo>
                      <a:pt x="6172" y="29801"/>
                    </a:lnTo>
                    <a:lnTo>
                      <a:pt x="6172" y="29448"/>
                    </a:lnTo>
                    <a:lnTo>
                      <a:pt x="6701" y="29184"/>
                    </a:lnTo>
                    <a:lnTo>
                      <a:pt x="7054" y="28919"/>
                    </a:lnTo>
                    <a:lnTo>
                      <a:pt x="5202" y="291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6" name="Freihandform: Form 1845">
                <a:extLst>
                  <a:ext uri="{FF2B5EF4-FFF2-40B4-BE49-F238E27FC236}">
                    <a16:creationId xmlns:a16="http://schemas.microsoft.com/office/drawing/2014/main" id="{3057BC53-2995-6948-ED94-A701AA0FB709}"/>
                  </a:ext>
                </a:extLst>
              </p:cNvPr>
              <p:cNvSpPr/>
              <p:nvPr/>
            </p:nvSpPr>
            <p:spPr>
              <a:xfrm>
                <a:off x="5054593" y="3399551"/>
                <a:ext cx="41350" cy="38176"/>
              </a:xfrm>
              <a:custGeom>
                <a:avLst/>
                <a:gdLst>
                  <a:gd name="connsiteX0" fmla="*/ 0 w 41350"/>
                  <a:gd name="connsiteY0" fmla="*/ 25393 h 38176"/>
                  <a:gd name="connsiteX1" fmla="*/ 20102 w 41350"/>
                  <a:gd name="connsiteY1" fmla="*/ 27420 h 38176"/>
                  <a:gd name="connsiteX2" fmla="*/ 22130 w 41350"/>
                  <a:gd name="connsiteY2" fmla="*/ 32358 h 38176"/>
                  <a:gd name="connsiteX3" fmla="*/ 22395 w 41350"/>
                  <a:gd name="connsiteY3" fmla="*/ 34738 h 38176"/>
                  <a:gd name="connsiteX4" fmla="*/ 22395 w 41350"/>
                  <a:gd name="connsiteY4" fmla="*/ 36149 h 38176"/>
                  <a:gd name="connsiteX5" fmla="*/ 25657 w 41350"/>
                  <a:gd name="connsiteY5" fmla="*/ 37912 h 38176"/>
                  <a:gd name="connsiteX6" fmla="*/ 25657 w 41350"/>
                  <a:gd name="connsiteY6" fmla="*/ 38177 h 38176"/>
                  <a:gd name="connsiteX7" fmla="*/ 41086 w 41350"/>
                  <a:gd name="connsiteY7" fmla="*/ 38177 h 38176"/>
                  <a:gd name="connsiteX8" fmla="*/ 40822 w 41350"/>
                  <a:gd name="connsiteY8" fmla="*/ 37295 h 38176"/>
                  <a:gd name="connsiteX9" fmla="*/ 40822 w 41350"/>
                  <a:gd name="connsiteY9" fmla="*/ 36414 h 38176"/>
                  <a:gd name="connsiteX10" fmla="*/ 39940 w 41350"/>
                  <a:gd name="connsiteY10" fmla="*/ 36149 h 38176"/>
                  <a:gd name="connsiteX11" fmla="*/ 41351 w 41350"/>
                  <a:gd name="connsiteY11" fmla="*/ 35620 h 38176"/>
                  <a:gd name="connsiteX12" fmla="*/ 39940 w 41350"/>
                  <a:gd name="connsiteY12" fmla="*/ 35267 h 38176"/>
                  <a:gd name="connsiteX13" fmla="*/ 40822 w 41350"/>
                  <a:gd name="connsiteY13" fmla="*/ 35003 h 38176"/>
                  <a:gd name="connsiteX14" fmla="*/ 40469 w 41350"/>
                  <a:gd name="connsiteY14" fmla="*/ 34121 h 38176"/>
                  <a:gd name="connsiteX15" fmla="*/ 39588 w 41350"/>
                  <a:gd name="connsiteY15" fmla="*/ 33504 h 38176"/>
                  <a:gd name="connsiteX16" fmla="*/ 37295 w 41350"/>
                  <a:gd name="connsiteY16" fmla="*/ 33504 h 38176"/>
                  <a:gd name="connsiteX17" fmla="*/ 37031 w 41350"/>
                  <a:gd name="connsiteY17" fmla="*/ 30947 h 38176"/>
                  <a:gd name="connsiteX18" fmla="*/ 37031 w 41350"/>
                  <a:gd name="connsiteY18" fmla="*/ 30330 h 38176"/>
                  <a:gd name="connsiteX19" fmla="*/ 36149 w 41350"/>
                  <a:gd name="connsiteY19" fmla="*/ 29184 h 38176"/>
                  <a:gd name="connsiteX20" fmla="*/ 33504 w 41350"/>
                  <a:gd name="connsiteY20" fmla="*/ 26539 h 38176"/>
                  <a:gd name="connsiteX21" fmla="*/ 32005 w 41350"/>
                  <a:gd name="connsiteY21" fmla="*/ 20719 h 38176"/>
                  <a:gd name="connsiteX22" fmla="*/ 31212 w 41350"/>
                  <a:gd name="connsiteY22" fmla="*/ 18692 h 38176"/>
                  <a:gd name="connsiteX23" fmla="*/ 28831 w 41350"/>
                  <a:gd name="connsiteY23" fmla="*/ 18075 h 38176"/>
                  <a:gd name="connsiteX24" fmla="*/ 28567 w 41350"/>
                  <a:gd name="connsiteY24" fmla="*/ 16928 h 38176"/>
                  <a:gd name="connsiteX25" fmla="*/ 26538 w 41350"/>
                  <a:gd name="connsiteY25" fmla="*/ 18956 h 38176"/>
                  <a:gd name="connsiteX26" fmla="*/ 25657 w 41350"/>
                  <a:gd name="connsiteY26" fmla="*/ 18075 h 38176"/>
                  <a:gd name="connsiteX27" fmla="*/ 26186 w 41350"/>
                  <a:gd name="connsiteY27" fmla="*/ 16928 h 38176"/>
                  <a:gd name="connsiteX28" fmla="*/ 23276 w 41350"/>
                  <a:gd name="connsiteY28" fmla="*/ 17457 h 38176"/>
                  <a:gd name="connsiteX29" fmla="*/ 23276 w 41350"/>
                  <a:gd name="connsiteY29" fmla="*/ 16928 h 38176"/>
                  <a:gd name="connsiteX30" fmla="*/ 25921 w 41350"/>
                  <a:gd name="connsiteY30" fmla="*/ 13666 h 38176"/>
                  <a:gd name="connsiteX31" fmla="*/ 27421 w 41350"/>
                  <a:gd name="connsiteY31" fmla="*/ 13402 h 38176"/>
                  <a:gd name="connsiteX32" fmla="*/ 27949 w 41350"/>
                  <a:gd name="connsiteY32" fmla="*/ 11374 h 38176"/>
                  <a:gd name="connsiteX33" fmla="*/ 29448 w 41350"/>
                  <a:gd name="connsiteY33" fmla="*/ 11991 h 38176"/>
                  <a:gd name="connsiteX34" fmla="*/ 29713 w 41350"/>
                  <a:gd name="connsiteY34" fmla="*/ 12255 h 38176"/>
                  <a:gd name="connsiteX35" fmla="*/ 31212 w 41350"/>
                  <a:gd name="connsiteY35" fmla="*/ 11991 h 38176"/>
                  <a:gd name="connsiteX36" fmla="*/ 31741 w 41350"/>
                  <a:gd name="connsiteY36" fmla="*/ 13402 h 38176"/>
                  <a:gd name="connsiteX37" fmla="*/ 32622 w 41350"/>
                  <a:gd name="connsiteY37" fmla="*/ 13402 h 38176"/>
                  <a:gd name="connsiteX38" fmla="*/ 32358 w 41350"/>
                  <a:gd name="connsiteY38" fmla="*/ 12520 h 38176"/>
                  <a:gd name="connsiteX39" fmla="*/ 30859 w 41350"/>
                  <a:gd name="connsiteY39" fmla="*/ 9610 h 38176"/>
                  <a:gd name="connsiteX40" fmla="*/ 27421 w 41350"/>
                  <a:gd name="connsiteY40" fmla="*/ 7318 h 38176"/>
                  <a:gd name="connsiteX41" fmla="*/ 27067 w 41350"/>
                  <a:gd name="connsiteY41" fmla="*/ 5555 h 38176"/>
                  <a:gd name="connsiteX42" fmla="*/ 26538 w 41350"/>
                  <a:gd name="connsiteY42" fmla="*/ 3527 h 38176"/>
                  <a:gd name="connsiteX43" fmla="*/ 21249 w 41350"/>
                  <a:gd name="connsiteY43" fmla="*/ 0 h 38176"/>
                  <a:gd name="connsiteX44" fmla="*/ 14548 w 41350"/>
                  <a:gd name="connsiteY44" fmla="*/ 0 h 38176"/>
                  <a:gd name="connsiteX45" fmla="*/ 10139 w 41350"/>
                  <a:gd name="connsiteY45" fmla="*/ 2645 h 38176"/>
                  <a:gd name="connsiteX46" fmla="*/ 9610 w 41350"/>
                  <a:gd name="connsiteY46" fmla="*/ 3791 h 38176"/>
                  <a:gd name="connsiteX47" fmla="*/ 6701 w 41350"/>
                  <a:gd name="connsiteY47" fmla="*/ 12520 h 38176"/>
                  <a:gd name="connsiteX48" fmla="*/ 2557 w 41350"/>
                  <a:gd name="connsiteY48" fmla="*/ 20984 h 38176"/>
                  <a:gd name="connsiteX49" fmla="*/ 1675 w 41350"/>
                  <a:gd name="connsiteY49" fmla="*/ 23629 h 38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41350" h="38176">
                    <a:moveTo>
                      <a:pt x="0" y="25393"/>
                    </a:moveTo>
                    <a:lnTo>
                      <a:pt x="20102" y="27420"/>
                    </a:lnTo>
                    <a:lnTo>
                      <a:pt x="22130" y="32358"/>
                    </a:lnTo>
                    <a:lnTo>
                      <a:pt x="22395" y="34738"/>
                    </a:lnTo>
                    <a:lnTo>
                      <a:pt x="22395" y="36149"/>
                    </a:lnTo>
                    <a:lnTo>
                      <a:pt x="25657" y="37912"/>
                    </a:lnTo>
                    <a:lnTo>
                      <a:pt x="25657" y="38177"/>
                    </a:lnTo>
                    <a:lnTo>
                      <a:pt x="41086" y="38177"/>
                    </a:lnTo>
                    <a:lnTo>
                      <a:pt x="40822" y="37295"/>
                    </a:lnTo>
                    <a:lnTo>
                      <a:pt x="40822" y="36414"/>
                    </a:lnTo>
                    <a:lnTo>
                      <a:pt x="39940" y="36149"/>
                    </a:lnTo>
                    <a:lnTo>
                      <a:pt x="41351" y="35620"/>
                    </a:lnTo>
                    <a:lnTo>
                      <a:pt x="39940" y="35267"/>
                    </a:lnTo>
                    <a:lnTo>
                      <a:pt x="40822" y="35003"/>
                    </a:lnTo>
                    <a:lnTo>
                      <a:pt x="40469" y="34121"/>
                    </a:lnTo>
                    <a:lnTo>
                      <a:pt x="39588" y="33504"/>
                    </a:lnTo>
                    <a:lnTo>
                      <a:pt x="37295" y="33504"/>
                    </a:lnTo>
                    <a:lnTo>
                      <a:pt x="37031" y="30947"/>
                    </a:lnTo>
                    <a:lnTo>
                      <a:pt x="37031" y="30330"/>
                    </a:lnTo>
                    <a:lnTo>
                      <a:pt x="36149" y="29184"/>
                    </a:lnTo>
                    <a:lnTo>
                      <a:pt x="33504" y="26539"/>
                    </a:lnTo>
                    <a:lnTo>
                      <a:pt x="32005" y="20719"/>
                    </a:lnTo>
                    <a:lnTo>
                      <a:pt x="31212" y="18692"/>
                    </a:lnTo>
                    <a:lnTo>
                      <a:pt x="28831" y="18075"/>
                    </a:lnTo>
                    <a:lnTo>
                      <a:pt x="28567" y="16928"/>
                    </a:lnTo>
                    <a:lnTo>
                      <a:pt x="26538" y="18956"/>
                    </a:lnTo>
                    <a:lnTo>
                      <a:pt x="25657" y="18075"/>
                    </a:lnTo>
                    <a:lnTo>
                      <a:pt x="26186" y="16928"/>
                    </a:lnTo>
                    <a:lnTo>
                      <a:pt x="23276" y="17457"/>
                    </a:lnTo>
                    <a:lnTo>
                      <a:pt x="23276" y="16928"/>
                    </a:lnTo>
                    <a:lnTo>
                      <a:pt x="25921" y="13666"/>
                    </a:lnTo>
                    <a:lnTo>
                      <a:pt x="27421" y="13402"/>
                    </a:lnTo>
                    <a:lnTo>
                      <a:pt x="27949" y="11374"/>
                    </a:lnTo>
                    <a:lnTo>
                      <a:pt x="29448" y="11991"/>
                    </a:lnTo>
                    <a:lnTo>
                      <a:pt x="29713" y="12255"/>
                    </a:lnTo>
                    <a:lnTo>
                      <a:pt x="31212" y="11991"/>
                    </a:lnTo>
                    <a:lnTo>
                      <a:pt x="31741" y="13402"/>
                    </a:lnTo>
                    <a:lnTo>
                      <a:pt x="32622" y="13402"/>
                    </a:lnTo>
                    <a:lnTo>
                      <a:pt x="32358" y="12520"/>
                    </a:lnTo>
                    <a:lnTo>
                      <a:pt x="30859" y="9610"/>
                    </a:lnTo>
                    <a:lnTo>
                      <a:pt x="27421" y="7318"/>
                    </a:lnTo>
                    <a:lnTo>
                      <a:pt x="27067" y="5555"/>
                    </a:lnTo>
                    <a:lnTo>
                      <a:pt x="26538" y="3527"/>
                    </a:lnTo>
                    <a:lnTo>
                      <a:pt x="21249" y="0"/>
                    </a:lnTo>
                    <a:lnTo>
                      <a:pt x="14548" y="0"/>
                    </a:lnTo>
                    <a:lnTo>
                      <a:pt x="10139" y="2645"/>
                    </a:lnTo>
                    <a:lnTo>
                      <a:pt x="9610" y="3791"/>
                    </a:lnTo>
                    <a:lnTo>
                      <a:pt x="6701" y="12520"/>
                    </a:lnTo>
                    <a:lnTo>
                      <a:pt x="2557" y="20984"/>
                    </a:lnTo>
                    <a:lnTo>
                      <a:pt x="1675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7" name="Freihandform: Form 1846">
                <a:extLst>
                  <a:ext uri="{FF2B5EF4-FFF2-40B4-BE49-F238E27FC236}">
                    <a16:creationId xmlns:a16="http://schemas.microsoft.com/office/drawing/2014/main" id="{FD49685F-F896-98A1-C64B-FA60E3D2DD81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8" name="Freihandform: Form 1847">
                <a:extLst>
                  <a:ext uri="{FF2B5EF4-FFF2-40B4-BE49-F238E27FC236}">
                    <a16:creationId xmlns:a16="http://schemas.microsoft.com/office/drawing/2014/main" id="{3584E976-E9C9-100B-35C7-AD236FC55E2B}"/>
                  </a:ext>
                </a:extLst>
              </p:cNvPr>
              <p:cNvSpPr/>
              <p:nvPr/>
            </p:nvSpPr>
            <p:spPr>
              <a:xfrm>
                <a:off x="4790000" y="3323726"/>
                <a:ext cx="25392" cy="89843"/>
              </a:xfrm>
              <a:custGeom>
                <a:avLst/>
                <a:gdLst>
                  <a:gd name="connsiteX0" fmla="*/ 24511 w 25392"/>
                  <a:gd name="connsiteY0" fmla="*/ 41086 h 89843"/>
                  <a:gd name="connsiteX1" fmla="*/ 24511 w 25392"/>
                  <a:gd name="connsiteY1" fmla="*/ 39940 h 89843"/>
                  <a:gd name="connsiteX2" fmla="*/ 23012 w 25392"/>
                  <a:gd name="connsiteY2" fmla="*/ 39676 h 89843"/>
                  <a:gd name="connsiteX3" fmla="*/ 20102 w 25392"/>
                  <a:gd name="connsiteY3" fmla="*/ 41704 h 89843"/>
                  <a:gd name="connsiteX4" fmla="*/ 19838 w 25392"/>
                  <a:gd name="connsiteY4" fmla="*/ 42850 h 89843"/>
                  <a:gd name="connsiteX5" fmla="*/ 13402 w 25392"/>
                  <a:gd name="connsiteY5" fmla="*/ 43467 h 89843"/>
                  <a:gd name="connsiteX6" fmla="*/ 12256 w 25392"/>
                  <a:gd name="connsiteY6" fmla="*/ 41968 h 89843"/>
                  <a:gd name="connsiteX7" fmla="*/ 13402 w 25392"/>
                  <a:gd name="connsiteY7" fmla="*/ 39676 h 89843"/>
                  <a:gd name="connsiteX8" fmla="*/ 13402 w 25392"/>
                  <a:gd name="connsiteY8" fmla="*/ 37031 h 89843"/>
                  <a:gd name="connsiteX9" fmla="*/ 17193 w 25392"/>
                  <a:gd name="connsiteY9" fmla="*/ 33504 h 89843"/>
                  <a:gd name="connsiteX10" fmla="*/ 18075 w 25392"/>
                  <a:gd name="connsiteY10" fmla="*/ 33240 h 89843"/>
                  <a:gd name="connsiteX11" fmla="*/ 16047 w 25392"/>
                  <a:gd name="connsiteY11" fmla="*/ 31476 h 89843"/>
                  <a:gd name="connsiteX12" fmla="*/ 14019 w 25392"/>
                  <a:gd name="connsiteY12" fmla="*/ 31741 h 89843"/>
                  <a:gd name="connsiteX13" fmla="*/ 12873 w 25392"/>
                  <a:gd name="connsiteY13" fmla="*/ 31212 h 89843"/>
                  <a:gd name="connsiteX14" fmla="*/ 12873 w 25392"/>
                  <a:gd name="connsiteY14" fmla="*/ 27685 h 89843"/>
                  <a:gd name="connsiteX15" fmla="*/ 13137 w 25392"/>
                  <a:gd name="connsiteY15" fmla="*/ 27156 h 89843"/>
                  <a:gd name="connsiteX16" fmla="*/ 12256 w 25392"/>
                  <a:gd name="connsiteY16" fmla="*/ 23629 h 89843"/>
                  <a:gd name="connsiteX17" fmla="*/ 13137 w 25392"/>
                  <a:gd name="connsiteY17" fmla="*/ 21249 h 89843"/>
                  <a:gd name="connsiteX18" fmla="*/ 13137 w 25392"/>
                  <a:gd name="connsiteY18" fmla="*/ 17810 h 89843"/>
                  <a:gd name="connsiteX19" fmla="*/ 13754 w 25392"/>
                  <a:gd name="connsiteY19" fmla="*/ 15429 h 89843"/>
                  <a:gd name="connsiteX20" fmla="*/ 16047 w 25392"/>
                  <a:gd name="connsiteY20" fmla="*/ 13666 h 89843"/>
                  <a:gd name="connsiteX21" fmla="*/ 18075 w 25392"/>
                  <a:gd name="connsiteY21" fmla="*/ 14548 h 89843"/>
                  <a:gd name="connsiteX22" fmla="*/ 19221 w 25392"/>
                  <a:gd name="connsiteY22" fmla="*/ 14283 h 89843"/>
                  <a:gd name="connsiteX23" fmla="*/ 20455 w 25392"/>
                  <a:gd name="connsiteY23" fmla="*/ 14548 h 89843"/>
                  <a:gd name="connsiteX24" fmla="*/ 22130 w 25392"/>
                  <a:gd name="connsiteY24" fmla="*/ 16928 h 89843"/>
                  <a:gd name="connsiteX25" fmla="*/ 23012 w 25392"/>
                  <a:gd name="connsiteY25" fmla="*/ 17193 h 89843"/>
                  <a:gd name="connsiteX26" fmla="*/ 21866 w 25392"/>
                  <a:gd name="connsiteY26" fmla="*/ 14548 h 89843"/>
                  <a:gd name="connsiteX27" fmla="*/ 21249 w 25392"/>
                  <a:gd name="connsiteY27" fmla="*/ 14019 h 89843"/>
                  <a:gd name="connsiteX28" fmla="*/ 21866 w 25392"/>
                  <a:gd name="connsiteY28" fmla="*/ 12255 h 89843"/>
                  <a:gd name="connsiteX29" fmla="*/ 21601 w 25392"/>
                  <a:gd name="connsiteY29" fmla="*/ 11374 h 89843"/>
                  <a:gd name="connsiteX30" fmla="*/ 25393 w 25392"/>
                  <a:gd name="connsiteY30" fmla="*/ 11109 h 89843"/>
                  <a:gd name="connsiteX31" fmla="*/ 25040 w 25392"/>
                  <a:gd name="connsiteY31" fmla="*/ 8993 h 89843"/>
                  <a:gd name="connsiteX32" fmla="*/ 24511 w 25392"/>
                  <a:gd name="connsiteY32" fmla="*/ 9610 h 89843"/>
                  <a:gd name="connsiteX33" fmla="*/ 24246 w 25392"/>
                  <a:gd name="connsiteY33" fmla="*/ 7582 h 89843"/>
                  <a:gd name="connsiteX34" fmla="*/ 24246 w 25392"/>
                  <a:gd name="connsiteY34" fmla="*/ 5819 h 89843"/>
                  <a:gd name="connsiteX35" fmla="*/ 24246 w 25392"/>
                  <a:gd name="connsiteY35" fmla="*/ 5555 h 89843"/>
                  <a:gd name="connsiteX36" fmla="*/ 23629 w 25392"/>
                  <a:gd name="connsiteY36" fmla="*/ 2292 h 89843"/>
                  <a:gd name="connsiteX37" fmla="*/ 24511 w 25392"/>
                  <a:gd name="connsiteY37" fmla="*/ 0 h 89843"/>
                  <a:gd name="connsiteX38" fmla="*/ 20984 w 25392"/>
                  <a:gd name="connsiteY38" fmla="*/ 264 h 89843"/>
                  <a:gd name="connsiteX39" fmla="*/ 20720 w 25392"/>
                  <a:gd name="connsiteY39" fmla="*/ 1146 h 89843"/>
                  <a:gd name="connsiteX40" fmla="*/ 19838 w 25392"/>
                  <a:gd name="connsiteY40" fmla="*/ 1146 h 89843"/>
                  <a:gd name="connsiteX41" fmla="*/ 18339 w 25392"/>
                  <a:gd name="connsiteY41" fmla="*/ 2292 h 89843"/>
                  <a:gd name="connsiteX42" fmla="*/ 17810 w 25392"/>
                  <a:gd name="connsiteY42" fmla="*/ 2292 h 89843"/>
                  <a:gd name="connsiteX43" fmla="*/ 16928 w 25392"/>
                  <a:gd name="connsiteY43" fmla="*/ 1146 h 89843"/>
                  <a:gd name="connsiteX44" fmla="*/ 14900 w 25392"/>
                  <a:gd name="connsiteY44" fmla="*/ 882 h 89843"/>
                  <a:gd name="connsiteX45" fmla="*/ 12256 w 25392"/>
                  <a:gd name="connsiteY45" fmla="*/ 1146 h 89843"/>
                  <a:gd name="connsiteX46" fmla="*/ 11991 w 25392"/>
                  <a:gd name="connsiteY46" fmla="*/ 4056 h 89843"/>
                  <a:gd name="connsiteX47" fmla="*/ 11991 w 25392"/>
                  <a:gd name="connsiteY47" fmla="*/ 5555 h 89843"/>
                  <a:gd name="connsiteX48" fmla="*/ 12256 w 25392"/>
                  <a:gd name="connsiteY48" fmla="*/ 7318 h 89843"/>
                  <a:gd name="connsiteX49" fmla="*/ 11638 w 25392"/>
                  <a:gd name="connsiteY49" fmla="*/ 7582 h 89843"/>
                  <a:gd name="connsiteX50" fmla="*/ 9963 w 25392"/>
                  <a:gd name="connsiteY50" fmla="*/ 7318 h 89843"/>
                  <a:gd name="connsiteX51" fmla="*/ 9963 w 25392"/>
                  <a:gd name="connsiteY51" fmla="*/ 7582 h 89843"/>
                  <a:gd name="connsiteX52" fmla="*/ 10228 w 25392"/>
                  <a:gd name="connsiteY52" fmla="*/ 10228 h 89843"/>
                  <a:gd name="connsiteX53" fmla="*/ 9610 w 25392"/>
                  <a:gd name="connsiteY53" fmla="*/ 10228 h 89843"/>
                  <a:gd name="connsiteX54" fmla="*/ 8200 w 25392"/>
                  <a:gd name="connsiteY54" fmla="*/ 18339 h 89843"/>
                  <a:gd name="connsiteX55" fmla="*/ 8729 w 25392"/>
                  <a:gd name="connsiteY55" fmla="*/ 24511 h 89843"/>
                  <a:gd name="connsiteX56" fmla="*/ 6436 w 25392"/>
                  <a:gd name="connsiteY56" fmla="*/ 30065 h 89843"/>
                  <a:gd name="connsiteX57" fmla="*/ 6172 w 25392"/>
                  <a:gd name="connsiteY57" fmla="*/ 35003 h 89843"/>
                  <a:gd name="connsiteX58" fmla="*/ 4408 w 25392"/>
                  <a:gd name="connsiteY58" fmla="*/ 38177 h 89843"/>
                  <a:gd name="connsiteX59" fmla="*/ 5290 w 25392"/>
                  <a:gd name="connsiteY59" fmla="*/ 39676 h 89843"/>
                  <a:gd name="connsiteX60" fmla="*/ 2381 w 25392"/>
                  <a:gd name="connsiteY60" fmla="*/ 43732 h 89843"/>
                  <a:gd name="connsiteX61" fmla="*/ 2381 w 25392"/>
                  <a:gd name="connsiteY61" fmla="*/ 45230 h 89843"/>
                  <a:gd name="connsiteX62" fmla="*/ 0 w 25392"/>
                  <a:gd name="connsiteY62" fmla="*/ 47523 h 89843"/>
                  <a:gd name="connsiteX63" fmla="*/ 1146 w 25392"/>
                  <a:gd name="connsiteY63" fmla="*/ 49903 h 89843"/>
                  <a:gd name="connsiteX64" fmla="*/ 2910 w 25392"/>
                  <a:gd name="connsiteY64" fmla="*/ 53606 h 89843"/>
                  <a:gd name="connsiteX65" fmla="*/ 6965 w 25392"/>
                  <a:gd name="connsiteY65" fmla="*/ 60924 h 89843"/>
                  <a:gd name="connsiteX66" fmla="*/ 7318 w 25392"/>
                  <a:gd name="connsiteY66" fmla="*/ 63305 h 89843"/>
                  <a:gd name="connsiteX67" fmla="*/ 7583 w 25392"/>
                  <a:gd name="connsiteY67" fmla="*/ 65597 h 89843"/>
                  <a:gd name="connsiteX68" fmla="*/ 8729 w 25392"/>
                  <a:gd name="connsiteY68" fmla="*/ 67361 h 89843"/>
                  <a:gd name="connsiteX69" fmla="*/ 8729 w 25392"/>
                  <a:gd name="connsiteY69" fmla="*/ 68507 h 89843"/>
                  <a:gd name="connsiteX70" fmla="*/ 10228 w 25392"/>
                  <a:gd name="connsiteY70" fmla="*/ 69653 h 89843"/>
                  <a:gd name="connsiteX71" fmla="*/ 13402 w 25392"/>
                  <a:gd name="connsiteY71" fmla="*/ 78734 h 89843"/>
                  <a:gd name="connsiteX72" fmla="*/ 14019 w 25392"/>
                  <a:gd name="connsiteY72" fmla="*/ 79881 h 89843"/>
                  <a:gd name="connsiteX73" fmla="*/ 14900 w 25392"/>
                  <a:gd name="connsiteY73" fmla="*/ 81909 h 89843"/>
                  <a:gd name="connsiteX74" fmla="*/ 15782 w 25392"/>
                  <a:gd name="connsiteY74" fmla="*/ 83407 h 89843"/>
                  <a:gd name="connsiteX75" fmla="*/ 16311 w 25392"/>
                  <a:gd name="connsiteY75" fmla="*/ 86052 h 89843"/>
                  <a:gd name="connsiteX76" fmla="*/ 17546 w 25392"/>
                  <a:gd name="connsiteY76" fmla="*/ 87199 h 89843"/>
                  <a:gd name="connsiteX77" fmla="*/ 16928 w 25392"/>
                  <a:gd name="connsiteY77" fmla="*/ 88962 h 89843"/>
                  <a:gd name="connsiteX78" fmla="*/ 18692 w 25392"/>
                  <a:gd name="connsiteY78" fmla="*/ 89844 h 89843"/>
                  <a:gd name="connsiteX79" fmla="*/ 19573 w 25392"/>
                  <a:gd name="connsiteY79" fmla="*/ 85435 h 89843"/>
                  <a:gd name="connsiteX80" fmla="*/ 19838 w 25392"/>
                  <a:gd name="connsiteY80" fmla="*/ 81644 h 89843"/>
                  <a:gd name="connsiteX81" fmla="*/ 19573 w 25392"/>
                  <a:gd name="connsiteY81" fmla="*/ 79616 h 89843"/>
                  <a:gd name="connsiteX82" fmla="*/ 19573 w 25392"/>
                  <a:gd name="connsiteY82" fmla="*/ 79352 h 89843"/>
                  <a:gd name="connsiteX83" fmla="*/ 20102 w 25392"/>
                  <a:gd name="connsiteY83" fmla="*/ 76706 h 89843"/>
                  <a:gd name="connsiteX84" fmla="*/ 21601 w 25392"/>
                  <a:gd name="connsiteY84" fmla="*/ 74943 h 89843"/>
                  <a:gd name="connsiteX85" fmla="*/ 19573 w 25392"/>
                  <a:gd name="connsiteY85" fmla="*/ 72298 h 89843"/>
                  <a:gd name="connsiteX86" fmla="*/ 20984 w 25392"/>
                  <a:gd name="connsiteY86" fmla="*/ 69389 h 89843"/>
                  <a:gd name="connsiteX87" fmla="*/ 19221 w 25392"/>
                  <a:gd name="connsiteY87" fmla="*/ 67625 h 89843"/>
                  <a:gd name="connsiteX88" fmla="*/ 20984 w 25392"/>
                  <a:gd name="connsiteY88" fmla="*/ 63834 h 89843"/>
                  <a:gd name="connsiteX89" fmla="*/ 21249 w 25392"/>
                  <a:gd name="connsiteY89" fmla="*/ 60043 h 89843"/>
                  <a:gd name="connsiteX90" fmla="*/ 21249 w 25392"/>
                  <a:gd name="connsiteY90" fmla="*/ 58632 h 89843"/>
                  <a:gd name="connsiteX91" fmla="*/ 22748 w 25392"/>
                  <a:gd name="connsiteY91" fmla="*/ 57750 h 89843"/>
                  <a:gd name="connsiteX92" fmla="*/ 22748 w 25392"/>
                  <a:gd name="connsiteY92" fmla="*/ 56869 h 89843"/>
                  <a:gd name="connsiteX93" fmla="*/ 23277 w 25392"/>
                  <a:gd name="connsiteY93" fmla="*/ 55105 h 89843"/>
                  <a:gd name="connsiteX94" fmla="*/ 23894 w 25392"/>
                  <a:gd name="connsiteY94" fmla="*/ 54841 h 89843"/>
                  <a:gd name="connsiteX95" fmla="*/ 23629 w 25392"/>
                  <a:gd name="connsiteY95" fmla="*/ 52813 h 89843"/>
                  <a:gd name="connsiteX96" fmla="*/ 25040 w 25392"/>
                  <a:gd name="connsiteY96" fmla="*/ 50432 h 89843"/>
                  <a:gd name="connsiteX97" fmla="*/ 25040 w 25392"/>
                  <a:gd name="connsiteY97" fmla="*/ 49286 h 89843"/>
                  <a:gd name="connsiteX98" fmla="*/ 23012 w 25392"/>
                  <a:gd name="connsiteY98" fmla="*/ 47258 h 89843"/>
                  <a:gd name="connsiteX99" fmla="*/ 25040 w 25392"/>
                  <a:gd name="connsiteY99" fmla="*/ 46377 h 89843"/>
                  <a:gd name="connsiteX100" fmla="*/ 24246 w 25392"/>
                  <a:gd name="connsiteY100" fmla="*/ 44613 h 89843"/>
                  <a:gd name="connsiteX101" fmla="*/ 24511 w 25392"/>
                  <a:gd name="connsiteY101" fmla="*/ 42850 h 89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25392" h="89843">
                    <a:moveTo>
                      <a:pt x="24511" y="41086"/>
                    </a:moveTo>
                    <a:lnTo>
                      <a:pt x="24511" y="39940"/>
                    </a:lnTo>
                    <a:lnTo>
                      <a:pt x="23012" y="39676"/>
                    </a:lnTo>
                    <a:lnTo>
                      <a:pt x="20102" y="41704"/>
                    </a:lnTo>
                    <a:lnTo>
                      <a:pt x="19838" y="42850"/>
                    </a:lnTo>
                    <a:lnTo>
                      <a:pt x="13402" y="43467"/>
                    </a:lnTo>
                    <a:lnTo>
                      <a:pt x="12256" y="41968"/>
                    </a:lnTo>
                    <a:lnTo>
                      <a:pt x="13402" y="39676"/>
                    </a:lnTo>
                    <a:lnTo>
                      <a:pt x="13402" y="37031"/>
                    </a:lnTo>
                    <a:lnTo>
                      <a:pt x="17193" y="33504"/>
                    </a:lnTo>
                    <a:lnTo>
                      <a:pt x="18075" y="33240"/>
                    </a:lnTo>
                    <a:lnTo>
                      <a:pt x="16047" y="31476"/>
                    </a:lnTo>
                    <a:lnTo>
                      <a:pt x="14019" y="31741"/>
                    </a:lnTo>
                    <a:lnTo>
                      <a:pt x="12873" y="31212"/>
                    </a:lnTo>
                    <a:lnTo>
                      <a:pt x="12873" y="27685"/>
                    </a:lnTo>
                    <a:lnTo>
                      <a:pt x="13137" y="27156"/>
                    </a:lnTo>
                    <a:lnTo>
                      <a:pt x="12256" y="23629"/>
                    </a:lnTo>
                    <a:lnTo>
                      <a:pt x="13137" y="21249"/>
                    </a:lnTo>
                    <a:lnTo>
                      <a:pt x="13137" y="17810"/>
                    </a:lnTo>
                    <a:lnTo>
                      <a:pt x="13754" y="15429"/>
                    </a:lnTo>
                    <a:lnTo>
                      <a:pt x="16047" y="13666"/>
                    </a:lnTo>
                    <a:lnTo>
                      <a:pt x="18075" y="14548"/>
                    </a:lnTo>
                    <a:lnTo>
                      <a:pt x="19221" y="14283"/>
                    </a:lnTo>
                    <a:lnTo>
                      <a:pt x="20455" y="14548"/>
                    </a:lnTo>
                    <a:lnTo>
                      <a:pt x="22130" y="16928"/>
                    </a:lnTo>
                    <a:lnTo>
                      <a:pt x="23012" y="17193"/>
                    </a:lnTo>
                    <a:lnTo>
                      <a:pt x="21866" y="14548"/>
                    </a:lnTo>
                    <a:lnTo>
                      <a:pt x="21249" y="14019"/>
                    </a:lnTo>
                    <a:lnTo>
                      <a:pt x="21866" y="12255"/>
                    </a:lnTo>
                    <a:lnTo>
                      <a:pt x="21601" y="11374"/>
                    </a:lnTo>
                    <a:lnTo>
                      <a:pt x="25393" y="11109"/>
                    </a:lnTo>
                    <a:lnTo>
                      <a:pt x="25040" y="8993"/>
                    </a:lnTo>
                    <a:lnTo>
                      <a:pt x="24511" y="9610"/>
                    </a:lnTo>
                    <a:lnTo>
                      <a:pt x="24246" y="7582"/>
                    </a:lnTo>
                    <a:lnTo>
                      <a:pt x="24246" y="5819"/>
                    </a:lnTo>
                    <a:lnTo>
                      <a:pt x="24246" y="5555"/>
                    </a:lnTo>
                    <a:lnTo>
                      <a:pt x="23629" y="2292"/>
                    </a:lnTo>
                    <a:lnTo>
                      <a:pt x="24511" y="0"/>
                    </a:lnTo>
                    <a:lnTo>
                      <a:pt x="20984" y="264"/>
                    </a:lnTo>
                    <a:lnTo>
                      <a:pt x="20720" y="1146"/>
                    </a:lnTo>
                    <a:lnTo>
                      <a:pt x="19838" y="1146"/>
                    </a:lnTo>
                    <a:lnTo>
                      <a:pt x="18339" y="2292"/>
                    </a:lnTo>
                    <a:lnTo>
                      <a:pt x="17810" y="2292"/>
                    </a:lnTo>
                    <a:lnTo>
                      <a:pt x="16928" y="1146"/>
                    </a:lnTo>
                    <a:lnTo>
                      <a:pt x="14900" y="882"/>
                    </a:lnTo>
                    <a:lnTo>
                      <a:pt x="12256" y="1146"/>
                    </a:lnTo>
                    <a:lnTo>
                      <a:pt x="11991" y="4056"/>
                    </a:lnTo>
                    <a:lnTo>
                      <a:pt x="11991" y="5555"/>
                    </a:lnTo>
                    <a:lnTo>
                      <a:pt x="12256" y="7318"/>
                    </a:lnTo>
                    <a:lnTo>
                      <a:pt x="11638" y="7582"/>
                    </a:lnTo>
                    <a:lnTo>
                      <a:pt x="9963" y="7318"/>
                    </a:lnTo>
                    <a:lnTo>
                      <a:pt x="9963" y="7582"/>
                    </a:lnTo>
                    <a:lnTo>
                      <a:pt x="10228" y="10228"/>
                    </a:lnTo>
                    <a:lnTo>
                      <a:pt x="9610" y="10228"/>
                    </a:lnTo>
                    <a:lnTo>
                      <a:pt x="8200" y="18339"/>
                    </a:lnTo>
                    <a:lnTo>
                      <a:pt x="8729" y="24511"/>
                    </a:lnTo>
                    <a:lnTo>
                      <a:pt x="6436" y="30065"/>
                    </a:lnTo>
                    <a:lnTo>
                      <a:pt x="6172" y="35003"/>
                    </a:lnTo>
                    <a:lnTo>
                      <a:pt x="4408" y="38177"/>
                    </a:lnTo>
                    <a:lnTo>
                      <a:pt x="5290" y="39676"/>
                    </a:lnTo>
                    <a:lnTo>
                      <a:pt x="2381" y="43732"/>
                    </a:lnTo>
                    <a:lnTo>
                      <a:pt x="2381" y="45230"/>
                    </a:lnTo>
                    <a:lnTo>
                      <a:pt x="0" y="47523"/>
                    </a:lnTo>
                    <a:lnTo>
                      <a:pt x="1146" y="49903"/>
                    </a:lnTo>
                    <a:lnTo>
                      <a:pt x="2910" y="53606"/>
                    </a:lnTo>
                    <a:lnTo>
                      <a:pt x="6965" y="60924"/>
                    </a:lnTo>
                    <a:lnTo>
                      <a:pt x="7318" y="63305"/>
                    </a:lnTo>
                    <a:lnTo>
                      <a:pt x="7583" y="65597"/>
                    </a:lnTo>
                    <a:lnTo>
                      <a:pt x="8729" y="67361"/>
                    </a:lnTo>
                    <a:lnTo>
                      <a:pt x="8729" y="68507"/>
                    </a:lnTo>
                    <a:lnTo>
                      <a:pt x="10228" y="69653"/>
                    </a:lnTo>
                    <a:lnTo>
                      <a:pt x="13402" y="78734"/>
                    </a:lnTo>
                    <a:lnTo>
                      <a:pt x="14019" y="79881"/>
                    </a:lnTo>
                    <a:lnTo>
                      <a:pt x="14900" y="81909"/>
                    </a:lnTo>
                    <a:lnTo>
                      <a:pt x="15782" y="83407"/>
                    </a:lnTo>
                    <a:lnTo>
                      <a:pt x="16311" y="86052"/>
                    </a:lnTo>
                    <a:lnTo>
                      <a:pt x="17546" y="87199"/>
                    </a:lnTo>
                    <a:lnTo>
                      <a:pt x="16928" y="88962"/>
                    </a:lnTo>
                    <a:lnTo>
                      <a:pt x="18692" y="89844"/>
                    </a:lnTo>
                    <a:lnTo>
                      <a:pt x="19573" y="85435"/>
                    </a:lnTo>
                    <a:lnTo>
                      <a:pt x="19838" y="81644"/>
                    </a:lnTo>
                    <a:lnTo>
                      <a:pt x="19573" y="79616"/>
                    </a:lnTo>
                    <a:lnTo>
                      <a:pt x="19573" y="79352"/>
                    </a:lnTo>
                    <a:lnTo>
                      <a:pt x="20102" y="76706"/>
                    </a:lnTo>
                    <a:lnTo>
                      <a:pt x="21601" y="74943"/>
                    </a:lnTo>
                    <a:lnTo>
                      <a:pt x="19573" y="72298"/>
                    </a:lnTo>
                    <a:lnTo>
                      <a:pt x="20984" y="69389"/>
                    </a:lnTo>
                    <a:lnTo>
                      <a:pt x="19221" y="67625"/>
                    </a:lnTo>
                    <a:lnTo>
                      <a:pt x="20984" y="63834"/>
                    </a:lnTo>
                    <a:lnTo>
                      <a:pt x="21249" y="60043"/>
                    </a:lnTo>
                    <a:lnTo>
                      <a:pt x="21249" y="58632"/>
                    </a:lnTo>
                    <a:lnTo>
                      <a:pt x="22748" y="57750"/>
                    </a:lnTo>
                    <a:lnTo>
                      <a:pt x="22748" y="56869"/>
                    </a:lnTo>
                    <a:lnTo>
                      <a:pt x="23277" y="55105"/>
                    </a:lnTo>
                    <a:lnTo>
                      <a:pt x="23894" y="54841"/>
                    </a:lnTo>
                    <a:lnTo>
                      <a:pt x="23629" y="52813"/>
                    </a:lnTo>
                    <a:lnTo>
                      <a:pt x="25040" y="50432"/>
                    </a:lnTo>
                    <a:lnTo>
                      <a:pt x="25040" y="49286"/>
                    </a:lnTo>
                    <a:lnTo>
                      <a:pt x="23012" y="47258"/>
                    </a:lnTo>
                    <a:lnTo>
                      <a:pt x="25040" y="46377"/>
                    </a:lnTo>
                    <a:lnTo>
                      <a:pt x="24246" y="44613"/>
                    </a:lnTo>
                    <a:lnTo>
                      <a:pt x="24511" y="4285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9" name="Freihandform: Form 1848">
                <a:extLst>
                  <a:ext uri="{FF2B5EF4-FFF2-40B4-BE49-F238E27FC236}">
                    <a16:creationId xmlns:a16="http://schemas.microsoft.com/office/drawing/2014/main" id="{B1B06011-BA2E-0398-4BB7-446D3272D9F5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0" name="Freihandform: Form 1849">
                <a:extLst>
                  <a:ext uri="{FF2B5EF4-FFF2-40B4-BE49-F238E27FC236}">
                    <a16:creationId xmlns:a16="http://schemas.microsoft.com/office/drawing/2014/main" id="{B01A0535-6F5A-5B80-7F95-79B1C92E4DF3}"/>
                  </a:ext>
                </a:extLst>
              </p:cNvPr>
              <p:cNvSpPr/>
              <p:nvPr/>
            </p:nvSpPr>
            <p:spPr>
              <a:xfrm>
                <a:off x="4996667" y="3685481"/>
                <a:ext cx="259743" cy="158438"/>
              </a:xfrm>
              <a:custGeom>
                <a:avLst/>
                <a:gdLst>
                  <a:gd name="connsiteX0" fmla="*/ 226152 w 259743"/>
                  <a:gd name="connsiteY0" fmla="*/ 50344 h 158438"/>
                  <a:gd name="connsiteX1" fmla="*/ 220862 w 259743"/>
                  <a:gd name="connsiteY1" fmla="*/ 52725 h 158438"/>
                  <a:gd name="connsiteX2" fmla="*/ 219980 w 259743"/>
                  <a:gd name="connsiteY2" fmla="*/ 52725 h 158438"/>
                  <a:gd name="connsiteX3" fmla="*/ 218217 w 259743"/>
                  <a:gd name="connsiteY3" fmla="*/ 53606 h 158438"/>
                  <a:gd name="connsiteX4" fmla="*/ 217071 w 259743"/>
                  <a:gd name="connsiteY4" fmla="*/ 53606 h 158438"/>
                  <a:gd name="connsiteX5" fmla="*/ 214778 w 259743"/>
                  <a:gd name="connsiteY5" fmla="*/ 53871 h 158438"/>
                  <a:gd name="connsiteX6" fmla="*/ 211516 w 259743"/>
                  <a:gd name="connsiteY6" fmla="*/ 55282 h 158438"/>
                  <a:gd name="connsiteX7" fmla="*/ 208606 w 259743"/>
                  <a:gd name="connsiteY7" fmla="*/ 59337 h 158438"/>
                  <a:gd name="connsiteX8" fmla="*/ 207460 w 259743"/>
                  <a:gd name="connsiteY8" fmla="*/ 61101 h 158438"/>
                  <a:gd name="connsiteX9" fmla="*/ 207725 w 259743"/>
                  <a:gd name="connsiteY9" fmla="*/ 63129 h 158438"/>
                  <a:gd name="connsiteX10" fmla="*/ 207725 w 259743"/>
                  <a:gd name="connsiteY10" fmla="*/ 64627 h 158438"/>
                  <a:gd name="connsiteX11" fmla="*/ 206226 w 259743"/>
                  <a:gd name="connsiteY11" fmla="*/ 67273 h 158438"/>
                  <a:gd name="connsiteX12" fmla="*/ 207989 w 259743"/>
                  <a:gd name="connsiteY12" fmla="*/ 68154 h 158438"/>
                  <a:gd name="connsiteX13" fmla="*/ 207989 w 259743"/>
                  <a:gd name="connsiteY13" fmla="*/ 69300 h 158438"/>
                  <a:gd name="connsiteX14" fmla="*/ 208871 w 259743"/>
                  <a:gd name="connsiteY14" fmla="*/ 70799 h 158438"/>
                  <a:gd name="connsiteX15" fmla="*/ 209488 w 259743"/>
                  <a:gd name="connsiteY15" fmla="*/ 71681 h 158438"/>
                  <a:gd name="connsiteX16" fmla="*/ 208342 w 259743"/>
                  <a:gd name="connsiteY16" fmla="*/ 72563 h 158438"/>
                  <a:gd name="connsiteX17" fmla="*/ 208959 w 259743"/>
                  <a:gd name="connsiteY17" fmla="*/ 73180 h 158438"/>
                  <a:gd name="connsiteX18" fmla="*/ 209224 w 259743"/>
                  <a:gd name="connsiteY18" fmla="*/ 74062 h 158438"/>
                  <a:gd name="connsiteX19" fmla="*/ 209841 w 259743"/>
                  <a:gd name="connsiteY19" fmla="*/ 74679 h 158438"/>
                  <a:gd name="connsiteX20" fmla="*/ 209224 w 259743"/>
                  <a:gd name="connsiteY20" fmla="*/ 75825 h 158438"/>
                  <a:gd name="connsiteX21" fmla="*/ 208342 w 259743"/>
                  <a:gd name="connsiteY21" fmla="*/ 75825 h 158438"/>
                  <a:gd name="connsiteX22" fmla="*/ 206050 w 259743"/>
                  <a:gd name="connsiteY22" fmla="*/ 76707 h 158438"/>
                  <a:gd name="connsiteX23" fmla="*/ 204903 w 259743"/>
                  <a:gd name="connsiteY23" fmla="*/ 77853 h 158438"/>
                  <a:gd name="connsiteX24" fmla="*/ 203757 w 259743"/>
                  <a:gd name="connsiteY24" fmla="*/ 77588 h 158438"/>
                  <a:gd name="connsiteX25" fmla="*/ 201377 w 259743"/>
                  <a:gd name="connsiteY25" fmla="*/ 78205 h 158438"/>
                  <a:gd name="connsiteX26" fmla="*/ 200759 w 259743"/>
                  <a:gd name="connsiteY26" fmla="*/ 79352 h 158438"/>
                  <a:gd name="connsiteX27" fmla="*/ 198732 w 259743"/>
                  <a:gd name="connsiteY27" fmla="*/ 79616 h 158438"/>
                  <a:gd name="connsiteX28" fmla="*/ 197585 w 259743"/>
                  <a:gd name="connsiteY28" fmla="*/ 79352 h 158438"/>
                  <a:gd name="connsiteX29" fmla="*/ 196968 w 259743"/>
                  <a:gd name="connsiteY29" fmla="*/ 80498 h 158438"/>
                  <a:gd name="connsiteX30" fmla="*/ 196968 w 259743"/>
                  <a:gd name="connsiteY30" fmla="*/ 81909 h 158438"/>
                  <a:gd name="connsiteX31" fmla="*/ 196351 w 259743"/>
                  <a:gd name="connsiteY31" fmla="*/ 82526 h 158438"/>
                  <a:gd name="connsiteX32" fmla="*/ 194940 w 259743"/>
                  <a:gd name="connsiteY32" fmla="*/ 83407 h 158438"/>
                  <a:gd name="connsiteX33" fmla="*/ 194058 w 259743"/>
                  <a:gd name="connsiteY33" fmla="*/ 83143 h 158438"/>
                  <a:gd name="connsiteX34" fmla="*/ 191766 w 259743"/>
                  <a:gd name="connsiteY34" fmla="*/ 84906 h 158438"/>
                  <a:gd name="connsiteX35" fmla="*/ 190356 w 259743"/>
                  <a:gd name="connsiteY35" fmla="*/ 85523 h 158438"/>
                  <a:gd name="connsiteX36" fmla="*/ 188063 w 259743"/>
                  <a:gd name="connsiteY36" fmla="*/ 86670 h 158438"/>
                  <a:gd name="connsiteX37" fmla="*/ 180216 w 259743"/>
                  <a:gd name="connsiteY37" fmla="*/ 88697 h 158438"/>
                  <a:gd name="connsiteX38" fmla="*/ 178717 w 259743"/>
                  <a:gd name="connsiteY38" fmla="*/ 89315 h 158438"/>
                  <a:gd name="connsiteX39" fmla="*/ 173163 w 259743"/>
                  <a:gd name="connsiteY39" fmla="*/ 90196 h 158438"/>
                  <a:gd name="connsiteX40" fmla="*/ 170253 w 259743"/>
                  <a:gd name="connsiteY40" fmla="*/ 91078 h 158438"/>
                  <a:gd name="connsiteX41" fmla="*/ 169371 w 259743"/>
                  <a:gd name="connsiteY41" fmla="*/ 93723 h 158438"/>
                  <a:gd name="connsiteX42" fmla="*/ 166991 w 259743"/>
                  <a:gd name="connsiteY42" fmla="*/ 93723 h 158438"/>
                  <a:gd name="connsiteX43" fmla="*/ 166374 w 259743"/>
                  <a:gd name="connsiteY43" fmla="*/ 94869 h 158438"/>
                  <a:gd name="connsiteX44" fmla="*/ 164346 w 259743"/>
                  <a:gd name="connsiteY44" fmla="*/ 95134 h 158438"/>
                  <a:gd name="connsiteX45" fmla="*/ 163728 w 259743"/>
                  <a:gd name="connsiteY45" fmla="*/ 95398 h 158438"/>
                  <a:gd name="connsiteX46" fmla="*/ 161701 w 259743"/>
                  <a:gd name="connsiteY46" fmla="*/ 94781 h 158438"/>
                  <a:gd name="connsiteX47" fmla="*/ 160819 w 259743"/>
                  <a:gd name="connsiteY47" fmla="*/ 94781 h 158438"/>
                  <a:gd name="connsiteX48" fmla="*/ 157557 w 259743"/>
                  <a:gd name="connsiteY48" fmla="*/ 95927 h 158438"/>
                  <a:gd name="connsiteX49" fmla="*/ 151738 w 259743"/>
                  <a:gd name="connsiteY49" fmla="*/ 97691 h 158438"/>
                  <a:gd name="connsiteX50" fmla="*/ 151473 w 259743"/>
                  <a:gd name="connsiteY50" fmla="*/ 98572 h 158438"/>
                  <a:gd name="connsiteX51" fmla="*/ 148211 w 259743"/>
                  <a:gd name="connsiteY51" fmla="*/ 99454 h 158438"/>
                  <a:gd name="connsiteX52" fmla="*/ 143009 w 259743"/>
                  <a:gd name="connsiteY52" fmla="*/ 102981 h 158438"/>
                  <a:gd name="connsiteX53" fmla="*/ 142128 w 259743"/>
                  <a:gd name="connsiteY53" fmla="*/ 103245 h 158438"/>
                  <a:gd name="connsiteX54" fmla="*/ 139835 w 259743"/>
                  <a:gd name="connsiteY54" fmla="*/ 105890 h 158438"/>
                  <a:gd name="connsiteX55" fmla="*/ 140099 w 259743"/>
                  <a:gd name="connsiteY55" fmla="*/ 107036 h 158438"/>
                  <a:gd name="connsiteX56" fmla="*/ 140099 w 259743"/>
                  <a:gd name="connsiteY56" fmla="*/ 108447 h 158438"/>
                  <a:gd name="connsiteX57" fmla="*/ 140099 w 259743"/>
                  <a:gd name="connsiteY57" fmla="*/ 108712 h 158438"/>
                  <a:gd name="connsiteX58" fmla="*/ 139482 w 259743"/>
                  <a:gd name="connsiteY58" fmla="*/ 110122 h 158438"/>
                  <a:gd name="connsiteX59" fmla="*/ 137719 w 259743"/>
                  <a:gd name="connsiteY59" fmla="*/ 109858 h 158438"/>
                  <a:gd name="connsiteX60" fmla="*/ 136837 w 259743"/>
                  <a:gd name="connsiteY60" fmla="*/ 110475 h 158438"/>
                  <a:gd name="connsiteX61" fmla="*/ 136220 w 259743"/>
                  <a:gd name="connsiteY61" fmla="*/ 111886 h 158438"/>
                  <a:gd name="connsiteX62" fmla="*/ 135603 w 259743"/>
                  <a:gd name="connsiteY62" fmla="*/ 112767 h 158438"/>
                  <a:gd name="connsiteX63" fmla="*/ 134192 w 259743"/>
                  <a:gd name="connsiteY63" fmla="*/ 114795 h 158438"/>
                  <a:gd name="connsiteX64" fmla="*/ 132429 w 259743"/>
                  <a:gd name="connsiteY64" fmla="*/ 115413 h 158438"/>
                  <a:gd name="connsiteX65" fmla="*/ 131018 w 259743"/>
                  <a:gd name="connsiteY65" fmla="*/ 114795 h 158438"/>
                  <a:gd name="connsiteX66" fmla="*/ 129255 w 259743"/>
                  <a:gd name="connsiteY66" fmla="*/ 115677 h 158438"/>
                  <a:gd name="connsiteX67" fmla="*/ 128109 w 259743"/>
                  <a:gd name="connsiteY67" fmla="*/ 115677 h 158438"/>
                  <a:gd name="connsiteX68" fmla="*/ 127844 w 259743"/>
                  <a:gd name="connsiteY68" fmla="*/ 116206 h 158438"/>
                  <a:gd name="connsiteX69" fmla="*/ 127227 w 259743"/>
                  <a:gd name="connsiteY69" fmla="*/ 115677 h 158438"/>
                  <a:gd name="connsiteX70" fmla="*/ 126345 w 259743"/>
                  <a:gd name="connsiteY70" fmla="*/ 116559 h 158438"/>
                  <a:gd name="connsiteX71" fmla="*/ 124846 w 259743"/>
                  <a:gd name="connsiteY71" fmla="*/ 116294 h 158438"/>
                  <a:gd name="connsiteX72" fmla="*/ 122202 w 259743"/>
                  <a:gd name="connsiteY72" fmla="*/ 116911 h 158438"/>
                  <a:gd name="connsiteX73" fmla="*/ 121937 w 259743"/>
                  <a:gd name="connsiteY73" fmla="*/ 116030 h 158438"/>
                  <a:gd name="connsiteX74" fmla="*/ 121673 w 259743"/>
                  <a:gd name="connsiteY74" fmla="*/ 115765 h 158438"/>
                  <a:gd name="connsiteX75" fmla="*/ 119292 w 259743"/>
                  <a:gd name="connsiteY75" fmla="*/ 114883 h 158438"/>
                  <a:gd name="connsiteX76" fmla="*/ 117528 w 259743"/>
                  <a:gd name="connsiteY76" fmla="*/ 114883 h 158438"/>
                  <a:gd name="connsiteX77" fmla="*/ 117793 w 259743"/>
                  <a:gd name="connsiteY77" fmla="*/ 115765 h 158438"/>
                  <a:gd name="connsiteX78" fmla="*/ 115148 w 259743"/>
                  <a:gd name="connsiteY78" fmla="*/ 116911 h 158438"/>
                  <a:gd name="connsiteX79" fmla="*/ 114531 w 259743"/>
                  <a:gd name="connsiteY79" fmla="*/ 117528 h 158438"/>
                  <a:gd name="connsiteX80" fmla="*/ 112238 w 259743"/>
                  <a:gd name="connsiteY80" fmla="*/ 118410 h 158438"/>
                  <a:gd name="connsiteX81" fmla="*/ 111621 w 259743"/>
                  <a:gd name="connsiteY81" fmla="*/ 119292 h 158438"/>
                  <a:gd name="connsiteX82" fmla="*/ 106067 w 259743"/>
                  <a:gd name="connsiteY82" fmla="*/ 124229 h 158438"/>
                  <a:gd name="connsiteX83" fmla="*/ 102540 w 259743"/>
                  <a:gd name="connsiteY83" fmla="*/ 125993 h 158438"/>
                  <a:gd name="connsiteX84" fmla="*/ 98484 w 259743"/>
                  <a:gd name="connsiteY84" fmla="*/ 128021 h 158438"/>
                  <a:gd name="connsiteX85" fmla="*/ 95839 w 259743"/>
                  <a:gd name="connsiteY85" fmla="*/ 127756 h 158438"/>
                  <a:gd name="connsiteX86" fmla="*/ 93811 w 259743"/>
                  <a:gd name="connsiteY86" fmla="*/ 129255 h 158438"/>
                  <a:gd name="connsiteX87" fmla="*/ 90902 w 259743"/>
                  <a:gd name="connsiteY87" fmla="*/ 130401 h 158438"/>
                  <a:gd name="connsiteX88" fmla="*/ 89756 w 259743"/>
                  <a:gd name="connsiteY88" fmla="*/ 130401 h 158438"/>
                  <a:gd name="connsiteX89" fmla="*/ 88609 w 259743"/>
                  <a:gd name="connsiteY89" fmla="*/ 130401 h 158438"/>
                  <a:gd name="connsiteX90" fmla="*/ 87463 w 259743"/>
                  <a:gd name="connsiteY90" fmla="*/ 131283 h 158438"/>
                  <a:gd name="connsiteX91" fmla="*/ 86581 w 259743"/>
                  <a:gd name="connsiteY91" fmla="*/ 131283 h 158438"/>
                  <a:gd name="connsiteX92" fmla="*/ 86052 w 259743"/>
                  <a:gd name="connsiteY92" fmla="*/ 131900 h 158438"/>
                  <a:gd name="connsiteX93" fmla="*/ 84553 w 259743"/>
                  <a:gd name="connsiteY93" fmla="*/ 131283 h 158438"/>
                  <a:gd name="connsiteX94" fmla="*/ 82261 w 259743"/>
                  <a:gd name="connsiteY94" fmla="*/ 131283 h 158438"/>
                  <a:gd name="connsiteX95" fmla="*/ 81380 w 259743"/>
                  <a:gd name="connsiteY95" fmla="*/ 130401 h 158438"/>
                  <a:gd name="connsiteX96" fmla="*/ 79616 w 259743"/>
                  <a:gd name="connsiteY96" fmla="*/ 130754 h 158438"/>
                  <a:gd name="connsiteX97" fmla="*/ 78470 w 259743"/>
                  <a:gd name="connsiteY97" fmla="*/ 131371 h 158438"/>
                  <a:gd name="connsiteX98" fmla="*/ 76706 w 259743"/>
                  <a:gd name="connsiteY98" fmla="*/ 131635 h 158438"/>
                  <a:gd name="connsiteX99" fmla="*/ 75560 w 259743"/>
                  <a:gd name="connsiteY99" fmla="*/ 131371 h 158438"/>
                  <a:gd name="connsiteX100" fmla="*/ 72298 w 259743"/>
                  <a:gd name="connsiteY100" fmla="*/ 131635 h 158438"/>
                  <a:gd name="connsiteX101" fmla="*/ 71152 w 259743"/>
                  <a:gd name="connsiteY101" fmla="*/ 131635 h 158438"/>
                  <a:gd name="connsiteX102" fmla="*/ 68507 w 259743"/>
                  <a:gd name="connsiteY102" fmla="*/ 133134 h 158438"/>
                  <a:gd name="connsiteX103" fmla="*/ 66479 w 259743"/>
                  <a:gd name="connsiteY103" fmla="*/ 134898 h 158438"/>
                  <a:gd name="connsiteX104" fmla="*/ 65597 w 259743"/>
                  <a:gd name="connsiteY104" fmla="*/ 136925 h 158438"/>
                  <a:gd name="connsiteX105" fmla="*/ 63217 w 259743"/>
                  <a:gd name="connsiteY105" fmla="*/ 139218 h 158438"/>
                  <a:gd name="connsiteX106" fmla="*/ 59425 w 259743"/>
                  <a:gd name="connsiteY106" fmla="*/ 140364 h 158438"/>
                  <a:gd name="connsiteX107" fmla="*/ 57662 w 259743"/>
                  <a:gd name="connsiteY107" fmla="*/ 140629 h 158438"/>
                  <a:gd name="connsiteX108" fmla="*/ 56428 w 259743"/>
                  <a:gd name="connsiteY108" fmla="*/ 141510 h 158438"/>
                  <a:gd name="connsiteX109" fmla="*/ 55899 w 259743"/>
                  <a:gd name="connsiteY109" fmla="*/ 144155 h 158438"/>
                  <a:gd name="connsiteX110" fmla="*/ 54400 w 259743"/>
                  <a:gd name="connsiteY110" fmla="*/ 147682 h 158438"/>
                  <a:gd name="connsiteX111" fmla="*/ 54136 w 259743"/>
                  <a:gd name="connsiteY111" fmla="*/ 146536 h 158438"/>
                  <a:gd name="connsiteX112" fmla="*/ 54136 w 259743"/>
                  <a:gd name="connsiteY112" fmla="*/ 144772 h 158438"/>
                  <a:gd name="connsiteX113" fmla="*/ 53607 w 259743"/>
                  <a:gd name="connsiteY113" fmla="*/ 144772 h 158438"/>
                  <a:gd name="connsiteX114" fmla="*/ 51226 w 259743"/>
                  <a:gd name="connsiteY114" fmla="*/ 145919 h 158438"/>
                  <a:gd name="connsiteX115" fmla="*/ 53607 w 259743"/>
                  <a:gd name="connsiteY115" fmla="*/ 147065 h 158438"/>
                  <a:gd name="connsiteX116" fmla="*/ 51843 w 259743"/>
                  <a:gd name="connsiteY116" fmla="*/ 147594 h 158438"/>
                  <a:gd name="connsiteX117" fmla="*/ 51226 w 259743"/>
                  <a:gd name="connsiteY117" fmla="*/ 147594 h 158438"/>
                  <a:gd name="connsiteX118" fmla="*/ 50873 w 259743"/>
                  <a:gd name="connsiteY118" fmla="*/ 147065 h 158438"/>
                  <a:gd name="connsiteX119" fmla="*/ 49992 w 259743"/>
                  <a:gd name="connsiteY119" fmla="*/ 147065 h 158438"/>
                  <a:gd name="connsiteX120" fmla="*/ 49727 w 259743"/>
                  <a:gd name="connsiteY120" fmla="*/ 147594 h 158438"/>
                  <a:gd name="connsiteX121" fmla="*/ 49727 w 259743"/>
                  <a:gd name="connsiteY121" fmla="*/ 147065 h 158438"/>
                  <a:gd name="connsiteX122" fmla="*/ 47964 w 259743"/>
                  <a:gd name="connsiteY122" fmla="*/ 146448 h 158438"/>
                  <a:gd name="connsiteX123" fmla="*/ 46465 w 259743"/>
                  <a:gd name="connsiteY123" fmla="*/ 145037 h 158438"/>
                  <a:gd name="connsiteX124" fmla="*/ 44966 w 259743"/>
                  <a:gd name="connsiteY124" fmla="*/ 145037 h 158438"/>
                  <a:gd name="connsiteX125" fmla="*/ 44701 w 259743"/>
                  <a:gd name="connsiteY125" fmla="*/ 145037 h 158438"/>
                  <a:gd name="connsiteX126" fmla="*/ 44437 w 259743"/>
                  <a:gd name="connsiteY126" fmla="*/ 145919 h 158438"/>
                  <a:gd name="connsiteX127" fmla="*/ 44701 w 259743"/>
                  <a:gd name="connsiteY127" fmla="*/ 146536 h 158438"/>
                  <a:gd name="connsiteX128" fmla="*/ 41792 w 259743"/>
                  <a:gd name="connsiteY128" fmla="*/ 148564 h 158438"/>
                  <a:gd name="connsiteX129" fmla="*/ 40646 w 259743"/>
                  <a:gd name="connsiteY129" fmla="*/ 148564 h 158438"/>
                  <a:gd name="connsiteX130" fmla="*/ 41527 w 259743"/>
                  <a:gd name="connsiteY130" fmla="*/ 148828 h 158438"/>
                  <a:gd name="connsiteX131" fmla="*/ 40646 w 259743"/>
                  <a:gd name="connsiteY131" fmla="*/ 149710 h 158438"/>
                  <a:gd name="connsiteX132" fmla="*/ 38618 w 259743"/>
                  <a:gd name="connsiteY132" fmla="*/ 150592 h 158438"/>
                  <a:gd name="connsiteX133" fmla="*/ 36854 w 259743"/>
                  <a:gd name="connsiteY133" fmla="*/ 150856 h 158438"/>
                  <a:gd name="connsiteX134" fmla="*/ 34474 w 259743"/>
                  <a:gd name="connsiteY134" fmla="*/ 150856 h 158438"/>
                  <a:gd name="connsiteX135" fmla="*/ 35356 w 259743"/>
                  <a:gd name="connsiteY135" fmla="*/ 150592 h 158438"/>
                  <a:gd name="connsiteX136" fmla="*/ 35620 w 259743"/>
                  <a:gd name="connsiteY136" fmla="*/ 149710 h 158438"/>
                  <a:gd name="connsiteX137" fmla="*/ 34738 w 259743"/>
                  <a:gd name="connsiteY137" fmla="*/ 149975 h 158438"/>
                  <a:gd name="connsiteX138" fmla="*/ 33857 w 259743"/>
                  <a:gd name="connsiteY138" fmla="*/ 150239 h 158438"/>
                  <a:gd name="connsiteX139" fmla="*/ 32093 w 259743"/>
                  <a:gd name="connsiteY139" fmla="*/ 150503 h 158438"/>
                  <a:gd name="connsiteX140" fmla="*/ 31476 w 259743"/>
                  <a:gd name="connsiteY140" fmla="*/ 150503 h 158438"/>
                  <a:gd name="connsiteX141" fmla="*/ 31212 w 259743"/>
                  <a:gd name="connsiteY141" fmla="*/ 150239 h 158438"/>
                  <a:gd name="connsiteX142" fmla="*/ 29801 w 259743"/>
                  <a:gd name="connsiteY142" fmla="*/ 150503 h 158438"/>
                  <a:gd name="connsiteX143" fmla="*/ 29184 w 259743"/>
                  <a:gd name="connsiteY143" fmla="*/ 150239 h 158438"/>
                  <a:gd name="connsiteX144" fmla="*/ 29801 w 259743"/>
                  <a:gd name="connsiteY144" fmla="*/ 149357 h 158438"/>
                  <a:gd name="connsiteX145" fmla="*/ 28919 w 259743"/>
                  <a:gd name="connsiteY145" fmla="*/ 148740 h 158438"/>
                  <a:gd name="connsiteX146" fmla="*/ 26892 w 259743"/>
                  <a:gd name="connsiteY146" fmla="*/ 147858 h 158438"/>
                  <a:gd name="connsiteX147" fmla="*/ 24511 w 259743"/>
                  <a:gd name="connsiteY147" fmla="*/ 147329 h 158438"/>
                  <a:gd name="connsiteX148" fmla="*/ 22748 w 259743"/>
                  <a:gd name="connsiteY148" fmla="*/ 147594 h 158438"/>
                  <a:gd name="connsiteX149" fmla="*/ 22748 w 259743"/>
                  <a:gd name="connsiteY149" fmla="*/ 148740 h 158438"/>
                  <a:gd name="connsiteX150" fmla="*/ 21601 w 259743"/>
                  <a:gd name="connsiteY150" fmla="*/ 148123 h 158438"/>
                  <a:gd name="connsiteX151" fmla="*/ 20455 w 259743"/>
                  <a:gd name="connsiteY151" fmla="*/ 148123 h 158438"/>
                  <a:gd name="connsiteX152" fmla="*/ 20191 w 259743"/>
                  <a:gd name="connsiteY152" fmla="*/ 146360 h 158438"/>
                  <a:gd name="connsiteX153" fmla="*/ 20191 w 259743"/>
                  <a:gd name="connsiteY153" fmla="*/ 144596 h 158438"/>
                  <a:gd name="connsiteX154" fmla="*/ 19309 w 259743"/>
                  <a:gd name="connsiteY154" fmla="*/ 141951 h 158438"/>
                  <a:gd name="connsiteX155" fmla="*/ 19309 w 259743"/>
                  <a:gd name="connsiteY155" fmla="*/ 141334 h 158438"/>
                  <a:gd name="connsiteX156" fmla="*/ 17898 w 259743"/>
                  <a:gd name="connsiteY156" fmla="*/ 139835 h 158438"/>
                  <a:gd name="connsiteX157" fmla="*/ 17545 w 259743"/>
                  <a:gd name="connsiteY157" fmla="*/ 138336 h 158438"/>
                  <a:gd name="connsiteX158" fmla="*/ 16664 w 259743"/>
                  <a:gd name="connsiteY158" fmla="*/ 137455 h 158438"/>
                  <a:gd name="connsiteX159" fmla="*/ 17281 w 259743"/>
                  <a:gd name="connsiteY159" fmla="*/ 135427 h 158438"/>
                  <a:gd name="connsiteX160" fmla="*/ 16399 w 259743"/>
                  <a:gd name="connsiteY160" fmla="*/ 136308 h 158438"/>
                  <a:gd name="connsiteX161" fmla="*/ 15518 w 259743"/>
                  <a:gd name="connsiteY161" fmla="*/ 136044 h 158438"/>
                  <a:gd name="connsiteX162" fmla="*/ 15782 w 259743"/>
                  <a:gd name="connsiteY162" fmla="*/ 134633 h 158438"/>
                  <a:gd name="connsiteX163" fmla="*/ 16047 w 259743"/>
                  <a:gd name="connsiteY163" fmla="*/ 133134 h 158438"/>
                  <a:gd name="connsiteX164" fmla="*/ 16047 w 259743"/>
                  <a:gd name="connsiteY164" fmla="*/ 127580 h 158438"/>
                  <a:gd name="connsiteX165" fmla="*/ 15429 w 259743"/>
                  <a:gd name="connsiteY165" fmla="*/ 126698 h 158438"/>
                  <a:gd name="connsiteX166" fmla="*/ 15165 w 259743"/>
                  <a:gd name="connsiteY166" fmla="*/ 125552 h 158438"/>
                  <a:gd name="connsiteX167" fmla="*/ 15165 w 259743"/>
                  <a:gd name="connsiteY167" fmla="*/ 122025 h 158438"/>
                  <a:gd name="connsiteX168" fmla="*/ 15782 w 259743"/>
                  <a:gd name="connsiteY168" fmla="*/ 120526 h 158438"/>
                  <a:gd name="connsiteX169" fmla="*/ 15165 w 259743"/>
                  <a:gd name="connsiteY169" fmla="*/ 119027 h 158438"/>
                  <a:gd name="connsiteX170" fmla="*/ 13401 w 259743"/>
                  <a:gd name="connsiteY170" fmla="*/ 118146 h 158438"/>
                  <a:gd name="connsiteX171" fmla="*/ 11374 w 259743"/>
                  <a:gd name="connsiteY171" fmla="*/ 116118 h 158438"/>
                  <a:gd name="connsiteX172" fmla="*/ 12520 w 259743"/>
                  <a:gd name="connsiteY172" fmla="*/ 113737 h 158438"/>
                  <a:gd name="connsiteX173" fmla="*/ 11374 w 259743"/>
                  <a:gd name="connsiteY173" fmla="*/ 112591 h 158438"/>
                  <a:gd name="connsiteX174" fmla="*/ 11374 w 259743"/>
                  <a:gd name="connsiteY174" fmla="*/ 111709 h 158438"/>
                  <a:gd name="connsiteX175" fmla="*/ 11109 w 259743"/>
                  <a:gd name="connsiteY175" fmla="*/ 109946 h 158438"/>
                  <a:gd name="connsiteX176" fmla="*/ 10492 w 259743"/>
                  <a:gd name="connsiteY176" fmla="*/ 108183 h 158438"/>
                  <a:gd name="connsiteX177" fmla="*/ 8200 w 259743"/>
                  <a:gd name="connsiteY177" fmla="*/ 106772 h 158438"/>
                  <a:gd name="connsiteX178" fmla="*/ 7935 w 259743"/>
                  <a:gd name="connsiteY178" fmla="*/ 103245 h 158438"/>
                  <a:gd name="connsiteX179" fmla="*/ 7318 w 259743"/>
                  <a:gd name="connsiteY179" fmla="*/ 102981 h 158438"/>
                  <a:gd name="connsiteX180" fmla="*/ 6701 w 259743"/>
                  <a:gd name="connsiteY180" fmla="*/ 103598 h 158438"/>
                  <a:gd name="connsiteX181" fmla="*/ 5555 w 259743"/>
                  <a:gd name="connsiteY181" fmla="*/ 103862 h 158438"/>
                  <a:gd name="connsiteX182" fmla="*/ 6172 w 259743"/>
                  <a:gd name="connsiteY182" fmla="*/ 102099 h 158438"/>
                  <a:gd name="connsiteX183" fmla="*/ 7671 w 259743"/>
                  <a:gd name="connsiteY183" fmla="*/ 101482 h 158438"/>
                  <a:gd name="connsiteX184" fmla="*/ 9434 w 259743"/>
                  <a:gd name="connsiteY184" fmla="*/ 101482 h 158438"/>
                  <a:gd name="connsiteX185" fmla="*/ 7935 w 259743"/>
                  <a:gd name="connsiteY185" fmla="*/ 99983 h 158438"/>
                  <a:gd name="connsiteX186" fmla="*/ 7935 w 259743"/>
                  <a:gd name="connsiteY186" fmla="*/ 98837 h 158438"/>
                  <a:gd name="connsiteX187" fmla="*/ 7935 w 259743"/>
                  <a:gd name="connsiteY187" fmla="*/ 98220 h 158438"/>
                  <a:gd name="connsiteX188" fmla="*/ 7318 w 259743"/>
                  <a:gd name="connsiteY188" fmla="*/ 96192 h 158438"/>
                  <a:gd name="connsiteX189" fmla="*/ 4673 w 259743"/>
                  <a:gd name="connsiteY189" fmla="*/ 95310 h 158438"/>
                  <a:gd name="connsiteX190" fmla="*/ 4673 w 259743"/>
                  <a:gd name="connsiteY190" fmla="*/ 94428 h 158438"/>
                  <a:gd name="connsiteX191" fmla="*/ 5819 w 259743"/>
                  <a:gd name="connsiteY191" fmla="*/ 93811 h 158438"/>
                  <a:gd name="connsiteX192" fmla="*/ 7318 w 259743"/>
                  <a:gd name="connsiteY192" fmla="*/ 94428 h 158438"/>
                  <a:gd name="connsiteX193" fmla="*/ 7318 w 259743"/>
                  <a:gd name="connsiteY193" fmla="*/ 91783 h 158438"/>
                  <a:gd name="connsiteX194" fmla="*/ 5819 w 259743"/>
                  <a:gd name="connsiteY194" fmla="*/ 90020 h 158438"/>
                  <a:gd name="connsiteX195" fmla="*/ 4408 w 259743"/>
                  <a:gd name="connsiteY195" fmla="*/ 90637 h 158438"/>
                  <a:gd name="connsiteX196" fmla="*/ 4408 w 259743"/>
                  <a:gd name="connsiteY196" fmla="*/ 89755 h 158438"/>
                  <a:gd name="connsiteX197" fmla="*/ 3791 w 259743"/>
                  <a:gd name="connsiteY197" fmla="*/ 88609 h 158438"/>
                  <a:gd name="connsiteX198" fmla="*/ 4937 w 259743"/>
                  <a:gd name="connsiteY198" fmla="*/ 87728 h 158438"/>
                  <a:gd name="connsiteX199" fmla="*/ 4937 w 259743"/>
                  <a:gd name="connsiteY199" fmla="*/ 86317 h 158438"/>
                  <a:gd name="connsiteX200" fmla="*/ 4408 w 259743"/>
                  <a:gd name="connsiteY200" fmla="*/ 87199 h 158438"/>
                  <a:gd name="connsiteX201" fmla="*/ 2380 w 259743"/>
                  <a:gd name="connsiteY201" fmla="*/ 87816 h 158438"/>
                  <a:gd name="connsiteX202" fmla="*/ 2380 w 259743"/>
                  <a:gd name="connsiteY202" fmla="*/ 86405 h 158438"/>
                  <a:gd name="connsiteX203" fmla="*/ 882 w 259743"/>
                  <a:gd name="connsiteY203" fmla="*/ 85788 h 158438"/>
                  <a:gd name="connsiteX204" fmla="*/ 1146 w 259743"/>
                  <a:gd name="connsiteY204" fmla="*/ 86405 h 158438"/>
                  <a:gd name="connsiteX205" fmla="*/ 617 w 259743"/>
                  <a:gd name="connsiteY205" fmla="*/ 86405 h 158438"/>
                  <a:gd name="connsiteX206" fmla="*/ 0 w 259743"/>
                  <a:gd name="connsiteY206" fmla="*/ 84642 h 158438"/>
                  <a:gd name="connsiteX207" fmla="*/ 882 w 259743"/>
                  <a:gd name="connsiteY207" fmla="*/ 85259 h 158438"/>
                  <a:gd name="connsiteX208" fmla="*/ 0 w 259743"/>
                  <a:gd name="connsiteY208" fmla="*/ 83231 h 158438"/>
                  <a:gd name="connsiteX209" fmla="*/ 882 w 259743"/>
                  <a:gd name="connsiteY209" fmla="*/ 81732 h 158438"/>
                  <a:gd name="connsiteX210" fmla="*/ 1763 w 259743"/>
                  <a:gd name="connsiteY210" fmla="*/ 82878 h 158438"/>
                  <a:gd name="connsiteX211" fmla="*/ 882 w 259743"/>
                  <a:gd name="connsiteY211" fmla="*/ 83407 h 158438"/>
                  <a:gd name="connsiteX212" fmla="*/ 2380 w 259743"/>
                  <a:gd name="connsiteY212" fmla="*/ 84024 h 158438"/>
                  <a:gd name="connsiteX213" fmla="*/ 3879 w 259743"/>
                  <a:gd name="connsiteY213" fmla="*/ 84642 h 158438"/>
                  <a:gd name="connsiteX214" fmla="*/ 4144 w 259743"/>
                  <a:gd name="connsiteY214" fmla="*/ 84642 h 158438"/>
                  <a:gd name="connsiteX215" fmla="*/ 3879 w 259743"/>
                  <a:gd name="connsiteY215" fmla="*/ 81997 h 158438"/>
                  <a:gd name="connsiteX216" fmla="*/ 2733 w 259743"/>
                  <a:gd name="connsiteY216" fmla="*/ 79087 h 158438"/>
                  <a:gd name="connsiteX217" fmla="*/ 2733 w 259743"/>
                  <a:gd name="connsiteY217" fmla="*/ 77324 h 158438"/>
                  <a:gd name="connsiteX218" fmla="*/ 705 w 259743"/>
                  <a:gd name="connsiteY218" fmla="*/ 76442 h 158438"/>
                  <a:gd name="connsiteX219" fmla="*/ 2733 w 259743"/>
                  <a:gd name="connsiteY219" fmla="*/ 76442 h 158438"/>
                  <a:gd name="connsiteX220" fmla="*/ 2116 w 259743"/>
                  <a:gd name="connsiteY220" fmla="*/ 75825 h 158438"/>
                  <a:gd name="connsiteX221" fmla="*/ 617 w 259743"/>
                  <a:gd name="connsiteY221" fmla="*/ 75560 h 158438"/>
                  <a:gd name="connsiteX222" fmla="*/ 353 w 259743"/>
                  <a:gd name="connsiteY222" fmla="*/ 73533 h 158438"/>
                  <a:gd name="connsiteX223" fmla="*/ 353 w 259743"/>
                  <a:gd name="connsiteY223" fmla="*/ 72915 h 158438"/>
                  <a:gd name="connsiteX224" fmla="*/ 1499 w 259743"/>
                  <a:gd name="connsiteY224" fmla="*/ 72915 h 158438"/>
                  <a:gd name="connsiteX225" fmla="*/ 2380 w 259743"/>
                  <a:gd name="connsiteY225" fmla="*/ 72298 h 158438"/>
                  <a:gd name="connsiteX226" fmla="*/ 2380 w 259743"/>
                  <a:gd name="connsiteY226" fmla="*/ 70535 h 158438"/>
                  <a:gd name="connsiteX227" fmla="*/ 3262 w 259743"/>
                  <a:gd name="connsiteY227" fmla="*/ 70270 h 158438"/>
                  <a:gd name="connsiteX228" fmla="*/ 3262 w 259743"/>
                  <a:gd name="connsiteY228" fmla="*/ 69124 h 158438"/>
                  <a:gd name="connsiteX229" fmla="*/ 2998 w 259743"/>
                  <a:gd name="connsiteY229" fmla="*/ 67096 h 158438"/>
                  <a:gd name="connsiteX230" fmla="*/ 2380 w 259743"/>
                  <a:gd name="connsiteY230" fmla="*/ 65068 h 158438"/>
                  <a:gd name="connsiteX231" fmla="*/ 2998 w 259743"/>
                  <a:gd name="connsiteY231" fmla="*/ 63040 h 158438"/>
                  <a:gd name="connsiteX232" fmla="*/ 2116 w 259743"/>
                  <a:gd name="connsiteY232" fmla="*/ 61277 h 158438"/>
                  <a:gd name="connsiteX233" fmla="*/ 1234 w 259743"/>
                  <a:gd name="connsiteY233" fmla="*/ 60395 h 158438"/>
                  <a:gd name="connsiteX234" fmla="*/ 1851 w 259743"/>
                  <a:gd name="connsiteY234" fmla="*/ 58897 h 158438"/>
                  <a:gd name="connsiteX235" fmla="*/ 2998 w 259743"/>
                  <a:gd name="connsiteY235" fmla="*/ 58897 h 158438"/>
                  <a:gd name="connsiteX236" fmla="*/ 1499 w 259743"/>
                  <a:gd name="connsiteY236" fmla="*/ 55105 h 158438"/>
                  <a:gd name="connsiteX237" fmla="*/ 1499 w 259743"/>
                  <a:gd name="connsiteY237" fmla="*/ 56251 h 158438"/>
                  <a:gd name="connsiteX238" fmla="*/ 2645 w 259743"/>
                  <a:gd name="connsiteY238" fmla="*/ 56251 h 158438"/>
                  <a:gd name="connsiteX239" fmla="*/ 5290 w 259743"/>
                  <a:gd name="connsiteY239" fmla="*/ 55105 h 158438"/>
                  <a:gd name="connsiteX240" fmla="*/ 5290 w 259743"/>
                  <a:gd name="connsiteY240" fmla="*/ 53695 h 158438"/>
                  <a:gd name="connsiteX241" fmla="*/ 5643 w 259743"/>
                  <a:gd name="connsiteY241" fmla="*/ 53695 h 158438"/>
                  <a:gd name="connsiteX242" fmla="*/ 7671 w 259743"/>
                  <a:gd name="connsiteY242" fmla="*/ 52548 h 158438"/>
                  <a:gd name="connsiteX243" fmla="*/ 7935 w 259743"/>
                  <a:gd name="connsiteY243" fmla="*/ 50521 h 158438"/>
                  <a:gd name="connsiteX244" fmla="*/ 11109 w 259743"/>
                  <a:gd name="connsiteY244" fmla="*/ 50521 h 158438"/>
                  <a:gd name="connsiteX245" fmla="*/ 8464 w 259743"/>
                  <a:gd name="connsiteY245" fmla="*/ 48228 h 158438"/>
                  <a:gd name="connsiteX246" fmla="*/ 11374 w 259743"/>
                  <a:gd name="connsiteY246" fmla="*/ 46200 h 158438"/>
                  <a:gd name="connsiteX247" fmla="*/ 11374 w 259743"/>
                  <a:gd name="connsiteY247" fmla="*/ 45319 h 158438"/>
                  <a:gd name="connsiteX248" fmla="*/ 7847 w 259743"/>
                  <a:gd name="connsiteY248" fmla="*/ 44790 h 158438"/>
                  <a:gd name="connsiteX249" fmla="*/ 7583 w 259743"/>
                  <a:gd name="connsiteY249" fmla="*/ 42762 h 158438"/>
                  <a:gd name="connsiteX250" fmla="*/ 7583 w 259743"/>
                  <a:gd name="connsiteY250" fmla="*/ 41880 h 158438"/>
                  <a:gd name="connsiteX251" fmla="*/ 7583 w 259743"/>
                  <a:gd name="connsiteY251" fmla="*/ 40469 h 158438"/>
                  <a:gd name="connsiteX252" fmla="*/ 7583 w 259743"/>
                  <a:gd name="connsiteY252" fmla="*/ 39588 h 158438"/>
                  <a:gd name="connsiteX253" fmla="*/ 7318 w 259743"/>
                  <a:gd name="connsiteY253" fmla="*/ 35532 h 158438"/>
                  <a:gd name="connsiteX254" fmla="*/ 12256 w 259743"/>
                  <a:gd name="connsiteY254" fmla="*/ 34121 h 158438"/>
                  <a:gd name="connsiteX255" fmla="*/ 7318 w 259743"/>
                  <a:gd name="connsiteY255" fmla="*/ 32093 h 158438"/>
                  <a:gd name="connsiteX256" fmla="*/ 10492 w 259743"/>
                  <a:gd name="connsiteY256" fmla="*/ 30947 h 158438"/>
                  <a:gd name="connsiteX257" fmla="*/ 11109 w 259743"/>
                  <a:gd name="connsiteY257" fmla="*/ 29536 h 158438"/>
                  <a:gd name="connsiteX258" fmla="*/ 13490 w 259743"/>
                  <a:gd name="connsiteY258" fmla="*/ 27156 h 158438"/>
                  <a:gd name="connsiteX259" fmla="*/ 16664 w 259743"/>
                  <a:gd name="connsiteY259" fmla="*/ 28302 h 158438"/>
                  <a:gd name="connsiteX260" fmla="*/ 19044 w 259743"/>
                  <a:gd name="connsiteY260" fmla="*/ 28302 h 158438"/>
                  <a:gd name="connsiteX261" fmla="*/ 19926 w 259743"/>
                  <a:gd name="connsiteY261" fmla="*/ 30947 h 158438"/>
                  <a:gd name="connsiteX262" fmla="*/ 21954 w 259743"/>
                  <a:gd name="connsiteY262" fmla="*/ 31212 h 158438"/>
                  <a:gd name="connsiteX263" fmla="*/ 23453 w 259743"/>
                  <a:gd name="connsiteY263" fmla="*/ 32005 h 158438"/>
                  <a:gd name="connsiteX264" fmla="*/ 25833 w 259743"/>
                  <a:gd name="connsiteY264" fmla="*/ 31123 h 158438"/>
                  <a:gd name="connsiteX265" fmla="*/ 25833 w 259743"/>
                  <a:gd name="connsiteY265" fmla="*/ 32622 h 158438"/>
                  <a:gd name="connsiteX266" fmla="*/ 25833 w 259743"/>
                  <a:gd name="connsiteY266" fmla="*/ 32887 h 158438"/>
                  <a:gd name="connsiteX267" fmla="*/ 26362 w 259743"/>
                  <a:gd name="connsiteY267" fmla="*/ 31123 h 158438"/>
                  <a:gd name="connsiteX268" fmla="*/ 28919 w 259743"/>
                  <a:gd name="connsiteY268" fmla="*/ 32005 h 158438"/>
                  <a:gd name="connsiteX269" fmla="*/ 28919 w 259743"/>
                  <a:gd name="connsiteY269" fmla="*/ 30859 h 158438"/>
                  <a:gd name="connsiteX270" fmla="*/ 32710 w 259743"/>
                  <a:gd name="connsiteY270" fmla="*/ 30859 h 158438"/>
                  <a:gd name="connsiteX271" fmla="*/ 35973 w 259743"/>
                  <a:gd name="connsiteY271" fmla="*/ 30859 h 158438"/>
                  <a:gd name="connsiteX272" fmla="*/ 36590 w 259743"/>
                  <a:gd name="connsiteY272" fmla="*/ 30859 h 158438"/>
                  <a:gd name="connsiteX273" fmla="*/ 38353 w 259743"/>
                  <a:gd name="connsiteY273" fmla="*/ 30859 h 158438"/>
                  <a:gd name="connsiteX274" fmla="*/ 80410 w 259743"/>
                  <a:gd name="connsiteY274" fmla="*/ 50432 h 158438"/>
                  <a:gd name="connsiteX275" fmla="*/ 84465 w 259743"/>
                  <a:gd name="connsiteY275" fmla="*/ 65862 h 158438"/>
                  <a:gd name="connsiteX276" fmla="*/ 119468 w 259743"/>
                  <a:gd name="connsiteY276" fmla="*/ 25657 h 158438"/>
                  <a:gd name="connsiteX277" fmla="*/ 195293 w 259743"/>
                  <a:gd name="connsiteY277" fmla="*/ 0 h 158438"/>
                  <a:gd name="connsiteX278" fmla="*/ 214514 w 259743"/>
                  <a:gd name="connsiteY278" fmla="*/ 31476 h 158438"/>
                  <a:gd name="connsiteX279" fmla="*/ 217423 w 259743"/>
                  <a:gd name="connsiteY279" fmla="*/ 37295 h 158438"/>
                  <a:gd name="connsiteX280" fmla="*/ 218569 w 259743"/>
                  <a:gd name="connsiteY280" fmla="*/ 42497 h 158438"/>
                  <a:gd name="connsiteX281" fmla="*/ 221479 w 259743"/>
                  <a:gd name="connsiteY281" fmla="*/ 44525 h 158438"/>
                  <a:gd name="connsiteX282" fmla="*/ 222978 w 259743"/>
                  <a:gd name="connsiteY282" fmla="*/ 47699 h 158438"/>
                  <a:gd name="connsiteX283" fmla="*/ 226152 w 259743"/>
                  <a:gd name="connsiteY283" fmla="*/ 50344 h 158438"/>
                  <a:gd name="connsiteX284" fmla="*/ 259480 w 259743"/>
                  <a:gd name="connsiteY284" fmla="*/ 153589 h 158438"/>
                  <a:gd name="connsiteX285" fmla="*/ 258863 w 259743"/>
                  <a:gd name="connsiteY285" fmla="*/ 153589 h 158438"/>
                  <a:gd name="connsiteX286" fmla="*/ 258598 w 259743"/>
                  <a:gd name="connsiteY286" fmla="*/ 153589 h 158438"/>
                  <a:gd name="connsiteX287" fmla="*/ 258334 w 259743"/>
                  <a:gd name="connsiteY287" fmla="*/ 153589 h 158438"/>
                  <a:gd name="connsiteX288" fmla="*/ 258334 w 259743"/>
                  <a:gd name="connsiteY288" fmla="*/ 153854 h 158438"/>
                  <a:gd name="connsiteX289" fmla="*/ 258069 w 259743"/>
                  <a:gd name="connsiteY289" fmla="*/ 154118 h 158438"/>
                  <a:gd name="connsiteX290" fmla="*/ 257805 w 259743"/>
                  <a:gd name="connsiteY290" fmla="*/ 154118 h 158438"/>
                  <a:gd name="connsiteX291" fmla="*/ 257805 w 259743"/>
                  <a:gd name="connsiteY291" fmla="*/ 154383 h 158438"/>
                  <a:gd name="connsiteX292" fmla="*/ 257805 w 259743"/>
                  <a:gd name="connsiteY292" fmla="*/ 154647 h 158438"/>
                  <a:gd name="connsiteX293" fmla="*/ 257805 w 259743"/>
                  <a:gd name="connsiteY293" fmla="*/ 154912 h 158438"/>
                  <a:gd name="connsiteX294" fmla="*/ 257805 w 259743"/>
                  <a:gd name="connsiteY294" fmla="*/ 155176 h 158438"/>
                  <a:gd name="connsiteX295" fmla="*/ 257452 w 259743"/>
                  <a:gd name="connsiteY295" fmla="*/ 155176 h 158438"/>
                  <a:gd name="connsiteX296" fmla="*/ 257187 w 259743"/>
                  <a:gd name="connsiteY296" fmla="*/ 155176 h 158438"/>
                  <a:gd name="connsiteX297" fmla="*/ 256923 w 259743"/>
                  <a:gd name="connsiteY297" fmla="*/ 155176 h 158438"/>
                  <a:gd name="connsiteX298" fmla="*/ 256570 w 259743"/>
                  <a:gd name="connsiteY298" fmla="*/ 155441 h 158438"/>
                  <a:gd name="connsiteX299" fmla="*/ 256305 w 259743"/>
                  <a:gd name="connsiteY299" fmla="*/ 155705 h 158438"/>
                  <a:gd name="connsiteX300" fmla="*/ 256041 w 259743"/>
                  <a:gd name="connsiteY300" fmla="*/ 155705 h 158438"/>
                  <a:gd name="connsiteX301" fmla="*/ 255424 w 259743"/>
                  <a:gd name="connsiteY301" fmla="*/ 155705 h 158438"/>
                  <a:gd name="connsiteX302" fmla="*/ 255160 w 259743"/>
                  <a:gd name="connsiteY302" fmla="*/ 155705 h 158438"/>
                  <a:gd name="connsiteX303" fmla="*/ 254895 w 259743"/>
                  <a:gd name="connsiteY303" fmla="*/ 155705 h 158438"/>
                  <a:gd name="connsiteX304" fmla="*/ 254542 w 259743"/>
                  <a:gd name="connsiteY304" fmla="*/ 155705 h 158438"/>
                  <a:gd name="connsiteX305" fmla="*/ 254542 w 259743"/>
                  <a:gd name="connsiteY305" fmla="*/ 155970 h 158438"/>
                  <a:gd name="connsiteX306" fmla="*/ 254278 w 259743"/>
                  <a:gd name="connsiteY306" fmla="*/ 155970 h 158438"/>
                  <a:gd name="connsiteX307" fmla="*/ 254013 w 259743"/>
                  <a:gd name="connsiteY307" fmla="*/ 155970 h 158438"/>
                  <a:gd name="connsiteX308" fmla="*/ 253749 w 259743"/>
                  <a:gd name="connsiteY308" fmla="*/ 155970 h 158438"/>
                  <a:gd name="connsiteX309" fmla="*/ 253484 w 259743"/>
                  <a:gd name="connsiteY309" fmla="*/ 155970 h 158438"/>
                  <a:gd name="connsiteX310" fmla="*/ 253220 w 259743"/>
                  <a:gd name="connsiteY310" fmla="*/ 155970 h 158438"/>
                  <a:gd name="connsiteX311" fmla="*/ 252867 w 259743"/>
                  <a:gd name="connsiteY311" fmla="*/ 156234 h 158438"/>
                  <a:gd name="connsiteX312" fmla="*/ 252250 w 259743"/>
                  <a:gd name="connsiteY312" fmla="*/ 156234 h 158438"/>
                  <a:gd name="connsiteX313" fmla="*/ 251985 w 259743"/>
                  <a:gd name="connsiteY313" fmla="*/ 156499 h 158438"/>
                  <a:gd name="connsiteX314" fmla="*/ 251985 w 259743"/>
                  <a:gd name="connsiteY314" fmla="*/ 156763 h 158438"/>
                  <a:gd name="connsiteX315" fmla="*/ 251721 w 259743"/>
                  <a:gd name="connsiteY315" fmla="*/ 156763 h 158438"/>
                  <a:gd name="connsiteX316" fmla="*/ 251456 w 259743"/>
                  <a:gd name="connsiteY316" fmla="*/ 157028 h 158438"/>
                  <a:gd name="connsiteX317" fmla="*/ 251192 w 259743"/>
                  <a:gd name="connsiteY317" fmla="*/ 157028 h 158438"/>
                  <a:gd name="connsiteX318" fmla="*/ 250927 w 259743"/>
                  <a:gd name="connsiteY318" fmla="*/ 157028 h 158438"/>
                  <a:gd name="connsiteX319" fmla="*/ 250663 w 259743"/>
                  <a:gd name="connsiteY319" fmla="*/ 157028 h 158438"/>
                  <a:gd name="connsiteX320" fmla="*/ 250398 w 259743"/>
                  <a:gd name="connsiteY320" fmla="*/ 156763 h 158438"/>
                  <a:gd name="connsiteX321" fmla="*/ 250134 w 259743"/>
                  <a:gd name="connsiteY321" fmla="*/ 157028 h 158438"/>
                  <a:gd name="connsiteX322" fmla="*/ 249869 w 259743"/>
                  <a:gd name="connsiteY322" fmla="*/ 157028 h 158438"/>
                  <a:gd name="connsiteX323" fmla="*/ 249340 w 259743"/>
                  <a:gd name="connsiteY323" fmla="*/ 157292 h 158438"/>
                  <a:gd name="connsiteX324" fmla="*/ 248988 w 259743"/>
                  <a:gd name="connsiteY324" fmla="*/ 157557 h 158438"/>
                  <a:gd name="connsiteX325" fmla="*/ 248723 w 259743"/>
                  <a:gd name="connsiteY325" fmla="*/ 157557 h 158438"/>
                  <a:gd name="connsiteX326" fmla="*/ 248370 w 259743"/>
                  <a:gd name="connsiteY326" fmla="*/ 157557 h 158438"/>
                  <a:gd name="connsiteX327" fmla="*/ 248106 w 259743"/>
                  <a:gd name="connsiteY327" fmla="*/ 157557 h 158438"/>
                  <a:gd name="connsiteX328" fmla="*/ 247841 w 259743"/>
                  <a:gd name="connsiteY328" fmla="*/ 157557 h 158438"/>
                  <a:gd name="connsiteX329" fmla="*/ 247577 w 259743"/>
                  <a:gd name="connsiteY329" fmla="*/ 157557 h 158438"/>
                  <a:gd name="connsiteX330" fmla="*/ 247312 w 259743"/>
                  <a:gd name="connsiteY330" fmla="*/ 157557 h 158438"/>
                  <a:gd name="connsiteX331" fmla="*/ 247048 w 259743"/>
                  <a:gd name="connsiteY331" fmla="*/ 157557 h 158438"/>
                  <a:gd name="connsiteX332" fmla="*/ 246783 w 259743"/>
                  <a:gd name="connsiteY332" fmla="*/ 157557 h 158438"/>
                  <a:gd name="connsiteX333" fmla="*/ 246519 w 259743"/>
                  <a:gd name="connsiteY333" fmla="*/ 157557 h 158438"/>
                  <a:gd name="connsiteX334" fmla="*/ 246254 w 259743"/>
                  <a:gd name="connsiteY334" fmla="*/ 157557 h 158438"/>
                  <a:gd name="connsiteX335" fmla="*/ 246254 w 259743"/>
                  <a:gd name="connsiteY335" fmla="*/ 157821 h 158438"/>
                  <a:gd name="connsiteX336" fmla="*/ 245990 w 259743"/>
                  <a:gd name="connsiteY336" fmla="*/ 157821 h 158438"/>
                  <a:gd name="connsiteX337" fmla="*/ 245726 w 259743"/>
                  <a:gd name="connsiteY337" fmla="*/ 157821 h 158438"/>
                  <a:gd name="connsiteX338" fmla="*/ 245461 w 259743"/>
                  <a:gd name="connsiteY338" fmla="*/ 158174 h 158438"/>
                  <a:gd name="connsiteX339" fmla="*/ 245461 w 259743"/>
                  <a:gd name="connsiteY339" fmla="*/ 158439 h 158438"/>
                  <a:gd name="connsiteX340" fmla="*/ 245461 w 259743"/>
                  <a:gd name="connsiteY340" fmla="*/ 158174 h 158438"/>
                  <a:gd name="connsiteX341" fmla="*/ 245108 w 259743"/>
                  <a:gd name="connsiteY341" fmla="*/ 158439 h 158438"/>
                  <a:gd name="connsiteX342" fmla="*/ 244843 w 259743"/>
                  <a:gd name="connsiteY342" fmla="*/ 158439 h 158438"/>
                  <a:gd name="connsiteX343" fmla="*/ 244843 w 259743"/>
                  <a:gd name="connsiteY343" fmla="*/ 158174 h 158438"/>
                  <a:gd name="connsiteX344" fmla="*/ 244579 w 259743"/>
                  <a:gd name="connsiteY344" fmla="*/ 158174 h 158438"/>
                  <a:gd name="connsiteX345" fmla="*/ 244226 w 259743"/>
                  <a:gd name="connsiteY345" fmla="*/ 158439 h 158438"/>
                  <a:gd name="connsiteX346" fmla="*/ 243962 w 259743"/>
                  <a:gd name="connsiteY346" fmla="*/ 158439 h 158438"/>
                  <a:gd name="connsiteX347" fmla="*/ 243697 w 259743"/>
                  <a:gd name="connsiteY347" fmla="*/ 158439 h 158438"/>
                  <a:gd name="connsiteX348" fmla="*/ 243962 w 259743"/>
                  <a:gd name="connsiteY348" fmla="*/ 158439 h 158438"/>
                  <a:gd name="connsiteX349" fmla="*/ 243697 w 259743"/>
                  <a:gd name="connsiteY349" fmla="*/ 158439 h 158438"/>
                  <a:gd name="connsiteX350" fmla="*/ 243345 w 259743"/>
                  <a:gd name="connsiteY350" fmla="*/ 158439 h 158438"/>
                  <a:gd name="connsiteX351" fmla="*/ 243345 w 259743"/>
                  <a:gd name="connsiteY351" fmla="*/ 158174 h 158438"/>
                  <a:gd name="connsiteX352" fmla="*/ 242992 w 259743"/>
                  <a:gd name="connsiteY352" fmla="*/ 158174 h 158438"/>
                  <a:gd name="connsiteX353" fmla="*/ 242728 w 259743"/>
                  <a:gd name="connsiteY353" fmla="*/ 158174 h 158438"/>
                  <a:gd name="connsiteX354" fmla="*/ 242728 w 259743"/>
                  <a:gd name="connsiteY354" fmla="*/ 157821 h 158438"/>
                  <a:gd name="connsiteX355" fmla="*/ 242728 w 259743"/>
                  <a:gd name="connsiteY355" fmla="*/ 157557 h 158438"/>
                  <a:gd name="connsiteX356" fmla="*/ 242463 w 259743"/>
                  <a:gd name="connsiteY356" fmla="*/ 157557 h 158438"/>
                  <a:gd name="connsiteX357" fmla="*/ 242463 w 259743"/>
                  <a:gd name="connsiteY357" fmla="*/ 157292 h 158438"/>
                  <a:gd name="connsiteX358" fmla="*/ 242463 w 259743"/>
                  <a:gd name="connsiteY358" fmla="*/ 157028 h 158438"/>
                  <a:gd name="connsiteX359" fmla="*/ 242463 w 259743"/>
                  <a:gd name="connsiteY359" fmla="*/ 157292 h 158438"/>
                  <a:gd name="connsiteX360" fmla="*/ 242463 w 259743"/>
                  <a:gd name="connsiteY360" fmla="*/ 157028 h 158438"/>
                  <a:gd name="connsiteX361" fmla="*/ 242463 w 259743"/>
                  <a:gd name="connsiteY361" fmla="*/ 156411 h 158438"/>
                  <a:gd name="connsiteX362" fmla="*/ 242463 w 259743"/>
                  <a:gd name="connsiteY362" fmla="*/ 156146 h 158438"/>
                  <a:gd name="connsiteX363" fmla="*/ 242728 w 259743"/>
                  <a:gd name="connsiteY363" fmla="*/ 155882 h 158438"/>
                  <a:gd name="connsiteX364" fmla="*/ 242463 w 259743"/>
                  <a:gd name="connsiteY364" fmla="*/ 155882 h 158438"/>
                  <a:gd name="connsiteX365" fmla="*/ 242463 w 259743"/>
                  <a:gd name="connsiteY365" fmla="*/ 155617 h 158438"/>
                  <a:gd name="connsiteX366" fmla="*/ 242463 w 259743"/>
                  <a:gd name="connsiteY366" fmla="*/ 155353 h 158438"/>
                  <a:gd name="connsiteX367" fmla="*/ 242463 w 259743"/>
                  <a:gd name="connsiteY367" fmla="*/ 155088 h 158438"/>
                  <a:gd name="connsiteX368" fmla="*/ 242199 w 259743"/>
                  <a:gd name="connsiteY368" fmla="*/ 154824 h 158438"/>
                  <a:gd name="connsiteX369" fmla="*/ 242199 w 259743"/>
                  <a:gd name="connsiteY369" fmla="*/ 154559 h 158438"/>
                  <a:gd name="connsiteX370" fmla="*/ 242199 w 259743"/>
                  <a:gd name="connsiteY370" fmla="*/ 154824 h 158438"/>
                  <a:gd name="connsiteX371" fmla="*/ 242199 w 259743"/>
                  <a:gd name="connsiteY371" fmla="*/ 154559 h 158438"/>
                  <a:gd name="connsiteX372" fmla="*/ 242463 w 259743"/>
                  <a:gd name="connsiteY372" fmla="*/ 154559 h 158438"/>
                  <a:gd name="connsiteX373" fmla="*/ 242199 w 259743"/>
                  <a:gd name="connsiteY373" fmla="*/ 154559 h 158438"/>
                  <a:gd name="connsiteX374" fmla="*/ 242199 w 259743"/>
                  <a:gd name="connsiteY374" fmla="*/ 154295 h 158438"/>
                  <a:gd name="connsiteX375" fmla="*/ 242463 w 259743"/>
                  <a:gd name="connsiteY375" fmla="*/ 154295 h 158438"/>
                  <a:gd name="connsiteX376" fmla="*/ 242199 w 259743"/>
                  <a:gd name="connsiteY376" fmla="*/ 154295 h 158438"/>
                  <a:gd name="connsiteX377" fmla="*/ 242199 w 259743"/>
                  <a:gd name="connsiteY377" fmla="*/ 154030 h 158438"/>
                  <a:gd name="connsiteX378" fmla="*/ 242463 w 259743"/>
                  <a:gd name="connsiteY378" fmla="*/ 154030 h 158438"/>
                  <a:gd name="connsiteX379" fmla="*/ 242463 w 259743"/>
                  <a:gd name="connsiteY379" fmla="*/ 153766 h 158438"/>
                  <a:gd name="connsiteX380" fmla="*/ 242199 w 259743"/>
                  <a:gd name="connsiteY380" fmla="*/ 153766 h 158438"/>
                  <a:gd name="connsiteX381" fmla="*/ 242199 w 259743"/>
                  <a:gd name="connsiteY381" fmla="*/ 153501 h 158438"/>
                  <a:gd name="connsiteX382" fmla="*/ 241846 w 259743"/>
                  <a:gd name="connsiteY382" fmla="*/ 153237 h 158438"/>
                  <a:gd name="connsiteX383" fmla="*/ 241846 w 259743"/>
                  <a:gd name="connsiteY383" fmla="*/ 153501 h 158438"/>
                  <a:gd name="connsiteX384" fmla="*/ 241846 w 259743"/>
                  <a:gd name="connsiteY384" fmla="*/ 153237 h 158438"/>
                  <a:gd name="connsiteX385" fmla="*/ 241846 w 259743"/>
                  <a:gd name="connsiteY385" fmla="*/ 152972 h 158438"/>
                  <a:gd name="connsiteX386" fmla="*/ 242199 w 259743"/>
                  <a:gd name="connsiteY386" fmla="*/ 153237 h 158438"/>
                  <a:gd name="connsiteX387" fmla="*/ 241846 w 259743"/>
                  <a:gd name="connsiteY387" fmla="*/ 153237 h 158438"/>
                  <a:gd name="connsiteX388" fmla="*/ 242199 w 259743"/>
                  <a:gd name="connsiteY388" fmla="*/ 153237 h 158438"/>
                  <a:gd name="connsiteX389" fmla="*/ 242199 w 259743"/>
                  <a:gd name="connsiteY389" fmla="*/ 152972 h 158438"/>
                  <a:gd name="connsiteX390" fmla="*/ 242199 w 259743"/>
                  <a:gd name="connsiteY390" fmla="*/ 152708 h 158438"/>
                  <a:gd name="connsiteX391" fmla="*/ 241846 w 259743"/>
                  <a:gd name="connsiteY391" fmla="*/ 152708 h 158438"/>
                  <a:gd name="connsiteX392" fmla="*/ 242199 w 259743"/>
                  <a:gd name="connsiteY392" fmla="*/ 152708 h 158438"/>
                  <a:gd name="connsiteX393" fmla="*/ 242199 w 259743"/>
                  <a:gd name="connsiteY393" fmla="*/ 152443 h 158438"/>
                  <a:gd name="connsiteX394" fmla="*/ 242199 w 259743"/>
                  <a:gd name="connsiteY394" fmla="*/ 152179 h 158438"/>
                  <a:gd name="connsiteX395" fmla="*/ 242463 w 259743"/>
                  <a:gd name="connsiteY395" fmla="*/ 152179 h 158438"/>
                  <a:gd name="connsiteX396" fmla="*/ 242463 w 259743"/>
                  <a:gd name="connsiteY396" fmla="*/ 151914 h 158438"/>
                  <a:gd name="connsiteX397" fmla="*/ 242463 w 259743"/>
                  <a:gd name="connsiteY397" fmla="*/ 151650 h 158438"/>
                  <a:gd name="connsiteX398" fmla="*/ 242199 w 259743"/>
                  <a:gd name="connsiteY398" fmla="*/ 151650 h 158438"/>
                  <a:gd name="connsiteX399" fmla="*/ 242463 w 259743"/>
                  <a:gd name="connsiteY399" fmla="*/ 151385 h 158438"/>
                  <a:gd name="connsiteX400" fmla="*/ 242463 w 259743"/>
                  <a:gd name="connsiteY400" fmla="*/ 151121 h 158438"/>
                  <a:gd name="connsiteX401" fmla="*/ 242463 w 259743"/>
                  <a:gd name="connsiteY401" fmla="*/ 151385 h 158438"/>
                  <a:gd name="connsiteX402" fmla="*/ 242728 w 259743"/>
                  <a:gd name="connsiteY402" fmla="*/ 151385 h 158438"/>
                  <a:gd name="connsiteX403" fmla="*/ 242728 w 259743"/>
                  <a:gd name="connsiteY403" fmla="*/ 151121 h 158438"/>
                  <a:gd name="connsiteX404" fmla="*/ 242992 w 259743"/>
                  <a:gd name="connsiteY404" fmla="*/ 150856 h 158438"/>
                  <a:gd name="connsiteX405" fmla="*/ 242992 w 259743"/>
                  <a:gd name="connsiteY405" fmla="*/ 151121 h 158438"/>
                  <a:gd name="connsiteX406" fmla="*/ 242992 w 259743"/>
                  <a:gd name="connsiteY406" fmla="*/ 150856 h 158438"/>
                  <a:gd name="connsiteX407" fmla="*/ 243345 w 259743"/>
                  <a:gd name="connsiteY407" fmla="*/ 150592 h 158438"/>
                  <a:gd name="connsiteX408" fmla="*/ 242992 w 259743"/>
                  <a:gd name="connsiteY408" fmla="*/ 150592 h 158438"/>
                  <a:gd name="connsiteX409" fmla="*/ 242992 w 259743"/>
                  <a:gd name="connsiteY409" fmla="*/ 150327 h 158438"/>
                  <a:gd name="connsiteX410" fmla="*/ 242992 w 259743"/>
                  <a:gd name="connsiteY410" fmla="*/ 150063 h 158438"/>
                  <a:gd name="connsiteX411" fmla="*/ 242992 w 259743"/>
                  <a:gd name="connsiteY411" fmla="*/ 149798 h 158438"/>
                  <a:gd name="connsiteX412" fmla="*/ 243609 w 259743"/>
                  <a:gd name="connsiteY412" fmla="*/ 149798 h 158438"/>
                  <a:gd name="connsiteX413" fmla="*/ 242992 w 259743"/>
                  <a:gd name="connsiteY413" fmla="*/ 149534 h 158438"/>
                  <a:gd name="connsiteX414" fmla="*/ 243345 w 259743"/>
                  <a:gd name="connsiteY414" fmla="*/ 149534 h 158438"/>
                  <a:gd name="connsiteX415" fmla="*/ 243697 w 259743"/>
                  <a:gd name="connsiteY415" fmla="*/ 149269 h 158438"/>
                  <a:gd name="connsiteX416" fmla="*/ 243962 w 259743"/>
                  <a:gd name="connsiteY416" fmla="*/ 149534 h 158438"/>
                  <a:gd name="connsiteX417" fmla="*/ 244226 w 259743"/>
                  <a:gd name="connsiteY417" fmla="*/ 149534 h 158438"/>
                  <a:gd name="connsiteX418" fmla="*/ 244226 w 259743"/>
                  <a:gd name="connsiteY418" fmla="*/ 149798 h 158438"/>
                  <a:gd name="connsiteX419" fmla="*/ 244579 w 259743"/>
                  <a:gd name="connsiteY419" fmla="*/ 149798 h 158438"/>
                  <a:gd name="connsiteX420" fmla="*/ 244843 w 259743"/>
                  <a:gd name="connsiteY420" fmla="*/ 149798 h 158438"/>
                  <a:gd name="connsiteX421" fmla="*/ 245108 w 259743"/>
                  <a:gd name="connsiteY421" fmla="*/ 149798 h 158438"/>
                  <a:gd name="connsiteX422" fmla="*/ 245461 w 259743"/>
                  <a:gd name="connsiteY422" fmla="*/ 149798 h 158438"/>
                  <a:gd name="connsiteX423" fmla="*/ 248635 w 259743"/>
                  <a:gd name="connsiteY423" fmla="*/ 151826 h 158438"/>
                  <a:gd name="connsiteX424" fmla="*/ 248635 w 259743"/>
                  <a:gd name="connsiteY424" fmla="*/ 153237 h 158438"/>
                  <a:gd name="connsiteX425" fmla="*/ 251897 w 259743"/>
                  <a:gd name="connsiteY425" fmla="*/ 150592 h 158438"/>
                  <a:gd name="connsiteX426" fmla="*/ 258334 w 259743"/>
                  <a:gd name="connsiteY426" fmla="*/ 149446 h 158438"/>
                  <a:gd name="connsiteX427" fmla="*/ 259215 w 259743"/>
                  <a:gd name="connsiteY427" fmla="*/ 152090 h 158438"/>
                  <a:gd name="connsiteX428" fmla="*/ 259480 w 259743"/>
                  <a:gd name="connsiteY428" fmla="*/ 152708 h 158438"/>
                  <a:gd name="connsiteX429" fmla="*/ 259480 w 259743"/>
                  <a:gd name="connsiteY429" fmla="*/ 152972 h 158438"/>
                  <a:gd name="connsiteX430" fmla="*/ 259744 w 259743"/>
                  <a:gd name="connsiteY430" fmla="*/ 153237 h 158438"/>
                  <a:gd name="connsiteX431" fmla="*/ 259744 w 259743"/>
                  <a:gd name="connsiteY431" fmla="*/ 153501 h 158438"/>
                  <a:gd name="connsiteX432" fmla="*/ 259480 w 259743"/>
                  <a:gd name="connsiteY432" fmla="*/ 153589 h 158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</a:cxnLst>
                <a:rect l="l" t="t" r="r" b="b"/>
                <a:pathLst>
                  <a:path w="259743" h="158438">
                    <a:moveTo>
                      <a:pt x="226152" y="50344"/>
                    </a:moveTo>
                    <a:lnTo>
                      <a:pt x="220862" y="52725"/>
                    </a:lnTo>
                    <a:lnTo>
                      <a:pt x="219980" y="52725"/>
                    </a:lnTo>
                    <a:lnTo>
                      <a:pt x="218217" y="53606"/>
                    </a:lnTo>
                    <a:lnTo>
                      <a:pt x="217071" y="53606"/>
                    </a:lnTo>
                    <a:lnTo>
                      <a:pt x="214778" y="53871"/>
                    </a:lnTo>
                    <a:lnTo>
                      <a:pt x="211516" y="55282"/>
                    </a:lnTo>
                    <a:lnTo>
                      <a:pt x="208606" y="59337"/>
                    </a:lnTo>
                    <a:lnTo>
                      <a:pt x="207460" y="61101"/>
                    </a:lnTo>
                    <a:lnTo>
                      <a:pt x="207725" y="63129"/>
                    </a:lnTo>
                    <a:lnTo>
                      <a:pt x="207725" y="64627"/>
                    </a:lnTo>
                    <a:lnTo>
                      <a:pt x="206226" y="67273"/>
                    </a:lnTo>
                    <a:lnTo>
                      <a:pt x="207989" y="68154"/>
                    </a:lnTo>
                    <a:lnTo>
                      <a:pt x="207989" y="69300"/>
                    </a:lnTo>
                    <a:lnTo>
                      <a:pt x="208871" y="70799"/>
                    </a:lnTo>
                    <a:lnTo>
                      <a:pt x="209488" y="71681"/>
                    </a:lnTo>
                    <a:lnTo>
                      <a:pt x="208342" y="72563"/>
                    </a:lnTo>
                    <a:lnTo>
                      <a:pt x="208959" y="73180"/>
                    </a:lnTo>
                    <a:lnTo>
                      <a:pt x="209224" y="74062"/>
                    </a:lnTo>
                    <a:lnTo>
                      <a:pt x="209841" y="74679"/>
                    </a:lnTo>
                    <a:lnTo>
                      <a:pt x="209224" y="75825"/>
                    </a:lnTo>
                    <a:lnTo>
                      <a:pt x="208342" y="75825"/>
                    </a:lnTo>
                    <a:lnTo>
                      <a:pt x="206050" y="76707"/>
                    </a:lnTo>
                    <a:lnTo>
                      <a:pt x="204903" y="77853"/>
                    </a:lnTo>
                    <a:lnTo>
                      <a:pt x="203757" y="77588"/>
                    </a:lnTo>
                    <a:lnTo>
                      <a:pt x="201377" y="78205"/>
                    </a:lnTo>
                    <a:lnTo>
                      <a:pt x="200759" y="79352"/>
                    </a:lnTo>
                    <a:lnTo>
                      <a:pt x="198732" y="79616"/>
                    </a:lnTo>
                    <a:lnTo>
                      <a:pt x="197585" y="79352"/>
                    </a:lnTo>
                    <a:lnTo>
                      <a:pt x="196968" y="80498"/>
                    </a:lnTo>
                    <a:lnTo>
                      <a:pt x="196968" y="81909"/>
                    </a:lnTo>
                    <a:lnTo>
                      <a:pt x="196351" y="82526"/>
                    </a:lnTo>
                    <a:lnTo>
                      <a:pt x="194940" y="83407"/>
                    </a:lnTo>
                    <a:lnTo>
                      <a:pt x="194058" y="83143"/>
                    </a:lnTo>
                    <a:lnTo>
                      <a:pt x="191766" y="84906"/>
                    </a:lnTo>
                    <a:lnTo>
                      <a:pt x="190356" y="85523"/>
                    </a:lnTo>
                    <a:lnTo>
                      <a:pt x="188063" y="86670"/>
                    </a:lnTo>
                    <a:lnTo>
                      <a:pt x="180216" y="88697"/>
                    </a:lnTo>
                    <a:lnTo>
                      <a:pt x="178717" y="89315"/>
                    </a:lnTo>
                    <a:lnTo>
                      <a:pt x="173163" y="90196"/>
                    </a:lnTo>
                    <a:lnTo>
                      <a:pt x="170253" y="91078"/>
                    </a:lnTo>
                    <a:lnTo>
                      <a:pt x="169371" y="93723"/>
                    </a:lnTo>
                    <a:lnTo>
                      <a:pt x="166991" y="93723"/>
                    </a:lnTo>
                    <a:lnTo>
                      <a:pt x="166374" y="94869"/>
                    </a:lnTo>
                    <a:lnTo>
                      <a:pt x="164346" y="95134"/>
                    </a:lnTo>
                    <a:lnTo>
                      <a:pt x="163728" y="95398"/>
                    </a:lnTo>
                    <a:lnTo>
                      <a:pt x="161701" y="94781"/>
                    </a:lnTo>
                    <a:lnTo>
                      <a:pt x="160819" y="94781"/>
                    </a:lnTo>
                    <a:lnTo>
                      <a:pt x="157557" y="95927"/>
                    </a:lnTo>
                    <a:lnTo>
                      <a:pt x="151738" y="97691"/>
                    </a:lnTo>
                    <a:lnTo>
                      <a:pt x="151473" y="98572"/>
                    </a:lnTo>
                    <a:lnTo>
                      <a:pt x="148211" y="99454"/>
                    </a:lnTo>
                    <a:lnTo>
                      <a:pt x="143009" y="102981"/>
                    </a:lnTo>
                    <a:lnTo>
                      <a:pt x="142128" y="103245"/>
                    </a:lnTo>
                    <a:lnTo>
                      <a:pt x="139835" y="105890"/>
                    </a:lnTo>
                    <a:lnTo>
                      <a:pt x="140099" y="107036"/>
                    </a:lnTo>
                    <a:lnTo>
                      <a:pt x="140099" y="108447"/>
                    </a:lnTo>
                    <a:lnTo>
                      <a:pt x="140099" y="108712"/>
                    </a:lnTo>
                    <a:lnTo>
                      <a:pt x="139482" y="110122"/>
                    </a:lnTo>
                    <a:lnTo>
                      <a:pt x="137719" y="109858"/>
                    </a:lnTo>
                    <a:lnTo>
                      <a:pt x="136837" y="110475"/>
                    </a:lnTo>
                    <a:lnTo>
                      <a:pt x="136220" y="111886"/>
                    </a:lnTo>
                    <a:lnTo>
                      <a:pt x="135603" y="112767"/>
                    </a:lnTo>
                    <a:lnTo>
                      <a:pt x="134192" y="114795"/>
                    </a:lnTo>
                    <a:lnTo>
                      <a:pt x="132429" y="115413"/>
                    </a:lnTo>
                    <a:lnTo>
                      <a:pt x="131018" y="114795"/>
                    </a:lnTo>
                    <a:lnTo>
                      <a:pt x="129255" y="115677"/>
                    </a:lnTo>
                    <a:lnTo>
                      <a:pt x="128109" y="115677"/>
                    </a:lnTo>
                    <a:lnTo>
                      <a:pt x="127844" y="116206"/>
                    </a:lnTo>
                    <a:lnTo>
                      <a:pt x="127227" y="115677"/>
                    </a:lnTo>
                    <a:lnTo>
                      <a:pt x="126345" y="116559"/>
                    </a:lnTo>
                    <a:lnTo>
                      <a:pt x="124846" y="116294"/>
                    </a:lnTo>
                    <a:lnTo>
                      <a:pt x="122202" y="116911"/>
                    </a:lnTo>
                    <a:lnTo>
                      <a:pt x="121937" y="116030"/>
                    </a:lnTo>
                    <a:lnTo>
                      <a:pt x="121673" y="115765"/>
                    </a:lnTo>
                    <a:lnTo>
                      <a:pt x="119292" y="114883"/>
                    </a:lnTo>
                    <a:lnTo>
                      <a:pt x="117528" y="114883"/>
                    </a:lnTo>
                    <a:lnTo>
                      <a:pt x="117793" y="115765"/>
                    </a:lnTo>
                    <a:lnTo>
                      <a:pt x="115148" y="116911"/>
                    </a:lnTo>
                    <a:lnTo>
                      <a:pt x="114531" y="117528"/>
                    </a:lnTo>
                    <a:lnTo>
                      <a:pt x="112238" y="118410"/>
                    </a:lnTo>
                    <a:lnTo>
                      <a:pt x="111621" y="119292"/>
                    </a:lnTo>
                    <a:lnTo>
                      <a:pt x="106067" y="124229"/>
                    </a:lnTo>
                    <a:lnTo>
                      <a:pt x="102540" y="125993"/>
                    </a:lnTo>
                    <a:lnTo>
                      <a:pt x="98484" y="128021"/>
                    </a:lnTo>
                    <a:lnTo>
                      <a:pt x="95839" y="127756"/>
                    </a:lnTo>
                    <a:lnTo>
                      <a:pt x="93811" y="129255"/>
                    </a:lnTo>
                    <a:lnTo>
                      <a:pt x="90902" y="130401"/>
                    </a:lnTo>
                    <a:lnTo>
                      <a:pt x="89756" y="130401"/>
                    </a:lnTo>
                    <a:lnTo>
                      <a:pt x="88609" y="130401"/>
                    </a:lnTo>
                    <a:lnTo>
                      <a:pt x="87463" y="131283"/>
                    </a:lnTo>
                    <a:lnTo>
                      <a:pt x="86581" y="131283"/>
                    </a:lnTo>
                    <a:lnTo>
                      <a:pt x="86052" y="131900"/>
                    </a:lnTo>
                    <a:lnTo>
                      <a:pt x="84553" y="131283"/>
                    </a:lnTo>
                    <a:lnTo>
                      <a:pt x="82261" y="131283"/>
                    </a:lnTo>
                    <a:lnTo>
                      <a:pt x="81380" y="130401"/>
                    </a:lnTo>
                    <a:lnTo>
                      <a:pt x="79616" y="130754"/>
                    </a:lnTo>
                    <a:lnTo>
                      <a:pt x="78470" y="131371"/>
                    </a:lnTo>
                    <a:lnTo>
                      <a:pt x="76706" y="131635"/>
                    </a:lnTo>
                    <a:lnTo>
                      <a:pt x="75560" y="131371"/>
                    </a:lnTo>
                    <a:lnTo>
                      <a:pt x="72298" y="131635"/>
                    </a:lnTo>
                    <a:lnTo>
                      <a:pt x="71152" y="131635"/>
                    </a:lnTo>
                    <a:lnTo>
                      <a:pt x="68507" y="133134"/>
                    </a:lnTo>
                    <a:lnTo>
                      <a:pt x="66479" y="134898"/>
                    </a:lnTo>
                    <a:lnTo>
                      <a:pt x="65597" y="136925"/>
                    </a:lnTo>
                    <a:lnTo>
                      <a:pt x="63217" y="139218"/>
                    </a:lnTo>
                    <a:lnTo>
                      <a:pt x="59425" y="140364"/>
                    </a:lnTo>
                    <a:lnTo>
                      <a:pt x="57662" y="140629"/>
                    </a:lnTo>
                    <a:lnTo>
                      <a:pt x="56428" y="141510"/>
                    </a:lnTo>
                    <a:lnTo>
                      <a:pt x="55899" y="144155"/>
                    </a:lnTo>
                    <a:lnTo>
                      <a:pt x="54400" y="147682"/>
                    </a:lnTo>
                    <a:lnTo>
                      <a:pt x="54136" y="146536"/>
                    </a:lnTo>
                    <a:lnTo>
                      <a:pt x="54136" y="144772"/>
                    </a:lnTo>
                    <a:lnTo>
                      <a:pt x="53607" y="144772"/>
                    </a:lnTo>
                    <a:lnTo>
                      <a:pt x="51226" y="145919"/>
                    </a:lnTo>
                    <a:lnTo>
                      <a:pt x="53607" y="147065"/>
                    </a:lnTo>
                    <a:lnTo>
                      <a:pt x="51843" y="147594"/>
                    </a:lnTo>
                    <a:lnTo>
                      <a:pt x="51226" y="147594"/>
                    </a:lnTo>
                    <a:lnTo>
                      <a:pt x="50873" y="147065"/>
                    </a:lnTo>
                    <a:lnTo>
                      <a:pt x="49992" y="147065"/>
                    </a:lnTo>
                    <a:lnTo>
                      <a:pt x="49727" y="147594"/>
                    </a:lnTo>
                    <a:lnTo>
                      <a:pt x="49727" y="147065"/>
                    </a:lnTo>
                    <a:lnTo>
                      <a:pt x="47964" y="146448"/>
                    </a:lnTo>
                    <a:lnTo>
                      <a:pt x="46465" y="145037"/>
                    </a:lnTo>
                    <a:lnTo>
                      <a:pt x="44966" y="145037"/>
                    </a:lnTo>
                    <a:lnTo>
                      <a:pt x="44701" y="145037"/>
                    </a:lnTo>
                    <a:lnTo>
                      <a:pt x="44437" y="145919"/>
                    </a:lnTo>
                    <a:lnTo>
                      <a:pt x="44701" y="146536"/>
                    </a:lnTo>
                    <a:lnTo>
                      <a:pt x="41792" y="148564"/>
                    </a:lnTo>
                    <a:lnTo>
                      <a:pt x="40646" y="148564"/>
                    </a:lnTo>
                    <a:lnTo>
                      <a:pt x="41527" y="148828"/>
                    </a:lnTo>
                    <a:lnTo>
                      <a:pt x="40646" y="149710"/>
                    </a:lnTo>
                    <a:lnTo>
                      <a:pt x="38618" y="150592"/>
                    </a:lnTo>
                    <a:lnTo>
                      <a:pt x="36854" y="150856"/>
                    </a:lnTo>
                    <a:lnTo>
                      <a:pt x="34474" y="150856"/>
                    </a:lnTo>
                    <a:lnTo>
                      <a:pt x="35356" y="150592"/>
                    </a:lnTo>
                    <a:lnTo>
                      <a:pt x="35620" y="149710"/>
                    </a:lnTo>
                    <a:lnTo>
                      <a:pt x="34738" y="149975"/>
                    </a:lnTo>
                    <a:lnTo>
                      <a:pt x="33857" y="150239"/>
                    </a:lnTo>
                    <a:lnTo>
                      <a:pt x="32093" y="150503"/>
                    </a:lnTo>
                    <a:lnTo>
                      <a:pt x="31476" y="150503"/>
                    </a:lnTo>
                    <a:lnTo>
                      <a:pt x="31212" y="150239"/>
                    </a:lnTo>
                    <a:lnTo>
                      <a:pt x="29801" y="150503"/>
                    </a:lnTo>
                    <a:lnTo>
                      <a:pt x="29184" y="150239"/>
                    </a:lnTo>
                    <a:lnTo>
                      <a:pt x="29801" y="149357"/>
                    </a:lnTo>
                    <a:lnTo>
                      <a:pt x="28919" y="148740"/>
                    </a:lnTo>
                    <a:lnTo>
                      <a:pt x="26892" y="147858"/>
                    </a:lnTo>
                    <a:lnTo>
                      <a:pt x="24511" y="147329"/>
                    </a:lnTo>
                    <a:lnTo>
                      <a:pt x="22748" y="147594"/>
                    </a:lnTo>
                    <a:lnTo>
                      <a:pt x="22748" y="148740"/>
                    </a:lnTo>
                    <a:lnTo>
                      <a:pt x="21601" y="148123"/>
                    </a:lnTo>
                    <a:lnTo>
                      <a:pt x="20455" y="148123"/>
                    </a:lnTo>
                    <a:lnTo>
                      <a:pt x="20191" y="146360"/>
                    </a:lnTo>
                    <a:lnTo>
                      <a:pt x="20191" y="144596"/>
                    </a:lnTo>
                    <a:lnTo>
                      <a:pt x="19309" y="141951"/>
                    </a:lnTo>
                    <a:lnTo>
                      <a:pt x="19309" y="141334"/>
                    </a:lnTo>
                    <a:lnTo>
                      <a:pt x="17898" y="139835"/>
                    </a:lnTo>
                    <a:lnTo>
                      <a:pt x="17545" y="138336"/>
                    </a:lnTo>
                    <a:lnTo>
                      <a:pt x="16664" y="137455"/>
                    </a:lnTo>
                    <a:lnTo>
                      <a:pt x="17281" y="135427"/>
                    </a:lnTo>
                    <a:lnTo>
                      <a:pt x="16399" y="136308"/>
                    </a:lnTo>
                    <a:lnTo>
                      <a:pt x="15518" y="136044"/>
                    </a:lnTo>
                    <a:lnTo>
                      <a:pt x="15782" y="134633"/>
                    </a:lnTo>
                    <a:lnTo>
                      <a:pt x="16047" y="133134"/>
                    </a:lnTo>
                    <a:lnTo>
                      <a:pt x="16047" y="127580"/>
                    </a:lnTo>
                    <a:lnTo>
                      <a:pt x="15429" y="126698"/>
                    </a:lnTo>
                    <a:lnTo>
                      <a:pt x="15165" y="125552"/>
                    </a:lnTo>
                    <a:lnTo>
                      <a:pt x="15165" y="122025"/>
                    </a:lnTo>
                    <a:lnTo>
                      <a:pt x="15782" y="120526"/>
                    </a:lnTo>
                    <a:lnTo>
                      <a:pt x="15165" y="119027"/>
                    </a:lnTo>
                    <a:lnTo>
                      <a:pt x="13401" y="118146"/>
                    </a:lnTo>
                    <a:lnTo>
                      <a:pt x="11374" y="116118"/>
                    </a:lnTo>
                    <a:lnTo>
                      <a:pt x="12520" y="113737"/>
                    </a:lnTo>
                    <a:lnTo>
                      <a:pt x="11374" y="112591"/>
                    </a:lnTo>
                    <a:lnTo>
                      <a:pt x="11374" y="111709"/>
                    </a:lnTo>
                    <a:lnTo>
                      <a:pt x="11109" y="109946"/>
                    </a:lnTo>
                    <a:lnTo>
                      <a:pt x="10492" y="108183"/>
                    </a:lnTo>
                    <a:lnTo>
                      <a:pt x="8200" y="106772"/>
                    </a:lnTo>
                    <a:lnTo>
                      <a:pt x="7935" y="103245"/>
                    </a:lnTo>
                    <a:lnTo>
                      <a:pt x="7318" y="102981"/>
                    </a:lnTo>
                    <a:lnTo>
                      <a:pt x="6701" y="103598"/>
                    </a:lnTo>
                    <a:lnTo>
                      <a:pt x="5555" y="103862"/>
                    </a:lnTo>
                    <a:lnTo>
                      <a:pt x="6172" y="102099"/>
                    </a:lnTo>
                    <a:lnTo>
                      <a:pt x="7671" y="101482"/>
                    </a:lnTo>
                    <a:lnTo>
                      <a:pt x="9434" y="101482"/>
                    </a:lnTo>
                    <a:lnTo>
                      <a:pt x="7935" y="99983"/>
                    </a:lnTo>
                    <a:lnTo>
                      <a:pt x="7935" y="98837"/>
                    </a:lnTo>
                    <a:lnTo>
                      <a:pt x="7935" y="98220"/>
                    </a:lnTo>
                    <a:lnTo>
                      <a:pt x="7318" y="96192"/>
                    </a:lnTo>
                    <a:lnTo>
                      <a:pt x="4673" y="95310"/>
                    </a:lnTo>
                    <a:lnTo>
                      <a:pt x="4673" y="94428"/>
                    </a:lnTo>
                    <a:lnTo>
                      <a:pt x="5819" y="93811"/>
                    </a:lnTo>
                    <a:lnTo>
                      <a:pt x="7318" y="94428"/>
                    </a:lnTo>
                    <a:lnTo>
                      <a:pt x="7318" y="91783"/>
                    </a:lnTo>
                    <a:lnTo>
                      <a:pt x="5819" y="90020"/>
                    </a:lnTo>
                    <a:lnTo>
                      <a:pt x="4408" y="90637"/>
                    </a:lnTo>
                    <a:lnTo>
                      <a:pt x="4408" y="89755"/>
                    </a:lnTo>
                    <a:lnTo>
                      <a:pt x="3791" y="88609"/>
                    </a:lnTo>
                    <a:lnTo>
                      <a:pt x="4937" y="87728"/>
                    </a:lnTo>
                    <a:lnTo>
                      <a:pt x="4937" y="86317"/>
                    </a:lnTo>
                    <a:lnTo>
                      <a:pt x="4408" y="87199"/>
                    </a:lnTo>
                    <a:lnTo>
                      <a:pt x="2380" y="87816"/>
                    </a:lnTo>
                    <a:lnTo>
                      <a:pt x="2380" y="86405"/>
                    </a:lnTo>
                    <a:lnTo>
                      <a:pt x="882" y="85788"/>
                    </a:lnTo>
                    <a:lnTo>
                      <a:pt x="1146" y="86405"/>
                    </a:lnTo>
                    <a:lnTo>
                      <a:pt x="617" y="86405"/>
                    </a:lnTo>
                    <a:lnTo>
                      <a:pt x="0" y="84642"/>
                    </a:lnTo>
                    <a:lnTo>
                      <a:pt x="882" y="85259"/>
                    </a:lnTo>
                    <a:lnTo>
                      <a:pt x="0" y="83231"/>
                    </a:lnTo>
                    <a:lnTo>
                      <a:pt x="882" y="81732"/>
                    </a:lnTo>
                    <a:lnTo>
                      <a:pt x="1763" y="82878"/>
                    </a:lnTo>
                    <a:lnTo>
                      <a:pt x="882" y="83407"/>
                    </a:lnTo>
                    <a:lnTo>
                      <a:pt x="2380" y="84024"/>
                    </a:lnTo>
                    <a:lnTo>
                      <a:pt x="3879" y="84642"/>
                    </a:lnTo>
                    <a:lnTo>
                      <a:pt x="4144" y="84642"/>
                    </a:lnTo>
                    <a:lnTo>
                      <a:pt x="3879" y="81997"/>
                    </a:lnTo>
                    <a:lnTo>
                      <a:pt x="2733" y="79087"/>
                    </a:lnTo>
                    <a:lnTo>
                      <a:pt x="2733" y="77324"/>
                    </a:lnTo>
                    <a:lnTo>
                      <a:pt x="705" y="76442"/>
                    </a:lnTo>
                    <a:lnTo>
                      <a:pt x="2733" y="76442"/>
                    </a:lnTo>
                    <a:lnTo>
                      <a:pt x="2116" y="75825"/>
                    </a:lnTo>
                    <a:lnTo>
                      <a:pt x="617" y="75560"/>
                    </a:lnTo>
                    <a:lnTo>
                      <a:pt x="353" y="73533"/>
                    </a:lnTo>
                    <a:lnTo>
                      <a:pt x="353" y="72915"/>
                    </a:lnTo>
                    <a:lnTo>
                      <a:pt x="1499" y="72915"/>
                    </a:lnTo>
                    <a:lnTo>
                      <a:pt x="2380" y="72298"/>
                    </a:lnTo>
                    <a:lnTo>
                      <a:pt x="2380" y="70535"/>
                    </a:lnTo>
                    <a:lnTo>
                      <a:pt x="3262" y="70270"/>
                    </a:lnTo>
                    <a:lnTo>
                      <a:pt x="3262" y="69124"/>
                    </a:lnTo>
                    <a:lnTo>
                      <a:pt x="2998" y="67096"/>
                    </a:lnTo>
                    <a:lnTo>
                      <a:pt x="2380" y="65068"/>
                    </a:lnTo>
                    <a:lnTo>
                      <a:pt x="2998" y="63040"/>
                    </a:lnTo>
                    <a:lnTo>
                      <a:pt x="2116" y="61277"/>
                    </a:lnTo>
                    <a:lnTo>
                      <a:pt x="1234" y="60395"/>
                    </a:lnTo>
                    <a:lnTo>
                      <a:pt x="1851" y="58897"/>
                    </a:lnTo>
                    <a:lnTo>
                      <a:pt x="2998" y="58897"/>
                    </a:lnTo>
                    <a:lnTo>
                      <a:pt x="1499" y="55105"/>
                    </a:lnTo>
                    <a:lnTo>
                      <a:pt x="1499" y="56251"/>
                    </a:lnTo>
                    <a:lnTo>
                      <a:pt x="2645" y="56251"/>
                    </a:lnTo>
                    <a:lnTo>
                      <a:pt x="5290" y="55105"/>
                    </a:lnTo>
                    <a:lnTo>
                      <a:pt x="5290" y="53695"/>
                    </a:lnTo>
                    <a:lnTo>
                      <a:pt x="5643" y="53695"/>
                    </a:lnTo>
                    <a:lnTo>
                      <a:pt x="7671" y="52548"/>
                    </a:lnTo>
                    <a:lnTo>
                      <a:pt x="7935" y="50521"/>
                    </a:lnTo>
                    <a:lnTo>
                      <a:pt x="11109" y="50521"/>
                    </a:lnTo>
                    <a:lnTo>
                      <a:pt x="8464" y="48228"/>
                    </a:lnTo>
                    <a:lnTo>
                      <a:pt x="11374" y="46200"/>
                    </a:lnTo>
                    <a:lnTo>
                      <a:pt x="11374" y="45319"/>
                    </a:lnTo>
                    <a:lnTo>
                      <a:pt x="7847" y="44790"/>
                    </a:lnTo>
                    <a:lnTo>
                      <a:pt x="7583" y="42762"/>
                    </a:lnTo>
                    <a:lnTo>
                      <a:pt x="7583" y="41880"/>
                    </a:lnTo>
                    <a:lnTo>
                      <a:pt x="7583" y="40469"/>
                    </a:lnTo>
                    <a:lnTo>
                      <a:pt x="7583" y="39588"/>
                    </a:lnTo>
                    <a:lnTo>
                      <a:pt x="7318" y="35532"/>
                    </a:lnTo>
                    <a:lnTo>
                      <a:pt x="12256" y="34121"/>
                    </a:lnTo>
                    <a:lnTo>
                      <a:pt x="7318" y="32093"/>
                    </a:lnTo>
                    <a:lnTo>
                      <a:pt x="10492" y="30947"/>
                    </a:lnTo>
                    <a:lnTo>
                      <a:pt x="11109" y="29536"/>
                    </a:lnTo>
                    <a:lnTo>
                      <a:pt x="13490" y="27156"/>
                    </a:lnTo>
                    <a:lnTo>
                      <a:pt x="16664" y="28302"/>
                    </a:lnTo>
                    <a:lnTo>
                      <a:pt x="19044" y="28302"/>
                    </a:lnTo>
                    <a:lnTo>
                      <a:pt x="19926" y="30947"/>
                    </a:lnTo>
                    <a:lnTo>
                      <a:pt x="21954" y="31212"/>
                    </a:lnTo>
                    <a:lnTo>
                      <a:pt x="23453" y="32005"/>
                    </a:lnTo>
                    <a:lnTo>
                      <a:pt x="25833" y="31123"/>
                    </a:lnTo>
                    <a:lnTo>
                      <a:pt x="25833" y="32622"/>
                    </a:lnTo>
                    <a:lnTo>
                      <a:pt x="25833" y="32887"/>
                    </a:lnTo>
                    <a:lnTo>
                      <a:pt x="26362" y="31123"/>
                    </a:lnTo>
                    <a:lnTo>
                      <a:pt x="28919" y="32005"/>
                    </a:lnTo>
                    <a:lnTo>
                      <a:pt x="28919" y="30859"/>
                    </a:lnTo>
                    <a:lnTo>
                      <a:pt x="32710" y="30859"/>
                    </a:lnTo>
                    <a:lnTo>
                      <a:pt x="35973" y="30859"/>
                    </a:lnTo>
                    <a:lnTo>
                      <a:pt x="36590" y="30859"/>
                    </a:lnTo>
                    <a:lnTo>
                      <a:pt x="38353" y="30859"/>
                    </a:lnTo>
                    <a:lnTo>
                      <a:pt x="80410" y="50432"/>
                    </a:lnTo>
                    <a:lnTo>
                      <a:pt x="84465" y="65862"/>
                    </a:lnTo>
                    <a:lnTo>
                      <a:pt x="119468" y="25657"/>
                    </a:lnTo>
                    <a:lnTo>
                      <a:pt x="195293" y="0"/>
                    </a:lnTo>
                    <a:lnTo>
                      <a:pt x="214514" y="31476"/>
                    </a:lnTo>
                    <a:lnTo>
                      <a:pt x="217423" y="37295"/>
                    </a:lnTo>
                    <a:lnTo>
                      <a:pt x="218569" y="42497"/>
                    </a:lnTo>
                    <a:lnTo>
                      <a:pt x="221479" y="44525"/>
                    </a:lnTo>
                    <a:lnTo>
                      <a:pt x="222978" y="47699"/>
                    </a:lnTo>
                    <a:lnTo>
                      <a:pt x="226152" y="50344"/>
                    </a:lnTo>
                    <a:close/>
                    <a:moveTo>
                      <a:pt x="259480" y="153589"/>
                    </a:moveTo>
                    <a:lnTo>
                      <a:pt x="258863" y="153589"/>
                    </a:lnTo>
                    <a:lnTo>
                      <a:pt x="258598" y="153589"/>
                    </a:lnTo>
                    <a:lnTo>
                      <a:pt x="258334" y="153589"/>
                    </a:lnTo>
                    <a:lnTo>
                      <a:pt x="258334" y="153854"/>
                    </a:lnTo>
                    <a:lnTo>
                      <a:pt x="258069" y="154118"/>
                    </a:lnTo>
                    <a:lnTo>
                      <a:pt x="257805" y="154118"/>
                    </a:lnTo>
                    <a:lnTo>
                      <a:pt x="257805" y="154383"/>
                    </a:lnTo>
                    <a:lnTo>
                      <a:pt x="257805" y="154647"/>
                    </a:lnTo>
                    <a:lnTo>
                      <a:pt x="257805" y="154912"/>
                    </a:lnTo>
                    <a:lnTo>
                      <a:pt x="257805" y="155176"/>
                    </a:lnTo>
                    <a:lnTo>
                      <a:pt x="257452" y="155176"/>
                    </a:lnTo>
                    <a:lnTo>
                      <a:pt x="257187" y="155176"/>
                    </a:lnTo>
                    <a:lnTo>
                      <a:pt x="256923" y="155176"/>
                    </a:lnTo>
                    <a:lnTo>
                      <a:pt x="256570" y="155441"/>
                    </a:lnTo>
                    <a:lnTo>
                      <a:pt x="256305" y="155705"/>
                    </a:lnTo>
                    <a:lnTo>
                      <a:pt x="256041" y="155705"/>
                    </a:lnTo>
                    <a:lnTo>
                      <a:pt x="255424" y="155705"/>
                    </a:lnTo>
                    <a:lnTo>
                      <a:pt x="255160" y="155705"/>
                    </a:lnTo>
                    <a:lnTo>
                      <a:pt x="254895" y="155705"/>
                    </a:lnTo>
                    <a:lnTo>
                      <a:pt x="254542" y="155705"/>
                    </a:lnTo>
                    <a:lnTo>
                      <a:pt x="254542" y="155970"/>
                    </a:lnTo>
                    <a:lnTo>
                      <a:pt x="254278" y="155970"/>
                    </a:lnTo>
                    <a:lnTo>
                      <a:pt x="254013" y="155970"/>
                    </a:lnTo>
                    <a:lnTo>
                      <a:pt x="253749" y="155970"/>
                    </a:lnTo>
                    <a:lnTo>
                      <a:pt x="253484" y="155970"/>
                    </a:lnTo>
                    <a:lnTo>
                      <a:pt x="253220" y="155970"/>
                    </a:lnTo>
                    <a:lnTo>
                      <a:pt x="252867" y="156234"/>
                    </a:lnTo>
                    <a:lnTo>
                      <a:pt x="252250" y="156234"/>
                    </a:lnTo>
                    <a:lnTo>
                      <a:pt x="251985" y="156499"/>
                    </a:lnTo>
                    <a:lnTo>
                      <a:pt x="251985" y="156763"/>
                    </a:lnTo>
                    <a:lnTo>
                      <a:pt x="251721" y="156763"/>
                    </a:lnTo>
                    <a:lnTo>
                      <a:pt x="251456" y="157028"/>
                    </a:lnTo>
                    <a:lnTo>
                      <a:pt x="251192" y="157028"/>
                    </a:lnTo>
                    <a:lnTo>
                      <a:pt x="250927" y="157028"/>
                    </a:lnTo>
                    <a:lnTo>
                      <a:pt x="250663" y="157028"/>
                    </a:lnTo>
                    <a:lnTo>
                      <a:pt x="250398" y="156763"/>
                    </a:lnTo>
                    <a:lnTo>
                      <a:pt x="250134" y="157028"/>
                    </a:lnTo>
                    <a:lnTo>
                      <a:pt x="249869" y="157028"/>
                    </a:lnTo>
                    <a:lnTo>
                      <a:pt x="249340" y="157292"/>
                    </a:lnTo>
                    <a:lnTo>
                      <a:pt x="248988" y="157557"/>
                    </a:lnTo>
                    <a:lnTo>
                      <a:pt x="248723" y="157557"/>
                    </a:lnTo>
                    <a:lnTo>
                      <a:pt x="248370" y="157557"/>
                    </a:lnTo>
                    <a:lnTo>
                      <a:pt x="248106" y="157557"/>
                    </a:lnTo>
                    <a:lnTo>
                      <a:pt x="247841" y="157557"/>
                    </a:lnTo>
                    <a:lnTo>
                      <a:pt x="247577" y="157557"/>
                    </a:lnTo>
                    <a:lnTo>
                      <a:pt x="247312" y="157557"/>
                    </a:lnTo>
                    <a:lnTo>
                      <a:pt x="247048" y="157557"/>
                    </a:lnTo>
                    <a:lnTo>
                      <a:pt x="246783" y="157557"/>
                    </a:lnTo>
                    <a:lnTo>
                      <a:pt x="246519" y="157557"/>
                    </a:lnTo>
                    <a:lnTo>
                      <a:pt x="246254" y="157557"/>
                    </a:lnTo>
                    <a:lnTo>
                      <a:pt x="246254" y="157821"/>
                    </a:lnTo>
                    <a:lnTo>
                      <a:pt x="245990" y="157821"/>
                    </a:lnTo>
                    <a:lnTo>
                      <a:pt x="245726" y="157821"/>
                    </a:lnTo>
                    <a:lnTo>
                      <a:pt x="245461" y="158174"/>
                    </a:lnTo>
                    <a:lnTo>
                      <a:pt x="245461" y="158439"/>
                    </a:lnTo>
                    <a:lnTo>
                      <a:pt x="245461" y="158174"/>
                    </a:lnTo>
                    <a:lnTo>
                      <a:pt x="245108" y="158439"/>
                    </a:lnTo>
                    <a:lnTo>
                      <a:pt x="244843" y="158439"/>
                    </a:lnTo>
                    <a:lnTo>
                      <a:pt x="244843" y="158174"/>
                    </a:lnTo>
                    <a:lnTo>
                      <a:pt x="244579" y="158174"/>
                    </a:lnTo>
                    <a:lnTo>
                      <a:pt x="244226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345" y="158439"/>
                    </a:lnTo>
                    <a:lnTo>
                      <a:pt x="243345" y="158174"/>
                    </a:lnTo>
                    <a:lnTo>
                      <a:pt x="242992" y="158174"/>
                    </a:lnTo>
                    <a:lnTo>
                      <a:pt x="242728" y="158174"/>
                    </a:lnTo>
                    <a:lnTo>
                      <a:pt x="242728" y="157821"/>
                    </a:lnTo>
                    <a:lnTo>
                      <a:pt x="242728" y="157557"/>
                    </a:lnTo>
                    <a:lnTo>
                      <a:pt x="242463" y="157557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6411"/>
                    </a:lnTo>
                    <a:lnTo>
                      <a:pt x="242463" y="156146"/>
                    </a:lnTo>
                    <a:lnTo>
                      <a:pt x="242728" y="155882"/>
                    </a:lnTo>
                    <a:lnTo>
                      <a:pt x="242463" y="155882"/>
                    </a:lnTo>
                    <a:lnTo>
                      <a:pt x="242463" y="155617"/>
                    </a:lnTo>
                    <a:lnTo>
                      <a:pt x="242463" y="155353"/>
                    </a:lnTo>
                    <a:lnTo>
                      <a:pt x="242463" y="155088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463" y="154559"/>
                    </a:lnTo>
                    <a:lnTo>
                      <a:pt x="242199" y="154559"/>
                    </a:lnTo>
                    <a:lnTo>
                      <a:pt x="242199" y="154295"/>
                    </a:lnTo>
                    <a:lnTo>
                      <a:pt x="242463" y="154295"/>
                    </a:lnTo>
                    <a:lnTo>
                      <a:pt x="242199" y="154295"/>
                    </a:lnTo>
                    <a:lnTo>
                      <a:pt x="242199" y="154030"/>
                    </a:lnTo>
                    <a:lnTo>
                      <a:pt x="242463" y="154030"/>
                    </a:lnTo>
                    <a:lnTo>
                      <a:pt x="242463" y="153766"/>
                    </a:lnTo>
                    <a:lnTo>
                      <a:pt x="242199" y="153766"/>
                    </a:lnTo>
                    <a:lnTo>
                      <a:pt x="242199" y="153501"/>
                    </a:lnTo>
                    <a:lnTo>
                      <a:pt x="241846" y="153237"/>
                    </a:lnTo>
                    <a:lnTo>
                      <a:pt x="241846" y="153501"/>
                    </a:lnTo>
                    <a:lnTo>
                      <a:pt x="241846" y="153237"/>
                    </a:lnTo>
                    <a:lnTo>
                      <a:pt x="241846" y="152972"/>
                    </a:lnTo>
                    <a:lnTo>
                      <a:pt x="242199" y="153237"/>
                    </a:lnTo>
                    <a:lnTo>
                      <a:pt x="241846" y="153237"/>
                    </a:lnTo>
                    <a:lnTo>
                      <a:pt x="242199" y="153237"/>
                    </a:lnTo>
                    <a:lnTo>
                      <a:pt x="242199" y="152972"/>
                    </a:lnTo>
                    <a:lnTo>
                      <a:pt x="242199" y="152708"/>
                    </a:lnTo>
                    <a:lnTo>
                      <a:pt x="241846" y="152708"/>
                    </a:lnTo>
                    <a:lnTo>
                      <a:pt x="242199" y="152708"/>
                    </a:lnTo>
                    <a:lnTo>
                      <a:pt x="242199" y="152443"/>
                    </a:lnTo>
                    <a:lnTo>
                      <a:pt x="242199" y="152179"/>
                    </a:lnTo>
                    <a:lnTo>
                      <a:pt x="242463" y="152179"/>
                    </a:lnTo>
                    <a:lnTo>
                      <a:pt x="242463" y="151914"/>
                    </a:lnTo>
                    <a:lnTo>
                      <a:pt x="242463" y="151650"/>
                    </a:lnTo>
                    <a:lnTo>
                      <a:pt x="242199" y="151650"/>
                    </a:lnTo>
                    <a:lnTo>
                      <a:pt x="242463" y="151385"/>
                    </a:lnTo>
                    <a:lnTo>
                      <a:pt x="242463" y="151121"/>
                    </a:lnTo>
                    <a:lnTo>
                      <a:pt x="242463" y="151385"/>
                    </a:lnTo>
                    <a:lnTo>
                      <a:pt x="242728" y="151385"/>
                    </a:lnTo>
                    <a:lnTo>
                      <a:pt x="242728" y="151121"/>
                    </a:lnTo>
                    <a:lnTo>
                      <a:pt x="242992" y="150856"/>
                    </a:lnTo>
                    <a:lnTo>
                      <a:pt x="242992" y="151121"/>
                    </a:lnTo>
                    <a:lnTo>
                      <a:pt x="242992" y="150856"/>
                    </a:lnTo>
                    <a:lnTo>
                      <a:pt x="243345" y="150592"/>
                    </a:lnTo>
                    <a:lnTo>
                      <a:pt x="242992" y="150592"/>
                    </a:lnTo>
                    <a:lnTo>
                      <a:pt x="242992" y="150327"/>
                    </a:lnTo>
                    <a:lnTo>
                      <a:pt x="242992" y="150063"/>
                    </a:lnTo>
                    <a:lnTo>
                      <a:pt x="242992" y="149798"/>
                    </a:lnTo>
                    <a:lnTo>
                      <a:pt x="243609" y="149798"/>
                    </a:lnTo>
                    <a:lnTo>
                      <a:pt x="242992" y="149534"/>
                    </a:lnTo>
                    <a:lnTo>
                      <a:pt x="243345" y="149534"/>
                    </a:lnTo>
                    <a:lnTo>
                      <a:pt x="243697" y="149269"/>
                    </a:lnTo>
                    <a:lnTo>
                      <a:pt x="243962" y="149534"/>
                    </a:lnTo>
                    <a:lnTo>
                      <a:pt x="244226" y="149534"/>
                    </a:lnTo>
                    <a:lnTo>
                      <a:pt x="244226" y="149798"/>
                    </a:lnTo>
                    <a:lnTo>
                      <a:pt x="244579" y="149798"/>
                    </a:lnTo>
                    <a:lnTo>
                      <a:pt x="244843" y="149798"/>
                    </a:lnTo>
                    <a:lnTo>
                      <a:pt x="245108" y="149798"/>
                    </a:lnTo>
                    <a:lnTo>
                      <a:pt x="245461" y="149798"/>
                    </a:lnTo>
                    <a:lnTo>
                      <a:pt x="248635" y="151826"/>
                    </a:lnTo>
                    <a:lnTo>
                      <a:pt x="248635" y="153237"/>
                    </a:lnTo>
                    <a:lnTo>
                      <a:pt x="251897" y="150592"/>
                    </a:lnTo>
                    <a:lnTo>
                      <a:pt x="258334" y="149446"/>
                    </a:lnTo>
                    <a:lnTo>
                      <a:pt x="259215" y="152090"/>
                    </a:lnTo>
                    <a:lnTo>
                      <a:pt x="259480" y="152708"/>
                    </a:lnTo>
                    <a:lnTo>
                      <a:pt x="259480" y="152972"/>
                    </a:lnTo>
                    <a:lnTo>
                      <a:pt x="259744" y="153237"/>
                    </a:lnTo>
                    <a:lnTo>
                      <a:pt x="259744" y="153501"/>
                    </a:lnTo>
                    <a:lnTo>
                      <a:pt x="259480" y="1535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1" name="Freihandform: Form 1850">
                <a:extLst>
                  <a:ext uri="{FF2B5EF4-FFF2-40B4-BE49-F238E27FC236}">
                    <a16:creationId xmlns:a16="http://schemas.microsoft.com/office/drawing/2014/main" id="{526A2F50-AFB3-A406-F4FE-3E2F64CEE692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2" name="Freihandform: Form 1851">
                <a:extLst>
                  <a:ext uri="{FF2B5EF4-FFF2-40B4-BE49-F238E27FC236}">
                    <a16:creationId xmlns:a16="http://schemas.microsoft.com/office/drawing/2014/main" id="{4E4B95CB-6B46-6474-C65C-C2AE6A21D5DA}"/>
                  </a:ext>
                </a:extLst>
              </p:cNvPr>
              <p:cNvSpPr/>
              <p:nvPr/>
            </p:nvSpPr>
            <p:spPr>
              <a:xfrm>
                <a:off x="4802255" y="3284932"/>
                <a:ext cx="28037" cy="41086"/>
              </a:xfrm>
              <a:custGeom>
                <a:avLst/>
                <a:gdLst>
                  <a:gd name="connsiteX0" fmla="*/ 11021 w 28037"/>
                  <a:gd name="connsiteY0" fmla="*/ 37031 h 41086"/>
                  <a:gd name="connsiteX1" fmla="*/ 11021 w 28037"/>
                  <a:gd name="connsiteY1" fmla="*/ 35532 h 41086"/>
                  <a:gd name="connsiteX2" fmla="*/ 11374 w 28037"/>
                  <a:gd name="connsiteY2" fmla="*/ 35532 h 41086"/>
                  <a:gd name="connsiteX3" fmla="*/ 12255 w 28037"/>
                  <a:gd name="connsiteY3" fmla="*/ 34386 h 41086"/>
                  <a:gd name="connsiteX4" fmla="*/ 13401 w 28037"/>
                  <a:gd name="connsiteY4" fmla="*/ 33504 h 41086"/>
                  <a:gd name="connsiteX5" fmla="*/ 13401 w 28037"/>
                  <a:gd name="connsiteY5" fmla="*/ 32710 h 41086"/>
                  <a:gd name="connsiteX6" fmla="*/ 13754 w 28037"/>
                  <a:gd name="connsiteY6" fmla="*/ 31741 h 41086"/>
                  <a:gd name="connsiteX7" fmla="*/ 16664 w 28037"/>
                  <a:gd name="connsiteY7" fmla="*/ 30594 h 41086"/>
                  <a:gd name="connsiteX8" fmla="*/ 17193 w 28037"/>
                  <a:gd name="connsiteY8" fmla="*/ 30065 h 41086"/>
                  <a:gd name="connsiteX9" fmla="*/ 16928 w 28037"/>
                  <a:gd name="connsiteY9" fmla="*/ 29184 h 41086"/>
                  <a:gd name="connsiteX10" fmla="*/ 17810 w 28037"/>
                  <a:gd name="connsiteY10" fmla="*/ 28831 h 41086"/>
                  <a:gd name="connsiteX11" fmla="*/ 18339 w 28037"/>
                  <a:gd name="connsiteY11" fmla="*/ 28831 h 41086"/>
                  <a:gd name="connsiteX12" fmla="*/ 18956 w 28037"/>
                  <a:gd name="connsiteY12" fmla="*/ 27420 h 41086"/>
                  <a:gd name="connsiteX13" fmla="*/ 18074 w 28037"/>
                  <a:gd name="connsiteY13" fmla="*/ 27156 h 41086"/>
                  <a:gd name="connsiteX14" fmla="*/ 17193 w 28037"/>
                  <a:gd name="connsiteY14" fmla="*/ 26803 h 41086"/>
                  <a:gd name="connsiteX15" fmla="*/ 16311 w 28037"/>
                  <a:gd name="connsiteY15" fmla="*/ 27156 h 41086"/>
                  <a:gd name="connsiteX16" fmla="*/ 15782 w 28037"/>
                  <a:gd name="connsiteY16" fmla="*/ 26274 h 41086"/>
                  <a:gd name="connsiteX17" fmla="*/ 16046 w 28037"/>
                  <a:gd name="connsiteY17" fmla="*/ 25040 h 41086"/>
                  <a:gd name="connsiteX18" fmla="*/ 16311 w 28037"/>
                  <a:gd name="connsiteY18" fmla="*/ 24158 h 41086"/>
                  <a:gd name="connsiteX19" fmla="*/ 17810 w 28037"/>
                  <a:gd name="connsiteY19" fmla="*/ 23365 h 41086"/>
                  <a:gd name="connsiteX20" fmla="*/ 18074 w 28037"/>
                  <a:gd name="connsiteY20" fmla="*/ 21601 h 41086"/>
                  <a:gd name="connsiteX21" fmla="*/ 18339 w 28037"/>
                  <a:gd name="connsiteY21" fmla="*/ 21866 h 41086"/>
                  <a:gd name="connsiteX22" fmla="*/ 18692 w 28037"/>
                  <a:gd name="connsiteY22" fmla="*/ 21601 h 41086"/>
                  <a:gd name="connsiteX23" fmla="*/ 20720 w 28037"/>
                  <a:gd name="connsiteY23" fmla="*/ 21601 h 41086"/>
                  <a:gd name="connsiteX24" fmla="*/ 22218 w 28037"/>
                  <a:gd name="connsiteY24" fmla="*/ 22130 h 41086"/>
                  <a:gd name="connsiteX25" fmla="*/ 24158 w 28037"/>
                  <a:gd name="connsiteY25" fmla="*/ 21601 h 41086"/>
                  <a:gd name="connsiteX26" fmla="*/ 24511 w 28037"/>
                  <a:gd name="connsiteY26" fmla="*/ 21601 h 41086"/>
                  <a:gd name="connsiteX27" fmla="*/ 23894 w 28037"/>
                  <a:gd name="connsiteY27" fmla="*/ 20102 h 41086"/>
                  <a:gd name="connsiteX28" fmla="*/ 23629 w 28037"/>
                  <a:gd name="connsiteY28" fmla="*/ 20455 h 41086"/>
                  <a:gd name="connsiteX29" fmla="*/ 23365 w 28037"/>
                  <a:gd name="connsiteY29" fmla="*/ 20102 h 41086"/>
                  <a:gd name="connsiteX30" fmla="*/ 22483 w 28037"/>
                  <a:gd name="connsiteY30" fmla="*/ 19838 h 41086"/>
                  <a:gd name="connsiteX31" fmla="*/ 21601 w 28037"/>
                  <a:gd name="connsiteY31" fmla="*/ 18692 h 41086"/>
                  <a:gd name="connsiteX32" fmla="*/ 21866 w 28037"/>
                  <a:gd name="connsiteY32" fmla="*/ 17457 h 41086"/>
                  <a:gd name="connsiteX33" fmla="*/ 23894 w 28037"/>
                  <a:gd name="connsiteY33" fmla="*/ 16311 h 41086"/>
                  <a:gd name="connsiteX34" fmla="*/ 25393 w 28037"/>
                  <a:gd name="connsiteY34" fmla="*/ 16047 h 41086"/>
                  <a:gd name="connsiteX35" fmla="*/ 25393 w 28037"/>
                  <a:gd name="connsiteY35" fmla="*/ 15165 h 41086"/>
                  <a:gd name="connsiteX36" fmla="*/ 25922 w 28037"/>
                  <a:gd name="connsiteY36" fmla="*/ 14283 h 41086"/>
                  <a:gd name="connsiteX37" fmla="*/ 27156 w 28037"/>
                  <a:gd name="connsiteY37" fmla="*/ 14548 h 41086"/>
                  <a:gd name="connsiteX38" fmla="*/ 28037 w 28037"/>
                  <a:gd name="connsiteY38" fmla="*/ 14019 h 41086"/>
                  <a:gd name="connsiteX39" fmla="*/ 27685 w 28037"/>
                  <a:gd name="connsiteY39" fmla="*/ 12873 h 41086"/>
                  <a:gd name="connsiteX40" fmla="*/ 26538 w 28037"/>
                  <a:gd name="connsiteY40" fmla="*/ 11638 h 41086"/>
                  <a:gd name="connsiteX41" fmla="*/ 25657 w 28037"/>
                  <a:gd name="connsiteY41" fmla="*/ 10757 h 41086"/>
                  <a:gd name="connsiteX42" fmla="*/ 25922 w 28037"/>
                  <a:gd name="connsiteY42" fmla="*/ 10228 h 41086"/>
                  <a:gd name="connsiteX43" fmla="*/ 25393 w 28037"/>
                  <a:gd name="connsiteY43" fmla="*/ 9875 h 41086"/>
                  <a:gd name="connsiteX44" fmla="*/ 25657 w 28037"/>
                  <a:gd name="connsiteY44" fmla="*/ 8729 h 41086"/>
                  <a:gd name="connsiteX45" fmla="*/ 25393 w 28037"/>
                  <a:gd name="connsiteY45" fmla="*/ 7847 h 41086"/>
                  <a:gd name="connsiteX46" fmla="*/ 25128 w 28037"/>
                  <a:gd name="connsiteY46" fmla="*/ 7318 h 41086"/>
                  <a:gd name="connsiteX47" fmla="*/ 24158 w 28037"/>
                  <a:gd name="connsiteY47" fmla="*/ 6436 h 41086"/>
                  <a:gd name="connsiteX48" fmla="*/ 22747 w 28037"/>
                  <a:gd name="connsiteY48" fmla="*/ 6084 h 41086"/>
                  <a:gd name="connsiteX49" fmla="*/ 22483 w 28037"/>
                  <a:gd name="connsiteY49" fmla="*/ 4673 h 41086"/>
                  <a:gd name="connsiteX50" fmla="*/ 22218 w 28037"/>
                  <a:gd name="connsiteY50" fmla="*/ 4673 h 41086"/>
                  <a:gd name="connsiteX51" fmla="*/ 21866 w 28037"/>
                  <a:gd name="connsiteY51" fmla="*/ 4056 h 41086"/>
                  <a:gd name="connsiteX52" fmla="*/ 22483 w 28037"/>
                  <a:gd name="connsiteY52" fmla="*/ 3527 h 41086"/>
                  <a:gd name="connsiteX53" fmla="*/ 22218 w 28037"/>
                  <a:gd name="connsiteY53" fmla="*/ 2292 h 41086"/>
                  <a:gd name="connsiteX54" fmla="*/ 21866 w 28037"/>
                  <a:gd name="connsiteY54" fmla="*/ 882 h 41086"/>
                  <a:gd name="connsiteX55" fmla="*/ 21601 w 28037"/>
                  <a:gd name="connsiteY55" fmla="*/ 617 h 41086"/>
                  <a:gd name="connsiteX56" fmla="*/ 20984 w 28037"/>
                  <a:gd name="connsiteY56" fmla="*/ 0 h 41086"/>
                  <a:gd name="connsiteX57" fmla="*/ 19838 w 28037"/>
                  <a:gd name="connsiteY57" fmla="*/ 0 h 41086"/>
                  <a:gd name="connsiteX58" fmla="*/ 18956 w 28037"/>
                  <a:gd name="connsiteY58" fmla="*/ 882 h 41086"/>
                  <a:gd name="connsiteX59" fmla="*/ 18956 w 28037"/>
                  <a:gd name="connsiteY59" fmla="*/ 2028 h 41086"/>
                  <a:gd name="connsiteX60" fmla="*/ 18692 w 28037"/>
                  <a:gd name="connsiteY60" fmla="*/ 2028 h 41086"/>
                  <a:gd name="connsiteX61" fmla="*/ 18074 w 28037"/>
                  <a:gd name="connsiteY61" fmla="*/ 1499 h 41086"/>
                  <a:gd name="connsiteX62" fmla="*/ 17193 w 28037"/>
                  <a:gd name="connsiteY62" fmla="*/ 1146 h 41086"/>
                  <a:gd name="connsiteX63" fmla="*/ 16046 w 28037"/>
                  <a:gd name="connsiteY63" fmla="*/ 882 h 41086"/>
                  <a:gd name="connsiteX64" fmla="*/ 16311 w 28037"/>
                  <a:gd name="connsiteY64" fmla="*/ 2028 h 41086"/>
                  <a:gd name="connsiteX65" fmla="*/ 15165 w 28037"/>
                  <a:gd name="connsiteY65" fmla="*/ 2292 h 41086"/>
                  <a:gd name="connsiteX66" fmla="*/ 14548 w 28037"/>
                  <a:gd name="connsiteY66" fmla="*/ 1499 h 41086"/>
                  <a:gd name="connsiteX67" fmla="*/ 13137 w 28037"/>
                  <a:gd name="connsiteY67" fmla="*/ 882 h 41086"/>
                  <a:gd name="connsiteX68" fmla="*/ 12873 w 28037"/>
                  <a:gd name="connsiteY68" fmla="*/ 1499 h 41086"/>
                  <a:gd name="connsiteX69" fmla="*/ 13401 w 28037"/>
                  <a:gd name="connsiteY69" fmla="*/ 2292 h 41086"/>
                  <a:gd name="connsiteX70" fmla="*/ 12873 w 28037"/>
                  <a:gd name="connsiteY70" fmla="*/ 3527 h 41086"/>
                  <a:gd name="connsiteX71" fmla="*/ 13401 w 28037"/>
                  <a:gd name="connsiteY71" fmla="*/ 4408 h 41086"/>
                  <a:gd name="connsiteX72" fmla="*/ 13401 w 28037"/>
                  <a:gd name="connsiteY72" fmla="*/ 4673 h 41086"/>
                  <a:gd name="connsiteX73" fmla="*/ 12255 w 28037"/>
                  <a:gd name="connsiteY73" fmla="*/ 6084 h 41086"/>
                  <a:gd name="connsiteX74" fmla="*/ 11374 w 28037"/>
                  <a:gd name="connsiteY74" fmla="*/ 5819 h 41086"/>
                  <a:gd name="connsiteX75" fmla="*/ 10757 w 28037"/>
                  <a:gd name="connsiteY75" fmla="*/ 6084 h 41086"/>
                  <a:gd name="connsiteX76" fmla="*/ 10757 w 28037"/>
                  <a:gd name="connsiteY76" fmla="*/ 7318 h 41086"/>
                  <a:gd name="connsiteX77" fmla="*/ 9610 w 28037"/>
                  <a:gd name="connsiteY77" fmla="*/ 7847 h 41086"/>
                  <a:gd name="connsiteX78" fmla="*/ 8729 w 28037"/>
                  <a:gd name="connsiteY78" fmla="*/ 7847 h 41086"/>
                  <a:gd name="connsiteX79" fmla="*/ 8464 w 28037"/>
                  <a:gd name="connsiteY79" fmla="*/ 9875 h 41086"/>
                  <a:gd name="connsiteX80" fmla="*/ 8729 w 28037"/>
                  <a:gd name="connsiteY80" fmla="*/ 10757 h 41086"/>
                  <a:gd name="connsiteX81" fmla="*/ 8200 w 28037"/>
                  <a:gd name="connsiteY81" fmla="*/ 12255 h 41086"/>
                  <a:gd name="connsiteX82" fmla="*/ 8464 w 28037"/>
                  <a:gd name="connsiteY82" fmla="*/ 14283 h 41086"/>
                  <a:gd name="connsiteX83" fmla="*/ 8993 w 28037"/>
                  <a:gd name="connsiteY83" fmla="*/ 15165 h 41086"/>
                  <a:gd name="connsiteX84" fmla="*/ 8729 w 28037"/>
                  <a:gd name="connsiteY84" fmla="*/ 16311 h 41086"/>
                  <a:gd name="connsiteX85" fmla="*/ 9346 w 28037"/>
                  <a:gd name="connsiteY85" fmla="*/ 16928 h 41086"/>
                  <a:gd name="connsiteX86" fmla="*/ 8729 w 28037"/>
                  <a:gd name="connsiteY86" fmla="*/ 17810 h 41086"/>
                  <a:gd name="connsiteX87" fmla="*/ 7318 w 28037"/>
                  <a:gd name="connsiteY87" fmla="*/ 18339 h 41086"/>
                  <a:gd name="connsiteX88" fmla="*/ 6436 w 28037"/>
                  <a:gd name="connsiteY88" fmla="*/ 17810 h 41086"/>
                  <a:gd name="connsiteX89" fmla="*/ 5819 w 28037"/>
                  <a:gd name="connsiteY89" fmla="*/ 18692 h 41086"/>
                  <a:gd name="connsiteX90" fmla="*/ 6084 w 28037"/>
                  <a:gd name="connsiteY90" fmla="*/ 20102 h 41086"/>
                  <a:gd name="connsiteX91" fmla="*/ 5555 w 28037"/>
                  <a:gd name="connsiteY91" fmla="*/ 20102 h 41086"/>
                  <a:gd name="connsiteX92" fmla="*/ 5290 w 28037"/>
                  <a:gd name="connsiteY92" fmla="*/ 20455 h 41086"/>
                  <a:gd name="connsiteX93" fmla="*/ 6084 w 28037"/>
                  <a:gd name="connsiteY93" fmla="*/ 21601 h 41086"/>
                  <a:gd name="connsiteX94" fmla="*/ 6436 w 28037"/>
                  <a:gd name="connsiteY94" fmla="*/ 21866 h 41086"/>
                  <a:gd name="connsiteX95" fmla="*/ 6436 w 28037"/>
                  <a:gd name="connsiteY95" fmla="*/ 23012 h 41086"/>
                  <a:gd name="connsiteX96" fmla="*/ 5819 w 28037"/>
                  <a:gd name="connsiteY96" fmla="*/ 23629 h 41086"/>
                  <a:gd name="connsiteX97" fmla="*/ 5819 w 28037"/>
                  <a:gd name="connsiteY97" fmla="*/ 24511 h 41086"/>
                  <a:gd name="connsiteX98" fmla="*/ 4320 w 28037"/>
                  <a:gd name="connsiteY98" fmla="*/ 25040 h 41086"/>
                  <a:gd name="connsiteX99" fmla="*/ 4320 w 28037"/>
                  <a:gd name="connsiteY99" fmla="*/ 25657 h 41086"/>
                  <a:gd name="connsiteX100" fmla="*/ 4320 w 28037"/>
                  <a:gd name="connsiteY100" fmla="*/ 26274 h 41086"/>
                  <a:gd name="connsiteX101" fmla="*/ 4056 w 28037"/>
                  <a:gd name="connsiteY101" fmla="*/ 28831 h 41086"/>
                  <a:gd name="connsiteX102" fmla="*/ 2028 w 28037"/>
                  <a:gd name="connsiteY102" fmla="*/ 31476 h 41086"/>
                  <a:gd name="connsiteX103" fmla="*/ 2292 w 28037"/>
                  <a:gd name="connsiteY103" fmla="*/ 34386 h 41086"/>
                  <a:gd name="connsiteX104" fmla="*/ 1763 w 28037"/>
                  <a:gd name="connsiteY104" fmla="*/ 35532 h 41086"/>
                  <a:gd name="connsiteX105" fmla="*/ 1499 w 28037"/>
                  <a:gd name="connsiteY105" fmla="*/ 35884 h 41086"/>
                  <a:gd name="connsiteX106" fmla="*/ 2028 w 28037"/>
                  <a:gd name="connsiteY106" fmla="*/ 37031 h 41086"/>
                  <a:gd name="connsiteX107" fmla="*/ 0 w 28037"/>
                  <a:gd name="connsiteY107" fmla="*/ 39940 h 41086"/>
                  <a:gd name="connsiteX108" fmla="*/ 2645 w 28037"/>
                  <a:gd name="connsiteY108" fmla="*/ 39676 h 41086"/>
                  <a:gd name="connsiteX109" fmla="*/ 4673 w 28037"/>
                  <a:gd name="connsiteY109" fmla="*/ 39940 h 41086"/>
                  <a:gd name="connsiteX110" fmla="*/ 5555 w 28037"/>
                  <a:gd name="connsiteY110" fmla="*/ 41086 h 41086"/>
                  <a:gd name="connsiteX111" fmla="*/ 6084 w 28037"/>
                  <a:gd name="connsiteY111" fmla="*/ 41086 h 41086"/>
                  <a:gd name="connsiteX112" fmla="*/ 7582 w 28037"/>
                  <a:gd name="connsiteY112" fmla="*/ 39940 h 41086"/>
                  <a:gd name="connsiteX113" fmla="*/ 8464 w 28037"/>
                  <a:gd name="connsiteY113" fmla="*/ 39940 h 41086"/>
                  <a:gd name="connsiteX114" fmla="*/ 8729 w 28037"/>
                  <a:gd name="connsiteY114" fmla="*/ 39059 h 41086"/>
                  <a:gd name="connsiteX115" fmla="*/ 12255 w 28037"/>
                  <a:gd name="connsiteY115" fmla="*/ 38794 h 41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28037" h="41086">
                    <a:moveTo>
                      <a:pt x="11021" y="37031"/>
                    </a:moveTo>
                    <a:lnTo>
                      <a:pt x="11021" y="35532"/>
                    </a:lnTo>
                    <a:lnTo>
                      <a:pt x="11374" y="35532"/>
                    </a:lnTo>
                    <a:lnTo>
                      <a:pt x="12255" y="34386"/>
                    </a:lnTo>
                    <a:lnTo>
                      <a:pt x="13401" y="33504"/>
                    </a:lnTo>
                    <a:lnTo>
                      <a:pt x="13401" y="32710"/>
                    </a:lnTo>
                    <a:lnTo>
                      <a:pt x="13754" y="31741"/>
                    </a:lnTo>
                    <a:lnTo>
                      <a:pt x="16664" y="30594"/>
                    </a:lnTo>
                    <a:lnTo>
                      <a:pt x="17193" y="30065"/>
                    </a:lnTo>
                    <a:lnTo>
                      <a:pt x="16928" y="29184"/>
                    </a:lnTo>
                    <a:lnTo>
                      <a:pt x="17810" y="28831"/>
                    </a:lnTo>
                    <a:lnTo>
                      <a:pt x="18339" y="28831"/>
                    </a:lnTo>
                    <a:lnTo>
                      <a:pt x="18956" y="27420"/>
                    </a:lnTo>
                    <a:lnTo>
                      <a:pt x="18074" y="27156"/>
                    </a:lnTo>
                    <a:lnTo>
                      <a:pt x="17193" y="26803"/>
                    </a:lnTo>
                    <a:lnTo>
                      <a:pt x="16311" y="27156"/>
                    </a:lnTo>
                    <a:lnTo>
                      <a:pt x="15782" y="26274"/>
                    </a:lnTo>
                    <a:lnTo>
                      <a:pt x="16046" y="25040"/>
                    </a:lnTo>
                    <a:lnTo>
                      <a:pt x="16311" y="24158"/>
                    </a:lnTo>
                    <a:lnTo>
                      <a:pt x="17810" y="23365"/>
                    </a:lnTo>
                    <a:lnTo>
                      <a:pt x="18074" y="21601"/>
                    </a:lnTo>
                    <a:lnTo>
                      <a:pt x="18339" y="21866"/>
                    </a:lnTo>
                    <a:lnTo>
                      <a:pt x="18692" y="21601"/>
                    </a:lnTo>
                    <a:lnTo>
                      <a:pt x="20720" y="21601"/>
                    </a:lnTo>
                    <a:lnTo>
                      <a:pt x="22218" y="22130"/>
                    </a:lnTo>
                    <a:lnTo>
                      <a:pt x="24158" y="21601"/>
                    </a:lnTo>
                    <a:lnTo>
                      <a:pt x="24511" y="21601"/>
                    </a:lnTo>
                    <a:lnTo>
                      <a:pt x="23894" y="20102"/>
                    </a:lnTo>
                    <a:lnTo>
                      <a:pt x="23629" y="20455"/>
                    </a:lnTo>
                    <a:lnTo>
                      <a:pt x="23365" y="20102"/>
                    </a:lnTo>
                    <a:lnTo>
                      <a:pt x="22483" y="19838"/>
                    </a:lnTo>
                    <a:lnTo>
                      <a:pt x="21601" y="18692"/>
                    </a:lnTo>
                    <a:lnTo>
                      <a:pt x="21866" y="17457"/>
                    </a:lnTo>
                    <a:lnTo>
                      <a:pt x="23894" y="16311"/>
                    </a:lnTo>
                    <a:lnTo>
                      <a:pt x="25393" y="16047"/>
                    </a:lnTo>
                    <a:lnTo>
                      <a:pt x="25393" y="15165"/>
                    </a:lnTo>
                    <a:lnTo>
                      <a:pt x="25922" y="14283"/>
                    </a:lnTo>
                    <a:lnTo>
                      <a:pt x="27156" y="14548"/>
                    </a:lnTo>
                    <a:lnTo>
                      <a:pt x="28037" y="14019"/>
                    </a:lnTo>
                    <a:lnTo>
                      <a:pt x="27685" y="12873"/>
                    </a:lnTo>
                    <a:lnTo>
                      <a:pt x="26538" y="11638"/>
                    </a:lnTo>
                    <a:lnTo>
                      <a:pt x="25657" y="10757"/>
                    </a:lnTo>
                    <a:lnTo>
                      <a:pt x="25922" y="10228"/>
                    </a:lnTo>
                    <a:lnTo>
                      <a:pt x="25393" y="9875"/>
                    </a:lnTo>
                    <a:lnTo>
                      <a:pt x="25657" y="8729"/>
                    </a:lnTo>
                    <a:lnTo>
                      <a:pt x="25393" y="7847"/>
                    </a:lnTo>
                    <a:lnTo>
                      <a:pt x="25128" y="7318"/>
                    </a:lnTo>
                    <a:lnTo>
                      <a:pt x="24158" y="6436"/>
                    </a:lnTo>
                    <a:lnTo>
                      <a:pt x="22747" y="6084"/>
                    </a:lnTo>
                    <a:lnTo>
                      <a:pt x="22483" y="4673"/>
                    </a:lnTo>
                    <a:lnTo>
                      <a:pt x="22218" y="4673"/>
                    </a:lnTo>
                    <a:lnTo>
                      <a:pt x="21866" y="4056"/>
                    </a:lnTo>
                    <a:lnTo>
                      <a:pt x="22483" y="3527"/>
                    </a:lnTo>
                    <a:lnTo>
                      <a:pt x="22218" y="2292"/>
                    </a:lnTo>
                    <a:lnTo>
                      <a:pt x="21866" y="882"/>
                    </a:lnTo>
                    <a:lnTo>
                      <a:pt x="21601" y="617"/>
                    </a:lnTo>
                    <a:lnTo>
                      <a:pt x="20984" y="0"/>
                    </a:lnTo>
                    <a:lnTo>
                      <a:pt x="19838" y="0"/>
                    </a:lnTo>
                    <a:lnTo>
                      <a:pt x="18956" y="882"/>
                    </a:lnTo>
                    <a:lnTo>
                      <a:pt x="18956" y="2028"/>
                    </a:lnTo>
                    <a:lnTo>
                      <a:pt x="18692" y="2028"/>
                    </a:lnTo>
                    <a:lnTo>
                      <a:pt x="18074" y="1499"/>
                    </a:lnTo>
                    <a:lnTo>
                      <a:pt x="17193" y="1146"/>
                    </a:lnTo>
                    <a:lnTo>
                      <a:pt x="16046" y="882"/>
                    </a:lnTo>
                    <a:lnTo>
                      <a:pt x="16311" y="2028"/>
                    </a:lnTo>
                    <a:lnTo>
                      <a:pt x="15165" y="2292"/>
                    </a:lnTo>
                    <a:lnTo>
                      <a:pt x="14548" y="1499"/>
                    </a:lnTo>
                    <a:lnTo>
                      <a:pt x="13137" y="882"/>
                    </a:lnTo>
                    <a:lnTo>
                      <a:pt x="12873" y="1499"/>
                    </a:lnTo>
                    <a:lnTo>
                      <a:pt x="13401" y="2292"/>
                    </a:lnTo>
                    <a:lnTo>
                      <a:pt x="12873" y="3527"/>
                    </a:lnTo>
                    <a:lnTo>
                      <a:pt x="13401" y="4408"/>
                    </a:lnTo>
                    <a:lnTo>
                      <a:pt x="13401" y="4673"/>
                    </a:lnTo>
                    <a:lnTo>
                      <a:pt x="12255" y="6084"/>
                    </a:lnTo>
                    <a:lnTo>
                      <a:pt x="11374" y="5819"/>
                    </a:lnTo>
                    <a:lnTo>
                      <a:pt x="10757" y="6084"/>
                    </a:lnTo>
                    <a:lnTo>
                      <a:pt x="10757" y="7318"/>
                    </a:lnTo>
                    <a:lnTo>
                      <a:pt x="9610" y="7847"/>
                    </a:lnTo>
                    <a:lnTo>
                      <a:pt x="8729" y="7847"/>
                    </a:lnTo>
                    <a:lnTo>
                      <a:pt x="8464" y="9875"/>
                    </a:lnTo>
                    <a:lnTo>
                      <a:pt x="8729" y="10757"/>
                    </a:lnTo>
                    <a:lnTo>
                      <a:pt x="8200" y="12255"/>
                    </a:lnTo>
                    <a:lnTo>
                      <a:pt x="8464" y="14283"/>
                    </a:lnTo>
                    <a:lnTo>
                      <a:pt x="8993" y="15165"/>
                    </a:lnTo>
                    <a:lnTo>
                      <a:pt x="8729" y="16311"/>
                    </a:lnTo>
                    <a:lnTo>
                      <a:pt x="9346" y="16928"/>
                    </a:lnTo>
                    <a:lnTo>
                      <a:pt x="8729" y="17810"/>
                    </a:lnTo>
                    <a:lnTo>
                      <a:pt x="7318" y="18339"/>
                    </a:lnTo>
                    <a:lnTo>
                      <a:pt x="6436" y="17810"/>
                    </a:lnTo>
                    <a:lnTo>
                      <a:pt x="5819" y="18692"/>
                    </a:lnTo>
                    <a:lnTo>
                      <a:pt x="6084" y="20102"/>
                    </a:lnTo>
                    <a:lnTo>
                      <a:pt x="5555" y="20102"/>
                    </a:lnTo>
                    <a:lnTo>
                      <a:pt x="5290" y="20455"/>
                    </a:lnTo>
                    <a:lnTo>
                      <a:pt x="6084" y="21601"/>
                    </a:lnTo>
                    <a:lnTo>
                      <a:pt x="6436" y="21866"/>
                    </a:lnTo>
                    <a:lnTo>
                      <a:pt x="6436" y="23012"/>
                    </a:lnTo>
                    <a:lnTo>
                      <a:pt x="5819" y="23629"/>
                    </a:lnTo>
                    <a:lnTo>
                      <a:pt x="5819" y="24511"/>
                    </a:lnTo>
                    <a:lnTo>
                      <a:pt x="4320" y="25040"/>
                    </a:lnTo>
                    <a:lnTo>
                      <a:pt x="4320" y="25657"/>
                    </a:lnTo>
                    <a:lnTo>
                      <a:pt x="4320" y="26274"/>
                    </a:lnTo>
                    <a:lnTo>
                      <a:pt x="4056" y="28831"/>
                    </a:lnTo>
                    <a:lnTo>
                      <a:pt x="2028" y="31476"/>
                    </a:lnTo>
                    <a:lnTo>
                      <a:pt x="2292" y="34386"/>
                    </a:lnTo>
                    <a:lnTo>
                      <a:pt x="1763" y="35532"/>
                    </a:lnTo>
                    <a:lnTo>
                      <a:pt x="1499" y="35884"/>
                    </a:lnTo>
                    <a:lnTo>
                      <a:pt x="2028" y="37031"/>
                    </a:lnTo>
                    <a:lnTo>
                      <a:pt x="0" y="39940"/>
                    </a:lnTo>
                    <a:lnTo>
                      <a:pt x="2645" y="39676"/>
                    </a:lnTo>
                    <a:lnTo>
                      <a:pt x="4673" y="39940"/>
                    </a:lnTo>
                    <a:lnTo>
                      <a:pt x="5555" y="41086"/>
                    </a:lnTo>
                    <a:lnTo>
                      <a:pt x="6084" y="41086"/>
                    </a:lnTo>
                    <a:lnTo>
                      <a:pt x="7582" y="39940"/>
                    </a:lnTo>
                    <a:lnTo>
                      <a:pt x="8464" y="39940"/>
                    </a:lnTo>
                    <a:lnTo>
                      <a:pt x="8729" y="39059"/>
                    </a:lnTo>
                    <a:lnTo>
                      <a:pt x="12255" y="387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3" name="Freihandform: Form 1852">
                <a:extLst>
                  <a:ext uri="{FF2B5EF4-FFF2-40B4-BE49-F238E27FC236}">
                    <a16:creationId xmlns:a16="http://schemas.microsoft.com/office/drawing/2014/main" id="{CA2DCECC-2DED-5F9B-9245-AC2417E1616B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4" name="Freihandform: Form 1853">
                <a:extLst>
                  <a:ext uri="{FF2B5EF4-FFF2-40B4-BE49-F238E27FC236}">
                    <a16:creationId xmlns:a16="http://schemas.microsoft.com/office/drawing/2014/main" id="{7D9B7773-20D3-B755-D5E5-A3E1E0F3A9E4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5" name="Freihandform: Form 1854">
                <a:extLst>
                  <a:ext uri="{FF2B5EF4-FFF2-40B4-BE49-F238E27FC236}">
                    <a16:creationId xmlns:a16="http://schemas.microsoft.com/office/drawing/2014/main" id="{89D157C4-2F36-2F2B-60CF-BEF07655375A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6" name="Freihandform: Form 1855">
                <a:extLst>
                  <a:ext uri="{FF2B5EF4-FFF2-40B4-BE49-F238E27FC236}">
                    <a16:creationId xmlns:a16="http://schemas.microsoft.com/office/drawing/2014/main" id="{14428132-9F23-1E9B-ECEF-BB5E56BDBE13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7" name="Freihandform: Form 1856">
                <a:extLst>
                  <a:ext uri="{FF2B5EF4-FFF2-40B4-BE49-F238E27FC236}">
                    <a16:creationId xmlns:a16="http://schemas.microsoft.com/office/drawing/2014/main" id="{FD100AC6-3CD8-59CA-F9FE-67978D010C03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8" name="Freihandform: Form 1857">
                <a:extLst>
                  <a:ext uri="{FF2B5EF4-FFF2-40B4-BE49-F238E27FC236}">
                    <a16:creationId xmlns:a16="http://schemas.microsoft.com/office/drawing/2014/main" id="{3FA0277A-52CA-FCEB-8269-FC4D9EFFC659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9" name="Freihandform: Form 1858">
                <a:extLst>
                  <a:ext uri="{FF2B5EF4-FFF2-40B4-BE49-F238E27FC236}">
                    <a16:creationId xmlns:a16="http://schemas.microsoft.com/office/drawing/2014/main" id="{BEE15F8B-C530-EA10-9929-AA0BFA5031A5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0" name="Freihandform: Form 1859">
                <a:extLst>
                  <a:ext uri="{FF2B5EF4-FFF2-40B4-BE49-F238E27FC236}">
                    <a16:creationId xmlns:a16="http://schemas.microsoft.com/office/drawing/2014/main" id="{35AFAC8E-6474-DBFC-CBA6-4F89A738DFAB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1" name="Freihandform: Form 1860">
                <a:extLst>
                  <a:ext uri="{FF2B5EF4-FFF2-40B4-BE49-F238E27FC236}">
                    <a16:creationId xmlns:a16="http://schemas.microsoft.com/office/drawing/2014/main" id="{FD86EDFA-508C-AA8C-F09F-4BF846F77993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2" name="Freihandform: Form 1861">
                <a:extLst>
                  <a:ext uri="{FF2B5EF4-FFF2-40B4-BE49-F238E27FC236}">
                    <a16:creationId xmlns:a16="http://schemas.microsoft.com/office/drawing/2014/main" id="{D9829EA5-8C20-A9C2-F361-8CC15845E8D8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3" name="Freihandform: Form 1862">
                <a:extLst>
                  <a:ext uri="{FF2B5EF4-FFF2-40B4-BE49-F238E27FC236}">
                    <a16:creationId xmlns:a16="http://schemas.microsoft.com/office/drawing/2014/main" id="{DE7E67FF-5A09-0107-1C56-49AE31B49C74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4" name="Freihandform: Form 1863">
                <a:extLst>
                  <a:ext uri="{FF2B5EF4-FFF2-40B4-BE49-F238E27FC236}">
                    <a16:creationId xmlns:a16="http://schemas.microsoft.com/office/drawing/2014/main" id="{58739072-D20F-BFA3-77B5-275F1816669E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5" name="Freihandform: Form 1864">
                <a:extLst>
                  <a:ext uri="{FF2B5EF4-FFF2-40B4-BE49-F238E27FC236}">
                    <a16:creationId xmlns:a16="http://schemas.microsoft.com/office/drawing/2014/main" id="{6125D119-6449-7CCA-FC6D-25D4DECE6AA3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6" name="Freihandform: Form 1865">
                <a:extLst>
                  <a:ext uri="{FF2B5EF4-FFF2-40B4-BE49-F238E27FC236}">
                    <a16:creationId xmlns:a16="http://schemas.microsoft.com/office/drawing/2014/main" id="{F51ACD41-4584-4DB0-7F49-7D35732B9FA7}"/>
                  </a:ext>
                </a:extLst>
              </p:cNvPr>
              <p:cNvSpPr/>
              <p:nvPr/>
            </p:nvSpPr>
            <p:spPr>
              <a:xfrm>
                <a:off x="4938123" y="4727190"/>
                <a:ext cx="4760" cy="3526"/>
              </a:xfrm>
              <a:custGeom>
                <a:avLst/>
                <a:gdLst>
                  <a:gd name="connsiteX0" fmla="*/ 0 w 4760"/>
                  <a:gd name="connsiteY0" fmla="*/ 3527 h 3526"/>
                  <a:gd name="connsiteX1" fmla="*/ 4761 w 4760"/>
                  <a:gd name="connsiteY1" fmla="*/ 0 h 3526"/>
                  <a:gd name="connsiteX2" fmla="*/ 4761 w 4760"/>
                  <a:gd name="connsiteY2" fmla="*/ 3527 h 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0" h="3526">
                    <a:moveTo>
                      <a:pt x="0" y="3527"/>
                    </a:moveTo>
                    <a:lnTo>
                      <a:pt x="4761" y="0"/>
                    </a:lnTo>
                    <a:lnTo>
                      <a:pt x="4761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7" name="Freihandform: Form 1866">
                <a:extLst>
                  <a:ext uri="{FF2B5EF4-FFF2-40B4-BE49-F238E27FC236}">
                    <a16:creationId xmlns:a16="http://schemas.microsoft.com/office/drawing/2014/main" id="{D4C090CF-586A-24E2-89C7-226C1DFB8D78}"/>
                  </a:ext>
                </a:extLst>
              </p:cNvPr>
              <p:cNvSpPr/>
              <p:nvPr/>
            </p:nvSpPr>
            <p:spPr>
              <a:xfrm>
                <a:off x="4925515" y="4684605"/>
                <a:ext cx="4584" cy="3350"/>
              </a:xfrm>
              <a:custGeom>
                <a:avLst/>
                <a:gdLst>
                  <a:gd name="connsiteX0" fmla="*/ 2910 w 4584"/>
                  <a:gd name="connsiteY0" fmla="*/ 3350 h 3350"/>
                  <a:gd name="connsiteX1" fmla="*/ 0 w 4584"/>
                  <a:gd name="connsiteY1" fmla="*/ 3262 h 3350"/>
                  <a:gd name="connsiteX2" fmla="*/ 0 w 4584"/>
                  <a:gd name="connsiteY2" fmla="*/ 176 h 3350"/>
                  <a:gd name="connsiteX3" fmla="*/ 2821 w 4584"/>
                  <a:gd name="connsiteY3" fmla="*/ 0 h 3350"/>
                  <a:gd name="connsiteX4" fmla="*/ 4585 w 4584"/>
                  <a:gd name="connsiteY4" fmla="*/ 1851 h 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84" h="3350">
                    <a:moveTo>
                      <a:pt x="2910" y="3350"/>
                    </a:moveTo>
                    <a:lnTo>
                      <a:pt x="0" y="3262"/>
                    </a:lnTo>
                    <a:lnTo>
                      <a:pt x="0" y="176"/>
                    </a:lnTo>
                    <a:lnTo>
                      <a:pt x="2821" y="0"/>
                    </a:lnTo>
                    <a:lnTo>
                      <a:pt x="4585" y="18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8" name="Freihandform: Form 1867">
                <a:extLst>
                  <a:ext uri="{FF2B5EF4-FFF2-40B4-BE49-F238E27FC236}">
                    <a16:creationId xmlns:a16="http://schemas.microsoft.com/office/drawing/2014/main" id="{00B70FDD-04F3-658A-5A51-C37B77DB4FB5}"/>
                  </a:ext>
                </a:extLst>
              </p:cNvPr>
              <p:cNvSpPr/>
              <p:nvPr/>
            </p:nvSpPr>
            <p:spPr>
              <a:xfrm>
                <a:off x="4974536" y="4576952"/>
                <a:ext cx="3879" cy="3438"/>
              </a:xfrm>
              <a:custGeom>
                <a:avLst/>
                <a:gdLst>
                  <a:gd name="connsiteX0" fmla="*/ 2204 w 3879"/>
                  <a:gd name="connsiteY0" fmla="*/ 0 h 3438"/>
                  <a:gd name="connsiteX1" fmla="*/ 0 w 3879"/>
                  <a:gd name="connsiteY1" fmla="*/ 1499 h 3438"/>
                  <a:gd name="connsiteX2" fmla="*/ 2204 w 3879"/>
                  <a:gd name="connsiteY2" fmla="*/ 3438 h 3438"/>
                  <a:gd name="connsiteX3" fmla="*/ 3879 w 3879"/>
                  <a:gd name="connsiteY3" fmla="*/ 1763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79" h="3438">
                    <a:moveTo>
                      <a:pt x="2204" y="0"/>
                    </a:moveTo>
                    <a:lnTo>
                      <a:pt x="0" y="1499"/>
                    </a:lnTo>
                    <a:lnTo>
                      <a:pt x="2204" y="3438"/>
                    </a:lnTo>
                    <a:lnTo>
                      <a:pt x="3879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9" name="Freihandform: Form 1868">
                <a:extLst>
                  <a:ext uri="{FF2B5EF4-FFF2-40B4-BE49-F238E27FC236}">
                    <a16:creationId xmlns:a16="http://schemas.microsoft.com/office/drawing/2014/main" id="{804BCD68-C9DE-3ADD-9047-426E4746A39E}"/>
                  </a:ext>
                </a:extLst>
              </p:cNvPr>
              <p:cNvSpPr/>
              <p:nvPr/>
            </p:nvSpPr>
            <p:spPr>
              <a:xfrm>
                <a:off x="4598057" y="3101718"/>
                <a:ext cx="391732" cy="151120"/>
              </a:xfrm>
              <a:custGeom>
                <a:avLst/>
                <a:gdLst>
                  <a:gd name="connsiteX0" fmla="*/ 388558 w 391732"/>
                  <a:gd name="connsiteY0" fmla="*/ 116118 h 151120"/>
                  <a:gd name="connsiteX1" fmla="*/ 388558 w 391732"/>
                  <a:gd name="connsiteY1" fmla="*/ 116735 h 151120"/>
                  <a:gd name="connsiteX2" fmla="*/ 386530 w 391732"/>
                  <a:gd name="connsiteY2" fmla="*/ 113473 h 151120"/>
                  <a:gd name="connsiteX3" fmla="*/ 385913 w 391732"/>
                  <a:gd name="connsiteY3" fmla="*/ 109681 h 151120"/>
                  <a:gd name="connsiteX4" fmla="*/ 388823 w 391732"/>
                  <a:gd name="connsiteY4" fmla="*/ 108800 h 151120"/>
                  <a:gd name="connsiteX5" fmla="*/ 385031 w 391732"/>
                  <a:gd name="connsiteY5" fmla="*/ 108800 h 151120"/>
                  <a:gd name="connsiteX6" fmla="*/ 389704 w 391732"/>
                  <a:gd name="connsiteY6" fmla="*/ 106772 h 151120"/>
                  <a:gd name="connsiteX7" fmla="*/ 388205 w 391732"/>
                  <a:gd name="connsiteY7" fmla="*/ 105361 h 151120"/>
                  <a:gd name="connsiteX8" fmla="*/ 385913 w 391732"/>
                  <a:gd name="connsiteY8" fmla="*/ 105009 h 151120"/>
                  <a:gd name="connsiteX9" fmla="*/ 383268 w 391732"/>
                  <a:gd name="connsiteY9" fmla="*/ 106243 h 151120"/>
                  <a:gd name="connsiteX10" fmla="*/ 383003 w 391732"/>
                  <a:gd name="connsiteY10" fmla="*/ 103333 h 151120"/>
                  <a:gd name="connsiteX11" fmla="*/ 380623 w 391732"/>
                  <a:gd name="connsiteY11" fmla="*/ 103333 h 151120"/>
                  <a:gd name="connsiteX12" fmla="*/ 378595 w 391732"/>
                  <a:gd name="connsiteY12" fmla="*/ 101570 h 151120"/>
                  <a:gd name="connsiteX13" fmla="*/ 378331 w 391732"/>
                  <a:gd name="connsiteY13" fmla="*/ 99189 h 151120"/>
                  <a:gd name="connsiteX14" fmla="*/ 379212 w 391732"/>
                  <a:gd name="connsiteY14" fmla="*/ 97426 h 151120"/>
                  <a:gd name="connsiteX15" fmla="*/ 380358 w 391732"/>
                  <a:gd name="connsiteY15" fmla="*/ 95398 h 151120"/>
                  <a:gd name="connsiteX16" fmla="*/ 380358 w 391732"/>
                  <a:gd name="connsiteY16" fmla="*/ 93635 h 151120"/>
                  <a:gd name="connsiteX17" fmla="*/ 379212 w 391732"/>
                  <a:gd name="connsiteY17" fmla="*/ 90196 h 151120"/>
                  <a:gd name="connsiteX18" fmla="*/ 376038 w 391732"/>
                  <a:gd name="connsiteY18" fmla="*/ 90196 h 151120"/>
                  <a:gd name="connsiteX19" fmla="*/ 374539 w 391732"/>
                  <a:gd name="connsiteY19" fmla="*/ 84642 h 151120"/>
                  <a:gd name="connsiteX20" fmla="*/ 373658 w 391732"/>
                  <a:gd name="connsiteY20" fmla="*/ 79969 h 151120"/>
                  <a:gd name="connsiteX21" fmla="*/ 371012 w 391732"/>
                  <a:gd name="connsiteY21" fmla="*/ 79087 h 151120"/>
                  <a:gd name="connsiteX22" fmla="*/ 373922 w 391732"/>
                  <a:gd name="connsiteY22" fmla="*/ 77941 h 151120"/>
                  <a:gd name="connsiteX23" fmla="*/ 370131 w 391732"/>
                  <a:gd name="connsiteY23" fmla="*/ 77059 h 151120"/>
                  <a:gd name="connsiteX24" fmla="*/ 373658 w 391732"/>
                  <a:gd name="connsiteY24" fmla="*/ 74150 h 151120"/>
                  <a:gd name="connsiteX25" fmla="*/ 367221 w 391732"/>
                  <a:gd name="connsiteY25" fmla="*/ 73268 h 151120"/>
                  <a:gd name="connsiteX26" fmla="*/ 366692 w 391732"/>
                  <a:gd name="connsiteY26" fmla="*/ 69477 h 151120"/>
                  <a:gd name="connsiteX27" fmla="*/ 365458 w 391732"/>
                  <a:gd name="connsiteY27" fmla="*/ 67449 h 151120"/>
                  <a:gd name="connsiteX28" fmla="*/ 369249 w 391732"/>
                  <a:gd name="connsiteY28" fmla="*/ 67713 h 151120"/>
                  <a:gd name="connsiteX29" fmla="*/ 371012 w 391732"/>
                  <a:gd name="connsiteY29" fmla="*/ 67978 h 151120"/>
                  <a:gd name="connsiteX30" fmla="*/ 374804 w 391732"/>
                  <a:gd name="connsiteY30" fmla="*/ 67978 h 151120"/>
                  <a:gd name="connsiteX31" fmla="*/ 374804 w 391732"/>
                  <a:gd name="connsiteY31" fmla="*/ 65950 h 151120"/>
                  <a:gd name="connsiteX32" fmla="*/ 373658 w 391732"/>
                  <a:gd name="connsiteY32" fmla="*/ 61277 h 151120"/>
                  <a:gd name="connsiteX33" fmla="*/ 376567 w 391732"/>
                  <a:gd name="connsiteY33" fmla="*/ 63305 h 151120"/>
                  <a:gd name="connsiteX34" fmla="*/ 383268 w 391732"/>
                  <a:gd name="connsiteY34" fmla="*/ 63305 h 151120"/>
                  <a:gd name="connsiteX35" fmla="*/ 376832 w 391732"/>
                  <a:gd name="connsiteY35" fmla="*/ 54841 h 151120"/>
                  <a:gd name="connsiteX36" fmla="*/ 373922 w 391732"/>
                  <a:gd name="connsiteY36" fmla="*/ 48493 h 151120"/>
                  <a:gd name="connsiteX37" fmla="*/ 371012 w 391732"/>
                  <a:gd name="connsiteY37" fmla="*/ 51402 h 151120"/>
                  <a:gd name="connsiteX38" fmla="*/ 367838 w 391732"/>
                  <a:gd name="connsiteY38" fmla="*/ 53695 h 151120"/>
                  <a:gd name="connsiteX39" fmla="*/ 369249 w 391732"/>
                  <a:gd name="connsiteY39" fmla="*/ 46112 h 151120"/>
                  <a:gd name="connsiteX40" fmla="*/ 366692 w 391732"/>
                  <a:gd name="connsiteY40" fmla="*/ 47875 h 151120"/>
                  <a:gd name="connsiteX41" fmla="*/ 363430 w 391732"/>
                  <a:gd name="connsiteY41" fmla="*/ 48493 h 151120"/>
                  <a:gd name="connsiteX42" fmla="*/ 360520 w 391732"/>
                  <a:gd name="connsiteY42" fmla="*/ 47875 h 151120"/>
                  <a:gd name="connsiteX43" fmla="*/ 356729 w 391732"/>
                  <a:gd name="connsiteY43" fmla="*/ 46112 h 151120"/>
                  <a:gd name="connsiteX44" fmla="*/ 355583 w 391732"/>
                  <a:gd name="connsiteY44" fmla="*/ 43467 h 151120"/>
                  <a:gd name="connsiteX45" fmla="*/ 352674 w 391732"/>
                  <a:gd name="connsiteY45" fmla="*/ 41792 h 151120"/>
                  <a:gd name="connsiteX46" fmla="*/ 354437 w 391732"/>
                  <a:gd name="connsiteY46" fmla="*/ 39676 h 151120"/>
                  <a:gd name="connsiteX47" fmla="*/ 351175 w 391732"/>
                  <a:gd name="connsiteY47" fmla="*/ 38265 h 151120"/>
                  <a:gd name="connsiteX48" fmla="*/ 352938 w 391732"/>
                  <a:gd name="connsiteY48" fmla="*/ 36237 h 151120"/>
                  <a:gd name="connsiteX49" fmla="*/ 352409 w 391732"/>
                  <a:gd name="connsiteY49" fmla="*/ 31564 h 151120"/>
                  <a:gd name="connsiteX50" fmla="*/ 351792 w 391732"/>
                  <a:gd name="connsiteY50" fmla="*/ 28655 h 151120"/>
                  <a:gd name="connsiteX51" fmla="*/ 348530 w 391732"/>
                  <a:gd name="connsiteY51" fmla="*/ 27156 h 151120"/>
                  <a:gd name="connsiteX52" fmla="*/ 345973 w 391732"/>
                  <a:gd name="connsiteY52" fmla="*/ 26274 h 151120"/>
                  <a:gd name="connsiteX53" fmla="*/ 345355 w 391732"/>
                  <a:gd name="connsiteY53" fmla="*/ 23982 h 151120"/>
                  <a:gd name="connsiteX54" fmla="*/ 344474 w 391732"/>
                  <a:gd name="connsiteY54" fmla="*/ 21954 h 151120"/>
                  <a:gd name="connsiteX55" fmla="*/ 343063 w 391732"/>
                  <a:gd name="connsiteY55" fmla="*/ 21954 h 151120"/>
                  <a:gd name="connsiteX56" fmla="*/ 341300 w 391732"/>
                  <a:gd name="connsiteY56" fmla="*/ 22218 h 151120"/>
                  <a:gd name="connsiteX57" fmla="*/ 339272 w 391732"/>
                  <a:gd name="connsiteY57" fmla="*/ 20719 h 151120"/>
                  <a:gd name="connsiteX58" fmla="*/ 338390 w 391732"/>
                  <a:gd name="connsiteY58" fmla="*/ 19044 h 151120"/>
                  <a:gd name="connsiteX59" fmla="*/ 337509 w 391732"/>
                  <a:gd name="connsiteY59" fmla="*/ 15518 h 151120"/>
                  <a:gd name="connsiteX60" fmla="*/ 334599 w 391732"/>
                  <a:gd name="connsiteY60" fmla="*/ 14900 h 151120"/>
                  <a:gd name="connsiteX61" fmla="*/ 333365 w 391732"/>
                  <a:gd name="connsiteY61" fmla="*/ 11991 h 151120"/>
                  <a:gd name="connsiteX62" fmla="*/ 330455 w 391732"/>
                  <a:gd name="connsiteY62" fmla="*/ 11109 h 151120"/>
                  <a:gd name="connsiteX63" fmla="*/ 327898 w 391732"/>
                  <a:gd name="connsiteY63" fmla="*/ 11991 h 151120"/>
                  <a:gd name="connsiteX64" fmla="*/ 328427 w 391732"/>
                  <a:gd name="connsiteY64" fmla="*/ 16047 h 151120"/>
                  <a:gd name="connsiteX65" fmla="*/ 326664 w 391732"/>
                  <a:gd name="connsiteY65" fmla="*/ 16399 h 151120"/>
                  <a:gd name="connsiteX66" fmla="*/ 323490 w 391732"/>
                  <a:gd name="connsiteY66" fmla="*/ 16399 h 151120"/>
                  <a:gd name="connsiteX67" fmla="*/ 319169 w 391732"/>
                  <a:gd name="connsiteY67" fmla="*/ 14636 h 151120"/>
                  <a:gd name="connsiteX68" fmla="*/ 316524 w 391732"/>
                  <a:gd name="connsiteY68" fmla="*/ 14019 h 151120"/>
                  <a:gd name="connsiteX69" fmla="*/ 315290 w 391732"/>
                  <a:gd name="connsiteY69" fmla="*/ 14636 h 151120"/>
                  <a:gd name="connsiteX70" fmla="*/ 314144 w 391732"/>
                  <a:gd name="connsiteY70" fmla="*/ 14636 h 151120"/>
                  <a:gd name="connsiteX71" fmla="*/ 311852 w 391732"/>
                  <a:gd name="connsiteY71" fmla="*/ 15253 h 151120"/>
                  <a:gd name="connsiteX72" fmla="*/ 311234 w 391732"/>
                  <a:gd name="connsiteY72" fmla="*/ 15518 h 151120"/>
                  <a:gd name="connsiteX73" fmla="*/ 308325 w 391732"/>
                  <a:gd name="connsiteY73" fmla="*/ 15253 h 151120"/>
                  <a:gd name="connsiteX74" fmla="*/ 306297 w 391732"/>
                  <a:gd name="connsiteY74" fmla="*/ 14019 h 151120"/>
                  <a:gd name="connsiteX75" fmla="*/ 305680 w 391732"/>
                  <a:gd name="connsiteY75" fmla="*/ 14019 h 151120"/>
                  <a:gd name="connsiteX76" fmla="*/ 303652 w 391732"/>
                  <a:gd name="connsiteY76" fmla="*/ 15253 h 151120"/>
                  <a:gd name="connsiteX77" fmla="*/ 303652 w 391732"/>
                  <a:gd name="connsiteY77" fmla="*/ 18163 h 151120"/>
                  <a:gd name="connsiteX78" fmla="*/ 300742 w 391732"/>
                  <a:gd name="connsiteY78" fmla="*/ 18163 h 151120"/>
                  <a:gd name="connsiteX79" fmla="*/ 299331 w 391732"/>
                  <a:gd name="connsiteY79" fmla="*/ 19573 h 151120"/>
                  <a:gd name="connsiteX80" fmla="*/ 297216 w 391732"/>
                  <a:gd name="connsiteY80" fmla="*/ 19573 h 151120"/>
                  <a:gd name="connsiteX81" fmla="*/ 296687 w 391732"/>
                  <a:gd name="connsiteY81" fmla="*/ 20719 h 151120"/>
                  <a:gd name="connsiteX82" fmla="*/ 295452 w 391732"/>
                  <a:gd name="connsiteY82" fmla="*/ 21337 h 151120"/>
                  <a:gd name="connsiteX83" fmla="*/ 292543 w 391732"/>
                  <a:gd name="connsiteY83" fmla="*/ 21337 h 151120"/>
                  <a:gd name="connsiteX84" fmla="*/ 291132 w 391732"/>
                  <a:gd name="connsiteY84" fmla="*/ 22483 h 151120"/>
                  <a:gd name="connsiteX85" fmla="*/ 289986 w 391732"/>
                  <a:gd name="connsiteY85" fmla="*/ 23629 h 151120"/>
                  <a:gd name="connsiteX86" fmla="*/ 287870 w 391732"/>
                  <a:gd name="connsiteY86" fmla="*/ 24246 h 151120"/>
                  <a:gd name="connsiteX87" fmla="*/ 287605 w 391732"/>
                  <a:gd name="connsiteY87" fmla="*/ 26010 h 151120"/>
                  <a:gd name="connsiteX88" fmla="*/ 284696 w 391732"/>
                  <a:gd name="connsiteY88" fmla="*/ 26010 h 151120"/>
                  <a:gd name="connsiteX89" fmla="*/ 283285 w 391732"/>
                  <a:gd name="connsiteY89" fmla="*/ 26891 h 151120"/>
                  <a:gd name="connsiteX90" fmla="*/ 280023 w 391732"/>
                  <a:gd name="connsiteY90" fmla="*/ 28655 h 151120"/>
                  <a:gd name="connsiteX91" fmla="*/ 278877 w 391732"/>
                  <a:gd name="connsiteY91" fmla="*/ 28037 h 151120"/>
                  <a:gd name="connsiteX92" fmla="*/ 275967 w 391732"/>
                  <a:gd name="connsiteY92" fmla="*/ 26891 h 151120"/>
                  <a:gd name="connsiteX93" fmla="*/ 274821 w 391732"/>
                  <a:gd name="connsiteY93" fmla="*/ 28037 h 151120"/>
                  <a:gd name="connsiteX94" fmla="*/ 273586 w 391732"/>
                  <a:gd name="connsiteY94" fmla="*/ 26891 h 151120"/>
                  <a:gd name="connsiteX95" fmla="*/ 270677 w 391732"/>
                  <a:gd name="connsiteY95" fmla="*/ 26010 h 151120"/>
                  <a:gd name="connsiteX96" fmla="*/ 269266 w 391732"/>
                  <a:gd name="connsiteY96" fmla="*/ 26891 h 151120"/>
                  <a:gd name="connsiteX97" fmla="*/ 267767 w 391732"/>
                  <a:gd name="connsiteY97" fmla="*/ 26010 h 151120"/>
                  <a:gd name="connsiteX98" fmla="*/ 265739 w 391732"/>
                  <a:gd name="connsiteY98" fmla="*/ 23629 h 151120"/>
                  <a:gd name="connsiteX99" fmla="*/ 264241 w 391732"/>
                  <a:gd name="connsiteY99" fmla="*/ 23629 h 151120"/>
                  <a:gd name="connsiteX100" fmla="*/ 261684 w 391732"/>
                  <a:gd name="connsiteY100" fmla="*/ 25128 h 151120"/>
                  <a:gd name="connsiteX101" fmla="*/ 259303 w 391732"/>
                  <a:gd name="connsiteY101" fmla="*/ 24246 h 151120"/>
                  <a:gd name="connsiteX102" fmla="*/ 256923 w 391732"/>
                  <a:gd name="connsiteY102" fmla="*/ 26010 h 151120"/>
                  <a:gd name="connsiteX103" fmla="*/ 253220 w 391732"/>
                  <a:gd name="connsiteY103" fmla="*/ 26010 h 151120"/>
                  <a:gd name="connsiteX104" fmla="*/ 251192 w 391732"/>
                  <a:gd name="connsiteY104" fmla="*/ 28037 h 151120"/>
                  <a:gd name="connsiteX105" fmla="*/ 250574 w 391732"/>
                  <a:gd name="connsiteY105" fmla="*/ 28037 h 151120"/>
                  <a:gd name="connsiteX106" fmla="*/ 249164 w 391732"/>
                  <a:gd name="connsiteY106" fmla="*/ 27156 h 151120"/>
                  <a:gd name="connsiteX107" fmla="*/ 247665 w 391732"/>
                  <a:gd name="connsiteY107" fmla="*/ 28655 h 151120"/>
                  <a:gd name="connsiteX108" fmla="*/ 244138 w 391732"/>
                  <a:gd name="connsiteY108" fmla="*/ 28655 h 151120"/>
                  <a:gd name="connsiteX109" fmla="*/ 241846 w 391732"/>
                  <a:gd name="connsiteY109" fmla="*/ 28037 h 151120"/>
                  <a:gd name="connsiteX110" fmla="*/ 241229 w 391732"/>
                  <a:gd name="connsiteY110" fmla="*/ 28037 h 151120"/>
                  <a:gd name="connsiteX111" fmla="*/ 237173 w 391732"/>
                  <a:gd name="connsiteY111" fmla="*/ 26891 h 151120"/>
                  <a:gd name="connsiteX112" fmla="*/ 234263 w 391732"/>
                  <a:gd name="connsiteY112" fmla="*/ 26891 h 151120"/>
                  <a:gd name="connsiteX113" fmla="*/ 233382 w 391732"/>
                  <a:gd name="connsiteY113" fmla="*/ 26010 h 151120"/>
                  <a:gd name="connsiteX114" fmla="*/ 232764 w 391732"/>
                  <a:gd name="connsiteY114" fmla="*/ 26010 h 151120"/>
                  <a:gd name="connsiteX115" fmla="*/ 232500 w 391732"/>
                  <a:gd name="connsiteY115" fmla="*/ 25128 h 151120"/>
                  <a:gd name="connsiteX116" fmla="*/ 232500 w 391732"/>
                  <a:gd name="connsiteY116" fmla="*/ 23629 h 151120"/>
                  <a:gd name="connsiteX117" fmla="*/ 230120 w 391732"/>
                  <a:gd name="connsiteY117" fmla="*/ 23629 h 151120"/>
                  <a:gd name="connsiteX118" fmla="*/ 229326 w 391732"/>
                  <a:gd name="connsiteY118" fmla="*/ 23365 h 151120"/>
                  <a:gd name="connsiteX119" fmla="*/ 228356 w 391732"/>
                  <a:gd name="connsiteY119" fmla="*/ 23629 h 151120"/>
                  <a:gd name="connsiteX120" fmla="*/ 227563 w 391732"/>
                  <a:gd name="connsiteY120" fmla="*/ 25128 h 151120"/>
                  <a:gd name="connsiteX121" fmla="*/ 226416 w 391732"/>
                  <a:gd name="connsiteY121" fmla="*/ 26010 h 151120"/>
                  <a:gd name="connsiteX122" fmla="*/ 223771 w 391732"/>
                  <a:gd name="connsiteY122" fmla="*/ 24246 h 151120"/>
                  <a:gd name="connsiteX123" fmla="*/ 223154 w 391732"/>
                  <a:gd name="connsiteY123" fmla="*/ 23629 h 151120"/>
                  <a:gd name="connsiteX124" fmla="*/ 222008 w 391732"/>
                  <a:gd name="connsiteY124" fmla="*/ 23629 h 151120"/>
                  <a:gd name="connsiteX125" fmla="*/ 221126 w 391732"/>
                  <a:gd name="connsiteY125" fmla="*/ 22483 h 151120"/>
                  <a:gd name="connsiteX126" fmla="*/ 218217 w 391732"/>
                  <a:gd name="connsiteY126" fmla="*/ 22483 h 151120"/>
                  <a:gd name="connsiteX127" fmla="*/ 217335 w 391732"/>
                  <a:gd name="connsiteY127" fmla="*/ 21954 h 151120"/>
                  <a:gd name="connsiteX128" fmla="*/ 215836 w 391732"/>
                  <a:gd name="connsiteY128" fmla="*/ 21337 h 151120"/>
                  <a:gd name="connsiteX129" fmla="*/ 215572 w 391732"/>
                  <a:gd name="connsiteY129" fmla="*/ 19838 h 151120"/>
                  <a:gd name="connsiteX130" fmla="*/ 215572 w 391732"/>
                  <a:gd name="connsiteY130" fmla="*/ 19573 h 151120"/>
                  <a:gd name="connsiteX131" fmla="*/ 211780 w 391732"/>
                  <a:gd name="connsiteY131" fmla="*/ 18163 h 151120"/>
                  <a:gd name="connsiteX132" fmla="*/ 207460 w 391732"/>
                  <a:gd name="connsiteY132" fmla="*/ 18163 h 151120"/>
                  <a:gd name="connsiteX133" fmla="*/ 205344 w 391732"/>
                  <a:gd name="connsiteY133" fmla="*/ 19573 h 151120"/>
                  <a:gd name="connsiteX134" fmla="*/ 204198 w 391732"/>
                  <a:gd name="connsiteY134" fmla="*/ 19838 h 151120"/>
                  <a:gd name="connsiteX135" fmla="*/ 203316 w 391732"/>
                  <a:gd name="connsiteY135" fmla="*/ 19838 h 151120"/>
                  <a:gd name="connsiteX136" fmla="*/ 202435 w 391732"/>
                  <a:gd name="connsiteY136" fmla="*/ 19573 h 151120"/>
                  <a:gd name="connsiteX137" fmla="*/ 201288 w 391732"/>
                  <a:gd name="connsiteY137" fmla="*/ 19573 h 151120"/>
                  <a:gd name="connsiteX138" fmla="*/ 199790 w 391732"/>
                  <a:gd name="connsiteY138" fmla="*/ 18163 h 151120"/>
                  <a:gd name="connsiteX139" fmla="*/ 196880 w 391732"/>
                  <a:gd name="connsiteY139" fmla="*/ 15253 h 151120"/>
                  <a:gd name="connsiteX140" fmla="*/ 196351 w 391732"/>
                  <a:gd name="connsiteY140" fmla="*/ 14019 h 151120"/>
                  <a:gd name="connsiteX141" fmla="*/ 196615 w 391732"/>
                  <a:gd name="connsiteY141" fmla="*/ 13490 h 151120"/>
                  <a:gd name="connsiteX142" fmla="*/ 196351 w 391732"/>
                  <a:gd name="connsiteY142" fmla="*/ 10845 h 151120"/>
                  <a:gd name="connsiteX143" fmla="*/ 195205 w 391732"/>
                  <a:gd name="connsiteY143" fmla="*/ 9698 h 151120"/>
                  <a:gd name="connsiteX144" fmla="*/ 193706 w 391732"/>
                  <a:gd name="connsiteY144" fmla="*/ 9081 h 151120"/>
                  <a:gd name="connsiteX145" fmla="*/ 193706 w 391732"/>
                  <a:gd name="connsiteY145" fmla="*/ 9698 h 151120"/>
                  <a:gd name="connsiteX146" fmla="*/ 192560 w 391732"/>
                  <a:gd name="connsiteY146" fmla="*/ 8200 h 151120"/>
                  <a:gd name="connsiteX147" fmla="*/ 192560 w 391732"/>
                  <a:gd name="connsiteY147" fmla="*/ 9346 h 151120"/>
                  <a:gd name="connsiteX148" fmla="*/ 191061 w 391732"/>
                  <a:gd name="connsiteY148" fmla="*/ 9346 h 151120"/>
                  <a:gd name="connsiteX149" fmla="*/ 192560 w 391732"/>
                  <a:gd name="connsiteY149" fmla="*/ 8200 h 151120"/>
                  <a:gd name="connsiteX150" fmla="*/ 188769 w 391732"/>
                  <a:gd name="connsiteY150" fmla="*/ 10492 h 151120"/>
                  <a:gd name="connsiteX151" fmla="*/ 182332 w 391732"/>
                  <a:gd name="connsiteY151" fmla="*/ 10492 h 151120"/>
                  <a:gd name="connsiteX152" fmla="*/ 181098 w 391732"/>
                  <a:gd name="connsiteY152" fmla="*/ 9698 h 151120"/>
                  <a:gd name="connsiteX153" fmla="*/ 178805 w 391732"/>
                  <a:gd name="connsiteY153" fmla="*/ 9081 h 151120"/>
                  <a:gd name="connsiteX154" fmla="*/ 177395 w 391732"/>
                  <a:gd name="connsiteY154" fmla="*/ 6436 h 151120"/>
                  <a:gd name="connsiteX155" fmla="*/ 175631 w 391732"/>
                  <a:gd name="connsiteY155" fmla="*/ 5290 h 151120"/>
                  <a:gd name="connsiteX156" fmla="*/ 174485 w 391732"/>
                  <a:gd name="connsiteY156" fmla="*/ 3527 h 151120"/>
                  <a:gd name="connsiteX157" fmla="*/ 174133 w 391732"/>
                  <a:gd name="connsiteY157" fmla="*/ 882 h 151120"/>
                  <a:gd name="connsiteX158" fmla="*/ 174485 w 391732"/>
                  <a:gd name="connsiteY158" fmla="*/ 617 h 151120"/>
                  <a:gd name="connsiteX159" fmla="*/ 173604 w 391732"/>
                  <a:gd name="connsiteY159" fmla="*/ 882 h 151120"/>
                  <a:gd name="connsiteX160" fmla="*/ 172369 w 391732"/>
                  <a:gd name="connsiteY160" fmla="*/ 0 h 151120"/>
                  <a:gd name="connsiteX161" fmla="*/ 171223 w 391732"/>
                  <a:gd name="connsiteY161" fmla="*/ 0 h 151120"/>
                  <a:gd name="connsiteX162" fmla="*/ 170077 w 391732"/>
                  <a:gd name="connsiteY162" fmla="*/ 882 h 151120"/>
                  <a:gd name="connsiteX163" fmla="*/ 169195 w 391732"/>
                  <a:gd name="connsiteY163" fmla="*/ 1763 h 151120"/>
                  <a:gd name="connsiteX164" fmla="*/ 166285 w 391732"/>
                  <a:gd name="connsiteY164" fmla="*/ 2998 h 151120"/>
                  <a:gd name="connsiteX165" fmla="*/ 162759 w 391732"/>
                  <a:gd name="connsiteY165" fmla="*/ 2998 h 151120"/>
                  <a:gd name="connsiteX166" fmla="*/ 162230 w 391732"/>
                  <a:gd name="connsiteY166" fmla="*/ 2380 h 151120"/>
                  <a:gd name="connsiteX167" fmla="*/ 161348 w 391732"/>
                  <a:gd name="connsiteY167" fmla="*/ 2380 h 151120"/>
                  <a:gd name="connsiteX168" fmla="*/ 158439 w 391732"/>
                  <a:gd name="connsiteY168" fmla="*/ 2998 h 151120"/>
                  <a:gd name="connsiteX169" fmla="*/ 154030 w 391732"/>
                  <a:gd name="connsiteY169" fmla="*/ 1763 h 151120"/>
                  <a:gd name="connsiteX170" fmla="*/ 148211 w 391732"/>
                  <a:gd name="connsiteY170" fmla="*/ 1763 h 151120"/>
                  <a:gd name="connsiteX171" fmla="*/ 137983 w 391732"/>
                  <a:gd name="connsiteY171" fmla="*/ 882 h 151120"/>
                  <a:gd name="connsiteX172" fmla="*/ 136837 w 391732"/>
                  <a:gd name="connsiteY172" fmla="*/ 1763 h 151120"/>
                  <a:gd name="connsiteX173" fmla="*/ 131812 w 391732"/>
                  <a:gd name="connsiteY173" fmla="*/ 2998 h 151120"/>
                  <a:gd name="connsiteX174" fmla="*/ 131547 w 391732"/>
                  <a:gd name="connsiteY174" fmla="*/ 4408 h 151120"/>
                  <a:gd name="connsiteX175" fmla="*/ 129255 w 391732"/>
                  <a:gd name="connsiteY175" fmla="*/ 4761 h 151120"/>
                  <a:gd name="connsiteX176" fmla="*/ 128990 w 391732"/>
                  <a:gd name="connsiteY176" fmla="*/ 4761 h 151120"/>
                  <a:gd name="connsiteX177" fmla="*/ 126081 w 391732"/>
                  <a:gd name="connsiteY177" fmla="*/ 5290 h 151120"/>
                  <a:gd name="connsiteX178" fmla="*/ 123083 w 391732"/>
                  <a:gd name="connsiteY178" fmla="*/ 5290 h 151120"/>
                  <a:gd name="connsiteX179" fmla="*/ 123347 w 391732"/>
                  <a:gd name="connsiteY179" fmla="*/ 6436 h 151120"/>
                  <a:gd name="connsiteX180" fmla="*/ 121672 w 391732"/>
                  <a:gd name="connsiteY180" fmla="*/ 6172 h 151120"/>
                  <a:gd name="connsiteX181" fmla="*/ 121055 w 391732"/>
                  <a:gd name="connsiteY181" fmla="*/ 8200 h 151120"/>
                  <a:gd name="connsiteX182" fmla="*/ 120438 w 391732"/>
                  <a:gd name="connsiteY182" fmla="*/ 7318 h 151120"/>
                  <a:gd name="connsiteX183" fmla="*/ 120262 w 391732"/>
                  <a:gd name="connsiteY183" fmla="*/ 9081 h 151120"/>
                  <a:gd name="connsiteX184" fmla="*/ 118410 w 391732"/>
                  <a:gd name="connsiteY184" fmla="*/ 9081 h 151120"/>
                  <a:gd name="connsiteX185" fmla="*/ 115853 w 391732"/>
                  <a:gd name="connsiteY185" fmla="*/ 10845 h 151120"/>
                  <a:gd name="connsiteX186" fmla="*/ 114354 w 391732"/>
                  <a:gd name="connsiteY186" fmla="*/ 12255 h 151120"/>
                  <a:gd name="connsiteX187" fmla="*/ 113473 w 391732"/>
                  <a:gd name="connsiteY187" fmla="*/ 12255 h 151120"/>
                  <a:gd name="connsiteX188" fmla="*/ 111445 w 391732"/>
                  <a:gd name="connsiteY188" fmla="*/ 14019 h 151120"/>
                  <a:gd name="connsiteX189" fmla="*/ 108271 w 391732"/>
                  <a:gd name="connsiteY189" fmla="*/ 15253 h 151120"/>
                  <a:gd name="connsiteX190" fmla="*/ 107389 w 391732"/>
                  <a:gd name="connsiteY190" fmla="*/ 16047 h 151120"/>
                  <a:gd name="connsiteX191" fmla="*/ 105890 w 391732"/>
                  <a:gd name="connsiteY191" fmla="*/ 17810 h 151120"/>
                  <a:gd name="connsiteX192" fmla="*/ 102981 w 391732"/>
                  <a:gd name="connsiteY192" fmla="*/ 18163 h 151120"/>
                  <a:gd name="connsiteX193" fmla="*/ 103245 w 391732"/>
                  <a:gd name="connsiteY193" fmla="*/ 19573 h 151120"/>
                  <a:gd name="connsiteX194" fmla="*/ 102099 w 391732"/>
                  <a:gd name="connsiteY194" fmla="*/ 19573 h 151120"/>
                  <a:gd name="connsiteX195" fmla="*/ 102099 w 391732"/>
                  <a:gd name="connsiteY195" fmla="*/ 20719 h 151120"/>
                  <a:gd name="connsiteX196" fmla="*/ 101834 w 391732"/>
                  <a:gd name="connsiteY196" fmla="*/ 21954 h 151120"/>
                  <a:gd name="connsiteX197" fmla="*/ 101834 w 391732"/>
                  <a:gd name="connsiteY197" fmla="*/ 23365 h 151120"/>
                  <a:gd name="connsiteX198" fmla="*/ 98572 w 391732"/>
                  <a:gd name="connsiteY198" fmla="*/ 24246 h 151120"/>
                  <a:gd name="connsiteX199" fmla="*/ 96897 w 391732"/>
                  <a:gd name="connsiteY199" fmla="*/ 23629 h 151120"/>
                  <a:gd name="connsiteX200" fmla="*/ 93899 w 391732"/>
                  <a:gd name="connsiteY200" fmla="*/ 24246 h 151120"/>
                  <a:gd name="connsiteX201" fmla="*/ 88168 w 391732"/>
                  <a:gd name="connsiteY201" fmla="*/ 24246 h 151120"/>
                  <a:gd name="connsiteX202" fmla="*/ 86405 w 391732"/>
                  <a:gd name="connsiteY202" fmla="*/ 23365 h 151120"/>
                  <a:gd name="connsiteX203" fmla="*/ 83407 w 391732"/>
                  <a:gd name="connsiteY203" fmla="*/ 22483 h 151120"/>
                  <a:gd name="connsiteX204" fmla="*/ 81379 w 391732"/>
                  <a:gd name="connsiteY204" fmla="*/ 21954 h 151120"/>
                  <a:gd name="connsiteX205" fmla="*/ 81379 w 391732"/>
                  <a:gd name="connsiteY205" fmla="*/ 21337 h 151120"/>
                  <a:gd name="connsiteX206" fmla="*/ 79969 w 391732"/>
                  <a:gd name="connsiteY206" fmla="*/ 21072 h 151120"/>
                  <a:gd name="connsiteX207" fmla="*/ 78205 w 391732"/>
                  <a:gd name="connsiteY207" fmla="*/ 21954 h 151120"/>
                  <a:gd name="connsiteX208" fmla="*/ 77588 w 391732"/>
                  <a:gd name="connsiteY208" fmla="*/ 23365 h 151120"/>
                  <a:gd name="connsiteX209" fmla="*/ 75560 w 391732"/>
                  <a:gd name="connsiteY209" fmla="*/ 23365 h 151120"/>
                  <a:gd name="connsiteX210" fmla="*/ 68859 w 391732"/>
                  <a:gd name="connsiteY210" fmla="*/ 22483 h 151120"/>
                  <a:gd name="connsiteX211" fmla="*/ 65950 w 391732"/>
                  <a:gd name="connsiteY211" fmla="*/ 21954 h 151120"/>
                  <a:gd name="connsiteX212" fmla="*/ 65068 w 391732"/>
                  <a:gd name="connsiteY212" fmla="*/ 21954 h 151120"/>
                  <a:gd name="connsiteX213" fmla="*/ 60131 w 391732"/>
                  <a:gd name="connsiteY213" fmla="*/ 20719 h 151120"/>
                  <a:gd name="connsiteX214" fmla="*/ 57221 w 391732"/>
                  <a:gd name="connsiteY214" fmla="*/ 20719 h 151120"/>
                  <a:gd name="connsiteX215" fmla="*/ 57221 w 391732"/>
                  <a:gd name="connsiteY215" fmla="*/ 21954 h 151120"/>
                  <a:gd name="connsiteX216" fmla="*/ 56604 w 391732"/>
                  <a:gd name="connsiteY216" fmla="*/ 23629 h 151120"/>
                  <a:gd name="connsiteX217" fmla="*/ 56868 w 391732"/>
                  <a:gd name="connsiteY217" fmla="*/ 25392 h 151120"/>
                  <a:gd name="connsiteX218" fmla="*/ 55458 w 391732"/>
                  <a:gd name="connsiteY218" fmla="*/ 26010 h 151120"/>
                  <a:gd name="connsiteX219" fmla="*/ 55722 w 391732"/>
                  <a:gd name="connsiteY219" fmla="*/ 26891 h 151120"/>
                  <a:gd name="connsiteX220" fmla="*/ 57221 w 391732"/>
                  <a:gd name="connsiteY220" fmla="*/ 28037 h 151120"/>
                  <a:gd name="connsiteX221" fmla="*/ 58103 w 391732"/>
                  <a:gd name="connsiteY221" fmla="*/ 28655 h 151120"/>
                  <a:gd name="connsiteX222" fmla="*/ 60131 w 391732"/>
                  <a:gd name="connsiteY222" fmla="*/ 28919 h 151120"/>
                  <a:gd name="connsiteX223" fmla="*/ 60131 w 391732"/>
                  <a:gd name="connsiteY223" fmla="*/ 29801 h 151120"/>
                  <a:gd name="connsiteX224" fmla="*/ 60395 w 391732"/>
                  <a:gd name="connsiteY224" fmla="*/ 30947 h 151120"/>
                  <a:gd name="connsiteX225" fmla="*/ 62423 w 391732"/>
                  <a:gd name="connsiteY225" fmla="*/ 30330 h 151120"/>
                  <a:gd name="connsiteX226" fmla="*/ 62776 w 391732"/>
                  <a:gd name="connsiteY226" fmla="*/ 31564 h 151120"/>
                  <a:gd name="connsiteX227" fmla="*/ 62776 w 391732"/>
                  <a:gd name="connsiteY227" fmla="*/ 32446 h 151120"/>
                  <a:gd name="connsiteX228" fmla="*/ 63305 w 391732"/>
                  <a:gd name="connsiteY228" fmla="*/ 31564 h 151120"/>
                  <a:gd name="connsiteX229" fmla="*/ 65685 w 391732"/>
                  <a:gd name="connsiteY229" fmla="*/ 30947 h 151120"/>
                  <a:gd name="connsiteX230" fmla="*/ 65685 w 391732"/>
                  <a:gd name="connsiteY230" fmla="*/ 31564 h 151120"/>
                  <a:gd name="connsiteX231" fmla="*/ 68859 w 391732"/>
                  <a:gd name="connsiteY231" fmla="*/ 30947 h 151120"/>
                  <a:gd name="connsiteX232" fmla="*/ 69477 w 391732"/>
                  <a:gd name="connsiteY232" fmla="*/ 30947 h 151120"/>
                  <a:gd name="connsiteX233" fmla="*/ 70006 w 391732"/>
                  <a:gd name="connsiteY233" fmla="*/ 31300 h 151120"/>
                  <a:gd name="connsiteX234" fmla="*/ 70006 w 391732"/>
                  <a:gd name="connsiteY234" fmla="*/ 31829 h 151120"/>
                  <a:gd name="connsiteX235" fmla="*/ 70270 w 391732"/>
                  <a:gd name="connsiteY235" fmla="*/ 32093 h 151120"/>
                  <a:gd name="connsiteX236" fmla="*/ 70623 w 391732"/>
                  <a:gd name="connsiteY236" fmla="*/ 32093 h 151120"/>
                  <a:gd name="connsiteX237" fmla="*/ 71240 w 391732"/>
                  <a:gd name="connsiteY237" fmla="*/ 31564 h 151120"/>
                  <a:gd name="connsiteX238" fmla="*/ 72915 w 391732"/>
                  <a:gd name="connsiteY238" fmla="*/ 31564 h 151120"/>
                  <a:gd name="connsiteX239" fmla="*/ 73268 w 391732"/>
                  <a:gd name="connsiteY239" fmla="*/ 32093 h 151120"/>
                  <a:gd name="connsiteX240" fmla="*/ 72651 w 391732"/>
                  <a:gd name="connsiteY240" fmla="*/ 32975 h 151120"/>
                  <a:gd name="connsiteX241" fmla="*/ 72033 w 391732"/>
                  <a:gd name="connsiteY241" fmla="*/ 33328 h 151120"/>
                  <a:gd name="connsiteX242" fmla="*/ 71240 w 391732"/>
                  <a:gd name="connsiteY242" fmla="*/ 33328 h 151120"/>
                  <a:gd name="connsiteX243" fmla="*/ 70270 w 391732"/>
                  <a:gd name="connsiteY243" fmla="*/ 32446 h 151120"/>
                  <a:gd name="connsiteX244" fmla="*/ 68859 w 391732"/>
                  <a:gd name="connsiteY244" fmla="*/ 32710 h 151120"/>
                  <a:gd name="connsiteX245" fmla="*/ 67978 w 391732"/>
                  <a:gd name="connsiteY245" fmla="*/ 33592 h 151120"/>
                  <a:gd name="connsiteX246" fmla="*/ 66479 w 391732"/>
                  <a:gd name="connsiteY246" fmla="*/ 34209 h 151120"/>
                  <a:gd name="connsiteX247" fmla="*/ 65685 w 391732"/>
                  <a:gd name="connsiteY247" fmla="*/ 33328 h 151120"/>
                  <a:gd name="connsiteX248" fmla="*/ 64539 w 391732"/>
                  <a:gd name="connsiteY248" fmla="*/ 34209 h 151120"/>
                  <a:gd name="connsiteX249" fmla="*/ 63040 w 391732"/>
                  <a:gd name="connsiteY249" fmla="*/ 34209 h 151120"/>
                  <a:gd name="connsiteX250" fmla="*/ 61012 w 391732"/>
                  <a:gd name="connsiteY250" fmla="*/ 35355 h 151120"/>
                  <a:gd name="connsiteX251" fmla="*/ 58103 w 391732"/>
                  <a:gd name="connsiteY251" fmla="*/ 35355 h 151120"/>
                  <a:gd name="connsiteX252" fmla="*/ 55987 w 391732"/>
                  <a:gd name="connsiteY252" fmla="*/ 35884 h 151120"/>
                  <a:gd name="connsiteX253" fmla="*/ 53430 w 391732"/>
                  <a:gd name="connsiteY253" fmla="*/ 37119 h 151120"/>
                  <a:gd name="connsiteX254" fmla="*/ 52196 w 391732"/>
                  <a:gd name="connsiteY254" fmla="*/ 36766 h 151120"/>
                  <a:gd name="connsiteX255" fmla="*/ 52548 w 391732"/>
                  <a:gd name="connsiteY255" fmla="*/ 38530 h 151120"/>
                  <a:gd name="connsiteX256" fmla="*/ 53695 w 391732"/>
                  <a:gd name="connsiteY256" fmla="*/ 39676 h 151120"/>
                  <a:gd name="connsiteX257" fmla="*/ 57221 w 391732"/>
                  <a:gd name="connsiteY257" fmla="*/ 39676 h 151120"/>
                  <a:gd name="connsiteX258" fmla="*/ 58103 w 391732"/>
                  <a:gd name="connsiteY258" fmla="*/ 40028 h 151120"/>
                  <a:gd name="connsiteX259" fmla="*/ 57486 w 391732"/>
                  <a:gd name="connsiteY259" fmla="*/ 40557 h 151120"/>
                  <a:gd name="connsiteX260" fmla="*/ 57486 w 391732"/>
                  <a:gd name="connsiteY260" fmla="*/ 42056 h 151120"/>
                  <a:gd name="connsiteX261" fmla="*/ 53959 w 391732"/>
                  <a:gd name="connsiteY261" fmla="*/ 42056 h 151120"/>
                  <a:gd name="connsiteX262" fmla="*/ 52813 w 391732"/>
                  <a:gd name="connsiteY262" fmla="*/ 41439 h 151120"/>
                  <a:gd name="connsiteX263" fmla="*/ 51050 w 391732"/>
                  <a:gd name="connsiteY263" fmla="*/ 41439 h 151120"/>
                  <a:gd name="connsiteX264" fmla="*/ 49286 w 391732"/>
                  <a:gd name="connsiteY264" fmla="*/ 42056 h 151120"/>
                  <a:gd name="connsiteX265" fmla="*/ 46377 w 391732"/>
                  <a:gd name="connsiteY265" fmla="*/ 41439 h 151120"/>
                  <a:gd name="connsiteX266" fmla="*/ 41086 w 391732"/>
                  <a:gd name="connsiteY266" fmla="*/ 41439 h 151120"/>
                  <a:gd name="connsiteX267" fmla="*/ 36502 w 391732"/>
                  <a:gd name="connsiteY267" fmla="*/ 42938 h 151120"/>
                  <a:gd name="connsiteX268" fmla="*/ 35003 w 391732"/>
                  <a:gd name="connsiteY268" fmla="*/ 42585 h 151120"/>
                  <a:gd name="connsiteX269" fmla="*/ 34209 w 391732"/>
                  <a:gd name="connsiteY269" fmla="*/ 42056 h 151120"/>
                  <a:gd name="connsiteX270" fmla="*/ 35003 w 391732"/>
                  <a:gd name="connsiteY270" fmla="*/ 41792 h 151120"/>
                  <a:gd name="connsiteX271" fmla="*/ 34738 w 391732"/>
                  <a:gd name="connsiteY271" fmla="*/ 41175 h 151120"/>
                  <a:gd name="connsiteX272" fmla="*/ 35885 w 391732"/>
                  <a:gd name="connsiteY272" fmla="*/ 40910 h 151120"/>
                  <a:gd name="connsiteX273" fmla="*/ 36766 w 391732"/>
                  <a:gd name="connsiteY273" fmla="*/ 40293 h 151120"/>
                  <a:gd name="connsiteX274" fmla="*/ 36766 w 391732"/>
                  <a:gd name="connsiteY274" fmla="*/ 38882 h 151120"/>
                  <a:gd name="connsiteX275" fmla="*/ 35003 w 391732"/>
                  <a:gd name="connsiteY275" fmla="*/ 38001 h 151120"/>
                  <a:gd name="connsiteX276" fmla="*/ 30947 w 391732"/>
                  <a:gd name="connsiteY276" fmla="*/ 38001 h 151120"/>
                  <a:gd name="connsiteX277" fmla="*/ 29448 w 391732"/>
                  <a:gd name="connsiteY277" fmla="*/ 39676 h 151120"/>
                  <a:gd name="connsiteX278" fmla="*/ 30947 w 391732"/>
                  <a:gd name="connsiteY278" fmla="*/ 40293 h 151120"/>
                  <a:gd name="connsiteX279" fmla="*/ 30418 w 391732"/>
                  <a:gd name="connsiteY279" fmla="*/ 40910 h 151120"/>
                  <a:gd name="connsiteX280" fmla="*/ 30947 w 391732"/>
                  <a:gd name="connsiteY280" fmla="*/ 41439 h 151120"/>
                  <a:gd name="connsiteX281" fmla="*/ 32093 w 391732"/>
                  <a:gd name="connsiteY281" fmla="*/ 41792 h 151120"/>
                  <a:gd name="connsiteX282" fmla="*/ 32710 w 391732"/>
                  <a:gd name="connsiteY282" fmla="*/ 41439 h 151120"/>
                  <a:gd name="connsiteX283" fmla="*/ 33592 w 391732"/>
                  <a:gd name="connsiteY283" fmla="*/ 42321 h 151120"/>
                  <a:gd name="connsiteX284" fmla="*/ 32975 w 391732"/>
                  <a:gd name="connsiteY284" fmla="*/ 43467 h 151120"/>
                  <a:gd name="connsiteX285" fmla="*/ 31212 w 391732"/>
                  <a:gd name="connsiteY285" fmla="*/ 44084 h 151120"/>
                  <a:gd name="connsiteX286" fmla="*/ 28302 w 391732"/>
                  <a:gd name="connsiteY286" fmla="*/ 44084 h 151120"/>
                  <a:gd name="connsiteX287" fmla="*/ 27420 w 391732"/>
                  <a:gd name="connsiteY287" fmla="*/ 43820 h 151120"/>
                  <a:gd name="connsiteX288" fmla="*/ 27156 w 391732"/>
                  <a:gd name="connsiteY288" fmla="*/ 44084 h 151120"/>
                  <a:gd name="connsiteX289" fmla="*/ 24246 w 391732"/>
                  <a:gd name="connsiteY289" fmla="*/ 44084 h 151120"/>
                  <a:gd name="connsiteX290" fmla="*/ 22218 w 391732"/>
                  <a:gd name="connsiteY290" fmla="*/ 41439 h 151120"/>
                  <a:gd name="connsiteX291" fmla="*/ 22747 w 391732"/>
                  <a:gd name="connsiteY291" fmla="*/ 40557 h 151120"/>
                  <a:gd name="connsiteX292" fmla="*/ 20720 w 391732"/>
                  <a:gd name="connsiteY292" fmla="*/ 39676 h 151120"/>
                  <a:gd name="connsiteX293" fmla="*/ 20720 w 391732"/>
                  <a:gd name="connsiteY293" fmla="*/ 40293 h 151120"/>
                  <a:gd name="connsiteX294" fmla="*/ 17810 w 391732"/>
                  <a:gd name="connsiteY294" fmla="*/ 40293 h 151120"/>
                  <a:gd name="connsiteX295" fmla="*/ 16311 w 391732"/>
                  <a:gd name="connsiteY295" fmla="*/ 41439 h 151120"/>
                  <a:gd name="connsiteX296" fmla="*/ 10580 w 391732"/>
                  <a:gd name="connsiteY296" fmla="*/ 41439 h 151120"/>
                  <a:gd name="connsiteX297" fmla="*/ 9963 w 391732"/>
                  <a:gd name="connsiteY297" fmla="*/ 41175 h 151120"/>
                  <a:gd name="connsiteX298" fmla="*/ 9346 w 391732"/>
                  <a:gd name="connsiteY298" fmla="*/ 41439 h 151120"/>
                  <a:gd name="connsiteX299" fmla="*/ 9346 w 391732"/>
                  <a:gd name="connsiteY299" fmla="*/ 42585 h 151120"/>
                  <a:gd name="connsiteX300" fmla="*/ 7847 w 391732"/>
                  <a:gd name="connsiteY300" fmla="*/ 44349 h 151120"/>
                  <a:gd name="connsiteX301" fmla="*/ 7053 w 391732"/>
                  <a:gd name="connsiteY301" fmla="*/ 44701 h 151120"/>
                  <a:gd name="connsiteX302" fmla="*/ 6436 w 391732"/>
                  <a:gd name="connsiteY302" fmla="*/ 45583 h 151120"/>
                  <a:gd name="connsiteX303" fmla="*/ 5819 w 391732"/>
                  <a:gd name="connsiteY303" fmla="*/ 46377 h 151120"/>
                  <a:gd name="connsiteX304" fmla="*/ 4408 w 391732"/>
                  <a:gd name="connsiteY304" fmla="*/ 46729 h 151120"/>
                  <a:gd name="connsiteX305" fmla="*/ 5026 w 391732"/>
                  <a:gd name="connsiteY305" fmla="*/ 47258 h 151120"/>
                  <a:gd name="connsiteX306" fmla="*/ 4144 w 391732"/>
                  <a:gd name="connsiteY306" fmla="*/ 47875 h 151120"/>
                  <a:gd name="connsiteX307" fmla="*/ 3262 w 391732"/>
                  <a:gd name="connsiteY307" fmla="*/ 47875 h 151120"/>
                  <a:gd name="connsiteX308" fmla="*/ 3262 w 391732"/>
                  <a:gd name="connsiteY308" fmla="*/ 48757 h 151120"/>
                  <a:gd name="connsiteX309" fmla="*/ 3527 w 391732"/>
                  <a:gd name="connsiteY309" fmla="*/ 49903 h 151120"/>
                  <a:gd name="connsiteX310" fmla="*/ 2909 w 391732"/>
                  <a:gd name="connsiteY310" fmla="*/ 50520 h 151120"/>
                  <a:gd name="connsiteX311" fmla="*/ 1763 w 391732"/>
                  <a:gd name="connsiteY311" fmla="*/ 51402 h 151120"/>
                  <a:gd name="connsiteX312" fmla="*/ 617 w 391732"/>
                  <a:gd name="connsiteY312" fmla="*/ 50520 h 151120"/>
                  <a:gd name="connsiteX313" fmla="*/ 353 w 391732"/>
                  <a:gd name="connsiteY313" fmla="*/ 50785 h 151120"/>
                  <a:gd name="connsiteX314" fmla="*/ 0 w 391732"/>
                  <a:gd name="connsiteY314" fmla="*/ 52284 h 151120"/>
                  <a:gd name="connsiteX315" fmla="*/ 617 w 391732"/>
                  <a:gd name="connsiteY315" fmla="*/ 56075 h 151120"/>
                  <a:gd name="connsiteX316" fmla="*/ 617 w 391732"/>
                  <a:gd name="connsiteY316" fmla="*/ 57486 h 151120"/>
                  <a:gd name="connsiteX317" fmla="*/ 1499 w 391732"/>
                  <a:gd name="connsiteY317" fmla="*/ 59249 h 151120"/>
                  <a:gd name="connsiteX318" fmla="*/ 882 w 391732"/>
                  <a:gd name="connsiteY318" fmla="*/ 60395 h 151120"/>
                  <a:gd name="connsiteX319" fmla="*/ 353 w 391732"/>
                  <a:gd name="connsiteY319" fmla="*/ 63040 h 151120"/>
                  <a:gd name="connsiteX320" fmla="*/ 617 w 391732"/>
                  <a:gd name="connsiteY320" fmla="*/ 64804 h 151120"/>
                  <a:gd name="connsiteX321" fmla="*/ 1499 w 391732"/>
                  <a:gd name="connsiteY321" fmla="*/ 65068 h 151120"/>
                  <a:gd name="connsiteX322" fmla="*/ 2380 w 391732"/>
                  <a:gd name="connsiteY322" fmla="*/ 65333 h 151120"/>
                  <a:gd name="connsiteX323" fmla="*/ 2909 w 391732"/>
                  <a:gd name="connsiteY323" fmla="*/ 64804 h 151120"/>
                  <a:gd name="connsiteX324" fmla="*/ 5026 w 391732"/>
                  <a:gd name="connsiteY324" fmla="*/ 64451 h 151120"/>
                  <a:gd name="connsiteX325" fmla="*/ 7318 w 391732"/>
                  <a:gd name="connsiteY325" fmla="*/ 65068 h 151120"/>
                  <a:gd name="connsiteX326" fmla="*/ 7318 w 391732"/>
                  <a:gd name="connsiteY326" fmla="*/ 63922 h 151120"/>
                  <a:gd name="connsiteX327" fmla="*/ 6701 w 391732"/>
                  <a:gd name="connsiteY327" fmla="*/ 63658 h 151120"/>
                  <a:gd name="connsiteX328" fmla="*/ 6701 w 391732"/>
                  <a:gd name="connsiteY328" fmla="*/ 63305 h 151120"/>
                  <a:gd name="connsiteX329" fmla="*/ 7053 w 391732"/>
                  <a:gd name="connsiteY329" fmla="*/ 63305 h 151120"/>
                  <a:gd name="connsiteX330" fmla="*/ 7847 w 391732"/>
                  <a:gd name="connsiteY330" fmla="*/ 63040 h 151120"/>
                  <a:gd name="connsiteX331" fmla="*/ 9081 w 391732"/>
                  <a:gd name="connsiteY331" fmla="*/ 62776 h 151120"/>
                  <a:gd name="connsiteX332" fmla="*/ 9963 w 391732"/>
                  <a:gd name="connsiteY332" fmla="*/ 63305 h 151120"/>
                  <a:gd name="connsiteX333" fmla="*/ 11109 w 391732"/>
                  <a:gd name="connsiteY333" fmla="*/ 63305 h 151120"/>
                  <a:gd name="connsiteX334" fmla="*/ 11726 w 391732"/>
                  <a:gd name="connsiteY334" fmla="*/ 63040 h 151120"/>
                  <a:gd name="connsiteX335" fmla="*/ 12255 w 391732"/>
                  <a:gd name="connsiteY335" fmla="*/ 62776 h 151120"/>
                  <a:gd name="connsiteX336" fmla="*/ 13666 w 391732"/>
                  <a:gd name="connsiteY336" fmla="*/ 62776 h 151120"/>
                  <a:gd name="connsiteX337" fmla="*/ 14283 w 391732"/>
                  <a:gd name="connsiteY337" fmla="*/ 63040 h 151120"/>
                  <a:gd name="connsiteX338" fmla="*/ 15782 w 391732"/>
                  <a:gd name="connsiteY338" fmla="*/ 63040 h 151120"/>
                  <a:gd name="connsiteX339" fmla="*/ 16664 w 391732"/>
                  <a:gd name="connsiteY339" fmla="*/ 62776 h 151120"/>
                  <a:gd name="connsiteX340" fmla="*/ 16928 w 391732"/>
                  <a:gd name="connsiteY340" fmla="*/ 63040 h 151120"/>
                  <a:gd name="connsiteX341" fmla="*/ 16664 w 391732"/>
                  <a:gd name="connsiteY341" fmla="*/ 63658 h 151120"/>
                  <a:gd name="connsiteX342" fmla="*/ 17193 w 391732"/>
                  <a:gd name="connsiteY342" fmla="*/ 63922 h 151120"/>
                  <a:gd name="connsiteX343" fmla="*/ 16928 w 391732"/>
                  <a:gd name="connsiteY343" fmla="*/ 64804 h 151120"/>
                  <a:gd name="connsiteX344" fmla="*/ 15165 w 391732"/>
                  <a:gd name="connsiteY344" fmla="*/ 64451 h 151120"/>
                  <a:gd name="connsiteX345" fmla="*/ 14900 w 391732"/>
                  <a:gd name="connsiteY345" fmla="*/ 64804 h 151120"/>
                  <a:gd name="connsiteX346" fmla="*/ 14900 w 391732"/>
                  <a:gd name="connsiteY346" fmla="*/ 65068 h 151120"/>
                  <a:gd name="connsiteX347" fmla="*/ 14636 w 391732"/>
                  <a:gd name="connsiteY347" fmla="*/ 65068 h 151120"/>
                  <a:gd name="connsiteX348" fmla="*/ 14283 w 391732"/>
                  <a:gd name="connsiteY348" fmla="*/ 65333 h 151120"/>
                  <a:gd name="connsiteX349" fmla="*/ 14636 w 391732"/>
                  <a:gd name="connsiteY349" fmla="*/ 65950 h 151120"/>
                  <a:gd name="connsiteX350" fmla="*/ 13666 w 391732"/>
                  <a:gd name="connsiteY350" fmla="*/ 66567 h 151120"/>
                  <a:gd name="connsiteX351" fmla="*/ 12873 w 391732"/>
                  <a:gd name="connsiteY351" fmla="*/ 66832 h 151120"/>
                  <a:gd name="connsiteX352" fmla="*/ 11991 w 391732"/>
                  <a:gd name="connsiteY352" fmla="*/ 67096 h 151120"/>
                  <a:gd name="connsiteX353" fmla="*/ 12255 w 391732"/>
                  <a:gd name="connsiteY353" fmla="*/ 67713 h 151120"/>
                  <a:gd name="connsiteX354" fmla="*/ 12608 w 391732"/>
                  <a:gd name="connsiteY354" fmla="*/ 67978 h 151120"/>
                  <a:gd name="connsiteX355" fmla="*/ 12255 w 391732"/>
                  <a:gd name="connsiteY355" fmla="*/ 68595 h 151120"/>
                  <a:gd name="connsiteX356" fmla="*/ 11991 w 391732"/>
                  <a:gd name="connsiteY356" fmla="*/ 67978 h 151120"/>
                  <a:gd name="connsiteX357" fmla="*/ 11726 w 391732"/>
                  <a:gd name="connsiteY357" fmla="*/ 67713 h 151120"/>
                  <a:gd name="connsiteX358" fmla="*/ 11991 w 391732"/>
                  <a:gd name="connsiteY358" fmla="*/ 68595 h 151120"/>
                  <a:gd name="connsiteX359" fmla="*/ 11109 w 391732"/>
                  <a:gd name="connsiteY359" fmla="*/ 67978 h 151120"/>
                  <a:gd name="connsiteX360" fmla="*/ 10845 w 391732"/>
                  <a:gd name="connsiteY360" fmla="*/ 68330 h 151120"/>
                  <a:gd name="connsiteX361" fmla="*/ 10580 w 391732"/>
                  <a:gd name="connsiteY361" fmla="*/ 68859 h 151120"/>
                  <a:gd name="connsiteX362" fmla="*/ 11991 w 391732"/>
                  <a:gd name="connsiteY362" fmla="*/ 69477 h 151120"/>
                  <a:gd name="connsiteX363" fmla="*/ 12255 w 391732"/>
                  <a:gd name="connsiteY363" fmla="*/ 70358 h 151120"/>
                  <a:gd name="connsiteX364" fmla="*/ 12608 w 391732"/>
                  <a:gd name="connsiteY364" fmla="*/ 71505 h 151120"/>
                  <a:gd name="connsiteX365" fmla="*/ 12873 w 391732"/>
                  <a:gd name="connsiteY365" fmla="*/ 71769 h 151120"/>
                  <a:gd name="connsiteX366" fmla="*/ 14019 w 391732"/>
                  <a:gd name="connsiteY366" fmla="*/ 72122 h 151120"/>
                  <a:gd name="connsiteX367" fmla="*/ 14283 w 391732"/>
                  <a:gd name="connsiteY367" fmla="*/ 72386 h 151120"/>
                  <a:gd name="connsiteX368" fmla="*/ 15165 w 391732"/>
                  <a:gd name="connsiteY368" fmla="*/ 72122 h 151120"/>
                  <a:gd name="connsiteX369" fmla="*/ 16311 w 391732"/>
                  <a:gd name="connsiteY369" fmla="*/ 72651 h 151120"/>
                  <a:gd name="connsiteX370" fmla="*/ 16928 w 391732"/>
                  <a:gd name="connsiteY370" fmla="*/ 73797 h 151120"/>
                  <a:gd name="connsiteX371" fmla="*/ 17193 w 391732"/>
                  <a:gd name="connsiteY371" fmla="*/ 74414 h 151120"/>
                  <a:gd name="connsiteX372" fmla="*/ 17193 w 391732"/>
                  <a:gd name="connsiteY372" fmla="*/ 75031 h 151120"/>
                  <a:gd name="connsiteX373" fmla="*/ 15518 w 391732"/>
                  <a:gd name="connsiteY373" fmla="*/ 75031 h 151120"/>
                  <a:gd name="connsiteX374" fmla="*/ 15518 w 391732"/>
                  <a:gd name="connsiteY374" fmla="*/ 75913 h 151120"/>
                  <a:gd name="connsiteX375" fmla="*/ 15782 w 391732"/>
                  <a:gd name="connsiteY375" fmla="*/ 76177 h 151120"/>
                  <a:gd name="connsiteX376" fmla="*/ 15518 w 391732"/>
                  <a:gd name="connsiteY376" fmla="*/ 76442 h 151120"/>
                  <a:gd name="connsiteX377" fmla="*/ 15782 w 391732"/>
                  <a:gd name="connsiteY377" fmla="*/ 76706 h 151120"/>
                  <a:gd name="connsiteX378" fmla="*/ 16047 w 391732"/>
                  <a:gd name="connsiteY378" fmla="*/ 77588 h 151120"/>
                  <a:gd name="connsiteX379" fmla="*/ 15782 w 391732"/>
                  <a:gd name="connsiteY379" fmla="*/ 77941 h 151120"/>
                  <a:gd name="connsiteX380" fmla="*/ 16047 w 391732"/>
                  <a:gd name="connsiteY380" fmla="*/ 78205 h 151120"/>
                  <a:gd name="connsiteX381" fmla="*/ 18074 w 391732"/>
                  <a:gd name="connsiteY381" fmla="*/ 78205 h 151120"/>
                  <a:gd name="connsiteX382" fmla="*/ 18692 w 391732"/>
                  <a:gd name="connsiteY382" fmla="*/ 77588 h 151120"/>
                  <a:gd name="connsiteX383" fmla="*/ 18956 w 391732"/>
                  <a:gd name="connsiteY383" fmla="*/ 77324 h 151120"/>
                  <a:gd name="connsiteX384" fmla="*/ 19573 w 391732"/>
                  <a:gd name="connsiteY384" fmla="*/ 77588 h 151120"/>
                  <a:gd name="connsiteX385" fmla="*/ 19573 w 391732"/>
                  <a:gd name="connsiteY385" fmla="*/ 77941 h 151120"/>
                  <a:gd name="connsiteX386" fmla="*/ 19838 w 391732"/>
                  <a:gd name="connsiteY386" fmla="*/ 78205 h 151120"/>
                  <a:gd name="connsiteX387" fmla="*/ 20455 w 391732"/>
                  <a:gd name="connsiteY387" fmla="*/ 77588 h 151120"/>
                  <a:gd name="connsiteX388" fmla="*/ 20720 w 391732"/>
                  <a:gd name="connsiteY388" fmla="*/ 77941 h 151120"/>
                  <a:gd name="connsiteX389" fmla="*/ 20455 w 391732"/>
                  <a:gd name="connsiteY389" fmla="*/ 78205 h 151120"/>
                  <a:gd name="connsiteX390" fmla="*/ 20720 w 391732"/>
                  <a:gd name="connsiteY390" fmla="*/ 79704 h 151120"/>
                  <a:gd name="connsiteX391" fmla="*/ 20720 w 391732"/>
                  <a:gd name="connsiteY391" fmla="*/ 80233 h 151120"/>
                  <a:gd name="connsiteX392" fmla="*/ 19838 w 391732"/>
                  <a:gd name="connsiteY392" fmla="*/ 80233 h 151120"/>
                  <a:gd name="connsiteX393" fmla="*/ 19838 w 391732"/>
                  <a:gd name="connsiteY393" fmla="*/ 80498 h 151120"/>
                  <a:gd name="connsiteX394" fmla="*/ 20102 w 391732"/>
                  <a:gd name="connsiteY394" fmla="*/ 81115 h 151120"/>
                  <a:gd name="connsiteX395" fmla="*/ 19309 w 391732"/>
                  <a:gd name="connsiteY395" fmla="*/ 81997 h 151120"/>
                  <a:gd name="connsiteX396" fmla="*/ 18956 w 391732"/>
                  <a:gd name="connsiteY396" fmla="*/ 81997 h 151120"/>
                  <a:gd name="connsiteX397" fmla="*/ 18956 w 391732"/>
                  <a:gd name="connsiteY397" fmla="*/ 81115 h 151120"/>
                  <a:gd name="connsiteX398" fmla="*/ 18692 w 391732"/>
                  <a:gd name="connsiteY398" fmla="*/ 80498 h 151120"/>
                  <a:gd name="connsiteX399" fmla="*/ 17810 w 391732"/>
                  <a:gd name="connsiteY399" fmla="*/ 80850 h 151120"/>
                  <a:gd name="connsiteX400" fmla="*/ 17810 w 391732"/>
                  <a:gd name="connsiteY400" fmla="*/ 81115 h 151120"/>
                  <a:gd name="connsiteX401" fmla="*/ 18427 w 391732"/>
                  <a:gd name="connsiteY401" fmla="*/ 81732 h 151120"/>
                  <a:gd name="connsiteX402" fmla="*/ 18956 w 391732"/>
                  <a:gd name="connsiteY402" fmla="*/ 82261 h 151120"/>
                  <a:gd name="connsiteX403" fmla="*/ 18427 w 391732"/>
                  <a:gd name="connsiteY403" fmla="*/ 81997 h 151120"/>
                  <a:gd name="connsiteX404" fmla="*/ 17810 w 391732"/>
                  <a:gd name="connsiteY404" fmla="*/ 82261 h 151120"/>
                  <a:gd name="connsiteX405" fmla="*/ 18074 w 391732"/>
                  <a:gd name="connsiteY405" fmla="*/ 83143 h 151120"/>
                  <a:gd name="connsiteX406" fmla="*/ 17545 w 391732"/>
                  <a:gd name="connsiteY406" fmla="*/ 83143 h 151120"/>
                  <a:gd name="connsiteX407" fmla="*/ 17545 w 391732"/>
                  <a:gd name="connsiteY407" fmla="*/ 82878 h 151120"/>
                  <a:gd name="connsiteX408" fmla="*/ 16928 w 391732"/>
                  <a:gd name="connsiteY408" fmla="*/ 82614 h 151120"/>
                  <a:gd name="connsiteX409" fmla="*/ 16664 w 391732"/>
                  <a:gd name="connsiteY409" fmla="*/ 83143 h 151120"/>
                  <a:gd name="connsiteX410" fmla="*/ 16664 w 391732"/>
                  <a:gd name="connsiteY410" fmla="*/ 82261 h 151120"/>
                  <a:gd name="connsiteX411" fmla="*/ 15518 w 391732"/>
                  <a:gd name="connsiteY411" fmla="*/ 82878 h 151120"/>
                  <a:gd name="connsiteX412" fmla="*/ 14283 w 391732"/>
                  <a:gd name="connsiteY412" fmla="*/ 83143 h 151120"/>
                  <a:gd name="connsiteX413" fmla="*/ 13666 w 391732"/>
                  <a:gd name="connsiteY413" fmla="*/ 83143 h 151120"/>
                  <a:gd name="connsiteX414" fmla="*/ 13666 w 391732"/>
                  <a:gd name="connsiteY414" fmla="*/ 83760 h 151120"/>
                  <a:gd name="connsiteX415" fmla="*/ 14283 w 391732"/>
                  <a:gd name="connsiteY415" fmla="*/ 83495 h 151120"/>
                  <a:gd name="connsiteX416" fmla="*/ 15165 w 391732"/>
                  <a:gd name="connsiteY416" fmla="*/ 83760 h 151120"/>
                  <a:gd name="connsiteX417" fmla="*/ 13666 w 391732"/>
                  <a:gd name="connsiteY417" fmla="*/ 84024 h 151120"/>
                  <a:gd name="connsiteX418" fmla="*/ 14019 w 391732"/>
                  <a:gd name="connsiteY418" fmla="*/ 84289 h 151120"/>
                  <a:gd name="connsiteX419" fmla="*/ 15165 w 391732"/>
                  <a:gd name="connsiteY419" fmla="*/ 84906 h 151120"/>
                  <a:gd name="connsiteX420" fmla="*/ 15782 w 391732"/>
                  <a:gd name="connsiteY420" fmla="*/ 84906 h 151120"/>
                  <a:gd name="connsiteX421" fmla="*/ 16664 w 391732"/>
                  <a:gd name="connsiteY421" fmla="*/ 85523 h 151120"/>
                  <a:gd name="connsiteX422" fmla="*/ 16664 w 391732"/>
                  <a:gd name="connsiteY422" fmla="*/ 86052 h 151120"/>
                  <a:gd name="connsiteX423" fmla="*/ 16928 w 391732"/>
                  <a:gd name="connsiteY423" fmla="*/ 84906 h 151120"/>
                  <a:gd name="connsiteX424" fmla="*/ 17193 w 391732"/>
                  <a:gd name="connsiteY424" fmla="*/ 85171 h 151120"/>
                  <a:gd name="connsiteX425" fmla="*/ 17193 w 391732"/>
                  <a:gd name="connsiteY425" fmla="*/ 85788 h 151120"/>
                  <a:gd name="connsiteX426" fmla="*/ 16928 w 391732"/>
                  <a:gd name="connsiteY426" fmla="*/ 86670 h 151120"/>
                  <a:gd name="connsiteX427" fmla="*/ 17810 w 391732"/>
                  <a:gd name="connsiteY427" fmla="*/ 86934 h 151120"/>
                  <a:gd name="connsiteX428" fmla="*/ 18692 w 391732"/>
                  <a:gd name="connsiteY428" fmla="*/ 88168 h 151120"/>
                  <a:gd name="connsiteX429" fmla="*/ 17193 w 391732"/>
                  <a:gd name="connsiteY429" fmla="*/ 87287 h 151120"/>
                  <a:gd name="connsiteX430" fmla="*/ 16928 w 391732"/>
                  <a:gd name="connsiteY430" fmla="*/ 87287 h 151120"/>
                  <a:gd name="connsiteX431" fmla="*/ 16928 w 391732"/>
                  <a:gd name="connsiteY431" fmla="*/ 87816 h 151120"/>
                  <a:gd name="connsiteX432" fmla="*/ 17193 w 391732"/>
                  <a:gd name="connsiteY432" fmla="*/ 88168 h 151120"/>
                  <a:gd name="connsiteX433" fmla="*/ 18692 w 391732"/>
                  <a:gd name="connsiteY433" fmla="*/ 88433 h 151120"/>
                  <a:gd name="connsiteX434" fmla="*/ 18692 w 391732"/>
                  <a:gd name="connsiteY434" fmla="*/ 89579 h 151120"/>
                  <a:gd name="connsiteX435" fmla="*/ 19309 w 391732"/>
                  <a:gd name="connsiteY435" fmla="*/ 87816 h 151120"/>
                  <a:gd name="connsiteX436" fmla="*/ 19309 w 391732"/>
                  <a:gd name="connsiteY436" fmla="*/ 89844 h 151120"/>
                  <a:gd name="connsiteX437" fmla="*/ 18692 w 391732"/>
                  <a:gd name="connsiteY437" fmla="*/ 90461 h 151120"/>
                  <a:gd name="connsiteX438" fmla="*/ 19838 w 391732"/>
                  <a:gd name="connsiteY438" fmla="*/ 90461 h 151120"/>
                  <a:gd name="connsiteX439" fmla="*/ 20455 w 391732"/>
                  <a:gd name="connsiteY439" fmla="*/ 90196 h 151120"/>
                  <a:gd name="connsiteX440" fmla="*/ 20984 w 391732"/>
                  <a:gd name="connsiteY440" fmla="*/ 90461 h 151120"/>
                  <a:gd name="connsiteX441" fmla="*/ 21337 w 391732"/>
                  <a:gd name="connsiteY441" fmla="*/ 90196 h 151120"/>
                  <a:gd name="connsiteX442" fmla="*/ 21601 w 391732"/>
                  <a:gd name="connsiteY442" fmla="*/ 89314 h 151120"/>
                  <a:gd name="connsiteX443" fmla="*/ 21866 w 391732"/>
                  <a:gd name="connsiteY443" fmla="*/ 89314 h 151120"/>
                  <a:gd name="connsiteX444" fmla="*/ 22747 w 391732"/>
                  <a:gd name="connsiteY444" fmla="*/ 89844 h 151120"/>
                  <a:gd name="connsiteX445" fmla="*/ 23894 w 391732"/>
                  <a:gd name="connsiteY445" fmla="*/ 90461 h 151120"/>
                  <a:gd name="connsiteX446" fmla="*/ 24246 w 391732"/>
                  <a:gd name="connsiteY446" fmla="*/ 90990 h 151120"/>
                  <a:gd name="connsiteX447" fmla="*/ 23365 w 391732"/>
                  <a:gd name="connsiteY447" fmla="*/ 90990 h 151120"/>
                  <a:gd name="connsiteX448" fmla="*/ 22218 w 391732"/>
                  <a:gd name="connsiteY448" fmla="*/ 90725 h 151120"/>
                  <a:gd name="connsiteX449" fmla="*/ 20984 w 391732"/>
                  <a:gd name="connsiteY449" fmla="*/ 90990 h 151120"/>
                  <a:gd name="connsiteX450" fmla="*/ 18956 w 391732"/>
                  <a:gd name="connsiteY450" fmla="*/ 91960 h 151120"/>
                  <a:gd name="connsiteX451" fmla="*/ 17193 w 391732"/>
                  <a:gd name="connsiteY451" fmla="*/ 92224 h 151120"/>
                  <a:gd name="connsiteX452" fmla="*/ 16928 w 391732"/>
                  <a:gd name="connsiteY452" fmla="*/ 92224 h 151120"/>
                  <a:gd name="connsiteX453" fmla="*/ 16047 w 391732"/>
                  <a:gd name="connsiteY453" fmla="*/ 91607 h 151120"/>
                  <a:gd name="connsiteX454" fmla="*/ 15165 w 391732"/>
                  <a:gd name="connsiteY454" fmla="*/ 90461 h 151120"/>
                  <a:gd name="connsiteX455" fmla="*/ 14900 w 391732"/>
                  <a:gd name="connsiteY455" fmla="*/ 90196 h 151120"/>
                  <a:gd name="connsiteX456" fmla="*/ 14636 w 391732"/>
                  <a:gd name="connsiteY456" fmla="*/ 90461 h 151120"/>
                  <a:gd name="connsiteX457" fmla="*/ 14636 w 391732"/>
                  <a:gd name="connsiteY457" fmla="*/ 90990 h 151120"/>
                  <a:gd name="connsiteX458" fmla="*/ 15165 w 391732"/>
                  <a:gd name="connsiteY458" fmla="*/ 91960 h 151120"/>
                  <a:gd name="connsiteX459" fmla="*/ 14900 w 391732"/>
                  <a:gd name="connsiteY459" fmla="*/ 93106 h 151120"/>
                  <a:gd name="connsiteX460" fmla="*/ 14283 w 391732"/>
                  <a:gd name="connsiteY460" fmla="*/ 93106 h 151120"/>
                  <a:gd name="connsiteX461" fmla="*/ 13666 w 391732"/>
                  <a:gd name="connsiteY461" fmla="*/ 92753 h 151120"/>
                  <a:gd name="connsiteX462" fmla="*/ 13401 w 391732"/>
                  <a:gd name="connsiteY462" fmla="*/ 92224 h 151120"/>
                  <a:gd name="connsiteX463" fmla="*/ 12873 w 391732"/>
                  <a:gd name="connsiteY463" fmla="*/ 90461 h 151120"/>
                  <a:gd name="connsiteX464" fmla="*/ 13137 w 391732"/>
                  <a:gd name="connsiteY464" fmla="*/ 89579 h 151120"/>
                  <a:gd name="connsiteX465" fmla="*/ 12873 w 391732"/>
                  <a:gd name="connsiteY465" fmla="*/ 89314 h 151120"/>
                  <a:gd name="connsiteX466" fmla="*/ 13137 w 391732"/>
                  <a:gd name="connsiteY466" fmla="*/ 88962 h 151120"/>
                  <a:gd name="connsiteX467" fmla="*/ 14019 w 391732"/>
                  <a:gd name="connsiteY467" fmla="*/ 89314 h 151120"/>
                  <a:gd name="connsiteX468" fmla="*/ 14283 w 391732"/>
                  <a:gd name="connsiteY468" fmla="*/ 88962 h 151120"/>
                  <a:gd name="connsiteX469" fmla="*/ 14283 w 391732"/>
                  <a:gd name="connsiteY469" fmla="*/ 88168 h 151120"/>
                  <a:gd name="connsiteX470" fmla="*/ 14019 w 391732"/>
                  <a:gd name="connsiteY470" fmla="*/ 87816 h 151120"/>
                  <a:gd name="connsiteX471" fmla="*/ 13401 w 391732"/>
                  <a:gd name="connsiteY471" fmla="*/ 87551 h 151120"/>
                  <a:gd name="connsiteX472" fmla="*/ 12608 w 391732"/>
                  <a:gd name="connsiteY472" fmla="*/ 87816 h 151120"/>
                  <a:gd name="connsiteX473" fmla="*/ 11991 w 391732"/>
                  <a:gd name="connsiteY473" fmla="*/ 87551 h 151120"/>
                  <a:gd name="connsiteX474" fmla="*/ 11109 w 391732"/>
                  <a:gd name="connsiteY474" fmla="*/ 86670 h 151120"/>
                  <a:gd name="connsiteX475" fmla="*/ 11374 w 391732"/>
                  <a:gd name="connsiteY475" fmla="*/ 86405 h 151120"/>
                  <a:gd name="connsiteX476" fmla="*/ 11109 w 391732"/>
                  <a:gd name="connsiteY476" fmla="*/ 85523 h 151120"/>
                  <a:gd name="connsiteX477" fmla="*/ 11374 w 391732"/>
                  <a:gd name="connsiteY477" fmla="*/ 84906 h 151120"/>
                  <a:gd name="connsiteX478" fmla="*/ 10845 w 391732"/>
                  <a:gd name="connsiteY478" fmla="*/ 84024 h 151120"/>
                  <a:gd name="connsiteX479" fmla="*/ 10580 w 391732"/>
                  <a:gd name="connsiteY479" fmla="*/ 83760 h 151120"/>
                  <a:gd name="connsiteX480" fmla="*/ 9346 w 391732"/>
                  <a:gd name="connsiteY480" fmla="*/ 83495 h 151120"/>
                  <a:gd name="connsiteX481" fmla="*/ 8464 w 391732"/>
                  <a:gd name="connsiteY481" fmla="*/ 83495 h 151120"/>
                  <a:gd name="connsiteX482" fmla="*/ 7847 w 391732"/>
                  <a:gd name="connsiteY482" fmla="*/ 83760 h 151120"/>
                  <a:gd name="connsiteX483" fmla="*/ 7053 w 391732"/>
                  <a:gd name="connsiteY483" fmla="*/ 84024 h 151120"/>
                  <a:gd name="connsiteX484" fmla="*/ 7053 w 391732"/>
                  <a:gd name="connsiteY484" fmla="*/ 84906 h 151120"/>
                  <a:gd name="connsiteX485" fmla="*/ 7582 w 391732"/>
                  <a:gd name="connsiteY485" fmla="*/ 86052 h 151120"/>
                  <a:gd name="connsiteX486" fmla="*/ 7053 w 391732"/>
                  <a:gd name="connsiteY486" fmla="*/ 86670 h 151120"/>
                  <a:gd name="connsiteX487" fmla="*/ 7582 w 391732"/>
                  <a:gd name="connsiteY487" fmla="*/ 87287 h 151120"/>
                  <a:gd name="connsiteX488" fmla="*/ 7318 w 391732"/>
                  <a:gd name="connsiteY488" fmla="*/ 87816 h 151120"/>
                  <a:gd name="connsiteX489" fmla="*/ 8464 w 391732"/>
                  <a:gd name="connsiteY489" fmla="*/ 87816 h 151120"/>
                  <a:gd name="connsiteX490" fmla="*/ 8464 w 391732"/>
                  <a:gd name="connsiteY490" fmla="*/ 88697 h 151120"/>
                  <a:gd name="connsiteX491" fmla="*/ 8200 w 391732"/>
                  <a:gd name="connsiteY491" fmla="*/ 88962 h 151120"/>
                  <a:gd name="connsiteX492" fmla="*/ 8200 w 391732"/>
                  <a:gd name="connsiteY492" fmla="*/ 89844 h 151120"/>
                  <a:gd name="connsiteX493" fmla="*/ 8464 w 391732"/>
                  <a:gd name="connsiteY493" fmla="*/ 89579 h 151120"/>
                  <a:gd name="connsiteX494" fmla="*/ 8464 w 391732"/>
                  <a:gd name="connsiteY494" fmla="*/ 89314 h 151120"/>
                  <a:gd name="connsiteX495" fmla="*/ 9081 w 391732"/>
                  <a:gd name="connsiteY495" fmla="*/ 89314 h 151120"/>
                  <a:gd name="connsiteX496" fmla="*/ 10580 w 391732"/>
                  <a:gd name="connsiteY496" fmla="*/ 89579 h 151120"/>
                  <a:gd name="connsiteX497" fmla="*/ 11726 w 391732"/>
                  <a:gd name="connsiteY497" fmla="*/ 90461 h 151120"/>
                  <a:gd name="connsiteX498" fmla="*/ 11726 w 391732"/>
                  <a:gd name="connsiteY498" fmla="*/ 90990 h 151120"/>
                  <a:gd name="connsiteX499" fmla="*/ 11374 w 391732"/>
                  <a:gd name="connsiteY499" fmla="*/ 90990 h 151120"/>
                  <a:gd name="connsiteX500" fmla="*/ 10845 w 391732"/>
                  <a:gd name="connsiteY500" fmla="*/ 90461 h 151120"/>
                  <a:gd name="connsiteX501" fmla="*/ 9963 w 391732"/>
                  <a:gd name="connsiteY501" fmla="*/ 90461 h 151120"/>
                  <a:gd name="connsiteX502" fmla="*/ 10228 w 391732"/>
                  <a:gd name="connsiteY502" fmla="*/ 90990 h 151120"/>
                  <a:gd name="connsiteX503" fmla="*/ 11374 w 391732"/>
                  <a:gd name="connsiteY503" fmla="*/ 91607 h 151120"/>
                  <a:gd name="connsiteX504" fmla="*/ 10845 w 391732"/>
                  <a:gd name="connsiteY504" fmla="*/ 91607 h 151120"/>
                  <a:gd name="connsiteX505" fmla="*/ 10228 w 391732"/>
                  <a:gd name="connsiteY505" fmla="*/ 92224 h 151120"/>
                  <a:gd name="connsiteX506" fmla="*/ 9610 w 391732"/>
                  <a:gd name="connsiteY506" fmla="*/ 92753 h 151120"/>
                  <a:gd name="connsiteX507" fmla="*/ 8729 w 391732"/>
                  <a:gd name="connsiteY507" fmla="*/ 93106 h 151120"/>
                  <a:gd name="connsiteX508" fmla="*/ 7847 w 391732"/>
                  <a:gd name="connsiteY508" fmla="*/ 93106 h 151120"/>
                  <a:gd name="connsiteX509" fmla="*/ 7318 w 391732"/>
                  <a:gd name="connsiteY509" fmla="*/ 92753 h 151120"/>
                  <a:gd name="connsiteX510" fmla="*/ 7847 w 391732"/>
                  <a:gd name="connsiteY510" fmla="*/ 92224 h 151120"/>
                  <a:gd name="connsiteX511" fmla="*/ 7582 w 391732"/>
                  <a:gd name="connsiteY511" fmla="*/ 92224 h 151120"/>
                  <a:gd name="connsiteX512" fmla="*/ 7053 w 391732"/>
                  <a:gd name="connsiteY512" fmla="*/ 91607 h 151120"/>
                  <a:gd name="connsiteX513" fmla="*/ 7318 w 391732"/>
                  <a:gd name="connsiteY513" fmla="*/ 93106 h 151120"/>
                  <a:gd name="connsiteX514" fmla="*/ 6701 w 391732"/>
                  <a:gd name="connsiteY514" fmla="*/ 92489 h 151120"/>
                  <a:gd name="connsiteX515" fmla="*/ 6436 w 391732"/>
                  <a:gd name="connsiteY515" fmla="*/ 92489 h 151120"/>
                  <a:gd name="connsiteX516" fmla="*/ 5819 w 391732"/>
                  <a:gd name="connsiteY516" fmla="*/ 93106 h 151120"/>
                  <a:gd name="connsiteX517" fmla="*/ 5819 w 391732"/>
                  <a:gd name="connsiteY517" fmla="*/ 93370 h 151120"/>
                  <a:gd name="connsiteX518" fmla="*/ 6172 w 391732"/>
                  <a:gd name="connsiteY518" fmla="*/ 93635 h 151120"/>
                  <a:gd name="connsiteX519" fmla="*/ 6701 w 391732"/>
                  <a:gd name="connsiteY519" fmla="*/ 93370 h 151120"/>
                  <a:gd name="connsiteX520" fmla="*/ 7318 w 391732"/>
                  <a:gd name="connsiteY520" fmla="*/ 93370 h 151120"/>
                  <a:gd name="connsiteX521" fmla="*/ 7582 w 391732"/>
                  <a:gd name="connsiteY521" fmla="*/ 93988 h 151120"/>
                  <a:gd name="connsiteX522" fmla="*/ 7318 w 391732"/>
                  <a:gd name="connsiteY522" fmla="*/ 94252 h 151120"/>
                  <a:gd name="connsiteX523" fmla="*/ 7582 w 391732"/>
                  <a:gd name="connsiteY523" fmla="*/ 95134 h 151120"/>
                  <a:gd name="connsiteX524" fmla="*/ 7582 w 391732"/>
                  <a:gd name="connsiteY524" fmla="*/ 95398 h 151120"/>
                  <a:gd name="connsiteX525" fmla="*/ 8200 w 391732"/>
                  <a:gd name="connsiteY525" fmla="*/ 95134 h 151120"/>
                  <a:gd name="connsiteX526" fmla="*/ 8729 w 391732"/>
                  <a:gd name="connsiteY526" fmla="*/ 94869 h 151120"/>
                  <a:gd name="connsiteX527" fmla="*/ 9346 w 391732"/>
                  <a:gd name="connsiteY527" fmla="*/ 94252 h 151120"/>
                  <a:gd name="connsiteX528" fmla="*/ 9081 w 391732"/>
                  <a:gd name="connsiteY528" fmla="*/ 94869 h 151120"/>
                  <a:gd name="connsiteX529" fmla="*/ 9081 w 391732"/>
                  <a:gd name="connsiteY529" fmla="*/ 96015 h 151120"/>
                  <a:gd name="connsiteX530" fmla="*/ 9610 w 391732"/>
                  <a:gd name="connsiteY530" fmla="*/ 95751 h 151120"/>
                  <a:gd name="connsiteX531" fmla="*/ 9610 w 391732"/>
                  <a:gd name="connsiteY531" fmla="*/ 95134 h 151120"/>
                  <a:gd name="connsiteX532" fmla="*/ 9963 w 391732"/>
                  <a:gd name="connsiteY532" fmla="*/ 95398 h 151120"/>
                  <a:gd name="connsiteX533" fmla="*/ 10228 w 391732"/>
                  <a:gd name="connsiteY533" fmla="*/ 95398 h 151120"/>
                  <a:gd name="connsiteX534" fmla="*/ 10845 w 391732"/>
                  <a:gd name="connsiteY534" fmla="*/ 96015 h 151120"/>
                  <a:gd name="connsiteX535" fmla="*/ 11726 w 391732"/>
                  <a:gd name="connsiteY535" fmla="*/ 97161 h 151120"/>
                  <a:gd name="connsiteX536" fmla="*/ 11991 w 391732"/>
                  <a:gd name="connsiteY536" fmla="*/ 96897 h 151120"/>
                  <a:gd name="connsiteX537" fmla="*/ 12255 w 391732"/>
                  <a:gd name="connsiteY537" fmla="*/ 96897 h 151120"/>
                  <a:gd name="connsiteX538" fmla="*/ 11991 w 391732"/>
                  <a:gd name="connsiteY538" fmla="*/ 97779 h 151120"/>
                  <a:gd name="connsiteX539" fmla="*/ 12255 w 391732"/>
                  <a:gd name="connsiteY539" fmla="*/ 98308 h 151120"/>
                  <a:gd name="connsiteX540" fmla="*/ 12255 w 391732"/>
                  <a:gd name="connsiteY540" fmla="*/ 97779 h 151120"/>
                  <a:gd name="connsiteX541" fmla="*/ 12608 w 391732"/>
                  <a:gd name="connsiteY541" fmla="*/ 97779 h 151120"/>
                  <a:gd name="connsiteX542" fmla="*/ 13401 w 391732"/>
                  <a:gd name="connsiteY542" fmla="*/ 98308 h 151120"/>
                  <a:gd name="connsiteX543" fmla="*/ 14019 w 391732"/>
                  <a:gd name="connsiteY543" fmla="*/ 98308 h 151120"/>
                  <a:gd name="connsiteX544" fmla="*/ 14283 w 391732"/>
                  <a:gd name="connsiteY544" fmla="*/ 98043 h 151120"/>
                  <a:gd name="connsiteX545" fmla="*/ 14283 w 391732"/>
                  <a:gd name="connsiteY545" fmla="*/ 96544 h 151120"/>
                  <a:gd name="connsiteX546" fmla="*/ 14900 w 391732"/>
                  <a:gd name="connsiteY546" fmla="*/ 96015 h 151120"/>
                  <a:gd name="connsiteX547" fmla="*/ 15165 w 391732"/>
                  <a:gd name="connsiteY547" fmla="*/ 96015 h 151120"/>
                  <a:gd name="connsiteX548" fmla="*/ 15782 w 391732"/>
                  <a:gd name="connsiteY548" fmla="*/ 95751 h 151120"/>
                  <a:gd name="connsiteX549" fmla="*/ 16311 w 391732"/>
                  <a:gd name="connsiteY549" fmla="*/ 95134 h 151120"/>
                  <a:gd name="connsiteX550" fmla="*/ 17193 w 391732"/>
                  <a:gd name="connsiteY550" fmla="*/ 95398 h 151120"/>
                  <a:gd name="connsiteX551" fmla="*/ 17810 w 391732"/>
                  <a:gd name="connsiteY551" fmla="*/ 96015 h 151120"/>
                  <a:gd name="connsiteX552" fmla="*/ 17193 w 391732"/>
                  <a:gd name="connsiteY552" fmla="*/ 96544 h 151120"/>
                  <a:gd name="connsiteX553" fmla="*/ 16311 w 391732"/>
                  <a:gd name="connsiteY553" fmla="*/ 96897 h 151120"/>
                  <a:gd name="connsiteX554" fmla="*/ 16664 w 391732"/>
                  <a:gd name="connsiteY554" fmla="*/ 97426 h 151120"/>
                  <a:gd name="connsiteX555" fmla="*/ 17810 w 391732"/>
                  <a:gd name="connsiteY555" fmla="*/ 97779 h 151120"/>
                  <a:gd name="connsiteX556" fmla="*/ 18074 w 391732"/>
                  <a:gd name="connsiteY556" fmla="*/ 98308 h 151120"/>
                  <a:gd name="connsiteX557" fmla="*/ 17810 w 391732"/>
                  <a:gd name="connsiteY557" fmla="*/ 98925 h 151120"/>
                  <a:gd name="connsiteX558" fmla="*/ 17810 w 391732"/>
                  <a:gd name="connsiteY558" fmla="*/ 99807 h 151120"/>
                  <a:gd name="connsiteX559" fmla="*/ 18427 w 391732"/>
                  <a:gd name="connsiteY559" fmla="*/ 100688 h 151120"/>
                  <a:gd name="connsiteX560" fmla="*/ 18692 w 391732"/>
                  <a:gd name="connsiteY560" fmla="*/ 100953 h 151120"/>
                  <a:gd name="connsiteX561" fmla="*/ 19309 w 391732"/>
                  <a:gd name="connsiteY561" fmla="*/ 100953 h 151120"/>
                  <a:gd name="connsiteX562" fmla="*/ 19573 w 391732"/>
                  <a:gd name="connsiteY562" fmla="*/ 100688 h 151120"/>
                  <a:gd name="connsiteX563" fmla="*/ 19573 w 391732"/>
                  <a:gd name="connsiteY563" fmla="*/ 99542 h 151120"/>
                  <a:gd name="connsiteX564" fmla="*/ 20102 w 391732"/>
                  <a:gd name="connsiteY564" fmla="*/ 99189 h 151120"/>
                  <a:gd name="connsiteX565" fmla="*/ 21601 w 391732"/>
                  <a:gd name="connsiteY565" fmla="*/ 99189 h 151120"/>
                  <a:gd name="connsiteX566" fmla="*/ 21866 w 391732"/>
                  <a:gd name="connsiteY566" fmla="*/ 99542 h 151120"/>
                  <a:gd name="connsiteX567" fmla="*/ 22218 w 391732"/>
                  <a:gd name="connsiteY567" fmla="*/ 100336 h 151120"/>
                  <a:gd name="connsiteX568" fmla="*/ 22747 w 391732"/>
                  <a:gd name="connsiteY568" fmla="*/ 100953 h 151120"/>
                  <a:gd name="connsiteX569" fmla="*/ 23365 w 391732"/>
                  <a:gd name="connsiteY569" fmla="*/ 100688 h 151120"/>
                  <a:gd name="connsiteX570" fmla="*/ 24246 w 391732"/>
                  <a:gd name="connsiteY570" fmla="*/ 100953 h 151120"/>
                  <a:gd name="connsiteX571" fmla="*/ 25128 w 391732"/>
                  <a:gd name="connsiteY571" fmla="*/ 101570 h 151120"/>
                  <a:gd name="connsiteX572" fmla="*/ 26010 w 391732"/>
                  <a:gd name="connsiteY572" fmla="*/ 101570 h 151120"/>
                  <a:gd name="connsiteX573" fmla="*/ 26891 w 391732"/>
                  <a:gd name="connsiteY573" fmla="*/ 101217 h 151120"/>
                  <a:gd name="connsiteX574" fmla="*/ 27420 w 391732"/>
                  <a:gd name="connsiteY574" fmla="*/ 101217 h 151120"/>
                  <a:gd name="connsiteX575" fmla="*/ 27420 w 391732"/>
                  <a:gd name="connsiteY575" fmla="*/ 102099 h 151120"/>
                  <a:gd name="connsiteX576" fmla="*/ 28037 w 391732"/>
                  <a:gd name="connsiteY576" fmla="*/ 102716 h 151120"/>
                  <a:gd name="connsiteX577" fmla="*/ 28037 w 391732"/>
                  <a:gd name="connsiteY577" fmla="*/ 103333 h 151120"/>
                  <a:gd name="connsiteX578" fmla="*/ 27685 w 391732"/>
                  <a:gd name="connsiteY578" fmla="*/ 104744 h 151120"/>
                  <a:gd name="connsiteX579" fmla="*/ 28302 w 391732"/>
                  <a:gd name="connsiteY579" fmla="*/ 105009 h 151120"/>
                  <a:gd name="connsiteX580" fmla="*/ 28302 w 391732"/>
                  <a:gd name="connsiteY580" fmla="*/ 105626 h 151120"/>
                  <a:gd name="connsiteX581" fmla="*/ 28919 w 391732"/>
                  <a:gd name="connsiteY581" fmla="*/ 105890 h 151120"/>
                  <a:gd name="connsiteX582" fmla="*/ 28302 w 391732"/>
                  <a:gd name="connsiteY582" fmla="*/ 107036 h 151120"/>
                  <a:gd name="connsiteX583" fmla="*/ 28037 w 391732"/>
                  <a:gd name="connsiteY583" fmla="*/ 108271 h 151120"/>
                  <a:gd name="connsiteX584" fmla="*/ 27420 w 391732"/>
                  <a:gd name="connsiteY584" fmla="*/ 108800 h 151120"/>
                  <a:gd name="connsiteX585" fmla="*/ 26010 w 391732"/>
                  <a:gd name="connsiteY585" fmla="*/ 109417 h 151120"/>
                  <a:gd name="connsiteX586" fmla="*/ 25393 w 391732"/>
                  <a:gd name="connsiteY586" fmla="*/ 109417 h 151120"/>
                  <a:gd name="connsiteX587" fmla="*/ 24511 w 391732"/>
                  <a:gd name="connsiteY587" fmla="*/ 108800 h 151120"/>
                  <a:gd name="connsiteX588" fmla="*/ 23894 w 391732"/>
                  <a:gd name="connsiteY588" fmla="*/ 108800 h 151120"/>
                  <a:gd name="connsiteX589" fmla="*/ 23629 w 391732"/>
                  <a:gd name="connsiteY589" fmla="*/ 109152 h 151120"/>
                  <a:gd name="connsiteX590" fmla="*/ 23629 w 391732"/>
                  <a:gd name="connsiteY590" fmla="*/ 109681 h 151120"/>
                  <a:gd name="connsiteX591" fmla="*/ 24511 w 391732"/>
                  <a:gd name="connsiteY591" fmla="*/ 110034 h 151120"/>
                  <a:gd name="connsiteX592" fmla="*/ 25128 w 391732"/>
                  <a:gd name="connsiteY592" fmla="*/ 110299 h 151120"/>
                  <a:gd name="connsiteX593" fmla="*/ 26010 w 391732"/>
                  <a:gd name="connsiteY593" fmla="*/ 110034 h 151120"/>
                  <a:gd name="connsiteX594" fmla="*/ 26539 w 391732"/>
                  <a:gd name="connsiteY594" fmla="*/ 110299 h 151120"/>
                  <a:gd name="connsiteX595" fmla="*/ 26891 w 391732"/>
                  <a:gd name="connsiteY595" fmla="*/ 110828 h 151120"/>
                  <a:gd name="connsiteX596" fmla="*/ 27420 w 391732"/>
                  <a:gd name="connsiteY596" fmla="*/ 111180 h 151120"/>
                  <a:gd name="connsiteX597" fmla="*/ 27420 w 391732"/>
                  <a:gd name="connsiteY597" fmla="*/ 112326 h 151120"/>
                  <a:gd name="connsiteX598" fmla="*/ 28302 w 391732"/>
                  <a:gd name="connsiteY598" fmla="*/ 113825 h 151120"/>
                  <a:gd name="connsiteX599" fmla="*/ 28302 w 391732"/>
                  <a:gd name="connsiteY599" fmla="*/ 115589 h 151120"/>
                  <a:gd name="connsiteX600" fmla="*/ 28037 w 391732"/>
                  <a:gd name="connsiteY600" fmla="*/ 116118 h 151120"/>
                  <a:gd name="connsiteX601" fmla="*/ 27685 w 391732"/>
                  <a:gd name="connsiteY601" fmla="*/ 116735 h 151120"/>
                  <a:gd name="connsiteX602" fmla="*/ 28037 w 391732"/>
                  <a:gd name="connsiteY602" fmla="*/ 117617 h 151120"/>
                  <a:gd name="connsiteX603" fmla="*/ 28919 w 391732"/>
                  <a:gd name="connsiteY603" fmla="*/ 117881 h 151120"/>
                  <a:gd name="connsiteX604" fmla="*/ 30065 w 391732"/>
                  <a:gd name="connsiteY604" fmla="*/ 117881 h 151120"/>
                  <a:gd name="connsiteX605" fmla="*/ 30065 w 391732"/>
                  <a:gd name="connsiteY605" fmla="*/ 116999 h 151120"/>
                  <a:gd name="connsiteX606" fmla="*/ 30418 w 391732"/>
                  <a:gd name="connsiteY606" fmla="*/ 116735 h 151120"/>
                  <a:gd name="connsiteX607" fmla="*/ 30682 w 391732"/>
                  <a:gd name="connsiteY607" fmla="*/ 116999 h 151120"/>
                  <a:gd name="connsiteX608" fmla="*/ 30947 w 391732"/>
                  <a:gd name="connsiteY608" fmla="*/ 116735 h 151120"/>
                  <a:gd name="connsiteX609" fmla="*/ 30947 w 391732"/>
                  <a:gd name="connsiteY609" fmla="*/ 116118 h 151120"/>
                  <a:gd name="connsiteX610" fmla="*/ 31212 w 391732"/>
                  <a:gd name="connsiteY610" fmla="*/ 115853 h 151120"/>
                  <a:gd name="connsiteX611" fmla="*/ 31476 w 391732"/>
                  <a:gd name="connsiteY611" fmla="*/ 115589 h 151120"/>
                  <a:gd name="connsiteX612" fmla="*/ 31829 w 391732"/>
                  <a:gd name="connsiteY612" fmla="*/ 115589 h 151120"/>
                  <a:gd name="connsiteX613" fmla="*/ 31829 w 391732"/>
                  <a:gd name="connsiteY613" fmla="*/ 116735 h 151120"/>
                  <a:gd name="connsiteX614" fmla="*/ 32093 w 391732"/>
                  <a:gd name="connsiteY614" fmla="*/ 116999 h 151120"/>
                  <a:gd name="connsiteX615" fmla="*/ 32093 w 391732"/>
                  <a:gd name="connsiteY615" fmla="*/ 117617 h 151120"/>
                  <a:gd name="connsiteX616" fmla="*/ 31829 w 391732"/>
                  <a:gd name="connsiteY616" fmla="*/ 118146 h 151120"/>
                  <a:gd name="connsiteX617" fmla="*/ 32093 w 391732"/>
                  <a:gd name="connsiteY617" fmla="*/ 118498 h 151120"/>
                  <a:gd name="connsiteX618" fmla="*/ 32710 w 391732"/>
                  <a:gd name="connsiteY618" fmla="*/ 118763 h 151120"/>
                  <a:gd name="connsiteX619" fmla="*/ 33592 w 391732"/>
                  <a:gd name="connsiteY619" fmla="*/ 118498 h 151120"/>
                  <a:gd name="connsiteX620" fmla="*/ 33857 w 391732"/>
                  <a:gd name="connsiteY620" fmla="*/ 117881 h 151120"/>
                  <a:gd name="connsiteX621" fmla="*/ 34474 w 391732"/>
                  <a:gd name="connsiteY621" fmla="*/ 117881 h 151120"/>
                  <a:gd name="connsiteX622" fmla="*/ 34738 w 391732"/>
                  <a:gd name="connsiteY622" fmla="*/ 118146 h 151120"/>
                  <a:gd name="connsiteX623" fmla="*/ 34474 w 391732"/>
                  <a:gd name="connsiteY623" fmla="*/ 118498 h 151120"/>
                  <a:gd name="connsiteX624" fmla="*/ 34209 w 391732"/>
                  <a:gd name="connsiteY624" fmla="*/ 119644 h 151120"/>
                  <a:gd name="connsiteX625" fmla="*/ 34738 w 391732"/>
                  <a:gd name="connsiteY625" fmla="*/ 120526 h 151120"/>
                  <a:gd name="connsiteX626" fmla="*/ 35003 w 391732"/>
                  <a:gd name="connsiteY626" fmla="*/ 120173 h 151120"/>
                  <a:gd name="connsiteX627" fmla="*/ 35356 w 391732"/>
                  <a:gd name="connsiteY627" fmla="*/ 119644 h 151120"/>
                  <a:gd name="connsiteX628" fmla="*/ 35885 w 391732"/>
                  <a:gd name="connsiteY628" fmla="*/ 119644 h 151120"/>
                  <a:gd name="connsiteX629" fmla="*/ 36502 w 391732"/>
                  <a:gd name="connsiteY629" fmla="*/ 119380 h 151120"/>
                  <a:gd name="connsiteX630" fmla="*/ 36766 w 391732"/>
                  <a:gd name="connsiteY630" fmla="*/ 119644 h 151120"/>
                  <a:gd name="connsiteX631" fmla="*/ 36502 w 391732"/>
                  <a:gd name="connsiteY631" fmla="*/ 120173 h 151120"/>
                  <a:gd name="connsiteX632" fmla="*/ 36766 w 391732"/>
                  <a:gd name="connsiteY632" fmla="*/ 121055 h 151120"/>
                  <a:gd name="connsiteX633" fmla="*/ 36237 w 391732"/>
                  <a:gd name="connsiteY633" fmla="*/ 121408 h 151120"/>
                  <a:gd name="connsiteX634" fmla="*/ 35885 w 391732"/>
                  <a:gd name="connsiteY634" fmla="*/ 121055 h 151120"/>
                  <a:gd name="connsiteX635" fmla="*/ 35620 w 391732"/>
                  <a:gd name="connsiteY635" fmla="*/ 121055 h 151120"/>
                  <a:gd name="connsiteX636" fmla="*/ 35356 w 391732"/>
                  <a:gd name="connsiteY636" fmla="*/ 121408 h 151120"/>
                  <a:gd name="connsiteX637" fmla="*/ 35356 w 391732"/>
                  <a:gd name="connsiteY637" fmla="*/ 122290 h 151120"/>
                  <a:gd name="connsiteX638" fmla="*/ 35885 w 391732"/>
                  <a:gd name="connsiteY638" fmla="*/ 123083 h 151120"/>
                  <a:gd name="connsiteX639" fmla="*/ 35620 w 391732"/>
                  <a:gd name="connsiteY639" fmla="*/ 123700 h 151120"/>
                  <a:gd name="connsiteX640" fmla="*/ 35620 w 391732"/>
                  <a:gd name="connsiteY640" fmla="*/ 124053 h 151120"/>
                  <a:gd name="connsiteX641" fmla="*/ 33328 w 391732"/>
                  <a:gd name="connsiteY641" fmla="*/ 124053 h 151120"/>
                  <a:gd name="connsiteX642" fmla="*/ 32710 w 391732"/>
                  <a:gd name="connsiteY642" fmla="*/ 123700 h 151120"/>
                  <a:gd name="connsiteX643" fmla="*/ 32358 w 391732"/>
                  <a:gd name="connsiteY643" fmla="*/ 121672 h 151120"/>
                  <a:gd name="connsiteX644" fmla="*/ 31829 w 391732"/>
                  <a:gd name="connsiteY644" fmla="*/ 121055 h 151120"/>
                  <a:gd name="connsiteX645" fmla="*/ 31212 w 391732"/>
                  <a:gd name="connsiteY645" fmla="*/ 121055 h 151120"/>
                  <a:gd name="connsiteX646" fmla="*/ 30947 w 391732"/>
                  <a:gd name="connsiteY646" fmla="*/ 121408 h 151120"/>
                  <a:gd name="connsiteX647" fmla="*/ 31476 w 391732"/>
                  <a:gd name="connsiteY647" fmla="*/ 121408 h 151120"/>
                  <a:gd name="connsiteX648" fmla="*/ 31212 w 391732"/>
                  <a:gd name="connsiteY648" fmla="*/ 122290 h 151120"/>
                  <a:gd name="connsiteX649" fmla="*/ 31212 w 391732"/>
                  <a:gd name="connsiteY649" fmla="*/ 123436 h 151120"/>
                  <a:gd name="connsiteX650" fmla="*/ 30947 w 391732"/>
                  <a:gd name="connsiteY650" fmla="*/ 123700 h 151120"/>
                  <a:gd name="connsiteX651" fmla="*/ 30065 w 391732"/>
                  <a:gd name="connsiteY651" fmla="*/ 123083 h 151120"/>
                  <a:gd name="connsiteX652" fmla="*/ 29448 w 391732"/>
                  <a:gd name="connsiteY652" fmla="*/ 123436 h 151120"/>
                  <a:gd name="connsiteX653" fmla="*/ 29184 w 391732"/>
                  <a:gd name="connsiteY653" fmla="*/ 123700 h 151120"/>
                  <a:gd name="connsiteX654" fmla="*/ 29801 w 391732"/>
                  <a:gd name="connsiteY654" fmla="*/ 124053 h 151120"/>
                  <a:gd name="connsiteX655" fmla="*/ 29448 w 391732"/>
                  <a:gd name="connsiteY655" fmla="*/ 124582 h 151120"/>
                  <a:gd name="connsiteX656" fmla="*/ 29801 w 391732"/>
                  <a:gd name="connsiteY656" fmla="*/ 124846 h 151120"/>
                  <a:gd name="connsiteX657" fmla="*/ 29801 w 391732"/>
                  <a:gd name="connsiteY657" fmla="*/ 125728 h 151120"/>
                  <a:gd name="connsiteX658" fmla="*/ 29184 w 391732"/>
                  <a:gd name="connsiteY658" fmla="*/ 126081 h 151120"/>
                  <a:gd name="connsiteX659" fmla="*/ 29184 w 391732"/>
                  <a:gd name="connsiteY659" fmla="*/ 126610 h 151120"/>
                  <a:gd name="connsiteX660" fmla="*/ 30065 w 391732"/>
                  <a:gd name="connsiteY660" fmla="*/ 126874 h 151120"/>
                  <a:gd name="connsiteX661" fmla="*/ 30947 w 391732"/>
                  <a:gd name="connsiteY661" fmla="*/ 126874 h 151120"/>
                  <a:gd name="connsiteX662" fmla="*/ 30947 w 391732"/>
                  <a:gd name="connsiteY662" fmla="*/ 127227 h 151120"/>
                  <a:gd name="connsiteX663" fmla="*/ 31476 w 391732"/>
                  <a:gd name="connsiteY663" fmla="*/ 127227 h 151120"/>
                  <a:gd name="connsiteX664" fmla="*/ 31476 w 391732"/>
                  <a:gd name="connsiteY664" fmla="*/ 126874 h 151120"/>
                  <a:gd name="connsiteX665" fmla="*/ 31212 w 391732"/>
                  <a:gd name="connsiteY665" fmla="*/ 126610 h 151120"/>
                  <a:gd name="connsiteX666" fmla="*/ 31829 w 391732"/>
                  <a:gd name="connsiteY666" fmla="*/ 125728 h 151120"/>
                  <a:gd name="connsiteX667" fmla="*/ 31829 w 391732"/>
                  <a:gd name="connsiteY667" fmla="*/ 125464 h 151120"/>
                  <a:gd name="connsiteX668" fmla="*/ 32710 w 391732"/>
                  <a:gd name="connsiteY668" fmla="*/ 125728 h 151120"/>
                  <a:gd name="connsiteX669" fmla="*/ 32975 w 391732"/>
                  <a:gd name="connsiteY669" fmla="*/ 125728 h 151120"/>
                  <a:gd name="connsiteX670" fmla="*/ 32710 w 391732"/>
                  <a:gd name="connsiteY670" fmla="*/ 125464 h 151120"/>
                  <a:gd name="connsiteX671" fmla="*/ 32710 w 391732"/>
                  <a:gd name="connsiteY671" fmla="*/ 124846 h 151120"/>
                  <a:gd name="connsiteX672" fmla="*/ 34209 w 391732"/>
                  <a:gd name="connsiteY672" fmla="*/ 125728 h 151120"/>
                  <a:gd name="connsiteX673" fmla="*/ 35003 w 391732"/>
                  <a:gd name="connsiteY673" fmla="*/ 125728 h 151120"/>
                  <a:gd name="connsiteX674" fmla="*/ 35356 w 391732"/>
                  <a:gd name="connsiteY674" fmla="*/ 126081 h 151120"/>
                  <a:gd name="connsiteX675" fmla="*/ 35620 w 391732"/>
                  <a:gd name="connsiteY675" fmla="*/ 126610 h 151120"/>
                  <a:gd name="connsiteX676" fmla="*/ 35885 w 391732"/>
                  <a:gd name="connsiteY676" fmla="*/ 126610 h 151120"/>
                  <a:gd name="connsiteX677" fmla="*/ 36237 w 391732"/>
                  <a:gd name="connsiteY677" fmla="*/ 126345 h 151120"/>
                  <a:gd name="connsiteX678" fmla="*/ 35885 w 391732"/>
                  <a:gd name="connsiteY678" fmla="*/ 125728 h 151120"/>
                  <a:gd name="connsiteX679" fmla="*/ 37031 w 391732"/>
                  <a:gd name="connsiteY679" fmla="*/ 125728 h 151120"/>
                  <a:gd name="connsiteX680" fmla="*/ 37912 w 391732"/>
                  <a:gd name="connsiteY680" fmla="*/ 126081 h 151120"/>
                  <a:gd name="connsiteX681" fmla="*/ 38794 w 391732"/>
                  <a:gd name="connsiteY681" fmla="*/ 125728 h 151120"/>
                  <a:gd name="connsiteX682" fmla="*/ 39940 w 391732"/>
                  <a:gd name="connsiteY682" fmla="*/ 125728 h 151120"/>
                  <a:gd name="connsiteX683" fmla="*/ 40558 w 391732"/>
                  <a:gd name="connsiteY683" fmla="*/ 126081 h 151120"/>
                  <a:gd name="connsiteX684" fmla="*/ 41703 w 391732"/>
                  <a:gd name="connsiteY684" fmla="*/ 125728 h 151120"/>
                  <a:gd name="connsiteX685" fmla="*/ 42321 w 391732"/>
                  <a:gd name="connsiteY685" fmla="*/ 125464 h 151120"/>
                  <a:gd name="connsiteX686" fmla="*/ 42938 w 391732"/>
                  <a:gd name="connsiteY686" fmla="*/ 124846 h 151120"/>
                  <a:gd name="connsiteX687" fmla="*/ 43202 w 391732"/>
                  <a:gd name="connsiteY687" fmla="*/ 124846 h 151120"/>
                  <a:gd name="connsiteX688" fmla="*/ 44084 w 391732"/>
                  <a:gd name="connsiteY688" fmla="*/ 125199 h 151120"/>
                  <a:gd name="connsiteX689" fmla="*/ 44349 w 391732"/>
                  <a:gd name="connsiteY689" fmla="*/ 125199 h 151120"/>
                  <a:gd name="connsiteX690" fmla="*/ 45230 w 391732"/>
                  <a:gd name="connsiteY690" fmla="*/ 124582 h 151120"/>
                  <a:gd name="connsiteX691" fmla="*/ 45847 w 391732"/>
                  <a:gd name="connsiteY691" fmla="*/ 124317 h 151120"/>
                  <a:gd name="connsiteX692" fmla="*/ 46377 w 391732"/>
                  <a:gd name="connsiteY692" fmla="*/ 124317 h 151120"/>
                  <a:gd name="connsiteX693" fmla="*/ 47258 w 391732"/>
                  <a:gd name="connsiteY693" fmla="*/ 124846 h 151120"/>
                  <a:gd name="connsiteX694" fmla="*/ 47258 w 391732"/>
                  <a:gd name="connsiteY694" fmla="*/ 125199 h 151120"/>
                  <a:gd name="connsiteX695" fmla="*/ 47523 w 391732"/>
                  <a:gd name="connsiteY695" fmla="*/ 125464 h 151120"/>
                  <a:gd name="connsiteX696" fmla="*/ 47523 w 391732"/>
                  <a:gd name="connsiteY696" fmla="*/ 124846 h 151120"/>
                  <a:gd name="connsiteX697" fmla="*/ 48757 w 391732"/>
                  <a:gd name="connsiteY697" fmla="*/ 124582 h 151120"/>
                  <a:gd name="connsiteX698" fmla="*/ 49286 w 391732"/>
                  <a:gd name="connsiteY698" fmla="*/ 124846 h 151120"/>
                  <a:gd name="connsiteX699" fmla="*/ 50432 w 391732"/>
                  <a:gd name="connsiteY699" fmla="*/ 124317 h 151120"/>
                  <a:gd name="connsiteX700" fmla="*/ 51314 w 391732"/>
                  <a:gd name="connsiteY700" fmla="*/ 124582 h 151120"/>
                  <a:gd name="connsiteX701" fmla="*/ 52196 w 391732"/>
                  <a:gd name="connsiteY701" fmla="*/ 124846 h 151120"/>
                  <a:gd name="connsiteX702" fmla="*/ 51931 w 391732"/>
                  <a:gd name="connsiteY702" fmla="*/ 125199 h 151120"/>
                  <a:gd name="connsiteX703" fmla="*/ 51667 w 391732"/>
                  <a:gd name="connsiteY703" fmla="*/ 125464 h 151120"/>
                  <a:gd name="connsiteX704" fmla="*/ 50432 w 391732"/>
                  <a:gd name="connsiteY704" fmla="*/ 125464 h 151120"/>
                  <a:gd name="connsiteX705" fmla="*/ 50432 w 391732"/>
                  <a:gd name="connsiteY705" fmla="*/ 125728 h 151120"/>
                  <a:gd name="connsiteX706" fmla="*/ 49286 w 391732"/>
                  <a:gd name="connsiteY706" fmla="*/ 125728 h 151120"/>
                  <a:gd name="connsiteX707" fmla="*/ 49022 w 391732"/>
                  <a:gd name="connsiteY707" fmla="*/ 126345 h 151120"/>
                  <a:gd name="connsiteX708" fmla="*/ 49286 w 391732"/>
                  <a:gd name="connsiteY708" fmla="*/ 126610 h 151120"/>
                  <a:gd name="connsiteX709" fmla="*/ 49286 w 391732"/>
                  <a:gd name="connsiteY709" fmla="*/ 128373 h 151120"/>
                  <a:gd name="connsiteX710" fmla="*/ 49022 w 391732"/>
                  <a:gd name="connsiteY710" fmla="*/ 128109 h 151120"/>
                  <a:gd name="connsiteX711" fmla="*/ 49022 w 391732"/>
                  <a:gd name="connsiteY711" fmla="*/ 127756 h 151120"/>
                  <a:gd name="connsiteX712" fmla="*/ 48757 w 391732"/>
                  <a:gd name="connsiteY712" fmla="*/ 127756 h 151120"/>
                  <a:gd name="connsiteX713" fmla="*/ 48140 w 391732"/>
                  <a:gd name="connsiteY713" fmla="*/ 127491 h 151120"/>
                  <a:gd name="connsiteX714" fmla="*/ 47875 w 391732"/>
                  <a:gd name="connsiteY714" fmla="*/ 127756 h 151120"/>
                  <a:gd name="connsiteX715" fmla="*/ 46994 w 391732"/>
                  <a:gd name="connsiteY715" fmla="*/ 127491 h 151120"/>
                  <a:gd name="connsiteX716" fmla="*/ 46377 w 391732"/>
                  <a:gd name="connsiteY716" fmla="*/ 127756 h 151120"/>
                  <a:gd name="connsiteX717" fmla="*/ 46729 w 391732"/>
                  <a:gd name="connsiteY717" fmla="*/ 128373 h 151120"/>
                  <a:gd name="connsiteX718" fmla="*/ 46994 w 391732"/>
                  <a:gd name="connsiteY718" fmla="*/ 128373 h 151120"/>
                  <a:gd name="connsiteX719" fmla="*/ 46994 w 391732"/>
                  <a:gd name="connsiteY719" fmla="*/ 128638 h 151120"/>
                  <a:gd name="connsiteX720" fmla="*/ 46377 w 391732"/>
                  <a:gd name="connsiteY720" fmla="*/ 128373 h 151120"/>
                  <a:gd name="connsiteX721" fmla="*/ 46729 w 391732"/>
                  <a:gd name="connsiteY721" fmla="*/ 129255 h 151120"/>
                  <a:gd name="connsiteX722" fmla="*/ 46994 w 391732"/>
                  <a:gd name="connsiteY722" fmla="*/ 129519 h 151120"/>
                  <a:gd name="connsiteX723" fmla="*/ 46377 w 391732"/>
                  <a:gd name="connsiteY723" fmla="*/ 129255 h 151120"/>
                  <a:gd name="connsiteX724" fmla="*/ 46112 w 391732"/>
                  <a:gd name="connsiteY724" fmla="*/ 129255 h 151120"/>
                  <a:gd name="connsiteX725" fmla="*/ 46729 w 391732"/>
                  <a:gd name="connsiteY725" fmla="*/ 129519 h 151120"/>
                  <a:gd name="connsiteX726" fmla="*/ 46729 w 391732"/>
                  <a:gd name="connsiteY726" fmla="*/ 130136 h 151120"/>
                  <a:gd name="connsiteX727" fmla="*/ 46112 w 391732"/>
                  <a:gd name="connsiteY727" fmla="*/ 129872 h 151120"/>
                  <a:gd name="connsiteX728" fmla="*/ 45847 w 391732"/>
                  <a:gd name="connsiteY728" fmla="*/ 129519 h 151120"/>
                  <a:gd name="connsiteX729" fmla="*/ 44349 w 391732"/>
                  <a:gd name="connsiteY729" fmla="*/ 129519 h 151120"/>
                  <a:gd name="connsiteX730" fmla="*/ 42938 w 391732"/>
                  <a:gd name="connsiteY730" fmla="*/ 128990 h 151120"/>
                  <a:gd name="connsiteX731" fmla="*/ 42056 w 391732"/>
                  <a:gd name="connsiteY731" fmla="*/ 129519 h 151120"/>
                  <a:gd name="connsiteX732" fmla="*/ 41086 w 391732"/>
                  <a:gd name="connsiteY732" fmla="*/ 129519 h 151120"/>
                  <a:gd name="connsiteX733" fmla="*/ 40558 w 391732"/>
                  <a:gd name="connsiteY733" fmla="*/ 130401 h 151120"/>
                  <a:gd name="connsiteX734" fmla="*/ 39147 w 391732"/>
                  <a:gd name="connsiteY734" fmla="*/ 130401 h 151120"/>
                  <a:gd name="connsiteX735" fmla="*/ 38265 w 391732"/>
                  <a:gd name="connsiteY735" fmla="*/ 129519 h 151120"/>
                  <a:gd name="connsiteX736" fmla="*/ 37648 w 391732"/>
                  <a:gd name="connsiteY736" fmla="*/ 129519 h 151120"/>
                  <a:gd name="connsiteX737" fmla="*/ 37383 w 391732"/>
                  <a:gd name="connsiteY737" fmla="*/ 129872 h 151120"/>
                  <a:gd name="connsiteX738" fmla="*/ 37383 w 391732"/>
                  <a:gd name="connsiteY738" fmla="*/ 131018 h 151120"/>
                  <a:gd name="connsiteX739" fmla="*/ 36502 w 391732"/>
                  <a:gd name="connsiteY739" fmla="*/ 131283 h 151120"/>
                  <a:gd name="connsiteX740" fmla="*/ 36502 w 391732"/>
                  <a:gd name="connsiteY740" fmla="*/ 131900 h 151120"/>
                  <a:gd name="connsiteX741" fmla="*/ 35885 w 391732"/>
                  <a:gd name="connsiteY741" fmla="*/ 132164 h 151120"/>
                  <a:gd name="connsiteX742" fmla="*/ 35003 w 391732"/>
                  <a:gd name="connsiteY742" fmla="*/ 132164 h 151120"/>
                  <a:gd name="connsiteX743" fmla="*/ 34209 w 391732"/>
                  <a:gd name="connsiteY743" fmla="*/ 131900 h 151120"/>
                  <a:gd name="connsiteX744" fmla="*/ 33857 w 391732"/>
                  <a:gd name="connsiteY744" fmla="*/ 131547 h 151120"/>
                  <a:gd name="connsiteX745" fmla="*/ 33592 w 391732"/>
                  <a:gd name="connsiteY745" fmla="*/ 132164 h 151120"/>
                  <a:gd name="connsiteX746" fmla="*/ 33592 w 391732"/>
                  <a:gd name="connsiteY746" fmla="*/ 133046 h 151120"/>
                  <a:gd name="connsiteX747" fmla="*/ 34474 w 391732"/>
                  <a:gd name="connsiteY747" fmla="*/ 132782 h 151120"/>
                  <a:gd name="connsiteX748" fmla="*/ 33592 w 391732"/>
                  <a:gd name="connsiteY748" fmla="*/ 133311 h 151120"/>
                  <a:gd name="connsiteX749" fmla="*/ 33328 w 391732"/>
                  <a:gd name="connsiteY749" fmla="*/ 133046 h 151120"/>
                  <a:gd name="connsiteX750" fmla="*/ 32975 w 391732"/>
                  <a:gd name="connsiteY750" fmla="*/ 133046 h 151120"/>
                  <a:gd name="connsiteX751" fmla="*/ 33592 w 391732"/>
                  <a:gd name="connsiteY751" fmla="*/ 133928 h 151120"/>
                  <a:gd name="connsiteX752" fmla="*/ 35003 w 391732"/>
                  <a:gd name="connsiteY752" fmla="*/ 134192 h 151120"/>
                  <a:gd name="connsiteX753" fmla="*/ 35885 w 391732"/>
                  <a:gd name="connsiteY753" fmla="*/ 133928 h 151120"/>
                  <a:gd name="connsiteX754" fmla="*/ 36502 w 391732"/>
                  <a:gd name="connsiteY754" fmla="*/ 133311 h 151120"/>
                  <a:gd name="connsiteX755" fmla="*/ 37912 w 391732"/>
                  <a:gd name="connsiteY755" fmla="*/ 133046 h 151120"/>
                  <a:gd name="connsiteX756" fmla="*/ 38530 w 391732"/>
                  <a:gd name="connsiteY756" fmla="*/ 133663 h 151120"/>
                  <a:gd name="connsiteX757" fmla="*/ 39147 w 391732"/>
                  <a:gd name="connsiteY757" fmla="*/ 133928 h 151120"/>
                  <a:gd name="connsiteX758" fmla="*/ 39676 w 391732"/>
                  <a:gd name="connsiteY758" fmla="*/ 133928 h 151120"/>
                  <a:gd name="connsiteX759" fmla="*/ 39411 w 391732"/>
                  <a:gd name="connsiteY759" fmla="*/ 133311 h 151120"/>
                  <a:gd name="connsiteX760" fmla="*/ 39676 w 391732"/>
                  <a:gd name="connsiteY760" fmla="*/ 132782 h 151120"/>
                  <a:gd name="connsiteX761" fmla="*/ 39147 w 391732"/>
                  <a:gd name="connsiteY761" fmla="*/ 132429 h 151120"/>
                  <a:gd name="connsiteX762" fmla="*/ 39411 w 391732"/>
                  <a:gd name="connsiteY762" fmla="*/ 132164 h 151120"/>
                  <a:gd name="connsiteX763" fmla="*/ 39940 w 391732"/>
                  <a:gd name="connsiteY763" fmla="*/ 131900 h 151120"/>
                  <a:gd name="connsiteX764" fmla="*/ 40822 w 391732"/>
                  <a:gd name="connsiteY764" fmla="*/ 131900 h 151120"/>
                  <a:gd name="connsiteX765" fmla="*/ 41703 w 391732"/>
                  <a:gd name="connsiteY765" fmla="*/ 132164 h 151120"/>
                  <a:gd name="connsiteX766" fmla="*/ 42585 w 391732"/>
                  <a:gd name="connsiteY766" fmla="*/ 131547 h 151120"/>
                  <a:gd name="connsiteX767" fmla="*/ 43820 w 391732"/>
                  <a:gd name="connsiteY767" fmla="*/ 132164 h 151120"/>
                  <a:gd name="connsiteX768" fmla="*/ 44966 w 391732"/>
                  <a:gd name="connsiteY768" fmla="*/ 132429 h 151120"/>
                  <a:gd name="connsiteX769" fmla="*/ 46729 w 391732"/>
                  <a:gd name="connsiteY769" fmla="*/ 132164 h 151120"/>
                  <a:gd name="connsiteX770" fmla="*/ 46994 w 391732"/>
                  <a:gd name="connsiteY770" fmla="*/ 132164 h 151120"/>
                  <a:gd name="connsiteX771" fmla="*/ 47875 w 391732"/>
                  <a:gd name="connsiteY771" fmla="*/ 131018 h 151120"/>
                  <a:gd name="connsiteX772" fmla="*/ 48757 w 391732"/>
                  <a:gd name="connsiteY772" fmla="*/ 131018 h 151120"/>
                  <a:gd name="connsiteX773" fmla="*/ 49022 w 391732"/>
                  <a:gd name="connsiteY773" fmla="*/ 131283 h 151120"/>
                  <a:gd name="connsiteX774" fmla="*/ 49022 w 391732"/>
                  <a:gd name="connsiteY774" fmla="*/ 131547 h 151120"/>
                  <a:gd name="connsiteX775" fmla="*/ 48757 w 391732"/>
                  <a:gd name="connsiteY775" fmla="*/ 132164 h 151120"/>
                  <a:gd name="connsiteX776" fmla="*/ 49022 w 391732"/>
                  <a:gd name="connsiteY776" fmla="*/ 133046 h 151120"/>
                  <a:gd name="connsiteX777" fmla="*/ 48404 w 391732"/>
                  <a:gd name="connsiteY777" fmla="*/ 133311 h 151120"/>
                  <a:gd name="connsiteX778" fmla="*/ 47523 w 391732"/>
                  <a:gd name="connsiteY778" fmla="*/ 133046 h 151120"/>
                  <a:gd name="connsiteX779" fmla="*/ 46994 w 391732"/>
                  <a:gd name="connsiteY779" fmla="*/ 133046 h 151120"/>
                  <a:gd name="connsiteX780" fmla="*/ 46729 w 391732"/>
                  <a:gd name="connsiteY780" fmla="*/ 133311 h 151120"/>
                  <a:gd name="connsiteX781" fmla="*/ 46377 w 391732"/>
                  <a:gd name="connsiteY781" fmla="*/ 133663 h 151120"/>
                  <a:gd name="connsiteX782" fmla="*/ 46729 w 391732"/>
                  <a:gd name="connsiteY782" fmla="*/ 133928 h 151120"/>
                  <a:gd name="connsiteX783" fmla="*/ 46994 w 391732"/>
                  <a:gd name="connsiteY783" fmla="*/ 134192 h 151120"/>
                  <a:gd name="connsiteX784" fmla="*/ 46994 w 391732"/>
                  <a:gd name="connsiteY784" fmla="*/ 134809 h 151120"/>
                  <a:gd name="connsiteX785" fmla="*/ 47258 w 391732"/>
                  <a:gd name="connsiteY785" fmla="*/ 134457 h 151120"/>
                  <a:gd name="connsiteX786" fmla="*/ 47258 w 391732"/>
                  <a:gd name="connsiteY786" fmla="*/ 133928 h 151120"/>
                  <a:gd name="connsiteX787" fmla="*/ 47523 w 391732"/>
                  <a:gd name="connsiteY787" fmla="*/ 133928 h 151120"/>
                  <a:gd name="connsiteX788" fmla="*/ 48404 w 391732"/>
                  <a:gd name="connsiteY788" fmla="*/ 134809 h 151120"/>
                  <a:gd name="connsiteX789" fmla="*/ 48140 w 391732"/>
                  <a:gd name="connsiteY789" fmla="*/ 135074 h 151120"/>
                  <a:gd name="connsiteX790" fmla="*/ 47875 w 391732"/>
                  <a:gd name="connsiteY790" fmla="*/ 135691 h 151120"/>
                  <a:gd name="connsiteX791" fmla="*/ 46994 w 391732"/>
                  <a:gd name="connsiteY791" fmla="*/ 135691 h 151120"/>
                  <a:gd name="connsiteX792" fmla="*/ 46729 w 391732"/>
                  <a:gd name="connsiteY792" fmla="*/ 136573 h 151120"/>
                  <a:gd name="connsiteX793" fmla="*/ 46994 w 391732"/>
                  <a:gd name="connsiteY793" fmla="*/ 136837 h 151120"/>
                  <a:gd name="connsiteX794" fmla="*/ 47523 w 391732"/>
                  <a:gd name="connsiteY794" fmla="*/ 136837 h 151120"/>
                  <a:gd name="connsiteX795" fmla="*/ 47523 w 391732"/>
                  <a:gd name="connsiteY795" fmla="*/ 136573 h 151120"/>
                  <a:gd name="connsiteX796" fmla="*/ 47875 w 391732"/>
                  <a:gd name="connsiteY796" fmla="*/ 136837 h 151120"/>
                  <a:gd name="connsiteX797" fmla="*/ 48404 w 391732"/>
                  <a:gd name="connsiteY797" fmla="*/ 136837 h 151120"/>
                  <a:gd name="connsiteX798" fmla="*/ 48757 w 391732"/>
                  <a:gd name="connsiteY798" fmla="*/ 136573 h 151120"/>
                  <a:gd name="connsiteX799" fmla="*/ 48757 w 391732"/>
                  <a:gd name="connsiteY799" fmla="*/ 135338 h 151120"/>
                  <a:gd name="connsiteX800" fmla="*/ 49639 w 391732"/>
                  <a:gd name="connsiteY800" fmla="*/ 134457 h 151120"/>
                  <a:gd name="connsiteX801" fmla="*/ 49286 w 391732"/>
                  <a:gd name="connsiteY801" fmla="*/ 133663 h 151120"/>
                  <a:gd name="connsiteX802" fmla="*/ 49639 w 391732"/>
                  <a:gd name="connsiteY802" fmla="*/ 133311 h 151120"/>
                  <a:gd name="connsiteX803" fmla="*/ 49903 w 391732"/>
                  <a:gd name="connsiteY803" fmla="*/ 132782 h 151120"/>
                  <a:gd name="connsiteX804" fmla="*/ 50168 w 391732"/>
                  <a:gd name="connsiteY804" fmla="*/ 132429 h 151120"/>
                  <a:gd name="connsiteX805" fmla="*/ 50785 w 391732"/>
                  <a:gd name="connsiteY805" fmla="*/ 133311 h 151120"/>
                  <a:gd name="connsiteX806" fmla="*/ 51314 w 391732"/>
                  <a:gd name="connsiteY806" fmla="*/ 133311 h 151120"/>
                  <a:gd name="connsiteX807" fmla="*/ 51050 w 391732"/>
                  <a:gd name="connsiteY807" fmla="*/ 132782 h 151120"/>
                  <a:gd name="connsiteX808" fmla="*/ 51314 w 391732"/>
                  <a:gd name="connsiteY808" fmla="*/ 132429 h 151120"/>
                  <a:gd name="connsiteX809" fmla="*/ 51667 w 391732"/>
                  <a:gd name="connsiteY809" fmla="*/ 133046 h 151120"/>
                  <a:gd name="connsiteX810" fmla="*/ 52196 w 391732"/>
                  <a:gd name="connsiteY810" fmla="*/ 133311 h 151120"/>
                  <a:gd name="connsiteX811" fmla="*/ 52548 w 391732"/>
                  <a:gd name="connsiteY811" fmla="*/ 132429 h 151120"/>
                  <a:gd name="connsiteX812" fmla="*/ 52548 w 391732"/>
                  <a:gd name="connsiteY812" fmla="*/ 131547 h 151120"/>
                  <a:gd name="connsiteX813" fmla="*/ 51667 w 391732"/>
                  <a:gd name="connsiteY813" fmla="*/ 131547 h 151120"/>
                  <a:gd name="connsiteX814" fmla="*/ 51314 w 391732"/>
                  <a:gd name="connsiteY814" fmla="*/ 132164 h 151120"/>
                  <a:gd name="connsiteX815" fmla="*/ 50785 w 391732"/>
                  <a:gd name="connsiteY815" fmla="*/ 131900 h 151120"/>
                  <a:gd name="connsiteX816" fmla="*/ 51050 w 391732"/>
                  <a:gd name="connsiteY816" fmla="*/ 130665 h 151120"/>
                  <a:gd name="connsiteX817" fmla="*/ 50785 w 391732"/>
                  <a:gd name="connsiteY817" fmla="*/ 129519 h 151120"/>
                  <a:gd name="connsiteX818" fmla="*/ 51667 w 391732"/>
                  <a:gd name="connsiteY818" fmla="*/ 129255 h 151120"/>
                  <a:gd name="connsiteX819" fmla="*/ 51050 w 391732"/>
                  <a:gd name="connsiteY819" fmla="*/ 129519 h 151120"/>
                  <a:gd name="connsiteX820" fmla="*/ 51667 w 391732"/>
                  <a:gd name="connsiteY820" fmla="*/ 130136 h 151120"/>
                  <a:gd name="connsiteX821" fmla="*/ 51931 w 391732"/>
                  <a:gd name="connsiteY821" fmla="*/ 130401 h 151120"/>
                  <a:gd name="connsiteX822" fmla="*/ 52196 w 391732"/>
                  <a:gd name="connsiteY822" fmla="*/ 129872 h 151120"/>
                  <a:gd name="connsiteX823" fmla="*/ 51931 w 391732"/>
                  <a:gd name="connsiteY823" fmla="*/ 129519 h 151120"/>
                  <a:gd name="connsiteX824" fmla="*/ 52548 w 391732"/>
                  <a:gd name="connsiteY824" fmla="*/ 129519 h 151120"/>
                  <a:gd name="connsiteX825" fmla="*/ 53077 w 391732"/>
                  <a:gd name="connsiteY825" fmla="*/ 130136 h 151120"/>
                  <a:gd name="connsiteX826" fmla="*/ 53430 w 391732"/>
                  <a:gd name="connsiteY826" fmla="*/ 130136 h 151120"/>
                  <a:gd name="connsiteX827" fmla="*/ 53959 w 391732"/>
                  <a:gd name="connsiteY827" fmla="*/ 130401 h 151120"/>
                  <a:gd name="connsiteX828" fmla="*/ 54312 w 391732"/>
                  <a:gd name="connsiteY828" fmla="*/ 129872 h 151120"/>
                  <a:gd name="connsiteX829" fmla="*/ 53959 w 391732"/>
                  <a:gd name="connsiteY829" fmla="*/ 129519 h 151120"/>
                  <a:gd name="connsiteX830" fmla="*/ 53959 w 391732"/>
                  <a:gd name="connsiteY830" fmla="*/ 129255 h 151120"/>
                  <a:gd name="connsiteX831" fmla="*/ 55458 w 391732"/>
                  <a:gd name="connsiteY831" fmla="*/ 128373 h 151120"/>
                  <a:gd name="connsiteX832" fmla="*/ 55987 w 391732"/>
                  <a:gd name="connsiteY832" fmla="*/ 128373 h 151120"/>
                  <a:gd name="connsiteX833" fmla="*/ 56339 w 391732"/>
                  <a:gd name="connsiteY833" fmla="*/ 128990 h 151120"/>
                  <a:gd name="connsiteX834" fmla="*/ 55987 w 391732"/>
                  <a:gd name="connsiteY834" fmla="*/ 129255 h 151120"/>
                  <a:gd name="connsiteX835" fmla="*/ 55458 w 391732"/>
                  <a:gd name="connsiteY835" fmla="*/ 129255 h 151120"/>
                  <a:gd name="connsiteX836" fmla="*/ 54841 w 391732"/>
                  <a:gd name="connsiteY836" fmla="*/ 129519 h 151120"/>
                  <a:gd name="connsiteX837" fmla="*/ 55458 w 391732"/>
                  <a:gd name="connsiteY837" fmla="*/ 129872 h 151120"/>
                  <a:gd name="connsiteX838" fmla="*/ 55987 w 391732"/>
                  <a:gd name="connsiteY838" fmla="*/ 129872 h 151120"/>
                  <a:gd name="connsiteX839" fmla="*/ 56604 w 391732"/>
                  <a:gd name="connsiteY839" fmla="*/ 130401 h 151120"/>
                  <a:gd name="connsiteX840" fmla="*/ 56339 w 391732"/>
                  <a:gd name="connsiteY840" fmla="*/ 129519 h 151120"/>
                  <a:gd name="connsiteX841" fmla="*/ 57750 w 391732"/>
                  <a:gd name="connsiteY841" fmla="*/ 129519 h 151120"/>
                  <a:gd name="connsiteX842" fmla="*/ 58103 w 391732"/>
                  <a:gd name="connsiteY842" fmla="*/ 130136 h 151120"/>
                  <a:gd name="connsiteX843" fmla="*/ 57750 w 391732"/>
                  <a:gd name="connsiteY843" fmla="*/ 130665 h 151120"/>
                  <a:gd name="connsiteX844" fmla="*/ 57750 w 391732"/>
                  <a:gd name="connsiteY844" fmla="*/ 131283 h 151120"/>
                  <a:gd name="connsiteX845" fmla="*/ 58103 w 391732"/>
                  <a:gd name="connsiteY845" fmla="*/ 132164 h 151120"/>
                  <a:gd name="connsiteX846" fmla="*/ 57750 w 391732"/>
                  <a:gd name="connsiteY846" fmla="*/ 132782 h 151120"/>
                  <a:gd name="connsiteX847" fmla="*/ 58367 w 391732"/>
                  <a:gd name="connsiteY847" fmla="*/ 133311 h 151120"/>
                  <a:gd name="connsiteX848" fmla="*/ 58632 w 391732"/>
                  <a:gd name="connsiteY848" fmla="*/ 133663 h 151120"/>
                  <a:gd name="connsiteX849" fmla="*/ 59514 w 391732"/>
                  <a:gd name="connsiteY849" fmla="*/ 133311 h 151120"/>
                  <a:gd name="connsiteX850" fmla="*/ 59778 w 391732"/>
                  <a:gd name="connsiteY850" fmla="*/ 133046 h 151120"/>
                  <a:gd name="connsiteX851" fmla="*/ 60131 w 391732"/>
                  <a:gd name="connsiteY851" fmla="*/ 133311 h 151120"/>
                  <a:gd name="connsiteX852" fmla="*/ 60748 w 391732"/>
                  <a:gd name="connsiteY852" fmla="*/ 133311 h 151120"/>
                  <a:gd name="connsiteX853" fmla="*/ 61277 w 391732"/>
                  <a:gd name="connsiteY853" fmla="*/ 133928 h 151120"/>
                  <a:gd name="connsiteX854" fmla="*/ 61806 w 391732"/>
                  <a:gd name="connsiteY854" fmla="*/ 134192 h 151120"/>
                  <a:gd name="connsiteX855" fmla="*/ 62776 w 391732"/>
                  <a:gd name="connsiteY855" fmla="*/ 133928 h 151120"/>
                  <a:gd name="connsiteX856" fmla="*/ 63040 w 391732"/>
                  <a:gd name="connsiteY856" fmla="*/ 134457 h 151120"/>
                  <a:gd name="connsiteX857" fmla="*/ 62776 w 391732"/>
                  <a:gd name="connsiteY857" fmla="*/ 135691 h 151120"/>
                  <a:gd name="connsiteX858" fmla="*/ 63040 w 391732"/>
                  <a:gd name="connsiteY858" fmla="*/ 136220 h 151120"/>
                  <a:gd name="connsiteX859" fmla="*/ 63569 w 391732"/>
                  <a:gd name="connsiteY859" fmla="*/ 136573 h 151120"/>
                  <a:gd name="connsiteX860" fmla="*/ 63569 w 391732"/>
                  <a:gd name="connsiteY860" fmla="*/ 135691 h 151120"/>
                  <a:gd name="connsiteX861" fmla="*/ 64539 w 391732"/>
                  <a:gd name="connsiteY861" fmla="*/ 134457 h 151120"/>
                  <a:gd name="connsiteX862" fmla="*/ 64187 w 391732"/>
                  <a:gd name="connsiteY862" fmla="*/ 133928 h 151120"/>
                  <a:gd name="connsiteX863" fmla="*/ 63922 w 391732"/>
                  <a:gd name="connsiteY863" fmla="*/ 134457 h 151120"/>
                  <a:gd name="connsiteX864" fmla="*/ 63305 w 391732"/>
                  <a:gd name="connsiteY864" fmla="*/ 134809 h 151120"/>
                  <a:gd name="connsiteX865" fmla="*/ 63040 w 391732"/>
                  <a:gd name="connsiteY865" fmla="*/ 133663 h 151120"/>
                  <a:gd name="connsiteX866" fmla="*/ 63305 w 391732"/>
                  <a:gd name="connsiteY866" fmla="*/ 133311 h 151120"/>
                  <a:gd name="connsiteX867" fmla="*/ 64187 w 391732"/>
                  <a:gd name="connsiteY867" fmla="*/ 133311 h 151120"/>
                  <a:gd name="connsiteX868" fmla="*/ 63922 w 391732"/>
                  <a:gd name="connsiteY868" fmla="*/ 132429 h 151120"/>
                  <a:gd name="connsiteX869" fmla="*/ 64187 w 391732"/>
                  <a:gd name="connsiteY869" fmla="*/ 132164 h 151120"/>
                  <a:gd name="connsiteX870" fmla="*/ 64539 w 391732"/>
                  <a:gd name="connsiteY870" fmla="*/ 132164 h 151120"/>
                  <a:gd name="connsiteX871" fmla="*/ 65950 w 391732"/>
                  <a:gd name="connsiteY871" fmla="*/ 132429 h 151120"/>
                  <a:gd name="connsiteX872" fmla="*/ 66479 w 391732"/>
                  <a:gd name="connsiteY872" fmla="*/ 133311 h 151120"/>
                  <a:gd name="connsiteX873" fmla="*/ 67096 w 391732"/>
                  <a:gd name="connsiteY873" fmla="*/ 133311 h 151120"/>
                  <a:gd name="connsiteX874" fmla="*/ 67713 w 391732"/>
                  <a:gd name="connsiteY874" fmla="*/ 133046 h 151120"/>
                  <a:gd name="connsiteX875" fmla="*/ 68242 w 391732"/>
                  <a:gd name="connsiteY875" fmla="*/ 133311 h 151120"/>
                  <a:gd name="connsiteX876" fmla="*/ 68242 w 391732"/>
                  <a:gd name="connsiteY876" fmla="*/ 133928 h 151120"/>
                  <a:gd name="connsiteX877" fmla="*/ 68859 w 391732"/>
                  <a:gd name="connsiteY877" fmla="*/ 133928 h 151120"/>
                  <a:gd name="connsiteX878" fmla="*/ 69741 w 391732"/>
                  <a:gd name="connsiteY878" fmla="*/ 134809 h 151120"/>
                  <a:gd name="connsiteX879" fmla="*/ 69477 w 391732"/>
                  <a:gd name="connsiteY879" fmla="*/ 135338 h 151120"/>
                  <a:gd name="connsiteX880" fmla="*/ 68859 w 391732"/>
                  <a:gd name="connsiteY880" fmla="*/ 135691 h 151120"/>
                  <a:gd name="connsiteX881" fmla="*/ 69124 w 391732"/>
                  <a:gd name="connsiteY881" fmla="*/ 134809 h 151120"/>
                  <a:gd name="connsiteX882" fmla="*/ 68595 w 391732"/>
                  <a:gd name="connsiteY882" fmla="*/ 134457 h 151120"/>
                  <a:gd name="connsiteX883" fmla="*/ 67978 w 391732"/>
                  <a:gd name="connsiteY883" fmla="*/ 133928 h 151120"/>
                  <a:gd name="connsiteX884" fmla="*/ 67713 w 391732"/>
                  <a:gd name="connsiteY884" fmla="*/ 134192 h 151120"/>
                  <a:gd name="connsiteX885" fmla="*/ 67713 w 391732"/>
                  <a:gd name="connsiteY885" fmla="*/ 135074 h 151120"/>
                  <a:gd name="connsiteX886" fmla="*/ 67978 w 391732"/>
                  <a:gd name="connsiteY886" fmla="*/ 135691 h 151120"/>
                  <a:gd name="connsiteX887" fmla="*/ 67713 w 391732"/>
                  <a:gd name="connsiteY887" fmla="*/ 135956 h 151120"/>
                  <a:gd name="connsiteX888" fmla="*/ 67361 w 391732"/>
                  <a:gd name="connsiteY888" fmla="*/ 136573 h 151120"/>
                  <a:gd name="connsiteX889" fmla="*/ 67361 w 391732"/>
                  <a:gd name="connsiteY889" fmla="*/ 136837 h 151120"/>
                  <a:gd name="connsiteX890" fmla="*/ 67978 w 391732"/>
                  <a:gd name="connsiteY890" fmla="*/ 137454 h 151120"/>
                  <a:gd name="connsiteX891" fmla="*/ 67713 w 391732"/>
                  <a:gd name="connsiteY891" fmla="*/ 137719 h 151120"/>
                  <a:gd name="connsiteX892" fmla="*/ 68242 w 391732"/>
                  <a:gd name="connsiteY892" fmla="*/ 137719 h 151120"/>
                  <a:gd name="connsiteX893" fmla="*/ 68242 w 391732"/>
                  <a:gd name="connsiteY893" fmla="*/ 136837 h 151120"/>
                  <a:gd name="connsiteX894" fmla="*/ 68595 w 391732"/>
                  <a:gd name="connsiteY894" fmla="*/ 136837 h 151120"/>
                  <a:gd name="connsiteX895" fmla="*/ 69477 w 391732"/>
                  <a:gd name="connsiteY895" fmla="*/ 137102 h 151120"/>
                  <a:gd name="connsiteX896" fmla="*/ 69477 w 391732"/>
                  <a:gd name="connsiteY896" fmla="*/ 139482 h 151120"/>
                  <a:gd name="connsiteX897" fmla="*/ 69741 w 391732"/>
                  <a:gd name="connsiteY897" fmla="*/ 140011 h 151120"/>
                  <a:gd name="connsiteX898" fmla="*/ 70006 w 391732"/>
                  <a:gd name="connsiteY898" fmla="*/ 140893 h 151120"/>
                  <a:gd name="connsiteX899" fmla="*/ 69741 w 391732"/>
                  <a:gd name="connsiteY899" fmla="*/ 141510 h 151120"/>
                  <a:gd name="connsiteX900" fmla="*/ 70006 w 391732"/>
                  <a:gd name="connsiteY900" fmla="*/ 142127 h 151120"/>
                  <a:gd name="connsiteX901" fmla="*/ 71240 w 391732"/>
                  <a:gd name="connsiteY901" fmla="*/ 142392 h 151120"/>
                  <a:gd name="connsiteX902" fmla="*/ 72033 w 391732"/>
                  <a:gd name="connsiteY902" fmla="*/ 142921 h 151120"/>
                  <a:gd name="connsiteX903" fmla="*/ 73268 w 391732"/>
                  <a:gd name="connsiteY903" fmla="*/ 142921 h 151120"/>
                  <a:gd name="connsiteX904" fmla="*/ 73532 w 391732"/>
                  <a:gd name="connsiteY904" fmla="*/ 143538 h 151120"/>
                  <a:gd name="connsiteX905" fmla="*/ 73797 w 391732"/>
                  <a:gd name="connsiteY905" fmla="*/ 144155 h 151120"/>
                  <a:gd name="connsiteX906" fmla="*/ 73797 w 391732"/>
                  <a:gd name="connsiteY906" fmla="*/ 144420 h 151120"/>
                  <a:gd name="connsiteX907" fmla="*/ 75296 w 391732"/>
                  <a:gd name="connsiteY907" fmla="*/ 144949 h 151120"/>
                  <a:gd name="connsiteX908" fmla="*/ 75560 w 391732"/>
                  <a:gd name="connsiteY908" fmla="*/ 144949 h 151120"/>
                  <a:gd name="connsiteX909" fmla="*/ 75560 w 391732"/>
                  <a:gd name="connsiteY909" fmla="*/ 144155 h 151120"/>
                  <a:gd name="connsiteX910" fmla="*/ 75825 w 391732"/>
                  <a:gd name="connsiteY910" fmla="*/ 143803 h 151120"/>
                  <a:gd name="connsiteX911" fmla="*/ 76177 w 391732"/>
                  <a:gd name="connsiteY911" fmla="*/ 144155 h 151120"/>
                  <a:gd name="connsiteX912" fmla="*/ 76442 w 391732"/>
                  <a:gd name="connsiteY912" fmla="*/ 144420 h 151120"/>
                  <a:gd name="connsiteX913" fmla="*/ 76177 w 391732"/>
                  <a:gd name="connsiteY913" fmla="*/ 144949 h 151120"/>
                  <a:gd name="connsiteX914" fmla="*/ 76442 w 391732"/>
                  <a:gd name="connsiteY914" fmla="*/ 144949 h 151120"/>
                  <a:gd name="connsiteX915" fmla="*/ 77059 w 391732"/>
                  <a:gd name="connsiteY915" fmla="*/ 144684 h 151120"/>
                  <a:gd name="connsiteX916" fmla="*/ 77324 w 391732"/>
                  <a:gd name="connsiteY916" fmla="*/ 144949 h 151120"/>
                  <a:gd name="connsiteX917" fmla="*/ 77941 w 391732"/>
                  <a:gd name="connsiteY917" fmla="*/ 145919 h 151120"/>
                  <a:gd name="connsiteX918" fmla="*/ 78823 w 391732"/>
                  <a:gd name="connsiteY918" fmla="*/ 146448 h 151120"/>
                  <a:gd name="connsiteX919" fmla="*/ 79352 w 391732"/>
                  <a:gd name="connsiteY919" fmla="*/ 145919 h 151120"/>
                  <a:gd name="connsiteX920" fmla="*/ 79969 w 391732"/>
                  <a:gd name="connsiteY920" fmla="*/ 145919 h 151120"/>
                  <a:gd name="connsiteX921" fmla="*/ 79352 w 391732"/>
                  <a:gd name="connsiteY921" fmla="*/ 146448 h 151120"/>
                  <a:gd name="connsiteX922" fmla="*/ 80498 w 391732"/>
                  <a:gd name="connsiteY922" fmla="*/ 146448 h 151120"/>
                  <a:gd name="connsiteX923" fmla="*/ 80498 w 391732"/>
                  <a:gd name="connsiteY923" fmla="*/ 146712 h 151120"/>
                  <a:gd name="connsiteX924" fmla="*/ 81644 w 391732"/>
                  <a:gd name="connsiteY924" fmla="*/ 147594 h 151120"/>
                  <a:gd name="connsiteX925" fmla="*/ 81996 w 391732"/>
                  <a:gd name="connsiteY925" fmla="*/ 147065 h 151120"/>
                  <a:gd name="connsiteX926" fmla="*/ 81996 w 391732"/>
                  <a:gd name="connsiteY926" fmla="*/ 146712 h 151120"/>
                  <a:gd name="connsiteX927" fmla="*/ 82878 w 391732"/>
                  <a:gd name="connsiteY927" fmla="*/ 147065 h 151120"/>
                  <a:gd name="connsiteX928" fmla="*/ 83407 w 391732"/>
                  <a:gd name="connsiteY928" fmla="*/ 147594 h 151120"/>
                  <a:gd name="connsiteX929" fmla="*/ 84642 w 391732"/>
                  <a:gd name="connsiteY929" fmla="*/ 147947 h 151120"/>
                  <a:gd name="connsiteX930" fmla="*/ 84906 w 391732"/>
                  <a:gd name="connsiteY930" fmla="*/ 147594 h 151120"/>
                  <a:gd name="connsiteX931" fmla="*/ 84289 w 391732"/>
                  <a:gd name="connsiteY931" fmla="*/ 147065 h 151120"/>
                  <a:gd name="connsiteX932" fmla="*/ 83407 w 391732"/>
                  <a:gd name="connsiteY932" fmla="*/ 146712 h 151120"/>
                  <a:gd name="connsiteX933" fmla="*/ 83672 w 391732"/>
                  <a:gd name="connsiteY933" fmla="*/ 146448 h 151120"/>
                  <a:gd name="connsiteX934" fmla="*/ 84906 w 391732"/>
                  <a:gd name="connsiteY934" fmla="*/ 146183 h 151120"/>
                  <a:gd name="connsiteX935" fmla="*/ 85788 w 391732"/>
                  <a:gd name="connsiteY935" fmla="*/ 146448 h 151120"/>
                  <a:gd name="connsiteX936" fmla="*/ 86052 w 391732"/>
                  <a:gd name="connsiteY936" fmla="*/ 146183 h 151120"/>
                  <a:gd name="connsiteX937" fmla="*/ 86405 w 391732"/>
                  <a:gd name="connsiteY937" fmla="*/ 145566 h 151120"/>
                  <a:gd name="connsiteX938" fmla="*/ 86669 w 391732"/>
                  <a:gd name="connsiteY938" fmla="*/ 145566 h 151120"/>
                  <a:gd name="connsiteX939" fmla="*/ 88697 w 391732"/>
                  <a:gd name="connsiteY939" fmla="*/ 146712 h 151120"/>
                  <a:gd name="connsiteX940" fmla="*/ 89315 w 391732"/>
                  <a:gd name="connsiteY940" fmla="*/ 146448 h 151120"/>
                  <a:gd name="connsiteX941" fmla="*/ 89315 w 391732"/>
                  <a:gd name="connsiteY941" fmla="*/ 144684 h 151120"/>
                  <a:gd name="connsiteX942" fmla="*/ 89844 w 391732"/>
                  <a:gd name="connsiteY942" fmla="*/ 144155 h 151120"/>
                  <a:gd name="connsiteX943" fmla="*/ 90108 w 391732"/>
                  <a:gd name="connsiteY943" fmla="*/ 144155 h 151120"/>
                  <a:gd name="connsiteX944" fmla="*/ 90461 w 391732"/>
                  <a:gd name="connsiteY944" fmla="*/ 144949 h 151120"/>
                  <a:gd name="connsiteX945" fmla="*/ 90725 w 391732"/>
                  <a:gd name="connsiteY945" fmla="*/ 144949 h 151120"/>
                  <a:gd name="connsiteX946" fmla="*/ 90725 w 391732"/>
                  <a:gd name="connsiteY946" fmla="*/ 144155 h 151120"/>
                  <a:gd name="connsiteX947" fmla="*/ 90990 w 391732"/>
                  <a:gd name="connsiteY947" fmla="*/ 144155 h 151120"/>
                  <a:gd name="connsiteX948" fmla="*/ 91960 w 391732"/>
                  <a:gd name="connsiteY948" fmla="*/ 144420 h 151120"/>
                  <a:gd name="connsiteX949" fmla="*/ 91960 w 391732"/>
                  <a:gd name="connsiteY949" fmla="*/ 144155 h 151120"/>
                  <a:gd name="connsiteX950" fmla="*/ 92224 w 391732"/>
                  <a:gd name="connsiteY950" fmla="*/ 143803 h 151120"/>
                  <a:gd name="connsiteX951" fmla="*/ 92753 w 391732"/>
                  <a:gd name="connsiteY951" fmla="*/ 143538 h 151120"/>
                  <a:gd name="connsiteX952" fmla="*/ 93635 w 391732"/>
                  <a:gd name="connsiteY952" fmla="*/ 143803 h 151120"/>
                  <a:gd name="connsiteX953" fmla="*/ 95398 w 391732"/>
                  <a:gd name="connsiteY953" fmla="*/ 144155 h 151120"/>
                  <a:gd name="connsiteX954" fmla="*/ 96544 w 391732"/>
                  <a:gd name="connsiteY954" fmla="*/ 144155 h 151120"/>
                  <a:gd name="connsiteX955" fmla="*/ 96280 w 391732"/>
                  <a:gd name="connsiteY955" fmla="*/ 144684 h 151120"/>
                  <a:gd name="connsiteX956" fmla="*/ 96015 w 391732"/>
                  <a:gd name="connsiteY956" fmla="*/ 144949 h 151120"/>
                  <a:gd name="connsiteX957" fmla="*/ 96015 w 391732"/>
                  <a:gd name="connsiteY957" fmla="*/ 145301 h 151120"/>
                  <a:gd name="connsiteX958" fmla="*/ 97426 w 391732"/>
                  <a:gd name="connsiteY958" fmla="*/ 145301 h 151120"/>
                  <a:gd name="connsiteX959" fmla="*/ 98043 w 391732"/>
                  <a:gd name="connsiteY959" fmla="*/ 144420 h 151120"/>
                  <a:gd name="connsiteX960" fmla="*/ 98043 w 391732"/>
                  <a:gd name="connsiteY960" fmla="*/ 143803 h 151120"/>
                  <a:gd name="connsiteX961" fmla="*/ 98572 w 391732"/>
                  <a:gd name="connsiteY961" fmla="*/ 143274 h 151120"/>
                  <a:gd name="connsiteX962" fmla="*/ 98572 w 391732"/>
                  <a:gd name="connsiteY962" fmla="*/ 142392 h 151120"/>
                  <a:gd name="connsiteX963" fmla="*/ 98043 w 391732"/>
                  <a:gd name="connsiteY963" fmla="*/ 140893 h 151120"/>
                  <a:gd name="connsiteX964" fmla="*/ 97426 w 391732"/>
                  <a:gd name="connsiteY964" fmla="*/ 140011 h 151120"/>
                  <a:gd name="connsiteX965" fmla="*/ 97426 w 391732"/>
                  <a:gd name="connsiteY965" fmla="*/ 139482 h 151120"/>
                  <a:gd name="connsiteX966" fmla="*/ 98043 w 391732"/>
                  <a:gd name="connsiteY966" fmla="*/ 139130 h 151120"/>
                  <a:gd name="connsiteX967" fmla="*/ 98925 w 391732"/>
                  <a:gd name="connsiteY967" fmla="*/ 138601 h 151120"/>
                  <a:gd name="connsiteX968" fmla="*/ 100071 w 391732"/>
                  <a:gd name="connsiteY968" fmla="*/ 137454 h 151120"/>
                  <a:gd name="connsiteX969" fmla="*/ 100071 w 391732"/>
                  <a:gd name="connsiteY969" fmla="*/ 136837 h 151120"/>
                  <a:gd name="connsiteX970" fmla="*/ 100336 w 391732"/>
                  <a:gd name="connsiteY970" fmla="*/ 136220 h 151120"/>
                  <a:gd name="connsiteX971" fmla="*/ 100071 w 391732"/>
                  <a:gd name="connsiteY971" fmla="*/ 135691 h 151120"/>
                  <a:gd name="connsiteX972" fmla="*/ 99454 w 391732"/>
                  <a:gd name="connsiteY972" fmla="*/ 135956 h 151120"/>
                  <a:gd name="connsiteX973" fmla="*/ 98572 w 391732"/>
                  <a:gd name="connsiteY973" fmla="*/ 135691 h 151120"/>
                  <a:gd name="connsiteX974" fmla="*/ 98043 w 391732"/>
                  <a:gd name="connsiteY974" fmla="*/ 134809 h 151120"/>
                  <a:gd name="connsiteX975" fmla="*/ 98308 w 391732"/>
                  <a:gd name="connsiteY975" fmla="*/ 133663 h 151120"/>
                  <a:gd name="connsiteX976" fmla="*/ 98308 w 391732"/>
                  <a:gd name="connsiteY976" fmla="*/ 133311 h 151120"/>
                  <a:gd name="connsiteX977" fmla="*/ 99189 w 391732"/>
                  <a:gd name="connsiteY977" fmla="*/ 132782 h 151120"/>
                  <a:gd name="connsiteX978" fmla="*/ 99454 w 391732"/>
                  <a:gd name="connsiteY978" fmla="*/ 132429 h 151120"/>
                  <a:gd name="connsiteX979" fmla="*/ 99189 w 391732"/>
                  <a:gd name="connsiteY979" fmla="*/ 131900 h 151120"/>
                  <a:gd name="connsiteX980" fmla="*/ 98043 w 391732"/>
                  <a:gd name="connsiteY980" fmla="*/ 131018 h 151120"/>
                  <a:gd name="connsiteX981" fmla="*/ 98043 w 391732"/>
                  <a:gd name="connsiteY981" fmla="*/ 130401 h 151120"/>
                  <a:gd name="connsiteX982" fmla="*/ 98308 w 391732"/>
                  <a:gd name="connsiteY982" fmla="*/ 129872 h 151120"/>
                  <a:gd name="connsiteX983" fmla="*/ 98925 w 391732"/>
                  <a:gd name="connsiteY983" fmla="*/ 129872 h 151120"/>
                  <a:gd name="connsiteX984" fmla="*/ 99189 w 391732"/>
                  <a:gd name="connsiteY984" fmla="*/ 129519 h 151120"/>
                  <a:gd name="connsiteX985" fmla="*/ 99718 w 391732"/>
                  <a:gd name="connsiteY985" fmla="*/ 128638 h 151120"/>
                  <a:gd name="connsiteX986" fmla="*/ 100071 w 391732"/>
                  <a:gd name="connsiteY986" fmla="*/ 128373 h 151120"/>
                  <a:gd name="connsiteX987" fmla="*/ 100688 w 391732"/>
                  <a:gd name="connsiteY987" fmla="*/ 128638 h 151120"/>
                  <a:gd name="connsiteX988" fmla="*/ 100953 w 391732"/>
                  <a:gd name="connsiteY988" fmla="*/ 129519 h 151120"/>
                  <a:gd name="connsiteX989" fmla="*/ 102099 w 391732"/>
                  <a:gd name="connsiteY989" fmla="*/ 130136 h 151120"/>
                  <a:gd name="connsiteX990" fmla="*/ 103862 w 391732"/>
                  <a:gd name="connsiteY990" fmla="*/ 130401 h 151120"/>
                  <a:gd name="connsiteX991" fmla="*/ 105273 w 391732"/>
                  <a:gd name="connsiteY991" fmla="*/ 130136 h 151120"/>
                  <a:gd name="connsiteX992" fmla="*/ 106507 w 391732"/>
                  <a:gd name="connsiteY992" fmla="*/ 129872 h 151120"/>
                  <a:gd name="connsiteX993" fmla="*/ 107389 w 391732"/>
                  <a:gd name="connsiteY993" fmla="*/ 129255 h 151120"/>
                  <a:gd name="connsiteX994" fmla="*/ 108271 w 391732"/>
                  <a:gd name="connsiteY994" fmla="*/ 129872 h 151120"/>
                  <a:gd name="connsiteX995" fmla="*/ 109681 w 391732"/>
                  <a:gd name="connsiteY995" fmla="*/ 129872 h 151120"/>
                  <a:gd name="connsiteX996" fmla="*/ 111445 w 391732"/>
                  <a:gd name="connsiteY996" fmla="*/ 130136 h 151120"/>
                  <a:gd name="connsiteX997" fmla="*/ 112591 w 391732"/>
                  <a:gd name="connsiteY997" fmla="*/ 130136 h 151120"/>
                  <a:gd name="connsiteX998" fmla="*/ 113825 w 391732"/>
                  <a:gd name="connsiteY998" fmla="*/ 129872 h 151120"/>
                  <a:gd name="connsiteX999" fmla="*/ 114972 w 391732"/>
                  <a:gd name="connsiteY999" fmla="*/ 130136 h 151120"/>
                  <a:gd name="connsiteX1000" fmla="*/ 115236 w 391732"/>
                  <a:gd name="connsiteY1000" fmla="*/ 130401 h 151120"/>
                  <a:gd name="connsiteX1001" fmla="*/ 114972 w 391732"/>
                  <a:gd name="connsiteY1001" fmla="*/ 131018 h 151120"/>
                  <a:gd name="connsiteX1002" fmla="*/ 114972 w 391732"/>
                  <a:gd name="connsiteY1002" fmla="*/ 131547 h 151120"/>
                  <a:gd name="connsiteX1003" fmla="*/ 115236 w 391732"/>
                  <a:gd name="connsiteY1003" fmla="*/ 132164 h 151120"/>
                  <a:gd name="connsiteX1004" fmla="*/ 116118 w 391732"/>
                  <a:gd name="connsiteY1004" fmla="*/ 132429 h 151120"/>
                  <a:gd name="connsiteX1005" fmla="*/ 117881 w 391732"/>
                  <a:gd name="connsiteY1005" fmla="*/ 132782 h 151120"/>
                  <a:gd name="connsiteX1006" fmla="*/ 119027 w 391732"/>
                  <a:gd name="connsiteY1006" fmla="*/ 133311 h 151120"/>
                  <a:gd name="connsiteX1007" fmla="*/ 119909 w 391732"/>
                  <a:gd name="connsiteY1007" fmla="*/ 133928 h 151120"/>
                  <a:gd name="connsiteX1008" fmla="*/ 121672 w 391732"/>
                  <a:gd name="connsiteY1008" fmla="*/ 133928 h 151120"/>
                  <a:gd name="connsiteX1009" fmla="*/ 122201 w 391732"/>
                  <a:gd name="connsiteY1009" fmla="*/ 134809 h 151120"/>
                  <a:gd name="connsiteX1010" fmla="*/ 122554 w 391732"/>
                  <a:gd name="connsiteY1010" fmla="*/ 135338 h 151120"/>
                  <a:gd name="connsiteX1011" fmla="*/ 123347 w 391732"/>
                  <a:gd name="connsiteY1011" fmla="*/ 135691 h 151120"/>
                  <a:gd name="connsiteX1012" fmla="*/ 124582 w 391732"/>
                  <a:gd name="connsiteY1012" fmla="*/ 135956 h 151120"/>
                  <a:gd name="connsiteX1013" fmla="*/ 125728 w 391732"/>
                  <a:gd name="connsiteY1013" fmla="*/ 135956 h 151120"/>
                  <a:gd name="connsiteX1014" fmla="*/ 126345 w 391732"/>
                  <a:gd name="connsiteY1014" fmla="*/ 136573 h 151120"/>
                  <a:gd name="connsiteX1015" fmla="*/ 126874 w 391732"/>
                  <a:gd name="connsiteY1015" fmla="*/ 137454 h 151120"/>
                  <a:gd name="connsiteX1016" fmla="*/ 127139 w 391732"/>
                  <a:gd name="connsiteY1016" fmla="*/ 137719 h 151120"/>
                  <a:gd name="connsiteX1017" fmla="*/ 128109 w 391732"/>
                  <a:gd name="connsiteY1017" fmla="*/ 137454 h 151120"/>
                  <a:gd name="connsiteX1018" fmla="*/ 128990 w 391732"/>
                  <a:gd name="connsiteY1018" fmla="*/ 137454 h 151120"/>
                  <a:gd name="connsiteX1019" fmla="*/ 129519 w 391732"/>
                  <a:gd name="connsiteY1019" fmla="*/ 137719 h 151120"/>
                  <a:gd name="connsiteX1020" fmla="*/ 129784 w 391732"/>
                  <a:gd name="connsiteY1020" fmla="*/ 138248 h 151120"/>
                  <a:gd name="connsiteX1021" fmla="*/ 130401 w 391732"/>
                  <a:gd name="connsiteY1021" fmla="*/ 138601 h 151120"/>
                  <a:gd name="connsiteX1022" fmla="*/ 131547 w 391732"/>
                  <a:gd name="connsiteY1022" fmla="*/ 138865 h 151120"/>
                  <a:gd name="connsiteX1023" fmla="*/ 132429 w 391732"/>
                  <a:gd name="connsiteY1023" fmla="*/ 139482 h 151120"/>
                  <a:gd name="connsiteX1024" fmla="*/ 133575 w 391732"/>
                  <a:gd name="connsiteY1024" fmla="*/ 140364 h 151120"/>
                  <a:gd name="connsiteX1025" fmla="*/ 134192 w 391732"/>
                  <a:gd name="connsiteY1025" fmla="*/ 142392 h 151120"/>
                  <a:gd name="connsiteX1026" fmla="*/ 135603 w 391732"/>
                  <a:gd name="connsiteY1026" fmla="*/ 143274 h 151120"/>
                  <a:gd name="connsiteX1027" fmla="*/ 135955 w 391732"/>
                  <a:gd name="connsiteY1027" fmla="*/ 143803 h 151120"/>
                  <a:gd name="connsiteX1028" fmla="*/ 135603 w 391732"/>
                  <a:gd name="connsiteY1028" fmla="*/ 144420 h 151120"/>
                  <a:gd name="connsiteX1029" fmla="*/ 135955 w 391732"/>
                  <a:gd name="connsiteY1029" fmla="*/ 144949 h 151120"/>
                  <a:gd name="connsiteX1030" fmla="*/ 136220 w 391732"/>
                  <a:gd name="connsiteY1030" fmla="*/ 145566 h 151120"/>
                  <a:gd name="connsiteX1031" fmla="*/ 137366 w 391732"/>
                  <a:gd name="connsiteY1031" fmla="*/ 146448 h 151120"/>
                  <a:gd name="connsiteX1032" fmla="*/ 138601 w 391732"/>
                  <a:gd name="connsiteY1032" fmla="*/ 146712 h 151120"/>
                  <a:gd name="connsiteX1033" fmla="*/ 140364 w 391732"/>
                  <a:gd name="connsiteY1033" fmla="*/ 147329 h 151120"/>
                  <a:gd name="connsiteX1034" fmla="*/ 141510 w 391732"/>
                  <a:gd name="connsiteY1034" fmla="*/ 148211 h 151120"/>
                  <a:gd name="connsiteX1035" fmla="*/ 143274 w 391732"/>
                  <a:gd name="connsiteY1035" fmla="*/ 149710 h 151120"/>
                  <a:gd name="connsiteX1036" fmla="*/ 144155 w 391732"/>
                  <a:gd name="connsiteY1036" fmla="*/ 149974 h 151120"/>
                  <a:gd name="connsiteX1037" fmla="*/ 145566 w 391732"/>
                  <a:gd name="connsiteY1037" fmla="*/ 150239 h 151120"/>
                  <a:gd name="connsiteX1038" fmla="*/ 146712 w 391732"/>
                  <a:gd name="connsiteY1038" fmla="*/ 149974 h 151120"/>
                  <a:gd name="connsiteX1039" fmla="*/ 147065 w 391732"/>
                  <a:gd name="connsiteY1039" fmla="*/ 149710 h 151120"/>
                  <a:gd name="connsiteX1040" fmla="*/ 147329 w 391732"/>
                  <a:gd name="connsiteY1040" fmla="*/ 148828 h 151120"/>
                  <a:gd name="connsiteX1041" fmla="*/ 147947 w 391732"/>
                  <a:gd name="connsiteY1041" fmla="*/ 148211 h 151120"/>
                  <a:gd name="connsiteX1042" fmla="*/ 148211 w 391732"/>
                  <a:gd name="connsiteY1042" fmla="*/ 147947 h 151120"/>
                  <a:gd name="connsiteX1043" fmla="*/ 149622 w 391732"/>
                  <a:gd name="connsiteY1043" fmla="*/ 147947 h 151120"/>
                  <a:gd name="connsiteX1044" fmla="*/ 150503 w 391732"/>
                  <a:gd name="connsiteY1044" fmla="*/ 148211 h 151120"/>
                  <a:gd name="connsiteX1045" fmla="*/ 151385 w 391732"/>
                  <a:gd name="connsiteY1045" fmla="*/ 148476 h 151120"/>
                  <a:gd name="connsiteX1046" fmla="*/ 151738 w 391732"/>
                  <a:gd name="connsiteY1046" fmla="*/ 148828 h 151120"/>
                  <a:gd name="connsiteX1047" fmla="*/ 152884 w 391732"/>
                  <a:gd name="connsiteY1047" fmla="*/ 148476 h 151120"/>
                  <a:gd name="connsiteX1048" fmla="*/ 153148 w 391732"/>
                  <a:gd name="connsiteY1048" fmla="*/ 148211 h 151120"/>
                  <a:gd name="connsiteX1049" fmla="*/ 153413 w 391732"/>
                  <a:gd name="connsiteY1049" fmla="*/ 147947 h 151120"/>
                  <a:gd name="connsiteX1050" fmla="*/ 153148 w 391732"/>
                  <a:gd name="connsiteY1050" fmla="*/ 147594 h 151120"/>
                  <a:gd name="connsiteX1051" fmla="*/ 153148 w 391732"/>
                  <a:gd name="connsiteY1051" fmla="*/ 147329 h 151120"/>
                  <a:gd name="connsiteX1052" fmla="*/ 155176 w 391732"/>
                  <a:gd name="connsiteY1052" fmla="*/ 147329 h 151120"/>
                  <a:gd name="connsiteX1053" fmla="*/ 156675 w 391732"/>
                  <a:gd name="connsiteY1053" fmla="*/ 147594 h 151120"/>
                  <a:gd name="connsiteX1054" fmla="*/ 158968 w 391732"/>
                  <a:gd name="connsiteY1054" fmla="*/ 147594 h 151120"/>
                  <a:gd name="connsiteX1055" fmla="*/ 159849 w 391732"/>
                  <a:gd name="connsiteY1055" fmla="*/ 147329 h 151120"/>
                  <a:gd name="connsiteX1056" fmla="*/ 160731 w 391732"/>
                  <a:gd name="connsiteY1056" fmla="*/ 147329 h 151120"/>
                  <a:gd name="connsiteX1057" fmla="*/ 161877 w 391732"/>
                  <a:gd name="connsiteY1057" fmla="*/ 147594 h 151120"/>
                  <a:gd name="connsiteX1058" fmla="*/ 163023 w 391732"/>
                  <a:gd name="connsiteY1058" fmla="*/ 147065 h 151120"/>
                  <a:gd name="connsiteX1059" fmla="*/ 163023 w 391732"/>
                  <a:gd name="connsiteY1059" fmla="*/ 146183 h 151120"/>
                  <a:gd name="connsiteX1060" fmla="*/ 163993 w 391732"/>
                  <a:gd name="connsiteY1060" fmla="*/ 145566 h 151120"/>
                  <a:gd name="connsiteX1061" fmla="*/ 164258 w 391732"/>
                  <a:gd name="connsiteY1061" fmla="*/ 145919 h 151120"/>
                  <a:gd name="connsiteX1062" fmla="*/ 164258 w 391732"/>
                  <a:gd name="connsiteY1062" fmla="*/ 146183 h 151120"/>
                  <a:gd name="connsiteX1063" fmla="*/ 164522 w 391732"/>
                  <a:gd name="connsiteY1063" fmla="*/ 146448 h 151120"/>
                  <a:gd name="connsiteX1064" fmla="*/ 164787 w 391732"/>
                  <a:gd name="connsiteY1064" fmla="*/ 146183 h 151120"/>
                  <a:gd name="connsiteX1065" fmla="*/ 165668 w 391732"/>
                  <a:gd name="connsiteY1065" fmla="*/ 145301 h 151120"/>
                  <a:gd name="connsiteX1066" fmla="*/ 166903 w 391732"/>
                  <a:gd name="connsiteY1066" fmla="*/ 144949 h 151120"/>
                  <a:gd name="connsiteX1067" fmla="*/ 168313 w 391732"/>
                  <a:gd name="connsiteY1067" fmla="*/ 144949 h 151120"/>
                  <a:gd name="connsiteX1068" fmla="*/ 168931 w 391732"/>
                  <a:gd name="connsiteY1068" fmla="*/ 144420 h 151120"/>
                  <a:gd name="connsiteX1069" fmla="*/ 168666 w 391732"/>
                  <a:gd name="connsiteY1069" fmla="*/ 144420 h 151120"/>
                  <a:gd name="connsiteX1070" fmla="*/ 167432 w 391732"/>
                  <a:gd name="connsiteY1070" fmla="*/ 144155 h 151120"/>
                  <a:gd name="connsiteX1071" fmla="*/ 168049 w 391732"/>
                  <a:gd name="connsiteY1071" fmla="*/ 143538 h 151120"/>
                  <a:gd name="connsiteX1072" fmla="*/ 168666 w 391732"/>
                  <a:gd name="connsiteY1072" fmla="*/ 143274 h 151120"/>
                  <a:gd name="connsiteX1073" fmla="*/ 169460 w 391732"/>
                  <a:gd name="connsiteY1073" fmla="*/ 142921 h 151120"/>
                  <a:gd name="connsiteX1074" fmla="*/ 170077 w 391732"/>
                  <a:gd name="connsiteY1074" fmla="*/ 143538 h 151120"/>
                  <a:gd name="connsiteX1075" fmla="*/ 170341 w 391732"/>
                  <a:gd name="connsiteY1075" fmla="*/ 143803 h 151120"/>
                  <a:gd name="connsiteX1076" fmla="*/ 170694 w 391732"/>
                  <a:gd name="connsiteY1076" fmla="*/ 144949 h 151120"/>
                  <a:gd name="connsiteX1077" fmla="*/ 170958 w 391732"/>
                  <a:gd name="connsiteY1077" fmla="*/ 144949 h 151120"/>
                  <a:gd name="connsiteX1078" fmla="*/ 171576 w 391732"/>
                  <a:gd name="connsiteY1078" fmla="*/ 144420 h 151120"/>
                  <a:gd name="connsiteX1079" fmla="*/ 172105 w 391732"/>
                  <a:gd name="connsiteY1079" fmla="*/ 143803 h 151120"/>
                  <a:gd name="connsiteX1080" fmla="*/ 172986 w 391732"/>
                  <a:gd name="connsiteY1080" fmla="*/ 143538 h 151120"/>
                  <a:gd name="connsiteX1081" fmla="*/ 173251 w 391732"/>
                  <a:gd name="connsiteY1081" fmla="*/ 142921 h 151120"/>
                  <a:gd name="connsiteX1082" fmla="*/ 173251 w 391732"/>
                  <a:gd name="connsiteY1082" fmla="*/ 142127 h 151120"/>
                  <a:gd name="connsiteX1083" fmla="*/ 172986 w 391732"/>
                  <a:gd name="connsiteY1083" fmla="*/ 140011 h 151120"/>
                  <a:gd name="connsiteX1084" fmla="*/ 173251 w 391732"/>
                  <a:gd name="connsiteY1084" fmla="*/ 140011 h 151120"/>
                  <a:gd name="connsiteX1085" fmla="*/ 173604 w 391732"/>
                  <a:gd name="connsiteY1085" fmla="*/ 139482 h 151120"/>
                  <a:gd name="connsiteX1086" fmla="*/ 174133 w 391732"/>
                  <a:gd name="connsiteY1086" fmla="*/ 139482 h 151120"/>
                  <a:gd name="connsiteX1087" fmla="*/ 175014 w 391732"/>
                  <a:gd name="connsiteY1087" fmla="*/ 137454 h 151120"/>
                  <a:gd name="connsiteX1088" fmla="*/ 175631 w 391732"/>
                  <a:gd name="connsiteY1088" fmla="*/ 136837 h 151120"/>
                  <a:gd name="connsiteX1089" fmla="*/ 176160 w 391732"/>
                  <a:gd name="connsiteY1089" fmla="*/ 136837 h 151120"/>
                  <a:gd name="connsiteX1090" fmla="*/ 177659 w 391732"/>
                  <a:gd name="connsiteY1090" fmla="*/ 134809 h 151120"/>
                  <a:gd name="connsiteX1091" fmla="*/ 178188 w 391732"/>
                  <a:gd name="connsiteY1091" fmla="*/ 133928 h 151120"/>
                  <a:gd name="connsiteX1092" fmla="*/ 180833 w 391732"/>
                  <a:gd name="connsiteY1092" fmla="*/ 132164 h 151120"/>
                  <a:gd name="connsiteX1093" fmla="*/ 181979 w 391732"/>
                  <a:gd name="connsiteY1093" fmla="*/ 130401 h 151120"/>
                  <a:gd name="connsiteX1094" fmla="*/ 183478 w 391732"/>
                  <a:gd name="connsiteY1094" fmla="*/ 129519 h 151120"/>
                  <a:gd name="connsiteX1095" fmla="*/ 184096 w 391732"/>
                  <a:gd name="connsiteY1095" fmla="*/ 129255 h 151120"/>
                  <a:gd name="connsiteX1096" fmla="*/ 186388 w 391732"/>
                  <a:gd name="connsiteY1096" fmla="*/ 129519 h 151120"/>
                  <a:gd name="connsiteX1097" fmla="*/ 187005 w 391732"/>
                  <a:gd name="connsiteY1097" fmla="*/ 130401 h 151120"/>
                  <a:gd name="connsiteX1098" fmla="*/ 187270 w 391732"/>
                  <a:gd name="connsiteY1098" fmla="*/ 132164 h 151120"/>
                  <a:gd name="connsiteX1099" fmla="*/ 187887 w 391732"/>
                  <a:gd name="connsiteY1099" fmla="*/ 132429 h 151120"/>
                  <a:gd name="connsiteX1100" fmla="*/ 188769 w 391732"/>
                  <a:gd name="connsiteY1100" fmla="*/ 132782 h 151120"/>
                  <a:gd name="connsiteX1101" fmla="*/ 189650 w 391732"/>
                  <a:gd name="connsiteY1101" fmla="*/ 133046 h 151120"/>
                  <a:gd name="connsiteX1102" fmla="*/ 190444 w 391732"/>
                  <a:gd name="connsiteY1102" fmla="*/ 133311 h 151120"/>
                  <a:gd name="connsiteX1103" fmla="*/ 193441 w 391732"/>
                  <a:gd name="connsiteY1103" fmla="*/ 135691 h 151120"/>
                  <a:gd name="connsiteX1104" fmla="*/ 195205 w 391732"/>
                  <a:gd name="connsiteY1104" fmla="*/ 135691 h 151120"/>
                  <a:gd name="connsiteX1105" fmla="*/ 196880 w 391732"/>
                  <a:gd name="connsiteY1105" fmla="*/ 136837 h 151120"/>
                  <a:gd name="connsiteX1106" fmla="*/ 196880 w 391732"/>
                  <a:gd name="connsiteY1106" fmla="*/ 137454 h 151120"/>
                  <a:gd name="connsiteX1107" fmla="*/ 197144 w 391732"/>
                  <a:gd name="connsiteY1107" fmla="*/ 137719 h 151120"/>
                  <a:gd name="connsiteX1108" fmla="*/ 198379 w 391732"/>
                  <a:gd name="connsiteY1108" fmla="*/ 137454 h 151120"/>
                  <a:gd name="connsiteX1109" fmla="*/ 199261 w 391732"/>
                  <a:gd name="connsiteY1109" fmla="*/ 137454 h 151120"/>
                  <a:gd name="connsiteX1110" fmla="*/ 199790 w 391732"/>
                  <a:gd name="connsiteY1110" fmla="*/ 136573 h 151120"/>
                  <a:gd name="connsiteX1111" fmla="*/ 200671 w 391732"/>
                  <a:gd name="connsiteY1111" fmla="*/ 136837 h 151120"/>
                  <a:gd name="connsiteX1112" fmla="*/ 201024 w 391732"/>
                  <a:gd name="connsiteY1112" fmla="*/ 136837 h 151120"/>
                  <a:gd name="connsiteX1113" fmla="*/ 201288 w 391732"/>
                  <a:gd name="connsiteY1113" fmla="*/ 136573 h 151120"/>
                  <a:gd name="connsiteX1114" fmla="*/ 201553 w 391732"/>
                  <a:gd name="connsiteY1114" fmla="*/ 136220 h 151120"/>
                  <a:gd name="connsiteX1115" fmla="*/ 201906 w 391732"/>
                  <a:gd name="connsiteY1115" fmla="*/ 135956 h 151120"/>
                  <a:gd name="connsiteX1116" fmla="*/ 202170 w 391732"/>
                  <a:gd name="connsiteY1116" fmla="*/ 136573 h 151120"/>
                  <a:gd name="connsiteX1117" fmla="*/ 202435 w 391732"/>
                  <a:gd name="connsiteY1117" fmla="*/ 136573 h 151120"/>
                  <a:gd name="connsiteX1118" fmla="*/ 203052 w 391732"/>
                  <a:gd name="connsiteY1118" fmla="*/ 135691 h 151120"/>
                  <a:gd name="connsiteX1119" fmla="*/ 203581 w 391732"/>
                  <a:gd name="connsiteY1119" fmla="*/ 135691 h 151120"/>
                  <a:gd name="connsiteX1120" fmla="*/ 203934 w 391732"/>
                  <a:gd name="connsiteY1120" fmla="*/ 135074 h 151120"/>
                  <a:gd name="connsiteX1121" fmla="*/ 204462 w 391732"/>
                  <a:gd name="connsiteY1121" fmla="*/ 134457 h 151120"/>
                  <a:gd name="connsiteX1122" fmla="*/ 204815 w 391732"/>
                  <a:gd name="connsiteY1122" fmla="*/ 133928 h 151120"/>
                  <a:gd name="connsiteX1123" fmla="*/ 204815 w 391732"/>
                  <a:gd name="connsiteY1123" fmla="*/ 133311 h 151120"/>
                  <a:gd name="connsiteX1124" fmla="*/ 203934 w 391732"/>
                  <a:gd name="connsiteY1124" fmla="*/ 133311 h 151120"/>
                  <a:gd name="connsiteX1125" fmla="*/ 203934 w 391732"/>
                  <a:gd name="connsiteY1125" fmla="*/ 133046 h 151120"/>
                  <a:gd name="connsiteX1126" fmla="*/ 203581 w 391732"/>
                  <a:gd name="connsiteY1126" fmla="*/ 133046 h 151120"/>
                  <a:gd name="connsiteX1127" fmla="*/ 203316 w 391732"/>
                  <a:gd name="connsiteY1127" fmla="*/ 132782 h 151120"/>
                  <a:gd name="connsiteX1128" fmla="*/ 203316 w 391732"/>
                  <a:gd name="connsiteY1128" fmla="*/ 132429 h 151120"/>
                  <a:gd name="connsiteX1129" fmla="*/ 203581 w 391732"/>
                  <a:gd name="connsiteY1129" fmla="*/ 132164 h 151120"/>
                  <a:gd name="connsiteX1130" fmla="*/ 204462 w 391732"/>
                  <a:gd name="connsiteY1130" fmla="*/ 132164 h 151120"/>
                  <a:gd name="connsiteX1131" fmla="*/ 207989 w 391732"/>
                  <a:gd name="connsiteY1131" fmla="*/ 130665 h 151120"/>
                  <a:gd name="connsiteX1132" fmla="*/ 209135 w 391732"/>
                  <a:gd name="connsiteY1132" fmla="*/ 129519 h 151120"/>
                  <a:gd name="connsiteX1133" fmla="*/ 210017 w 391732"/>
                  <a:gd name="connsiteY1133" fmla="*/ 128373 h 151120"/>
                  <a:gd name="connsiteX1134" fmla="*/ 210282 w 391732"/>
                  <a:gd name="connsiteY1134" fmla="*/ 128109 h 151120"/>
                  <a:gd name="connsiteX1135" fmla="*/ 210899 w 391732"/>
                  <a:gd name="connsiteY1135" fmla="*/ 127756 h 151120"/>
                  <a:gd name="connsiteX1136" fmla="*/ 212398 w 391732"/>
                  <a:gd name="connsiteY1136" fmla="*/ 128373 h 151120"/>
                  <a:gd name="connsiteX1137" fmla="*/ 212927 w 391732"/>
                  <a:gd name="connsiteY1137" fmla="*/ 129255 h 151120"/>
                  <a:gd name="connsiteX1138" fmla="*/ 214690 w 391732"/>
                  <a:gd name="connsiteY1138" fmla="*/ 129519 h 151120"/>
                  <a:gd name="connsiteX1139" fmla="*/ 215572 w 391732"/>
                  <a:gd name="connsiteY1139" fmla="*/ 130401 h 151120"/>
                  <a:gd name="connsiteX1140" fmla="*/ 215219 w 391732"/>
                  <a:gd name="connsiteY1140" fmla="*/ 131283 h 151120"/>
                  <a:gd name="connsiteX1141" fmla="*/ 215572 w 391732"/>
                  <a:gd name="connsiteY1141" fmla="*/ 132164 h 151120"/>
                  <a:gd name="connsiteX1142" fmla="*/ 216189 w 391732"/>
                  <a:gd name="connsiteY1142" fmla="*/ 133311 h 151120"/>
                  <a:gd name="connsiteX1143" fmla="*/ 215836 w 391732"/>
                  <a:gd name="connsiteY1143" fmla="*/ 133928 h 151120"/>
                  <a:gd name="connsiteX1144" fmla="*/ 214955 w 391732"/>
                  <a:gd name="connsiteY1144" fmla="*/ 135691 h 151120"/>
                  <a:gd name="connsiteX1145" fmla="*/ 214426 w 391732"/>
                  <a:gd name="connsiteY1145" fmla="*/ 136573 h 151120"/>
                  <a:gd name="connsiteX1146" fmla="*/ 214426 w 391732"/>
                  <a:gd name="connsiteY1146" fmla="*/ 137102 h 151120"/>
                  <a:gd name="connsiteX1147" fmla="*/ 214073 w 391732"/>
                  <a:gd name="connsiteY1147" fmla="*/ 137719 h 151120"/>
                  <a:gd name="connsiteX1148" fmla="*/ 213808 w 391732"/>
                  <a:gd name="connsiteY1148" fmla="*/ 137719 h 151120"/>
                  <a:gd name="connsiteX1149" fmla="*/ 212927 w 391732"/>
                  <a:gd name="connsiteY1149" fmla="*/ 137454 h 151120"/>
                  <a:gd name="connsiteX1150" fmla="*/ 212045 w 391732"/>
                  <a:gd name="connsiteY1150" fmla="*/ 137719 h 151120"/>
                  <a:gd name="connsiteX1151" fmla="*/ 212045 w 391732"/>
                  <a:gd name="connsiteY1151" fmla="*/ 138601 h 151120"/>
                  <a:gd name="connsiteX1152" fmla="*/ 211516 w 391732"/>
                  <a:gd name="connsiteY1152" fmla="*/ 138865 h 151120"/>
                  <a:gd name="connsiteX1153" fmla="*/ 211163 w 391732"/>
                  <a:gd name="connsiteY1153" fmla="*/ 139130 h 151120"/>
                  <a:gd name="connsiteX1154" fmla="*/ 210282 w 391732"/>
                  <a:gd name="connsiteY1154" fmla="*/ 139130 h 151120"/>
                  <a:gd name="connsiteX1155" fmla="*/ 210017 w 391732"/>
                  <a:gd name="connsiteY1155" fmla="*/ 139482 h 151120"/>
                  <a:gd name="connsiteX1156" fmla="*/ 209488 w 391732"/>
                  <a:gd name="connsiteY1156" fmla="*/ 140011 h 151120"/>
                  <a:gd name="connsiteX1157" fmla="*/ 209135 w 391732"/>
                  <a:gd name="connsiteY1157" fmla="*/ 142127 h 151120"/>
                  <a:gd name="connsiteX1158" fmla="*/ 208871 w 391732"/>
                  <a:gd name="connsiteY1158" fmla="*/ 142392 h 151120"/>
                  <a:gd name="connsiteX1159" fmla="*/ 207989 w 391732"/>
                  <a:gd name="connsiteY1159" fmla="*/ 142392 h 151120"/>
                  <a:gd name="connsiteX1160" fmla="*/ 207725 w 391732"/>
                  <a:gd name="connsiteY1160" fmla="*/ 142656 h 151120"/>
                  <a:gd name="connsiteX1161" fmla="*/ 207725 w 391732"/>
                  <a:gd name="connsiteY1161" fmla="*/ 143274 h 151120"/>
                  <a:gd name="connsiteX1162" fmla="*/ 208254 w 391732"/>
                  <a:gd name="connsiteY1162" fmla="*/ 143803 h 151120"/>
                  <a:gd name="connsiteX1163" fmla="*/ 209488 w 391732"/>
                  <a:gd name="connsiteY1163" fmla="*/ 144155 h 151120"/>
                  <a:gd name="connsiteX1164" fmla="*/ 211163 w 391732"/>
                  <a:gd name="connsiteY1164" fmla="*/ 146183 h 151120"/>
                  <a:gd name="connsiteX1165" fmla="*/ 211780 w 391732"/>
                  <a:gd name="connsiteY1165" fmla="*/ 147329 h 151120"/>
                  <a:gd name="connsiteX1166" fmla="*/ 212398 w 391732"/>
                  <a:gd name="connsiteY1166" fmla="*/ 149093 h 151120"/>
                  <a:gd name="connsiteX1167" fmla="*/ 217599 w 391732"/>
                  <a:gd name="connsiteY1167" fmla="*/ 151121 h 151120"/>
                  <a:gd name="connsiteX1168" fmla="*/ 217599 w 391732"/>
                  <a:gd name="connsiteY1168" fmla="*/ 149357 h 151120"/>
                  <a:gd name="connsiteX1169" fmla="*/ 218746 w 391732"/>
                  <a:gd name="connsiteY1169" fmla="*/ 148476 h 151120"/>
                  <a:gd name="connsiteX1170" fmla="*/ 223771 w 391732"/>
                  <a:gd name="connsiteY1170" fmla="*/ 147947 h 151120"/>
                  <a:gd name="connsiteX1171" fmla="*/ 221743 w 391732"/>
                  <a:gd name="connsiteY1171" fmla="*/ 144949 h 151120"/>
                  <a:gd name="connsiteX1172" fmla="*/ 222890 w 391732"/>
                  <a:gd name="connsiteY1172" fmla="*/ 142656 h 151120"/>
                  <a:gd name="connsiteX1173" fmla="*/ 227827 w 391732"/>
                  <a:gd name="connsiteY1173" fmla="*/ 144155 h 151120"/>
                  <a:gd name="connsiteX1174" fmla="*/ 228092 w 391732"/>
                  <a:gd name="connsiteY1174" fmla="*/ 141158 h 151120"/>
                  <a:gd name="connsiteX1175" fmla="*/ 226416 w 391732"/>
                  <a:gd name="connsiteY1175" fmla="*/ 140364 h 151120"/>
                  <a:gd name="connsiteX1176" fmla="*/ 222890 w 391732"/>
                  <a:gd name="connsiteY1176" fmla="*/ 139747 h 151120"/>
                  <a:gd name="connsiteX1177" fmla="*/ 222537 w 391732"/>
                  <a:gd name="connsiteY1177" fmla="*/ 137719 h 151120"/>
                  <a:gd name="connsiteX1178" fmla="*/ 222272 w 391732"/>
                  <a:gd name="connsiteY1178" fmla="*/ 134809 h 151120"/>
                  <a:gd name="connsiteX1179" fmla="*/ 224565 w 391732"/>
                  <a:gd name="connsiteY1179" fmla="*/ 132782 h 151120"/>
                  <a:gd name="connsiteX1180" fmla="*/ 225535 w 391732"/>
                  <a:gd name="connsiteY1180" fmla="*/ 129872 h 151120"/>
                  <a:gd name="connsiteX1181" fmla="*/ 233646 w 391732"/>
                  <a:gd name="connsiteY1181" fmla="*/ 134192 h 151120"/>
                  <a:gd name="connsiteX1182" fmla="*/ 237437 w 391732"/>
                  <a:gd name="connsiteY1182" fmla="*/ 133311 h 151120"/>
                  <a:gd name="connsiteX1183" fmla="*/ 240612 w 391732"/>
                  <a:gd name="connsiteY1183" fmla="*/ 134809 h 151120"/>
                  <a:gd name="connsiteX1184" fmla="*/ 246166 w 391732"/>
                  <a:gd name="connsiteY1184" fmla="*/ 132164 h 151120"/>
                  <a:gd name="connsiteX1185" fmla="*/ 248547 w 391732"/>
                  <a:gd name="connsiteY1185" fmla="*/ 132164 h 151120"/>
                  <a:gd name="connsiteX1186" fmla="*/ 250574 w 391732"/>
                  <a:gd name="connsiteY1186" fmla="*/ 131018 h 151120"/>
                  <a:gd name="connsiteX1187" fmla="*/ 255512 w 391732"/>
                  <a:gd name="connsiteY1187" fmla="*/ 129872 h 151120"/>
                  <a:gd name="connsiteX1188" fmla="*/ 260185 w 391732"/>
                  <a:gd name="connsiteY1188" fmla="*/ 130401 h 151120"/>
                  <a:gd name="connsiteX1189" fmla="*/ 264593 w 391732"/>
                  <a:gd name="connsiteY1189" fmla="*/ 132164 h 151120"/>
                  <a:gd name="connsiteX1190" fmla="*/ 273057 w 391732"/>
                  <a:gd name="connsiteY1190" fmla="*/ 133928 h 151120"/>
                  <a:gd name="connsiteX1191" fmla="*/ 279758 w 391732"/>
                  <a:gd name="connsiteY1191" fmla="*/ 134192 h 151120"/>
                  <a:gd name="connsiteX1192" fmla="*/ 287870 w 391732"/>
                  <a:gd name="connsiteY1192" fmla="*/ 132164 h 151120"/>
                  <a:gd name="connsiteX1193" fmla="*/ 292278 w 391732"/>
                  <a:gd name="connsiteY1193" fmla="*/ 129519 h 151120"/>
                  <a:gd name="connsiteX1194" fmla="*/ 295188 w 391732"/>
                  <a:gd name="connsiteY1194" fmla="*/ 129255 h 151120"/>
                  <a:gd name="connsiteX1195" fmla="*/ 296334 w 391732"/>
                  <a:gd name="connsiteY1195" fmla="*/ 128373 h 151120"/>
                  <a:gd name="connsiteX1196" fmla="*/ 300213 w 391732"/>
                  <a:gd name="connsiteY1196" fmla="*/ 127756 h 151120"/>
                  <a:gd name="connsiteX1197" fmla="*/ 306561 w 391732"/>
                  <a:gd name="connsiteY1197" fmla="*/ 126345 h 151120"/>
                  <a:gd name="connsiteX1198" fmla="*/ 309736 w 391732"/>
                  <a:gd name="connsiteY1198" fmla="*/ 123700 h 151120"/>
                  <a:gd name="connsiteX1199" fmla="*/ 312733 w 391732"/>
                  <a:gd name="connsiteY1199" fmla="*/ 124846 h 151120"/>
                  <a:gd name="connsiteX1200" fmla="*/ 317671 w 391732"/>
                  <a:gd name="connsiteY1200" fmla="*/ 125199 h 151120"/>
                  <a:gd name="connsiteX1201" fmla="*/ 322961 w 391732"/>
                  <a:gd name="connsiteY1201" fmla="*/ 125199 h 151120"/>
                  <a:gd name="connsiteX1202" fmla="*/ 326664 w 391732"/>
                  <a:gd name="connsiteY1202" fmla="*/ 124317 h 151120"/>
                  <a:gd name="connsiteX1203" fmla="*/ 330455 w 391732"/>
                  <a:gd name="connsiteY1203" fmla="*/ 122818 h 151120"/>
                  <a:gd name="connsiteX1204" fmla="*/ 333982 w 391732"/>
                  <a:gd name="connsiteY1204" fmla="*/ 121408 h 151120"/>
                  <a:gd name="connsiteX1205" fmla="*/ 336891 w 391732"/>
                  <a:gd name="connsiteY1205" fmla="*/ 118498 h 151120"/>
                  <a:gd name="connsiteX1206" fmla="*/ 341035 w 391732"/>
                  <a:gd name="connsiteY1206" fmla="*/ 120173 h 151120"/>
                  <a:gd name="connsiteX1207" fmla="*/ 342446 w 391732"/>
                  <a:gd name="connsiteY1207" fmla="*/ 123436 h 151120"/>
                  <a:gd name="connsiteX1208" fmla="*/ 346502 w 391732"/>
                  <a:gd name="connsiteY1208" fmla="*/ 120791 h 151120"/>
                  <a:gd name="connsiteX1209" fmla="*/ 348001 w 391732"/>
                  <a:gd name="connsiteY1209" fmla="*/ 117881 h 151120"/>
                  <a:gd name="connsiteX1210" fmla="*/ 348882 w 391732"/>
                  <a:gd name="connsiteY1210" fmla="*/ 117881 h 151120"/>
                  <a:gd name="connsiteX1211" fmla="*/ 351175 w 391732"/>
                  <a:gd name="connsiteY1211" fmla="*/ 118763 h 151120"/>
                  <a:gd name="connsiteX1212" fmla="*/ 355318 w 391732"/>
                  <a:gd name="connsiteY1212" fmla="*/ 116735 h 151120"/>
                  <a:gd name="connsiteX1213" fmla="*/ 357875 w 391732"/>
                  <a:gd name="connsiteY1213" fmla="*/ 118146 h 151120"/>
                  <a:gd name="connsiteX1214" fmla="*/ 362548 w 391732"/>
                  <a:gd name="connsiteY1214" fmla="*/ 118763 h 151120"/>
                  <a:gd name="connsiteX1215" fmla="*/ 363430 w 391732"/>
                  <a:gd name="connsiteY1215" fmla="*/ 118146 h 151120"/>
                  <a:gd name="connsiteX1216" fmla="*/ 365811 w 391732"/>
                  <a:gd name="connsiteY1216" fmla="*/ 119027 h 151120"/>
                  <a:gd name="connsiteX1217" fmla="*/ 368103 w 391732"/>
                  <a:gd name="connsiteY1217" fmla="*/ 119644 h 151120"/>
                  <a:gd name="connsiteX1218" fmla="*/ 373393 w 391732"/>
                  <a:gd name="connsiteY1218" fmla="*/ 121055 h 151120"/>
                  <a:gd name="connsiteX1219" fmla="*/ 373922 w 391732"/>
                  <a:gd name="connsiteY1219" fmla="*/ 119027 h 151120"/>
                  <a:gd name="connsiteX1220" fmla="*/ 378948 w 391732"/>
                  <a:gd name="connsiteY1220" fmla="*/ 119027 h 151120"/>
                  <a:gd name="connsiteX1221" fmla="*/ 380623 w 391732"/>
                  <a:gd name="connsiteY1221" fmla="*/ 121408 h 151120"/>
                  <a:gd name="connsiteX1222" fmla="*/ 380975 w 391732"/>
                  <a:gd name="connsiteY1222" fmla="*/ 124846 h 151120"/>
                  <a:gd name="connsiteX1223" fmla="*/ 382739 w 391732"/>
                  <a:gd name="connsiteY1223" fmla="*/ 124317 h 151120"/>
                  <a:gd name="connsiteX1224" fmla="*/ 389704 w 391732"/>
                  <a:gd name="connsiteY1224" fmla="*/ 119027 h 151120"/>
                  <a:gd name="connsiteX1225" fmla="*/ 391732 w 391732"/>
                  <a:gd name="connsiteY1225" fmla="*/ 117617 h 15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</a:cxnLst>
                <a:rect l="l" t="t" r="r" b="b"/>
                <a:pathLst>
                  <a:path w="391732" h="151120">
                    <a:moveTo>
                      <a:pt x="388558" y="116118"/>
                    </a:moveTo>
                    <a:lnTo>
                      <a:pt x="388558" y="116735"/>
                    </a:lnTo>
                    <a:lnTo>
                      <a:pt x="386530" y="113473"/>
                    </a:lnTo>
                    <a:lnTo>
                      <a:pt x="385913" y="109681"/>
                    </a:lnTo>
                    <a:lnTo>
                      <a:pt x="388823" y="108800"/>
                    </a:lnTo>
                    <a:lnTo>
                      <a:pt x="385031" y="108800"/>
                    </a:lnTo>
                    <a:lnTo>
                      <a:pt x="389704" y="106772"/>
                    </a:lnTo>
                    <a:lnTo>
                      <a:pt x="388205" y="105361"/>
                    </a:lnTo>
                    <a:lnTo>
                      <a:pt x="385913" y="105009"/>
                    </a:lnTo>
                    <a:lnTo>
                      <a:pt x="383268" y="106243"/>
                    </a:lnTo>
                    <a:lnTo>
                      <a:pt x="383003" y="103333"/>
                    </a:lnTo>
                    <a:lnTo>
                      <a:pt x="380623" y="103333"/>
                    </a:lnTo>
                    <a:lnTo>
                      <a:pt x="378595" y="101570"/>
                    </a:lnTo>
                    <a:lnTo>
                      <a:pt x="378331" y="99189"/>
                    </a:lnTo>
                    <a:lnTo>
                      <a:pt x="379212" y="97426"/>
                    </a:lnTo>
                    <a:lnTo>
                      <a:pt x="380358" y="95398"/>
                    </a:lnTo>
                    <a:lnTo>
                      <a:pt x="380358" y="93635"/>
                    </a:lnTo>
                    <a:lnTo>
                      <a:pt x="379212" y="90196"/>
                    </a:lnTo>
                    <a:lnTo>
                      <a:pt x="376038" y="90196"/>
                    </a:lnTo>
                    <a:lnTo>
                      <a:pt x="374539" y="84642"/>
                    </a:lnTo>
                    <a:lnTo>
                      <a:pt x="373658" y="79969"/>
                    </a:lnTo>
                    <a:lnTo>
                      <a:pt x="371012" y="79087"/>
                    </a:lnTo>
                    <a:lnTo>
                      <a:pt x="373922" y="77941"/>
                    </a:lnTo>
                    <a:lnTo>
                      <a:pt x="370131" y="77059"/>
                    </a:lnTo>
                    <a:lnTo>
                      <a:pt x="373658" y="74150"/>
                    </a:lnTo>
                    <a:lnTo>
                      <a:pt x="367221" y="73268"/>
                    </a:lnTo>
                    <a:lnTo>
                      <a:pt x="366692" y="69477"/>
                    </a:lnTo>
                    <a:lnTo>
                      <a:pt x="365458" y="67449"/>
                    </a:lnTo>
                    <a:lnTo>
                      <a:pt x="369249" y="67713"/>
                    </a:lnTo>
                    <a:lnTo>
                      <a:pt x="371012" y="67978"/>
                    </a:lnTo>
                    <a:lnTo>
                      <a:pt x="374804" y="67978"/>
                    </a:lnTo>
                    <a:lnTo>
                      <a:pt x="374804" y="65950"/>
                    </a:lnTo>
                    <a:lnTo>
                      <a:pt x="373658" y="61277"/>
                    </a:lnTo>
                    <a:lnTo>
                      <a:pt x="376567" y="63305"/>
                    </a:lnTo>
                    <a:lnTo>
                      <a:pt x="383268" y="63305"/>
                    </a:lnTo>
                    <a:lnTo>
                      <a:pt x="376832" y="54841"/>
                    </a:lnTo>
                    <a:lnTo>
                      <a:pt x="373922" y="48493"/>
                    </a:lnTo>
                    <a:lnTo>
                      <a:pt x="371012" y="51402"/>
                    </a:lnTo>
                    <a:lnTo>
                      <a:pt x="367838" y="53695"/>
                    </a:lnTo>
                    <a:lnTo>
                      <a:pt x="369249" y="46112"/>
                    </a:lnTo>
                    <a:lnTo>
                      <a:pt x="366692" y="47875"/>
                    </a:lnTo>
                    <a:lnTo>
                      <a:pt x="363430" y="48493"/>
                    </a:lnTo>
                    <a:lnTo>
                      <a:pt x="360520" y="47875"/>
                    </a:lnTo>
                    <a:lnTo>
                      <a:pt x="356729" y="46112"/>
                    </a:lnTo>
                    <a:lnTo>
                      <a:pt x="355583" y="43467"/>
                    </a:lnTo>
                    <a:lnTo>
                      <a:pt x="352674" y="41792"/>
                    </a:lnTo>
                    <a:lnTo>
                      <a:pt x="354437" y="39676"/>
                    </a:lnTo>
                    <a:lnTo>
                      <a:pt x="351175" y="38265"/>
                    </a:lnTo>
                    <a:lnTo>
                      <a:pt x="352938" y="36237"/>
                    </a:lnTo>
                    <a:lnTo>
                      <a:pt x="352409" y="31564"/>
                    </a:lnTo>
                    <a:lnTo>
                      <a:pt x="351792" y="28655"/>
                    </a:lnTo>
                    <a:lnTo>
                      <a:pt x="348530" y="27156"/>
                    </a:lnTo>
                    <a:lnTo>
                      <a:pt x="345973" y="26274"/>
                    </a:lnTo>
                    <a:lnTo>
                      <a:pt x="345355" y="23982"/>
                    </a:lnTo>
                    <a:lnTo>
                      <a:pt x="344474" y="21954"/>
                    </a:lnTo>
                    <a:lnTo>
                      <a:pt x="343063" y="21954"/>
                    </a:lnTo>
                    <a:lnTo>
                      <a:pt x="341300" y="22218"/>
                    </a:lnTo>
                    <a:lnTo>
                      <a:pt x="339272" y="20719"/>
                    </a:lnTo>
                    <a:lnTo>
                      <a:pt x="338390" y="19044"/>
                    </a:lnTo>
                    <a:lnTo>
                      <a:pt x="337509" y="15518"/>
                    </a:lnTo>
                    <a:lnTo>
                      <a:pt x="334599" y="14900"/>
                    </a:lnTo>
                    <a:lnTo>
                      <a:pt x="333365" y="11991"/>
                    </a:lnTo>
                    <a:lnTo>
                      <a:pt x="330455" y="11109"/>
                    </a:lnTo>
                    <a:lnTo>
                      <a:pt x="327898" y="11991"/>
                    </a:lnTo>
                    <a:lnTo>
                      <a:pt x="328427" y="16047"/>
                    </a:lnTo>
                    <a:lnTo>
                      <a:pt x="326664" y="16399"/>
                    </a:lnTo>
                    <a:lnTo>
                      <a:pt x="323490" y="16399"/>
                    </a:lnTo>
                    <a:lnTo>
                      <a:pt x="319169" y="14636"/>
                    </a:lnTo>
                    <a:lnTo>
                      <a:pt x="316524" y="14019"/>
                    </a:lnTo>
                    <a:lnTo>
                      <a:pt x="315290" y="14636"/>
                    </a:lnTo>
                    <a:lnTo>
                      <a:pt x="314144" y="14636"/>
                    </a:lnTo>
                    <a:lnTo>
                      <a:pt x="311852" y="15253"/>
                    </a:lnTo>
                    <a:lnTo>
                      <a:pt x="311234" y="15518"/>
                    </a:lnTo>
                    <a:lnTo>
                      <a:pt x="308325" y="15253"/>
                    </a:lnTo>
                    <a:lnTo>
                      <a:pt x="306297" y="14019"/>
                    </a:lnTo>
                    <a:lnTo>
                      <a:pt x="305680" y="14019"/>
                    </a:lnTo>
                    <a:lnTo>
                      <a:pt x="303652" y="15253"/>
                    </a:lnTo>
                    <a:lnTo>
                      <a:pt x="303652" y="18163"/>
                    </a:lnTo>
                    <a:lnTo>
                      <a:pt x="300742" y="18163"/>
                    </a:lnTo>
                    <a:lnTo>
                      <a:pt x="299331" y="19573"/>
                    </a:lnTo>
                    <a:lnTo>
                      <a:pt x="297216" y="19573"/>
                    </a:lnTo>
                    <a:lnTo>
                      <a:pt x="296687" y="20719"/>
                    </a:lnTo>
                    <a:lnTo>
                      <a:pt x="295452" y="21337"/>
                    </a:lnTo>
                    <a:lnTo>
                      <a:pt x="292543" y="21337"/>
                    </a:lnTo>
                    <a:lnTo>
                      <a:pt x="291132" y="22483"/>
                    </a:lnTo>
                    <a:lnTo>
                      <a:pt x="289986" y="23629"/>
                    </a:lnTo>
                    <a:lnTo>
                      <a:pt x="287870" y="24246"/>
                    </a:lnTo>
                    <a:lnTo>
                      <a:pt x="287605" y="26010"/>
                    </a:lnTo>
                    <a:lnTo>
                      <a:pt x="284696" y="26010"/>
                    </a:lnTo>
                    <a:lnTo>
                      <a:pt x="283285" y="26891"/>
                    </a:lnTo>
                    <a:lnTo>
                      <a:pt x="280023" y="28655"/>
                    </a:lnTo>
                    <a:lnTo>
                      <a:pt x="278877" y="28037"/>
                    </a:lnTo>
                    <a:lnTo>
                      <a:pt x="275967" y="26891"/>
                    </a:lnTo>
                    <a:lnTo>
                      <a:pt x="274821" y="28037"/>
                    </a:lnTo>
                    <a:lnTo>
                      <a:pt x="273586" y="26891"/>
                    </a:lnTo>
                    <a:lnTo>
                      <a:pt x="270677" y="26010"/>
                    </a:lnTo>
                    <a:lnTo>
                      <a:pt x="269266" y="26891"/>
                    </a:lnTo>
                    <a:lnTo>
                      <a:pt x="267767" y="26010"/>
                    </a:lnTo>
                    <a:lnTo>
                      <a:pt x="265739" y="23629"/>
                    </a:lnTo>
                    <a:lnTo>
                      <a:pt x="264241" y="23629"/>
                    </a:lnTo>
                    <a:lnTo>
                      <a:pt x="261684" y="25128"/>
                    </a:lnTo>
                    <a:lnTo>
                      <a:pt x="259303" y="24246"/>
                    </a:lnTo>
                    <a:lnTo>
                      <a:pt x="256923" y="26010"/>
                    </a:lnTo>
                    <a:lnTo>
                      <a:pt x="253220" y="26010"/>
                    </a:lnTo>
                    <a:lnTo>
                      <a:pt x="251192" y="28037"/>
                    </a:lnTo>
                    <a:lnTo>
                      <a:pt x="250574" y="28037"/>
                    </a:lnTo>
                    <a:lnTo>
                      <a:pt x="249164" y="27156"/>
                    </a:lnTo>
                    <a:lnTo>
                      <a:pt x="247665" y="28655"/>
                    </a:lnTo>
                    <a:lnTo>
                      <a:pt x="244138" y="28655"/>
                    </a:lnTo>
                    <a:lnTo>
                      <a:pt x="241846" y="28037"/>
                    </a:lnTo>
                    <a:lnTo>
                      <a:pt x="241229" y="28037"/>
                    </a:lnTo>
                    <a:lnTo>
                      <a:pt x="237173" y="26891"/>
                    </a:lnTo>
                    <a:lnTo>
                      <a:pt x="234263" y="26891"/>
                    </a:lnTo>
                    <a:lnTo>
                      <a:pt x="233382" y="26010"/>
                    </a:lnTo>
                    <a:lnTo>
                      <a:pt x="232764" y="26010"/>
                    </a:lnTo>
                    <a:lnTo>
                      <a:pt x="232500" y="25128"/>
                    </a:lnTo>
                    <a:lnTo>
                      <a:pt x="232500" y="23629"/>
                    </a:lnTo>
                    <a:lnTo>
                      <a:pt x="230120" y="23629"/>
                    </a:lnTo>
                    <a:lnTo>
                      <a:pt x="229326" y="23365"/>
                    </a:lnTo>
                    <a:lnTo>
                      <a:pt x="228356" y="23629"/>
                    </a:lnTo>
                    <a:lnTo>
                      <a:pt x="227563" y="25128"/>
                    </a:lnTo>
                    <a:lnTo>
                      <a:pt x="226416" y="26010"/>
                    </a:lnTo>
                    <a:lnTo>
                      <a:pt x="223771" y="24246"/>
                    </a:lnTo>
                    <a:lnTo>
                      <a:pt x="223154" y="23629"/>
                    </a:lnTo>
                    <a:lnTo>
                      <a:pt x="222008" y="23629"/>
                    </a:lnTo>
                    <a:lnTo>
                      <a:pt x="221126" y="22483"/>
                    </a:lnTo>
                    <a:lnTo>
                      <a:pt x="218217" y="22483"/>
                    </a:lnTo>
                    <a:lnTo>
                      <a:pt x="217335" y="21954"/>
                    </a:lnTo>
                    <a:lnTo>
                      <a:pt x="215836" y="21337"/>
                    </a:lnTo>
                    <a:lnTo>
                      <a:pt x="215572" y="19838"/>
                    </a:lnTo>
                    <a:lnTo>
                      <a:pt x="215572" y="19573"/>
                    </a:lnTo>
                    <a:lnTo>
                      <a:pt x="211780" y="18163"/>
                    </a:lnTo>
                    <a:lnTo>
                      <a:pt x="207460" y="18163"/>
                    </a:lnTo>
                    <a:lnTo>
                      <a:pt x="205344" y="19573"/>
                    </a:lnTo>
                    <a:lnTo>
                      <a:pt x="204198" y="19838"/>
                    </a:lnTo>
                    <a:lnTo>
                      <a:pt x="203316" y="19838"/>
                    </a:lnTo>
                    <a:lnTo>
                      <a:pt x="202435" y="19573"/>
                    </a:lnTo>
                    <a:lnTo>
                      <a:pt x="201288" y="19573"/>
                    </a:lnTo>
                    <a:lnTo>
                      <a:pt x="199790" y="18163"/>
                    </a:lnTo>
                    <a:lnTo>
                      <a:pt x="196880" y="15253"/>
                    </a:lnTo>
                    <a:lnTo>
                      <a:pt x="196351" y="14019"/>
                    </a:lnTo>
                    <a:lnTo>
                      <a:pt x="196615" y="13490"/>
                    </a:lnTo>
                    <a:lnTo>
                      <a:pt x="196351" y="10845"/>
                    </a:lnTo>
                    <a:lnTo>
                      <a:pt x="195205" y="9698"/>
                    </a:lnTo>
                    <a:lnTo>
                      <a:pt x="193706" y="9081"/>
                    </a:lnTo>
                    <a:lnTo>
                      <a:pt x="193706" y="9698"/>
                    </a:lnTo>
                    <a:lnTo>
                      <a:pt x="192560" y="8200"/>
                    </a:lnTo>
                    <a:lnTo>
                      <a:pt x="192560" y="9346"/>
                    </a:lnTo>
                    <a:lnTo>
                      <a:pt x="191061" y="9346"/>
                    </a:lnTo>
                    <a:lnTo>
                      <a:pt x="192560" y="8200"/>
                    </a:lnTo>
                    <a:lnTo>
                      <a:pt x="188769" y="10492"/>
                    </a:lnTo>
                    <a:lnTo>
                      <a:pt x="182332" y="10492"/>
                    </a:lnTo>
                    <a:lnTo>
                      <a:pt x="181098" y="9698"/>
                    </a:lnTo>
                    <a:lnTo>
                      <a:pt x="178805" y="9081"/>
                    </a:lnTo>
                    <a:lnTo>
                      <a:pt x="177395" y="6436"/>
                    </a:lnTo>
                    <a:lnTo>
                      <a:pt x="175631" y="5290"/>
                    </a:lnTo>
                    <a:lnTo>
                      <a:pt x="174485" y="3527"/>
                    </a:lnTo>
                    <a:lnTo>
                      <a:pt x="174133" y="882"/>
                    </a:lnTo>
                    <a:lnTo>
                      <a:pt x="174485" y="617"/>
                    </a:lnTo>
                    <a:lnTo>
                      <a:pt x="173604" y="882"/>
                    </a:lnTo>
                    <a:lnTo>
                      <a:pt x="172369" y="0"/>
                    </a:lnTo>
                    <a:lnTo>
                      <a:pt x="171223" y="0"/>
                    </a:lnTo>
                    <a:lnTo>
                      <a:pt x="170077" y="882"/>
                    </a:lnTo>
                    <a:lnTo>
                      <a:pt x="169195" y="1763"/>
                    </a:lnTo>
                    <a:lnTo>
                      <a:pt x="166285" y="2998"/>
                    </a:lnTo>
                    <a:lnTo>
                      <a:pt x="162759" y="2998"/>
                    </a:lnTo>
                    <a:lnTo>
                      <a:pt x="162230" y="2380"/>
                    </a:lnTo>
                    <a:lnTo>
                      <a:pt x="161348" y="2380"/>
                    </a:lnTo>
                    <a:lnTo>
                      <a:pt x="158439" y="2998"/>
                    </a:lnTo>
                    <a:lnTo>
                      <a:pt x="154030" y="1763"/>
                    </a:lnTo>
                    <a:lnTo>
                      <a:pt x="148211" y="1763"/>
                    </a:lnTo>
                    <a:lnTo>
                      <a:pt x="137983" y="882"/>
                    </a:lnTo>
                    <a:lnTo>
                      <a:pt x="136837" y="1763"/>
                    </a:lnTo>
                    <a:lnTo>
                      <a:pt x="131812" y="2998"/>
                    </a:lnTo>
                    <a:lnTo>
                      <a:pt x="131547" y="4408"/>
                    </a:lnTo>
                    <a:lnTo>
                      <a:pt x="129255" y="4761"/>
                    </a:lnTo>
                    <a:lnTo>
                      <a:pt x="128990" y="4761"/>
                    </a:lnTo>
                    <a:lnTo>
                      <a:pt x="126081" y="5290"/>
                    </a:lnTo>
                    <a:lnTo>
                      <a:pt x="123083" y="5290"/>
                    </a:lnTo>
                    <a:lnTo>
                      <a:pt x="123347" y="6436"/>
                    </a:lnTo>
                    <a:lnTo>
                      <a:pt x="121672" y="6172"/>
                    </a:lnTo>
                    <a:lnTo>
                      <a:pt x="121055" y="8200"/>
                    </a:lnTo>
                    <a:lnTo>
                      <a:pt x="120438" y="7318"/>
                    </a:lnTo>
                    <a:lnTo>
                      <a:pt x="120262" y="9081"/>
                    </a:lnTo>
                    <a:lnTo>
                      <a:pt x="118410" y="9081"/>
                    </a:lnTo>
                    <a:lnTo>
                      <a:pt x="115853" y="10845"/>
                    </a:lnTo>
                    <a:lnTo>
                      <a:pt x="114354" y="12255"/>
                    </a:lnTo>
                    <a:lnTo>
                      <a:pt x="113473" y="12255"/>
                    </a:lnTo>
                    <a:lnTo>
                      <a:pt x="111445" y="14019"/>
                    </a:lnTo>
                    <a:lnTo>
                      <a:pt x="108271" y="15253"/>
                    </a:lnTo>
                    <a:lnTo>
                      <a:pt x="107389" y="16047"/>
                    </a:lnTo>
                    <a:lnTo>
                      <a:pt x="105890" y="17810"/>
                    </a:lnTo>
                    <a:lnTo>
                      <a:pt x="102981" y="18163"/>
                    </a:lnTo>
                    <a:lnTo>
                      <a:pt x="103245" y="19573"/>
                    </a:lnTo>
                    <a:lnTo>
                      <a:pt x="102099" y="19573"/>
                    </a:lnTo>
                    <a:lnTo>
                      <a:pt x="102099" y="20719"/>
                    </a:lnTo>
                    <a:lnTo>
                      <a:pt x="101834" y="21954"/>
                    </a:lnTo>
                    <a:lnTo>
                      <a:pt x="101834" y="23365"/>
                    </a:lnTo>
                    <a:lnTo>
                      <a:pt x="98572" y="24246"/>
                    </a:lnTo>
                    <a:lnTo>
                      <a:pt x="96897" y="23629"/>
                    </a:lnTo>
                    <a:lnTo>
                      <a:pt x="93899" y="24246"/>
                    </a:lnTo>
                    <a:lnTo>
                      <a:pt x="88168" y="24246"/>
                    </a:lnTo>
                    <a:lnTo>
                      <a:pt x="86405" y="23365"/>
                    </a:lnTo>
                    <a:lnTo>
                      <a:pt x="83407" y="22483"/>
                    </a:lnTo>
                    <a:lnTo>
                      <a:pt x="81379" y="21954"/>
                    </a:lnTo>
                    <a:lnTo>
                      <a:pt x="81379" y="21337"/>
                    </a:lnTo>
                    <a:lnTo>
                      <a:pt x="79969" y="21072"/>
                    </a:lnTo>
                    <a:lnTo>
                      <a:pt x="78205" y="21954"/>
                    </a:lnTo>
                    <a:lnTo>
                      <a:pt x="77588" y="23365"/>
                    </a:lnTo>
                    <a:lnTo>
                      <a:pt x="75560" y="23365"/>
                    </a:lnTo>
                    <a:lnTo>
                      <a:pt x="68859" y="22483"/>
                    </a:lnTo>
                    <a:lnTo>
                      <a:pt x="65950" y="21954"/>
                    </a:lnTo>
                    <a:lnTo>
                      <a:pt x="65068" y="21954"/>
                    </a:lnTo>
                    <a:lnTo>
                      <a:pt x="60131" y="20719"/>
                    </a:lnTo>
                    <a:lnTo>
                      <a:pt x="57221" y="20719"/>
                    </a:lnTo>
                    <a:lnTo>
                      <a:pt x="57221" y="21954"/>
                    </a:lnTo>
                    <a:lnTo>
                      <a:pt x="56604" y="23629"/>
                    </a:lnTo>
                    <a:lnTo>
                      <a:pt x="56868" y="25392"/>
                    </a:lnTo>
                    <a:lnTo>
                      <a:pt x="55458" y="26010"/>
                    </a:lnTo>
                    <a:lnTo>
                      <a:pt x="55722" y="26891"/>
                    </a:lnTo>
                    <a:lnTo>
                      <a:pt x="57221" y="28037"/>
                    </a:lnTo>
                    <a:lnTo>
                      <a:pt x="58103" y="28655"/>
                    </a:lnTo>
                    <a:lnTo>
                      <a:pt x="60131" y="28919"/>
                    </a:lnTo>
                    <a:lnTo>
                      <a:pt x="60131" y="29801"/>
                    </a:lnTo>
                    <a:lnTo>
                      <a:pt x="60395" y="30947"/>
                    </a:lnTo>
                    <a:lnTo>
                      <a:pt x="62423" y="30330"/>
                    </a:lnTo>
                    <a:lnTo>
                      <a:pt x="62776" y="31564"/>
                    </a:lnTo>
                    <a:lnTo>
                      <a:pt x="62776" y="32446"/>
                    </a:lnTo>
                    <a:lnTo>
                      <a:pt x="63305" y="31564"/>
                    </a:lnTo>
                    <a:lnTo>
                      <a:pt x="65685" y="30947"/>
                    </a:lnTo>
                    <a:lnTo>
                      <a:pt x="65685" y="31564"/>
                    </a:lnTo>
                    <a:lnTo>
                      <a:pt x="68859" y="30947"/>
                    </a:lnTo>
                    <a:lnTo>
                      <a:pt x="69477" y="30947"/>
                    </a:lnTo>
                    <a:lnTo>
                      <a:pt x="70006" y="31300"/>
                    </a:lnTo>
                    <a:lnTo>
                      <a:pt x="70006" y="31829"/>
                    </a:lnTo>
                    <a:lnTo>
                      <a:pt x="70270" y="32093"/>
                    </a:lnTo>
                    <a:lnTo>
                      <a:pt x="70623" y="32093"/>
                    </a:lnTo>
                    <a:lnTo>
                      <a:pt x="71240" y="31564"/>
                    </a:lnTo>
                    <a:lnTo>
                      <a:pt x="72915" y="31564"/>
                    </a:lnTo>
                    <a:lnTo>
                      <a:pt x="73268" y="32093"/>
                    </a:lnTo>
                    <a:lnTo>
                      <a:pt x="72651" y="32975"/>
                    </a:lnTo>
                    <a:lnTo>
                      <a:pt x="72033" y="33328"/>
                    </a:lnTo>
                    <a:lnTo>
                      <a:pt x="71240" y="33328"/>
                    </a:lnTo>
                    <a:lnTo>
                      <a:pt x="70270" y="32446"/>
                    </a:lnTo>
                    <a:lnTo>
                      <a:pt x="68859" y="32710"/>
                    </a:lnTo>
                    <a:lnTo>
                      <a:pt x="67978" y="33592"/>
                    </a:lnTo>
                    <a:lnTo>
                      <a:pt x="66479" y="34209"/>
                    </a:lnTo>
                    <a:lnTo>
                      <a:pt x="65685" y="33328"/>
                    </a:lnTo>
                    <a:lnTo>
                      <a:pt x="64539" y="34209"/>
                    </a:lnTo>
                    <a:lnTo>
                      <a:pt x="63040" y="34209"/>
                    </a:lnTo>
                    <a:lnTo>
                      <a:pt x="61012" y="35355"/>
                    </a:lnTo>
                    <a:lnTo>
                      <a:pt x="58103" y="35355"/>
                    </a:lnTo>
                    <a:lnTo>
                      <a:pt x="55987" y="35884"/>
                    </a:lnTo>
                    <a:lnTo>
                      <a:pt x="53430" y="37119"/>
                    </a:lnTo>
                    <a:lnTo>
                      <a:pt x="52196" y="36766"/>
                    </a:lnTo>
                    <a:lnTo>
                      <a:pt x="52548" y="38530"/>
                    </a:lnTo>
                    <a:lnTo>
                      <a:pt x="53695" y="39676"/>
                    </a:lnTo>
                    <a:lnTo>
                      <a:pt x="57221" y="39676"/>
                    </a:lnTo>
                    <a:lnTo>
                      <a:pt x="58103" y="40028"/>
                    </a:lnTo>
                    <a:lnTo>
                      <a:pt x="57486" y="40557"/>
                    </a:lnTo>
                    <a:lnTo>
                      <a:pt x="57486" y="42056"/>
                    </a:lnTo>
                    <a:lnTo>
                      <a:pt x="53959" y="42056"/>
                    </a:lnTo>
                    <a:lnTo>
                      <a:pt x="52813" y="41439"/>
                    </a:lnTo>
                    <a:lnTo>
                      <a:pt x="51050" y="41439"/>
                    </a:lnTo>
                    <a:lnTo>
                      <a:pt x="49286" y="42056"/>
                    </a:lnTo>
                    <a:lnTo>
                      <a:pt x="46377" y="41439"/>
                    </a:lnTo>
                    <a:lnTo>
                      <a:pt x="41086" y="41439"/>
                    </a:lnTo>
                    <a:lnTo>
                      <a:pt x="36502" y="42938"/>
                    </a:lnTo>
                    <a:lnTo>
                      <a:pt x="35003" y="42585"/>
                    </a:lnTo>
                    <a:lnTo>
                      <a:pt x="34209" y="42056"/>
                    </a:lnTo>
                    <a:lnTo>
                      <a:pt x="35003" y="41792"/>
                    </a:lnTo>
                    <a:lnTo>
                      <a:pt x="34738" y="41175"/>
                    </a:lnTo>
                    <a:lnTo>
                      <a:pt x="35885" y="40910"/>
                    </a:lnTo>
                    <a:lnTo>
                      <a:pt x="36766" y="40293"/>
                    </a:lnTo>
                    <a:lnTo>
                      <a:pt x="36766" y="38882"/>
                    </a:lnTo>
                    <a:lnTo>
                      <a:pt x="35003" y="38001"/>
                    </a:lnTo>
                    <a:lnTo>
                      <a:pt x="30947" y="38001"/>
                    </a:lnTo>
                    <a:lnTo>
                      <a:pt x="29448" y="39676"/>
                    </a:lnTo>
                    <a:lnTo>
                      <a:pt x="30947" y="40293"/>
                    </a:lnTo>
                    <a:lnTo>
                      <a:pt x="30418" y="40910"/>
                    </a:lnTo>
                    <a:lnTo>
                      <a:pt x="30947" y="41439"/>
                    </a:lnTo>
                    <a:lnTo>
                      <a:pt x="32093" y="41792"/>
                    </a:lnTo>
                    <a:lnTo>
                      <a:pt x="32710" y="41439"/>
                    </a:lnTo>
                    <a:lnTo>
                      <a:pt x="33592" y="42321"/>
                    </a:lnTo>
                    <a:lnTo>
                      <a:pt x="32975" y="43467"/>
                    </a:lnTo>
                    <a:lnTo>
                      <a:pt x="31212" y="44084"/>
                    </a:lnTo>
                    <a:lnTo>
                      <a:pt x="28302" y="44084"/>
                    </a:lnTo>
                    <a:lnTo>
                      <a:pt x="27420" y="43820"/>
                    </a:lnTo>
                    <a:lnTo>
                      <a:pt x="27156" y="44084"/>
                    </a:lnTo>
                    <a:lnTo>
                      <a:pt x="24246" y="44084"/>
                    </a:lnTo>
                    <a:lnTo>
                      <a:pt x="22218" y="41439"/>
                    </a:lnTo>
                    <a:lnTo>
                      <a:pt x="22747" y="40557"/>
                    </a:lnTo>
                    <a:lnTo>
                      <a:pt x="20720" y="39676"/>
                    </a:lnTo>
                    <a:lnTo>
                      <a:pt x="20720" y="40293"/>
                    </a:lnTo>
                    <a:lnTo>
                      <a:pt x="17810" y="40293"/>
                    </a:lnTo>
                    <a:lnTo>
                      <a:pt x="16311" y="41439"/>
                    </a:lnTo>
                    <a:lnTo>
                      <a:pt x="10580" y="41439"/>
                    </a:lnTo>
                    <a:lnTo>
                      <a:pt x="9963" y="41175"/>
                    </a:lnTo>
                    <a:lnTo>
                      <a:pt x="9346" y="41439"/>
                    </a:lnTo>
                    <a:lnTo>
                      <a:pt x="9346" y="42585"/>
                    </a:lnTo>
                    <a:lnTo>
                      <a:pt x="7847" y="44349"/>
                    </a:lnTo>
                    <a:lnTo>
                      <a:pt x="7053" y="44701"/>
                    </a:lnTo>
                    <a:lnTo>
                      <a:pt x="6436" y="45583"/>
                    </a:lnTo>
                    <a:lnTo>
                      <a:pt x="5819" y="46377"/>
                    </a:lnTo>
                    <a:lnTo>
                      <a:pt x="4408" y="46729"/>
                    </a:lnTo>
                    <a:lnTo>
                      <a:pt x="5026" y="47258"/>
                    </a:lnTo>
                    <a:lnTo>
                      <a:pt x="4144" y="47875"/>
                    </a:lnTo>
                    <a:lnTo>
                      <a:pt x="3262" y="47875"/>
                    </a:lnTo>
                    <a:lnTo>
                      <a:pt x="3262" y="48757"/>
                    </a:lnTo>
                    <a:lnTo>
                      <a:pt x="3527" y="49903"/>
                    </a:lnTo>
                    <a:lnTo>
                      <a:pt x="2909" y="50520"/>
                    </a:lnTo>
                    <a:lnTo>
                      <a:pt x="1763" y="51402"/>
                    </a:lnTo>
                    <a:lnTo>
                      <a:pt x="617" y="50520"/>
                    </a:lnTo>
                    <a:lnTo>
                      <a:pt x="353" y="50785"/>
                    </a:lnTo>
                    <a:lnTo>
                      <a:pt x="0" y="52284"/>
                    </a:lnTo>
                    <a:lnTo>
                      <a:pt x="617" y="56075"/>
                    </a:lnTo>
                    <a:lnTo>
                      <a:pt x="617" y="57486"/>
                    </a:lnTo>
                    <a:lnTo>
                      <a:pt x="1499" y="59249"/>
                    </a:lnTo>
                    <a:lnTo>
                      <a:pt x="882" y="60395"/>
                    </a:lnTo>
                    <a:lnTo>
                      <a:pt x="353" y="63040"/>
                    </a:lnTo>
                    <a:lnTo>
                      <a:pt x="617" y="64804"/>
                    </a:lnTo>
                    <a:lnTo>
                      <a:pt x="1499" y="65068"/>
                    </a:lnTo>
                    <a:lnTo>
                      <a:pt x="2380" y="65333"/>
                    </a:lnTo>
                    <a:lnTo>
                      <a:pt x="2909" y="64804"/>
                    </a:lnTo>
                    <a:lnTo>
                      <a:pt x="5026" y="64451"/>
                    </a:lnTo>
                    <a:lnTo>
                      <a:pt x="7318" y="65068"/>
                    </a:lnTo>
                    <a:lnTo>
                      <a:pt x="7318" y="63922"/>
                    </a:lnTo>
                    <a:lnTo>
                      <a:pt x="6701" y="63658"/>
                    </a:lnTo>
                    <a:lnTo>
                      <a:pt x="6701" y="63305"/>
                    </a:lnTo>
                    <a:lnTo>
                      <a:pt x="7053" y="63305"/>
                    </a:lnTo>
                    <a:lnTo>
                      <a:pt x="7847" y="63040"/>
                    </a:lnTo>
                    <a:lnTo>
                      <a:pt x="9081" y="62776"/>
                    </a:lnTo>
                    <a:lnTo>
                      <a:pt x="9963" y="63305"/>
                    </a:lnTo>
                    <a:lnTo>
                      <a:pt x="11109" y="63305"/>
                    </a:lnTo>
                    <a:lnTo>
                      <a:pt x="11726" y="63040"/>
                    </a:lnTo>
                    <a:lnTo>
                      <a:pt x="12255" y="62776"/>
                    </a:lnTo>
                    <a:lnTo>
                      <a:pt x="13666" y="62776"/>
                    </a:lnTo>
                    <a:lnTo>
                      <a:pt x="14283" y="63040"/>
                    </a:lnTo>
                    <a:lnTo>
                      <a:pt x="15782" y="63040"/>
                    </a:lnTo>
                    <a:lnTo>
                      <a:pt x="16664" y="62776"/>
                    </a:lnTo>
                    <a:lnTo>
                      <a:pt x="16928" y="63040"/>
                    </a:lnTo>
                    <a:lnTo>
                      <a:pt x="16664" y="63658"/>
                    </a:lnTo>
                    <a:lnTo>
                      <a:pt x="17193" y="63922"/>
                    </a:lnTo>
                    <a:lnTo>
                      <a:pt x="16928" y="64804"/>
                    </a:lnTo>
                    <a:lnTo>
                      <a:pt x="15165" y="64451"/>
                    </a:lnTo>
                    <a:lnTo>
                      <a:pt x="14900" y="64804"/>
                    </a:lnTo>
                    <a:lnTo>
                      <a:pt x="14900" y="65068"/>
                    </a:lnTo>
                    <a:lnTo>
                      <a:pt x="14636" y="65068"/>
                    </a:lnTo>
                    <a:lnTo>
                      <a:pt x="14283" y="65333"/>
                    </a:lnTo>
                    <a:lnTo>
                      <a:pt x="14636" y="65950"/>
                    </a:lnTo>
                    <a:lnTo>
                      <a:pt x="13666" y="66567"/>
                    </a:lnTo>
                    <a:lnTo>
                      <a:pt x="12873" y="66832"/>
                    </a:lnTo>
                    <a:lnTo>
                      <a:pt x="11991" y="67096"/>
                    </a:lnTo>
                    <a:lnTo>
                      <a:pt x="12255" y="67713"/>
                    </a:lnTo>
                    <a:lnTo>
                      <a:pt x="12608" y="67978"/>
                    </a:lnTo>
                    <a:lnTo>
                      <a:pt x="12255" y="68595"/>
                    </a:lnTo>
                    <a:lnTo>
                      <a:pt x="11991" y="67978"/>
                    </a:lnTo>
                    <a:lnTo>
                      <a:pt x="11726" y="67713"/>
                    </a:lnTo>
                    <a:lnTo>
                      <a:pt x="11991" y="68595"/>
                    </a:lnTo>
                    <a:lnTo>
                      <a:pt x="11109" y="67978"/>
                    </a:lnTo>
                    <a:lnTo>
                      <a:pt x="10845" y="68330"/>
                    </a:lnTo>
                    <a:lnTo>
                      <a:pt x="10580" y="68859"/>
                    </a:lnTo>
                    <a:lnTo>
                      <a:pt x="11991" y="69477"/>
                    </a:lnTo>
                    <a:lnTo>
                      <a:pt x="12255" y="70358"/>
                    </a:lnTo>
                    <a:lnTo>
                      <a:pt x="12608" y="71505"/>
                    </a:lnTo>
                    <a:lnTo>
                      <a:pt x="12873" y="71769"/>
                    </a:lnTo>
                    <a:lnTo>
                      <a:pt x="14019" y="72122"/>
                    </a:lnTo>
                    <a:lnTo>
                      <a:pt x="14283" y="72386"/>
                    </a:lnTo>
                    <a:lnTo>
                      <a:pt x="15165" y="72122"/>
                    </a:lnTo>
                    <a:lnTo>
                      <a:pt x="16311" y="72651"/>
                    </a:lnTo>
                    <a:lnTo>
                      <a:pt x="16928" y="73797"/>
                    </a:lnTo>
                    <a:lnTo>
                      <a:pt x="17193" y="74414"/>
                    </a:lnTo>
                    <a:lnTo>
                      <a:pt x="17193" y="75031"/>
                    </a:lnTo>
                    <a:lnTo>
                      <a:pt x="15518" y="75031"/>
                    </a:lnTo>
                    <a:lnTo>
                      <a:pt x="15518" y="75913"/>
                    </a:lnTo>
                    <a:lnTo>
                      <a:pt x="15782" y="76177"/>
                    </a:lnTo>
                    <a:lnTo>
                      <a:pt x="15518" y="76442"/>
                    </a:lnTo>
                    <a:lnTo>
                      <a:pt x="15782" y="76706"/>
                    </a:lnTo>
                    <a:lnTo>
                      <a:pt x="16047" y="77588"/>
                    </a:lnTo>
                    <a:lnTo>
                      <a:pt x="15782" y="77941"/>
                    </a:lnTo>
                    <a:lnTo>
                      <a:pt x="16047" y="78205"/>
                    </a:lnTo>
                    <a:lnTo>
                      <a:pt x="18074" y="78205"/>
                    </a:lnTo>
                    <a:lnTo>
                      <a:pt x="18692" y="77588"/>
                    </a:lnTo>
                    <a:lnTo>
                      <a:pt x="18956" y="77324"/>
                    </a:lnTo>
                    <a:lnTo>
                      <a:pt x="19573" y="77588"/>
                    </a:lnTo>
                    <a:lnTo>
                      <a:pt x="19573" y="77941"/>
                    </a:lnTo>
                    <a:lnTo>
                      <a:pt x="19838" y="78205"/>
                    </a:lnTo>
                    <a:lnTo>
                      <a:pt x="20455" y="77588"/>
                    </a:lnTo>
                    <a:lnTo>
                      <a:pt x="20720" y="77941"/>
                    </a:lnTo>
                    <a:lnTo>
                      <a:pt x="20455" y="78205"/>
                    </a:lnTo>
                    <a:lnTo>
                      <a:pt x="20720" y="79704"/>
                    </a:lnTo>
                    <a:lnTo>
                      <a:pt x="20720" y="80233"/>
                    </a:lnTo>
                    <a:lnTo>
                      <a:pt x="19838" y="80233"/>
                    </a:lnTo>
                    <a:lnTo>
                      <a:pt x="19838" y="80498"/>
                    </a:lnTo>
                    <a:lnTo>
                      <a:pt x="20102" y="81115"/>
                    </a:lnTo>
                    <a:lnTo>
                      <a:pt x="19309" y="81997"/>
                    </a:lnTo>
                    <a:lnTo>
                      <a:pt x="18956" y="81997"/>
                    </a:lnTo>
                    <a:lnTo>
                      <a:pt x="18956" y="81115"/>
                    </a:lnTo>
                    <a:lnTo>
                      <a:pt x="18692" y="80498"/>
                    </a:lnTo>
                    <a:lnTo>
                      <a:pt x="17810" y="80850"/>
                    </a:lnTo>
                    <a:lnTo>
                      <a:pt x="17810" y="81115"/>
                    </a:lnTo>
                    <a:lnTo>
                      <a:pt x="18427" y="81732"/>
                    </a:lnTo>
                    <a:lnTo>
                      <a:pt x="18956" y="82261"/>
                    </a:lnTo>
                    <a:lnTo>
                      <a:pt x="18427" y="81997"/>
                    </a:lnTo>
                    <a:lnTo>
                      <a:pt x="17810" y="82261"/>
                    </a:lnTo>
                    <a:lnTo>
                      <a:pt x="18074" y="83143"/>
                    </a:lnTo>
                    <a:lnTo>
                      <a:pt x="17545" y="83143"/>
                    </a:lnTo>
                    <a:lnTo>
                      <a:pt x="17545" y="82878"/>
                    </a:lnTo>
                    <a:lnTo>
                      <a:pt x="16928" y="82614"/>
                    </a:lnTo>
                    <a:lnTo>
                      <a:pt x="16664" y="83143"/>
                    </a:lnTo>
                    <a:lnTo>
                      <a:pt x="16664" y="82261"/>
                    </a:lnTo>
                    <a:lnTo>
                      <a:pt x="15518" y="82878"/>
                    </a:lnTo>
                    <a:lnTo>
                      <a:pt x="14283" y="83143"/>
                    </a:lnTo>
                    <a:lnTo>
                      <a:pt x="13666" y="83143"/>
                    </a:lnTo>
                    <a:lnTo>
                      <a:pt x="13666" y="83760"/>
                    </a:lnTo>
                    <a:lnTo>
                      <a:pt x="14283" y="83495"/>
                    </a:lnTo>
                    <a:lnTo>
                      <a:pt x="15165" y="83760"/>
                    </a:lnTo>
                    <a:lnTo>
                      <a:pt x="13666" y="84024"/>
                    </a:lnTo>
                    <a:lnTo>
                      <a:pt x="14019" y="84289"/>
                    </a:lnTo>
                    <a:lnTo>
                      <a:pt x="15165" y="84906"/>
                    </a:lnTo>
                    <a:lnTo>
                      <a:pt x="15782" y="84906"/>
                    </a:lnTo>
                    <a:lnTo>
                      <a:pt x="16664" y="85523"/>
                    </a:lnTo>
                    <a:lnTo>
                      <a:pt x="16664" y="86052"/>
                    </a:lnTo>
                    <a:lnTo>
                      <a:pt x="16928" y="84906"/>
                    </a:lnTo>
                    <a:lnTo>
                      <a:pt x="17193" y="85171"/>
                    </a:lnTo>
                    <a:lnTo>
                      <a:pt x="17193" y="85788"/>
                    </a:lnTo>
                    <a:lnTo>
                      <a:pt x="16928" y="86670"/>
                    </a:lnTo>
                    <a:lnTo>
                      <a:pt x="17810" y="86934"/>
                    </a:lnTo>
                    <a:lnTo>
                      <a:pt x="18692" y="88168"/>
                    </a:lnTo>
                    <a:lnTo>
                      <a:pt x="17193" y="87287"/>
                    </a:lnTo>
                    <a:lnTo>
                      <a:pt x="16928" y="87287"/>
                    </a:lnTo>
                    <a:lnTo>
                      <a:pt x="16928" y="87816"/>
                    </a:lnTo>
                    <a:lnTo>
                      <a:pt x="17193" y="88168"/>
                    </a:lnTo>
                    <a:lnTo>
                      <a:pt x="18692" y="88433"/>
                    </a:lnTo>
                    <a:lnTo>
                      <a:pt x="18692" y="89579"/>
                    </a:lnTo>
                    <a:lnTo>
                      <a:pt x="19309" y="87816"/>
                    </a:lnTo>
                    <a:lnTo>
                      <a:pt x="19309" y="89844"/>
                    </a:lnTo>
                    <a:lnTo>
                      <a:pt x="18692" y="90461"/>
                    </a:lnTo>
                    <a:lnTo>
                      <a:pt x="19838" y="90461"/>
                    </a:lnTo>
                    <a:lnTo>
                      <a:pt x="20455" y="90196"/>
                    </a:lnTo>
                    <a:lnTo>
                      <a:pt x="20984" y="90461"/>
                    </a:lnTo>
                    <a:lnTo>
                      <a:pt x="21337" y="90196"/>
                    </a:lnTo>
                    <a:lnTo>
                      <a:pt x="21601" y="89314"/>
                    </a:lnTo>
                    <a:lnTo>
                      <a:pt x="21866" y="89314"/>
                    </a:lnTo>
                    <a:lnTo>
                      <a:pt x="22747" y="89844"/>
                    </a:lnTo>
                    <a:lnTo>
                      <a:pt x="23894" y="90461"/>
                    </a:lnTo>
                    <a:lnTo>
                      <a:pt x="24246" y="90990"/>
                    </a:lnTo>
                    <a:lnTo>
                      <a:pt x="23365" y="90990"/>
                    </a:lnTo>
                    <a:lnTo>
                      <a:pt x="22218" y="90725"/>
                    </a:lnTo>
                    <a:lnTo>
                      <a:pt x="20984" y="90990"/>
                    </a:lnTo>
                    <a:lnTo>
                      <a:pt x="18956" y="91960"/>
                    </a:lnTo>
                    <a:lnTo>
                      <a:pt x="17193" y="92224"/>
                    </a:lnTo>
                    <a:lnTo>
                      <a:pt x="16928" y="92224"/>
                    </a:lnTo>
                    <a:lnTo>
                      <a:pt x="16047" y="91607"/>
                    </a:lnTo>
                    <a:lnTo>
                      <a:pt x="15165" y="90461"/>
                    </a:lnTo>
                    <a:lnTo>
                      <a:pt x="14900" y="90196"/>
                    </a:lnTo>
                    <a:lnTo>
                      <a:pt x="14636" y="90461"/>
                    </a:lnTo>
                    <a:lnTo>
                      <a:pt x="14636" y="90990"/>
                    </a:lnTo>
                    <a:lnTo>
                      <a:pt x="15165" y="91960"/>
                    </a:lnTo>
                    <a:lnTo>
                      <a:pt x="14900" y="93106"/>
                    </a:lnTo>
                    <a:lnTo>
                      <a:pt x="14283" y="93106"/>
                    </a:lnTo>
                    <a:lnTo>
                      <a:pt x="13666" y="92753"/>
                    </a:lnTo>
                    <a:lnTo>
                      <a:pt x="13401" y="92224"/>
                    </a:lnTo>
                    <a:lnTo>
                      <a:pt x="12873" y="90461"/>
                    </a:lnTo>
                    <a:lnTo>
                      <a:pt x="13137" y="89579"/>
                    </a:lnTo>
                    <a:lnTo>
                      <a:pt x="12873" y="89314"/>
                    </a:lnTo>
                    <a:lnTo>
                      <a:pt x="13137" y="88962"/>
                    </a:lnTo>
                    <a:lnTo>
                      <a:pt x="14019" y="89314"/>
                    </a:lnTo>
                    <a:lnTo>
                      <a:pt x="14283" y="88962"/>
                    </a:lnTo>
                    <a:lnTo>
                      <a:pt x="14283" y="88168"/>
                    </a:lnTo>
                    <a:lnTo>
                      <a:pt x="14019" y="87816"/>
                    </a:lnTo>
                    <a:lnTo>
                      <a:pt x="13401" y="87551"/>
                    </a:lnTo>
                    <a:lnTo>
                      <a:pt x="12608" y="87816"/>
                    </a:lnTo>
                    <a:lnTo>
                      <a:pt x="11991" y="87551"/>
                    </a:lnTo>
                    <a:lnTo>
                      <a:pt x="11109" y="86670"/>
                    </a:lnTo>
                    <a:lnTo>
                      <a:pt x="11374" y="86405"/>
                    </a:lnTo>
                    <a:lnTo>
                      <a:pt x="11109" y="85523"/>
                    </a:lnTo>
                    <a:lnTo>
                      <a:pt x="11374" y="84906"/>
                    </a:lnTo>
                    <a:lnTo>
                      <a:pt x="10845" y="84024"/>
                    </a:lnTo>
                    <a:lnTo>
                      <a:pt x="10580" y="83760"/>
                    </a:lnTo>
                    <a:lnTo>
                      <a:pt x="9346" y="83495"/>
                    </a:lnTo>
                    <a:lnTo>
                      <a:pt x="8464" y="83495"/>
                    </a:lnTo>
                    <a:lnTo>
                      <a:pt x="7847" y="83760"/>
                    </a:lnTo>
                    <a:lnTo>
                      <a:pt x="7053" y="84024"/>
                    </a:lnTo>
                    <a:lnTo>
                      <a:pt x="7053" y="84906"/>
                    </a:lnTo>
                    <a:lnTo>
                      <a:pt x="7582" y="86052"/>
                    </a:lnTo>
                    <a:lnTo>
                      <a:pt x="7053" y="86670"/>
                    </a:lnTo>
                    <a:lnTo>
                      <a:pt x="7582" y="87287"/>
                    </a:lnTo>
                    <a:lnTo>
                      <a:pt x="7318" y="87816"/>
                    </a:lnTo>
                    <a:lnTo>
                      <a:pt x="8464" y="87816"/>
                    </a:lnTo>
                    <a:lnTo>
                      <a:pt x="8464" y="88697"/>
                    </a:lnTo>
                    <a:lnTo>
                      <a:pt x="8200" y="88962"/>
                    </a:lnTo>
                    <a:lnTo>
                      <a:pt x="8200" y="89844"/>
                    </a:lnTo>
                    <a:lnTo>
                      <a:pt x="8464" y="89579"/>
                    </a:lnTo>
                    <a:lnTo>
                      <a:pt x="8464" y="89314"/>
                    </a:lnTo>
                    <a:lnTo>
                      <a:pt x="9081" y="89314"/>
                    </a:lnTo>
                    <a:lnTo>
                      <a:pt x="10580" y="89579"/>
                    </a:lnTo>
                    <a:lnTo>
                      <a:pt x="11726" y="90461"/>
                    </a:lnTo>
                    <a:lnTo>
                      <a:pt x="11726" y="90990"/>
                    </a:lnTo>
                    <a:lnTo>
                      <a:pt x="11374" y="90990"/>
                    </a:lnTo>
                    <a:lnTo>
                      <a:pt x="10845" y="90461"/>
                    </a:lnTo>
                    <a:lnTo>
                      <a:pt x="9963" y="90461"/>
                    </a:lnTo>
                    <a:lnTo>
                      <a:pt x="10228" y="90990"/>
                    </a:lnTo>
                    <a:lnTo>
                      <a:pt x="11374" y="91607"/>
                    </a:lnTo>
                    <a:lnTo>
                      <a:pt x="10845" y="91607"/>
                    </a:lnTo>
                    <a:lnTo>
                      <a:pt x="10228" y="92224"/>
                    </a:lnTo>
                    <a:lnTo>
                      <a:pt x="9610" y="92753"/>
                    </a:lnTo>
                    <a:lnTo>
                      <a:pt x="8729" y="93106"/>
                    </a:lnTo>
                    <a:lnTo>
                      <a:pt x="7847" y="93106"/>
                    </a:lnTo>
                    <a:lnTo>
                      <a:pt x="7318" y="92753"/>
                    </a:lnTo>
                    <a:lnTo>
                      <a:pt x="7847" y="92224"/>
                    </a:lnTo>
                    <a:lnTo>
                      <a:pt x="7582" y="92224"/>
                    </a:lnTo>
                    <a:lnTo>
                      <a:pt x="7053" y="91607"/>
                    </a:lnTo>
                    <a:lnTo>
                      <a:pt x="7318" y="93106"/>
                    </a:lnTo>
                    <a:lnTo>
                      <a:pt x="6701" y="92489"/>
                    </a:lnTo>
                    <a:lnTo>
                      <a:pt x="6436" y="92489"/>
                    </a:lnTo>
                    <a:lnTo>
                      <a:pt x="5819" y="93106"/>
                    </a:lnTo>
                    <a:lnTo>
                      <a:pt x="5819" y="93370"/>
                    </a:lnTo>
                    <a:lnTo>
                      <a:pt x="6172" y="93635"/>
                    </a:lnTo>
                    <a:lnTo>
                      <a:pt x="6701" y="93370"/>
                    </a:lnTo>
                    <a:lnTo>
                      <a:pt x="7318" y="93370"/>
                    </a:lnTo>
                    <a:lnTo>
                      <a:pt x="7582" y="93988"/>
                    </a:lnTo>
                    <a:lnTo>
                      <a:pt x="7318" y="94252"/>
                    </a:lnTo>
                    <a:lnTo>
                      <a:pt x="7582" y="95134"/>
                    </a:lnTo>
                    <a:lnTo>
                      <a:pt x="7582" y="95398"/>
                    </a:lnTo>
                    <a:lnTo>
                      <a:pt x="8200" y="95134"/>
                    </a:lnTo>
                    <a:lnTo>
                      <a:pt x="8729" y="94869"/>
                    </a:lnTo>
                    <a:lnTo>
                      <a:pt x="9346" y="94252"/>
                    </a:lnTo>
                    <a:lnTo>
                      <a:pt x="9081" y="94869"/>
                    </a:lnTo>
                    <a:lnTo>
                      <a:pt x="9081" y="96015"/>
                    </a:lnTo>
                    <a:lnTo>
                      <a:pt x="9610" y="95751"/>
                    </a:lnTo>
                    <a:lnTo>
                      <a:pt x="9610" y="95134"/>
                    </a:lnTo>
                    <a:lnTo>
                      <a:pt x="9963" y="95398"/>
                    </a:lnTo>
                    <a:lnTo>
                      <a:pt x="10228" y="95398"/>
                    </a:lnTo>
                    <a:lnTo>
                      <a:pt x="10845" y="96015"/>
                    </a:lnTo>
                    <a:lnTo>
                      <a:pt x="11726" y="97161"/>
                    </a:lnTo>
                    <a:lnTo>
                      <a:pt x="11991" y="96897"/>
                    </a:lnTo>
                    <a:lnTo>
                      <a:pt x="12255" y="96897"/>
                    </a:lnTo>
                    <a:lnTo>
                      <a:pt x="11991" y="97779"/>
                    </a:lnTo>
                    <a:lnTo>
                      <a:pt x="12255" y="98308"/>
                    </a:lnTo>
                    <a:lnTo>
                      <a:pt x="12255" y="97779"/>
                    </a:lnTo>
                    <a:lnTo>
                      <a:pt x="12608" y="97779"/>
                    </a:lnTo>
                    <a:lnTo>
                      <a:pt x="13401" y="98308"/>
                    </a:lnTo>
                    <a:lnTo>
                      <a:pt x="14019" y="98308"/>
                    </a:lnTo>
                    <a:lnTo>
                      <a:pt x="14283" y="98043"/>
                    </a:lnTo>
                    <a:lnTo>
                      <a:pt x="14283" y="96544"/>
                    </a:lnTo>
                    <a:lnTo>
                      <a:pt x="14900" y="96015"/>
                    </a:lnTo>
                    <a:lnTo>
                      <a:pt x="15165" y="96015"/>
                    </a:lnTo>
                    <a:lnTo>
                      <a:pt x="15782" y="95751"/>
                    </a:lnTo>
                    <a:lnTo>
                      <a:pt x="16311" y="95134"/>
                    </a:lnTo>
                    <a:lnTo>
                      <a:pt x="17193" y="95398"/>
                    </a:lnTo>
                    <a:lnTo>
                      <a:pt x="17810" y="96015"/>
                    </a:lnTo>
                    <a:lnTo>
                      <a:pt x="17193" y="96544"/>
                    </a:lnTo>
                    <a:lnTo>
                      <a:pt x="16311" y="96897"/>
                    </a:lnTo>
                    <a:lnTo>
                      <a:pt x="16664" y="97426"/>
                    </a:lnTo>
                    <a:lnTo>
                      <a:pt x="17810" y="97779"/>
                    </a:lnTo>
                    <a:lnTo>
                      <a:pt x="18074" y="98308"/>
                    </a:lnTo>
                    <a:lnTo>
                      <a:pt x="17810" y="98925"/>
                    </a:lnTo>
                    <a:lnTo>
                      <a:pt x="17810" y="99807"/>
                    </a:lnTo>
                    <a:lnTo>
                      <a:pt x="18427" y="100688"/>
                    </a:lnTo>
                    <a:lnTo>
                      <a:pt x="18692" y="100953"/>
                    </a:lnTo>
                    <a:lnTo>
                      <a:pt x="19309" y="100953"/>
                    </a:lnTo>
                    <a:lnTo>
                      <a:pt x="19573" y="100688"/>
                    </a:lnTo>
                    <a:lnTo>
                      <a:pt x="19573" y="99542"/>
                    </a:lnTo>
                    <a:lnTo>
                      <a:pt x="20102" y="99189"/>
                    </a:lnTo>
                    <a:lnTo>
                      <a:pt x="21601" y="99189"/>
                    </a:lnTo>
                    <a:lnTo>
                      <a:pt x="21866" y="99542"/>
                    </a:lnTo>
                    <a:lnTo>
                      <a:pt x="22218" y="100336"/>
                    </a:lnTo>
                    <a:lnTo>
                      <a:pt x="22747" y="100953"/>
                    </a:lnTo>
                    <a:lnTo>
                      <a:pt x="23365" y="100688"/>
                    </a:lnTo>
                    <a:lnTo>
                      <a:pt x="24246" y="100953"/>
                    </a:lnTo>
                    <a:lnTo>
                      <a:pt x="25128" y="101570"/>
                    </a:lnTo>
                    <a:lnTo>
                      <a:pt x="26010" y="101570"/>
                    </a:lnTo>
                    <a:lnTo>
                      <a:pt x="26891" y="101217"/>
                    </a:lnTo>
                    <a:lnTo>
                      <a:pt x="27420" y="101217"/>
                    </a:lnTo>
                    <a:lnTo>
                      <a:pt x="27420" y="102099"/>
                    </a:lnTo>
                    <a:lnTo>
                      <a:pt x="28037" y="102716"/>
                    </a:lnTo>
                    <a:lnTo>
                      <a:pt x="28037" y="103333"/>
                    </a:lnTo>
                    <a:lnTo>
                      <a:pt x="27685" y="104744"/>
                    </a:lnTo>
                    <a:lnTo>
                      <a:pt x="28302" y="105009"/>
                    </a:lnTo>
                    <a:lnTo>
                      <a:pt x="28302" y="105626"/>
                    </a:lnTo>
                    <a:lnTo>
                      <a:pt x="28919" y="105890"/>
                    </a:lnTo>
                    <a:lnTo>
                      <a:pt x="28302" y="107036"/>
                    </a:lnTo>
                    <a:lnTo>
                      <a:pt x="28037" y="108271"/>
                    </a:lnTo>
                    <a:lnTo>
                      <a:pt x="27420" y="108800"/>
                    </a:lnTo>
                    <a:lnTo>
                      <a:pt x="26010" y="109417"/>
                    </a:lnTo>
                    <a:lnTo>
                      <a:pt x="25393" y="109417"/>
                    </a:lnTo>
                    <a:lnTo>
                      <a:pt x="24511" y="108800"/>
                    </a:lnTo>
                    <a:lnTo>
                      <a:pt x="23894" y="108800"/>
                    </a:lnTo>
                    <a:lnTo>
                      <a:pt x="23629" y="109152"/>
                    </a:lnTo>
                    <a:lnTo>
                      <a:pt x="23629" y="109681"/>
                    </a:lnTo>
                    <a:lnTo>
                      <a:pt x="24511" y="110034"/>
                    </a:lnTo>
                    <a:lnTo>
                      <a:pt x="25128" y="110299"/>
                    </a:lnTo>
                    <a:lnTo>
                      <a:pt x="26010" y="110034"/>
                    </a:lnTo>
                    <a:lnTo>
                      <a:pt x="26539" y="110299"/>
                    </a:lnTo>
                    <a:lnTo>
                      <a:pt x="26891" y="110828"/>
                    </a:lnTo>
                    <a:lnTo>
                      <a:pt x="27420" y="111180"/>
                    </a:lnTo>
                    <a:lnTo>
                      <a:pt x="27420" y="112326"/>
                    </a:lnTo>
                    <a:lnTo>
                      <a:pt x="28302" y="113825"/>
                    </a:lnTo>
                    <a:lnTo>
                      <a:pt x="28302" y="115589"/>
                    </a:lnTo>
                    <a:lnTo>
                      <a:pt x="28037" y="116118"/>
                    </a:lnTo>
                    <a:lnTo>
                      <a:pt x="27685" y="116735"/>
                    </a:lnTo>
                    <a:lnTo>
                      <a:pt x="28037" y="117617"/>
                    </a:lnTo>
                    <a:lnTo>
                      <a:pt x="28919" y="117881"/>
                    </a:lnTo>
                    <a:lnTo>
                      <a:pt x="30065" y="117881"/>
                    </a:lnTo>
                    <a:lnTo>
                      <a:pt x="30065" y="116999"/>
                    </a:lnTo>
                    <a:lnTo>
                      <a:pt x="30418" y="116735"/>
                    </a:lnTo>
                    <a:lnTo>
                      <a:pt x="30682" y="116999"/>
                    </a:lnTo>
                    <a:lnTo>
                      <a:pt x="30947" y="116735"/>
                    </a:lnTo>
                    <a:lnTo>
                      <a:pt x="30947" y="116118"/>
                    </a:lnTo>
                    <a:lnTo>
                      <a:pt x="31212" y="115853"/>
                    </a:lnTo>
                    <a:lnTo>
                      <a:pt x="31476" y="115589"/>
                    </a:lnTo>
                    <a:lnTo>
                      <a:pt x="31829" y="115589"/>
                    </a:lnTo>
                    <a:lnTo>
                      <a:pt x="31829" y="116735"/>
                    </a:lnTo>
                    <a:lnTo>
                      <a:pt x="32093" y="116999"/>
                    </a:lnTo>
                    <a:lnTo>
                      <a:pt x="32093" y="117617"/>
                    </a:lnTo>
                    <a:lnTo>
                      <a:pt x="31829" y="118146"/>
                    </a:lnTo>
                    <a:lnTo>
                      <a:pt x="32093" y="118498"/>
                    </a:lnTo>
                    <a:lnTo>
                      <a:pt x="32710" y="118763"/>
                    </a:lnTo>
                    <a:lnTo>
                      <a:pt x="33592" y="118498"/>
                    </a:lnTo>
                    <a:lnTo>
                      <a:pt x="33857" y="117881"/>
                    </a:lnTo>
                    <a:lnTo>
                      <a:pt x="34474" y="117881"/>
                    </a:lnTo>
                    <a:lnTo>
                      <a:pt x="34738" y="118146"/>
                    </a:lnTo>
                    <a:lnTo>
                      <a:pt x="34474" y="118498"/>
                    </a:lnTo>
                    <a:lnTo>
                      <a:pt x="34209" y="119644"/>
                    </a:lnTo>
                    <a:lnTo>
                      <a:pt x="34738" y="120526"/>
                    </a:lnTo>
                    <a:lnTo>
                      <a:pt x="35003" y="120173"/>
                    </a:lnTo>
                    <a:lnTo>
                      <a:pt x="35356" y="119644"/>
                    </a:lnTo>
                    <a:lnTo>
                      <a:pt x="35885" y="119644"/>
                    </a:lnTo>
                    <a:lnTo>
                      <a:pt x="36502" y="119380"/>
                    </a:lnTo>
                    <a:lnTo>
                      <a:pt x="36766" y="119644"/>
                    </a:lnTo>
                    <a:lnTo>
                      <a:pt x="36502" y="120173"/>
                    </a:lnTo>
                    <a:lnTo>
                      <a:pt x="36766" y="121055"/>
                    </a:lnTo>
                    <a:lnTo>
                      <a:pt x="36237" y="121408"/>
                    </a:lnTo>
                    <a:lnTo>
                      <a:pt x="35885" y="121055"/>
                    </a:lnTo>
                    <a:lnTo>
                      <a:pt x="35620" y="121055"/>
                    </a:lnTo>
                    <a:lnTo>
                      <a:pt x="35356" y="121408"/>
                    </a:lnTo>
                    <a:lnTo>
                      <a:pt x="35356" y="122290"/>
                    </a:lnTo>
                    <a:lnTo>
                      <a:pt x="35885" y="123083"/>
                    </a:lnTo>
                    <a:lnTo>
                      <a:pt x="35620" y="123700"/>
                    </a:lnTo>
                    <a:lnTo>
                      <a:pt x="35620" y="124053"/>
                    </a:lnTo>
                    <a:lnTo>
                      <a:pt x="33328" y="124053"/>
                    </a:lnTo>
                    <a:lnTo>
                      <a:pt x="32710" y="123700"/>
                    </a:lnTo>
                    <a:lnTo>
                      <a:pt x="32358" y="121672"/>
                    </a:lnTo>
                    <a:lnTo>
                      <a:pt x="31829" y="121055"/>
                    </a:lnTo>
                    <a:lnTo>
                      <a:pt x="31212" y="121055"/>
                    </a:lnTo>
                    <a:lnTo>
                      <a:pt x="30947" y="121408"/>
                    </a:lnTo>
                    <a:lnTo>
                      <a:pt x="31476" y="121408"/>
                    </a:lnTo>
                    <a:lnTo>
                      <a:pt x="31212" y="122290"/>
                    </a:lnTo>
                    <a:lnTo>
                      <a:pt x="31212" y="123436"/>
                    </a:lnTo>
                    <a:lnTo>
                      <a:pt x="30947" y="123700"/>
                    </a:lnTo>
                    <a:lnTo>
                      <a:pt x="30065" y="123083"/>
                    </a:lnTo>
                    <a:lnTo>
                      <a:pt x="29448" y="123436"/>
                    </a:lnTo>
                    <a:lnTo>
                      <a:pt x="29184" y="123700"/>
                    </a:lnTo>
                    <a:lnTo>
                      <a:pt x="29801" y="124053"/>
                    </a:lnTo>
                    <a:lnTo>
                      <a:pt x="29448" y="124582"/>
                    </a:lnTo>
                    <a:lnTo>
                      <a:pt x="29801" y="124846"/>
                    </a:lnTo>
                    <a:lnTo>
                      <a:pt x="29801" y="125728"/>
                    </a:lnTo>
                    <a:lnTo>
                      <a:pt x="29184" y="126081"/>
                    </a:lnTo>
                    <a:lnTo>
                      <a:pt x="29184" y="126610"/>
                    </a:lnTo>
                    <a:lnTo>
                      <a:pt x="30065" y="126874"/>
                    </a:lnTo>
                    <a:lnTo>
                      <a:pt x="30947" y="126874"/>
                    </a:lnTo>
                    <a:lnTo>
                      <a:pt x="30947" y="127227"/>
                    </a:lnTo>
                    <a:lnTo>
                      <a:pt x="31476" y="127227"/>
                    </a:lnTo>
                    <a:lnTo>
                      <a:pt x="31476" y="126874"/>
                    </a:lnTo>
                    <a:lnTo>
                      <a:pt x="31212" y="126610"/>
                    </a:lnTo>
                    <a:lnTo>
                      <a:pt x="31829" y="125728"/>
                    </a:lnTo>
                    <a:lnTo>
                      <a:pt x="31829" y="125464"/>
                    </a:lnTo>
                    <a:lnTo>
                      <a:pt x="32710" y="125728"/>
                    </a:lnTo>
                    <a:lnTo>
                      <a:pt x="32975" y="125728"/>
                    </a:lnTo>
                    <a:lnTo>
                      <a:pt x="32710" y="125464"/>
                    </a:lnTo>
                    <a:lnTo>
                      <a:pt x="32710" y="124846"/>
                    </a:lnTo>
                    <a:lnTo>
                      <a:pt x="34209" y="125728"/>
                    </a:lnTo>
                    <a:lnTo>
                      <a:pt x="35003" y="125728"/>
                    </a:lnTo>
                    <a:lnTo>
                      <a:pt x="35356" y="126081"/>
                    </a:lnTo>
                    <a:lnTo>
                      <a:pt x="35620" y="126610"/>
                    </a:lnTo>
                    <a:lnTo>
                      <a:pt x="35885" y="126610"/>
                    </a:lnTo>
                    <a:lnTo>
                      <a:pt x="36237" y="126345"/>
                    </a:lnTo>
                    <a:lnTo>
                      <a:pt x="35885" y="125728"/>
                    </a:lnTo>
                    <a:lnTo>
                      <a:pt x="37031" y="125728"/>
                    </a:lnTo>
                    <a:lnTo>
                      <a:pt x="37912" y="126081"/>
                    </a:lnTo>
                    <a:lnTo>
                      <a:pt x="38794" y="125728"/>
                    </a:lnTo>
                    <a:lnTo>
                      <a:pt x="39940" y="125728"/>
                    </a:lnTo>
                    <a:lnTo>
                      <a:pt x="40558" y="126081"/>
                    </a:lnTo>
                    <a:lnTo>
                      <a:pt x="41703" y="125728"/>
                    </a:lnTo>
                    <a:lnTo>
                      <a:pt x="42321" y="125464"/>
                    </a:lnTo>
                    <a:lnTo>
                      <a:pt x="42938" y="124846"/>
                    </a:lnTo>
                    <a:lnTo>
                      <a:pt x="43202" y="124846"/>
                    </a:lnTo>
                    <a:lnTo>
                      <a:pt x="44084" y="125199"/>
                    </a:lnTo>
                    <a:lnTo>
                      <a:pt x="44349" y="125199"/>
                    </a:lnTo>
                    <a:lnTo>
                      <a:pt x="45230" y="124582"/>
                    </a:lnTo>
                    <a:lnTo>
                      <a:pt x="45847" y="124317"/>
                    </a:lnTo>
                    <a:lnTo>
                      <a:pt x="46377" y="124317"/>
                    </a:lnTo>
                    <a:lnTo>
                      <a:pt x="47258" y="124846"/>
                    </a:lnTo>
                    <a:lnTo>
                      <a:pt x="47258" y="125199"/>
                    </a:lnTo>
                    <a:lnTo>
                      <a:pt x="47523" y="125464"/>
                    </a:lnTo>
                    <a:lnTo>
                      <a:pt x="47523" y="124846"/>
                    </a:lnTo>
                    <a:lnTo>
                      <a:pt x="48757" y="124582"/>
                    </a:lnTo>
                    <a:lnTo>
                      <a:pt x="49286" y="124846"/>
                    </a:lnTo>
                    <a:lnTo>
                      <a:pt x="50432" y="124317"/>
                    </a:lnTo>
                    <a:lnTo>
                      <a:pt x="51314" y="124582"/>
                    </a:lnTo>
                    <a:lnTo>
                      <a:pt x="52196" y="124846"/>
                    </a:lnTo>
                    <a:lnTo>
                      <a:pt x="51931" y="125199"/>
                    </a:lnTo>
                    <a:lnTo>
                      <a:pt x="51667" y="125464"/>
                    </a:lnTo>
                    <a:lnTo>
                      <a:pt x="50432" y="125464"/>
                    </a:lnTo>
                    <a:lnTo>
                      <a:pt x="50432" y="125728"/>
                    </a:lnTo>
                    <a:lnTo>
                      <a:pt x="49286" y="125728"/>
                    </a:lnTo>
                    <a:lnTo>
                      <a:pt x="49022" y="126345"/>
                    </a:lnTo>
                    <a:lnTo>
                      <a:pt x="49286" y="126610"/>
                    </a:lnTo>
                    <a:lnTo>
                      <a:pt x="49286" y="128373"/>
                    </a:lnTo>
                    <a:lnTo>
                      <a:pt x="49022" y="128109"/>
                    </a:lnTo>
                    <a:lnTo>
                      <a:pt x="49022" y="127756"/>
                    </a:lnTo>
                    <a:lnTo>
                      <a:pt x="48757" y="127756"/>
                    </a:lnTo>
                    <a:lnTo>
                      <a:pt x="48140" y="127491"/>
                    </a:lnTo>
                    <a:lnTo>
                      <a:pt x="47875" y="127756"/>
                    </a:lnTo>
                    <a:lnTo>
                      <a:pt x="46994" y="127491"/>
                    </a:lnTo>
                    <a:lnTo>
                      <a:pt x="46377" y="127756"/>
                    </a:lnTo>
                    <a:lnTo>
                      <a:pt x="46729" y="128373"/>
                    </a:lnTo>
                    <a:lnTo>
                      <a:pt x="46994" y="128373"/>
                    </a:lnTo>
                    <a:lnTo>
                      <a:pt x="46994" y="128638"/>
                    </a:lnTo>
                    <a:lnTo>
                      <a:pt x="46377" y="128373"/>
                    </a:lnTo>
                    <a:lnTo>
                      <a:pt x="46729" y="129255"/>
                    </a:lnTo>
                    <a:lnTo>
                      <a:pt x="46994" y="129519"/>
                    </a:lnTo>
                    <a:lnTo>
                      <a:pt x="46377" y="129255"/>
                    </a:lnTo>
                    <a:lnTo>
                      <a:pt x="46112" y="129255"/>
                    </a:lnTo>
                    <a:lnTo>
                      <a:pt x="46729" y="129519"/>
                    </a:lnTo>
                    <a:lnTo>
                      <a:pt x="46729" y="130136"/>
                    </a:lnTo>
                    <a:lnTo>
                      <a:pt x="46112" y="129872"/>
                    </a:lnTo>
                    <a:lnTo>
                      <a:pt x="45847" y="129519"/>
                    </a:lnTo>
                    <a:lnTo>
                      <a:pt x="44349" y="129519"/>
                    </a:lnTo>
                    <a:lnTo>
                      <a:pt x="42938" y="128990"/>
                    </a:lnTo>
                    <a:lnTo>
                      <a:pt x="42056" y="129519"/>
                    </a:lnTo>
                    <a:lnTo>
                      <a:pt x="41086" y="129519"/>
                    </a:lnTo>
                    <a:lnTo>
                      <a:pt x="40558" y="130401"/>
                    </a:lnTo>
                    <a:lnTo>
                      <a:pt x="39147" y="130401"/>
                    </a:lnTo>
                    <a:lnTo>
                      <a:pt x="38265" y="129519"/>
                    </a:lnTo>
                    <a:lnTo>
                      <a:pt x="37648" y="129519"/>
                    </a:lnTo>
                    <a:lnTo>
                      <a:pt x="37383" y="129872"/>
                    </a:lnTo>
                    <a:lnTo>
                      <a:pt x="37383" y="131018"/>
                    </a:lnTo>
                    <a:lnTo>
                      <a:pt x="36502" y="131283"/>
                    </a:lnTo>
                    <a:lnTo>
                      <a:pt x="36502" y="131900"/>
                    </a:lnTo>
                    <a:lnTo>
                      <a:pt x="35885" y="132164"/>
                    </a:lnTo>
                    <a:lnTo>
                      <a:pt x="35003" y="132164"/>
                    </a:lnTo>
                    <a:lnTo>
                      <a:pt x="34209" y="131900"/>
                    </a:lnTo>
                    <a:lnTo>
                      <a:pt x="33857" y="131547"/>
                    </a:lnTo>
                    <a:lnTo>
                      <a:pt x="33592" y="132164"/>
                    </a:lnTo>
                    <a:lnTo>
                      <a:pt x="33592" y="133046"/>
                    </a:lnTo>
                    <a:lnTo>
                      <a:pt x="34474" y="132782"/>
                    </a:lnTo>
                    <a:lnTo>
                      <a:pt x="33592" y="133311"/>
                    </a:lnTo>
                    <a:lnTo>
                      <a:pt x="33328" y="133046"/>
                    </a:lnTo>
                    <a:lnTo>
                      <a:pt x="32975" y="133046"/>
                    </a:lnTo>
                    <a:lnTo>
                      <a:pt x="33592" y="133928"/>
                    </a:lnTo>
                    <a:lnTo>
                      <a:pt x="35003" y="134192"/>
                    </a:lnTo>
                    <a:lnTo>
                      <a:pt x="35885" y="133928"/>
                    </a:lnTo>
                    <a:lnTo>
                      <a:pt x="36502" y="133311"/>
                    </a:lnTo>
                    <a:lnTo>
                      <a:pt x="37912" y="133046"/>
                    </a:lnTo>
                    <a:lnTo>
                      <a:pt x="38530" y="133663"/>
                    </a:lnTo>
                    <a:lnTo>
                      <a:pt x="39147" y="133928"/>
                    </a:lnTo>
                    <a:lnTo>
                      <a:pt x="39676" y="133928"/>
                    </a:lnTo>
                    <a:lnTo>
                      <a:pt x="39411" y="133311"/>
                    </a:lnTo>
                    <a:lnTo>
                      <a:pt x="39676" y="132782"/>
                    </a:lnTo>
                    <a:lnTo>
                      <a:pt x="39147" y="132429"/>
                    </a:lnTo>
                    <a:lnTo>
                      <a:pt x="39411" y="132164"/>
                    </a:lnTo>
                    <a:lnTo>
                      <a:pt x="39940" y="131900"/>
                    </a:lnTo>
                    <a:lnTo>
                      <a:pt x="40822" y="131900"/>
                    </a:lnTo>
                    <a:lnTo>
                      <a:pt x="41703" y="132164"/>
                    </a:lnTo>
                    <a:lnTo>
                      <a:pt x="42585" y="131547"/>
                    </a:lnTo>
                    <a:lnTo>
                      <a:pt x="43820" y="132164"/>
                    </a:lnTo>
                    <a:lnTo>
                      <a:pt x="44966" y="132429"/>
                    </a:lnTo>
                    <a:lnTo>
                      <a:pt x="46729" y="132164"/>
                    </a:lnTo>
                    <a:lnTo>
                      <a:pt x="46994" y="132164"/>
                    </a:lnTo>
                    <a:lnTo>
                      <a:pt x="47875" y="131018"/>
                    </a:lnTo>
                    <a:lnTo>
                      <a:pt x="48757" y="131018"/>
                    </a:lnTo>
                    <a:lnTo>
                      <a:pt x="49022" y="131283"/>
                    </a:lnTo>
                    <a:lnTo>
                      <a:pt x="49022" y="131547"/>
                    </a:lnTo>
                    <a:lnTo>
                      <a:pt x="48757" y="132164"/>
                    </a:lnTo>
                    <a:lnTo>
                      <a:pt x="49022" y="133046"/>
                    </a:lnTo>
                    <a:lnTo>
                      <a:pt x="48404" y="133311"/>
                    </a:lnTo>
                    <a:lnTo>
                      <a:pt x="47523" y="133046"/>
                    </a:lnTo>
                    <a:lnTo>
                      <a:pt x="46994" y="133046"/>
                    </a:lnTo>
                    <a:lnTo>
                      <a:pt x="46729" y="133311"/>
                    </a:lnTo>
                    <a:lnTo>
                      <a:pt x="46377" y="133663"/>
                    </a:lnTo>
                    <a:lnTo>
                      <a:pt x="46729" y="133928"/>
                    </a:lnTo>
                    <a:lnTo>
                      <a:pt x="46994" y="134192"/>
                    </a:lnTo>
                    <a:lnTo>
                      <a:pt x="46994" y="134809"/>
                    </a:lnTo>
                    <a:lnTo>
                      <a:pt x="47258" y="134457"/>
                    </a:lnTo>
                    <a:lnTo>
                      <a:pt x="47258" y="133928"/>
                    </a:lnTo>
                    <a:lnTo>
                      <a:pt x="47523" y="133928"/>
                    </a:lnTo>
                    <a:lnTo>
                      <a:pt x="48404" y="134809"/>
                    </a:lnTo>
                    <a:lnTo>
                      <a:pt x="48140" y="135074"/>
                    </a:lnTo>
                    <a:lnTo>
                      <a:pt x="47875" y="135691"/>
                    </a:lnTo>
                    <a:lnTo>
                      <a:pt x="46994" y="135691"/>
                    </a:lnTo>
                    <a:lnTo>
                      <a:pt x="46729" y="136573"/>
                    </a:lnTo>
                    <a:lnTo>
                      <a:pt x="46994" y="136837"/>
                    </a:lnTo>
                    <a:lnTo>
                      <a:pt x="47523" y="136837"/>
                    </a:lnTo>
                    <a:lnTo>
                      <a:pt x="47523" y="136573"/>
                    </a:lnTo>
                    <a:lnTo>
                      <a:pt x="47875" y="136837"/>
                    </a:lnTo>
                    <a:lnTo>
                      <a:pt x="48404" y="136837"/>
                    </a:lnTo>
                    <a:lnTo>
                      <a:pt x="48757" y="136573"/>
                    </a:lnTo>
                    <a:lnTo>
                      <a:pt x="48757" y="135338"/>
                    </a:lnTo>
                    <a:lnTo>
                      <a:pt x="49639" y="134457"/>
                    </a:lnTo>
                    <a:lnTo>
                      <a:pt x="49286" y="133663"/>
                    </a:lnTo>
                    <a:lnTo>
                      <a:pt x="49639" y="133311"/>
                    </a:lnTo>
                    <a:lnTo>
                      <a:pt x="49903" y="132782"/>
                    </a:lnTo>
                    <a:lnTo>
                      <a:pt x="50168" y="132429"/>
                    </a:lnTo>
                    <a:lnTo>
                      <a:pt x="50785" y="133311"/>
                    </a:lnTo>
                    <a:lnTo>
                      <a:pt x="51314" y="133311"/>
                    </a:lnTo>
                    <a:lnTo>
                      <a:pt x="51050" y="132782"/>
                    </a:lnTo>
                    <a:lnTo>
                      <a:pt x="51314" y="132429"/>
                    </a:lnTo>
                    <a:lnTo>
                      <a:pt x="51667" y="133046"/>
                    </a:lnTo>
                    <a:lnTo>
                      <a:pt x="52196" y="133311"/>
                    </a:lnTo>
                    <a:lnTo>
                      <a:pt x="52548" y="132429"/>
                    </a:lnTo>
                    <a:lnTo>
                      <a:pt x="52548" y="131547"/>
                    </a:lnTo>
                    <a:lnTo>
                      <a:pt x="51667" y="131547"/>
                    </a:lnTo>
                    <a:lnTo>
                      <a:pt x="51314" y="132164"/>
                    </a:lnTo>
                    <a:lnTo>
                      <a:pt x="50785" y="131900"/>
                    </a:lnTo>
                    <a:lnTo>
                      <a:pt x="51050" y="130665"/>
                    </a:lnTo>
                    <a:lnTo>
                      <a:pt x="50785" y="129519"/>
                    </a:lnTo>
                    <a:lnTo>
                      <a:pt x="51667" y="129255"/>
                    </a:lnTo>
                    <a:lnTo>
                      <a:pt x="51050" y="129519"/>
                    </a:lnTo>
                    <a:lnTo>
                      <a:pt x="51667" y="130136"/>
                    </a:lnTo>
                    <a:lnTo>
                      <a:pt x="51931" y="130401"/>
                    </a:lnTo>
                    <a:lnTo>
                      <a:pt x="52196" y="129872"/>
                    </a:lnTo>
                    <a:lnTo>
                      <a:pt x="51931" y="129519"/>
                    </a:lnTo>
                    <a:lnTo>
                      <a:pt x="52548" y="129519"/>
                    </a:lnTo>
                    <a:lnTo>
                      <a:pt x="53077" y="130136"/>
                    </a:lnTo>
                    <a:lnTo>
                      <a:pt x="53430" y="130136"/>
                    </a:lnTo>
                    <a:lnTo>
                      <a:pt x="53959" y="130401"/>
                    </a:lnTo>
                    <a:lnTo>
                      <a:pt x="54312" y="129872"/>
                    </a:lnTo>
                    <a:lnTo>
                      <a:pt x="53959" y="129519"/>
                    </a:lnTo>
                    <a:lnTo>
                      <a:pt x="53959" y="129255"/>
                    </a:lnTo>
                    <a:lnTo>
                      <a:pt x="55458" y="128373"/>
                    </a:lnTo>
                    <a:lnTo>
                      <a:pt x="55987" y="128373"/>
                    </a:lnTo>
                    <a:lnTo>
                      <a:pt x="56339" y="128990"/>
                    </a:lnTo>
                    <a:lnTo>
                      <a:pt x="55987" y="129255"/>
                    </a:lnTo>
                    <a:lnTo>
                      <a:pt x="55458" y="129255"/>
                    </a:lnTo>
                    <a:lnTo>
                      <a:pt x="54841" y="129519"/>
                    </a:lnTo>
                    <a:lnTo>
                      <a:pt x="55458" y="129872"/>
                    </a:lnTo>
                    <a:lnTo>
                      <a:pt x="55987" y="129872"/>
                    </a:lnTo>
                    <a:lnTo>
                      <a:pt x="56604" y="130401"/>
                    </a:lnTo>
                    <a:lnTo>
                      <a:pt x="56339" y="129519"/>
                    </a:lnTo>
                    <a:lnTo>
                      <a:pt x="57750" y="129519"/>
                    </a:lnTo>
                    <a:lnTo>
                      <a:pt x="58103" y="130136"/>
                    </a:lnTo>
                    <a:lnTo>
                      <a:pt x="57750" y="130665"/>
                    </a:lnTo>
                    <a:lnTo>
                      <a:pt x="57750" y="131283"/>
                    </a:lnTo>
                    <a:lnTo>
                      <a:pt x="58103" y="132164"/>
                    </a:lnTo>
                    <a:lnTo>
                      <a:pt x="57750" y="132782"/>
                    </a:lnTo>
                    <a:lnTo>
                      <a:pt x="58367" y="133311"/>
                    </a:lnTo>
                    <a:lnTo>
                      <a:pt x="58632" y="133663"/>
                    </a:lnTo>
                    <a:lnTo>
                      <a:pt x="59514" y="133311"/>
                    </a:lnTo>
                    <a:lnTo>
                      <a:pt x="59778" y="133046"/>
                    </a:lnTo>
                    <a:lnTo>
                      <a:pt x="60131" y="133311"/>
                    </a:lnTo>
                    <a:lnTo>
                      <a:pt x="60748" y="133311"/>
                    </a:lnTo>
                    <a:lnTo>
                      <a:pt x="61277" y="133928"/>
                    </a:lnTo>
                    <a:lnTo>
                      <a:pt x="61806" y="134192"/>
                    </a:lnTo>
                    <a:lnTo>
                      <a:pt x="62776" y="133928"/>
                    </a:lnTo>
                    <a:lnTo>
                      <a:pt x="63040" y="134457"/>
                    </a:lnTo>
                    <a:lnTo>
                      <a:pt x="62776" y="135691"/>
                    </a:lnTo>
                    <a:lnTo>
                      <a:pt x="63040" y="136220"/>
                    </a:lnTo>
                    <a:lnTo>
                      <a:pt x="63569" y="136573"/>
                    </a:lnTo>
                    <a:lnTo>
                      <a:pt x="63569" y="135691"/>
                    </a:lnTo>
                    <a:lnTo>
                      <a:pt x="64539" y="134457"/>
                    </a:lnTo>
                    <a:lnTo>
                      <a:pt x="64187" y="133928"/>
                    </a:lnTo>
                    <a:lnTo>
                      <a:pt x="63922" y="134457"/>
                    </a:lnTo>
                    <a:lnTo>
                      <a:pt x="63305" y="134809"/>
                    </a:lnTo>
                    <a:lnTo>
                      <a:pt x="63040" y="133663"/>
                    </a:lnTo>
                    <a:lnTo>
                      <a:pt x="63305" y="133311"/>
                    </a:lnTo>
                    <a:lnTo>
                      <a:pt x="64187" y="133311"/>
                    </a:lnTo>
                    <a:lnTo>
                      <a:pt x="63922" y="132429"/>
                    </a:lnTo>
                    <a:lnTo>
                      <a:pt x="64187" y="132164"/>
                    </a:lnTo>
                    <a:lnTo>
                      <a:pt x="64539" y="132164"/>
                    </a:lnTo>
                    <a:lnTo>
                      <a:pt x="65950" y="132429"/>
                    </a:lnTo>
                    <a:lnTo>
                      <a:pt x="66479" y="133311"/>
                    </a:lnTo>
                    <a:lnTo>
                      <a:pt x="67096" y="133311"/>
                    </a:lnTo>
                    <a:lnTo>
                      <a:pt x="67713" y="133046"/>
                    </a:lnTo>
                    <a:lnTo>
                      <a:pt x="68242" y="133311"/>
                    </a:lnTo>
                    <a:lnTo>
                      <a:pt x="68242" y="133928"/>
                    </a:lnTo>
                    <a:lnTo>
                      <a:pt x="68859" y="133928"/>
                    </a:lnTo>
                    <a:lnTo>
                      <a:pt x="69741" y="134809"/>
                    </a:lnTo>
                    <a:lnTo>
                      <a:pt x="69477" y="135338"/>
                    </a:lnTo>
                    <a:lnTo>
                      <a:pt x="68859" y="135691"/>
                    </a:lnTo>
                    <a:lnTo>
                      <a:pt x="69124" y="134809"/>
                    </a:lnTo>
                    <a:lnTo>
                      <a:pt x="68595" y="134457"/>
                    </a:lnTo>
                    <a:lnTo>
                      <a:pt x="67978" y="133928"/>
                    </a:lnTo>
                    <a:lnTo>
                      <a:pt x="67713" y="134192"/>
                    </a:lnTo>
                    <a:lnTo>
                      <a:pt x="67713" y="135074"/>
                    </a:lnTo>
                    <a:lnTo>
                      <a:pt x="67978" y="135691"/>
                    </a:lnTo>
                    <a:lnTo>
                      <a:pt x="67713" y="135956"/>
                    </a:lnTo>
                    <a:lnTo>
                      <a:pt x="67361" y="136573"/>
                    </a:lnTo>
                    <a:lnTo>
                      <a:pt x="67361" y="136837"/>
                    </a:lnTo>
                    <a:lnTo>
                      <a:pt x="67978" y="137454"/>
                    </a:lnTo>
                    <a:lnTo>
                      <a:pt x="67713" y="137719"/>
                    </a:lnTo>
                    <a:lnTo>
                      <a:pt x="68242" y="137719"/>
                    </a:lnTo>
                    <a:lnTo>
                      <a:pt x="68242" y="136837"/>
                    </a:lnTo>
                    <a:lnTo>
                      <a:pt x="68595" y="136837"/>
                    </a:lnTo>
                    <a:lnTo>
                      <a:pt x="69477" y="137102"/>
                    </a:lnTo>
                    <a:lnTo>
                      <a:pt x="69477" y="139482"/>
                    </a:lnTo>
                    <a:lnTo>
                      <a:pt x="69741" y="140011"/>
                    </a:lnTo>
                    <a:lnTo>
                      <a:pt x="70006" y="140893"/>
                    </a:lnTo>
                    <a:lnTo>
                      <a:pt x="69741" y="141510"/>
                    </a:lnTo>
                    <a:lnTo>
                      <a:pt x="70006" y="142127"/>
                    </a:lnTo>
                    <a:lnTo>
                      <a:pt x="71240" y="142392"/>
                    </a:lnTo>
                    <a:lnTo>
                      <a:pt x="72033" y="142921"/>
                    </a:lnTo>
                    <a:lnTo>
                      <a:pt x="73268" y="142921"/>
                    </a:lnTo>
                    <a:lnTo>
                      <a:pt x="73532" y="143538"/>
                    </a:lnTo>
                    <a:lnTo>
                      <a:pt x="73797" y="144155"/>
                    </a:lnTo>
                    <a:lnTo>
                      <a:pt x="73797" y="144420"/>
                    </a:lnTo>
                    <a:lnTo>
                      <a:pt x="75296" y="144949"/>
                    </a:lnTo>
                    <a:lnTo>
                      <a:pt x="75560" y="144949"/>
                    </a:lnTo>
                    <a:lnTo>
                      <a:pt x="75560" y="144155"/>
                    </a:lnTo>
                    <a:lnTo>
                      <a:pt x="75825" y="143803"/>
                    </a:lnTo>
                    <a:lnTo>
                      <a:pt x="76177" y="144155"/>
                    </a:lnTo>
                    <a:lnTo>
                      <a:pt x="76442" y="144420"/>
                    </a:lnTo>
                    <a:lnTo>
                      <a:pt x="76177" y="144949"/>
                    </a:lnTo>
                    <a:lnTo>
                      <a:pt x="76442" y="144949"/>
                    </a:lnTo>
                    <a:lnTo>
                      <a:pt x="77059" y="144684"/>
                    </a:lnTo>
                    <a:lnTo>
                      <a:pt x="77324" y="144949"/>
                    </a:lnTo>
                    <a:lnTo>
                      <a:pt x="77941" y="145919"/>
                    </a:lnTo>
                    <a:lnTo>
                      <a:pt x="78823" y="146448"/>
                    </a:lnTo>
                    <a:lnTo>
                      <a:pt x="79352" y="145919"/>
                    </a:lnTo>
                    <a:lnTo>
                      <a:pt x="79969" y="145919"/>
                    </a:lnTo>
                    <a:lnTo>
                      <a:pt x="79352" y="146448"/>
                    </a:lnTo>
                    <a:lnTo>
                      <a:pt x="80498" y="146448"/>
                    </a:lnTo>
                    <a:lnTo>
                      <a:pt x="80498" y="146712"/>
                    </a:lnTo>
                    <a:lnTo>
                      <a:pt x="81644" y="147594"/>
                    </a:lnTo>
                    <a:lnTo>
                      <a:pt x="81996" y="147065"/>
                    </a:lnTo>
                    <a:lnTo>
                      <a:pt x="81996" y="146712"/>
                    </a:lnTo>
                    <a:lnTo>
                      <a:pt x="82878" y="147065"/>
                    </a:lnTo>
                    <a:lnTo>
                      <a:pt x="83407" y="147594"/>
                    </a:lnTo>
                    <a:lnTo>
                      <a:pt x="84642" y="147947"/>
                    </a:lnTo>
                    <a:lnTo>
                      <a:pt x="84906" y="147594"/>
                    </a:lnTo>
                    <a:lnTo>
                      <a:pt x="84289" y="147065"/>
                    </a:lnTo>
                    <a:lnTo>
                      <a:pt x="83407" y="146712"/>
                    </a:lnTo>
                    <a:lnTo>
                      <a:pt x="83672" y="146448"/>
                    </a:lnTo>
                    <a:lnTo>
                      <a:pt x="84906" y="146183"/>
                    </a:lnTo>
                    <a:lnTo>
                      <a:pt x="85788" y="146448"/>
                    </a:lnTo>
                    <a:lnTo>
                      <a:pt x="86052" y="146183"/>
                    </a:lnTo>
                    <a:lnTo>
                      <a:pt x="86405" y="145566"/>
                    </a:lnTo>
                    <a:lnTo>
                      <a:pt x="86669" y="145566"/>
                    </a:lnTo>
                    <a:lnTo>
                      <a:pt x="88697" y="146712"/>
                    </a:lnTo>
                    <a:lnTo>
                      <a:pt x="89315" y="146448"/>
                    </a:lnTo>
                    <a:lnTo>
                      <a:pt x="89315" y="144684"/>
                    </a:lnTo>
                    <a:lnTo>
                      <a:pt x="89844" y="144155"/>
                    </a:lnTo>
                    <a:lnTo>
                      <a:pt x="90108" y="144155"/>
                    </a:lnTo>
                    <a:lnTo>
                      <a:pt x="90461" y="144949"/>
                    </a:lnTo>
                    <a:lnTo>
                      <a:pt x="90725" y="144949"/>
                    </a:lnTo>
                    <a:lnTo>
                      <a:pt x="90725" y="144155"/>
                    </a:lnTo>
                    <a:lnTo>
                      <a:pt x="90990" y="144155"/>
                    </a:lnTo>
                    <a:lnTo>
                      <a:pt x="91960" y="144420"/>
                    </a:lnTo>
                    <a:lnTo>
                      <a:pt x="91960" y="144155"/>
                    </a:lnTo>
                    <a:lnTo>
                      <a:pt x="92224" y="143803"/>
                    </a:lnTo>
                    <a:lnTo>
                      <a:pt x="92753" y="143538"/>
                    </a:lnTo>
                    <a:lnTo>
                      <a:pt x="93635" y="143803"/>
                    </a:lnTo>
                    <a:lnTo>
                      <a:pt x="95398" y="144155"/>
                    </a:lnTo>
                    <a:lnTo>
                      <a:pt x="96544" y="144155"/>
                    </a:lnTo>
                    <a:lnTo>
                      <a:pt x="96280" y="144684"/>
                    </a:lnTo>
                    <a:lnTo>
                      <a:pt x="96015" y="144949"/>
                    </a:lnTo>
                    <a:lnTo>
                      <a:pt x="96015" y="145301"/>
                    </a:lnTo>
                    <a:lnTo>
                      <a:pt x="97426" y="145301"/>
                    </a:lnTo>
                    <a:lnTo>
                      <a:pt x="98043" y="144420"/>
                    </a:lnTo>
                    <a:lnTo>
                      <a:pt x="98043" y="143803"/>
                    </a:lnTo>
                    <a:lnTo>
                      <a:pt x="98572" y="143274"/>
                    </a:lnTo>
                    <a:lnTo>
                      <a:pt x="98572" y="142392"/>
                    </a:lnTo>
                    <a:lnTo>
                      <a:pt x="98043" y="140893"/>
                    </a:lnTo>
                    <a:lnTo>
                      <a:pt x="97426" y="140011"/>
                    </a:lnTo>
                    <a:lnTo>
                      <a:pt x="97426" y="139482"/>
                    </a:lnTo>
                    <a:lnTo>
                      <a:pt x="98043" y="139130"/>
                    </a:lnTo>
                    <a:lnTo>
                      <a:pt x="98925" y="138601"/>
                    </a:lnTo>
                    <a:lnTo>
                      <a:pt x="100071" y="137454"/>
                    </a:lnTo>
                    <a:lnTo>
                      <a:pt x="100071" y="136837"/>
                    </a:lnTo>
                    <a:lnTo>
                      <a:pt x="100336" y="136220"/>
                    </a:lnTo>
                    <a:lnTo>
                      <a:pt x="100071" y="135691"/>
                    </a:lnTo>
                    <a:lnTo>
                      <a:pt x="99454" y="135956"/>
                    </a:lnTo>
                    <a:lnTo>
                      <a:pt x="98572" y="135691"/>
                    </a:lnTo>
                    <a:lnTo>
                      <a:pt x="98043" y="134809"/>
                    </a:lnTo>
                    <a:lnTo>
                      <a:pt x="98308" y="133663"/>
                    </a:lnTo>
                    <a:lnTo>
                      <a:pt x="98308" y="133311"/>
                    </a:lnTo>
                    <a:lnTo>
                      <a:pt x="99189" y="132782"/>
                    </a:lnTo>
                    <a:lnTo>
                      <a:pt x="99454" y="132429"/>
                    </a:lnTo>
                    <a:lnTo>
                      <a:pt x="99189" y="131900"/>
                    </a:lnTo>
                    <a:lnTo>
                      <a:pt x="98043" y="131018"/>
                    </a:lnTo>
                    <a:lnTo>
                      <a:pt x="98043" y="130401"/>
                    </a:lnTo>
                    <a:lnTo>
                      <a:pt x="98308" y="129872"/>
                    </a:lnTo>
                    <a:lnTo>
                      <a:pt x="98925" y="129872"/>
                    </a:lnTo>
                    <a:lnTo>
                      <a:pt x="99189" y="129519"/>
                    </a:lnTo>
                    <a:lnTo>
                      <a:pt x="99718" y="128638"/>
                    </a:lnTo>
                    <a:lnTo>
                      <a:pt x="100071" y="128373"/>
                    </a:lnTo>
                    <a:lnTo>
                      <a:pt x="100688" y="128638"/>
                    </a:lnTo>
                    <a:lnTo>
                      <a:pt x="100953" y="129519"/>
                    </a:lnTo>
                    <a:lnTo>
                      <a:pt x="102099" y="130136"/>
                    </a:lnTo>
                    <a:lnTo>
                      <a:pt x="103862" y="130401"/>
                    </a:lnTo>
                    <a:lnTo>
                      <a:pt x="105273" y="130136"/>
                    </a:lnTo>
                    <a:lnTo>
                      <a:pt x="106507" y="129872"/>
                    </a:lnTo>
                    <a:lnTo>
                      <a:pt x="107389" y="129255"/>
                    </a:lnTo>
                    <a:lnTo>
                      <a:pt x="108271" y="129872"/>
                    </a:lnTo>
                    <a:lnTo>
                      <a:pt x="109681" y="129872"/>
                    </a:lnTo>
                    <a:lnTo>
                      <a:pt x="111445" y="130136"/>
                    </a:lnTo>
                    <a:lnTo>
                      <a:pt x="112591" y="130136"/>
                    </a:lnTo>
                    <a:lnTo>
                      <a:pt x="113825" y="129872"/>
                    </a:lnTo>
                    <a:lnTo>
                      <a:pt x="114972" y="130136"/>
                    </a:lnTo>
                    <a:lnTo>
                      <a:pt x="115236" y="130401"/>
                    </a:lnTo>
                    <a:lnTo>
                      <a:pt x="114972" y="131018"/>
                    </a:lnTo>
                    <a:lnTo>
                      <a:pt x="114972" y="131547"/>
                    </a:lnTo>
                    <a:lnTo>
                      <a:pt x="115236" y="132164"/>
                    </a:lnTo>
                    <a:lnTo>
                      <a:pt x="116118" y="132429"/>
                    </a:lnTo>
                    <a:lnTo>
                      <a:pt x="117881" y="132782"/>
                    </a:lnTo>
                    <a:lnTo>
                      <a:pt x="119027" y="133311"/>
                    </a:lnTo>
                    <a:lnTo>
                      <a:pt x="119909" y="133928"/>
                    </a:lnTo>
                    <a:lnTo>
                      <a:pt x="121672" y="133928"/>
                    </a:lnTo>
                    <a:lnTo>
                      <a:pt x="122201" y="134809"/>
                    </a:lnTo>
                    <a:lnTo>
                      <a:pt x="122554" y="135338"/>
                    </a:lnTo>
                    <a:lnTo>
                      <a:pt x="123347" y="135691"/>
                    </a:lnTo>
                    <a:lnTo>
                      <a:pt x="124582" y="135956"/>
                    </a:lnTo>
                    <a:lnTo>
                      <a:pt x="125728" y="135956"/>
                    </a:lnTo>
                    <a:lnTo>
                      <a:pt x="126345" y="136573"/>
                    </a:lnTo>
                    <a:lnTo>
                      <a:pt x="126874" y="137454"/>
                    </a:lnTo>
                    <a:lnTo>
                      <a:pt x="127139" y="137719"/>
                    </a:lnTo>
                    <a:lnTo>
                      <a:pt x="128109" y="137454"/>
                    </a:lnTo>
                    <a:lnTo>
                      <a:pt x="128990" y="137454"/>
                    </a:lnTo>
                    <a:lnTo>
                      <a:pt x="129519" y="137719"/>
                    </a:lnTo>
                    <a:lnTo>
                      <a:pt x="129784" y="138248"/>
                    </a:lnTo>
                    <a:lnTo>
                      <a:pt x="130401" y="138601"/>
                    </a:lnTo>
                    <a:lnTo>
                      <a:pt x="131547" y="138865"/>
                    </a:lnTo>
                    <a:lnTo>
                      <a:pt x="132429" y="139482"/>
                    </a:lnTo>
                    <a:lnTo>
                      <a:pt x="133575" y="140364"/>
                    </a:lnTo>
                    <a:lnTo>
                      <a:pt x="134192" y="142392"/>
                    </a:lnTo>
                    <a:lnTo>
                      <a:pt x="135603" y="143274"/>
                    </a:lnTo>
                    <a:lnTo>
                      <a:pt x="135955" y="143803"/>
                    </a:lnTo>
                    <a:lnTo>
                      <a:pt x="135603" y="144420"/>
                    </a:lnTo>
                    <a:lnTo>
                      <a:pt x="135955" y="144949"/>
                    </a:lnTo>
                    <a:lnTo>
                      <a:pt x="136220" y="145566"/>
                    </a:lnTo>
                    <a:lnTo>
                      <a:pt x="137366" y="146448"/>
                    </a:lnTo>
                    <a:lnTo>
                      <a:pt x="138601" y="146712"/>
                    </a:lnTo>
                    <a:lnTo>
                      <a:pt x="140364" y="147329"/>
                    </a:lnTo>
                    <a:lnTo>
                      <a:pt x="141510" y="148211"/>
                    </a:lnTo>
                    <a:lnTo>
                      <a:pt x="143274" y="149710"/>
                    </a:lnTo>
                    <a:lnTo>
                      <a:pt x="144155" y="149974"/>
                    </a:lnTo>
                    <a:lnTo>
                      <a:pt x="145566" y="150239"/>
                    </a:lnTo>
                    <a:lnTo>
                      <a:pt x="146712" y="149974"/>
                    </a:lnTo>
                    <a:lnTo>
                      <a:pt x="147065" y="149710"/>
                    </a:lnTo>
                    <a:lnTo>
                      <a:pt x="147329" y="148828"/>
                    </a:lnTo>
                    <a:lnTo>
                      <a:pt x="147947" y="148211"/>
                    </a:lnTo>
                    <a:lnTo>
                      <a:pt x="148211" y="147947"/>
                    </a:lnTo>
                    <a:lnTo>
                      <a:pt x="149622" y="147947"/>
                    </a:lnTo>
                    <a:lnTo>
                      <a:pt x="150503" y="148211"/>
                    </a:lnTo>
                    <a:lnTo>
                      <a:pt x="151385" y="148476"/>
                    </a:lnTo>
                    <a:lnTo>
                      <a:pt x="151738" y="148828"/>
                    </a:lnTo>
                    <a:lnTo>
                      <a:pt x="152884" y="148476"/>
                    </a:lnTo>
                    <a:lnTo>
                      <a:pt x="153148" y="148211"/>
                    </a:lnTo>
                    <a:lnTo>
                      <a:pt x="153413" y="147947"/>
                    </a:lnTo>
                    <a:lnTo>
                      <a:pt x="153148" y="147594"/>
                    </a:lnTo>
                    <a:lnTo>
                      <a:pt x="153148" y="147329"/>
                    </a:lnTo>
                    <a:lnTo>
                      <a:pt x="155176" y="147329"/>
                    </a:lnTo>
                    <a:lnTo>
                      <a:pt x="156675" y="147594"/>
                    </a:lnTo>
                    <a:lnTo>
                      <a:pt x="158968" y="147594"/>
                    </a:lnTo>
                    <a:lnTo>
                      <a:pt x="159849" y="147329"/>
                    </a:lnTo>
                    <a:lnTo>
                      <a:pt x="160731" y="147329"/>
                    </a:lnTo>
                    <a:lnTo>
                      <a:pt x="161877" y="147594"/>
                    </a:lnTo>
                    <a:lnTo>
                      <a:pt x="163023" y="147065"/>
                    </a:lnTo>
                    <a:lnTo>
                      <a:pt x="163023" y="146183"/>
                    </a:lnTo>
                    <a:lnTo>
                      <a:pt x="163993" y="145566"/>
                    </a:lnTo>
                    <a:lnTo>
                      <a:pt x="164258" y="145919"/>
                    </a:lnTo>
                    <a:lnTo>
                      <a:pt x="164258" y="146183"/>
                    </a:lnTo>
                    <a:lnTo>
                      <a:pt x="164522" y="146448"/>
                    </a:lnTo>
                    <a:lnTo>
                      <a:pt x="164787" y="146183"/>
                    </a:lnTo>
                    <a:lnTo>
                      <a:pt x="165668" y="145301"/>
                    </a:lnTo>
                    <a:lnTo>
                      <a:pt x="166903" y="144949"/>
                    </a:lnTo>
                    <a:lnTo>
                      <a:pt x="168313" y="144949"/>
                    </a:lnTo>
                    <a:lnTo>
                      <a:pt x="168931" y="144420"/>
                    </a:lnTo>
                    <a:lnTo>
                      <a:pt x="168666" y="144420"/>
                    </a:lnTo>
                    <a:lnTo>
                      <a:pt x="167432" y="144155"/>
                    </a:lnTo>
                    <a:lnTo>
                      <a:pt x="168049" y="143538"/>
                    </a:lnTo>
                    <a:lnTo>
                      <a:pt x="168666" y="143274"/>
                    </a:lnTo>
                    <a:lnTo>
                      <a:pt x="169460" y="142921"/>
                    </a:lnTo>
                    <a:lnTo>
                      <a:pt x="170077" y="143538"/>
                    </a:lnTo>
                    <a:lnTo>
                      <a:pt x="170341" y="143803"/>
                    </a:lnTo>
                    <a:lnTo>
                      <a:pt x="170694" y="144949"/>
                    </a:lnTo>
                    <a:lnTo>
                      <a:pt x="170958" y="144949"/>
                    </a:lnTo>
                    <a:lnTo>
                      <a:pt x="171576" y="144420"/>
                    </a:lnTo>
                    <a:lnTo>
                      <a:pt x="172105" y="143803"/>
                    </a:lnTo>
                    <a:lnTo>
                      <a:pt x="172986" y="143538"/>
                    </a:lnTo>
                    <a:lnTo>
                      <a:pt x="173251" y="142921"/>
                    </a:lnTo>
                    <a:lnTo>
                      <a:pt x="173251" y="142127"/>
                    </a:lnTo>
                    <a:lnTo>
                      <a:pt x="172986" y="140011"/>
                    </a:lnTo>
                    <a:lnTo>
                      <a:pt x="173251" y="140011"/>
                    </a:lnTo>
                    <a:lnTo>
                      <a:pt x="173604" y="139482"/>
                    </a:lnTo>
                    <a:lnTo>
                      <a:pt x="174133" y="139482"/>
                    </a:lnTo>
                    <a:lnTo>
                      <a:pt x="175014" y="137454"/>
                    </a:lnTo>
                    <a:lnTo>
                      <a:pt x="175631" y="136837"/>
                    </a:lnTo>
                    <a:lnTo>
                      <a:pt x="176160" y="136837"/>
                    </a:lnTo>
                    <a:lnTo>
                      <a:pt x="177659" y="134809"/>
                    </a:lnTo>
                    <a:lnTo>
                      <a:pt x="178188" y="133928"/>
                    </a:lnTo>
                    <a:lnTo>
                      <a:pt x="180833" y="132164"/>
                    </a:lnTo>
                    <a:lnTo>
                      <a:pt x="181979" y="130401"/>
                    </a:lnTo>
                    <a:lnTo>
                      <a:pt x="183478" y="129519"/>
                    </a:lnTo>
                    <a:lnTo>
                      <a:pt x="184096" y="129255"/>
                    </a:lnTo>
                    <a:lnTo>
                      <a:pt x="186388" y="129519"/>
                    </a:lnTo>
                    <a:lnTo>
                      <a:pt x="187005" y="130401"/>
                    </a:lnTo>
                    <a:lnTo>
                      <a:pt x="187270" y="132164"/>
                    </a:lnTo>
                    <a:lnTo>
                      <a:pt x="187887" y="132429"/>
                    </a:lnTo>
                    <a:lnTo>
                      <a:pt x="188769" y="132782"/>
                    </a:lnTo>
                    <a:lnTo>
                      <a:pt x="189650" y="133046"/>
                    </a:lnTo>
                    <a:lnTo>
                      <a:pt x="190444" y="133311"/>
                    </a:lnTo>
                    <a:lnTo>
                      <a:pt x="193441" y="135691"/>
                    </a:lnTo>
                    <a:lnTo>
                      <a:pt x="195205" y="135691"/>
                    </a:lnTo>
                    <a:lnTo>
                      <a:pt x="196880" y="136837"/>
                    </a:lnTo>
                    <a:lnTo>
                      <a:pt x="196880" y="137454"/>
                    </a:lnTo>
                    <a:lnTo>
                      <a:pt x="197144" y="137719"/>
                    </a:lnTo>
                    <a:lnTo>
                      <a:pt x="198379" y="137454"/>
                    </a:lnTo>
                    <a:lnTo>
                      <a:pt x="199261" y="137454"/>
                    </a:lnTo>
                    <a:lnTo>
                      <a:pt x="199790" y="136573"/>
                    </a:lnTo>
                    <a:lnTo>
                      <a:pt x="200671" y="136837"/>
                    </a:lnTo>
                    <a:lnTo>
                      <a:pt x="201024" y="136837"/>
                    </a:lnTo>
                    <a:lnTo>
                      <a:pt x="201288" y="136573"/>
                    </a:lnTo>
                    <a:lnTo>
                      <a:pt x="201553" y="136220"/>
                    </a:lnTo>
                    <a:lnTo>
                      <a:pt x="201906" y="135956"/>
                    </a:lnTo>
                    <a:lnTo>
                      <a:pt x="202170" y="136573"/>
                    </a:lnTo>
                    <a:lnTo>
                      <a:pt x="202435" y="136573"/>
                    </a:lnTo>
                    <a:lnTo>
                      <a:pt x="203052" y="135691"/>
                    </a:lnTo>
                    <a:lnTo>
                      <a:pt x="203581" y="135691"/>
                    </a:lnTo>
                    <a:lnTo>
                      <a:pt x="203934" y="135074"/>
                    </a:lnTo>
                    <a:lnTo>
                      <a:pt x="204462" y="134457"/>
                    </a:lnTo>
                    <a:lnTo>
                      <a:pt x="204815" y="133928"/>
                    </a:lnTo>
                    <a:lnTo>
                      <a:pt x="204815" y="133311"/>
                    </a:lnTo>
                    <a:lnTo>
                      <a:pt x="203934" y="133311"/>
                    </a:lnTo>
                    <a:lnTo>
                      <a:pt x="203934" y="133046"/>
                    </a:lnTo>
                    <a:lnTo>
                      <a:pt x="203581" y="133046"/>
                    </a:lnTo>
                    <a:lnTo>
                      <a:pt x="203316" y="132782"/>
                    </a:lnTo>
                    <a:lnTo>
                      <a:pt x="203316" y="132429"/>
                    </a:lnTo>
                    <a:lnTo>
                      <a:pt x="203581" y="132164"/>
                    </a:lnTo>
                    <a:lnTo>
                      <a:pt x="204462" y="132164"/>
                    </a:lnTo>
                    <a:lnTo>
                      <a:pt x="207989" y="130665"/>
                    </a:lnTo>
                    <a:lnTo>
                      <a:pt x="209135" y="129519"/>
                    </a:lnTo>
                    <a:lnTo>
                      <a:pt x="210017" y="128373"/>
                    </a:lnTo>
                    <a:lnTo>
                      <a:pt x="210282" y="128109"/>
                    </a:lnTo>
                    <a:lnTo>
                      <a:pt x="210899" y="127756"/>
                    </a:lnTo>
                    <a:lnTo>
                      <a:pt x="212398" y="128373"/>
                    </a:lnTo>
                    <a:lnTo>
                      <a:pt x="212927" y="129255"/>
                    </a:lnTo>
                    <a:lnTo>
                      <a:pt x="214690" y="129519"/>
                    </a:lnTo>
                    <a:lnTo>
                      <a:pt x="215572" y="130401"/>
                    </a:lnTo>
                    <a:lnTo>
                      <a:pt x="215219" y="131283"/>
                    </a:lnTo>
                    <a:lnTo>
                      <a:pt x="215572" y="132164"/>
                    </a:lnTo>
                    <a:lnTo>
                      <a:pt x="216189" y="133311"/>
                    </a:lnTo>
                    <a:lnTo>
                      <a:pt x="215836" y="133928"/>
                    </a:lnTo>
                    <a:lnTo>
                      <a:pt x="214955" y="135691"/>
                    </a:lnTo>
                    <a:lnTo>
                      <a:pt x="214426" y="136573"/>
                    </a:lnTo>
                    <a:lnTo>
                      <a:pt x="214426" y="137102"/>
                    </a:lnTo>
                    <a:lnTo>
                      <a:pt x="214073" y="137719"/>
                    </a:lnTo>
                    <a:lnTo>
                      <a:pt x="213808" y="137719"/>
                    </a:lnTo>
                    <a:lnTo>
                      <a:pt x="212927" y="137454"/>
                    </a:lnTo>
                    <a:lnTo>
                      <a:pt x="212045" y="137719"/>
                    </a:lnTo>
                    <a:lnTo>
                      <a:pt x="212045" y="138601"/>
                    </a:lnTo>
                    <a:lnTo>
                      <a:pt x="211516" y="138865"/>
                    </a:lnTo>
                    <a:lnTo>
                      <a:pt x="211163" y="139130"/>
                    </a:lnTo>
                    <a:lnTo>
                      <a:pt x="210282" y="139130"/>
                    </a:lnTo>
                    <a:lnTo>
                      <a:pt x="210017" y="139482"/>
                    </a:lnTo>
                    <a:lnTo>
                      <a:pt x="209488" y="140011"/>
                    </a:lnTo>
                    <a:lnTo>
                      <a:pt x="209135" y="142127"/>
                    </a:lnTo>
                    <a:lnTo>
                      <a:pt x="208871" y="142392"/>
                    </a:lnTo>
                    <a:lnTo>
                      <a:pt x="207989" y="142392"/>
                    </a:lnTo>
                    <a:lnTo>
                      <a:pt x="207725" y="142656"/>
                    </a:lnTo>
                    <a:lnTo>
                      <a:pt x="207725" y="143274"/>
                    </a:lnTo>
                    <a:lnTo>
                      <a:pt x="208254" y="143803"/>
                    </a:lnTo>
                    <a:lnTo>
                      <a:pt x="209488" y="144155"/>
                    </a:lnTo>
                    <a:lnTo>
                      <a:pt x="211163" y="146183"/>
                    </a:lnTo>
                    <a:lnTo>
                      <a:pt x="211780" y="147329"/>
                    </a:lnTo>
                    <a:lnTo>
                      <a:pt x="212398" y="149093"/>
                    </a:lnTo>
                    <a:lnTo>
                      <a:pt x="217599" y="151121"/>
                    </a:lnTo>
                    <a:lnTo>
                      <a:pt x="217599" y="149357"/>
                    </a:lnTo>
                    <a:lnTo>
                      <a:pt x="218746" y="148476"/>
                    </a:lnTo>
                    <a:lnTo>
                      <a:pt x="223771" y="147947"/>
                    </a:lnTo>
                    <a:lnTo>
                      <a:pt x="221743" y="144949"/>
                    </a:lnTo>
                    <a:lnTo>
                      <a:pt x="222890" y="142656"/>
                    </a:lnTo>
                    <a:lnTo>
                      <a:pt x="227827" y="144155"/>
                    </a:lnTo>
                    <a:lnTo>
                      <a:pt x="228092" y="141158"/>
                    </a:lnTo>
                    <a:lnTo>
                      <a:pt x="226416" y="140364"/>
                    </a:lnTo>
                    <a:lnTo>
                      <a:pt x="222890" y="139747"/>
                    </a:lnTo>
                    <a:lnTo>
                      <a:pt x="222537" y="137719"/>
                    </a:lnTo>
                    <a:lnTo>
                      <a:pt x="222272" y="134809"/>
                    </a:lnTo>
                    <a:lnTo>
                      <a:pt x="224565" y="132782"/>
                    </a:lnTo>
                    <a:lnTo>
                      <a:pt x="225535" y="129872"/>
                    </a:lnTo>
                    <a:lnTo>
                      <a:pt x="233646" y="134192"/>
                    </a:lnTo>
                    <a:lnTo>
                      <a:pt x="237437" y="133311"/>
                    </a:lnTo>
                    <a:lnTo>
                      <a:pt x="240612" y="134809"/>
                    </a:lnTo>
                    <a:lnTo>
                      <a:pt x="246166" y="132164"/>
                    </a:lnTo>
                    <a:lnTo>
                      <a:pt x="248547" y="132164"/>
                    </a:lnTo>
                    <a:lnTo>
                      <a:pt x="250574" y="131018"/>
                    </a:lnTo>
                    <a:lnTo>
                      <a:pt x="255512" y="129872"/>
                    </a:lnTo>
                    <a:lnTo>
                      <a:pt x="260185" y="130401"/>
                    </a:lnTo>
                    <a:lnTo>
                      <a:pt x="264593" y="132164"/>
                    </a:lnTo>
                    <a:lnTo>
                      <a:pt x="273057" y="133928"/>
                    </a:lnTo>
                    <a:lnTo>
                      <a:pt x="279758" y="134192"/>
                    </a:lnTo>
                    <a:lnTo>
                      <a:pt x="287870" y="132164"/>
                    </a:lnTo>
                    <a:lnTo>
                      <a:pt x="292278" y="129519"/>
                    </a:lnTo>
                    <a:lnTo>
                      <a:pt x="295188" y="129255"/>
                    </a:lnTo>
                    <a:lnTo>
                      <a:pt x="296334" y="128373"/>
                    </a:lnTo>
                    <a:lnTo>
                      <a:pt x="300213" y="127756"/>
                    </a:lnTo>
                    <a:lnTo>
                      <a:pt x="306561" y="126345"/>
                    </a:lnTo>
                    <a:lnTo>
                      <a:pt x="309736" y="123700"/>
                    </a:lnTo>
                    <a:lnTo>
                      <a:pt x="312733" y="124846"/>
                    </a:lnTo>
                    <a:lnTo>
                      <a:pt x="317671" y="125199"/>
                    </a:lnTo>
                    <a:lnTo>
                      <a:pt x="322961" y="125199"/>
                    </a:lnTo>
                    <a:lnTo>
                      <a:pt x="326664" y="124317"/>
                    </a:lnTo>
                    <a:lnTo>
                      <a:pt x="330455" y="122818"/>
                    </a:lnTo>
                    <a:lnTo>
                      <a:pt x="333982" y="121408"/>
                    </a:lnTo>
                    <a:lnTo>
                      <a:pt x="336891" y="118498"/>
                    </a:lnTo>
                    <a:lnTo>
                      <a:pt x="341035" y="120173"/>
                    </a:lnTo>
                    <a:lnTo>
                      <a:pt x="342446" y="123436"/>
                    </a:lnTo>
                    <a:lnTo>
                      <a:pt x="346502" y="120791"/>
                    </a:lnTo>
                    <a:lnTo>
                      <a:pt x="348001" y="117881"/>
                    </a:lnTo>
                    <a:lnTo>
                      <a:pt x="348882" y="117881"/>
                    </a:lnTo>
                    <a:lnTo>
                      <a:pt x="351175" y="118763"/>
                    </a:lnTo>
                    <a:lnTo>
                      <a:pt x="355318" y="116735"/>
                    </a:lnTo>
                    <a:lnTo>
                      <a:pt x="357875" y="118146"/>
                    </a:lnTo>
                    <a:lnTo>
                      <a:pt x="362548" y="118763"/>
                    </a:lnTo>
                    <a:lnTo>
                      <a:pt x="363430" y="118146"/>
                    </a:lnTo>
                    <a:lnTo>
                      <a:pt x="365811" y="119027"/>
                    </a:lnTo>
                    <a:lnTo>
                      <a:pt x="368103" y="119644"/>
                    </a:lnTo>
                    <a:lnTo>
                      <a:pt x="373393" y="121055"/>
                    </a:lnTo>
                    <a:lnTo>
                      <a:pt x="373922" y="119027"/>
                    </a:lnTo>
                    <a:lnTo>
                      <a:pt x="378948" y="119027"/>
                    </a:lnTo>
                    <a:lnTo>
                      <a:pt x="380623" y="121408"/>
                    </a:lnTo>
                    <a:lnTo>
                      <a:pt x="380975" y="124846"/>
                    </a:lnTo>
                    <a:lnTo>
                      <a:pt x="382739" y="124317"/>
                    </a:lnTo>
                    <a:lnTo>
                      <a:pt x="389704" y="119027"/>
                    </a:lnTo>
                    <a:lnTo>
                      <a:pt x="391732" y="11761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0" name="Freihandform: Form 1869">
                <a:extLst>
                  <a:ext uri="{FF2B5EF4-FFF2-40B4-BE49-F238E27FC236}">
                    <a16:creationId xmlns:a16="http://schemas.microsoft.com/office/drawing/2014/main" id="{CD9A13CF-1C05-E531-5F10-750296313B8C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2" name="Grafik 9">
              <a:extLst>
                <a:ext uri="{FF2B5EF4-FFF2-40B4-BE49-F238E27FC236}">
                  <a16:creationId xmlns:a16="http://schemas.microsoft.com/office/drawing/2014/main" id="{4FC5E2C8-A5F2-CBE3-75D5-9AA4DA011283}"/>
                </a:ext>
              </a:extLst>
            </p:cNvPr>
            <p:cNvGrpSpPr/>
            <p:nvPr/>
          </p:nvGrpSpPr>
          <p:grpSpPr>
            <a:xfrm>
              <a:off x="2058720" y="3689713"/>
              <a:ext cx="1247582" cy="1848361"/>
              <a:chOff x="2058720" y="3689713"/>
              <a:chExt cx="1247582" cy="1848361"/>
            </a:xfrm>
            <a:solidFill>
              <a:schemeClr val="accent6"/>
            </a:solidFill>
          </p:grpSpPr>
          <p:sp>
            <p:nvSpPr>
              <p:cNvPr id="1749" name="Freihandform: Form 1748">
                <a:extLst>
                  <a:ext uri="{FF2B5EF4-FFF2-40B4-BE49-F238E27FC236}">
                    <a16:creationId xmlns:a16="http://schemas.microsoft.com/office/drawing/2014/main" id="{260CDF4B-E222-5755-DD61-4B2817093A3F}"/>
                  </a:ext>
                </a:extLst>
              </p:cNvPr>
              <p:cNvSpPr/>
              <p:nvPr/>
            </p:nvSpPr>
            <p:spPr>
              <a:xfrm>
                <a:off x="2460944" y="3846124"/>
                <a:ext cx="296598" cy="288398"/>
              </a:xfrm>
              <a:custGeom>
                <a:avLst/>
                <a:gdLst>
                  <a:gd name="connsiteX0" fmla="*/ 136220 w 296598"/>
                  <a:gd name="connsiteY0" fmla="*/ 272088 h 288398"/>
                  <a:gd name="connsiteX1" fmla="*/ 136220 w 296598"/>
                  <a:gd name="connsiteY1" fmla="*/ 272088 h 288398"/>
                  <a:gd name="connsiteX2" fmla="*/ 134192 w 296598"/>
                  <a:gd name="connsiteY2" fmla="*/ 264770 h 288398"/>
                  <a:gd name="connsiteX3" fmla="*/ 131283 w 296598"/>
                  <a:gd name="connsiteY3" fmla="*/ 255159 h 288398"/>
                  <a:gd name="connsiteX4" fmla="*/ 130665 w 296598"/>
                  <a:gd name="connsiteY4" fmla="*/ 251104 h 288398"/>
                  <a:gd name="connsiteX5" fmla="*/ 129255 w 296598"/>
                  <a:gd name="connsiteY5" fmla="*/ 247577 h 288398"/>
                  <a:gd name="connsiteX6" fmla="*/ 123347 w 296598"/>
                  <a:gd name="connsiteY6" fmla="*/ 237966 h 288398"/>
                  <a:gd name="connsiteX7" fmla="*/ 121055 w 296598"/>
                  <a:gd name="connsiteY7" fmla="*/ 235057 h 288398"/>
                  <a:gd name="connsiteX8" fmla="*/ 115765 w 296598"/>
                  <a:gd name="connsiteY8" fmla="*/ 235057 h 288398"/>
                  <a:gd name="connsiteX9" fmla="*/ 126257 w 296598"/>
                  <a:gd name="connsiteY9" fmla="*/ 223066 h 288398"/>
                  <a:gd name="connsiteX10" fmla="*/ 128373 w 296598"/>
                  <a:gd name="connsiteY10" fmla="*/ 218128 h 288398"/>
                  <a:gd name="connsiteX11" fmla="*/ 125728 w 296598"/>
                  <a:gd name="connsiteY11" fmla="*/ 213191 h 288398"/>
                  <a:gd name="connsiteX12" fmla="*/ 122201 w 296598"/>
                  <a:gd name="connsiteY12" fmla="*/ 211428 h 288398"/>
                  <a:gd name="connsiteX13" fmla="*/ 119909 w 296598"/>
                  <a:gd name="connsiteY13" fmla="*/ 206490 h 288398"/>
                  <a:gd name="connsiteX14" fmla="*/ 117528 w 296598"/>
                  <a:gd name="connsiteY14" fmla="*/ 198555 h 288398"/>
                  <a:gd name="connsiteX15" fmla="*/ 117528 w 296598"/>
                  <a:gd name="connsiteY15" fmla="*/ 194764 h 288398"/>
                  <a:gd name="connsiteX16" fmla="*/ 117264 w 296598"/>
                  <a:gd name="connsiteY16" fmla="*/ 193353 h 288398"/>
                  <a:gd name="connsiteX17" fmla="*/ 117528 w 296598"/>
                  <a:gd name="connsiteY17" fmla="*/ 186035 h 288398"/>
                  <a:gd name="connsiteX18" fmla="*/ 119027 w 296598"/>
                  <a:gd name="connsiteY18" fmla="*/ 178453 h 288398"/>
                  <a:gd name="connsiteX19" fmla="*/ 117793 w 296598"/>
                  <a:gd name="connsiteY19" fmla="*/ 174397 h 288398"/>
                  <a:gd name="connsiteX20" fmla="*/ 118410 w 296598"/>
                  <a:gd name="connsiteY20" fmla="*/ 170253 h 288398"/>
                  <a:gd name="connsiteX21" fmla="*/ 122201 w 296598"/>
                  <a:gd name="connsiteY21" fmla="*/ 163023 h 288398"/>
                  <a:gd name="connsiteX22" fmla="*/ 127491 w 296598"/>
                  <a:gd name="connsiteY22" fmla="*/ 154559 h 288398"/>
                  <a:gd name="connsiteX23" fmla="*/ 126874 w 296598"/>
                  <a:gd name="connsiteY23" fmla="*/ 149886 h 288398"/>
                  <a:gd name="connsiteX24" fmla="*/ 118675 w 296598"/>
                  <a:gd name="connsiteY24" fmla="*/ 146977 h 288398"/>
                  <a:gd name="connsiteX25" fmla="*/ 114354 w 296598"/>
                  <a:gd name="connsiteY25" fmla="*/ 149886 h 288398"/>
                  <a:gd name="connsiteX26" fmla="*/ 100953 w 296598"/>
                  <a:gd name="connsiteY26" fmla="*/ 151650 h 288398"/>
                  <a:gd name="connsiteX27" fmla="*/ 88962 w 296598"/>
                  <a:gd name="connsiteY27" fmla="*/ 152179 h 288398"/>
                  <a:gd name="connsiteX28" fmla="*/ 85788 w 296598"/>
                  <a:gd name="connsiteY28" fmla="*/ 151032 h 288398"/>
                  <a:gd name="connsiteX29" fmla="*/ 69124 w 296598"/>
                  <a:gd name="connsiteY29" fmla="*/ 130313 h 288398"/>
                  <a:gd name="connsiteX30" fmla="*/ 62423 w 296598"/>
                  <a:gd name="connsiteY30" fmla="*/ 129431 h 288398"/>
                  <a:gd name="connsiteX31" fmla="*/ 59249 w 296598"/>
                  <a:gd name="connsiteY31" fmla="*/ 128020 h 288398"/>
                  <a:gd name="connsiteX32" fmla="*/ 52460 w 296598"/>
                  <a:gd name="connsiteY32" fmla="*/ 128020 h 288398"/>
                  <a:gd name="connsiteX33" fmla="*/ 49022 w 296598"/>
                  <a:gd name="connsiteY33" fmla="*/ 130313 h 288398"/>
                  <a:gd name="connsiteX34" fmla="*/ 45759 w 296598"/>
                  <a:gd name="connsiteY34" fmla="*/ 130930 h 288398"/>
                  <a:gd name="connsiteX35" fmla="*/ 37912 w 296598"/>
                  <a:gd name="connsiteY35" fmla="*/ 129431 h 288398"/>
                  <a:gd name="connsiteX36" fmla="*/ 36766 w 296598"/>
                  <a:gd name="connsiteY36" fmla="*/ 129167 h 288398"/>
                  <a:gd name="connsiteX37" fmla="*/ 35003 w 296598"/>
                  <a:gd name="connsiteY37" fmla="*/ 129167 h 288398"/>
                  <a:gd name="connsiteX38" fmla="*/ 31476 w 296598"/>
                  <a:gd name="connsiteY38" fmla="*/ 130313 h 288398"/>
                  <a:gd name="connsiteX39" fmla="*/ 25040 w 296598"/>
                  <a:gd name="connsiteY39" fmla="*/ 125111 h 288398"/>
                  <a:gd name="connsiteX40" fmla="*/ 19221 w 296598"/>
                  <a:gd name="connsiteY40" fmla="*/ 119821 h 288398"/>
                  <a:gd name="connsiteX41" fmla="*/ 18956 w 296598"/>
                  <a:gd name="connsiteY41" fmla="*/ 107301 h 288398"/>
                  <a:gd name="connsiteX42" fmla="*/ 19838 w 296598"/>
                  <a:gd name="connsiteY42" fmla="*/ 103774 h 288398"/>
                  <a:gd name="connsiteX43" fmla="*/ 20455 w 296598"/>
                  <a:gd name="connsiteY43" fmla="*/ 99101 h 288398"/>
                  <a:gd name="connsiteX44" fmla="*/ 20455 w 296598"/>
                  <a:gd name="connsiteY44" fmla="*/ 95574 h 288398"/>
                  <a:gd name="connsiteX45" fmla="*/ 12255 w 296598"/>
                  <a:gd name="connsiteY45" fmla="*/ 77500 h 288398"/>
                  <a:gd name="connsiteX46" fmla="*/ 12255 w 296598"/>
                  <a:gd name="connsiteY46" fmla="*/ 76354 h 288398"/>
                  <a:gd name="connsiteX47" fmla="*/ 8729 w 296598"/>
                  <a:gd name="connsiteY47" fmla="*/ 76354 h 288398"/>
                  <a:gd name="connsiteX48" fmla="*/ 8200 w 296598"/>
                  <a:gd name="connsiteY48" fmla="*/ 72563 h 288398"/>
                  <a:gd name="connsiteX49" fmla="*/ 0 w 296598"/>
                  <a:gd name="connsiteY49" fmla="*/ 75208 h 288398"/>
                  <a:gd name="connsiteX50" fmla="*/ 9346 w 296598"/>
                  <a:gd name="connsiteY50" fmla="*/ 55105 h 288398"/>
                  <a:gd name="connsiteX51" fmla="*/ 11991 w 296598"/>
                  <a:gd name="connsiteY51" fmla="*/ 43732 h 288398"/>
                  <a:gd name="connsiteX52" fmla="*/ 20102 w 296598"/>
                  <a:gd name="connsiteY52" fmla="*/ 31212 h 288398"/>
                  <a:gd name="connsiteX53" fmla="*/ 26803 w 296598"/>
                  <a:gd name="connsiteY53" fmla="*/ 26539 h 288398"/>
                  <a:gd name="connsiteX54" fmla="*/ 38530 w 296598"/>
                  <a:gd name="connsiteY54" fmla="*/ 12784 h 288398"/>
                  <a:gd name="connsiteX55" fmla="*/ 39676 w 296598"/>
                  <a:gd name="connsiteY55" fmla="*/ 13049 h 288398"/>
                  <a:gd name="connsiteX56" fmla="*/ 43467 w 296598"/>
                  <a:gd name="connsiteY56" fmla="*/ 11638 h 288398"/>
                  <a:gd name="connsiteX57" fmla="*/ 45495 w 296598"/>
                  <a:gd name="connsiteY57" fmla="*/ 10492 h 288398"/>
                  <a:gd name="connsiteX58" fmla="*/ 48404 w 296598"/>
                  <a:gd name="connsiteY58" fmla="*/ 9610 h 288398"/>
                  <a:gd name="connsiteX59" fmla="*/ 48140 w 296598"/>
                  <a:gd name="connsiteY59" fmla="*/ 10492 h 288398"/>
                  <a:gd name="connsiteX60" fmla="*/ 47258 w 296598"/>
                  <a:gd name="connsiteY60" fmla="*/ 11286 h 288398"/>
                  <a:gd name="connsiteX61" fmla="*/ 46112 w 296598"/>
                  <a:gd name="connsiteY61" fmla="*/ 13049 h 288398"/>
                  <a:gd name="connsiteX62" fmla="*/ 43731 w 296598"/>
                  <a:gd name="connsiteY62" fmla="*/ 14812 h 288398"/>
                  <a:gd name="connsiteX63" fmla="*/ 41968 w 296598"/>
                  <a:gd name="connsiteY63" fmla="*/ 15165 h 288398"/>
                  <a:gd name="connsiteX64" fmla="*/ 38530 w 296598"/>
                  <a:gd name="connsiteY64" fmla="*/ 16840 h 288398"/>
                  <a:gd name="connsiteX65" fmla="*/ 35620 w 296598"/>
                  <a:gd name="connsiteY65" fmla="*/ 18604 h 288398"/>
                  <a:gd name="connsiteX66" fmla="*/ 34121 w 296598"/>
                  <a:gd name="connsiteY66" fmla="*/ 19750 h 288398"/>
                  <a:gd name="connsiteX67" fmla="*/ 34121 w 296598"/>
                  <a:gd name="connsiteY67" fmla="*/ 21249 h 288398"/>
                  <a:gd name="connsiteX68" fmla="*/ 35267 w 296598"/>
                  <a:gd name="connsiteY68" fmla="*/ 24775 h 288398"/>
                  <a:gd name="connsiteX69" fmla="*/ 37031 w 296598"/>
                  <a:gd name="connsiteY69" fmla="*/ 27685 h 288398"/>
                  <a:gd name="connsiteX70" fmla="*/ 38177 w 296598"/>
                  <a:gd name="connsiteY70" fmla="*/ 28214 h 288398"/>
                  <a:gd name="connsiteX71" fmla="*/ 39676 w 296598"/>
                  <a:gd name="connsiteY71" fmla="*/ 29448 h 288398"/>
                  <a:gd name="connsiteX72" fmla="*/ 39676 w 296598"/>
                  <a:gd name="connsiteY72" fmla="*/ 30330 h 288398"/>
                  <a:gd name="connsiteX73" fmla="*/ 37383 w 296598"/>
                  <a:gd name="connsiteY73" fmla="*/ 29977 h 288398"/>
                  <a:gd name="connsiteX74" fmla="*/ 37912 w 296598"/>
                  <a:gd name="connsiteY74" fmla="*/ 32358 h 288398"/>
                  <a:gd name="connsiteX75" fmla="*/ 37912 w 296598"/>
                  <a:gd name="connsiteY75" fmla="*/ 34121 h 288398"/>
                  <a:gd name="connsiteX76" fmla="*/ 39411 w 296598"/>
                  <a:gd name="connsiteY76" fmla="*/ 35532 h 288398"/>
                  <a:gd name="connsiteX77" fmla="*/ 41086 w 296598"/>
                  <a:gd name="connsiteY77" fmla="*/ 38441 h 288398"/>
                  <a:gd name="connsiteX78" fmla="*/ 40293 w 296598"/>
                  <a:gd name="connsiteY78" fmla="*/ 43732 h 288398"/>
                  <a:gd name="connsiteX79" fmla="*/ 39411 w 296598"/>
                  <a:gd name="connsiteY79" fmla="*/ 45142 h 288398"/>
                  <a:gd name="connsiteX80" fmla="*/ 37383 w 296598"/>
                  <a:gd name="connsiteY80" fmla="*/ 45759 h 288398"/>
                  <a:gd name="connsiteX81" fmla="*/ 35003 w 296598"/>
                  <a:gd name="connsiteY81" fmla="*/ 49551 h 288398"/>
                  <a:gd name="connsiteX82" fmla="*/ 32093 w 296598"/>
                  <a:gd name="connsiteY82" fmla="*/ 52196 h 288398"/>
                  <a:gd name="connsiteX83" fmla="*/ 28037 w 296598"/>
                  <a:gd name="connsiteY83" fmla="*/ 56516 h 288398"/>
                  <a:gd name="connsiteX84" fmla="*/ 28037 w 296598"/>
                  <a:gd name="connsiteY84" fmla="*/ 59778 h 288398"/>
                  <a:gd name="connsiteX85" fmla="*/ 28037 w 296598"/>
                  <a:gd name="connsiteY85" fmla="*/ 62423 h 288398"/>
                  <a:gd name="connsiteX86" fmla="*/ 29184 w 296598"/>
                  <a:gd name="connsiteY86" fmla="*/ 64980 h 288398"/>
                  <a:gd name="connsiteX87" fmla="*/ 30947 w 296598"/>
                  <a:gd name="connsiteY87" fmla="*/ 64980 h 288398"/>
                  <a:gd name="connsiteX88" fmla="*/ 30947 w 296598"/>
                  <a:gd name="connsiteY88" fmla="*/ 65597 h 288398"/>
                  <a:gd name="connsiteX89" fmla="*/ 30065 w 296598"/>
                  <a:gd name="connsiteY89" fmla="*/ 67890 h 288398"/>
                  <a:gd name="connsiteX90" fmla="*/ 30947 w 296598"/>
                  <a:gd name="connsiteY90" fmla="*/ 68772 h 288398"/>
                  <a:gd name="connsiteX91" fmla="*/ 31829 w 296598"/>
                  <a:gd name="connsiteY91" fmla="*/ 67890 h 288398"/>
                  <a:gd name="connsiteX92" fmla="*/ 32093 w 296598"/>
                  <a:gd name="connsiteY92" fmla="*/ 67890 h 288398"/>
                  <a:gd name="connsiteX93" fmla="*/ 32358 w 296598"/>
                  <a:gd name="connsiteY93" fmla="*/ 69388 h 288398"/>
                  <a:gd name="connsiteX94" fmla="*/ 32710 w 296598"/>
                  <a:gd name="connsiteY94" fmla="*/ 69653 h 288398"/>
                  <a:gd name="connsiteX95" fmla="*/ 35620 w 296598"/>
                  <a:gd name="connsiteY95" fmla="*/ 71681 h 288398"/>
                  <a:gd name="connsiteX96" fmla="*/ 36149 w 296598"/>
                  <a:gd name="connsiteY96" fmla="*/ 72915 h 288398"/>
                  <a:gd name="connsiteX97" fmla="*/ 34121 w 296598"/>
                  <a:gd name="connsiteY97" fmla="*/ 73444 h 288398"/>
                  <a:gd name="connsiteX98" fmla="*/ 34121 w 296598"/>
                  <a:gd name="connsiteY98" fmla="*/ 74590 h 288398"/>
                  <a:gd name="connsiteX99" fmla="*/ 34738 w 296598"/>
                  <a:gd name="connsiteY99" fmla="*/ 73709 h 288398"/>
                  <a:gd name="connsiteX100" fmla="*/ 35884 w 296598"/>
                  <a:gd name="connsiteY100" fmla="*/ 74061 h 288398"/>
                  <a:gd name="connsiteX101" fmla="*/ 35267 w 296598"/>
                  <a:gd name="connsiteY101" fmla="*/ 74943 h 288398"/>
                  <a:gd name="connsiteX102" fmla="*/ 35003 w 296598"/>
                  <a:gd name="connsiteY102" fmla="*/ 76971 h 288398"/>
                  <a:gd name="connsiteX103" fmla="*/ 36502 w 296598"/>
                  <a:gd name="connsiteY103" fmla="*/ 78382 h 288398"/>
                  <a:gd name="connsiteX104" fmla="*/ 38177 w 296598"/>
                  <a:gd name="connsiteY104" fmla="*/ 77500 h 288398"/>
                  <a:gd name="connsiteX105" fmla="*/ 39676 w 296598"/>
                  <a:gd name="connsiteY105" fmla="*/ 77236 h 288398"/>
                  <a:gd name="connsiteX106" fmla="*/ 42585 w 296598"/>
                  <a:gd name="connsiteY106" fmla="*/ 78382 h 288398"/>
                  <a:gd name="connsiteX107" fmla="*/ 44613 w 296598"/>
                  <a:gd name="connsiteY107" fmla="*/ 78734 h 288398"/>
                  <a:gd name="connsiteX108" fmla="*/ 45495 w 296598"/>
                  <a:gd name="connsiteY108" fmla="*/ 76971 h 288398"/>
                  <a:gd name="connsiteX109" fmla="*/ 46377 w 296598"/>
                  <a:gd name="connsiteY109" fmla="*/ 76707 h 288398"/>
                  <a:gd name="connsiteX110" fmla="*/ 49551 w 296598"/>
                  <a:gd name="connsiteY110" fmla="*/ 72915 h 288398"/>
                  <a:gd name="connsiteX111" fmla="*/ 50785 w 296598"/>
                  <a:gd name="connsiteY111" fmla="*/ 69653 h 288398"/>
                  <a:gd name="connsiteX112" fmla="*/ 50432 w 296598"/>
                  <a:gd name="connsiteY112" fmla="*/ 66744 h 288398"/>
                  <a:gd name="connsiteX113" fmla="*/ 51931 w 296598"/>
                  <a:gd name="connsiteY113" fmla="*/ 64451 h 288398"/>
                  <a:gd name="connsiteX114" fmla="*/ 52196 w 296598"/>
                  <a:gd name="connsiteY114" fmla="*/ 62071 h 288398"/>
                  <a:gd name="connsiteX115" fmla="*/ 50785 w 296598"/>
                  <a:gd name="connsiteY115" fmla="*/ 60307 h 288398"/>
                  <a:gd name="connsiteX116" fmla="*/ 51314 w 296598"/>
                  <a:gd name="connsiteY116" fmla="*/ 58896 h 288398"/>
                  <a:gd name="connsiteX117" fmla="*/ 48404 w 296598"/>
                  <a:gd name="connsiteY117" fmla="*/ 55987 h 288398"/>
                  <a:gd name="connsiteX118" fmla="*/ 48140 w 296598"/>
                  <a:gd name="connsiteY118" fmla="*/ 52725 h 288398"/>
                  <a:gd name="connsiteX119" fmla="*/ 47523 w 296598"/>
                  <a:gd name="connsiteY119" fmla="*/ 50961 h 288398"/>
                  <a:gd name="connsiteX120" fmla="*/ 46994 w 296598"/>
                  <a:gd name="connsiteY120" fmla="*/ 48404 h 288398"/>
                  <a:gd name="connsiteX121" fmla="*/ 44349 w 296598"/>
                  <a:gd name="connsiteY121" fmla="*/ 45759 h 288398"/>
                  <a:gd name="connsiteX122" fmla="*/ 42850 w 296598"/>
                  <a:gd name="connsiteY122" fmla="*/ 44878 h 288398"/>
                  <a:gd name="connsiteX123" fmla="*/ 42850 w 296598"/>
                  <a:gd name="connsiteY123" fmla="*/ 42585 h 288398"/>
                  <a:gd name="connsiteX124" fmla="*/ 41439 w 296598"/>
                  <a:gd name="connsiteY124" fmla="*/ 40822 h 288398"/>
                  <a:gd name="connsiteX125" fmla="*/ 41968 w 296598"/>
                  <a:gd name="connsiteY125" fmla="*/ 39323 h 288398"/>
                  <a:gd name="connsiteX126" fmla="*/ 42321 w 296598"/>
                  <a:gd name="connsiteY126" fmla="*/ 37031 h 288398"/>
                  <a:gd name="connsiteX127" fmla="*/ 41439 w 296598"/>
                  <a:gd name="connsiteY127" fmla="*/ 35003 h 288398"/>
                  <a:gd name="connsiteX128" fmla="*/ 42321 w 296598"/>
                  <a:gd name="connsiteY128" fmla="*/ 35532 h 288398"/>
                  <a:gd name="connsiteX129" fmla="*/ 43467 w 296598"/>
                  <a:gd name="connsiteY129" fmla="*/ 35003 h 288398"/>
                  <a:gd name="connsiteX130" fmla="*/ 44349 w 296598"/>
                  <a:gd name="connsiteY130" fmla="*/ 33240 h 288398"/>
                  <a:gd name="connsiteX131" fmla="*/ 44613 w 296598"/>
                  <a:gd name="connsiteY131" fmla="*/ 32005 h 288398"/>
                  <a:gd name="connsiteX132" fmla="*/ 43467 w 296598"/>
                  <a:gd name="connsiteY132" fmla="*/ 30594 h 288398"/>
                  <a:gd name="connsiteX133" fmla="*/ 44084 w 296598"/>
                  <a:gd name="connsiteY133" fmla="*/ 29448 h 288398"/>
                  <a:gd name="connsiteX134" fmla="*/ 45495 w 296598"/>
                  <a:gd name="connsiteY134" fmla="*/ 28567 h 288398"/>
                  <a:gd name="connsiteX135" fmla="*/ 47523 w 296598"/>
                  <a:gd name="connsiteY135" fmla="*/ 28214 h 288398"/>
                  <a:gd name="connsiteX136" fmla="*/ 50785 w 296598"/>
                  <a:gd name="connsiteY136" fmla="*/ 28214 h 288398"/>
                  <a:gd name="connsiteX137" fmla="*/ 53695 w 296598"/>
                  <a:gd name="connsiteY137" fmla="*/ 27068 h 288398"/>
                  <a:gd name="connsiteX138" fmla="*/ 57750 w 296598"/>
                  <a:gd name="connsiteY138" fmla="*/ 25040 h 288398"/>
                  <a:gd name="connsiteX139" fmla="*/ 60043 w 296598"/>
                  <a:gd name="connsiteY139" fmla="*/ 25040 h 288398"/>
                  <a:gd name="connsiteX140" fmla="*/ 61541 w 296598"/>
                  <a:gd name="connsiteY140" fmla="*/ 23541 h 288398"/>
                  <a:gd name="connsiteX141" fmla="*/ 65950 w 296598"/>
                  <a:gd name="connsiteY141" fmla="*/ 22747 h 288398"/>
                  <a:gd name="connsiteX142" fmla="*/ 67713 w 296598"/>
                  <a:gd name="connsiteY142" fmla="*/ 22747 h 288398"/>
                  <a:gd name="connsiteX143" fmla="*/ 70623 w 296598"/>
                  <a:gd name="connsiteY143" fmla="*/ 20631 h 288398"/>
                  <a:gd name="connsiteX144" fmla="*/ 74061 w 296598"/>
                  <a:gd name="connsiteY144" fmla="*/ 19221 h 288398"/>
                  <a:gd name="connsiteX145" fmla="*/ 74943 w 296598"/>
                  <a:gd name="connsiteY145" fmla="*/ 20102 h 288398"/>
                  <a:gd name="connsiteX146" fmla="*/ 76089 w 296598"/>
                  <a:gd name="connsiteY146" fmla="*/ 19221 h 288398"/>
                  <a:gd name="connsiteX147" fmla="*/ 76706 w 296598"/>
                  <a:gd name="connsiteY147" fmla="*/ 18339 h 288398"/>
                  <a:gd name="connsiteX148" fmla="*/ 74679 w 296598"/>
                  <a:gd name="connsiteY148" fmla="*/ 17193 h 288398"/>
                  <a:gd name="connsiteX149" fmla="*/ 75560 w 296598"/>
                  <a:gd name="connsiteY149" fmla="*/ 16840 h 288398"/>
                  <a:gd name="connsiteX150" fmla="*/ 76442 w 296598"/>
                  <a:gd name="connsiteY150" fmla="*/ 16576 h 288398"/>
                  <a:gd name="connsiteX151" fmla="*/ 77324 w 296598"/>
                  <a:gd name="connsiteY151" fmla="*/ 17193 h 288398"/>
                  <a:gd name="connsiteX152" fmla="*/ 78470 w 296598"/>
                  <a:gd name="connsiteY152" fmla="*/ 18604 h 288398"/>
                  <a:gd name="connsiteX153" fmla="*/ 80498 w 296598"/>
                  <a:gd name="connsiteY153" fmla="*/ 19221 h 288398"/>
                  <a:gd name="connsiteX154" fmla="*/ 81115 w 296598"/>
                  <a:gd name="connsiteY154" fmla="*/ 19221 h 288398"/>
                  <a:gd name="connsiteX155" fmla="*/ 81996 w 296598"/>
                  <a:gd name="connsiteY155" fmla="*/ 18339 h 288398"/>
                  <a:gd name="connsiteX156" fmla="*/ 81379 w 296598"/>
                  <a:gd name="connsiteY156" fmla="*/ 13049 h 288398"/>
                  <a:gd name="connsiteX157" fmla="*/ 80233 w 296598"/>
                  <a:gd name="connsiteY157" fmla="*/ 13402 h 288398"/>
                  <a:gd name="connsiteX158" fmla="*/ 77588 w 296598"/>
                  <a:gd name="connsiteY158" fmla="*/ 13402 h 288398"/>
                  <a:gd name="connsiteX159" fmla="*/ 74679 w 296598"/>
                  <a:gd name="connsiteY159" fmla="*/ 13931 h 288398"/>
                  <a:gd name="connsiteX160" fmla="*/ 73180 w 296598"/>
                  <a:gd name="connsiteY160" fmla="*/ 15165 h 288398"/>
                  <a:gd name="connsiteX161" fmla="*/ 72298 w 296598"/>
                  <a:gd name="connsiteY161" fmla="*/ 15165 h 288398"/>
                  <a:gd name="connsiteX162" fmla="*/ 71505 w 296598"/>
                  <a:gd name="connsiteY162" fmla="*/ 14283 h 288398"/>
                  <a:gd name="connsiteX163" fmla="*/ 72034 w 296598"/>
                  <a:gd name="connsiteY163" fmla="*/ 11286 h 288398"/>
                  <a:gd name="connsiteX164" fmla="*/ 72915 w 296598"/>
                  <a:gd name="connsiteY164" fmla="*/ 11021 h 288398"/>
                  <a:gd name="connsiteX165" fmla="*/ 73532 w 296598"/>
                  <a:gd name="connsiteY165" fmla="*/ 9610 h 288398"/>
                  <a:gd name="connsiteX166" fmla="*/ 74061 w 296598"/>
                  <a:gd name="connsiteY166" fmla="*/ 7582 h 288398"/>
                  <a:gd name="connsiteX167" fmla="*/ 73532 w 296598"/>
                  <a:gd name="connsiteY167" fmla="*/ 5467 h 288398"/>
                  <a:gd name="connsiteX168" fmla="*/ 72651 w 296598"/>
                  <a:gd name="connsiteY168" fmla="*/ 4056 h 288398"/>
                  <a:gd name="connsiteX169" fmla="*/ 73532 w 296598"/>
                  <a:gd name="connsiteY169" fmla="*/ 2292 h 288398"/>
                  <a:gd name="connsiteX170" fmla="*/ 74414 w 296598"/>
                  <a:gd name="connsiteY170" fmla="*/ 264 h 288398"/>
                  <a:gd name="connsiteX171" fmla="*/ 76089 w 296598"/>
                  <a:gd name="connsiteY171" fmla="*/ 0 h 288398"/>
                  <a:gd name="connsiteX172" fmla="*/ 76706 w 296598"/>
                  <a:gd name="connsiteY172" fmla="*/ 529 h 288398"/>
                  <a:gd name="connsiteX173" fmla="*/ 77853 w 296598"/>
                  <a:gd name="connsiteY173" fmla="*/ 0 h 288398"/>
                  <a:gd name="connsiteX174" fmla="*/ 80233 w 296598"/>
                  <a:gd name="connsiteY174" fmla="*/ 1411 h 288398"/>
                  <a:gd name="connsiteX175" fmla="*/ 81115 w 296598"/>
                  <a:gd name="connsiteY175" fmla="*/ 3703 h 288398"/>
                  <a:gd name="connsiteX176" fmla="*/ 81644 w 296598"/>
                  <a:gd name="connsiteY176" fmla="*/ 5467 h 288398"/>
                  <a:gd name="connsiteX177" fmla="*/ 83143 w 296598"/>
                  <a:gd name="connsiteY177" fmla="*/ 6348 h 288398"/>
                  <a:gd name="connsiteX178" fmla="*/ 83407 w 296598"/>
                  <a:gd name="connsiteY178" fmla="*/ 8729 h 288398"/>
                  <a:gd name="connsiteX179" fmla="*/ 83143 w 296598"/>
                  <a:gd name="connsiteY179" fmla="*/ 11638 h 288398"/>
                  <a:gd name="connsiteX180" fmla="*/ 82526 w 296598"/>
                  <a:gd name="connsiteY180" fmla="*/ 13666 h 288398"/>
                  <a:gd name="connsiteX181" fmla="*/ 84289 w 296598"/>
                  <a:gd name="connsiteY181" fmla="*/ 15958 h 288398"/>
                  <a:gd name="connsiteX182" fmla="*/ 84289 w 296598"/>
                  <a:gd name="connsiteY182" fmla="*/ 18604 h 288398"/>
                  <a:gd name="connsiteX183" fmla="*/ 86317 w 296598"/>
                  <a:gd name="connsiteY183" fmla="*/ 18956 h 288398"/>
                  <a:gd name="connsiteX184" fmla="*/ 89226 w 296598"/>
                  <a:gd name="connsiteY184" fmla="*/ 19221 h 288398"/>
                  <a:gd name="connsiteX185" fmla="*/ 90725 w 296598"/>
                  <a:gd name="connsiteY185" fmla="*/ 18339 h 288398"/>
                  <a:gd name="connsiteX186" fmla="*/ 92489 w 296598"/>
                  <a:gd name="connsiteY186" fmla="*/ 18604 h 288398"/>
                  <a:gd name="connsiteX187" fmla="*/ 95134 w 296598"/>
                  <a:gd name="connsiteY187" fmla="*/ 18075 h 288398"/>
                  <a:gd name="connsiteX188" fmla="*/ 97691 w 296598"/>
                  <a:gd name="connsiteY188" fmla="*/ 18956 h 288398"/>
                  <a:gd name="connsiteX189" fmla="*/ 101482 w 296598"/>
                  <a:gd name="connsiteY189" fmla="*/ 20631 h 288398"/>
                  <a:gd name="connsiteX190" fmla="*/ 104391 w 296598"/>
                  <a:gd name="connsiteY190" fmla="*/ 23541 h 288398"/>
                  <a:gd name="connsiteX191" fmla="*/ 108800 w 296598"/>
                  <a:gd name="connsiteY191" fmla="*/ 25304 h 288398"/>
                  <a:gd name="connsiteX192" fmla="*/ 111180 w 296598"/>
                  <a:gd name="connsiteY192" fmla="*/ 25922 h 288398"/>
                  <a:gd name="connsiteX193" fmla="*/ 112326 w 296598"/>
                  <a:gd name="connsiteY193" fmla="*/ 25922 h 288398"/>
                  <a:gd name="connsiteX194" fmla="*/ 113473 w 296598"/>
                  <a:gd name="connsiteY194" fmla="*/ 25922 h 288398"/>
                  <a:gd name="connsiteX195" fmla="*/ 114619 w 296598"/>
                  <a:gd name="connsiteY195" fmla="*/ 28831 h 288398"/>
                  <a:gd name="connsiteX196" fmla="*/ 114354 w 296598"/>
                  <a:gd name="connsiteY196" fmla="*/ 32005 h 288398"/>
                  <a:gd name="connsiteX197" fmla="*/ 114619 w 296598"/>
                  <a:gd name="connsiteY197" fmla="*/ 33240 h 288398"/>
                  <a:gd name="connsiteX198" fmla="*/ 112591 w 296598"/>
                  <a:gd name="connsiteY198" fmla="*/ 35796 h 288398"/>
                  <a:gd name="connsiteX199" fmla="*/ 113737 w 296598"/>
                  <a:gd name="connsiteY199" fmla="*/ 39059 h 288398"/>
                  <a:gd name="connsiteX200" fmla="*/ 120173 w 296598"/>
                  <a:gd name="connsiteY200" fmla="*/ 42585 h 288398"/>
                  <a:gd name="connsiteX201" fmla="*/ 122818 w 296598"/>
                  <a:gd name="connsiteY201" fmla="*/ 41704 h 288398"/>
                  <a:gd name="connsiteX202" fmla="*/ 122466 w 296598"/>
                  <a:gd name="connsiteY202" fmla="*/ 43732 h 288398"/>
                  <a:gd name="connsiteX203" fmla="*/ 125375 w 296598"/>
                  <a:gd name="connsiteY203" fmla="*/ 41704 h 288398"/>
                  <a:gd name="connsiteX204" fmla="*/ 126610 w 296598"/>
                  <a:gd name="connsiteY204" fmla="*/ 42850 h 288398"/>
                  <a:gd name="connsiteX205" fmla="*/ 129255 w 296598"/>
                  <a:gd name="connsiteY205" fmla="*/ 43379 h 288398"/>
                  <a:gd name="connsiteX206" fmla="*/ 133311 w 296598"/>
                  <a:gd name="connsiteY206" fmla="*/ 42585 h 288398"/>
                  <a:gd name="connsiteX207" fmla="*/ 137366 w 296598"/>
                  <a:gd name="connsiteY207" fmla="*/ 41351 h 288398"/>
                  <a:gd name="connsiteX208" fmla="*/ 138248 w 296598"/>
                  <a:gd name="connsiteY208" fmla="*/ 39588 h 288398"/>
                  <a:gd name="connsiteX209" fmla="*/ 145566 w 296598"/>
                  <a:gd name="connsiteY209" fmla="*/ 39323 h 288398"/>
                  <a:gd name="connsiteX210" fmla="*/ 153148 w 296598"/>
                  <a:gd name="connsiteY210" fmla="*/ 39588 h 288398"/>
                  <a:gd name="connsiteX211" fmla="*/ 156940 w 296598"/>
                  <a:gd name="connsiteY211" fmla="*/ 39323 h 288398"/>
                  <a:gd name="connsiteX212" fmla="*/ 160114 w 296598"/>
                  <a:gd name="connsiteY212" fmla="*/ 40469 h 288398"/>
                  <a:gd name="connsiteX213" fmla="*/ 162142 w 296598"/>
                  <a:gd name="connsiteY213" fmla="*/ 40469 h 288398"/>
                  <a:gd name="connsiteX214" fmla="*/ 162759 w 296598"/>
                  <a:gd name="connsiteY214" fmla="*/ 41351 h 288398"/>
                  <a:gd name="connsiteX215" fmla="*/ 162142 w 296598"/>
                  <a:gd name="connsiteY215" fmla="*/ 42585 h 288398"/>
                  <a:gd name="connsiteX216" fmla="*/ 160731 w 296598"/>
                  <a:gd name="connsiteY216" fmla="*/ 42850 h 288398"/>
                  <a:gd name="connsiteX217" fmla="*/ 160378 w 296598"/>
                  <a:gd name="connsiteY217" fmla="*/ 43996 h 288398"/>
                  <a:gd name="connsiteX218" fmla="*/ 161260 w 296598"/>
                  <a:gd name="connsiteY218" fmla="*/ 45495 h 288398"/>
                  <a:gd name="connsiteX219" fmla="*/ 163023 w 296598"/>
                  <a:gd name="connsiteY219" fmla="*/ 46641 h 288398"/>
                  <a:gd name="connsiteX220" fmla="*/ 165404 w 296598"/>
                  <a:gd name="connsiteY220" fmla="*/ 47170 h 288398"/>
                  <a:gd name="connsiteX221" fmla="*/ 164522 w 296598"/>
                  <a:gd name="connsiteY221" fmla="*/ 48052 h 288398"/>
                  <a:gd name="connsiteX222" fmla="*/ 165668 w 296598"/>
                  <a:gd name="connsiteY222" fmla="*/ 48934 h 288398"/>
                  <a:gd name="connsiteX223" fmla="*/ 165933 w 296598"/>
                  <a:gd name="connsiteY223" fmla="*/ 48052 h 288398"/>
                  <a:gd name="connsiteX224" fmla="*/ 168578 w 296598"/>
                  <a:gd name="connsiteY224" fmla="*/ 48404 h 288398"/>
                  <a:gd name="connsiteX225" fmla="*/ 172369 w 296598"/>
                  <a:gd name="connsiteY225" fmla="*/ 48934 h 288398"/>
                  <a:gd name="connsiteX226" fmla="*/ 175631 w 296598"/>
                  <a:gd name="connsiteY226" fmla="*/ 51579 h 288398"/>
                  <a:gd name="connsiteX227" fmla="*/ 178541 w 296598"/>
                  <a:gd name="connsiteY227" fmla="*/ 53871 h 288398"/>
                  <a:gd name="connsiteX228" fmla="*/ 182861 w 296598"/>
                  <a:gd name="connsiteY228" fmla="*/ 54488 h 288398"/>
                  <a:gd name="connsiteX229" fmla="*/ 187799 w 296598"/>
                  <a:gd name="connsiteY229" fmla="*/ 54488 h 288398"/>
                  <a:gd name="connsiteX230" fmla="*/ 190444 w 296598"/>
                  <a:gd name="connsiteY230" fmla="*/ 52725 h 288398"/>
                  <a:gd name="connsiteX231" fmla="*/ 191061 w 296598"/>
                  <a:gd name="connsiteY231" fmla="*/ 50697 h 288398"/>
                  <a:gd name="connsiteX232" fmla="*/ 192824 w 296598"/>
                  <a:gd name="connsiteY232" fmla="*/ 49286 h 288398"/>
                  <a:gd name="connsiteX233" fmla="*/ 193970 w 296598"/>
                  <a:gd name="connsiteY233" fmla="*/ 49286 h 288398"/>
                  <a:gd name="connsiteX234" fmla="*/ 197145 w 296598"/>
                  <a:gd name="connsiteY234" fmla="*/ 49286 h 288398"/>
                  <a:gd name="connsiteX235" fmla="*/ 198026 w 296598"/>
                  <a:gd name="connsiteY235" fmla="*/ 48052 h 288398"/>
                  <a:gd name="connsiteX236" fmla="*/ 196351 w 296598"/>
                  <a:gd name="connsiteY236" fmla="*/ 46906 h 288398"/>
                  <a:gd name="connsiteX237" fmla="*/ 196880 w 296598"/>
                  <a:gd name="connsiteY237" fmla="*/ 45759 h 288398"/>
                  <a:gd name="connsiteX238" fmla="*/ 198026 w 296598"/>
                  <a:gd name="connsiteY238" fmla="*/ 45759 h 288398"/>
                  <a:gd name="connsiteX239" fmla="*/ 198908 w 296598"/>
                  <a:gd name="connsiteY239" fmla="*/ 46906 h 288398"/>
                  <a:gd name="connsiteX240" fmla="*/ 201288 w 296598"/>
                  <a:gd name="connsiteY240" fmla="*/ 46377 h 288398"/>
                  <a:gd name="connsiteX241" fmla="*/ 201817 w 296598"/>
                  <a:gd name="connsiteY241" fmla="*/ 44878 h 288398"/>
                  <a:gd name="connsiteX242" fmla="*/ 203316 w 296598"/>
                  <a:gd name="connsiteY242" fmla="*/ 43379 h 288398"/>
                  <a:gd name="connsiteX243" fmla="*/ 204462 w 296598"/>
                  <a:gd name="connsiteY243" fmla="*/ 42850 h 288398"/>
                  <a:gd name="connsiteX244" fmla="*/ 208518 w 296598"/>
                  <a:gd name="connsiteY244" fmla="*/ 43732 h 288398"/>
                  <a:gd name="connsiteX245" fmla="*/ 213191 w 296598"/>
                  <a:gd name="connsiteY245" fmla="*/ 43732 h 288398"/>
                  <a:gd name="connsiteX246" fmla="*/ 214425 w 296598"/>
                  <a:gd name="connsiteY246" fmla="*/ 42850 h 288398"/>
                  <a:gd name="connsiteX247" fmla="*/ 212927 w 296598"/>
                  <a:gd name="connsiteY247" fmla="*/ 41704 h 288398"/>
                  <a:gd name="connsiteX248" fmla="*/ 210282 w 296598"/>
                  <a:gd name="connsiteY248" fmla="*/ 41351 h 288398"/>
                  <a:gd name="connsiteX249" fmla="*/ 205344 w 296598"/>
                  <a:gd name="connsiteY249" fmla="*/ 41704 h 288398"/>
                  <a:gd name="connsiteX250" fmla="*/ 203581 w 296598"/>
                  <a:gd name="connsiteY250" fmla="*/ 40822 h 288398"/>
                  <a:gd name="connsiteX251" fmla="*/ 200936 w 296598"/>
                  <a:gd name="connsiteY251" fmla="*/ 40822 h 288398"/>
                  <a:gd name="connsiteX252" fmla="*/ 200671 w 296598"/>
                  <a:gd name="connsiteY252" fmla="*/ 39940 h 288398"/>
                  <a:gd name="connsiteX253" fmla="*/ 201288 w 296598"/>
                  <a:gd name="connsiteY253" fmla="*/ 39323 h 288398"/>
                  <a:gd name="connsiteX254" fmla="*/ 202082 w 296598"/>
                  <a:gd name="connsiteY254" fmla="*/ 39588 h 288398"/>
                  <a:gd name="connsiteX255" fmla="*/ 204462 w 296598"/>
                  <a:gd name="connsiteY255" fmla="*/ 38441 h 288398"/>
                  <a:gd name="connsiteX256" fmla="*/ 205961 w 296598"/>
                  <a:gd name="connsiteY256" fmla="*/ 39323 h 288398"/>
                  <a:gd name="connsiteX257" fmla="*/ 208254 w 296598"/>
                  <a:gd name="connsiteY257" fmla="*/ 38794 h 288398"/>
                  <a:gd name="connsiteX258" fmla="*/ 210634 w 296598"/>
                  <a:gd name="connsiteY258" fmla="*/ 39323 h 288398"/>
                  <a:gd name="connsiteX259" fmla="*/ 212045 w 296598"/>
                  <a:gd name="connsiteY259" fmla="*/ 39059 h 288398"/>
                  <a:gd name="connsiteX260" fmla="*/ 212309 w 296598"/>
                  <a:gd name="connsiteY260" fmla="*/ 38441 h 288398"/>
                  <a:gd name="connsiteX261" fmla="*/ 213544 w 296598"/>
                  <a:gd name="connsiteY261" fmla="*/ 37560 h 288398"/>
                  <a:gd name="connsiteX262" fmla="*/ 215836 w 296598"/>
                  <a:gd name="connsiteY262" fmla="*/ 36678 h 288398"/>
                  <a:gd name="connsiteX263" fmla="*/ 218746 w 296598"/>
                  <a:gd name="connsiteY263" fmla="*/ 37560 h 288398"/>
                  <a:gd name="connsiteX264" fmla="*/ 220774 w 296598"/>
                  <a:gd name="connsiteY264" fmla="*/ 37912 h 288398"/>
                  <a:gd name="connsiteX265" fmla="*/ 223154 w 296598"/>
                  <a:gd name="connsiteY265" fmla="*/ 38177 h 288398"/>
                  <a:gd name="connsiteX266" fmla="*/ 225446 w 296598"/>
                  <a:gd name="connsiteY266" fmla="*/ 37031 h 288398"/>
                  <a:gd name="connsiteX267" fmla="*/ 227474 w 296598"/>
                  <a:gd name="connsiteY267" fmla="*/ 36149 h 288398"/>
                  <a:gd name="connsiteX268" fmla="*/ 231001 w 296598"/>
                  <a:gd name="connsiteY268" fmla="*/ 36678 h 288398"/>
                  <a:gd name="connsiteX269" fmla="*/ 231618 w 296598"/>
                  <a:gd name="connsiteY269" fmla="*/ 37912 h 288398"/>
                  <a:gd name="connsiteX270" fmla="*/ 232147 w 296598"/>
                  <a:gd name="connsiteY270" fmla="*/ 37031 h 288398"/>
                  <a:gd name="connsiteX271" fmla="*/ 234528 w 296598"/>
                  <a:gd name="connsiteY271" fmla="*/ 36414 h 288398"/>
                  <a:gd name="connsiteX272" fmla="*/ 235674 w 296598"/>
                  <a:gd name="connsiteY272" fmla="*/ 35796 h 288398"/>
                  <a:gd name="connsiteX273" fmla="*/ 240082 w 296598"/>
                  <a:gd name="connsiteY273" fmla="*/ 35532 h 288398"/>
                  <a:gd name="connsiteX274" fmla="*/ 242639 w 296598"/>
                  <a:gd name="connsiteY274" fmla="*/ 36149 h 288398"/>
                  <a:gd name="connsiteX275" fmla="*/ 246166 w 296598"/>
                  <a:gd name="connsiteY275" fmla="*/ 37295 h 288398"/>
                  <a:gd name="connsiteX276" fmla="*/ 251456 w 296598"/>
                  <a:gd name="connsiteY276" fmla="*/ 37031 h 288398"/>
                  <a:gd name="connsiteX277" fmla="*/ 253220 w 296598"/>
                  <a:gd name="connsiteY277" fmla="*/ 36149 h 288398"/>
                  <a:gd name="connsiteX278" fmla="*/ 254366 w 296598"/>
                  <a:gd name="connsiteY278" fmla="*/ 36149 h 288398"/>
                  <a:gd name="connsiteX279" fmla="*/ 254630 w 296598"/>
                  <a:gd name="connsiteY279" fmla="*/ 37560 h 288398"/>
                  <a:gd name="connsiteX280" fmla="*/ 253220 w 296598"/>
                  <a:gd name="connsiteY280" fmla="*/ 38441 h 288398"/>
                  <a:gd name="connsiteX281" fmla="*/ 251721 w 296598"/>
                  <a:gd name="connsiteY281" fmla="*/ 39323 h 288398"/>
                  <a:gd name="connsiteX282" fmla="*/ 249693 w 296598"/>
                  <a:gd name="connsiteY282" fmla="*/ 41086 h 288398"/>
                  <a:gd name="connsiteX283" fmla="*/ 246783 w 296598"/>
                  <a:gd name="connsiteY283" fmla="*/ 41086 h 288398"/>
                  <a:gd name="connsiteX284" fmla="*/ 242375 w 296598"/>
                  <a:gd name="connsiteY284" fmla="*/ 39940 h 288398"/>
                  <a:gd name="connsiteX285" fmla="*/ 239730 w 296598"/>
                  <a:gd name="connsiteY285" fmla="*/ 39940 h 288398"/>
                  <a:gd name="connsiteX286" fmla="*/ 235939 w 296598"/>
                  <a:gd name="connsiteY286" fmla="*/ 40469 h 288398"/>
                  <a:gd name="connsiteX287" fmla="*/ 236556 w 296598"/>
                  <a:gd name="connsiteY287" fmla="*/ 43379 h 288398"/>
                  <a:gd name="connsiteX288" fmla="*/ 233911 w 296598"/>
                  <a:gd name="connsiteY288" fmla="*/ 43114 h 288398"/>
                  <a:gd name="connsiteX289" fmla="*/ 233911 w 296598"/>
                  <a:gd name="connsiteY289" fmla="*/ 42233 h 288398"/>
                  <a:gd name="connsiteX290" fmla="*/ 231883 w 296598"/>
                  <a:gd name="connsiteY290" fmla="*/ 41968 h 288398"/>
                  <a:gd name="connsiteX291" fmla="*/ 230737 w 296598"/>
                  <a:gd name="connsiteY291" fmla="*/ 41704 h 288398"/>
                  <a:gd name="connsiteX292" fmla="*/ 230737 w 296598"/>
                  <a:gd name="connsiteY292" fmla="*/ 41968 h 288398"/>
                  <a:gd name="connsiteX293" fmla="*/ 229855 w 296598"/>
                  <a:gd name="connsiteY293" fmla="*/ 42585 h 288398"/>
                  <a:gd name="connsiteX294" fmla="*/ 230119 w 296598"/>
                  <a:gd name="connsiteY294" fmla="*/ 43732 h 288398"/>
                  <a:gd name="connsiteX295" fmla="*/ 232500 w 296598"/>
                  <a:gd name="connsiteY295" fmla="*/ 45142 h 288398"/>
                  <a:gd name="connsiteX296" fmla="*/ 230119 w 296598"/>
                  <a:gd name="connsiteY296" fmla="*/ 46377 h 288398"/>
                  <a:gd name="connsiteX297" fmla="*/ 229502 w 296598"/>
                  <a:gd name="connsiteY297" fmla="*/ 47523 h 288398"/>
                  <a:gd name="connsiteX298" fmla="*/ 230119 w 296598"/>
                  <a:gd name="connsiteY298" fmla="*/ 48052 h 288398"/>
                  <a:gd name="connsiteX299" fmla="*/ 231266 w 296598"/>
                  <a:gd name="connsiteY299" fmla="*/ 47170 h 288398"/>
                  <a:gd name="connsiteX300" fmla="*/ 231266 w 296598"/>
                  <a:gd name="connsiteY300" fmla="*/ 45759 h 288398"/>
                  <a:gd name="connsiteX301" fmla="*/ 233911 w 296598"/>
                  <a:gd name="connsiteY301" fmla="*/ 45495 h 288398"/>
                  <a:gd name="connsiteX302" fmla="*/ 234792 w 296598"/>
                  <a:gd name="connsiteY302" fmla="*/ 45759 h 288398"/>
                  <a:gd name="connsiteX303" fmla="*/ 235410 w 296598"/>
                  <a:gd name="connsiteY303" fmla="*/ 47170 h 288398"/>
                  <a:gd name="connsiteX304" fmla="*/ 235057 w 296598"/>
                  <a:gd name="connsiteY304" fmla="*/ 48669 h 288398"/>
                  <a:gd name="connsiteX305" fmla="*/ 233911 w 296598"/>
                  <a:gd name="connsiteY305" fmla="*/ 51314 h 288398"/>
                  <a:gd name="connsiteX306" fmla="*/ 234528 w 296598"/>
                  <a:gd name="connsiteY306" fmla="*/ 53342 h 288398"/>
                  <a:gd name="connsiteX307" fmla="*/ 232147 w 296598"/>
                  <a:gd name="connsiteY307" fmla="*/ 54488 h 288398"/>
                  <a:gd name="connsiteX308" fmla="*/ 228973 w 296598"/>
                  <a:gd name="connsiteY308" fmla="*/ 52460 h 288398"/>
                  <a:gd name="connsiteX309" fmla="*/ 227827 w 296598"/>
                  <a:gd name="connsiteY309" fmla="*/ 52725 h 288398"/>
                  <a:gd name="connsiteX310" fmla="*/ 227474 w 296598"/>
                  <a:gd name="connsiteY310" fmla="*/ 54224 h 288398"/>
                  <a:gd name="connsiteX311" fmla="*/ 229855 w 296598"/>
                  <a:gd name="connsiteY311" fmla="*/ 55105 h 288398"/>
                  <a:gd name="connsiteX312" fmla="*/ 230119 w 296598"/>
                  <a:gd name="connsiteY312" fmla="*/ 53871 h 288398"/>
                  <a:gd name="connsiteX313" fmla="*/ 231266 w 296598"/>
                  <a:gd name="connsiteY313" fmla="*/ 55634 h 288398"/>
                  <a:gd name="connsiteX314" fmla="*/ 232500 w 296598"/>
                  <a:gd name="connsiteY314" fmla="*/ 55634 h 288398"/>
                  <a:gd name="connsiteX315" fmla="*/ 234263 w 296598"/>
                  <a:gd name="connsiteY315" fmla="*/ 55370 h 288398"/>
                  <a:gd name="connsiteX316" fmla="*/ 234792 w 296598"/>
                  <a:gd name="connsiteY316" fmla="*/ 53871 h 288398"/>
                  <a:gd name="connsiteX317" fmla="*/ 236291 w 296598"/>
                  <a:gd name="connsiteY317" fmla="*/ 53077 h 288398"/>
                  <a:gd name="connsiteX318" fmla="*/ 237173 w 296598"/>
                  <a:gd name="connsiteY318" fmla="*/ 49551 h 288398"/>
                  <a:gd name="connsiteX319" fmla="*/ 239465 w 296598"/>
                  <a:gd name="connsiteY319" fmla="*/ 50697 h 288398"/>
                  <a:gd name="connsiteX320" fmla="*/ 240347 w 296598"/>
                  <a:gd name="connsiteY320" fmla="*/ 52725 h 288398"/>
                  <a:gd name="connsiteX321" fmla="*/ 240347 w 296598"/>
                  <a:gd name="connsiteY321" fmla="*/ 56869 h 288398"/>
                  <a:gd name="connsiteX322" fmla="*/ 241493 w 296598"/>
                  <a:gd name="connsiteY322" fmla="*/ 60924 h 288398"/>
                  <a:gd name="connsiteX323" fmla="*/ 242992 w 296598"/>
                  <a:gd name="connsiteY323" fmla="*/ 62423 h 288398"/>
                  <a:gd name="connsiteX324" fmla="*/ 243874 w 296598"/>
                  <a:gd name="connsiteY324" fmla="*/ 61806 h 288398"/>
                  <a:gd name="connsiteX325" fmla="*/ 243874 w 296598"/>
                  <a:gd name="connsiteY325" fmla="*/ 56251 h 288398"/>
                  <a:gd name="connsiteX326" fmla="*/ 244755 w 296598"/>
                  <a:gd name="connsiteY326" fmla="*/ 57133 h 288398"/>
                  <a:gd name="connsiteX327" fmla="*/ 246166 w 296598"/>
                  <a:gd name="connsiteY327" fmla="*/ 59425 h 288398"/>
                  <a:gd name="connsiteX328" fmla="*/ 246166 w 296598"/>
                  <a:gd name="connsiteY328" fmla="*/ 62071 h 288398"/>
                  <a:gd name="connsiteX329" fmla="*/ 246783 w 296598"/>
                  <a:gd name="connsiteY329" fmla="*/ 62423 h 288398"/>
                  <a:gd name="connsiteX330" fmla="*/ 248194 w 296598"/>
                  <a:gd name="connsiteY330" fmla="*/ 62071 h 288398"/>
                  <a:gd name="connsiteX331" fmla="*/ 249340 w 296598"/>
                  <a:gd name="connsiteY331" fmla="*/ 60660 h 288398"/>
                  <a:gd name="connsiteX332" fmla="*/ 249957 w 296598"/>
                  <a:gd name="connsiteY332" fmla="*/ 58544 h 288398"/>
                  <a:gd name="connsiteX333" fmla="*/ 248194 w 296598"/>
                  <a:gd name="connsiteY333" fmla="*/ 58279 h 288398"/>
                  <a:gd name="connsiteX334" fmla="*/ 245284 w 296598"/>
                  <a:gd name="connsiteY334" fmla="*/ 56251 h 288398"/>
                  <a:gd name="connsiteX335" fmla="*/ 246431 w 296598"/>
                  <a:gd name="connsiteY335" fmla="*/ 55634 h 288398"/>
                  <a:gd name="connsiteX336" fmla="*/ 248547 w 296598"/>
                  <a:gd name="connsiteY336" fmla="*/ 56516 h 288398"/>
                  <a:gd name="connsiteX337" fmla="*/ 250222 w 296598"/>
                  <a:gd name="connsiteY337" fmla="*/ 56251 h 288398"/>
                  <a:gd name="connsiteX338" fmla="*/ 252602 w 296598"/>
                  <a:gd name="connsiteY338" fmla="*/ 58896 h 288398"/>
                  <a:gd name="connsiteX339" fmla="*/ 252602 w 296598"/>
                  <a:gd name="connsiteY339" fmla="*/ 62423 h 288398"/>
                  <a:gd name="connsiteX340" fmla="*/ 253484 w 296598"/>
                  <a:gd name="connsiteY340" fmla="*/ 63569 h 288398"/>
                  <a:gd name="connsiteX341" fmla="*/ 254630 w 296598"/>
                  <a:gd name="connsiteY341" fmla="*/ 62952 h 288398"/>
                  <a:gd name="connsiteX342" fmla="*/ 255247 w 296598"/>
                  <a:gd name="connsiteY342" fmla="*/ 61189 h 288398"/>
                  <a:gd name="connsiteX343" fmla="*/ 255776 w 296598"/>
                  <a:gd name="connsiteY343" fmla="*/ 62952 h 288398"/>
                  <a:gd name="connsiteX344" fmla="*/ 257275 w 296598"/>
                  <a:gd name="connsiteY344" fmla="*/ 62423 h 288398"/>
                  <a:gd name="connsiteX345" fmla="*/ 257540 w 296598"/>
                  <a:gd name="connsiteY345" fmla="*/ 60924 h 288398"/>
                  <a:gd name="connsiteX346" fmla="*/ 258686 w 296598"/>
                  <a:gd name="connsiteY346" fmla="*/ 60307 h 288398"/>
                  <a:gd name="connsiteX347" fmla="*/ 257804 w 296598"/>
                  <a:gd name="connsiteY347" fmla="*/ 58015 h 288398"/>
                  <a:gd name="connsiteX348" fmla="*/ 258686 w 296598"/>
                  <a:gd name="connsiteY348" fmla="*/ 58015 h 288398"/>
                  <a:gd name="connsiteX349" fmla="*/ 259303 w 296598"/>
                  <a:gd name="connsiteY349" fmla="*/ 59161 h 288398"/>
                  <a:gd name="connsiteX350" fmla="*/ 261331 w 296598"/>
                  <a:gd name="connsiteY350" fmla="*/ 59778 h 288398"/>
                  <a:gd name="connsiteX351" fmla="*/ 262213 w 296598"/>
                  <a:gd name="connsiteY351" fmla="*/ 61542 h 288398"/>
                  <a:gd name="connsiteX352" fmla="*/ 266886 w 296598"/>
                  <a:gd name="connsiteY352" fmla="*/ 65333 h 288398"/>
                  <a:gd name="connsiteX353" fmla="*/ 269178 w 296598"/>
                  <a:gd name="connsiteY353" fmla="*/ 66479 h 288398"/>
                  <a:gd name="connsiteX354" fmla="*/ 272705 w 296598"/>
                  <a:gd name="connsiteY354" fmla="*/ 66744 h 288398"/>
                  <a:gd name="connsiteX355" fmla="*/ 272088 w 296598"/>
                  <a:gd name="connsiteY355" fmla="*/ 67890 h 288398"/>
                  <a:gd name="connsiteX356" fmla="*/ 273322 w 296598"/>
                  <a:gd name="connsiteY356" fmla="*/ 69124 h 288398"/>
                  <a:gd name="connsiteX357" fmla="*/ 274468 w 296598"/>
                  <a:gd name="connsiteY357" fmla="*/ 70799 h 288398"/>
                  <a:gd name="connsiteX358" fmla="*/ 274733 w 296598"/>
                  <a:gd name="connsiteY358" fmla="*/ 73709 h 288398"/>
                  <a:gd name="connsiteX359" fmla="*/ 274468 w 296598"/>
                  <a:gd name="connsiteY359" fmla="*/ 74061 h 288398"/>
                  <a:gd name="connsiteX360" fmla="*/ 275614 w 296598"/>
                  <a:gd name="connsiteY360" fmla="*/ 76971 h 288398"/>
                  <a:gd name="connsiteX361" fmla="*/ 276232 w 296598"/>
                  <a:gd name="connsiteY361" fmla="*/ 78382 h 288398"/>
                  <a:gd name="connsiteX362" fmla="*/ 275085 w 296598"/>
                  <a:gd name="connsiteY362" fmla="*/ 79263 h 288398"/>
                  <a:gd name="connsiteX363" fmla="*/ 273586 w 296598"/>
                  <a:gd name="connsiteY363" fmla="*/ 81644 h 288398"/>
                  <a:gd name="connsiteX364" fmla="*/ 272969 w 296598"/>
                  <a:gd name="connsiteY364" fmla="*/ 81644 h 288398"/>
                  <a:gd name="connsiteX365" fmla="*/ 270412 w 296598"/>
                  <a:gd name="connsiteY365" fmla="*/ 81291 h 288398"/>
                  <a:gd name="connsiteX366" fmla="*/ 270060 w 296598"/>
                  <a:gd name="connsiteY366" fmla="*/ 83407 h 288398"/>
                  <a:gd name="connsiteX367" fmla="*/ 270412 w 296598"/>
                  <a:gd name="connsiteY367" fmla="*/ 86846 h 288398"/>
                  <a:gd name="connsiteX368" fmla="*/ 263094 w 296598"/>
                  <a:gd name="connsiteY368" fmla="*/ 91783 h 288398"/>
                  <a:gd name="connsiteX369" fmla="*/ 266621 w 296598"/>
                  <a:gd name="connsiteY369" fmla="*/ 90637 h 288398"/>
                  <a:gd name="connsiteX370" fmla="*/ 270060 w 296598"/>
                  <a:gd name="connsiteY370" fmla="*/ 89491 h 288398"/>
                  <a:gd name="connsiteX371" fmla="*/ 272969 w 296598"/>
                  <a:gd name="connsiteY371" fmla="*/ 90108 h 288398"/>
                  <a:gd name="connsiteX372" fmla="*/ 275614 w 296598"/>
                  <a:gd name="connsiteY372" fmla="*/ 91783 h 288398"/>
                  <a:gd name="connsiteX373" fmla="*/ 278259 w 296598"/>
                  <a:gd name="connsiteY373" fmla="*/ 92401 h 288398"/>
                  <a:gd name="connsiteX374" fmla="*/ 280552 w 296598"/>
                  <a:gd name="connsiteY374" fmla="*/ 91519 h 288398"/>
                  <a:gd name="connsiteX375" fmla="*/ 281169 w 296598"/>
                  <a:gd name="connsiteY375" fmla="*/ 88962 h 288398"/>
                  <a:gd name="connsiteX376" fmla="*/ 282668 w 296598"/>
                  <a:gd name="connsiteY376" fmla="*/ 89491 h 288398"/>
                  <a:gd name="connsiteX377" fmla="*/ 286459 w 296598"/>
                  <a:gd name="connsiteY377" fmla="*/ 89755 h 288398"/>
                  <a:gd name="connsiteX378" fmla="*/ 288222 w 296598"/>
                  <a:gd name="connsiteY378" fmla="*/ 89755 h 288398"/>
                  <a:gd name="connsiteX379" fmla="*/ 289016 w 296598"/>
                  <a:gd name="connsiteY379" fmla="*/ 89491 h 288398"/>
                  <a:gd name="connsiteX380" fmla="*/ 291661 w 296598"/>
                  <a:gd name="connsiteY380" fmla="*/ 90373 h 288398"/>
                  <a:gd name="connsiteX381" fmla="*/ 293160 w 296598"/>
                  <a:gd name="connsiteY381" fmla="*/ 91519 h 288398"/>
                  <a:gd name="connsiteX382" fmla="*/ 296598 w 296598"/>
                  <a:gd name="connsiteY382" fmla="*/ 98220 h 288398"/>
                  <a:gd name="connsiteX383" fmla="*/ 293424 w 296598"/>
                  <a:gd name="connsiteY383" fmla="*/ 99718 h 288398"/>
                  <a:gd name="connsiteX384" fmla="*/ 290250 w 296598"/>
                  <a:gd name="connsiteY384" fmla="*/ 103774 h 288398"/>
                  <a:gd name="connsiteX385" fmla="*/ 286988 w 296598"/>
                  <a:gd name="connsiteY385" fmla="*/ 105538 h 288398"/>
                  <a:gd name="connsiteX386" fmla="*/ 280552 w 296598"/>
                  <a:gd name="connsiteY386" fmla="*/ 109329 h 288398"/>
                  <a:gd name="connsiteX387" fmla="*/ 279141 w 296598"/>
                  <a:gd name="connsiteY387" fmla="*/ 114002 h 288398"/>
                  <a:gd name="connsiteX388" fmla="*/ 277113 w 296598"/>
                  <a:gd name="connsiteY388" fmla="*/ 116030 h 288398"/>
                  <a:gd name="connsiteX389" fmla="*/ 277113 w 296598"/>
                  <a:gd name="connsiteY389" fmla="*/ 119821 h 288398"/>
                  <a:gd name="connsiteX390" fmla="*/ 277378 w 296598"/>
                  <a:gd name="connsiteY390" fmla="*/ 123612 h 288398"/>
                  <a:gd name="connsiteX391" fmla="*/ 279758 w 296598"/>
                  <a:gd name="connsiteY391" fmla="*/ 126874 h 288398"/>
                  <a:gd name="connsiteX392" fmla="*/ 283549 w 296598"/>
                  <a:gd name="connsiteY392" fmla="*/ 125111 h 288398"/>
                  <a:gd name="connsiteX393" fmla="*/ 284960 w 296598"/>
                  <a:gd name="connsiteY393" fmla="*/ 128902 h 288398"/>
                  <a:gd name="connsiteX394" fmla="*/ 282315 w 296598"/>
                  <a:gd name="connsiteY394" fmla="*/ 131195 h 288398"/>
                  <a:gd name="connsiteX395" fmla="*/ 277113 w 296598"/>
                  <a:gd name="connsiteY395" fmla="*/ 134104 h 288398"/>
                  <a:gd name="connsiteX396" fmla="*/ 271559 w 296598"/>
                  <a:gd name="connsiteY396" fmla="*/ 134369 h 288398"/>
                  <a:gd name="connsiteX397" fmla="*/ 266004 w 296598"/>
                  <a:gd name="connsiteY397" fmla="*/ 136749 h 288398"/>
                  <a:gd name="connsiteX398" fmla="*/ 265739 w 296598"/>
                  <a:gd name="connsiteY398" fmla="*/ 144332 h 288398"/>
                  <a:gd name="connsiteX399" fmla="*/ 262830 w 296598"/>
                  <a:gd name="connsiteY399" fmla="*/ 151914 h 288398"/>
                  <a:gd name="connsiteX400" fmla="*/ 259920 w 296598"/>
                  <a:gd name="connsiteY400" fmla="*/ 155705 h 288398"/>
                  <a:gd name="connsiteX401" fmla="*/ 273586 w 296598"/>
                  <a:gd name="connsiteY401" fmla="*/ 174926 h 288398"/>
                  <a:gd name="connsiteX402" fmla="*/ 275350 w 296598"/>
                  <a:gd name="connsiteY402" fmla="*/ 175279 h 288398"/>
                  <a:gd name="connsiteX403" fmla="*/ 277113 w 296598"/>
                  <a:gd name="connsiteY403" fmla="*/ 178188 h 288398"/>
                  <a:gd name="connsiteX404" fmla="*/ 277113 w 296598"/>
                  <a:gd name="connsiteY404" fmla="*/ 180745 h 288398"/>
                  <a:gd name="connsiteX405" fmla="*/ 275085 w 296598"/>
                  <a:gd name="connsiteY405" fmla="*/ 184007 h 288398"/>
                  <a:gd name="connsiteX406" fmla="*/ 271823 w 296598"/>
                  <a:gd name="connsiteY406" fmla="*/ 186653 h 288398"/>
                  <a:gd name="connsiteX407" fmla="*/ 270412 w 296598"/>
                  <a:gd name="connsiteY407" fmla="*/ 186653 h 288398"/>
                  <a:gd name="connsiteX408" fmla="*/ 267767 w 296598"/>
                  <a:gd name="connsiteY408" fmla="*/ 191854 h 288398"/>
                  <a:gd name="connsiteX409" fmla="*/ 264241 w 296598"/>
                  <a:gd name="connsiteY409" fmla="*/ 192119 h 288398"/>
                  <a:gd name="connsiteX410" fmla="*/ 261067 w 296598"/>
                  <a:gd name="connsiteY410" fmla="*/ 191325 h 288398"/>
                  <a:gd name="connsiteX411" fmla="*/ 261331 w 296598"/>
                  <a:gd name="connsiteY411" fmla="*/ 193353 h 288398"/>
                  <a:gd name="connsiteX412" fmla="*/ 259568 w 296598"/>
                  <a:gd name="connsiteY412" fmla="*/ 194499 h 288398"/>
                  <a:gd name="connsiteX413" fmla="*/ 258157 w 296598"/>
                  <a:gd name="connsiteY413" fmla="*/ 193618 h 288398"/>
                  <a:gd name="connsiteX414" fmla="*/ 256394 w 296598"/>
                  <a:gd name="connsiteY414" fmla="*/ 194764 h 288398"/>
                  <a:gd name="connsiteX415" fmla="*/ 255776 w 296598"/>
                  <a:gd name="connsiteY415" fmla="*/ 198026 h 288398"/>
                  <a:gd name="connsiteX416" fmla="*/ 254630 w 296598"/>
                  <a:gd name="connsiteY416" fmla="*/ 198908 h 288398"/>
                  <a:gd name="connsiteX417" fmla="*/ 254630 w 296598"/>
                  <a:gd name="connsiteY417" fmla="*/ 198291 h 288398"/>
                  <a:gd name="connsiteX418" fmla="*/ 253220 w 296598"/>
                  <a:gd name="connsiteY418" fmla="*/ 198555 h 288398"/>
                  <a:gd name="connsiteX419" fmla="*/ 251985 w 296598"/>
                  <a:gd name="connsiteY419" fmla="*/ 198026 h 288398"/>
                  <a:gd name="connsiteX420" fmla="*/ 247048 w 296598"/>
                  <a:gd name="connsiteY420" fmla="*/ 200936 h 288398"/>
                  <a:gd name="connsiteX421" fmla="*/ 243874 w 296598"/>
                  <a:gd name="connsiteY421" fmla="*/ 200936 h 288398"/>
                  <a:gd name="connsiteX422" fmla="*/ 243257 w 296598"/>
                  <a:gd name="connsiteY422" fmla="*/ 202082 h 288398"/>
                  <a:gd name="connsiteX423" fmla="*/ 235674 w 296598"/>
                  <a:gd name="connsiteY423" fmla="*/ 200054 h 288398"/>
                  <a:gd name="connsiteX424" fmla="*/ 235674 w 296598"/>
                  <a:gd name="connsiteY424" fmla="*/ 200936 h 288398"/>
                  <a:gd name="connsiteX425" fmla="*/ 233382 w 296598"/>
                  <a:gd name="connsiteY425" fmla="*/ 201818 h 288398"/>
                  <a:gd name="connsiteX426" fmla="*/ 233029 w 296598"/>
                  <a:gd name="connsiteY426" fmla="*/ 204110 h 288398"/>
                  <a:gd name="connsiteX427" fmla="*/ 230472 w 296598"/>
                  <a:gd name="connsiteY427" fmla="*/ 203581 h 288398"/>
                  <a:gd name="connsiteX428" fmla="*/ 228092 w 296598"/>
                  <a:gd name="connsiteY428" fmla="*/ 204374 h 288398"/>
                  <a:gd name="connsiteX429" fmla="*/ 228973 w 296598"/>
                  <a:gd name="connsiteY429" fmla="*/ 205873 h 288398"/>
                  <a:gd name="connsiteX430" fmla="*/ 227474 w 296598"/>
                  <a:gd name="connsiteY430" fmla="*/ 207019 h 288398"/>
                  <a:gd name="connsiteX431" fmla="*/ 228973 w 296598"/>
                  <a:gd name="connsiteY431" fmla="*/ 209929 h 288398"/>
                  <a:gd name="connsiteX432" fmla="*/ 228973 w 296598"/>
                  <a:gd name="connsiteY432" fmla="*/ 212574 h 288398"/>
                  <a:gd name="connsiteX433" fmla="*/ 227827 w 296598"/>
                  <a:gd name="connsiteY433" fmla="*/ 214337 h 288398"/>
                  <a:gd name="connsiteX434" fmla="*/ 226945 w 296598"/>
                  <a:gd name="connsiteY434" fmla="*/ 214337 h 288398"/>
                  <a:gd name="connsiteX435" fmla="*/ 226328 w 296598"/>
                  <a:gd name="connsiteY435" fmla="*/ 215484 h 288398"/>
                  <a:gd name="connsiteX436" fmla="*/ 224565 w 296598"/>
                  <a:gd name="connsiteY436" fmla="*/ 215484 h 288398"/>
                  <a:gd name="connsiteX437" fmla="*/ 223419 w 296598"/>
                  <a:gd name="connsiteY437" fmla="*/ 214337 h 288398"/>
                  <a:gd name="connsiteX438" fmla="*/ 215836 w 296598"/>
                  <a:gd name="connsiteY438" fmla="*/ 205873 h 288398"/>
                  <a:gd name="connsiteX439" fmla="*/ 214073 w 296598"/>
                  <a:gd name="connsiteY439" fmla="*/ 205873 h 288398"/>
                  <a:gd name="connsiteX440" fmla="*/ 213191 w 296598"/>
                  <a:gd name="connsiteY440" fmla="*/ 207637 h 288398"/>
                  <a:gd name="connsiteX441" fmla="*/ 212045 w 296598"/>
                  <a:gd name="connsiteY441" fmla="*/ 208166 h 288398"/>
                  <a:gd name="connsiteX442" fmla="*/ 209753 w 296598"/>
                  <a:gd name="connsiteY442" fmla="*/ 206138 h 288398"/>
                  <a:gd name="connsiteX443" fmla="*/ 205961 w 296598"/>
                  <a:gd name="connsiteY443" fmla="*/ 206490 h 288398"/>
                  <a:gd name="connsiteX444" fmla="*/ 205080 w 296598"/>
                  <a:gd name="connsiteY444" fmla="*/ 205873 h 288398"/>
                  <a:gd name="connsiteX445" fmla="*/ 200671 w 296598"/>
                  <a:gd name="connsiteY445" fmla="*/ 207637 h 288398"/>
                  <a:gd name="connsiteX446" fmla="*/ 198643 w 296598"/>
                  <a:gd name="connsiteY446" fmla="*/ 202082 h 288398"/>
                  <a:gd name="connsiteX447" fmla="*/ 195734 w 296598"/>
                  <a:gd name="connsiteY447" fmla="*/ 200936 h 288398"/>
                  <a:gd name="connsiteX448" fmla="*/ 188416 w 296598"/>
                  <a:gd name="connsiteY448" fmla="*/ 202082 h 288398"/>
                  <a:gd name="connsiteX449" fmla="*/ 187005 w 296598"/>
                  <a:gd name="connsiteY449" fmla="*/ 198291 h 288398"/>
                  <a:gd name="connsiteX450" fmla="*/ 185506 w 296598"/>
                  <a:gd name="connsiteY450" fmla="*/ 197409 h 288398"/>
                  <a:gd name="connsiteX451" fmla="*/ 183743 w 296598"/>
                  <a:gd name="connsiteY451" fmla="*/ 197409 h 288398"/>
                  <a:gd name="connsiteX452" fmla="*/ 183743 w 296598"/>
                  <a:gd name="connsiteY452" fmla="*/ 199172 h 288398"/>
                  <a:gd name="connsiteX453" fmla="*/ 185506 w 296598"/>
                  <a:gd name="connsiteY453" fmla="*/ 200936 h 288398"/>
                  <a:gd name="connsiteX454" fmla="*/ 187005 w 296598"/>
                  <a:gd name="connsiteY454" fmla="*/ 204727 h 288398"/>
                  <a:gd name="connsiteX455" fmla="*/ 191061 w 296598"/>
                  <a:gd name="connsiteY455" fmla="*/ 209929 h 288398"/>
                  <a:gd name="connsiteX456" fmla="*/ 194235 w 296598"/>
                  <a:gd name="connsiteY456" fmla="*/ 211428 h 288398"/>
                  <a:gd name="connsiteX457" fmla="*/ 197145 w 296598"/>
                  <a:gd name="connsiteY457" fmla="*/ 214337 h 288398"/>
                  <a:gd name="connsiteX458" fmla="*/ 197145 w 296598"/>
                  <a:gd name="connsiteY458" fmla="*/ 216630 h 288398"/>
                  <a:gd name="connsiteX459" fmla="*/ 195734 w 296598"/>
                  <a:gd name="connsiteY459" fmla="*/ 219010 h 288398"/>
                  <a:gd name="connsiteX460" fmla="*/ 195734 w 296598"/>
                  <a:gd name="connsiteY460" fmla="*/ 226857 h 288398"/>
                  <a:gd name="connsiteX461" fmla="*/ 197145 w 296598"/>
                  <a:gd name="connsiteY461" fmla="*/ 227475 h 288398"/>
                  <a:gd name="connsiteX462" fmla="*/ 200671 w 296598"/>
                  <a:gd name="connsiteY462" fmla="*/ 236820 h 288398"/>
                  <a:gd name="connsiteX463" fmla="*/ 199172 w 296598"/>
                  <a:gd name="connsiteY463" fmla="*/ 241493 h 288398"/>
                  <a:gd name="connsiteX464" fmla="*/ 199525 w 296598"/>
                  <a:gd name="connsiteY464" fmla="*/ 242639 h 288398"/>
                  <a:gd name="connsiteX465" fmla="*/ 204462 w 296598"/>
                  <a:gd name="connsiteY465" fmla="*/ 244050 h 288398"/>
                  <a:gd name="connsiteX466" fmla="*/ 207636 w 296598"/>
                  <a:gd name="connsiteY466" fmla="*/ 243521 h 288398"/>
                  <a:gd name="connsiteX467" fmla="*/ 214073 w 296598"/>
                  <a:gd name="connsiteY467" fmla="*/ 244050 h 288398"/>
                  <a:gd name="connsiteX468" fmla="*/ 214954 w 296598"/>
                  <a:gd name="connsiteY468" fmla="*/ 244403 h 288398"/>
                  <a:gd name="connsiteX469" fmla="*/ 214073 w 296598"/>
                  <a:gd name="connsiteY469" fmla="*/ 245285 h 288398"/>
                  <a:gd name="connsiteX470" fmla="*/ 214954 w 296598"/>
                  <a:gd name="connsiteY470" fmla="*/ 247841 h 288398"/>
                  <a:gd name="connsiteX471" fmla="*/ 213544 w 296598"/>
                  <a:gd name="connsiteY471" fmla="*/ 249605 h 288398"/>
                  <a:gd name="connsiteX472" fmla="*/ 213544 w 296598"/>
                  <a:gd name="connsiteY472" fmla="*/ 250751 h 288398"/>
                  <a:gd name="connsiteX473" fmla="*/ 208871 w 296598"/>
                  <a:gd name="connsiteY473" fmla="*/ 251985 h 288398"/>
                  <a:gd name="connsiteX474" fmla="*/ 205080 w 296598"/>
                  <a:gd name="connsiteY474" fmla="*/ 255424 h 288398"/>
                  <a:gd name="connsiteX475" fmla="*/ 201553 w 296598"/>
                  <a:gd name="connsiteY475" fmla="*/ 255159 h 288398"/>
                  <a:gd name="connsiteX476" fmla="*/ 200054 w 296598"/>
                  <a:gd name="connsiteY476" fmla="*/ 255777 h 288398"/>
                  <a:gd name="connsiteX477" fmla="*/ 198908 w 296598"/>
                  <a:gd name="connsiteY477" fmla="*/ 257540 h 288398"/>
                  <a:gd name="connsiteX478" fmla="*/ 198643 w 296598"/>
                  <a:gd name="connsiteY478" fmla="*/ 262125 h 288398"/>
                  <a:gd name="connsiteX479" fmla="*/ 197762 w 296598"/>
                  <a:gd name="connsiteY479" fmla="*/ 264770 h 288398"/>
                  <a:gd name="connsiteX480" fmla="*/ 192207 w 296598"/>
                  <a:gd name="connsiteY480" fmla="*/ 270060 h 288398"/>
                  <a:gd name="connsiteX481" fmla="*/ 191678 w 296598"/>
                  <a:gd name="connsiteY481" fmla="*/ 269443 h 288398"/>
                  <a:gd name="connsiteX482" fmla="*/ 192207 w 296598"/>
                  <a:gd name="connsiteY482" fmla="*/ 267150 h 288398"/>
                  <a:gd name="connsiteX483" fmla="*/ 191678 w 296598"/>
                  <a:gd name="connsiteY483" fmla="*/ 266533 h 288398"/>
                  <a:gd name="connsiteX484" fmla="*/ 188768 w 296598"/>
                  <a:gd name="connsiteY484" fmla="*/ 268561 h 288398"/>
                  <a:gd name="connsiteX485" fmla="*/ 187270 w 296598"/>
                  <a:gd name="connsiteY485" fmla="*/ 271206 h 288398"/>
                  <a:gd name="connsiteX486" fmla="*/ 183743 w 296598"/>
                  <a:gd name="connsiteY486" fmla="*/ 273234 h 288398"/>
                  <a:gd name="connsiteX487" fmla="*/ 181715 w 296598"/>
                  <a:gd name="connsiteY487" fmla="*/ 272088 h 288398"/>
                  <a:gd name="connsiteX488" fmla="*/ 177924 w 296598"/>
                  <a:gd name="connsiteY488" fmla="*/ 275879 h 288398"/>
                  <a:gd name="connsiteX489" fmla="*/ 175279 w 296598"/>
                  <a:gd name="connsiteY489" fmla="*/ 275879 h 288398"/>
                  <a:gd name="connsiteX490" fmla="*/ 173868 w 296598"/>
                  <a:gd name="connsiteY490" fmla="*/ 281081 h 288398"/>
                  <a:gd name="connsiteX491" fmla="*/ 170606 w 296598"/>
                  <a:gd name="connsiteY491" fmla="*/ 281434 h 288398"/>
                  <a:gd name="connsiteX492" fmla="*/ 168313 w 296598"/>
                  <a:gd name="connsiteY492" fmla="*/ 286988 h 288398"/>
                  <a:gd name="connsiteX493" fmla="*/ 166815 w 296598"/>
                  <a:gd name="connsiteY493" fmla="*/ 288399 h 288398"/>
                  <a:gd name="connsiteX494" fmla="*/ 165404 w 296598"/>
                  <a:gd name="connsiteY494" fmla="*/ 287517 h 288398"/>
                  <a:gd name="connsiteX495" fmla="*/ 164787 w 296598"/>
                  <a:gd name="connsiteY495" fmla="*/ 286371 h 288398"/>
                  <a:gd name="connsiteX496" fmla="*/ 166815 w 296598"/>
                  <a:gd name="connsiteY496" fmla="*/ 283461 h 288398"/>
                  <a:gd name="connsiteX497" fmla="*/ 166815 w 296598"/>
                  <a:gd name="connsiteY497" fmla="*/ 281698 h 288398"/>
                  <a:gd name="connsiteX498" fmla="*/ 165139 w 296598"/>
                  <a:gd name="connsiteY498" fmla="*/ 279670 h 288398"/>
                  <a:gd name="connsiteX499" fmla="*/ 161877 w 296598"/>
                  <a:gd name="connsiteY499" fmla="*/ 279670 h 288398"/>
                  <a:gd name="connsiteX500" fmla="*/ 158968 w 296598"/>
                  <a:gd name="connsiteY500" fmla="*/ 281698 h 288398"/>
                  <a:gd name="connsiteX501" fmla="*/ 156675 w 296598"/>
                  <a:gd name="connsiteY501" fmla="*/ 284343 h 288398"/>
                  <a:gd name="connsiteX502" fmla="*/ 154295 w 296598"/>
                  <a:gd name="connsiteY502" fmla="*/ 284608 h 288398"/>
                  <a:gd name="connsiteX503" fmla="*/ 152884 w 296598"/>
                  <a:gd name="connsiteY503" fmla="*/ 286371 h 288398"/>
                  <a:gd name="connsiteX504" fmla="*/ 151650 w 296598"/>
                  <a:gd name="connsiteY504" fmla="*/ 285225 h 288398"/>
                  <a:gd name="connsiteX505" fmla="*/ 148740 w 296598"/>
                  <a:gd name="connsiteY505" fmla="*/ 285489 h 288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</a:cxnLst>
                <a:rect l="l" t="t" r="r" b="b"/>
                <a:pathLst>
                  <a:path w="296598" h="288398">
                    <a:moveTo>
                      <a:pt x="136220" y="272088"/>
                    </a:moveTo>
                    <a:lnTo>
                      <a:pt x="136220" y="272088"/>
                    </a:lnTo>
                    <a:lnTo>
                      <a:pt x="134192" y="264770"/>
                    </a:lnTo>
                    <a:lnTo>
                      <a:pt x="131283" y="255159"/>
                    </a:lnTo>
                    <a:lnTo>
                      <a:pt x="130665" y="251104"/>
                    </a:lnTo>
                    <a:lnTo>
                      <a:pt x="129255" y="247577"/>
                    </a:lnTo>
                    <a:lnTo>
                      <a:pt x="123347" y="237966"/>
                    </a:lnTo>
                    <a:lnTo>
                      <a:pt x="121055" y="235057"/>
                    </a:lnTo>
                    <a:lnTo>
                      <a:pt x="115765" y="235057"/>
                    </a:lnTo>
                    <a:lnTo>
                      <a:pt x="126257" y="223066"/>
                    </a:lnTo>
                    <a:lnTo>
                      <a:pt x="128373" y="218128"/>
                    </a:lnTo>
                    <a:lnTo>
                      <a:pt x="125728" y="213191"/>
                    </a:lnTo>
                    <a:lnTo>
                      <a:pt x="122201" y="211428"/>
                    </a:lnTo>
                    <a:lnTo>
                      <a:pt x="119909" y="206490"/>
                    </a:lnTo>
                    <a:lnTo>
                      <a:pt x="117528" y="198555"/>
                    </a:lnTo>
                    <a:lnTo>
                      <a:pt x="117528" y="194764"/>
                    </a:lnTo>
                    <a:lnTo>
                      <a:pt x="117264" y="193353"/>
                    </a:lnTo>
                    <a:lnTo>
                      <a:pt x="117528" y="186035"/>
                    </a:lnTo>
                    <a:lnTo>
                      <a:pt x="119027" y="178453"/>
                    </a:lnTo>
                    <a:lnTo>
                      <a:pt x="117793" y="174397"/>
                    </a:lnTo>
                    <a:lnTo>
                      <a:pt x="118410" y="170253"/>
                    </a:lnTo>
                    <a:lnTo>
                      <a:pt x="122201" y="163023"/>
                    </a:lnTo>
                    <a:lnTo>
                      <a:pt x="127491" y="154559"/>
                    </a:lnTo>
                    <a:lnTo>
                      <a:pt x="126874" y="149886"/>
                    </a:lnTo>
                    <a:lnTo>
                      <a:pt x="118675" y="146977"/>
                    </a:lnTo>
                    <a:lnTo>
                      <a:pt x="114354" y="149886"/>
                    </a:lnTo>
                    <a:lnTo>
                      <a:pt x="100953" y="151650"/>
                    </a:lnTo>
                    <a:lnTo>
                      <a:pt x="88962" y="152179"/>
                    </a:lnTo>
                    <a:lnTo>
                      <a:pt x="85788" y="151032"/>
                    </a:lnTo>
                    <a:lnTo>
                      <a:pt x="69124" y="130313"/>
                    </a:lnTo>
                    <a:lnTo>
                      <a:pt x="62423" y="129431"/>
                    </a:lnTo>
                    <a:lnTo>
                      <a:pt x="59249" y="128020"/>
                    </a:lnTo>
                    <a:lnTo>
                      <a:pt x="52460" y="128020"/>
                    </a:lnTo>
                    <a:lnTo>
                      <a:pt x="49022" y="130313"/>
                    </a:lnTo>
                    <a:lnTo>
                      <a:pt x="45759" y="130930"/>
                    </a:lnTo>
                    <a:lnTo>
                      <a:pt x="37912" y="129431"/>
                    </a:lnTo>
                    <a:lnTo>
                      <a:pt x="36766" y="129167"/>
                    </a:lnTo>
                    <a:lnTo>
                      <a:pt x="35003" y="129167"/>
                    </a:lnTo>
                    <a:lnTo>
                      <a:pt x="31476" y="130313"/>
                    </a:lnTo>
                    <a:lnTo>
                      <a:pt x="25040" y="125111"/>
                    </a:lnTo>
                    <a:lnTo>
                      <a:pt x="19221" y="119821"/>
                    </a:lnTo>
                    <a:lnTo>
                      <a:pt x="18956" y="107301"/>
                    </a:lnTo>
                    <a:lnTo>
                      <a:pt x="19838" y="103774"/>
                    </a:lnTo>
                    <a:lnTo>
                      <a:pt x="20455" y="99101"/>
                    </a:lnTo>
                    <a:lnTo>
                      <a:pt x="20455" y="95574"/>
                    </a:lnTo>
                    <a:lnTo>
                      <a:pt x="12255" y="77500"/>
                    </a:lnTo>
                    <a:lnTo>
                      <a:pt x="12255" y="76354"/>
                    </a:lnTo>
                    <a:lnTo>
                      <a:pt x="8729" y="76354"/>
                    </a:lnTo>
                    <a:lnTo>
                      <a:pt x="8200" y="72563"/>
                    </a:lnTo>
                    <a:lnTo>
                      <a:pt x="0" y="75208"/>
                    </a:lnTo>
                    <a:lnTo>
                      <a:pt x="9346" y="55105"/>
                    </a:lnTo>
                    <a:lnTo>
                      <a:pt x="11991" y="43732"/>
                    </a:lnTo>
                    <a:lnTo>
                      <a:pt x="20102" y="31212"/>
                    </a:lnTo>
                    <a:lnTo>
                      <a:pt x="26803" y="26539"/>
                    </a:lnTo>
                    <a:lnTo>
                      <a:pt x="38530" y="12784"/>
                    </a:lnTo>
                    <a:lnTo>
                      <a:pt x="39676" y="13049"/>
                    </a:lnTo>
                    <a:lnTo>
                      <a:pt x="43467" y="11638"/>
                    </a:lnTo>
                    <a:lnTo>
                      <a:pt x="45495" y="10492"/>
                    </a:lnTo>
                    <a:lnTo>
                      <a:pt x="48404" y="9610"/>
                    </a:lnTo>
                    <a:lnTo>
                      <a:pt x="48140" y="10492"/>
                    </a:lnTo>
                    <a:lnTo>
                      <a:pt x="47258" y="11286"/>
                    </a:lnTo>
                    <a:lnTo>
                      <a:pt x="46112" y="13049"/>
                    </a:lnTo>
                    <a:lnTo>
                      <a:pt x="43731" y="14812"/>
                    </a:lnTo>
                    <a:lnTo>
                      <a:pt x="41968" y="15165"/>
                    </a:lnTo>
                    <a:lnTo>
                      <a:pt x="38530" y="16840"/>
                    </a:lnTo>
                    <a:lnTo>
                      <a:pt x="35620" y="18604"/>
                    </a:lnTo>
                    <a:lnTo>
                      <a:pt x="34121" y="19750"/>
                    </a:lnTo>
                    <a:lnTo>
                      <a:pt x="34121" y="21249"/>
                    </a:lnTo>
                    <a:lnTo>
                      <a:pt x="35267" y="24775"/>
                    </a:lnTo>
                    <a:lnTo>
                      <a:pt x="37031" y="27685"/>
                    </a:lnTo>
                    <a:lnTo>
                      <a:pt x="38177" y="28214"/>
                    </a:lnTo>
                    <a:lnTo>
                      <a:pt x="39676" y="29448"/>
                    </a:lnTo>
                    <a:lnTo>
                      <a:pt x="39676" y="30330"/>
                    </a:lnTo>
                    <a:lnTo>
                      <a:pt x="37383" y="29977"/>
                    </a:lnTo>
                    <a:lnTo>
                      <a:pt x="37912" y="32358"/>
                    </a:lnTo>
                    <a:lnTo>
                      <a:pt x="37912" y="34121"/>
                    </a:lnTo>
                    <a:lnTo>
                      <a:pt x="39411" y="35532"/>
                    </a:lnTo>
                    <a:lnTo>
                      <a:pt x="41086" y="38441"/>
                    </a:lnTo>
                    <a:lnTo>
                      <a:pt x="40293" y="43732"/>
                    </a:lnTo>
                    <a:lnTo>
                      <a:pt x="39411" y="45142"/>
                    </a:lnTo>
                    <a:lnTo>
                      <a:pt x="37383" y="45759"/>
                    </a:lnTo>
                    <a:lnTo>
                      <a:pt x="35003" y="49551"/>
                    </a:lnTo>
                    <a:lnTo>
                      <a:pt x="32093" y="52196"/>
                    </a:lnTo>
                    <a:lnTo>
                      <a:pt x="28037" y="56516"/>
                    </a:lnTo>
                    <a:lnTo>
                      <a:pt x="28037" y="59778"/>
                    </a:lnTo>
                    <a:lnTo>
                      <a:pt x="28037" y="62423"/>
                    </a:lnTo>
                    <a:lnTo>
                      <a:pt x="29184" y="64980"/>
                    </a:lnTo>
                    <a:lnTo>
                      <a:pt x="30947" y="64980"/>
                    </a:lnTo>
                    <a:lnTo>
                      <a:pt x="30947" y="65597"/>
                    </a:lnTo>
                    <a:lnTo>
                      <a:pt x="30065" y="67890"/>
                    </a:lnTo>
                    <a:lnTo>
                      <a:pt x="30947" y="68772"/>
                    </a:lnTo>
                    <a:lnTo>
                      <a:pt x="31829" y="67890"/>
                    </a:lnTo>
                    <a:lnTo>
                      <a:pt x="32093" y="67890"/>
                    </a:lnTo>
                    <a:lnTo>
                      <a:pt x="32358" y="69388"/>
                    </a:lnTo>
                    <a:lnTo>
                      <a:pt x="32710" y="69653"/>
                    </a:lnTo>
                    <a:lnTo>
                      <a:pt x="35620" y="71681"/>
                    </a:lnTo>
                    <a:lnTo>
                      <a:pt x="36149" y="72915"/>
                    </a:lnTo>
                    <a:lnTo>
                      <a:pt x="34121" y="73444"/>
                    </a:lnTo>
                    <a:lnTo>
                      <a:pt x="34121" y="74590"/>
                    </a:lnTo>
                    <a:lnTo>
                      <a:pt x="34738" y="73709"/>
                    </a:lnTo>
                    <a:lnTo>
                      <a:pt x="35884" y="74061"/>
                    </a:lnTo>
                    <a:lnTo>
                      <a:pt x="35267" y="74943"/>
                    </a:lnTo>
                    <a:lnTo>
                      <a:pt x="35003" y="76971"/>
                    </a:lnTo>
                    <a:lnTo>
                      <a:pt x="36502" y="78382"/>
                    </a:lnTo>
                    <a:lnTo>
                      <a:pt x="38177" y="77500"/>
                    </a:lnTo>
                    <a:lnTo>
                      <a:pt x="39676" y="77236"/>
                    </a:lnTo>
                    <a:lnTo>
                      <a:pt x="42585" y="78382"/>
                    </a:lnTo>
                    <a:lnTo>
                      <a:pt x="44613" y="78734"/>
                    </a:lnTo>
                    <a:lnTo>
                      <a:pt x="45495" y="76971"/>
                    </a:lnTo>
                    <a:lnTo>
                      <a:pt x="46377" y="76707"/>
                    </a:lnTo>
                    <a:lnTo>
                      <a:pt x="49551" y="72915"/>
                    </a:lnTo>
                    <a:lnTo>
                      <a:pt x="50785" y="69653"/>
                    </a:lnTo>
                    <a:lnTo>
                      <a:pt x="50432" y="66744"/>
                    </a:lnTo>
                    <a:lnTo>
                      <a:pt x="51931" y="64451"/>
                    </a:lnTo>
                    <a:lnTo>
                      <a:pt x="52196" y="62071"/>
                    </a:lnTo>
                    <a:lnTo>
                      <a:pt x="50785" y="60307"/>
                    </a:lnTo>
                    <a:lnTo>
                      <a:pt x="51314" y="58896"/>
                    </a:lnTo>
                    <a:lnTo>
                      <a:pt x="48404" y="55987"/>
                    </a:lnTo>
                    <a:lnTo>
                      <a:pt x="48140" y="52725"/>
                    </a:lnTo>
                    <a:lnTo>
                      <a:pt x="47523" y="50961"/>
                    </a:lnTo>
                    <a:lnTo>
                      <a:pt x="46994" y="48404"/>
                    </a:lnTo>
                    <a:lnTo>
                      <a:pt x="44349" y="45759"/>
                    </a:lnTo>
                    <a:lnTo>
                      <a:pt x="42850" y="44878"/>
                    </a:lnTo>
                    <a:lnTo>
                      <a:pt x="42850" y="42585"/>
                    </a:lnTo>
                    <a:lnTo>
                      <a:pt x="41439" y="40822"/>
                    </a:lnTo>
                    <a:lnTo>
                      <a:pt x="41968" y="39323"/>
                    </a:lnTo>
                    <a:lnTo>
                      <a:pt x="42321" y="37031"/>
                    </a:lnTo>
                    <a:lnTo>
                      <a:pt x="41439" y="35003"/>
                    </a:lnTo>
                    <a:lnTo>
                      <a:pt x="42321" y="35532"/>
                    </a:lnTo>
                    <a:lnTo>
                      <a:pt x="43467" y="35003"/>
                    </a:lnTo>
                    <a:lnTo>
                      <a:pt x="44349" y="33240"/>
                    </a:lnTo>
                    <a:lnTo>
                      <a:pt x="44613" y="32005"/>
                    </a:lnTo>
                    <a:lnTo>
                      <a:pt x="43467" y="30594"/>
                    </a:lnTo>
                    <a:lnTo>
                      <a:pt x="44084" y="29448"/>
                    </a:lnTo>
                    <a:lnTo>
                      <a:pt x="45495" y="28567"/>
                    </a:lnTo>
                    <a:lnTo>
                      <a:pt x="47523" y="28214"/>
                    </a:lnTo>
                    <a:lnTo>
                      <a:pt x="50785" y="28214"/>
                    </a:lnTo>
                    <a:lnTo>
                      <a:pt x="53695" y="27068"/>
                    </a:lnTo>
                    <a:lnTo>
                      <a:pt x="57750" y="25040"/>
                    </a:lnTo>
                    <a:lnTo>
                      <a:pt x="60043" y="25040"/>
                    </a:lnTo>
                    <a:lnTo>
                      <a:pt x="61541" y="23541"/>
                    </a:lnTo>
                    <a:lnTo>
                      <a:pt x="65950" y="22747"/>
                    </a:lnTo>
                    <a:lnTo>
                      <a:pt x="67713" y="22747"/>
                    </a:lnTo>
                    <a:lnTo>
                      <a:pt x="70623" y="20631"/>
                    </a:lnTo>
                    <a:lnTo>
                      <a:pt x="74061" y="19221"/>
                    </a:lnTo>
                    <a:lnTo>
                      <a:pt x="74943" y="20102"/>
                    </a:lnTo>
                    <a:lnTo>
                      <a:pt x="76089" y="19221"/>
                    </a:lnTo>
                    <a:lnTo>
                      <a:pt x="76706" y="18339"/>
                    </a:lnTo>
                    <a:lnTo>
                      <a:pt x="74679" y="17193"/>
                    </a:lnTo>
                    <a:lnTo>
                      <a:pt x="75560" y="16840"/>
                    </a:lnTo>
                    <a:lnTo>
                      <a:pt x="76442" y="16576"/>
                    </a:lnTo>
                    <a:lnTo>
                      <a:pt x="77324" y="17193"/>
                    </a:lnTo>
                    <a:lnTo>
                      <a:pt x="78470" y="18604"/>
                    </a:lnTo>
                    <a:lnTo>
                      <a:pt x="80498" y="19221"/>
                    </a:lnTo>
                    <a:lnTo>
                      <a:pt x="81115" y="19221"/>
                    </a:lnTo>
                    <a:lnTo>
                      <a:pt x="81996" y="18339"/>
                    </a:lnTo>
                    <a:lnTo>
                      <a:pt x="81379" y="13049"/>
                    </a:lnTo>
                    <a:lnTo>
                      <a:pt x="80233" y="13402"/>
                    </a:lnTo>
                    <a:lnTo>
                      <a:pt x="77588" y="13402"/>
                    </a:lnTo>
                    <a:lnTo>
                      <a:pt x="74679" y="13931"/>
                    </a:lnTo>
                    <a:lnTo>
                      <a:pt x="73180" y="15165"/>
                    </a:lnTo>
                    <a:lnTo>
                      <a:pt x="72298" y="15165"/>
                    </a:lnTo>
                    <a:lnTo>
                      <a:pt x="71505" y="14283"/>
                    </a:lnTo>
                    <a:lnTo>
                      <a:pt x="72034" y="11286"/>
                    </a:lnTo>
                    <a:lnTo>
                      <a:pt x="72915" y="11021"/>
                    </a:lnTo>
                    <a:lnTo>
                      <a:pt x="73532" y="9610"/>
                    </a:lnTo>
                    <a:lnTo>
                      <a:pt x="74061" y="7582"/>
                    </a:lnTo>
                    <a:lnTo>
                      <a:pt x="73532" y="5467"/>
                    </a:lnTo>
                    <a:lnTo>
                      <a:pt x="72651" y="4056"/>
                    </a:lnTo>
                    <a:lnTo>
                      <a:pt x="73532" y="2292"/>
                    </a:lnTo>
                    <a:lnTo>
                      <a:pt x="74414" y="264"/>
                    </a:lnTo>
                    <a:lnTo>
                      <a:pt x="76089" y="0"/>
                    </a:lnTo>
                    <a:lnTo>
                      <a:pt x="76706" y="529"/>
                    </a:lnTo>
                    <a:lnTo>
                      <a:pt x="77853" y="0"/>
                    </a:lnTo>
                    <a:lnTo>
                      <a:pt x="80233" y="1411"/>
                    </a:lnTo>
                    <a:lnTo>
                      <a:pt x="81115" y="3703"/>
                    </a:lnTo>
                    <a:lnTo>
                      <a:pt x="81644" y="5467"/>
                    </a:lnTo>
                    <a:lnTo>
                      <a:pt x="83143" y="6348"/>
                    </a:lnTo>
                    <a:lnTo>
                      <a:pt x="83407" y="8729"/>
                    </a:lnTo>
                    <a:lnTo>
                      <a:pt x="83143" y="11638"/>
                    </a:lnTo>
                    <a:lnTo>
                      <a:pt x="82526" y="13666"/>
                    </a:lnTo>
                    <a:lnTo>
                      <a:pt x="84289" y="15958"/>
                    </a:lnTo>
                    <a:lnTo>
                      <a:pt x="84289" y="18604"/>
                    </a:lnTo>
                    <a:lnTo>
                      <a:pt x="86317" y="18956"/>
                    </a:lnTo>
                    <a:lnTo>
                      <a:pt x="89226" y="19221"/>
                    </a:lnTo>
                    <a:lnTo>
                      <a:pt x="90725" y="18339"/>
                    </a:lnTo>
                    <a:lnTo>
                      <a:pt x="92489" y="18604"/>
                    </a:lnTo>
                    <a:lnTo>
                      <a:pt x="95134" y="18075"/>
                    </a:lnTo>
                    <a:lnTo>
                      <a:pt x="97691" y="18956"/>
                    </a:lnTo>
                    <a:lnTo>
                      <a:pt x="101482" y="20631"/>
                    </a:lnTo>
                    <a:lnTo>
                      <a:pt x="104391" y="23541"/>
                    </a:lnTo>
                    <a:lnTo>
                      <a:pt x="108800" y="25304"/>
                    </a:lnTo>
                    <a:lnTo>
                      <a:pt x="111180" y="25922"/>
                    </a:lnTo>
                    <a:lnTo>
                      <a:pt x="112326" y="25922"/>
                    </a:lnTo>
                    <a:lnTo>
                      <a:pt x="113473" y="25922"/>
                    </a:lnTo>
                    <a:lnTo>
                      <a:pt x="114619" y="28831"/>
                    </a:lnTo>
                    <a:lnTo>
                      <a:pt x="114354" y="32005"/>
                    </a:lnTo>
                    <a:lnTo>
                      <a:pt x="114619" y="33240"/>
                    </a:lnTo>
                    <a:lnTo>
                      <a:pt x="112591" y="35796"/>
                    </a:lnTo>
                    <a:lnTo>
                      <a:pt x="113737" y="39059"/>
                    </a:lnTo>
                    <a:lnTo>
                      <a:pt x="120173" y="42585"/>
                    </a:lnTo>
                    <a:lnTo>
                      <a:pt x="122818" y="41704"/>
                    </a:lnTo>
                    <a:lnTo>
                      <a:pt x="122466" y="43732"/>
                    </a:lnTo>
                    <a:lnTo>
                      <a:pt x="125375" y="41704"/>
                    </a:lnTo>
                    <a:lnTo>
                      <a:pt x="126610" y="42850"/>
                    </a:lnTo>
                    <a:lnTo>
                      <a:pt x="129255" y="43379"/>
                    </a:lnTo>
                    <a:lnTo>
                      <a:pt x="133311" y="42585"/>
                    </a:lnTo>
                    <a:lnTo>
                      <a:pt x="137366" y="41351"/>
                    </a:lnTo>
                    <a:lnTo>
                      <a:pt x="138248" y="39588"/>
                    </a:lnTo>
                    <a:lnTo>
                      <a:pt x="145566" y="39323"/>
                    </a:lnTo>
                    <a:lnTo>
                      <a:pt x="153148" y="39588"/>
                    </a:lnTo>
                    <a:lnTo>
                      <a:pt x="156940" y="39323"/>
                    </a:lnTo>
                    <a:lnTo>
                      <a:pt x="160114" y="40469"/>
                    </a:lnTo>
                    <a:lnTo>
                      <a:pt x="162142" y="40469"/>
                    </a:lnTo>
                    <a:lnTo>
                      <a:pt x="162759" y="41351"/>
                    </a:lnTo>
                    <a:lnTo>
                      <a:pt x="162142" y="42585"/>
                    </a:lnTo>
                    <a:lnTo>
                      <a:pt x="160731" y="42850"/>
                    </a:lnTo>
                    <a:lnTo>
                      <a:pt x="160378" y="43996"/>
                    </a:lnTo>
                    <a:lnTo>
                      <a:pt x="161260" y="45495"/>
                    </a:lnTo>
                    <a:lnTo>
                      <a:pt x="163023" y="46641"/>
                    </a:lnTo>
                    <a:lnTo>
                      <a:pt x="165404" y="47170"/>
                    </a:lnTo>
                    <a:lnTo>
                      <a:pt x="164522" y="48052"/>
                    </a:lnTo>
                    <a:lnTo>
                      <a:pt x="165668" y="48934"/>
                    </a:lnTo>
                    <a:lnTo>
                      <a:pt x="165933" y="48052"/>
                    </a:lnTo>
                    <a:lnTo>
                      <a:pt x="168578" y="48404"/>
                    </a:lnTo>
                    <a:lnTo>
                      <a:pt x="172369" y="48934"/>
                    </a:lnTo>
                    <a:lnTo>
                      <a:pt x="175631" y="51579"/>
                    </a:lnTo>
                    <a:lnTo>
                      <a:pt x="178541" y="53871"/>
                    </a:lnTo>
                    <a:lnTo>
                      <a:pt x="182861" y="54488"/>
                    </a:lnTo>
                    <a:lnTo>
                      <a:pt x="187799" y="54488"/>
                    </a:lnTo>
                    <a:lnTo>
                      <a:pt x="190444" y="52725"/>
                    </a:lnTo>
                    <a:lnTo>
                      <a:pt x="191061" y="50697"/>
                    </a:lnTo>
                    <a:lnTo>
                      <a:pt x="192824" y="49286"/>
                    </a:lnTo>
                    <a:lnTo>
                      <a:pt x="193970" y="49286"/>
                    </a:lnTo>
                    <a:lnTo>
                      <a:pt x="197145" y="49286"/>
                    </a:lnTo>
                    <a:lnTo>
                      <a:pt x="198026" y="48052"/>
                    </a:lnTo>
                    <a:lnTo>
                      <a:pt x="196351" y="46906"/>
                    </a:lnTo>
                    <a:lnTo>
                      <a:pt x="196880" y="45759"/>
                    </a:lnTo>
                    <a:lnTo>
                      <a:pt x="198026" y="45759"/>
                    </a:lnTo>
                    <a:lnTo>
                      <a:pt x="198908" y="46906"/>
                    </a:lnTo>
                    <a:lnTo>
                      <a:pt x="201288" y="46377"/>
                    </a:lnTo>
                    <a:lnTo>
                      <a:pt x="201817" y="44878"/>
                    </a:lnTo>
                    <a:lnTo>
                      <a:pt x="203316" y="43379"/>
                    </a:lnTo>
                    <a:lnTo>
                      <a:pt x="204462" y="42850"/>
                    </a:lnTo>
                    <a:lnTo>
                      <a:pt x="208518" y="43732"/>
                    </a:lnTo>
                    <a:lnTo>
                      <a:pt x="213191" y="43732"/>
                    </a:lnTo>
                    <a:lnTo>
                      <a:pt x="214425" y="42850"/>
                    </a:lnTo>
                    <a:lnTo>
                      <a:pt x="212927" y="41704"/>
                    </a:lnTo>
                    <a:lnTo>
                      <a:pt x="210282" y="41351"/>
                    </a:lnTo>
                    <a:lnTo>
                      <a:pt x="205344" y="41704"/>
                    </a:lnTo>
                    <a:lnTo>
                      <a:pt x="203581" y="40822"/>
                    </a:lnTo>
                    <a:lnTo>
                      <a:pt x="200936" y="40822"/>
                    </a:lnTo>
                    <a:lnTo>
                      <a:pt x="200671" y="39940"/>
                    </a:lnTo>
                    <a:lnTo>
                      <a:pt x="201288" y="39323"/>
                    </a:lnTo>
                    <a:lnTo>
                      <a:pt x="202082" y="39588"/>
                    </a:lnTo>
                    <a:lnTo>
                      <a:pt x="204462" y="38441"/>
                    </a:lnTo>
                    <a:lnTo>
                      <a:pt x="205961" y="39323"/>
                    </a:lnTo>
                    <a:lnTo>
                      <a:pt x="208254" y="38794"/>
                    </a:lnTo>
                    <a:lnTo>
                      <a:pt x="210634" y="39323"/>
                    </a:lnTo>
                    <a:lnTo>
                      <a:pt x="212045" y="39059"/>
                    </a:lnTo>
                    <a:lnTo>
                      <a:pt x="212309" y="38441"/>
                    </a:lnTo>
                    <a:lnTo>
                      <a:pt x="213544" y="37560"/>
                    </a:lnTo>
                    <a:lnTo>
                      <a:pt x="215836" y="36678"/>
                    </a:lnTo>
                    <a:lnTo>
                      <a:pt x="218746" y="37560"/>
                    </a:lnTo>
                    <a:lnTo>
                      <a:pt x="220774" y="37912"/>
                    </a:lnTo>
                    <a:lnTo>
                      <a:pt x="223154" y="38177"/>
                    </a:lnTo>
                    <a:lnTo>
                      <a:pt x="225446" y="37031"/>
                    </a:lnTo>
                    <a:lnTo>
                      <a:pt x="227474" y="36149"/>
                    </a:lnTo>
                    <a:lnTo>
                      <a:pt x="231001" y="36678"/>
                    </a:lnTo>
                    <a:lnTo>
                      <a:pt x="231618" y="37912"/>
                    </a:lnTo>
                    <a:lnTo>
                      <a:pt x="232147" y="37031"/>
                    </a:lnTo>
                    <a:lnTo>
                      <a:pt x="234528" y="36414"/>
                    </a:lnTo>
                    <a:lnTo>
                      <a:pt x="235674" y="35796"/>
                    </a:lnTo>
                    <a:lnTo>
                      <a:pt x="240082" y="35532"/>
                    </a:lnTo>
                    <a:lnTo>
                      <a:pt x="242639" y="36149"/>
                    </a:lnTo>
                    <a:lnTo>
                      <a:pt x="246166" y="37295"/>
                    </a:lnTo>
                    <a:lnTo>
                      <a:pt x="251456" y="37031"/>
                    </a:lnTo>
                    <a:lnTo>
                      <a:pt x="253220" y="36149"/>
                    </a:lnTo>
                    <a:lnTo>
                      <a:pt x="254366" y="36149"/>
                    </a:lnTo>
                    <a:lnTo>
                      <a:pt x="254630" y="37560"/>
                    </a:lnTo>
                    <a:lnTo>
                      <a:pt x="253220" y="38441"/>
                    </a:lnTo>
                    <a:lnTo>
                      <a:pt x="251721" y="39323"/>
                    </a:lnTo>
                    <a:lnTo>
                      <a:pt x="249693" y="41086"/>
                    </a:lnTo>
                    <a:lnTo>
                      <a:pt x="246783" y="41086"/>
                    </a:lnTo>
                    <a:lnTo>
                      <a:pt x="242375" y="39940"/>
                    </a:lnTo>
                    <a:lnTo>
                      <a:pt x="239730" y="39940"/>
                    </a:lnTo>
                    <a:lnTo>
                      <a:pt x="235939" y="40469"/>
                    </a:lnTo>
                    <a:lnTo>
                      <a:pt x="236556" y="43379"/>
                    </a:lnTo>
                    <a:lnTo>
                      <a:pt x="233911" y="43114"/>
                    </a:lnTo>
                    <a:lnTo>
                      <a:pt x="233911" y="42233"/>
                    </a:lnTo>
                    <a:lnTo>
                      <a:pt x="231883" y="41968"/>
                    </a:lnTo>
                    <a:lnTo>
                      <a:pt x="230737" y="41704"/>
                    </a:lnTo>
                    <a:lnTo>
                      <a:pt x="230737" y="41968"/>
                    </a:lnTo>
                    <a:lnTo>
                      <a:pt x="229855" y="42585"/>
                    </a:lnTo>
                    <a:lnTo>
                      <a:pt x="230119" y="43732"/>
                    </a:lnTo>
                    <a:lnTo>
                      <a:pt x="232500" y="45142"/>
                    </a:lnTo>
                    <a:lnTo>
                      <a:pt x="230119" y="46377"/>
                    </a:lnTo>
                    <a:lnTo>
                      <a:pt x="229502" y="47523"/>
                    </a:lnTo>
                    <a:lnTo>
                      <a:pt x="230119" y="48052"/>
                    </a:lnTo>
                    <a:lnTo>
                      <a:pt x="231266" y="47170"/>
                    </a:lnTo>
                    <a:lnTo>
                      <a:pt x="231266" y="45759"/>
                    </a:lnTo>
                    <a:lnTo>
                      <a:pt x="233911" y="45495"/>
                    </a:lnTo>
                    <a:lnTo>
                      <a:pt x="234792" y="45759"/>
                    </a:lnTo>
                    <a:lnTo>
                      <a:pt x="235410" y="47170"/>
                    </a:lnTo>
                    <a:lnTo>
                      <a:pt x="235057" y="48669"/>
                    </a:lnTo>
                    <a:lnTo>
                      <a:pt x="233911" y="51314"/>
                    </a:lnTo>
                    <a:lnTo>
                      <a:pt x="234528" y="53342"/>
                    </a:lnTo>
                    <a:lnTo>
                      <a:pt x="232147" y="54488"/>
                    </a:lnTo>
                    <a:lnTo>
                      <a:pt x="228973" y="52460"/>
                    </a:lnTo>
                    <a:lnTo>
                      <a:pt x="227827" y="52725"/>
                    </a:lnTo>
                    <a:lnTo>
                      <a:pt x="227474" y="54224"/>
                    </a:lnTo>
                    <a:lnTo>
                      <a:pt x="229855" y="55105"/>
                    </a:lnTo>
                    <a:lnTo>
                      <a:pt x="230119" y="53871"/>
                    </a:lnTo>
                    <a:lnTo>
                      <a:pt x="231266" y="55634"/>
                    </a:lnTo>
                    <a:lnTo>
                      <a:pt x="232500" y="55634"/>
                    </a:lnTo>
                    <a:lnTo>
                      <a:pt x="234263" y="55370"/>
                    </a:lnTo>
                    <a:lnTo>
                      <a:pt x="234792" y="53871"/>
                    </a:lnTo>
                    <a:lnTo>
                      <a:pt x="236291" y="53077"/>
                    </a:lnTo>
                    <a:lnTo>
                      <a:pt x="237173" y="49551"/>
                    </a:lnTo>
                    <a:lnTo>
                      <a:pt x="239465" y="50697"/>
                    </a:lnTo>
                    <a:lnTo>
                      <a:pt x="240347" y="52725"/>
                    </a:lnTo>
                    <a:lnTo>
                      <a:pt x="240347" y="56869"/>
                    </a:lnTo>
                    <a:lnTo>
                      <a:pt x="241493" y="60924"/>
                    </a:lnTo>
                    <a:lnTo>
                      <a:pt x="242992" y="62423"/>
                    </a:lnTo>
                    <a:lnTo>
                      <a:pt x="243874" y="61806"/>
                    </a:lnTo>
                    <a:lnTo>
                      <a:pt x="243874" y="56251"/>
                    </a:lnTo>
                    <a:lnTo>
                      <a:pt x="244755" y="57133"/>
                    </a:lnTo>
                    <a:lnTo>
                      <a:pt x="246166" y="59425"/>
                    </a:lnTo>
                    <a:lnTo>
                      <a:pt x="246166" y="62071"/>
                    </a:lnTo>
                    <a:lnTo>
                      <a:pt x="246783" y="62423"/>
                    </a:lnTo>
                    <a:lnTo>
                      <a:pt x="248194" y="62071"/>
                    </a:lnTo>
                    <a:lnTo>
                      <a:pt x="249340" y="60660"/>
                    </a:lnTo>
                    <a:lnTo>
                      <a:pt x="249957" y="58544"/>
                    </a:lnTo>
                    <a:lnTo>
                      <a:pt x="248194" y="58279"/>
                    </a:lnTo>
                    <a:lnTo>
                      <a:pt x="245284" y="56251"/>
                    </a:lnTo>
                    <a:lnTo>
                      <a:pt x="246431" y="55634"/>
                    </a:lnTo>
                    <a:lnTo>
                      <a:pt x="248547" y="56516"/>
                    </a:lnTo>
                    <a:lnTo>
                      <a:pt x="250222" y="56251"/>
                    </a:lnTo>
                    <a:lnTo>
                      <a:pt x="252602" y="58896"/>
                    </a:lnTo>
                    <a:lnTo>
                      <a:pt x="252602" y="62423"/>
                    </a:lnTo>
                    <a:lnTo>
                      <a:pt x="253484" y="63569"/>
                    </a:lnTo>
                    <a:lnTo>
                      <a:pt x="254630" y="62952"/>
                    </a:lnTo>
                    <a:lnTo>
                      <a:pt x="255247" y="61189"/>
                    </a:lnTo>
                    <a:lnTo>
                      <a:pt x="255776" y="62952"/>
                    </a:lnTo>
                    <a:lnTo>
                      <a:pt x="257275" y="62423"/>
                    </a:lnTo>
                    <a:lnTo>
                      <a:pt x="257540" y="60924"/>
                    </a:lnTo>
                    <a:lnTo>
                      <a:pt x="258686" y="60307"/>
                    </a:lnTo>
                    <a:lnTo>
                      <a:pt x="257804" y="58015"/>
                    </a:lnTo>
                    <a:lnTo>
                      <a:pt x="258686" y="58015"/>
                    </a:lnTo>
                    <a:lnTo>
                      <a:pt x="259303" y="59161"/>
                    </a:lnTo>
                    <a:lnTo>
                      <a:pt x="261331" y="59778"/>
                    </a:lnTo>
                    <a:lnTo>
                      <a:pt x="262213" y="61542"/>
                    </a:lnTo>
                    <a:lnTo>
                      <a:pt x="266886" y="65333"/>
                    </a:lnTo>
                    <a:lnTo>
                      <a:pt x="269178" y="66479"/>
                    </a:lnTo>
                    <a:lnTo>
                      <a:pt x="272705" y="66744"/>
                    </a:lnTo>
                    <a:lnTo>
                      <a:pt x="272088" y="67890"/>
                    </a:lnTo>
                    <a:lnTo>
                      <a:pt x="273322" y="69124"/>
                    </a:lnTo>
                    <a:lnTo>
                      <a:pt x="274468" y="70799"/>
                    </a:lnTo>
                    <a:lnTo>
                      <a:pt x="274733" y="73709"/>
                    </a:lnTo>
                    <a:lnTo>
                      <a:pt x="274468" y="74061"/>
                    </a:lnTo>
                    <a:lnTo>
                      <a:pt x="275614" y="76971"/>
                    </a:lnTo>
                    <a:lnTo>
                      <a:pt x="276232" y="78382"/>
                    </a:lnTo>
                    <a:lnTo>
                      <a:pt x="275085" y="79263"/>
                    </a:lnTo>
                    <a:lnTo>
                      <a:pt x="273586" y="81644"/>
                    </a:lnTo>
                    <a:lnTo>
                      <a:pt x="272969" y="81644"/>
                    </a:lnTo>
                    <a:lnTo>
                      <a:pt x="270412" y="81291"/>
                    </a:lnTo>
                    <a:lnTo>
                      <a:pt x="270060" y="83407"/>
                    </a:lnTo>
                    <a:lnTo>
                      <a:pt x="270412" y="86846"/>
                    </a:lnTo>
                    <a:lnTo>
                      <a:pt x="263094" y="91783"/>
                    </a:lnTo>
                    <a:lnTo>
                      <a:pt x="266621" y="90637"/>
                    </a:lnTo>
                    <a:lnTo>
                      <a:pt x="270060" y="89491"/>
                    </a:lnTo>
                    <a:lnTo>
                      <a:pt x="272969" y="90108"/>
                    </a:lnTo>
                    <a:lnTo>
                      <a:pt x="275614" y="91783"/>
                    </a:lnTo>
                    <a:lnTo>
                      <a:pt x="278259" y="92401"/>
                    </a:lnTo>
                    <a:lnTo>
                      <a:pt x="280552" y="91519"/>
                    </a:lnTo>
                    <a:lnTo>
                      <a:pt x="281169" y="88962"/>
                    </a:lnTo>
                    <a:lnTo>
                      <a:pt x="282668" y="89491"/>
                    </a:lnTo>
                    <a:lnTo>
                      <a:pt x="286459" y="89755"/>
                    </a:lnTo>
                    <a:lnTo>
                      <a:pt x="288222" y="89755"/>
                    </a:lnTo>
                    <a:lnTo>
                      <a:pt x="289016" y="89491"/>
                    </a:lnTo>
                    <a:lnTo>
                      <a:pt x="291661" y="90373"/>
                    </a:lnTo>
                    <a:lnTo>
                      <a:pt x="293160" y="91519"/>
                    </a:lnTo>
                    <a:lnTo>
                      <a:pt x="296598" y="98220"/>
                    </a:lnTo>
                    <a:lnTo>
                      <a:pt x="293424" y="99718"/>
                    </a:lnTo>
                    <a:lnTo>
                      <a:pt x="290250" y="103774"/>
                    </a:lnTo>
                    <a:lnTo>
                      <a:pt x="286988" y="105538"/>
                    </a:lnTo>
                    <a:lnTo>
                      <a:pt x="280552" y="109329"/>
                    </a:lnTo>
                    <a:lnTo>
                      <a:pt x="279141" y="114002"/>
                    </a:lnTo>
                    <a:lnTo>
                      <a:pt x="277113" y="116030"/>
                    </a:lnTo>
                    <a:lnTo>
                      <a:pt x="277113" y="119821"/>
                    </a:lnTo>
                    <a:lnTo>
                      <a:pt x="277378" y="123612"/>
                    </a:lnTo>
                    <a:lnTo>
                      <a:pt x="279758" y="126874"/>
                    </a:lnTo>
                    <a:lnTo>
                      <a:pt x="283549" y="125111"/>
                    </a:lnTo>
                    <a:lnTo>
                      <a:pt x="284960" y="128902"/>
                    </a:lnTo>
                    <a:lnTo>
                      <a:pt x="282315" y="131195"/>
                    </a:lnTo>
                    <a:lnTo>
                      <a:pt x="277113" y="134104"/>
                    </a:lnTo>
                    <a:lnTo>
                      <a:pt x="271559" y="134369"/>
                    </a:lnTo>
                    <a:lnTo>
                      <a:pt x="266004" y="136749"/>
                    </a:lnTo>
                    <a:lnTo>
                      <a:pt x="265739" y="144332"/>
                    </a:lnTo>
                    <a:lnTo>
                      <a:pt x="262830" y="151914"/>
                    </a:lnTo>
                    <a:lnTo>
                      <a:pt x="259920" y="155705"/>
                    </a:lnTo>
                    <a:lnTo>
                      <a:pt x="273586" y="174926"/>
                    </a:lnTo>
                    <a:lnTo>
                      <a:pt x="275350" y="175279"/>
                    </a:lnTo>
                    <a:lnTo>
                      <a:pt x="277113" y="178188"/>
                    </a:lnTo>
                    <a:lnTo>
                      <a:pt x="277113" y="180745"/>
                    </a:lnTo>
                    <a:lnTo>
                      <a:pt x="275085" y="184007"/>
                    </a:lnTo>
                    <a:lnTo>
                      <a:pt x="271823" y="186653"/>
                    </a:lnTo>
                    <a:lnTo>
                      <a:pt x="270412" y="186653"/>
                    </a:lnTo>
                    <a:lnTo>
                      <a:pt x="267767" y="191854"/>
                    </a:lnTo>
                    <a:lnTo>
                      <a:pt x="264241" y="192119"/>
                    </a:lnTo>
                    <a:lnTo>
                      <a:pt x="261067" y="191325"/>
                    </a:lnTo>
                    <a:lnTo>
                      <a:pt x="261331" y="193353"/>
                    </a:lnTo>
                    <a:lnTo>
                      <a:pt x="259568" y="194499"/>
                    </a:lnTo>
                    <a:lnTo>
                      <a:pt x="258157" y="193618"/>
                    </a:lnTo>
                    <a:lnTo>
                      <a:pt x="256394" y="194764"/>
                    </a:lnTo>
                    <a:lnTo>
                      <a:pt x="255776" y="198026"/>
                    </a:lnTo>
                    <a:lnTo>
                      <a:pt x="254630" y="198908"/>
                    </a:lnTo>
                    <a:lnTo>
                      <a:pt x="254630" y="198291"/>
                    </a:lnTo>
                    <a:lnTo>
                      <a:pt x="253220" y="198555"/>
                    </a:lnTo>
                    <a:lnTo>
                      <a:pt x="251985" y="198026"/>
                    </a:lnTo>
                    <a:lnTo>
                      <a:pt x="247048" y="200936"/>
                    </a:lnTo>
                    <a:lnTo>
                      <a:pt x="243874" y="200936"/>
                    </a:lnTo>
                    <a:lnTo>
                      <a:pt x="243257" y="202082"/>
                    </a:lnTo>
                    <a:lnTo>
                      <a:pt x="235674" y="200054"/>
                    </a:lnTo>
                    <a:lnTo>
                      <a:pt x="235674" y="200936"/>
                    </a:lnTo>
                    <a:lnTo>
                      <a:pt x="233382" y="201818"/>
                    </a:lnTo>
                    <a:lnTo>
                      <a:pt x="233029" y="204110"/>
                    </a:lnTo>
                    <a:lnTo>
                      <a:pt x="230472" y="203581"/>
                    </a:lnTo>
                    <a:lnTo>
                      <a:pt x="228092" y="204374"/>
                    </a:lnTo>
                    <a:lnTo>
                      <a:pt x="228973" y="205873"/>
                    </a:lnTo>
                    <a:lnTo>
                      <a:pt x="227474" y="207019"/>
                    </a:lnTo>
                    <a:lnTo>
                      <a:pt x="228973" y="209929"/>
                    </a:lnTo>
                    <a:lnTo>
                      <a:pt x="228973" y="212574"/>
                    </a:lnTo>
                    <a:lnTo>
                      <a:pt x="227827" y="214337"/>
                    </a:lnTo>
                    <a:lnTo>
                      <a:pt x="226945" y="214337"/>
                    </a:lnTo>
                    <a:lnTo>
                      <a:pt x="226328" y="215484"/>
                    </a:lnTo>
                    <a:lnTo>
                      <a:pt x="224565" y="215484"/>
                    </a:lnTo>
                    <a:lnTo>
                      <a:pt x="223419" y="214337"/>
                    </a:lnTo>
                    <a:lnTo>
                      <a:pt x="215836" y="205873"/>
                    </a:lnTo>
                    <a:lnTo>
                      <a:pt x="214073" y="205873"/>
                    </a:lnTo>
                    <a:lnTo>
                      <a:pt x="213191" y="207637"/>
                    </a:lnTo>
                    <a:lnTo>
                      <a:pt x="212045" y="208166"/>
                    </a:lnTo>
                    <a:lnTo>
                      <a:pt x="209753" y="206138"/>
                    </a:lnTo>
                    <a:lnTo>
                      <a:pt x="205961" y="206490"/>
                    </a:lnTo>
                    <a:lnTo>
                      <a:pt x="205080" y="205873"/>
                    </a:lnTo>
                    <a:lnTo>
                      <a:pt x="200671" y="207637"/>
                    </a:lnTo>
                    <a:lnTo>
                      <a:pt x="198643" y="202082"/>
                    </a:lnTo>
                    <a:lnTo>
                      <a:pt x="195734" y="200936"/>
                    </a:lnTo>
                    <a:lnTo>
                      <a:pt x="188416" y="202082"/>
                    </a:lnTo>
                    <a:lnTo>
                      <a:pt x="187005" y="198291"/>
                    </a:lnTo>
                    <a:lnTo>
                      <a:pt x="185506" y="197409"/>
                    </a:lnTo>
                    <a:lnTo>
                      <a:pt x="183743" y="197409"/>
                    </a:lnTo>
                    <a:lnTo>
                      <a:pt x="183743" y="199172"/>
                    </a:lnTo>
                    <a:lnTo>
                      <a:pt x="185506" y="200936"/>
                    </a:lnTo>
                    <a:lnTo>
                      <a:pt x="187005" y="204727"/>
                    </a:lnTo>
                    <a:lnTo>
                      <a:pt x="191061" y="209929"/>
                    </a:lnTo>
                    <a:lnTo>
                      <a:pt x="194235" y="211428"/>
                    </a:lnTo>
                    <a:lnTo>
                      <a:pt x="197145" y="214337"/>
                    </a:lnTo>
                    <a:lnTo>
                      <a:pt x="197145" y="216630"/>
                    </a:lnTo>
                    <a:lnTo>
                      <a:pt x="195734" y="219010"/>
                    </a:lnTo>
                    <a:lnTo>
                      <a:pt x="195734" y="226857"/>
                    </a:lnTo>
                    <a:lnTo>
                      <a:pt x="197145" y="227475"/>
                    </a:lnTo>
                    <a:lnTo>
                      <a:pt x="200671" y="236820"/>
                    </a:lnTo>
                    <a:lnTo>
                      <a:pt x="199172" y="241493"/>
                    </a:lnTo>
                    <a:lnTo>
                      <a:pt x="199525" y="242639"/>
                    </a:lnTo>
                    <a:lnTo>
                      <a:pt x="204462" y="244050"/>
                    </a:lnTo>
                    <a:lnTo>
                      <a:pt x="207636" y="243521"/>
                    </a:lnTo>
                    <a:lnTo>
                      <a:pt x="214073" y="244050"/>
                    </a:lnTo>
                    <a:lnTo>
                      <a:pt x="214954" y="244403"/>
                    </a:lnTo>
                    <a:lnTo>
                      <a:pt x="214073" y="245285"/>
                    </a:lnTo>
                    <a:lnTo>
                      <a:pt x="214954" y="247841"/>
                    </a:lnTo>
                    <a:lnTo>
                      <a:pt x="213544" y="249605"/>
                    </a:lnTo>
                    <a:lnTo>
                      <a:pt x="213544" y="250751"/>
                    </a:lnTo>
                    <a:lnTo>
                      <a:pt x="208871" y="251985"/>
                    </a:lnTo>
                    <a:lnTo>
                      <a:pt x="205080" y="255424"/>
                    </a:lnTo>
                    <a:lnTo>
                      <a:pt x="201553" y="255159"/>
                    </a:lnTo>
                    <a:lnTo>
                      <a:pt x="200054" y="255777"/>
                    </a:lnTo>
                    <a:lnTo>
                      <a:pt x="198908" y="257540"/>
                    </a:lnTo>
                    <a:lnTo>
                      <a:pt x="198643" y="262125"/>
                    </a:lnTo>
                    <a:lnTo>
                      <a:pt x="197762" y="264770"/>
                    </a:lnTo>
                    <a:lnTo>
                      <a:pt x="192207" y="270060"/>
                    </a:lnTo>
                    <a:lnTo>
                      <a:pt x="191678" y="269443"/>
                    </a:lnTo>
                    <a:lnTo>
                      <a:pt x="192207" y="267150"/>
                    </a:lnTo>
                    <a:lnTo>
                      <a:pt x="191678" y="266533"/>
                    </a:lnTo>
                    <a:lnTo>
                      <a:pt x="188768" y="268561"/>
                    </a:lnTo>
                    <a:lnTo>
                      <a:pt x="187270" y="271206"/>
                    </a:lnTo>
                    <a:lnTo>
                      <a:pt x="183743" y="273234"/>
                    </a:lnTo>
                    <a:lnTo>
                      <a:pt x="181715" y="272088"/>
                    </a:lnTo>
                    <a:lnTo>
                      <a:pt x="177924" y="275879"/>
                    </a:lnTo>
                    <a:lnTo>
                      <a:pt x="175279" y="275879"/>
                    </a:lnTo>
                    <a:lnTo>
                      <a:pt x="173868" y="281081"/>
                    </a:lnTo>
                    <a:lnTo>
                      <a:pt x="170606" y="281434"/>
                    </a:lnTo>
                    <a:lnTo>
                      <a:pt x="168313" y="286988"/>
                    </a:lnTo>
                    <a:lnTo>
                      <a:pt x="166815" y="288399"/>
                    </a:lnTo>
                    <a:lnTo>
                      <a:pt x="165404" y="287517"/>
                    </a:lnTo>
                    <a:lnTo>
                      <a:pt x="164787" y="286371"/>
                    </a:lnTo>
                    <a:lnTo>
                      <a:pt x="166815" y="283461"/>
                    </a:lnTo>
                    <a:lnTo>
                      <a:pt x="166815" y="281698"/>
                    </a:lnTo>
                    <a:lnTo>
                      <a:pt x="165139" y="279670"/>
                    </a:lnTo>
                    <a:lnTo>
                      <a:pt x="161877" y="279670"/>
                    </a:lnTo>
                    <a:lnTo>
                      <a:pt x="158968" y="281698"/>
                    </a:lnTo>
                    <a:lnTo>
                      <a:pt x="156675" y="284343"/>
                    </a:lnTo>
                    <a:lnTo>
                      <a:pt x="154295" y="284608"/>
                    </a:lnTo>
                    <a:lnTo>
                      <a:pt x="152884" y="286371"/>
                    </a:lnTo>
                    <a:lnTo>
                      <a:pt x="151650" y="285225"/>
                    </a:lnTo>
                    <a:lnTo>
                      <a:pt x="148740" y="2854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0" name="Freihandform: Form 1749">
                <a:extLst>
                  <a:ext uri="{FF2B5EF4-FFF2-40B4-BE49-F238E27FC236}">
                    <a16:creationId xmlns:a16="http://schemas.microsoft.com/office/drawing/2014/main" id="{A532FB3B-3139-2F15-3C22-A1265CA6EC9F}"/>
                  </a:ext>
                </a:extLst>
              </p:cNvPr>
              <p:cNvSpPr/>
              <p:nvPr/>
            </p:nvSpPr>
            <p:spPr>
              <a:xfrm>
                <a:off x="2848003" y="4901323"/>
                <a:ext cx="109681" cy="121584"/>
              </a:xfrm>
              <a:custGeom>
                <a:avLst/>
                <a:gdLst>
                  <a:gd name="connsiteX0" fmla="*/ 108535 w 109681"/>
                  <a:gd name="connsiteY0" fmla="*/ 90108 h 121584"/>
                  <a:gd name="connsiteX1" fmla="*/ 107654 w 109681"/>
                  <a:gd name="connsiteY1" fmla="*/ 89844 h 121584"/>
                  <a:gd name="connsiteX2" fmla="*/ 104744 w 109681"/>
                  <a:gd name="connsiteY2" fmla="*/ 88080 h 121584"/>
                  <a:gd name="connsiteX3" fmla="*/ 102981 w 109681"/>
                  <a:gd name="connsiteY3" fmla="*/ 76707 h 121584"/>
                  <a:gd name="connsiteX4" fmla="*/ 106772 w 109681"/>
                  <a:gd name="connsiteY4" fmla="*/ 70887 h 121584"/>
                  <a:gd name="connsiteX5" fmla="*/ 109681 w 109681"/>
                  <a:gd name="connsiteY5" fmla="*/ 64716 h 121584"/>
                  <a:gd name="connsiteX6" fmla="*/ 102981 w 109681"/>
                  <a:gd name="connsiteY6" fmla="*/ 60660 h 121584"/>
                  <a:gd name="connsiteX7" fmla="*/ 97426 w 109681"/>
                  <a:gd name="connsiteY7" fmla="*/ 55987 h 121584"/>
                  <a:gd name="connsiteX8" fmla="*/ 96809 w 109681"/>
                  <a:gd name="connsiteY8" fmla="*/ 53342 h 121584"/>
                  <a:gd name="connsiteX9" fmla="*/ 93635 w 109681"/>
                  <a:gd name="connsiteY9" fmla="*/ 47523 h 121584"/>
                  <a:gd name="connsiteX10" fmla="*/ 89226 w 109681"/>
                  <a:gd name="connsiteY10" fmla="*/ 45230 h 121584"/>
                  <a:gd name="connsiteX11" fmla="*/ 86052 w 109681"/>
                  <a:gd name="connsiteY11" fmla="*/ 43467 h 121584"/>
                  <a:gd name="connsiteX12" fmla="*/ 84553 w 109681"/>
                  <a:gd name="connsiteY12" fmla="*/ 44966 h 121584"/>
                  <a:gd name="connsiteX13" fmla="*/ 76706 w 109681"/>
                  <a:gd name="connsiteY13" fmla="*/ 36149 h 121584"/>
                  <a:gd name="connsiteX14" fmla="*/ 68507 w 109681"/>
                  <a:gd name="connsiteY14" fmla="*/ 32358 h 121584"/>
                  <a:gd name="connsiteX15" fmla="*/ 63569 w 109681"/>
                  <a:gd name="connsiteY15" fmla="*/ 29713 h 121584"/>
                  <a:gd name="connsiteX16" fmla="*/ 60924 w 109681"/>
                  <a:gd name="connsiteY16" fmla="*/ 28302 h 121584"/>
                  <a:gd name="connsiteX17" fmla="*/ 54576 w 109681"/>
                  <a:gd name="connsiteY17" fmla="*/ 21249 h 121584"/>
                  <a:gd name="connsiteX18" fmla="*/ 49286 w 109681"/>
                  <a:gd name="connsiteY18" fmla="*/ 18339 h 121584"/>
                  <a:gd name="connsiteX19" fmla="*/ 47787 w 109681"/>
                  <a:gd name="connsiteY19" fmla="*/ 20984 h 121584"/>
                  <a:gd name="connsiteX20" fmla="*/ 42321 w 109681"/>
                  <a:gd name="connsiteY20" fmla="*/ 24246 h 121584"/>
                  <a:gd name="connsiteX21" fmla="*/ 38530 w 109681"/>
                  <a:gd name="connsiteY21" fmla="*/ 14019 h 121584"/>
                  <a:gd name="connsiteX22" fmla="*/ 35884 w 109681"/>
                  <a:gd name="connsiteY22" fmla="*/ 11109 h 121584"/>
                  <a:gd name="connsiteX23" fmla="*/ 27156 w 109681"/>
                  <a:gd name="connsiteY23" fmla="*/ 4408 h 121584"/>
                  <a:gd name="connsiteX24" fmla="*/ 26274 w 109681"/>
                  <a:gd name="connsiteY24" fmla="*/ 2645 h 121584"/>
                  <a:gd name="connsiteX25" fmla="*/ 15782 w 109681"/>
                  <a:gd name="connsiteY25" fmla="*/ 0 h 121584"/>
                  <a:gd name="connsiteX26" fmla="*/ 11109 w 109681"/>
                  <a:gd name="connsiteY26" fmla="*/ 4056 h 121584"/>
                  <a:gd name="connsiteX27" fmla="*/ 9081 w 109681"/>
                  <a:gd name="connsiteY27" fmla="*/ 4056 h 121584"/>
                  <a:gd name="connsiteX28" fmla="*/ 6083 w 109681"/>
                  <a:gd name="connsiteY28" fmla="*/ 2645 h 121584"/>
                  <a:gd name="connsiteX29" fmla="*/ 4673 w 109681"/>
                  <a:gd name="connsiteY29" fmla="*/ 2645 h 121584"/>
                  <a:gd name="connsiteX30" fmla="*/ 4937 w 109681"/>
                  <a:gd name="connsiteY30" fmla="*/ 4408 h 121584"/>
                  <a:gd name="connsiteX31" fmla="*/ 881 w 109681"/>
                  <a:gd name="connsiteY31" fmla="*/ 9610 h 121584"/>
                  <a:gd name="connsiteX32" fmla="*/ 881 w 109681"/>
                  <a:gd name="connsiteY32" fmla="*/ 11903 h 121584"/>
                  <a:gd name="connsiteX33" fmla="*/ 2909 w 109681"/>
                  <a:gd name="connsiteY33" fmla="*/ 14548 h 121584"/>
                  <a:gd name="connsiteX34" fmla="*/ 3527 w 109681"/>
                  <a:gd name="connsiteY34" fmla="*/ 19838 h 121584"/>
                  <a:gd name="connsiteX35" fmla="*/ 1410 w 109681"/>
                  <a:gd name="connsiteY35" fmla="*/ 20455 h 121584"/>
                  <a:gd name="connsiteX36" fmla="*/ 3174 w 109681"/>
                  <a:gd name="connsiteY36" fmla="*/ 23629 h 121584"/>
                  <a:gd name="connsiteX37" fmla="*/ 3174 w 109681"/>
                  <a:gd name="connsiteY37" fmla="*/ 27685 h 121584"/>
                  <a:gd name="connsiteX38" fmla="*/ 1410 w 109681"/>
                  <a:gd name="connsiteY38" fmla="*/ 30065 h 121584"/>
                  <a:gd name="connsiteX39" fmla="*/ 264 w 109681"/>
                  <a:gd name="connsiteY39" fmla="*/ 33857 h 121584"/>
                  <a:gd name="connsiteX40" fmla="*/ 2380 w 109681"/>
                  <a:gd name="connsiteY40" fmla="*/ 35532 h 121584"/>
                  <a:gd name="connsiteX41" fmla="*/ 2645 w 109681"/>
                  <a:gd name="connsiteY41" fmla="*/ 41439 h 121584"/>
                  <a:gd name="connsiteX42" fmla="*/ 0 w 109681"/>
                  <a:gd name="connsiteY42" fmla="*/ 42850 h 121584"/>
                  <a:gd name="connsiteX43" fmla="*/ 617 w 109681"/>
                  <a:gd name="connsiteY43" fmla="*/ 45495 h 121584"/>
                  <a:gd name="connsiteX44" fmla="*/ 1410 w 109681"/>
                  <a:gd name="connsiteY44" fmla="*/ 49551 h 121584"/>
                  <a:gd name="connsiteX45" fmla="*/ 2909 w 109681"/>
                  <a:gd name="connsiteY45" fmla="*/ 53078 h 121584"/>
                  <a:gd name="connsiteX46" fmla="*/ 1763 w 109681"/>
                  <a:gd name="connsiteY46" fmla="*/ 58015 h 121584"/>
                  <a:gd name="connsiteX47" fmla="*/ 3527 w 109681"/>
                  <a:gd name="connsiteY47" fmla="*/ 61542 h 121584"/>
                  <a:gd name="connsiteX48" fmla="*/ 4673 w 109681"/>
                  <a:gd name="connsiteY48" fmla="*/ 66744 h 121584"/>
                  <a:gd name="connsiteX49" fmla="*/ 6701 w 109681"/>
                  <a:gd name="connsiteY49" fmla="*/ 68243 h 121584"/>
                  <a:gd name="connsiteX50" fmla="*/ 7318 w 109681"/>
                  <a:gd name="connsiteY50" fmla="*/ 70006 h 121584"/>
                  <a:gd name="connsiteX51" fmla="*/ 6701 w 109681"/>
                  <a:gd name="connsiteY51" fmla="*/ 73180 h 121584"/>
                  <a:gd name="connsiteX52" fmla="*/ 5819 w 109681"/>
                  <a:gd name="connsiteY52" fmla="*/ 74062 h 121584"/>
                  <a:gd name="connsiteX53" fmla="*/ 4408 w 109681"/>
                  <a:gd name="connsiteY53" fmla="*/ 74943 h 121584"/>
                  <a:gd name="connsiteX54" fmla="*/ 2380 w 109681"/>
                  <a:gd name="connsiteY54" fmla="*/ 74943 h 121584"/>
                  <a:gd name="connsiteX55" fmla="*/ 1410 w 109681"/>
                  <a:gd name="connsiteY55" fmla="*/ 75208 h 121584"/>
                  <a:gd name="connsiteX56" fmla="*/ 2380 w 109681"/>
                  <a:gd name="connsiteY56" fmla="*/ 78470 h 121584"/>
                  <a:gd name="connsiteX57" fmla="*/ 2380 w 109681"/>
                  <a:gd name="connsiteY57" fmla="*/ 80233 h 121584"/>
                  <a:gd name="connsiteX58" fmla="*/ 2028 w 109681"/>
                  <a:gd name="connsiteY58" fmla="*/ 80762 h 121584"/>
                  <a:gd name="connsiteX59" fmla="*/ 2028 w 109681"/>
                  <a:gd name="connsiteY59" fmla="*/ 81644 h 121584"/>
                  <a:gd name="connsiteX60" fmla="*/ 2645 w 109681"/>
                  <a:gd name="connsiteY60" fmla="*/ 83143 h 121584"/>
                  <a:gd name="connsiteX61" fmla="*/ 2028 w 109681"/>
                  <a:gd name="connsiteY61" fmla="*/ 85435 h 121584"/>
                  <a:gd name="connsiteX62" fmla="*/ 2909 w 109681"/>
                  <a:gd name="connsiteY62" fmla="*/ 87463 h 121584"/>
                  <a:gd name="connsiteX63" fmla="*/ 2645 w 109681"/>
                  <a:gd name="connsiteY63" fmla="*/ 88697 h 121584"/>
                  <a:gd name="connsiteX64" fmla="*/ 3527 w 109681"/>
                  <a:gd name="connsiteY64" fmla="*/ 92136 h 121584"/>
                  <a:gd name="connsiteX65" fmla="*/ 4673 w 109681"/>
                  <a:gd name="connsiteY65" fmla="*/ 95398 h 121584"/>
                  <a:gd name="connsiteX66" fmla="*/ 7318 w 109681"/>
                  <a:gd name="connsiteY66" fmla="*/ 96809 h 121584"/>
                  <a:gd name="connsiteX67" fmla="*/ 9081 w 109681"/>
                  <a:gd name="connsiteY67" fmla="*/ 99454 h 121584"/>
                  <a:gd name="connsiteX68" fmla="*/ 9610 w 109681"/>
                  <a:gd name="connsiteY68" fmla="*/ 100953 h 121584"/>
                  <a:gd name="connsiteX69" fmla="*/ 12255 w 109681"/>
                  <a:gd name="connsiteY69" fmla="*/ 101217 h 121584"/>
                  <a:gd name="connsiteX70" fmla="*/ 13137 w 109681"/>
                  <a:gd name="connsiteY70" fmla="*/ 102628 h 121584"/>
                  <a:gd name="connsiteX71" fmla="*/ 14283 w 109681"/>
                  <a:gd name="connsiteY71" fmla="*/ 103245 h 121584"/>
                  <a:gd name="connsiteX72" fmla="*/ 17193 w 109681"/>
                  <a:gd name="connsiteY72" fmla="*/ 105890 h 121584"/>
                  <a:gd name="connsiteX73" fmla="*/ 18956 w 109681"/>
                  <a:gd name="connsiteY73" fmla="*/ 109065 h 121584"/>
                  <a:gd name="connsiteX74" fmla="*/ 23629 w 109681"/>
                  <a:gd name="connsiteY74" fmla="*/ 109329 h 121584"/>
                  <a:gd name="connsiteX75" fmla="*/ 25657 w 109681"/>
                  <a:gd name="connsiteY75" fmla="*/ 109681 h 121584"/>
                  <a:gd name="connsiteX76" fmla="*/ 26803 w 109681"/>
                  <a:gd name="connsiteY76" fmla="*/ 108535 h 121584"/>
                  <a:gd name="connsiteX77" fmla="*/ 27420 w 109681"/>
                  <a:gd name="connsiteY77" fmla="*/ 107654 h 121584"/>
                  <a:gd name="connsiteX78" fmla="*/ 30065 w 109681"/>
                  <a:gd name="connsiteY78" fmla="*/ 109329 h 121584"/>
                  <a:gd name="connsiteX79" fmla="*/ 32358 w 109681"/>
                  <a:gd name="connsiteY79" fmla="*/ 107654 h 121584"/>
                  <a:gd name="connsiteX80" fmla="*/ 34386 w 109681"/>
                  <a:gd name="connsiteY80" fmla="*/ 108183 h 121584"/>
                  <a:gd name="connsiteX81" fmla="*/ 34738 w 109681"/>
                  <a:gd name="connsiteY81" fmla="*/ 109065 h 121584"/>
                  <a:gd name="connsiteX82" fmla="*/ 35884 w 109681"/>
                  <a:gd name="connsiteY82" fmla="*/ 110563 h 121584"/>
                  <a:gd name="connsiteX83" fmla="*/ 38794 w 109681"/>
                  <a:gd name="connsiteY83" fmla="*/ 112591 h 121584"/>
                  <a:gd name="connsiteX84" fmla="*/ 39411 w 109681"/>
                  <a:gd name="connsiteY84" fmla="*/ 113120 h 121584"/>
                  <a:gd name="connsiteX85" fmla="*/ 42850 w 109681"/>
                  <a:gd name="connsiteY85" fmla="*/ 114619 h 121584"/>
                  <a:gd name="connsiteX86" fmla="*/ 45759 w 109681"/>
                  <a:gd name="connsiteY86" fmla="*/ 114883 h 121584"/>
                  <a:gd name="connsiteX87" fmla="*/ 46376 w 109681"/>
                  <a:gd name="connsiteY87" fmla="*/ 115765 h 121584"/>
                  <a:gd name="connsiteX88" fmla="*/ 49286 w 109681"/>
                  <a:gd name="connsiteY88" fmla="*/ 115765 h 121584"/>
                  <a:gd name="connsiteX89" fmla="*/ 51049 w 109681"/>
                  <a:gd name="connsiteY89" fmla="*/ 116647 h 121584"/>
                  <a:gd name="connsiteX90" fmla="*/ 49903 w 109681"/>
                  <a:gd name="connsiteY90" fmla="*/ 118146 h 121584"/>
                  <a:gd name="connsiteX91" fmla="*/ 52548 w 109681"/>
                  <a:gd name="connsiteY91" fmla="*/ 119556 h 121584"/>
                  <a:gd name="connsiteX92" fmla="*/ 53959 w 109681"/>
                  <a:gd name="connsiteY92" fmla="*/ 119556 h 121584"/>
                  <a:gd name="connsiteX93" fmla="*/ 54576 w 109681"/>
                  <a:gd name="connsiteY93" fmla="*/ 118410 h 121584"/>
                  <a:gd name="connsiteX94" fmla="*/ 54840 w 109681"/>
                  <a:gd name="connsiteY94" fmla="*/ 118675 h 121584"/>
                  <a:gd name="connsiteX95" fmla="*/ 55105 w 109681"/>
                  <a:gd name="connsiteY95" fmla="*/ 119556 h 121584"/>
                  <a:gd name="connsiteX96" fmla="*/ 55458 w 109681"/>
                  <a:gd name="connsiteY96" fmla="*/ 119909 h 121584"/>
                  <a:gd name="connsiteX97" fmla="*/ 57133 w 109681"/>
                  <a:gd name="connsiteY97" fmla="*/ 119556 h 121584"/>
                  <a:gd name="connsiteX98" fmla="*/ 58632 w 109681"/>
                  <a:gd name="connsiteY98" fmla="*/ 118410 h 121584"/>
                  <a:gd name="connsiteX99" fmla="*/ 58367 w 109681"/>
                  <a:gd name="connsiteY99" fmla="*/ 121320 h 121584"/>
                  <a:gd name="connsiteX100" fmla="*/ 61806 w 109681"/>
                  <a:gd name="connsiteY100" fmla="*/ 120174 h 121584"/>
                  <a:gd name="connsiteX101" fmla="*/ 64451 w 109681"/>
                  <a:gd name="connsiteY101" fmla="*/ 119556 h 121584"/>
                  <a:gd name="connsiteX102" fmla="*/ 66832 w 109681"/>
                  <a:gd name="connsiteY102" fmla="*/ 119027 h 121584"/>
                  <a:gd name="connsiteX103" fmla="*/ 66832 w 109681"/>
                  <a:gd name="connsiteY103" fmla="*/ 116382 h 121584"/>
                  <a:gd name="connsiteX104" fmla="*/ 68507 w 109681"/>
                  <a:gd name="connsiteY104" fmla="*/ 116647 h 121584"/>
                  <a:gd name="connsiteX105" fmla="*/ 71152 w 109681"/>
                  <a:gd name="connsiteY105" fmla="*/ 117529 h 121584"/>
                  <a:gd name="connsiteX106" fmla="*/ 72033 w 109681"/>
                  <a:gd name="connsiteY106" fmla="*/ 117000 h 121584"/>
                  <a:gd name="connsiteX107" fmla="*/ 73797 w 109681"/>
                  <a:gd name="connsiteY107" fmla="*/ 118146 h 121584"/>
                  <a:gd name="connsiteX108" fmla="*/ 74061 w 109681"/>
                  <a:gd name="connsiteY108" fmla="*/ 118675 h 121584"/>
                  <a:gd name="connsiteX109" fmla="*/ 74678 w 109681"/>
                  <a:gd name="connsiteY109" fmla="*/ 118675 h 121584"/>
                  <a:gd name="connsiteX110" fmla="*/ 76089 w 109681"/>
                  <a:gd name="connsiteY110" fmla="*/ 120791 h 121584"/>
                  <a:gd name="connsiteX111" fmla="*/ 78205 w 109681"/>
                  <a:gd name="connsiteY111" fmla="*/ 121584 h 121584"/>
                  <a:gd name="connsiteX112" fmla="*/ 80498 w 109681"/>
                  <a:gd name="connsiteY112" fmla="*/ 120438 h 121584"/>
                  <a:gd name="connsiteX113" fmla="*/ 83143 w 109681"/>
                  <a:gd name="connsiteY113" fmla="*/ 121055 h 121584"/>
                  <a:gd name="connsiteX114" fmla="*/ 85788 w 109681"/>
                  <a:gd name="connsiteY114" fmla="*/ 119909 h 121584"/>
                  <a:gd name="connsiteX115" fmla="*/ 86934 w 109681"/>
                  <a:gd name="connsiteY115" fmla="*/ 121584 h 121584"/>
                  <a:gd name="connsiteX116" fmla="*/ 89226 w 109681"/>
                  <a:gd name="connsiteY116" fmla="*/ 119556 h 121584"/>
                  <a:gd name="connsiteX117" fmla="*/ 92136 w 109681"/>
                  <a:gd name="connsiteY117" fmla="*/ 118675 h 121584"/>
                  <a:gd name="connsiteX118" fmla="*/ 94516 w 109681"/>
                  <a:gd name="connsiteY118" fmla="*/ 117000 h 121584"/>
                  <a:gd name="connsiteX119" fmla="*/ 98925 w 109681"/>
                  <a:gd name="connsiteY119" fmla="*/ 115765 h 121584"/>
                  <a:gd name="connsiteX120" fmla="*/ 99718 w 109681"/>
                  <a:gd name="connsiteY120" fmla="*/ 115236 h 121584"/>
                  <a:gd name="connsiteX121" fmla="*/ 99718 w 109681"/>
                  <a:gd name="connsiteY121" fmla="*/ 113737 h 121584"/>
                  <a:gd name="connsiteX122" fmla="*/ 100600 w 109681"/>
                  <a:gd name="connsiteY122" fmla="*/ 111445 h 121584"/>
                  <a:gd name="connsiteX123" fmla="*/ 103245 w 109681"/>
                  <a:gd name="connsiteY123" fmla="*/ 110828 h 121584"/>
                  <a:gd name="connsiteX124" fmla="*/ 105890 w 109681"/>
                  <a:gd name="connsiteY124" fmla="*/ 110210 h 121584"/>
                  <a:gd name="connsiteX125" fmla="*/ 105273 w 109681"/>
                  <a:gd name="connsiteY125" fmla="*/ 108535 h 121584"/>
                  <a:gd name="connsiteX126" fmla="*/ 105008 w 109681"/>
                  <a:gd name="connsiteY126" fmla="*/ 107037 h 121584"/>
                  <a:gd name="connsiteX127" fmla="*/ 107036 w 109681"/>
                  <a:gd name="connsiteY127" fmla="*/ 105009 h 121584"/>
                  <a:gd name="connsiteX128" fmla="*/ 107654 w 109681"/>
                  <a:gd name="connsiteY128" fmla="*/ 104127 h 121584"/>
                  <a:gd name="connsiteX129" fmla="*/ 107918 w 109681"/>
                  <a:gd name="connsiteY129" fmla="*/ 101217 h 121584"/>
                  <a:gd name="connsiteX130" fmla="*/ 108800 w 109681"/>
                  <a:gd name="connsiteY130" fmla="*/ 98837 h 121584"/>
                  <a:gd name="connsiteX131" fmla="*/ 107036 w 109681"/>
                  <a:gd name="connsiteY131" fmla="*/ 95927 h 121584"/>
                  <a:gd name="connsiteX132" fmla="*/ 106155 w 109681"/>
                  <a:gd name="connsiteY132" fmla="*/ 93900 h 121584"/>
                  <a:gd name="connsiteX133" fmla="*/ 108535 w 109681"/>
                  <a:gd name="connsiteY133" fmla="*/ 93018 h 121584"/>
                  <a:gd name="connsiteX134" fmla="*/ 107918 w 109681"/>
                  <a:gd name="connsiteY134" fmla="*/ 91254 h 121584"/>
                  <a:gd name="connsiteX135" fmla="*/ 108800 w 109681"/>
                  <a:gd name="connsiteY135" fmla="*/ 90108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109681" h="121584">
                    <a:moveTo>
                      <a:pt x="108535" y="90108"/>
                    </a:moveTo>
                    <a:lnTo>
                      <a:pt x="107654" y="89844"/>
                    </a:lnTo>
                    <a:lnTo>
                      <a:pt x="104744" y="88080"/>
                    </a:lnTo>
                    <a:lnTo>
                      <a:pt x="102981" y="76707"/>
                    </a:lnTo>
                    <a:lnTo>
                      <a:pt x="106772" y="70887"/>
                    </a:lnTo>
                    <a:lnTo>
                      <a:pt x="109681" y="64716"/>
                    </a:lnTo>
                    <a:lnTo>
                      <a:pt x="102981" y="60660"/>
                    </a:lnTo>
                    <a:lnTo>
                      <a:pt x="97426" y="55987"/>
                    </a:lnTo>
                    <a:lnTo>
                      <a:pt x="96809" y="53342"/>
                    </a:lnTo>
                    <a:lnTo>
                      <a:pt x="93635" y="47523"/>
                    </a:lnTo>
                    <a:lnTo>
                      <a:pt x="89226" y="45230"/>
                    </a:lnTo>
                    <a:lnTo>
                      <a:pt x="86052" y="43467"/>
                    </a:lnTo>
                    <a:lnTo>
                      <a:pt x="84553" y="44966"/>
                    </a:lnTo>
                    <a:lnTo>
                      <a:pt x="76706" y="36149"/>
                    </a:lnTo>
                    <a:lnTo>
                      <a:pt x="68507" y="32358"/>
                    </a:lnTo>
                    <a:lnTo>
                      <a:pt x="63569" y="29713"/>
                    </a:lnTo>
                    <a:lnTo>
                      <a:pt x="60924" y="28302"/>
                    </a:lnTo>
                    <a:lnTo>
                      <a:pt x="54576" y="21249"/>
                    </a:lnTo>
                    <a:lnTo>
                      <a:pt x="49286" y="18339"/>
                    </a:lnTo>
                    <a:lnTo>
                      <a:pt x="47787" y="20984"/>
                    </a:lnTo>
                    <a:lnTo>
                      <a:pt x="42321" y="24246"/>
                    </a:lnTo>
                    <a:lnTo>
                      <a:pt x="38530" y="14019"/>
                    </a:lnTo>
                    <a:lnTo>
                      <a:pt x="35884" y="11109"/>
                    </a:lnTo>
                    <a:lnTo>
                      <a:pt x="27156" y="4408"/>
                    </a:lnTo>
                    <a:lnTo>
                      <a:pt x="26274" y="2645"/>
                    </a:lnTo>
                    <a:lnTo>
                      <a:pt x="15782" y="0"/>
                    </a:lnTo>
                    <a:lnTo>
                      <a:pt x="11109" y="4056"/>
                    </a:lnTo>
                    <a:lnTo>
                      <a:pt x="9081" y="4056"/>
                    </a:lnTo>
                    <a:lnTo>
                      <a:pt x="6083" y="2645"/>
                    </a:lnTo>
                    <a:lnTo>
                      <a:pt x="4673" y="2645"/>
                    </a:lnTo>
                    <a:lnTo>
                      <a:pt x="4937" y="4408"/>
                    </a:lnTo>
                    <a:lnTo>
                      <a:pt x="881" y="9610"/>
                    </a:lnTo>
                    <a:lnTo>
                      <a:pt x="881" y="11903"/>
                    </a:lnTo>
                    <a:lnTo>
                      <a:pt x="2909" y="14548"/>
                    </a:lnTo>
                    <a:lnTo>
                      <a:pt x="3527" y="19838"/>
                    </a:lnTo>
                    <a:lnTo>
                      <a:pt x="1410" y="20455"/>
                    </a:lnTo>
                    <a:lnTo>
                      <a:pt x="3174" y="23629"/>
                    </a:lnTo>
                    <a:lnTo>
                      <a:pt x="3174" y="27685"/>
                    </a:lnTo>
                    <a:lnTo>
                      <a:pt x="1410" y="30065"/>
                    </a:lnTo>
                    <a:lnTo>
                      <a:pt x="264" y="33857"/>
                    </a:lnTo>
                    <a:lnTo>
                      <a:pt x="2380" y="35532"/>
                    </a:lnTo>
                    <a:lnTo>
                      <a:pt x="2645" y="41439"/>
                    </a:lnTo>
                    <a:lnTo>
                      <a:pt x="0" y="42850"/>
                    </a:lnTo>
                    <a:lnTo>
                      <a:pt x="617" y="45495"/>
                    </a:lnTo>
                    <a:lnTo>
                      <a:pt x="1410" y="49551"/>
                    </a:lnTo>
                    <a:lnTo>
                      <a:pt x="2909" y="53078"/>
                    </a:lnTo>
                    <a:lnTo>
                      <a:pt x="1763" y="58015"/>
                    </a:lnTo>
                    <a:lnTo>
                      <a:pt x="3527" y="61542"/>
                    </a:lnTo>
                    <a:lnTo>
                      <a:pt x="4673" y="66744"/>
                    </a:lnTo>
                    <a:lnTo>
                      <a:pt x="6701" y="68243"/>
                    </a:lnTo>
                    <a:lnTo>
                      <a:pt x="7318" y="70006"/>
                    </a:lnTo>
                    <a:lnTo>
                      <a:pt x="6701" y="73180"/>
                    </a:lnTo>
                    <a:lnTo>
                      <a:pt x="5819" y="74062"/>
                    </a:lnTo>
                    <a:lnTo>
                      <a:pt x="4408" y="74943"/>
                    </a:lnTo>
                    <a:lnTo>
                      <a:pt x="2380" y="74943"/>
                    </a:lnTo>
                    <a:lnTo>
                      <a:pt x="1410" y="75208"/>
                    </a:lnTo>
                    <a:lnTo>
                      <a:pt x="2380" y="78470"/>
                    </a:lnTo>
                    <a:lnTo>
                      <a:pt x="2380" y="80233"/>
                    </a:lnTo>
                    <a:lnTo>
                      <a:pt x="2028" y="80762"/>
                    </a:lnTo>
                    <a:lnTo>
                      <a:pt x="2028" y="81644"/>
                    </a:lnTo>
                    <a:lnTo>
                      <a:pt x="2645" y="83143"/>
                    </a:lnTo>
                    <a:lnTo>
                      <a:pt x="2028" y="85435"/>
                    </a:lnTo>
                    <a:lnTo>
                      <a:pt x="2909" y="87463"/>
                    </a:lnTo>
                    <a:lnTo>
                      <a:pt x="2645" y="88697"/>
                    </a:lnTo>
                    <a:lnTo>
                      <a:pt x="3527" y="92136"/>
                    </a:lnTo>
                    <a:lnTo>
                      <a:pt x="4673" y="95398"/>
                    </a:lnTo>
                    <a:lnTo>
                      <a:pt x="7318" y="96809"/>
                    </a:lnTo>
                    <a:lnTo>
                      <a:pt x="9081" y="99454"/>
                    </a:lnTo>
                    <a:lnTo>
                      <a:pt x="9610" y="100953"/>
                    </a:lnTo>
                    <a:lnTo>
                      <a:pt x="12255" y="101217"/>
                    </a:lnTo>
                    <a:lnTo>
                      <a:pt x="13137" y="102628"/>
                    </a:lnTo>
                    <a:lnTo>
                      <a:pt x="14283" y="103245"/>
                    </a:lnTo>
                    <a:lnTo>
                      <a:pt x="17193" y="105890"/>
                    </a:lnTo>
                    <a:lnTo>
                      <a:pt x="18956" y="109065"/>
                    </a:lnTo>
                    <a:lnTo>
                      <a:pt x="23629" y="109329"/>
                    </a:lnTo>
                    <a:lnTo>
                      <a:pt x="25657" y="109681"/>
                    </a:lnTo>
                    <a:lnTo>
                      <a:pt x="26803" y="108535"/>
                    </a:lnTo>
                    <a:lnTo>
                      <a:pt x="27420" y="107654"/>
                    </a:lnTo>
                    <a:lnTo>
                      <a:pt x="30065" y="109329"/>
                    </a:lnTo>
                    <a:lnTo>
                      <a:pt x="32358" y="107654"/>
                    </a:lnTo>
                    <a:lnTo>
                      <a:pt x="34386" y="108183"/>
                    </a:lnTo>
                    <a:lnTo>
                      <a:pt x="34738" y="109065"/>
                    </a:lnTo>
                    <a:lnTo>
                      <a:pt x="35884" y="110563"/>
                    </a:lnTo>
                    <a:lnTo>
                      <a:pt x="38794" y="112591"/>
                    </a:lnTo>
                    <a:lnTo>
                      <a:pt x="39411" y="113120"/>
                    </a:lnTo>
                    <a:lnTo>
                      <a:pt x="42850" y="114619"/>
                    </a:lnTo>
                    <a:lnTo>
                      <a:pt x="45759" y="114883"/>
                    </a:lnTo>
                    <a:lnTo>
                      <a:pt x="46376" y="115765"/>
                    </a:lnTo>
                    <a:lnTo>
                      <a:pt x="49286" y="115765"/>
                    </a:lnTo>
                    <a:lnTo>
                      <a:pt x="51049" y="116647"/>
                    </a:lnTo>
                    <a:lnTo>
                      <a:pt x="49903" y="118146"/>
                    </a:lnTo>
                    <a:lnTo>
                      <a:pt x="52548" y="119556"/>
                    </a:lnTo>
                    <a:lnTo>
                      <a:pt x="53959" y="119556"/>
                    </a:lnTo>
                    <a:lnTo>
                      <a:pt x="54576" y="118410"/>
                    </a:lnTo>
                    <a:lnTo>
                      <a:pt x="54840" y="118675"/>
                    </a:lnTo>
                    <a:lnTo>
                      <a:pt x="55105" y="119556"/>
                    </a:lnTo>
                    <a:lnTo>
                      <a:pt x="55458" y="119909"/>
                    </a:lnTo>
                    <a:lnTo>
                      <a:pt x="57133" y="119556"/>
                    </a:lnTo>
                    <a:lnTo>
                      <a:pt x="58632" y="118410"/>
                    </a:lnTo>
                    <a:lnTo>
                      <a:pt x="58367" y="121320"/>
                    </a:lnTo>
                    <a:lnTo>
                      <a:pt x="61806" y="120174"/>
                    </a:lnTo>
                    <a:lnTo>
                      <a:pt x="64451" y="119556"/>
                    </a:lnTo>
                    <a:lnTo>
                      <a:pt x="66832" y="119027"/>
                    </a:lnTo>
                    <a:lnTo>
                      <a:pt x="66832" y="116382"/>
                    </a:lnTo>
                    <a:lnTo>
                      <a:pt x="68507" y="116647"/>
                    </a:lnTo>
                    <a:lnTo>
                      <a:pt x="71152" y="117529"/>
                    </a:lnTo>
                    <a:lnTo>
                      <a:pt x="72033" y="117000"/>
                    </a:lnTo>
                    <a:lnTo>
                      <a:pt x="73797" y="118146"/>
                    </a:lnTo>
                    <a:lnTo>
                      <a:pt x="74061" y="118675"/>
                    </a:lnTo>
                    <a:lnTo>
                      <a:pt x="74678" y="118675"/>
                    </a:lnTo>
                    <a:lnTo>
                      <a:pt x="76089" y="120791"/>
                    </a:lnTo>
                    <a:lnTo>
                      <a:pt x="78205" y="121584"/>
                    </a:lnTo>
                    <a:lnTo>
                      <a:pt x="80498" y="120438"/>
                    </a:lnTo>
                    <a:lnTo>
                      <a:pt x="83143" y="121055"/>
                    </a:lnTo>
                    <a:lnTo>
                      <a:pt x="85788" y="119909"/>
                    </a:lnTo>
                    <a:lnTo>
                      <a:pt x="86934" y="121584"/>
                    </a:lnTo>
                    <a:lnTo>
                      <a:pt x="89226" y="119556"/>
                    </a:lnTo>
                    <a:lnTo>
                      <a:pt x="92136" y="118675"/>
                    </a:lnTo>
                    <a:lnTo>
                      <a:pt x="94516" y="117000"/>
                    </a:lnTo>
                    <a:lnTo>
                      <a:pt x="98925" y="115765"/>
                    </a:lnTo>
                    <a:lnTo>
                      <a:pt x="99718" y="115236"/>
                    </a:lnTo>
                    <a:lnTo>
                      <a:pt x="99718" y="113737"/>
                    </a:lnTo>
                    <a:lnTo>
                      <a:pt x="100600" y="111445"/>
                    </a:lnTo>
                    <a:lnTo>
                      <a:pt x="103245" y="110828"/>
                    </a:lnTo>
                    <a:lnTo>
                      <a:pt x="105890" y="110210"/>
                    </a:lnTo>
                    <a:lnTo>
                      <a:pt x="105273" y="108535"/>
                    </a:lnTo>
                    <a:lnTo>
                      <a:pt x="105008" y="107037"/>
                    </a:lnTo>
                    <a:lnTo>
                      <a:pt x="107036" y="105009"/>
                    </a:lnTo>
                    <a:lnTo>
                      <a:pt x="107654" y="104127"/>
                    </a:lnTo>
                    <a:lnTo>
                      <a:pt x="107918" y="101217"/>
                    </a:lnTo>
                    <a:lnTo>
                      <a:pt x="108800" y="98837"/>
                    </a:lnTo>
                    <a:lnTo>
                      <a:pt x="107036" y="95927"/>
                    </a:lnTo>
                    <a:lnTo>
                      <a:pt x="106155" y="93900"/>
                    </a:lnTo>
                    <a:lnTo>
                      <a:pt x="108535" y="93018"/>
                    </a:lnTo>
                    <a:lnTo>
                      <a:pt x="107918" y="91254"/>
                    </a:lnTo>
                    <a:lnTo>
                      <a:pt x="108800" y="901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1" name="Freihandform: Form 1750">
                <a:extLst>
                  <a:ext uri="{FF2B5EF4-FFF2-40B4-BE49-F238E27FC236}">
                    <a16:creationId xmlns:a16="http://schemas.microsoft.com/office/drawing/2014/main" id="{C3120B36-7F98-B6C0-2B20-B3943E18E51F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2" name="Freihandform: Form 1751">
                <a:extLst>
                  <a:ext uri="{FF2B5EF4-FFF2-40B4-BE49-F238E27FC236}">
                    <a16:creationId xmlns:a16="http://schemas.microsoft.com/office/drawing/2014/main" id="{7E3B2112-3F2B-CBE7-8FA0-46864A260C56}"/>
                  </a:ext>
                </a:extLst>
              </p:cNvPr>
              <p:cNvSpPr/>
              <p:nvPr/>
            </p:nvSpPr>
            <p:spPr>
              <a:xfrm>
                <a:off x="2103069" y="3790931"/>
                <a:ext cx="52460" cy="32357"/>
              </a:xfrm>
              <a:custGeom>
                <a:avLst/>
                <a:gdLst>
                  <a:gd name="connsiteX0" fmla="*/ 0 w 52460"/>
                  <a:gd name="connsiteY0" fmla="*/ 17281 h 32357"/>
                  <a:gd name="connsiteX1" fmla="*/ 529 w 52460"/>
                  <a:gd name="connsiteY1" fmla="*/ 13490 h 32357"/>
                  <a:gd name="connsiteX2" fmla="*/ 6701 w 52460"/>
                  <a:gd name="connsiteY2" fmla="*/ 9081 h 32357"/>
                  <a:gd name="connsiteX3" fmla="*/ 8729 w 52460"/>
                  <a:gd name="connsiteY3" fmla="*/ 10228 h 32357"/>
                  <a:gd name="connsiteX4" fmla="*/ 8464 w 52460"/>
                  <a:gd name="connsiteY4" fmla="*/ 8729 h 32357"/>
                  <a:gd name="connsiteX5" fmla="*/ 10228 w 52460"/>
                  <a:gd name="connsiteY5" fmla="*/ 6701 h 32357"/>
                  <a:gd name="connsiteX6" fmla="*/ 11638 w 52460"/>
                  <a:gd name="connsiteY6" fmla="*/ 5026 h 32357"/>
                  <a:gd name="connsiteX7" fmla="*/ 12785 w 52460"/>
                  <a:gd name="connsiteY7" fmla="*/ 5907 h 32357"/>
                  <a:gd name="connsiteX8" fmla="*/ 13666 w 52460"/>
                  <a:gd name="connsiteY8" fmla="*/ 4673 h 32357"/>
                  <a:gd name="connsiteX9" fmla="*/ 12785 w 52460"/>
                  <a:gd name="connsiteY9" fmla="*/ 2910 h 32357"/>
                  <a:gd name="connsiteX10" fmla="*/ 13402 w 52460"/>
                  <a:gd name="connsiteY10" fmla="*/ 353 h 32357"/>
                  <a:gd name="connsiteX11" fmla="*/ 14283 w 52460"/>
                  <a:gd name="connsiteY11" fmla="*/ 353 h 32357"/>
                  <a:gd name="connsiteX12" fmla="*/ 14019 w 52460"/>
                  <a:gd name="connsiteY12" fmla="*/ 1499 h 32357"/>
                  <a:gd name="connsiteX13" fmla="*/ 14812 w 52460"/>
                  <a:gd name="connsiteY13" fmla="*/ 0 h 32357"/>
                  <a:gd name="connsiteX14" fmla="*/ 18075 w 52460"/>
                  <a:gd name="connsiteY14" fmla="*/ 353 h 32357"/>
                  <a:gd name="connsiteX15" fmla="*/ 25040 w 52460"/>
                  <a:gd name="connsiteY15" fmla="*/ 2381 h 32357"/>
                  <a:gd name="connsiteX16" fmla="*/ 25657 w 52460"/>
                  <a:gd name="connsiteY16" fmla="*/ 5555 h 32357"/>
                  <a:gd name="connsiteX17" fmla="*/ 27949 w 52460"/>
                  <a:gd name="connsiteY17" fmla="*/ 6172 h 32357"/>
                  <a:gd name="connsiteX18" fmla="*/ 29448 w 52460"/>
                  <a:gd name="connsiteY18" fmla="*/ 7935 h 32357"/>
                  <a:gd name="connsiteX19" fmla="*/ 30947 w 52460"/>
                  <a:gd name="connsiteY19" fmla="*/ 8464 h 32357"/>
                  <a:gd name="connsiteX20" fmla="*/ 31476 w 52460"/>
                  <a:gd name="connsiteY20" fmla="*/ 9963 h 32357"/>
                  <a:gd name="connsiteX21" fmla="*/ 33857 w 52460"/>
                  <a:gd name="connsiteY21" fmla="*/ 11374 h 32357"/>
                  <a:gd name="connsiteX22" fmla="*/ 35532 w 52460"/>
                  <a:gd name="connsiteY22" fmla="*/ 11374 h 32357"/>
                  <a:gd name="connsiteX23" fmla="*/ 35885 w 52460"/>
                  <a:gd name="connsiteY23" fmla="*/ 14019 h 32357"/>
                  <a:gd name="connsiteX24" fmla="*/ 38794 w 52460"/>
                  <a:gd name="connsiteY24" fmla="*/ 14019 h 32357"/>
                  <a:gd name="connsiteX25" fmla="*/ 38794 w 52460"/>
                  <a:gd name="connsiteY25" fmla="*/ 13137 h 32357"/>
                  <a:gd name="connsiteX26" fmla="*/ 40558 w 52460"/>
                  <a:gd name="connsiteY26" fmla="*/ 13137 h 32357"/>
                  <a:gd name="connsiteX27" fmla="*/ 41086 w 52460"/>
                  <a:gd name="connsiteY27" fmla="*/ 12255 h 32357"/>
                  <a:gd name="connsiteX28" fmla="*/ 41968 w 52460"/>
                  <a:gd name="connsiteY28" fmla="*/ 11374 h 32357"/>
                  <a:gd name="connsiteX29" fmla="*/ 42850 w 52460"/>
                  <a:gd name="connsiteY29" fmla="*/ 11374 h 32357"/>
                  <a:gd name="connsiteX30" fmla="*/ 45142 w 52460"/>
                  <a:gd name="connsiteY30" fmla="*/ 11726 h 32357"/>
                  <a:gd name="connsiteX31" fmla="*/ 46112 w 52460"/>
                  <a:gd name="connsiteY31" fmla="*/ 14019 h 32357"/>
                  <a:gd name="connsiteX32" fmla="*/ 47258 w 52460"/>
                  <a:gd name="connsiteY32" fmla="*/ 13137 h 32357"/>
                  <a:gd name="connsiteX33" fmla="*/ 48140 w 52460"/>
                  <a:gd name="connsiteY33" fmla="*/ 13490 h 32357"/>
                  <a:gd name="connsiteX34" fmla="*/ 48669 w 52460"/>
                  <a:gd name="connsiteY34" fmla="*/ 13137 h 32357"/>
                  <a:gd name="connsiteX35" fmla="*/ 51050 w 52460"/>
                  <a:gd name="connsiteY35" fmla="*/ 13137 h 32357"/>
                  <a:gd name="connsiteX36" fmla="*/ 52460 w 52460"/>
                  <a:gd name="connsiteY36" fmla="*/ 15165 h 32357"/>
                  <a:gd name="connsiteX37" fmla="*/ 51579 w 52460"/>
                  <a:gd name="connsiteY37" fmla="*/ 17281 h 32357"/>
                  <a:gd name="connsiteX38" fmla="*/ 52196 w 52460"/>
                  <a:gd name="connsiteY38" fmla="*/ 18075 h 32357"/>
                  <a:gd name="connsiteX39" fmla="*/ 50168 w 52460"/>
                  <a:gd name="connsiteY39" fmla="*/ 22747 h 32357"/>
                  <a:gd name="connsiteX40" fmla="*/ 50432 w 52460"/>
                  <a:gd name="connsiteY40" fmla="*/ 23100 h 32357"/>
                  <a:gd name="connsiteX41" fmla="*/ 51579 w 52460"/>
                  <a:gd name="connsiteY41" fmla="*/ 23100 h 32357"/>
                  <a:gd name="connsiteX42" fmla="*/ 51314 w 52460"/>
                  <a:gd name="connsiteY42" fmla="*/ 24511 h 32357"/>
                  <a:gd name="connsiteX43" fmla="*/ 49286 w 52460"/>
                  <a:gd name="connsiteY43" fmla="*/ 24246 h 32357"/>
                  <a:gd name="connsiteX44" fmla="*/ 47787 w 52460"/>
                  <a:gd name="connsiteY44" fmla="*/ 26010 h 32357"/>
                  <a:gd name="connsiteX45" fmla="*/ 49551 w 52460"/>
                  <a:gd name="connsiteY45" fmla="*/ 28567 h 32357"/>
                  <a:gd name="connsiteX46" fmla="*/ 46377 w 52460"/>
                  <a:gd name="connsiteY46" fmla="*/ 30947 h 32357"/>
                  <a:gd name="connsiteX47" fmla="*/ 46994 w 52460"/>
                  <a:gd name="connsiteY47" fmla="*/ 32093 h 32357"/>
                  <a:gd name="connsiteX48" fmla="*/ 46112 w 52460"/>
                  <a:gd name="connsiteY48" fmla="*/ 32358 h 32357"/>
                  <a:gd name="connsiteX49" fmla="*/ 37031 w 52460"/>
                  <a:gd name="connsiteY49" fmla="*/ 31829 h 32357"/>
                  <a:gd name="connsiteX50" fmla="*/ 37912 w 52460"/>
                  <a:gd name="connsiteY50" fmla="*/ 31212 h 32357"/>
                  <a:gd name="connsiteX51" fmla="*/ 37295 w 52460"/>
                  <a:gd name="connsiteY51" fmla="*/ 29801 h 32357"/>
                  <a:gd name="connsiteX52" fmla="*/ 37295 w 52460"/>
                  <a:gd name="connsiteY52" fmla="*/ 30947 h 32357"/>
                  <a:gd name="connsiteX53" fmla="*/ 36149 w 52460"/>
                  <a:gd name="connsiteY53" fmla="*/ 31212 h 32357"/>
                  <a:gd name="connsiteX54" fmla="*/ 36766 w 52460"/>
                  <a:gd name="connsiteY54" fmla="*/ 31829 h 32357"/>
                  <a:gd name="connsiteX55" fmla="*/ 35267 w 52460"/>
                  <a:gd name="connsiteY55" fmla="*/ 31829 h 32357"/>
                  <a:gd name="connsiteX56" fmla="*/ 35532 w 52460"/>
                  <a:gd name="connsiteY56" fmla="*/ 30683 h 32357"/>
                  <a:gd name="connsiteX57" fmla="*/ 35003 w 52460"/>
                  <a:gd name="connsiteY57" fmla="*/ 29536 h 32357"/>
                  <a:gd name="connsiteX58" fmla="*/ 34650 w 52460"/>
                  <a:gd name="connsiteY58" fmla="*/ 30683 h 32357"/>
                  <a:gd name="connsiteX59" fmla="*/ 33857 w 52460"/>
                  <a:gd name="connsiteY59" fmla="*/ 30683 h 32357"/>
                  <a:gd name="connsiteX60" fmla="*/ 32093 w 52460"/>
                  <a:gd name="connsiteY60" fmla="*/ 28302 h 32357"/>
                  <a:gd name="connsiteX61" fmla="*/ 30594 w 52460"/>
                  <a:gd name="connsiteY61" fmla="*/ 28302 h 32357"/>
                  <a:gd name="connsiteX62" fmla="*/ 29184 w 52460"/>
                  <a:gd name="connsiteY62" fmla="*/ 28919 h 32357"/>
                  <a:gd name="connsiteX63" fmla="*/ 32093 w 52460"/>
                  <a:gd name="connsiteY63" fmla="*/ 28919 h 32357"/>
                  <a:gd name="connsiteX64" fmla="*/ 32975 w 52460"/>
                  <a:gd name="connsiteY64" fmla="*/ 30683 h 32357"/>
                  <a:gd name="connsiteX65" fmla="*/ 31741 w 52460"/>
                  <a:gd name="connsiteY65" fmla="*/ 29801 h 32357"/>
                  <a:gd name="connsiteX66" fmla="*/ 34650 w 52460"/>
                  <a:gd name="connsiteY66" fmla="*/ 31829 h 32357"/>
                  <a:gd name="connsiteX67" fmla="*/ 26539 w 52460"/>
                  <a:gd name="connsiteY67" fmla="*/ 29536 h 32357"/>
                  <a:gd name="connsiteX68" fmla="*/ 18692 w 52460"/>
                  <a:gd name="connsiteY68" fmla="*/ 26010 h 32357"/>
                  <a:gd name="connsiteX69" fmla="*/ 16928 w 52460"/>
                  <a:gd name="connsiteY69" fmla="*/ 23629 h 32357"/>
                  <a:gd name="connsiteX70" fmla="*/ 14019 w 52460"/>
                  <a:gd name="connsiteY70" fmla="*/ 22747 h 32357"/>
                  <a:gd name="connsiteX71" fmla="*/ 9346 w 52460"/>
                  <a:gd name="connsiteY71" fmla="*/ 22218 h 32357"/>
                  <a:gd name="connsiteX72" fmla="*/ 5555 w 52460"/>
                  <a:gd name="connsiteY72" fmla="*/ 22483 h 32357"/>
                  <a:gd name="connsiteX73" fmla="*/ 4673 w 52460"/>
                  <a:gd name="connsiteY73" fmla="*/ 21601 h 32357"/>
                  <a:gd name="connsiteX74" fmla="*/ 5202 w 52460"/>
                  <a:gd name="connsiteY74" fmla="*/ 20455 h 32357"/>
                  <a:gd name="connsiteX75" fmla="*/ 2910 w 52460"/>
                  <a:gd name="connsiteY75" fmla="*/ 17810 h 32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52460" h="32357">
                    <a:moveTo>
                      <a:pt x="0" y="17281"/>
                    </a:moveTo>
                    <a:lnTo>
                      <a:pt x="529" y="13490"/>
                    </a:lnTo>
                    <a:lnTo>
                      <a:pt x="6701" y="9081"/>
                    </a:lnTo>
                    <a:lnTo>
                      <a:pt x="8729" y="10228"/>
                    </a:lnTo>
                    <a:lnTo>
                      <a:pt x="8464" y="8729"/>
                    </a:lnTo>
                    <a:lnTo>
                      <a:pt x="10228" y="6701"/>
                    </a:lnTo>
                    <a:lnTo>
                      <a:pt x="11638" y="5026"/>
                    </a:lnTo>
                    <a:lnTo>
                      <a:pt x="12785" y="5907"/>
                    </a:lnTo>
                    <a:lnTo>
                      <a:pt x="13666" y="4673"/>
                    </a:lnTo>
                    <a:lnTo>
                      <a:pt x="12785" y="2910"/>
                    </a:lnTo>
                    <a:lnTo>
                      <a:pt x="13402" y="353"/>
                    </a:lnTo>
                    <a:lnTo>
                      <a:pt x="14283" y="353"/>
                    </a:lnTo>
                    <a:lnTo>
                      <a:pt x="14019" y="1499"/>
                    </a:lnTo>
                    <a:lnTo>
                      <a:pt x="14812" y="0"/>
                    </a:lnTo>
                    <a:lnTo>
                      <a:pt x="18075" y="353"/>
                    </a:lnTo>
                    <a:lnTo>
                      <a:pt x="25040" y="2381"/>
                    </a:lnTo>
                    <a:lnTo>
                      <a:pt x="25657" y="5555"/>
                    </a:lnTo>
                    <a:lnTo>
                      <a:pt x="27949" y="6172"/>
                    </a:lnTo>
                    <a:lnTo>
                      <a:pt x="29448" y="7935"/>
                    </a:lnTo>
                    <a:lnTo>
                      <a:pt x="30947" y="8464"/>
                    </a:lnTo>
                    <a:lnTo>
                      <a:pt x="31476" y="9963"/>
                    </a:lnTo>
                    <a:lnTo>
                      <a:pt x="33857" y="11374"/>
                    </a:lnTo>
                    <a:lnTo>
                      <a:pt x="35532" y="11374"/>
                    </a:lnTo>
                    <a:lnTo>
                      <a:pt x="35885" y="14019"/>
                    </a:lnTo>
                    <a:lnTo>
                      <a:pt x="38794" y="14019"/>
                    </a:lnTo>
                    <a:lnTo>
                      <a:pt x="38794" y="13137"/>
                    </a:lnTo>
                    <a:lnTo>
                      <a:pt x="40558" y="13137"/>
                    </a:lnTo>
                    <a:lnTo>
                      <a:pt x="41086" y="12255"/>
                    </a:lnTo>
                    <a:lnTo>
                      <a:pt x="41968" y="11374"/>
                    </a:lnTo>
                    <a:lnTo>
                      <a:pt x="42850" y="11374"/>
                    </a:lnTo>
                    <a:lnTo>
                      <a:pt x="45142" y="11726"/>
                    </a:lnTo>
                    <a:lnTo>
                      <a:pt x="46112" y="14019"/>
                    </a:lnTo>
                    <a:lnTo>
                      <a:pt x="47258" y="13137"/>
                    </a:lnTo>
                    <a:lnTo>
                      <a:pt x="48140" y="13490"/>
                    </a:lnTo>
                    <a:lnTo>
                      <a:pt x="48669" y="13137"/>
                    </a:lnTo>
                    <a:lnTo>
                      <a:pt x="51050" y="13137"/>
                    </a:lnTo>
                    <a:lnTo>
                      <a:pt x="52460" y="15165"/>
                    </a:lnTo>
                    <a:lnTo>
                      <a:pt x="51579" y="17281"/>
                    </a:lnTo>
                    <a:lnTo>
                      <a:pt x="52196" y="18075"/>
                    </a:lnTo>
                    <a:lnTo>
                      <a:pt x="50168" y="22747"/>
                    </a:lnTo>
                    <a:lnTo>
                      <a:pt x="50432" y="23100"/>
                    </a:lnTo>
                    <a:lnTo>
                      <a:pt x="51579" y="23100"/>
                    </a:lnTo>
                    <a:lnTo>
                      <a:pt x="51314" y="24511"/>
                    </a:lnTo>
                    <a:lnTo>
                      <a:pt x="49286" y="24246"/>
                    </a:lnTo>
                    <a:lnTo>
                      <a:pt x="47787" y="26010"/>
                    </a:lnTo>
                    <a:lnTo>
                      <a:pt x="49551" y="28567"/>
                    </a:lnTo>
                    <a:lnTo>
                      <a:pt x="46377" y="30947"/>
                    </a:lnTo>
                    <a:lnTo>
                      <a:pt x="46994" y="32093"/>
                    </a:lnTo>
                    <a:lnTo>
                      <a:pt x="46112" y="32358"/>
                    </a:lnTo>
                    <a:lnTo>
                      <a:pt x="37031" y="31829"/>
                    </a:lnTo>
                    <a:lnTo>
                      <a:pt x="37912" y="31212"/>
                    </a:lnTo>
                    <a:lnTo>
                      <a:pt x="37295" y="29801"/>
                    </a:lnTo>
                    <a:lnTo>
                      <a:pt x="37295" y="30947"/>
                    </a:lnTo>
                    <a:lnTo>
                      <a:pt x="36149" y="31212"/>
                    </a:lnTo>
                    <a:lnTo>
                      <a:pt x="36766" y="31829"/>
                    </a:lnTo>
                    <a:lnTo>
                      <a:pt x="35267" y="31829"/>
                    </a:lnTo>
                    <a:lnTo>
                      <a:pt x="35532" y="30683"/>
                    </a:lnTo>
                    <a:lnTo>
                      <a:pt x="35003" y="29536"/>
                    </a:lnTo>
                    <a:lnTo>
                      <a:pt x="34650" y="30683"/>
                    </a:lnTo>
                    <a:lnTo>
                      <a:pt x="33857" y="30683"/>
                    </a:lnTo>
                    <a:lnTo>
                      <a:pt x="32093" y="28302"/>
                    </a:lnTo>
                    <a:lnTo>
                      <a:pt x="30594" y="28302"/>
                    </a:lnTo>
                    <a:lnTo>
                      <a:pt x="29184" y="28919"/>
                    </a:lnTo>
                    <a:lnTo>
                      <a:pt x="32093" y="28919"/>
                    </a:lnTo>
                    <a:lnTo>
                      <a:pt x="32975" y="30683"/>
                    </a:lnTo>
                    <a:lnTo>
                      <a:pt x="31741" y="29801"/>
                    </a:lnTo>
                    <a:lnTo>
                      <a:pt x="34650" y="31829"/>
                    </a:lnTo>
                    <a:lnTo>
                      <a:pt x="26539" y="29536"/>
                    </a:lnTo>
                    <a:lnTo>
                      <a:pt x="18692" y="26010"/>
                    </a:lnTo>
                    <a:lnTo>
                      <a:pt x="16928" y="23629"/>
                    </a:lnTo>
                    <a:lnTo>
                      <a:pt x="14019" y="22747"/>
                    </a:lnTo>
                    <a:lnTo>
                      <a:pt x="9346" y="22218"/>
                    </a:lnTo>
                    <a:lnTo>
                      <a:pt x="5555" y="22483"/>
                    </a:lnTo>
                    <a:lnTo>
                      <a:pt x="4673" y="21601"/>
                    </a:lnTo>
                    <a:lnTo>
                      <a:pt x="5202" y="20455"/>
                    </a:lnTo>
                    <a:lnTo>
                      <a:pt x="2910" y="178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3" name="Freihandform: Form 1752">
                <a:extLst>
                  <a:ext uri="{FF2B5EF4-FFF2-40B4-BE49-F238E27FC236}">
                    <a16:creationId xmlns:a16="http://schemas.microsoft.com/office/drawing/2014/main" id="{985F94D4-E910-9C9E-5E75-F81185C62A24}"/>
                  </a:ext>
                </a:extLst>
              </p:cNvPr>
              <p:cNvSpPr/>
              <p:nvPr/>
            </p:nvSpPr>
            <p:spPr>
              <a:xfrm>
                <a:off x="2720512" y="4630646"/>
                <a:ext cx="184360" cy="207371"/>
              </a:xfrm>
              <a:custGeom>
                <a:avLst/>
                <a:gdLst>
                  <a:gd name="connsiteX0" fmla="*/ 353 w 184360"/>
                  <a:gd name="connsiteY0" fmla="*/ 74061 h 207371"/>
                  <a:gd name="connsiteX1" fmla="*/ 1234 w 184360"/>
                  <a:gd name="connsiteY1" fmla="*/ 60131 h 207371"/>
                  <a:gd name="connsiteX2" fmla="*/ 5819 w 184360"/>
                  <a:gd name="connsiteY2" fmla="*/ 44613 h 207371"/>
                  <a:gd name="connsiteX3" fmla="*/ 4408 w 184360"/>
                  <a:gd name="connsiteY3" fmla="*/ 32622 h 207371"/>
                  <a:gd name="connsiteX4" fmla="*/ 8464 w 184360"/>
                  <a:gd name="connsiteY4" fmla="*/ 23894 h 207371"/>
                  <a:gd name="connsiteX5" fmla="*/ 17546 w 184360"/>
                  <a:gd name="connsiteY5" fmla="*/ 14283 h 207371"/>
                  <a:gd name="connsiteX6" fmla="*/ 19573 w 184360"/>
                  <a:gd name="connsiteY6" fmla="*/ 5555 h 207371"/>
                  <a:gd name="connsiteX7" fmla="*/ 37119 w 184360"/>
                  <a:gd name="connsiteY7" fmla="*/ 4937 h 207371"/>
                  <a:gd name="connsiteX8" fmla="*/ 44349 w 184360"/>
                  <a:gd name="connsiteY8" fmla="*/ 1499 h 207371"/>
                  <a:gd name="connsiteX9" fmla="*/ 50785 w 184360"/>
                  <a:gd name="connsiteY9" fmla="*/ 882 h 207371"/>
                  <a:gd name="connsiteX10" fmla="*/ 64804 w 184360"/>
                  <a:gd name="connsiteY10" fmla="*/ 0 h 207371"/>
                  <a:gd name="connsiteX11" fmla="*/ 75560 w 184360"/>
                  <a:gd name="connsiteY11" fmla="*/ 7053 h 207371"/>
                  <a:gd name="connsiteX12" fmla="*/ 82614 w 184360"/>
                  <a:gd name="connsiteY12" fmla="*/ 8729 h 207371"/>
                  <a:gd name="connsiteX13" fmla="*/ 91342 w 184360"/>
                  <a:gd name="connsiteY13" fmla="*/ 14283 h 207371"/>
                  <a:gd name="connsiteX14" fmla="*/ 91607 w 184360"/>
                  <a:gd name="connsiteY14" fmla="*/ 16047 h 207371"/>
                  <a:gd name="connsiteX15" fmla="*/ 91872 w 184360"/>
                  <a:gd name="connsiteY15" fmla="*/ 18074 h 207371"/>
                  <a:gd name="connsiteX16" fmla="*/ 92224 w 184360"/>
                  <a:gd name="connsiteY16" fmla="*/ 20984 h 207371"/>
                  <a:gd name="connsiteX17" fmla="*/ 91872 w 184360"/>
                  <a:gd name="connsiteY17" fmla="*/ 22483 h 207371"/>
                  <a:gd name="connsiteX18" fmla="*/ 92224 w 184360"/>
                  <a:gd name="connsiteY18" fmla="*/ 23012 h 207371"/>
                  <a:gd name="connsiteX19" fmla="*/ 91872 w 184360"/>
                  <a:gd name="connsiteY19" fmla="*/ 24246 h 207371"/>
                  <a:gd name="connsiteX20" fmla="*/ 93370 w 184360"/>
                  <a:gd name="connsiteY20" fmla="*/ 25128 h 207371"/>
                  <a:gd name="connsiteX21" fmla="*/ 96280 w 184360"/>
                  <a:gd name="connsiteY21" fmla="*/ 29184 h 207371"/>
                  <a:gd name="connsiteX22" fmla="*/ 97162 w 184360"/>
                  <a:gd name="connsiteY22" fmla="*/ 34738 h 207371"/>
                  <a:gd name="connsiteX23" fmla="*/ 98043 w 184360"/>
                  <a:gd name="connsiteY23" fmla="*/ 35267 h 207371"/>
                  <a:gd name="connsiteX24" fmla="*/ 98308 w 184360"/>
                  <a:gd name="connsiteY24" fmla="*/ 38530 h 207371"/>
                  <a:gd name="connsiteX25" fmla="*/ 98925 w 184360"/>
                  <a:gd name="connsiteY25" fmla="*/ 40822 h 207371"/>
                  <a:gd name="connsiteX26" fmla="*/ 101570 w 184360"/>
                  <a:gd name="connsiteY26" fmla="*/ 42585 h 207371"/>
                  <a:gd name="connsiteX27" fmla="*/ 101217 w 184360"/>
                  <a:gd name="connsiteY27" fmla="*/ 45495 h 207371"/>
                  <a:gd name="connsiteX28" fmla="*/ 100336 w 184360"/>
                  <a:gd name="connsiteY28" fmla="*/ 50432 h 207371"/>
                  <a:gd name="connsiteX29" fmla="*/ 99807 w 184360"/>
                  <a:gd name="connsiteY29" fmla="*/ 56339 h 207371"/>
                  <a:gd name="connsiteX30" fmla="*/ 101570 w 184360"/>
                  <a:gd name="connsiteY30" fmla="*/ 60395 h 207371"/>
                  <a:gd name="connsiteX31" fmla="*/ 100688 w 184360"/>
                  <a:gd name="connsiteY31" fmla="*/ 64804 h 207371"/>
                  <a:gd name="connsiteX32" fmla="*/ 99807 w 184360"/>
                  <a:gd name="connsiteY32" fmla="*/ 68595 h 207371"/>
                  <a:gd name="connsiteX33" fmla="*/ 101217 w 184360"/>
                  <a:gd name="connsiteY33" fmla="*/ 70270 h 207371"/>
                  <a:gd name="connsiteX34" fmla="*/ 102981 w 184360"/>
                  <a:gd name="connsiteY34" fmla="*/ 70887 h 207371"/>
                  <a:gd name="connsiteX35" fmla="*/ 104127 w 184360"/>
                  <a:gd name="connsiteY35" fmla="*/ 70887 h 207371"/>
                  <a:gd name="connsiteX36" fmla="*/ 104744 w 184360"/>
                  <a:gd name="connsiteY36" fmla="*/ 70623 h 207371"/>
                  <a:gd name="connsiteX37" fmla="*/ 108535 w 184360"/>
                  <a:gd name="connsiteY37" fmla="*/ 72651 h 207371"/>
                  <a:gd name="connsiteX38" fmla="*/ 113473 w 184360"/>
                  <a:gd name="connsiteY38" fmla="*/ 73797 h 207371"/>
                  <a:gd name="connsiteX39" fmla="*/ 116118 w 184360"/>
                  <a:gd name="connsiteY39" fmla="*/ 73797 h 207371"/>
                  <a:gd name="connsiteX40" fmla="*/ 117881 w 184360"/>
                  <a:gd name="connsiteY40" fmla="*/ 73797 h 207371"/>
                  <a:gd name="connsiteX41" fmla="*/ 119292 w 184360"/>
                  <a:gd name="connsiteY41" fmla="*/ 74061 h 207371"/>
                  <a:gd name="connsiteX42" fmla="*/ 123965 w 184360"/>
                  <a:gd name="connsiteY42" fmla="*/ 74679 h 207371"/>
                  <a:gd name="connsiteX43" fmla="*/ 124317 w 184360"/>
                  <a:gd name="connsiteY43" fmla="*/ 75560 h 207371"/>
                  <a:gd name="connsiteX44" fmla="*/ 126081 w 184360"/>
                  <a:gd name="connsiteY44" fmla="*/ 74414 h 207371"/>
                  <a:gd name="connsiteX45" fmla="*/ 128109 w 184360"/>
                  <a:gd name="connsiteY45" fmla="*/ 73797 h 207371"/>
                  <a:gd name="connsiteX46" fmla="*/ 129255 w 184360"/>
                  <a:gd name="connsiteY46" fmla="*/ 74061 h 207371"/>
                  <a:gd name="connsiteX47" fmla="*/ 132165 w 184360"/>
                  <a:gd name="connsiteY47" fmla="*/ 70623 h 207371"/>
                  <a:gd name="connsiteX48" fmla="*/ 135339 w 184360"/>
                  <a:gd name="connsiteY48" fmla="*/ 72298 h 207371"/>
                  <a:gd name="connsiteX49" fmla="*/ 140893 w 184360"/>
                  <a:gd name="connsiteY49" fmla="*/ 74679 h 207371"/>
                  <a:gd name="connsiteX50" fmla="*/ 143538 w 184360"/>
                  <a:gd name="connsiteY50" fmla="*/ 74679 h 207371"/>
                  <a:gd name="connsiteX51" fmla="*/ 146448 w 184360"/>
                  <a:gd name="connsiteY51" fmla="*/ 75560 h 207371"/>
                  <a:gd name="connsiteX52" fmla="*/ 149975 w 184360"/>
                  <a:gd name="connsiteY52" fmla="*/ 82261 h 207371"/>
                  <a:gd name="connsiteX53" fmla="*/ 152884 w 184360"/>
                  <a:gd name="connsiteY53" fmla="*/ 93018 h 207371"/>
                  <a:gd name="connsiteX54" fmla="*/ 154030 w 184360"/>
                  <a:gd name="connsiteY54" fmla="*/ 96280 h 207371"/>
                  <a:gd name="connsiteX55" fmla="*/ 156058 w 184360"/>
                  <a:gd name="connsiteY55" fmla="*/ 99189 h 207371"/>
                  <a:gd name="connsiteX56" fmla="*/ 156675 w 184360"/>
                  <a:gd name="connsiteY56" fmla="*/ 102716 h 207371"/>
                  <a:gd name="connsiteX57" fmla="*/ 156940 w 184360"/>
                  <a:gd name="connsiteY57" fmla="*/ 107918 h 207371"/>
                  <a:gd name="connsiteX58" fmla="*/ 160202 w 184360"/>
                  <a:gd name="connsiteY58" fmla="*/ 117264 h 207371"/>
                  <a:gd name="connsiteX59" fmla="*/ 166286 w 184360"/>
                  <a:gd name="connsiteY59" fmla="*/ 117528 h 207371"/>
                  <a:gd name="connsiteX60" fmla="*/ 170694 w 184360"/>
                  <a:gd name="connsiteY60" fmla="*/ 115765 h 207371"/>
                  <a:gd name="connsiteX61" fmla="*/ 181186 w 184360"/>
                  <a:gd name="connsiteY61" fmla="*/ 115765 h 207371"/>
                  <a:gd name="connsiteX62" fmla="*/ 183478 w 184360"/>
                  <a:gd name="connsiteY62" fmla="*/ 121055 h 207371"/>
                  <a:gd name="connsiteX63" fmla="*/ 184360 w 184360"/>
                  <a:gd name="connsiteY63" fmla="*/ 130401 h 207371"/>
                  <a:gd name="connsiteX64" fmla="*/ 183478 w 184360"/>
                  <a:gd name="connsiteY64" fmla="*/ 137983 h 207371"/>
                  <a:gd name="connsiteX65" fmla="*/ 184096 w 184360"/>
                  <a:gd name="connsiteY65" fmla="*/ 146977 h 207371"/>
                  <a:gd name="connsiteX66" fmla="*/ 180833 w 184360"/>
                  <a:gd name="connsiteY66" fmla="*/ 156058 h 207371"/>
                  <a:gd name="connsiteX67" fmla="*/ 181186 w 184360"/>
                  <a:gd name="connsiteY67" fmla="*/ 157204 h 207371"/>
                  <a:gd name="connsiteX68" fmla="*/ 181186 w 184360"/>
                  <a:gd name="connsiteY68" fmla="*/ 157557 h 207371"/>
                  <a:gd name="connsiteX69" fmla="*/ 180833 w 184360"/>
                  <a:gd name="connsiteY69" fmla="*/ 159232 h 207371"/>
                  <a:gd name="connsiteX70" fmla="*/ 181451 w 184360"/>
                  <a:gd name="connsiteY70" fmla="*/ 161877 h 207371"/>
                  <a:gd name="connsiteX71" fmla="*/ 181715 w 184360"/>
                  <a:gd name="connsiteY71" fmla="*/ 165404 h 207371"/>
                  <a:gd name="connsiteX72" fmla="*/ 180833 w 184360"/>
                  <a:gd name="connsiteY72" fmla="*/ 167432 h 207371"/>
                  <a:gd name="connsiteX73" fmla="*/ 181451 w 184360"/>
                  <a:gd name="connsiteY73" fmla="*/ 172105 h 207371"/>
                  <a:gd name="connsiteX74" fmla="*/ 181715 w 184360"/>
                  <a:gd name="connsiteY74" fmla="*/ 174133 h 207371"/>
                  <a:gd name="connsiteX75" fmla="*/ 181715 w 184360"/>
                  <a:gd name="connsiteY75" fmla="*/ 178805 h 207371"/>
                  <a:gd name="connsiteX76" fmla="*/ 180304 w 184360"/>
                  <a:gd name="connsiteY76" fmla="*/ 182597 h 207371"/>
                  <a:gd name="connsiteX77" fmla="*/ 180040 w 184360"/>
                  <a:gd name="connsiteY77" fmla="*/ 184625 h 207371"/>
                  <a:gd name="connsiteX78" fmla="*/ 177924 w 184360"/>
                  <a:gd name="connsiteY78" fmla="*/ 184889 h 207371"/>
                  <a:gd name="connsiteX79" fmla="*/ 175279 w 184360"/>
                  <a:gd name="connsiteY79" fmla="*/ 188151 h 207371"/>
                  <a:gd name="connsiteX80" fmla="*/ 173868 w 184360"/>
                  <a:gd name="connsiteY80" fmla="*/ 191590 h 207371"/>
                  <a:gd name="connsiteX81" fmla="*/ 170959 w 184360"/>
                  <a:gd name="connsiteY81" fmla="*/ 191061 h 207371"/>
                  <a:gd name="connsiteX82" fmla="*/ 167167 w 184360"/>
                  <a:gd name="connsiteY82" fmla="*/ 193706 h 207371"/>
                  <a:gd name="connsiteX83" fmla="*/ 166021 w 184360"/>
                  <a:gd name="connsiteY83" fmla="*/ 195469 h 207371"/>
                  <a:gd name="connsiteX84" fmla="*/ 164522 w 184360"/>
                  <a:gd name="connsiteY84" fmla="*/ 197144 h 207371"/>
                  <a:gd name="connsiteX85" fmla="*/ 165139 w 184360"/>
                  <a:gd name="connsiteY85" fmla="*/ 200054 h 207371"/>
                  <a:gd name="connsiteX86" fmla="*/ 165139 w 184360"/>
                  <a:gd name="connsiteY86" fmla="*/ 201817 h 207371"/>
                  <a:gd name="connsiteX87" fmla="*/ 162494 w 184360"/>
                  <a:gd name="connsiteY87" fmla="*/ 203581 h 207371"/>
                  <a:gd name="connsiteX88" fmla="*/ 159849 w 184360"/>
                  <a:gd name="connsiteY88" fmla="*/ 202964 h 207371"/>
                  <a:gd name="connsiteX89" fmla="*/ 158968 w 184360"/>
                  <a:gd name="connsiteY89" fmla="*/ 201553 h 207371"/>
                  <a:gd name="connsiteX90" fmla="*/ 156058 w 184360"/>
                  <a:gd name="connsiteY90" fmla="*/ 200936 h 207371"/>
                  <a:gd name="connsiteX91" fmla="*/ 153413 w 184360"/>
                  <a:gd name="connsiteY91" fmla="*/ 200936 h 207371"/>
                  <a:gd name="connsiteX92" fmla="*/ 151121 w 184360"/>
                  <a:gd name="connsiteY92" fmla="*/ 202082 h 207371"/>
                  <a:gd name="connsiteX93" fmla="*/ 149710 w 184360"/>
                  <a:gd name="connsiteY93" fmla="*/ 207372 h 207371"/>
                  <a:gd name="connsiteX94" fmla="*/ 145831 w 184360"/>
                  <a:gd name="connsiteY94" fmla="*/ 204463 h 207371"/>
                  <a:gd name="connsiteX95" fmla="*/ 142921 w 184360"/>
                  <a:gd name="connsiteY95" fmla="*/ 204463 h 207371"/>
                  <a:gd name="connsiteX96" fmla="*/ 140629 w 184360"/>
                  <a:gd name="connsiteY96" fmla="*/ 205344 h 207371"/>
                  <a:gd name="connsiteX97" fmla="*/ 137719 w 184360"/>
                  <a:gd name="connsiteY97" fmla="*/ 203316 h 207371"/>
                  <a:gd name="connsiteX98" fmla="*/ 134457 w 184360"/>
                  <a:gd name="connsiteY98" fmla="*/ 204815 h 207371"/>
                  <a:gd name="connsiteX99" fmla="*/ 131900 w 184360"/>
                  <a:gd name="connsiteY99" fmla="*/ 204463 h 207371"/>
                  <a:gd name="connsiteX100" fmla="*/ 126874 w 184360"/>
                  <a:gd name="connsiteY100" fmla="*/ 203581 h 207371"/>
                  <a:gd name="connsiteX101" fmla="*/ 122202 w 184360"/>
                  <a:gd name="connsiteY101" fmla="*/ 202082 h 207371"/>
                  <a:gd name="connsiteX102" fmla="*/ 118410 w 184360"/>
                  <a:gd name="connsiteY102" fmla="*/ 200407 h 207371"/>
                  <a:gd name="connsiteX103" fmla="*/ 112591 w 184360"/>
                  <a:gd name="connsiteY103" fmla="*/ 200054 h 207371"/>
                  <a:gd name="connsiteX104" fmla="*/ 106772 w 184360"/>
                  <a:gd name="connsiteY104" fmla="*/ 200054 h 207371"/>
                  <a:gd name="connsiteX105" fmla="*/ 100953 w 184360"/>
                  <a:gd name="connsiteY105" fmla="*/ 200936 h 207371"/>
                  <a:gd name="connsiteX106" fmla="*/ 99454 w 184360"/>
                  <a:gd name="connsiteY106" fmla="*/ 197497 h 207371"/>
                  <a:gd name="connsiteX107" fmla="*/ 100071 w 184360"/>
                  <a:gd name="connsiteY107" fmla="*/ 195998 h 207371"/>
                  <a:gd name="connsiteX108" fmla="*/ 101835 w 184360"/>
                  <a:gd name="connsiteY108" fmla="*/ 194235 h 207371"/>
                  <a:gd name="connsiteX109" fmla="*/ 102099 w 184360"/>
                  <a:gd name="connsiteY109" fmla="*/ 194235 h 207371"/>
                  <a:gd name="connsiteX110" fmla="*/ 102981 w 184360"/>
                  <a:gd name="connsiteY110" fmla="*/ 192207 h 207371"/>
                  <a:gd name="connsiteX111" fmla="*/ 102364 w 184360"/>
                  <a:gd name="connsiteY111" fmla="*/ 191061 h 207371"/>
                  <a:gd name="connsiteX112" fmla="*/ 104744 w 184360"/>
                  <a:gd name="connsiteY112" fmla="*/ 190179 h 207371"/>
                  <a:gd name="connsiteX113" fmla="*/ 106243 w 184360"/>
                  <a:gd name="connsiteY113" fmla="*/ 189915 h 207371"/>
                  <a:gd name="connsiteX114" fmla="*/ 104744 w 184360"/>
                  <a:gd name="connsiteY114" fmla="*/ 188416 h 207371"/>
                  <a:gd name="connsiteX115" fmla="*/ 106508 w 184360"/>
                  <a:gd name="connsiteY115" fmla="*/ 188416 h 207371"/>
                  <a:gd name="connsiteX116" fmla="*/ 106772 w 184360"/>
                  <a:gd name="connsiteY116" fmla="*/ 187005 h 207371"/>
                  <a:gd name="connsiteX117" fmla="*/ 107918 w 184360"/>
                  <a:gd name="connsiteY117" fmla="*/ 184360 h 207371"/>
                  <a:gd name="connsiteX118" fmla="*/ 107918 w 184360"/>
                  <a:gd name="connsiteY118" fmla="*/ 182597 h 207371"/>
                  <a:gd name="connsiteX119" fmla="*/ 106772 w 184360"/>
                  <a:gd name="connsiteY119" fmla="*/ 179952 h 207371"/>
                  <a:gd name="connsiteX120" fmla="*/ 106243 w 184360"/>
                  <a:gd name="connsiteY120" fmla="*/ 178805 h 207371"/>
                  <a:gd name="connsiteX121" fmla="*/ 107125 w 184360"/>
                  <a:gd name="connsiteY121" fmla="*/ 174750 h 207371"/>
                  <a:gd name="connsiteX122" fmla="*/ 107125 w 184360"/>
                  <a:gd name="connsiteY122" fmla="*/ 172369 h 207371"/>
                  <a:gd name="connsiteX123" fmla="*/ 107918 w 184360"/>
                  <a:gd name="connsiteY123" fmla="*/ 171487 h 207371"/>
                  <a:gd name="connsiteX124" fmla="*/ 110034 w 184360"/>
                  <a:gd name="connsiteY124" fmla="*/ 170606 h 207371"/>
                  <a:gd name="connsiteX125" fmla="*/ 112591 w 184360"/>
                  <a:gd name="connsiteY125" fmla="*/ 167696 h 207371"/>
                  <a:gd name="connsiteX126" fmla="*/ 112062 w 184360"/>
                  <a:gd name="connsiteY126" fmla="*/ 167167 h 207371"/>
                  <a:gd name="connsiteX127" fmla="*/ 112591 w 184360"/>
                  <a:gd name="connsiteY127" fmla="*/ 165668 h 207371"/>
                  <a:gd name="connsiteX128" fmla="*/ 113737 w 184360"/>
                  <a:gd name="connsiteY128" fmla="*/ 163640 h 207371"/>
                  <a:gd name="connsiteX129" fmla="*/ 114619 w 184360"/>
                  <a:gd name="connsiteY129" fmla="*/ 160995 h 207371"/>
                  <a:gd name="connsiteX130" fmla="*/ 113737 w 184360"/>
                  <a:gd name="connsiteY130" fmla="*/ 160114 h 207371"/>
                  <a:gd name="connsiteX131" fmla="*/ 115501 w 184360"/>
                  <a:gd name="connsiteY131" fmla="*/ 159232 h 207371"/>
                  <a:gd name="connsiteX132" fmla="*/ 116382 w 184360"/>
                  <a:gd name="connsiteY132" fmla="*/ 158086 h 207371"/>
                  <a:gd name="connsiteX133" fmla="*/ 117000 w 184360"/>
                  <a:gd name="connsiteY133" fmla="*/ 157557 h 207371"/>
                  <a:gd name="connsiteX134" fmla="*/ 117881 w 184360"/>
                  <a:gd name="connsiteY134" fmla="*/ 153413 h 207371"/>
                  <a:gd name="connsiteX135" fmla="*/ 115501 w 184360"/>
                  <a:gd name="connsiteY135" fmla="*/ 151120 h 207371"/>
                  <a:gd name="connsiteX136" fmla="*/ 113208 w 184360"/>
                  <a:gd name="connsiteY136" fmla="*/ 149093 h 207371"/>
                  <a:gd name="connsiteX137" fmla="*/ 110828 w 184360"/>
                  <a:gd name="connsiteY137" fmla="*/ 146183 h 207371"/>
                  <a:gd name="connsiteX138" fmla="*/ 107389 w 184360"/>
                  <a:gd name="connsiteY138" fmla="*/ 144949 h 207371"/>
                  <a:gd name="connsiteX139" fmla="*/ 105890 w 184360"/>
                  <a:gd name="connsiteY139" fmla="*/ 144155 h 207371"/>
                  <a:gd name="connsiteX140" fmla="*/ 104480 w 184360"/>
                  <a:gd name="connsiteY140" fmla="*/ 143538 h 207371"/>
                  <a:gd name="connsiteX141" fmla="*/ 101217 w 184360"/>
                  <a:gd name="connsiteY141" fmla="*/ 141775 h 207371"/>
                  <a:gd name="connsiteX142" fmla="*/ 99807 w 184360"/>
                  <a:gd name="connsiteY142" fmla="*/ 143185 h 207371"/>
                  <a:gd name="connsiteX143" fmla="*/ 96897 w 184360"/>
                  <a:gd name="connsiteY143" fmla="*/ 139394 h 207371"/>
                  <a:gd name="connsiteX144" fmla="*/ 92224 w 184360"/>
                  <a:gd name="connsiteY144" fmla="*/ 138248 h 207371"/>
                  <a:gd name="connsiteX145" fmla="*/ 88962 w 184360"/>
                  <a:gd name="connsiteY145" fmla="*/ 137631 h 207371"/>
                  <a:gd name="connsiteX146" fmla="*/ 84025 w 184360"/>
                  <a:gd name="connsiteY146" fmla="*/ 133840 h 207371"/>
                  <a:gd name="connsiteX147" fmla="*/ 81997 w 184360"/>
                  <a:gd name="connsiteY147" fmla="*/ 132693 h 207371"/>
                  <a:gd name="connsiteX148" fmla="*/ 77059 w 184360"/>
                  <a:gd name="connsiteY148" fmla="*/ 130136 h 207371"/>
                  <a:gd name="connsiteX149" fmla="*/ 61013 w 184360"/>
                  <a:gd name="connsiteY149" fmla="*/ 118763 h 207371"/>
                  <a:gd name="connsiteX150" fmla="*/ 55193 w 184360"/>
                  <a:gd name="connsiteY150" fmla="*/ 118763 h 207371"/>
                  <a:gd name="connsiteX151" fmla="*/ 51931 w 184360"/>
                  <a:gd name="connsiteY151" fmla="*/ 117528 h 207371"/>
                  <a:gd name="connsiteX152" fmla="*/ 49286 w 184360"/>
                  <a:gd name="connsiteY152" fmla="*/ 116999 h 207371"/>
                  <a:gd name="connsiteX153" fmla="*/ 46994 w 184360"/>
                  <a:gd name="connsiteY153" fmla="*/ 115236 h 207371"/>
                  <a:gd name="connsiteX154" fmla="*/ 45848 w 184360"/>
                  <a:gd name="connsiteY154" fmla="*/ 115236 h 207371"/>
                  <a:gd name="connsiteX155" fmla="*/ 41439 w 184360"/>
                  <a:gd name="connsiteY155" fmla="*/ 113473 h 207371"/>
                  <a:gd name="connsiteX156" fmla="*/ 38530 w 184360"/>
                  <a:gd name="connsiteY156" fmla="*/ 111709 h 207371"/>
                  <a:gd name="connsiteX157" fmla="*/ 36502 w 184360"/>
                  <a:gd name="connsiteY157" fmla="*/ 109329 h 207371"/>
                  <a:gd name="connsiteX158" fmla="*/ 35003 w 184360"/>
                  <a:gd name="connsiteY158" fmla="*/ 106772 h 207371"/>
                  <a:gd name="connsiteX159" fmla="*/ 32975 w 184360"/>
                  <a:gd name="connsiteY159" fmla="*/ 105890 h 207371"/>
                  <a:gd name="connsiteX160" fmla="*/ 30683 w 184360"/>
                  <a:gd name="connsiteY160" fmla="*/ 104127 h 207371"/>
                  <a:gd name="connsiteX161" fmla="*/ 28655 w 184360"/>
                  <a:gd name="connsiteY161" fmla="*/ 103510 h 207371"/>
                  <a:gd name="connsiteX162" fmla="*/ 26891 w 184360"/>
                  <a:gd name="connsiteY162" fmla="*/ 102099 h 207371"/>
                  <a:gd name="connsiteX163" fmla="*/ 26539 w 184360"/>
                  <a:gd name="connsiteY163" fmla="*/ 101834 h 207371"/>
                  <a:gd name="connsiteX164" fmla="*/ 24246 w 184360"/>
                  <a:gd name="connsiteY164" fmla="*/ 100071 h 207371"/>
                  <a:gd name="connsiteX165" fmla="*/ 21866 w 184360"/>
                  <a:gd name="connsiteY165" fmla="*/ 98043 h 207371"/>
                  <a:gd name="connsiteX166" fmla="*/ 21337 w 184360"/>
                  <a:gd name="connsiteY166" fmla="*/ 96809 h 207371"/>
                  <a:gd name="connsiteX167" fmla="*/ 19309 w 184360"/>
                  <a:gd name="connsiteY167" fmla="*/ 95398 h 207371"/>
                  <a:gd name="connsiteX168" fmla="*/ 16399 w 184360"/>
                  <a:gd name="connsiteY168" fmla="*/ 93370 h 207371"/>
                  <a:gd name="connsiteX169" fmla="*/ 11109 w 184360"/>
                  <a:gd name="connsiteY169" fmla="*/ 86052 h 207371"/>
                  <a:gd name="connsiteX170" fmla="*/ 10845 w 184360"/>
                  <a:gd name="connsiteY170" fmla="*/ 84906 h 207371"/>
                  <a:gd name="connsiteX171" fmla="*/ 10492 w 184360"/>
                  <a:gd name="connsiteY171" fmla="*/ 84024 h 207371"/>
                  <a:gd name="connsiteX172" fmla="*/ 9963 w 184360"/>
                  <a:gd name="connsiteY172" fmla="*/ 82261 h 207371"/>
                  <a:gd name="connsiteX173" fmla="*/ 8464 w 184360"/>
                  <a:gd name="connsiteY173" fmla="*/ 81379 h 207371"/>
                  <a:gd name="connsiteX174" fmla="*/ 5555 w 184360"/>
                  <a:gd name="connsiteY174" fmla="*/ 79616 h 207371"/>
                  <a:gd name="connsiteX175" fmla="*/ 4408 w 184360"/>
                  <a:gd name="connsiteY175" fmla="*/ 77588 h 207371"/>
                  <a:gd name="connsiteX176" fmla="*/ 2645 w 184360"/>
                  <a:gd name="connsiteY176" fmla="*/ 76706 h 207371"/>
                  <a:gd name="connsiteX177" fmla="*/ 1234 w 184360"/>
                  <a:gd name="connsiteY177" fmla="*/ 75825 h 207371"/>
                  <a:gd name="connsiteX178" fmla="*/ 0 w 184360"/>
                  <a:gd name="connsiteY178" fmla="*/ 74061 h 20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</a:cxnLst>
                <a:rect l="l" t="t" r="r" b="b"/>
                <a:pathLst>
                  <a:path w="184360" h="207371">
                    <a:moveTo>
                      <a:pt x="353" y="74061"/>
                    </a:moveTo>
                    <a:lnTo>
                      <a:pt x="1234" y="60131"/>
                    </a:lnTo>
                    <a:lnTo>
                      <a:pt x="5819" y="44613"/>
                    </a:lnTo>
                    <a:lnTo>
                      <a:pt x="4408" y="32622"/>
                    </a:lnTo>
                    <a:lnTo>
                      <a:pt x="8464" y="23894"/>
                    </a:lnTo>
                    <a:lnTo>
                      <a:pt x="17546" y="14283"/>
                    </a:lnTo>
                    <a:lnTo>
                      <a:pt x="19573" y="5555"/>
                    </a:lnTo>
                    <a:lnTo>
                      <a:pt x="37119" y="4937"/>
                    </a:lnTo>
                    <a:lnTo>
                      <a:pt x="44349" y="1499"/>
                    </a:lnTo>
                    <a:lnTo>
                      <a:pt x="50785" y="882"/>
                    </a:lnTo>
                    <a:lnTo>
                      <a:pt x="64804" y="0"/>
                    </a:lnTo>
                    <a:lnTo>
                      <a:pt x="75560" y="7053"/>
                    </a:lnTo>
                    <a:lnTo>
                      <a:pt x="82614" y="8729"/>
                    </a:lnTo>
                    <a:lnTo>
                      <a:pt x="91342" y="14283"/>
                    </a:lnTo>
                    <a:lnTo>
                      <a:pt x="91607" y="16047"/>
                    </a:lnTo>
                    <a:lnTo>
                      <a:pt x="91872" y="18074"/>
                    </a:lnTo>
                    <a:lnTo>
                      <a:pt x="92224" y="20984"/>
                    </a:lnTo>
                    <a:lnTo>
                      <a:pt x="91872" y="22483"/>
                    </a:lnTo>
                    <a:lnTo>
                      <a:pt x="92224" y="23012"/>
                    </a:lnTo>
                    <a:lnTo>
                      <a:pt x="91872" y="24246"/>
                    </a:lnTo>
                    <a:lnTo>
                      <a:pt x="93370" y="25128"/>
                    </a:lnTo>
                    <a:lnTo>
                      <a:pt x="96280" y="29184"/>
                    </a:lnTo>
                    <a:lnTo>
                      <a:pt x="97162" y="34738"/>
                    </a:lnTo>
                    <a:lnTo>
                      <a:pt x="98043" y="35267"/>
                    </a:lnTo>
                    <a:lnTo>
                      <a:pt x="98308" y="38530"/>
                    </a:lnTo>
                    <a:lnTo>
                      <a:pt x="98925" y="40822"/>
                    </a:lnTo>
                    <a:lnTo>
                      <a:pt x="101570" y="42585"/>
                    </a:lnTo>
                    <a:lnTo>
                      <a:pt x="101217" y="45495"/>
                    </a:lnTo>
                    <a:lnTo>
                      <a:pt x="100336" y="50432"/>
                    </a:lnTo>
                    <a:lnTo>
                      <a:pt x="99807" y="56339"/>
                    </a:lnTo>
                    <a:lnTo>
                      <a:pt x="101570" y="60395"/>
                    </a:lnTo>
                    <a:lnTo>
                      <a:pt x="100688" y="64804"/>
                    </a:lnTo>
                    <a:lnTo>
                      <a:pt x="99807" y="68595"/>
                    </a:lnTo>
                    <a:lnTo>
                      <a:pt x="101217" y="70270"/>
                    </a:lnTo>
                    <a:lnTo>
                      <a:pt x="102981" y="70887"/>
                    </a:lnTo>
                    <a:lnTo>
                      <a:pt x="104127" y="70887"/>
                    </a:lnTo>
                    <a:lnTo>
                      <a:pt x="104744" y="70623"/>
                    </a:lnTo>
                    <a:lnTo>
                      <a:pt x="108535" y="72651"/>
                    </a:lnTo>
                    <a:lnTo>
                      <a:pt x="113473" y="73797"/>
                    </a:lnTo>
                    <a:lnTo>
                      <a:pt x="116118" y="73797"/>
                    </a:lnTo>
                    <a:lnTo>
                      <a:pt x="117881" y="73797"/>
                    </a:lnTo>
                    <a:lnTo>
                      <a:pt x="119292" y="74061"/>
                    </a:lnTo>
                    <a:lnTo>
                      <a:pt x="123965" y="74679"/>
                    </a:lnTo>
                    <a:lnTo>
                      <a:pt x="124317" y="75560"/>
                    </a:lnTo>
                    <a:lnTo>
                      <a:pt x="126081" y="74414"/>
                    </a:lnTo>
                    <a:lnTo>
                      <a:pt x="128109" y="73797"/>
                    </a:lnTo>
                    <a:lnTo>
                      <a:pt x="129255" y="74061"/>
                    </a:lnTo>
                    <a:lnTo>
                      <a:pt x="132165" y="70623"/>
                    </a:lnTo>
                    <a:lnTo>
                      <a:pt x="135339" y="72298"/>
                    </a:lnTo>
                    <a:lnTo>
                      <a:pt x="140893" y="74679"/>
                    </a:lnTo>
                    <a:lnTo>
                      <a:pt x="143538" y="74679"/>
                    </a:lnTo>
                    <a:lnTo>
                      <a:pt x="146448" y="75560"/>
                    </a:lnTo>
                    <a:lnTo>
                      <a:pt x="149975" y="82261"/>
                    </a:lnTo>
                    <a:lnTo>
                      <a:pt x="152884" y="93018"/>
                    </a:lnTo>
                    <a:lnTo>
                      <a:pt x="154030" y="96280"/>
                    </a:lnTo>
                    <a:lnTo>
                      <a:pt x="156058" y="99189"/>
                    </a:lnTo>
                    <a:lnTo>
                      <a:pt x="156675" y="102716"/>
                    </a:lnTo>
                    <a:lnTo>
                      <a:pt x="156940" y="107918"/>
                    </a:lnTo>
                    <a:lnTo>
                      <a:pt x="160202" y="117264"/>
                    </a:lnTo>
                    <a:lnTo>
                      <a:pt x="166286" y="117528"/>
                    </a:lnTo>
                    <a:lnTo>
                      <a:pt x="170694" y="115765"/>
                    </a:lnTo>
                    <a:lnTo>
                      <a:pt x="181186" y="115765"/>
                    </a:lnTo>
                    <a:lnTo>
                      <a:pt x="183478" y="121055"/>
                    </a:lnTo>
                    <a:lnTo>
                      <a:pt x="184360" y="130401"/>
                    </a:lnTo>
                    <a:lnTo>
                      <a:pt x="183478" y="137983"/>
                    </a:lnTo>
                    <a:lnTo>
                      <a:pt x="184096" y="146977"/>
                    </a:lnTo>
                    <a:lnTo>
                      <a:pt x="180833" y="156058"/>
                    </a:lnTo>
                    <a:lnTo>
                      <a:pt x="181186" y="157204"/>
                    </a:lnTo>
                    <a:lnTo>
                      <a:pt x="181186" y="157557"/>
                    </a:lnTo>
                    <a:lnTo>
                      <a:pt x="180833" y="159232"/>
                    </a:lnTo>
                    <a:lnTo>
                      <a:pt x="181451" y="161877"/>
                    </a:lnTo>
                    <a:lnTo>
                      <a:pt x="181715" y="165404"/>
                    </a:lnTo>
                    <a:lnTo>
                      <a:pt x="180833" y="167432"/>
                    </a:lnTo>
                    <a:lnTo>
                      <a:pt x="181451" y="172105"/>
                    </a:lnTo>
                    <a:lnTo>
                      <a:pt x="181715" y="174133"/>
                    </a:lnTo>
                    <a:lnTo>
                      <a:pt x="181715" y="178805"/>
                    </a:lnTo>
                    <a:lnTo>
                      <a:pt x="180304" y="182597"/>
                    </a:lnTo>
                    <a:lnTo>
                      <a:pt x="180040" y="184625"/>
                    </a:lnTo>
                    <a:lnTo>
                      <a:pt x="177924" y="184889"/>
                    </a:lnTo>
                    <a:lnTo>
                      <a:pt x="175279" y="188151"/>
                    </a:lnTo>
                    <a:lnTo>
                      <a:pt x="173868" y="191590"/>
                    </a:lnTo>
                    <a:lnTo>
                      <a:pt x="170959" y="191061"/>
                    </a:lnTo>
                    <a:lnTo>
                      <a:pt x="167167" y="193706"/>
                    </a:lnTo>
                    <a:lnTo>
                      <a:pt x="166021" y="195469"/>
                    </a:lnTo>
                    <a:lnTo>
                      <a:pt x="164522" y="197144"/>
                    </a:lnTo>
                    <a:lnTo>
                      <a:pt x="165139" y="200054"/>
                    </a:lnTo>
                    <a:lnTo>
                      <a:pt x="165139" y="201817"/>
                    </a:lnTo>
                    <a:lnTo>
                      <a:pt x="162494" y="203581"/>
                    </a:lnTo>
                    <a:lnTo>
                      <a:pt x="159849" y="202964"/>
                    </a:lnTo>
                    <a:lnTo>
                      <a:pt x="158968" y="201553"/>
                    </a:lnTo>
                    <a:lnTo>
                      <a:pt x="156058" y="200936"/>
                    </a:lnTo>
                    <a:lnTo>
                      <a:pt x="153413" y="200936"/>
                    </a:lnTo>
                    <a:lnTo>
                      <a:pt x="151121" y="202082"/>
                    </a:lnTo>
                    <a:lnTo>
                      <a:pt x="149710" y="207372"/>
                    </a:lnTo>
                    <a:lnTo>
                      <a:pt x="145831" y="204463"/>
                    </a:lnTo>
                    <a:lnTo>
                      <a:pt x="142921" y="204463"/>
                    </a:lnTo>
                    <a:lnTo>
                      <a:pt x="140629" y="205344"/>
                    </a:lnTo>
                    <a:lnTo>
                      <a:pt x="137719" y="203316"/>
                    </a:lnTo>
                    <a:lnTo>
                      <a:pt x="134457" y="204815"/>
                    </a:lnTo>
                    <a:lnTo>
                      <a:pt x="131900" y="204463"/>
                    </a:lnTo>
                    <a:lnTo>
                      <a:pt x="126874" y="203581"/>
                    </a:lnTo>
                    <a:lnTo>
                      <a:pt x="122202" y="202082"/>
                    </a:lnTo>
                    <a:lnTo>
                      <a:pt x="118410" y="200407"/>
                    </a:lnTo>
                    <a:lnTo>
                      <a:pt x="112591" y="200054"/>
                    </a:lnTo>
                    <a:lnTo>
                      <a:pt x="106772" y="200054"/>
                    </a:lnTo>
                    <a:lnTo>
                      <a:pt x="100953" y="200936"/>
                    </a:lnTo>
                    <a:lnTo>
                      <a:pt x="99454" y="197497"/>
                    </a:lnTo>
                    <a:lnTo>
                      <a:pt x="100071" y="195998"/>
                    </a:lnTo>
                    <a:lnTo>
                      <a:pt x="101835" y="194235"/>
                    </a:lnTo>
                    <a:lnTo>
                      <a:pt x="102099" y="194235"/>
                    </a:lnTo>
                    <a:lnTo>
                      <a:pt x="102981" y="192207"/>
                    </a:lnTo>
                    <a:lnTo>
                      <a:pt x="102364" y="191061"/>
                    </a:lnTo>
                    <a:lnTo>
                      <a:pt x="104744" y="190179"/>
                    </a:lnTo>
                    <a:lnTo>
                      <a:pt x="106243" y="189915"/>
                    </a:lnTo>
                    <a:lnTo>
                      <a:pt x="104744" y="188416"/>
                    </a:lnTo>
                    <a:lnTo>
                      <a:pt x="106508" y="188416"/>
                    </a:lnTo>
                    <a:lnTo>
                      <a:pt x="106772" y="187005"/>
                    </a:lnTo>
                    <a:lnTo>
                      <a:pt x="107918" y="184360"/>
                    </a:lnTo>
                    <a:lnTo>
                      <a:pt x="107918" y="182597"/>
                    </a:lnTo>
                    <a:lnTo>
                      <a:pt x="106772" y="179952"/>
                    </a:lnTo>
                    <a:lnTo>
                      <a:pt x="106243" y="178805"/>
                    </a:lnTo>
                    <a:lnTo>
                      <a:pt x="107125" y="174750"/>
                    </a:lnTo>
                    <a:lnTo>
                      <a:pt x="107125" y="172369"/>
                    </a:lnTo>
                    <a:lnTo>
                      <a:pt x="107918" y="171487"/>
                    </a:lnTo>
                    <a:lnTo>
                      <a:pt x="110034" y="170606"/>
                    </a:lnTo>
                    <a:lnTo>
                      <a:pt x="112591" y="167696"/>
                    </a:lnTo>
                    <a:lnTo>
                      <a:pt x="112062" y="167167"/>
                    </a:lnTo>
                    <a:lnTo>
                      <a:pt x="112591" y="165668"/>
                    </a:lnTo>
                    <a:lnTo>
                      <a:pt x="113737" y="163640"/>
                    </a:lnTo>
                    <a:lnTo>
                      <a:pt x="114619" y="160995"/>
                    </a:lnTo>
                    <a:lnTo>
                      <a:pt x="113737" y="160114"/>
                    </a:lnTo>
                    <a:lnTo>
                      <a:pt x="115501" y="159232"/>
                    </a:lnTo>
                    <a:lnTo>
                      <a:pt x="116382" y="158086"/>
                    </a:lnTo>
                    <a:lnTo>
                      <a:pt x="117000" y="157557"/>
                    </a:lnTo>
                    <a:lnTo>
                      <a:pt x="117881" y="153413"/>
                    </a:lnTo>
                    <a:lnTo>
                      <a:pt x="115501" y="151120"/>
                    </a:lnTo>
                    <a:lnTo>
                      <a:pt x="113208" y="149093"/>
                    </a:lnTo>
                    <a:lnTo>
                      <a:pt x="110828" y="146183"/>
                    </a:lnTo>
                    <a:lnTo>
                      <a:pt x="107389" y="144949"/>
                    </a:lnTo>
                    <a:lnTo>
                      <a:pt x="105890" y="144155"/>
                    </a:lnTo>
                    <a:lnTo>
                      <a:pt x="104480" y="143538"/>
                    </a:lnTo>
                    <a:lnTo>
                      <a:pt x="101217" y="141775"/>
                    </a:lnTo>
                    <a:lnTo>
                      <a:pt x="99807" y="143185"/>
                    </a:lnTo>
                    <a:lnTo>
                      <a:pt x="96897" y="139394"/>
                    </a:lnTo>
                    <a:lnTo>
                      <a:pt x="92224" y="138248"/>
                    </a:lnTo>
                    <a:lnTo>
                      <a:pt x="88962" y="137631"/>
                    </a:lnTo>
                    <a:lnTo>
                      <a:pt x="84025" y="133840"/>
                    </a:lnTo>
                    <a:lnTo>
                      <a:pt x="81997" y="132693"/>
                    </a:lnTo>
                    <a:lnTo>
                      <a:pt x="77059" y="130136"/>
                    </a:lnTo>
                    <a:lnTo>
                      <a:pt x="61013" y="118763"/>
                    </a:lnTo>
                    <a:lnTo>
                      <a:pt x="55193" y="118763"/>
                    </a:lnTo>
                    <a:lnTo>
                      <a:pt x="51931" y="117528"/>
                    </a:lnTo>
                    <a:lnTo>
                      <a:pt x="49286" y="116999"/>
                    </a:lnTo>
                    <a:lnTo>
                      <a:pt x="46994" y="115236"/>
                    </a:lnTo>
                    <a:lnTo>
                      <a:pt x="45848" y="115236"/>
                    </a:lnTo>
                    <a:lnTo>
                      <a:pt x="41439" y="113473"/>
                    </a:lnTo>
                    <a:lnTo>
                      <a:pt x="38530" y="111709"/>
                    </a:lnTo>
                    <a:lnTo>
                      <a:pt x="36502" y="109329"/>
                    </a:lnTo>
                    <a:lnTo>
                      <a:pt x="35003" y="106772"/>
                    </a:lnTo>
                    <a:lnTo>
                      <a:pt x="32975" y="105890"/>
                    </a:lnTo>
                    <a:lnTo>
                      <a:pt x="30683" y="104127"/>
                    </a:lnTo>
                    <a:lnTo>
                      <a:pt x="28655" y="103510"/>
                    </a:lnTo>
                    <a:lnTo>
                      <a:pt x="26891" y="102099"/>
                    </a:lnTo>
                    <a:lnTo>
                      <a:pt x="26539" y="101834"/>
                    </a:lnTo>
                    <a:lnTo>
                      <a:pt x="24246" y="100071"/>
                    </a:lnTo>
                    <a:lnTo>
                      <a:pt x="21866" y="98043"/>
                    </a:lnTo>
                    <a:lnTo>
                      <a:pt x="21337" y="96809"/>
                    </a:lnTo>
                    <a:lnTo>
                      <a:pt x="19309" y="95398"/>
                    </a:lnTo>
                    <a:lnTo>
                      <a:pt x="16399" y="93370"/>
                    </a:lnTo>
                    <a:lnTo>
                      <a:pt x="11109" y="86052"/>
                    </a:lnTo>
                    <a:lnTo>
                      <a:pt x="10845" y="84906"/>
                    </a:lnTo>
                    <a:lnTo>
                      <a:pt x="10492" y="84024"/>
                    </a:lnTo>
                    <a:lnTo>
                      <a:pt x="9963" y="82261"/>
                    </a:lnTo>
                    <a:lnTo>
                      <a:pt x="8464" y="81379"/>
                    </a:lnTo>
                    <a:lnTo>
                      <a:pt x="5555" y="79616"/>
                    </a:lnTo>
                    <a:lnTo>
                      <a:pt x="4408" y="77588"/>
                    </a:lnTo>
                    <a:lnTo>
                      <a:pt x="2645" y="76706"/>
                    </a:lnTo>
                    <a:lnTo>
                      <a:pt x="1234" y="75825"/>
                    </a:lnTo>
                    <a:lnTo>
                      <a:pt x="0" y="74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4" name="Freihandform: Form 1753">
                <a:extLst>
                  <a:ext uri="{FF2B5EF4-FFF2-40B4-BE49-F238E27FC236}">
                    <a16:creationId xmlns:a16="http://schemas.microsoft.com/office/drawing/2014/main" id="{0DB505C2-D214-72BD-BFE5-F8B3369FA3AC}"/>
                  </a:ext>
                </a:extLst>
              </p:cNvPr>
              <p:cNvSpPr/>
              <p:nvPr/>
            </p:nvSpPr>
            <p:spPr>
              <a:xfrm>
                <a:off x="2281257" y="4151187"/>
                <a:ext cx="291396" cy="456712"/>
              </a:xfrm>
              <a:custGeom>
                <a:avLst/>
                <a:gdLst>
                  <a:gd name="connsiteX0" fmla="*/ 20720 w 291396"/>
                  <a:gd name="connsiteY0" fmla="*/ 83407 h 456712"/>
                  <a:gd name="connsiteX1" fmla="*/ 20720 w 291396"/>
                  <a:gd name="connsiteY1" fmla="*/ 83407 h 456712"/>
                  <a:gd name="connsiteX2" fmla="*/ 20984 w 291396"/>
                  <a:gd name="connsiteY2" fmla="*/ 84553 h 456712"/>
                  <a:gd name="connsiteX3" fmla="*/ 20455 w 291396"/>
                  <a:gd name="connsiteY3" fmla="*/ 86317 h 456712"/>
                  <a:gd name="connsiteX4" fmla="*/ 16664 w 291396"/>
                  <a:gd name="connsiteY4" fmla="*/ 86581 h 456712"/>
                  <a:gd name="connsiteX5" fmla="*/ 15518 w 291396"/>
                  <a:gd name="connsiteY5" fmla="*/ 89226 h 456712"/>
                  <a:gd name="connsiteX6" fmla="*/ 10845 w 291396"/>
                  <a:gd name="connsiteY6" fmla="*/ 92753 h 456712"/>
                  <a:gd name="connsiteX7" fmla="*/ 10228 w 291396"/>
                  <a:gd name="connsiteY7" fmla="*/ 93899 h 456712"/>
                  <a:gd name="connsiteX8" fmla="*/ 9963 w 291396"/>
                  <a:gd name="connsiteY8" fmla="*/ 96192 h 456712"/>
                  <a:gd name="connsiteX9" fmla="*/ 7318 w 291396"/>
                  <a:gd name="connsiteY9" fmla="*/ 97955 h 456712"/>
                  <a:gd name="connsiteX10" fmla="*/ 5290 w 291396"/>
                  <a:gd name="connsiteY10" fmla="*/ 101482 h 456712"/>
                  <a:gd name="connsiteX11" fmla="*/ 4408 w 291396"/>
                  <a:gd name="connsiteY11" fmla="*/ 101746 h 456712"/>
                  <a:gd name="connsiteX12" fmla="*/ 2910 w 291396"/>
                  <a:gd name="connsiteY12" fmla="*/ 104127 h 456712"/>
                  <a:gd name="connsiteX13" fmla="*/ 1499 w 291396"/>
                  <a:gd name="connsiteY13" fmla="*/ 105273 h 456712"/>
                  <a:gd name="connsiteX14" fmla="*/ 1146 w 291396"/>
                  <a:gd name="connsiteY14" fmla="*/ 106155 h 456712"/>
                  <a:gd name="connsiteX15" fmla="*/ 1146 w 291396"/>
                  <a:gd name="connsiteY15" fmla="*/ 109064 h 456712"/>
                  <a:gd name="connsiteX16" fmla="*/ 617 w 291396"/>
                  <a:gd name="connsiteY16" fmla="*/ 109946 h 456712"/>
                  <a:gd name="connsiteX17" fmla="*/ 264 w 291396"/>
                  <a:gd name="connsiteY17" fmla="*/ 111092 h 456712"/>
                  <a:gd name="connsiteX18" fmla="*/ 882 w 291396"/>
                  <a:gd name="connsiteY18" fmla="*/ 112855 h 456712"/>
                  <a:gd name="connsiteX19" fmla="*/ 264 w 291396"/>
                  <a:gd name="connsiteY19" fmla="*/ 115148 h 456712"/>
                  <a:gd name="connsiteX20" fmla="*/ 0 w 291396"/>
                  <a:gd name="connsiteY20" fmla="*/ 116030 h 456712"/>
                  <a:gd name="connsiteX21" fmla="*/ 3262 w 291396"/>
                  <a:gd name="connsiteY21" fmla="*/ 120174 h 456712"/>
                  <a:gd name="connsiteX22" fmla="*/ 3791 w 291396"/>
                  <a:gd name="connsiteY22" fmla="*/ 121055 h 456712"/>
                  <a:gd name="connsiteX23" fmla="*/ 4937 w 291396"/>
                  <a:gd name="connsiteY23" fmla="*/ 122730 h 456712"/>
                  <a:gd name="connsiteX24" fmla="*/ 5819 w 291396"/>
                  <a:gd name="connsiteY24" fmla="*/ 124494 h 456712"/>
                  <a:gd name="connsiteX25" fmla="*/ 5555 w 291396"/>
                  <a:gd name="connsiteY25" fmla="*/ 125993 h 456712"/>
                  <a:gd name="connsiteX26" fmla="*/ 3791 w 291396"/>
                  <a:gd name="connsiteY26" fmla="*/ 125993 h 456712"/>
                  <a:gd name="connsiteX27" fmla="*/ 4056 w 291396"/>
                  <a:gd name="connsiteY27" fmla="*/ 128285 h 456712"/>
                  <a:gd name="connsiteX28" fmla="*/ 3791 w 291396"/>
                  <a:gd name="connsiteY28" fmla="*/ 128902 h 456712"/>
                  <a:gd name="connsiteX29" fmla="*/ 4937 w 291396"/>
                  <a:gd name="connsiteY29" fmla="*/ 130930 h 456712"/>
                  <a:gd name="connsiteX30" fmla="*/ 6172 w 291396"/>
                  <a:gd name="connsiteY30" fmla="*/ 131812 h 456712"/>
                  <a:gd name="connsiteX31" fmla="*/ 9081 w 291396"/>
                  <a:gd name="connsiteY31" fmla="*/ 134721 h 456712"/>
                  <a:gd name="connsiteX32" fmla="*/ 11374 w 291396"/>
                  <a:gd name="connsiteY32" fmla="*/ 140276 h 456712"/>
                  <a:gd name="connsiteX33" fmla="*/ 10845 w 291396"/>
                  <a:gd name="connsiteY33" fmla="*/ 143185 h 456712"/>
                  <a:gd name="connsiteX34" fmla="*/ 10228 w 291396"/>
                  <a:gd name="connsiteY34" fmla="*/ 144949 h 456712"/>
                  <a:gd name="connsiteX35" fmla="*/ 9081 w 291396"/>
                  <a:gd name="connsiteY35" fmla="*/ 145566 h 456712"/>
                  <a:gd name="connsiteX36" fmla="*/ 7582 w 291396"/>
                  <a:gd name="connsiteY36" fmla="*/ 144949 h 456712"/>
                  <a:gd name="connsiteX37" fmla="*/ 6172 w 291396"/>
                  <a:gd name="connsiteY37" fmla="*/ 143803 h 456712"/>
                  <a:gd name="connsiteX38" fmla="*/ 5819 w 291396"/>
                  <a:gd name="connsiteY38" fmla="*/ 144596 h 456712"/>
                  <a:gd name="connsiteX39" fmla="*/ 4937 w 291396"/>
                  <a:gd name="connsiteY39" fmla="*/ 144949 h 456712"/>
                  <a:gd name="connsiteX40" fmla="*/ 4673 w 291396"/>
                  <a:gd name="connsiteY40" fmla="*/ 146360 h 456712"/>
                  <a:gd name="connsiteX41" fmla="*/ 4673 w 291396"/>
                  <a:gd name="connsiteY41" fmla="*/ 148740 h 456712"/>
                  <a:gd name="connsiteX42" fmla="*/ 5555 w 291396"/>
                  <a:gd name="connsiteY42" fmla="*/ 150768 h 456712"/>
                  <a:gd name="connsiteX43" fmla="*/ 6436 w 291396"/>
                  <a:gd name="connsiteY43" fmla="*/ 151650 h 456712"/>
                  <a:gd name="connsiteX44" fmla="*/ 10492 w 291396"/>
                  <a:gd name="connsiteY44" fmla="*/ 153942 h 456712"/>
                  <a:gd name="connsiteX45" fmla="*/ 13754 w 291396"/>
                  <a:gd name="connsiteY45" fmla="*/ 156587 h 456712"/>
                  <a:gd name="connsiteX46" fmla="*/ 19838 w 291396"/>
                  <a:gd name="connsiteY46" fmla="*/ 159761 h 456712"/>
                  <a:gd name="connsiteX47" fmla="*/ 24246 w 291396"/>
                  <a:gd name="connsiteY47" fmla="*/ 162142 h 456712"/>
                  <a:gd name="connsiteX48" fmla="*/ 28302 w 291396"/>
                  <a:gd name="connsiteY48" fmla="*/ 164169 h 456712"/>
                  <a:gd name="connsiteX49" fmla="*/ 31829 w 291396"/>
                  <a:gd name="connsiteY49" fmla="*/ 167961 h 456712"/>
                  <a:gd name="connsiteX50" fmla="*/ 33240 w 291396"/>
                  <a:gd name="connsiteY50" fmla="*/ 171223 h 456712"/>
                  <a:gd name="connsiteX51" fmla="*/ 34474 w 291396"/>
                  <a:gd name="connsiteY51" fmla="*/ 172369 h 456712"/>
                  <a:gd name="connsiteX52" fmla="*/ 35267 w 291396"/>
                  <a:gd name="connsiteY52" fmla="*/ 173251 h 456712"/>
                  <a:gd name="connsiteX53" fmla="*/ 37648 w 291396"/>
                  <a:gd name="connsiteY53" fmla="*/ 175543 h 456712"/>
                  <a:gd name="connsiteX54" fmla="*/ 37912 w 291396"/>
                  <a:gd name="connsiteY54" fmla="*/ 176690 h 456712"/>
                  <a:gd name="connsiteX55" fmla="*/ 37912 w 291396"/>
                  <a:gd name="connsiteY55" fmla="*/ 178188 h 456712"/>
                  <a:gd name="connsiteX56" fmla="*/ 39940 w 291396"/>
                  <a:gd name="connsiteY56" fmla="*/ 180481 h 456712"/>
                  <a:gd name="connsiteX57" fmla="*/ 41439 w 291396"/>
                  <a:gd name="connsiteY57" fmla="*/ 184007 h 456712"/>
                  <a:gd name="connsiteX58" fmla="*/ 40822 w 291396"/>
                  <a:gd name="connsiteY58" fmla="*/ 184625 h 456712"/>
                  <a:gd name="connsiteX59" fmla="*/ 41439 w 291396"/>
                  <a:gd name="connsiteY59" fmla="*/ 185771 h 456712"/>
                  <a:gd name="connsiteX60" fmla="*/ 43202 w 291396"/>
                  <a:gd name="connsiteY60" fmla="*/ 188416 h 456712"/>
                  <a:gd name="connsiteX61" fmla="*/ 44349 w 291396"/>
                  <a:gd name="connsiteY61" fmla="*/ 190444 h 456712"/>
                  <a:gd name="connsiteX62" fmla="*/ 44349 w 291396"/>
                  <a:gd name="connsiteY62" fmla="*/ 191590 h 456712"/>
                  <a:gd name="connsiteX63" fmla="*/ 44084 w 291396"/>
                  <a:gd name="connsiteY63" fmla="*/ 191854 h 456712"/>
                  <a:gd name="connsiteX64" fmla="*/ 45230 w 291396"/>
                  <a:gd name="connsiteY64" fmla="*/ 192471 h 456712"/>
                  <a:gd name="connsiteX65" fmla="*/ 47875 w 291396"/>
                  <a:gd name="connsiteY65" fmla="*/ 196527 h 456712"/>
                  <a:gd name="connsiteX66" fmla="*/ 51049 w 291396"/>
                  <a:gd name="connsiteY66" fmla="*/ 199790 h 456712"/>
                  <a:gd name="connsiteX67" fmla="*/ 51931 w 291396"/>
                  <a:gd name="connsiteY67" fmla="*/ 200936 h 456712"/>
                  <a:gd name="connsiteX68" fmla="*/ 54841 w 291396"/>
                  <a:gd name="connsiteY68" fmla="*/ 204110 h 456712"/>
                  <a:gd name="connsiteX69" fmla="*/ 55458 w 291396"/>
                  <a:gd name="connsiteY69" fmla="*/ 205609 h 456712"/>
                  <a:gd name="connsiteX70" fmla="*/ 57221 w 291396"/>
                  <a:gd name="connsiteY70" fmla="*/ 207989 h 456712"/>
                  <a:gd name="connsiteX71" fmla="*/ 57221 w 291396"/>
                  <a:gd name="connsiteY71" fmla="*/ 208783 h 456712"/>
                  <a:gd name="connsiteX72" fmla="*/ 56340 w 291396"/>
                  <a:gd name="connsiteY72" fmla="*/ 209135 h 456712"/>
                  <a:gd name="connsiteX73" fmla="*/ 58632 w 291396"/>
                  <a:gd name="connsiteY73" fmla="*/ 211163 h 456712"/>
                  <a:gd name="connsiteX74" fmla="*/ 60395 w 291396"/>
                  <a:gd name="connsiteY74" fmla="*/ 213191 h 456712"/>
                  <a:gd name="connsiteX75" fmla="*/ 60924 w 291396"/>
                  <a:gd name="connsiteY75" fmla="*/ 215836 h 456712"/>
                  <a:gd name="connsiteX76" fmla="*/ 60660 w 291396"/>
                  <a:gd name="connsiteY76" fmla="*/ 217600 h 456712"/>
                  <a:gd name="connsiteX77" fmla="*/ 60660 w 291396"/>
                  <a:gd name="connsiteY77" fmla="*/ 218128 h 456712"/>
                  <a:gd name="connsiteX78" fmla="*/ 63040 w 291396"/>
                  <a:gd name="connsiteY78" fmla="*/ 221655 h 456712"/>
                  <a:gd name="connsiteX79" fmla="*/ 63040 w 291396"/>
                  <a:gd name="connsiteY79" fmla="*/ 223066 h 456712"/>
                  <a:gd name="connsiteX80" fmla="*/ 63040 w 291396"/>
                  <a:gd name="connsiteY80" fmla="*/ 223419 h 456712"/>
                  <a:gd name="connsiteX81" fmla="*/ 63305 w 291396"/>
                  <a:gd name="connsiteY81" fmla="*/ 223683 h 456712"/>
                  <a:gd name="connsiteX82" fmla="*/ 63569 w 291396"/>
                  <a:gd name="connsiteY82" fmla="*/ 225182 h 456712"/>
                  <a:gd name="connsiteX83" fmla="*/ 64451 w 291396"/>
                  <a:gd name="connsiteY83" fmla="*/ 225447 h 456712"/>
                  <a:gd name="connsiteX84" fmla="*/ 65685 w 291396"/>
                  <a:gd name="connsiteY84" fmla="*/ 226328 h 456712"/>
                  <a:gd name="connsiteX85" fmla="*/ 65068 w 291396"/>
                  <a:gd name="connsiteY85" fmla="*/ 227210 h 456712"/>
                  <a:gd name="connsiteX86" fmla="*/ 64451 w 291396"/>
                  <a:gd name="connsiteY86" fmla="*/ 227474 h 456712"/>
                  <a:gd name="connsiteX87" fmla="*/ 64804 w 291396"/>
                  <a:gd name="connsiteY87" fmla="*/ 228973 h 456712"/>
                  <a:gd name="connsiteX88" fmla="*/ 64804 w 291396"/>
                  <a:gd name="connsiteY88" fmla="*/ 229502 h 456712"/>
                  <a:gd name="connsiteX89" fmla="*/ 65333 w 291396"/>
                  <a:gd name="connsiteY89" fmla="*/ 229502 h 456712"/>
                  <a:gd name="connsiteX90" fmla="*/ 65685 w 291396"/>
                  <a:gd name="connsiteY90" fmla="*/ 228356 h 456712"/>
                  <a:gd name="connsiteX91" fmla="*/ 66832 w 291396"/>
                  <a:gd name="connsiteY91" fmla="*/ 228356 h 456712"/>
                  <a:gd name="connsiteX92" fmla="*/ 66832 w 291396"/>
                  <a:gd name="connsiteY92" fmla="*/ 229502 h 456712"/>
                  <a:gd name="connsiteX93" fmla="*/ 66479 w 291396"/>
                  <a:gd name="connsiteY93" fmla="*/ 230649 h 456712"/>
                  <a:gd name="connsiteX94" fmla="*/ 67096 w 291396"/>
                  <a:gd name="connsiteY94" fmla="*/ 231883 h 456712"/>
                  <a:gd name="connsiteX95" fmla="*/ 68595 w 291396"/>
                  <a:gd name="connsiteY95" fmla="*/ 231883 h 456712"/>
                  <a:gd name="connsiteX96" fmla="*/ 68859 w 291396"/>
                  <a:gd name="connsiteY96" fmla="*/ 233911 h 456712"/>
                  <a:gd name="connsiteX97" fmla="*/ 69741 w 291396"/>
                  <a:gd name="connsiteY97" fmla="*/ 234528 h 456712"/>
                  <a:gd name="connsiteX98" fmla="*/ 69477 w 291396"/>
                  <a:gd name="connsiteY98" fmla="*/ 235057 h 456712"/>
                  <a:gd name="connsiteX99" fmla="*/ 70270 w 291396"/>
                  <a:gd name="connsiteY99" fmla="*/ 238848 h 456712"/>
                  <a:gd name="connsiteX100" fmla="*/ 71769 w 291396"/>
                  <a:gd name="connsiteY100" fmla="*/ 240612 h 456712"/>
                  <a:gd name="connsiteX101" fmla="*/ 73268 w 291396"/>
                  <a:gd name="connsiteY101" fmla="*/ 243786 h 456712"/>
                  <a:gd name="connsiteX102" fmla="*/ 73268 w 291396"/>
                  <a:gd name="connsiteY102" fmla="*/ 245020 h 456712"/>
                  <a:gd name="connsiteX103" fmla="*/ 74061 w 291396"/>
                  <a:gd name="connsiteY103" fmla="*/ 245813 h 456712"/>
                  <a:gd name="connsiteX104" fmla="*/ 73532 w 291396"/>
                  <a:gd name="connsiteY104" fmla="*/ 247312 h 456712"/>
                  <a:gd name="connsiteX105" fmla="*/ 74414 w 291396"/>
                  <a:gd name="connsiteY105" fmla="*/ 248194 h 456712"/>
                  <a:gd name="connsiteX106" fmla="*/ 75296 w 291396"/>
                  <a:gd name="connsiteY106" fmla="*/ 250222 h 456712"/>
                  <a:gd name="connsiteX107" fmla="*/ 74943 w 291396"/>
                  <a:gd name="connsiteY107" fmla="*/ 251721 h 456712"/>
                  <a:gd name="connsiteX108" fmla="*/ 77059 w 291396"/>
                  <a:gd name="connsiteY108" fmla="*/ 254278 h 456712"/>
                  <a:gd name="connsiteX109" fmla="*/ 77324 w 291396"/>
                  <a:gd name="connsiteY109" fmla="*/ 255159 h 456712"/>
                  <a:gd name="connsiteX110" fmla="*/ 78205 w 291396"/>
                  <a:gd name="connsiteY110" fmla="*/ 255159 h 456712"/>
                  <a:gd name="connsiteX111" fmla="*/ 78205 w 291396"/>
                  <a:gd name="connsiteY111" fmla="*/ 256658 h 456712"/>
                  <a:gd name="connsiteX112" fmla="*/ 79352 w 291396"/>
                  <a:gd name="connsiteY112" fmla="*/ 257187 h 456712"/>
                  <a:gd name="connsiteX113" fmla="*/ 80850 w 291396"/>
                  <a:gd name="connsiteY113" fmla="*/ 260714 h 456712"/>
                  <a:gd name="connsiteX114" fmla="*/ 81644 w 291396"/>
                  <a:gd name="connsiteY114" fmla="*/ 262477 h 456712"/>
                  <a:gd name="connsiteX115" fmla="*/ 83143 w 291396"/>
                  <a:gd name="connsiteY115" fmla="*/ 264858 h 456712"/>
                  <a:gd name="connsiteX116" fmla="*/ 84906 w 291396"/>
                  <a:gd name="connsiteY116" fmla="*/ 266886 h 456712"/>
                  <a:gd name="connsiteX117" fmla="*/ 85435 w 291396"/>
                  <a:gd name="connsiteY117" fmla="*/ 268914 h 456712"/>
                  <a:gd name="connsiteX118" fmla="*/ 86670 w 291396"/>
                  <a:gd name="connsiteY118" fmla="*/ 269795 h 456712"/>
                  <a:gd name="connsiteX119" fmla="*/ 86670 w 291396"/>
                  <a:gd name="connsiteY119" fmla="*/ 270677 h 456712"/>
                  <a:gd name="connsiteX120" fmla="*/ 87551 w 291396"/>
                  <a:gd name="connsiteY120" fmla="*/ 271823 h 456712"/>
                  <a:gd name="connsiteX121" fmla="*/ 87551 w 291396"/>
                  <a:gd name="connsiteY121" fmla="*/ 272088 h 456712"/>
                  <a:gd name="connsiteX122" fmla="*/ 88080 w 291396"/>
                  <a:gd name="connsiteY122" fmla="*/ 273234 h 456712"/>
                  <a:gd name="connsiteX123" fmla="*/ 87816 w 291396"/>
                  <a:gd name="connsiteY123" fmla="*/ 274115 h 456712"/>
                  <a:gd name="connsiteX124" fmla="*/ 88433 w 291396"/>
                  <a:gd name="connsiteY124" fmla="*/ 274733 h 456712"/>
                  <a:gd name="connsiteX125" fmla="*/ 88433 w 291396"/>
                  <a:gd name="connsiteY125" fmla="*/ 276231 h 456712"/>
                  <a:gd name="connsiteX126" fmla="*/ 89226 w 291396"/>
                  <a:gd name="connsiteY126" fmla="*/ 276231 h 456712"/>
                  <a:gd name="connsiteX127" fmla="*/ 89226 w 291396"/>
                  <a:gd name="connsiteY127" fmla="*/ 276760 h 456712"/>
                  <a:gd name="connsiteX128" fmla="*/ 89579 w 291396"/>
                  <a:gd name="connsiteY128" fmla="*/ 277907 h 456712"/>
                  <a:gd name="connsiteX129" fmla="*/ 89579 w 291396"/>
                  <a:gd name="connsiteY129" fmla="*/ 278788 h 456712"/>
                  <a:gd name="connsiteX130" fmla="*/ 88697 w 291396"/>
                  <a:gd name="connsiteY130" fmla="*/ 278788 h 456712"/>
                  <a:gd name="connsiteX131" fmla="*/ 88433 w 291396"/>
                  <a:gd name="connsiteY131" fmla="*/ 279406 h 456712"/>
                  <a:gd name="connsiteX132" fmla="*/ 88697 w 291396"/>
                  <a:gd name="connsiteY132" fmla="*/ 281169 h 456712"/>
                  <a:gd name="connsiteX133" fmla="*/ 95398 w 291396"/>
                  <a:gd name="connsiteY133" fmla="*/ 284960 h 456712"/>
                  <a:gd name="connsiteX134" fmla="*/ 96897 w 291396"/>
                  <a:gd name="connsiteY134" fmla="*/ 286107 h 456712"/>
                  <a:gd name="connsiteX135" fmla="*/ 97162 w 291396"/>
                  <a:gd name="connsiteY135" fmla="*/ 286988 h 456712"/>
                  <a:gd name="connsiteX136" fmla="*/ 97426 w 291396"/>
                  <a:gd name="connsiteY136" fmla="*/ 288134 h 456712"/>
                  <a:gd name="connsiteX137" fmla="*/ 99189 w 291396"/>
                  <a:gd name="connsiteY137" fmla="*/ 289898 h 456712"/>
                  <a:gd name="connsiteX138" fmla="*/ 100071 w 291396"/>
                  <a:gd name="connsiteY138" fmla="*/ 291661 h 456712"/>
                  <a:gd name="connsiteX139" fmla="*/ 99454 w 291396"/>
                  <a:gd name="connsiteY139" fmla="*/ 292807 h 456712"/>
                  <a:gd name="connsiteX140" fmla="*/ 99807 w 291396"/>
                  <a:gd name="connsiteY140" fmla="*/ 294306 h 456712"/>
                  <a:gd name="connsiteX141" fmla="*/ 101217 w 291396"/>
                  <a:gd name="connsiteY141" fmla="*/ 295452 h 456712"/>
                  <a:gd name="connsiteX142" fmla="*/ 101217 w 291396"/>
                  <a:gd name="connsiteY142" fmla="*/ 297216 h 456712"/>
                  <a:gd name="connsiteX143" fmla="*/ 101482 w 291396"/>
                  <a:gd name="connsiteY143" fmla="*/ 298979 h 456712"/>
                  <a:gd name="connsiteX144" fmla="*/ 100336 w 291396"/>
                  <a:gd name="connsiteY144" fmla="*/ 300125 h 456712"/>
                  <a:gd name="connsiteX145" fmla="*/ 102099 w 291396"/>
                  <a:gd name="connsiteY145" fmla="*/ 300390 h 456712"/>
                  <a:gd name="connsiteX146" fmla="*/ 103245 w 291396"/>
                  <a:gd name="connsiteY146" fmla="*/ 301007 h 456712"/>
                  <a:gd name="connsiteX147" fmla="*/ 104127 w 291396"/>
                  <a:gd name="connsiteY147" fmla="*/ 302153 h 456712"/>
                  <a:gd name="connsiteX148" fmla="*/ 103510 w 291396"/>
                  <a:gd name="connsiteY148" fmla="*/ 303035 h 456712"/>
                  <a:gd name="connsiteX149" fmla="*/ 104127 w 291396"/>
                  <a:gd name="connsiteY149" fmla="*/ 303916 h 456712"/>
                  <a:gd name="connsiteX150" fmla="*/ 106419 w 291396"/>
                  <a:gd name="connsiteY150" fmla="*/ 305063 h 456712"/>
                  <a:gd name="connsiteX151" fmla="*/ 109064 w 291396"/>
                  <a:gd name="connsiteY151" fmla="*/ 307972 h 456712"/>
                  <a:gd name="connsiteX152" fmla="*/ 109946 w 291396"/>
                  <a:gd name="connsiteY152" fmla="*/ 309118 h 456712"/>
                  <a:gd name="connsiteX153" fmla="*/ 109417 w 291396"/>
                  <a:gd name="connsiteY153" fmla="*/ 310353 h 456712"/>
                  <a:gd name="connsiteX154" fmla="*/ 109417 w 291396"/>
                  <a:gd name="connsiteY154" fmla="*/ 311146 h 456712"/>
                  <a:gd name="connsiteX155" fmla="*/ 110828 w 291396"/>
                  <a:gd name="connsiteY155" fmla="*/ 311763 h 456712"/>
                  <a:gd name="connsiteX156" fmla="*/ 111709 w 291396"/>
                  <a:gd name="connsiteY156" fmla="*/ 313527 h 456712"/>
                  <a:gd name="connsiteX157" fmla="*/ 112591 w 291396"/>
                  <a:gd name="connsiteY157" fmla="*/ 313791 h 456712"/>
                  <a:gd name="connsiteX158" fmla="*/ 112591 w 291396"/>
                  <a:gd name="connsiteY158" fmla="*/ 315026 h 456712"/>
                  <a:gd name="connsiteX159" fmla="*/ 114354 w 291396"/>
                  <a:gd name="connsiteY159" fmla="*/ 317318 h 456712"/>
                  <a:gd name="connsiteX160" fmla="*/ 116118 w 291396"/>
                  <a:gd name="connsiteY160" fmla="*/ 319610 h 456712"/>
                  <a:gd name="connsiteX161" fmla="*/ 117264 w 291396"/>
                  <a:gd name="connsiteY161" fmla="*/ 324901 h 456712"/>
                  <a:gd name="connsiteX162" fmla="*/ 122554 w 291396"/>
                  <a:gd name="connsiteY162" fmla="*/ 330455 h 456712"/>
                  <a:gd name="connsiteX163" fmla="*/ 124582 w 291396"/>
                  <a:gd name="connsiteY163" fmla="*/ 334246 h 456712"/>
                  <a:gd name="connsiteX164" fmla="*/ 125111 w 291396"/>
                  <a:gd name="connsiteY164" fmla="*/ 334775 h 456712"/>
                  <a:gd name="connsiteX165" fmla="*/ 124846 w 291396"/>
                  <a:gd name="connsiteY165" fmla="*/ 339184 h 456712"/>
                  <a:gd name="connsiteX166" fmla="*/ 123965 w 291396"/>
                  <a:gd name="connsiteY166" fmla="*/ 344474 h 456712"/>
                  <a:gd name="connsiteX167" fmla="*/ 123083 w 291396"/>
                  <a:gd name="connsiteY167" fmla="*/ 343857 h 456712"/>
                  <a:gd name="connsiteX168" fmla="*/ 123083 w 291396"/>
                  <a:gd name="connsiteY168" fmla="*/ 343239 h 456712"/>
                  <a:gd name="connsiteX169" fmla="*/ 122818 w 291396"/>
                  <a:gd name="connsiteY169" fmla="*/ 343239 h 456712"/>
                  <a:gd name="connsiteX170" fmla="*/ 121672 w 291396"/>
                  <a:gd name="connsiteY170" fmla="*/ 343592 h 456712"/>
                  <a:gd name="connsiteX171" fmla="*/ 121055 w 291396"/>
                  <a:gd name="connsiteY171" fmla="*/ 345355 h 456712"/>
                  <a:gd name="connsiteX172" fmla="*/ 121055 w 291396"/>
                  <a:gd name="connsiteY172" fmla="*/ 345620 h 456712"/>
                  <a:gd name="connsiteX173" fmla="*/ 121672 w 291396"/>
                  <a:gd name="connsiteY173" fmla="*/ 345885 h 456712"/>
                  <a:gd name="connsiteX174" fmla="*/ 123083 w 291396"/>
                  <a:gd name="connsiteY174" fmla="*/ 345885 h 456712"/>
                  <a:gd name="connsiteX175" fmla="*/ 123348 w 291396"/>
                  <a:gd name="connsiteY175" fmla="*/ 345620 h 456712"/>
                  <a:gd name="connsiteX176" fmla="*/ 123965 w 291396"/>
                  <a:gd name="connsiteY176" fmla="*/ 349059 h 456712"/>
                  <a:gd name="connsiteX177" fmla="*/ 124229 w 291396"/>
                  <a:gd name="connsiteY177" fmla="*/ 349676 h 456712"/>
                  <a:gd name="connsiteX178" fmla="*/ 123700 w 291396"/>
                  <a:gd name="connsiteY178" fmla="*/ 350822 h 456712"/>
                  <a:gd name="connsiteX179" fmla="*/ 124229 w 291396"/>
                  <a:gd name="connsiteY179" fmla="*/ 352585 h 456712"/>
                  <a:gd name="connsiteX180" fmla="*/ 124582 w 291396"/>
                  <a:gd name="connsiteY180" fmla="*/ 352850 h 456712"/>
                  <a:gd name="connsiteX181" fmla="*/ 124582 w 291396"/>
                  <a:gd name="connsiteY181" fmla="*/ 351704 h 456712"/>
                  <a:gd name="connsiteX182" fmla="*/ 125993 w 291396"/>
                  <a:gd name="connsiteY182" fmla="*/ 352585 h 456712"/>
                  <a:gd name="connsiteX183" fmla="*/ 126610 w 291396"/>
                  <a:gd name="connsiteY183" fmla="*/ 353467 h 456712"/>
                  <a:gd name="connsiteX184" fmla="*/ 127492 w 291396"/>
                  <a:gd name="connsiteY184" fmla="*/ 354349 h 456712"/>
                  <a:gd name="connsiteX185" fmla="*/ 128021 w 291396"/>
                  <a:gd name="connsiteY185" fmla="*/ 356376 h 456712"/>
                  <a:gd name="connsiteX186" fmla="*/ 127227 w 291396"/>
                  <a:gd name="connsiteY186" fmla="*/ 356641 h 456712"/>
                  <a:gd name="connsiteX187" fmla="*/ 128021 w 291396"/>
                  <a:gd name="connsiteY187" fmla="*/ 357258 h 456712"/>
                  <a:gd name="connsiteX188" fmla="*/ 128638 w 291396"/>
                  <a:gd name="connsiteY188" fmla="*/ 357875 h 456712"/>
                  <a:gd name="connsiteX189" fmla="*/ 129784 w 291396"/>
                  <a:gd name="connsiteY189" fmla="*/ 359022 h 456712"/>
                  <a:gd name="connsiteX190" fmla="*/ 131283 w 291396"/>
                  <a:gd name="connsiteY190" fmla="*/ 359903 h 456712"/>
                  <a:gd name="connsiteX191" fmla="*/ 130930 w 291396"/>
                  <a:gd name="connsiteY191" fmla="*/ 361667 h 456712"/>
                  <a:gd name="connsiteX192" fmla="*/ 132429 w 291396"/>
                  <a:gd name="connsiteY192" fmla="*/ 362196 h 456712"/>
                  <a:gd name="connsiteX193" fmla="*/ 133046 w 291396"/>
                  <a:gd name="connsiteY193" fmla="*/ 365105 h 456712"/>
                  <a:gd name="connsiteX194" fmla="*/ 134192 w 291396"/>
                  <a:gd name="connsiteY194" fmla="*/ 365723 h 456712"/>
                  <a:gd name="connsiteX195" fmla="*/ 134809 w 291396"/>
                  <a:gd name="connsiteY195" fmla="*/ 366340 h 456712"/>
                  <a:gd name="connsiteX196" fmla="*/ 136220 w 291396"/>
                  <a:gd name="connsiteY196" fmla="*/ 367750 h 456712"/>
                  <a:gd name="connsiteX197" fmla="*/ 142039 w 291396"/>
                  <a:gd name="connsiteY197" fmla="*/ 370395 h 456712"/>
                  <a:gd name="connsiteX198" fmla="*/ 142656 w 291396"/>
                  <a:gd name="connsiteY198" fmla="*/ 371277 h 456712"/>
                  <a:gd name="connsiteX199" fmla="*/ 142656 w 291396"/>
                  <a:gd name="connsiteY199" fmla="*/ 372159 h 456712"/>
                  <a:gd name="connsiteX200" fmla="*/ 144684 w 291396"/>
                  <a:gd name="connsiteY200" fmla="*/ 373569 h 456712"/>
                  <a:gd name="connsiteX201" fmla="*/ 145830 w 291396"/>
                  <a:gd name="connsiteY201" fmla="*/ 376479 h 456712"/>
                  <a:gd name="connsiteX202" fmla="*/ 146183 w 291396"/>
                  <a:gd name="connsiteY202" fmla="*/ 377096 h 456712"/>
                  <a:gd name="connsiteX203" fmla="*/ 147858 w 291396"/>
                  <a:gd name="connsiteY203" fmla="*/ 377096 h 456712"/>
                  <a:gd name="connsiteX204" fmla="*/ 148476 w 291396"/>
                  <a:gd name="connsiteY204" fmla="*/ 377713 h 456712"/>
                  <a:gd name="connsiteX205" fmla="*/ 149974 w 291396"/>
                  <a:gd name="connsiteY205" fmla="*/ 379124 h 456712"/>
                  <a:gd name="connsiteX206" fmla="*/ 148476 w 291396"/>
                  <a:gd name="connsiteY206" fmla="*/ 380006 h 456712"/>
                  <a:gd name="connsiteX207" fmla="*/ 149622 w 291396"/>
                  <a:gd name="connsiteY207" fmla="*/ 380270 h 456712"/>
                  <a:gd name="connsiteX208" fmla="*/ 150503 w 291396"/>
                  <a:gd name="connsiteY208" fmla="*/ 380623 h 456712"/>
                  <a:gd name="connsiteX209" fmla="*/ 151385 w 291396"/>
                  <a:gd name="connsiteY209" fmla="*/ 381152 h 456712"/>
                  <a:gd name="connsiteX210" fmla="*/ 151121 w 291396"/>
                  <a:gd name="connsiteY210" fmla="*/ 381504 h 456712"/>
                  <a:gd name="connsiteX211" fmla="*/ 150239 w 291396"/>
                  <a:gd name="connsiteY211" fmla="*/ 381769 h 456712"/>
                  <a:gd name="connsiteX212" fmla="*/ 150239 w 291396"/>
                  <a:gd name="connsiteY212" fmla="*/ 382298 h 456712"/>
                  <a:gd name="connsiteX213" fmla="*/ 151385 w 291396"/>
                  <a:gd name="connsiteY213" fmla="*/ 382915 h 456712"/>
                  <a:gd name="connsiteX214" fmla="*/ 152884 w 291396"/>
                  <a:gd name="connsiteY214" fmla="*/ 383532 h 456712"/>
                  <a:gd name="connsiteX215" fmla="*/ 153766 w 291396"/>
                  <a:gd name="connsiteY215" fmla="*/ 384943 h 456712"/>
                  <a:gd name="connsiteX216" fmla="*/ 154559 w 291396"/>
                  <a:gd name="connsiteY216" fmla="*/ 384679 h 456712"/>
                  <a:gd name="connsiteX217" fmla="*/ 154912 w 291396"/>
                  <a:gd name="connsiteY217" fmla="*/ 384943 h 456712"/>
                  <a:gd name="connsiteX218" fmla="*/ 155441 w 291396"/>
                  <a:gd name="connsiteY218" fmla="*/ 385560 h 456712"/>
                  <a:gd name="connsiteX219" fmla="*/ 156675 w 291396"/>
                  <a:gd name="connsiteY219" fmla="*/ 385560 h 456712"/>
                  <a:gd name="connsiteX220" fmla="*/ 158439 w 291396"/>
                  <a:gd name="connsiteY220" fmla="*/ 387324 h 456712"/>
                  <a:gd name="connsiteX221" fmla="*/ 160995 w 291396"/>
                  <a:gd name="connsiteY221" fmla="*/ 388205 h 456712"/>
                  <a:gd name="connsiteX222" fmla="*/ 162494 w 291396"/>
                  <a:gd name="connsiteY222" fmla="*/ 389352 h 456712"/>
                  <a:gd name="connsiteX223" fmla="*/ 166815 w 291396"/>
                  <a:gd name="connsiteY223" fmla="*/ 390762 h 456712"/>
                  <a:gd name="connsiteX224" fmla="*/ 168049 w 291396"/>
                  <a:gd name="connsiteY224" fmla="*/ 392878 h 456712"/>
                  <a:gd name="connsiteX225" fmla="*/ 169812 w 291396"/>
                  <a:gd name="connsiteY225" fmla="*/ 394289 h 456712"/>
                  <a:gd name="connsiteX226" fmla="*/ 171223 w 291396"/>
                  <a:gd name="connsiteY226" fmla="*/ 394289 h 456712"/>
                  <a:gd name="connsiteX227" fmla="*/ 172369 w 291396"/>
                  <a:gd name="connsiteY227" fmla="*/ 395171 h 456712"/>
                  <a:gd name="connsiteX228" fmla="*/ 173868 w 291396"/>
                  <a:gd name="connsiteY228" fmla="*/ 395788 h 456712"/>
                  <a:gd name="connsiteX229" fmla="*/ 176778 w 291396"/>
                  <a:gd name="connsiteY229" fmla="*/ 396934 h 456712"/>
                  <a:gd name="connsiteX230" fmla="*/ 177395 w 291396"/>
                  <a:gd name="connsiteY230" fmla="*/ 398697 h 456712"/>
                  <a:gd name="connsiteX231" fmla="*/ 178541 w 291396"/>
                  <a:gd name="connsiteY231" fmla="*/ 398962 h 456712"/>
                  <a:gd name="connsiteX232" fmla="*/ 181715 w 291396"/>
                  <a:gd name="connsiteY232" fmla="*/ 402136 h 456712"/>
                  <a:gd name="connsiteX233" fmla="*/ 183743 w 291396"/>
                  <a:gd name="connsiteY233" fmla="*/ 402136 h 456712"/>
                  <a:gd name="connsiteX234" fmla="*/ 184977 w 291396"/>
                  <a:gd name="connsiteY234" fmla="*/ 403635 h 456712"/>
                  <a:gd name="connsiteX235" fmla="*/ 186741 w 291396"/>
                  <a:gd name="connsiteY235" fmla="*/ 403635 h 456712"/>
                  <a:gd name="connsiteX236" fmla="*/ 191061 w 291396"/>
                  <a:gd name="connsiteY236" fmla="*/ 405134 h 456712"/>
                  <a:gd name="connsiteX237" fmla="*/ 193970 w 291396"/>
                  <a:gd name="connsiteY237" fmla="*/ 406015 h 456712"/>
                  <a:gd name="connsiteX238" fmla="*/ 194235 w 291396"/>
                  <a:gd name="connsiteY238" fmla="*/ 407691 h 456712"/>
                  <a:gd name="connsiteX239" fmla="*/ 195469 w 291396"/>
                  <a:gd name="connsiteY239" fmla="*/ 408925 h 456712"/>
                  <a:gd name="connsiteX240" fmla="*/ 195734 w 291396"/>
                  <a:gd name="connsiteY240" fmla="*/ 407691 h 456712"/>
                  <a:gd name="connsiteX241" fmla="*/ 196616 w 291396"/>
                  <a:gd name="connsiteY241" fmla="*/ 408925 h 456712"/>
                  <a:gd name="connsiteX242" fmla="*/ 197762 w 291396"/>
                  <a:gd name="connsiteY242" fmla="*/ 409454 h 456712"/>
                  <a:gd name="connsiteX243" fmla="*/ 201553 w 291396"/>
                  <a:gd name="connsiteY243" fmla="*/ 411217 h 456712"/>
                  <a:gd name="connsiteX244" fmla="*/ 203316 w 291396"/>
                  <a:gd name="connsiteY244" fmla="*/ 411482 h 456712"/>
                  <a:gd name="connsiteX245" fmla="*/ 205609 w 291396"/>
                  <a:gd name="connsiteY245" fmla="*/ 413862 h 456712"/>
                  <a:gd name="connsiteX246" fmla="*/ 206843 w 291396"/>
                  <a:gd name="connsiteY246" fmla="*/ 414391 h 456712"/>
                  <a:gd name="connsiteX247" fmla="*/ 209753 w 291396"/>
                  <a:gd name="connsiteY247" fmla="*/ 414744 h 456712"/>
                  <a:gd name="connsiteX248" fmla="*/ 212045 w 291396"/>
                  <a:gd name="connsiteY248" fmla="*/ 415009 h 456712"/>
                  <a:gd name="connsiteX249" fmla="*/ 214073 w 291396"/>
                  <a:gd name="connsiteY249" fmla="*/ 416772 h 456712"/>
                  <a:gd name="connsiteX250" fmla="*/ 214955 w 291396"/>
                  <a:gd name="connsiteY250" fmla="*/ 417036 h 456712"/>
                  <a:gd name="connsiteX251" fmla="*/ 216718 w 291396"/>
                  <a:gd name="connsiteY251" fmla="*/ 418800 h 456712"/>
                  <a:gd name="connsiteX252" fmla="*/ 217071 w 291396"/>
                  <a:gd name="connsiteY252" fmla="*/ 420211 h 456712"/>
                  <a:gd name="connsiteX253" fmla="*/ 218481 w 291396"/>
                  <a:gd name="connsiteY253" fmla="*/ 420563 h 456712"/>
                  <a:gd name="connsiteX254" fmla="*/ 219980 w 291396"/>
                  <a:gd name="connsiteY254" fmla="*/ 421709 h 456712"/>
                  <a:gd name="connsiteX255" fmla="*/ 220862 w 291396"/>
                  <a:gd name="connsiteY255" fmla="*/ 422326 h 456712"/>
                  <a:gd name="connsiteX256" fmla="*/ 221391 w 291396"/>
                  <a:gd name="connsiteY256" fmla="*/ 423737 h 456712"/>
                  <a:gd name="connsiteX257" fmla="*/ 223154 w 291396"/>
                  <a:gd name="connsiteY257" fmla="*/ 424090 h 456712"/>
                  <a:gd name="connsiteX258" fmla="*/ 224300 w 291396"/>
                  <a:gd name="connsiteY258" fmla="*/ 424354 h 456712"/>
                  <a:gd name="connsiteX259" fmla="*/ 225799 w 291396"/>
                  <a:gd name="connsiteY259" fmla="*/ 425501 h 456712"/>
                  <a:gd name="connsiteX260" fmla="*/ 226328 w 291396"/>
                  <a:gd name="connsiteY260" fmla="*/ 426735 h 456712"/>
                  <a:gd name="connsiteX261" fmla="*/ 227827 w 291396"/>
                  <a:gd name="connsiteY261" fmla="*/ 427881 h 456712"/>
                  <a:gd name="connsiteX262" fmla="*/ 231618 w 291396"/>
                  <a:gd name="connsiteY262" fmla="*/ 428410 h 456712"/>
                  <a:gd name="connsiteX263" fmla="*/ 233646 w 291396"/>
                  <a:gd name="connsiteY263" fmla="*/ 430174 h 456712"/>
                  <a:gd name="connsiteX264" fmla="*/ 234528 w 291396"/>
                  <a:gd name="connsiteY264" fmla="*/ 430174 h 456712"/>
                  <a:gd name="connsiteX265" fmla="*/ 235410 w 291396"/>
                  <a:gd name="connsiteY265" fmla="*/ 430438 h 456712"/>
                  <a:gd name="connsiteX266" fmla="*/ 235674 w 291396"/>
                  <a:gd name="connsiteY266" fmla="*/ 431320 h 456712"/>
                  <a:gd name="connsiteX267" fmla="*/ 237702 w 291396"/>
                  <a:gd name="connsiteY267" fmla="*/ 433083 h 456712"/>
                  <a:gd name="connsiteX268" fmla="*/ 239201 w 291396"/>
                  <a:gd name="connsiteY268" fmla="*/ 438902 h 456712"/>
                  <a:gd name="connsiteX269" fmla="*/ 238936 w 291396"/>
                  <a:gd name="connsiteY269" fmla="*/ 440666 h 456712"/>
                  <a:gd name="connsiteX270" fmla="*/ 240964 w 291396"/>
                  <a:gd name="connsiteY270" fmla="*/ 441283 h 456712"/>
                  <a:gd name="connsiteX271" fmla="*/ 242992 w 291396"/>
                  <a:gd name="connsiteY271" fmla="*/ 442429 h 456712"/>
                  <a:gd name="connsiteX272" fmla="*/ 243874 w 291396"/>
                  <a:gd name="connsiteY272" fmla="*/ 442693 h 456712"/>
                  <a:gd name="connsiteX273" fmla="*/ 245284 w 291396"/>
                  <a:gd name="connsiteY273" fmla="*/ 444192 h 456712"/>
                  <a:gd name="connsiteX274" fmla="*/ 245902 w 291396"/>
                  <a:gd name="connsiteY274" fmla="*/ 444810 h 456712"/>
                  <a:gd name="connsiteX275" fmla="*/ 247400 w 291396"/>
                  <a:gd name="connsiteY275" fmla="*/ 445074 h 456712"/>
                  <a:gd name="connsiteX276" fmla="*/ 248811 w 291396"/>
                  <a:gd name="connsiteY276" fmla="*/ 445956 h 456712"/>
                  <a:gd name="connsiteX277" fmla="*/ 249693 w 291396"/>
                  <a:gd name="connsiteY277" fmla="*/ 446837 h 456712"/>
                  <a:gd name="connsiteX278" fmla="*/ 250839 w 291396"/>
                  <a:gd name="connsiteY278" fmla="*/ 448513 h 456712"/>
                  <a:gd name="connsiteX279" fmla="*/ 251985 w 291396"/>
                  <a:gd name="connsiteY279" fmla="*/ 448513 h 456712"/>
                  <a:gd name="connsiteX280" fmla="*/ 254101 w 291396"/>
                  <a:gd name="connsiteY280" fmla="*/ 450276 h 456712"/>
                  <a:gd name="connsiteX281" fmla="*/ 256129 w 291396"/>
                  <a:gd name="connsiteY281" fmla="*/ 452656 h 456712"/>
                  <a:gd name="connsiteX282" fmla="*/ 259303 w 291396"/>
                  <a:gd name="connsiteY282" fmla="*/ 454067 h 456712"/>
                  <a:gd name="connsiteX283" fmla="*/ 261948 w 291396"/>
                  <a:gd name="connsiteY283" fmla="*/ 456712 h 456712"/>
                  <a:gd name="connsiteX284" fmla="*/ 270148 w 291396"/>
                  <a:gd name="connsiteY284" fmla="*/ 448865 h 456712"/>
                  <a:gd name="connsiteX285" fmla="*/ 275967 w 291396"/>
                  <a:gd name="connsiteY285" fmla="*/ 439784 h 456712"/>
                  <a:gd name="connsiteX286" fmla="*/ 279141 w 291396"/>
                  <a:gd name="connsiteY286" fmla="*/ 435464 h 456712"/>
                  <a:gd name="connsiteX287" fmla="*/ 278877 w 291396"/>
                  <a:gd name="connsiteY287" fmla="*/ 432201 h 456712"/>
                  <a:gd name="connsiteX288" fmla="*/ 277113 w 291396"/>
                  <a:gd name="connsiteY288" fmla="*/ 430438 h 456712"/>
                  <a:gd name="connsiteX289" fmla="*/ 275614 w 291396"/>
                  <a:gd name="connsiteY289" fmla="*/ 430174 h 456712"/>
                  <a:gd name="connsiteX290" fmla="*/ 276232 w 291396"/>
                  <a:gd name="connsiteY290" fmla="*/ 428763 h 456712"/>
                  <a:gd name="connsiteX291" fmla="*/ 275967 w 291396"/>
                  <a:gd name="connsiteY291" fmla="*/ 427881 h 456712"/>
                  <a:gd name="connsiteX292" fmla="*/ 276849 w 291396"/>
                  <a:gd name="connsiteY292" fmla="*/ 427881 h 456712"/>
                  <a:gd name="connsiteX293" fmla="*/ 278612 w 291396"/>
                  <a:gd name="connsiteY293" fmla="*/ 425501 h 456712"/>
                  <a:gd name="connsiteX294" fmla="*/ 279406 w 291396"/>
                  <a:gd name="connsiteY294" fmla="*/ 425501 h 456712"/>
                  <a:gd name="connsiteX295" fmla="*/ 280640 w 291396"/>
                  <a:gd name="connsiteY295" fmla="*/ 424354 h 456712"/>
                  <a:gd name="connsiteX296" fmla="*/ 280640 w 291396"/>
                  <a:gd name="connsiteY296" fmla="*/ 424090 h 456712"/>
                  <a:gd name="connsiteX297" fmla="*/ 279758 w 291396"/>
                  <a:gd name="connsiteY297" fmla="*/ 423737 h 456712"/>
                  <a:gd name="connsiteX298" fmla="*/ 281169 w 291396"/>
                  <a:gd name="connsiteY298" fmla="*/ 422326 h 456712"/>
                  <a:gd name="connsiteX299" fmla="*/ 282051 w 291396"/>
                  <a:gd name="connsiteY299" fmla="*/ 420828 h 456712"/>
                  <a:gd name="connsiteX300" fmla="*/ 284431 w 291396"/>
                  <a:gd name="connsiteY300" fmla="*/ 418535 h 456712"/>
                  <a:gd name="connsiteX301" fmla="*/ 284960 w 291396"/>
                  <a:gd name="connsiteY301" fmla="*/ 416155 h 456712"/>
                  <a:gd name="connsiteX302" fmla="*/ 286459 w 291396"/>
                  <a:gd name="connsiteY302" fmla="*/ 415626 h 456712"/>
                  <a:gd name="connsiteX303" fmla="*/ 287870 w 291396"/>
                  <a:gd name="connsiteY303" fmla="*/ 414391 h 456712"/>
                  <a:gd name="connsiteX304" fmla="*/ 286988 w 291396"/>
                  <a:gd name="connsiteY304" fmla="*/ 412981 h 456712"/>
                  <a:gd name="connsiteX305" fmla="*/ 286724 w 291396"/>
                  <a:gd name="connsiteY305" fmla="*/ 409807 h 456712"/>
                  <a:gd name="connsiteX306" fmla="*/ 288222 w 291396"/>
                  <a:gd name="connsiteY306" fmla="*/ 408925 h 456712"/>
                  <a:gd name="connsiteX307" fmla="*/ 291132 w 291396"/>
                  <a:gd name="connsiteY307" fmla="*/ 406809 h 456712"/>
                  <a:gd name="connsiteX308" fmla="*/ 291397 w 291396"/>
                  <a:gd name="connsiteY308" fmla="*/ 406015 h 456712"/>
                  <a:gd name="connsiteX309" fmla="*/ 290868 w 291396"/>
                  <a:gd name="connsiteY309" fmla="*/ 405398 h 456712"/>
                  <a:gd name="connsiteX310" fmla="*/ 289369 w 291396"/>
                  <a:gd name="connsiteY310" fmla="*/ 404781 h 456712"/>
                  <a:gd name="connsiteX311" fmla="*/ 287870 w 291396"/>
                  <a:gd name="connsiteY311" fmla="*/ 403370 h 456712"/>
                  <a:gd name="connsiteX312" fmla="*/ 286459 w 291396"/>
                  <a:gd name="connsiteY312" fmla="*/ 403370 h 456712"/>
                  <a:gd name="connsiteX313" fmla="*/ 286106 w 291396"/>
                  <a:gd name="connsiteY313" fmla="*/ 403018 h 456712"/>
                  <a:gd name="connsiteX314" fmla="*/ 285577 w 291396"/>
                  <a:gd name="connsiteY314" fmla="*/ 403370 h 456712"/>
                  <a:gd name="connsiteX315" fmla="*/ 284079 w 291396"/>
                  <a:gd name="connsiteY315" fmla="*/ 403370 h 456712"/>
                  <a:gd name="connsiteX316" fmla="*/ 282668 w 291396"/>
                  <a:gd name="connsiteY316" fmla="*/ 402136 h 456712"/>
                  <a:gd name="connsiteX317" fmla="*/ 276849 w 291396"/>
                  <a:gd name="connsiteY317" fmla="*/ 388470 h 456712"/>
                  <a:gd name="connsiteX318" fmla="*/ 278612 w 291396"/>
                  <a:gd name="connsiteY318" fmla="*/ 385296 h 456712"/>
                  <a:gd name="connsiteX319" fmla="*/ 278612 w 291396"/>
                  <a:gd name="connsiteY319" fmla="*/ 384061 h 456712"/>
                  <a:gd name="connsiteX320" fmla="*/ 279141 w 291396"/>
                  <a:gd name="connsiteY320" fmla="*/ 382915 h 456712"/>
                  <a:gd name="connsiteX321" fmla="*/ 279141 w 291396"/>
                  <a:gd name="connsiteY321" fmla="*/ 382298 h 456712"/>
                  <a:gd name="connsiteX322" fmla="*/ 279406 w 291396"/>
                  <a:gd name="connsiteY322" fmla="*/ 381504 h 456712"/>
                  <a:gd name="connsiteX323" fmla="*/ 280640 w 291396"/>
                  <a:gd name="connsiteY323" fmla="*/ 380623 h 456712"/>
                  <a:gd name="connsiteX324" fmla="*/ 280904 w 291396"/>
                  <a:gd name="connsiteY324" fmla="*/ 380006 h 456712"/>
                  <a:gd name="connsiteX325" fmla="*/ 282051 w 291396"/>
                  <a:gd name="connsiteY325" fmla="*/ 380006 h 456712"/>
                  <a:gd name="connsiteX326" fmla="*/ 282315 w 291396"/>
                  <a:gd name="connsiteY326" fmla="*/ 379741 h 456712"/>
                  <a:gd name="connsiteX327" fmla="*/ 282051 w 291396"/>
                  <a:gd name="connsiteY327" fmla="*/ 379124 h 456712"/>
                  <a:gd name="connsiteX328" fmla="*/ 280640 w 291396"/>
                  <a:gd name="connsiteY328" fmla="*/ 377096 h 456712"/>
                  <a:gd name="connsiteX329" fmla="*/ 278612 w 291396"/>
                  <a:gd name="connsiteY329" fmla="*/ 375950 h 456712"/>
                  <a:gd name="connsiteX330" fmla="*/ 277642 w 291396"/>
                  <a:gd name="connsiteY330" fmla="*/ 373569 h 456712"/>
                  <a:gd name="connsiteX331" fmla="*/ 276232 w 291396"/>
                  <a:gd name="connsiteY331" fmla="*/ 372159 h 456712"/>
                  <a:gd name="connsiteX332" fmla="*/ 275967 w 291396"/>
                  <a:gd name="connsiteY332" fmla="*/ 371277 h 456712"/>
                  <a:gd name="connsiteX333" fmla="*/ 276849 w 291396"/>
                  <a:gd name="connsiteY333" fmla="*/ 370395 h 456712"/>
                  <a:gd name="connsiteX334" fmla="*/ 276232 w 291396"/>
                  <a:gd name="connsiteY334" fmla="*/ 369778 h 456712"/>
                  <a:gd name="connsiteX335" fmla="*/ 276232 w 291396"/>
                  <a:gd name="connsiteY335" fmla="*/ 368367 h 456712"/>
                  <a:gd name="connsiteX336" fmla="*/ 277113 w 291396"/>
                  <a:gd name="connsiteY336" fmla="*/ 368015 h 456712"/>
                  <a:gd name="connsiteX337" fmla="*/ 278259 w 291396"/>
                  <a:gd name="connsiteY337" fmla="*/ 366869 h 456712"/>
                  <a:gd name="connsiteX338" fmla="*/ 279406 w 291396"/>
                  <a:gd name="connsiteY338" fmla="*/ 366604 h 456712"/>
                  <a:gd name="connsiteX339" fmla="*/ 278259 w 291396"/>
                  <a:gd name="connsiteY339" fmla="*/ 364576 h 456712"/>
                  <a:gd name="connsiteX340" fmla="*/ 279141 w 291396"/>
                  <a:gd name="connsiteY340" fmla="*/ 362548 h 456712"/>
                  <a:gd name="connsiteX341" fmla="*/ 280640 w 291396"/>
                  <a:gd name="connsiteY341" fmla="*/ 362196 h 456712"/>
                  <a:gd name="connsiteX342" fmla="*/ 280287 w 291396"/>
                  <a:gd name="connsiteY342" fmla="*/ 360432 h 456712"/>
                  <a:gd name="connsiteX343" fmla="*/ 283814 w 291396"/>
                  <a:gd name="connsiteY343" fmla="*/ 357875 h 456712"/>
                  <a:gd name="connsiteX344" fmla="*/ 283814 w 291396"/>
                  <a:gd name="connsiteY344" fmla="*/ 356994 h 456712"/>
                  <a:gd name="connsiteX345" fmla="*/ 282932 w 291396"/>
                  <a:gd name="connsiteY345" fmla="*/ 356641 h 456712"/>
                  <a:gd name="connsiteX346" fmla="*/ 282932 w 291396"/>
                  <a:gd name="connsiteY346" fmla="*/ 354349 h 456712"/>
                  <a:gd name="connsiteX347" fmla="*/ 286459 w 291396"/>
                  <a:gd name="connsiteY347" fmla="*/ 353203 h 456712"/>
                  <a:gd name="connsiteX348" fmla="*/ 285842 w 291396"/>
                  <a:gd name="connsiteY348" fmla="*/ 351175 h 456712"/>
                  <a:gd name="connsiteX349" fmla="*/ 284696 w 291396"/>
                  <a:gd name="connsiteY349" fmla="*/ 349059 h 456712"/>
                  <a:gd name="connsiteX350" fmla="*/ 283814 w 291396"/>
                  <a:gd name="connsiteY350" fmla="*/ 347648 h 456712"/>
                  <a:gd name="connsiteX351" fmla="*/ 283197 w 291396"/>
                  <a:gd name="connsiteY351" fmla="*/ 347383 h 456712"/>
                  <a:gd name="connsiteX352" fmla="*/ 282932 w 291396"/>
                  <a:gd name="connsiteY352" fmla="*/ 345003 h 456712"/>
                  <a:gd name="connsiteX353" fmla="*/ 281786 w 291396"/>
                  <a:gd name="connsiteY353" fmla="*/ 343239 h 456712"/>
                  <a:gd name="connsiteX354" fmla="*/ 282051 w 291396"/>
                  <a:gd name="connsiteY354" fmla="*/ 341829 h 456712"/>
                  <a:gd name="connsiteX355" fmla="*/ 280640 w 291396"/>
                  <a:gd name="connsiteY355" fmla="*/ 340330 h 456712"/>
                  <a:gd name="connsiteX356" fmla="*/ 280287 w 291396"/>
                  <a:gd name="connsiteY356" fmla="*/ 339448 h 456712"/>
                  <a:gd name="connsiteX357" fmla="*/ 280287 w 291396"/>
                  <a:gd name="connsiteY357" fmla="*/ 339184 h 456712"/>
                  <a:gd name="connsiteX358" fmla="*/ 281522 w 291396"/>
                  <a:gd name="connsiteY358" fmla="*/ 339184 h 456712"/>
                  <a:gd name="connsiteX359" fmla="*/ 281522 w 291396"/>
                  <a:gd name="connsiteY359" fmla="*/ 338302 h 456712"/>
                  <a:gd name="connsiteX360" fmla="*/ 282315 w 291396"/>
                  <a:gd name="connsiteY360" fmla="*/ 337685 h 456712"/>
                  <a:gd name="connsiteX361" fmla="*/ 282668 w 291396"/>
                  <a:gd name="connsiteY361" fmla="*/ 336539 h 456712"/>
                  <a:gd name="connsiteX362" fmla="*/ 282668 w 291396"/>
                  <a:gd name="connsiteY362" fmla="*/ 329309 h 456712"/>
                  <a:gd name="connsiteX363" fmla="*/ 282051 w 291396"/>
                  <a:gd name="connsiteY363" fmla="*/ 328074 h 456712"/>
                  <a:gd name="connsiteX364" fmla="*/ 282315 w 291396"/>
                  <a:gd name="connsiteY364" fmla="*/ 325165 h 456712"/>
                  <a:gd name="connsiteX365" fmla="*/ 281786 w 291396"/>
                  <a:gd name="connsiteY365" fmla="*/ 323137 h 456712"/>
                  <a:gd name="connsiteX366" fmla="*/ 281522 w 291396"/>
                  <a:gd name="connsiteY366" fmla="*/ 319963 h 456712"/>
                  <a:gd name="connsiteX367" fmla="*/ 282051 w 291396"/>
                  <a:gd name="connsiteY367" fmla="*/ 319610 h 456712"/>
                  <a:gd name="connsiteX368" fmla="*/ 282315 w 291396"/>
                  <a:gd name="connsiteY368" fmla="*/ 318200 h 456712"/>
                  <a:gd name="connsiteX369" fmla="*/ 282668 w 291396"/>
                  <a:gd name="connsiteY369" fmla="*/ 318200 h 456712"/>
                  <a:gd name="connsiteX370" fmla="*/ 283197 w 291396"/>
                  <a:gd name="connsiteY370" fmla="*/ 317318 h 456712"/>
                  <a:gd name="connsiteX371" fmla="*/ 283814 w 291396"/>
                  <a:gd name="connsiteY371" fmla="*/ 317318 h 456712"/>
                  <a:gd name="connsiteX372" fmla="*/ 283814 w 291396"/>
                  <a:gd name="connsiteY372" fmla="*/ 316701 h 456712"/>
                  <a:gd name="connsiteX373" fmla="*/ 286106 w 291396"/>
                  <a:gd name="connsiteY373" fmla="*/ 316172 h 456712"/>
                  <a:gd name="connsiteX374" fmla="*/ 286459 w 291396"/>
                  <a:gd name="connsiteY374" fmla="*/ 315026 h 456712"/>
                  <a:gd name="connsiteX375" fmla="*/ 285313 w 291396"/>
                  <a:gd name="connsiteY375" fmla="*/ 314408 h 456712"/>
                  <a:gd name="connsiteX376" fmla="*/ 285313 w 291396"/>
                  <a:gd name="connsiteY376" fmla="*/ 313791 h 456712"/>
                  <a:gd name="connsiteX377" fmla="*/ 285577 w 291396"/>
                  <a:gd name="connsiteY377" fmla="*/ 313527 h 456712"/>
                  <a:gd name="connsiteX378" fmla="*/ 286724 w 291396"/>
                  <a:gd name="connsiteY378" fmla="*/ 312381 h 456712"/>
                  <a:gd name="connsiteX379" fmla="*/ 286988 w 291396"/>
                  <a:gd name="connsiteY379" fmla="*/ 311763 h 456712"/>
                  <a:gd name="connsiteX380" fmla="*/ 286988 w 291396"/>
                  <a:gd name="connsiteY380" fmla="*/ 310617 h 456712"/>
                  <a:gd name="connsiteX381" fmla="*/ 287341 w 291396"/>
                  <a:gd name="connsiteY381" fmla="*/ 310617 h 456712"/>
                  <a:gd name="connsiteX382" fmla="*/ 281169 w 291396"/>
                  <a:gd name="connsiteY382" fmla="*/ 298362 h 456712"/>
                  <a:gd name="connsiteX383" fmla="*/ 265739 w 291396"/>
                  <a:gd name="connsiteY383" fmla="*/ 272088 h 456712"/>
                  <a:gd name="connsiteX384" fmla="*/ 261331 w 291396"/>
                  <a:gd name="connsiteY384" fmla="*/ 272352 h 456712"/>
                  <a:gd name="connsiteX385" fmla="*/ 258422 w 291396"/>
                  <a:gd name="connsiteY385" fmla="*/ 271823 h 456712"/>
                  <a:gd name="connsiteX386" fmla="*/ 252338 w 291396"/>
                  <a:gd name="connsiteY386" fmla="*/ 274468 h 456712"/>
                  <a:gd name="connsiteX387" fmla="*/ 246783 w 291396"/>
                  <a:gd name="connsiteY387" fmla="*/ 274468 h 456712"/>
                  <a:gd name="connsiteX388" fmla="*/ 242110 w 291396"/>
                  <a:gd name="connsiteY388" fmla="*/ 274115 h 456712"/>
                  <a:gd name="connsiteX389" fmla="*/ 242728 w 291396"/>
                  <a:gd name="connsiteY389" fmla="*/ 242022 h 456712"/>
                  <a:gd name="connsiteX390" fmla="*/ 241493 w 291396"/>
                  <a:gd name="connsiteY390" fmla="*/ 237349 h 456712"/>
                  <a:gd name="connsiteX391" fmla="*/ 242375 w 291396"/>
                  <a:gd name="connsiteY391" fmla="*/ 236203 h 456712"/>
                  <a:gd name="connsiteX392" fmla="*/ 240611 w 291396"/>
                  <a:gd name="connsiteY392" fmla="*/ 234792 h 456712"/>
                  <a:gd name="connsiteX393" fmla="*/ 232500 w 291396"/>
                  <a:gd name="connsiteY393" fmla="*/ 244403 h 456712"/>
                  <a:gd name="connsiteX394" fmla="*/ 226064 w 291396"/>
                  <a:gd name="connsiteY394" fmla="*/ 248458 h 456712"/>
                  <a:gd name="connsiteX395" fmla="*/ 224565 w 291396"/>
                  <a:gd name="connsiteY395" fmla="*/ 248458 h 456712"/>
                  <a:gd name="connsiteX396" fmla="*/ 206843 w 291396"/>
                  <a:gd name="connsiteY396" fmla="*/ 244667 h 456712"/>
                  <a:gd name="connsiteX397" fmla="*/ 204462 w 291396"/>
                  <a:gd name="connsiteY397" fmla="*/ 240347 h 456712"/>
                  <a:gd name="connsiteX398" fmla="*/ 195469 w 291396"/>
                  <a:gd name="connsiteY398" fmla="*/ 234792 h 456712"/>
                  <a:gd name="connsiteX399" fmla="*/ 183214 w 291396"/>
                  <a:gd name="connsiteY399" fmla="*/ 233646 h 456712"/>
                  <a:gd name="connsiteX400" fmla="*/ 187534 w 291396"/>
                  <a:gd name="connsiteY400" fmla="*/ 229238 h 456712"/>
                  <a:gd name="connsiteX401" fmla="*/ 188416 w 291396"/>
                  <a:gd name="connsiteY401" fmla="*/ 227210 h 456712"/>
                  <a:gd name="connsiteX402" fmla="*/ 188151 w 291396"/>
                  <a:gd name="connsiteY402" fmla="*/ 223419 h 456712"/>
                  <a:gd name="connsiteX403" fmla="*/ 183743 w 291396"/>
                  <a:gd name="connsiteY403" fmla="*/ 216453 h 456712"/>
                  <a:gd name="connsiteX404" fmla="*/ 180569 w 291396"/>
                  <a:gd name="connsiteY404" fmla="*/ 214073 h 456712"/>
                  <a:gd name="connsiteX405" fmla="*/ 179423 w 291396"/>
                  <a:gd name="connsiteY405" fmla="*/ 210546 h 456712"/>
                  <a:gd name="connsiteX406" fmla="*/ 175279 w 291396"/>
                  <a:gd name="connsiteY406" fmla="*/ 207989 h 456712"/>
                  <a:gd name="connsiteX407" fmla="*/ 169812 w 291396"/>
                  <a:gd name="connsiteY407" fmla="*/ 197409 h 456712"/>
                  <a:gd name="connsiteX408" fmla="*/ 170341 w 291396"/>
                  <a:gd name="connsiteY408" fmla="*/ 195117 h 456712"/>
                  <a:gd name="connsiteX409" fmla="*/ 167696 w 291396"/>
                  <a:gd name="connsiteY409" fmla="*/ 192207 h 456712"/>
                  <a:gd name="connsiteX410" fmla="*/ 163640 w 291396"/>
                  <a:gd name="connsiteY410" fmla="*/ 186917 h 456712"/>
                  <a:gd name="connsiteX411" fmla="*/ 164522 w 291396"/>
                  <a:gd name="connsiteY411" fmla="*/ 182244 h 456712"/>
                  <a:gd name="connsiteX412" fmla="*/ 170077 w 291396"/>
                  <a:gd name="connsiteY412" fmla="*/ 181098 h 456712"/>
                  <a:gd name="connsiteX413" fmla="*/ 167696 w 291396"/>
                  <a:gd name="connsiteY413" fmla="*/ 176425 h 456712"/>
                  <a:gd name="connsiteX414" fmla="*/ 168931 w 291396"/>
                  <a:gd name="connsiteY414" fmla="*/ 171223 h 456712"/>
                  <a:gd name="connsiteX415" fmla="*/ 179952 w 291396"/>
                  <a:gd name="connsiteY415" fmla="*/ 161525 h 456712"/>
                  <a:gd name="connsiteX416" fmla="*/ 180569 w 291396"/>
                  <a:gd name="connsiteY416" fmla="*/ 150151 h 456712"/>
                  <a:gd name="connsiteX417" fmla="*/ 181451 w 291396"/>
                  <a:gd name="connsiteY417" fmla="*/ 145566 h 456712"/>
                  <a:gd name="connsiteX418" fmla="*/ 185771 w 291396"/>
                  <a:gd name="connsiteY418" fmla="*/ 137014 h 456712"/>
                  <a:gd name="connsiteX419" fmla="*/ 186388 w 291396"/>
                  <a:gd name="connsiteY419" fmla="*/ 130048 h 456712"/>
                  <a:gd name="connsiteX420" fmla="*/ 187005 w 291396"/>
                  <a:gd name="connsiteY420" fmla="*/ 126257 h 456712"/>
                  <a:gd name="connsiteX421" fmla="*/ 188769 w 291396"/>
                  <a:gd name="connsiteY421" fmla="*/ 125111 h 456712"/>
                  <a:gd name="connsiteX422" fmla="*/ 192207 w 291396"/>
                  <a:gd name="connsiteY422" fmla="*/ 124229 h 456712"/>
                  <a:gd name="connsiteX423" fmla="*/ 193706 w 291396"/>
                  <a:gd name="connsiteY423" fmla="*/ 122730 h 456712"/>
                  <a:gd name="connsiteX424" fmla="*/ 195469 w 291396"/>
                  <a:gd name="connsiteY424" fmla="*/ 121055 h 456712"/>
                  <a:gd name="connsiteX425" fmla="*/ 197233 w 291396"/>
                  <a:gd name="connsiteY425" fmla="*/ 118675 h 456712"/>
                  <a:gd name="connsiteX426" fmla="*/ 198379 w 291396"/>
                  <a:gd name="connsiteY426" fmla="*/ 117528 h 456712"/>
                  <a:gd name="connsiteX427" fmla="*/ 202435 w 291396"/>
                  <a:gd name="connsiteY427" fmla="*/ 116382 h 456712"/>
                  <a:gd name="connsiteX428" fmla="*/ 203934 w 291396"/>
                  <a:gd name="connsiteY428" fmla="*/ 113737 h 456712"/>
                  <a:gd name="connsiteX429" fmla="*/ 207372 w 291396"/>
                  <a:gd name="connsiteY429" fmla="*/ 111709 h 456712"/>
                  <a:gd name="connsiteX430" fmla="*/ 211516 w 291396"/>
                  <a:gd name="connsiteY430" fmla="*/ 111357 h 456712"/>
                  <a:gd name="connsiteX431" fmla="*/ 212927 w 291396"/>
                  <a:gd name="connsiteY431" fmla="*/ 111709 h 456712"/>
                  <a:gd name="connsiteX432" fmla="*/ 214073 w 291396"/>
                  <a:gd name="connsiteY432" fmla="*/ 111357 h 456712"/>
                  <a:gd name="connsiteX433" fmla="*/ 216453 w 291396"/>
                  <a:gd name="connsiteY433" fmla="*/ 109681 h 456712"/>
                  <a:gd name="connsiteX434" fmla="*/ 220862 w 291396"/>
                  <a:gd name="connsiteY434" fmla="*/ 109064 h 456712"/>
                  <a:gd name="connsiteX435" fmla="*/ 223419 w 291396"/>
                  <a:gd name="connsiteY435" fmla="*/ 107918 h 456712"/>
                  <a:gd name="connsiteX436" fmla="*/ 225446 w 291396"/>
                  <a:gd name="connsiteY436" fmla="*/ 108183 h 456712"/>
                  <a:gd name="connsiteX437" fmla="*/ 227210 w 291396"/>
                  <a:gd name="connsiteY437" fmla="*/ 107301 h 456712"/>
                  <a:gd name="connsiteX438" fmla="*/ 230737 w 291396"/>
                  <a:gd name="connsiteY438" fmla="*/ 104656 h 456712"/>
                  <a:gd name="connsiteX439" fmla="*/ 232147 w 291396"/>
                  <a:gd name="connsiteY439" fmla="*/ 102363 h 456712"/>
                  <a:gd name="connsiteX440" fmla="*/ 234263 w 291396"/>
                  <a:gd name="connsiteY440" fmla="*/ 101746 h 456712"/>
                  <a:gd name="connsiteX441" fmla="*/ 235145 w 291396"/>
                  <a:gd name="connsiteY441" fmla="*/ 103245 h 456712"/>
                  <a:gd name="connsiteX442" fmla="*/ 236820 w 291396"/>
                  <a:gd name="connsiteY442" fmla="*/ 102099 h 456712"/>
                  <a:gd name="connsiteX443" fmla="*/ 238936 w 291396"/>
                  <a:gd name="connsiteY443" fmla="*/ 102099 h 456712"/>
                  <a:gd name="connsiteX444" fmla="*/ 241493 w 291396"/>
                  <a:gd name="connsiteY444" fmla="*/ 102099 h 456712"/>
                  <a:gd name="connsiteX445" fmla="*/ 242110 w 291396"/>
                  <a:gd name="connsiteY445" fmla="*/ 104656 h 456712"/>
                  <a:gd name="connsiteX446" fmla="*/ 244403 w 291396"/>
                  <a:gd name="connsiteY446" fmla="*/ 107301 h 456712"/>
                  <a:gd name="connsiteX447" fmla="*/ 245637 w 291396"/>
                  <a:gd name="connsiteY447" fmla="*/ 105538 h 456712"/>
                  <a:gd name="connsiteX448" fmla="*/ 247929 w 291396"/>
                  <a:gd name="connsiteY448" fmla="*/ 105890 h 456712"/>
                  <a:gd name="connsiteX449" fmla="*/ 248547 w 291396"/>
                  <a:gd name="connsiteY449" fmla="*/ 107301 h 456712"/>
                  <a:gd name="connsiteX450" fmla="*/ 250310 w 291396"/>
                  <a:gd name="connsiteY450" fmla="*/ 104127 h 456712"/>
                  <a:gd name="connsiteX451" fmla="*/ 246166 w 291396"/>
                  <a:gd name="connsiteY451" fmla="*/ 100865 h 456712"/>
                  <a:gd name="connsiteX452" fmla="*/ 245020 w 291396"/>
                  <a:gd name="connsiteY452" fmla="*/ 97690 h 456712"/>
                  <a:gd name="connsiteX453" fmla="*/ 243257 w 291396"/>
                  <a:gd name="connsiteY453" fmla="*/ 95927 h 456712"/>
                  <a:gd name="connsiteX454" fmla="*/ 241493 w 291396"/>
                  <a:gd name="connsiteY454" fmla="*/ 93899 h 456712"/>
                  <a:gd name="connsiteX455" fmla="*/ 240611 w 291396"/>
                  <a:gd name="connsiteY455" fmla="*/ 93899 h 456712"/>
                  <a:gd name="connsiteX456" fmla="*/ 237437 w 291396"/>
                  <a:gd name="connsiteY456" fmla="*/ 95927 h 456712"/>
                  <a:gd name="connsiteX457" fmla="*/ 235674 w 291396"/>
                  <a:gd name="connsiteY457" fmla="*/ 95046 h 456712"/>
                  <a:gd name="connsiteX458" fmla="*/ 235145 w 291396"/>
                  <a:gd name="connsiteY458" fmla="*/ 95046 h 456712"/>
                  <a:gd name="connsiteX459" fmla="*/ 233382 w 291396"/>
                  <a:gd name="connsiteY459" fmla="*/ 93899 h 456712"/>
                  <a:gd name="connsiteX460" fmla="*/ 232764 w 291396"/>
                  <a:gd name="connsiteY460" fmla="*/ 93899 h 456712"/>
                  <a:gd name="connsiteX461" fmla="*/ 247048 w 291396"/>
                  <a:gd name="connsiteY461" fmla="*/ 67096 h 456712"/>
                  <a:gd name="connsiteX462" fmla="*/ 246166 w 291396"/>
                  <a:gd name="connsiteY462" fmla="*/ 66744 h 456712"/>
                  <a:gd name="connsiteX463" fmla="*/ 245902 w 291396"/>
                  <a:gd name="connsiteY463" fmla="*/ 64716 h 456712"/>
                  <a:gd name="connsiteX464" fmla="*/ 245637 w 291396"/>
                  <a:gd name="connsiteY464" fmla="*/ 64716 h 456712"/>
                  <a:gd name="connsiteX465" fmla="*/ 244755 w 291396"/>
                  <a:gd name="connsiteY465" fmla="*/ 65862 h 456712"/>
                  <a:gd name="connsiteX466" fmla="*/ 244403 w 291396"/>
                  <a:gd name="connsiteY466" fmla="*/ 64716 h 456712"/>
                  <a:gd name="connsiteX467" fmla="*/ 242375 w 291396"/>
                  <a:gd name="connsiteY467" fmla="*/ 64716 h 456712"/>
                  <a:gd name="connsiteX468" fmla="*/ 242110 w 291396"/>
                  <a:gd name="connsiteY468" fmla="*/ 62952 h 456712"/>
                  <a:gd name="connsiteX469" fmla="*/ 241493 w 291396"/>
                  <a:gd name="connsiteY469" fmla="*/ 62071 h 456712"/>
                  <a:gd name="connsiteX470" fmla="*/ 240082 w 291396"/>
                  <a:gd name="connsiteY470" fmla="*/ 63305 h 456712"/>
                  <a:gd name="connsiteX471" fmla="*/ 240082 w 291396"/>
                  <a:gd name="connsiteY471" fmla="*/ 62071 h 456712"/>
                  <a:gd name="connsiteX472" fmla="*/ 240347 w 291396"/>
                  <a:gd name="connsiteY472" fmla="*/ 61542 h 456712"/>
                  <a:gd name="connsiteX473" fmla="*/ 240347 w 291396"/>
                  <a:gd name="connsiteY473" fmla="*/ 60924 h 456712"/>
                  <a:gd name="connsiteX474" fmla="*/ 239818 w 291396"/>
                  <a:gd name="connsiteY474" fmla="*/ 60924 h 456712"/>
                  <a:gd name="connsiteX475" fmla="*/ 237702 w 291396"/>
                  <a:gd name="connsiteY475" fmla="*/ 61542 h 456712"/>
                  <a:gd name="connsiteX476" fmla="*/ 237437 w 291396"/>
                  <a:gd name="connsiteY476" fmla="*/ 60307 h 456712"/>
                  <a:gd name="connsiteX477" fmla="*/ 236291 w 291396"/>
                  <a:gd name="connsiteY477" fmla="*/ 60307 h 456712"/>
                  <a:gd name="connsiteX478" fmla="*/ 234792 w 291396"/>
                  <a:gd name="connsiteY478" fmla="*/ 58896 h 456712"/>
                  <a:gd name="connsiteX479" fmla="*/ 234792 w 291396"/>
                  <a:gd name="connsiteY479" fmla="*/ 60307 h 456712"/>
                  <a:gd name="connsiteX480" fmla="*/ 233911 w 291396"/>
                  <a:gd name="connsiteY480" fmla="*/ 60307 h 456712"/>
                  <a:gd name="connsiteX481" fmla="*/ 233382 w 291396"/>
                  <a:gd name="connsiteY481" fmla="*/ 58896 h 456712"/>
                  <a:gd name="connsiteX482" fmla="*/ 232147 w 291396"/>
                  <a:gd name="connsiteY482" fmla="*/ 58632 h 456712"/>
                  <a:gd name="connsiteX483" fmla="*/ 232147 w 291396"/>
                  <a:gd name="connsiteY483" fmla="*/ 57398 h 456712"/>
                  <a:gd name="connsiteX484" fmla="*/ 229590 w 291396"/>
                  <a:gd name="connsiteY484" fmla="*/ 56251 h 456712"/>
                  <a:gd name="connsiteX485" fmla="*/ 228444 w 291396"/>
                  <a:gd name="connsiteY485" fmla="*/ 54841 h 456712"/>
                  <a:gd name="connsiteX486" fmla="*/ 226945 w 291396"/>
                  <a:gd name="connsiteY486" fmla="*/ 54841 h 456712"/>
                  <a:gd name="connsiteX487" fmla="*/ 225799 w 291396"/>
                  <a:gd name="connsiteY487" fmla="*/ 54224 h 456712"/>
                  <a:gd name="connsiteX488" fmla="*/ 225446 w 291396"/>
                  <a:gd name="connsiteY488" fmla="*/ 54841 h 456712"/>
                  <a:gd name="connsiteX489" fmla="*/ 225799 w 291396"/>
                  <a:gd name="connsiteY489" fmla="*/ 55722 h 456712"/>
                  <a:gd name="connsiteX490" fmla="*/ 225446 w 291396"/>
                  <a:gd name="connsiteY490" fmla="*/ 55722 h 456712"/>
                  <a:gd name="connsiteX491" fmla="*/ 224300 w 291396"/>
                  <a:gd name="connsiteY491" fmla="*/ 55370 h 456712"/>
                  <a:gd name="connsiteX492" fmla="*/ 222890 w 291396"/>
                  <a:gd name="connsiteY492" fmla="*/ 55370 h 456712"/>
                  <a:gd name="connsiteX493" fmla="*/ 222537 w 291396"/>
                  <a:gd name="connsiteY493" fmla="*/ 55722 h 456712"/>
                  <a:gd name="connsiteX494" fmla="*/ 222273 w 291396"/>
                  <a:gd name="connsiteY494" fmla="*/ 57133 h 456712"/>
                  <a:gd name="connsiteX495" fmla="*/ 221391 w 291396"/>
                  <a:gd name="connsiteY495" fmla="*/ 57750 h 456712"/>
                  <a:gd name="connsiteX496" fmla="*/ 220862 w 291396"/>
                  <a:gd name="connsiteY496" fmla="*/ 57398 h 456712"/>
                  <a:gd name="connsiteX497" fmla="*/ 219363 w 291396"/>
                  <a:gd name="connsiteY497" fmla="*/ 57750 h 456712"/>
                  <a:gd name="connsiteX498" fmla="*/ 218746 w 291396"/>
                  <a:gd name="connsiteY498" fmla="*/ 57398 h 456712"/>
                  <a:gd name="connsiteX499" fmla="*/ 216453 w 291396"/>
                  <a:gd name="connsiteY499" fmla="*/ 58632 h 456712"/>
                  <a:gd name="connsiteX500" fmla="*/ 216101 w 291396"/>
                  <a:gd name="connsiteY500" fmla="*/ 58279 h 456712"/>
                  <a:gd name="connsiteX501" fmla="*/ 216453 w 291396"/>
                  <a:gd name="connsiteY501" fmla="*/ 57398 h 456712"/>
                  <a:gd name="connsiteX502" fmla="*/ 215836 w 291396"/>
                  <a:gd name="connsiteY502" fmla="*/ 55722 h 456712"/>
                  <a:gd name="connsiteX503" fmla="*/ 215307 w 291396"/>
                  <a:gd name="connsiteY503" fmla="*/ 55370 h 456712"/>
                  <a:gd name="connsiteX504" fmla="*/ 215307 w 291396"/>
                  <a:gd name="connsiteY504" fmla="*/ 57133 h 456712"/>
                  <a:gd name="connsiteX505" fmla="*/ 214955 w 291396"/>
                  <a:gd name="connsiteY505" fmla="*/ 57133 h 456712"/>
                  <a:gd name="connsiteX506" fmla="*/ 214690 w 291396"/>
                  <a:gd name="connsiteY506" fmla="*/ 56516 h 456712"/>
                  <a:gd name="connsiteX507" fmla="*/ 214073 w 291396"/>
                  <a:gd name="connsiteY507" fmla="*/ 55105 h 456712"/>
                  <a:gd name="connsiteX508" fmla="*/ 212927 w 291396"/>
                  <a:gd name="connsiteY508" fmla="*/ 54841 h 456712"/>
                  <a:gd name="connsiteX509" fmla="*/ 212398 w 291396"/>
                  <a:gd name="connsiteY509" fmla="*/ 53606 h 456712"/>
                  <a:gd name="connsiteX510" fmla="*/ 210899 w 291396"/>
                  <a:gd name="connsiteY510" fmla="*/ 53342 h 456712"/>
                  <a:gd name="connsiteX511" fmla="*/ 210017 w 291396"/>
                  <a:gd name="connsiteY511" fmla="*/ 53606 h 456712"/>
                  <a:gd name="connsiteX512" fmla="*/ 209753 w 291396"/>
                  <a:gd name="connsiteY512" fmla="*/ 52725 h 456712"/>
                  <a:gd name="connsiteX513" fmla="*/ 207372 w 291396"/>
                  <a:gd name="connsiteY513" fmla="*/ 53606 h 456712"/>
                  <a:gd name="connsiteX514" fmla="*/ 206226 w 291396"/>
                  <a:gd name="connsiteY514" fmla="*/ 55370 h 456712"/>
                  <a:gd name="connsiteX515" fmla="*/ 205080 w 291396"/>
                  <a:gd name="connsiteY515" fmla="*/ 56251 h 456712"/>
                  <a:gd name="connsiteX516" fmla="*/ 205080 w 291396"/>
                  <a:gd name="connsiteY516" fmla="*/ 57398 h 456712"/>
                  <a:gd name="connsiteX517" fmla="*/ 202699 w 291396"/>
                  <a:gd name="connsiteY517" fmla="*/ 57133 h 456712"/>
                  <a:gd name="connsiteX518" fmla="*/ 201817 w 291396"/>
                  <a:gd name="connsiteY518" fmla="*/ 57750 h 456712"/>
                  <a:gd name="connsiteX519" fmla="*/ 200407 w 291396"/>
                  <a:gd name="connsiteY519" fmla="*/ 59161 h 456712"/>
                  <a:gd name="connsiteX520" fmla="*/ 197762 w 291396"/>
                  <a:gd name="connsiteY520" fmla="*/ 58896 h 456712"/>
                  <a:gd name="connsiteX521" fmla="*/ 197497 w 291396"/>
                  <a:gd name="connsiteY521" fmla="*/ 59161 h 456712"/>
                  <a:gd name="connsiteX522" fmla="*/ 197762 w 291396"/>
                  <a:gd name="connsiteY522" fmla="*/ 59778 h 456712"/>
                  <a:gd name="connsiteX523" fmla="*/ 195469 w 291396"/>
                  <a:gd name="connsiteY523" fmla="*/ 60307 h 456712"/>
                  <a:gd name="connsiteX524" fmla="*/ 194852 w 291396"/>
                  <a:gd name="connsiteY524" fmla="*/ 60307 h 456712"/>
                  <a:gd name="connsiteX525" fmla="*/ 194852 w 291396"/>
                  <a:gd name="connsiteY525" fmla="*/ 59161 h 456712"/>
                  <a:gd name="connsiteX526" fmla="*/ 191943 w 291396"/>
                  <a:gd name="connsiteY526" fmla="*/ 58632 h 456712"/>
                  <a:gd name="connsiteX527" fmla="*/ 189650 w 291396"/>
                  <a:gd name="connsiteY527" fmla="*/ 57398 h 456712"/>
                  <a:gd name="connsiteX528" fmla="*/ 188151 w 291396"/>
                  <a:gd name="connsiteY528" fmla="*/ 59778 h 456712"/>
                  <a:gd name="connsiteX529" fmla="*/ 187534 w 291396"/>
                  <a:gd name="connsiteY529" fmla="*/ 58279 h 456712"/>
                  <a:gd name="connsiteX530" fmla="*/ 187005 w 291396"/>
                  <a:gd name="connsiteY530" fmla="*/ 58896 h 456712"/>
                  <a:gd name="connsiteX531" fmla="*/ 186388 w 291396"/>
                  <a:gd name="connsiteY531" fmla="*/ 58632 h 456712"/>
                  <a:gd name="connsiteX532" fmla="*/ 184360 w 291396"/>
                  <a:gd name="connsiteY532" fmla="*/ 59161 h 456712"/>
                  <a:gd name="connsiteX533" fmla="*/ 183743 w 291396"/>
                  <a:gd name="connsiteY533" fmla="*/ 59778 h 456712"/>
                  <a:gd name="connsiteX534" fmla="*/ 182068 w 291396"/>
                  <a:gd name="connsiteY534" fmla="*/ 57398 h 456712"/>
                  <a:gd name="connsiteX535" fmla="*/ 181451 w 291396"/>
                  <a:gd name="connsiteY535" fmla="*/ 57398 h 456712"/>
                  <a:gd name="connsiteX536" fmla="*/ 180833 w 291396"/>
                  <a:gd name="connsiteY536" fmla="*/ 56516 h 456712"/>
                  <a:gd name="connsiteX537" fmla="*/ 180569 w 291396"/>
                  <a:gd name="connsiteY537" fmla="*/ 57398 h 456712"/>
                  <a:gd name="connsiteX538" fmla="*/ 179952 w 291396"/>
                  <a:gd name="connsiteY538" fmla="*/ 57750 h 456712"/>
                  <a:gd name="connsiteX539" fmla="*/ 179423 w 291396"/>
                  <a:gd name="connsiteY539" fmla="*/ 57133 h 456712"/>
                  <a:gd name="connsiteX540" fmla="*/ 178805 w 291396"/>
                  <a:gd name="connsiteY540" fmla="*/ 57133 h 456712"/>
                  <a:gd name="connsiteX541" fmla="*/ 178541 w 291396"/>
                  <a:gd name="connsiteY541" fmla="*/ 55722 h 456712"/>
                  <a:gd name="connsiteX542" fmla="*/ 177042 w 291396"/>
                  <a:gd name="connsiteY542" fmla="*/ 54841 h 456712"/>
                  <a:gd name="connsiteX543" fmla="*/ 177042 w 291396"/>
                  <a:gd name="connsiteY543" fmla="*/ 53606 h 456712"/>
                  <a:gd name="connsiteX544" fmla="*/ 178541 w 291396"/>
                  <a:gd name="connsiteY544" fmla="*/ 52725 h 456712"/>
                  <a:gd name="connsiteX545" fmla="*/ 179070 w 291396"/>
                  <a:gd name="connsiteY545" fmla="*/ 51314 h 456712"/>
                  <a:gd name="connsiteX546" fmla="*/ 178188 w 291396"/>
                  <a:gd name="connsiteY546" fmla="*/ 48140 h 456712"/>
                  <a:gd name="connsiteX547" fmla="*/ 178188 w 291396"/>
                  <a:gd name="connsiteY547" fmla="*/ 46906 h 456712"/>
                  <a:gd name="connsiteX548" fmla="*/ 177659 w 291396"/>
                  <a:gd name="connsiteY548" fmla="*/ 44878 h 456712"/>
                  <a:gd name="connsiteX549" fmla="*/ 177042 w 291396"/>
                  <a:gd name="connsiteY549" fmla="*/ 43731 h 456712"/>
                  <a:gd name="connsiteX550" fmla="*/ 176160 w 291396"/>
                  <a:gd name="connsiteY550" fmla="*/ 43114 h 456712"/>
                  <a:gd name="connsiteX551" fmla="*/ 175896 w 291396"/>
                  <a:gd name="connsiteY551" fmla="*/ 43731 h 456712"/>
                  <a:gd name="connsiteX552" fmla="*/ 175014 w 291396"/>
                  <a:gd name="connsiteY552" fmla="*/ 43467 h 456712"/>
                  <a:gd name="connsiteX553" fmla="*/ 174133 w 291396"/>
                  <a:gd name="connsiteY553" fmla="*/ 43996 h 456712"/>
                  <a:gd name="connsiteX554" fmla="*/ 172986 w 291396"/>
                  <a:gd name="connsiteY554" fmla="*/ 43467 h 456712"/>
                  <a:gd name="connsiteX555" fmla="*/ 172369 w 291396"/>
                  <a:gd name="connsiteY555" fmla="*/ 43467 h 456712"/>
                  <a:gd name="connsiteX556" fmla="*/ 171223 w 291396"/>
                  <a:gd name="connsiteY556" fmla="*/ 42233 h 456712"/>
                  <a:gd name="connsiteX557" fmla="*/ 170077 w 291396"/>
                  <a:gd name="connsiteY557" fmla="*/ 41351 h 456712"/>
                  <a:gd name="connsiteX558" fmla="*/ 170077 w 291396"/>
                  <a:gd name="connsiteY558" fmla="*/ 39676 h 456712"/>
                  <a:gd name="connsiteX559" fmla="*/ 170606 w 291396"/>
                  <a:gd name="connsiteY559" fmla="*/ 38177 h 456712"/>
                  <a:gd name="connsiteX560" fmla="*/ 170606 w 291396"/>
                  <a:gd name="connsiteY560" fmla="*/ 36414 h 456712"/>
                  <a:gd name="connsiteX561" fmla="*/ 168578 w 291396"/>
                  <a:gd name="connsiteY561" fmla="*/ 34650 h 456712"/>
                  <a:gd name="connsiteX562" fmla="*/ 168931 w 291396"/>
                  <a:gd name="connsiteY562" fmla="*/ 34121 h 456712"/>
                  <a:gd name="connsiteX563" fmla="*/ 168578 w 291396"/>
                  <a:gd name="connsiteY563" fmla="*/ 32975 h 456712"/>
                  <a:gd name="connsiteX564" fmla="*/ 168578 w 291396"/>
                  <a:gd name="connsiteY564" fmla="*/ 32093 h 456712"/>
                  <a:gd name="connsiteX565" fmla="*/ 167696 w 291396"/>
                  <a:gd name="connsiteY565" fmla="*/ 31741 h 456712"/>
                  <a:gd name="connsiteX566" fmla="*/ 167432 w 291396"/>
                  <a:gd name="connsiteY566" fmla="*/ 30594 h 456712"/>
                  <a:gd name="connsiteX567" fmla="*/ 165404 w 291396"/>
                  <a:gd name="connsiteY567" fmla="*/ 29448 h 456712"/>
                  <a:gd name="connsiteX568" fmla="*/ 164787 w 291396"/>
                  <a:gd name="connsiteY568" fmla="*/ 28566 h 456712"/>
                  <a:gd name="connsiteX569" fmla="*/ 164522 w 291396"/>
                  <a:gd name="connsiteY569" fmla="*/ 29448 h 456712"/>
                  <a:gd name="connsiteX570" fmla="*/ 163905 w 291396"/>
                  <a:gd name="connsiteY570" fmla="*/ 29977 h 456712"/>
                  <a:gd name="connsiteX571" fmla="*/ 162759 w 291396"/>
                  <a:gd name="connsiteY571" fmla="*/ 29448 h 456712"/>
                  <a:gd name="connsiteX572" fmla="*/ 161877 w 291396"/>
                  <a:gd name="connsiteY572" fmla="*/ 28566 h 456712"/>
                  <a:gd name="connsiteX573" fmla="*/ 160731 w 291396"/>
                  <a:gd name="connsiteY573" fmla="*/ 26803 h 456712"/>
                  <a:gd name="connsiteX574" fmla="*/ 160114 w 291396"/>
                  <a:gd name="connsiteY574" fmla="*/ 26803 h 456712"/>
                  <a:gd name="connsiteX575" fmla="*/ 159849 w 291396"/>
                  <a:gd name="connsiteY575" fmla="*/ 26539 h 456712"/>
                  <a:gd name="connsiteX576" fmla="*/ 160114 w 291396"/>
                  <a:gd name="connsiteY576" fmla="*/ 26539 h 456712"/>
                  <a:gd name="connsiteX577" fmla="*/ 159849 w 291396"/>
                  <a:gd name="connsiteY577" fmla="*/ 25657 h 456712"/>
                  <a:gd name="connsiteX578" fmla="*/ 158968 w 291396"/>
                  <a:gd name="connsiteY578" fmla="*/ 26539 h 456712"/>
                  <a:gd name="connsiteX579" fmla="*/ 157821 w 291396"/>
                  <a:gd name="connsiteY579" fmla="*/ 24423 h 456712"/>
                  <a:gd name="connsiteX580" fmla="*/ 157557 w 291396"/>
                  <a:gd name="connsiteY580" fmla="*/ 25040 h 456712"/>
                  <a:gd name="connsiteX581" fmla="*/ 155441 w 291396"/>
                  <a:gd name="connsiteY581" fmla="*/ 24423 h 456712"/>
                  <a:gd name="connsiteX582" fmla="*/ 154295 w 291396"/>
                  <a:gd name="connsiteY582" fmla="*/ 24423 h 456712"/>
                  <a:gd name="connsiteX583" fmla="*/ 153766 w 291396"/>
                  <a:gd name="connsiteY583" fmla="*/ 23276 h 456712"/>
                  <a:gd name="connsiteX584" fmla="*/ 152884 w 291396"/>
                  <a:gd name="connsiteY584" fmla="*/ 21513 h 456712"/>
                  <a:gd name="connsiteX585" fmla="*/ 151650 w 291396"/>
                  <a:gd name="connsiteY585" fmla="*/ 20984 h 456712"/>
                  <a:gd name="connsiteX586" fmla="*/ 151650 w 291396"/>
                  <a:gd name="connsiteY586" fmla="*/ 20720 h 456712"/>
                  <a:gd name="connsiteX587" fmla="*/ 152884 w 291396"/>
                  <a:gd name="connsiteY587" fmla="*/ 20720 h 456712"/>
                  <a:gd name="connsiteX588" fmla="*/ 153148 w 291396"/>
                  <a:gd name="connsiteY588" fmla="*/ 19838 h 456712"/>
                  <a:gd name="connsiteX589" fmla="*/ 152884 w 291396"/>
                  <a:gd name="connsiteY589" fmla="*/ 19485 h 456712"/>
                  <a:gd name="connsiteX590" fmla="*/ 152531 w 291396"/>
                  <a:gd name="connsiteY590" fmla="*/ 18956 h 456712"/>
                  <a:gd name="connsiteX591" fmla="*/ 151650 w 291396"/>
                  <a:gd name="connsiteY591" fmla="*/ 18339 h 456712"/>
                  <a:gd name="connsiteX592" fmla="*/ 151121 w 291396"/>
                  <a:gd name="connsiteY592" fmla="*/ 17457 h 456712"/>
                  <a:gd name="connsiteX593" fmla="*/ 151121 w 291396"/>
                  <a:gd name="connsiteY593" fmla="*/ 16576 h 456712"/>
                  <a:gd name="connsiteX594" fmla="*/ 151385 w 291396"/>
                  <a:gd name="connsiteY594" fmla="*/ 16047 h 456712"/>
                  <a:gd name="connsiteX595" fmla="*/ 151121 w 291396"/>
                  <a:gd name="connsiteY595" fmla="*/ 15694 h 456712"/>
                  <a:gd name="connsiteX596" fmla="*/ 151121 w 291396"/>
                  <a:gd name="connsiteY596" fmla="*/ 14548 h 456712"/>
                  <a:gd name="connsiteX597" fmla="*/ 150239 w 291396"/>
                  <a:gd name="connsiteY597" fmla="*/ 13137 h 456712"/>
                  <a:gd name="connsiteX598" fmla="*/ 149357 w 291396"/>
                  <a:gd name="connsiteY598" fmla="*/ 12520 h 456712"/>
                  <a:gd name="connsiteX599" fmla="*/ 149093 w 291396"/>
                  <a:gd name="connsiteY599" fmla="*/ 11638 h 456712"/>
                  <a:gd name="connsiteX600" fmla="*/ 147858 w 291396"/>
                  <a:gd name="connsiteY600" fmla="*/ 10757 h 456712"/>
                  <a:gd name="connsiteX601" fmla="*/ 145566 w 291396"/>
                  <a:gd name="connsiteY601" fmla="*/ 7847 h 456712"/>
                  <a:gd name="connsiteX602" fmla="*/ 144420 w 291396"/>
                  <a:gd name="connsiteY602" fmla="*/ 8111 h 456712"/>
                  <a:gd name="connsiteX603" fmla="*/ 143803 w 291396"/>
                  <a:gd name="connsiteY603" fmla="*/ 7582 h 456712"/>
                  <a:gd name="connsiteX604" fmla="*/ 142039 w 291396"/>
                  <a:gd name="connsiteY604" fmla="*/ 6965 h 456712"/>
                  <a:gd name="connsiteX605" fmla="*/ 142921 w 291396"/>
                  <a:gd name="connsiteY605" fmla="*/ 5819 h 456712"/>
                  <a:gd name="connsiteX606" fmla="*/ 141510 w 291396"/>
                  <a:gd name="connsiteY606" fmla="*/ 3438 h 456712"/>
                  <a:gd name="connsiteX607" fmla="*/ 141158 w 291396"/>
                  <a:gd name="connsiteY607" fmla="*/ 3438 h 456712"/>
                  <a:gd name="connsiteX608" fmla="*/ 140629 w 291396"/>
                  <a:gd name="connsiteY608" fmla="*/ 4673 h 456712"/>
                  <a:gd name="connsiteX609" fmla="*/ 139482 w 291396"/>
                  <a:gd name="connsiteY609" fmla="*/ 5202 h 456712"/>
                  <a:gd name="connsiteX610" fmla="*/ 138601 w 291396"/>
                  <a:gd name="connsiteY610" fmla="*/ 4673 h 456712"/>
                  <a:gd name="connsiteX611" fmla="*/ 137366 w 291396"/>
                  <a:gd name="connsiteY611" fmla="*/ 3174 h 456712"/>
                  <a:gd name="connsiteX612" fmla="*/ 136220 w 291396"/>
                  <a:gd name="connsiteY612" fmla="*/ 2557 h 456712"/>
                  <a:gd name="connsiteX613" fmla="*/ 134809 w 291396"/>
                  <a:gd name="connsiteY613" fmla="*/ 882 h 456712"/>
                  <a:gd name="connsiteX614" fmla="*/ 132693 w 291396"/>
                  <a:gd name="connsiteY614" fmla="*/ 0 h 456712"/>
                  <a:gd name="connsiteX615" fmla="*/ 131547 w 291396"/>
                  <a:gd name="connsiteY615" fmla="*/ 1763 h 456712"/>
                  <a:gd name="connsiteX616" fmla="*/ 131283 w 291396"/>
                  <a:gd name="connsiteY616" fmla="*/ 1763 h 456712"/>
                  <a:gd name="connsiteX617" fmla="*/ 129255 w 291396"/>
                  <a:gd name="connsiteY617" fmla="*/ 3174 h 456712"/>
                  <a:gd name="connsiteX618" fmla="*/ 128373 w 291396"/>
                  <a:gd name="connsiteY618" fmla="*/ 3438 h 456712"/>
                  <a:gd name="connsiteX619" fmla="*/ 123348 w 291396"/>
                  <a:gd name="connsiteY619" fmla="*/ 2028 h 456712"/>
                  <a:gd name="connsiteX620" fmla="*/ 124846 w 291396"/>
                  <a:gd name="connsiteY620" fmla="*/ 4320 h 456712"/>
                  <a:gd name="connsiteX621" fmla="*/ 127756 w 291396"/>
                  <a:gd name="connsiteY621" fmla="*/ 7847 h 456712"/>
                  <a:gd name="connsiteX622" fmla="*/ 129255 w 291396"/>
                  <a:gd name="connsiteY622" fmla="*/ 10757 h 456712"/>
                  <a:gd name="connsiteX623" fmla="*/ 130401 w 291396"/>
                  <a:gd name="connsiteY623" fmla="*/ 11638 h 456712"/>
                  <a:gd name="connsiteX624" fmla="*/ 131547 w 291396"/>
                  <a:gd name="connsiteY624" fmla="*/ 12255 h 456712"/>
                  <a:gd name="connsiteX625" fmla="*/ 131812 w 291396"/>
                  <a:gd name="connsiteY625" fmla="*/ 15165 h 456712"/>
                  <a:gd name="connsiteX626" fmla="*/ 131547 w 291396"/>
                  <a:gd name="connsiteY626" fmla="*/ 16576 h 456712"/>
                  <a:gd name="connsiteX627" fmla="*/ 131547 w 291396"/>
                  <a:gd name="connsiteY627" fmla="*/ 19221 h 456712"/>
                  <a:gd name="connsiteX628" fmla="*/ 131812 w 291396"/>
                  <a:gd name="connsiteY628" fmla="*/ 21249 h 456712"/>
                  <a:gd name="connsiteX629" fmla="*/ 132693 w 291396"/>
                  <a:gd name="connsiteY629" fmla="*/ 23276 h 456712"/>
                  <a:gd name="connsiteX630" fmla="*/ 130401 w 291396"/>
                  <a:gd name="connsiteY630" fmla="*/ 23894 h 456712"/>
                  <a:gd name="connsiteX631" fmla="*/ 128638 w 291396"/>
                  <a:gd name="connsiteY631" fmla="*/ 22130 h 456712"/>
                  <a:gd name="connsiteX632" fmla="*/ 125111 w 291396"/>
                  <a:gd name="connsiteY632" fmla="*/ 37912 h 456712"/>
                  <a:gd name="connsiteX633" fmla="*/ 114619 w 291396"/>
                  <a:gd name="connsiteY633" fmla="*/ 52725 h 456712"/>
                  <a:gd name="connsiteX634" fmla="*/ 75560 w 291396"/>
                  <a:gd name="connsiteY634" fmla="*/ 73444 h 456712"/>
                  <a:gd name="connsiteX635" fmla="*/ 70887 w 291396"/>
                  <a:gd name="connsiteY635" fmla="*/ 79352 h 456712"/>
                  <a:gd name="connsiteX636" fmla="*/ 70006 w 291396"/>
                  <a:gd name="connsiteY636" fmla="*/ 80762 h 456712"/>
                  <a:gd name="connsiteX637" fmla="*/ 67713 w 291396"/>
                  <a:gd name="connsiteY637" fmla="*/ 83672 h 456712"/>
                  <a:gd name="connsiteX638" fmla="*/ 68595 w 291396"/>
                  <a:gd name="connsiteY638" fmla="*/ 85171 h 456712"/>
                  <a:gd name="connsiteX639" fmla="*/ 66832 w 291396"/>
                  <a:gd name="connsiteY639" fmla="*/ 86934 h 456712"/>
                  <a:gd name="connsiteX640" fmla="*/ 66479 w 291396"/>
                  <a:gd name="connsiteY640" fmla="*/ 84553 h 456712"/>
                  <a:gd name="connsiteX641" fmla="*/ 64187 w 291396"/>
                  <a:gd name="connsiteY641" fmla="*/ 86934 h 456712"/>
                  <a:gd name="connsiteX642" fmla="*/ 63922 w 291396"/>
                  <a:gd name="connsiteY642" fmla="*/ 92136 h 456712"/>
                  <a:gd name="connsiteX643" fmla="*/ 61277 w 291396"/>
                  <a:gd name="connsiteY643" fmla="*/ 96809 h 456712"/>
                  <a:gd name="connsiteX644" fmla="*/ 60395 w 291396"/>
                  <a:gd name="connsiteY644" fmla="*/ 101482 h 456712"/>
                  <a:gd name="connsiteX645" fmla="*/ 58896 w 291396"/>
                  <a:gd name="connsiteY645" fmla="*/ 105538 h 456712"/>
                  <a:gd name="connsiteX646" fmla="*/ 58367 w 291396"/>
                  <a:gd name="connsiteY646" fmla="*/ 109681 h 456712"/>
                  <a:gd name="connsiteX647" fmla="*/ 58367 w 291396"/>
                  <a:gd name="connsiteY647" fmla="*/ 111092 h 456712"/>
                  <a:gd name="connsiteX648" fmla="*/ 58632 w 291396"/>
                  <a:gd name="connsiteY648" fmla="*/ 113473 h 456712"/>
                  <a:gd name="connsiteX649" fmla="*/ 53959 w 291396"/>
                  <a:gd name="connsiteY649" fmla="*/ 116030 h 456712"/>
                  <a:gd name="connsiteX650" fmla="*/ 53430 w 291396"/>
                  <a:gd name="connsiteY650" fmla="*/ 118675 h 456712"/>
                  <a:gd name="connsiteX651" fmla="*/ 51931 w 291396"/>
                  <a:gd name="connsiteY651" fmla="*/ 120703 h 456712"/>
                  <a:gd name="connsiteX652" fmla="*/ 50785 w 291396"/>
                  <a:gd name="connsiteY652" fmla="*/ 124229 h 456712"/>
                  <a:gd name="connsiteX653" fmla="*/ 50168 w 291396"/>
                  <a:gd name="connsiteY653" fmla="*/ 124229 h 456712"/>
                  <a:gd name="connsiteX654" fmla="*/ 49022 w 291396"/>
                  <a:gd name="connsiteY654" fmla="*/ 123965 h 456712"/>
                  <a:gd name="connsiteX655" fmla="*/ 45495 w 291396"/>
                  <a:gd name="connsiteY655" fmla="*/ 123083 h 456712"/>
                  <a:gd name="connsiteX656" fmla="*/ 43467 w 291396"/>
                  <a:gd name="connsiteY656" fmla="*/ 120703 h 456712"/>
                  <a:gd name="connsiteX657" fmla="*/ 41439 w 291396"/>
                  <a:gd name="connsiteY657" fmla="*/ 118939 h 456712"/>
                  <a:gd name="connsiteX658" fmla="*/ 40293 w 291396"/>
                  <a:gd name="connsiteY658" fmla="*/ 112855 h 456712"/>
                  <a:gd name="connsiteX659" fmla="*/ 39940 w 291396"/>
                  <a:gd name="connsiteY659" fmla="*/ 111709 h 456712"/>
                  <a:gd name="connsiteX660" fmla="*/ 36766 w 291396"/>
                  <a:gd name="connsiteY660" fmla="*/ 109681 h 456712"/>
                  <a:gd name="connsiteX661" fmla="*/ 34121 w 291396"/>
                  <a:gd name="connsiteY661" fmla="*/ 111092 h 456712"/>
                  <a:gd name="connsiteX662" fmla="*/ 32093 w 291396"/>
                  <a:gd name="connsiteY662" fmla="*/ 109681 h 456712"/>
                  <a:gd name="connsiteX663" fmla="*/ 30065 w 291396"/>
                  <a:gd name="connsiteY663" fmla="*/ 109329 h 456712"/>
                  <a:gd name="connsiteX664" fmla="*/ 27420 w 291396"/>
                  <a:gd name="connsiteY664" fmla="*/ 106155 h 456712"/>
                  <a:gd name="connsiteX665" fmla="*/ 26274 w 291396"/>
                  <a:gd name="connsiteY665" fmla="*/ 105890 h 456712"/>
                  <a:gd name="connsiteX666" fmla="*/ 23629 w 291396"/>
                  <a:gd name="connsiteY666" fmla="*/ 109329 h 456712"/>
                  <a:gd name="connsiteX667" fmla="*/ 21601 w 291396"/>
                  <a:gd name="connsiteY667" fmla="*/ 109946 h 456712"/>
                  <a:gd name="connsiteX668" fmla="*/ 21337 w 291396"/>
                  <a:gd name="connsiteY668" fmla="*/ 111092 h 456712"/>
                  <a:gd name="connsiteX669" fmla="*/ 18692 w 291396"/>
                  <a:gd name="connsiteY669" fmla="*/ 109681 h 456712"/>
                  <a:gd name="connsiteX670" fmla="*/ 21601 w 291396"/>
                  <a:gd name="connsiteY670" fmla="*/ 103774 h 456712"/>
                  <a:gd name="connsiteX671" fmla="*/ 19221 w 291396"/>
                  <a:gd name="connsiteY671" fmla="*/ 104127 h 456712"/>
                  <a:gd name="connsiteX672" fmla="*/ 18427 w 291396"/>
                  <a:gd name="connsiteY672" fmla="*/ 102099 h 456712"/>
                  <a:gd name="connsiteX673" fmla="*/ 17810 w 291396"/>
                  <a:gd name="connsiteY673" fmla="*/ 99983 h 456712"/>
                  <a:gd name="connsiteX674" fmla="*/ 21337 w 291396"/>
                  <a:gd name="connsiteY674" fmla="*/ 98572 h 456712"/>
                  <a:gd name="connsiteX675" fmla="*/ 22483 w 291396"/>
                  <a:gd name="connsiteY675" fmla="*/ 98572 h 456712"/>
                  <a:gd name="connsiteX676" fmla="*/ 23982 w 291396"/>
                  <a:gd name="connsiteY676" fmla="*/ 97690 h 456712"/>
                  <a:gd name="connsiteX677" fmla="*/ 24511 w 291396"/>
                  <a:gd name="connsiteY677" fmla="*/ 95310 h 456712"/>
                  <a:gd name="connsiteX678" fmla="*/ 23629 w 291396"/>
                  <a:gd name="connsiteY678" fmla="*/ 93018 h 456712"/>
                  <a:gd name="connsiteX679" fmla="*/ 23629 w 291396"/>
                  <a:gd name="connsiteY679" fmla="*/ 90637 h 456712"/>
                  <a:gd name="connsiteX680" fmla="*/ 23629 w 291396"/>
                  <a:gd name="connsiteY680" fmla="*/ 88609 h 456712"/>
                  <a:gd name="connsiteX681" fmla="*/ 23365 w 291396"/>
                  <a:gd name="connsiteY681" fmla="*/ 86581 h 456712"/>
                  <a:gd name="connsiteX682" fmla="*/ 23100 w 291396"/>
                  <a:gd name="connsiteY682" fmla="*/ 84553 h 45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</a:cxnLst>
                <a:rect l="l" t="t" r="r" b="b"/>
                <a:pathLst>
                  <a:path w="291396" h="456712">
                    <a:moveTo>
                      <a:pt x="20720" y="83407"/>
                    </a:moveTo>
                    <a:lnTo>
                      <a:pt x="20720" y="83407"/>
                    </a:lnTo>
                    <a:lnTo>
                      <a:pt x="20984" y="84553"/>
                    </a:lnTo>
                    <a:lnTo>
                      <a:pt x="20455" y="86317"/>
                    </a:lnTo>
                    <a:lnTo>
                      <a:pt x="16664" y="86581"/>
                    </a:lnTo>
                    <a:lnTo>
                      <a:pt x="15518" y="89226"/>
                    </a:lnTo>
                    <a:lnTo>
                      <a:pt x="10845" y="92753"/>
                    </a:lnTo>
                    <a:lnTo>
                      <a:pt x="10228" y="93899"/>
                    </a:lnTo>
                    <a:lnTo>
                      <a:pt x="9963" y="96192"/>
                    </a:lnTo>
                    <a:lnTo>
                      <a:pt x="7318" y="97955"/>
                    </a:lnTo>
                    <a:lnTo>
                      <a:pt x="5290" y="101482"/>
                    </a:lnTo>
                    <a:lnTo>
                      <a:pt x="4408" y="101746"/>
                    </a:lnTo>
                    <a:lnTo>
                      <a:pt x="2910" y="104127"/>
                    </a:lnTo>
                    <a:lnTo>
                      <a:pt x="1499" y="105273"/>
                    </a:lnTo>
                    <a:lnTo>
                      <a:pt x="1146" y="106155"/>
                    </a:lnTo>
                    <a:lnTo>
                      <a:pt x="1146" y="109064"/>
                    </a:lnTo>
                    <a:lnTo>
                      <a:pt x="617" y="109946"/>
                    </a:lnTo>
                    <a:lnTo>
                      <a:pt x="264" y="111092"/>
                    </a:lnTo>
                    <a:lnTo>
                      <a:pt x="882" y="112855"/>
                    </a:lnTo>
                    <a:lnTo>
                      <a:pt x="264" y="115148"/>
                    </a:lnTo>
                    <a:lnTo>
                      <a:pt x="0" y="116030"/>
                    </a:lnTo>
                    <a:lnTo>
                      <a:pt x="3262" y="120174"/>
                    </a:lnTo>
                    <a:lnTo>
                      <a:pt x="3791" y="121055"/>
                    </a:lnTo>
                    <a:lnTo>
                      <a:pt x="4937" y="122730"/>
                    </a:lnTo>
                    <a:lnTo>
                      <a:pt x="5819" y="124494"/>
                    </a:lnTo>
                    <a:lnTo>
                      <a:pt x="5555" y="125993"/>
                    </a:lnTo>
                    <a:lnTo>
                      <a:pt x="3791" y="125993"/>
                    </a:lnTo>
                    <a:lnTo>
                      <a:pt x="4056" y="128285"/>
                    </a:lnTo>
                    <a:lnTo>
                      <a:pt x="3791" y="128902"/>
                    </a:lnTo>
                    <a:lnTo>
                      <a:pt x="4937" y="130930"/>
                    </a:lnTo>
                    <a:lnTo>
                      <a:pt x="6172" y="131812"/>
                    </a:lnTo>
                    <a:lnTo>
                      <a:pt x="9081" y="134721"/>
                    </a:lnTo>
                    <a:lnTo>
                      <a:pt x="11374" y="140276"/>
                    </a:lnTo>
                    <a:lnTo>
                      <a:pt x="10845" y="143185"/>
                    </a:lnTo>
                    <a:lnTo>
                      <a:pt x="10228" y="144949"/>
                    </a:lnTo>
                    <a:lnTo>
                      <a:pt x="9081" y="145566"/>
                    </a:lnTo>
                    <a:lnTo>
                      <a:pt x="7582" y="144949"/>
                    </a:lnTo>
                    <a:lnTo>
                      <a:pt x="6172" y="143803"/>
                    </a:lnTo>
                    <a:lnTo>
                      <a:pt x="5819" y="144596"/>
                    </a:lnTo>
                    <a:lnTo>
                      <a:pt x="4937" y="144949"/>
                    </a:lnTo>
                    <a:lnTo>
                      <a:pt x="4673" y="146360"/>
                    </a:lnTo>
                    <a:lnTo>
                      <a:pt x="4673" y="148740"/>
                    </a:lnTo>
                    <a:lnTo>
                      <a:pt x="5555" y="150768"/>
                    </a:lnTo>
                    <a:lnTo>
                      <a:pt x="6436" y="151650"/>
                    </a:lnTo>
                    <a:lnTo>
                      <a:pt x="10492" y="153942"/>
                    </a:lnTo>
                    <a:lnTo>
                      <a:pt x="13754" y="156587"/>
                    </a:lnTo>
                    <a:lnTo>
                      <a:pt x="19838" y="159761"/>
                    </a:lnTo>
                    <a:lnTo>
                      <a:pt x="24246" y="162142"/>
                    </a:lnTo>
                    <a:lnTo>
                      <a:pt x="28302" y="164169"/>
                    </a:lnTo>
                    <a:lnTo>
                      <a:pt x="31829" y="167961"/>
                    </a:lnTo>
                    <a:lnTo>
                      <a:pt x="33240" y="171223"/>
                    </a:lnTo>
                    <a:lnTo>
                      <a:pt x="34474" y="172369"/>
                    </a:lnTo>
                    <a:lnTo>
                      <a:pt x="35267" y="173251"/>
                    </a:lnTo>
                    <a:lnTo>
                      <a:pt x="37648" y="175543"/>
                    </a:lnTo>
                    <a:lnTo>
                      <a:pt x="37912" y="176690"/>
                    </a:lnTo>
                    <a:lnTo>
                      <a:pt x="37912" y="178188"/>
                    </a:lnTo>
                    <a:lnTo>
                      <a:pt x="39940" y="180481"/>
                    </a:lnTo>
                    <a:lnTo>
                      <a:pt x="41439" y="184007"/>
                    </a:lnTo>
                    <a:lnTo>
                      <a:pt x="40822" y="184625"/>
                    </a:lnTo>
                    <a:lnTo>
                      <a:pt x="41439" y="185771"/>
                    </a:lnTo>
                    <a:lnTo>
                      <a:pt x="43202" y="188416"/>
                    </a:lnTo>
                    <a:lnTo>
                      <a:pt x="44349" y="190444"/>
                    </a:lnTo>
                    <a:lnTo>
                      <a:pt x="44349" y="191590"/>
                    </a:lnTo>
                    <a:lnTo>
                      <a:pt x="44084" y="191854"/>
                    </a:lnTo>
                    <a:lnTo>
                      <a:pt x="45230" y="192471"/>
                    </a:lnTo>
                    <a:lnTo>
                      <a:pt x="47875" y="196527"/>
                    </a:lnTo>
                    <a:lnTo>
                      <a:pt x="51049" y="199790"/>
                    </a:lnTo>
                    <a:lnTo>
                      <a:pt x="51931" y="200936"/>
                    </a:lnTo>
                    <a:lnTo>
                      <a:pt x="54841" y="204110"/>
                    </a:lnTo>
                    <a:lnTo>
                      <a:pt x="55458" y="205609"/>
                    </a:lnTo>
                    <a:lnTo>
                      <a:pt x="57221" y="207989"/>
                    </a:lnTo>
                    <a:lnTo>
                      <a:pt x="57221" y="208783"/>
                    </a:lnTo>
                    <a:lnTo>
                      <a:pt x="56340" y="209135"/>
                    </a:lnTo>
                    <a:lnTo>
                      <a:pt x="58632" y="211163"/>
                    </a:lnTo>
                    <a:lnTo>
                      <a:pt x="60395" y="213191"/>
                    </a:lnTo>
                    <a:lnTo>
                      <a:pt x="60924" y="215836"/>
                    </a:lnTo>
                    <a:lnTo>
                      <a:pt x="60660" y="217600"/>
                    </a:lnTo>
                    <a:lnTo>
                      <a:pt x="60660" y="218128"/>
                    </a:lnTo>
                    <a:lnTo>
                      <a:pt x="63040" y="221655"/>
                    </a:lnTo>
                    <a:lnTo>
                      <a:pt x="63040" y="223066"/>
                    </a:lnTo>
                    <a:lnTo>
                      <a:pt x="63040" y="223419"/>
                    </a:lnTo>
                    <a:lnTo>
                      <a:pt x="63305" y="223683"/>
                    </a:lnTo>
                    <a:lnTo>
                      <a:pt x="63569" y="225182"/>
                    </a:lnTo>
                    <a:lnTo>
                      <a:pt x="64451" y="225447"/>
                    </a:lnTo>
                    <a:lnTo>
                      <a:pt x="65685" y="226328"/>
                    </a:lnTo>
                    <a:lnTo>
                      <a:pt x="65068" y="227210"/>
                    </a:lnTo>
                    <a:lnTo>
                      <a:pt x="64451" y="227474"/>
                    </a:lnTo>
                    <a:lnTo>
                      <a:pt x="64804" y="228973"/>
                    </a:lnTo>
                    <a:lnTo>
                      <a:pt x="64804" y="229502"/>
                    </a:lnTo>
                    <a:lnTo>
                      <a:pt x="65333" y="229502"/>
                    </a:lnTo>
                    <a:lnTo>
                      <a:pt x="65685" y="228356"/>
                    </a:lnTo>
                    <a:lnTo>
                      <a:pt x="66832" y="228356"/>
                    </a:lnTo>
                    <a:lnTo>
                      <a:pt x="66832" y="229502"/>
                    </a:lnTo>
                    <a:lnTo>
                      <a:pt x="66479" y="230649"/>
                    </a:lnTo>
                    <a:lnTo>
                      <a:pt x="67096" y="231883"/>
                    </a:lnTo>
                    <a:lnTo>
                      <a:pt x="68595" y="231883"/>
                    </a:lnTo>
                    <a:lnTo>
                      <a:pt x="68859" y="233911"/>
                    </a:lnTo>
                    <a:lnTo>
                      <a:pt x="69741" y="234528"/>
                    </a:lnTo>
                    <a:lnTo>
                      <a:pt x="69477" y="235057"/>
                    </a:lnTo>
                    <a:lnTo>
                      <a:pt x="70270" y="238848"/>
                    </a:lnTo>
                    <a:lnTo>
                      <a:pt x="71769" y="240612"/>
                    </a:lnTo>
                    <a:lnTo>
                      <a:pt x="73268" y="243786"/>
                    </a:lnTo>
                    <a:lnTo>
                      <a:pt x="73268" y="245020"/>
                    </a:lnTo>
                    <a:lnTo>
                      <a:pt x="74061" y="245813"/>
                    </a:lnTo>
                    <a:lnTo>
                      <a:pt x="73532" y="247312"/>
                    </a:lnTo>
                    <a:lnTo>
                      <a:pt x="74414" y="248194"/>
                    </a:lnTo>
                    <a:lnTo>
                      <a:pt x="75296" y="250222"/>
                    </a:lnTo>
                    <a:lnTo>
                      <a:pt x="74943" y="251721"/>
                    </a:lnTo>
                    <a:lnTo>
                      <a:pt x="77059" y="254278"/>
                    </a:lnTo>
                    <a:lnTo>
                      <a:pt x="77324" y="255159"/>
                    </a:lnTo>
                    <a:lnTo>
                      <a:pt x="78205" y="255159"/>
                    </a:lnTo>
                    <a:lnTo>
                      <a:pt x="78205" y="256658"/>
                    </a:lnTo>
                    <a:lnTo>
                      <a:pt x="79352" y="257187"/>
                    </a:lnTo>
                    <a:lnTo>
                      <a:pt x="80850" y="260714"/>
                    </a:lnTo>
                    <a:lnTo>
                      <a:pt x="81644" y="262477"/>
                    </a:lnTo>
                    <a:lnTo>
                      <a:pt x="83143" y="264858"/>
                    </a:lnTo>
                    <a:lnTo>
                      <a:pt x="84906" y="266886"/>
                    </a:lnTo>
                    <a:lnTo>
                      <a:pt x="85435" y="268914"/>
                    </a:lnTo>
                    <a:lnTo>
                      <a:pt x="86670" y="269795"/>
                    </a:lnTo>
                    <a:lnTo>
                      <a:pt x="86670" y="270677"/>
                    </a:lnTo>
                    <a:lnTo>
                      <a:pt x="87551" y="271823"/>
                    </a:lnTo>
                    <a:lnTo>
                      <a:pt x="87551" y="272088"/>
                    </a:lnTo>
                    <a:lnTo>
                      <a:pt x="88080" y="273234"/>
                    </a:lnTo>
                    <a:lnTo>
                      <a:pt x="87816" y="274115"/>
                    </a:lnTo>
                    <a:lnTo>
                      <a:pt x="88433" y="274733"/>
                    </a:lnTo>
                    <a:lnTo>
                      <a:pt x="88433" y="276231"/>
                    </a:lnTo>
                    <a:lnTo>
                      <a:pt x="89226" y="276231"/>
                    </a:lnTo>
                    <a:lnTo>
                      <a:pt x="89226" y="276760"/>
                    </a:lnTo>
                    <a:lnTo>
                      <a:pt x="89579" y="277907"/>
                    </a:lnTo>
                    <a:lnTo>
                      <a:pt x="89579" y="278788"/>
                    </a:lnTo>
                    <a:lnTo>
                      <a:pt x="88697" y="278788"/>
                    </a:lnTo>
                    <a:lnTo>
                      <a:pt x="88433" y="279406"/>
                    </a:lnTo>
                    <a:lnTo>
                      <a:pt x="88697" y="281169"/>
                    </a:lnTo>
                    <a:lnTo>
                      <a:pt x="95398" y="284960"/>
                    </a:lnTo>
                    <a:lnTo>
                      <a:pt x="96897" y="286107"/>
                    </a:lnTo>
                    <a:lnTo>
                      <a:pt x="97162" y="286988"/>
                    </a:lnTo>
                    <a:lnTo>
                      <a:pt x="97426" y="288134"/>
                    </a:lnTo>
                    <a:lnTo>
                      <a:pt x="99189" y="289898"/>
                    </a:lnTo>
                    <a:lnTo>
                      <a:pt x="100071" y="291661"/>
                    </a:lnTo>
                    <a:lnTo>
                      <a:pt x="99454" y="292807"/>
                    </a:lnTo>
                    <a:lnTo>
                      <a:pt x="99807" y="294306"/>
                    </a:lnTo>
                    <a:lnTo>
                      <a:pt x="101217" y="295452"/>
                    </a:lnTo>
                    <a:lnTo>
                      <a:pt x="101217" y="297216"/>
                    </a:lnTo>
                    <a:lnTo>
                      <a:pt x="101482" y="298979"/>
                    </a:lnTo>
                    <a:lnTo>
                      <a:pt x="100336" y="300125"/>
                    </a:lnTo>
                    <a:lnTo>
                      <a:pt x="102099" y="300390"/>
                    </a:lnTo>
                    <a:lnTo>
                      <a:pt x="103245" y="301007"/>
                    </a:lnTo>
                    <a:lnTo>
                      <a:pt x="104127" y="302153"/>
                    </a:lnTo>
                    <a:lnTo>
                      <a:pt x="103510" y="303035"/>
                    </a:lnTo>
                    <a:lnTo>
                      <a:pt x="104127" y="303916"/>
                    </a:lnTo>
                    <a:lnTo>
                      <a:pt x="106419" y="305063"/>
                    </a:lnTo>
                    <a:lnTo>
                      <a:pt x="109064" y="307972"/>
                    </a:lnTo>
                    <a:lnTo>
                      <a:pt x="109946" y="309118"/>
                    </a:lnTo>
                    <a:lnTo>
                      <a:pt x="109417" y="310353"/>
                    </a:lnTo>
                    <a:lnTo>
                      <a:pt x="109417" y="311146"/>
                    </a:lnTo>
                    <a:lnTo>
                      <a:pt x="110828" y="311763"/>
                    </a:lnTo>
                    <a:lnTo>
                      <a:pt x="111709" y="313527"/>
                    </a:lnTo>
                    <a:lnTo>
                      <a:pt x="112591" y="313791"/>
                    </a:lnTo>
                    <a:lnTo>
                      <a:pt x="112591" y="315026"/>
                    </a:lnTo>
                    <a:lnTo>
                      <a:pt x="114354" y="317318"/>
                    </a:lnTo>
                    <a:lnTo>
                      <a:pt x="116118" y="319610"/>
                    </a:lnTo>
                    <a:lnTo>
                      <a:pt x="117264" y="324901"/>
                    </a:lnTo>
                    <a:lnTo>
                      <a:pt x="122554" y="330455"/>
                    </a:lnTo>
                    <a:lnTo>
                      <a:pt x="124582" y="334246"/>
                    </a:lnTo>
                    <a:lnTo>
                      <a:pt x="125111" y="334775"/>
                    </a:lnTo>
                    <a:lnTo>
                      <a:pt x="124846" y="339184"/>
                    </a:lnTo>
                    <a:lnTo>
                      <a:pt x="123965" y="344474"/>
                    </a:lnTo>
                    <a:lnTo>
                      <a:pt x="123083" y="343857"/>
                    </a:lnTo>
                    <a:lnTo>
                      <a:pt x="123083" y="343239"/>
                    </a:lnTo>
                    <a:lnTo>
                      <a:pt x="122818" y="343239"/>
                    </a:lnTo>
                    <a:lnTo>
                      <a:pt x="121672" y="343592"/>
                    </a:lnTo>
                    <a:lnTo>
                      <a:pt x="121055" y="345355"/>
                    </a:lnTo>
                    <a:lnTo>
                      <a:pt x="121055" y="345620"/>
                    </a:lnTo>
                    <a:lnTo>
                      <a:pt x="121672" y="345885"/>
                    </a:lnTo>
                    <a:lnTo>
                      <a:pt x="123083" y="345885"/>
                    </a:lnTo>
                    <a:lnTo>
                      <a:pt x="123348" y="345620"/>
                    </a:lnTo>
                    <a:lnTo>
                      <a:pt x="123965" y="349059"/>
                    </a:lnTo>
                    <a:lnTo>
                      <a:pt x="124229" y="349676"/>
                    </a:lnTo>
                    <a:lnTo>
                      <a:pt x="123700" y="350822"/>
                    </a:lnTo>
                    <a:lnTo>
                      <a:pt x="124229" y="352585"/>
                    </a:lnTo>
                    <a:lnTo>
                      <a:pt x="124582" y="352850"/>
                    </a:lnTo>
                    <a:lnTo>
                      <a:pt x="124582" y="351704"/>
                    </a:lnTo>
                    <a:lnTo>
                      <a:pt x="125993" y="352585"/>
                    </a:lnTo>
                    <a:lnTo>
                      <a:pt x="126610" y="353467"/>
                    </a:lnTo>
                    <a:lnTo>
                      <a:pt x="127492" y="354349"/>
                    </a:lnTo>
                    <a:lnTo>
                      <a:pt x="128021" y="356376"/>
                    </a:lnTo>
                    <a:lnTo>
                      <a:pt x="127227" y="356641"/>
                    </a:lnTo>
                    <a:lnTo>
                      <a:pt x="128021" y="357258"/>
                    </a:lnTo>
                    <a:lnTo>
                      <a:pt x="128638" y="357875"/>
                    </a:lnTo>
                    <a:lnTo>
                      <a:pt x="129784" y="359022"/>
                    </a:lnTo>
                    <a:lnTo>
                      <a:pt x="131283" y="359903"/>
                    </a:lnTo>
                    <a:lnTo>
                      <a:pt x="130930" y="361667"/>
                    </a:lnTo>
                    <a:lnTo>
                      <a:pt x="132429" y="362196"/>
                    </a:lnTo>
                    <a:lnTo>
                      <a:pt x="133046" y="365105"/>
                    </a:lnTo>
                    <a:lnTo>
                      <a:pt x="134192" y="365723"/>
                    </a:lnTo>
                    <a:lnTo>
                      <a:pt x="134809" y="366340"/>
                    </a:lnTo>
                    <a:lnTo>
                      <a:pt x="136220" y="367750"/>
                    </a:lnTo>
                    <a:lnTo>
                      <a:pt x="142039" y="370395"/>
                    </a:lnTo>
                    <a:lnTo>
                      <a:pt x="142656" y="371277"/>
                    </a:lnTo>
                    <a:lnTo>
                      <a:pt x="142656" y="372159"/>
                    </a:lnTo>
                    <a:lnTo>
                      <a:pt x="144684" y="373569"/>
                    </a:lnTo>
                    <a:lnTo>
                      <a:pt x="145830" y="376479"/>
                    </a:lnTo>
                    <a:lnTo>
                      <a:pt x="146183" y="377096"/>
                    </a:lnTo>
                    <a:lnTo>
                      <a:pt x="147858" y="377096"/>
                    </a:lnTo>
                    <a:lnTo>
                      <a:pt x="148476" y="377713"/>
                    </a:lnTo>
                    <a:lnTo>
                      <a:pt x="149974" y="379124"/>
                    </a:lnTo>
                    <a:lnTo>
                      <a:pt x="148476" y="380006"/>
                    </a:lnTo>
                    <a:lnTo>
                      <a:pt x="149622" y="380270"/>
                    </a:lnTo>
                    <a:lnTo>
                      <a:pt x="150503" y="380623"/>
                    </a:lnTo>
                    <a:lnTo>
                      <a:pt x="151385" y="381152"/>
                    </a:lnTo>
                    <a:lnTo>
                      <a:pt x="151121" y="381504"/>
                    </a:lnTo>
                    <a:lnTo>
                      <a:pt x="150239" y="381769"/>
                    </a:lnTo>
                    <a:lnTo>
                      <a:pt x="150239" y="382298"/>
                    </a:lnTo>
                    <a:lnTo>
                      <a:pt x="151385" y="382915"/>
                    </a:lnTo>
                    <a:lnTo>
                      <a:pt x="152884" y="383532"/>
                    </a:lnTo>
                    <a:lnTo>
                      <a:pt x="153766" y="384943"/>
                    </a:lnTo>
                    <a:lnTo>
                      <a:pt x="154559" y="384679"/>
                    </a:lnTo>
                    <a:lnTo>
                      <a:pt x="154912" y="384943"/>
                    </a:lnTo>
                    <a:lnTo>
                      <a:pt x="155441" y="385560"/>
                    </a:lnTo>
                    <a:lnTo>
                      <a:pt x="156675" y="385560"/>
                    </a:lnTo>
                    <a:lnTo>
                      <a:pt x="158439" y="387324"/>
                    </a:lnTo>
                    <a:lnTo>
                      <a:pt x="160995" y="388205"/>
                    </a:lnTo>
                    <a:lnTo>
                      <a:pt x="162494" y="389352"/>
                    </a:lnTo>
                    <a:lnTo>
                      <a:pt x="166815" y="390762"/>
                    </a:lnTo>
                    <a:lnTo>
                      <a:pt x="168049" y="392878"/>
                    </a:lnTo>
                    <a:lnTo>
                      <a:pt x="169812" y="394289"/>
                    </a:lnTo>
                    <a:lnTo>
                      <a:pt x="171223" y="394289"/>
                    </a:lnTo>
                    <a:lnTo>
                      <a:pt x="172369" y="395171"/>
                    </a:lnTo>
                    <a:lnTo>
                      <a:pt x="173868" y="395788"/>
                    </a:lnTo>
                    <a:lnTo>
                      <a:pt x="176778" y="396934"/>
                    </a:lnTo>
                    <a:lnTo>
                      <a:pt x="177395" y="398697"/>
                    </a:lnTo>
                    <a:lnTo>
                      <a:pt x="178541" y="398962"/>
                    </a:lnTo>
                    <a:lnTo>
                      <a:pt x="181715" y="402136"/>
                    </a:lnTo>
                    <a:lnTo>
                      <a:pt x="183743" y="402136"/>
                    </a:lnTo>
                    <a:lnTo>
                      <a:pt x="184977" y="403635"/>
                    </a:lnTo>
                    <a:lnTo>
                      <a:pt x="186741" y="403635"/>
                    </a:lnTo>
                    <a:lnTo>
                      <a:pt x="191061" y="405134"/>
                    </a:lnTo>
                    <a:lnTo>
                      <a:pt x="193970" y="406015"/>
                    </a:lnTo>
                    <a:lnTo>
                      <a:pt x="194235" y="407691"/>
                    </a:lnTo>
                    <a:lnTo>
                      <a:pt x="195469" y="408925"/>
                    </a:lnTo>
                    <a:lnTo>
                      <a:pt x="195734" y="407691"/>
                    </a:lnTo>
                    <a:lnTo>
                      <a:pt x="196616" y="408925"/>
                    </a:lnTo>
                    <a:lnTo>
                      <a:pt x="197762" y="409454"/>
                    </a:lnTo>
                    <a:lnTo>
                      <a:pt x="201553" y="411217"/>
                    </a:lnTo>
                    <a:lnTo>
                      <a:pt x="203316" y="411482"/>
                    </a:lnTo>
                    <a:lnTo>
                      <a:pt x="205609" y="413862"/>
                    </a:lnTo>
                    <a:lnTo>
                      <a:pt x="206843" y="414391"/>
                    </a:lnTo>
                    <a:lnTo>
                      <a:pt x="209753" y="414744"/>
                    </a:lnTo>
                    <a:lnTo>
                      <a:pt x="212045" y="415009"/>
                    </a:lnTo>
                    <a:lnTo>
                      <a:pt x="214073" y="416772"/>
                    </a:lnTo>
                    <a:lnTo>
                      <a:pt x="214955" y="417036"/>
                    </a:lnTo>
                    <a:lnTo>
                      <a:pt x="216718" y="418800"/>
                    </a:lnTo>
                    <a:lnTo>
                      <a:pt x="217071" y="420211"/>
                    </a:lnTo>
                    <a:lnTo>
                      <a:pt x="218481" y="420563"/>
                    </a:lnTo>
                    <a:lnTo>
                      <a:pt x="219980" y="421709"/>
                    </a:lnTo>
                    <a:lnTo>
                      <a:pt x="220862" y="422326"/>
                    </a:lnTo>
                    <a:lnTo>
                      <a:pt x="221391" y="423737"/>
                    </a:lnTo>
                    <a:lnTo>
                      <a:pt x="223154" y="424090"/>
                    </a:lnTo>
                    <a:lnTo>
                      <a:pt x="224300" y="424354"/>
                    </a:lnTo>
                    <a:lnTo>
                      <a:pt x="225799" y="425501"/>
                    </a:lnTo>
                    <a:lnTo>
                      <a:pt x="226328" y="426735"/>
                    </a:lnTo>
                    <a:lnTo>
                      <a:pt x="227827" y="427881"/>
                    </a:lnTo>
                    <a:lnTo>
                      <a:pt x="231618" y="428410"/>
                    </a:lnTo>
                    <a:lnTo>
                      <a:pt x="233646" y="430174"/>
                    </a:lnTo>
                    <a:lnTo>
                      <a:pt x="234528" y="430174"/>
                    </a:lnTo>
                    <a:lnTo>
                      <a:pt x="235410" y="430438"/>
                    </a:lnTo>
                    <a:lnTo>
                      <a:pt x="235674" y="431320"/>
                    </a:lnTo>
                    <a:lnTo>
                      <a:pt x="237702" y="433083"/>
                    </a:lnTo>
                    <a:lnTo>
                      <a:pt x="239201" y="438902"/>
                    </a:lnTo>
                    <a:lnTo>
                      <a:pt x="238936" y="440666"/>
                    </a:lnTo>
                    <a:lnTo>
                      <a:pt x="240964" y="441283"/>
                    </a:lnTo>
                    <a:lnTo>
                      <a:pt x="242992" y="442429"/>
                    </a:lnTo>
                    <a:lnTo>
                      <a:pt x="243874" y="442693"/>
                    </a:lnTo>
                    <a:lnTo>
                      <a:pt x="245284" y="444192"/>
                    </a:lnTo>
                    <a:lnTo>
                      <a:pt x="245902" y="444810"/>
                    </a:lnTo>
                    <a:lnTo>
                      <a:pt x="247400" y="445074"/>
                    </a:lnTo>
                    <a:lnTo>
                      <a:pt x="248811" y="445956"/>
                    </a:lnTo>
                    <a:lnTo>
                      <a:pt x="249693" y="446837"/>
                    </a:lnTo>
                    <a:lnTo>
                      <a:pt x="250839" y="448513"/>
                    </a:lnTo>
                    <a:lnTo>
                      <a:pt x="251985" y="448513"/>
                    </a:lnTo>
                    <a:lnTo>
                      <a:pt x="254101" y="450276"/>
                    </a:lnTo>
                    <a:lnTo>
                      <a:pt x="256129" y="452656"/>
                    </a:lnTo>
                    <a:lnTo>
                      <a:pt x="259303" y="454067"/>
                    </a:lnTo>
                    <a:lnTo>
                      <a:pt x="261948" y="456712"/>
                    </a:lnTo>
                    <a:lnTo>
                      <a:pt x="270148" y="448865"/>
                    </a:lnTo>
                    <a:lnTo>
                      <a:pt x="275967" y="439784"/>
                    </a:lnTo>
                    <a:lnTo>
                      <a:pt x="279141" y="435464"/>
                    </a:lnTo>
                    <a:lnTo>
                      <a:pt x="278877" y="432201"/>
                    </a:lnTo>
                    <a:lnTo>
                      <a:pt x="277113" y="430438"/>
                    </a:lnTo>
                    <a:lnTo>
                      <a:pt x="275614" y="430174"/>
                    </a:lnTo>
                    <a:lnTo>
                      <a:pt x="276232" y="428763"/>
                    </a:lnTo>
                    <a:lnTo>
                      <a:pt x="275967" y="427881"/>
                    </a:lnTo>
                    <a:lnTo>
                      <a:pt x="276849" y="427881"/>
                    </a:lnTo>
                    <a:lnTo>
                      <a:pt x="278612" y="425501"/>
                    </a:lnTo>
                    <a:lnTo>
                      <a:pt x="279406" y="425501"/>
                    </a:lnTo>
                    <a:lnTo>
                      <a:pt x="280640" y="424354"/>
                    </a:lnTo>
                    <a:lnTo>
                      <a:pt x="280640" y="424090"/>
                    </a:lnTo>
                    <a:lnTo>
                      <a:pt x="279758" y="423737"/>
                    </a:lnTo>
                    <a:lnTo>
                      <a:pt x="281169" y="422326"/>
                    </a:lnTo>
                    <a:lnTo>
                      <a:pt x="282051" y="420828"/>
                    </a:lnTo>
                    <a:lnTo>
                      <a:pt x="284431" y="418535"/>
                    </a:lnTo>
                    <a:lnTo>
                      <a:pt x="284960" y="416155"/>
                    </a:lnTo>
                    <a:lnTo>
                      <a:pt x="286459" y="415626"/>
                    </a:lnTo>
                    <a:lnTo>
                      <a:pt x="287870" y="414391"/>
                    </a:lnTo>
                    <a:lnTo>
                      <a:pt x="286988" y="412981"/>
                    </a:lnTo>
                    <a:lnTo>
                      <a:pt x="286724" y="409807"/>
                    </a:lnTo>
                    <a:lnTo>
                      <a:pt x="288222" y="408925"/>
                    </a:lnTo>
                    <a:lnTo>
                      <a:pt x="291132" y="406809"/>
                    </a:lnTo>
                    <a:lnTo>
                      <a:pt x="291397" y="406015"/>
                    </a:lnTo>
                    <a:lnTo>
                      <a:pt x="290868" y="405398"/>
                    </a:lnTo>
                    <a:lnTo>
                      <a:pt x="289369" y="404781"/>
                    </a:lnTo>
                    <a:lnTo>
                      <a:pt x="287870" y="403370"/>
                    </a:lnTo>
                    <a:lnTo>
                      <a:pt x="286459" y="403370"/>
                    </a:lnTo>
                    <a:lnTo>
                      <a:pt x="286106" y="403018"/>
                    </a:lnTo>
                    <a:lnTo>
                      <a:pt x="285577" y="403370"/>
                    </a:lnTo>
                    <a:lnTo>
                      <a:pt x="284079" y="403370"/>
                    </a:lnTo>
                    <a:lnTo>
                      <a:pt x="282668" y="402136"/>
                    </a:lnTo>
                    <a:lnTo>
                      <a:pt x="276849" y="388470"/>
                    </a:lnTo>
                    <a:lnTo>
                      <a:pt x="278612" y="385296"/>
                    </a:lnTo>
                    <a:lnTo>
                      <a:pt x="278612" y="384061"/>
                    </a:lnTo>
                    <a:lnTo>
                      <a:pt x="279141" y="382915"/>
                    </a:lnTo>
                    <a:lnTo>
                      <a:pt x="279141" y="382298"/>
                    </a:lnTo>
                    <a:lnTo>
                      <a:pt x="279406" y="381504"/>
                    </a:lnTo>
                    <a:lnTo>
                      <a:pt x="280640" y="380623"/>
                    </a:lnTo>
                    <a:lnTo>
                      <a:pt x="280904" y="380006"/>
                    </a:lnTo>
                    <a:lnTo>
                      <a:pt x="282051" y="380006"/>
                    </a:lnTo>
                    <a:lnTo>
                      <a:pt x="282315" y="379741"/>
                    </a:lnTo>
                    <a:lnTo>
                      <a:pt x="282051" y="379124"/>
                    </a:lnTo>
                    <a:lnTo>
                      <a:pt x="280640" y="377096"/>
                    </a:lnTo>
                    <a:lnTo>
                      <a:pt x="278612" y="375950"/>
                    </a:lnTo>
                    <a:lnTo>
                      <a:pt x="277642" y="373569"/>
                    </a:lnTo>
                    <a:lnTo>
                      <a:pt x="276232" y="372159"/>
                    </a:lnTo>
                    <a:lnTo>
                      <a:pt x="275967" y="371277"/>
                    </a:lnTo>
                    <a:lnTo>
                      <a:pt x="276849" y="370395"/>
                    </a:lnTo>
                    <a:lnTo>
                      <a:pt x="276232" y="369778"/>
                    </a:lnTo>
                    <a:lnTo>
                      <a:pt x="276232" y="368367"/>
                    </a:lnTo>
                    <a:lnTo>
                      <a:pt x="277113" y="368015"/>
                    </a:lnTo>
                    <a:lnTo>
                      <a:pt x="278259" y="366869"/>
                    </a:lnTo>
                    <a:lnTo>
                      <a:pt x="279406" y="366604"/>
                    </a:lnTo>
                    <a:lnTo>
                      <a:pt x="278259" y="364576"/>
                    </a:lnTo>
                    <a:lnTo>
                      <a:pt x="279141" y="362548"/>
                    </a:lnTo>
                    <a:lnTo>
                      <a:pt x="280640" y="362196"/>
                    </a:lnTo>
                    <a:lnTo>
                      <a:pt x="280287" y="360432"/>
                    </a:lnTo>
                    <a:lnTo>
                      <a:pt x="283814" y="357875"/>
                    </a:lnTo>
                    <a:lnTo>
                      <a:pt x="283814" y="356994"/>
                    </a:lnTo>
                    <a:lnTo>
                      <a:pt x="282932" y="356641"/>
                    </a:lnTo>
                    <a:lnTo>
                      <a:pt x="282932" y="354349"/>
                    </a:lnTo>
                    <a:lnTo>
                      <a:pt x="286459" y="353203"/>
                    </a:lnTo>
                    <a:lnTo>
                      <a:pt x="285842" y="351175"/>
                    </a:lnTo>
                    <a:lnTo>
                      <a:pt x="284696" y="349059"/>
                    </a:lnTo>
                    <a:lnTo>
                      <a:pt x="283814" y="347648"/>
                    </a:lnTo>
                    <a:lnTo>
                      <a:pt x="283197" y="347383"/>
                    </a:lnTo>
                    <a:lnTo>
                      <a:pt x="282932" y="345003"/>
                    </a:lnTo>
                    <a:lnTo>
                      <a:pt x="281786" y="343239"/>
                    </a:lnTo>
                    <a:lnTo>
                      <a:pt x="282051" y="341829"/>
                    </a:lnTo>
                    <a:lnTo>
                      <a:pt x="280640" y="340330"/>
                    </a:lnTo>
                    <a:lnTo>
                      <a:pt x="280287" y="339448"/>
                    </a:lnTo>
                    <a:lnTo>
                      <a:pt x="280287" y="339184"/>
                    </a:lnTo>
                    <a:lnTo>
                      <a:pt x="281522" y="339184"/>
                    </a:lnTo>
                    <a:lnTo>
                      <a:pt x="281522" y="338302"/>
                    </a:lnTo>
                    <a:lnTo>
                      <a:pt x="282315" y="337685"/>
                    </a:lnTo>
                    <a:lnTo>
                      <a:pt x="282668" y="336539"/>
                    </a:lnTo>
                    <a:lnTo>
                      <a:pt x="282668" y="329309"/>
                    </a:lnTo>
                    <a:lnTo>
                      <a:pt x="282051" y="328074"/>
                    </a:lnTo>
                    <a:lnTo>
                      <a:pt x="282315" y="325165"/>
                    </a:lnTo>
                    <a:lnTo>
                      <a:pt x="281786" y="323137"/>
                    </a:lnTo>
                    <a:lnTo>
                      <a:pt x="281522" y="319963"/>
                    </a:lnTo>
                    <a:lnTo>
                      <a:pt x="282051" y="319610"/>
                    </a:lnTo>
                    <a:lnTo>
                      <a:pt x="282315" y="318200"/>
                    </a:lnTo>
                    <a:lnTo>
                      <a:pt x="282668" y="318200"/>
                    </a:lnTo>
                    <a:lnTo>
                      <a:pt x="283197" y="317318"/>
                    </a:lnTo>
                    <a:lnTo>
                      <a:pt x="283814" y="317318"/>
                    </a:lnTo>
                    <a:lnTo>
                      <a:pt x="283814" y="316701"/>
                    </a:lnTo>
                    <a:lnTo>
                      <a:pt x="286106" y="316172"/>
                    </a:lnTo>
                    <a:lnTo>
                      <a:pt x="286459" y="315026"/>
                    </a:lnTo>
                    <a:lnTo>
                      <a:pt x="285313" y="314408"/>
                    </a:lnTo>
                    <a:lnTo>
                      <a:pt x="285313" y="313791"/>
                    </a:lnTo>
                    <a:lnTo>
                      <a:pt x="285577" y="313527"/>
                    </a:lnTo>
                    <a:lnTo>
                      <a:pt x="286724" y="312381"/>
                    </a:lnTo>
                    <a:lnTo>
                      <a:pt x="286988" y="311763"/>
                    </a:lnTo>
                    <a:lnTo>
                      <a:pt x="286988" y="310617"/>
                    </a:lnTo>
                    <a:lnTo>
                      <a:pt x="287341" y="310617"/>
                    </a:lnTo>
                    <a:lnTo>
                      <a:pt x="281169" y="298362"/>
                    </a:lnTo>
                    <a:lnTo>
                      <a:pt x="265739" y="272088"/>
                    </a:lnTo>
                    <a:lnTo>
                      <a:pt x="261331" y="272352"/>
                    </a:lnTo>
                    <a:lnTo>
                      <a:pt x="258422" y="271823"/>
                    </a:lnTo>
                    <a:lnTo>
                      <a:pt x="252338" y="274468"/>
                    </a:lnTo>
                    <a:lnTo>
                      <a:pt x="246783" y="274468"/>
                    </a:lnTo>
                    <a:lnTo>
                      <a:pt x="242110" y="274115"/>
                    </a:lnTo>
                    <a:lnTo>
                      <a:pt x="242728" y="242022"/>
                    </a:lnTo>
                    <a:lnTo>
                      <a:pt x="241493" y="237349"/>
                    </a:lnTo>
                    <a:lnTo>
                      <a:pt x="242375" y="236203"/>
                    </a:lnTo>
                    <a:lnTo>
                      <a:pt x="240611" y="234792"/>
                    </a:lnTo>
                    <a:lnTo>
                      <a:pt x="232500" y="244403"/>
                    </a:lnTo>
                    <a:lnTo>
                      <a:pt x="226064" y="248458"/>
                    </a:lnTo>
                    <a:lnTo>
                      <a:pt x="224565" y="248458"/>
                    </a:lnTo>
                    <a:lnTo>
                      <a:pt x="206843" y="244667"/>
                    </a:lnTo>
                    <a:lnTo>
                      <a:pt x="204462" y="240347"/>
                    </a:lnTo>
                    <a:lnTo>
                      <a:pt x="195469" y="234792"/>
                    </a:lnTo>
                    <a:lnTo>
                      <a:pt x="183214" y="233646"/>
                    </a:lnTo>
                    <a:lnTo>
                      <a:pt x="187534" y="229238"/>
                    </a:lnTo>
                    <a:lnTo>
                      <a:pt x="188416" y="227210"/>
                    </a:lnTo>
                    <a:lnTo>
                      <a:pt x="188151" y="223419"/>
                    </a:lnTo>
                    <a:lnTo>
                      <a:pt x="183743" y="216453"/>
                    </a:lnTo>
                    <a:lnTo>
                      <a:pt x="180569" y="214073"/>
                    </a:lnTo>
                    <a:lnTo>
                      <a:pt x="179423" y="210546"/>
                    </a:lnTo>
                    <a:lnTo>
                      <a:pt x="175279" y="207989"/>
                    </a:lnTo>
                    <a:lnTo>
                      <a:pt x="169812" y="197409"/>
                    </a:lnTo>
                    <a:lnTo>
                      <a:pt x="170341" y="195117"/>
                    </a:lnTo>
                    <a:lnTo>
                      <a:pt x="167696" y="192207"/>
                    </a:lnTo>
                    <a:lnTo>
                      <a:pt x="163640" y="186917"/>
                    </a:lnTo>
                    <a:lnTo>
                      <a:pt x="164522" y="182244"/>
                    </a:lnTo>
                    <a:lnTo>
                      <a:pt x="170077" y="181098"/>
                    </a:lnTo>
                    <a:lnTo>
                      <a:pt x="167696" y="176425"/>
                    </a:lnTo>
                    <a:lnTo>
                      <a:pt x="168931" y="171223"/>
                    </a:lnTo>
                    <a:lnTo>
                      <a:pt x="179952" y="161525"/>
                    </a:lnTo>
                    <a:lnTo>
                      <a:pt x="180569" y="150151"/>
                    </a:lnTo>
                    <a:lnTo>
                      <a:pt x="181451" y="145566"/>
                    </a:lnTo>
                    <a:lnTo>
                      <a:pt x="185771" y="137014"/>
                    </a:lnTo>
                    <a:lnTo>
                      <a:pt x="186388" y="130048"/>
                    </a:lnTo>
                    <a:lnTo>
                      <a:pt x="187005" y="126257"/>
                    </a:lnTo>
                    <a:lnTo>
                      <a:pt x="188769" y="125111"/>
                    </a:lnTo>
                    <a:lnTo>
                      <a:pt x="192207" y="124229"/>
                    </a:lnTo>
                    <a:lnTo>
                      <a:pt x="193706" y="122730"/>
                    </a:lnTo>
                    <a:lnTo>
                      <a:pt x="195469" y="121055"/>
                    </a:lnTo>
                    <a:lnTo>
                      <a:pt x="197233" y="118675"/>
                    </a:lnTo>
                    <a:lnTo>
                      <a:pt x="198379" y="117528"/>
                    </a:lnTo>
                    <a:lnTo>
                      <a:pt x="202435" y="116382"/>
                    </a:lnTo>
                    <a:lnTo>
                      <a:pt x="203934" y="113737"/>
                    </a:lnTo>
                    <a:lnTo>
                      <a:pt x="207372" y="111709"/>
                    </a:lnTo>
                    <a:lnTo>
                      <a:pt x="211516" y="111357"/>
                    </a:lnTo>
                    <a:lnTo>
                      <a:pt x="212927" y="111709"/>
                    </a:lnTo>
                    <a:lnTo>
                      <a:pt x="214073" y="111357"/>
                    </a:lnTo>
                    <a:lnTo>
                      <a:pt x="216453" y="109681"/>
                    </a:lnTo>
                    <a:lnTo>
                      <a:pt x="220862" y="109064"/>
                    </a:lnTo>
                    <a:lnTo>
                      <a:pt x="223419" y="107918"/>
                    </a:lnTo>
                    <a:lnTo>
                      <a:pt x="225446" y="108183"/>
                    </a:lnTo>
                    <a:lnTo>
                      <a:pt x="227210" y="107301"/>
                    </a:lnTo>
                    <a:lnTo>
                      <a:pt x="230737" y="104656"/>
                    </a:lnTo>
                    <a:lnTo>
                      <a:pt x="232147" y="102363"/>
                    </a:lnTo>
                    <a:lnTo>
                      <a:pt x="234263" y="101746"/>
                    </a:lnTo>
                    <a:lnTo>
                      <a:pt x="235145" y="103245"/>
                    </a:lnTo>
                    <a:lnTo>
                      <a:pt x="236820" y="102099"/>
                    </a:lnTo>
                    <a:lnTo>
                      <a:pt x="238936" y="102099"/>
                    </a:lnTo>
                    <a:lnTo>
                      <a:pt x="241493" y="102099"/>
                    </a:lnTo>
                    <a:lnTo>
                      <a:pt x="242110" y="104656"/>
                    </a:lnTo>
                    <a:lnTo>
                      <a:pt x="244403" y="107301"/>
                    </a:lnTo>
                    <a:lnTo>
                      <a:pt x="245637" y="105538"/>
                    </a:lnTo>
                    <a:lnTo>
                      <a:pt x="247929" y="105890"/>
                    </a:lnTo>
                    <a:lnTo>
                      <a:pt x="248547" y="107301"/>
                    </a:lnTo>
                    <a:lnTo>
                      <a:pt x="250310" y="104127"/>
                    </a:lnTo>
                    <a:lnTo>
                      <a:pt x="246166" y="100865"/>
                    </a:lnTo>
                    <a:lnTo>
                      <a:pt x="245020" y="97690"/>
                    </a:lnTo>
                    <a:lnTo>
                      <a:pt x="243257" y="95927"/>
                    </a:lnTo>
                    <a:lnTo>
                      <a:pt x="241493" y="93899"/>
                    </a:lnTo>
                    <a:lnTo>
                      <a:pt x="240611" y="93899"/>
                    </a:lnTo>
                    <a:lnTo>
                      <a:pt x="237437" y="95927"/>
                    </a:lnTo>
                    <a:lnTo>
                      <a:pt x="235674" y="95046"/>
                    </a:lnTo>
                    <a:lnTo>
                      <a:pt x="235145" y="95046"/>
                    </a:lnTo>
                    <a:lnTo>
                      <a:pt x="233382" y="93899"/>
                    </a:lnTo>
                    <a:lnTo>
                      <a:pt x="232764" y="93899"/>
                    </a:lnTo>
                    <a:lnTo>
                      <a:pt x="247048" y="67096"/>
                    </a:lnTo>
                    <a:lnTo>
                      <a:pt x="246166" y="66744"/>
                    </a:lnTo>
                    <a:lnTo>
                      <a:pt x="245902" y="64716"/>
                    </a:lnTo>
                    <a:lnTo>
                      <a:pt x="245637" y="64716"/>
                    </a:lnTo>
                    <a:lnTo>
                      <a:pt x="244755" y="65862"/>
                    </a:lnTo>
                    <a:lnTo>
                      <a:pt x="244403" y="64716"/>
                    </a:lnTo>
                    <a:lnTo>
                      <a:pt x="242375" y="64716"/>
                    </a:lnTo>
                    <a:lnTo>
                      <a:pt x="242110" y="62952"/>
                    </a:lnTo>
                    <a:lnTo>
                      <a:pt x="241493" y="62071"/>
                    </a:lnTo>
                    <a:lnTo>
                      <a:pt x="240082" y="63305"/>
                    </a:lnTo>
                    <a:lnTo>
                      <a:pt x="240082" y="62071"/>
                    </a:lnTo>
                    <a:lnTo>
                      <a:pt x="240347" y="61542"/>
                    </a:lnTo>
                    <a:lnTo>
                      <a:pt x="240347" y="60924"/>
                    </a:lnTo>
                    <a:lnTo>
                      <a:pt x="239818" y="60924"/>
                    </a:lnTo>
                    <a:lnTo>
                      <a:pt x="237702" y="61542"/>
                    </a:lnTo>
                    <a:lnTo>
                      <a:pt x="237437" y="60307"/>
                    </a:lnTo>
                    <a:lnTo>
                      <a:pt x="236291" y="60307"/>
                    </a:lnTo>
                    <a:lnTo>
                      <a:pt x="234792" y="58896"/>
                    </a:lnTo>
                    <a:lnTo>
                      <a:pt x="234792" y="60307"/>
                    </a:lnTo>
                    <a:lnTo>
                      <a:pt x="233911" y="60307"/>
                    </a:lnTo>
                    <a:lnTo>
                      <a:pt x="233382" y="58896"/>
                    </a:lnTo>
                    <a:lnTo>
                      <a:pt x="232147" y="58632"/>
                    </a:lnTo>
                    <a:lnTo>
                      <a:pt x="232147" y="57398"/>
                    </a:lnTo>
                    <a:lnTo>
                      <a:pt x="229590" y="56251"/>
                    </a:lnTo>
                    <a:lnTo>
                      <a:pt x="228444" y="54841"/>
                    </a:lnTo>
                    <a:lnTo>
                      <a:pt x="226945" y="54841"/>
                    </a:lnTo>
                    <a:lnTo>
                      <a:pt x="225799" y="54224"/>
                    </a:lnTo>
                    <a:lnTo>
                      <a:pt x="225446" y="54841"/>
                    </a:lnTo>
                    <a:lnTo>
                      <a:pt x="225799" y="55722"/>
                    </a:lnTo>
                    <a:lnTo>
                      <a:pt x="225446" y="55722"/>
                    </a:lnTo>
                    <a:lnTo>
                      <a:pt x="224300" y="55370"/>
                    </a:lnTo>
                    <a:lnTo>
                      <a:pt x="222890" y="55370"/>
                    </a:lnTo>
                    <a:lnTo>
                      <a:pt x="222537" y="55722"/>
                    </a:lnTo>
                    <a:lnTo>
                      <a:pt x="222273" y="57133"/>
                    </a:lnTo>
                    <a:lnTo>
                      <a:pt x="221391" y="57750"/>
                    </a:lnTo>
                    <a:lnTo>
                      <a:pt x="220862" y="57398"/>
                    </a:lnTo>
                    <a:lnTo>
                      <a:pt x="219363" y="57750"/>
                    </a:lnTo>
                    <a:lnTo>
                      <a:pt x="218746" y="57398"/>
                    </a:lnTo>
                    <a:lnTo>
                      <a:pt x="216453" y="58632"/>
                    </a:lnTo>
                    <a:lnTo>
                      <a:pt x="216101" y="58279"/>
                    </a:lnTo>
                    <a:lnTo>
                      <a:pt x="216453" y="57398"/>
                    </a:lnTo>
                    <a:lnTo>
                      <a:pt x="215836" y="55722"/>
                    </a:lnTo>
                    <a:lnTo>
                      <a:pt x="215307" y="55370"/>
                    </a:lnTo>
                    <a:lnTo>
                      <a:pt x="215307" y="57133"/>
                    </a:lnTo>
                    <a:lnTo>
                      <a:pt x="214955" y="57133"/>
                    </a:lnTo>
                    <a:lnTo>
                      <a:pt x="214690" y="56516"/>
                    </a:lnTo>
                    <a:lnTo>
                      <a:pt x="214073" y="55105"/>
                    </a:lnTo>
                    <a:lnTo>
                      <a:pt x="212927" y="54841"/>
                    </a:lnTo>
                    <a:lnTo>
                      <a:pt x="212398" y="53606"/>
                    </a:lnTo>
                    <a:lnTo>
                      <a:pt x="210899" y="53342"/>
                    </a:lnTo>
                    <a:lnTo>
                      <a:pt x="210017" y="53606"/>
                    </a:lnTo>
                    <a:lnTo>
                      <a:pt x="209753" y="52725"/>
                    </a:lnTo>
                    <a:lnTo>
                      <a:pt x="207372" y="53606"/>
                    </a:lnTo>
                    <a:lnTo>
                      <a:pt x="206226" y="55370"/>
                    </a:lnTo>
                    <a:lnTo>
                      <a:pt x="205080" y="56251"/>
                    </a:lnTo>
                    <a:lnTo>
                      <a:pt x="205080" y="57398"/>
                    </a:lnTo>
                    <a:lnTo>
                      <a:pt x="202699" y="57133"/>
                    </a:lnTo>
                    <a:lnTo>
                      <a:pt x="201817" y="57750"/>
                    </a:lnTo>
                    <a:lnTo>
                      <a:pt x="200407" y="59161"/>
                    </a:lnTo>
                    <a:lnTo>
                      <a:pt x="197762" y="58896"/>
                    </a:lnTo>
                    <a:lnTo>
                      <a:pt x="197497" y="59161"/>
                    </a:lnTo>
                    <a:lnTo>
                      <a:pt x="197762" y="59778"/>
                    </a:lnTo>
                    <a:lnTo>
                      <a:pt x="195469" y="60307"/>
                    </a:lnTo>
                    <a:lnTo>
                      <a:pt x="194852" y="60307"/>
                    </a:lnTo>
                    <a:lnTo>
                      <a:pt x="194852" y="59161"/>
                    </a:lnTo>
                    <a:lnTo>
                      <a:pt x="191943" y="58632"/>
                    </a:lnTo>
                    <a:lnTo>
                      <a:pt x="189650" y="57398"/>
                    </a:lnTo>
                    <a:lnTo>
                      <a:pt x="188151" y="59778"/>
                    </a:lnTo>
                    <a:lnTo>
                      <a:pt x="187534" y="58279"/>
                    </a:lnTo>
                    <a:lnTo>
                      <a:pt x="187005" y="58896"/>
                    </a:lnTo>
                    <a:lnTo>
                      <a:pt x="186388" y="58632"/>
                    </a:lnTo>
                    <a:lnTo>
                      <a:pt x="184360" y="59161"/>
                    </a:lnTo>
                    <a:lnTo>
                      <a:pt x="183743" y="59778"/>
                    </a:lnTo>
                    <a:lnTo>
                      <a:pt x="182068" y="57398"/>
                    </a:lnTo>
                    <a:lnTo>
                      <a:pt x="181451" y="57398"/>
                    </a:lnTo>
                    <a:lnTo>
                      <a:pt x="180833" y="56516"/>
                    </a:lnTo>
                    <a:lnTo>
                      <a:pt x="180569" y="57398"/>
                    </a:lnTo>
                    <a:lnTo>
                      <a:pt x="179952" y="57750"/>
                    </a:lnTo>
                    <a:lnTo>
                      <a:pt x="179423" y="57133"/>
                    </a:lnTo>
                    <a:lnTo>
                      <a:pt x="178805" y="57133"/>
                    </a:lnTo>
                    <a:lnTo>
                      <a:pt x="178541" y="55722"/>
                    </a:lnTo>
                    <a:lnTo>
                      <a:pt x="177042" y="54841"/>
                    </a:lnTo>
                    <a:lnTo>
                      <a:pt x="177042" y="53606"/>
                    </a:lnTo>
                    <a:lnTo>
                      <a:pt x="178541" y="52725"/>
                    </a:lnTo>
                    <a:lnTo>
                      <a:pt x="179070" y="51314"/>
                    </a:lnTo>
                    <a:lnTo>
                      <a:pt x="178188" y="48140"/>
                    </a:lnTo>
                    <a:lnTo>
                      <a:pt x="178188" y="46906"/>
                    </a:lnTo>
                    <a:lnTo>
                      <a:pt x="177659" y="44878"/>
                    </a:lnTo>
                    <a:lnTo>
                      <a:pt x="177042" y="43731"/>
                    </a:lnTo>
                    <a:lnTo>
                      <a:pt x="176160" y="43114"/>
                    </a:lnTo>
                    <a:lnTo>
                      <a:pt x="175896" y="43731"/>
                    </a:lnTo>
                    <a:lnTo>
                      <a:pt x="175014" y="43467"/>
                    </a:lnTo>
                    <a:lnTo>
                      <a:pt x="174133" y="43996"/>
                    </a:lnTo>
                    <a:lnTo>
                      <a:pt x="172986" y="43467"/>
                    </a:lnTo>
                    <a:lnTo>
                      <a:pt x="172369" y="43467"/>
                    </a:lnTo>
                    <a:lnTo>
                      <a:pt x="171223" y="42233"/>
                    </a:lnTo>
                    <a:lnTo>
                      <a:pt x="170077" y="41351"/>
                    </a:lnTo>
                    <a:lnTo>
                      <a:pt x="170077" y="39676"/>
                    </a:lnTo>
                    <a:lnTo>
                      <a:pt x="170606" y="38177"/>
                    </a:lnTo>
                    <a:lnTo>
                      <a:pt x="170606" y="36414"/>
                    </a:lnTo>
                    <a:lnTo>
                      <a:pt x="168578" y="34650"/>
                    </a:lnTo>
                    <a:lnTo>
                      <a:pt x="168931" y="34121"/>
                    </a:lnTo>
                    <a:lnTo>
                      <a:pt x="168578" y="32975"/>
                    </a:lnTo>
                    <a:lnTo>
                      <a:pt x="168578" y="32093"/>
                    </a:lnTo>
                    <a:lnTo>
                      <a:pt x="167696" y="31741"/>
                    </a:lnTo>
                    <a:lnTo>
                      <a:pt x="167432" y="30594"/>
                    </a:lnTo>
                    <a:lnTo>
                      <a:pt x="165404" y="29448"/>
                    </a:lnTo>
                    <a:lnTo>
                      <a:pt x="164787" y="28566"/>
                    </a:lnTo>
                    <a:lnTo>
                      <a:pt x="164522" y="29448"/>
                    </a:lnTo>
                    <a:lnTo>
                      <a:pt x="163905" y="29977"/>
                    </a:lnTo>
                    <a:lnTo>
                      <a:pt x="162759" y="29448"/>
                    </a:lnTo>
                    <a:lnTo>
                      <a:pt x="161877" y="28566"/>
                    </a:lnTo>
                    <a:lnTo>
                      <a:pt x="160731" y="26803"/>
                    </a:lnTo>
                    <a:lnTo>
                      <a:pt x="160114" y="26803"/>
                    </a:lnTo>
                    <a:lnTo>
                      <a:pt x="159849" y="26539"/>
                    </a:lnTo>
                    <a:lnTo>
                      <a:pt x="160114" y="26539"/>
                    </a:lnTo>
                    <a:lnTo>
                      <a:pt x="159849" y="25657"/>
                    </a:lnTo>
                    <a:lnTo>
                      <a:pt x="158968" y="26539"/>
                    </a:lnTo>
                    <a:lnTo>
                      <a:pt x="157821" y="24423"/>
                    </a:lnTo>
                    <a:lnTo>
                      <a:pt x="157557" y="25040"/>
                    </a:lnTo>
                    <a:lnTo>
                      <a:pt x="155441" y="24423"/>
                    </a:lnTo>
                    <a:lnTo>
                      <a:pt x="154295" y="24423"/>
                    </a:lnTo>
                    <a:lnTo>
                      <a:pt x="153766" y="23276"/>
                    </a:lnTo>
                    <a:lnTo>
                      <a:pt x="152884" y="21513"/>
                    </a:lnTo>
                    <a:lnTo>
                      <a:pt x="151650" y="20984"/>
                    </a:lnTo>
                    <a:lnTo>
                      <a:pt x="151650" y="20720"/>
                    </a:lnTo>
                    <a:lnTo>
                      <a:pt x="152884" y="20720"/>
                    </a:lnTo>
                    <a:lnTo>
                      <a:pt x="153148" y="19838"/>
                    </a:lnTo>
                    <a:lnTo>
                      <a:pt x="152884" y="19485"/>
                    </a:lnTo>
                    <a:lnTo>
                      <a:pt x="152531" y="18956"/>
                    </a:lnTo>
                    <a:lnTo>
                      <a:pt x="151650" y="18339"/>
                    </a:lnTo>
                    <a:lnTo>
                      <a:pt x="151121" y="17457"/>
                    </a:lnTo>
                    <a:lnTo>
                      <a:pt x="151121" y="16576"/>
                    </a:lnTo>
                    <a:lnTo>
                      <a:pt x="151385" y="16047"/>
                    </a:lnTo>
                    <a:lnTo>
                      <a:pt x="151121" y="15694"/>
                    </a:lnTo>
                    <a:lnTo>
                      <a:pt x="151121" y="14548"/>
                    </a:lnTo>
                    <a:lnTo>
                      <a:pt x="150239" y="13137"/>
                    </a:lnTo>
                    <a:lnTo>
                      <a:pt x="149357" y="12520"/>
                    </a:lnTo>
                    <a:lnTo>
                      <a:pt x="149093" y="11638"/>
                    </a:lnTo>
                    <a:lnTo>
                      <a:pt x="147858" y="10757"/>
                    </a:lnTo>
                    <a:lnTo>
                      <a:pt x="145566" y="7847"/>
                    </a:lnTo>
                    <a:lnTo>
                      <a:pt x="144420" y="8111"/>
                    </a:lnTo>
                    <a:lnTo>
                      <a:pt x="143803" y="7582"/>
                    </a:lnTo>
                    <a:lnTo>
                      <a:pt x="142039" y="6965"/>
                    </a:lnTo>
                    <a:lnTo>
                      <a:pt x="142921" y="5819"/>
                    </a:lnTo>
                    <a:lnTo>
                      <a:pt x="141510" y="3438"/>
                    </a:lnTo>
                    <a:lnTo>
                      <a:pt x="141158" y="3438"/>
                    </a:lnTo>
                    <a:lnTo>
                      <a:pt x="140629" y="4673"/>
                    </a:lnTo>
                    <a:lnTo>
                      <a:pt x="139482" y="5202"/>
                    </a:lnTo>
                    <a:lnTo>
                      <a:pt x="138601" y="4673"/>
                    </a:lnTo>
                    <a:lnTo>
                      <a:pt x="137366" y="3174"/>
                    </a:lnTo>
                    <a:lnTo>
                      <a:pt x="136220" y="2557"/>
                    </a:lnTo>
                    <a:lnTo>
                      <a:pt x="134809" y="882"/>
                    </a:lnTo>
                    <a:lnTo>
                      <a:pt x="132693" y="0"/>
                    </a:lnTo>
                    <a:lnTo>
                      <a:pt x="131547" y="1763"/>
                    </a:lnTo>
                    <a:lnTo>
                      <a:pt x="131283" y="1763"/>
                    </a:lnTo>
                    <a:lnTo>
                      <a:pt x="129255" y="3174"/>
                    </a:lnTo>
                    <a:lnTo>
                      <a:pt x="128373" y="3438"/>
                    </a:lnTo>
                    <a:lnTo>
                      <a:pt x="123348" y="2028"/>
                    </a:lnTo>
                    <a:lnTo>
                      <a:pt x="124846" y="4320"/>
                    </a:lnTo>
                    <a:lnTo>
                      <a:pt x="127756" y="7847"/>
                    </a:lnTo>
                    <a:lnTo>
                      <a:pt x="129255" y="10757"/>
                    </a:lnTo>
                    <a:lnTo>
                      <a:pt x="130401" y="11638"/>
                    </a:lnTo>
                    <a:lnTo>
                      <a:pt x="131547" y="12255"/>
                    </a:lnTo>
                    <a:lnTo>
                      <a:pt x="131812" y="15165"/>
                    </a:lnTo>
                    <a:lnTo>
                      <a:pt x="131547" y="16576"/>
                    </a:lnTo>
                    <a:lnTo>
                      <a:pt x="131547" y="19221"/>
                    </a:lnTo>
                    <a:lnTo>
                      <a:pt x="131812" y="21249"/>
                    </a:lnTo>
                    <a:lnTo>
                      <a:pt x="132693" y="23276"/>
                    </a:lnTo>
                    <a:lnTo>
                      <a:pt x="130401" y="23894"/>
                    </a:lnTo>
                    <a:lnTo>
                      <a:pt x="128638" y="22130"/>
                    </a:lnTo>
                    <a:lnTo>
                      <a:pt x="125111" y="37912"/>
                    </a:lnTo>
                    <a:lnTo>
                      <a:pt x="114619" y="52725"/>
                    </a:lnTo>
                    <a:lnTo>
                      <a:pt x="75560" y="73444"/>
                    </a:lnTo>
                    <a:lnTo>
                      <a:pt x="70887" y="79352"/>
                    </a:lnTo>
                    <a:lnTo>
                      <a:pt x="70006" y="80762"/>
                    </a:lnTo>
                    <a:lnTo>
                      <a:pt x="67713" y="83672"/>
                    </a:lnTo>
                    <a:lnTo>
                      <a:pt x="68595" y="85171"/>
                    </a:lnTo>
                    <a:lnTo>
                      <a:pt x="66832" y="86934"/>
                    </a:lnTo>
                    <a:lnTo>
                      <a:pt x="66479" y="84553"/>
                    </a:lnTo>
                    <a:lnTo>
                      <a:pt x="64187" y="86934"/>
                    </a:lnTo>
                    <a:lnTo>
                      <a:pt x="63922" y="92136"/>
                    </a:lnTo>
                    <a:lnTo>
                      <a:pt x="61277" y="96809"/>
                    </a:lnTo>
                    <a:lnTo>
                      <a:pt x="60395" y="101482"/>
                    </a:lnTo>
                    <a:lnTo>
                      <a:pt x="58896" y="105538"/>
                    </a:lnTo>
                    <a:lnTo>
                      <a:pt x="58367" y="109681"/>
                    </a:lnTo>
                    <a:lnTo>
                      <a:pt x="58367" y="111092"/>
                    </a:lnTo>
                    <a:lnTo>
                      <a:pt x="58632" y="113473"/>
                    </a:lnTo>
                    <a:lnTo>
                      <a:pt x="53959" y="116030"/>
                    </a:lnTo>
                    <a:lnTo>
                      <a:pt x="53430" y="118675"/>
                    </a:lnTo>
                    <a:lnTo>
                      <a:pt x="51931" y="120703"/>
                    </a:lnTo>
                    <a:lnTo>
                      <a:pt x="50785" y="124229"/>
                    </a:lnTo>
                    <a:lnTo>
                      <a:pt x="50168" y="124229"/>
                    </a:lnTo>
                    <a:lnTo>
                      <a:pt x="49022" y="123965"/>
                    </a:lnTo>
                    <a:lnTo>
                      <a:pt x="45495" y="123083"/>
                    </a:lnTo>
                    <a:lnTo>
                      <a:pt x="43467" y="120703"/>
                    </a:lnTo>
                    <a:lnTo>
                      <a:pt x="41439" y="118939"/>
                    </a:lnTo>
                    <a:lnTo>
                      <a:pt x="40293" y="112855"/>
                    </a:lnTo>
                    <a:lnTo>
                      <a:pt x="39940" y="111709"/>
                    </a:lnTo>
                    <a:lnTo>
                      <a:pt x="36766" y="109681"/>
                    </a:lnTo>
                    <a:lnTo>
                      <a:pt x="34121" y="111092"/>
                    </a:lnTo>
                    <a:lnTo>
                      <a:pt x="32093" y="109681"/>
                    </a:lnTo>
                    <a:lnTo>
                      <a:pt x="30065" y="109329"/>
                    </a:lnTo>
                    <a:lnTo>
                      <a:pt x="27420" y="106155"/>
                    </a:lnTo>
                    <a:lnTo>
                      <a:pt x="26274" y="105890"/>
                    </a:lnTo>
                    <a:lnTo>
                      <a:pt x="23629" y="109329"/>
                    </a:lnTo>
                    <a:lnTo>
                      <a:pt x="21601" y="109946"/>
                    </a:lnTo>
                    <a:lnTo>
                      <a:pt x="21337" y="111092"/>
                    </a:lnTo>
                    <a:lnTo>
                      <a:pt x="18692" y="109681"/>
                    </a:lnTo>
                    <a:lnTo>
                      <a:pt x="21601" y="103774"/>
                    </a:lnTo>
                    <a:lnTo>
                      <a:pt x="19221" y="104127"/>
                    </a:lnTo>
                    <a:lnTo>
                      <a:pt x="18427" y="102099"/>
                    </a:lnTo>
                    <a:lnTo>
                      <a:pt x="17810" y="99983"/>
                    </a:lnTo>
                    <a:lnTo>
                      <a:pt x="21337" y="98572"/>
                    </a:lnTo>
                    <a:lnTo>
                      <a:pt x="22483" y="98572"/>
                    </a:lnTo>
                    <a:lnTo>
                      <a:pt x="23982" y="97690"/>
                    </a:lnTo>
                    <a:lnTo>
                      <a:pt x="24511" y="95310"/>
                    </a:lnTo>
                    <a:lnTo>
                      <a:pt x="23629" y="93018"/>
                    </a:lnTo>
                    <a:lnTo>
                      <a:pt x="23629" y="90637"/>
                    </a:lnTo>
                    <a:lnTo>
                      <a:pt x="23629" y="88609"/>
                    </a:lnTo>
                    <a:lnTo>
                      <a:pt x="23365" y="86581"/>
                    </a:lnTo>
                    <a:lnTo>
                      <a:pt x="23100" y="8455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5" name="Freihandform: Form 1754">
                <a:extLst>
                  <a:ext uri="{FF2B5EF4-FFF2-40B4-BE49-F238E27FC236}">
                    <a16:creationId xmlns:a16="http://schemas.microsoft.com/office/drawing/2014/main" id="{D58566DF-A3B7-E09C-A305-1B816152E83B}"/>
                  </a:ext>
                </a:extLst>
              </p:cNvPr>
              <p:cNvSpPr/>
              <p:nvPr/>
            </p:nvSpPr>
            <p:spPr>
              <a:xfrm>
                <a:off x="2153765" y="3776383"/>
                <a:ext cx="104479" cy="107653"/>
              </a:xfrm>
              <a:custGeom>
                <a:avLst/>
                <a:gdLst>
                  <a:gd name="connsiteX0" fmla="*/ 8817 w 104479"/>
                  <a:gd name="connsiteY0" fmla="*/ 50697 h 107653"/>
                  <a:gd name="connsiteX1" fmla="*/ 14900 w 104479"/>
                  <a:gd name="connsiteY1" fmla="*/ 50697 h 107653"/>
                  <a:gd name="connsiteX2" fmla="*/ 17810 w 104479"/>
                  <a:gd name="connsiteY2" fmla="*/ 47876 h 107653"/>
                  <a:gd name="connsiteX3" fmla="*/ 16928 w 104479"/>
                  <a:gd name="connsiteY3" fmla="*/ 47258 h 107653"/>
                  <a:gd name="connsiteX4" fmla="*/ 17546 w 104479"/>
                  <a:gd name="connsiteY4" fmla="*/ 46906 h 107653"/>
                  <a:gd name="connsiteX5" fmla="*/ 17281 w 104479"/>
                  <a:gd name="connsiteY5" fmla="*/ 46112 h 107653"/>
                  <a:gd name="connsiteX6" fmla="*/ 18163 w 104479"/>
                  <a:gd name="connsiteY6" fmla="*/ 44349 h 107653"/>
                  <a:gd name="connsiteX7" fmla="*/ 19838 w 104479"/>
                  <a:gd name="connsiteY7" fmla="*/ 42850 h 107653"/>
                  <a:gd name="connsiteX8" fmla="*/ 21601 w 104479"/>
                  <a:gd name="connsiteY8" fmla="*/ 43732 h 107653"/>
                  <a:gd name="connsiteX9" fmla="*/ 22483 w 104479"/>
                  <a:gd name="connsiteY9" fmla="*/ 42850 h 107653"/>
                  <a:gd name="connsiteX10" fmla="*/ 22218 w 104479"/>
                  <a:gd name="connsiteY10" fmla="*/ 32093 h 107653"/>
                  <a:gd name="connsiteX11" fmla="*/ 27420 w 104479"/>
                  <a:gd name="connsiteY11" fmla="*/ 30065 h 107653"/>
                  <a:gd name="connsiteX12" fmla="*/ 30065 w 104479"/>
                  <a:gd name="connsiteY12" fmla="*/ 31829 h 107653"/>
                  <a:gd name="connsiteX13" fmla="*/ 31829 w 104479"/>
                  <a:gd name="connsiteY13" fmla="*/ 31212 h 107653"/>
                  <a:gd name="connsiteX14" fmla="*/ 37119 w 104479"/>
                  <a:gd name="connsiteY14" fmla="*/ 24511 h 107653"/>
                  <a:gd name="connsiteX15" fmla="*/ 39147 w 104479"/>
                  <a:gd name="connsiteY15" fmla="*/ 23629 h 107653"/>
                  <a:gd name="connsiteX16" fmla="*/ 38794 w 104479"/>
                  <a:gd name="connsiteY16" fmla="*/ 25657 h 107653"/>
                  <a:gd name="connsiteX17" fmla="*/ 41175 w 104479"/>
                  <a:gd name="connsiteY17" fmla="*/ 27420 h 107653"/>
                  <a:gd name="connsiteX18" fmla="*/ 42585 w 104479"/>
                  <a:gd name="connsiteY18" fmla="*/ 27420 h 107653"/>
                  <a:gd name="connsiteX19" fmla="*/ 42938 w 104479"/>
                  <a:gd name="connsiteY19" fmla="*/ 28567 h 107653"/>
                  <a:gd name="connsiteX20" fmla="*/ 43467 w 104479"/>
                  <a:gd name="connsiteY20" fmla="*/ 29448 h 107653"/>
                  <a:gd name="connsiteX21" fmla="*/ 44966 w 104479"/>
                  <a:gd name="connsiteY21" fmla="*/ 29448 h 107653"/>
                  <a:gd name="connsiteX22" fmla="*/ 45230 w 104479"/>
                  <a:gd name="connsiteY22" fmla="*/ 26274 h 107653"/>
                  <a:gd name="connsiteX23" fmla="*/ 46377 w 104479"/>
                  <a:gd name="connsiteY23" fmla="*/ 26274 h 107653"/>
                  <a:gd name="connsiteX24" fmla="*/ 49903 w 104479"/>
                  <a:gd name="connsiteY24" fmla="*/ 24246 h 107653"/>
                  <a:gd name="connsiteX25" fmla="*/ 50256 w 104479"/>
                  <a:gd name="connsiteY25" fmla="*/ 23012 h 107653"/>
                  <a:gd name="connsiteX26" fmla="*/ 51050 w 104479"/>
                  <a:gd name="connsiteY26" fmla="*/ 23012 h 107653"/>
                  <a:gd name="connsiteX27" fmla="*/ 52548 w 104479"/>
                  <a:gd name="connsiteY27" fmla="*/ 22130 h 107653"/>
                  <a:gd name="connsiteX28" fmla="*/ 53695 w 104479"/>
                  <a:gd name="connsiteY28" fmla="*/ 19573 h 107653"/>
                  <a:gd name="connsiteX29" fmla="*/ 54841 w 104479"/>
                  <a:gd name="connsiteY29" fmla="*/ 18339 h 107653"/>
                  <a:gd name="connsiteX30" fmla="*/ 56075 w 104479"/>
                  <a:gd name="connsiteY30" fmla="*/ 17810 h 107653"/>
                  <a:gd name="connsiteX31" fmla="*/ 57221 w 104479"/>
                  <a:gd name="connsiteY31" fmla="*/ 17810 h 107653"/>
                  <a:gd name="connsiteX32" fmla="*/ 58985 w 104479"/>
                  <a:gd name="connsiteY32" fmla="*/ 16576 h 107653"/>
                  <a:gd name="connsiteX33" fmla="*/ 57750 w 104479"/>
                  <a:gd name="connsiteY33" fmla="*/ 15429 h 107653"/>
                  <a:gd name="connsiteX34" fmla="*/ 59514 w 104479"/>
                  <a:gd name="connsiteY34" fmla="*/ 11991 h 107653"/>
                  <a:gd name="connsiteX35" fmla="*/ 59249 w 104479"/>
                  <a:gd name="connsiteY35" fmla="*/ 11109 h 107653"/>
                  <a:gd name="connsiteX36" fmla="*/ 61013 w 104479"/>
                  <a:gd name="connsiteY36" fmla="*/ 11638 h 107653"/>
                  <a:gd name="connsiteX37" fmla="*/ 62159 w 104479"/>
                  <a:gd name="connsiteY37" fmla="*/ 10492 h 107653"/>
                  <a:gd name="connsiteX38" fmla="*/ 61542 w 104479"/>
                  <a:gd name="connsiteY38" fmla="*/ 10492 h 107653"/>
                  <a:gd name="connsiteX39" fmla="*/ 62159 w 104479"/>
                  <a:gd name="connsiteY39" fmla="*/ 9610 h 107653"/>
                  <a:gd name="connsiteX40" fmla="*/ 61542 w 104479"/>
                  <a:gd name="connsiteY40" fmla="*/ 8729 h 107653"/>
                  <a:gd name="connsiteX41" fmla="*/ 66832 w 104479"/>
                  <a:gd name="connsiteY41" fmla="*/ 4673 h 107653"/>
                  <a:gd name="connsiteX42" fmla="*/ 68595 w 104479"/>
                  <a:gd name="connsiteY42" fmla="*/ 6084 h 107653"/>
                  <a:gd name="connsiteX43" fmla="*/ 67978 w 104479"/>
                  <a:gd name="connsiteY43" fmla="*/ 6701 h 107653"/>
                  <a:gd name="connsiteX44" fmla="*/ 68330 w 104479"/>
                  <a:gd name="connsiteY44" fmla="*/ 6701 h 107653"/>
                  <a:gd name="connsiteX45" fmla="*/ 68330 w 104479"/>
                  <a:gd name="connsiteY45" fmla="*/ 7318 h 107653"/>
                  <a:gd name="connsiteX46" fmla="*/ 72122 w 104479"/>
                  <a:gd name="connsiteY46" fmla="*/ 9081 h 107653"/>
                  <a:gd name="connsiteX47" fmla="*/ 73003 w 104479"/>
                  <a:gd name="connsiteY47" fmla="*/ 9081 h 107653"/>
                  <a:gd name="connsiteX48" fmla="*/ 73003 w 104479"/>
                  <a:gd name="connsiteY48" fmla="*/ 9610 h 107653"/>
                  <a:gd name="connsiteX49" fmla="*/ 75296 w 104479"/>
                  <a:gd name="connsiteY49" fmla="*/ 9610 h 107653"/>
                  <a:gd name="connsiteX50" fmla="*/ 76707 w 104479"/>
                  <a:gd name="connsiteY50" fmla="*/ 7318 h 107653"/>
                  <a:gd name="connsiteX51" fmla="*/ 77324 w 104479"/>
                  <a:gd name="connsiteY51" fmla="*/ 8729 h 107653"/>
                  <a:gd name="connsiteX52" fmla="*/ 78823 w 104479"/>
                  <a:gd name="connsiteY52" fmla="*/ 8729 h 107653"/>
                  <a:gd name="connsiteX53" fmla="*/ 78823 w 104479"/>
                  <a:gd name="connsiteY53" fmla="*/ 8200 h 107653"/>
                  <a:gd name="connsiteX54" fmla="*/ 79969 w 104479"/>
                  <a:gd name="connsiteY54" fmla="*/ 6084 h 107653"/>
                  <a:gd name="connsiteX55" fmla="*/ 80851 w 104479"/>
                  <a:gd name="connsiteY55" fmla="*/ 7318 h 107653"/>
                  <a:gd name="connsiteX56" fmla="*/ 82614 w 104479"/>
                  <a:gd name="connsiteY56" fmla="*/ 6965 h 107653"/>
                  <a:gd name="connsiteX57" fmla="*/ 82878 w 104479"/>
                  <a:gd name="connsiteY57" fmla="*/ 6084 h 107653"/>
                  <a:gd name="connsiteX58" fmla="*/ 83143 w 104479"/>
                  <a:gd name="connsiteY58" fmla="*/ 6084 h 107653"/>
                  <a:gd name="connsiteX59" fmla="*/ 86405 w 104479"/>
                  <a:gd name="connsiteY59" fmla="*/ 6701 h 107653"/>
                  <a:gd name="connsiteX60" fmla="*/ 86670 w 104479"/>
                  <a:gd name="connsiteY60" fmla="*/ 5555 h 107653"/>
                  <a:gd name="connsiteX61" fmla="*/ 87551 w 104479"/>
                  <a:gd name="connsiteY61" fmla="*/ 6084 h 107653"/>
                  <a:gd name="connsiteX62" fmla="*/ 87816 w 104479"/>
                  <a:gd name="connsiteY62" fmla="*/ 5819 h 107653"/>
                  <a:gd name="connsiteX63" fmla="*/ 90725 w 104479"/>
                  <a:gd name="connsiteY63" fmla="*/ 4320 h 107653"/>
                  <a:gd name="connsiteX64" fmla="*/ 91607 w 104479"/>
                  <a:gd name="connsiteY64" fmla="*/ 4673 h 107653"/>
                  <a:gd name="connsiteX65" fmla="*/ 91078 w 104479"/>
                  <a:gd name="connsiteY65" fmla="*/ 4056 h 107653"/>
                  <a:gd name="connsiteX66" fmla="*/ 92224 w 104479"/>
                  <a:gd name="connsiteY66" fmla="*/ 3527 h 107653"/>
                  <a:gd name="connsiteX67" fmla="*/ 93370 w 104479"/>
                  <a:gd name="connsiteY67" fmla="*/ 4056 h 107653"/>
                  <a:gd name="connsiteX68" fmla="*/ 95398 w 104479"/>
                  <a:gd name="connsiteY68" fmla="*/ 2292 h 107653"/>
                  <a:gd name="connsiteX69" fmla="*/ 95134 w 104479"/>
                  <a:gd name="connsiteY69" fmla="*/ 1763 h 107653"/>
                  <a:gd name="connsiteX70" fmla="*/ 95398 w 104479"/>
                  <a:gd name="connsiteY70" fmla="*/ 1499 h 107653"/>
                  <a:gd name="connsiteX71" fmla="*/ 95398 w 104479"/>
                  <a:gd name="connsiteY71" fmla="*/ 1146 h 107653"/>
                  <a:gd name="connsiteX72" fmla="*/ 96015 w 104479"/>
                  <a:gd name="connsiteY72" fmla="*/ 1146 h 107653"/>
                  <a:gd name="connsiteX73" fmla="*/ 96280 w 104479"/>
                  <a:gd name="connsiteY73" fmla="*/ 0 h 107653"/>
                  <a:gd name="connsiteX74" fmla="*/ 97426 w 104479"/>
                  <a:gd name="connsiteY74" fmla="*/ 617 h 107653"/>
                  <a:gd name="connsiteX75" fmla="*/ 98925 w 104479"/>
                  <a:gd name="connsiteY75" fmla="*/ 0 h 107653"/>
                  <a:gd name="connsiteX76" fmla="*/ 99542 w 104479"/>
                  <a:gd name="connsiteY76" fmla="*/ 617 h 107653"/>
                  <a:gd name="connsiteX77" fmla="*/ 104480 w 104479"/>
                  <a:gd name="connsiteY77" fmla="*/ 617 h 107653"/>
                  <a:gd name="connsiteX78" fmla="*/ 102716 w 104479"/>
                  <a:gd name="connsiteY78" fmla="*/ 1146 h 107653"/>
                  <a:gd name="connsiteX79" fmla="*/ 100424 w 104479"/>
                  <a:gd name="connsiteY79" fmla="*/ 5555 h 107653"/>
                  <a:gd name="connsiteX80" fmla="*/ 99542 w 104479"/>
                  <a:gd name="connsiteY80" fmla="*/ 5202 h 107653"/>
                  <a:gd name="connsiteX81" fmla="*/ 100688 w 104479"/>
                  <a:gd name="connsiteY81" fmla="*/ 4320 h 107653"/>
                  <a:gd name="connsiteX82" fmla="*/ 100424 w 104479"/>
                  <a:gd name="connsiteY82" fmla="*/ 2645 h 107653"/>
                  <a:gd name="connsiteX83" fmla="*/ 97779 w 104479"/>
                  <a:gd name="connsiteY83" fmla="*/ 5555 h 107653"/>
                  <a:gd name="connsiteX84" fmla="*/ 98308 w 104479"/>
                  <a:gd name="connsiteY84" fmla="*/ 5819 h 107653"/>
                  <a:gd name="connsiteX85" fmla="*/ 98308 w 104479"/>
                  <a:gd name="connsiteY85" fmla="*/ 6701 h 107653"/>
                  <a:gd name="connsiteX86" fmla="*/ 98925 w 104479"/>
                  <a:gd name="connsiteY86" fmla="*/ 6965 h 107653"/>
                  <a:gd name="connsiteX87" fmla="*/ 99807 w 104479"/>
                  <a:gd name="connsiteY87" fmla="*/ 6701 h 107653"/>
                  <a:gd name="connsiteX88" fmla="*/ 99542 w 104479"/>
                  <a:gd name="connsiteY88" fmla="*/ 6436 h 107653"/>
                  <a:gd name="connsiteX89" fmla="*/ 100071 w 104479"/>
                  <a:gd name="connsiteY89" fmla="*/ 6084 h 107653"/>
                  <a:gd name="connsiteX90" fmla="*/ 101570 w 104479"/>
                  <a:gd name="connsiteY90" fmla="*/ 16928 h 107653"/>
                  <a:gd name="connsiteX91" fmla="*/ 97779 w 104479"/>
                  <a:gd name="connsiteY91" fmla="*/ 24246 h 107653"/>
                  <a:gd name="connsiteX92" fmla="*/ 95398 w 104479"/>
                  <a:gd name="connsiteY92" fmla="*/ 26539 h 107653"/>
                  <a:gd name="connsiteX93" fmla="*/ 91607 w 104479"/>
                  <a:gd name="connsiteY93" fmla="*/ 38794 h 107653"/>
                  <a:gd name="connsiteX94" fmla="*/ 90725 w 104479"/>
                  <a:gd name="connsiteY94" fmla="*/ 45230 h 107653"/>
                  <a:gd name="connsiteX95" fmla="*/ 91607 w 104479"/>
                  <a:gd name="connsiteY95" fmla="*/ 52813 h 107653"/>
                  <a:gd name="connsiteX96" fmla="*/ 90196 w 104479"/>
                  <a:gd name="connsiteY96" fmla="*/ 59514 h 107653"/>
                  <a:gd name="connsiteX97" fmla="*/ 90725 w 104479"/>
                  <a:gd name="connsiteY97" fmla="*/ 65333 h 107653"/>
                  <a:gd name="connsiteX98" fmla="*/ 87551 w 104479"/>
                  <a:gd name="connsiteY98" fmla="*/ 65950 h 107653"/>
                  <a:gd name="connsiteX99" fmla="*/ 88433 w 104479"/>
                  <a:gd name="connsiteY99" fmla="*/ 64716 h 107653"/>
                  <a:gd name="connsiteX100" fmla="*/ 87816 w 104479"/>
                  <a:gd name="connsiteY100" fmla="*/ 60924 h 107653"/>
                  <a:gd name="connsiteX101" fmla="*/ 89315 w 104479"/>
                  <a:gd name="connsiteY101" fmla="*/ 60924 h 107653"/>
                  <a:gd name="connsiteX102" fmla="*/ 89844 w 104479"/>
                  <a:gd name="connsiteY102" fmla="*/ 56604 h 107653"/>
                  <a:gd name="connsiteX103" fmla="*/ 90461 w 104479"/>
                  <a:gd name="connsiteY103" fmla="*/ 55987 h 107653"/>
                  <a:gd name="connsiteX104" fmla="*/ 89050 w 104479"/>
                  <a:gd name="connsiteY104" fmla="*/ 54841 h 107653"/>
                  <a:gd name="connsiteX105" fmla="*/ 88168 w 104479"/>
                  <a:gd name="connsiteY105" fmla="*/ 55105 h 107653"/>
                  <a:gd name="connsiteX106" fmla="*/ 89315 w 104479"/>
                  <a:gd name="connsiteY106" fmla="*/ 59514 h 107653"/>
                  <a:gd name="connsiteX107" fmla="*/ 85523 w 104479"/>
                  <a:gd name="connsiteY107" fmla="*/ 61542 h 107653"/>
                  <a:gd name="connsiteX108" fmla="*/ 84642 w 104479"/>
                  <a:gd name="connsiteY108" fmla="*/ 63569 h 107653"/>
                  <a:gd name="connsiteX109" fmla="*/ 85788 w 104479"/>
                  <a:gd name="connsiteY109" fmla="*/ 63305 h 107653"/>
                  <a:gd name="connsiteX110" fmla="*/ 85788 w 104479"/>
                  <a:gd name="connsiteY110" fmla="*/ 67096 h 107653"/>
                  <a:gd name="connsiteX111" fmla="*/ 86670 w 104479"/>
                  <a:gd name="connsiteY111" fmla="*/ 66479 h 107653"/>
                  <a:gd name="connsiteX112" fmla="*/ 86405 w 104479"/>
                  <a:gd name="connsiteY112" fmla="*/ 68242 h 107653"/>
                  <a:gd name="connsiteX113" fmla="*/ 87287 w 104479"/>
                  <a:gd name="connsiteY113" fmla="*/ 66479 h 107653"/>
                  <a:gd name="connsiteX114" fmla="*/ 87816 w 104479"/>
                  <a:gd name="connsiteY114" fmla="*/ 67096 h 107653"/>
                  <a:gd name="connsiteX115" fmla="*/ 86052 w 104479"/>
                  <a:gd name="connsiteY115" fmla="*/ 71416 h 107653"/>
                  <a:gd name="connsiteX116" fmla="*/ 85788 w 104479"/>
                  <a:gd name="connsiteY116" fmla="*/ 75825 h 107653"/>
                  <a:gd name="connsiteX117" fmla="*/ 85523 w 104479"/>
                  <a:gd name="connsiteY117" fmla="*/ 70887 h 107653"/>
                  <a:gd name="connsiteX118" fmla="*/ 84024 w 104479"/>
                  <a:gd name="connsiteY118" fmla="*/ 70887 h 107653"/>
                  <a:gd name="connsiteX119" fmla="*/ 85788 w 104479"/>
                  <a:gd name="connsiteY119" fmla="*/ 72034 h 107653"/>
                  <a:gd name="connsiteX120" fmla="*/ 84906 w 104479"/>
                  <a:gd name="connsiteY120" fmla="*/ 73797 h 107653"/>
                  <a:gd name="connsiteX121" fmla="*/ 83495 w 104479"/>
                  <a:gd name="connsiteY121" fmla="*/ 73797 h 107653"/>
                  <a:gd name="connsiteX122" fmla="*/ 84377 w 104479"/>
                  <a:gd name="connsiteY122" fmla="*/ 74943 h 107653"/>
                  <a:gd name="connsiteX123" fmla="*/ 84024 w 104479"/>
                  <a:gd name="connsiteY123" fmla="*/ 76971 h 107653"/>
                  <a:gd name="connsiteX124" fmla="*/ 82261 w 104479"/>
                  <a:gd name="connsiteY124" fmla="*/ 78734 h 107653"/>
                  <a:gd name="connsiteX125" fmla="*/ 83760 w 104479"/>
                  <a:gd name="connsiteY125" fmla="*/ 80233 h 107653"/>
                  <a:gd name="connsiteX126" fmla="*/ 84642 w 104479"/>
                  <a:gd name="connsiteY126" fmla="*/ 80233 h 107653"/>
                  <a:gd name="connsiteX127" fmla="*/ 84642 w 104479"/>
                  <a:gd name="connsiteY127" fmla="*/ 78734 h 107653"/>
                  <a:gd name="connsiteX128" fmla="*/ 85523 w 104479"/>
                  <a:gd name="connsiteY128" fmla="*/ 78999 h 107653"/>
                  <a:gd name="connsiteX129" fmla="*/ 85788 w 104479"/>
                  <a:gd name="connsiteY129" fmla="*/ 85171 h 107653"/>
                  <a:gd name="connsiteX130" fmla="*/ 83143 w 104479"/>
                  <a:gd name="connsiteY130" fmla="*/ 86317 h 107653"/>
                  <a:gd name="connsiteX131" fmla="*/ 82878 w 104479"/>
                  <a:gd name="connsiteY131" fmla="*/ 88962 h 107653"/>
                  <a:gd name="connsiteX132" fmla="*/ 81380 w 104479"/>
                  <a:gd name="connsiteY132" fmla="*/ 89844 h 107653"/>
                  <a:gd name="connsiteX133" fmla="*/ 80586 w 104479"/>
                  <a:gd name="connsiteY133" fmla="*/ 92136 h 107653"/>
                  <a:gd name="connsiteX134" fmla="*/ 80851 w 104479"/>
                  <a:gd name="connsiteY134" fmla="*/ 95927 h 107653"/>
                  <a:gd name="connsiteX135" fmla="*/ 83143 w 104479"/>
                  <a:gd name="connsiteY135" fmla="*/ 102099 h 107653"/>
                  <a:gd name="connsiteX136" fmla="*/ 84642 w 104479"/>
                  <a:gd name="connsiteY136" fmla="*/ 102099 h 107653"/>
                  <a:gd name="connsiteX137" fmla="*/ 84377 w 104479"/>
                  <a:gd name="connsiteY137" fmla="*/ 105009 h 107653"/>
                  <a:gd name="connsiteX138" fmla="*/ 80851 w 104479"/>
                  <a:gd name="connsiteY138" fmla="*/ 107654 h 107653"/>
                  <a:gd name="connsiteX139" fmla="*/ 77941 w 104479"/>
                  <a:gd name="connsiteY139" fmla="*/ 107654 h 107653"/>
                  <a:gd name="connsiteX140" fmla="*/ 76707 w 104479"/>
                  <a:gd name="connsiteY140" fmla="*/ 105538 h 107653"/>
                  <a:gd name="connsiteX141" fmla="*/ 75560 w 104479"/>
                  <a:gd name="connsiteY141" fmla="*/ 105538 h 107653"/>
                  <a:gd name="connsiteX142" fmla="*/ 75031 w 104479"/>
                  <a:gd name="connsiteY142" fmla="*/ 106155 h 107653"/>
                  <a:gd name="connsiteX143" fmla="*/ 74414 w 104479"/>
                  <a:gd name="connsiteY143" fmla="*/ 106155 h 107653"/>
                  <a:gd name="connsiteX144" fmla="*/ 73797 w 104479"/>
                  <a:gd name="connsiteY144" fmla="*/ 105538 h 107653"/>
                  <a:gd name="connsiteX145" fmla="*/ 72386 w 104479"/>
                  <a:gd name="connsiteY145" fmla="*/ 105538 h 107653"/>
                  <a:gd name="connsiteX146" fmla="*/ 71769 w 104479"/>
                  <a:gd name="connsiteY146" fmla="*/ 104391 h 107653"/>
                  <a:gd name="connsiteX147" fmla="*/ 72386 w 104479"/>
                  <a:gd name="connsiteY147" fmla="*/ 104391 h 107653"/>
                  <a:gd name="connsiteX148" fmla="*/ 69477 w 104479"/>
                  <a:gd name="connsiteY148" fmla="*/ 101217 h 107653"/>
                  <a:gd name="connsiteX149" fmla="*/ 69741 w 104479"/>
                  <a:gd name="connsiteY149" fmla="*/ 100336 h 107653"/>
                  <a:gd name="connsiteX150" fmla="*/ 68595 w 104479"/>
                  <a:gd name="connsiteY150" fmla="*/ 100953 h 107653"/>
                  <a:gd name="connsiteX151" fmla="*/ 67096 w 104479"/>
                  <a:gd name="connsiteY151" fmla="*/ 100953 h 107653"/>
                  <a:gd name="connsiteX152" fmla="*/ 66215 w 104479"/>
                  <a:gd name="connsiteY152" fmla="*/ 100071 h 107653"/>
                  <a:gd name="connsiteX153" fmla="*/ 64804 w 104479"/>
                  <a:gd name="connsiteY153" fmla="*/ 98837 h 107653"/>
                  <a:gd name="connsiteX154" fmla="*/ 63922 w 104479"/>
                  <a:gd name="connsiteY154" fmla="*/ 99454 h 107653"/>
                  <a:gd name="connsiteX155" fmla="*/ 62423 w 104479"/>
                  <a:gd name="connsiteY155" fmla="*/ 98572 h 107653"/>
                  <a:gd name="connsiteX156" fmla="*/ 60748 w 104479"/>
                  <a:gd name="connsiteY156" fmla="*/ 101217 h 107653"/>
                  <a:gd name="connsiteX157" fmla="*/ 57221 w 104479"/>
                  <a:gd name="connsiteY157" fmla="*/ 101482 h 107653"/>
                  <a:gd name="connsiteX158" fmla="*/ 51050 w 104479"/>
                  <a:gd name="connsiteY158" fmla="*/ 99719 h 107653"/>
                  <a:gd name="connsiteX159" fmla="*/ 47611 w 104479"/>
                  <a:gd name="connsiteY159" fmla="*/ 97426 h 107653"/>
                  <a:gd name="connsiteX160" fmla="*/ 43820 w 104479"/>
                  <a:gd name="connsiteY160" fmla="*/ 95927 h 107653"/>
                  <a:gd name="connsiteX161" fmla="*/ 43203 w 104479"/>
                  <a:gd name="connsiteY161" fmla="*/ 94781 h 107653"/>
                  <a:gd name="connsiteX162" fmla="*/ 42056 w 104479"/>
                  <a:gd name="connsiteY162" fmla="*/ 94781 h 107653"/>
                  <a:gd name="connsiteX163" fmla="*/ 40293 w 104479"/>
                  <a:gd name="connsiteY163" fmla="*/ 98572 h 107653"/>
                  <a:gd name="connsiteX164" fmla="*/ 38265 w 104479"/>
                  <a:gd name="connsiteY164" fmla="*/ 97426 h 107653"/>
                  <a:gd name="connsiteX165" fmla="*/ 35885 w 104479"/>
                  <a:gd name="connsiteY165" fmla="*/ 92753 h 107653"/>
                  <a:gd name="connsiteX166" fmla="*/ 26539 w 104479"/>
                  <a:gd name="connsiteY166" fmla="*/ 84906 h 107653"/>
                  <a:gd name="connsiteX167" fmla="*/ 26274 w 104479"/>
                  <a:gd name="connsiteY167" fmla="*/ 83143 h 107653"/>
                  <a:gd name="connsiteX168" fmla="*/ 23629 w 104479"/>
                  <a:gd name="connsiteY168" fmla="*/ 81027 h 107653"/>
                  <a:gd name="connsiteX169" fmla="*/ 18427 w 104479"/>
                  <a:gd name="connsiteY169" fmla="*/ 70006 h 107653"/>
                  <a:gd name="connsiteX170" fmla="*/ 10580 w 104479"/>
                  <a:gd name="connsiteY170" fmla="*/ 64187 h 107653"/>
                  <a:gd name="connsiteX171" fmla="*/ 12255 w 104479"/>
                  <a:gd name="connsiteY171" fmla="*/ 64451 h 107653"/>
                  <a:gd name="connsiteX172" fmla="*/ 10580 w 104479"/>
                  <a:gd name="connsiteY172" fmla="*/ 62423 h 107653"/>
                  <a:gd name="connsiteX173" fmla="*/ 10580 w 104479"/>
                  <a:gd name="connsiteY173" fmla="*/ 63305 h 107653"/>
                  <a:gd name="connsiteX174" fmla="*/ 7318 w 104479"/>
                  <a:gd name="connsiteY174" fmla="*/ 60395 h 107653"/>
                  <a:gd name="connsiteX175" fmla="*/ 4673 w 104479"/>
                  <a:gd name="connsiteY175" fmla="*/ 56604 h 107653"/>
                  <a:gd name="connsiteX176" fmla="*/ 5026 w 104479"/>
                  <a:gd name="connsiteY176" fmla="*/ 55722 h 107653"/>
                  <a:gd name="connsiteX177" fmla="*/ 0 w 104479"/>
                  <a:gd name="connsiteY177" fmla="*/ 52813 h 107653"/>
                  <a:gd name="connsiteX178" fmla="*/ 882 w 104479"/>
                  <a:gd name="connsiteY178" fmla="*/ 50697 h 107653"/>
                  <a:gd name="connsiteX179" fmla="*/ 2910 w 104479"/>
                  <a:gd name="connsiteY179" fmla="*/ 48140 h 107653"/>
                  <a:gd name="connsiteX180" fmla="*/ 2645 w 104479"/>
                  <a:gd name="connsiteY180" fmla="*/ 49022 h 107653"/>
                  <a:gd name="connsiteX181" fmla="*/ 5290 w 104479"/>
                  <a:gd name="connsiteY181" fmla="*/ 50697 h 107653"/>
                  <a:gd name="connsiteX182" fmla="*/ 5026 w 104479"/>
                  <a:gd name="connsiteY182" fmla="*/ 51931 h 107653"/>
                  <a:gd name="connsiteX183" fmla="*/ 7053 w 104479"/>
                  <a:gd name="connsiteY183" fmla="*/ 52813 h 107653"/>
                  <a:gd name="connsiteX184" fmla="*/ 8464 w 104479"/>
                  <a:gd name="connsiteY184" fmla="*/ 52196 h 107653"/>
                  <a:gd name="connsiteX185" fmla="*/ 7318 w 104479"/>
                  <a:gd name="connsiteY185" fmla="*/ 51931 h 107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</a:cxnLst>
                <a:rect l="l" t="t" r="r" b="b"/>
                <a:pathLst>
                  <a:path w="104479" h="107653">
                    <a:moveTo>
                      <a:pt x="8817" y="50697"/>
                    </a:moveTo>
                    <a:lnTo>
                      <a:pt x="14900" y="50697"/>
                    </a:lnTo>
                    <a:lnTo>
                      <a:pt x="17810" y="47876"/>
                    </a:lnTo>
                    <a:lnTo>
                      <a:pt x="16928" y="47258"/>
                    </a:lnTo>
                    <a:lnTo>
                      <a:pt x="17546" y="46906"/>
                    </a:lnTo>
                    <a:lnTo>
                      <a:pt x="17281" y="46112"/>
                    </a:lnTo>
                    <a:lnTo>
                      <a:pt x="18163" y="44349"/>
                    </a:lnTo>
                    <a:lnTo>
                      <a:pt x="19838" y="42850"/>
                    </a:lnTo>
                    <a:lnTo>
                      <a:pt x="21601" y="43732"/>
                    </a:lnTo>
                    <a:lnTo>
                      <a:pt x="22483" y="42850"/>
                    </a:lnTo>
                    <a:lnTo>
                      <a:pt x="22218" y="32093"/>
                    </a:lnTo>
                    <a:lnTo>
                      <a:pt x="27420" y="30065"/>
                    </a:lnTo>
                    <a:lnTo>
                      <a:pt x="30065" y="31829"/>
                    </a:lnTo>
                    <a:lnTo>
                      <a:pt x="31829" y="31212"/>
                    </a:lnTo>
                    <a:lnTo>
                      <a:pt x="37119" y="24511"/>
                    </a:lnTo>
                    <a:lnTo>
                      <a:pt x="39147" y="23629"/>
                    </a:lnTo>
                    <a:lnTo>
                      <a:pt x="38794" y="25657"/>
                    </a:lnTo>
                    <a:lnTo>
                      <a:pt x="41175" y="27420"/>
                    </a:lnTo>
                    <a:lnTo>
                      <a:pt x="42585" y="27420"/>
                    </a:lnTo>
                    <a:lnTo>
                      <a:pt x="42938" y="28567"/>
                    </a:lnTo>
                    <a:lnTo>
                      <a:pt x="43467" y="29448"/>
                    </a:lnTo>
                    <a:lnTo>
                      <a:pt x="44966" y="29448"/>
                    </a:lnTo>
                    <a:lnTo>
                      <a:pt x="45230" y="26274"/>
                    </a:lnTo>
                    <a:lnTo>
                      <a:pt x="46377" y="26274"/>
                    </a:lnTo>
                    <a:lnTo>
                      <a:pt x="49903" y="24246"/>
                    </a:lnTo>
                    <a:lnTo>
                      <a:pt x="50256" y="23012"/>
                    </a:lnTo>
                    <a:lnTo>
                      <a:pt x="51050" y="23012"/>
                    </a:lnTo>
                    <a:lnTo>
                      <a:pt x="52548" y="22130"/>
                    </a:lnTo>
                    <a:lnTo>
                      <a:pt x="53695" y="19573"/>
                    </a:lnTo>
                    <a:lnTo>
                      <a:pt x="54841" y="18339"/>
                    </a:lnTo>
                    <a:lnTo>
                      <a:pt x="56075" y="17810"/>
                    </a:lnTo>
                    <a:lnTo>
                      <a:pt x="57221" y="17810"/>
                    </a:lnTo>
                    <a:lnTo>
                      <a:pt x="58985" y="16576"/>
                    </a:lnTo>
                    <a:lnTo>
                      <a:pt x="57750" y="15429"/>
                    </a:lnTo>
                    <a:lnTo>
                      <a:pt x="59514" y="11991"/>
                    </a:lnTo>
                    <a:lnTo>
                      <a:pt x="59249" y="11109"/>
                    </a:lnTo>
                    <a:lnTo>
                      <a:pt x="61013" y="11638"/>
                    </a:lnTo>
                    <a:lnTo>
                      <a:pt x="62159" y="10492"/>
                    </a:lnTo>
                    <a:lnTo>
                      <a:pt x="61542" y="10492"/>
                    </a:lnTo>
                    <a:lnTo>
                      <a:pt x="62159" y="9610"/>
                    </a:lnTo>
                    <a:lnTo>
                      <a:pt x="61542" y="8729"/>
                    </a:lnTo>
                    <a:lnTo>
                      <a:pt x="66832" y="4673"/>
                    </a:lnTo>
                    <a:lnTo>
                      <a:pt x="68595" y="6084"/>
                    </a:lnTo>
                    <a:lnTo>
                      <a:pt x="67978" y="6701"/>
                    </a:lnTo>
                    <a:lnTo>
                      <a:pt x="68330" y="6701"/>
                    </a:lnTo>
                    <a:lnTo>
                      <a:pt x="68330" y="7318"/>
                    </a:lnTo>
                    <a:lnTo>
                      <a:pt x="72122" y="9081"/>
                    </a:lnTo>
                    <a:lnTo>
                      <a:pt x="73003" y="9081"/>
                    </a:lnTo>
                    <a:lnTo>
                      <a:pt x="73003" y="9610"/>
                    </a:lnTo>
                    <a:lnTo>
                      <a:pt x="75296" y="9610"/>
                    </a:lnTo>
                    <a:lnTo>
                      <a:pt x="76707" y="7318"/>
                    </a:lnTo>
                    <a:lnTo>
                      <a:pt x="77324" y="8729"/>
                    </a:lnTo>
                    <a:lnTo>
                      <a:pt x="78823" y="8729"/>
                    </a:lnTo>
                    <a:lnTo>
                      <a:pt x="78823" y="8200"/>
                    </a:lnTo>
                    <a:lnTo>
                      <a:pt x="79969" y="6084"/>
                    </a:lnTo>
                    <a:lnTo>
                      <a:pt x="80851" y="7318"/>
                    </a:lnTo>
                    <a:lnTo>
                      <a:pt x="82614" y="6965"/>
                    </a:lnTo>
                    <a:lnTo>
                      <a:pt x="82878" y="6084"/>
                    </a:lnTo>
                    <a:lnTo>
                      <a:pt x="83143" y="6084"/>
                    </a:lnTo>
                    <a:lnTo>
                      <a:pt x="86405" y="6701"/>
                    </a:lnTo>
                    <a:lnTo>
                      <a:pt x="86670" y="5555"/>
                    </a:lnTo>
                    <a:lnTo>
                      <a:pt x="87551" y="6084"/>
                    </a:lnTo>
                    <a:lnTo>
                      <a:pt x="87816" y="5819"/>
                    </a:lnTo>
                    <a:lnTo>
                      <a:pt x="90725" y="4320"/>
                    </a:lnTo>
                    <a:lnTo>
                      <a:pt x="91607" y="4673"/>
                    </a:lnTo>
                    <a:lnTo>
                      <a:pt x="91078" y="4056"/>
                    </a:lnTo>
                    <a:lnTo>
                      <a:pt x="92224" y="3527"/>
                    </a:lnTo>
                    <a:lnTo>
                      <a:pt x="93370" y="4056"/>
                    </a:lnTo>
                    <a:lnTo>
                      <a:pt x="95398" y="2292"/>
                    </a:lnTo>
                    <a:lnTo>
                      <a:pt x="95134" y="1763"/>
                    </a:lnTo>
                    <a:lnTo>
                      <a:pt x="95398" y="1499"/>
                    </a:lnTo>
                    <a:lnTo>
                      <a:pt x="95398" y="1146"/>
                    </a:lnTo>
                    <a:lnTo>
                      <a:pt x="96015" y="1146"/>
                    </a:lnTo>
                    <a:lnTo>
                      <a:pt x="96280" y="0"/>
                    </a:lnTo>
                    <a:lnTo>
                      <a:pt x="97426" y="617"/>
                    </a:lnTo>
                    <a:lnTo>
                      <a:pt x="98925" y="0"/>
                    </a:lnTo>
                    <a:lnTo>
                      <a:pt x="99542" y="617"/>
                    </a:lnTo>
                    <a:lnTo>
                      <a:pt x="104480" y="617"/>
                    </a:lnTo>
                    <a:lnTo>
                      <a:pt x="102716" y="1146"/>
                    </a:lnTo>
                    <a:lnTo>
                      <a:pt x="100424" y="5555"/>
                    </a:lnTo>
                    <a:lnTo>
                      <a:pt x="99542" y="5202"/>
                    </a:lnTo>
                    <a:lnTo>
                      <a:pt x="100688" y="4320"/>
                    </a:lnTo>
                    <a:lnTo>
                      <a:pt x="100424" y="2645"/>
                    </a:lnTo>
                    <a:lnTo>
                      <a:pt x="97779" y="5555"/>
                    </a:lnTo>
                    <a:lnTo>
                      <a:pt x="98308" y="5819"/>
                    </a:lnTo>
                    <a:lnTo>
                      <a:pt x="98308" y="6701"/>
                    </a:lnTo>
                    <a:lnTo>
                      <a:pt x="98925" y="6965"/>
                    </a:lnTo>
                    <a:lnTo>
                      <a:pt x="99807" y="6701"/>
                    </a:lnTo>
                    <a:lnTo>
                      <a:pt x="99542" y="6436"/>
                    </a:lnTo>
                    <a:lnTo>
                      <a:pt x="100071" y="6084"/>
                    </a:lnTo>
                    <a:lnTo>
                      <a:pt x="101570" y="16928"/>
                    </a:lnTo>
                    <a:lnTo>
                      <a:pt x="97779" y="24246"/>
                    </a:lnTo>
                    <a:lnTo>
                      <a:pt x="95398" y="26539"/>
                    </a:lnTo>
                    <a:lnTo>
                      <a:pt x="91607" y="38794"/>
                    </a:lnTo>
                    <a:lnTo>
                      <a:pt x="90725" y="45230"/>
                    </a:lnTo>
                    <a:lnTo>
                      <a:pt x="91607" y="52813"/>
                    </a:lnTo>
                    <a:lnTo>
                      <a:pt x="90196" y="59514"/>
                    </a:lnTo>
                    <a:lnTo>
                      <a:pt x="90725" y="65333"/>
                    </a:lnTo>
                    <a:lnTo>
                      <a:pt x="87551" y="65950"/>
                    </a:lnTo>
                    <a:lnTo>
                      <a:pt x="88433" y="64716"/>
                    </a:lnTo>
                    <a:lnTo>
                      <a:pt x="87816" y="60924"/>
                    </a:lnTo>
                    <a:lnTo>
                      <a:pt x="89315" y="60924"/>
                    </a:lnTo>
                    <a:lnTo>
                      <a:pt x="89844" y="56604"/>
                    </a:lnTo>
                    <a:lnTo>
                      <a:pt x="90461" y="55987"/>
                    </a:lnTo>
                    <a:lnTo>
                      <a:pt x="89050" y="54841"/>
                    </a:lnTo>
                    <a:lnTo>
                      <a:pt x="88168" y="55105"/>
                    </a:lnTo>
                    <a:lnTo>
                      <a:pt x="89315" y="59514"/>
                    </a:lnTo>
                    <a:lnTo>
                      <a:pt x="85523" y="61542"/>
                    </a:lnTo>
                    <a:lnTo>
                      <a:pt x="84642" y="63569"/>
                    </a:lnTo>
                    <a:lnTo>
                      <a:pt x="85788" y="63305"/>
                    </a:lnTo>
                    <a:lnTo>
                      <a:pt x="85788" y="67096"/>
                    </a:lnTo>
                    <a:lnTo>
                      <a:pt x="86670" y="66479"/>
                    </a:lnTo>
                    <a:lnTo>
                      <a:pt x="86405" y="68242"/>
                    </a:lnTo>
                    <a:lnTo>
                      <a:pt x="87287" y="66479"/>
                    </a:lnTo>
                    <a:lnTo>
                      <a:pt x="87816" y="67096"/>
                    </a:lnTo>
                    <a:lnTo>
                      <a:pt x="86052" y="71416"/>
                    </a:lnTo>
                    <a:lnTo>
                      <a:pt x="85788" y="75825"/>
                    </a:lnTo>
                    <a:lnTo>
                      <a:pt x="85523" y="70887"/>
                    </a:lnTo>
                    <a:lnTo>
                      <a:pt x="84024" y="70887"/>
                    </a:lnTo>
                    <a:lnTo>
                      <a:pt x="85788" y="72034"/>
                    </a:lnTo>
                    <a:lnTo>
                      <a:pt x="84906" y="73797"/>
                    </a:lnTo>
                    <a:lnTo>
                      <a:pt x="83495" y="73797"/>
                    </a:lnTo>
                    <a:lnTo>
                      <a:pt x="84377" y="74943"/>
                    </a:lnTo>
                    <a:lnTo>
                      <a:pt x="84024" y="76971"/>
                    </a:lnTo>
                    <a:lnTo>
                      <a:pt x="82261" y="78734"/>
                    </a:lnTo>
                    <a:lnTo>
                      <a:pt x="83760" y="80233"/>
                    </a:lnTo>
                    <a:lnTo>
                      <a:pt x="84642" y="80233"/>
                    </a:lnTo>
                    <a:lnTo>
                      <a:pt x="84642" y="78734"/>
                    </a:lnTo>
                    <a:lnTo>
                      <a:pt x="85523" y="78999"/>
                    </a:lnTo>
                    <a:lnTo>
                      <a:pt x="85788" y="85171"/>
                    </a:lnTo>
                    <a:lnTo>
                      <a:pt x="83143" y="86317"/>
                    </a:lnTo>
                    <a:lnTo>
                      <a:pt x="82878" y="88962"/>
                    </a:lnTo>
                    <a:lnTo>
                      <a:pt x="81380" y="89844"/>
                    </a:lnTo>
                    <a:lnTo>
                      <a:pt x="80586" y="92136"/>
                    </a:lnTo>
                    <a:lnTo>
                      <a:pt x="80851" y="95927"/>
                    </a:lnTo>
                    <a:lnTo>
                      <a:pt x="83143" y="102099"/>
                    </a:lnTo>
                    <a:lnTo>
                      <a:pt x="84642" y="102099"/>
                    </a:lnTo>
                    <a:lnTo>
                      <a:pt x="84377" y="105009"/>
                    </a:lnTo>
                    <a:lnTo>
                      <a:pt x="80851" y="107654"/>
                    </a:lnTo>
                    <a:lnTo>
                      <a:pt x="77941" y="107654"/>
                    </a:lnTo>
                    <a:lnTo>
                      <a:pt x="76707" y="105538"/>
                    </a:lnTo>
                    <a:lnTo>
                      <a:pt x="75560" y="105538"/>
                    </a:lnTo>
                    <a:lnTo>
                      <a:pt x="75031" y="106155"/>
                    </a:lnTo>
                    <a:lnTo>
                      <a:pt x="74414" y="106155"/>
                    </a:lnTo>
                    <a:lnTo>
                      <a:pt x="73797" y="105538"/>
                    </a:lnTo>
                    <a:lnTo>
                      <a:pt x="72386" y="105538"/>
                    </a:lnTo>
                    <a:lnTo>
                      <a:pt x="71769" y="104391"/>
                    </a:lnTo>
                    <a:lnTo>
                      <a:pt x="72386" y="104391"/>
                    </a:lnTo>
                    <a:lnTo>
                      <a:pt x="69477" y="101217"/>
                    </a:lnTo>
                    <a:lnTo>
                      <a:pt x="69741" y="100336"/>
                    </a:lnTo>
                    <a:lnTo>
                      <a:pt x="68595" y="100953"/>
                    </a:lnTo>
                    <a:lnTo>
                      <a:pt x="67096" y="100953"/>
                    </a:lnTo>
                    <a:lnTo>
                      <a:pt x="66215" y="100071"/>
                    </a:lnTo>
                    <a:lnTo>
                      <a:pt x="64804" y="98837"/>
                    </a:lnTo>
                    <a:lnTo>
                      <a:pt x="63922" y="99454"/>
                    </a:lnTo>
                    <a:lnTo>
                      <a:pt x="62423" y="98572"/>
                    </a:lnTo>
                    <a:lnTo>
                      <a:pt x="60748" y="101217"/>
                    </a:lnTo>
                    <a:lnTo>
                      <a:pt x="57221" y="101482"/>
                    </a:lnTo>
                    <a:lnTo>
                      <a:pt x="51050" y="99719"/>
                    </a:lnTo>
                    <a:lnTo>
                      <a:pt x="47611" y="97426"/>
                    </a:lnTo>
                    <a:lnTo>
                      <a:pt x="43820" y="95927"/>
                    </a:lnTo>
                    <a:lnTo>
                      <a:pt x="43203" y="94781"/>
                    </a:lnTo>
                    <a:lnTo>
                      <a:pt x="42056" y="94781"/>
                    </a:lnTo>
                    <a:lnTo>
                      <a:pt x="40293" y="98572"/>
                    </a:lnTo>
                    <a:lnTo>
                      <a:pt x="38265" y="97426"/>
                    </a:lnTo>
                    <a:lnTo>
                      <a:pt x="35885" y="92753"/>
                    </a:lnTo>
                    <a:lnTo>
                      <a:pt x="26539" y="84906"/>
                    </a:lnTo>
                    <a:lnTo>
                      <a:pt x="26274" y="83143"/>
                    </a:lnTo>
                    <a:lnTo>
                      <a:pt x="23629" y="81027"/>
                    </a:lnTo>
                    <a:lnTo>
                      <a:pt x="18427" y="70006"/>
                    </a:lnTo>
                    <a:lnTo>
                      <a:pt x="10580" y="64187"/>
                    </a:lnTo>
                    <a:lnTo>
                      <a:pt x="12255" y="64451"/>
                    </a:lnTo>
                    <a:lnTo>
                      <a:pt x="10580" y="62423"/>
                    </a:lnTo>
                    <a:lnTo>
                      <a:pt x="10580" y="63305"/>
                    </a:lnTo>
                    <a:lnTo>
                      <a:pt x="7318" y="60395"/>
                    </a:lnTo>
                    <a:lnTo>
                      <a:pt x="4673" y="56604"/>
                    </a:lnTo>
                    <a:lnTo>
                      <a:pt x="5026" y="55722"/>
                    </a:lnTo>
                    <a:lnTo>
                      <a:pt x="0" y="52813"/>
                    </a:lnTo>
                    <a:lnTo>
                      <a:pt x="882" y="50697"/>
                    </a:lnTo>
                    <a:lnTo>
                      <a:pt x="2910" y="48140"/>
                    </a:lnTo>
                    <a:lnTo>
                      <a:pt x="2645" y="49022"/>
                    </a:lnTo>
                    <a:lnTo>
                      <a:pt x="5290" y="50697"/>
                    </a:lnTo>
                    <a:lnTo>
                      <a:pt x="5026" y="51931"/>
                    </a:lnTo>
                    <a:lnTo>
                      <a:pt x="7053" y="52813"/>
                    </a:lnTo>
                    <a:lnTo>
                      <a:pt x="8464" y="52196"/>
                    </a:lnTo>
                    <a:lnTo>
                      <a:pt x="7318" y="5193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6" name="Freihandform: Form 1755">
                <a:extLst>
                  <a:ext uri="{FF2B5EF4-FFF2-40B4-BE49-F238E27FC236}">
                    <a16:creationId xmlns:a16="http://schemas.microsoft.com/office/drawing/2014/main" id="{3A8FF637-6599-613F-5748-EBB0A3D806D3}"/>
                  </a:ext>
                </a:extLst>
              </p:cNvPr>
              <p:cNvSpPr/>
              <p:nvPr/>
            </p:nvSpPr>
            <p:spPr>
              <a:xfrm>
                <a:off x="2121143" y="3751255"/>
                <a:ext cx="137101" cy="75824"/>
              </a:xfrm>
              <a:custGeom>
                <a:avLst/>
                <a:gdLst>
                  <a:gd name="connsiteX0" fmla="*/ 137102 w 137101"/>
                  <a:gd name="connsiteY0" fmla="*/ 25745 h 75824"/>
                  <a:gd name="connsiteX1" fmla="*/ 133311 w 137101"/>
                  <a:gd name="connsiteY1" fmla="*/ 22747 h 75824"/>
                  <a:gd name="connsiteX2" fmla="*/ 132164 w 137101"/>
                  <a:gd name="connsiteY2" fmla="*/ 19309 h 75824"/>
                  <a:gd name="connsiteX3" fmla="*/ 125728 w 137101"/>
                  <a:gd name="connsiteY3" fmla="*/ 15782 h 75824"/>
                  <a:gd name="connsiteX4" fmla="*/ 125464 w 137101"/>
                  <a:gd name="connsiteY4" fmla="*/ 16399 h 75824"/>
                  <a:gd name="connsiteX5" fmla="*/ 127139 w 137101"/>
                  <a:gd name="connsiteY5" fmla="*/ 18163 h 75824"/>
                  <a:gd name="connsiteX6" fmla="*/ 127756 w 137101"/>
                  <a:gd name="connsiteY6" fmla="*/ 18163 h 75824"/>
                  <a:gd name="connsiteX7" fmla="*/ 129519 w 137101"/>
                  <a:gd name="connsiteY7" fmla="*/ 18692 h 75824"/>
                  <a:gd name="connsiteX8" fmla="*/ 129784 w 137101"/>
                  <a:gd name="connsiteY8" fmla="*/ 20191 h 75824"/>
                  <a:gd name="connsiteX9" fmla="*/ 127756 w 137101"/>
                  <a:gd name="connsiteY9" fmla="*/ 21601 h 75824"/>
                  <a:gd name="connsiteX10" fmla="*/ 127139 w 137101"/>
                  <a:gd name="connsiteY10" fmla="*/ 21072 h 75824"/>
                  <a:gd name="connsiteX11" fmla="*/ 126610 w 137101"/>
                  <a:gd name="connsiteY11" fmla="*/ 21072 h 75824"/>
                  <a:gd name="connsiteX12" fmla="*/ 126874 w 137101"/>
                  <a:gd name="connsiteY12" fmla="*/ 20719 h 75824"/>
                  <a:gd name="connsiteX13" fmla="*/ 127756 w 137101"/>
                  <a:gd name="connsiteY13" fmla="*/ 19838 h 75824"/>
                  <a:gd name="connsiteX14" fmla="*/ 128373 w 137101"/>
                  <a:gd name="connsiteY14" fmla="*/ 20719 h 75824"/>
                  <a:gd name="connsiteX15" fmla="*/ 129167 w 137101"/>
                  <a:gd name="connsiteY15" fmla="*/ 19309 h 75824"/>
                  <a:gd name="connsiteX16" fmla="*/ 128902 w 137101"/>
                  <a:gd name="connsiteY16" fmla="*/ 18692 h 75824"/>
                  <a:gd name="connsiteX17" fmla="*/ 127139 w 137101"/>
                  <a:gd name="connsiteY17" fmla="*/ 19044 h 75824"/>
                  <a:gd name="connsiteX18" fmla="*/ 124229 w 137101"/>
                  <a:gd name="connsiteY18" fmla="*/ 20719 h 75824"/>
                  <a:gd name="connsiteX19" fmla="*/ 123700 w 137101"/>
                  <a:gd name="connsiteY19" fmla="*/ 18692 h 75824"/>
                  <a:gd name="connsiteX20" fmla="*/ 122819 w 137101"/>
                  <a:gd name="connsiteY20" fmla="*/ 19044 h 75824"/>
                  <a:gd name="connsiteX21" fmla="*/ 122819 w 137101"/>
                  <a:gd name="connsiteY21" fmla="*/ 17810 h 75824"/>
                  <a:gd name="connsiteX22" fmla="*/ 119909 w 137101"/>
                  <a:gd name="connsiteY22" fmla="*/ 15782 h 75824"/>
                  <a:gd name="connsiteX23" fmla="*/ 118146 w 137101"/>
                  <a:gd name="connsiteY23" fmla="*/ 15782 h 75824"/>
                  <a:gd name="connsiteX24" fmla="*/ 122201 w 137101"/>
                  <a:gd name="connsiteY24" fmla="*/ 19309 h 75824"/>
                  <a:gd name="connsiteX25" fmla="*/ 120438 w 137101"/>
                  <a:gd name="connsiteY25" fmla="*/ 19838 h 75824"/>
                  <a:gd name="connsiteX26" fmla="*/ 119556 w 137101"/>
                  <a:gd name="connsiteY26" fmla="*/ 18692 h 75824"/>
                  <a:gd name="connsiteX27" fmla="*/ 119556 w 137101"/>
                  <a:gd name="connsiteY27" fmla="*/ 18163 h 75824"/>
                  <a:gd name="connsiteX28" fmla="*/ 118146 w 137101"/>
                  <a:gd name="connsiteY28" fmla="*/ 17810 h 75824"/>
                  <a:gd name="connsiteX29" fmla="*/ 118146 w 137101"/>
                  <a:gd name="connsiteY29" fmla="*/ 16928 h 75824"/>
                  <a:gd name="connsiteX30" fmla="*/ 116999 w 137101"/>
                  <a:gd name="connsiteY30" fmla="*/ 16928 h 75824"/>
                  <a:gd name="connsiteX31" fmla="*/ 116647 w 137101"/>
                  <a:gd name="connsiteY31" fmla="*/ 15782 h 75824"/>
                  <a:gd name="connsiteX32" fmla="*/ 117264 w 137101"/>
                  <a:gd name="connsiteY32" fmla="*/ 14283 h 75824"/>
                  <a:gd name="connsiteX33" fmla="*/ 116382 w 137101"/>
                  <a:gd name="connsiteY33" fmla="*/ 12255 h 75824"/>
                  <a:gd name="connsiteX34" fmla="*/ 115236 w 137101"/>
                  <a:gd name="connsiteY34" fmla="*/ 13490 h 75824"/>
                  <a:gd name="connsiteX35" fmla="*/ 114619 w 137101"/>
                  <a:gd name="connsiteY35" fmla="*/ 11991 h 75824"/>
                  <a:gd name="connsiteX36" fmla="*/ 116647 w 137101"/>
                  <a:gd name="connsiteY36" fmla="*/ 11726 h 75824"/>
                  <a:gd name="connsiteX37" fmla="*/ 117264 w 137101"/>
                  <a:gd name="connsiteY37" fmla="*/ 13137 h 75824"/>
                  <a:gd name="connsiteX38" fmla="*/ 117264 w 137101"/>
                  <a:gd name="connsiteY38" fmla="*/ 12608 h 75824"/>
                  <a:gd name="connsiteX39" fmla="*/ 117528 w 137101"/>
                  <a:gd name="connsiteY39" fmla="*/ 12255 h 75824"/>
                  <a:gd name="connsiteX40" fmla="*/ 117528 w 137101"/>
                  <a:gd name="connsiteY40" fmla="*/ 12873 h 75824"/>
                  <a:gd name="connsiteX41" fmla="*/ 120791 w 137101"/>
                  <a:gd name="connsiteY41" fmla="*/ 12873 h 75824"/>
                  <a:gd name="connsiteX42" fmla="*/ 121320 w 137101"/>
                  <a:gd name="connsiteY42" fmla="*/ 14283 h 75824"/>
                  <a:gd name="connsiteX43" fmla="*/ 124846 w 137101"/>
                  <a:gd name="connsiteY43" fmla="*/ 16047 h 75824"/>
                  <a:gd name="connsiteX44" fmla="*/ 124846 w 137101"/>
                  <a:gd name="connsiteY44" fmla="*/ 15782 h 75824"/>
                  <a:gd name="connsiteX45" fmla="*/ 122466 w 137101"/>
                  <a:gd name="connsiteY45" fmla="*/ 14283 h 75824"/>
                  <a:gd name="connsiteX46" fmla="*/ 114354 w 137101"/>
                  <a:gd name="connsiteY46" fmla="*/ 4673 h 75824"/>
                  <a:gd name="connsiteX47" fmla="*/ 107654 w 137101"/>
                  <a:gd name="connsiteY47" fmla="*/ 3791 h 75824"/>
                  <a:gd name="connsiteX48" fmla="*/ 111092 w 137101"/>
                  <a:gd name="connsiteY48" fmla="*/ 5290 h 75824"/>
                  <a:gd name="connsiteX49" fmla="*/ 109946 w 137101"/>
                  <a:gd name="connsiteY49" fmla="*/ 5290 h 75824"/>
                  <a:gd name="connsiteX50" fmla="*/ 109064 w 137101"/>
                  <a:gd name="connsiteY50" fmla="*/ 5907 h 75824"/>
                  <a:gd name="connsiteX51" fmla="*/ 108183 w 137101"/>
                  <a:gd name="connsiteY51" fmla="*/ 6172 h 75824"/>
                  <a:gd name="connsiteX52" fmla="*/ 107654 w 137101"/>
                  <a:gd name="connsiteY52" fmla="*/ 5907 h 75824"/>
                  <a:gd name="connsiteX53" fmla="*/ 107036 w 137101"/>
                  <a:gd name="connsiteY53" fmla="*/ 6172 h 75824"/>
                  <a:gd name="connsiteX54" fmla="*/ 106155 w 137101"/>
                  <a:gd name="connsiteY54" fmla="*/ 5290 h 75824"/>
                  <a:gd name="connsiteX55" fmla="*/ 107036 w 137101"/>
                  <a:gd name="connsiteY55" fmla="*/ 3791 h 75824"/>
                  <a:gd name="connsiteX56" fmla="*/ 99718 w 137101"/>
                  <a:gd name="connsiteY56" fmla="*/ 882 h 75824"/>
                  <a:gd name="connsiteX57" fmla="*/ 98308 w 137101"/>
                  <a:gd name="connsiteY57" fmla="*/ 1234 h 75824"/>
                  <a:gd name="connsiteX58" fmla="*/ 94517 w 137101"/>
                  <a:gd name="connsiteY58" fmla="*/ 2998 h 75824"/>
                  <a:gd name="connsiteX59" fmla="*/ 87816 w 137101"/>
                  <a:gd name="connsiteY59" fmla="*/ 3527 h 75824"/>
                  <a:gd name="connsiteX60" fmla="*/ 83672 w 137101"/>
                  <a:gd name="connsiteY60" fmla="*/ 2381 h 75824"/>
                  <a:gd name="connsiteX61" fmla="*/ 83672 w 137101"/>
                  <a:gd name="connsiteY61" fmla="*/ 1499 h 75824"/>
                  <a:gd name="connsiteX62" fmla="*/ 81997 w 137101"/>
                  <a:gd name="connsiteY62" fmla="*/ 617 h 75824"/>
                  <a:gd name="connsiteX63" fmla="*/ 77324 w 137101"/>
                  <a:gd name="connsiteY63" fmla="*/ 0 h 75824"/>
                  <a:gd name="connsiteX64" fmla="*/ 76442 w 137101"/>
                  <a:gd name="connsiteY64" fmla="*/ 617 h 75824"/>
                  <a:gd name="connsiteX65" fmla="*/ 79352 w 137101"/>
                  <a:gd name="connsiteY65" fmla="*/ 617 h 75824"/>
                  <a:gd name="connsiteX66" fmla="*/ 77853 w 137101"/>
                  <a:gd name="connsiteY66" fmla="*/ 2645 h 75824"/>
                  <a:gd name="connsiteX67" fmla="*/ 72651 w 137101"/>
                  <a:gd name="connsiteY67" fmla="*/ 3527 h 75824"/>
                  <a:gd name="connsiteX68" fmla="*/ 68859 w 137101"/>
                  <a:gd name="connsiteY68" fmla="*/ 6436 h 75824"/>
                  <a:gd name="connsiteX69" fmla="*/ 65950 w 137101"/>
                  <a:gd name="connsiteY69" fmla="*/ 5555 h 75824"/>
                  <a:gd name="connsiteX70" fmla="*/ 60043 w 137101"/>
                  <a:gd name="connsiteY70" fmla="*/ 5555 h 75824"/>
                  <a:gd name="connsiteX71" fmla="*/ 55722 w 137101"/>
                  <a:gd name="connsiteY71" fmla="*/ 6789 h 75824"/>
                  <a:gd name="connsiteX72" fmla="*/ 47258 w 137101"/>
                  <a:gd name="connsiteY72" fmla="*/ 4408 h 75824"/>
                  <a:gd name="connsiteX73" fmla="*/ 45230 w 137101"/>
                  <a:gd name="connsiteY73" fmla="*/ 6172 h 75824"/>
                  <a:gd name="connsiteX74" fmla="*/ 43203 w 137101"/>
                  <a:gd name="connsiteY74" fmla="*/ 5555 h 75824"/>
                  <a:gd name="connsiteX75" fmla="*/ 41968 w 137101"/>
                  <a:gd name="connsiteY75" fmla="*/ 3262 h 75824"/>
                  <a:gd name="connsiteX76" fmla="*/ 42321 w 137101"/>
                  <a:gd name="connsiteY76" fmla="*/ 2381 h 75824"/>
                  <a:gd name="connsiteX77" fmla="*/ 41086 w 137101"/>
                  <a:gd name="connsiteY77" fmla="*/ 3527 h 75824"/>
                  <a:gd name="connsiteX78" fmla="*/ 39323 w 137101"/>
                  <a:gd name="connsiteY78" fmla="*/ 2645 h 75824"/>
                  <a:gd name="connsiteX79" fmla="*/ 34121 w 137101"/>
                  <a:gd name="connsiteY79" fmla="*/ 3791 h 75824"/>
                  <a:gd name="connsiteX80" fmla="*/ 35003 w 137101"/>
                  <a:gd name="connsiteY80" fmla="*/ 4673 h 75824"/>
                  <a:gd name="connsiteX81" fmla="*/ 33504 w 137101"/>
                  <a:gd name="connsiteY81" fmla="*/ 6172 h 75824"/>
                  <a:gd name="connsiteX82" fmla="*/ 32093 w 137101"/>
                  <a:gd name="connsiteY82" fmla="*/ 6172 h 75824"/>
                  <a:gd name="connsiteX83" fmla="*/ 30065 w 137101"/>
                  <a:gd name="connsiteY83" fmla="*/ 8464 h 75824"/>
                  <a:gd name="connsiteX84" fmla="*/ 28038 w 137101"/>
                  <a:gd name="connsiteY84" fmla="*/ 7053 h 75824"/>
                  <a:gd name="connsiteX85" fmla="*/ 27685 w 137101"/>
                  <a:gd name="connsiteY85" fmla="*/ 8200 h 75824"/>
                  <a:gd name="connsiteX86" fmla="*/ 25657 w 137101"/>
                  <a:gd name="connsiteY86" fmla="*/ 9081 h 75824"/>
                  <a:gd name="connsiteX87" fmla="*/ 17193 w 137101"/>
                  <a:gd name="connsiteY87" fmla="*/ 16928 h 75824"/>
                  <a:gd name="connsiteX88" fmla="*/ 9610 w 137101"/>
                  <a:gd name="connsiteY88" fmla="*/ 22218 h 75824"/>
                  <a:gd name="connsiteX89" fmla="*/ 6084 w 137101"/>
                  <a:gd name="connsiteY89" fmla="*/ 24246 h 75824"/>
                  <a:gd name="connsiteX90" fmla="*/ 4937 w 137101"/>
                  <a:gd name="connsiteY90" fmla="*/ 25393 h 75824"/>
                  <a:gd name="connsiteX91" fmla="*/ 5555 w 137101"/>
                  <a:gd name="connsiteY91" fmla="*/ 26274 h 75824"/>
                  <a:gd name="connsiteX92" fmla="*/ 4056 w 137101"/>
                  <a:gd name="connsiteY92" fmla="*/ 27773 h 75824"/>
                  <a:gd name="connsiteX93" fmla="*/ 4937 w 137101"/>
                  <a:gd name="connsiteY93" fmla="*/ 31829 h 75824"/>
                  <a:gd name="connsiteX94" fmla="*/ 5555 w 137101"/>
                  <a:gd name="connsiteY94" fmla="*/ 32446 h 75824"/>
                  <a:gd name="connsiteX95" fmla="*/ 4408 w 137101"/>
                  <a:gd name="connsiteY95" fmla="*/ 36237 h 75824"/>
                  <a:gd name="connsiteX96" fmla="*/ 2645 w 137101"/>
                  <a:gd name="connsiteY96" fmla="*/ 36237 h 75824"/>
                  <a:gd name="connsiteX97" fmla="*/ 2645 w 137101"/>
                  <a:gd name="connsiteY97" fmla="*/ 38530 h 75824"/>
                  <a:gd name="connsiteX98" fmla="*/ 0 w 137101"/>
                  <a:gd name="connsiteY98" fmla="*/ 38530 h 75824"/>
                  <a:gd name="connsiteX99" fmla="*/ 0 w 137101"/>
                  <a:gd name="connsiteY99" fmla="*/ 40028 h 75824"/>
                  <a:gd name="connsiteX100" fmla="*/ 6965 w 137101"/>
                  <a:gd name="connsiteY100" fmla="*/ 42056 h 75824"/>
                  <a:gd name="connsiteX101" fmla="*/ 7582 w 137101"/>
                  <a:gd name="connsiteY101" fmla="*/ 45230 h 75824"/>
                  <a:gd name="connsiteX102" fmla="*/ 9875 w 137101"/>
                  <a:gd name="connsiteY102" fmla="*/ 45848 h 75824"/>
                  <a:gd name="connsiteX103" fmla="*/ 11374 w 137101"/>
                  <a:gd name="connsiteY103" fmla="*/ 47611 h 75824"/>
                  <a:gd name="connsiteX104" fmla="*/ 12873 w 137101"/>
                  <a:gd name="connsiteY104" fmla="*/ 48140 h 75824"/>
                  <a:gd name="connsiteX105" fmla="*/ 13402 w 137101"/>
                  <a:gd name="connsiteY105" fmla="*/ 49639 h 75824"/>
                  <a:gd name="connsiteX106" fmla="*/ 15782 w 137101"/>
                  <a:gd name="connsiteY106" fmla="*/ 51049 h 75824"/>
                  <a:gd name="connsiteX107" fmla="*/ 17457 w 137101"/>
                  <a:gd name="connsiteY107" fmla="*/ 51049 h 75824"/>
                  <a:gd name="connsiteX108" fmla="*/ 17810 w 137101"/>
                  <a:gd name="connsiteY108" fmla="*/ 53695 h 75824"/>
                  <a:gd name="connsiteX109" fmla="*/ 20720 w 137101"/>
                  <a:gd name="connsiteY109" fmla="*/ 53695 h 75824"/>
                  <a:gd name="connsiteX110" fmla="*/ 20720 w 137101"/>
                  <a:gd name="connsiteY110" fmla="*/ 52813 h 75824"/>
                  <a:gd name="connsiteX111" fmla="*/ 22483 w 137101"/>
                  <a:gd name="connsiteY111" fmla="*/ 52813 h 75824"/>
                  <a:gd name="connsiteX112" fmla="*/ 23012 w 137101"/>
                  <a:gd name="connsiteY112" fmla="*/ 51931 h 75824"/>
                  <a:gd name="connsiteX113" fmla="*/ 23894 w 137101"/>
                  <a:gd name="connsiteY113" fmla="*/ 51049 h 75824"/>
                  <a:gd name="connsiteX114" fmla="*/ 24775 w 137101"/>
                  <a:gd name="connsiteY114" fmla="*/ 51049 h 75824"/>
                  <a:gd name="connsiteX115" fmla="*/ 27068 w 137101"/>
                  <a:gd name="connsiteY115" fmla="*/ 51402 h 75824"/>
                  <a:gd name="connsiteX116" fmla="*/ 28038 w 137101"/>
                  <a:gd name="connsiteY116" fmla="*/ 53695 h 75824"/>
                  <a:gd name="connsiteX117" fmla="*/ 29184 w 137101"/>
                  <a:gd name="connsiteY117" fmla="*/ 52813 h 75824"/>
                  <a:gd name="connsiteX118" fmla="*/ 30065 w 137101"/>
                  <a:gd name="connsiteY118" fmla="*/ 53166 h 75824"/>
                  <a:gd name="connsiteX119" fmla="*/ 30594 w 137101"/>
                  <a:gd name="connsiteY119" fmla="*/ 52813 h 75824"/>
                  <a:gd name="connsiteX120" fmla="*/ 32975 w 137101"/>
                  <a:gd name="connsiteY120" fmla="*/ 52813 h 75824"/>
                  <a:gd name="connsiteX121" fmla="*/ 34386 w 137101"/>
                  <a:gd name="connsiteY121" fmla="*/ 54841 h 75824"/>
                  <a:gd name="connsiteX122" fmla="*/ 33504 w 137101"/>
                  <a:gd name="connsiteY122" fmla="*/ 56957 h 75824"/>
                  <a:gd name="connsiteX123" fmla="*/ 34121 w 137101"/>
                  <a:gd name="connsiteY123" fmla="*/ 57750 h 75824"/>
                  <a:gd name="connsiteX124" fmla="*/ 32093 w 137101"/>
                  <a:gd name="connsiteY124" fmla="*/ 62423 h 75824"/>
                  <a:gd name="connsiteX125" fmla="*/ 32358 w 137101"/>
                  <a:gd name="connsiteY125" fmla="*/ 62776 h 75824"/>
                  <a:gd name="connsiteX126" fmla="*/ 33504 w 137101"/>
                  <a:gd name="connsiteY126" fmla="*/ 62776 h 75824"/>
                  <a:gd name="connsiteX127" fmla="*/ 33504 w 137101"/>
                  <a:gd name="connsiteY127" fmla="*/ 64187 h 75824"/>
                  <a:gd name="connsiteX128" fmla="*/ 31476 w 137101"/>
                  <a:gd name="connsiteY128" fmla="*/ 64187 h 75824"/>
                  <a:gd name="connsiteX129" fmla="*/ 30594 w 137101"/>
                  <a:gd name="connsiteY129" fmla="*/ 65333 h 75824"/>
                  <a:gd name="connsiteX130" fmla="*/ 31829 w 137101"/>
                  <a:gd name="connsiteY130" fmla="*/ 65333 h 75824"/>
                  <a:gd name="connsiteX131" fmla="*/ 33240 w 137101"/>
                  <a:gd name="connsiteY131" fmla="*/ 66567 h 75824"/>
                  <a:gd name="connsiteX132" fmla="*/ 34386 w 137101"/>
                  <a:gd name="connsiteY132" fmla="*/ 65685 h 75824"/>
                  <a:gd name="connsiteX133" fmla="*/ 35267 w 137101"/>
                  <a:gd name="connsiteY133" fmla="*/ 63658 h 75824"/>
                  <a:gd name="connsiteX134" fmla="*/ 35885 w 137101"/>
                  <a:gd name="connsiteY134" fmla="*/ 65333 h 75824"/>
                  <a:gd name="connsiteX135" fmla="*/ 35267 w 137101"/>
                  <a:gd name="connsiteY135" fmla="*/ 66214 h 75824"/>
                  <a:gd name="connsiteX136" fmla="*/ 38794 w 137101"/>
                  <a:gd name="connsiteY136" fmla="*/ 66567 h 75824"/>
                  <a:gd name="connsiteX137" fmla="*/ 38530 w 137101"/>
                  <a:gd name="connsiteY137" fmla="*/ 65333 h 75824"/>
                  <a:gd name="connsiteX138" fmla="*/ 39940 w 137101"/>
                  <a:gd name="connsiteY138" fmla="*/ 65068 h 75824"/>
                  <a:gd name="connsiteX139" fmla="*/ 40205 w 137101"/>
                  <a:gd name="connsiteY139" fmla="*/ 66214 h 75824"/>
                  <a:gd name="connsiteX140" fmla="*/ 39059 w 137101"/>
                  <a:gd name="connsiteY140" fmla="*/ 66567 h 75824"/>
                  <a:gd name="connsiteX141" fmla="*/ 37295 w 137101"/>
                  <a:gd name="connsiteY141" fmla="*/ 68595 h 75824"/>
                  <a:gd name="connsiteX142" fmla="*/ 38177 w 137101"/>
                  <a:gd name="connsiteY142" fmla="*/ 68595 h 75824"/>
                  <a:gd name="connsiteX143" fmla="*/ 38794 w 137101"/>
                  <a:gd name="connsiteY143" fmla="*/ 73003 h 75824"/>
                  <a:gd name="connsiteX144" fmla="*/ 41704 w 137101"/>
                  <a:gd name="connsiteY144" fmla="*/ 73003 h 75824"/>
                  <a:gd name="connsiteX145" fmla="*/ 40205 w 137101"/>
                  <a:gd name="connsiteY145" fmla="*/ 73797 h 75824"/>
                  <a:gd name="connsiteX146" fmla="*/ 41968 w 137101"/>
                  <a:gd name="connsiteY146" fmla="*/ 74679 h 75824"/>
                  <a:gd name="connsiteX147" fmla="*/ 41439 w 137101"/>
                  <a:gd name="connsiteY147" fmla="*/ 75825 h 75824"/>
                  <a:gd name="connsiteX148" fmla="*/ 47523 w 137101"/>
                  <a:gd name="connsiteY148" fmla="*/ 75825 h 75824"/>
                  <a:gd name="connsiteX149" fmla="*/ 50432 w 137101"/>
                  <a:gd name="connsiteY149" fmla="*/ 73003 h 75824"/>
                  <a:gd name="connsiteX150" fmla="*/ 49551 w 137101"/>
                  <a:gd name="connsiteY150" fmla="*/ 72386 h 75824"/>
                  <a:gd name="connsiteX151" fmla="*/ 50168 w 137101"/>
                  <a:gd name="connsiteY151" fmla="*/ 72034 h 75824"/>
                  <a:gd name="connsiteX152" fmla="*/ 49903 w 137101"/>
                  <a:gd name="connsiteY152" fmla="*/ 71240 h 75824"/>
                  <a:gd name="connsiteX153" fmla="*/ 50785 w 137101"/>
                  <a:gd name="connsiteY153" fmla="*/ 69477 h 75824"/>
                  <a:gd name="connsiteX154" fmla="*/ 52460 w 137101"/>
                  <a:gd name="connsiteY154" fmla="*/ 67978 h 75824"/>
                  <a:gd name="connsiteX155" fmla="*/ 54224 w 137101"/>
                  <a:gd name="connsiteY155" fmla="*/ 68859 h 75824"/>
                  <a:gd name="connsiteX156" fmla="*/ 55105 w 137101"/>
                  <a:gd name="connsiteY156" fmla="*/ 67978 h 75824"/>
                  <a:gd name="connsiteX157" fmla="*/ 54841 w 137101"/>
                  <a:gd name="connsiteY157" fmla="*/ 57221 h 75824"/>
                  <a:gd name="connsiteX158" fmla="*/ 60043 w 137101"/>
                  <a:gd name="connsiteY158" fmla="*/ 55193 h 75824"/>
                  <a:gd name="connsiteX159" fmla="*/ 62688 w 137101"/>
                  <a:gd name="connsiteY159" fmla="*/ 56957 h 75824"/>
                  <a:gd name="connsiteX160" fmla="*/ 64451 w 137101"/>
                  <a:gd name="connsiteY160" fmla="*/ 56340 h 75824"/>
                  <a:gd name="connsiteX161" fmla="*/ 69741 w 137101"/>
                  <a:gd name="connsiteY161" fmla="*/ 49639 h 75824"/>
                  <a:gd name="connsiteX162" fmla="*/ 71769 w 137101"/>
                  <a:gd name="connsiteY162" fmla="*/ 48757 h 75824"/>
                  <a:gd name="connsiteX163" fmla="*/ 71416 w 137101"/>
                  <a:gd name="connsiteY163" fmla="*/ 50785 h 75824"/>
                  <a:gd name="connsiteX164" fmla="*/ 73797 w 137101"/>
                  <a:gd name="connsiteY164" fmla="*/ 52548 h 75824"/>
                  <a:gd name="connsiteX165" fmla="*/ 75208 w 137101"/>
                  <a:gd name="connsiteY165" fmla="*/ 52548 h 75824"/>
                  <a:gd name="connsiteX166" fmla="*/ 75560 w 137101"/>
                  <a:gd name="connsiteY166" fmla="*/ 53695 h 75824"/>
                  <a:gd name="connsiteX167" fmla="*/ 76089 w 137101"/>
                  <a:gd name="connsiteY167" fmla="*/ 54576 h 75824"/>
                  <a:gd name="connsiteX168" fmla="*/ 77588 w 137101"/>
                  <a:gd name="connsiteY168" fmla="*/ 54576 h 75824"/>
                  <a:gd name="connsiteX169" fmla="*/ 77853 w 137101"/>
                  <a:gd name="connsiteY169" fmla="*/ 51402 h 75824"/>
                  <a:gd name="connsiteX170" fmla="*/ 78999 w 137101"/>
                  <a:gd name="connsiteY170" fmla="*/ 51402 h 75824"/>
                  <a:gd name="connsiteX171" fmla="*/ 82526 w 137101"/>
                  <a:gd name="connsiteY171" fmla="*/ 49374 h 75824"/>
                  <a:gd name="connsiteX172" fmla="*/ 82878 w 137101"/>
                  <a:gd name="connsiteY172" fmla="*/ 48140 h 75824"/>
                  <a:gd name="connsiteX173" fmla="*/ 83672 w 137101"/>
                  <a:gd name="connsiteY173" fmla="*/ 48140 h 75824"/>
                  <a:gd name="connsiteX174" fmla="*/ 85171 w 137101"/>
                  <a:gd name="connsiteY174" fmla="*/ 47258 h 75824"/>
                  <a:gd name="connsiteX175" fmla="*/ 86317 w 137101"/>
                  <a:gd name="connsiteY175" fmla="*/ 44701 h 75824"/>
                  <a:gd name="connsiteX176" fmla="*/ 87463 w 137101"/>
                  <a:gd name="connsiteY176" fmla="*/ 43467 h 75824"/>
                  <a:gd name="connsiteX177" fmla="*/ 88697 w 137101"/>
                  <a:gd name="connsiteY177" fmla="*/ 42938 h 75824"/>
                  <a:gd name="connsiteX178" fmla="*/ 89844 w 137101"/>
                  <a:gd name="connsiteY178" fmla="*/ 42938 h 75824"/>
                  <a:gd name="connsiteX179" fmla="*/ 91607 w 137101"/>
                  <a:gd name="connsiteY179" fmla="*/ 41704 h 75824"/>
                  <a:gd name="connsiteX180" fmla="*/ 90373 w 137101"/>
                  <a:gd name="connsiteY180" fmla="*/ 40557 h 75824"/>
                  <a:gd name="connsiteX181" fmla="*/ 92136 w 137101"/>
                  <a:gd name="connsiteY181" fmla="*/ 37119 h 75824"/>
                  <a:gd name="connsiteX182" fmla="*/ 91871 w 137101"/>
                  <a:gd name="connsiteY182" fmla="*/ 36237 h 75824"/>
                  <a:gd name="connsiteX183" fmla="*/ 93635 w 137101"/>
                  <a:gd name="connsiteY183" fmla="*/ 36766 h 75824"/>
                  <a:gd name="connsiteX184" fmla="*/ 94781 w 137101"/>
                  <a:gd name="connsiteY184" fmla="*/ 35620 h 75824"/>
                  <a:gd name="connsiteX185" fmla="*/ 94164 w 137101"/>
                  <a:gd name="connsiteY185" fmla="*/ 35620 h 75824"/>
                  <a:gd name="connsiteX186" fmla="*/ 94781 w 137101"/>
                  <a:gd name="connsiteY186" fmla="*/ 34738 h 75824"/>
                  <a:gd name="connsiteX187" fmla="*/ 94164 w 137101"/>
                  <a:gd name="connsiteY187" fmla="*/ 33857 h 75824"/>
                  <a:gd name="connsiteX188" fmla="*/ 99454 w 137101"/>
                  <a:gd name="connsiteY188" fmla="*/ 29801 h 75824"/>
                  <a:gd name="connsiteX189" fmla="*/ 101217 w 137101"/>
                  <a:gd name="connsiteY189" fmla="*/ 31212 h 75824"/>
                  <a:gd name="connsiteX190" fmla="*/ 100600 w 137101"/>
                  <a:gd name="connsiteY190" fmla="*/ 31829 h 75824"/>
                  <a:gd name="connsiteX191" fmla="*/ 100953 w 137101"/>
                  <a:gd name="connsiteY191" fmla="*/ 31829 h 75824"/>
                  <a:gd name="connsiteX192" fmla="*/ 100953 w 137101"/>
                  <a:gd name="connsiteY192" fmla="*/ 32446 h 75824"/>
                  <a:gd name="connsiteX193" fmla="*/ 104744 w 137101"/>
                  <a:gd name="connsiteY193" fmla="*/ 34209 h 75824"/>
                  <a:gd name="connsiteX194" fmla="*/ 105626 w 137101"/>
                  <a:gd name="connsiteY194" fmla="*/ 34209 h 75824"/>
                  <a:gd name="connsiteX195" fmla="*/ 105626 w 137101"/>
                  <a:gd name="connsiteY195" fmla="*/ 34738 h 75824"/>
                  <a:gd name="connsiteX196" fmla="*/ 107918 w 137101"/>
                  <a:gd name="connsiteY196" fmla="*/ 34738 h 75824"/>
                  <a:gd name="connsiteX197" fmla="*/ 109329 w 137101"/>
                  <a:gd name="connsiteY197" fmla="*/ 32446 h 75824"/>
                  <a:gd name="connsiteX198" fmla="*/ 109946 w 137101"/>
                  <a:gd name="connsiteY198" fmla="*/ 33857 h 75824"/>
                  <a:gd name="connsiteX199" fmla="*/ 111445 w 137101"/>
                  <a:gd name="connsiteY199" fmla="*/ 33857 h 75824"/>
                  <a:gd name="connsiteX200" fmla="*/ 111445 w 137101"/>
                  <a:gd name="connsiteY200" fmla="*/ 33328 h 75824"/>
                  <a:gd name="connsiteX201" fmla="*/ 112591 w 137101"/>
                  <a:gd name="connsiteY201" fmla="*/ 31212 h 75824"/>
                  <a:gd name="connsiteX202" fmla="*/ 113473 w 137101"/>
                  <a:gd name="connsiteY202" fmla="*/ 32446 h 75824"/>
                  <a:gd name="connsiteX203" fmla="*/ 115236 w 137101"/>
                  <a:gd name="connsiteY203" fmla="*/ 32093 h 75824"/>
                  <a:gd name="connsiteX204" fmla="*/ 115501 w 137101"/>
                  <a:gd name="connsiteY204" fmla="*/ 31212 h 75824"/>
                  <a:gd name="connsiteX205" fmla="*/ 115765 w 137101"/>
                  <a:gd name="connsiteY205" fmla="*/ 31212 h 75824"/>
                  <a:gd name="connsiteX206" fmla="*/ 119027 w 137101"/>
                  <a:gd name="connsiteY206" fmla="*/ 31829 h 75824"/>
                  <a:gd name="connsiteX207" fmla="*/ 119292 w 137101"/>
                  <a:gd name="connsiteY207" fmla="*/ 30683 h 75824"/>
                  <a:gd name="connsiteX208" fmla="*/ 120174 w 137101"/>
                  <a:gd name="connsiteY208" fmla="*/ 31212 h 75824"/>
                  <a:gd name="connsiteX209" fmla="*/ 120438 w 137101"/>
                  <a:gd name="connsiteY209" fmla="*/ 30947 h 75824"/>
                  <a:gd name="connsiteX210" fmla="*/ 123348 w 137101"/>
                  <a:gd name="connsiteY210" fmla="*/ 29448 h 75824"/>
                  <a:gd name="connsiteX211" fmla="*/ 124229 w 137101"/>
                  <a:gd name="connsiteY211" fmla="*/ 29801 h 75824"/>
                  <a:gd name="connsiteX212" fmla="*/ 123700 w 137101"/>
                  <a:gd name="connsiteY212" fmla="*/ 29184 h 75824"/>
                  <a:gd name="connsiteX213" fmla="*/ 124846 w 137101"/>
                  <a:gd name="connsiteY213" fmla="*/ 28655 h 75824"/>
                  <a:gd name="connsiteX214" fmla="*/ 125993 w 137101"/>
                  <a:gd name="connsiteY214" fmla="*/ 29184 h 75824"/>
                  <a:gd name="connsiteX215" fmla="*/ 128021 w 137101"/>
                  <a:gd name="connsiteY215" fmla="*/ 27420 h 75824"/>
                  <a:gd name="connsiteX216" fmla="*/ 127756 w 137101"/>
                  <a:gd name="connsiteY216" fmla="*/ 26891 h 75824"/>
                  <a:gd name="connsiteX217" fmla="*/ 128021 w 137101"/>
                  <a:gd name="connsiteY217" fmla="*/ 26627 h 75824"/>
                  <a:gd name="connsiteX218" fmla="*/ 128021 w 137101"/>
                  <a:gd name="connsiteY218" fmla="*/ 26274 h 75824"/>
                  <a:gd name="connsiteX219" fmla="*/ 128638 w 137101"/>
                  <a:gd name="connsiteY219" fmla="*/ 26274 h 75824"/>
                  <a:gd name="connsiteX220" fmla="*/ 128902 w 137101"/>
                  <a:gd name="connsiteY220" fmla="*/ 25128 h 75824"/>
                  <a:gd name="connsiteX221" fmla="*/ 130048 w 137101"/>
                  <a:gd name="connsiteY221" fmla="*/ 25745 h 75824"/>
                  <a:gd name="connsiteX222" fmla="*/ 131547 w 137101"/>
                  <a:gd name="connsiteY222" fmla="*/ 25128 h 75824"/>
                  <a:gd name="connsiteX223" fmla="*/ 132164 w 137101"/>
                  <a:gd name="connsiteY223" fmla="*/ 25745 h 75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</a:cxnLst>
                <a:rect l="l" t="t" r="r" b="b"/>
                <a:pathLst>
                  <a:path w="137101" h="75824">
                    <a:moveTo>
                      <a:pt x="137102" y="25745"/>
                    </a:moveTo>
                    <a:lnTo>
                      <a:pt x="133311" y="22747"/>
                    </a:lnTo>
                    <a:lnTo>
                      <a:pt x="132164" y="19309"/>
                    </a:lnTo>
                    <a:lnTo>
                      <a:pt x="125728" y="15782"/>
                    </a:lnTo>
                    <a:lnTo>
                      <a:pt x="125464" y="16399"/>
                    </a:lnTo>
                    <a:lnTo>
                      <a:pt x="127139" y="18163"/>
                    </a:lnTo>
                    <a:lnTo>
                      <a:pt x="127756" y="18163"/>
                    </a:lnTo>
                    <a:lnTo>
                      <a:pt x="129519" y="18692"/>
                    </a:lnTo>
                    <a:lnTo>
                      <a:pt x="129784" y="20191"/>
                    </a:lnTo>
                    <a:lnTo>
                      <a:pt x="127756" y="21601"/>
                    </a:lnTo>
                    <a:lnTo>
                      <a:pt x="127139" y="21072"/>
                    </a:lnTo>
                    <a:lnTo>
                      <a:pt x="126610" y="21072"/>
                    </a:lnTo>
                    <a:lnTo>
                      <a:pt x="126874" y="20719"/>
                    </a:lnTo>
                    <a:lnTo>
                      <a:pt x="127756" y="19838"/>
                    </a:lnTo>
                    <a:lnTo>
                      <a:pt x="128373" y="20719"/>
                    </a:lnTo>
                    <a:lnTo>
                      <a:pt x="129167" y="19309"/>
                    </a:lnTo>
                    <a:lnTo>
                      <a:pt x="128902" y="18692"/>
                    </a:lnTo>
                    <a:lnTo>
                      <a:pt x="127139" y="19044"/>
                    </a:lnTo>
                    <a:lnTo>
                      <a:pt x="124229" y="20719"/>
                    </a:lnTo>
                    <a:lnTo>
                      <a:pt x="123700" y="18692"/>
                    </a:lnTo>
                    <a:lnTo>
                      <a:pt x="122819" y="19044"/>
                    </a:lnTo>
                    <a:lnTo>
                      <a:pt x="122819" y="17810"/>
                    </a:lnTo>
                    <a:lnTo>
                      <a:pt x="119909" y="15782"/>
                    </a:lnTo>
                    <a:lnTo>
                      <a:pt x="118146" y="15782"/>
                    </a:lnTo>
                    <a:lnTo>
                      <a:pt x="122201" y="19309"/>
                    </a:lnTo>
                    <a:lnTo>
                      <a:pt x="120438" y="19838"/>
                    </a:lnTo>
                    <a:lnTo>
                      <a:pt x="119556" y="18692"/>
                    </a:lnTo>
                    <a:lnTo>
                      <a:pt x="119556" y="18163"/>
                    </a:lnTo>
                    <a:lnTo>
                      <a:pt x="118146" y="17810"/>
                    </a:lnTo>
                    <a:lnTo>
                      <a:pt x="118146" y="16928"/>
                    </a:lnTo>
                    <a:lnTo>
                      <a:pt x="116999" y="16928"/>
                    </a:lnTo>
                    <a:lnTo>
                      <a:pt x="116647" y="15782"/>
                    </a:lnTo>
                    <a:lnTo>
                      <a:pt x="117264" y="14283"/>
                    </a:lnTo>
                    <a:lnTo>
                      <a:pt x="116382" y="12255"/>
                    </a:lnTo>
                    <a:lnTo>
                      <a:pt x="115236" y="13490"/>
                    </a:lnTo>
                    <a:lnTo>
                      <a:pt x="114619" y="11991"/>
                    </a:lnTo>
                    <a:lnTo>
                      <a:pt x="116647" y="11726"/>
                    </a:lnTo>
                    <a:lnTo>
                      <a:pt x="117264" y="13137"/>
                    </a:lnTo>
                    <a:lnTo>
                      <a:pt x="117264" y="12608"/>
                    </a:lnTo>
                    <a:lnTo>
                      <a:pt x="117528" y="12255"/>
                    </a:lnTo>
                    <a:lnTo>
                      <a:pt x="117528" y="12873"/>
                    </a:lnTo>
                    <a:lnTo>
                      <a:pt x="120791" y="12873"/>
                    </a:lnTo>
                    <a:lnTo>
                      <a:pt x="121320" y="14283"/>
                    </a:lnTo>
                    <a:lnTo>
                      <a:pt x="124846" y="16047"/>
                    </a:lnTo>
                    <a:lnTo>
                      <a:pt x="124846" y="15782"/>
                    </a:lnTo>
                    <a:lnTo>
                      <a:pt x="122466" y="14283"/>
                    </a:lnTo>
                    <a:lnTo>
                      <a:pt x="114354" y="4673"/>
                    </a:lnTo>
                    <a:lnTo>
                      <a:pt x="107654" y="3791"/>
                    </a:lnTo>
                    <a:lnTo>
                      <a:pt x="111092" y="5290"/>
                    </a:lnTo>
                    <a:lnTo>
                      <a:pt x="109946" y="5290"/>
                    </a:lnTo>
                    <a:lnTo>
                      <a:pt x="109064" y="5907"/>
                    </a:lnTo>
                    <a:lnTo>
                      <a:pt x="108183" y="6172"/>
                    </a:lnTo>
                    <a:lnTo>
                      <a:pt x="107654" y="5907"/>
                    </a:lnTo>
                    <a:lnTo>
                      <a:pt x="107036" y="6172"/>
                    </a:lnTo>
                    <a:lnTo>
                      <a:pt x="106155" y="5290"/>
                    </a:lnTo>
                    <a:lnTo>
                      <a:pt x="107036" y="3791"/>
                    </a:lnTo>
                    <a:lnTo>
                      <a:pt x="99718" y="882"/>
                    </a:lnTo>
                    <a:lnTo>
                      <a:pt x="98308" y="1234"/>
                    </a:lnTo>
                    <a:lnTo>
                      <a:pt x="94517" y="2998"/>
                    </a:lnTo>
                    <a:lnTo>
                      <a:pt x="87816" y="3527"/>
                    </a:lnTo>
                    <a:lnTo>
                      <a:pt x="83672" y="2381"/>
                    </a:lnTo>
                    <a:lnTo>
                      <a:pt x="83672" y="1499"/>
                    </a:lnTo>
                    <a:lnTo>
                      <a:pt x="81997" y="617"/>
                    </a:lnTo>
                    <a:lnTo>
                      <a:pt x="77324" y="0"/>
                    </a:lnTo>
                    <a:lnTo>
                      <a:pt x="76442" y="617"/>
                    </a:lnTo>
                    <a:lnTo>
                      <a:pt x="79352" y="617"/>
                    </a:lnTo>
                    <a:lnTo>
                      <a:pt x="77853" y="2645"/>
                    </a:lnTo>
                    <a:lnTo>
                      <a:pt x="72651" y="3527"/>
                    </a:lnTo>
                    <a:lnTo>
                      <a:pt x="68859" y="6436"/>
                    </a:lnTo>
                    <a:lnTo>
                      <a:pt x="65950" y="5555"/>
                    </a:lnTo>
                    <a:lnTo>
                      <a:pt x="60043" y="5555"/>
                    </a:lnTo>
                    <a:lnTo>
                      <a:pt x="55722" y="6789"/>
                    </a:lnTo>
                    <a:lnTo>
                      <a:pt x="47258" y="4408"/>
                    </a:lnTo>
                    <a:lnTo>
                      <a:pt x="45230" y="6172"/>
                    </a:lnTo>
                    <a:lnTo>
                      <a:pt x="43203" y="5555"/>
                    </a:lnTo>
                    <a:lnTo>
                      <a:pt x="41968" y="3262"/>
                    </a:lnTo>
                    <a:lnTo>
                      <a:pt x="42321" y="2381"/>
                    </a:lnTo>
                    <a:lnTo>
                      <a:pt x="41086" y="3527"/>
                    </a:lnTo>
                    <a:lnTo>
                      <a:pt x="39323" y="2645"/>
                    </a:lnTo>
                    <a:lnTo>
                      <a:pt x="34121" y="3791"/>
                    </a:lnTo>
                    <a:lnTo>
                      <a:pt x="35003" y="4673"/>
                    </a:lnTo>
                    <a:lnTo>
                      <a:pt x="33504" y="6172"/>
                    </a:lnTo>
                    <a:lnTo>
                      <a:pt x="32093" y="6172"/>
                    </a:lnTo>
                    <a:lnTo>
                      <a:pt x="30065" y="8464"/>
                    </a:lnTo>
                    <a:lnTo>
                      <a:pt x="28038" y="7053"/>
                    </a:lnTo>
                    <a:lnTo>
                      <a:pt x="27685" y="8200"/>
                    </a:lnTo>
                    <a:lnTo>
                      <a:pt x="25657" y="9081"/>
                    </a:lnTo>
                    <a:lnTo>
                      <a:pt x="17193" y="16928"/>
                    </a:lnTo>
                    <a:lnTo>
                      <a:pt x="9610" y="22218"/>
                    </a:lnTo>
                    <a:lnTo>
                      <a:pt x="6084" y="24246"/>
                    </a:lnTo>
                    <a:lnTo>
                      <a:pt x="4937" y="25393"/>
                    </a:lnTo>
                    <a:lnTo>
                      <a:pt x="5555" y="26274"/>
                    </a:lnTo>
                    <a:lnTo>
                      <a:pt x="4056" y="27773"/>
                    </a:lnTo>
                    <a:lnTo>
                      <a:pt x="4937" y="31829"/>
                    </a:lnTo>
                    <a:lnTo>
                      <a:pt x="5555" y="32446"/>
                    </a:lnTo>
                    <a:lnTo>
                      <a:pt x="4408" y="36237"/>
                    </a:lnTo>
                    <a:lnTo>
                      <a:pt x="2645" y="36237"/>
                    </a:lnTo>
                    <a:lnTo>
                      <a:pt x="2645" y="38530"/>
                    </a:lnTo>
                    <a:lnTo>
                      <a:pt x="0" y="38530"/>
                    </a:lnTo>
                    <a:lnTo>
                      <a:pt x="0" y="40028"/>
                    </a:lnTo>
                    <a:lnTo>
                      <a:pt x="6965" y="42056"/>
                    </a:lnTo>
                    <a:lnTo>
                      <a:pt x="7582" y="45230"/>
                    </a:lnTo>
                    <a:lnTo>
                      <a:pt x="9875" y="45848"/>
                    </a:lnTo>
                    <a:lnTo>
                      <a:pt x="11374" y="47611"/>
                    </a:lnTo>
                    <a:lnTo>
                      <a:pt x="12873" y="48140"/>
                    </a:lnTo>
                    <a:lnTo>
                      <a:pt x="13402" y="49639"/>
                    </a:lnTo>
                    <a:lnTo>
                      <a:pt x="15782" y="51049"/>
                    </a:lnTo>
                    <a:lnTo>
                      <a:pt x="17457" y="51049"/>
                    </a:lnTo>
                    <a:lnTo>
                      <a:pt x="17810" y="53695"/>
                    </a:lnTo>
                    <a:lnTo>
                      <a:pt x="20720" y="53695"/>
                    </a:lnTo>
                    <a:lnTo>
                      <a:pt x="20720" y="52813"/>
                    </a:lnTo>
                    <a:lnTo>
                      <a:pt x="22483" y="52813"/>
                    </a:lnTo>
                    <a:lnTo>
                      <a:pt x="23012" y="51931"/>
                    </a:lnTo>
                    <a:lnTo>
                      <a:pt x="23894" y="51049"/>
                    </a:lnTo>
                    <a:lnTo>
                      <a:pt x="24775" y="51049"/>
                    </a:lnTo>
                    <a:lnTo>
                      <a:pt x="27068" y="51402"/>
                    </a:lnTo>
                    <a:lnTo>
                      <a:pt x="28038" y="53695"/>
                    </a:lnTo>
                    <a:lnTo>
                      <a:pt x="29184" y="52813"/>
                    </a:lnTo>
                    <a:lnTo>
                      <a:pt x="30065" y="53166"/>
                    </a:lnTo>
                    <a:lnTo>
                      <a:pt x="30594" y="52813"/>
                    </a:lnTo>
                    <a:lnTo>
                      <a:pt x="32975" y="52813"/>
                    </a:lnTo>
                    <a:lnTo>
                      <a:pt x="34386" y="54841"/>
                    </a:lnTo>
                    <a:lnTo>
                      <a:pt x="33504" y="56957"/>
                    </a:lnTo>
                    <a:lnTo>
                      <a:pt x="34121" y="57750"/>
                    </a:lnTo>
                    <a:lnTo>
                      <a:pt x="32093" y="62423"/>
                    </a:lnTo>
                    <a:lnTo>
                      <a:pt x="32358" y="62776"/>
                    </a:lnTo>
                    <a:lnTo>
                      <a:pt x="33504" y="62776"/>
                    </a:lnTo>
                    <a:lnTo>
                      <a:pt x="33504" y="64187"/>
                    </a:lnTo>
                    <a:lnTo>
                      <a:pt x="31476" y="64187"/>
                    </a:lnTo>
                    <a:lnTo>
                      <a:pt x="30594" y="65333"/>
                    </a:lnTo>
                    <a:lnTo>
                      <a:pt x="31829" y="65333"/>
                    </a:lnTo>
                    <a:lnTo>
                      <a:pt x="33240" y="66567"/>
                    </a:lnTo>
                    <a:lnTo>
                      <a:pt x="34386" y="65685"/>
                    </a:lnTo>
                    <a:lnTo>
                      <a:pt x="35267" y="63658"/>
                    </a:lnTo>
                    <a:lnTo>
                      <a:pt x="35885" y="65333"/>
                    </a:lnTo>
                    <a:lnTo>
                      <a:pt x="35267" y="66214"/>
                    </a:lnTo>
                    <a:lnTo>
                      <a:pt x="38794" y="66567"/>
                    </a:lnTo>
                    <a:lnTo>
                      <a:pt x="38530" y="65333"/>
                    </a:lnTo>
                    <a:lnTo>
                      <a:pt x="39940" y="65068"/>
                    </a:lnTo>
                    <a:lnTo>
                      <a:pt x="40205" y="66214"/>
                    </a:lnTo>
                    <a:lnTo>
                      <a:pt x="39059" y="66567"/>
                    </a:lnTo>
                    <a:lnTo>
                      <a:pt x="37295" y="68595"/>
                    </a:lnTo>
                    <a:lnTo>
                      <a:pt x="38177" y="68595"/>
                    </a:lnTo>
                    <a:lnTo>
                      <a:pt x="38794" y="73003"/>
                    </a:lnTo>
                    <a:lnTo>
                      <a:pt x="41704" y="73003"/>
                    </a:lnTo>
                    <a:lnTo>
                      <a:pt x="40205" y="73797"/>
                    </a:lnTo>
                    <a:lnTo>
                      <a:pt x="41968" y="74679"/>
                    </a:lnTo>
                    <a:lnTo>
                      <a:pt x="41439" y="75825"/>
                    </a:lnTo>
                    <a:lnTo>
                      <a:pt x="47523" y="75825"/>
                    </a:lnTo>
                    <a:lnTo>
                      <a:pt x="50432" y="73003"/>
                    </a:lnTo>
                    <a:lnTo>
                      <a:pt x="49551" y="72386"/>
                    </a:lnTo>
                    <a:lnTo>
                      <a:pt x="50168" y="72034"/>
                    </a:lnTo>
                    <a:lnTo>
                      <a:pt x="49903" y="71240"/>
                    </a:lnTo>
                    <a:lnTo>
                      <a:pt x="50785" y="69477"/>
                    </a:lnTo>
                    <a:lnTo>
                      <a:pt x="52460" y="67978"/>
                    </a:lnTo>
                    <a:lnTo>
                      <a:pt x="54224" y="68859"/>
                    </a:lnTo>
                    <a:lnTo>
                      <a:pt x="55105" y="67978"/>
                    </a:lnTo>
                    <a:lnTo>
                      <a:pt x="54841" y="57221"/>
                    </a:lnTo>
                    <a:lnTo>
                      <a:pt x="60043" y="55193"/>
                    </a:lnTo>
                    <a:lnTo>
                      <a:pt x="62688" y="56957"/>
                    </a:lnTo>
                    <a:lnTo>
                      <a:pt x="64451" y="56340"/>
                    </a:lnTo>
                    <a:lnTo>
                      <a:pt x="69741" y="49639"/>
                    </a:lnTo>
                    <a:lnTo>
                      <a:pt x="71769" y="48757"/>
                    </a:lnTo>
                    <a:lnTo>
                      <a:pt x="71416" y="50785"/>
                    </a:lnTo>
                    <a:lnTo>
                      <a:pt x="73797" y="52548"/>
                    </a:lnTo>
                    <a:lnTo>
                      <a:pt x="75208" y="52548"/>
                    </a:lnTo>
                    <a:lnTo>
                      <a:pt x="75560" y="53695"/>
                    </a:lnTo>
                    <a:lnTo>
                      <a:pt x="76089" y="54576"/>
                    </a:lnTo>
                    <a:lnTo>
                      <a:pt x="77588" y="54576"/>
                    </a:lnTo>
                    <a:lnTo>
                      <a:pt x="77853" y="51402"/>
                    </a:lnTo>
                    <a:lnTo>
                      <a:pt x="78999" y="51402"/>
                    </a:lnTo>
                    <a:lnTo>
                      <a:pt x="82526" y="49374"/>
                    </a:lnTo>
                    <a:lnTo>
                      <a:pt x="82878" y="48140"/>
                    </a:lnTo>
                    <a:lnTo>
                      <a:pt x="83672" y="48140"/>
                    </a:lnTo>
                    <a:lnTo>
                      <a:pt x="85171" y="47258"/>
                    </a:lnTo>
                    <a:lnTo>
                      <a:pt x="86317" y="44701"/>
                    </a:lnTo>
                    <a:lnTo>
                      <a:pt x="87463" y="43467"/>
                    </a:lnTo>
                    <a:lnTo>
                      <a:pt x="88697" y="42938"/>
                    </a:lnTo>
                    <a:lnTo>
                      <a:pt x="89844" y="42938"/>
                    </a:lnTo>
                    <a:lnTo>
                      <a:pt x="91607" y="41704"/>
                    </a:lnTo>
                    <a:lnTo>
                      <a:pt x="90373" y="40557"/>
                    </a:lnTo>
                    <a:lnTo>
                      <a:pt x="92136" y="37119"/>
                    </a:lnTo>
                    <a:lnTo>
                      <a:pt x="91871" y="36237"/>
                    </a:lnTo>
                    <a:lnTo>
                      <a:pt x="93635" y="36766"/>
                    </a:lnTo>
                    <a:lnTo>
                      <a:pt x="94781" y="35620"/>
                    </a:lnTo>
                    <a:lnTo>
                      <a:pt x="94164" y="35620"/>
                    </a:lnTo>
                    <a:lnTo>
                      <a:pt x="94781" y="34738"/>
                    </a:lnTo>
                    <a:lnTo>
                      <a:pt x="94164" y="33857"/>
                    </a:lnTo>
                    <a:lnTo>
                      <a:pt x="99454" y="29801"/>
                    </a:lnTo>
                    <a:lnTo>
                      <a:pt x="101217" y="31212"/>
                    </a:lnTo>
                    <a:lnTo>
                      <a:pt x="100600" y="31829"/>
                    </a:lnTo>
                    <a:lnTo>
                      <a:pt x="100953" y="31829"/>
                    </a:lnTo>
                    <a:lnTo>
                      <a:pt x="100953" y="32446"/>
                    </a:lnTo>
                    <a:lnTo>
                      <a:pt x="104744" y="34209"/>
                    </a:lnTo>
                    <a:lnTo>
                      <a:pt x="105626" y="34209"/>
                    </a:lnTo>
                    <a:lnTo>
                      <a:pt x="105626" y="34738"/>
                    </a:lnTo>
                    <a:lnTo>
                      <a:pt x="107918" y="34738"/>
                    </a:lnTo>
                    <a:lnTo>
                      <a:pt x="109329" y="32446"/>
                    </a:lnTo>
                    <a:lnTo>
                      <a:pt x="109946" y="33857"/>
                    </a:lnTo>
                    <a:lnTo>
                      <a:pt x="111445" y="33857"/>
                    </a:lnTo>
                    <a:lnTo>
                      <a:pt x="111445" y="33328"/>
                    </a:lnTo>
                    <a:lnTo>
                      <a:pt x="112591" y="31212"/>
                    </a:lnTo>
                    <a:lnTo>
                      <a:pt x="113473" y="32446"/>
                    </a:lnTo>
                    <a:lnTo>
                      <a:pt x="115236" y="32093"/>
                    </a:lnTo>
                    <a:lnTo>
                      <a:pt x="115501" y="31212"/>
                    </a:lnTo>
                    <a:lnTo>
                      <a:pt x="115765" y="31212"/>
                    </a:lnTo>
                    <a:lnTo>
                      <a:pt x="119027" y="31829"/>
                    </a:lnTo>
                    <a:lnTo>
                      <a:pt x="119292" y="30683"/>
                    </a:lnTo>
                    <a:lnTo>
                      <a:pt x="120174" y="31212"/>
                    </a:lnTo>
                    <a:lnTo>
                      <a:pt x="120438" y="30947"/>
                    </a:lnTo>
                    <a:lnTo>
                      <a:pt x="123348" y="29448"/>
                    </a:lnTo>
                    <a:lnTo>
                      <a:pt x="124229" y="29801"/>
                    </a:lnTo>
                    <a:lnTo>
                      <a:pt x="123700" y="29184"/>
                    </a:lnTo>
                    <a:lnTo>
                      <a:pt x="124846" y="28655"/>
                    </a:lnTo>
                    <a:lnTo>
                      <a:pt x="125993" y="29184"/>
                    </a:lnTo>
                    <a:lnTo>
                      <a:pt x="128021" y="27420"/>
                    </a:lnTo>
                    <a:lnTo>
                      <a:pt x="127756" y="26891"/>
                    </a:lnTo>
                    <a:lnTo>
                      <a:pt x="128021" y="26627"/>
                    </a:lnTo>
                    <a:lnTo>
                      <a:pt x="128021" y="26274"/>
                    </a:lnTo>
                    <a:lnTo>
                      <a:pt x="128638" y="26274"/>
                    </a:lnTo>
                    <a:lnTo>
                      <a:pt x="128902" y="25128"/>
                    </a:lnTo>
                    <a:lnTo>
                      <a:pt x="130048" y="25745"/>
                    </a:lnTo>
                    <a:lnTo>
                      <a:pt x="131547" y="25128"/>
                    </a:lnTo>
                    <a:lnTo>
                      <a:pt x="132164" y="257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7" name="Freihandform: Form 1756">
                <a:extLst>
                  <a:ext uri="{FF2B5EF4-FFF2-40B4-BE49-F238E27FC236}">
                    <a16:creationId xmlns:a16="http://schemas.microsoft.com/office/drawing/2014/main" id="{7085E184-F4E2-D46B-4A4F-3DEEC1A92CCA}"/>
                  </a:ext>
                </a:extLst>
              </p:cNvPr>
              <p:cNvSpPr/>
              <p:nvPr/>
            </p:nvSpPr>
            <p:spPr>
              <a:xfrm>
                <a:off x="2720864" y="3937643"/>
                <a:ext cx="105890" cy="183478"/>
              </a:xfrm>
              <a:custGeom>
                <a:avLst/>
                <a:gdLst>
                  <a:gd name="connsiteX0" fmla="*/ 33240 w 105890"/>
                  <a:gd name="connsiteY0" fmla="*/ 0 h 183478"/>
                  <a:gd name="connsiteX1" fmla="*/ 36766 w 105890"/>
                  <a:gd name="connsiteY1" fmla="*/ 6701 h 183478"/>
                  <a:gd name="connsiteX2" fmla="*/ 33504 w 105890"/>
                  <a:gd name="connsiteY2" fmla="*/ 8200 h 183478"/>
                  <a:gd name="connsiteX3" fmla="*/ 30330 w 105890"/>
                  <a:gd name="connsiteY3" fmla="*/ 12255 h 183478"/>
                  <a:gd name="connsiteX4" fmla="*/ 27068 w 105890"/>
                  <a:gd name="connsiteY4" fmla="*/ 14019 h 183478"/>
                  <a:gd name="connsiteX5" fmla="*/ 20631 w 105890"/>
                  <a:gd name="connsiteY5" fmla="*/ 17810 h 183478"/>
                  <a:gd name="connsiteX6" fmla="*/ 19221 w 105890"/>
                  <a:gd name="connsiteY6" fmla="*/ 22483 h 183478"/>
                  <a:gd name="connsiteX7" fmla="*/ 17193 w 105890"/>
                  <a:gd name="connsiteY7" fmla="*/ 24511 h 183478"/>
                  <a:gd name="connsiteX8" fmla="*/ 17193 w 105890"/>
                  <a:gd name="connsiteY8" fmla="*/ 28302 h 183478"/>
                  <a:gd name="connsiteX9" fmla="*/ 17457 w 105890"/>
                  <a:gd name="connsiteY9" fmla="*/ 32093 h 183478"/>
                  <a:gd name="connsiteX10" fmla="*/ 19838 w 105890"/>
                  <a:gd name="connsiteY10" fmla="*/ 35356 h 183478"/>
                  <a:gd name="connsiteX11" fmla="*/ 23629 w 105890"/>
                  <a:gd name="connsiteY11" fmla="*/ 33592 h 183478"/>
                  <a:gd name="connsiteX12" fmla="*/ 25040 w 105890"/>
                  <a:gd name="connsiteY12" fmla="*/ 37383 h 183478"/>
                  <a:gd name="connsiteX13" fmla="*/ 22395 w 105890"/>
                  <a:gd name="connsiteY13" fmla="*/ 39676 h 183478"/>
                  <a:gd name="connsiteX14" fmla="*/ 17193 w 105890"/>
                  <a:gd name="connsiteY14" fmla="*/ 42585 h 183478"/>
                  <a:gd name="connsiteX15" fmla="*/ 11638 w 105890"/>
                  <a:gd name="connsiteY15" fmla="*/ 42850 h 183478"/>
                  <a:gd name="connsiteX16" fmla="*/ 6084 w 105890"/>
                  <a:gd name="connsiteY16" fmla="*/ 45230 h 183478"/>
                  <a:gd name="connsiteX17" fmla="*/ 5819 w 105890"/>
                  <a:gd name="connsiteY17" fmla="*/ 52813 h 183478"/>
                  <a:gd name="connsiteX18" fmla="*/ 2910 w 105890"/>
                  <a:gd name="connsiteY18" fmla="*/ 60395 h 183478"/>
                  <a:gd name="connsiteX19" fmla="*/ 0 w 105890"/>
                  <a:gd name="connsiteY19" fmla="*/ 64187 h 183478"/>
                  <a:gd name="connsiteX20" fmla="*/ 13666 w 105890"/>
                  <a:gd name="connsiteY20" fmla="*/ 83407 h 183478"/>
                  <a:gd name="connsiteX21" fmla="*/ 14812 w 105890"/>
                  <a:gd name="connsiteY21" fmla="*/ 82878 h 183478"/>
                  <a:gd name="connsiteX22" fmla="*/ 21249 w 105890"/>
                  <a:gd name="connsiteY22" fmla="*/ 82878 h 183478"/>
                  <a:gd name="connsiteX23" fmla="*/ 24511 w 105890"/>
                  <a:gd name="connsiteY23" fmla="*/ 81996 h 183478"/>
                  <a:gd name="connsiteX24" fmla="*/ 26539 w 105890"/>
                  <a:gd name="connsiteY24" fmla="*/ 82525 h 183478"/>
                  <a:gd name="connsiteX25" fmla="*/ 28302 w 105890"/>
                  <a:gd name="connsiteY25" fmla="*/ 84024 h 183478"/>
                  <a:gd name="connsiteX26" fmla="*/ 29096 w 105890"/>
                  <a:gd name="connsiteY26" fmla="*/ 96015 h 183478"/>
                  <a:gd name="connsiteX27" fmla="*/ 26539 w 105890"/>
                  <a:gd name="connsiteY27" fmla="*/ 98572 h 183478"/>
                  <a:gd name="connsiteX28" fmla="*/ 30594 w 105890"/>
                  <a:gd name="connsiteY28" fmla="*/ 100336 h 183478"/>
                  <a:gd name="connsiteX29" fmla="*/ 33769 w 105890"/>
                  <a:gd name="connsiteY29" fmla="*/ 101482 h 183478"/>
                  <a:gd name="connsiteX30" fmla="*/ 35267 w 105890"/>
                  <a:gd name="connsiteY30" fmla="*/ 105273 h 183478"/>
                  <a:gd name="connsiteX31" fmla="*/ 36149 w 105890"/>
                  <a:gd name="connsiteY31" fmla="*/ 108800 h 183478"/>
                  <a:gd name="connsiteX32" fmla="*/ 37031 w 105890"/>
                  <a:gd name="connsiteY32" fmla="*/ 111180 h 183478"/>
                  <a:gd name="connsiteX33" fmla="*/ 40205 w 105890"/>
                  <a:gd name="connsiteY33" fmla="*/ 114619 h 183478"/>
                  <a:gd name="connsiteX34" fmla="*/ 38441 w 105890"/>
                  <a:gd name="connsiteY34" fmla="*/ 117881 h 183478"/>
                  <a:gd name="connsiteX35" fmla="*/ 36414 w 105890"/>
                  <a:gd name="connsiteY35" fmla="*/ 120438 h 183478"/>
                  <a:gd name="connsiteX36" fmla="*/ 32622 w 105890"/>
                  <a:gd name="connsiteY36" fmla="*/ 129255 h 183478"/>
                  <a:gd name="connsiteX37" fmla="*/ 29096 w 105890"/>
                  <a:gd name="connsiteY37" fmla="*/ 146448 h 183478"/>
                  <a:gd name="connsiteX38" fmla="*/ 30330 w 105890"/>
                  <a:gd name="connsiteY38" fmla="*/ 153766 h 183478"/>
                  <a:gd name="connsiteX39" fmla="*/ 34121 w 105890"/>
                  <a:gd name="connsiteY39" fmla="*/ 166815 h 183478"/>
                  <a:gd name="connsiteX40" fmla="*/ 36766 w 105890"/>
                  <a:gd name="connsiteY40" fmla="*/ 166815 h 183478"/>
                  <a:gd name="connsiteX41" fmla="*/ 39059 w 105890"/>
                  <a:gd name="connsiteY41" fmla="*/ 169812 h 183478"/>
                  <a:gd name="connsiteX42" fmla="*/ 43114 w 105890"/>
                  <a:gd name="connsiteY42" fmla="*/ 175014 h 183478"/>
                  <a:gd name="connsiteX43" fmla="*/ 44613 w 105890"/>
                  <a:gd name="connsiteY43" fmla="*/ 178276 h 183478"/>
                  <a:gd name="connsiteX44" fmla="*/ 52460 w 105890"/>
                  <a:gd name="connsiteY44" fmla="*/ 181098 h 183478"/>
                  <a:gd name="connsiteX45" fmla="*/ 53959 w 105890"/>
                  <a:gd name="connsiteY45" fmla="*/ 183478 h 183478"/>
                  <a:gd name="connsiteX46" fmla="*/ 56516 w 105890"/>
                  <a:gd name="connsiteY46" fmla="*/ 180569 h 183478"/>
                  <a:gd name="connsiteX47" fmla="*/ 62070 w 105890"/>
                  <a:gd name="connsiteY47" fmla="*/ 178805 h 183478"/>
                  <a:gd name="connsiteX48" fmla="*/ 63834 w 105890"/>
                  <a:gd name="connsiteY48" fmla="*/ 176161 h 183478"/>
                  <a:gd name="connsiteX49" fmla="*/ 65597 w 105890"/>
                  <a:gd name="connsiteY49" fmla="*/ 172986 h 183478"/>
                  <a:gd name="connsiteX50" fmla="*/ 69124 w 105890"/>
                  <a:gd name="connsiteY50" fmla="*/ 175014 h 183478"/>
                  <a:gd name="connsiteX51" fmla="*/ 72563 w 105890"/>
                  <a:gd name="connsiteY51" fmla="*/ 171223 h 183478"/>
                  <a:gd name="connsiteX52" fmla="*/ 74943 w 105890"/>
                  <a:gd name="connsiteY52" fmla="*/ 171223 h 183478"/>
                  <a:gd name="connsiteX53" fmla="*/ 82261 w 105890"/>
                  <a:gd name="connsiteY53" fmla="*/ 170341 h 183478"/>
                  <a:gd name="connsiteX54" fmla="*/ 85171 w 105890"/>
                  <a:gd name="connsiteY54" fmla="*/ 165051 h 183478"/>
                  <a:gd name="connsiteX55" fmla="*/ 89491 w 105890"/>
                  <a:gd name="connsiteY55" fmla="*/ 164258 h 183478"/>
                  <a:gd name="connsiteX56" fmla="*/ 93899 w 105890"/>
                  <a:gd name="connsiteY56" fmla="*/ 164787 h 183478"/>
                  <a:gd name="connsiteX57" fmla="*/ 99101 w 105890"/>
                  <a:gd name="connsiteY57" fmla="*/ 166285 h 183478"/>
                  <a:gd name="connsiteX58" fmla="*/ 104391 w 105890"/>
                  <a:gd name="connsiteY58" fmla="*/ 165051 h 183478"/>
                  <a:gd name="connsiteX59" fmla="*/ 105890 w 105890"/>
                  <a:gd name="connsiteY59" fmla="*/ 164258 h 183478"/>
                  <a:gd name="connsiteX60" fmla="*/ 105890 w 105890"/>
                  <a:gd name="connsiteY60" fmla="*/ 163905 h 183478"/>
                  <a:gd name="connsiteX61" fmla="*/ 103510 w 105890"/>
                  <a:gd name="connsiteY61" fmla="*/ 162494 h 183478"/>
                  <a:gd name="connsiteX62" fmla="*/ 101482 w 105890"/>
                  <a:gd name="connsiteY62" fmla="*/ 161877 h 183478"/>
                  <a:gd name="connsiteX63" fmla="*/ 98572 w 105890"/>
                  <a:gd name="connsiteY63" fmla="*/ 158086 h 183478"/>
                  <a:gd name="connsiteX64" fmla="*/ 98308 w 105890"/>
                  <a:gd name="connsiteY64" fmla="*/ 156323 h 183478"/>
                  <a:gd name="connsiteX65" fmla="*/ 96809 w 105890"/>
                  <a:gd name="connsiteY65" fmla="*/ 155441 h 183478"/>
                  <a:gd name="connsiteX66" fmla="*/ 96809 w 105890"/>
                  <a:gd name="connsiteY66" fmla="*/ 154295 h 183478"/>
                  <a:gd name="connsiteX67" fmla="*/ 95927 w 105890"/>
                  <a:gd name="connsiteY67" fmla="*/ 152884 h 183478"/>
                  <a:gd name="connsiteX68" fmla="*/ 95927 w 105890"/>
                  <a:gd name="connsiteY68" fmla="*/ 152267 h 183478"/>
                  <a:gd name="connsiteX69" fmla="*/ 95310 w 105890"/>
                  <a:gd name="connsiteY69" fmla="*/ 151120 h 183478"/>
                  <a:gd name="connsiteX70" fmla="*/ 95310 w 105890"/>
                  <a:gd name="connsiteY70" fmla="*/ 149975 h 183478"/>
                  <a:gd name="connsiteX71" fmla="*/ 94781 w 105890"/>
                  <a:gd name="connsiteY71" fmla="*/ 150239 h 183478"/>
                  <a:gd name="connsiteX72" fmla="*/ 94428 w 105890"/>
                  <a:gd name="connsiteY72" fmla="*/ 149975 h 183478"/>
                  <a:gd name="connsiteX73" fmla="*/ 94428 w 105890"/>
                  <a:gd name="connsiteY73" fmla="*/ 149093 h 183478"/>
                  <a:gd name="connsiteX74" fmla="*/ 93899 w 105890"/>
                  <a:gd name="connsiteY74" fmla="*/ 147858 h 183478"/>
                  <a:gd name="connsiteX75" fmla="*/ 94164 w 105890"/>
                  <a:gd name="connsiteY75" fmla="*/ 147065 h 183478"/>
                  <a:gd name="connsiteX76" fmla="*/ 93282 w 105890"/>
                  <a:gd name="connsiteY76" fmla="*/ 147065 h 183478"/>
                  <a:gd name="connsiteX77" fmla="*/ 93282 w 105890"/>
                  <a:gd name="connsiteY77" fmla="*/ 146448 h 183478"/>
                  <a:gd name="connsiteX78" fmla="*/ 92400 w 105890"/>
                  <a:gd name="connsiteY78" fmla="*/ 144949 h 183478"/>
                  <a:gd name="connsiteX79" fmla="*/ 92753 w 105890"/>
                  <a:gd name="connsiteY79" fmla="*/ 143803 h 183478"/>
                  <a:gd name="connsiteX80" fmla="*/ 91871 w 105890"/>
                  <a:gd name="connsiteY80" fmla="*/ 143803 h 183478"/>
                  <a:gd name="connsiteX81" fmla="*/ 91871 w 105890"/>
                  <a:gd name="connsiteY81" fmla="*/ 142392 h 183478"/>
                  <a:gd name="connsiteX82" fmla="*/ 90637 w 105890"/>
                  <a:gd name="connsiteY82" fmla="*/ 142656 h 183478"/>
                  <a:gd name="connsiteX83" fmla="*/ 90373 w 105890"/>
                  <a:gd name="connsiteY83" fmla="*/ 141775 h 183478"/>
                  <a:gd name="connsiteX84" fmla="*/ 90108 w 105890"/>
                  <a:gd name="connsiteY84" fmla="*/ 140893 h 183478"/>
                  <a:gd name="connsiteX85" fmla="*/ 90637 w 105890"/>
                  <a:gd name="connsiteY85" fmla="*/ 139130 h 183478"/>
                  <a:gd name="connsiteX86" fmla="*/ 89844 w 105890"/>
                  <a:gd name="connsiteY86" fmla="*/ 138865 h 183478"/>
                  <a:gd name="connsiteX87" fmla="*/ 89844 w 105890"/>
                  <a:gd name="connsiteY87" fmla="*/ 137366 h 183478"/>
                  <a:gd name="connsiteX88" fmla="*/ 90637 w 105890"/>
                  <a:gd name="connsiteY88" fmla="*/ 137102 h 183478"/>
                  <a:gd name="connsiteX89" fmla="*/ 90108 w 105890"/>
                  <a:gd name="connsiteY89" fmla="*/ 135956 h 183478"/>
                  <a:gd name="connsiteX90" fmla="*/ 88962 w 105890"/>
                  <a:gd name="connsiteY90" fmla="*/ 135956 h 183478"/>
                  <a:gd name="connsiteX91" fmla="*/ 89844 w 105890"/>
                  <a:gd name="connsiteY91" fmla="*/ 135074 h 183478"/>
                  <a:gd name="connsiteX92" fmla="*/ 88962 w 105890"/>
                  <a:gd name="connsiteY92" fmla="*/ 135074 h 183478"/>
                  <a:gd name="connsiteX93" fmla="*/ 88609 w 105890"/>
                  <a:gd name="connsiteY93" fmla="*/ 135074 h 183478"/>
                  <a:gd name="connsiteX94" fmla="*/ 88962 w 105890"/>
                  <a:gd name="connsiteY94" fmla="*/ 133928 h 183478"/>
                  <a:gd name="connsiteX95" fmla="*/ 88609 w 105890"/>
                  <a:gd name="connsiteY95" fmla="*/ 133311 h 183478"/>
                  <a:gd name="connsiteX96" fmla="*/ 88609 w 105890"/>
                  <a:gd name="connsiteY96" fmla="*/ 131900 h 183478"/>
                  <a:gd name="connsiteX97" fmla="*/ 88345 w 105890"/>
                  <a:gd name="connsiteY97" fmla="*/ 131018 h 183478"/>
                  <a:gd name="connsiteX98" fmla="*/ 88609 w 105890"/>
                  <a:gd name="connsiteY98" fmla="*/ 130137 h 183478"/>
                  <a:gd name="connsiteX99" fmla="*/ 88345 w 105890"/>
                  <a:gd name="connsiteY99" fmla="*/ 128373 h 183478"/>
                  <a:gd name="connsiteX100" fmla="*/ 87199 w 105890"/>
                  <a:gd name="connsiteY100" fmla="*/ 129519 h 183478"/>
                  <a:gd name="connsiteX101" fmla="*/ 85700 w 105890"/>
                  <a:gd name="connsiteY101" fmla="*/ 128373 h 183478"/>
                  <a:gd name="connsiteX102" fmla="*/ 85435 w 105890"/>
                  <a:gd name="connsiteY102" fmla="*/ 129519 h 183478"/>
                  <a:gd name="connsiteX103" fmla="*/ 84553 w 105890"/>
                  <a:gd name="connsiteY103" fmla="*/ 129784 h 183478"/>
                  <a:gd name="connsiteX104" fmla="*/ 83672 w 105890"/>
                  <a:gd name="connsiteY104" fmla="*/ 129255 h 183478"/>
                  <a:gd name="connsiteX105" fmla="*/ 82790 w 105890"/>
                  <a:gd name="connsiteY105" fmla="*/ 129519 h 183478"/>
                  <a:gd name="connsiteX106" fmla="*/ 81644 w 105890"/>
                  <a:gd name="connsiteY106" fmla="*/ 129519 h 183478"/>
                  <a:gd name="connsiteX107" fmla="*/ 80762 w 105890"/>
                  <a:gd name="connsiteY107" fmla="*/ 129255 h 183478"/>
                  <a:gd name="connsiteX108" fmla="*/ 80145 w 105890"/>
                  <a:gd name="connsiteY108" fmla="*/ 128373 h 183478"/>
                  <a:gd name="connsiteX109" fmla="*/ 81027 w 105890"/>
                  <a:gd name="connsiteY109" fmla="*/ 126345 h 183478"/>
                  <a:gd name="connsiteX110" fmla="*/ 80762 w 105890"/>
                  <a:gd name="connsiteY110" fmla="*/ 125111 h 183478"/>
                  <a:gd name="connsiteX111" fmla="*/ 79263 w 105890"/>
                  <a:gd name="connsiteY111" fmla="*/ 123965 h 183478"/>
                  <a:gd name="connsiteX112" fmla="*/ 78734 w 105890"/>
                  <a:gd name="connsiteY112" fmla="*/ 122554 h 183478"/>
                  <a:gd name="connsiteX113" fmla="*/ 76706 w 105890"/>
                  <a:gd name="connsiteY113" fmla="*/ 121320 h 183478"/>
                  <a:gd name="connsiteX114" fmla="*/ 76089 w 105890"/>
                  <a:gd name="connsiteY114" fmla="*/ 119027 h 183478"/>
                  <a:gd name="connsiteX115" fmla="*/ 75825 w 105890"/>
                  <a:gd name="connsiteY115" fmla="*/ 117881 h 183478"/>
                  <a:gd name="connsiteX116" fmla="*/ 74326 w 105890"/>
                  <a:gd name="connsiteY116" fmla="*/ 115501 h 183478"/>
                  <a:gd name="connsiteX117" fmla="*/ 72915 w 105890"/>
                  <a:gd name="connsiteY117" fmla="*/ 114354 h 183478"/>
                  <a:gd name="connsiteX118" fmla="*/ 72298 w 105890"/>
                  <a:gd name="connsiteY118" fmla="*/ 113208 h 183478"/>
                  <a:gd name="connsiteX119" fmla="*/ 72034 w 105890"/>
                  <a:gd name="connsiteY119" fmla="*/ 108800 h 183478"/>
                  <a:gd name="connsiteX120" fmla="*/ 72915 w 105890"/>
                  <a:gd name="connsiteY120" fmla="*/ 107654 h 183478"/>
                  <a:gd name="connsiteX121" fmla="*/ 74590 w 105890"/>
                  <a:gd name="connsiteY121" fmla="*/ 105890 h 183478"/>
                  <a:gd name="connsiteX122" fmla="*/ 74590 w 105890"/>
                  <a:gd name="connsiteY122" fmla="*/ 103245 h 183478"/>
                  <a:gd name="connsiteX123" fmla="*/ 75208 w 105890"/>
                  <a:gd name="connsiteY123" fmla="*/ 101834 h 183478"/>
                  <a:gd name="connsiteX124" fmla="*/ 77235 w 105890"/>
                  <a:gd name="connsiteY124" fmla="*/ 96544 h 183478"/>
                  <a:gd name="connsiteX125" fmla="*/ 76354 w 105890"/>
                  <a:gd name="connsiteY125" fmla="*/ 93899 h 183478"/>
                  <a:gd name="connsiteX126" fmla="*/ 75472 w 105890"/>
                  <a:gd name="connsiteY126" fmla="*/ 93635 h 183478"/>
                  <a:gd name="connsiteX127" fmla="*/ 75472 w 105890"/>
                  <a:gd name="connsiteY127" fmla="*/ 92489 h 183478"/>
                  <a:gd name="connsiteX128" fmla="*/ 77588 w 105890"/>
                  <a:gd name="connsiteY128" fmla="*/ 89844 h 183478"/>
                  <a:gd name="connsiteX129" fmla="*/ 78734 w 105890"/>
                  <a:gd name="connsiteY129" fmla="*/ 89844 h 183478"/>
                  <a:gd name="connsiteX130" fmla="*/ 78999 w 105890"/>
                  <a:gd name="connsiteY130" fmla="*/ 88962 h 183478"/>
                  <a:gd name="connsiteX131" fmla="*/ 81027 w 105890"/>
                  <a:gd name="connsiteY131" fmla="*/ 87816 h 183478"/>
                  <a:gd name="connsiteX132" fmla="*/ 82526 w 105890"/>
                  <a:gd name="connsiteY132" fmla="*/ 88080 h 183478"/>
                  <a:gd name="connsiteX133" fmla="*/ 84553 w 105890"/>
                  <a:gd name="connsiteY133" fmla="*/ 87816 h 183478"/>
                  <a:gd name="connsiteX134" fmla="*/ 85171 w 105890"/>
                  <a:gd name="connsiteY134" fmla="*/ 88345 h 183478"/>
                  <a:gd name="connsiteX135" fmla="*/ 86581 w 105890"/>
                  <a:gd name="connsiteY135" fmla="*/ 88345 h 183478"/>
                  <a:gd name="connsiteX136" fmla="*/ 88609 w 105890"/>
                  <a:gd name="connsiteY136" fmla="*/ 87198 h 183478"/>
                  <a:gd name="connsiteX137" fmla="*/ 89491 w 105890"/>
                  <a:gd name="connsiteY137" fmla="*/ 87816 h 183478"/>
                  <a:gd name="connsiteX138" fmla="*/ 89491 w 105890"/>
                  <a:gd name="connsiteY138" fmla="*/ 87198 h 183478"/>
                  <a:gd name="connsiteX139" fmla="*/ 88962 w 105890"/>
                  <a:gd name="connsiteY139" fmla="*/ 86669 h 183478"/>
                  <a:gd name="connsiteX140" fmla="*/ 89491 w 105890"/>
                  <a:gd name="connsiteY140" fmla="*/ 84024 h 183478"/>
                  <a:gd name="connsiteX141" fmla="*/ 90108 w 105890"/>
                  <a:gd name="connsiteY141" fmla="*/ 83760 h 183478"/>
                  <a:gd name="connsiteX142" fmla="*/ 90108 w 105890"/>
                  <a:gd name="connsiteY142" fmla="*/ 84024 h 183478"/>
                  <a:gd name="connsiteX143" fmla="*/ 90990 w 105890"/>
                  <a:gd name="connsiteY143" fmla="*/ 84642 h 183478"/>
                  <a:gd name="connsiteX144" fmla="*/ 92136 w 105890"/>
                  <a:gd name="connsiteY144" fmla="*/ 84024 h 183478"/>
                  <a:gd name="connsiteX145" fmla="*/ 90990 w 105890"/>
                  <a:gd name="connsiteY145" fmla="*/ 81732 h 183478"/>
                  <a:gd name="connsiteX146" fmla="*/ 90108 w 105890"/>
                  <a:gd name="connsiteY146" fmla="*/ 81732 h 183478"/>
                  <a:gd name="connsiteX147" fmla="*/ 90373 w 105890"/>
                  <a:gd name="connsiteY147" fmla="*/ 82878 h 183478"/>
                  <a:gd name="connsiteX148" fmla="*/ 89844 w 105890"/>
                  <a:gd name="connsiteY148" fmla="*/ 82525 h 183478"/>
                  <a:gd name="connsiteX149" fmla="*/ 89844 w 105890"/>
                  <a:gd name="connsiteY149" fmla="*/ 80233 h 183478"/>
                  <a:gd name="connsiteX150" fmla="*/ 88609 w 105890"/>
                  <a:gd name="connsiteY150" fmla="*/ 80233 h 183478"/>
                  <a:gd name="connsiteX151" fmla="*/ 88962 w 105890"/>
                  <a:gd name="connsiteY151" fmla="*/ 79352 h 183478"/>
                  <a:gd name="connsiteX152" fmla="*/ 90108 w 105890"/>
                  <a:gd name="connsiteY152" fmla="*/ 78734 h 183478"/>
                  <a:gd name="connsiteX153" fmla="*/ 90373 w 105890"/>
                  <a:gd name="connsiteY153" fmla="*/ 75825 h 183478"/>
                  <a:gd name="connsiteX154" fmla="*/ 92400 w 105890"/>
                  <a:gd name="connsiteY154" fmla="*/ 73180 h 183478"/>
                  <a:gd name="connsiteX155" fmla="*/ 92753 w 105890"/>
                  <a:gd name="connsiteY155" fmla="*/ 71504 h 183478"/>
                  <a:gd name="connsiteX156" fmla="*/ 92400 w 105890"/>
                  <a:gd name="connsiteY156" fmla="*/ 69477 h 183478"/>
                  <a:gd name="connsiteX157" fmla="*/ 93018 w 105890"/>
                  <a:gd name="connsiteY157" fmla="*/ 67713 h 183478"/>
                  <a:gd name="connsiteX158" fmla="*/ 93635 w 105890"/>
                  <a:gd name="connsiteY158" fmla="*/ 64187 h 183478"/>
                  <a:gd name="connsiteX159" fmla="*/ 92753 w 105890"/>
                  <a:gd name="connsiteY159" fmla="*/ 63040 h 183478"/>
                  <a:gd name="connsiteX160" fmla="*/ 92753 w 105890"/>
                  <a:gd name="connsiteY160" fmla="*/ 60660 h 183478"/>
                  <a:gd name="connsiteX161" fmla="*/ 92400 w 105890"/>
                  <a:gd name="connsiteY161" fmla="*/ 59514 h 183478"/>
                  <a:gd name="connsiteX162" fmla="*/ 89226 w 105890"/>
                  <a:gd name="connsiteY162" fmla="*/ 56604 h 183478"/>
                  <a:gd name="connsiteX163" fmla="*/ 86581 w 105890"/>
                  <a:gd name="connsiteY163" fmla="*/ 54841 h 183478"/>
                  <a:gd name="connsiteX164" fmla="*/ 85700 w 105890"/>
                  <a:gd name="connsiteY164" fmla="*/ 54841 h 183478"/>
                  <a:gd name="connsiteX165" fmla="*/ 85700 w 105890"/>
                  <a:gd name="connsiteY165" fmla="*/ 56339 h 183478"/>
                  <a:gd name="connsiteX166" fmla="*/ 85435 w 105890"/>
                  <a:gd name="connsiteY166" fmla="*/ 56604 h 183478"/>
                  <a:gd name="connsiteX167" fmla="*/ 84289 w 105890"/>
                  <a:gd name="connsiteY167" fmla="*/ 52813 h 183478"/>
                  <a:gd name="connsiteX168" fmla="*/ 83055 w 105890"/>
                  <a:gd name="connsiteY168" fmla="*/ 51402 h 183478"/>
                  <a:gd name="connsiteX169" fmla="*/ 81027 w 105890"/>
                  <a:gd name="connsiteY169" fmla="*/ 49903 h 183478"/>
                  <a:gd name="connsiteX170" fmla="*/ 78734 w 105890"/>
                  <a:gd name="connsiteY170" fmla="*/ 47523 h 183478"/>
                  <a:gd name="connsiteX171" fmla="*/ 77235 w 105890"/>
                  <a:gd name="connsiteY171" fmla="*/ 45848 h 183478"/>
                  <a:gd name="connsiteX172" fmla="*/ 75208 w 105890"/>
                  <a:gd name="connsiteY172" fmla="*/ 43467 h 183478"/>
                  <a:gd name="connsiteX173" fmla="*/ 74061 w 105890"/>
                  <a:gd name="connsiteY173" fmla="*/ 42850 h 183478"/>
                  <a:gd name="connsiteX174" fmla="*/ 71681 w 105890"/>
                  <a:gd name="connsiteY174" fmla="*/ 42585 h 183478"/>
                  <a:gd name="connsiteX175" fmla="*/ 71416 w 105890"/>
                  <a:gd name="connsiteY175" fmla="*/ 42850 h 183478"/>
                  <a:gd name="connsiteX176" fmla="*/ 69653 w 105890"/>
                  <a:gd name="connsiteY176" fmla="*/ 41704 h 183478"/>
                  <a:gd name="connsiteX177" fmla="*/ 68507 w 105890"/>
                  <a:gd name="connsiteY177" fmla="*/ 41175 h 183478"/>
                  <a:gd name="connsiteX178" fmla="*/ 66214 w 105890"/>
                  <a:gd name="connsiteY178" fmla="*/ 41175 h 183478"/>
                  <a:gd name="connsiteX179" fmla="*/ 64716 w 105890"/>
                  <a:gd name="connsiteY179" fmla="*/ 42850 h 183478"/>
                  <a:gd name="connsiteX180" fmla="*/ 63834 w 105890"/>
                  <a:gd name="connsiteY180" fmla="*/ 44613 h 183478"/>
                  <a:gd name="connsiteX181" fmla="*/ 62952 w 105890"/>
                  <a:gd name="connsiteY181" fmla="*/ 46112 h 183478"/>
                  <a:gd name="connsiteX182" fmla="*/ 62423 w 105890"/>
                  <a:gd name="connsiteY182" fmla="*/ 48140 h 183478"/>
                  <a:gd name="connsiteX183" fmla="*/ 62423 w 105890"/>
                  <a:gd name="connsiteY183" fmla="*/ 50785 h 183478"/>
                  <a:gd name="connsiteX184" fmla="*/ 61541 w 105890"/>
                  <a:gd name="connsiteY184" fmla="*/ 53077 h 183478"/>
                  <a:gd name="connsiteX185" fmla="*/ 60924 w 105890"/>
                  <a:gd name="connsiteY185" fmla="*/ 53077 h 183478"/>
                  <a:gd name="connsiteX186" fmla="*/ 60307 w 105890"/>
                  <a:gd name="connsiteY186" fmla="*/ 54312 h 183478"/>
                  <a:gd name="connsiteX187" fmla="*/ 59778 w 105890"/>
                  <a:gd name="connsiteY187" fmla="*/ 53430 h 183478"/>
                  <a:gd name="connsiteX188" fmla="*/ 61189 w 105890"/>
                  <a:gd name="connsiteY188" fmla="*/ 51050 h 183478"/>
                  <a:gd name="connsiteX189" fmla="*/ 61189 w 105890"/>
                  <a:gd name="connsiteY189" fmla="*/ 49286 h 183478"/>
                  <a:gd name="connsiteX190" fmla="*/ 61189 w 105890"/>
                  <a:gd name="connsiteY190" fmla="*/ 45495 h 183478"/>
                  <a:gd name="connsiteX191" fmla="*/ 61541 w 105890"/>
                  <a:gd name="connsiteY191" fmla="*/ 45230 h 183478"/>
                  <a:gd name="connsiteX192" fmla="*/ 61806 w 105890"/>
                  <a:gd name="connsiteY192" fmla="*/ 43467 h 183478"/>
                  <a:gd name="connsiteX193" fmla="*/ 63305 w 105890"/>
                  <a:gd name="connsiteY193" fmla="*/ 39940 h 183478"/>
                  <a:gd name="connsiteX194" fmla="*/ 64451 w 105890"/>
                  <a:gd name="connsiteY194" fmla="*/ 37912 h 183478"/>
                  <a:gd name="connsiteX195" fmla="*/ 64980 w 105890"/>
                  <a:gd name="connsiteY195" fmla="*/ 34738 h 183478"/>
                  <a:gd name="connsiteX196" fmla="*/ 64716 w 105890"/>
                  <a:gd name="connsiteY196" fmla="*/ 33592 h 183478"/>
                  <a:gd name="connsiteX197" fmla="*/ 65333 w 105890"/>
                  <a:gd name="connsiteY197" fmla="*/ 30065 h 183478"/>
                  <a:gd name="connsiteX198" fmla="*/ 64716 w 105890"/>
                  <a:gd name="connsiteY198" fmla="*/ 29184 h 183478"/>
                  <a:gd name="connsiteX199" fmla="*/ 62688 w 105890"/>
                  <a:gd name="connsiteY199" fmla="*/ 26274 h 183478"/>
                  <a:gd name="connsiteX200" fmla="*/ 60924 w 105890"/>
                  <a:gd name="connsiteY200" fmla="*/ 22747 h 183478"/>
                  <a:gd name="connsiteX201" fmla="*/ 60043 w 105890"/>
                  <a:gd name="connsiteY201" fmla="*/ 22483 h 183478"/>
                  <a:gd name="connsiteX202" fmla="*/ 60043 w 105890"/>
                  <a:gd name="connsiteY202" fmla="*/ 23365 h 183478"/>
                  <a:gd name="connsiteX203" fmla="*/ 59778 w 105890"/>
                  <a:gd name="connsiteY203" fmla="*/ 22747 h 183478"/>
                  <a:gd name="connsiteX204" fmla="*/ 58015 w 105890"/>
                  <a:gd name="connsiteY204" fmla="*/ 19838 h 183478"/>
                  <a:gd name="connsiteX205" fmla="*/ 52196 w 105890"/>
                  <a:gd name="connsiteY205" fmla="*/ 13754 h 183478"/>
                  <a:gd name="connsiteX206" fmla="*/ 52196 w 105890"/>
                  <a:gd name="connsiteY206" fmla="*/ 12873 h 183478"/>
                  <a:gd name="connsiteX207" fmla="*/ 51579 w 105890"/>
                  <a:gd name="connsiteY207" fmla="*/ 12255 h 183478"/>
                  <a:gd name="connsiteX208" fmla="*/ 51579 w 105890"/>
                  <a:gd name="connsiteY208" fmla="*/ 13137 h 183478"/>
                  <a:gd name="connsiteX209" fmla="*/ 50432 w 105890"/>
                  <a:gd name="connsiteY209" fmla="*/ 11374 h 183478"/>
                  <a:gd name="connsiteX210" fmla="*/ 47258 w 105890"/>
                  <a:gd name="connsiteY210" fmla="*/ 9081 h 183478"/>
                  <a:gd name="connsiteX211" fmla="*/ 44878 w 105890"/>
                  <a:gd name="connsiteY211" fmla="*/ 7053 h 183478"/>
                  <a:gd name="connsiteX212" fmla="*/ 41086 w 105890"/>
                  <a:gd name="connsiteY212" fmla="*/ 3791 h 183478"/>
                  <a:gd name="connsiteX213" fmla="*/ 39588 w 105890"/>
                  <a:gd name="connsiteY213" fmla="*/ 3791 h 183478"/>
                  <a:gd name="connsiteX214" fmla="*/ 38177 w 105890"/>
                  <a:gd name="connsiteY214" fmla="*/ 2645 h 183478"/>
                  <a:gd name="connsiteX215" fmla="*/ 37031 w 105890"/>
                  <a:gd name="connsiteY215" fmla="*/ 2645 h 183478"/>
                  <a:gd name="connsiteX216" fmla="*/ 37031 w 105890"/>
                  <a:gd name="connsiteY216" fmla="*/ 3527 h 183478"/>
                  <a:gd name="connsiteX217" fmla="*/ 37295 w 105890"/>
                  <a:gd name="connsiteY217" fmla="*/ 4408 h 183478"/>
                  <a:gd name="connsiteX218" fmla="*/ 41086 w 105890"/>
                  <a:gd name="connsiteY218" fmla="*/ 7582 h 183478"/>
                  <a:gd name="connsiteX219" fmla="*/ 42585 w 105890"/>
                  <a:gd name="connsiteY219" fmla="*/ 7935 h 183478"/>
                  <a:gd name="connsiteX220" fmla="*/ 44349 w 105890"/>
                  <a:gd name="connsiteY220" fmla="*/ 9346 h 183478"/>
                  <a:gd name="connsiteX221" fmla="*/ 44613 w 105890"/>
                  <a:gd name="connsiteY221" fmla="*/ 10228 h 183478"/>
                  <a:gd name="connsiteX222" fmla="*/ 42585 w 105890"/>
                  <a:gd name="connsiteY222" fmla="*/ 8200 h 183478"/>
                  <a:gd name="connsiteX223" fmla="*/ 41086 w 105890"/>
                  <a:gd name="connsiteY223" fmla="*/ 7935 h 183478"/>
                  <a:gd name="connsiteX224" fmla="*/ 40205 w 105890"/>
                  <a:gd name="connsiteY224" fmla="*/ 7318 h 183478"/>
                  <a:gd name="connsiteX225" fmla="*/ 39323 w 105890"/>
                  <a:gd name="connsiteY225" fmla="*/ 6436 h 183478"/>
                  <a:gd name="connsiteX226" fmla="*/ 38441 w 105890"/>
                  <a:gd name="connsiteY226" fmla="*/ 5555 h 183478"/>
                  <a:gd name="connsiteX227" fmla="*/ 36149 w 105890"/>
                  <a:gd name="connsiteY227" fmla="*/ 4056 h 183478"/>
                  <a:gd name="connsiteX228" fmla="*/ 35532 w 105890"/>
                  <a:gd name="connsiteY228" fmla="*/ 3527 h 183478"/>
                  <a:gd name="connsiteX229" fmla="*/ 34121 w 105890"/>
                  <a:gd name="connsiteY229" fmla="*/ 882 h 183478"/>
                  <a:gd name="connsiteX230" fmla="*/ 33769 w 105890"/>
                  <a:gd name="connsiteY230" fmla="*/ 264 h 183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</a:cxnLst>
                <a:rect l="l" t="t" r="r" b="b"/>
                <a:pathLst>
                  <a:path w="105890" h="183478">
                    <a:moveTo>
                      <a:pt x="33240" y="0"/>
                    </a:moveTo>
                    <a:lnTo>
                      <a:pt x="36766" y="6701"/>
                    </a:lnTo>
                    <a:lnTo>
                      <a:pt x="33504" y="8200"/>
                    </a:lnTo>
                    <a:lnTo>
                      <a:pt x="30330" y="12255"/>
                    </a:lnTo>
                    <a:lnTo>
                      <a:pt x="27068" y="14019"/>
                    </a:lnTo>
                    <a:lnTo>
                      <a:pt x="20631" y="17810"/>
                    </a:lnTo>
                    <a:lnTo>
                      <a:pt x="19221" y="22483"/>
                    </a:lnTo>
                    <a:lnTo>
                      <a:pt x="17193" y="24511"/>
                    </a:lnTo>
                    <a:lnTo>
                      <a:pt x="17193" y="28302"/>
                    </a:lnTo>
                    <a:lnTo>
                      <a:pt x="17457" y="32093"/>
                    </a:lnTo>
                    <a:lnTo>
                      <a:pt x="19838" y="35356"/>
                    </a:lnTo>
                    <a:lnTo>
                      <a:pt x="23629" y="33592"/>
                    </a:lnTo>
                    <a:lnTo>
                      <a:pt x="25040" y="37383"/>
                    </a:lnTo>
                    <a:lnTo>
                      <a:pt x="22395" y="39676"/>
                    </a:lnTo>
                    <a:lnTo>
                      <a:pt x="17193" y="42585"/>
                    </a:lnTo>
                    <a:lnTo>
                      <a:pt x="11638" y="42850"/>
                    </a:lnTo>
                    <a:lnTo>
                      <a:pt x="6084" y="45230"/>
                    </a:lnTo>
                    <a:lnTo>
                      <a:pt x="5819" y="52813"/>
                    </a:lnTo>
                    <a:lnTo>
                      <a:pt x="2910" y="60395"/>
                    </a:lnTo>
                    <a:lnTo>
                      <a:pt x="0" y="64187"/>
                    </a:lnTo>
                    <a:lnTo>
                      <a:pt x="13666" y="83407"/>
                    </a:lnTo>
                    <a:lnTo>
                      <a:pt x="14812" y="82878"/>
                    </a:lnTo>
                    <a:lnTo>
                      <a:pt x="21249" y="82878"/>
                    </a:lnTo>
                    <a:lnTo>
                      <a:pt x="24511" y="81996"/>
                    </a:lnTo>
                    <a:lnTo>
                      <a:pt x="26539" y="82525"/>
                    </a:lnTo>
                    <a:lnTo>
                      <a:pt x="28302" y="84024"/>
                    </a:lnTo>
                    <a:lnTo>
                      <a:pt x="29096" y="96015"/>
                    </a:lnTo>
                    <a:lnTo>
                      <a:pt x="26539" y="98572"/>
                    </a:lnTo>
                    <a:lnTo>
                      <a:pt x="30594" y="100336"/>
                    </a:lnTo>
                    <a:lnTo>
                      <a:pt x="33769" y="101482"/>
                    </a:lnTo>
                    <a:lnTo>
                      <a:pt x="35267" y="105273"/>
                    </a:lnTo>
                    <a:lnTo>
                      <a:pt x="36149" y="108800"/>
                    </a:lnTo>
                    <a:lnTo>
                      <a:pt x="37031" y="111180"/>
                    </a:lnTo>
                    <a:lnTo>
                      <a:pt x="40205" y="114619"/>
                    </a:lnTo>
                    <a:lnTo>
                      <a:pt x="38441" y="117881"/>
                    </a:lnTo>
                    <a:lnTo>
                      <a:pt x="36414" y="120438"/>
                    </a:lnTo>
                    <a:lnTo>
                      <a:pt x="32622" y="129255"/>
                    </a:lnTo>
                    <a:lnTo>
                      <a:pt x="29096" y="146448"/>
                    </a:lnTo>
                    <a:lnTo>
                      <a:pt x="30330" y="153766"/>
                    </a:lnTo>
                    <a:lnTo>
                      <a:pt x="34121" y="166815"/>
                    </a:lnTo>
                    <a:lnTo>
                      <a:pt x="36766" y="166815"/>
                    </a:lnTo>
                    <a:lnTo>
                      <a:pt x="39059" y="169812"/>
                    </a:lnTo>
                    <a:lnTo>
                      <a:pt x="43114" y="175014"/>
                    </a:lnTo>
                    <a:lnTo>
                      <a:pt x="44613" y="178276"/>
                    </a:lnTo>
                    <a:lnTo>
                      <a:pt x="52460" y="181098"/>
                    </a:lnTo>
                    <a:lnTo>
                      <a:pt x="53959" y="183478"/>
                    </a:lnTo>
                    <a:lnTo>
                      <a:pt x="56516" y="180569"/>
                    </a:lnTo>
                    <a:lnTo>
                      <a:pt x="62070" y="178805"/>
                    </a:lnTo>
                    <a:lnTo>
                      <a:pt x="63834" y="176161"/>
                    </a:lnTo>
                    <a:lnTo>
                      <a:pt x="65597" y="172986"/>
                    </a:lnTo>
                    <a:lnTo>
                      <a:pt x="69124" y="175014"/>
                    </a:lnTo>
                    <a:lnTo>
                      <a:pt x="72563" y="171223"/>
                    </a:lnTo>
                    <a:lnTo>
                      <a:pt x="74943" y="171223"/>
                    </a:lnTo>
                    <a:lnTo>
                      <a:pt x="82261" y="170341"/>
                    </a:lnTo>
                    <a:lnTo>
                      <a:pt x="85171" y="165051"/>
                    </a:lnTo>
                    <a:lnTo>
                      <a:pt x="89491" y="164258"/>
                    </a:lnTo>
                    <a:lnTo>
                      <a:pt x="93899" y="164787"/>
                    </a:lnTo>
                    <a:lnTo>
                      <a:pt x="99101" y="166285"/>
                    </a:lnTo>
                    <a:lnTo>
                      <a:pt x="104391" y="165051"/>
                    </a:lnTo>
                    <a:lnTo>
                      <a:pt x="105890" y="164258"/>
                    </a:lnTo>
                    <a:lnTo>
                      <a:pt x="105890" y="163905"/>
                    </a:lnTo>
                    <a:lnTo>
                      <a:pt x="103510" y="162494"/>
                    </a:lnTo>
                    <a:lnTo>
                      <a:pt x="101482" y="161877"/>
                    </a:lnTo>
                    <a:lnTo>
                      <a:pt x="98572" y="158086"/>
                    </a:lnTo>
                    <a:lnTo>
                      <a:pt x="98308" y="156323"/>
                    </a:lnTo>
                    <a:lnTo>
                      <a:pt x="96809" y="155441"/>
                    </a:lnTo>
                    <a:lnTo>
                      <a:pt x="96809" y="154295"/>
                    </a:lnTo>
                    <a:lnTo>
                      <a:pt x="95927" y="152884"/>
                    </a:lnTo>
                    <a:lnTo>
                      <a:pt x="95927" y="152267"/>
                    </a:lnTo>
                    <a:lnTo>
                      <a:pt x="95310" y="151120"/>
                    </a:lnTo>
                    <a:lnTo>
                      <a:pt x="95310" y="149975"/>
                    </a:lnTo>
                    <a:lnTo>
                      <a:pt x="94781" y="150239"/>
                    </a:lnTo>
                    <a:lnTo>
                      <a:pt x="94428" y="149975"/>
                    </a:lnTo>
                    <a:lnTo>
                      <a:pt x="94428" y="149093"/>
                    </a:lnTo>
                    <a:lnTo>
                      <a:pt x="93899" y="147858"/>
                    </a:lnTo>
                    <a:lnTo>
                      <a:pt x="94164" y="147065"/>
                    </a:lnTo>
                    <a:lnTo>
                      <a:pt x="93282" y="147065"/>
                    </a:lnTo>
                    <a:lnTo>
                      <a:pt x="93282" y="146448"/>
                    </a:lnTo>
                    <a:lnTo>
                      <a:pt x="92400" y="144949"/>
                    </a:lnTo>
                    <a:lnTo>
                      <a:pt x="92753" y="143803"/>
                    </a:lnTo>
                    <a:lnTo>
                      <a:pt x="91871" y="143803"/>
                    </a:lnTo>
                    <a:lnTo>
                      <a:pt x="91871" y="142392"/>
                    </a:lnTo>
                    <a:lnTo>
                      <a:pt x="90637" y="142656"/>
                    </a:lnTo>
                    <a:lnTo>
                      <a:pt x="90373" y="141775"/>
                    </a:lnTo>
                    <a:lnTo>
                      <a:pt x="90108" y="140893"/>
                    </a:lnTo>
                    <a:lnTo>
                      <a:pt x="90637" y="139130"/>
                    </a:lnTo>
                    <a:lnTo>
                      <a:pt x="89844" y="138865"/>
                    </a:lnTo>
                    <a:lnTo>
                      <a:pt x="89844" y="137366"/>
                    </a:lnTo>
                    <a:lnTo>
                      <a:pt x="90637" y="137102"/>
                    </a:lnTo>
                    <a:lnTo>
                      <a:pt x="90108" y="135956"/>
                    </a:lnTo>
                    <a:lnTo>
                      <a:pt x="88962" y="135956"/>
                    </a:lnTo>
                    <a:lnTo>
                      <a:pt x="89844" y="135074"/>
                    </a:lnTo>
                    <a:lnTo>
                      <a:pt x="88962" y="135074"/>
                    </a:lnTo>
                    <a:lnTo>
                      <a:pt x="88609" y="135074"/>
                    </a:lnTo>
                    <a:lnTo>
                      <a:pt x="88962" y="133928"/>
                    </a:lnTo>
                    <a:lnTo>
                      <a:pt x="88609" y="133311"/>
                    </a:lnTo>
                    <a:lnTo>
                      <a:pt x="88609" y="131900"/>
                    </a:lnTo>
                    <a:lnTo>
                      <a:pt x="88345" y="131018"/>
                    </a:lnTo>
                    <a:lnTo>
                      <a:pt x="88609" y="130137"/>
                    </a:lnTo>
                    <a:lnTo>
                      <a:pt x="88345" y="128373"/>
                    </a:lnTo>
                    <a:lnTo>
                      <a:pt x="87199" y="129519"/>
                    </a:lnTo>
                    <a:lnTo>
                      <a:pt x="85700" y="128373"/>
                    </a:lnTo>
                    <a:lnTo>
                      <a:pt x="85435" y="129519"/>
                    </a:lnTo>
                    <a:lnTo>
                      <a:pt x="84553" y="129784"/>
                    </a:lnTo>
                    <a:lnTo>
                      <a:pt x="83672" y="129255"/>
                    </a:lnTo>
                    <a:lnTo>
                      <a:pt x="82790" y="129519"/>
                    </a:lnTo>
                    <a:lnTo>
                      <a:pt x="81644" y="129519"/>
                    </a:lnTo>
                    <a:lnTo>
                      <a:pt x="80762" y="129255"/>
                    </a:lnTo>
                    <a:lnTo>
                      <a:pt x="80145" y="128373"/>
                    </a:lnTo>
                    <a:lnTo>
                      <a:pt x="81027" y="126345"/>
                    </a:lnTo>
                    <a:lnTo>
                      <a:pt x="80762" y="125111"/>
                    </a:lnTo>
                    <a:lnTo>
                      <a:pt x="79263" y="123965"/>
                    </a:lnTo>
                    <a:lnTo>
                      <a:pt x="78734" y="122554"/>
                    </a:lnTo>
                    <a:lnTo>
                      <a:pt x="76706" y="121320"/>
                    </a:lnTo>
                    <a:lnTo>
                      <a:pt x="76089" y="119027"/>
                    </a:lnTo>
                    <a:lnTo>
                      <a:pt x="75825" y="117881"/>
                    </a:lnTo>
                    <a:lnTo>
                      <a:pt x="74326" y="115501"/>
                    </a:lnTo>
                    <a:lnTo>
                      <a:pt x="72915" y="114354"/>
                    </a:lnTo>
                    <a:lnTo>
                      <a:pt x="72298" y="113208"/>
                    </a:lnTo>
                    <a:lnTo>
                      <a:pt x="72034" y="108800"/>
                    </a:lnTo>
                    <a:lnTo>
                      <a:pt x="72915" y="107654"/>
                    </a:lnTo>
                    <a:lnTo>
                      <a:pt x="74590" y="105890"/>
                    </a:lnTo>
                    <a:lnTo>
                      <a:pt x="74590" y="103245"/>
                    </a:lnTo>
                    <a:lnTo>
                      <a:pt x="75208" y="101834"/>
                    </a:lnTo>
                    <a:lnTo>
                      <a:pt x="77235" y="96544"/>
                    </a:lnTo>
                    <a:lnTo>
                      <a:pt x="76354" y="93899"/>
                    </a:lnTo>
                    <a:lnTo>
                      <a:pt x="75472" y="93635"/>
                    </a:lnTo>
                    <a:lnTo>
                      <a:pt x="75472" y="92489"/>
                    </a:lnTo>
                    <a:lnTo>
                      <a:pt x="77588" y="89844"/>
                    </a:lnTo>
                    <a:lnTo>
                      <a:pt x="78734" y="89844"/>
                    </a:lnTo>
                    <a:lnTo>
                      <a:pt x="78999" y="88962"/>
                    </a:lnTo>
                    <a:lnTo>
                      <a:pt x="81027" y="87816"/>
                    </a:lnTo>
                    <a:lnTo>
                      <a:pt x="82526" y="88080"/>
                    </a:lnTo>
                    <a:lnTo>
                      <a:pt x="84553" y="87816"/>
                    </a:lnTo>
                    <a:lnTo>
                      <a:pt x="85171" y="88345"/>
                    </a:lnTo>
                    <a:lnTo>
                      <a:pt x="86581" y="88345"/>
                    </a:lnTo>
                    <a:lnTo>
                      <a:pt x="88609" y="87198"/>
                    </a:lnTo>
                    <a:lnTo>
                      <a:pt x="89491" y="87816"/>
                    </a:lnTo>
                    <a:lnTo>
                      <a:pt x="89491" y="87198"/>
                    </a:lnTo>
                    <a:lnTo>
                      <a:pt x="88962" y="86669"/>
                    </a:lnTo>
                    <a:lnTo>
                      <a:pt x="89491" y="84024"/>
                    </a:lnTo>
                    <a:lnTo>
                      <a:pt x="90108" y="83760"/>
                    </a:lnTo>
                    <a:lnTo>
                      <a:pt x="90108" y="84024"/>
                    </a:lnTo>
                    <a:lnTo>
                      <a:pt x="90990" y="84642"/>
                    </a:lnTo>
                    <a:lnTo>
                      <a:pt x="92136" y="84024"/>
                    </a:lnTo>
                    <a:lnTo>
                      <a:pt x="90990" y="81732"/>
                    </a:lnTo>
                    <a:lnTo>
                      <a:pt x="90108" y="81732"/>
                    </a:lnTo>
                    <a:lnTo>
                      <a:pt x="90373" y="82878"/>
                    </a:lnTo>
                    <a:lnTo>
                      <a:pt x="89844" y="82525"/>
                    </a:lnTo>
                    <a:lnTo>
                      <a:pt x="89844" y="80233"/>
                    </a:lnTo>
                    <a:lnTo>
                      <a:pt x="88609" y="80233"/>
                    </a:lnTo>
                    <a:lnTo>
                      <a:pt x="88962" y="79352"/>
                    </a:lnTo>
                    <a:lnTo>
                      <a:pt x="90108" y="78734"/>
                    </a:lnTo>
                    <a:lnTo>
                      <a:pt x="90373" y="75825"/>
                    </a:lnTo>
                    <a:lnTo>
                      <a:pt x="92400" y="73180"/>
                    </a:lnTo>
                    <a:lnTo>
                      <a:pt x="92753" y="71504"/>
                    </a:lnTo>
                    <a:lnTo>
                      <a:pt x="92400" y="69477"/>
                    </a:lnTo>
                    <a:lnTo>
                      <a:pt x="93018" y="67713"/>
                    </a:lnTo>
                    <a:lnTo>
                      <a:pt x="93635" y="64187"/>
                    </a:lnTo>
                    <a:lnTo>
                      <a:pt x="92753" y="63040"/>
                    </a:lnTo>
                    <a:lnTo>
                      <a:pt x="92753" y="60660"/>
                    </a:lnTo>
                    <a:lnTo>
                      <a:pt x="92400" y="59514"/>
                    </a:lnTo>
                    <a:lnTo>
                      <a:pt x="89226" y="56604"/>
                    </a:lnTo>
                    <a:lnTo>
                      <a:pt x="86581" y="54841"/>
                    </a:lnTo>
                    <a:lnTo>
                      <a:pt x="85700" y="54841"/>
                    </a:lnTo>
                    <a:lnTo>
                      <a:pt x="85700" y="56339"/>
                    </a:lnTo>
                    <a:lnTo>
                      <a:pt x="85435" y="56604"/>
                    </a:lnTo>
                    <a:lnTo>
                      <a:pt x="84289" y="52813"/>
                    </a:lnTo>
                    <a:lnTo>
                      <a:pt x="83055" y="51402"/>
                    </a:lnTo>
                    <a:lnTo>
                      <a:pt x="81027" y="49903"/>
                    </a:lnTo>
                    <a:lnTo>
                      <a:pt x="78734" y="47523"/>
                    </a:lnTo>
                    <a:lnTo>
                      <a:pt x="77235" y="45848"/>
                    </a:lnTo>
                    <a:lnTo>
                      <a:pt x="75208" y="43467"/>
                    </a:lnTo>
                    <a:lnTo>
                      <a:pt x="74061" y="42850"/>
                    </a:lnTo>
                    <a:lnTo>
                      <a:pt x="71681" y="42585"/>
                    </a:lnTo>
                    <a:lnTo>
                      <a:pt x="71416" y="42850"/>
                    </a:lnTo>
                    <a:lnTo>
                      <a:pt x="69653" y="41704"/>
                    </a:lnTo>
                    <a:lnTo>
                      <a:pt x="68507" y="41175"/>
                    </a:lnTo>
                    <a:lnTo>
                      <a:pt x="66214" y="41175"/>
                    </a:lnTo>
                    <a:lnTo>
                      <a:pt x="64716" y="42850"/>
                    </a:lnTo>
                    <a:lnTo>
                      <a:pt x="63834" y="44613"/>
                    </a:lnTo>
                    <a:lnTo>
                      <a:pt x="62952" y="46112"/>
                    </a:lnTo>
                    <a:lnTo>
                      <a:pt x="62423" y="48140"/>
                    </a:lnTo>
                    <a:lnTo>
                      <a:pt x="62423" y="50785"/>
                    </a:lnTo>
                    <a:lnTo>
                      <a:pt x="61541" y="53077"/>
                    </a:lnTo>
                    <a:lnTo>
                      <a:pt x="60924" y="53077"/>
                    </a:lnTo>
                    <a:lnTo>
                      <a:pt x="60307" y="54312"/>
                    </a:lnTo>
                    <a:lnTo>
                      <a:pt x="59778" y="53430"/>
                    </a:lnTo>
                    <a:lnTo>
                      <a:pt x="61189" y="51050"/>
                    </a:lnTo>
                    <a:lnTo>
                      <a:pt x="61189" y="49286"/>
                    </a:lnTo>
                    <a:lnTo>
                      <a:pt x="61189" y="45495"/>
                    </a:lnTo>
                    <a:lnTo>
                      <a:pt x="61541" y="45230"/>
                    </a:lnTo>
                    <a:lnTo>
                      <a:pt x="61806" y="43467"/>
                    </a:lnTo>
                    <a:lnTo>
                      <a:pt x="63305" y="39940"/>
                    </a:lnTo>
                    <a:lnTo>
                      <a:pt x="64451" y="37912"/>
                    </a:lnTo>
                    <a:lnTo>
                      <a:pt x="64980" y="34738"/>
                    </a:lnTo>
                    <a:lnTo>
                      <a:pt x="64716" y="33592"/>
                    </a:lnTo>
                    <a:lnTo>
                      <a:pt x="65333" y="30065"/>
                    </a:lnTo>
                    <a:lnTo>
                      <a:pt x="64716" y="29184"/>
                    </a:lnTo>
                    <a:lnTo>
                      <a:pt x="62688" y="26274"/>
                    </a:lnTo>
                    <a:lnTo>
                      <a:pt x="60924" y="22747"/>
                    </a:lnTo>
                    <a:lnTo>
                      <a:pt x="60043" y="22483"/>
                    </a:lnTo>
                    <a:lnTo>
                      <a:pt x="60043" y="23365"/>
                    </a:lnTo>
                    <a:lnTo>
                      <a:pt x="59778" y="22747"/>
                    </a:lnTo>
                    <a:lnTo>
                      <a:pt x="58015" y="19838"/>
                    </a:lnTo>
                    <a:lnTo>
                      <a:pt x="52196" y="13754"/>
                    </a:lnTo>
                    <a:lnTo>
                      <a:pt x="52196" y="12873"/>
                    </a:lnTo>
                    <a:lnTo>
                      <a:pt x="51579" y="12255"/>
                    </a:lnTo>
                    <a:lnTo>
                      <a:pt x="51579" y="13137"/>
                    </a:lnTo>
                    <a:lnTo>
                      <a:pt x="50432" y="11374"/>
                    </a:lnTo>
                    <a:lnTo>
                      <a:pt x="47258" y="9081"/>
                    </a:lnTo>
                    <a:lnTo>
                      <a:pt x="44878" y="7053"/>
                    </a:lnTo>
                    <a:lnTo>
                      <a:pt x="41086" y="3791"/>
                    </a:lnTo>
                    <a:lnTo>
                      <a:pt x="39588" y="3791"/>
                    </a:lnTo>
                    <a:lnTo>
                      <a:pt x="38177" y="2645"/>
                    </a:lnTo>
                    <a:lnTo>
                      <a:pt x="37031" y="2645"/>
                    </a:lnTo>
                    <a:lnTo>
                      <a:pt x="37031" y="3527"/>
                    </a:lnTo>
                    <a:lnTo>
                      <a:pt x="37295" y="4408"/>
                    </a:lnTo>
                    <a:lnTo>
                      <a:pt x="41086" y="7582"/>
                    </a:lnTo>
                    <a:lnTo>
                      <a:pt x="42585" y="7935"/>
                    </a:lnTo>
                    <a:lnTo>
                      <a:pt x="44349" y="9346"/>
                    </a:lnTo>
                    <a:lnTo>
                      <a:pt x="44613" y="10228"/>
                    </a:lnTo>
                    <a:lnTo>
                      <a:pt x="42585" y="8200"/>
                    </a:lnTo>
                    <a:lnTo>
                      <a:pt x="41086" y="7935"/>
                    </a:lnTo>
                    <a:lnTo>
                      <a:pt x="40205" y="7318"/>
                    </a:lnTo>
                    <a:lnTo>
                      <a:pt x="39323" y="6436"/>
                    </a:lnTo>
                    <a:lnTo>
                      <a:pt x="38441" y="5555"/>
                    </a:lnTo>
                    <a:lnTo>
                      <a:pt x="36149" y="4056"/>
                    </a:lnTo>
                    <a:lnTo>
                      <a:pt x="35532" y="3527"/>
                    </a:lnTo>
                    <a:lnTo>
                      <a:pt x="34121" y="882"/>
                    </a:lnTo>
                    <a:lnTo>
                      <a:pt x="33769" y="26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8" name="Freihandform: Form 1757">
                <a:extLst>
                  <a:ext uri="{FF2B5EF4-FFF2-40B4-BE49-F238E27FC236}">
                    <a16:creationId xmlns:a16="http://schemas.microsoft.com/office/drawing/2014/main" id="{9BF97B76-23F4-1C6B-3443-581B2F3815C6}"/>
                  </a:ext>
                </a:extLst>
              </p:cNvPr>
              <p:cNvSpPr/>
              <p:nvPr/>
            </p:nvSpPr>
            <p:spPr>
              <a:xfrm>
                <a:off x="2058720" y="3706377"/>
                <a:ext cx="90460" cy="101834"/>
              </a:xfrm>
              <a:custGeom>
                <a:avLst/>
                <a:gdLst>
                  <a:gd name="connsiteX0" fmla="*/ 0 w 90460"/>
                  <a:gd name="connsiteY0" fmla="*/ 82261 h 101834"/>
                  <a:gd name="connsiteX1" fmla="*/ 2645 w 90460"/>
                  <a:gd name="connsiteY1" fmla="*/ 79616 h 101834"/>
                  <a:gd name="connsiteX2" fmla="*/ 2645 w 90460"/>
                  <a:gd name="connsiteY2" fmla="*/ 76971 h 101834"/>
                  <a:gd name="connsiteX3" fmla="*/ 1146 w 90460"/>
                  <a:gd name="connsiteY3" fmla="*/ 74679 h 101834"/>
                  <a:gd name="connsiteX4" fmla="*/ 3527 w 90460"/>
                  <a:gd name="connsiteY4" fmla="*/ 70006 h 101834"/>
                  <a:gd name="connsiteX5" fmla="*/ 5555 w 90460"/>
                  <a:gd name="connsiteY5" fmla="*/ 68859 h 101834"/>
                  <a:gd name="connsiteX6" fmla="*/ 2028 w 90460"/>
                  <a:gd name="connsiteY6" fmla="*/ 63922 h 101834"/>
                  <a:gd name="connsiteX7" fmla="*/ 14900 w 90460"/>
                  <a:gd name="connsiteY7" fmla="*/ 43731 h 101834"/>
                  <a:gd name="connsiteX8" fmla="*/ 26274 w 90460"/>
                  <a:gd name="connsiteY8" fmla="*/ 42850 h 101834"/>
                  <a:gd name="connsiteX9" fmla="*/ 43732 w 90460"/>
                  <a:gd name="connsiteY9" fmla="*/ 44084 h 101834"/>
                  <a:gd name="connsiteX10" fmla="*/ 45230 w 90460"/>
                  <a:gd name="connsiteY10" fmla="*/ 41439 h 101834"/>
                  <a:gd name="connsiteX11" fmla="*/ 43467 w 90460"/>
                  <a:gd name="connsiteY11" fmla="*/ 39411 h 101834"/>
                  <a:gd name="connsiteX12" fmla="*/ 45230 w 90460"/>
                  <a:gd name="connsiteY12" fmla="*/ 37648 h 101834"/>
                  <a:gd name="connsiteX13" fmla="*/ 45495 w 90460"/>
                  <a:gd name="connsiteY13" fmla="*/ 34386 h 101834"/>
                  <a:gd name="connsiteX14" fmla="*/ 41439 w 90460"/>
                  <a:gd name="connsiteY14" fmla="*/ 33857 h 101834"/>
                  <a:gd name="connsiteX15" fmla="*/ 39676 w 90460"/>
                  <a:gd name="connsiteY15" fmla="*/ 32093 h 101834"/>
                  <a:gd name="connsiteX16" fmla="*/ 40558 w 90460"/>
                  <a:gd name="connsiteY16" fmla="*/ 29184 h 101834"/>
                  <a:gd name="connsiteX17" fmla="*/ 38530 w 90460"/>
                  <a:gd name="connsiteY17" fmla="*/ 24775 h 101834"/>
                  <a:gd name="connsiteX18" fmla="*/ 35620 w 90460"/>
                  <a:gd name="connsiteY18" fmla="*/ 25657 h 101834"/>
                  <a:gd name="connsiteX19" fmla="*/ 34738 w 90460"/>
                  <a:gd name="connsiteY19" fmla="*/ 23012 h 101834"/>
                  <a:gd name="connsiteX20" fmla="*/ 31476 w 90460"/>
                  <a:gd name="connsiteY20" fmla="*/ 21866 h 101834"/>
                  <a:gd name="connsiteX21" fmla="*/ 28919 w 90460"/>
                  <a:gd name="connsiteY21" fmla="*/ 16047 h 101834"/>
                  <a:gd name="connsiteX22" fmla="*/ 25393 w 90460"/>
                  <a:gd name="connsiteY22" fmla="*/ 15429 h 101834"/>
                  <a:gd name="connsiteX23" fmla="*/ 25040 w 90460"/>
                  <a:gd name="connsiteY23" fmla="*/ 14019 h 101834"/>
                  <a:gd name="connsiteX24" fmla="*/ 35620 w 90460"/>
                  <a:gd name="connsiteY24" fmla="*/ 14548 h 101834"/>
                  <a:gd name="connsiteX25" fmla="*/ 36502 w 90460"/>
                  <a:gd name="connsiteY25" fmla="*/ 0 h 101834"/>
                  <a:gd name="connsiteX26" fmla="*/ 75560 w 90460"/>
                  <a:gd name="connsiteY26" fmla="*/ 882 h 101834"/>
                  <a:gd name="connsiteX27" fmla="*/ 69124 w 90460"/>
                  <a:gd name="connsiteY27" fmla="*/ 47875 h 101834"/>
                  <a:gd name="connsiteX28" fmla="*/ 76442 w 90460"/>
                  <a:gd name="connsiteY28" fmla="*/ 49022 h 101834"/>
                  <a:gd name="connsiteX29" fmla="*/ 81644 w 90460"/>
                  <a:gd name="connsiteY29" fmla="*/ 51667 h 101834"/>
                  <a:gd name="connsiteX30" fmla="*/ 81115 w 90460"/>
                  <a:gd name="connsiteY30" fmla="*/ 53077 h 101834"/>
                  <a:gd name="connsiteX31" fmla="*/ 83143 w 90460"/>
                  <a:gd name="connsiteY31" fmla="*/ 51049 h 101834"/>
                  <a:gd name="connsiteX32" fmla="*/ 83143 w 90460"/>
                  <a:gd name="connsiteY32" fmla="*/ 49551 h 101834"/>
                  <a:gd name="connsiteX33" fmla="*/ 84906 w 90460"/>
                  <a:gd name="connsiteY33" fmla="*/ 49286 h 101834"/>
                  <a:gd name="connsiteX34" fmla="*/ 82526 w 90460"/>
                  <a:gd name="connsiteY34" fmla="*/ 47258 h 101834"/>
                  <a:gd name="connsiteX35" fmla="*/ 82526 w 90460"/>
                  <a:gd name="connsiteY35" fmla="*/ 46377 h 101834"/>
                  <a:gd name="connsiteX36" fmla="*/ 90461 w 90460"/>
                  <a:gd name="connsiteY36" fmla="*/ 51931 h 101834"/>
                  <a:gd name="connsiteX37" fmla="*/ 90108 w 90460"/>
                  <a:gd name="connsiteY37" fmla="*/ 53077 h 101834"/>
                  <a:gd name="connsiteX38" fmla="*/ 88080 w 90460"/>
                  <a:gd name="connsiteY38" fmla="*/ 53959 h 101834"/>
                  <a:gd name="connsiteX39" fmla="*/ 79616 w 90460"/>
                  <a:gd name="connsiteY39" fmla="*/ 61806 h 101834"/>
                  <a:gd name="connsiteX40" fmla="*/ 72034 w 90460"/>
                  <a:gd name="connsiteY40" fmla="*/ 67096 h 101834"/>
                  <a:gd name="connsiteX41" fmla="*/ 68507 w 90460"/>
                  <a:gd name="connsiteY41" fmla="*/ 69124 h 101834"/>
                  <a:gd name="connsiteX42" fmla="*/ 67361 w 90460"/>
                  <a:gd name="connsiteY42" fmla="*/ 70270 h 101834"/>
                  <a:gd name="connsiteX43" fmla="*/ 67978 w 90460"/>
                  <a:gd name="connsiteY43" fmla="*/ 71152 h 101834"/>
                  <a:gd name="connsiteX44" fmla="*/ 66479 w 90460"/>
                  <a:gd name="connsiteY44" fmla="*/ 72651 h 101834"/>
                  <a:gd name="connsiteX45" fmla="*/ 67361 w 90460"/>
                  <a:gd name="connsiteY45" fmla="*/ 76706 h 101834"/>
                  <a:gd name="connsiteX46" fmla="*/ 67978 w 90460"/>
                  <a:gd name="connsiteY46" fmla="*/ 77324 h 101834"/>
                  <a:gd name="connsiteX47" fmla="*/ 66832 w 90460"/>
                  <a:gd name="connsiteY47" fmla="*/ 81115 h 101834"/>
                  <a:gd name="connsiteX48" fmla="*/ 65068 w 90460"/>
                  <a:gd name="connsiteY48" fmla="*/ 81115 h 101834"/>
                  <a:gd name="connsiteX49" fmla="*/ 65068 w 90460"/>
                  <a:gd name="connsiteY49" fmla="*/ 83407 h 101834"/>
                  <a:gd name="connsiteX50" fmla="*/ 62423 w 90460"/>
                  <a:gd name="connsiteY50" fmla="*/ 83407 h 101834"/>
                  <a:gd name="connsiteX51" fmla="*/ 62423 w 90460"/>
                  <a:gd name="connsiteY51" fmla="*/ 84906 h 101834"/>
                  <a:gd name="connsiteX52" fmla="*/ 59161 w 90460"/>
                  <a:gd name="connsiteY52" fmla="*/ 84553 h 101834"/>
                  <a:gd name="connsiteX53" fmla="*/ 58368 w 90460"/>
                  <a:gd name="connsiteY53" fmla="*/ 86052 h 101834"/>
                  <a:gd name="connsiteX54" fmla="*/ 58632 w 90460"/>
                  <a:gd name="connsiteY54" fmla="*/ 84906 h 101834"/>
                  <a:gd name="connsiteX55" fmla="*/ 57750 w 90460"/>
                  <a:gd name="connsiteY55" fmla="*/ 84906 h 101834"/>
                  <a:gd name="connsiteX56" fmla="*/ 57133 w 90460"/>
                  <a:gd name="connsiteY56" fmla="*/ 87463 h 101834"/>
                  <a:gd name="connsiteX57" fmla="*/ 58015 w 90460"/>
                  <a:gd name="connsiteY57" fmla="*/ 89226 h 101834"/>
                  <a:gd name="connsiteX58" fmla="*/ 57133 w 90460"/>
                  <a:gd name="connsiteY58" fmla="*/ 90373 h 101834"/>
                  <a:gd name="connsiteX59" fmla="*/ 55987 w 90460"/>
                  <a:gd name="connsiteY59" fmla="*/ 89579 h 101834"/>
                  <a:gd name="connsiteX60" fmla="*/ 54576 w 90460"/>
                  <a:gd name="connsiteY60" fmla="*/ 91254 h 101834"/>
                  <a:gd name="connsiteX61" fmla="*/ 52813 w 90460"/>
                  <a:gd name="connsiteY61" fmla="*/ 93282 h 101834"/>
                  <a:gd name="connsiteX62" fmla="*/ 53077 w 90460"/>
                  <a:gd name="connsiteY62" fmla="*/ 94781 h 101834"/>
                  <a:gd name="connsiteX63" fmla="*/ 51050 w 90460"/>
                  <a:gd name="connsiteY63" fmla="*/ 93635 h 101834"/>
                  <a:gd name="connsiteX64" fmla="*/ 44878 w 90460"/>
                  <a:gd name="connsiteY64" fmla="*/ 98043 h 101834"/>
                  <a:gd name="connsiteX65" fmla="*/ 44349 w 90460"/>
                  <a:gd name="connsiteY65" fmla="*/ 101834 h 101834"/>
                  <a:gd name="connsiteX66" fmla="*/ 33857 w 90460"/>
                  <a:gd name="connsiteY66" fmla="*/ 96809 h 101834"/>
                  <a:gd name="connsiteX67" fmla="*/ 24511 w 90460"/>
                  <a:gd name="connsiteY67" fmla="*/ 97161 h 101834"/>
                  <a:gd name="connsiteX68" fmla="*/ 16928 w 90460"/>
                  <a:gd name="connsiteY68" fmla="*/ 95927 h 101834"/>
                  <a:gd name="connsiteX69" fmla="*/ 8200 w 90460"/>
                  <a:gd name="connsiteY69" fmla="*/ 89843 h 10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90460" h="101834">
                    <a:moveTo>
                      <a:pt x="0" y="82261"/>
                    </a:moveTo>
                    <a:lnTo>
                      <a:pt x="2645" y="79616"/>
                    </a:lnTo>
                    <a:lnTo>
                      <a:pt x="2645" y="76971"/>
                    </a:lnTo>
                    <a:lnTo>
                      <a:pt x="1146" y="74679"/>
                    </a:lnTo>
                    <a:lnTo>
                      <a:pt x="3527" y="70006"/>
                    </a:lnTo>
                    <a:lnTo>
                      <a:pt x="5555" y="68859"/>
                    </a:lnTo>
                    <a:lnTo>
                      <a:pt x="2028" y="63922"/>
                    </a:lnTo>
                    <a:lnTo>
                      <a:pt x="14900" y="43731"/>
                    </a:lnTo>
                    <a:lnTo>
                      <a:pt x="26274" y="42850"/>
                    </a:lnTo>
                    <a:lnTo>
                      <a:pt x="43732" y="44084"/>
                    </a:lnTo>
                    <a:lnTo>
                      <a:pt x="45230" y="41439"/>
                    </a:lnTo>
                    <a:lnTo>
                      <a:pt x="43467" y="39411"/>
                    </a:lnTo>
                    <a:lnTo>
                      <a:pt x="45230" y="37648"/>
                    </a:lnTo>
                    <a:lnTo>
                      <a:pt x="45495" y="34386"/>
                    </a:lnTo>
                    <a:lnTo>
                      <a:pt x="41439" y="33857"/>
                    </a:lnTo>
                    <a:lnTo>
                      <a:pt x="39676" y="32093"/>
                    </a:lnTo>
                    <a:lnTo>
                      <a:pt x="40558" y="29184"/>
                    </a:lnTo>
                    <a:lnTo>
                      <a:pt x="38530" y="24775"/>
                    </a:lnTo>
                    <a:lnTo>
                      <a:pt x="35620" y="25657"/>
                    </a:lnTo>
                    <a:lnTo>
                      <a:pt x="34738" y="23012"/>
                    </a:lnTo>
                    <a:lnTo>
                      <a:pt x="31476" y="21866"/>
                    </a:lnTo>
                    <a:lnTo>
                      <a:pt x="28919" y="16047"/>
                    </a:lnTo>
                    <a:lnTo>
                      <a:pt x="25393" y="15429"/>
                    </a:lnTo>
                    <a:lnTo>
                      <a:pt x="25040" y="14019"/>
                    </a:lnTo>
                    <a:lnTo>
                      <a:pt x="35620" y="14548"/>
                    </a:lnTo>
                    <a:lnTo>
                      <a:pt x="36502" y="0"/>
                    </a:lnTo>
                    <a:lnTo>
                      <a:pt x="75560" y="882"/>
                    </a:lnTo>
                    <a:lnTo>
                      <a:pt x="69124" y="47875"/>
                    </a:lnTo>
                    <a:lnTo>
                      <a:pt x="76442" y="49022"/>
                    </a:lnTo>
                    <a:lnTo>
                      <a:pt x="81644" y="51667"/>
                    </a:lnTo>
                    <a:lnTo>
                      <a:pt x="81115" y="53077"/>
                    </a:lnTo>
                    <a:lnTo>
                      <a:pt x="83143" y="51049"/>
                    </a:lnTo>
                    <a:lnTo>
                      <a:pt x="83143" y="49551"/>
                    </a:lnTo>
                    <a:lnTo>
                      <a:pt x="84906" y="49286"/>
                    </a:lnTo>
                    <a:lnTo>
                      <a:pt x="82526" y="47258"/>
                    </a:lnTo>
                    <a:lnTo>
                      <a:pt x="82526" y="46377"/>
                    </a:lnTo>
                    <a:lnTo>
                      <a:pt x="90461" y="51931"/>
                    </a:lnTo>
                    <a:lnTo>
                      <a:pt x="90108" y="53077"/>
                    </a:lnTo>
                    <a:lnTo>
                      <a:pt x="88080" y="53959"/>
                    </a:lnTo>
                    <a:lnTo>
                      <a:pt x="79616" y="61806"/>
                    </a:lnTo>
                    <a:lnTo>
                      <a:pt x="72034" y="67096"/>
                    </a:lnTo>
                    <a:lnTo>
                      <a:pt x="68507" y="69124"/>
                    </a:lnTo>
                    <a:lnTo>
                      <a:pt x="67361" y="70270"/>
                    </a:lnTo>
                    <a:lnTo>
                      <a:pt x="67978" y="71152"/>
                    </a:lnTo>
                    <a:lnTo>
                      <a:pt x="66479" y="72651"/>
                    </a:lnTo>
                    <a:lnTo>
                      <a:pt x="67361" y="76706"/>
                    </a:lnTo>
                    <a:lnTo>
                      <a:pt x="67978" y="77324"/>
                    </a:lnTo>
                    <a:lnTo>
                      <a:pt x="66832" y="81115"/>
                    </a:lnTo>
                    <a:lnTo>
                      <a:pt x="65068" y="81115"/>
                    </a:lnTo>
                    <a:lnTo>
                      <a:pt x="65068" y="83407"/>
                    </a:lnTo>
                    <a:lnTo>
                      <a:pt x="62423" y="83407"/>
                    </a:lnTo>
                    <a:lnTo>
                      <a:pt x="62423" y="84906"/>
                    </a:lnTo>
                    <a:lnTo>
                      <a:pt x="59161" y="84553"/>
                    </a:lnTo>
                    <a:lnTo>
                      <a:pt x="58368" y="86052"/>
                    </a:lnTo>
                    <a:lnTo>
                      <a:pt x="58632" y="84906"/>
                    </a:lnTo>
                    <a:lnTo>
                      <a:pt x="57750" y="84906"/>
                    </a:lnTo>
                    <a:lnTo>
                      <a:pt x="57133" y="87463"/>
                    </a:lnTo>
                    <a:lnTo>
                      <a:pt x="58015" y="89226"/>
                    </a:lnTo>
                    <a:lnTo>
                      <a:pt x="57133" y="90373"/>
                    </a:lnTo>
                    <a:lnTo>
                      <a:pt x="55987" y="89579"/>
                    </a:lnTo>
                    <a:lnTo>
                      <a:pt x="54576" y="91254"/>
                    </a:lnTo>
                    <a:lnTo>
                      <a:pt x="52813" y="93282"/>
                    </a:lnTo>
                    <a:lnTo>
                      <a:pt x="53077" y="94781"/>
                    </a:lnTo>
                    <a:lnTo>
                      <a:pt x="51050" y="93635"/>
                    </a:lnTo>
                    <a:lnTo>
                      <a:pt x="44878" y="98043"/>
                    </a:lnTo>
                    <a:lnTo>
                      <a:pt x="44349" y="101834"/>
                    </a:lnTo>
                    <a:lnTo>
                      <a:pt x="33857" y="96809"/>
                    </a:lnTo>
                    <a:lnTo>
                      <a:pt x="24511" y="97161"/>
                    </a:lnTo>
                    <a:lnTo>
                      <a:pt x="16928" y="95927"/>
                    </a:lnTo>
                    <a:lnTo>
                      <a:pt x="8200" y="8984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9" name="Freihandform: Form 1758">
                <a:extLst>
                  <a:ext uri="{FF2B5EF4-FFF2-40B4-BE49-F238E27FC236}">
                    <a16:creationId xmlns:a16="http://schemas.microsoft.com/office/drawing/2014/main" id="{E014A2D9-B77E-72E5-2A76-E105A0B49066}"/>
                  </a:ext>
                </a:extLst>
              </p:cNvPr>
              <p:cNvSpPr/>
              <p:nvPr/>
            </p:nvSpPr>
            <p:spPr>
              <a:xfrm>
                <a:off x="2288928" y="4114685"/>
                <a:ext cx="125022" cy="160731"/>
              </a:xfrm>
              <a:custGeom>
                <a:avLst/>
                <a:gdLst>
                  <a:gd name="connsiteX0" fmla="*/ 13049 w 125022"/>
                  <a:gd name="connsiteY0" fmla="*/ 119909 h 160731"/>
                  <a:gd name="connsiteX1" fmla="*/ 15429 w 125022"/>
                  <a:gd name="connsiteY1" fmla="*/ 121055 h 160731"/>
                  <a:gd name="connsiteX2" fmla="*/ 15694 w 125022"/>
                  <a:gd name="connsiteY2" fmla="*/ 123083 h 160731"/>
                  <a:gd name="connsiteX3" fmla="*/ 15958 w 125022"/>
                  <a:gd name="connsiteY3" fmla="*/ 125111 h 160731"/>
                  <a:gd name="connsiteX4" fmla="*/ 15958 w 125022"/>
                  <a:gd name="connsiteY4" fmla="*/ 127139 h 160731"/>
                  <a:gd name="connsiteX5" fmla="*/ 15958 w 125022"/>
                  <a:gd name="connsiteY5" fmla="*/ 129519 h 160731"/>
                  <a:gd name="connsiteX6" fmla="*/ 16840 w 125022"/>
                  <a:gd name="connsiteY6" fmla="*/ 131812 h 160731"/>
                  <a:gd name="connsiteX7" fmla="*/ 16223 w 125022"/>
                  <a:gd name="connsiteY7" fmla="*/ 134104 h 160731"/>
                  <a:gd name="connsiteX8" fmla="*/ 14724 w 125022"/>
                  <a:gd name="connsiteY8" fmla="*/ 134986 h 160731"/>
                  <a:gd name="connsiteX9" fmla="*/ 13578 w 125022"/>
                  <a:gd name="connsiteY9" fmla="*/ 134986 h 160731"/>
                  <a:gd name="connsiteX10" fmla="*/ 10051 w 125022"/>
                  <a:gd name="connsiteY10" fmla="*/ 136485 h 160731"/>
                  <a:gd name="connsiteX11" fmla="*/ 10668 w 125022"/>
                  <a:gd name="connsiteY11" fmla="*/ 138513 h 160731"/>
                  <a:gd name="connsiteX12" fmla="*/ 11550 w 125022"/>
                  <a:gd name="connsiteY12" fmla="*/ 140540 h 160731"/>
                  <a:gd name="connsiteX13" fmla="*/ 13931 w 125022"/>
                  <a:gd name="connsiteY13" fmla="*/ 140276 h 160731"/>
                  <a:gd name="connsiteX14" fmla="*/ 11021 w 125022"/>
                  <a:gd name="connsiteY14" fmla="*/ 146095 h 160731"/>
                  <a:gd name="connsiteX15" fmla="*/ 13666 w 125022"/>
                  <a:gd name="connsiteY15" fmla="*/ 147594 h 160731"/>
                  <a:gd name="connsiteX16" fmla="*/ 13931 w 125022"/>
                  <a:gd name="connsiteY16" fmla="*/ 146448 h 160731"/>
                  <a:gd name="connsiteX17" fmla="*/ 15958 w 125022"/>
                  <a:gd name="connsiteY17" fmla="*/ 145919 h 160731"/>
                  <a:gd name="connsiteX18" fmla="*/ 18604 w 125022"/>
                  <a:gd name="connsiteY18" fmla="*/ 142392 h 160731"/>
                  <a:gd name="connsiteX19" fmla="*/ 19750 w 125022"/>
                  <a:gd name="connsiteY19" fmla="*/ 142657 h 160731"/>
                  <a:gd name="connsiteX20" fmla="*/ 22395 w 125022"/>
                  <a:gd name="connsiteY20" fmla="*/ 145919 h 160731"/>
                  <a:gd name="connsiteX21" fmla="*/ 24423 w 125022"/>
                  <a:gd name="connsiteY21" fmla="*/ 146183 h 160731"/>
                  <a:gd name="connsiteX22" fmla="*/ 26451 w 125022"/>
                  <a:gd name="connsiteY22" fmla="*/ 147682 h 160731"/>
                  <a:gd name="connsiteX23" fmla="*/ 29096 w 125022"/>
                  <a:gd name="connsiteY23" fmla="*/ 146183 h 160731"/>
                  <a:gd name="connsiteX24" fmla="*/ 32270 w 125022"/>
                  <a:gd name="connsiteY24" fmla="*/ 148211 h 160731"/>
                  <a:gd name="connsiteX25" fmla="*/ 32534 w 125022"/>
                  <a:gd name="connsiteY25" fmla="*/ 149357 h 160731"/>
                  <a:gd name="connsiteX26" fmla="*/ 33680 w 125022"/>
                  <a:gd name="connsiteY26" fmla="*/ 155529 h 160731"/>
                  <a:gd name="connsiteX27" fmla="*/ 35708 w 125022"/>
                  <a:gd name="connsiteY27" fmla="*/ 157293 h 160731"/>
                  <a:gd name="connsiteX28" fmla="*/ 37736 w 125022"/>
                  <a:gd name="connsiteY28" fmla="*/ 159585 h 160731"/>
                  <a:gd name="connsiteX29" fmla="*/ 41263 w 125022"/>
                  <a:gd name="connsiteY29" fmla="*/ 160467 h 160731"/>
                  <a:gd name="connsiteX30" fmla="*/ 42409 w 125022"/>
                  <a:gd name="connsiteY30" fmla="*/ 160731 h 160731"/>
                  <a:gd name="connsiteX31" fmla="*/ 43026 w 125022"/>
                  <a:gd name="connsiteY31" fmla="*/ 160731 h 160731"/>
                  <a:gd name="connsiteX32" fmla="*/ 44172 w 125022"/>
                  <a:gd name="connsiteY32" fmla="*/ 157204 h 160731"/>
                  <a:gd name="connsiteX33" fmla="*/ 45583 w 125022"/>
                  <a:gd name="connsiteY33" fmla="*/ 155176 h 160731"/>
                  <a:gd name="connsiteX34" fmla="*/ 46200 w 125022"/>
                  <a:gd name="connsiteY34" fmla="*/ 152531 h 160731"/>
                  <a:gd name="connsiteX35" fmla="*/ 50873 w 125022"/>
                  <a:gd name="connsiteY35" fmla="*/ 149886 h 160731"/>
                  <a:gd name="connsiteX36" fmla="*/ 50609 w 125022"/>
                  <a:gd name="connsiteY36" fmla="*/ 147594 h 160731"/>
                  <a:gd name="connsiteX37" fmla="*/ 50609 w 125022"/>
                  <a:gd name="connsiteY37" fmla="*/ 146095 h 160731"/>
                  <a:gd name="connsiteX38" fmla="*/ 51226 w 125022"/>
                  <a:gd name="connsiteY38" fmla="*/ 142039 h 160731"/>
                  <a:gd name="connsiteX39" fmla="*/ 52725 w 125022"/>
                  <a:gd name="connsiteY39" fmla="*/ 137984 h 160731"/>
                  <a:gd name="connsiteX40" fmla="*/ 53606 w 125022"/>
                  <a:gd name="connsiteY40" fmla="*/ 133311 h 160731"/>
                  <a:gd name="connsiteX41" fmla="*/ 56251 w 125022"/>
                  <a:gd name="connsiteY41" fmla="*/ 128638 h 160731"/>
                  <a:gd name="connsiteX42" fmla="*/ 56516 w 125022"/>
                  <a:gd name="connsiteY42" fmla="*/ 123436 h 160731"/>
                  <a:gd name="connsiteX43" fmla="*/ 58808 w 125022"/>
                  <a:gd name="connsiteY43" fmla="*/ 121055 h 160731"/>
                  <a:gd name="connsiteX44" fmla="*/ 59073 w 125022"/>
                  <a:gd name="connsiteY44" fmla="*/ 123436 h 160731"/>
                  <a:gd name="connsiteX45" fmla="*/ 60836 w 125022"/>
                  <a:gd name="connsiteY45" fmla="*/ 121673 h 160731"/>
                  <a:gd name="connsiteX46" fmla="*/ 59955 w 125022"/>
                  <a:gd name="connsiteY46" fmla="*/ 120262 h 160731"/>
                  <a:gd name="connsiteX47" fmla="*/ 62247 w 125022"/>
                  <a:gd name="connsiteY47" fmla="*/ 117352 h 160731"/>
                  <a:gd name="connsiteX48" fmla="*/ 63129 w 125022"/>
                  <a:gd name="connsiteY48" fmla="*/ 115942 h 160731"/>
                  <a:gd name="connsiteX49" fmla="*/ 67802 w 125022"/>
                  <a:gd name="connsiteY49" fmla="*/ 110122 h 160731"/>
                  <a:gd name="connsiteX50" fmla="*/ 106860 w 125022"/>
                  <a:gd name="connsiteY50" fmla="*/ 89403 h 160731"/>
                  <a:gd name="connsiteX51" fmla="*/ 117352 w 125022"/>
                  <a:gd name="connsiteY51" fmla="*/ 74502 h 160731"/>
                  <a:gd name="connsiteX52" fmla="*/ 120879 w 125022"/>
                  <a:gd name="connsiteY52" fmla="*/ 58720 h 160731"/>
                  <a:gd name="connsiteX53" fmla="*/ 122642 w 125022"/>
                  <a:gd name="connsiteY53" fmla="*/ 60484 h 160731"/>
                  <a:gd name="connsiteX54" fmla="*/ 125023 w 125022"/>
                  <a:gd name="connsiteY54" fmla="*/ 59955 h 160731"/>
                  <a:gd name="connsiteX55" fmla="*/ 124141 w 125022"/>
                  <a:gd name="connsiteY55" fmla="*/ 57927 h 160731"/>
                  <a:gd name="connsiteX56" fmla="*/ 123877 w 125022"/>
                  <a:gd name="connsiteY56" fmla="*/ 55899 h 160731"/>
                  <a:gd name="connsiteX57" fmla="*/ 123877 w 125022"/>
                  <a:gd name="connsiteY57" fmla="*/ 53254 h 160731"/>
                  <a:gd name="connsiteX58" fmla="*/ 124141 w 125022"/>
                  <a:gd name="connsiteY58" fmla="*/ 51755 h 160731"/>
                  <a:gd name="connsiteX59" fmla="*/ 123877 w 125022"/>
                  <a:gd name="connsiteY59" fmla="*/ 48845 h 160731"/>
                  <a:gd name="connsiteX60" fmla="*/ 122730 w 125022"/>
                  <a:gd name="connsiteY60" fmla="*/ 48228 h 160731"/>
                  <a:gd name="connsiteX61" fmla="*/ 121584 w 125022"/>
                  <a:gd name="connsiteY61" fmla="*/ 47347 h 160731"/>
                  <a:gd name="connsiteX62" fmla="*/ 120174 w 125022"/>
                  <a:gd name="connsiteY62" fmla="*/ 44437 h 160731"/>
                  <a:gd name="connsiteX63" fmla="*/ 117264 w 125022"/>
                  <a:gd name="connsiteY63" fmla="*/ 40910 h 160731"/>
                  <a:gd name="connsiteX64" fmla="*/ 115765 w 125022"/>
                  <a:gd name="connsiteY64" fmla="*/ 38618 h 160731"/>
                  <a:gd name="connsiteX65" fmla="*/ 120703 w 125022"/>
                  <a:gd name="connsiteY65" fmla="*/ 40117 h 160731"/>
                  <a:gd name="connsiteX66" fmla="*/ 121584 w 125022"/>
                  <a:gd name="connsiteY66" fmla="*/ 39852 h 160731"/>
                  <a:gd name="connsiteX67" fmla="*/ 123612 w 125022"/>
                  <a:gd name="connsiteY67" fmla="*/ 38442 h 160731"/>
                  <a:gd name="connsiteX68" fmla="*/ 120438 w 125022"/>
                  <a:gd name="connsiteY68" fmla="*/ 37560 h 160731"/>
                  <a:gd name="connsiteX69" fmla="*/ 113120 w 125022"/>
                  <a:gd name="connsiteY69" fmla="*/ 34033 h 160731"/>
                  <a:gd name="connsiteX70" fmla="*/ 110828 w 125022"/>
                  <a:gd name="connsiteY70" fmla="*/ 32622 h 160731"/>
                  <a:gd name="connsiteX71" fmla="*/ 106772 w 125022"/>
                  <a:gd name="connsiteY71" fmla="*/ 27685 h 160731"/>
                  <a:gd name="connsiteX72" fmla="*/ 105273 w 125022"/>
                  <a:gd name="connsiteY72" fmla="*/ 27685 h 160731"/>
                  <a:gd name="connsiteX73" fmla="*/ 104391 w 125022"/>
                  <a:gd name="connsiteY73" fmla="*/ 26186 h 160731"/>
                  <a:gd name="connsiteX74" fmla="*/ 101217 w 125022"/>
                  <a:gd name="connsiteY74" fmla="*/ 24687 h 160731"/>
                  <a:gd name="connsiteX75" fmla="*/ 100071 w 125022"/>
                  <a:gd name="connsiteY75" fmla="*/ 25834 h 160731"/>
                  <a:gd name="connsiteX76" fmla="*/ 99189 w 125022"/>
                  <a:gd name="connsiteY76" fmla="*/ 29889 h 160731"/>
                  <a:gd name="connsiteX77" fmla="*/ 94781 w 125022"/>
                  <a:gd name="connsiteY77" fmla="*/ 29889 h 160731"/>
                  <a:gd name="connsiteX78" fmla="*/ 92753 w 125022"/>
                  <a:gd name="connsiteY78" fmla="*/ 29272 h 160731"/>
                  <a:gd name="connsiteX79" fmla="*/ 90725 w 125022"/>
                  <a:gd name="connsiteY79" fmla="*/ 29889 h 160731"/>
                  <a:gd name="connsiteX80" fmla="*/ 88345 w 125022"/>
                  <a:gd name="connsiteY80" fmla="*/ 30154 h 160731"/>
                  <a:gd name="connsiteX81" fmla="*/ 84554 w 125022"/>
                  <a:gd name="connsiteY81" fmla="*/ 29272 h 160731"/>
                  <a:gd name="connsiteX82" fmla="*/ 83672 w 125022"/>
                  <a:gd name="connsiteY82" fmla="*/ 28126 h 160731"/>
                  <a:gd name="connsiteX83" fmla="*/ 79881 w 125022"/>
                  <a:gd name="connsiteY83" fmla="*/ 27509 h 160731"/>
                  <a:gd name="connsiteX84" fmla="*/ 76354 w 125022"/>
                  <a:gd name="connsiteY84" fmla="*/ 25745 h 160731"/>
                  <a:gd name="connsiteX85" fmla="*/ 76089 w 125022"/>
                  <a:gd name="connsiteY85" fmla="*/ 22219 h 160731"/>
                  <a:gd name="connsiteX86" fmla="*/ 76089 w 125022"/>
                  <a:gd name="connsiteY86" fmla="*/ 19926 h 160731"/>
                  <a:gd name="connsiteX87" fmla="*/ 75208 w 125022"/>
                  <a:gd name="connsiteY87" fmla="*/ 19044 h 160731"/>
                  <a:gd name="connsiteX88" fmla="*/ 71416 w 125022"/>
                  <a:gd name="connsiteY88" fmla="*/ 18163 h 160731"/>
                  <a:gd name="connsiteX89" fmla="*/ 71416 w 125022"/>
                  <a:gd name="connsiteY89" fmla="*/ 15253 h 160731"/>
                  <a:gd name="connsiteX90" fmla="*/ 70006 w 125022"/>
                  <a:gd name="connsiteY90" fmla="*/ 14636 h 160731"/>
                  <a:gd name="connsiteX91" fmla="*/ 67096 w 125022"/>
                  <a:gd name="connsiteY91" fmla="*/ 15253 h 160731"/>
                  <a:gd name="connsiteX92" fmla="*/ 65685 w 125022"/>
                  <a:gd name="connsiteY92" fmla="*/ 13754 h 160731"/>
                  <a:gd name="connsiteX93" fmla="*/ 63658 w 125022"/>
                  <a:gd name="connsiteY93" fmla="*/ 13137 h 160731"/>
                  <a:gd name="connsiteX94" fmla="*/ 58985 w 125022"/>
                  <a:gd name="connsiteY94" fmla="*/ 11109 h 160731"/>
                  <a:gd name="connsiteX95" fmla="*/ 56340 w 125022"/>
                  <a:gd name="connsiteY95" fmla="*/ 9346 h 160731"/>
                  <a:gd name="connsiteX96" fmla="*/ 52284 w 125022"/>
                  <a:gd name="connsiteY96" fmla="*/ 5290 h 160731"/>
                  <a:gd name="connsiteX97" fmla="*/ 51402 w 125022"/>
                  <a:gd name="connsiteY97" fmla="*/ 5026 h 160731"/>
                  <a:gd name="connsiteX98" fmla="*/ 50521 w 125022"/>
                  <a:gd name="connsiteY98" fmla="*/ 4144 h 160731"/>
                  <a:gd name="connsiteX99" fmla="*/ 49022 w 125022"/>
                  <a:gd name="connsiteY99" fmla="*/ 3527 h 160731"/>
                  <a:gd name="connsiteX100" fmla="*/ 46112 w 125022"/>
                  <a:gd name="connsiteY100" fmla="*/ 0 h 160731"/>
                  <a:gd name="connsiteX101" fmla="*/ 45848 w 125022"/>
                  <a:gd name="connsiteY101" fmla="*/ 1146 h 160731"/>
                  <a:gd name="connsiteX102" fmla="*/ 44437 w 125022"/>
                  <a:gd name="connsiteY102" fmla="*/ 2910 h 160731"/>
                  <a:gd name="connsiteX103" fmla="*/ 46200 w 125022"/>
                  <a:gd name="connsiteY103" fmla="*/ 3439 h 160731"/>
                  <a:gd name="connsiteX104" fmla="*/ 44437 w 125022"/>
                  <a:gd name="connsiteY104" fmla="*/ 4937 h 160731"/>
                  <a:gd name="connsiteX105" fmla="*/ 43555 w 125022"/>
                  <a:gd name="connsiteY105" fmla="*/ 4937 h 160731"/>
                  <a:gd name="connsiteX106" fmla="*/ 42938 w 125022"/>
                  <a:gd name="connsiteY106" fmla="*/ 6965 h 160731"/>
                  <a:gd name="connsiteX107" fmla="*/ 41439 w 125022"/>
                  <a:gd name="connsiteY107" fmla="*/ 6348 h 160731"/>
                  <a:gd name="connsiteX108" fmla="*/ 39411 w 125022"/>
                  <a:gd name="connsiteY108" fmla="*/ 7230 h 160731"/>
                  <a:gd name="connsiteX109" fmla="*/ 33328 w 125022"/>
                  <a:gd name="connsiteY109" fmla="*/ 9258 h 160731"/>
                  <a:gd name="connsiteX110" fmla="*/ 29801 w 125022"/>
                  <a:gd name="connsiteY110" fmla="*/ 11021 h 160731"/>
                  <a:gd name="connsiteX111" fmla="*/ 27773 w 125022"/>
                  <a:gd name="connsiteY111" fmla="*/ 13049 h 160731"/>
                  <a:gd name="connsiteX112" fmla="*/ 28390 w 125022"/>
                  <a:gd name="connsiteY112" fmla="*/ 14812 h 160731"/>
                  <a:gd name="connsiteX113" fmla="*/ 27509 w 125022"/>
                  <a:gd name="connsiteY113" fmla="*/ 13049 h 160731"/>
                  <a:gd name="connsiteX114" fmla="*/ 25481 w 125022"/>
                  <a:gd name="connsiteY114" fmla="*/ 12167 h 160731"/>
                  <a:gd name="connsiteX115" fmla="*/ 21425 w 125022"/>
                  <a:gd name="connsiteY115" fmla="*/ 14195 h 160731"/>
                  <a:gd name="connsiteX116" fmla="*/ 18515 w 125022"/>
                  <a:gd name="connsiteY116" fmla="*/ 14812 h 160731"/>
                  <a:gd name="connsiteX117" fmla="*/ 17369 w 125022"/>
                  <a:gd name="connsiteY117" fmla="*/ 18604 h 160731"/>
                  <a:gd name="connsiteX118" fmla="*/ 18515 w 125022"/>
                  <a:gd name="connsiteY118" fmla="*/ 20102 h 160731"/>
                  <a:gd name="connsiteX119" fmla="*/ 19662 w 125022"/>
                  <a:gd name="connsiteY119" fmla="*/ 22130 h 160731"/>
                  <a:gd name="connsiteX120" fmla="*/ 19397 w 125022"/>
                  <a:gd name="connsiteY120" fmla="*/ 25040 h 160731"/>
                  <a:gd name="connsiteX121" fmla="*/ 20014 w 125022"/>
                  <a:gd name="connsiteY121" fmla="*/ 27949 h 160731"/>
                  <a:gd name="connsiteX122" fmla="*/ 19397 w 125022"/>
                  <a:gd name="connsiteY122" fmla="*/ 27332 h 160731"/>
                  <a:gd name="connsiteX123" fmla="*/ 17369 w 125022"/>
                  <a:gd name="connsiteY123" fmla="*/ 29713 h 160731"/>
                  <a:gd name="connsiteX124" fmla="*/ 18251 w 125022"/>
                  <a:gd name="connsiteY124" fmla="*/ 33769 h 160731"/>
                  <a:gd name="connsiteX125" fmla="*/ 20014 w 125022"/>
                  <a:gd name="connsiteY125" fmla="*/ 34298 h 160731"/>
                  <a:gd name="connsiteX126" fmla="*/ 22395 w 125022"/>
                  <a:gd name="connsiteY126" fmla="*/ 36326 h 160731"/>
                  <a:gd name="connsiteX127" fmla="*/ 19221 w 125022"/>
                  <a:gd name="connsiteY127" fmla="*/ 37472 h 160731"/>
                  <a:gd name="connsiteX128" fmla="*/ 19838 w 125022"/>
                  <a:gd name="connsiteY128" fmla="*/ 38618 h 160731"/>
                  <a:gd name="connsiteX129" fmla="*/ 18339 w 125022"/>
                  <a:gd name="connsiteY129" fmla="*/ 39235 h 160731"/>
                  <a:gd name="connsiteX130" fmla="*/ 17193 w 125022"/>
                  <a:gd name="connsiteY130" fmla="*/ 40734 h 160731"/>
                  <a:gd name="connsiteX131" fmla="*/ 15429 w 125022"/>
                  <a:gd name="connsiteY131" fmla="*/ 41351 h 160731"/>
                  <a:gd name="connsiteX132" fmla="*/ 15429 w 125022"/>
                  <a:gd name="connsiteY132" fmla="*/ 41615 h 160731"/>
                  <a:gd name="connsiteX133" fmla="*/ 13402 w 125022"/>
                  <a:gd name="connsiteY133" fmla="*/ 43379 h 160731"/>
                  <a:gd name="connsiteX134" fmla="*/ 13137 w 125022"/>
                  <a:gd name="connsiteY134" fmla="*/ 43643 h 160731"/>
                  <a:gd name="connsiteX135" fmla="*/ 11991 w 125022"/>
                  <a:gd name="connsiteY135" fmla="*/ 44261 h 160731"/>
                  <a:gd name="connsiteX136" fmla="*/ 10845 w 125022"/>
                  <a:gd name="connsiteY136" fmla="*/ 44525 h 160731"/>
                  <a:gd name="connsiteX137" fmla="*/ 10845 w 125022"/>
                  <a:gd name="connsiteY137" fmla="*/ 43643 h 160731"/>
                  <a:gd name="connsiteX138" fmla="*/ 9081 w 125022"/>
                  <a:gd name="connsiteY138" fmla="*/ 44525 h 160731"/>
                  <a:gd name="connsiteX139" fmla="*/ 9963 w 125022"/>
                  <a:gd name="connsiteY139" fmla="*/ 46024 h 160731"/>
                  <a:gd name="connsiteX140" fmla="*/ 9963 w 125022"/>
                  <a:gd name="connsiteY140" fmla="*/ 46641 h 160731"/>
                  <a:gd name="connsiteX141" fmla="*/ 12255 w 125022"/>
                  <a:gd name="connsiteY141" fmla="*/ 48140 h 160731"/>
                  <a:gd name="connsiteX142" fmla="*/ 13402 w 125022"/>
                  <a:gd name="connsiteY142" fmla="*/ 49286 h 160731"/>
                  <a:gd name="connsiteX143" fmla="*/ 14283 w 125022"/>
                  <a:gd name="connsiteY143" fmla="*/ 51579 h 160731"/>
                  <a:gd name="connsiteX144" fmla="*/ 11109 w 125022"/>
                  <a:gd name="connsiteY144" fmla="*/ 51579 h 160731"/>
                  <a:gd name="connsiteX145" fmla="*/ 10492 w 125022"/>
                  <a:gd name="connsiteY145" fmla="*/ 49815 h 160731"/>
                  <a:gd name="connsiteX146" fmla="*/ 12784 w 125022"/>
                  <a:gd name="connsiteY146" fmla="*/ 55987 h 160731"/>
                  <a:gd name="connsiteX147" fmla="*/ 10757 w 125022"/>
                  <a:gd name="connsiteY147" fmla="*/ 57486 h 160731"/>
                  <a:gd name="connsiteX148" fmla="*/ 8376 w 125022"/>
                  <a:gd name="connsiteY148" fmla="*/ 56604 h 160731"/>
                  <a:gd name="connsiteX149" fmla="*/ 7230 w 125022"/>
                  <a:gd name="connsiteY149" fmla="*/ 58103 h 160731"/>
                  <a:gd name="connsiteX150" fmla="*/ 5202 w 125022"/>
                  <a:gd name="connsiteY150" fmla="*/ 58720 h 160731"/>
                  <a:gd name="connsiteX151" fmla="*/ 3174 w 125022"/>
                  <a:gd name="connsiteY151" fmla="*/ 58720 h 160731"/>
                  <a:gd name="connsiteX152" fmla="*/ 2028 w 125022"/>
                  <a:gd name="connsiteY152" fmla="*/ 59337 h 160731"/>
                  <a:gd name="connsiteX153" fmla="*/ 0 w 125022"/>
                  <a:gd name="connsiteY153" fmla="*/ 61630 h 160731"/>
                  <a:gd name="connsiteX154" fmla="*/ 617 w 125022"/>
                  <a:gd name="connsiteY154" fmla="*/ 64010 h 160731"/>
                  <a:gd name="connsiteX155" fmla="*/ 2645 w 125022"/>
                  <a:gd name="connsiteY155" fmla="*/ 65774 h 160731"/>
                  <a:gd name="connsiteX156" fmla="*/ 3791 w 125022"/>
                  <a:gd name="connsiteY156" fmla="*/ 66655 h 160731"/>
                  <a:gd name="connsiteX157" fmla="*/ 2910 w 125022"/>
                  <a:gd name="connsiteY157" fmla="*/ 70711 h 160731"/>
                  <a:gd name="connsiteX158" fmla="*/ 2292 w 125022"/>
                  <a:gd name="connsiteY158" fmla="*/ 73003 h 160731"/>
                  <a:gd name="connsiteX159" fmla="*/ 2557 w 125022"/>
                  <a:gd name="connsiteY159" fmla="*/ 74502 h 160731"/>
                  <a:gd name="connsiteX160" fmla="*/ 4320 w 125022"/>
                  <a:gd name="connsiteY160" fmla="*/ 74238 h 160731"/>
                  <a:gd name="connsiteX161" fmla="*/ 5202 w 125022"/>
                  <a:gd name="connsiteY161" fmla="*/ 76001 h 160731"/>
                  <a:gd name="connsiteX162" fmla="*/ 5819 w 125022"/>
                  <a:gd name="connsiteY162" fmla="*/ 78911 h 160731"/>
                  <a:gd name="connsiteX163" fmla="*/ 4320 w 125022"/>
                  <a:gd name="connsiteY163" fmla="*/ 80674 h 160731"/>
                  <a:gd name="connsiteX164" fmla="*/ 4937 w 125022"/>
                  <a:gd name="connsiteY164" fmla="*/ 81820 h 160731"/>
                  <a:gd name="connsiteX165" fmla="*/ 5555 w 125022"/>
                  <a:gd name="connsiteY165" fmla="*/ 84465 h 160731"/>
                  <a:gd name="connsiteX166" fmla="*/ 7053 w 125022"/>
                  <a:gd name="connsiteY166" fmla="*/ 87992 h 160731"/>
                  <a:gd name="connsiteX167" fmla="*/ 6172 w 125022"/>
                  <a:gd name="connsiteY167" fmla="*/ 90902 h 160731"/>
                  <a:gd name="connsiteX168" fmla="*/ 353 w 125022"/>
                  <a:gd name="connsiteY168" fmla="*/ 90902 h 160731"/>
                  <a:gd name="connsiteX169" fmla="*/ 1499 w 125022"/>
                  <a:gd name="connsiteY169" fmla="*/ 92665 h 160731"/>
                  <a:gd name="connsiteX170" fmla="*/ 353 w 125022"/>
                  <a:gd name="connsiteY170" fmla="*/ 93811 h 160731"/>
                  <a:gd name="connsiteX171" fmla="*/ 3262 w 125022"/>
                  <a:gd name="connsiteY171" fmla="*/ 95310 h 160731"/>
                  <a:gd name="connsiteX172" fmla="*/ 2998 w 125022"/>
                  <a:gd name="connsiteY172" fmla="*/ 91783 h 160731"/>
                  <a:gd name="connsiteX173" fmla="*/ 4144 w 125022"/>
                  <a:gd name="connsiteY173" fmla="*/ 91783 h 160731"/>
                  <a:gd name="connsiteX174" fmla="*/ 7053 w 125022"/>
                  <a:gd name="connsiteY174" fmla="*/ 92930 h 160731"/>
                  <a:gd name="connsiteX175" fmla="*/ 5290 w 125022"/>
                  <a:gd name="connsiteY175" fmla="*/ 95575 h 160731"/>
                  <a:gd name="connsiteX176" fmla="*/ 10492 w 125022"/>
                  <a:gd name="connsiteY176" fmla="*/ 101394 h 160731"/>
                  <a:gd name="connsiteX177" fmla="*/ 13754 w 125022"/>
                  <a:gd name="connsiteY177" fmla="*/ 103774 h 160731"/>
                  <a:gd name="connsiteX178" fmla="*/ 15253 w 125022"/>
                  <a:gd name="connsiteY178" fmla="*/ 103510 h 160731"/>
                  <a:gd name="connsiteX179" fmla="*/ 14371 w 125022"/>
                  <a:gd name="connsiteY179" fmla="*/ 102364 h 160731"/>
                  <a:gd name="connsiteX180" fmla="*/ 15518 w 125022"/>
                  <a:gd name="connsiteY180" fmla="*/ 101482 h 160731"/>
                  <a:gd name="connsiteX181" fmla="*/ 16664 w 125022"/>
                  <a:gd name="connsiteY181" fmla="*/ 100600 h 160731"/>
                  <a:gd name="connsiteX182" fmla="*/ 20191 w 125022"/>
                  <a:gd name="connsiteY182" fmla="*/ 94429 h 160731"/>
                  <a:gd name="connsiteX183" fmla="*/ 20808 w 125022"/>
                  <a:gd name="connsiteY183" fmla="*/ 94164 h 160731"/>
                  <a:gd name="connsiteX184" fmla="*/ 21072 w 125022"/>
                  <a:gd name="connsiteY184" fmla="*/ 94429 h 160731"/>
                  <a:gd name="connsiteX185" fmla="*/ 20191 w 125022"/>
                  <a:gd name="connsiteY185" fmla="*/ 97691 h 160731"/>
                  <a:gd name="connsiteX186" fmla="*/ 21689 w 125022"/>
                  <a:gd name="connsiteY186" fmla="*/ 97691 h 160731"/>
                  <a:gd name="connsiteX187" fmla="*/ 22218 w 125022"/>
                  <a:gd name="connsiteY187" fmla="*/ 97691 h 160731"/>
                  <a:gd name="connsiteX188" fmla="*/ 21072 w 125022"/>
                  <a:gd name="connsiteY188" fmla="*/ 97691 h 160731"/>
                  <a:gd name="connsiteX189" fmla="*/ 20191 w 125022"/>
                  <a:gd name="connsiteY189" fmla="*/ 98837 h 160731"/>
                  <a:gd name="connsiteX190" fmla="*/ 19309 w 125022"/>
                  <a:gd name="connsiteY190" fmla="*/ 100600 h 160731"/>
                  <a:gd name="connsiteX191" fmla="*/ 20455 w 125022"/>
                  <a:gd name="connsiteY191" fmla="*/ 100600 h 160731"/>
                  <a:gd name="connsiteX192" fmla="*/ 22836 w 125022"/>
                  <a:gd name="connsiteY192" fmla="*/ 99983 h 160731"/>
                  <a:gd name="connsiteX193" fmla="*/ 23453 w 125022"/>
                  <a:gd name="connsiteY193" fmla="*/ 93900 h 160731"/>
                  <a:gd name="connsiteX194" fmla="*/ 22836 w 125022"/>
                  <a:gd name="connsiteY194" fmla="*/ 91607 h 160731"/>
                  <a:gd name="connsiteX195" fmla="*/ 23453 w 125022"/>
                  <a:gd name="connsiteY195" fmla="*/ 88080 h 160731"/>
                  <a:gd name="connsiteX196" fmla="*/ 24070 w 125022"/>
                  <a:gd name="connsiteY196" fmla="*/ 86581 h 160731"/>
                  <a:gd name="connsiteX197" fmla="*/ 25216 w 125022"/>
                  <a:gd name="connsiteY197" fmla="*/ 86581 h 160731"/>
                  <a:gd name="connsiteX198" fmla="*/ 24335 w 125022"/>
                  <a:gd name="connsiteY198" fmla="*/ 88080 h 160731"/>
                  <a:gd name="connsiteX199" fmla="*/ 23717 w 125022"/>
                  <a:gd name="connsiteY199" fmla="*/ 89579 h 160731"/>
                  <a:gd name="connsiteX200" fmla="*/ 23982 w 125022"/>
                  <a:gd name="connsiteY200" fmla="*/ 91607 h 160731"/>
                  <a:gd name="connsiteX201" fmla="*/ 23982 w 125022"/>
                  <a:gd name="connsiteY201" fmla="*/ 93900 h 160731"/>
                  <a:gd name="connsiteX202" fmla="*/ 24246 w 125022"/>
                  <a:gd name="connsiteY202" fmla="*/ 95927 h 160731"/>
                  <a:gd name="connsiteX203" fmla="*/ 26274 w 125022"/>
                  <a:gd name="connsiteY203" fmla="*/ 97691 h 160731"/>
                  <a:gd name="connsiteX204" fmla="*/ 26539 w 125022"/>
                  <a:gd name="connsiteY204" fmla="*/ 100865 h 160731"/>
                  <a:gd name="connsiteX205" fmla="*/ 25040 w 125022"/>
                  <a:gd name="connsiteY205" fmla="*/ 104656 h 160731"/>
                  <a:gd name="connsiteX206" fmla="*/ 23894 w 125022"/>
                  <a:gd name="connsiteY206" fmla="*/ 108712 h 160731"/>
                  <a:gd name="connsiteX207" fmla="*/ 23629 w 125022"/>
                  <a:gd name="connsiteY207" fmla="*/ 111621 h 160731"/>
                  <a:gd name="connsiteX208" fmla="*/ 22130 w 125022"/>
                  <a:gd name="connsiteY208" fmla="*/ 115677 h 160731"/>
                  <a:gd name="connsiteX209" fmla="*/ 20720 w 125022"/>
                  <a:gd name="connsiteY209" fmla="*/ 117705 h 160731"/>
                  <a:gd name="connsiteX210" fmla="*/ 19838 w 125022"/>
                  <a:gd name="connsiteY210" fmla="*/ 115942 h 160731"/>
                  <a:gd name="connsiteX211" fmla="*/ 18956 w 125022"/>
                  <a:gd name="connsiteY211" fmla="*/ 117969 h 160731"/>
                  <a:gd name="connsiteX212" fmla="*/ 15429 w 125022"/>
                  <a:gd name="connsiteY212" fmla="*/ 119468 h 160731"/>
                  <a:gd name="connsiteX213" fmla="*/ 14283 w 125022"/>
                  <a:gd name="connsiteY213" fmla="*/ 119204 h 160731"/>
                  <a:gd name="connsiteX214" fmla="*/ 14019 w 125022"/>
                  <a:gd name="connsiteY214" fmla="*/ 120086 h 160731"/>
                  <a:gd name="connsiteX215" fmla="*/ 14019 w 125022"/>
                  <a:gd name="connsiteY215" fmla="*/ 119204 h 160731"/>
                  <a:gd name="connsiteX216" fmla="*/ 13049 w 125022"/>
                  <a:gd name="connsiteY216" fmla="*/ 119909 h 16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</a:cxnLst>
                <a:rect l="l" t="t" r="r" b="b"/>
                <a:pathLst>
                  <a:path w="125022" h="160731">
                    <a:moveTo>
                      <a:pt x="13049" y="119909"/>
                    </a:moveTo>
                    <a:lnTo>
                      <a:pt x="15429" y="121055"/>
                    </a:lnTo>
                    <a:lnTo>
                      <a:pt x="15694" y="123083"/>
                    </a:lnTo>
                    <a:lnTo>
                      <a:pt x="15958" y="125111"/>
                    </a:lnTo>
                    <a:lnTo>
                      <a:pt x="15958" y="127139"/>
                    </a:lnTo>
                    <a:lnTo>
                      <a:pt x="15958" y="129519"/>
                    </a:lnTo>
                    <a:lnTo>
                      <a:pt x="16840" y="131812"/>
                    </a:lnTo>
                    <a:lnTo>
                      <a:pt x="16223" y="134104"/>
                    </a:lnTo>
                    <a:lnTo>
                      <a:pt x="14724" y="134986"/>
                    </a:lnTo>
                    <a:lnTo>
                      <a:pt x="13578" y="134986"/>
                    </a:lnTo>
                    <a:lnTo>
                      <a:pt x="10051" y="136485"/>
                    </a:lnTo>
                    <a:lnTo>
                      <a:pt x="10668" y="138513"/>
                    </a:lnTo>
                    <a:lnTo>
                      <a:pt x="11550" y="140540"/>
                    </a:lnTo>
                    <a:lnTo>
                      <a:pt x="13931" y="140276"/>
                    </a:lnTo>
                    <a:lnTo>
                      <a:pt x="11021" y="146095"/>
                    </a:lnTo>
                    <a:lnTo>
                      <a:pt x="13666" y="147594"/>
                    </a:lnTo>
                    <a:lnTo>
                      <a:pt x="13931" y="146448"/>
                    </a:lnTo>
                    <a:lnTo>
                      <a:pt x="15958" y="145919"/>
                    </a:lnTo>
                    <a:lnTo>
                      <a:pt x="18604" y="142392"/>
                    </a:lnTo>
                    <a:lnTo>
                      <a:pt x="19750" y="142657"/>
                    </a:lnTo>
                    <a:lnTo>
                      <a:pt x="22395" y="145919"/>
                    </a:lnTo>
                    <a:lnTo>
                      <a:pt x="24423" y="146183"/>
                    </a:lnTo>
                    <a:lnTo>
                      <a:pt x="26451" y="147682"/>
                    </a:lnTo>
                    <a:lnTo>
                      <a:pt x="29096" y="146183"/>
                    </a:lnTo>
                    <a:lnTo>
                      <a:pt x="32270" y="148211"/>
                    </a:lnTo>
                    <a:lnTo>
                      <a:pt x="32534" y="149357"/>
                    </a:lnTo>
                    <a:lnTo>
                      <a:pt x="33680" y="155529"/>
                    </a:lnTo>
                    <a:lnTo>
                      <a:pt x="35708" y="157293"/>
                    </a:lnTo>
                    <a:lnTo>
                      <a:pt x="37736" y="159585"/>
                    </a:lnTo>
                    <a:lnTo>
                      <a:pt x="41263" y="160467"/>
                    </a:lnTo>
                    <a:lnTo>
                      <a:pt x="42409" y="160731"/>
                    </a:lnTo>
                    <a:lnTo>
                      <a:pt x="43026" y="160731"/>
                    </a:lnTo>
                    <a:lnTo>
                      <a:pt x="44172" y="157204"/>
                    </a:lnTo>
                    <a:lnTo>
                      <a:pt x="45583" y="155176"/>
                    </a:lnTo>
                    <a:lnTo>
                      <a:pt x="46200" y="152531"/>
                    </a:lnTo>
                    <a:lnTo>
                      <a:pt x="50873" y="149886"/>
                    </a:lnTo>
                    <a:lnTo>
                      <a:pt x="50609" y="147594"/>
                    </a:lnTo>
                    <a:lnTo>
                      <a:pt x="50609" y="146095"/>
                    </a:lnTo>
                    <a:lnTo>
                      <a:pt x="51226" y="142039"/>
                    </a:lnTo>
                    <a:lnTo>
                      <a:pt x="52725" y="137984"/>
                    </a:lnTo>
                    <a:lnTo>
                      <a:pt x="53606" y="133311"/>
                    </a:lnTo>
                    <a:lnTo>
                      <a:pt x="56251" y="128638"/>
                    </a:lnTo>
                    <a:lnTo>
                      <a:pt x="56516" y="123436"/>
                    </a:lnTo>
                    <a:lnTo>
                      <a:pt x="58808" y="121055"/>
                    </a:lnTo>
                    <a:lnTo>
                      <a:pt x="59073" y="123436"/>
                    </a:lnTo>
                    <a:lnTo>
                      <a:pt x="60836" y="121673"/>
                    </a:lnTo>
                    <a:lnTo>
                      <a:pt x="59955" y="120262"/>
                    </a:lnTo>
                    <a:lnTo>
                      <a:pt x="62247" y="117352"/>
                    </a:lnTo>
                    <a:lnTo>
                      <a:pt x="63129" y="115942"/>
                    </a:lnTo>
                    <a:lnTo>
                      <a:pt x="67802" y="110122"/>
                    </a:lnTo>
                    <a:lnTo>
                      <a:pt x="106860" y="89403"/>
                    </a:lnTo>
                    <a:lnTo>
                      <a:pt x="117352" y="74502"/>
                    </a:lnTo>
                    <a:lnTo>
                      <a:pt x="120879" y="58720"/>
                    </a:lnTo>
                    <a:lnTo>
                      <a:pt x="122642" y="60484"/>
                    </a:lnTo>
                    <a:lnTo>
                      <a:pt x="125023" y="59955"/>
                    </a:lnTo>
                    <a:lnTo>
                      <a:pt x="124141" y="57927"/>
                    </a:lnTo>
                    <a:lnTo>
                      <a:pt x="123877" y="55899"/>
                    </a:lnTo>
                    <a:lnTo>
                      <a:pt x="123877" y="53254"/>
                    </a:lnTo>
                    <a:lnTo>
                      <a:pt x="124141" y="51755"/>
                    </a:lnTo>
                    <a:lnTo>
                      <a:pt x="123877" y="48845"/>
                    </a:lnTo>
                    <a:lnTo>
                      <a:pt x="122730" y="48228"/>
                    </a:lnTo>
                    <a:lnTo>
                      <a:pt x="121584" y="47347"/>
                    </a:lnTo>
                    <a:lnTo>
                      <a:pt x="120174" y="44437"/>
                    </a:lnTo>
                    <a:lnTo>
                      <a:pt x="117264" y="40910"/>
                    </a:lnTo>
                    <a:lnTo>
                      <a:pt x="115765" y="38618"/>
                    </a:lnTo>
                    <a:lnTo>
                      <a:pt x="120703" y="40117"/>
                    </a:lnTo>
                    <a:lnTo>
                      <a:pt x="121584" y="39852"/>
                    </a:lnTo>
                    <a:lnTo>
                      <a:pt x="123612" y="38442"/>
                    </a:lnTo>
                    <a:lnTo>
                      <a:pt x="120438" y="37560"/>
                    </a:lnTo>
                    <a:lnTo>
                      <a:pt x="113120" y="34033"/>
                    </a:lnTo>
                    <a:lnTo>
                      <a:pt x="110828" y="32622"/>
                    </a:lnTo>
                    <a:lnTo>
                      <a:pt x="106772" y="27685"/>
                    </a:lnTo>
                    <a:lnTo>
                      <a:pt x="105273" y="27685"/>
                    </a:lnTo>
                    <a:lnTo>
                      <a:pt x="104391" y="26186"/>
                    </a:lnTo>
                    <a:lnTo>
                      <a:pt x="101217" y="24687"/>
                    </a:lnTo>
                    <a:lnTo>
                      <a:pt x="100071" y="25834"/>
                    </a:lnTo>
                    <a:lnTo>
                      <a:pt x="99189" y="29889"/>
                    </a:lnTo>
                    <a:lnTo>
                      <a:pt x="94781" y="29889"/>
                    </a:lnTo>
                    <a:lnTo>
                      <a:pt x="92753" y="29272"/>
                    </a:lnTo>
                    <a:lnTo>
                      <a:pt x="90725" y="29889"/>
                    </a:lnTo>
                    <a:lnTo>
                      <a:pt x="88345" y="30154"/>
                    </a:lnTo>
                    <a:lnTo>
                      <a:pt x="84554" y="29272"/>
                    </a:lnTo>
                    <a:lnTo>
                      <a:pt x="83672" y="28126"/>
                    </a:lnTo>
                    <a:lnTo>
                      <a:pt x="79881" y="27509"/>
                    </a:lnTo>
                    <a:lnTo>
                      <a:pt x="76354" y="25745"/>
                    </a:lnTo>
                    <a:lnTo>
                      <a:pt x="76089" y="22219"/>
                    </a:lnTo>
                    <a:lnTo>
                      <a:pt x="76089" y="19926"/>
                    </a:lnTo>
                    <a:lnTo>
                      <a:pt x="75208" y="19044"/>
                    </a:lnTo>
                    <a:lnTo>
                      <a:pt x="71416" y="18163"/>
                    </a:lnTo>
                    <a:lnTo>
                      <a:pt x="71416" y="15253"/>
                    </a:lnTo>
                    <a:lnTo>
                      <a:pt x="70006" y="14636"/>
                    </a:lnTo>
                    <a:lnTo>
                      <a:pt x="67096" y="15253"/>
                    </a:lnTo>
                    <a:lnTo>
                      <a:pt x="65685" y="13754"/>
                    </a:lnTo>
                    <a:lnTo>
                      <a:pt x="63658" y="13137"/>
                    </a:lnTo>
                    <a:lnTo>
                      <a:pt x="58985" y="11109"/>
                    </a:lnTo>
                    <a:lnTo>
                      <a:pt x="56340" y="9346"/>
                    </a:lnTo>
                    <a:lnTo>
                      <a:pt x="52284" y="5290"/>
                    </a:lnTo>
                    <a:lnTo>
                      <a:pt x="51402" y="5026"/>
                    </a:lnTo>
                    <a:lnTo>
                      <a:pt x="50521" y="4144"/>
                    </a:lnTo>
                    <a:lnTo>
                      <a:pt x="49022" y="3527"/>
                    </a:lnTo>
                    <a:lnTo>
                      <a:pt x="46112" y="0"/>
                    </a:lnTo>
                    <a:lnTo>
                      <a:pt x="45848" y="1146"/>
                    </a:lnTo>
                    <a:lnTo>
                      <a:pt x="44437" y="2910"/>
                    </a:lnTo>
                    <a:lnTo>
                      <a:pt x="46200" y="3439"/>
                    </a:lnTo>
                    <a:lnTo>
                      <a:pt x="44437" y="4937"/>
                    </a:lnTo>
                    <a:lnTo>
                      <a:pt x="43555" y="4937"/>
                    </a:lnTo>
                    <a:lnTo>
                      <a:pt x="42938" y="6965"/>
                    </a:lnTo>
                    <a:lnTo>
                      <a:pt x="41439" y="6348"/>
                    </a:lnTo>
                    <a:lnTo>
                      <a:pt x="39411" y="7230"/>
                    </a:lnTo>
                    <a:lnTo>
                      <a:pt x="33328" y="9258"/>
                    </a:lnTo>
                    <a:lnTo>
                      <a:pt x="29801" y="11021"/>
                    </a:lnTo>
                    <a:lnTo>
                      <a:pt x="27773" y="13049"/>
                    </a:lnTo>
                    <a:lnTo>
                      <a:pt x="28390" y="14812"/>
                    </a:lnTo>
                    <a:lnTo>
                      <a:pt x="27509" y="13049"/>
                    </a:lnTo>
                    <a:lnTo>
                      <a:pt x="25481" y="12167"/>
                    </a:lnTo>
                    <a:lnTo>
                      <a:pt x="21425" y="14195"/>
                    </a:lnTo>
                    <a:lnTo>
                      <a:pt x="18515" y="14812"/>
                    </a:lnTo>
                    <a:lnTo>
                      <a:pt x="17369" y="18604"/>
                    </a:lnTo>
                    <a:lnTo>
                      <a:pt x="18515" y="20102"/>
                    </a:lnTo>
                    <a:lnTo>
                      <a:pt x="19662" y="22130"/>
                    </a:lnTo>
                    <a:lnTo>
                      <a:pt x="19397" y="25040"/>
                    </a:lnTo>
                    <a:lnTo>
                      <a:pt x="20014" y="27949"/>
                    </a:lnTo>
                    <a:lnTo>
                      <a:pt x="19397" y="27332"/>
                    </a:lnTo>
                    <a:lnTo>
                      <a:pt x="17369" y="29713"/>
                    </a:lnTo>
                    <a:lnTo>
                      <a:pt x="18251" y="33769"/>
                    </a:lnTo>
                    <a:lnTo>
                      <a:pt x="20014" y="34298"/>
                    </a:lnTo>
                    <a:lnTo>
                      <a:pt x="22395" y="36326"/>
                    </a:lnTo>
                    <a:lnTo>
                      <a:pt x="19221" y="37472"/>
                    </a:lnTo>
                    <a:lnTo>
                      <a:pt x="19838" y="38618"/>
                    </a:lnTo>
                    <a:lnTo>
                      <a:pt x="18339" y="39235"/>
                    </a:lnTo>
                    <a:lnTo>
                      <a:pt x="17193" y="40734"/>
                    </a:lnTo>
                    <a:lnTo>
                      <a:pt x="15429" y="41351"/>
                    </a:lnTo>
                    <a:lnTo>
                      <a:pt x="15429" y="41615"/>
                    </a:lnTo>
                    <a:lnTo>
                      <a:pt x="13402" y="43379"/>
                    </a:lnTo>
                    <a:lnTo>
                      <a:pt x="13137" y="43643"/>
                    </a:lnTo>
                    <a:lnTo>
                      <a:pt x="11991" y="44261"/>
                    </a:lnTo>
                    <a:lnTo>
                      <a:pt x="10845" y="44525"/>
                    </a:lnTo>
                    <a:lnTo>
                      <a:pt x="10845" y="43643"/>
                    </a:lnTo>
                    <a:lnTo>
                      <a:pt x="9081" y="44525"/>
                    </a:lnTo>
                    <a:lnTo>
                      <a:pt x="9963" y="46024"/>
                    </a:lnTo>
                    <a:lnTo>
                      <a:pt x="9963" y="46641"/>
                    </a:lnTo>
                    <a:lnTo>
                      <a:pt x="12255" y="48140"/>
                    </a:lnTo>
                    <a:lnTo>
                      <a:pt x="13402" y="49286"/>
                    </a:lnTo>
                    <a:lnTo>
                      <a:pt x="14283" y="51579"/>
                    </a:lnTo>
                    <a:lnTo>
                      <a:pt x="11109" y="51579"/>
                    </a:lnTo>
                    <a:lnTo>
                      <a:pt x="10492" y="49815"/>
                    </a:lnTo>
                    <a:lnTo>
                      <a:pt x="12784" y="55987"/>
                    </a:lnTo>
                    <a:lnTo>
                      <a:pt x="10757" y="57486"/>
                    </a:lnTo>
                    <a:lnTo>
                      <a:pt x="8376" y="56604"/>
                    </a:lnTo>
                    <a:lnTo>
                      <a:pt x="7230" y="58103"/>
                    </a:lnTo>
                    <a:lnTo>
                      <a:pt x="5202" y="58720"/>
                    </a:lnTo>
                    <a:lnTo>
                      <a:pt x="3174" y="58720"/>
                    </a:lnTo>
                    <a:lnTo>
                      <a:pt x="2028" y="59337"/>
                    </a:lnTo>
                    <a:lnTo>
                      <a:pt x="0" y="61630"/>
                    </a:lnTo>
                    <a:lnTo>
                      <a:pt x="617" y="64010"/>
                    </a:lnTo>
                    <a:lnTo>
                      <a:pt x="2645" y="65774"/>
                    </a:lnTo>
                    <a:lnTo>
                      <a:pt x="3791" y="66655"/>
                    </a:lnTo>
                    <a:lnTo>
                      <a:pt x="2910" y="70711"/>
                    </a:lnTo>
                    <a:lnTo>
                      <a:pt x="2292" y="73003"/>
                    </a:lnTo>
                    <a:lnTo>
                      <a:pt x="2557" y="74502"/>
                    </a:lnTo>
                    <a:lnTo>
                      <a:pt x="4320" y="74238"/>
                    </a:lnTo>
                    <a:lnTo>
                      <a:pt x="5202" y="76001"/>
                    </a:lnTo>
                    <a:lnTo>
                      <a:pt x="5819" y="78911"/>
                    </a:lnTo>
                    <a:lnTo>
                      <a:pt x="4320" y="80674"/>
                    </a:lnTo>
                    <a:lnTo>
                      <a:pt x="4937" y="81820"/>
                    </a:lnTo>
                    <a:lnTo>
                      <a:pt x="5555" y="84465"/>
                    </a:lnTo>
                    <a:lnTo>
                      <a:pt x="7053" y="87992"/>
                    </a:lnTo>
                    <a:lnTo>
                      <a:pt x="6172" y="90902"/>
                    </a:lnTo>
                    <a:lnTo>
                      <a:pt x="353" y="90902"/>
                    </a:lnTo>
                    <a:lnTo>
                      <a:pt x="1499" y="92665"/>
                    </a:lnTo>
                    <a:lnTo>
                      <a:pt x="353" y="93811"/>
                    </a:lnTo>
                    <a:lnTo>
                      <a:pt x="3262" y="95310"/>
                    </a:lnTo>
                    <a:lnTo>
                      <a:pt x="2998" y="91783"/>
                    </a:lnTo>
                    <a:lnTo>
                      <a:pt x="4144" y="91783"/>
                    </a:lnTo>
                    <a:lnTo>
                      <a:pt x="7053" y="92930"/>
                    </a:lnTo>
                    <a:lnTo>
                      <a:pt x="5290" y="95575"/>
                    </a:lnTo>
                    <a:lnTo>
                      <a:pt x="10492" y="101394"/>
                    </a:lnTo>
                    <a:lnTo>
                      <a:pt x="13754" y="103774"/>
                    </a:lnTo>
                    <a:lnTo>
                      <a:pt x="15253" y="103510"/>
                    </a:lnTo>
                    <a:lnTo>
                      <a:pt x="14371" y="102364"/>
                    </a:lnTo>
                    <a:lnTo>
                      <a:pt x="15518" y="101482"/>
                    </a:lnTo>
                    <a:lnTo>
                      <a:pt x="16664" y="100600"/>
                    </a:lnTo>
                    <a:lnTo>
                      <a:pt x="20191" y="94429"/>
                    </a:lnTo>
                    <a:lnTo>
                      <a:pt x="20808" y="94164"/>
                    </a:lnTo>
                    <a:lnTo>
                      <a:pt x="21072" y="94429"/>
                    </a:lnTo>
                    <a:lnTo>
                      <a:pt x="20191" y="97691"/>
                    </a:lnTo>
                    <a:lnTo>
                      <a:pt x="21689" y="97691"/>
                    </a:lnTo>
                    <a:lnTo>
                      <a:pt x="22218" y="97691"/>
                    </a:lnTo>
                    <a:lnTo>
                      <a:pt x="21072" y="97691"/>
                    </a:lnTo>
                    <a:lnTo>
                      <a:pt x="20191" y="98837"/>
                    </a:lnTo>
                    <a:lnTo>
                      <a:pt x="19309" y="100600"/>
                    </a:lnTo>
                    <a:lnTo>
                      <a:pt x="20455" y="100600"/>
                    </a:lnTo>
                    <a:lnTo>
                      <a:pt x="22836" y="99983"/>
                    </a:lnTo>
                    <a:lnTo>
                      <a:pt x="23453" y="93900"/>
                    </a:lnTo>
                    <a:lnTo>
                      <a:pt x="22836" y="91607"/>
                    </a:lnTo>
                    <a:lnTo>
                      <a:pt x="23453" y="88080"/>
                    </a:lnTo>
                    <a:lnTo>
                      <a:pt x="24070" y="86581"/>
                    </a:lnTo>
                    <a:lnTo>
                      <a:pt x="25216" y="86581"/>
                    </a:lnTo>
                    <a:lnTo>
                      <a:pt x="24335" y="88080"/>
                    </a:lnTo>
                    <a:lnTo>
                      <a:pt x="23717" y="89579"/>
                    </a:lnTo>
                    <a:lnTo>
                      <a:pt x="23982" y="91607"/>
                    </a:lnTo>
                    <a:lnTo>
                      <a:pt x="23982" y="93900"/>
                    </a:lnTo>
                    <a:lnTo>
                      <a:pt x="24246" y="95927"/>
                    </a:lnTo>
                    <a:lnTo>
                      <a:pt x="26274" y="97691"/>
                    </a:lnTo>
                    <a:lnTo>
                      <a:pt x="26539" y="100865"/>
                    </a:lnTo>
                    <a:lnTo>
                      <a:pt x="25040" y="104656"/>
                    </a:lnTo>
                    <a:lnTo>
                      <a:pt x="23894" y="108712"/>
                    </a:lnTo>
                    <a:lnTo>
                      <a:pt x="23629" y="111621"/>
                    </a:lnTo>
                    <a:lnTo>
                      <a:pt x="22130" y="115677"/>
                    </a:lnTo>
                    <a:lnTo>
                      <a:pt x="20720" y="117705"/>
                    </a:lnTo>
                    <a:lnTo>
                      <a:pt x="19838" y="115942"/>
                    </a:lnTo>
                    <a:lnTo>
                      <a:pt x="18956" y="117969"/>
                    </a:lnTo>
                    <a:lnTo>
                      <a:pt x="15429" y="119468"/>
                    </a:lnTo>
                    <a:lnTo>
                      <a:pt x="14283" y="119204"/>
                    </a:lnTo>
                    <a:lnTo>
                      <a:pt x="14019" y="120086"/>
                    </a:lnTo>
                    <a:lnTo>
                      <a:pt x="14019" y="119204"/>
                    </a:lnTo>
                    <a:lnTo>
                      <a:pt x="13049" y="11990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0" name="Freihandform: Form 1759">
                <a:extLst>
                  <a:ext uri="{FF2B5EF4-FFF2-40B4-BE49-F238E27FC236}">
                    <a16:creationId xmlns:a16="http://schemas.microsoft.com/office/drawing/2014/main" id="{348FC8A7-82C9-8CA8-EEA1-F67E1EED7C91}"/>
                  </a:ext>
                </a:extLst>
              </p:cNvPr>
              <p:cNvSpPr/>
              <p:nvPr/>
            </p:nvSpPr>
            <p:spPr>
              <a:xfrm>
                <a:off x="2187975" y="3871164"/>
                <a:ext cx="72033" cy="78999"/>
              </a:xfrm>
              <a:custGeom>
                <a:avLst/>
                <a:gdLst>
                  <a:gd name="connsiteX0" fmla="*/ 6084 w 72033"/>
                  <a:gd name="connsiteY0" fmla="*/ 3791 h 78999"/>
                  <a:gd name="connsiteX1" fmla="*/ 7847 w 72033"/>
                  <a:gd name="connsiteY1" fmla="*/ 0 h 78999"/>
                  <a:gd name="connsiteX2" fmla="*/ 8993 w 72033"/>
                  <a:gd name="connsiteY2" fmla="*/ 0 h 78999"/>
                  <a:gd name="connsiteX3" fmla="*/ 9610 w 72033"/>
                  <a:gd name="connsiteY3" fmla="*/ 1146 h 78999"/>
                  <a:gd name="connsiteX4" fmla="*/ 13402 w 72033"/>
                  <a:gd name="connsiteY4" fmla="*/ 2645 h 78999"/>
                  <a:gd name="connsiteX5" fmla="*/ 16840 w 72033"/>
                  <a:gd name="connsiteY5" fmla="*/ 4938 h 78999"/>
                  <a:gd name="connsiteX6" fmla="*/ 23012 w 72033"/>
                  <a:gd name="connsiteY6" fmla="*/ 6701 h 78999"/>
                  <a:gd name="connsiteX7" fmla="*/ 26539 w 72033"/>
                  <a:gd name="connsiteY7" fmla="*/ 6436 h 78999"/>
                  <a:gd name="connsiteX8" fmla="*/ 28214 w 72033"/>
                  <a:gd name="connsiteY8" fmla="*/ 3791 h 78999"/>
                  <a:gd name="connsiteX9" fmla="*/ 29713 w 72033"/>
                  <a:gd name="connsiteY9" fmla="*/ 4673 h 78999"/>
                  <a:gd name="connsiteX10" fmla="*/ 30594 w 72033"/>
                  <a:gd name="connsiteY10" fmla="*/ 4056 h 78999"/>
                  <a:gd name="connsiteX11" fmla="*/ 32005 w 72033"/>
                  <a:gd name="connsiteY11" fmla="*/ 5290 h 78999"/>
                  <a:gd name="connsiteX12" fmla="*/ 32887 w 72033"/>
                  <a:gd name="connsiteY12" fmla="*/ 6172 h 78999"/>
                  <a:gd name="connsiteX13" fmla="*/ 34386 w 72033"/>
                  <a:gd name="connsiteY13" fmla="*/ 6172 h 78999"/>
                  <a:gd name="connsiteX14" fmla="*/ 35532 w 72033"/>
                  <a:gd name="connsiteY14" fmla="*/ 5555 h 78999"/>
                  <a:gd name="connsiteX15" fmla="*/ 35267 w 72033"/>
                  <a:gd name="connsiteY15" fmla="*/ 6436 h 78999"/>
                  <a:gd name="connsiteX16" fmla="*/ 38177 w 72033"/>
                  <a:gd name="connsiteY16" fmla="*/ 9610 h 78999"/>
                  <a:gd name="connsiteX17" fmla="*/ 37560 w 72033"/>
                  <a:gd name="connsiteY17" fmla="*/ 9610 h 78999"/>
                  <a:gd name="connsiteX18" fmla="*/ 38177 w 72033"/>
                  <a:gd name="connsiteY18" fmla="*/ 10757 h 78999"/>
                  <a:gd name="connsiteX19" fmla="*/ 39588 w 72033"/>
                  <a:gd name="connsiteY19" fmla="*/ 10757 h 78999"/>
                  <a:gd name="connsiteX20" fmla="*/ 40205 w 72033"/>
                  <a:gd name="connsiteY20" fmla="*/ 11374 h 78999"/>
                  <a:gd name="connsiteX21" fmla="*/ 40822 w 72033"/>
                  <a:gd name="connsiteY21" fmla="*/ 11374 h 78999"/>
                  <a:gd name="connsiteX22" fmla="*/ 41351 w 72033"/>
                  <a:gd name="connsiteY22" fmla="*/ 10757 h 78999"/>
                  <a:gd name="connsiteX23" fmla="*/ 42497 w 72033"/>
                  <a:gd name="connsiteY23" fmla="*/ 10757 h 78999"/>
                  <a:gd name="connsiteX24" fmla="*/ 43732 w 72033"/>
                  <a:gd name="connsiteY24" fmla="*/ 12873 h 78999"/>
                  <a:gd name="connsiteX25" fmla="*/ 46641 w 72033"/>
                  <a:gd name="connsiteY25" fmla="*/ 12873 h 78999"/>
                  <a:gd name="connsiteX26" fmla="*/ 50080 w 72033"/>
                  <a:gd name="connsiteY26" fmla="*/ 10228 h 78999"/>
                  <a:gd name="connsiteX27" fmla="*/ 50432 w 72033"/>
                  <a:gd name="connsiteY27" fmla="*/ 7318 h 78999"/>
                  <a:gd name="connsiteX28" fmla="*/ 51843 w 72033"/>
                  <a:gd name="connsiteY28" fmla="*/ 7847 h 78999"/>
                  <a:gd name="connsiteX29" fmla="*/ 52460 w 72033"/>
                  <a:gd name="connsiteY29" fmla="*/ 10228 h 78999"/>
                  <a:gd name="connsiteX30" fmla="*/ 50961 w 72033"/>
                  <a:gd name="connsiteY30" fmla="*/ 9081 h 78999"/>
                  <a:gd name="connsiteX31" fmla="*/ 50697 w 72033"/>
                  <a:gd name="connsiteY31" fmla="*/ 10757 h 78999"/>
                  <a:gd name="connsiteX32" fmla="*/ 51579 w 72033"/>
                  <a:gd name="connsiteY32" fmla="*/ 12520 h 78999"/>
                  <a:gd name="connsiteX33" fmla="*/ 51843 w 72033"/>
                  <a:gd name="connsiteY33" fmla="*/ 11374 h 78999"/>
                  <a:gd name="connsiteX34" fmla="*/ 51843 w 72033"/>
                  <a:gd name="connsiteY34" fmla="*/ 14548 h 78999"/>
                  <a:gd name="connsiteX35" fmla="*/ 53342 w 72033"/>
                  <a:gd name="connsiteY35" fmla="*/ 18075 h 78999"/>
                  <a:gd name="connsiteX36" fmla="*/ 55987 w 72033"/>
                  <a:gd name="connsiteY36" fmla="*/ 20720 h 78999"/>
                  <a:gd name="connsiteX37" fmla="*/ 58015 w 72033"/>
                  <a:gd name="connsiteY37" fmla="*/ 23629 h 78999"/>
                  <a:gd name="connsiteX38" fmla="*/ 58279 w 72033"/>
                  <a:gd name="connsiteY38" fmla="*/ 26803 h 78999"/>
                  <a:gd name="connsiteX39" fmla="*/ 60924 w 72033"/>
                  <a:gd name="connsiteY39" fmla="*/ 30330 h 78999"/>
                  <a:gd name="connsiteX40" fmla="*/ 61806 w 72033"/>
                  <a:gd name="connsiteY40" fmla="*/ 30947 h 78999"/>
                  <a:gd name="connsiteX41" fmla="*/ 62688 w 72033"/>
                  <a:gd name="connsiteY41" fmla="*/ 30330 h 78999"/>
                  <a:gd name="connsiteX42" fmla="*/ 62688 w 72033"/>
                  <a:gd name="connsiteY42" fmla="*/ 31476 h 78999"/>
                  <a:gd name="connsiteX43" fmla="*/ 62071 w 72033"/>
                  <a:gd name="connsiteY43" fmla="*/ 33240 h 78999"/>
                  <a:gd name="connsiteX44" fmla="*/ 64098 w 72033"/>
                  <a:gd name="connsiteY44" fmla="*/ 36502 h 78999"/>
                  <a:gd name="connsiteX45" fmla="*/ 66126 w 72033"/>
                  <a:gd name="connsiteY45" fmla="*/ 36149 h 78999"/>
                  <a:gd name="connsiteX46" fmla="*/ 67008 w 72033"/>
                  <a:gd name="connsiteY46" fmla="*/ 36766 h 78999"/>
                  <a:gd name="connsiteX47" fmla="*/ 67625 w 72033"/>
                  <a:gd name="connsiteY47" fmla="*/ 38530 h 78999"/>
                  <a:gd name="connsiteX48" fmla="*/ 70799 w 72033"/>
                  <a:gd name="connsiteY48" fmla="*/ 39411 h 78999"/>
                  <a:gd name="connsiteX49" fmla="*/ 72034 w 72033"/>
                  <a:gd name="connsiteY49" fmla="*/ 41086 h 78999"/>
                  <a:gd name="connsiteX50" fmla="*/ 72034 w 72033"/>
                  <a:gd name="connsiteY50" fmla="*/ 41968 h 78999"/>
                  <a:gd name="connsiteX51" fmla="*/ 71152 w 72033"/>
                  <a:gd name="connsiteY51" fmla="*/ 41968 h 78999"/>
                  <a:gd name="connsiteX52" fmla="*/ 71152 w 72033"/>
                  <a:gd name="connsiteY52" fmla="*/ 43202 h 78999"/>
                  <a:gd name="connsiteX53" fmla="*/ 68242 w 72033"/>
                  <a:gd name="connsiteY53" fmla="*/ 41086 h 78999"/>
                  <a:gd name="connsiteX54" fmla="*/ 67625 w 72033"/>
                  <a:gd name="connsiteY54" fmla="*/ 40822 h 78999"/>
                  <a:gd name="connsiteX55" fmla="*/ 66479 w 72033"/>
                  <a:gd name="connsiteY55" fmla="*/ 40293 h 78999"/>
                  <a:gd name="connsiteX56" fmla="*/ 65333 w 72033"/>
                  <a:gd name="connsiteY56" fmla="*/ 41086 h 78999"/>
                  <a:gd name="connsiteX57" fmla="*/ 64980 w 72033"/>
                  <a:gd name="connsiteY57" fmla="*/ 42321 h 78999"/>
                  <a:gd name="connsiteX58" fmla="*/ 65862 w 72033"/>
                  <a:gd name="connsiteY58" fmla="*/ 42850 h 78999"/>
                  <a:gd name="connsiteX59" fmla="*/ 63834 w 72033"/>
                  <a:gd name="connsiteY59" fmla="*/ 43732 h 78999"/>
                  <a:gd name="connsiteX60" fmla="*/ 63217 w 72033"/>
                  <a:gd name="connsiteY60" fmla="*/ 53342 h 78999"/>
                  <a:gd name="connsiteX61" fmla="*/ 64098 w 72033"/>
                  <a:gd name="connsiteY61" fmla="*/ 53342 h 78999"/>
                  <a:gd name="connsiteX62" fmla="*/ 67625 w 72033"/>
                  <a:gd name="connsiteY62" fmla="*/ 57133 h 78999"/>
                  <a:gd name="connsiteX63" fmla="*/ 66744 w 72033"/>
                  <a:gd name="connsiteY63" fmla="*/ 58015 h 78999"/>
                  <a:gd name="connsiteX64" fmla="*/ 64451 w 72033"/>
                  <a:gd name="connsiteY64" fmla="*/ 59514 h 78999"/>
                  <a:gd name="connsiteX65" fmla="*/ 64098 w 72033"/>
                  <a:gd name="connsiteY65" fmla="*/ 59778 h 78999"/>
                  <a:gd name="connsiteX66" fmla="*/ 64451 w 72033"/>
                  <a:gd name="connsiteY66" fmla="*/ 59778 h 78999"/>
                  <a:gd name="connsiteX67" fmla="*/ 64451 w 72033"/>
                  <a:gd name="connsiteY67" fmla="*/ 60131 h 78999"/>
                  <a:gd name="connsiteX68" fmla="*/ 63217 w 72033"/>
                  <a:gd name="connsiteY68" fmla="*/ 61806 h 78999"/>
                  <a:gd name="connsiteX69" fmla="*/ 64716 w 72033"/>
                  <a:gd name="connsiteY69" fmla="*/ 64451 h 78999"/>
                  <a:gd name="connsiteX70" fmla="*/ 64451 w 72033"/>
                  <a:gd name="connsiteY70" fmla="*/ 68859 h 78999"/>
                  <a:gd name="connsiteX71" fmla="*/ 59778 w 72033"/>
                  <a:gd name="connsiteY71" fmla="*/ 72298 h 78999"/>
                  <a:gd name="connsiteX72" fmla="*/ 61189 w 72033"/>
                  <a:gd name="connsiteY72" fmla="*/ 73180 h 78999"/>
                  <a:gd name="connsiteX73" fmla="*/ 62335 w 72033"/>
                  <a:gd name="connsiteY73" fmla="*/ 74061 h 78999"/>
                  <a:gd name="connsiteX74" fmla="*/ 63217 w 72033"/>
                  <a:gd name="connsiteY74" fmla="*/ 77853 h 78999"/>
                  <a:gd name="connsiteX75" fmla="*/ 62952 w 72033"/>
                  <a:gd name="connsiteY75" fmla="*/ 78999 h 78999"/>
                  <a:gd name="connsiteX76" fmla="*/ 61806 w 72033"/>
                  <a:gd name="connsiteY76" fmla="*/ 77588 h 78999"/>
                  <a:gd name="connsiteX77" fmla="*/ 60924 w 72033"/>
                  <a:gd name="connsiteY77" fmla="*/ 75825 h 78999"/>
                  <a:gd name="connsiteX78" fmla="*/ 61541 w 72033"/>
                  <a:gd name="connsiteY78" fmla="*/ 74414 h 78999"/>
                  <a:gd name="connsiteX79" fmla="*/ 57398 w 72033"/>
                  <a:gd name="connsiteY79" fmla="*/ 71505 h 78999"/>
                  <a:gd name="connsiteX80" fmla="*/ 58632 w 72033"/>
                  <a:gd name="connsiteY80" fmla="*/ 69124 h 78999"/>
                  <a:gd name="connsiteX81" fmla="*/ 57750 w 72033"/>
                  <a:gd name="connsiteY81" fmla="*/ 66744 h 78999"/>
                  <a:gd name="connsiteX82" fmla="*/ 58897 w 72033"/>
                  <a:gd name="connsiteY82" fmla="*/ 66479 h 78999"/>
                  <a:gd name="connsiteX83" fmla="*/ 57750 w 72033"/>
                  <a:gd name="connsiteY83" fmla="*/ 66479 h 78999"/>
                  <a:gd name="connsiteX84" fmla="*/ 56869 w 72033"/>
                  <a:gd name="connsiteY84" fmla="*/ 65333 h 78999"/>
                  <a:gd name="connsiteX85" fmla="*/ 57750 w 72033"/>
                  <a:gd name="connsiteY85" fmla="*/ 65333 h 78999"/>
                  <a:gd name="connsiteX86" fmla="*/ 57750 w 72033"/>
                  <a:gd name="connsiteY86" fmla="*/ 66215 h 78999"/>
                  <a:gd name="connsiteX87" fmla="*/ 58632 w 72033"/>
                  <a:gd name="connsiteY87" fmla="*/ 65597 h 78999"/>
                  <a:gd name="connsiteX88" fmla="*/ 57398 w 72033"/>
                  <a:gd name="connsiteY88" fmla="*/ 64451 h 78999"/>
                  <a:gd name="connsiteX89" fmla="*/ 55987 w 72033"/>
                  <a:gd name="connsiteY89" fmla="*/ 64716 h 78999"/>
                  <a:gd name="connsiteX90" fmla="*/ 55370 w 72033"/>
                  <a:gd name="connsiteY90" fmla="*/ 63922 h 78999"/>
                  <a:gd name="connsiteX91" fmla="*/ 53959 w 72033"/>
                  <a:gd name="connsiteY91" fmla="*/ 63570 h 78999"/>
                  <a:gd name="connsiteX92" fmla="*/ 53959 w 72033"/>
                  <a:gd name="connsiteY92" fmla="*/ 62159 h 78999"/>
                  <a:gd name="connsiteX93" fmla="*/ 51843 w 72033"/>
                  <a:gd name="connsiteY93" fmla="*/ 61542 h 78999"/>
                  <a:gd name="connsiteX94" fmla="*/ 50697 w 72033"/>
                  <a:gd name="connsiteY94" fmla="*/ 62159 h 78999"/>
                  <a:gd name="connsiteX95" fmla="*/ 50432 w 72033"/>
                  <a:gd name="connsiteY95" fmla="*/ 62952 h 78999"/>
                  <a:gd name="connsiteX96" fmla="*/ 51843 w 72033"/>
                  <a:gd name="connsiteY96" fmla="*/ 63922 h 78999"/>
                  <a:gd name="connsiteX97" fmla="*/ 52460 w 72033"/>
                  <a:gd name="connsiteY97" fmla="*/ 65597 h 78999"/>
                  <a:gd name="connsiteX98" fmla="*/ 55105 w 72033"/>
                  <a:gd name="connsiteY98" fmla="*/ 66744 h 78999"/>
                  <a:gd name="connsiteX99" fmla="*/ 55634 w 72033"/>
                  <a:gd name="connsiteY99" fmla="*/ 68859 h 78999"/>
                  <a:gd name="connsiteX100" fmla="*/ 54841 w 72033"/>
                  <a:gd name="connsiteY100" fmla="*/ 71152 h 78999"/>
                  <a:gd name="connsiteX101" fmla="*/ 53606 w 72033"/>
                  <a:gd name="connsiteY101" fmla="*/ 71505 h 78999"/>
                  <a:gd name="connsiteX102" fmla="*/ 52460 w 72033"/>
                  <a:gd name="connsiteY102" fmla="*/ 70270 h 78999"/>
                  <a:gd name="connsiteX103" fmla="*/ 52725 w 72033"/>
                  <a:gd name="connsiteY103" fmla="*/ 69741 h 78999"/>
                  <a:gd name="connsiteX104" fmla="*/ 52196 w 72033"/>
                  <a:gd name="connsiteY104" fmla="*/ 69388 h 78999"/>
                  <a:gd name="connsiteX105" fmla="*/ 48404 w 72033"/>
                  <a:gd name="connsiteY105" fmla="*/ 69388 h 78999"/>
                  <a:gd name="connsiteX106" fmla="*/ 46377 w 72033"/>
                  <a:gd name="connsiteY106" fmla="*/ 68243 h 78999"/>
                  <a:gd name="connsiteX107" fmla="*/ 46024 w 72033"/>
                  <a:gd name="connsiteY107" fmla="*/ 65597 h 78999"/>
                  <a:gd name="connsiteX108" fmla="*/ 45142 w 72033"/>
                  <a:gd name="connsiteY108" fmla="*/ 65597 h 78999"/>
                  <a:gd name="connsiteX109" fmla="*/ 46024 w 72033"/>
                  <a:gd name="connsiteY109" fmla="*/ 62952 h 78999"/>
                  <a:gd name="connsiteX110" fmla="*/ 46906 w 72033"/>
                  <a:gd name="connsiteY110" fmla="*/ 62952 h 78999"/>
                  <a:gd name="connsiteX111" fmla="*/ 47170 w 72033"/>
                  <a:gd name="connsiteY111" fmla="*/ 61542 h 78999"/>
                  <a:gd name="connsiteX112" fmla="*/ 48933 w 72033"/>
                  <a:gd name="connsiteY112" fmla="*/ 60660 h 78999"/>
                  <a:gd name="connsiteX113" fmla="*/ 46906 w 72033"/>
                  <a:gd name="connsiteY113" fmla="*/ 60660 h 78999"/>
                  <a:gd name="connsiteX114" fmla="*/ 47523 w 72033"/>
                  <a:gd name="connsiteY114" fmla="*/ 59161 h 78999"/>
                  <a:gd name="connsiteX115" fmla="*/ 48669 w 72033"/>
                  <a:gd name="connsiteY115" fmla="*/ 59514 h 78999"/>
                  <a:gd name="connsiteX116" fmla="*/ 48052 w 72033"/>
                  <a:gd name="connsiteY116" fmla="*/ 58015 h 78999"/>
                  <a:gd name="connsiteX117" fmla="*/ 48933 w 72033"/>
                  <a:gd name="connsiteY117" fmla="*/ 58015 h 78999"/>
                  <a:gd name="connsiteX118" fmla="*/ 46906 w 72033"/>
                  <a:gd name="connsiteY118" fmla="*/ 57133 h 78999"/>
                  <a:gd name="connsiteX119" fmla="*/ 48404 w 72033"/>
                  <a:gd name="connsiteY119" fmla="*/ 56251 h 78999"/>
                  <a:gd name="connsiteX120" fmla="*/ 47523 w 72033"/>
                  <a:gd name="connsiteY120" fmla="*/ 54576 h 78999"/>
                  <a:gd name="connsiteX121" fmla="*/ 45142 w 72033"/>
                  <a:gd name="connsiteY121" fmla="*/ 51314 h 78999"/>
                  <a:gd name="connsiteX122" fmla="*/ 45142 w 72033"/>
                  <a:gd name="connsiteY122" fmla="*/ 50432 h 78999"/>
                  <a:gd name="connsiteX123" fmla="*/ 41351 w 72033"/>
                  <a:gd name="connsiteY123" fmla="*/ 47523 h 78999"/>
                  <a:gd name="connsiteX124" fmla="*/ 36678 w 72033"/>
                  <a:gd name="connsiteY124" fmla="*/ 45230 h 78999"/>
                  <a:gd name="connsiteX125" fmla="*/ 36149 w 72033"/>
                  <a:gd name="connsiteY125" fmla="*/ 43732 h 78999"/>
                  <a:gd name="connsiteX126" fmla="*/ 29713 w 72033"/>
                  <a:gd name="connsiteY126" fmla="*/ 41968 h 78999"/>
                  <a:gd name="connsiteX127" fmla="*/ 28831 w 72033"/>
                  <a:gd name="connsiteY127" fmla="*/ 42321 h 78999"/>
                  <a:gd name="connsiteX128" fmla="*/ 27068 w 72033"/>
                  <a:gd name="connsiteY128" fmla="*/ 41086 h 78999"/>
                  <a:gd name="connsiteX129" fmla="*/ 25922 w 72033"/>
                  <a:gd name="connsiteY129" fmla="*/ 39940 h 78999"/>
                  <a:gd name="connsiteX130" fmla="*/ 26539 w 72033"/>
                  <a:gd name="connsiteY130" fmla="*/ 38794 h 78999"/>
                  <a:gd name="connsiteX131" fmla="*/ 25657 w 72033"/>
                  <a:gd name="connsiteY131" fmla="*/ 38794 h 78999"/>
                  <a:gd name="connsiteX132" fmla="*/ 27068 w 72033"/>
                  <a:gd name="connsiteY132" fmla="*/ 36149 h 78999"/>
                  <a:gd name="connsiteX133" fmla="*/ 25304 w 72033"/>
                  <a:gd name="connsiteY133" fmla="*/ 33240 h 78999"/>
                  <a:gd name="connsiteX134" fmla="*/ 25657 w 72033"/>
                  <a:gd name="connsiteY134" fmla="*/ 32358 h 78999"/>
                  <a:gd name="connsiteX135" fmla="*/ 24775 w 72033"/>
                  <a:gd name="connsiteY135" fmla="*/ 31212 h 78999"/>
                  <a:gd name="connsiteX136" fmla="*/ 22395 w 72033"/>
                  <a:gd name="connsiteY136" fmla="*/ 31212 h 78999"/>
                  <a:gd name="connsiteX137" fmla="*/ 23894 w 72033"/>
                  <a:gd name="connsiteY137" fmla="*/ 30594 h 78999"/>
                  <a:gd name="connsiteX138" fmla="*/ 22395 w 72033"/>
                  <a:gd name="connsiteY138" fmla="*/ 30065 h 78999"/>
                  <a:gd name="connsiteX139" fmla="*/ 21513 w 72033"/>
                  <a:gd name="connsiteY139" fmla="*/ 30330 h 78999"/>
                  <a:gd name="connsiteX140" fmla="*/ 17722 w 72033"/>
                  <a:gd name="connsiteY140" fmla="*/ 25922 h 78999"/>
                  <a:gd name="connsiteX141" fmla="*/ 16576 w 72033"/>
                  <a:gd name="connsiteY141" fmla="*/ 26539 h 78999"/>
                  <a:gd name="connsiteX142" fmla="*/ 15165 w 72033"/>
                  <a:gd name="connsiteY142" fmla="*/ 25922 h 78999"/>
                  <a:gd name="connsiteX143" fmla="*/ 14548 w 72033"/>
                  <a:gd name="connsiteY143" fmla="*/ 24246 h 78999"/>
                  <a:gd name="connsiteX144" fmla="*/ 13931 w 72033"/>
                  <a:gd name="connsiteY144" fmla="*/ 24246 h 78999"/>
                  <a:gd name="connsiteX145" fmla="*/ 13402 w 72033"/>
                  <a:gd name="connsiteY145" fmla="*/ 23012 h 78999"/>
                  <a:gd name="connsiteX146" fmla="*/ 12784 w 72033"/>
                  <a:gd name="connsiteY146" fmla="*/ 25040 h 78999"/>
                  <a:gd name="connsiteX147" fmla="*/ 14283 w 72033"/>
                  <a:gd name="connsiteY147" fmla="*/ 27685 h 78999"/>
                  <a:gd name="connsiteX148" fmla="*/ 16047 w 72033"/>
                  <a:gd name="connsiteY148" fmla="*/ 29184 h 78999"/>
                  <a:gd name="connsiteX149" fmla="*/ 15429 w 72033"/>
                  <a:gd name="connsiteY149" fmla="*/ 29448 h 78999"/>
                  <a:gd name="connsiteX150" fmla="*/ 19221 w 72033"/>
                  <a:gd name="connsiteY150" fmla="*/ 32093 h 78999"/>
                  <a:gd name="connsiteX151" fmla="*/ 20984 w 72033"/>
                  <a:gd name="connsiteY151" fmla="*/ 32093 h 78999"/>
                  <a:gd name="connsiteX152" fmla="*/ 20631 w 72033"/>
                  <a:gd name="connsiteY152" fmla="*/ 33240 h 78999"/>
                  <a:gd name="connsiteX153" fmla="*/ 20984 w 72033"/>
                  <a:gd name="connsiteY153" fmla="*/ 34121 h 78999"/>
                  <a:gd name="connsiteX154" fmla="*/ 20367 w 72033"/>
                  <a:gd name="connsiteY154" fmla="*/ 34386 h 78999"/>
                  <a:gd name="connsiteX155" fmla="*/ 21866 w 72033"/>
                  <a:gd name="connsiteY155" fmla="*/ 35003 h 78999"/>
                  <a:gd name="connsiteX156" fmla="*/ 20102 w 72033"/>
                  <a:gd name="connsiteY156" fmla="*/ 36766 h 78999"/>
                  <a:gd name="connsiteX157" fmla="*/ 18956 w 72033"/>
                  <a:gd name="connsiteY157" fmla="*/ 36766 h 78999"/>
                  <a:gd name="connsiteX158" fmla="*/ 17457 w 72033"/>
                  <a:gd name="connsiteY158" fmla="*/ 40293 h 78999"/>
                  <a:gd name="connsiteX159" fmla="*/ 16311 w 72033"/>
                  <a:gd name="connsiteY159" fmla="*/ 41704 h 78999"/>
                  <a:gd name="connsiteX160" fmla="*/ 13049 w 72033"/>
                  <a:gd name="connsiteY160" fmla="*/ 39676 h 78999"/>
                  <a:gd name="connsiteX161" fmla="*/ 13049 w 72033"/>
                  <a:gd name="connsiteY161" fmla="*/ 35885 h 78999"/>
                  <a:gd name="connsiteX162" fmla="*/ 12167 w 72033"/>
                  <a:gd name="connsiteY162" fmla="*/ 34386 h 78999"/>
                  <a:gd name="connsiteX163" fmla="*/ 11374 w 72033"/>
                  <a:gd name="connsiteY163" fmla="*/ 34386 h 78999"/>
                  <a:gd name="connsiteX164" fmla="*/ 7847 w 72033"/>
                  <a:gd name="connsiteY164" fmla="*/ 32711 h 78999"/>
                  <a:gd name="connsiteX165" fmla="*/ 4320 w 72033"/>
                  <a:gd name="connsiteY165" fmla="*/ 32711 h 78999"/>
                  <a:gd name="connsiteX166" fmla="*/ 3439 w 72033"/>
                  <a:gd name="connsiteY166" fmla="*/ 31829 h 78999"/>
                  <a:gd name="connsiteX167" fmla="*/ 4320 w 72033"/>
                  <a:gd name="connsiteY167" fmla="*/ 31212 h 78999"/>
                  <a:gd name="connsiteX168" fmla="*/ 1675 w 72033"/>
                  <a:gd name="connsiteY168" fmla="*/ 27685 h 78999"/>
                  <a:gd name="connsiteX169" fmla="*/ 1146 w 72033"/>
                  <a:gd name="connsiteY169" fmla="*/ 23894 h 78999"/>
                  <a:gd name="connsiteX170" fmla="*/ 1675 w 72033"/>
                  <a:gd name="connsiteY170" fmla="*/ 22483 h 78999"/>
                  <a:gd name="connsiteX171" fmla="*/ 882 w 72033"/>
                  <a:gd name="connsiteY171" fmla="*/ 21601 h 78999"/>
                  <a:gd name="connsiteX172" fmla="*/ 2910 w 72033"/>
                  <a:gd name="connsiteY172" fmla="*/ 18956 h 78999"/>
                  <a:gd name="connsiteX173" fmla="*/ 2557 w 72033"/>
                  <a:gd name="connsiteY173" fmla="*/ 17193 h 78999"/>
                  <a:gd name="connsiteX174" fmla="*/ 6084 w 72033"/>
                  <a:gd name="connsiteY174" fmla="*/ 15782 h 78999"/>
                  <a:gd name="connsiteX175" fmla="*/ 6084 w 72033"/>
                  <a:gd name="connsiteY175" fmla="*/ 14548 h 78999"/>
                  <a:gd name="connsiteX176" fmla="*/ 5202 w 72033"/>
                  <a:gd name="connsiteY176" fmla="*/ 15429 h 78999"/>
                  <a:gd name="connsiteX177" fmla="*/ 4937 w 72033"/>
                  <a:gd name="connsiteY177" fmla="*/ 15165 h 78999"/>
                  <a:gd name="connsiteX178" fmla="*/ 5466 w 72033"/>
                  <a:gd name="connsiteY178" fmla="*/ 14548 h 78999"/>
                  <a:gd name="connsiteX179" fmla="*/ 5466 w 72033"/>
                  <a:gd name="connsiteY179" fmla="*/ 13754 h 78999"/>
                  <a:gd name="connsiteX180" fmla="*/ 6084 w 72033"/>
                  <a:gd name="connsiteY180" fmla="*/ 13754 h 78999"/>
                  <a:gd name="connsiteX181" fmla="*/ 5819 w 72033"/>
                  <a:gd name="connsiteY181" fmla="*/ 11374 h 78999"/>
                  <a:gd name="connsiteX182" fmla="*/ 4585 w 72033"/>
                  <a:gd name="connsiteY182" fmla="*/ 9963 h 78999"/>
                  <a:gd name="connsiteX183" fmla="*/ 3174 w 72033"/>
                  <a:gd name="connsiteY183" fmla="*/ 9963 h 78999"/>
                  <a:gd name="connsiteX184" fmla="*/ 3791 w 72033"/>
                  <a:gd name="connsiteY184" fmla="*/ 9081 h 78999"/>
                  <a:gd name="connsiteX185" fmla="*/ 882 w 72033"/>
                  <a:gd name="connsiteY185" fmla="*/ 9610 h 78999"/>
                  <a:gd name="connsiteX186" fmla="*/ 0 w 72033"/>
                  <a:gd name="connsiteY186" fmla="*/ 8200 h 78999"/>
                  <a:gd name="connsiteX187" fmla="*/ 2028 w 72033"/>
                  <a:gd name="connsiteY187" fmla="*/ 7318 h 78999"/>
                  <a:gd name="connsiteX188" fmla="*/ 2028 w 72033"/>
                  <a:gd name="connsiteY188" fmla="*/ 6436 h 78999"/>
                  <a:gd name="connsiteX189" fmla="*/ 3174 w 72033"/>
                  <a:gd name="connsiteY189" fmla="*/ 6436 h 78999"/>
                  <a:gd name="connsiteX190" fmla="*/ 3174 w 72033"/>
                  <a:gd name="connsiteY190" fmla="*/ 7582 h 78999"/>
                  <a:gd name="connsiteX191" fmla="*/ 3791 w 72033"/>
                  <a:gd name="connsiteY191" fmla="*/ 6701 h 78999"/>
                  <a:gd name="connsiteX192" fmla="*/ 5202 w 72033"/>
                  <a:gd name="connsiteY192" fmla="*/ 7318 h 78999"/>
                  <a:gd name="connsiteX193" fmla="*/ 5819 w 72033"/>
                  <a:gd name="connsiteY193" fmla="*/ 6172 h 78999"/>
                  <a:gd name="connsiteX194" fmla="*/ 4320 w 72033"/>
                  <a:gd name="connsiteY194" fmla="*/ 4938 h 78999"/>
                  <a:gd name="connsiteX195" fmla="*/ 5202 w 72033"/>
                  <a:gd name="connsiteY195" fmla="*/ 4056 h 78999"/>
                  <a:gd name="connsiteX196" fmla="*/ 6348 w 72033"/>
                  <a:gd name="connsiteY196" fmla="*/ 4673 h 78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</a:cxnLst>
                <a:rect l="l" t="t" r="r" b="b"/>
                <a:pathLst>
                  <a:path w="72033" h="78999">
                    <a:moveTo>
                      <a:pt x="6084" y="3791"/>
                    </a:moveTo>
                    <a:lnTo>
                      <a:pt x="7847" y="0"/>
                    </a:lnTo>
                    <a:lnTo>
                      <a:pt x="8993" y="0"/>
                    </a:lnTo>
                    <a:lnTo>
                      <a:pt x="9610" y="1146"/>
                    </a:lnTo>
                    <a:lnTo>
                      <a:pt x="13402" y="2645"/>
                    </a:lnTo>
                    <a:lnTo>
                      <a:pt x="16840" y="4938"/>
                    </a:lnTo>
                    <a:lnTo>
                      <a:pt x="23012" y="6701"/>
                    </a:lnTo>
                    <a:lnTo>
                      <a:pt x="26539" y="6436"/>
                    </a:lnTo>
                    <a:lnTo>
                      <a:pt x="28214" y="3791"/>
                    </a:lnTo>
                    <a:lnTo>
                      <a:pt x="29713" y="4673"/>
                    </a:lnTo>
                    <a:lnTo>
                      <a:pt x="30594" y="4056"/>
                    </a:lnTo>
                    <a:lnTo>
                      <a:pt x="32005" y="5290"/>
                    </a:lnTo>
                    <a:lnTo>
                      <a:pt x="32887" y="6172"/>
                    </a:lnTo>
                    <a:lnTo>
                      <a:pt x="34386" y="6172"/>
                    </a:lnTo>
                    <a:lnTo>
                      <a:pt x="35532" y="5555"/>
                    </a:lnTo>
                    <a:lnTo>
                      <a:pt x="35267" y="6436"/>
                    </a:lnTo>
                    <a:lnTo>
                      <a:pt x="38177" y="9610"/>
                    </a:lnTo>
                    <a:lnTo>
                      <a:pt x="37560" y="9610"/>
                    </a:lnTo>
                    <a:lnTo>
                      <a:pt x="38177" y="10757"/>
                    </a:lnTo>
                    <a:lnTo>
                      <a:pt x="39588" y="10757"/>
                    </a:lnTo>
                    <a:lnTo>
                      <a:pt x="40205" y="11374"/>
                    </a:lnTo>
                    <a:lnTo>
                      <a:pt x="40822" y="11374"/>
                    </a:lnTo>
                    <a:lnTo>
                      <a:pt x="41351" y="10757"/>
                    </a:lnTo>
                    <a:lnTo>
                      <a:pt x="42497" y="10757"/>
                    </a:lnTo>
                    <a:lnTo>
                      <a:pt x="43732" y="12873"/>
                    </a:lnTo>
                    <a:lnTo>
                      <a:pt x="46641" y="12873"/>
                    </a:lnTo>
                    <a:lnTo>
                      <a:pt x="50080" y="10228"/>
                    </a:lnTo>
                    <a:lnTo>
                      <a:pt x="50432" y="7318"/>
                    </a:lnTo>
                    <a:lnTo>
                      <a:pt x="51843" y="7847"/>
                    </a:lnTo>
                    <a:lnTo>
                      <a:pt x="52460" y="10228"/>
                    </a:lnTo>
                    <a:lnTo>
                      <a:pt x="50961" y="9081"/>
                    </a:lnTo>
                    <a:lnTo>
                      <a:pt x="50697" y="10757"/>
                    </a:lnTo>
                    <a:lnTo>
                      <a:pt x="51579" y="12520"/>
                    </a:lnTo>
                    <a:lnTo>
                      <a:pt x="51843" y="11374"/>
                    </a:lnTo>
                    <a:lnTo>
                      <a:pt x="51843" y="14548"/>
                    </a:lnTo>
                    <a:lnTo>
                      <a:pt x="53342" y="18075"/>
                    </a:lnTo>
                    <a:lnTo>
                      <a:pt x="55987" y="20720"/>
                    </a:lnTo>
                    <a:lnTo>
                      <a:pt x="58015" y="23629"/>
                    </a:lnTo>
                    <a:lnTo>
                      <a:pt x="58279" y="26803"/>
                    </a:lnTo>
                    <a:lnTo>
                      <a:pt x="60924" y="30330"/>
                    </a:lnTo>
                    <a:lnTo>
                      <a:pt x="61806" y="30947"/>
                    </a:lnTo>
                    <a:lnTo>
                      <a:pt x="62688" y="30330"/>
                    </a:lnTo>
                    <a:lnTo>
                      <a:pt x="62688" y="31476"/>
                    </a:lnTo>
                    <a:lnTo>
                      <a:pt x="62071" y="33240"/>
                    </a:lnTo>
                    <a:lnTo>
                      <a:pt x="64098" y="36502"/>
                    </a:lnTo>
                    <a:lnTo>
                      <a:pt x="66126" y="36149"/>
                    </a:lnTo>
                    <a:lnTo>
                      <a:pt x="67008" y="36766"/>
                    </a:lnTo>
                    <a:lnTo>
                      <a:pt x="67625" y="38530"/>
                    </a:lnTo>
                    <a:lnTo>
                      <a:pt x="70799" y="39411"/>
                    </a:lnTo>
                    <a:lnTo>
                      <a:pt x="72034" y="41086"/>
                    </a:lnTo>
                    <a:lnTo>
                      <a:pt x="72034" y="41968"/>
                    </a:lnTo>
                    <a:lnTo>
                      <a:pt x="71152" y="41968"/>
                    </a:lnTo>
                    <a:lnTo>
                      <a:pt x="71152" y="43202"/>
                    </a:lnTo>
                    <a:lnTo>
                      <a:pt x="68242" y="41086"/>
                    </a:lnTo>
                    <a:lnTo>
                      <a:pt x="67625" y="40822"/>
                    </a:lnTo>
                    <a:lnTo>
                      <a:pt x="66479" y="40293"/>
                    </a:lnTo>
                    <a:lnTo>
                      <a:pt x="65333" y="41086"/>
                    </a:lnTo>
                    <a:lnTo>
                      <a:pt x="64980" y="42321"/>
                    </a:lnTo>
                    <a:lnTo>
                      <a:pt x="65862" y="42850"/>
                    </a:lnTo>
                    <a:lnTo>
                      <a:pt x="63834" y="43732"/>
                    </a:lnTo>
                    <a:lnTo>
                      <a:pt x="63217" y="53342"/>
                    </a:lnTo>
                    <a:lnTo>
                      <a:pt x="64098" y="53342"/>
                    </a:lnTo>
                    <a:lnTo>
                      <a:pt x="67625" y="57133"/>
                    </a:lnTo>
                    <a:lnTo>
                      <a:pt x="66744" y="58015"/>
                    </a:lnTo>
                    <a:lnTo>
                      <a:pt x="64451" y="59514"/>
                    </a:lnTo>
                    <a:lnTo>
                      <a:pt x="64098" y="59778"/>
                    </a:lnTo>
                    <a:lnTo>
                      <a:pt x="64451" y="59778"/>
                    </a:lnTo>
                    <a:lnTo>
                      <a:pt x="64451" y="60131"/>
                    </a:lnTo>
                    <a:lnTo>
                      <a:pt x="63217" y="61806"/>
                    </a:lnTo>
                    <a:lnTo>
                      <a:pt x="64716" y="64451"/>
                    </a:lnTo>
                    <a:lnTo>
                      <a:pt x="64451" y="68859"/>
                    </a:lnTo>
                    <a:lnTo>
                      <a:pt x="59778" y="72298"/>
                    </a:lnTo>
                    <a:lnTo>
                      <a:pt x="61189" y="73180"/>
                    </a:lnTo>
                    <a:lnTo>
                      <a:pt x="62335" y="74061"/>
                    </a:lnTo>
                    <a:lnTo>
                      <a:pt x="63217" y="77853"/>
                    </a:lnTo>
                    <a:lnTo>
                      <a:pt x="62952" y="78999"/>
                    </a:lnTo>
                    <a:lnTo>
                      <a:pt x="61806" y="77588"/>
                    </a:lnTo>
                    <a:lnTo>
                      <a:pt x="60924" y="75825"/>
                    </a:lnTo>
                    <a:lnTo>
                      <a:pt x="61541" y="74414"/>
                    </a:lnTo>
                    <a:lnTo>
                      <a:pt x="57398" y="71505"/>
                    </a:lnTo>
                    <a:lnTo>
                      <a:pt x="58632" y="69124"/>
                    </a:lnTo>
                    <a:lnTo>
                      <a:pt x="57750" y="66744"/>
                    </a:lnTo>
                    <a:lnTo>
                      <a:pt x="58897" y="66479"/>
                    </a:lnTo>
                    <a:lnTo>
                      <a:pt x="57750" y="66479"/>
                    </a:lnTo>
                    <a:lnTo>
                      <a:pt x="56869" y="65333"/>
                    </a:lnTo>
                    <a:lnTo>
                      <a:pt x="57750" y="65333"/>
                    </a:lnTo>
                    <a:lnTo>
                      <a:pt x="57750" y="66215"/>
                    </a:lnTo>
                    <a:lnTo>
                      <a:pt x="58632" y="65597"/>
                    </a:lnTo>
                    <a:lnTo>
                      <a:pt x="57398" y="64451"/>
                    </a:lnTo>
                    <a:lnTo>
                      <a:pt x="55987" y="64716"/>
                    </a:lnTo>
                    <a:lnTo>
                      <a:pt x="55370" y="63922"/>
                    </a:lnTo>
                    <a:lnTo>
                      <a:pt x="53959" y="63570"/>
                    </a:lnTo>
                    <a:lnTo>
                      <a:pt x="53959" y="62159"/>
                    </a:lnTo>
                    <a:lnTo>
                      <a:pt x="51843" y="61542"/>
                    </a:lnTo>
                    <a:lnTo>
                      <a:pt x="50697" y="62159"/>
                    </a:lnTo>
                    <a:lnTo>
                      <a:pt x="50432" y="62952"/>
                    </a:lnTo>
                    <a:lnTo>
                      <a:pt x="51843" y="63922"/>
                    </a:lnTo>
                    <a:lnTo>
                      <a:pt x="52460" y="65597"/>
                    </a:lnTo>
                    <a:lnTo>
                      <a:pt x="55105" y="66744"/>
                    </a:lnTo>
                    <a:lnTo>
                      <a:pt x="55634" y="68859"/>
                    </a:lnTo>
                    <a:lnTo>
                      <a:pt x="54841" y="71152"/>
                    </a:lnTo>
                    <a:lnTo>
                      <a:pt x="53606" y="71505"/>
                    </a:lnTo>
                    <a:lnTo>
                      <a:pt x="52460" y="70270"/>
                    </a:lnTo>
                    <a:lnTo>
                      <a:pt x="52725" y="69741"/>
                    </a:lnTo>
                    <a:lnTo>
                      <a:pt x="52196" y="69388"/>
                    </a:lnTo>
                    <a:lnTo>
                      <a:pt x="48404" y="69388"/>
                    </a:lnTo>
                    <a:lnTo>
                      <a:pt x="46377" y="68243"/>
                    </a:lnTo>
                    <a:lnTo>
                      <a:pt x="46024" y="65597"/>
                    </a:lnTo>
                    <a:lnTo>
                      <a:pt x="45142" y="65597"/>
                    </a:lnTo>
                    <a:lnTo>
                      <a:pt x="46024" y="62952"/>
                    </a:lnTo>
                    <a:lnTo>
                      <a:pt x="46906" y="62952"/>
                    </a:lnTo>
                    <a:lnTo>
                      <a:pt x="47170" y="61542"/>
                    </a:lnTo>
                    <a:lnTo>
                      <a:pt x="48933" y="60660"/>
                    </a:lnTo>
                    <a:lnTo>
                      <a:pt x="46906" y="60660"/>
                    </a:lnTo>
                    <a:lnTo>
                      <a:pt x="47523" y="59161"/>
                    </a:lnTo>
                    <a:lnTo>
                      <a:pt x="48669" y="59514"/>
                    </a:lnTo>
                    <a:lnTo>
                      <a:pt x="48052" y="58015"/>
                    </a:lnTo>
                    <a:lnTo>
                      <a:pt x="48933" y="58015"/>
                    </a:lnTo>
                    <a:lnTo>
                      <a:pt x="46906" y="57133"/>
                    </a:lnTo>
                    <a:lnTo>
                      <a:pt x="48404" y="56251"/>
                    </a:lnTo>
                    <a:lnTo>
                      <a:pt x="47523" y="54576"/>
                    </a:lnTo>
                    <a:lnTo>
                      <a:pt x="45142" y="51314"/>
                    </a:lnTo>
                    <a:lnTo>
                      <a:pt x="45142" y="50432"/>
                    </a:lnTo>
                    <a:lnTo>
                      <a:pt x="41351" y="47523"/>
                    </a:lnTo>
                    <a:lnTo>
                      <a:pt x="36678" y="45230"/>
                    </a:lnTo>
                    <a:lnTo>
                      <a:pt x="36149" y="43732"/>
                    </a:lnTo>
                    <a:lnTo>
                      <a:pt x="29713" y="41968"/>
                    </a:lnTo>
                    <a:lnTo>
                      <a:pt x="28831" y="42321"/>
                    </a:lnTo>
                    <a:lnTo>
                      <a:pt x="27068" y="41086"/>
                    </a:lnTo>
                    <a:lnTo>
                      <a:pt x="25922" y="39940"/>
                    </a:lnTo>
                    <a:lnTo>
                      <a:pt x="26539" y="38794"/>
                    </a:lnTo>
                    <a:lnTo>
                      <a:pt x="25657" y="38794"/>
                    </a:lnTo>
                    <a:lnTo>
                      <a:pt x="27068" y="36149"/>
                    </a:lnTo>
                    <a:lnTo>
                      <a:pt x="25304" y="33240"/>
                    </a:lnTo>
                    <a:lnTo>
                      <a:pt x="25657" y="32358"/>
                    </a:lnTo>
                    <a:lnTo>
                      <a:pt x="24775" y="31212"/>
                    </a:lnTo>
                    <a:lnTo>
                      <a:pt x="22395" y="31212"/>
                    </a:lnTo>
                    <a:lnTo>
                      <a:pt x="23894" y="30594"/>
                    </a:lnTo>
                    <a:lnTo>
                      <a:pt x="22395" y="30065"/>
                    </a:lnTo>
                    <a:lnTo>
                      <a:pt x="21513" y="30330"/>
                    </a:lnTo>
                    <a:lnTo>
                      <a:pt x="17722" y="25922"/>
                    </a:lnTo>
                    <a:lnTo>
                      <a:pt x="16576" y="26539"/>
                    </a:lnTo>
                    <a:lnTo>
                      <a:pt x="15165" y="25922"/>
                    </a:lnTo>
                    <a:lnTo>
                      <a:pt x="14548" y="24246"/>
                    </a:lnTo>
                    <a:lnTo>
                      <a:pt x="13931" y="24246"/>
                    </a:lnTo>
                    <a:lnTo>
                      <a:pt x="13402" y="23012"/>
                    </a:lnTo>
                    <a:lnTo>
                      <a:pt x="12784" y="25040"/>
                    </a:lnTo>
                    <a:lnTo>
                      <a:pt x="14283" y="27685"/>
                    </a:lnTo>
                    <a:lnTo>
                      <a:pt x="16047" y="29184"/>
                    </a:lnTo>
                    <a:lnTo>
                      <a:pt x="15429" y="29448"/>
                    </a:lnTo>
                    <a:lnTo>
                      <a:pt x="19221" y="32093"/>
                    </a:lnTo>
                    <a:lnTo>
                      <a:pt x="20984" y="32093"/>
                    </a:lnTo>
                    <a:lnTo>
                      <a:pt x="20631" y="33240"/>
                    </a:lnTo>
                    <a:lnTo>
                      <a:pt x="20984" y="34121"/>
                    </a:lnTo>
                    <a:lnTo>
                      <a:pt x="20367" y="34386"/>
                    </a:lnTo>
                    <a:lnTo>
                      <a:pt x="21866" y="35003"/>
                    </a:lnTo>
                    <a:lnTo>
                      <a:pt x="20102" y="36766"/>
                    </a:lnTo>
                    <a:lnTo>
                      <a:pt x="18956" y="36766"/>
                    </a:lnTo>
                    <a:lnTo>
                      <a:pt x="17457" y="40293"/>
                    </a:lnTo>
                    <a:lnTo>
                      <a:pt x="16311" y="41704"/>
                    </a:lnTo>
                    <a:lnTo>
                      <a:pt x="13049" y="39676"/>
                    </a:lnTo>
                    <a:lnTo>
                      <a:pt x="13049" y="35885"/>
                    </a:lnTo>
                    <a:lnTo>
                      <a:pt x="12167" y="34386"/>
                    </a:lnTo>
                    <a:lnTo>
                      <a:pt x="11374" y="34386"/>
                    </a:lnTo>
                    <a:lnTo>
                      <a:pt x="7847" y="32711"/>
                    </a:lnTo>
                    <a:lnTo>
                      <a:pt x="4320" y="32711"/>
                    </a:lnTo>
                    <a:lnTo>
                      <a:pt x="3439" y="31829"/>
                    </a:lnTo>
                    <a:lnTo>
                      <a:pt x="4320" y="31212"/>
                    </a:lnTo>
                    <a:lnTo>
                      <a:pt x="1675" y="27685"/>
                    </a:lnTo>
                    <a:lnTo>
                      <a:pt x="1146" y="23894"/>
                    </a:lnTo>
                    <a:lnTo>
                      <a:pt x="1675" y="22483"/>
                    </a:lnTo>
                    <a:lnTo>
                      <a:pt x="882" y="21601"/>
                    </a:lnTo>
                    <a:lnTo>
                      <a:pt x="2910" y="18956"/>
                    </a:lnTo>
                    <a:lnTo>
                      <a:pt x="2557" y="17193"/>
                    </a:lnTo>
                    <a:lnTo>
                      <a:pt x="6084" y="15782"/>
                    </a:lnTo>
                    <a:lnTo>
                      <a:pt x="6084" y="14548"/>
                    </a:lnTo>
                    <a:lnTo>
                      <a:pt x="5202" y="15429"/>
                    </a:lnTo>
                    <a:lnTo>
                      <a:pt x="4937" y="15165"/>
                    </a:lnTo>
                    <a:lnTo>
                      <a:pt x="5466" y="14548"/>
                    </a:lnTo>
                    <a:lnTo>
                      <a:pt x="5466" y="13754"/>
                    </a:lnTo>
                    <a:lnTo>
                      <a:pt x="6084" y="13754"/>
                    </a:lnTo>
                    <a:lnTo>
                      <a:pt x="5819" y="11374"/>
                    </a:lnTo>
                    <a:lnTo>
                      <a:pt x="4585" y="9963"/>
                    </a:lnTo>
                    <a:lnTo>
                      <a:pt x="3174" y="9963"/>
                    </a:lnTo>
                    <a:lnTo>
                      <a:pt x="3791" y="9081"/>
                    </a:lnTo>
                    <a:lnTo>
                      <a:pt x="882" y="9610"/>
                    </a:lnTo>
                    <a:lnTo>
                      <a:pt x="0" y="8200"/>
                    </a:lnTo>
                    <a:lnTo>
                      <a:pt x="2028" y="7318"/>
                    </a:lnTo>
                    <a:lnTo>
                      <a:pt x="2028" y="6436"/>
                    </a:lnTo>
                    <a:lnTo>
                      <a:pt x="3174" y="6436"/>
                    </a:lnTo>
                    <a:lnTo>
                      <a:pt x="3174" y="7582"/>
                    </a:lnTo>
                    <a:lnTo>
                      <a:pt x="3791" y="6701"/>
                    </a:lnTo>
                    <a:lnTo>
                      <a:pt x="5202" y="7318"/>
                    </a:lnTo>
                    <a:lnTo>
                      <a:pt x="5819" y="6172"/>
                    </a:lnTo>
                    <a:lnTo>
                      <a:pt x="4320" y="4938"/>
                    </a:lnTo>
                    <a:lnTo>
                      <a:pt x="5202" y="4056"/>
                    </a:lnTo>
                    <a:lnTo>
                      <a:pt x="6348" y="46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1" name="Freihandform: Form 1760">
                <a:extLst>
                  <a:ext uri="{FF2B5EF4-FFF2-40B4-BE49-F238E27FC236}">
                    <a16:creationId xmlns:a16="http://schemas.microsoft.com/office/drawing/2014/main" id="{6BD70819-C2B5-A288-F311-65F5CB68DD88}"/>
                  </a:ext>
                </a:extLst>
              </p:cNvPr>
              <p:cNvSpPr/>
              <p:nvPr/>
            </p:nvSpPr>
            <p:spPr>
              <a:xfrm>
                <a:off x="2329661" y="3839952"/>
                <a:ext cx="267502" cy="415361"/>
              </a:xfrm>
              <a:custGeom>
                <a:avLst/>
                <a:gdLst>
                  <a:gd name="connsiteX0" fmla="*/ 30330 w 267502"/>
                  <a:gd name="connsiteY0" fmla="*/ 130401 h 415361"/>
                  <a:gd name="connsiteX1" fmla="*/ 31829 w 267502"/>
                  <a:gd name="connsiteY1" fmla="*/ 124229 h 415361"/>
                  <a:gd name="connsiteX2" fmla="*/ 32975 w 267502"/>
                  <a:gd name="connsiteY2" fmla="*/ 124229 h 415361"/>
                  <a:gd name="connsiteX3" fmla="*/ 33857 w 267502"/>
                  <a:gd name="connsiteY3" fmla="*/ 123348 h 415361"/>
                  <a:gd name="connsiteX4" fmla="*/ 32975 w 267502"/>
                  <a:gd name="connsiteY4" fmla="*/ 120438 h 415361"/>
                  <a:gd name="connsiteX5" fmla="*/ 33239 w 267502"/>
                  <a:gd name="connsiteY5" fmla="*/ 118763 h 415361"/>
                  <a:gd name="connsiteX6" fmla="*/ 35003 w 267502"/>
                  <a:gd name="connsiteY6" fmla="*/ 119909 h 415361"/>
                  <a:gd name="connsiteX7" fmla="*/ 36502 w 267502"/>
                  <a:gd name="connsiteY7" fmla="*/ 121320 h 415361"/>
                  <a:gd name="connsiteX8" fmla="*/ 36502 w 267502"/>
                  <a:gd name="connsiteY8" fmla="*/ 122466 h 415361"/>
                  <a:gd name="connsiteX9" fmla="*/ 37383 w 267502"/>
                  <a:gd name="connsiteY9" fmla="*/ 122466 h 415361"/>
                  <a:gd name="connsiteX10" fmla="*/ 39147 w 267502"/>
                  <a:gd name="connsiteY10" fmla="*/ 121055 h 415361"/>
                  <a:gd name="connsiteX11" fmla="*/ 42585 w 267502"/>
                  <a:gd name="connsiteY11" fmla="*/ 119027 h 415361"/>
                  <a:gd name="connsiteX12" fmla="*/ 41704 w 267502"/>
                  <a:gd name="connsiteY12" fmla="*/ 116647 h 415361"/>
                  <a:gd name="connsiteX13" fmla="*/ 42585 w 267502"/>
                  <a:gd name="connsiteY13" fmla="*/ 114619 h 415361"/>
                  <a:gd name="connsiteX14" fmla="*/ 43467 w 267502"/>
                  <a:gd name="connsiteY14" fmla="*/ 113473 h 415361"/>
                  <a:gd name="connsiteX15" fmla="*/ 45495 w 267502"/>
                  <a:gd name="connsiteY15" fmla="*/ 112856 h 415361"/>
                  <a:gd name="connsiteX16" fmla="*/ 47258 w 267502"/>
                  <a:gd name="connsiteY16" fmla="*/ 112327 h 415361"/>
                  <a:gd name="connsiteX17" fmla="*/ 45495 w 267502"/>
                  <a:gd name="connsiteY17" fmla="*/ 109064 h 415361"/>
                  <a:gd name="connsiteX18" fmla="*/ 44613 w 267502"/>
                  <a:gd name="connsiteY18" fmla="*/ 106155 h 415361"/>
                  <a:gd name="connsiteX19" fmla="*/ 43731 w 267502"/>
                  <a:gd name="connsiteY19" fmla="*/ 105890 h 415361"/>
                  <a:gd name="connsiteX20" fmla="*/ 44084 w 267502"/>
                  <a:gd name="connsiteY20" fmla="*/ 104391 h 415361"/>
                  <a:gd name="connsiteX21" fmla="*/ 42321 w 267502"/>
                  <a:gd name="connsiteY21" fmla="*/ 104127 h 415361"/>
                  <a:gd name="connsiteX22" fmla="*/ 42585 w 267502"/>
                  <a:gd name="connsiteY22" fmla="*/ 101217 h 415361"/>
                  <a:gd name="connsiteX23" fmla="*/ 41439 w 267502"/>
                  <a:gd name="connsiteY23" fmla="*/ 99454 h 415361"/>
                  <a:gd name="connsiteX24" fmla="*/ 40557 w 267502"/>
                  <a:gd name="connsiteY24" fmla="*/ 99454 h 415361"/>
                  <a:gd name="connsiteX25" fmla="*/ 40293 w 267502"/>
                  <a:gd name="connsiteY25" fmla="*/ 98572 h 415361"/>
                  <a:gd name="connsiteX26" fmla="*/ 40557 w 267502"/>
                  <a:gd name="connsiteY26" fmla="*/ 97691 h 415361"/>
                  <a:gd name="connsiteX27" fmla="*/ 41704 w 267502"/>
                  <a:gd name="connsiteY27" fmla="*/ 96544 h 415361"/>
                  <a:gd name="connsiteX28" fmla="*/ 41704 w 267502"/>
                  <a:gd name="connsiteY28" fmla="*/ 95663 h 415361"/>
                  <a:gd name="connsiteX29" fmla="*/ 42938 w 267502"/>
                  <a:gd name="connsiteY29" fmla="*/ 94781 h 415361"/>
                  <a:gd name="connsiteX30" fmla="*/ 43467 w 267502"/>
                  <a:gd name="connsiteY30" fmla="*/ 94516 h 415361"/>
                  <a:gd name="connsiteX31" fmla="*/ 43731 w 267502"/>
                  <a:gd name="connsiteY31" fmla="*/ 94781 h 415361"/>
                  <a:gd name="connsiteX32" fmla="*/ 44084 w 267502"/>
                  <a:gd name="connsiteY32" fmla="*/ 95663 h 415361"/>
                  <a:gd name="connsiteX33" fmla="*/ 44084 w 267502"/>
                  <a:gd name="connsiteY33" fmla="*/ 96280 h 415361"/>
                  <a:gd name="connsiteX34" fmla="*/ 44613 w 267502"/>
                  <a:gd name="connsiteY34" fmla="*/ 97162 h 415361"/>
                  <a:gd name="connsiteX35" fmla="*/ 44613 w 267502"/>
                  <a:gd name="connsiteY35" fmla="*/ 97426 h 415361"/>
                  <a:gd name="connsiteX36" fmla="*/ 45230 w 267502"/>
                  <a:gd name="connsiteY36" fmla="*/ 98308 h 415361"/>
                  <a:gd name="connsiteX37" fmla="*/ 44966 w 267502"/>
                  <a:gd name="connsiteY37" fmla="*/ 99190 h 415361"/>
                  <a:gd name="connsiteX38" fmla="*/ 45230 w 267502"/>
                  <a:gd name="connsiteY38" fmla="*/ 99454 h 415361"/>
                  <a:gd name="connsiteX39" fmla="*/ 45495 w 267502"/>
                  <a:gd name="connsiteY39" fmla="*/ 99719 h 415361"/>
                  <a:gd name="connsiteX40" fmla="*/ 46994 w 267502"/>
                  <a:gd name="connsiteY40" fmla="*/ 100071 h 415361"/>
                  <a:gd name="connsiteX41" fmla="*/ 47258 w 267502"/>
                  <a:gd name="connsiteY41" fmla="*/ 100600 h 415361"/>
                  <a:gd name="connsiteX42" fmla="*/ 48140 w 267502"/>
                  <a:gd name="connsiteY42" fmla="*/ 101217 h 415361"/>
                  <a:gd name="connsiteX43" fmla="*/ 48140 w 267502"/>
                  <a:gd name="connsiteY43" fmla="*/ 101746 h 415361"/>
                  <a:gd name="connsiteX44" fmla="*/ 48493 w 267502"/>
                  <a:gd name="connsiteY44" fmla="*/ 102363 h 415361"/>
                  <a:gd name="connsiteX45" fmla="*/ 49903 w 267502"/>
                  <a:gd name="connsiteY45" fmla="*/ 103245 h 415361"/>
                  <a:gd name="connsiteX46" fmla="*/ 50520 w 267502"/>
                  <a:gd name="connsiteY46" fmla="*/ 104391 h 415361"/>
                  <a:gd name="connsiteX47" fmla="*/ 50785 w 267502"/>
                  <a:gd name="connsiteY47" fmla="*/ 105273 h 415361"/>
                  <a:gd name="connsiteX48" fmla="*/ 51049 w 267502"/>
                  <a:gd name="connsiteY48" fmla="*/ 105273 h 415361"/>
                  <a:gd name="connsiteX49" fmla="*/ 51402 w 267502"/>
                  <a:gd name="connsiteY49" fmla="*/ 105537 h 415361"/>
                  <a:gd name="connsiteX50" fmla="*/ 51049 w 267502"/>
                  <a:gd name="connsiteY50" fmla="*/ 106155 h 415361"/>
                  <a:gd name="connsiteX51" fmla="*/ 51931 w 267502"/>
                  <a:gd name="connsiteY51" fmla="*/ 105890 h 415361"/>
                  <a:gd name="connsiteX52" fmla="*/ 52284 w 267502"/>
                  <a:gd name="connsiteY52" fmla="*/ 106419 h 415361"/>
                  <a:gd name="connsiteX53" fmla="*/ 52284 w 267502"/>
                  <a:gd name="connsiteY53" fmla="*/ 106772 h 415361"/>
                  <a:gd name="connsiteX54" fmla="*/ 51402 w 267502"/>
                  <a:gd name="connsiteY54" fmla="*/ 106772 h 415361"/>
                  <a:gd name="connsiteX55" fmla="*/ 51049 w 267502"/>
                  <a:gd name="connsiteY55" fmla="*/ 107301 h 415361"/>
                  <a:gd name="connsiteX56" fmla="*/ 51049 w 267502"/>
                  <a:gd name="connsiteY56" fmla="*/ 107654 h 415361"/>
                  <a:gd name="connsiteX57" fmla="*/ 51931 w 267502"/>
                  <a:gd name="connsiteY57" fmla="*/ 109064 h 415361"/>
                  <a:gd name="connsiteX58" fmla="*/ 52284 w 267502"/>
                  <a:gd name="connsiteY58" fmla="*/ 109064 h 415361"/>
                  <a:gd name="connsiteX59" fmla="*/ 52548 w 267502"/>
                  <a:gd name="connsiteY59" fmla="*/ 107918 h 415361"/>
                  <a:gd name="connsiteX60" fmla="*/ 52813 w 267502"/>
                  <a:gd name="connsiteY60" fmla="*/ 107654 h 415361"/>
                  <a:gd name="connsiteX61" fmla="*/ 53430 w 267502"/>
                  <a:gd name="connsiteY61" fmla="*/ 108535 h 415361"/>
                  <a:gd name="connsiteX62" fmla="*/ 53695 w 267502"/>
                  <a:gd name="connsiteY62" fmla="*/ 109064 h 415361"/>
                  <a:gd name="connsiteX63" fmla="*/ 53695 w 267502"/>
                  <a:gd name="connsiteY63" fmla="*/ 109417 h 415361"/>
                  <a:gd name="connsiteX64" fmla="*/ 53077 w 267502"/>
                  <a:gd name="connsiteY64" fmla="*/ 109681 h 415361"/>
                  <a:gd name="connsiteX65" fmla="*/ 51931 w 267502"/>
                  <a:gd name="connsiteY65" fmla="*/ 109946 h 415361"/>
                  <a:gd name="connsiteX66" fmla="*/ 51402 w 267502"/>
                  <a:gd name="connsiteY66" fmla="*/ 110563 h 415361"/>
                  <a:gd name="connsiteX67" fmla="*/ 51667 w 267502"/>
                  <a:gd name="connsiteY67" fmla="*/ 111974 h 415361"/>
                  <a:gd name="connsiteX68" fmla="*/ 51931 w 267502"/>
                  <a:gd name="connsiteY68" fmla="*/ 112856 h 415361"/>
                  <a:gd name="connsiteX69" fmla="*/ 52813 w 267502"/>
                  <a:gd name="connsiteY69" fmla="*/ 113473 h 415361"/>
                  <a:gd name="connsiteX70" fmla="*/ 53959 w 267502"/>
                  <a:gd name="connsiteY70" fmla="*/ 113473 h 415361"/>
                  <a:gd name="connsiteX71" fmla="*/ 55722 w 267502"/>
                  <a:gd name="connsiteY71" fmla="*/ 111709 h 415361"/>
                  <a:gd name="connsiteX72" fmla="*/ 55987 w 267502"/>
                  <a:gd name="connsiteY72" fmla="*/ 109064 h 415361"/>
                  <a:gd name="connsiteX73" fmla="*/ 55987 w 267502"/>
                  <a:gd name="connsiteY73" fmla="*/ 106419 h 415361"/>
                  <a:gd name="connsiteX74" fmla="*/ 55722 w 267502"/>
                  <a:gd name="connsiteY74" fmla="*/ 102363 h 415361"/>
                  <a:gd name="connsiteX75" fmla="*/ 54841 w 267502"/>
                  <a:gd name="connsiteY75" fmla="*/ 100071 h 415361"/>
                  <a:gd name="connsiteX76" fmla="*/ 52813 w 267502"/>
                  <a:gd name="connsiteY76" fmla="*/ 98572 h 415361"/>
                  <a:gd name="connsiteX77" fmla="*/ 52284 w 267502"/>
                  <a:gd name="connsiteY77" fmla="*/ 97691 h 415361"/>
                  <a:gd name="connsiteX78" fmla="*/ 52813 w 267502"/>
                  <a:gd name="connsiteY78" fmla="*/ 96280 h 415361"/>
                  <a:gd name="connsiteX79" fmla="*/ 53430 w 267502"/>
                  <a:gd name="connsiteY79" fmla="*/ 95927 h 415361"/>
                  <a:gd name="connsiteX80" fmla="*/ 54841 w 267502"/>
                  <a:gd name="connsiteY80" fmla="*/ 93635 h 415361"/>
                  <a:gd name="connsiteX81" fmla="*/ 55987 w 267502"/>
                  <a:gd name="connsiteY81" fmla="*/ 93635 h 415361"/>
                  <a:gd name="connsiteX82" fmla="*/ 58985 w 267502"/>
                  <a:gd name="connsiteY82" fmla="*/ 92489 h 415361"/>
                  <a:gd name="connsiteX83" fmla="*/ 62159 w 267502"/>
                  <a:gd name="connsiteY83" fmla="*/ 90373 h 415361"/>
                  <a:gd name="connsiteX84" fmla="*/ 63922 w 267502"/>
                  <a:gd name="connsiteY84" fmla="*/ 88698 h 415361"/>
                  <a:gd name="connsiteX85" fmla="*/ 67713 w 267502"/>
                  <a:gd name="connsiteY85" fmla="*/ 86052 h 415361"/>
                  <a:gd name="connsiteX86" fmla="*/ 67978 w 267502"/>
                  <a:gd name="connsiteY86" fmla="*/ 84554 h 415361"/>
                  <a:gd name="connsiteX87" fmla="*/ 70006 w 267502"/>
                  <a:gd name="connsiteY87" fmla="*/ 80233 h 415361"/>
                  <a:gd name="connsiteX88" fmla="*/ 71240 w 267502"/>
                  <a:gd name="connsiteY88" fmla="*/ 78734 h 415361"/>
                  <a:gd name="connsiteX89" fmla="*/ 73268 w 267502"/>
                  <a:gd name="connsiteY89" fmla="*/ 77324 h 415361"/>
                  <a:gd name="connsiteX90" fmla="*/ 75825 w 267502"/>
                  <a:gd name="connsiteY90" fmla="*/ 75825 h 415361"/>
                  <a:gd name="connsiteX91" fmla="*/ 76706 w 267502"/>
                  <a:gd name="connsiteY91" fmla="*/ 75296 h 415361"/>
                  <a:gd name="connsiteX92" fmla="*/ 77588 w 267502"/>
                  <a:gd name="connsiteY92" fmla="*/ 75560 h 415361"/>
                  <a:gd name="connsiteX93" fmla="*/ 78470 w 267502"/>
                  <a:gd name="connsiteY93" fmla="*/ 75825 h 415361"/>
                  <a:gd name="connsiteX94" fmla="*/ 77059 w 267502"/>
                  <a:gd name="connsiteY94" fmla="*/ 76442 h 415361"/>
                  <a:gd name="connsiteX95" fmla="*/ 78205 w 267502"/>
                  <a:gd name="connsiteY95" fmla="*/ 76971 h 415361"/>
                  <a:gd name="connsiteX96" fmla="*/ 79616 w 267502"/>
                  <a:gd name="connsiteY96" fmla="*/ 76706 h 415361"/>
                  <a:gd name="connsiteX97" fmla="*/ 81115 w 267502"/>
                  <a:gd name="connsiteY97" fmla="*/ 75825 h 415361"/>
                  <a:gd name="connsiteX98" fmla="*/ 83407 w 267502"/>
                  <a:gd name="connsiteY98" fmla="*/ 71505 h 415361"/>
                  <a:gd name="connsiteX99" fmla="*/ 82261 w 267502"/>
                  <a:gd name="connsiteY99" fmla="*/ 68595 h 415361"/>
                  <a:gd name="connsiteX100" fmla="*/ 81732 w 267502"/>
                  <a:gd name="connsiteY100" fmla="*/ 67361 h 415361"/>
                  <a:gd name="connsiteX101" fmla="*/ 82261 w 267502"/>
                  <a:gd name="connsiteY101" fmla="*/ 64187 h 415361"/>
                  <a:gd name="connsiteX102" fmla="*/ 84024 w 267502"/>
                  <a:gd name="connsiteY102" fmla="*/ 60660 h 415361"/>
                  <a:gd name="connsiteX103" fmla="*/ 84289 w 267502"/>
                  <a:gd name="connsiteY103" fmla="*/ 57750 h 415361"/>
                  <a:gd name="connsiteX104" fmla="*/ 85171 w 267502"/>
                  <a:gd name="connsiteY104" fmla="*/ 55458 h 415361"/>
                  <a:gd name="connsiteX105" fmla="*/ 82261 w 267502"/>
                  <a:gd name="connsiteY105" fmla="*/ 57133 h 415361"/>
                  <a:gd name="connsiteX106" fmla="*/ 81115 w 267502"/>
                  <a:gd name="connsiteY106" fmla="*/ 57133 h 415361"/>
                  <a:gd name="connsiteX107" fmla="*/ 81115 w 267502"/>
                  <a:gd name="connsiteY107" fmla="*/ 55987 h 415361"/>
                  <a:gd name="connsiteX108" fmla="*/ 83143 w 267502"/>
                  <a:gd name="connsiteY108" fmla="*/ 54841 h 415361"/>
                  <a:gd name="connsiteX109" fmla="*/ 83760 w 267502"/>
                  <a:gd name="connsiteY109" fmla="*/ 53695 h 415361"/>
                  <a:gd name="connsiteX110" fmla="*/ 84906 w 267502"/>
                  <a:gd name="connsiteY110" fmla="*/ 53959 h 415361"/>
                  <a:gd name="connsiteX111" fmla="*/ 85523 w 267502"/>
                  <a:gd name="connsiteY111" fmla="*/ 53695 h 415361"/>
                  <a:gd name="connsiteX112" fmla="*/ 86052 w 267502"/>
                  <a:gd name="connsiteY112" fmla="*/ 52548 h 415361"/>
                  <a:gd name="connsiteX113" fmla="*/ 85523 w 267502"/>
                  <a:gd name="connsiteY113" fmla="*/ 51667 h 415361"/>
                  <a:gd name="connsiteX114" fmla="*/ 84642 w 267502"/>
                  <a:gd name="connsiteY114" fmla="*/ 51314 h 415361"/>
                  <a:gd name="connsiteX115" fmla="*/ 85171 w 267502"/>
                  <a:gd name="connsiteY115" fmla="*/ 49551 h 415361"/>
                  <a:gd name="connsiteX116" fmla="*/ 85523 w 267502"/>
                  <a:gd name="connsiteY116" fmla="*/ 50785 h 415361"/>
                  <a:gd name="connsiteX117" fmla="*/ 86669 w 267502"/>
                  <a:gd name="connsiteY117" fmla="*/ 50432 h 415361"/>
                  <a:gd name="connsiteX118" fmla="*/ 85788 w 267502"/>
                  <a:gd name="connsiteY118" fmla="*/ 49022 h 415361"/>
                  <a:gd name="connsiteX119" fmla="*/ 85788 w 267502"/>
                  <a:gd name="connsiteY119" fmla="*/ 46994 h 415361"/>
                  <a:gd name="connsiteX120" fmla="*/ 87816 w 267502"/>
                  <a:gd name="connsiteY120" fmla="*/ 45759 h 415361"/>
                  <a:gd name="connsiteX121" fmla="*/ 88697 w 267502"/>
                  <a:gd name="connsiteY121" fmla="*/ 44349 h 415361"/>
                  <a:gd name="connsiteX122" fmla="*/ 91607 w 267502"/>
                  <a:gd name="connsiteY122" fmla="*/ 42850 h 415361"/>
                  <a:gd name="connsiteX123" fmla="*/ 91607 w 267502"/>
                  <a:gd name="connsiteY123" fmla="*/ 43732 h 415361"/>
                  <a:gd name="connsiteX124" fmla="*/ 92753 w 267502"/>
                  <a:gd name="connsiteY124" fmla="*/ 43732 h 415361"/>
                  <a:gd name="connsiteX125" fmla="*/ 92753 w 267502"/>
                  <a:gd name="connsiteY125" fmla="*/ 41968 h 415361"/>
                  <a:gd name="connsiteX126" fmla="*/ 91078 w 267502"/>
                  <a:gd name="connsiteY126" fmla="*/ 41968 h 415361"/>
                  <a:gd name="connsiteX127" fmla="*/ 92753 w 267502"/>
                  <a:gd name="connsiteY127" fmla="*/ 41175 h 415361"/>
                  <a:gd name="connsiteX128" fmla="*/ 95134 w 267502"/>
                  <a:gd name="connsiteY128" fmla="*/ 39411 h 415361"/>
                  <a:gd name="connsiteX129" fmla="*/ 97161 w 267502"/>
                  <a:gd name="connsiteY129" fmla="*/ 38530 h 415361"/>
                  <a:gd name="connsiteX130" fmla="*/ 98925 w 267502"/>
                  <a:gd name="connsiteY130" fmla="*/ 37648 h 415361"/>
                  <a:gd name="connsiteX131" fmla="*/ 100071 w 267502"/>
                  <a:gd name="connsiteY131" fmla="*/ 36149 h 415361"/>
                  <a:gd name="connsiteX132" fmla="*/ 100071 w 267502"/>
                  <a:gd name="connsiteY132" fmla="*/ 34386 h 415361"/>
                  <a:gd name="connsiteX133" fmla="*/ 99807 w 267502"/>
                  <a:gd name="connsiteY133" fmla="*/ 33857 h 415361"/>
                  <a:gd name="connsiteX134" fmla="*/ 101217 w 267502"/>
                  <a:gd name="connsiteY134" fmla="*/ 32975 h 415361"/>
                  <a:gd name="connsiteX135" fmla="*/ 102452 w 267502"/>
                  <a:gd name="connsiteY135" fmla="*/ 32358 h 415361"/>
                  <a:gd name="connsiteX136" fmla="*/ 103862 w 267502"/>
                  <a:gd name="connsiteY136" fmla="*/ 34386 h 415361"/>
                  <a:gd name="connsiteX137" fmla="*/ 106155 w 267502"/>
                  <a:gd name="connsiteY137" fmla="*/ 35003 h 415361"/>
                  <a:gd name="connsiteX138" fmla="*/ 109152 w 267502"/>
                  <a:gd name="connsiteY138" fmla="*/ 35885 h 415361"/>
                  <a:gd name="connsiteX139" fmla="*/ 111180 w 267502"/>
                  <a:gd name="connsiteY139" fmla="*/ 35003 h 415361"/>
                  <a:gd name="connsiteX140" fmla="*/ 112591 w 267502"/>
                  <a:gd name="connsiteY140" fmla="*/ 34738 h 415361"/>
                  <a:gd name="connsiteX141" fmla="*/ 111445 w 267502"/>
                  <a:gd name="connsiteY141" fmla="*/ 35885 h 415361"/>
                  <a:gd name="connsiteX142" fmla="*/ 109152 w 267502"/>
                  <a:gd name="connsiteY142" fmla="*/ 36766 h 415361"/>
                  <a:gd name="connsiteX143" fmla="*/ 109152 w 267502"/>
                  <a:gd name="connsiteY143" fmla="*/ 39411 h 415361"/>
                  <a:gd name="connsiteX144" fmla="*/ 108800 w 267502"/>
                  <a:gd name="connsiteY144" fmla="*/ 39411 h 415361"/>
                  <a:gd name="connsiteX145" fmla="*/ 107036 w 267502"/>
                  <a:gd name="connsiteY145" fmla="*/ 39411 h 415361"/>
                  <a:gd name="connsiteX146" fmla="*/ 106507 w 267502"/>
                  <a:gd name="connsiteY146" fmla="*/ 40293 h 415361"/>
                  <a:gd name="connsiteX147" fmla="*/ 107036 w 267502"/>
                  <a:gd name="connsiteY147" fmla="*/ 41704 h 415361"/>
                  <a:gd name="connsiteX148" fmla="*/ 107654 w 267502"/>
                  <a:gd name="connsiteY148" fmla="*/ 41175 h 415361"/>
                  <a:gd name="connsiteX149" fmla="*/ 108800 w 267502"/>
                  <a:gd name="connsiteY149" fmla="*/ 42321 h 415361"/>
                  <a:gd name="connsiteX150" fmla="*/ 108535 w 267502"/>
                  <a:gd name="connsiteY150" fmla="*/ 41968 h 415361"/>
                  <a:gd name="connsiteX151" fmla="*/ 108800 w 267502"/>
                  <a:gd name="connsiteY151" fmla="*/ 40293 h 415361"/>
                  <a:gd name="connsiteX152" fmla="*/ 109681 w 267502"/>
                  <a:gd name="connsiteY152" fmla="*/ 42321 h 415361"/>
                  <a:gd name="connsiteX153" fmla="*/ 112591 w 267502"/>
                  <a:gd name="connsiteY153" fmla="*/ 40293 h 415361"/>
                  <a:gd name="connsiteX154" fmla="*/ 113473 w 267502"/>
                  <a:gd name="connsiteY154" fmla="*/ 37648 h 415361"/>
                  <a:gd name="connsiteX155" fmla="*/ 115236 w 267502"/>
                  <a:gd name="connsiteY155" fmla="*/ 34386 h 415361"/>
                  <a:gd name="connsiteX156" fmla="*/ 115236 w 267502"/>
                  <a:gd name="connsiteY156" fmla="*/ 30594 h 415361"/>
                  <a:gd name="connsiteX157" fmla="*/ 116382 w 267502"/>
                  <a:gd name="connsiteY157" fmla="*/ 28567 h 415361"/>
                  <a:gd name="connsiteX158" fmla="*/ 117617 w 267502"/>
                  <a:gd name="connsiteY158" fmla="*/ 27156 h 415361"/>
                  <a:gd name="connsiteX159" fmla="*/ 118763 w 267502"/>
                  <a:gd name="connsiteY159" fmla="*/ 27156 h 415361"/>
                  <a:gd name="connsiteX160" fmla="*/ 119292 w 267502"/>
                  <a:gd name="connsiteY160" fmla="*/ 27156 h 415361"/>
                  <a:gd name="connsiteX161" fmla="*/ 123083 w 267502"/>
                  <a:gd name="connsiteY161" fmla="*/ 28919 h 415361"/>
                  <a:gd name="connsiteX162" fmla="*/ 125728 w 267502"/>
                  <a:gd name="connsiteY162" fmla="*/ 29448 h 415361"/>
                  <a:gd name="connsiteX163" fmla="*/ 127756 w 267502"/>
                  <a:gd name="connsiteY163" fmla="*/ 29713 h 415361"/>
                  <a:gd name="connsiteX164" fmla="*/ 130136 w 267502"/>
                  <a:gd name="connsiteY164" fmla="*/ 30330 h 415361"/>
                  <a:gd name="connsiteX165" fmla="*/ 134192 w 267502"/>
                  <a:gd name="connsiteY165" fmla="*/ 29448 h 415361"/>
                  <a:gd name="connsiteX166" fmla="*/ 135691 w 267502"/>
                  <a:gd name="connsiteY166" fmla="*/ 28919 h 415361"/>
                  <a:gd name="connsiteX167" fmla="*/ 137366 w 267502"/>
                  <a:gd name="connsiteY167" fmla="*/ 27156 h 415361"/>
                  <a:gd name="connsiteX168" fmla="*/ 138601 w 267502"/>
                  <a:gd name="connsiteY168" fmla="*/ 26803 h 415361"/>
                  <a:gd name="connsiteX169" fmla="*/ 139482 w 267502"/>
                  <a:gd name="connsiteY169" fmla="*/ 25657 h 415361"/>
                  <a:gd name="connsiteX170" fmla="*/ 140364 w 267502"/>
                  <a:gd name="connsiteY170" fmla="*/ 23629 h 415361"/>
                  <a:gd name="connsiteX171" fmla="*/ 142392 w 267502"/>
                  <a:gd name="connsiteY171" fmla="*/ 23365 h 415361"/>
                  <a:gd name="connsiteX172" fmla="*/ 143803 w 267502"/>
                  <a:gd name="connsiteY172" fmla="*/ 23894 h 415361"/>
                  <a:gd name="connsiteX173" fmla="*/ 145566 w 267502"/>
                  <a:gd name="connsiteY173" fmla="*/ 22747 h 415361"/>
                  <a:gd name="connsiteX174" fmla="*/ 146448 w 267502"/>
                  <a:gd name="connsiteY174" fmla="*/ 20720 h 415361"/>
                  <a:gd name="connsiteX175" fmla="*/ 148476 w 267502"/>
                  <a:gd name="connsiteY175" fmla="*/ 18692 h 415361"/>
                  <a:gd name="connsiteX176" fmla="*/ 151121 w 267502"/>
                  <a:gd name="connsiteY176" fmla="*/ 17810 h 415361"/>
                  <a:gd name="connsiteX177" fmla="*/ 152619 w 267502"/>
                  <a:gd name="connsiteY177" fmla="*/ 17457 h 415361"/>
                  <a:gd name="connsiteX178" fmla="*/ 155176 w 267502"/>
                  <a:gd name="connsiteY178" fmla="*/ 16928 h 415361"/>
                  <a:gd name="connsiteX179" fmla="*/ 154912 w 267502"/>
                  <a:gd name="connsiteY179" fmla="*/ 18339 h 415361"/>
                  <a:gd name="connsiteX180" fmla="*/ 156323 w 267502"/>
                  <a:gd name="connsiteY180" fmla="*/ 15429 h 415361"/>
                  <a:gd name="connsiteX181" fmla="*/ 159320 w 267502"/>
                  <a:gd name="connsiteY181" fmla="*/ 14900 h 415361"/>
                  <a:gd name="connsiteX182" fmla="*/ 160202 w 267502"/>
                  <a:gd name="connsiteY182" fmla="*/ 13754 h 415361"/>
                  <a:gd name="connsiteX183" fmla="*/ 160466 w 267502"/>
                  <a:gd name="connsiteY183" fmla="*/ 10757 h 415361"/>
                  <a:gd name="connsiteX184" fmla="*/ 161877 w 267502"/>
                  <a:gd name="connsiteY184" fmla="*/ 9346 h 415361"/>
                  <a:gd name="connsiteX185" fmla="*/ 162230 w 267502"/>
                  <a:gd name="connsiteY185" fmla="*/ 6172 h 415361"/>
                  <a:gd name="connsiteX186" fmla="*/ 162230 w 267502"/>
                  <a:gd name="connsiteY186" fmla="*/ 5555 h 415361"/>
                  <a:gd name="connsiteX187" fmla="*/ 163993 w 267502"/>
                  <a:gd name="connsiteY187" fmla="*/ 4937 h 415361"/>
                  <a:gd name="connsiteX188" fmla="*/ 165404 w 267502"/>
                  <a:gd name="connsiteY188" fmla="*/ 6436 h 415361"/>
                  <a:gd name="connsiteX189" fmla="*/ 165668 w 267502"/>
                  <a:gd name="connsiteY189" fmla="*/ 7582 h 415361"/>
                  <a:gd name="connsiteX190" fmla="*/ 166903 w 267502"/>
                  <a:gd name="connsiteY190" fmla="*/ 6965 h 415361"/>
                  <a:gd name="connsiteX191" fmla="*/ 168666 w 267502"/>
                  <a:gd name="connsiteY191" fmla="*/ 6172 h 415361"/>
                  <a:gd name="connsiteX192" fmla="*/ 168666 w 267502"/>
                  <a:gd name="connsiteY192" fmla="*/ 4673 h 415361"/>
                  <a:gd name="connsiteX193" fmla="*/ 167167 w 267502"/>
                  <a:gd name="connsiteY193" fmla="*/ 4408 h 415361"/>
                  <a:gd name="connsiteX194" fmla="*/ 166550 w 267502"/>
                  <a:gd name="connsiteY194" fmla="*/ 4408 h 415361"/>
                  <a:gd name="connsiteX195" fmla="*/ 167696 w 267502"/>
                  <a:gd name="connsiteY195" fmla="*/ 2381 h 415361"/>
                  <a:gd name="connsiteX196" fmla="*/ 169812 w 267502"/>
                  <a:gd name="connsiteY196" fmla="*/ 2381 h 415361"/>
                  <a:gd name="connsiteX197" fmla="*/ 169812 w 267502"/>
                  <a:gd name="connsiteY197" fmla="*/ 3527 h 415361"/>
                  <a:gd name="connsiteX198" fmla="*/ 171576 w 267502"/>
                  <a:gd name="connsiteY198" fmla="*/ 2910 h 415361"/>
                  <a:gd name="connsiteX199" fmla="*/ 171840 w 267502"/>
                  <a:gd name="connsiteY199" fmla="*/ 2028 h 415361"/>
                  <a:gd name="connsiteX200" fmla="*/ 172369 w 267502"/>
                  <a:gd name="connsiteY200" fmla="*/ 1499 h 415361"/>
                  <a:gd name="connsiteX201" fmla="*/ 172369 w 267502"/>
                  <a:gd name="connsiteY201" fmla="*/ 2381 h 415361"/>
                  <a:gd name="connsiteX202" fmla="*/ 172369 w 267502"/>
                  <a:gd name="connsiteY202" fmla="*/ 1499 h 415361"/>
                  <a:gd name="connsiteX203" fmla="*/ 172986 w 267502"/>
                  <a:gd name="connsiteY203" fmla="*/ 882 h 415361"/>
                  <a:gd name="connsiteX204" fmla="*/ 172722 w 267502"/>
                  <a:gd name="connsiteY204" fmla="*/ 882 h 415361"/>
                  <a:gd name="connsiteX205" fmla="*/ 172105 w 267502"/>
                  <a:gd name="connsiteY205" fmla="*/ 882 h 415361"/>
                  <a:gd name="connsiteX206" fmla="*/ 173603 w 267502"/>
                  <a:gd name="connsiteY206" fmla="*/ 0 h 415361"/>
                  <a:gd name="connsiteX207" fmla="*/ 175631 w 267502"/>
                  <a:gd name="connsiteY207" fmla="*/ 264 h 415361"/>
                  <a:gd name="connsiteX208" fmla="*/ 178276 w 267502"/>
                  <a:gd name="connsiteY208" fmla="*/ 2028 h 415361"/>
                  <a:gd name="connsiteX209" fmla="*/ 182597 w 267502"/>
                  <a:gd name="connsiteY209" fmla="*/ 3174 h 415361"/>
                  <a:gd name="connsiteX210" fmla="*/ 182949 w 267502"/>
                  <a:gd name="connsiteY210" fmla="*/ 4937 h 415361"/>
                  <a:gd name="connsiteX211" fmla="*/ 184624 w 267502"/>
                  <a:gd name="connsiteY211" fmla="*/ 8200 h 415361"/>
                  <a:gd name="connsiteX212" fmla="*/ 184624 w 267502"/>
                  <a:gd name="connsiteY212" fmla="*/ 10757 h 415361"/>
                  <a:gd name="connsiteX213" fmla="*/ 184095 w 267502"/>
                  <a:gd name="connsiteY213" fmla="*/ 12873 h 415361"/>
                  <a:gd name="connsiteX214" fmla="*/ 180569 w 267502"/>
                  <a:gd name="connsiteY214" fmla="*/ 13754 h 415361"/>
                  <a:gd name="connsiteX215" fmla="*/ 177395 w 267502"/>
                  <a:gd name="connsiteY215" fmla="*/ 14283 h 415361"/>
                  <a:gd name="connsiteX216" fmla="*/ 173251 w 267502"/>
                  <a:gd name="connsiteY216" fmla="*/ 15782 h 415361"/>
                  <a:gd name="connsiteX217" fmla="*/ 169812 w 267502"/>
                  <a:gd name="connsiteY217" fmla="*/ 18956 h 415361"/>
                  <a:gd name="connsiteX218" fmla="*/ 158086 w 267502"/>
                  <a:gd name="connsiteY218" fmla="*/ 32711 h 415361"/>
                  <a:gd name="connsiteX219" fmla="*/ 151385 w 267502"/>
                  <a:gd name="connsiteY219" fmla="*/ 37383 h 415361"/>
                  <a:gd name="connsiteX220" fmla="*/ 143274 w 267502"/>
                  <a:gd name="connsiteY220" fmla="*/ 49903 h 415361"/>
                  <a:gd name="connsiteX221" fmla="*/ 140629 w 267502"/>
                  <a:gd name="connsiteY221" fmla="*/ 61277 h 415361"/>
                  <a:gd name="connsiteX222" fmla="*/ 131283 w 267502"/>
                  <a:gd name="connsiteY222" fmla="*/ 81379 h 415361"/>
                  <a:gd name="connsiteX223" fmla="*/ 139482 w 267502"/>
                  <a:gd name="connsiteY223" fmla="*/ 78734 h 415361"/>
                  <a:gd name="connsiteX224" fmla="*/ 140011 w 267502"/>
                  <a:gd name="connsiteY224" fmla="*/ 82526 h 415361"/>
                  <a:gd name="connsiteX225" fmla="*/ 143538 w 267502"/>
                  <a:gd name="connsiteY225" fmla="*/ 82526 h 415361"/>
                  <a:gd name="connsiteX226" fmla="*/ 143538 w 267502"/>
                  <a:gd name="connsiteY226" fmla="*/ 83672 h 415361"/>
                  <a:gd name="connsiteX227" fmla="*/ 151738 w 267502"/>
                  <a:gd name="connsiteY227" fmla="*/ 101746 h 415361"/>
                  <a:gd name="connsiteX228" fmla="*/ 151738 w 267502"/>
                  <a:gd name="connsiteY228" fmla="*/ 105273 h 415361"/>
                  <a:gd name="connsiteX229" fmla="*/ 151121 w 267502"/>
                  <a:gd name="connsiteY229" fmla="*/ 109946 h 415361"/>
                  <a:gd name="connsiteX230" fmla="*/ 150239 w 267502"/>
                  <a:gd name="connsiteY230" fmla="*/ 113473 h 415361"/>
                  <a:gd name="connsiteX231" fmla="*/ 150503 w 267502"/>
                  <a:gd name="connsiteY231" fmla="*/ 125993 h 415361"/>
                  <a:gd name="connsiteX232" fmla="*/ 156323 w 267502"/>
                  <a:gd name="connsiteY232" fmla="*/ 131283 h 415361"/>
                  <a:gd name="connsiteX233" fmla="*/ 162759 w 267502"/>
                  <a:gd name="connsiteY233" fmla="*/ 136485 h 415361"/>
                  <a:gd name="connsiteX234" fmla="*/ 166286 w 267502"/>
                  <a:gd name="connsiteY234" fmla="*/ 135338 h 415361"/>
                  <a:gd name="connsiteX235" fmla="*/ 168049 w 267502"/>
                  <a:gd name="connsiteY235" fmla="*/ 135338 h 415361"/>
                  <a:gd name="connsiteX236" fmla="*/ 169195 w 267502"/>
                  <a:gd name="connsiteY236" fmla="*/ 135603 h 415361"/>
                  <a:gd name="connsiteX237" fmla="*/ 177042 w 267502"/>
                  <a:gd name="connsiteY237" fmla="*/ 137102 h 415361"/>
                  <a:gd name="connsiteX238" fmla="*/ 180304 w 267502"/>
                  <a:gd name="connsiteY238" fmla="*/ 136485 h 415361"/>
                  <a:gd name="connsiteX239" fmla="*/ 183743 w 267502"/>
                  <a:gd name="connsiteY239" fmla="*/ 134192 h 415361"/>
                  <a:gd name="connsiteX240" fmla="*/ 190532 w 267502"/>
                  <a:gd name="connsiteY240" fmla="*/ 134192 h 415361"/>
                  <a:gd name="connsiteX241" fmla="*/ 193706 w 267502"/>
                  <a:gd name="connsiteY241" fmla="*/ 135603 h 415361"/>
                  <a:gd name="connsiteX242" fmla="*/ 200407 w 267502"/>
                  <a:gd name="connsiteY242" fmla="*/ 136485 h 415361"/>
                  <a:gd name="connsiteX243" fmla="*/ 217071 w 267502"/>
                  <a:gd name="connsiteY243" fmla="*/ 157204 h 415361"/>
                  <a:gd name="connsiteX244" fmla="*/ 220245 w 267502"/>
                  <a:gd name="connsiteY244" fmla="*/ 158350 h 415361"/>
                  <a:gd name="connsiteX245" fmla="*/ 232235 w 267502"/>
                  <a:gd name="connsiteY245" fmla="*/ 157821 h 415361"/>
                  <a:gd name="connsiteX246" fmla="*/ 245637 w 267502"/>
                  <a:gd name="connsiteY246" fmla="*/ 156058 h 415361"/>
                  <a:gd name="connsiteX247" fmla="*/ 249957 w 267502"/>
                  <a:gd name="connsiteY247" fmla="*/ 153149 h 415361"/>
                  <a:gd name="connsiteX248" fmla="*/ 258157 w 267502"/>
                  <a:gd name="connsiteY248" fmla="*/ 156058 h 415361"/>
                  <a:gd name="connsiteX249" fmla="*/ 258774 w 267502"/>
                  <a:gd name="connsiteY249" fmla="*/ 160731 h 415361"/>
                  <a:gd name="connsiteX250" fmla="*/ 253484 w 267502"/>
                  <a:gd name="connsiteY250" fmla="*/ 169195 h 415361"/>
                  <a:gd name="connsiteX251" fmla="*/ 249693 w 267502"/>
                  <a:gd name="connsiteY251" fmla="*/ 176425 h 415361"/>
                  <a:gd name="connsiteX252" fmla="*/ 249076 w 267502"/>
                  <a:gd name="connsiteY252" fmla="*/ 180569 h 415361"/>
                  <a:gd name="connsiteX253" fmla="*/ 250310 w 267502"/>
                  <a:gd name="connsiteY253" fmla="*/ 184624 h 415361"/>
                  <a:gd name="connsiteX254" fmla="*/ 248811 w 267502"/>
                  <a:gd name="connsiteY254" fmla="*/ 192207 h 415361"/>
                  <a:gd name="connsiteX255" fmla="*/ 248547 w 267502"/>
                  <a:gd name="connsiteY255" fmla="*/ 199525 h 415361"/>
                  <a:gd name="connsiteX256" fmla="*/ 248811 w 267502"/>
                  <a:gd name="connsiteY256" fmla="*/ 200936 h 415361"/>
                  <a:gd name="connsiteX257" fmla="*/ 248811 w 267502"/>
                  <a:gd name="connsiteY257" fmla="*/ 204727 h 415361"/>
                  <a:gd name="connsiteX258" fmla="*/ 251192 w 267502"/>
                  <a:gd name="connsiteY258" fmla="*/ 212662 h 415361"/>
                  <a:gd name="connsiteX259" fmla="*/ 253484 w 267502"/>
                  <a:gd name="connsiteY259" fmla="*/ 217600 h 415361"/>
                  <a:gd name="connsiteX260" fmla="*/ 257011 w 267502"/>
                  <a:gd name="connsiteY260" fmla="*/ 219363 h 415361"/>
                  <a:gd name="connsiteX261" fmla="*/ 259656 w 267502"/>
                  <a:gd name="connsiteY261" fmla="*/ 224300 h 415361"/>
                  <a:gd name="connsiteX262" fmla="*/ 257540 w 267502"/>
                  <a:gd name="connsiteY262" fmla="*/ 229238 h 415361"/>
                  <a:gd name="connsiteX263" fmla="*/ 247048 w 267502"/>
                  <a:gd name="connsiteY263" fmla="*/ 241229 h 415361"/>
                  <a:gd name="connsiteX264" fmla="*/ 252338 w 267502"/>
                  <a:gd name="connsiteY264" fmla="*/ 241229 h 415361"/>
                  <a:gd name="connsiteX265" fmla="*/ 254630 w 267502"/>
                  <a:gd name="connsiteY265" fmla="*/ 244138 h 415361"/>
                  <a:gd name="connsiteX266" fmla="*/ 260537 w 267502"/>
                  <a:gd name="connsiteY266" fmla="*/ 253749 h 415361"/>
                  <a:gd name="connsiteX267" fmla="*/ 261948 w 267502"/>
                  <a:gd name="connsiteY267" fmla="*/ 257275 h 415361"/>
                  <a:gd name="connsiteX268" fmla="*/ 262565 w 267502"/>
                  <a:gd name="connsiteY268" fmla="*/ 261331 h 415361"/>
                  <a:gd name="connsiteX269" fmla="*/ 265475 w 267502"/>
                  <a:gd name="connsiteY269" fmla="*/ 270941 h 415361"/>
                  <a:gd name="connsiteX270" fmla="*/ 267503 w 267502"/>
                  <a:gd name="connsiteY270" fmla="*/ 278260 h 415361"/>
                  <a:gd name="connsiteX271" fmla="*/ 263447 w 267502"/>
                  <a:gd name="connsiteY271" fmla="*/ 281433 h 415361"/>
                  <a:gd name="connsiteX272" fmla="*/ 257893 w 267502"/>
                  <a:gd name="connsiteY272" fmla="*/ 257804 h 415361"/>
                  <a:gd name="connsiteX273" fmla="*/ 254101 w 267502"/>
                  <a:gd name="connsiteY273" fmla="*/ 258157 h 415361"/>
                  <a:gd name="connsiteX274" fmla="*/ 248282 w 267502"/>
                  <a:gd name="connsiteY274" fmla="*/ 265387 h 415361"/>
                  <a:gd name="connsiteX275" fmla="*/ 243609 w 267502"/>
                  <a:gd name="connsiteY275" fmla="*/ 266268 h 415361"/>
                  <a:gd name="connsiteX276" fmla="*/ 239465 w 267502"/>
                  <a:gd name="connsiteY276" fmla="*/ 261596 h 415361"/>
                  <a:gd name="connsiteX277" fmla="*/ 237173 w 267502"/>
                  <a:gd name="connsiteY277" fmla="*/ 264858 h 415361"/>
                  <a:gd name="connsiteX278" fmla="*/ 238055 w 267502"/>
                  <a:gd name="connsiteY278" fmla="*/ 266004 h 415361"/>
                  <a:gd name="connsiteX279" fmla="*/ 212927 w 267502"/>
                  <a:gd name="connsiteY279" fmla="*/ 266886 h 415361"/>
                  <a:gd name="connsiteX280" fmla="*/ 205697 w 267502"/>
                  <a:gd name="connsiteY280" fmla="*/ 266886 h 415361"/>
                  <a:gd name="connsiteX281" fmla="*/ 202435 w 267502"/>
                  <a:gd name="connsiteY281" fmla="*/ 267503 h 415361"/>
                  <a:gd name="connsiteX282" fmla="*/ 204198 w 267502"/>
                  <a:gd name="connsiteY282" fmla="*/ 283197 h 415361"/>
                  <a:gd name="connsiteX283" fmla="*/ 211516 w 267502"/>
                  <a:gd name="connsiteY283" fmla="*/ 284078 h 415361"/>
                  <a:gd name="connsiteX284" fmla="*/ 213544 w 267502"/>
                  <a:gd name="connsiteY284" fmla="*/ 284078 h 415361"/>
                  <a:gd name="connsiteX285" fmla="*/ 216718 w 267502"/>
                  <a:gd name="connsiteY285" fmla="*/ 287870 h 415361"/>
                  <a:gd name="connsiteX286" fmla="*/ 217599 w 267502"/>
                  <a:gd name="connsiteY286" fmla="*/ 289281 h 415361"/>
                  <a:gd name="connsiteX287" fmla="*/ 217335 w 267502"/>
                  <a:gd name="connsiteY287" fmla="*/ 292807 h 415361"/>
                  <a:gd name="connsiteX288" fmla="*/ 214690 w 267502"/>
                  <a:gd name="connsiteY288" fmla="*/ 295188 h 415361"/>
                  <a:gd name="connsiteX289" fmla="*/ 213544 w 267502"/>
                  <a:gd name="connsiteY289" fmla="*/ 294835 h 415361"/>
                  <a:gd name="connsiteX290" fmla="*/ 208871 w 267502"/>
                  <a:gd name="connsiteY290" fmla="*/ 293160 h 415361"/>
                  <a:gd name="connsiteX291" fmla="*/ 206226 w 267502"/>
                  <a:gd name="connsiteY291" fmla="*/ 293425 h 415361"/>
                  <a:gd name="connsiteX292" fmla="*/ 201024 w 267502"/>
                  <a:gd name="connsiteY292" fmla="*/ 295452 h 415361"/>
                  <a:gd name="connsiteX293" fmla="*/ 199525 w 267502"/>
                  <a:gd name="connsiteY293" fmla="*/ 295452 h 415361"/>
                  <a:gd name="connsiteX294" fmla="*/ 198114 w 267502"/>
                  <a:gd name="connsiteY294" fmla="*/ 296069 h 415361"/>
                  <a:gd name="connsiteX295" fmla="*/ 200671 w 267502"/>
                  <a:gd name="connsiteY295" fmla="*/ 318200 h 415361"/>
                  <a:gd name="connsiteX296" fmla="*/ 204462 w 267502"/>
                  <a:gd name="connsiteY296" fmla="*/ 321726 h 415361"/>
                  <a:gd name="connsiteX297" fmla="*/ 207989 w 267502"/>
                  <a:gd name="connsiteY297" fmla="*/ 325165 h 415361"/>
                  <a:gd name="connsiteX298" fmla="*/ 207725 w 267502"/>
                  <a:gd name="connsiteY298" fmla="*/ 329309 h 415361"/>
                  <a:gd name="connsiteX299" fmla="*/ 209488 w 267502"/>
                  <a:gd name="connsiteY299" fmla="*/ 333365 h 415361"/>
                  <a:gd name="connsiteX300" fmla="*/ 212662 w 267502"/>
                  <a:gd name="connsiteY300" fmla="*/ 339801 h 415361"/>
                  <a:gd name="connsiteX301" fmla="*/ 210899 w 267502"/>
                  <a:gd name="connsiteY301" fmla="*/ 348000 h 415361"/>
                  <a:gd name="connsiteX302" fmla="*/ 211516 w 267502"/>
                  <a:gd name="connsiteY302" fmla="*/ 348794 h 415361"/>
                  <a:gd name="connsiteX303" fmla="*/ 201906 w 267502"/>
                  <a:gd name="connsiteY303" fmla="*/ 415361 h 415361"/>
                  <a:gd name="connsiteX304" fmla="*/ 197762 w 267502"/>
                  <a:gd name="connsiteY304" fmla="*/ 412099 h 415361"/>
                  <a:gd name="connsiteX305" fmla="*/ 196615 w 267502"/>
                  <a:gd name="connsiteY305" fmla="*/ 408925 h 415361"/>
                  <a:gd name="connsiteX306" fmla="*/ 194852 w 267502"/>
                  <a:gd name="connsiteY306" fmla="*/ 407162 h 415361"/>
                  <a:gd name="connsiteX307" fmla="*/ 193089 w 267502"/>
                  <a:gd name="connsiteY307" fmla="*/ 405134 h 415361"/>
                  <a:gd name="connsiteX308" fmla="*/ 192207 w 267502"/>
                  <a:gd name="connsiteY308" fmla="*/ 405134 h 415361"/>
                  <a:gd name="connsiteX309" fmla="*/ 189033 w 267502"/>
                  <a:gd name="connsiteY309" fmla="*/ 407162 h 415361"/>
                  <a:gd name="connsiteX310" fmla="*/ 187270 w 267502"/>
                  <a:gd name="connsiteY310" fmla="*/ 406280 h 415361"/>
                  <a:gd name="connsiteX311" fmla="*/ 186741 w 267502"/>
                  <a:gd name="connsiteY311" fmla="*/ 406280 h 415361"/>
                  <a:gd name="connsiteX312" fmla="*/ 184977 w 267502"/>
                  <a:gd name="connsiteY312" fmla="*/ 405134 h 415361"/>
                  <a:gd name="connsiteX313" fmla="*/ 184360 w 267502"/>
                  <a:gd name="connsiteY313" fmla="*/ 405134 h 415361"/>
                  <a:gd name="connsiteX314" fmla="*/ 184624 w 267502"/>
                  <a:gd name="connsiteY314" fmla="*/ 404516 h 415361"/>
                  <a:gd name="connsiteX315" fmla="*/ 198643 w 267502"/>
                  <a:gd name="connsiteY315" fmla="*/ 378330 h 415361"/>
                  <a:gd name="connsiteX316" fmla="*/ 197762 w 267502"/>
                  <a:gd name="connsiteY316" fmla="*/ 377978 h 415361"/>
                  <a:gd name="connsiteX317" fmla="*/ 197497 w 267502"/>
                  <a:gd name="connsiteY317" fmla="*/ 375950 h 415361"/>
                  <a:gd name="connsiteX318" fmla="*/ 197233 w 267502"/>
                  <a:gd name="connsiteY318" fmla="*/ 375950 h 415361"/>
                  <a:gd name="connsiteX319" fmla="*/ 196880 w 267502"/>
                  <a:gd name="connsiteY319" fmla="*/ 376214 h 415361"/>
                  <a:gd name="connsiteX320" fmla="*/ 196351 w 267502"/>
                  <a:gd name="connsiteY320" fmla="*/ 377096 h 415361"/>
                  <a:gd name="connsiteX321" fmla="*/ 195998 w 267502"/>
                  <a:gd name="connsiteY321" fmla="*/ 375950 h 415361"/>
                  <a:gd name="connsiteX322" fmla="*/ 193970 w 267502"/>
                  <a:gd name="connsiteY322" fmla="*/ 375950 h 415361"/>
                  <a:gd name="connsiteX323" fmla="*/ 193706 w 267502"/>
                  <a:gd name="connsiteY323" fmla="*/ 374187 h 415361"/>
                  <a:gd name="connsiteX324" fmla="*/ 193089 w 267502"/>
                  <a:gd name="connsiteY324" fmla="*/ 373305 h 415361"/>
                  <a:gd name="connsiteX325" fmla="*/ 191678 w 267502"/>
                  <a:gd name="connsiteY325" fmla="*/ 374539 h 415361"/>
                  <a:gd name="connsiteX326" fmla="*/ 191678 w 267502"/>
                  <a:gd name="connsiteY326" fmla="*/ 373305 h 415361"/>
                  <a:gd name="connsiteX327" fmla="*/ 191942 w 267502"/>
                  <a:gd name="connsiteY327" fmla="*/ 372776 h 415361"/>
                  <a:gd name="connsiteX328" fmla="*/ 191942 w 267502"/>
                  <a:gd name="connsiteY328" fmla="*/ 372159 h 415361"/>
                  <a:gd name="connsiteX329" fmla="*/ 191413 w 267502"/>
                  <a:gd name="connsiteY329" fmla="*/ 372159 h 415361"/>
                  <a:gd name="connsiteX330" fmla="*/ 189298 w 267502"/>
                  <a:gd name="connsiteY330" fmla="*/ 372776 h 415361"/>
                  <a:gd name="connsiteX331" fmla="*/ 189033 w 267502"/>
                  <a:gd name="connsiteY331" fmla="*/ 371542 h 415361"/>
                  <a:gd name="connsiteX332" fmla="*/ 187887 w 267502"/>
                  <a:gd name="connsiteY332" fmla="*/ 371542 h 415361"/>
                  <a:gd name="connsiteX333" fmla="*/ 186388 w 267502"/>
                  <a:gd name="connsiteY333" fmla="*/ 370131 h 415361"/>
                  <a:gd name="connsiteX334" fmla="*/ 186388 w 267502"/>
                  <a:gd name="connsiteY334" fmla="*/ 371542 h 415361"/>
                  <a:gd name="connsiteX335" fmla="*/ 185506 w 267502"/>
                  <a:gd name="connsiteY335" fmla="*/ 371542 h 415361"/>
                  <a:gd name="connsiteX336" fmla="*/ 184977 w 267502"/>
                  <a:gd name="connsiteY336" fmla="*/ 370131 h 415361"/>
                  <a:gd name="connsiteX337" fmla="*/ 183743 w 267502"/>
                  <a:gd name="connsiteY337" fmla="*/ 369866 h 415361"/>
                  <a:gd name="connsiteX338" fmla="*/ 183743 w 267502"/>
                  <a:gd name="connsiteY338" fmla="*/ 368632 h 415361"/>
                  <a:gd name="connsiteX339" fmla="*/ 181186 w 267502"/>
                  <a:gd name="connsiteY339" fmla="*/ 367486 h 415361"/>
                  <a:gd name="connsiteX340" fmla="*/ 180040 w 267502"/>
                  <a:gd name="connsiteY340" fmla="*/ 366075 h 415361"/>
                  <a:gd name="connsiteX341" fmla="*/ 178541 w 267502"/>
                  <a:gd name="connsiteY341" fmla="*/ 366075 h 415361"/>
                  <a:gd name="connsiteX342" fmla="*/ 177395 w 267502"/>
                  <a:gd name="connsiteY342" fmla="*/ 365458 h 415361"/>
                  <a:gd name="connsiteX343" fmla="*/ 177042 w 267502"/>
                  <a:gd name="connsiteY343" fmla="*/ 366075 h 415361"/>
                  <a:gd name="connsiteX344" fmla="*/ 177395 w 267502"/>
                  <a:gd name="connsiteY344" fmla="*/ 366957 h 415361"/>
                  <a:gd name="connsiteX345" fmla="*/ 177042 w 267502"/>
                  <a:gd name="connsiteY345" fmla="*/ 366957 h 415361"/>
                  <a:gd name="connsiteX346" fmla="*/ 175896 w 267502"/>
                  <a:gd name="connsiteY346" fmla="*/ 366604 h 415361"/>
                  <a:gd name="connsiteX347" fmla="*/ 174485 w 267502"/>
                  <a:gd name="connsiteY347" fmla="*/ 366604 h 415361"/>
                  <a:gd name="connsiteX348" fmla="*/ 174133 w 267502"/>
                  <a:gd name="connsiteY348" fmla="*/ 366957 h 415361"/>
                  <a:gd name="connsiteX349" fmla="*/ 173868 w 267502"/>
                  <a:gd name="connsiteY349" fmla="*/ 368368 h 415361"/>
                  <a:gd name="connsiteX350" fmla="*/ 172986 w 267502"/>
                  <a:gd name="connsiteY350" fmla="*/ 368985 h 415361"/>
                  <a:gd name="connsiteX351" fmla="*/ 172369 w 267502"/>
                  <a:gd name="connsiteY351" fmla="*/ 368632 h 415361"/>
                  <a:gd name="connsiteX352" fmla="*/ 170958 w 267502"/>
                  <a:gd name="connsiteY352" fmla="*/ 368985 h 415361"/>
                  <a:gd name="connsiteX353" fmla="*/ 170341 w 267502"/>
                  <a:gd name="connsiteY353" fmla="*/ 368632 h 415361"/>
                  <a:gd name="connsiteX354" fmla="*/ 168049 w 267502"/>
                  <a:gd name="connsiteY354" fmla="*/ 369866 h 415361"/>
                  <a:gd name="connsiteX355" fmla="*/ 167696 w 267502"/>
                  <a:gd name="connsiteY355" fmla="*/ 369514 h 415361"/>
                  <a:gd name="connsiteX356" fmla="*/ 168049 w 267502"/>
                  <a:gd name="connsiteY356" fmla="*/ 368632 h 415361"/>
                  <a:gd name="connsiteX357" fmla="*/ 167432 w 267502"/>
                  <a:gd name="connsiteY357" fmla="*/ 366957 h 415361"/>
                  <a:gd name="connsiteX358" fmla="*/ 166903 w 267502"/>
                  <a:gd name="connsiteY358" fmla="*/ 366604 h 415361"/>
                  <a:gd name="connsiteX359" fmla="*/ 166903 w 267502"/>
                  <a:gd name="connsiteY359" fmla="*/ 368368 h 415361"/>
                  <a:gd name="connsiteX360" fmla="*/ 166550 w 267502"/>
                  <a:gd name="connsiteY360" fmla="*/ 368368 h 415361"/>
                  <a:gd name="connsiteX361" fmla="*/ 166286 w 267502"/>
                  <a:gd name="connsiteY361" fmla="*/ 367750 h 415361"/>
                  <a:gd name="connsiteX362" fmla="*/ 165668 w 267502"/>
                  <a:gd name="connsiteY362" fmla="*/ 366340 h 415361"/>
                  <a:gd name="connsiteX363" fmla="*/ 164522 w 267502"/>
                  <a:gd name="connsiteY363" fmla="*/ 366075 h 415361"/>
                  <a:gd name="connsiteX364" fmla="*/ 163993 w 267502"/>
                  <a:gd name="connsiteY364" fmla="*/ 364841 h 415361"/>
                  <a:gd name="connsiteX365" fmla="*/ 162494 w 267502"/>
                  <a:gd name="connsiteY365" fmla="*/ 364576 h 415361"/>
                  <a:gd name="connsiteX366" fmla="*/ 161613 w 267502"/>
                  <a:gd name="connsiteY366" fmla="*/ 364841 h 415361"/>
                  <a:gd name="connsiteX367" fmla="*/ 161348 w 267502"/>
                  <a:gd name="connsiteY367" fmla="*/ 363959 h 415361"/>
                  <a:gd name="connsiteX368" fmla="*/ 158968 w 267502"/>
                  <a:gd name="connsiteY368" fmla="*/ 364841 h 415361"/>
                  <a:gd name="connsiteX369" fmla="*/ 157821 w 267502"/>
                  <a:gd name="connsiteY369" fmla="*/ 366604 h 415361"/>
                  <a:gd name="connsiteX370" fmla="*/ 156675 w 267502"/>
                  <a:gd name="connsiteY370" fmla="*/ 367486 h 415361"/>
                  <a:gd name="connsiteX371" fmla="*/ 156675 w 267502"/>
                  <a:gd name="connsiteY371" fmla="*/ 368632 h 415361"/>
                  <a:gd name="connsiteX372" fmla="*/ 154295 w 267502"/>
                  <a:gd name="connsiteY372" fmla="*/ 368368 h 415361"/>
                  <a:gd name="connsiteX373" fmla="*/ 153413 w 267502"/>
                  <a:gd name="connsiteY373" fmla="*/ 368985 h 415361"/>
                  <a:gd name="connsiteX374" fmla="*/ 152002 w 267502"/>
                  <a:gd name="connsiteY374" fmla="*/ 370395 h 415361"/>
                  <a:gd name="connsiteX375" fmla="*/ 149357 w 267502"/>
                  <a:gd name="connsiteY375" fmla="*/ 370131 h 415361"/>
                  <a:gd name="connsiteX376" fmla="*/ 149093 w 267502"/>
                  <a:gd name="connsiteY376" fmla="*/ 370395 h 415361"/>
                  <a:gd name="connsiteX377" fmla="*/ 149357 w 267502"/>
                  <a:gd name="connsiteY377" fmla="*/ 371013 h 415361"/>
                  <a:gd name="connsiteX378" fmla="*/ 147065 w 267502"/>
                  <a:gd name="connsiteY378" fmla="*/ 371542 h 415361"/>
                  <a:gd name="connsiteX379" fmla="*/ 146448 w 267502"/>
                  <a:gd name="connsiteY379" fmla="*/ 371542 h 415361"/>
                  <a:gd name="connsiteX380" fmla="*/ 146448 w 267502"/>
                  <a:gd name="connsiteY380" fmla="*/ 370395 h 415361"/>
                  <a:gd name="connsiteX381" fmla="*/ 143538 w 267502"/>
                  <a:gd name="connsiteY381" fmla="*/ 369866 h 415361"/>
                  <a:gd name="connsiteX382" fmla="*/ 141246 w 267502"/>
                  <a:gd name="connsiteY382" fmla="*/ 368632 h 415361"/>
                  <a:gd name="connsiteX383" fmla="*/ 139747 w 267502"/>
                  <a:gd name="connsiteY383" fmla="*/ 371013 h 415361"/>
                  <a:gd name="connsiteX384" fmla="*/ 139130 w 267502"/>
                  <a:gd name="connsiteY384" fmla="*/ 369514 h 415361"/>
                  <a:gd name="connsiteX385" fmla="*/ 138601 w 267502"/>
                  <a:gd name="connsiteY385" fmla="*/ 370131 h 415361"/>
                  <a:gd name="connsiteX386" fmla="*/ 137983 w 267502"/>
                  <a:gd name="connsiteY386" fmla="*/ 369866 h 415361"/>
                  <a:gd name="connsiteX387" fmla="*/ 135956 w 267502"/>
                  <a:gd name="connsiteY387" fmla="*/ 370395 h 415361"/>
                  <a:gd name="connsiteX388" fmla="*/ 135338 w 267502"/>
                  <a:gd name="connsiteY388" fmla="*/ 371013 h 415361"/>
                  <a:gd name="connsiteX389" fmla="*/ 133663 w 267502"/>
                  <a:gd name="connsiteY389" fmla="*/ 368632 h 415361"/>
                  <a:gd name="connsiteX390" fmla="*/ 133046 w 267502"/>
                  <a:gd name="connsiteY390" fmla="*/ 368632 h 415361"/>
                  <a:gd name="connsiteX391" fmla="*/ 132429 w 267502"/>
                  <a:gd name="connsiteY391" fmla="*/ 367750 h 415361"/>
                  <a:gd name="connsiteX392" fmla="*/ 132164 w 267502"/>
                  <a:gd name="connsiteY392" fmla="*/ 368632 h 415361"/>
                  <a:gd name="connsiteX393" fmla="*/ 131547 w 267502"/>
                  <a:gd name="connsiteY393" fmla="*/ 368985 h 415361"/>
                  <a:gd name="connsiteX394" fmla="*/ 131018 w 267502"/>
                  <a:gd name="connsiteY394" fmla="*/ 368368 h 415361"/>
                  <a:gd name="connsiteX395" fmla="*/ 130401 w 267502"/>
                  <a:gd name="connsiteY395" fmla="*/ 368368 h 415361"/>
                  <a:gd name="connsiteX396" fmla="*/ 130136 w 267502"/>
                  <a:gd name="connsiteY396" fmla="*/ 366957 h 415361"/>
                  <a:gd name="connsiteX397" fmla="*/ 128638 w 267502"/>
                  <a:gd name="connsiteY397" fmla="*/ 366075 h 415361"/>
                  <a:gd name="connsiteX398" fmla="*/ 128638 w 267502"/>
                  <a:gd name="connsiteY398" fmla="*/ 364841 h 415361"/>
                  <a:gd name="connsiteX399" fmla="*/ 130136 w 267502"/>
                  <a:gd name="connsiteY399" fmla="*/ 363959 h 415361"/>
                  <a:gd name="connsiteX400" fmla="*/ 130665 w 267502"/>
                  <a:gd name="connsiteY400" fmla="*/ 362548 h 415361"/>
                  <a:gd name="connsiteX401" fmla="*/ 129784 w 267502"/>
                  <a:gd name="connsiteY401" fmla="*/ 359286 h 415361"/>
                  <a:gd name="connsiteX402" fmla="*/ 129784 w 267502"/>
                  <a:gd name="connsiteY402" fmla="*/ 358140 h 415361"/>
                  <a:gd name="connsiteX403" fmla="*/ 129255 w 267502"/>
                  <a:gd name="connsiteY403" fmla="*/ 356112 h 415361"/>
                  <a:gd name="connsiteX404" fmla="*/ 128638 w 267502"/>
                  <a:gd name="connsiteY404" fmla="*/ 354966 h 415361"/>
                  <a:gd name="connsiteX405" fmla="*/ 127756 w 267502"/>
                  <a:gd name="connsiteY405" fmla="*/ 354349 h 415361"/>
                  <a:gd name="connsiteX406" fmla="*/ 127491 w 267502"/>
                  <a:gd name="connsiteY406" fmla="*/ 354966 h 415361"/>
                  <a:gd name="connsiteX407" fmla="*/ 126610 w 267502"/>
                  <a:gd name="connsiteY407" fmla="*/ 354701 h 415361"/>
                  <a:gd name="connsiteX408" fmla="*/ 125728 w 267502"/>
                  <a:gd name="connsiteY408" fmla="*/ 355230 h 415361"/>
                  <a:gd name="connsiteX409" fmla="*/ 124582 w 267502"/>
                  <a:gd name="connsiteY409" fmla="*/ 354701 h 415361"/>
                  <a:gd name="connsiteX410" fmla="*/ 123965 w 267502"/>
                  <a:gd name="connsiteY410" fmla="*/ 354701 h 415361"/>
                  <a:gd name="connsiteX411" fmla="*/ 122818 w 267502"/>
                  <a:gd name="connsiteY411" fmla="*/ 353467 h 415361"/>
                  <a:gd name="connsiteX412" fmla="*/ 121672 w 267502"/>
                  <a:gd name="connsiteY412" fmla="*/ 352585 h 415361"/>
                  <a:gd name="connsiteX413" fmla="*/ 121672 w 267502"/>
                  <a:gd name="connsiteY413" fmla="*/ 350910 h 415361"/>
                  <a:gd name="connsiteX414" fmla="*/ 122201 w 267502"/>
                  <a:gd name="connsiteY414" fmla="*/ 349411 h 415361"/>
                  <a:gd name="connsiteX415" fmla="*/ 122201 w 267502"/>
                  <a:gd name="connsiteY415" fmla="*/ 347648 h 415361"/>
                  <a:gd name="connsiteX416" fmla="*/ 120173 w 267502"/>
                  <a:gd name="connsiteY416" fmla="*/ 345885 h 415361"/>
                  <a:gd name="connsiteX417" fmla="*/ 120526 w 267502"/>
                  <a:gd name="connsiteY417" fmla="*/ 345356 h 415361"/>
                  <a:gd name="connsiteX418" fmla="*/ 120173 w 267502"/>
                  <a:gd name="connsiteY418" fmla="*/ 344209 h 415361"/>
                  <a:gd name="connsiteX419" fmla="*/ 120173 w 267502"/>
                  <a:gd name="connsiteY419" fmla="*/ 343328 h 415361"/>
                  <a:gd name="connsiteX420" fmla="*/ 119292 w 267502"/>
                  <a:gd name="connsiteY420" fmla="*/ 342975 h 415361"/>
                  <a:gd name="connsiteX421" fmla="*/ 119027 w 267502"/>
                  <a:gd name="connsiteY421" fmla="*/ 341829 h 415361"/>
                  <a:gd name="connsiteX422" fmla="*/ 116999 w 267502"/>
                  <a:gd name="connsiteY422" fmla="*/ 340683 h 415361"/>
                  <a:gd name="connsiteX423" fmla="*/ 116382 w 267502"/>
                  <a:gd name="connsiteY423" fmla="*/ 339801 h 415361"/>
                  <a:gd name="connsiteX424" fmla="*/ 116118 w 267502"/>
                  <a:gd name="connsiteY424" fmla="*/ 340683 h 415361"/>
                  <a:gd name="connsiteX425" fmla="*/ 115500 w 267502"/>
                  <a:gd name="connsiteY425" fmla="*/ 341212 h 415361"/>
                  <a:gd name="connsiteX426" fmla="*/ 114354 w 267502"/>
                  <a:gd name="connsiteY426" fmla="*/ 340683 h 415361"/>
                  <a:gd name="connsiteX427" fmla="*/ 113473 w 267502"/>
                  <a:gd name="connsiteY427" fmla="*/ 339801 h 415361"/>
                  <a:gd name="connsiteX428" fmla="*/ 112326 w 267502"/>
                  <a:gd name="connsiteY428" fmla="*/ 338038 h 415361"/>
                  <a:gd name="connsiteX429" fmla="*/ 111709 w 267502"/>
                  <a:gd name="connsiteY429" fmla="*/ 338038 h 415361"/>
                  <a:gd name="connsiteX430" fmla="*/ 111445 w 267502"/>
                  <a:gd name="connsiteY430" fmla="*/ 337773 h 415361"/>
                  <a:gd name="connsiteX431" fmla="*/ 111709 w 267502"/>
                  <a:gd name="connsiteY431" fmla="*/ 337773 h 415361"/>
                  <a:gd name="connsiteX432" fmla="*/ 111445 w 267502"/>
                  <a:gd name="connsiteY432" fmla="*/ 336891 h 415361"/>
                  <a:gd name="connsiteX433" fmla="*/ 110563 w 267502"/>
                  <a:gd name="connsiteY433" fmla="*/ 337773 h 415361"/>
                  <a:gd name="connsiteX434" fmla="*/ 109681 w 267502"/>
                  <a:gd name="connsiteY434" fmla="*/ 336274 h 415361"/>
                  <a:gd name="connsiteX435" fmla="*/ 109417 w 267502"/>
                  <a:gd name="connsiteY435" fmla="*/ 335657 h 415361"/>
                  <a:gd name="connsiteX436" fmla="*/ 109152 w 267502"/>
                  <a:gd name="connsiteY436" fmla="*/ 336274 h 415361"/>
                  <a:gd name="connsiteX437" fmla="*/ 107036 w 267502"/>
                  <a:gd name="connsiteY437" fmla="*/ 335657 h 415361"/>
                  <a:gd name="connsiteX438" fmla="*/ 105890 w 267502"/>
                  <a:gd name="connsiteY438" fmla="*/ 335657 h 415361"/>
                  <a:gd name="connsiteX439" fmla="*/ 105361 w 267502"/>
                  <a:gd name="connsiteY439" fmla="*/ 334511 h 415361"/>
                  <a:gd name="connsiteX440" fmla="*/ 104479 w 267502"/>
                  <a:gd name="connsiteY440" fmla="*/ 332748 h 415361"/>
                  <a:gd name="connsiteX441" fmla="*/ 103245 w 267502"/>
                  <a:gd name="connsiteY441" fmla="*/ 332219 h 415361"/>
                  <a:gd name="connsiteX442" fmla="*/ 103245 w 267502"/>
                  <a:gd name="connsiteY442" fmla="*/ 331954 h 415361"/>
                  <a:gd name="connsiteX443" fmla="*/ 104479 w 267502"/>
                  <a:gd name="connsiteY443" fmla="*/ 331954 h 415361"/>
                  <a:gd name="connsiteX444" fmla="*/ 104744 w 267502"/>
                  <a:gd name="connsiteY444" fmla="*/ 331072 h 415361"/>
                  <a:gd name="connsiteX445" fmla="*/ 104479 w 267502"/>
                  <a:gd name="connsiteY445" fmla="*/ 330720 h 415361"/>
                  <a:gd name="connsiteX446" fmla="*/ 104127 w 267502"/>
                  <a:gd name="connsiteY446" fmla="*/ 330191 h 415361"/>
                  <a:gd name="connsiteX447" fmla="*/ 103245 w 267502"/>
                  <a:gd name="connsiteY447" fmla="*/ 329573 h 415361"/>
                  <a:gd name="connsiteX448" fmla="*/ 102716 w 267502"/>
                  <a:gd name="connsiteY448" fmla="*/ 328692 h 415361"/>
                  <a:gd name="connsiteX449" fmla="*/ 102716 w 267502"/>
                  <a:gd name="connsiteY449" fmla="*/ 327810 h 415361"/>
                  <a:gd name="connsiteX450" fmla="*/ 102981 w 267502"/>
                  <a:gd name="connsiteY450" fmla="*/ 327281 h 415361"/>
                  <a:gd name="connsiteX451" fmla="*/ 102716 w 267502"/>
                  <a:gd name="connsiteY451" fmla="*/ 326928 h 415361"/>
                  <a:gd name="connsiteX452" fmla="*/ 102716 w 267502"/>
                  <a:gd name="connsiteY452" fmla="*/ 325782 h 415361"/>
                  <a:gd name="connsiteX453" fmla="*/ 101834 w 267502"/>
                  <a:gd name="connsiteY453" fmla="*/ 324371 h 415361"/>
                  <a:gd name="connsiteX454" fmla="*/ 100953 w 267502"/>
                  <a:gd name="connsiteY454" fmla="*/ 323754 h 415361"/>
                  <a:gd name="connsiteX455" fmla="*/ 100688 w 267502"/>
                  <a:gd name="connsiteY455" fmla="*/ 322873 h 415361"/>
                  <a:gd name="connsiteX456" fmla="*/ 99454 w 267502"/>
                  <a:gd name="connsiteY456" fmla="*/ 321991 h 415361"/>
                  <a:gd name="connsiteX457" fmla="*/ 97161 w 267502"/>
                  <a:gd name="connsiteY457" fmla="*/ 319081 h 415361"/>
                  <a:gd name="connsiteX458" fmla="*/ 96015 w 267502"/>
                  <a:gd name="connsiteY458" fmla="*/ 319346 h 415361"/>
                  <a:gd name="connsiteX459" fmla="*/ 95398 w 267502"/>
                  <a:gd name="connsiteY459" fmla="*/ 318817 h 415361"/>
                  <a:gd name="connsiteX460" fmla="*/ 93635 w 267502"/>
                  <a:gd name="connsiteY460" fmla="*/ 318200 h 415361"/>
                  <a:gd name="connsiteX461" fmla="*/ 94517 w 267502"/>
                  <a:gd name="connsiteY461" fmla="*/ 317054 h 415361"/>
                  <a:gd name="connsiteX462" fmla="*/ 93106 w 267502"/>
                  <a:gd name="connsiteY462" fmla="*/ 314673 h 415361"/>
                  <a:gd name="connsiteX463" fmla="*/ 92753 w 267502"/>
                  <a:gd name="connsiteY463" fmla="*/ 314673 h 415361"/>
                  <a:gd name="connsiteX464" fmla="*/ 92224 w 267502"/>
                  <a:gd name="connsiteY464" fmla="*/ 315907 h 415361"/>
                  <a:gd name="connsiteX465" fmla="*/ 91078 w 267502"/>
                  <a:gd name="connsiteY465" fmla="*/ 316436 h 415361"/>
                  <a:gd name="connsiteX466" fmla="*/ 90196 w 267502"/>
                  <a:gd name="connsiteY466" fmla="*/ 315907 h 415361"/>
                  <a:gd name="connsiteX467" fmla="*/ 88962 w 267502"/>
                  <a:gd name="connsiteY467" fmla="*/ 314408 h 415361"/>
                  <a:gd name="connsiteX468" fmla="*/ 87816 w 267502"/>
                  <a:gd name="connsiteY468" fmla="*/ 313791 h 415361"/>
                  <a:gd name="connsiteX469" fmla="*/ 86405 w 267502"/>
                  <a:gd name="connsiteY469" fmla="*/ 312116 h 415361"/>
                  <a:gd name="connsiteX470" fmla="*/ 84289 w 267502"/>
                  <a:gd name="connsiteY470" fmla="*/ 311234 h 415361"/>
                  <a:gd name="connsiteX471" fmla="*/ 83143 w 267502"/>
                  <a:gd name="connsiteY471" fmla="*/ 312998 h 415361"/>
                  <a:gd name="connsiteX472" fmla="*/ 82878 w 267502"/>
                  <a:gd name="connsiteY472" fmla="*/ 312998 h 415361"/>
                  <a:gd name="connsiteX473" fmla="*/ 79616 w 267502"/>
                  <a:gd name="connsiteY473" fmla="*/ 312116 h 415361"/>
                  <a:gd name="connsiteX474" fmla="*/ 72386 w 267502"/>
                  <a:gd name="connsiteY474" fmla="*/ 308589 h 415361"/>
                  <a:gd name="connsiteX475" fmla="*/ 70006 w 267502"/>
                  <a:gd name="connsiteY475" fmla="*/ 307090 h 415361"/>
                  <a:gd name="connsiteX476" fmla="*/ 65950 w 267502"/>
                  <a:gd name="connsiteY476" fmla="*/ 302153 h 415361"/>
                  <a:gd name="connsiteX477" fmla="*/ 64451 w 267502"/>
                  <a:gd name="connsiteY477" fmla="*/ 302153 h 415361"/>
                  <a:gd name="connsiteX478" fmla="*/ 63569 w 267502"/>
                  <a:gd name="connsiteY478" fmla="*/ 300742 h 415361"/>
                  <a:gd name="connsiteX479" fmla="*/ 60395 w 267502"/>
                  <a:gd name="connsiteY479" fmla="*/ 299243 h 415361"/>
                  <a:gd name="connsiteX480" fmla="*/ 59249 w 267502"/>
                  <a:gd name="connsiteY480" fmla="*/ 300390 h 415361"/>
                  <a:gd name="connsiteX481" fmla="*/ 58367 w 267502"/>
                  <a:gd name="connsiteY481" fmla="*/ 304534 h 415361"/>
                  <a:gd name="connsiteX482" fmla="*/ 53959 w 267502"/>
                  <a:gd name="connsiteY482" fmla="*/ 304534 h 415361"/>
                  <a:gd name="connsiteX483" fmla="*/ 51931 w 267502"/>
                  <a:gd name="connsiteY483" fmla="*/ 303916 h 415361"/>
                  <a:gd name="connsiteX484" fmla="*/ 49903 w 267502"/>
                  <a:gd name="connsiteY484" fmla="*/ 304534 h 415361"/>
                  <a:gd name="connsiteX485" fmla="*/ 47611 w 267502"/>
                  <a:gd name="connsiteY485" fmla="*/ 304798 h 415361"/>
                  <a:gd name="connsiteX486" fmla="*/ 43731 w 267502"/>
                  <a:gd name="connsiteY486" fmla="*/ 303916 h 415361"/>
                  <a:gd name="connsiteX487" fmla="*/ 42938 w 267502"/>
                  <a:gd name="connsiteY487" fmla="*/ 302770 h 415361"/>
                  <a:gd name="connsiteX488" fmla="*/ 39147 w 267502"/>
                  <a:gd name="connsiteY488" fmla="*/ 302153 h 415361"/>
                  <a:gd name="connsiteX489" fmla="*/ 35620 w 267502"/>
                  <a:gd name="connsiteY489" fmla="*/ 300390 h 415361"/>
                  <a:gd name="connsiteX490" fmla="*/ 35355 w 267502"/>
                  <a:gd name="connsiteY490" fmla="*/ 296951 h 415361"/>
                  <a:gd name="connsiteX491" fmla="*/ 35355 w 267502"/>
                  <a:gd name="connsiteY491" fmla="*/ 294570 h 415361"/>
                  <a:gd name="connsiteX492" fmla="*/ 34474 w 267502"/>
                  <a:gd name="connsiteY492" fmla="*/ 293689 h 415361"/>
                  <a:gd name="connsiteX493" fmla="*/ 30683 w 267502"/>
                  <a:gd name="connsiteY493" fmla="*/ 292807 h 415361"/>
                  <a:gd name="connsiteX494" fmla="*/ 30683 w 267502"/>
                  <a:gd name="connsiteY494" fmla="*/ 289898 h 415361"/>
                  <a:gd name="connsiteX495" fmla="*/ 29184 w 267502"/>
                  <a:gd name="connsiteY495" fmla="*/ 289281 h 415361"/>
                  <a:gd name="connsiteX496" fmla="*/ 26274 w 267502"/>
                  <a:gd name="connsiteY496" fmla="*/ 289898 h 415361"/>
                  <a:gd name="connsiteX497" fmla="*/ 24863 w 267502"/>
                  <a:gd name="connsiteY497" fmla="*/ 288487 h 415361"/>
                  <a:gd name="connsiteX498" fmla="*/ 22747 w 267502"/>
                  <a:gd name="connsiteY498" fmla="*/ 287870 h 415361"/>
                  <a:gd name="connsiteX499" fmla="*/ 18074 w 267502"/>
                  <a:gd name="connsiteY499" fmla="*/ 285842 h 415361"/>
                  <a:gd name="connsiteX500" fmla="*/ 15518 w 267502"/>
                  <a:gd name="connsiteY500" fmla="*/ 284078 h 415361"/>
                  <a:gd name="connsiteX501" fmla="*/ 11374 w 267502"/>
                  <a:gd name="connsiteY501" fmla="*/ 280023 h 415361"/>
                  <a:gd name="connsiteX502" fmla="*/ 10492 w 267502"/>
                  <a:gd name="connsiteY502" fmla="*/ 279758 h 415361"/>
                  <a:gd name="connsiteX503" fmla="*/ 9698 w 267502"/>
                  <a:gd name="connsiteY503" fmla="*/ 278789 h 415361"/>
                  <a:gd name="connsiteX504" fmla="*/ 8200 w 267502"/>
                  <a:gd name="connsiteY504" fmla="*/ 278260 h 415361"/>
                  <a:gd name="connsiteX505" fmla="*/ 5290 w 267502"/>
                  <a:gd name="connsiteY505" fmla="*/ 274733 h 415361"/>
                  <a:gd name="connsiteX506" fmla="*/ 4408 w 267502"/>
                  <a:gd name="connsiteY506" fmla="*/ 272088 h 415361"/>
                  <a:gd name="connsiteX507" fmla="*/ 2909 w 267502"/>
                  <a:gd name="connsiteY507" fmla="*/ 270941 h 415361"/>
                  <a:gd name="connsiteX508" fmla="*/ 0 w 267502"/>
                  <a:gd name="connsiteY508" fmla="*/ 270060 h 415361"/>
                  <a:gd name="connsiteX509" fmla="*/ 3262 w 267502"/>
                  <a:gd name="connsiteY509" fmla="*/ 266004 h 415361"/>
                  <a:gd name="connsiteX510" fmla="*/ 4408 w 267502"/>
                  <a:gd name="connsiteY510" fmla="*/ 264858 h 415361"/>
                  <a:gd name="connsiteX511" fmla="*/ 8200 w 267502"/>
                  <a:gd name="connsiteY511" fmla="*/ 265387 h 415361"/>
                  <a:gd name="connsiteX512" fmla="*/ 9346 w 267502"/>
                  <a:gd name="connsiteY512" fmla="*/ 266268 h 415361"/>
                  <a:gd name="connsiteX513" fmla="*/ 11374 w 267502"/>
                  <a:gd name="connsiteY513" fmla="*/ 262830 h 415361"/>
                  <a:gd name="connsiteX514" fmla="*/ 10227 w 267502"/>
                  <a:gd name="connsiteY514" fmla="*/ 261331 h 415361"/>
                  <a:gd name="connsiteX515" fmla="*/ 9963 w 267502"/>
                  <a:gd name="connsiteY515" fmla="*/ 260185 h 415361"/>
                  <a:gd name="connsiteX516" fmla="*/ 9346 w 267502"/>
                  <a:gd name="connsiteY516" fmla="*/ 260714 h 415361"/>
                  <a:gd name="connsiteX517" fmla="*/ 8817 w 267502"/>
                  <a:gd name="connsiteY517" fmla="*/ 259039 h 415361"/>
                  <a:gd name="connsiteX518" fmla="*/ 8464 w 267502"/>
                  <a:gd name="connsiteY518" fmla="*/ 257275 h 415361"/>
                  <a:gd name="connsiteX519" fmla="*/ 8464 w 267502"/>
                  <a:gd name="connsiteY519" fmla="*/ 256394 h 415361"/>
                  <a:gd name="connsiteX520" fmla="*/ 9346 w 267502"/>
                  <a:gd name="connsiteY520" fmla="*/ 254630 h 415361"/>
                  <a:gd name="connsiteX521" fmla="*/ 8817 w 267502"/>
                  <a:gd name="connsiteY521" fmla="*/ 253749 h 415361"/>
                  <a:gd name="connsiteX522" fmla="*/ 9963 w 267502"/>
                  <a:gd name="connsiteY522" fmla="*/ 251985 h 415361"/>
                  <a:gd name="connsiteX523" fmla="*/ 11726 w 267502"/>
                  <a:gd name="connsiteY523" fmla="*/ 251104 h 415361"/>
                  <a:gd name="connsiteX524" fmla="*/ 13490 w 267502"/>
                  <a:gd name="connsiteY524" fmla="*/ 249957 h 415361"/>
                  <a:gd name="connsiteX525" fmla="*/ 14636 w 267502"/>
                  <a:gd name="connsiteY525" fmla="*/ 247930 h 415361"/>
                  <a:gd name="connsiteX526" fmla="*/ 17810 w 267502"/>
                  <a:gd name="connsiteY526" fmla="*/ 246783 h 415361"/>
                  <a:gd name="connsiteX527" fmla="*/ 18692 w 267502"/>
                  <a:gd name="connsiteY527" fmla="*/ 247665 h 415361"/>
                  <a:gd name="connsiteX528" fmla="*/ 18956 w 267502"/>
                  <a:gd name="connsiteY528" fmla="*/ 247312 h 415361"/>
                  <a:gd name="connsiteX529" fmla="*/ 21072 w 267502"/>
                  <a:gd name="connsiteY529" fmla="*/ 248459 h 415361"/>
                  <a:gd name="connsiteX530" fmla="*/ 21866 w 267502"/>
                  <a:gd name="connsiteY530" fmla="*/ 246783 h 415361"/>
                  <a:gd name="connsiteX531" fmla="*/ 23100 w 267502"/>
                  <a:gd name="connsiteY531" fmla="*/ 247312 h 415361"/>
                  <a:gd name="connsiteX532" fmla="*/ 24863 w 267502"/>
                  <a:gd name="connsiteY532" fmla="*/ 246431 h 415361"/>
                  <a:gd name="connsiteX533" fmla="*/ 24511 w 267502"/>
                  <a:gd name="connsiteY533" fmla="*/ 245549 h 415361"/>
                  <a:gd name="connsiteX534" fmla="*/ 24863 w 267502"/>
                  <a:gd name="connsiteY534" fmla="*/ 244403 h 415361"/>
                  <a:gd name="connsiteX535" fmla="*/ 25392 w 267502"/>
                  <a:gd name="connsiteY535" fmla="*/ 244755 h 415361"/>
                  <a:gd name="connsiteX536" fmla="*/ 26010 w 267502"/>
                  <a:gd name="connsiteY536" fmla="*/ 245549 h 415361"/>
                  <a:gd name="connsiteX537" fmla="*/ 26891 w 267502"/>
                  <a:gd name="connsiteY537" fmla="*/ 246783 h 415361"/>
                  <a:gd name="connsiteX538" fmla="*/ 29184 w 267502"/>
                  <a:gd name="connsiteY538" fmla="*/ 245549 h 415361"/>
                  <a:gd name="connsiteX539" fmla="*/ 28037 w 267502"/>
                  <a:gd name="connsiteY539" fmla="*/ 244138 h 415361"/>
                  <a:gd name="connsiteX540" fmla="*/ 27420 w 267502"/>
                  <a:gd name="connsiteY540" fmla="*/ 241493 h 415361"/>
                  <a:gd name="connsiteX541" fmla="*/ 28655 w 267502"/>
                  <a:gd name="connsiteY541" fmla="*/ 241493 h 415361"/>
                  <a:gd name="connsiteX542" fmla="*/ 28302 w 267502"/>
                  <a:gd name="connsiteY542" fmla="*/ 241229 h 415361"/>
                  <a:gd name="connsiteX543" fmla="*/ 29536 w 267502"/>
                  <a:gd name="connsiteY543" fmla="*/ 240347 h 415361"/>
                  <a:gd name="connsiteX544" fmla="*/ 30683 w 267502"/>
                  <a:gd name="connsiteY544" fmla="*/ 241229 h 415361"/>
                  <a:gd name="connsiteX545" fmla="*/ 29801 w 267502"/>
                  <a:gd name="connsiteY545" fmla="*/ 240347 h 415361"/>
                  <a:gd name="connsiteX546" fmla="*/ 30683 w 267502"/>
                  <a:gd name="connsiteY546" fmla="*/ 240082 h 415361"/>
                  <a:gd name="connsiteX547" fmla="*/ 32093 w 267502"/>
                  <a:gd name="connsiteY547" fmla="*/ 239465 h 415361"/>
                  <a:gd name="connsiteX548" fmla="*/ 30947 w 267502"/>
                  <a:gd name="connsiteY548" fmla="*/ 238848 h 415361"/>
                  <a:gd name="connsiteX549" fmla="*/ 30065 w 267502"/>
                  <a:gd name="connsiteY549" fmla="*/ 239201 h 415361"/>
                  <a:gd name="connsiteX550" fmla="*/ 30330 w 267502"/>
                  <a:gd name="connsiteY550" fmla="*/ 237438 h 415361"/>
                  <a:gd name="connsiteX551" fmla="*/ 31212 w 267502"/>
                  <a:gd name="connsiteY551" fmla="*/ 238848 h 415361"/>
                  <a:gd name="connsiteX552" fmla="*/ 32093 w 267502"/>
                  <a:gd name="connsiteY552" fmla="*/ 236820 h 415361"/>
                  <a:gd name="connsiteX553" fmla="*/ 32446 w 267502"/>
                  <a:gd name="connsiteY553" fmla="*/ 235939 h 415361"/>
                  <a:gd name="connsiteX554" fmla="*/ 30947 w 267502"/>
                  <a:gd name="connsiteY554" fmla="*/ 235939 h 415361"/>
                  <a:gd name="connsiteX555" fmla="*/ 30947 w 267502"/>
                  <a:gd name="connsiteY555" fmla="*/ 235410 h 415361"/>
                  <a:gd name="connsiteX556" fmla="*/ 30330 w 267502"/>
                  <a:gd name="connsiteY556" fmla="*/ 234175 h 415361"/>
                  <a:gd name="connsiteX557" fmla="*/ 33857 w 267502"/>
                  <a:gd name="connsiteY557" fmla="*/ 234175 h 415361"/>
                  <a:gd name="connsiteX558" fmla="*/ 34121 w 267502"/>
                  <a:gd name="connsiteY558" fmla="*/ 231618 h 415361"/>
                  <a:gd name="connsiteX559" fmla="*/ 35003 w 267502"/>
                  <a:gd name="connsiteY559" fmla="*/ 230737 h 415361"/>
                  <a:gd name="connsiteX560" fmla="*/ 35620 w 267502"/>
                  <a:gd name="connsiteY560" fmla="*/ 229590 h 415361"/>
                  <a:gd name="connsiteX561" fmla="*/ 36766 w 267502"/>
                  <a:gd name="connsiteY561" fmla="*/ 228092 h 415361"/>
                  <a:gd name="connsiteX562" fmla="*/ 35620 w 267502"/>
                  <a:gd name="connsiteY562" fmla="*/ 227474 h 415361"/>
                  <a:gd name="connsiteX563" fmla="*/ 36766 w 267502"/>
                  <a:gd name="connsiteY563" fmla="*/ 227210 h 415361"/>
                  <a:gd name="connsiteX564" fmla="*/ 38265 w 267502"/>
                  <a:gd name="connsiteY564" fmla="*/ 227474 h 415361"/>
                  <a:gd name="connsiteX565" fmla="*/ 38794 w 267502"/>
                  <a:gd name="connsiteY565" fmla="*/ 227474 h 415361"/>
                  <a:gd name="connsiteX566" fmla="*/ 37912 w 267502"/>
                  <a:gd name="connsiteY566" fmla="*/ 225799 h 415361"/>
                  <a:gd name="connsiteX567" fmla="*/ 38530 w 267502"/>
                  <a:gd name="connsiteY567" fmla="*/ 225799 h 415361"/>
                  <a:gd name="connsiteX568" fmla="*/ 38794 w 267502"/>
                  <a:gd name="connsiteY568" fmla="*/ 224036 h 415361"/>
                  <a:gd name="connsiteX569" fmla="*/ 39147 w 267502"/>
                  <a:gd name="connsiteY569" fmla="*/ 223683 h 415361"/>
                  <a:gd name="connsiteX570" fmla="*/ 40293 w 267502"/>
                  <a:gd name="connsiteY570" fmla="*/ 223683 h 415361"/>
                  <a:gd name="connsiteX571" fmla="*/ 40293 w 267502"/>
                  <a:gd name="connsiteY571" fmla="*/ 223154 h 415361"/>
                  <a:gd name="connsiteX572" fmla="*/ 40293 w 267502"/>
                  <a:gd name="connsiteY572" fmla="*/ 222273 h 415361"/>
                  <a:gd name="connsiteX573" fmla="*/ 39147 w 267502"/>
                  <a:gd name="connsiteY573" fmla="*/ 221920 h 415361"/>
                  <a:gd name="connsiteX574" fmla="*/ 39676 w 267502"/>
                  <a:gd name="connsiteY574" fmla="*/ 221920 h 415361"/>
                  <a:gd name="connsiteX575" fmla="*/ 41439 w 267502"/>
                  <a:gd name="connsiteY575" fmla="*/ 221655 h 415361"/>
                  <a:gd name="connsiteX576" fmla="*/ 41704 w 267502"/>
                  <a:gd name="connsiteY576" fmla="*/ 220245 h 415361"/>
                  <a:gd name="connsiteX577" fmla="*/ 42585 w 267502"/>
                  <a:gd name="connsiteY577" fmla="*/ 219363 h 415361"/>
                  <a:gd name="connsiteX578" fmla="*/ 43731 w 267502"/>
                  <a:gd name="connsiteY578" fmla="*/ 219010 h 415361"/>
                  <a:gd name="connsiteX579" fmla="*/ 42585 w 267502"/>
                  <a:gd name="connsiteY579" fmla="*/ 218129 h 415361"/>
                  <a:gd name="connsiteX580" fmla="*/ 43467 w 267502"/>
                  <a:gd name="connsiteY580" fmla="*/ 217864 h 415361"/>
                  <a:gd name="connsiteX581" fmla="*/ 42056 w 267502"/>
                  <a:gd name="connsiteY581" fmla="*/ 218129 h 415361"/>
                  <a:gd name="connsiteX582" fmla="*/ 42585 w 267502"/>
                  <a:gd name="connsiteY582" fmla="*/ 217600 h 415361"/>
                  <a:gd name="connsiteX583" fmla="*/ 43467 w 267502"/>
                  <a:gd name="connsiteY583" fmla="*/ 217600 h 415361"/>
                  <a:gd name="connsiteX584" fmla="*/ 43731 w 267502"/>
                  <a:gd name="connsiteY584" fmla="*/ 216453 h 415361"/>
                  <a:gd name="connsiteX585" fmla="*/ 43731 w 267502"/>
                  <a:gd name="connsiteY585" fmla="*/ 215572 h 415361"/>
                  <a:gd name="connsiteX586" fmla="*/ 44084 w 267502"/>
                  <a:gd name="connsiteY586" fmla="*/ 215572 h 415361"/>
                  <a:gd name="connsiteX587" fmla="*/ 44966 w 267502"/>
                  <a:gd name="connsiteY587" fmla="*/ 214337 h 415361"/>
                  <a:gd name="connsiteX588" fmla="*/ 44613 w 267502"/>
                  <a:gd name="connsiteY588" fmla="*/ 213191 h 415361"/>
                  <a:gd name="connsiteX589" fmla="*/ 44084 w 267502"/>
                  <a:gd name="connsiteY589" fmla="*/ 212927 h 415361"/>
                  <a:gd name="connsiteX590" fmla="*/ 43731 w 267502"/>
                  <a:gd name="connsiteY590" fmla="*/ 213808 h 415361"/>
                  <a:gd name="connsiteX591" fmla="*/ 40822 w 267502"/>
                  <a:gd name="connsiteY591" fmla="*/ 214690 h 415361"/>
                  <a:gd name="connsiteX592" fmla="*/ 40557 w 267502"/>
                  <a:gd name="connsiteY592" fmla="*/ 213808 h 415361"/>
                  <a:gd name="connsiteX593" fmla="*/ 39676 w 267502"/>
                  <a:gd name="connsiteY593" fmla="*/ 212309 h 415361"/>
                  <a:gd name="connsiteX594" fmla="*/ 40557 w 267502"/>
                  <a:gd name="connsiteY594" fmla="*/ 211163 h 415361"/>
                  <a:gd name="connsiteX595" fmla="*/ 41704 w 267502"/>
                  <a:gd name="connsiteY595" fmla="*/ 212045 h 415361"/>
                  <a:gd name="connsiteX596" fmla="*/ 42056 w 267502"/>
                  <a:gd name="connsiteY596" fmla="*/ 210282 h 415361"/>
                  <a:gd name="connsiteX597" fmla="*/ 41439 w 267502"/>
                  <a:gd name="connsiteY597" fmla="*/ 209135 h 415361"/>
                  <a:gd name="connsiteX598" fmla="*/ 40822 w 267502"/>
                  <a:gd name="connsiteY598" fmla="*/ 209135 h 415361"/>
                  <a:gd name="connsiteX599" fmla="*/ 39411 w 267502"/>
                  <a:gd name="connsiteY599" fmla="*/ 211163 h 415361"/>
                  <a:gd name="connsiteX600" fmla="*/ 38265 w 267502"/>
                  <a:gd name="connsiteY600" fmla="*/ 212927 h 415361"/>
                  <a:gd name="connsiteX601" fmla="*/ 38265 w 267502"/>
                  <a:gd name="connsiteY601" fmla="*/ 212045 h 415361"/>
                  <a:gd name="connsiteX602" fmla="*/ 37031 w 267502"/>
                  <a:gd name="connsiteY602" fmla="*/ 210546 h 415361"/>
                  <a:gd name="connsiteX603" fmla="*/ 37383 w 267502"/>
                  <a:gd name="connsiteY603" fmla="*/ 209753 h 415361"/>
                  <a:gd name="connsiteX604" fmla="*/ 37031 w 267502"/>
                  <a:gd name="connsiteY604" fmla="*/ 207372 h 415361"/>
                  <a:gd name="connsiteX605" fmla="*/ 38265 w 267502"/>
                  <a:gd name="connsiteY605" fmla="*/ 206226 h 415361"/>
                  <a:gd name="connsiteX606" fmla="*/ 39411 w 267502"/>
                  <a:gd name="connsiteY606" fmla="*/ 205344 h 415361"/>
                  <a:gd name="connsiteX607" fmla="*/ 41704 w 267502"/>
                  <a:gd name="connsiteY607" fmla="*/ 204462 h 415361"/>
                  <a:gd name="connsiteX608" fmla="*/ 39411 w 267502"/>
                  <a:gd name="connsiteY608" fmla="*/ 204198 h 415361"/>
                  <a:gd name="connsiteX609" fmla="*/ 39147 w 267502"/>
                  <a:gd name="connsiteY609" fmla="*/ 200936 h 415361"/>
                  <a:gd name="connsiteX610" fmla="*/ 39676 w 267502"/>
                  <a:gd name="connsiteY610" fmla="*/ 199172 h 415361"/>
                  <a:gd name="connsiteX611" fmla="*/ 39676 w 267502"/>
                  <a:gd name="connsiteY611" fmla="*/ 197145 h 415361"/>
                  <a:gd name="connsiteX612" fmla="*/ 40557 w 267502"/>
                  <a:gd name="connsiteY612" fmla="*/ 194235 h 415361"/>
                  <a:gd name="connsiteX613" fmla="*/ 40028 w 267502"/>
                  <a:gd name="connsiteY613" fmla="*/ 192824 h 415361"/>
                  <a:gd name="connsiteX614" fmla="*/ 41439 w 267502"/>
                  <a:gd name="connsiteY614" fmla="*/ 192824 h 415361"/>
                  <a:gd name="connsiteX615" fmla="*/ 40028 w 267502"/>
                  <a:gd name="connsiteY615" fmla="*/ 190444 h 415361"/>
                  <a:gd name="connsiteX616" fmla="*/ 39676 w 267502"/>
                  <a:gd name="connsiteY616" fmla="*/ 189297 h 415361"/>
                  <a:gd name="connsiteX617" fmla="*/ 39411 w 267502"/>
                  <a:gd name="connsiteY617" fmla="*/ 181715 h 415361"/>
                  <a:gd name="connsiteX618" fmla="*/ 39411 w 267502"/>
                  <a:gd name="connsiteY618" fmla="*/ 179687 h 415361"/>
                  <a:gd name="connsiteX619" fmla="*/ 39147 w 267502"/>
                  <a:gd name="connsiteY619" fmla="*/ 176778 h 415361"/>
                  <a:gd name="connsiteX620" fmla="*/ 38530 w 267502"/>
                  <a:gd name="connsiteY620" fmla="*/ 176425 h 415361"/>
                  <a:gd name="connsiteX621" fmla="*/ 39147 w 267502"/>
                  <a:gd name="connsiteY621" fmla="*/ 175543 h 415361"/>
                  <a:gd name="connsiteX622" fmla="*/ 38530 w 267502"/>
                  <a:gd name="connsiteY622" fmla="*/ 174397 h 415361"/>
                  <a:gd name="connsiteX623" fmla="*/ 37383 w 267502"/>
                  <a:gd name="connsiteY623" fmla="*/ 173251 h 415361"/>
                  <a:gd name="connsiteX624" fmla="*/ 36766 w 267502"/>
                  <a:gd name="connsiteY624" fmla="*/ 173515 h 415361"/>
                  <a:gd name="connsiteX625" fmla="*/ 35620 w 267502"/>
                  <a:gd name="connsiteY625" fmla="*/ 173251 h 415361"/>
                  <a:gd name="connsiteX626" fmla="*/ 37031 w 267502"/>
                  <a:gd name="connsiteY626" fmla="*/ 171223 h 415361"/>
                  <a:gd name="connsiteX627" fmla="*/ 38265 w 267502"/>
                  <a:gd name="connsiteY627" fmla="*/ 170606 h 415361"/>
                  <a:gd name="connsiteX628" fmla="*/ 39676 w 267502"/>
                  <a:gd name="connsiteY628" fmla="*/ 170870 h 415361"/>
                  <a:gd name="connsiteX629" fmla="*/ 40822 w 267502"/>
                  <a:gd name="connsiteY629" fmla="*/ 169724 h 415361"/>
                  <a:gd name="connsiteX630" fmla="*/ 42056 w 267502"/>
                  <a:gd name="connsiteY630" fmla="*/ 169195 h 415361"/>
                  <a:gd name="connsiteX631" fmla="*/ 42321 w 267502"/>
                  <a:gd name="connsiteY631" fmla="*/ 166286 h 415361"/>
                  <a:gd name="connsiteX632" fmla="*/ 40557 w 267502"/>
                  <a:gd name="connsiteY632" fmla="*/ 160378 h 415361"/>
                  <a:gd name="connsiteX633" fmla="*/ 39676 w 267502"/>
                  <a:gd name="connsiteY633" fmla="*/ 159849 h 415361"/>
                  <a:gd name="connsiteX634" fmla="*/ 37912 w 267502"/>
                  <a:gd name="connsiteY634" fmla="*/ 154912 h 415361"/>
                  <a:gd name="connsiteX635" fmla="*/ 39147 w 267502"/>
                  <a:gd name="connsiteY635" fmla="*/ 154559 h 415361"/>
                  <a:gd name="connsiteX636" fmla="*/ 39411 w 267502"/>
                  <a:gd name="connsiteY636" fmla="*/ 151121 h 415361"/>
                  <a:gd name="connsiteX637" fmla="*/ 40822 w 267502"/>
                  <a:gd name="connsiteY637" fmla="*/ 150768 h 415361"/>
                  <a:gd name="connsiteX638" fmla="*/ 40822 w 267502"/>
                  <a:gd name="connsiteY638" fmla="*/ 149357 h 415361"/>
                  <a:gd name="connsiteX639" fmla="*/ 39676 w 267502"/>
                  <a:gd name="connsiteY639" fmla="*/ 145213 h 415361"/>
                  <a:gd name="connsiteX640" fmla="*/ 38530 w 267502"/>
                  <a:gd name="connsiteY640" fmla="*/ 142921 h 415361"/>
                  <a:gd name="connsiteX641" fmla="*/ 37648 w 267502"/>
                  <a:gd name="connsiteY641" fmla="*/ 144332 h 415361"/>
                  <a:gd name="connsiteX642" fmla="*/ 37031 w 267502"/>
                  <a:gd name="connsiteY642" fmla="*/ 142921 h 415361"/>
                  <a:gd name="connsiteX643" fmla="*/ 34121 w 267502"/>
                  <a:gd name="connsiteY643" fmla="*/ 139130 h 415361"/>
                  <a:gd name="connsiteX644" fmla="*/ 33592 w 267502"/>
                  <a:gd name="connsiteY644" fmla="*/ 139130 h 415361"/>
                  <a:gd name="connsiteX645" fmla="*/ 34738 w 267502"/>
                  <a:gd name="connsiteY645" fmla="*/ 137102 h 415361"/>
                  <a:gd name="connsiteX646" fmla="*/ 33857 w 267502"/>
                  <a:gd name="connsiteY646" fmla="*/ 134192 h 415361"/>
                  <a:gd name="connsiteX647" fmla="*/ 32093 w 267502"/>
                  <a:gd name="connsiteY647" fmla="*/ 131812 h 415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</a:cxnLst>
                <a:rect l="l" t="t" r="r" b="b"/>
                <a:pathLst>
                  <a:path w="267502" h="415361">
                    <a:moveTo>
                      <a:pt x="30330" y="130401"/>
                    </a:moveTo>
                    <a:lnTo>
                      <a:pt x="31829" y="124229"/>
                    </a:lnTo>
                    <a:lnTo>
                      <a:pt x="32975" y="124229"/>
                    </a:lnTo>
                    <a:lnTo>
                      <a:pt x="33857" y="123348"/>
                    </a:lnTo>
                    <a:lnTo>
                      <a:pt x="32975" y="120438"/>
                    </a:lnTo>
                    <a:lnTo>
                      <a:pt x="33239" y="118763"/>
                    </a:lnTo>
                    <a:lnTo>
                      <a:pt x="35003" y="119909"/>
                    </a:lnTo>
                    <a:lnTo>
                      <a:pt x="36502" y="121320"/>
                    </a:lnTo>
                    <a:lnTo>
                      <a:pt x="36502" y="122466"/>
                    </a:lnTo>
                    <a:lnTo>
                      <a:pt x="37383" y="122466"/>
                    </a:lnTo>
                    <a:lnTo>
                      <a:pt x="39147" y="121055"/>
                    </a:lnTo>
                    <a:lnTo>
                      <a:pt x="42585" y="119027"/>
                    </a:lnTo>
                    <a:lnTo>
                      <a:pt x="41704" y="116647"/>
                    </a:lnTo>
                    <a:lnTo>
                      <a:pt x="42585" y="114619"/>
                    </a:lnTo>
                    <a:lnTo>
                      <a:pt x="43467" y="113473"/>
                    </a:lnTo>
                    <a:lnTo>
                      <a:pt x="45495" y="112856"/>
                    </a:lnTo>
                    <a:lnTo>
                      <a:pt x="47258" y="112327"/>
                    </a:lnTo>
                    <a:lnTo>
                      <a:pt x="45495" y="109064"/>
                    </a:lnTo>
                    <a:lnTo>
                      <a:pt x="44613" y="106155"/>
                    </a:lnTo>
                    <a:lnTo>
                      <a:pt x="43731" y="105890"/>
                    </a:lnTo>
                    <a:lnTo>
                      <a:pt x="44084" y="104391"/>
                    </a:lnTo>
                    <a:lnTo>
                      <a:pt x="42321" y="104127"/>
                    </a:lnTo>
                    <a:lnTo>
                      <a:pt x="42585" y="101217"/>
                    </a:lnTo>
                    <a:lnTo>
                      <a:pt x="41439" y="99454"/>
                    </a:lnTo>
                    <a:lnTo>
                      <a:pt x="40557" y="99454"/>
                    </a:lnTo>
                    <a:lnTo>
                      <a:pt x="40293" y="98572"/>
                    </a:lnTo>
                    <a:lnTo>
                      <a:pt x="40557" y="97691"/>
                    </a:lnTo>
                    <a:lnTo>
                      <a:pt x="41704" y="96544"/>
                    </a:lnTo>
                    <a:lnTo>
                      <a:pt x="41704" y="95663"/>
                    </a:lnTo>
                    <a:lnTo>
                      <a:pt x="42938" y="94781"/>
                    </a:lnTo>
                    <a:lnTo>
                      <a:pt x="43467" y="94516"/>
                    </a:lnTo>
                    <a:lnTo>
                      <a:pt x="43731" y="94781"/>
                    </a:lnTo>
                    <a:lnTo>
                      <a:pt x="44084" y="95663"/>
                    </a:lnTo>
                    <a:lnTo>
                      <a:pt x="44084" y="96280"/>
                    </a:lnTo>
                    <a:lnTo>
                      <a:pt x="44613" y="97162"/>
                    </a:lnTo>
                    <a:lnTo>
                      <a:pt x="44613" y="97426"/>
                    </a:lnTo>
                    <a:lnTo>
                      <a:pt x="45230" y="98308"/>
                    </a:lnTo>
                    <a:lnTo>
                      <a:pt x="44966" y="99190"/>
                    </a:lnTo>
                    <a:lnTo>
                      <a:pt x="45230" y="99454"/>
                    </a:lnTo>
                    <a:lnTo>
                      <a:pt x="45495" y="99719"/>
                    </a:lnTo>
                    <a:lnTo>
                      <a:pt x="46994" y="100071"/>
                    </a:lnTo>
                    <a:lnTo>
                      <a:pt x="47258" y="100600"/>
                    </a:lnTo>
                    <a:lnTo>
                      <a:pt x="48140" y="101217"/>
                    </a:lnTo>
                    <a:lnTo>
                      <a:pt x="48140" y="101746"/>
                    </a:lnTo>
                    <a:lnTo>
                      <a:pt x="48493" y="102363"/>
                    </a:lnTo>
                    <a:lnTo>
                      <a:pt x="49903" y="103245"/>
                    </a:lnTo>
                    <a:lnTo>
                      <a:pt x="50520" y="104391"/>
                    </a:lnTo>
                    <a:lnTo>
                      <a:pt x="50785" y="105273"/>
                    </a:lnTo>
                    <a:lnTo>
                      <a:pt x="51049" y="105273"/>
                    </a:lnTo>
                    <a:lnTo>
                      <a:pt x="51402" y="105537"/>
                    </a:lnTo>
                    <a:lnTo>
                      <a:pt x="51049" y="106155"/>
                    </a:lnTo>
                    <a:lnTo>
                      <a:pt x="51931" y="105890"/>
                    </a:lnTo>
                    <a:lnTo>
                      <a:pt x="52284" y="106419"/>
                    </a:lnTo>
                    <a:lnTo>
                      <a:pt x="52284" y="106772"/>
                    </a:lnTo>
                    <a:lnTo>
                      <a:pt x="51402" y="106772"/>
                    </a:lnTo>
                    <a:lnTo>
                      <a:pt x="51049" y="107301"/>
                    </a:lnTo>
                    <a:lnTo>
                      <a:pt x="51049" y="107654"/>
                    </a:lnTo>
                    <a:lnTo>
                      <a:pt x="51931" y="109064"/>
                    </a:lnTo>
                    <a:lnTo>
                      <a:pt x="52284" y="109064"/>
                    </a:lnTo>
                    <a:lnTo>
                      <a:pt x="52548" y="107918"/>
                    </a:lnTo>
                    <a:lnTo>
                      <a:pt x="52813" y="107654"/>
                    </a:lnTo>
                    <a:lnTo>
                      <a:pt x="53430" y="108535"/>
                    </a:lnTo>
                    <a:lnTo>
                      <a:pt x="53695" y="109064"/>
                    </a:lnTo>
                    <a:lnTo>
                      <a:pt x="53695" y="109417"/>
                    </a:lnTo>
                    <a:lnTo>
                      <a:pt x="53077" y="109681"/>
                    </a:lnTo>
                    <a:lnTo>
                      <a:pt x="51931" y="109946"/>
                    </a:lnTo>
                    <a:lnTo>
                      <a:pt x="51402" y="110563"/>
                    </a:lnTo>
                    <a:lnTo>
                      <a:pt x="51667" y="111974"/>
                    </a:lnTo>
                    <a:lnTo>
                      <a:pt x="51931" y="112856"/>
                    </a:lnTo>
                    <a:lnTo>
                      <a:pt x="52813" y="113473"/>
                    </a:lnTo>
                    <a:lnTo>
                      <a:pt x="53959" y="113473"/>
                    </a:lnTo>
                    <a:lnTo>
                      <a:pt x="55722" y="111709"/>
                    </a:lnTo>
                    <a:lnTo>
                      <a:pt x="55987" y="109064"/>
                    </a:lnTo>
                    <a:lnTo>
                      <a:pt x="55987" y="106419"/>
                    </a:lnTo>
                    <a:lnTo>
                      <a:pt x="55722" y="102363"/>
                    </a:lnTo>
                    <a:lnTo>
                      <a:pt x="54841" y="100071"/>
                    </a:lnTo>
                    <a:lnTo>
                      <a:pt x="52813" y="98572"/>
                    </a:lnTo>
                    <a:lnTo>
                      <a:pt x="52284" y="97691"/>
                    </a:lnTo>
                    <a:lnTo>
                      <a:pt x="52813" y="96280"/>
                    </a:lnTo>
                    <a:lnTo>
                      <a:pt x="53430" y="95927"/>
                    </a:lnTo>
                    <a:lnTo>
                      <a:pt x="54841" y="93635"/>
                    </a:lnTo>
                    <a:lnTo>
                      <a:pt x="55987" y="93635"/>
                    </a:lnTo>
                    <a:lnTo>
                      <a:pt x="58985" y="92489"/>
                    </a:lnTo>
                    <a:lnTo>
                      <a:pt x="62159" y="90373"/>
                    </a:lnTo>
                    <a:lnTo>
                      <a:pt x="63922" y="88698"/>
                    </a:lnTo>
                    <a:lnTo>
                      <a:pt x="67713" y="86052"/>
                    </a:lnTo>
                    <a:lnTo>
                      <a:pt x="67978" y="84554"/>
                    </a:lnTo>
                    <a:lnTo>
                      <a:pt x="70006" y="80233"/>
                    </a:lnTo>
                    <a:lnTo>
                      <a:pt x="71240" y="78734"/>
                    </a:lnTo>
                    <a:lnTo>
                      <a:pt x="73268" y="77324"/>
                    </a:lnTo>
                    <a:lnTo>
                      <a:pt x="75825" y="75825"/>
                    </a:lnTo>
                    <a:lnTo>
                      <a:pt x="76706" y="75296"/>
                    </a:lnTo>
                    <a:lnTo>
                      <a:pt x="77588" y="75560"/>
                    </a:lnTo>
                    <a:lnTo>
                      <a:pt x="78470" y="75825"/>
                    </a:lnTo>
                    <a:lnTo>
                      <a:pt x="77059" y="76442"/>
                    </a:lnTo>
                    <a:lnTo>
                      <a:pt x="78205" y="76971"/>
                    </a:lnTo>
                    <a:lnTo>
                      <a:pt x="79616" y="76706"/>
                    </a:lnTo>
                    <a:lnTo>
                      <a:pt x="81115" y="75825"/>
                    </a:lnTo>
                    <a:lnTo>
                      <a:pt x="83407" y="71505"/>
                    </a:lnTo>
                    <a:lnTo>
                      <a:pt x="82261" y="68595"/>
                    </a:lnTo>
                    <a:lnTo>
                      <a:pt x="81732" y="67361"/>
                    </a:lnTo>
                    <a:lnTo>
                      <a:pt x="82261" y="64187"/>
                    </a:lnTo>
                    <a:lnTo>
                      <a:pt x="84024" y="60660"/>
                    </a:lnTo>
                    <a:lnTo>
                      <a:pt x="84289" y="57750"/>
                    </a:lnTo>
                    <a:lnTo>
                      <a:pt x="85171" y="55458"/>
                    </a:lnTo>
                    <a:lnTo>
                      <a:pt x="82261" y="57133"/>
                    </a:lnTo>
                    <a:lnTo>
                      <a:pt x="81115" y="57133"/>
                    </a:lnTo>
                    <a:lnTo>
                      <a:pt x="81115" y="55987"/>
                    </a:lnTo>
                    <a:lnTo>
                      <a:pt x="83143" y="54841"/>
                    </a:lnTo>
                    <a:lnTo>
                      <a:pt x="83760" y="53695"/>
                    </a:lnTo>
                    <a:lnTo>
                      <a:pt x="84906" y="53959"/>
                    </a:lnTo>
                    <a:lnTo>
                      <a:pt x="85523" y="53695"/>
                    </a:lnTo>
                    <a:lnTo>
                      <a:pt x="86052" y="52548"/>
                    </a:lnTo>
                    <a:lnTo>
                      <a:pt x="85523" y="51667"/>
                    </a:lnTo>
                    <a:lnTo>
                      <a:pt x="84642" y="51314"/>
                    </a:lnTo>
                    <a:lnTo>
                      <a:pt x="85171" y="49551"/>
                    </a:lnTo>
                    <a:lnTo>
                      <a:pt x="85523" y="50785"/>
                    </a:lnTo>
                    <a:lnTo>
                      <a:pt x="86669" y="50432"/>
                    </a:lnTo>
                    <a:lnTo>
                      <a:pt x="85788" y="49022"/>
                    </a:lnTo>
                    <a:lnTo>
                      <a:pt x="85788" y="46994"/>
                    </a:lnTo>
                    <a:lnTo>
                      <a:pt x="87816" y="45759"/>
                    </a:lnTo>
                    <a:lnTo>
                      <a:pt x="88697" y="44349"/>
                    </a:lnTo>
                    <a:lnTo>
                      <a:pt x="91607" y="42850"/>
                    </a:lnTo>
                    <a:lnTo>
                      <a:pt x="91607" y="43732"/>
                    </a:lnTo>
                    <a:lnTo>
                      <a:pt x="92753" y="43732"/>
                    </a:lnTo>
                    <a:lnTo>
                      <a:pt x="92753" y="41968"/>
                    </a:lnTo>
                    <a:lnTo>
                      <a:pt x="91078" y="41968"/>
                    </a:lnTo>
                    <a:lnTo>
                      <a:pt x="92753" y="41175"/>
                    </a:lnTo>
                    <a:lnTo>
                      <a:pt x="95134" y="39411"/>
                    </a:lnTo>
                    <a:lnTo>
                      <a:pt x="97161" y="38530"/>
                    </a:lnTo>
                    <a:lnTo>
                      <a:pt x="98925" y="37648"/>
                    </a:lnTo>
                    <a:lnTo>
                      <a:pt x="100071" y="36149"/>
                    </a:lnTo>
                    <a:lnTo>
                      <a:pt x="100071" y="34386"/>
                    </a:lnTo>
                    <a:lnTo>
                      <a:pt x="99807" y="33857"/>
                    </a:lnTo>
                    <a:lnTo>
                      <a:pt x="101217" y="32975"/>
                    </a:lnTo>
                    <a:lnTo>
                      <a:pt x="102452" y="32358"/>
                    </a:lnTo>
                    <a:lnTo>
                      <a:pt x="103862" y="34386"/>
                    </a:lnTo>
                    <a:lnTo>
                      <a:pt x="106155" y="35003"/>
                    </a:lnTo>
                    <a:lnTo>
                      <a:pt x="109152" y="35885"/>
                    </a:lnTo>
                    <a:lnTo>
                      <a:pt x="111180" y="35003"/>
                    </a:lnTo>
                    <a:lnTo>
                      <a:pt x="112591" y="34738"/>
                    </a:lnTo>
                    <a:lnTo>
                      <a:pt x="111445" y="35885"/>
                    </a:lnTo>
                    <a:lnTo>
                      <a:pt x="109152" y="36766"/>
                    </a:lnTo>
                    <a:lnTo>
                      <a:pt x="109152" y="39411"/>
                    </a:lnTo>
                    <a:lnTo>
                      <a:pt x="108800" y="39411"/>
                    </a:lnTo>
                    <a:lnTo>
                      <a:pt x="107036" y="39411"/>
                    </a:lnTo>
                    <a:lnTo>
                      <a:pt x="106507" y="40293"/>
                    </a:lnTo>
                    <a:lnTo>
                      <a:pt x="107036" y="41704"/>
                    </a:lnTo>
                    <a:lnTo>
                      <a:pt x="107654" y="41175"/>
                    </a:lnTo>
                    <a:lnTo>
                      <a:pt x="108800" y="42321"/>
                    </a:lnTo>
                    <a:lnTo>
                      <a:pt x="108535" y="41968"/>
                    </a:lnTo>
                    <a:lnTo>
                      <a:pt x="108800" y="40293"/>
                    </a:lnTo>
                    <a:lnTo>
                      <a:pt x="109681" y="42321"/>
                    </a:lnTo>
                    <a:lnTo>
                      <a:pt x="112591" y="40293"/>
                    </a:lnTo>
                    <a:lnTo>
                      <a:pt x="113473" y="37648"/>
                    </a:lnTo>
                    <a:lnTo>
                      <a:pt x="115236" y="34386"/>
                    </a:lnTo>
                    <a:lnTo>
                      <a:pt x="115236" y="30594"/>
                    </a:lnTo>
                    <a:lnTo>
                      <a:pt x="116382" y="28567"/>
                    </a:lnTo>
                    <a:lnTo>
                      <a:pt x="117617" y="27156"/>
                    </a:lnTo>
                    <a:lnTo>
                      <a:pt x="118763" y="27156"/>
                    </a:lnTo>
                    <a:lnTo>
                      <a:pt x="119292" y="27156"/>
                    </a:lnTo>
                    <a:lnTo>
                      <a:pt x="123083" y="28919"/>
                    </a:lnTo>
                    <a:lnTo>
                      <a:pt x="125728" y="29448"/>
                    </a:lnTo>
                    <a:lnTo>
                      <a:pt x="127756" y="29713"/>
                    </a:lnTo>
                    <a:lnTo>
                      <a:pt x="130136" y="30330"/>
                    </a:lnTo>
                    <a:lnTo>
                      <a:pt x="134192" y="29448"/>
                    </a:lnTo>
                    <a:lnTo>
                      <a:pt x="135691" y="28919"/>
                    </a:lnTo>
                    <a:lnTo>
                      <a:pt x="137366" y="27156"/>
                    </a:lnTo>
                    <a:lnTo>
                      <a:pt x="138601" y="26803"/>
                    </a:lnTo>
                    <a:lnTo>
                      <a:pt x="139482" y="25657"/>
                    </a:lnTo>
                    <a:lnTo>
                      <a:pt x="140364" y="23629"/>
                    </a:lnTo>
                    <a:lnTo>
                      <a:pt x="142392" y="23365"/>
                    </a:lnTo>
                    <a:lnTo>
                      <a:pt x="143803" y="23894"/>
                    </a:lnTo>
                    <a:lnTo>
                      <a:pt x="145566" y="22747"/>
                    </a:lnTo>
                    <a:lnTo>
                      <a:pt x="146448" y="20720"/>
                    </a:lnTo>
                    <a:lnTo>
                      <a:pt x="148476" y="18692"/>
                    </a:lnTo>
                    <a:lnTo>
                      <a:pt x="151121" y="17810"/>
                    </a:lnTo>
                    <a:lnTo>
                      <a:pt x="152619" y="17457"/>
                    </a:lnTo>
                    <a:lnTo>
                      <a:pt x="155176" y="16928"/>
                    </a:lnTo>
                    <a:lnTo>
                      <a:pt x="154912" y="18339"/>
                    </a:lnTo>
                    <a:lnTo>
                      <a:pt x="156323" y="15429"/>
                    </a:lnTo>
                    <a:lnTo>
                      <a:pt x="159320" y="14900"/>
                    </a:lnTo>
                    <a:lnTo>
                      <a:pt x="160202" y="13754"/>
                    </a:lnTo>
                    <a:lnTo>
                      <a:pt x="160466" y="10757"/>
                    </a:lnTo>
                    <a:lnTo>
                      <a:pt x="161877" y="9346"/>
                    </a:lnTo>
                    <a:lnTo>
                      <a:pt x="162230" y="6172"/>
                    </a:lnTo>
                    <a:lnTo>
                      <a:pt x="162230" y="5555"/>
                    </a:lnTo>
                    <a:lnTo>
                      <a:pt x="163993" y="4937"/>
                    </a:lnTo>
                    <a:lnTo>
                      <a:pt x="165404" y="6436"/>
                    </a:lnTo>
                    <a:lnTo>
                      <a:pt x="165668" y="7582"/>
                    </a:lnTo>
                    <a:lnTo>
                      <a:pt x="166903" y="6965"/>
                    </a:lnTo>
                    <a:lnTo>
                      <a:pt x="168666" y="6172"/>
                    </a:lnTo>
                    <a:lnTo>
                      <a:pt x="168666" y="4673"/>
                    </a:lnTo>
                    <a:lnTo>
                      <a:pt x="167167" y="4408"/>
                    </a:lnTo>
                    <a:lnTo>
                      <a:pt x="166550" y="4408"/>
                    </a:lnTo>
                    <a:lnTo>
                      <a:pt x="167696" y="2381"/>
                    </a:lnTo>
                    <a:lnTo>
                      <a:pt x="169812" y="2381"/>
                    </a:lnTo>
                    <a:lnTo>
                      <a:pt x="169812" y="3527"/>
                    </a:lnTo>
                    <a:lnTo>
                      <a:pt x="171576" y="2910"/>
                    </a:lnTo>
                    <a:lnTo>
                      <a:pt x="171840" y="2028"/>
                    </a:lnTo>
                    <a:lnTo>
                      <a:pt x="172369" y="1499"/>
                    </a:lnTo>
                    <a:lnTo>
                      <a:pt x="172369" y="2381"/>
                    </a:lnTo>
                    <a:lnTo>
                      <a:pt x="172369" y="1499"/>
                    </a:lnTo>
                    <a:lnTo>
                      <a:pt x="172986" y="882"/>
                    </a:lnTo>
                    <a:lnTo>
                      <a:pt x="172722" y="882"/>
                    </a:lnTo>
                    <a:lnTo>
                      <a:pt x="172105" y="882"/>
                    </a:lnTo>
                    <a:lnTo>
                      <a:pt x="173603" y="0"/>
                    </a:lnTo>
                    <a:lnTo>
                      <a:pt x="175631" y="264"/>
                    </a:lnTo>
                    <a:lnTo>
                      <a:pt x="178276" y="2028"/>
                    </a:lnTo>
                    <a:lnTo>
                      <a:pt x="182597" y="3174"/>
                    </a:lnTo>
                    <a:lnTo>
                      <a:pt x="182949" y="4937"/>
                    </a:lnTo>
                    <a:lnTo>
                      <a:pt x="184624" y="8200"/>
                    </a:lnTo>
                    <a:lnTo>
                      <a:pt x="184624" y="10757"/>
                    </a:lnTo>
                    <a:lnTo>
                      <a:pt x="184095" y="12873"/>
                    </a:lnTo>
                    <a:lnTo>
                      <a:pt x="180569" y="13754"/>
                    </a:lnTo>
                    <a:lnTo>
                      <a:pt x="177395" y="14283"/>
                    </a:lnTo>
                    <a:lnTo>
                      <a:pt x="173251" y="15782"/>
                    </a:lnTo>
                    <a:lnTo>
                      <a:pt x="169812" y="18956"/>
                    </a:lnTo>
                    <a:lnTo>
                      <a:pt x="158086" y="32711"/>
                    </a:lnTo>
                    <a:lnTo>
                      <a:pt x="151385" y="37383"/>
                    </a:lnTo>
                    <a:lnTo>
                      <a:pt x="143274" y="49903"/>
                    </a:lnTo>
                    <a:lnTo>
                      <a:pt x="140629" y="61277"/>
                    </a:lnTo>
                    <a:lnTo>
                      <a:pt x="131283" y="81379"/>
                    </a:lnTo>
                    <a:lnTo>
                      <a:pt x="139482" y="78734"/>
                    </a:lnTo>
                    <a:lnTo>
                      <a:pt x="140011" y="82526"/>
                    </a:lnTo>
                    <a:lnTo>
                      <a:pt x="143538" y="82526"/>
                    </a:lnTo>
                    <a:lnTo>
                      <a:pt x="143538" y="83672"/>
                    </a:lnTo>
                    <a:lnTo>
                      <a:pt x="151738" y="101746"/>
                    </a:lnTo>
                    <a:lnTo>
                      <a:pt x="151738" y="105273"/>
                    </a:lnTo>
                    <a:lnTo>
                      <a:pt x="151121" y="109946"/>
                    </a:lnTo>
                    <a:lnTo>
                      <a:pt x="150239" y="113473"/>
                    </a:lnTo>
                    <a:lnTo>
                      <a:pt x="150503" y="125993"/>
                    </a:lnTo>
                    <a:lnTo>
                      <a:pt x="156323" y="131283"/>
                    </a:lnTo>
                    <a:lnTo>
                      <a:pt x="162759" y="136485"/>
                    </a:lnTo>
                    <a:lnTo>
                      <a:pt x="166286" y="135338"/>
                    </a:lnTo>
                    <a:lnTo>
                      <a:pt x="168049" y="135338"/>
                    </a:lnTo>
                    <a:lnTo>
                      <a:pt x="169195" y="135603"/>
                    </a:lnTo>
                    <a:lnTo>
                      <a:pt x="177042" y="137102"/>
                    </a:lnTo>
                    <a:lnTo>
                      <a:pt x="180304" y="136485"/>
                    </a:lnTo>
                    <a:lnTo>
                      <a:pt x="183743" y="134192"/>
                    </a:lnTo>
                    <a:lnTo>
                      <a:pt x="190532" y="134192"/>
                    </a:lnTo>
                    <a:lnTo>
                      <a:pt x="193706" y="135603"/>
                    </a:lnTo>
                    <a:lnTo>
                      <a:pt x="200407" y="136485"/>
                    </a:lnTo>
                    <a:lnTo>
                      <a:pt x="217071" y="157204"/>
                    </a:lnTo>
                    <a:lnTo>
                      <a:pt x="220245" y="158350"/>
                    </a:lnTo>
                    <a:lnTo>
                      <a:pt x="232235" y="157821"/>
                    </a:lnTo>
                    <a:lnTo>
                      <a:pt x="245637" y="156058"/>
                    </a:lnTo>
                    <a:lnTo>
                      <a:pt x="249957" y="153149"/>
                    </a:lnTo>
                    <a:lnTo>
                      <a:pt x="258157" y="156058"/>
                    </a:lnTo>
                    <a:lnTo>
                      <a:pt x="258774" y="160731"/>
                    </a:lnTo>
                    <a:lnTo>
                      <a:pt x="253484" y="169195"/>
                    </a:lnTo>
                    <a:lnTo>
                      <a:pt x="249693" y="176425"/>
                    </a:lnTo>
                    <a:lnTo>
                      <a:pt x="249076" y="180569"/>
                    </a:lnTo>
                    <a:lnTo>
                      <a:pt x="250310" y="184624"/>
                    </a:lnTo>
                    <a:lnTo>
                      <a:pt x="248811" y="192207"/>
                    </a:lnTo>
                    <a:lnTo>
                      <a:pt x="248547" y="199525"/>
                    </a:lnTo>
                    <a:lnTo>
                      <a:pt x="248811" y="200936"/>
                    </a:lnTo>
                    <a:lnTo>
                      <a:pt x="248811" y="204727"/>
                    </a:lnTo>
                    <a:lnTo>
                      <a:pt x="251192" y="212662"/>
                    </a:lnTo>
                    <a:lnTo>
                      <a:pt x="253484" y="217600"/>
                    </a:lnTo>
                    <a:lnTo>
                      <a:pt x="257011" y="219363"/>
                    </a:lnTo>
                    <a:lnTo>
                      <a:pt x="259656" y="224300"/>
                    </a:lnTo>
                    <a:lnTo>
                      <a:pt x="257540" y="229238"/>
                    </a:lnTo>
                    <a:lnTo>
                      <a:pt x="247048" y="241229"/>
                    </a:lnTo>
                    <a:lnTo>
                      <a:pt x="252338" y="241229"/>
                    </a:lnTo>
                    <a:lnTo>
                      <a:pt x="254630" y="244138"/>
                    </a:lnTo>
                    <a:lnTo>
                      <a:pt x="260537" y="253749"/>
                    </a:lnTo>
                    <a:lnTo>
                      <a:pt x="261948" y="257275"/>
                    </a:lnTo>
                    <a:lnTo>
                      <a:pt x="262565" y="261331"/>
                    </a:lnTo>
                    <a:lnTo>
                      <a:pt x="265475" y="270941"/>
                    </a:lnTo>
                    <a:lnTo>
                      <a:pt x="267503" y="278260"/>
                    </a:lnTo>
                    <a:lnTo>
                      <a:pt x="263447" y="281433"/>
                    </a:lnTo>
                    <a:lnTo>
                      <a:pt x="257893" y="257804"/>
                    </a:lnTo>
                    <a:lnTo>
                      <a:pt x="254101" y="258157"/>
                    </a:lnTo>
                    <a:lnTo>
                      <a:pt x="248282" y="265387"/>
                    </a:lnTo>
                    <a:lnTo>
                      <a:pt x="243609" y="266268"/>
                    </a:lnTo>
                    <a:lnTo>
                      <a:pt x="239465" y="261596"/>
                    </a:lnTo>
                    <a:lnTo>
                      <a:pt x="237173" y="264858"/>
                    </a:lnTo>
                    <a:lnTo>
                      <a:pt x="238055" y="266004"/>
                    </a:lnTo>
                    <a:lnTo>
                      <a:pt x="212927" y="266886"/>
                    </a:lnTo>
                    <a:lnTo>
                      <a:pt x="205697" y="266886"/>
                    </a:lnTo>
                    <a:lnTo>
                      <a:pt x="202435" y="267503"/>
                    </a:lnTo>
                    <a:lnTo>
                      <a:pt x="204198" y="283197"/>
                    </a:lnTo>
                    <a:lnTo>
                      <a:pt x="211516" y="284078"/>
                    </a:lnTo>
                    <a:lnTo>
                      <a:pt x="213544" y="284078"/>
                    </a:lnTo>
                    <a:lnTo>
                      <a:pt x="216718" y="287870"/>
                    </a:lnTo>
                    <a:lnTo>
                      <a:pt x="217599" y="289281"/>
                    </a:lnTo>
                    <a:lnTo>
                      <a:pt x="217335" y="292807"/>
                    </a:lnTo>
                    <a:lnTo>
                      <a:pt x="214690" y="295188"/>
                    </a:lnTo>
                    <a:lnTo>
                      <a:pt x="213544" y="294835"/>
                    </a:lnTo>
                    <a:lnTo>
                      <a:pt x="208871" y="293160"/>
                    </a:lnTo>
                    <a:lnTo>
                      <a:pt x="206226" y="293425"/>
                    </a:lnTo>
                    <a:lnTo>
                      <a:pt x="201024" y="295452"/>
                    </a:lnTo>
                    <a:lnTo>
                      <a:pt x="199525" y="295452"/>
                    </a:lnTo>
                    <a:lnTo>
                      <a:pt x="198114" y="296069"/>
                    </a:lnTo>
                    <a:lnTo>
                      <a:pt x="200671" y="318200"/>
                    </a:lnTo>
                    <a:lnTo>
                      <a:pt x="204462" y="321726"/>
                    </a:lnTo>
                    <a:lnTo>
                      <a:pt x="207989" y="325165"/>
                    </a:lnTo>
                    <a:lnTo>
                      <a:pt x="207725" y="329309"/>
                    </a:lnTo>
                    <a:lnTo>
                      <a:pt x="209488" y="333365"/>
                    </a:lnTo>
                    <a:lnTo>
                      <a:pt x="212662" y="339801"/>
                    </a:lnTo>
                    <a:lnTo>
                      <a:pt x="210899" y="348000"/>
                    </a:lnTo>
                    <a:lnTo>
                      <a:pt x="211516" y="348794"/>
                    </a:lnTo>
                    <a:lnTo>
                      <a:pt x="201906" y="415361"/>
                    </a:lnTo>
                    <a:lnTo>
                      <a:pt x="197762" y="412099"/>
                    </a:lnTo>
                    <a:lnTo>
                      <a:pt x="196615" y="408925"/>
                    </a:lnTo>
                    <a:lnTo>
                      <a:pt x="194852" y="407162"/>
                    </a:lnTo>
                    <a:lnTo>
                      <a:pt x="193089" y="405134"/>
                    </a:lnTo>
                    <a:lnTo>
                      <a:pt x="192207" y="405134"/>
                    </a:lnTo>
                    <a:lnTo>
                      <a:pt x="189033" y="407162"/>
                    </a:lnTo>
                    <a:lnTo>
                      <a:pt x="187270" y="406280"/>
                    </a:lnTo>
                    <a:lnTo>
                      <a:pt x="186741" y="406280"/>
                    </a:lnTo>
                    <a:lnTo>
                      <a:pt x="184977" y="405134"/>
                    </a:lnTo>
                    <a:lnTo>
                      <a:pt x="184360" y="405134"/>
                    </a:lnTo>
                    <a:lnTo>
                      <a:pt x="184624" y="404516"/>
                    </a:lnTo>
                    <a:lnTo>
                      <a:pt x="198643" y="378330"/>
                    </a:lnTo>
                    <a:lnTo>
                      <a:pt x="197762" y="377978"/>
                    </a:lnTo>
                    <a:lnTo>
                      <a:pt x="197497" y="375950"/>
                    </a:lnTo>
                    <a:lnTo>
                      <a:pt x="197233" y="375950"/>
                    </a:lnTo>
                    <a:lnTo>
                      <a:pt x="196880" y="376214"/>
                    </a:lnTo>
                    <a:lnTo>
                      <a:pt x="196351" y="377096"/>
                    </a:lnTo>
                    <a:lnTo>
                      <a:pt x="195998" y="375950"/>
                    </a:lnTo>
                    <a:lnTo>
                      <a:pt x="193970" y="375950"/>
                    </a:lnTo>
                    <a:lnTo>
                      <a:pt x="193706" y="374187"/>
                    </a:lnTo>
                    <a:lnTo>
                      <a:pt x="193089" y="373305"/>
                    </a:lnTo>
                    <a:lnTo>
                      <a:pt x="191678" y="374539"/>
                    </a:lnTo>
                    <a:lnTo>
                      <a:pt x="191678" y="373305"/>
                    </a:lnTo>
                    <a:lnTo>
                      <a:pt x="191942" y="372776"/>
                    </a:lnTo>
                    <a:lnTo>
                      <a:pt x="191942" y="372159"/>
                    </a:lnTo>
                    <a:lnTo>
                      <a:pt x="191413" y="372159"/>
                    </a:lnTo>
                    <a:lnTo>
                      <a:pt x="189298" y="372776"/>
                    </a:lnTo>
                    <a:lnTo>
                      <a:pt x="189033" y="371542"/>
                    </a:lnTo>
                    <a:lnTo>
                      <a:pt x="187887" y="371542"/>
                    </a:lnTo>
                    <a:lnTo>
                      <a:pt x="186388" y="370131"/>
                    </a:lnTo>
                    <a:lnTo>
                      <a:pt x="186388" y="371542"/>
                    </a:lnTo>
                    <a:lnTo>
                      <a:pt x="185506" y="371542"/>
                    </a:lnTo>
                    <a:lnTo>
                      <a:pt x="184977" y="370131"/>
                    </a:lnTo>
                    <a:lnTo>
                      <a:pt x="183743" y="369866"/>
                    </a:lnTo>
                    <a:lnTo>
                      <a:pt x="183743" y="368632"/>
                    </a:lnTo>
                    <a:lnTo>
                      <a:pt x="181186" y="367486"/>
                    </a:lnTo>
                    <a:lnTo>
                      <a:pt x="180040" y="366075"/>
                    </a:lnTo>
                    <a:lnTo>
                      <a:pt x="178541" y="366075"/>
                    </a:lnTo>
                    <a:lnTo>
                      <a:pt x="177395" y="365458"/>
                    </a:lnTo>
                    <a:lnTo>
                      <a:pt x="177042" y="366075"/>
                    </a:lnTo>
                    <a:lnTo>
                      <a:pt x="177395" y="366957"/>
                    </a:lnTo>
                    <a:lnTo>
                      <a:pt x="177042" y="366957"/>
                    </a:lnTo>
                    <a:lnTo>
                      <a:pt x="175896" y="366604"/>
                    </a:lnTo>
                    <a:lnTo>
                      <a:pt x="174485" y="366604"/>
                    </a:lnTo>
                    <a:lnTo>
                      <a:pt x="174133" y="366957"/>
                    </a:lnTo>
                    <a:lnTo>
                      <a:pt x="173868" y="368368"/>
                    </a:lnTo>
                    <a:lnTo>
                      <a:pt x="172986" y="368985"/>
                    </a:lnTo>
                    <a:lnTo>
                      <a:pt x="172369" y="368632"/>
                    </a:lnTo>
                    <a:lnTo>
                      <a:pt x="170958" y="368985"/>
                    </a:lnTo>
                    <a:lnTo>
                      <a:pt x="170341" y="368632"/>
                    </a:lnTo>
                    <a:lnTo>
                      <a:pt x="168049" y="369866"/>
                    </a:lnTo>
                    <a:lnTo>
                      <a:pt x="167696" y="369514"/>
                    </a:lnTo>
                    <a:lnTo>
                      <a:pt x="168049" y="368632"/>
                    </a:lnTo>
                    <a:lnTo>
                      <a:pt x="167432" y="366957"/>
                    </a:lnTo>
                    <a:lnTo>
                      <a:pt x="166903" y="366604"/>
                    </a:lnTo>
                    <a:lnTo>
                      <a:pt x="166903" y="368368"/>
                    </a:lnTo>
                    <a:lnTo>
                      <a:pt x="166550" y="368368"/>
                    </a:lnTo>
                    <a:lnTo>
                      <a:pt x="166286" y="367750"/>
                    </a:lnTo>
                    <a:lnTo>
                      <a:pt x="165668" y="366340"/>
                    </a:lnTo>
                    <a:lnTo>
                      <a:pt x="164522" y="366075"/>
                    </a:lnTo>
                    <a:lnTo>
                      <a:pt x="163993" y="364841"/>
                    </a:lnTo>
                    <a:lnTo>
                      <a:pt x="162494" y="364576"/>
                    </a:lnTo>
                    <a:lnTo>
                      <a:pt x="161613" y="364841"/>
                    </a:lnTo>
                    <a:lnTo>
                      <a:pt x="161348" y="363959"/>
                    </a:lnTo>
                    <a:lnTo>
                      <a:pt x="158968" y="364841"/>
                    </a:lnTo>
                    <a:lnTo>
                      <a:pt x="157821" y="366604"/>
                    </a:lnTo>
                    <a:lnTo>
                      <a:pt x="156675" y="367486"/>
                    </a:lnTo>
                    <a:lnTo>
                      <a:pt x="156675" y="368632"/>
                    </a:lnTo>
                    <a:lnTo>
                      <a:pt x="154295" y="368368"/>
                    </a:lnTo>
                    <a:lnTo>
                      <a:pt x="153413" y="368985"/>
                    </a:lnTo>
                    <a:lnTo>
                      <a:pt x="152002" y="370395"/>
                    </a:lnTo>
                    <a:lnTo>
                      <a:pt x="149357" y="370131"/>
                    </a:lnTo>
                    <a:lnTo>
                      <a:pt x="149093" y="370395"/>
                    </a:lnTo>
                    <a:lnTo>
                      <a:pt x="149357" y="371013"/>
                    </a:lnTo>
                    <a:lnTo>
                      <a:pt x="147065" y="371542"/>
                    </a:lnTo>
                    <a:lnTo>
                      <a:pt x="146448" y="371542"/>
                    </a:lnTo>
                    <a:lnTo>
                      <a:pt x="146448" y="370395"/>
                    </a:lnTo>
                    <a:lnTo>
                      <a:pt x="143538" y="369866"/>
                    </a:lnTo>
                    <a:lnTo>
                      <a:pt x="141246" y="368632"/>
                    </a:lnTo>
                    <a:lnTo>
                      <a:pt x="139747" y="371013"/>
                    </a:lnTo>
                    <a:lnTo>
                      <a:pt x="139130" y="369514"/>
                    </a:lnTo>
                    <a:lnTo>
                      <a:pt x="138601" y="370131"/>
                    </a:lnTo>
                    <a:lnTo>
                      <a:pt x="137983" y="369866"/>
                    </a:lnTo>
                    <a:lnTo>
                      <a:pt x="135956" y="370395"/>
                    </a:lnTo>
                    <a:lnTo>
                      <a:pt x="135338" y="371013"/>
                    </a:lnTo>
                    <a:lnTo>
                      <a:pt x="133663" y="368632"/>
                    </a:lnTo>
                    <a:lnTo>
                      <a:pt x="133046" y="368632"/>
                    </a:lnTo>
                    <a:lnTo>
                      <a:pt x="132429" y="367750"/>
                    </a:lnTo>
                    <a:lnTo>
                      <a:pt x="132164" y="368632"/>
                    </a:lnTo>
                    <a:lnTo>
                      <a:pt x="131547" y="368985"/>
                    </a:lnTo>
                    <a:lnTo>
                      <a:pt x="131018" y="368368"/>
                    </a:lnTo>
                    <a:lnTo>
                      <a:pt x="130401" y="368368"/>
                    </a:lnTo>
                    <a:lnTo>
                      <a:pt x="130136" y="366957"/>
                    </a:lnTo>
                    <a:lnTo>
                      <a:pt x="128638" y="366075"/>
                    </a:lnTo>
                    <a:lnTo>
                      <a:pt x="128638" y="364841"/>
                    </a:lnTo>
                    <a:lnTo>
                      <a:pt x="130136" y="363959"/>
                    </a:lnTo>
                    <a:lnTo>
                      <a:pt x="130665" y="362548"/>
                    </a:lnTo>
                    <a:lnTo>
                      <a:pt x="129784" y="359286"/>
                    </a:lnTo>
                    <a:lnTo>
                      <a:pt x="129784" y="358140"/>
                    </a:lnTo>
                    <a:lnTo>
                      <a:pt x="129255" y="356112"/>
                    </a:lnTo>
                    <a:lnTo>
                      <a:pt x="128638" y="354966"/>
                    </a:lnTo>
                    <a:lnTo>
                      <a:pt x="127756" y="354349"/>
                    </a:lnTo>
                    <a:lnTo>
                      <a:pt x="127491" y="354966"/>
                    </a:lnTo>
                    <a:lnTo>
                      <a:pt x="126610" y="354701"/>
                    </a:lnTo>
                    <a:lnTo>
                      <a:pt x="125728" y="355230"/>
                    </a:lnTo>
                    <a:lnTo>
                      <a:pt x="124582" y="354701"/>
                    </a:lnTo>
                    <a:lnTo>
                      <a:pt x="123965" y="354701"/>
                    </a:lnTo>
                    <a:lnTo>
                      <a:pt x="122818" y="353467"/>
                    </a:lnTo>
                    <a:lnTo>
                      <a:pt x="121672" y="352585"/>
                    </a:lnTo>
                    <a:lnTo>
                      <a:pt x="121672" y="350910"/>
                    </a:lnTo>
                    <a:lnTo>
                      <a:pt x="122201" y="349411"/>
                    </a:lnTo>
                    <a:lnTo>
                      <a:pt x="122201" y="347648"/>
                    </a:lnTo>
                    <a:lnTo>
                      <a:pt x="120173" y="345885"/>
                    </a:lnTo>
                    <a:lnTo>
                      <a:pt x="120526" y="345356"/>
                    </a:lnTo>
                    <a:lnTo>
                      <a:pt x="120173" y="344209"/>
                    </a:lnTo>
                    <a:lnTo>
                      <a:pt x="120173" y="343328"/>
                    </a:lnTo>
                    <a:lnTo>
                      <a:pt x="119292" y="342975"/>
                    </a:lnTo>
                    <a:lnTo>
                      <a:pt x="119027" y="341829"/>
                    </a:lnTo>
                    <a:lnTo>
                      <a:pt x="116999" y="340683"/>
                    </a:lnTo>
                    <a:lnTo>
                      <a:pt x="116382" y="339801"/>
                    </a:lnTo>
                    <a:lnTo>
                      <a:pt x="116118" y="340683"/>
                    </a:lnTo>
                    <a:lnTo>
                      <a:pt x="115500" y="341212"/>
                    </a:lnTo>
                    <a:lnTo>
                      <a:pt x="114354" y="340683"/>
                    </a:lnTo>
                    <a:lnTo>
                      <a:pt x="113473" y="339801"/>
                    </a:lnTo>
                    <a:lnTo>
                      <a:pt x="112326" y="338038"/>
                    </a:lnTo>
                    <a:lnTo>
                      <a:pt x="111709" y="338038"/>
                    </a:lnTo>
                    <a:lnTo>
                      <a:pt x="111445" y="337773"/>
                    </a:lnTo>
                    <a:lnTo>
                      <a:pt x="111709" y="337773"/>
                    </a:lnTo>
                    <a:lnTo>
                      <a:pt x="111445" y="336891"/>
                    </a:lnTo>
                    <a:lnTo>
                      <a:pt x="110563" y="337773"/>
                    </a:lnTo>
                    <a:lnTo>
                      <a:pt x="109681" y="336274"/>
                    </a:lnTo>
                    <a:lnTo>
                      <a:pt x="109417" y="335657"/>
                    </a:lnTo>
                    <a:lnTo>
                      <a:pt x="109152" y="336274"/>
                    </a:lnTo>
                    <a:lnTo>
                      <a:pt x="107036" y="335657"/>
                    </a:lnTo>
                    <a:lnTo>
                      <a:pt x="105890" y="335657"/>
                    </a:lnTo>
                    <a:lnTo>
                      <a:pt x="105361" y="334511"/>
                    </a:lnTo>
                    <a:lnTo>
                      <a:pt x="104479" y="332748"/>
                    </a:lnTo>
                    <a:lnTo>
                      <a:pt x="103245" y="332219"/>
                    </a:lnTo>
                    <a:lnTo>
                      <a:pt x="103245" y="331954"/>
                    </a:lnTo>
                    <a:lnTo>
                      <a:pt x="104479" y="331954"/>
                    </a:lnTo>
                    <a:lnTo>
                      <a:pt x="104744" y="331072"/>
                    </a:lnTo>
                    <a:lnTo>
                      <a:pt x="104479" y="330720"/>
                    </a:lnTo>
                    <a:lnTo>
                      <a:pt x="104127" y="330191"/>
                    </a:lnTo>
                    <a:lnTo>
                      <a:pt x="103245" y="329573"/>
                    </a:lnTo>
                    <a:lnTo>
                      <a:pt x="102716" y="328692"/>
                    </a:lnTo>
                    <a:lnTo>
                      <a:pt x="102716" y="327810"/>
                    </a:lnTo>
                    <a:lnTo>
                      <a:pt x="102981" y="327281"/>
                    </a:lnTo>
                    <a:lnTo>
                      <a:pt x="102716" y="326928"/>
                    </a:lnTo>
                    <a:lnTo>
                      <a:pt x="102716" y="325782"/>
                    </a:lnTo>
                    <a:lnTo>
                      <a:pt x="101834" y="324371"/>
                    </a:lnTo>
                    <a:lnTo>
                      <a:pt x="100953" y="323754"/>
                    </a:lnTo>
                    <a:lnTo>
                      <a:pt x="100688" y="322873"/>
                    </a:lnTo>
                    <a:lnTo>
                      <a:pt x="99454" y="321991"/>
                    </a:lnTo>
                    <a:lnTo>
                      <a:pt x="97161" y="319081"/>
                    </a:lnTo>
                    <a:lnTo>
                      <a:pt x="96015" y="319346"/>
                    </a:lnTo>
                    <a:lnTo>
                      <a:pt x="95398" y="318817"/>
                    </a:lnTo>
                    <a:lnTo>
                      <a:pt x="93635" y="318200"/>
                    </a:lnTo>
                    <a:lnTo>
                      <a:pt x="94517" y="317054"/>
                    </a:lnTo>
                    <a:lnTo>
                      <a:pt x="93106" y="314673"/>
                    </a:lnTo>
                    <a:lnTo>
                      <a:pt x="92753" y="314673"/>
                    </a:lnTo>
                    <a:lnTo>
                      <a:pt x="92224" y="315907"/>
                    </a:lnTo>
                    <a:lnTo>
                      <a:pt x="91078" y="316436"/>
                    </a:lnTo>
                    <a:lnTo>
                      <a:pt x="90196" y="315907"/>
                    </a:lnTo>
                    <a:lnTo>
                      <a:pt x="88962" y="314408"/>
                    </a:lnTo>
                    <a:lnTo>
                      <a:pt x="87816" y="313791"/>
                    </a:lnTo>
                    <a:lnTo>
                      <a:pt x="86405" y="312116"/>
                    </a:lnTo>
                    <a:lnTo>
                      <a:pt x="84289" y="311234"/>
                    </a:lnTo>
                    <a:lnTo>
                      <a:pt x="83143" y="312998"/>
                    </a:lnTo>
                    <a:lnTo>
                      <a:pt x="82878" y="312998"/>
                    </a:lnTo>
                    <a:lnTo>
                      <a:pt x="79616" y="312116"/>
                    </a:lnTo>
                    <a:lnTo>
                      <a:pt x="72386" y="308589"/>
                    </a:lnTo>
                    <a:lnTo>
                      <a:pt x="70006" y="307090"/>
                    </a:lnTo>
                    <a:lnTo>
                      <a:pt x="65950" y="302153"/>
                    </a:lnTo>
                    <a:lnTo>
                      <a:pt x="64451" y="302153"/>
                    </a:lnTo>
                    <a:lnTo>
                      <a:pt x="63569" y="300742"/>
                    </a:lnTo>
                    <a:lnTo>
                      <a:pt x="60395" y="299243"/>
                    </a:lnTo>
                    <a:lnTo>
                      <a:pt x="59249" y="300390"/>
                    </a:lnTo>
                    <a:lnTo>
                      <a:pt x="58367" y="304534"/>
                    </a:lnTo>
                    <a:lnTo>
                      <a:pt x="53959" y="304534"/>
                    </a:lnTo>
                    <a:lnTo>
                      <a:pt x="51931" y="303916"/>
                    </a:lnTo>
                    <a:lnTo>
                      <a:pt x="49903" y="304534"/>
                    </a:lnTo>
                    <a:lnTo>
                      <a:pt x="47611" y="304798"/>
                    </a:lnTo>
                    <a:lnTo>
                      <a:pt x="43731" y="303916"/>
                    </a:lnTo>
                    <a:lnTo>
                      <a:pt x="42938" y="302770"/>
                    </a:lnTo>
                    <a:lnTo>
                      <a:pt x="39147" y="302153"/>
                    </a:lnTo>
                    <a:lnTo>
                      <a:pt x="35620" y="300390"/>
                    </a:lnTo>
                    <a:lnTo>
                      <a:pt x="35355" y="296951"/>
                    </a:lnTo>
                    <a:lnTo>
                      <a:pt x="35355" y="294570"/>
                    </a:lnTo>
                    <a:lnTo>
                      <a:pt x="34474" y="293689"/>
                    </a:lnTo>
                    <a:lnTo>
                      <a:pt x="30683" y="292807"/>
                    </a:lnTo>
                    <a:lnTo>
                      <a:pt x="30683" y="289898"/>
                    </a:lnTo>
                    <a:lnTo>
                      <a:pt x="29184" y="289281"/>
                    </a:lnTo>
                    <a:lnTo>
                      <a:pt x="26274" y="289898"/>
                    </a:lnTo>
                    <a:lnTo>
                      <a:pt x="24863" y="288487"/>
                    </a:lnTo>
                    <a:lnTo>
                      <a:pt x="22747" y="287870"/>
                    </a:lnTo>
                    <a:lnTo>
                      <a:pt x="18074" y="285842"/>
                    </a:lnTo>
                    <a:lnTo>
                      <a:pt x="15518" y="284078"/>
                    </a:lnTo>
                    <a:lnTo>
                      <a:pt x="11374" y="280023"/>
                    </a:lnTo>
                    <a:lnTo>
                      <a:pt x="10492" y="279758"/>
                    </a:lnTo>
                    <a:lnTo>
                      <a:pt x="9698" y="278789"/>
                    </a:lnTo>
                    <a:lnTo>
                      <a:pt x="8200" y="278260"/>
                    </a:lnTo>
                    <a:lnTo>
                      <a:pt x="5290" y="274733"/>
                    </a:lnTo>
                    <a:lnTo>
                      <a:pt x="4408" y="272088"/>
                    </a:lnTo>
                    <a:lnTo>
                      <a:pt x="2909" y="270941"/>
                    </a:lnTo>
                    <a:lnTo>
                      <a:pt x="0" y="270060"/>
                    </a:lnTo>
                    <a:lnTo>
                      <a:pt x="3262" y="266004"/>
                    </a:lnTo>
                    <a:lnTo>
                      <a:pt x="4408" y="264858"/>
                    </a:lnTo>
                    <a:lnTo>
                      <a:pt x="8200" y="265387"/>
                    </a:lnTo>
                    <a:lnTo>
                      <a:pt x="9346" y="266268"/>
                    </a:lnTo>
                    <a:lnTo>
                      <a:pt x="11374" y="262830"/>
                    </a:lnTo>
                    <a:lnTo>
                      <a:pt x="10227" y="261331"/>
                    </a:lnTo>
                    <a:lnTo>
                      <a:pt x="9963" y="260185"/>
                    </a:lnTo>
                    <a:lnTo>
                      <a:pt x="9346" y="260714"/>
                    </a:lnTo>
                    <a:lnTo>
                      <a:pt x="8817" y="259039"/>
                    </a:lnTo>
                    <a:lnTo>
                      <a:pt x="8464" y="257275"/>
                    </a:lnTo>
                    <a:lnTo>
                      <a:pt x="8464" y="256394"/>
                    </a:lnTo>
                    <a:lnTo>
                      <a:pt x="9346" y="254630"/>
                    </a:lnTo>
                    <a:lnTo>
                      <a:pt x="8817" y="253749"/>
                    </a:lnTo>
                    <a:lnTo>
                      <a:pt x="9963" y="251985"/>
                    </a:lnTo>
                    <a:lnTo>
                      <a:pt x="11726" y="251104"/>
                    </a:lnTo>
                    <a:lnTo>
                      <a:pt x="13490" y="249957"/>
                    </a:lnTo>
                    <a:lnTo>
                      <a:pt x="14636" y="247930"/>
                    </a:lnTo>
                    <a:lnTo>
                      <a:pt x="17810" y="246783"/>
                    </a:lnTo>
                    <a:lnTo>
                      <a:pt x="18692" y="247665"/>
                    </a:lnTo>
                    <a:lnTo>
                      <a:pt x="18956" y="247312"/>
                    </a:lnTo>
                    <a:lnTo>
                      <a:pt x="21072" y="248459"/>
                    </a:lnTo>
                    <a:lnTo>
                      <a:pt x="21866" y="246783"/>
                    </a:lnTo>
                    <a:lnTo>
                      <a:pt x="23100" y="247312"/>
                    </a:lnTo>
                    <a:lnTo>
                      <a:pt x="24863" y="246431"/>
                    </a:lnTo>
                    <a:lnTo>
                      <a:pt x="24511" y="245549"/>
                    </a:lnTo>
                    <a:lnTo>
                      <a:pt x="24863" y="244403"/>
                    </a:lnTo>
                    <a:lnTo>
                      <a:pt x="25392" y="244755"/>
                    </a:lnTo>
                    <a:lnTo>
                      <a:pt x="26010" y="245549"/>
                    </a:lnTo>
                    <a:lnTo>
                      <a:pt x="26891" y="246783"/>
                    </a:lnTo>
                    <a:lnTo>
                      <a:pt x="29184" y="245549"/>
                    </a:lnTo>
                    <a:lnTo>
                      <a:pt x="28037" y="244138"/>
                    </a:lnTo>
                    <a:lnTo>
                      <a:pt x="27420" y="241493"/>
                    </a:lnTo>
                    <a:lnTo>
                      <a:pt x="28655" y="241493"/>
                    </a:lnTo>
                    <a:lnTo>
                      <a:pt x="28302" y="241229"/>
                    </a:lnTo>
                    <a:lnTo>
                      <a:pt x="29536" y="240347"/>
                    </a:lnTo>
                    <a:lnTo>
                      <a:pt x="30683" y="241229"/>
                    </a:lnTo>
                    <a:lnTo>
                      <a:pt x="29801" y="240347"/>
                    </a:lnTo>
                    <a:lnTo>
                      <a:pt x="30683" y="240082"/>
                    </a:lnTo>
                    <a:lnTo>
                      <a:pt x="32093" y="239465"/>
                    </a:lnTo>
                    <a:lnTo>
                      <a:pt x="30947" y="238848"/>
                    </a:lnTo>
                    <a:lnTo>
                      <a:pt x="30065" y="239201"/>
                    </a:lnTo>
                    <a:lnTo>
                      <a:pt x="30330" y="237438"/>
                    </a:lnTo>
                    <a:lnTo>
                      <a:pt x="31212" y="238848"/>
                    </a:lnTo>
                    <a:lnTo>
                      <a:pt x="32093" y="236820"/>
                    </a:lnTo>
                    <a:lnTo>
                      <a:pt x="32446" y="235939"/>
                    </a:lnTo>
                    <a:lnTo>
                      <a:pt x="30947" y="235939"/>
                    </a:lnTo>
                    <a:lnTo>
                      <a:pt x="30947" y="235410"/>
                    </a:lnTo>
                    <a:lnTo>
                      <a:pt x="30330" y="234175"/>
                    </a:lnTo>
                    <a:lnTo>
                      <a:pt x="33857" y="234175"/>
                    </a:lnTo>
                    <a:lnTo>
                      <a:pt x="34121" y="231618"/>
                    </a:lnTo>
                    <a:lnTo>
                      <a:pt x="35003" y="230737"/>
                    </a:lnTo>
                    <a:lnTo>
                      <a:pt x="35620" y="229590"/>
                    </a:lnTo>
                    <a:lnTo>
                      <a:pt x="36766" y="228092"/>
                    </a:lnTo>
                    <a:lnTo>
                      <a:pt x="35620" y="227474"/>
                    </a:lnTo>
                    <a:lnTo>
                      <a:pt x="36766" y="227210"/>
                    </a:lnTo>
                    <a:lnTo>
                      <a:pt x="38265" y="227474"/>
                    </a:lnTo>
                    <a:lnTo>
                      <a:pt x="38794" y="227474"/>
                    </a:lnTo>
                    <a:lnTo>
                      <a:pt x="37912" y="225799"/>
                    </a:lnTo>
                    <a:lnTo>
                      <a:pt x="38530" y="225799"/>
                    </a:lnTo>
                    <a:lnTo>
                      <a:pt x="38794" y="224036"/>
                    </a:lnTo>
                    <a:lnTo>
                      <a:pt x="39147" y="223683"/>
                    </a:lnTo>
                    <a:lnTo>
                      <a:pt x="40293" y="223683"/>
                    </a:lnTo>
                    <a:lnTo>
                      <a:pt x="40293" y="223154"/>
                    </a:lnTo>
                    <a:lnTo>
                      <a:pt x="40293" y="222273"/>
                    </a:lnTo>
                    <a:lnTo>
                      <a:pt x="39147" y="221920"/>
                    </a:lnTo>
                    <a:lnTo>
                      <a:pt x="39676" y="221920"/>
                    </a:lnTo>
                    <a:lnTo>
                      <a:pt x="41439" y="221655"/>
                    </a:lnTo>
                    <a:lnTo>
                      <a:pt x="41704" y="220245"/>
                    </a:lnTo>
                    <a:lnTo>
                      <a:pt x="42585" y="219363"/>
                    </a:lnTo>
                    <a:lnTo>
                      <a:pt x="43731" y="219010"/>
                    </a:lnTo>
                    <a:lnTo>
                      <a:pt x="42585" y="218129"/>
                    </a:lnTo>
                    <a:lnTo>
                      <a:pt x="43467" y="217864"/>
                    </a:lnTo>
                    <a:lnTo>
                      <a:pt x="42056" y="218129"/>
                    </a:lnTo>
                    <a:lnTo>
                      <a:pt x="42585" y="217600"/>
                    </a:lnTo>
                    <a:lnTo>
                      <a:pt x="43467" y="217600"/>
                    </a:lnTo>
                    <a:lnTo>
                      <a:pt x="43731" y="216453"/>
                    </a:lnTo>
                    <a:lnTo>
                      <a:pt x="43731" y="215572"/>
                    </a:lnTo>
                    <a:lnTo>
                      <a:pt x="44084" y="215572"/>
                    </a:lnTo>
                    <a:lnTo>
                      <a:pt x="44966" y="214337"/>
                    </a:lnTo>
                    <a:lnTo>
                      <a:pt x="44613" y="213191"/>
                    </a:lnTo>
                    <a:lnTo>
                      <a:pt x="44084" y="212927"/>
                    </a:lnTo>
                    <a:lnTo>
                      <a:pt x="43731" y="213808"/>
                    </a:lnTo>
                    <a:lnTo>
                      <a:pt x="40822" y="214690"/>
                    </a:lnTo>
                    <a:lnTo>
                      <a:pt x="40557" y="213808"/>
                    </a:lnTo>
                    <a:lnTo>
                      <a:pt x="39676" y="212309"/>
                    </a:lnTo>
                    <a:lnTo>
                      <a:pt x="40557" y="211163"/>
                    </a:lnTo>
                    <a:lnTo>
                      <a:pt x="41704" y="212045"/>
                    </a:lnTo>
                    <a:lnTo>
                      <a:pt x="42056" y="210282"/>
                    </a:lnTo>
                    <a:lnTo>
                      <a:pt x="41439" y="209135"/>
                    </a:lnTo>
                    <a:lnTo>
                      <a:pt x="40822" y="209135"/>
                    </a:lnTo>
                    <a:lnTo>
                      <a:pt x="39411" y="211163"/>
                    </a:lnTo>
                    <a:lnTo>
                      <a:pt x="38265" y="212927"/>
                    </a:lnTo>
                    <a:lnTo>
                      <a:pt x="38265" y="212045"/>
                    </a:lnTo>
                    <a:lnTo>
                      <a:pt x="37031" y="210546"/>
                    </a:lnTo>
                    <a:lnTo>
                      <a:pt x="37383" y="209753"/>
                    </a:lnTo>
                    <a:lnTo>
                      <a:pt x="37031" y="207372"/>
                    </a:lnTo>
                    <a:lnTo>
                      <a:pt x="38265" y="206226"/>
                    </a:lnTo>
                    <a:lnTo>
                      <a:pt x="39411" y="205344"/>
                    </a:lnTo>
                    <a:lnTo>
                      <a:pt x="41704" y="204462"/>
                    </a:lnTo>
                    <a:lnTo>
                      <a:pt x="39411" y="204198"/>
                    </a:lnTo>
                    <a:lnTo>
                      <a:pt x="39147" y="200936"/>
                    </a:lnTo>
                    <a:lnTo>
                      <a:pt x="39676" y="199172"/>
                    </a:lnTo>
                    <a:lnTo>
                      <a:pt x="39676" y="197145"/>
                    </a:lnTo>
                    <a:lnTo>
                      <a:pt x="40557" y="194235"/>
                    </a:lnTo>
                    <a:lnTo>
                      <a:pt x="40028" y="192824"/>
                    </a:lnTo>
                    <a:lnTo>
                      <a:pt x="41439" y="192824"/>
                    </a:lnTo>
                    <a:lnTo>
                      <a:pt x="40028" y="190444"/>
                    </a:lnTo>
                    <a:lnTo>
                      <a:pt x="39676" y="189297"/>
                    </a:lnTo>
                    <a:lnTo>
                      <a:pt x="39411" y="181715"/>
                    </a:lnTo>
                    <a:lnTo>
                      <a:pt x="39411" y="179687"/>
                    </a:lnTo>
                    <a:lnTo>
                      <a:pt x="39147" y="176778"/>
                    </a:lnTo>
                    <a:lnTo>
                      <a:pt x="38530" y="176425"/>
                    </a:lnTo>
                    <a:lnTo>
                      <a:pt x="39147" y="175543"/>
                    </a:lnTo>
                    <a:lnTo>
                      <a:pt x="38530" y="174397"/>
                    </a:lnTo>
                    <a:lnTo>
                      <a:pt x="37383" y="173251"/>
                    </a:lnTo>
                    <a:lnTo>
                      <a:pt x="36766" y="173515"/>
                    </a:lnTo>
                    <a:lnTo>
                      <a:pt x="35620" y="173251"/>
                    </a:lnTo>
                    <a:lnTo>
                      <a:pt x="37031" y="171223"/>
                    </a:lnTo>
                    <a:lnTo>
                      <a:pt x="38265" y="170606"/>
                    </a:lnTo>
                    <a:lnTo>
                      <a:pt x="39676" y="170870"/>
                    </a:lnTo>
                    <a:lnTo>
                      <a:pt x="40822" y="169724"/>
                    </a:lnTo>
                    <a:lnTo>
                      <a:pt x="42056" y="169195"/>
                    </a:lnTo>
                    <a:lnTo>
                      <a:pt x="42321" y="166286"/>
                    </a:lnTo>
                    <a:lnTo>
                      <a:pt x="40557" y="160378"/>
                    </a:lnTo>
                    <a:lnTo>
                      <a:pt x="39676" y="159849"/>
                    </a:lnTo>
                    <a:lnTo>
                      <a:pt x="37912" y="154912"/>
                    </a:lnTo>
                    <a:lnTo>
                      <a:pt x="39147" y="154559"/>
                    </a:lnTo>
                    <a:lnTo>
                      <a:pt x="39411" y="151121"/>
                    </a:lnTo>
                    <a:lnTo>
                      <a:pt x="40822" y="150768"/>
                    </a:lnTo>
                    <a:lnTo>
                      <a:pt x="40822" y="149357"/>
                    </a:lnTo>
                    <a:lnTo>
                      <a:pt x="39676" y="145213"/>
                    </a:lnTo>
                    <a:lnTo>
                      <a:pt x="38530" y="142921"/>
                    </a:lnTo>
                    <a:lnTo>
                      <a:pt x="37648" y="144332"/>
                    </a:lnTo>
                    <a:lnTo>
                      <a:pt x="37031" y="142921"/>
                    </a:lnTo>
                    <a:lnTo>
                      <a:pt x="34121" y="139130"/>
                    </a:lnTo>
                    <a:lnTo>
                      <a:pt x="33592" y="139130"/>
                    </a:lnTo>
                    <a:lnTo>
                      <a:pt x="34738" y="137102"/>
                    </a:lnTo>
                    <a:lnTo>
                      <a:pt x="33857" y="134192"/>
                    </a:lnTo>
                    <a:lnTo>
                      <a:pt x="32093" y="13181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2" name="Freihandform: Form 1761">
                <a:extLst>
                  <a:ext uri="{FF2B5EF4-FFF2-40B4-BE49-F238E27FC236}">
                    <a16:creationId xmlns:a16="http://schemas.microsoft.com/office/drawing/2014/main" id="{44616A8E-0B3C-68F0-D7F0-C123B36C1D97}"/>
                  </a:ext>
                </a:extLst>
              </p:cNvPr>
              <p:cNvSpPr/>
              <p:nvPr/>
            </p:nvSpPr>
            <p:spPr>
              <a:xfrm>
                <a:off x="2543205" y="4586562"/>
                <a:ext cx="286547" cy="951513"/>
              </a:xfrm>
              <a:custGeom>
                <a:avLst/>
                <a:gdLst>
                  <a:gd name="connsiteX0" fmla="*/ 111709 w 286547"/>
                  <a:gd name="connsiteY0" fmla="*/ 825432 h 951513"/>
                  <a:gd name="connsiteX1" fmla="*/ 116647 w 286547"/>
                  <a:gd name="connsiteY1" fmla="*/ 823933 h 951513"/>
                  <a:gd name="connsiteX2" fmla="*/ 121937 w 286547"/>
                  <a:gd name="connsiteY2" fmla="*/ 824815 h 951513"/>
                  <a:gd name="connsiteX3" fmla="*/ 120173 w 286547"/>
                  <a:gd name="connsiteY3" fmla="*/ 833896 h 951513"/>
                  <a:gd name="connsiteX4" fmla="*/ 116911 w 286547"/>
                  <a:gd name="connsiteY4" fmla="*/ 836806 h 951513"/>
                  <a:gd name="connsiteX5" fmla="*/ 120702 w 286547"/>
                  <a:gd name="connsiteY5" fmla="*/ 839098 h 951513"/>
                  <a:gd name="connsiteX6" fmla="*/ 120702 w 286547"/>
                  <a:gd name="connsiteY6" fmla="*/ 842625 h 951513"/>
                  <a:gd name="connsiteX7" fmla="*/ 131459 w 286547"/>
                  <a:gd name="connsiteY7" fmla="*/ 851442 h 951513"/>
                  <a:gd name="connsiteX8" fmla="*/ 130313 w 286547"/>
                  <a:gd name="connsiteY8" fmla="*/ 855498 h 951513"/>
                  <a:gd name="connsiteX9" fmla="*/ 136485 w 286547"/>
                  <a:gd name="connsiteY9" fmla="*/ 853734 h 951513"/>
                  <a:gd name="connsiteX10" fmla="*/ 128638 w 286547"/>
                  <a:gd name="connsiteY10" fmla="*/ 858936 h 951513"/>
                  <a:gd name="connsiteX11" fmla="*/ 131812 w 286547"/>
                  <a:gd name="connsiteY11" fmla="*/ 862110 h 951513"/>
                  <a:gd name="connsiteX12" fmla="*/ 126610 w 286547"/>
                  <a:gd name="connsiteY12" fmla="*/ 862110 h 951513"/>
                  <a:gd name="connsiteX13" fmla="*/ 123347 w 286547"/>
                  <a:gd name="connsiteY13" fmla="*/ 858319 h 951513"/>
                  <a:gd name="connsiteX14" fmla="*/ 121584 w 286547"/>
                  <a:gd name="connsiteY14" fmla="*/ 848092 h 951513"/>
                  <a:gd name="connsiteX15" fmla="*/ 111357 w 286547"/>
                  <a:gd name="connsiteY15" fmla="*/ 844300 h 951513"/>
                  <a:gd name="connsiteX16" fmla="*/ 114002 w 286547"/>
                  <a:gd name="connsiteY16" fmla="*/ 834337 h 951513"/>
                  <a:gd name="connsiteX17" fmla="*/ 111357 w 286547"/>
                  <a:gd name="connsiteY17" fmla="*/ 829929 h 951513"/>
                  <a:gd name="connsiteX18" fmla="*/ 100865 w 286547"/>
                  <a:gd name="connsiteY18" fmla="*/ 825873 h 951513"/>
                  <a:gd name="connsiteX19" fmla="*/ 96809 w 286547"/>
                  <a:gd name="connsiteY19" fmla="*/ 820318 h 951513"/>
                  <a:gd name="connsiteX20" fmla="*/ 100600 w 286547"/>
                  <a:gd name="connsiteY20" fmla="*/ 816792 h 951513"/>
                  <a:gd name="connsiteX21" fmla="*/ 103774 w 286547"/>
                  <a:gd name="connsiteY21" fmla="*/ 822964 h 951513"/>
                  <a:gd name="connsiteX22" fmla="*/ 105537 w 286547"/>
                  <a:gd name="connsiteY22" fmla="*/ 825256 h 951513"/>
                  <a:gd name="connsiteX23" fmla="*/ 109329 w 286547"/>
                  <a:gd name="connsiteY23" fmla="*/ 826138 h 951513"/>
                  <a:gd name="connsiteX24" fmla="*/ 111709 w 286547"/>
                  <a:gd name="connsiteY24" fmla="*/ 825432 h 951513"/>
                  <a:gd name="connsiteX25" fmla="*/ 47875 w 286547"/>
                  <a:gd name="connsiteY25" fmla="*/ 606422 h 951513"/>
                  <a:gd name="connsiteX26" fmla="*/ 51402 w 286547"/>
                  <a:gd name="connsiteY26" fmla="*/ 608450 h 951513"/>
                  <a:gd name="connsiteX27" fmla="*/ 52901 w 286547"/>
                  <a:gd name="connsiteY27" fmla="*/ 604923 h 951513"/>
                  <a:gd name="connsiteX28" fmla="*/ 58456 w 286547"/>
                  <a:gd name="connsiteY28" fmla="*/ 605188 h 951513"/>
                  <a:gd name="connsiteX29" fmla="*/ 61365 w 286547"/>
                  <a:gd name="connsiteY29" fmla="*/ 612153 h 951513"/>
                  <a:gd name="connsiteX30" fmla="*/ 63657 w 286547"/>
                  <a:gd name="connsiteY30" fmla="*/ 617355 h 951513"/>
                  <a:gd name="connsiteX31" fmla="*/ 63657 w 286547"/>
                  <a:gd name="connsiteY31" fmla="*/ 620265 h 951513"/>
                  <a:gd name="connsiteX32" fmla="*/ 60748 w 286547"/>
                  <a:gd name="connsiteY32" fmla="*/ 621411 h 951513"/>
                  <a:gd name="connsiteX33" fmla="*/ 63657 w 286547"/>
                  <a:gd name="connsiteY33" fmla="*/ 626348 h 951513"/>
                  <a:gd name="connsiteX34" fmla="*/ 67713 w 286547"/>
                  <a:gd name="connsiteY34" fmla="*/ 631021 h 951513"/>
                  <a:gd name="connsiteX35" fmla="*/ 66303 w 286547"/>
                  <a:gd name="connsiteY35" fmla="*/ 633313 h 951513"/>
                  <a:gd name="connsiteX36" fmla="*/ 65421 w 286547"/>
                  <a:gd name="connsiteY36" fmla="*/ 642042 h 951513"/>
                  <a:gd name="connsiteX37" fmla="*/ 61013 w 286547"/>
                  <a:gd name="connsiteY37" fmla="*/ 643188 h 951513"/>
                  <a:gd name="connsiteX38" fmla="*/ 56604 w 286547"/>
                  <a:gd name="connsiteY38" fmla="*/ 642042 h 951513"/>
                  <a:gd name="connsiteX39" fmla="*/ 55722 w 286547"/>
                  <a:gd name="connsiteY39" fmla="*/ 639133 h 951513"/>
                  <a:gd name="connsiteX40" fmla="*/ 54841 w 286547"/>
                  <a:gd name="connsiteY40" fmla="*/ 636488 h 951513"/>
                  <a:gd name="connsiteX41" fmla="*/ 58632 w 286547"/>
                  <a:gd name="connsiteY41" fmla="*/ 633578 h 951513"/>
                  <a:gd name="connsiteX42" fmla="*/ 55370 w 286547"/>
                  <a:gd name="connsiteY42" fmla="*/ 630139 h 951513"/>
                  <a:gd name="connsiteX43" fmla="*/ 51843 w 286547"/>
                  <a:gd name="connsiteY43" fmla="*/ 630139 h 951513"/>
                  <a:gd name="connsiteX44" fmla="*/ 50697 w 286547"/>
                  <a:gd name="connsiteY44" fmla="*/ 625202 h 951513"/>
                  <a:gd name="connsiteX45" fmla="*/ 49198 w 286547"/>
                  <a:gd name="connsiteY45" fmla="*/ 622028 h 951513"/>
                  <a:gd name="connsiteX46" fmla="*/ 48316 w 286547"/>
                  <a:gd name="connsiteY46" fmla="*/ 617355 h 951513"/>
                  <a:gd name="connsiteX47" fmla="*/ 49462 w 286547"/>
                  <a:gd name="connsiteY47" fmla="*/ 615327 h 951513"/>
                  <a:gd name="connsiteX48" fmla="*/ 49462 w 286547"/>
                  <a:gd name="connsiteY48" fmla="*/ 609773 h 951513"/>
                  <a:gd name="connsiteX49" fmla="*/ 47875 w 286547"/>
                  <a:gd name="connsiteY49" fmla="*/ 606422 h 951513"/>
                  <a:gd name="connsiteX50" fmla="*/ 170606 w 286547"/>
                  <a:gd name="connsiteY50" fmla="*/ 901610 h 951513"/>
                  <a:gd name="connsiteX51" fmla="*/ 170606 w 286547"/>
                  <a:gd name="connsiteY51" fmla="*/ 896320 h 951513"/>
                  <a:gd name="connsiteX52" fmla="*/ 173515 w 286547"/>
                  <a:gd name="connsiteY52" fmla="*/ 895791 h 951513"/>
                  <a:gd name="connsiteX53" fmla="*/ 175896 w 286547"/>
                  <a:gd name="connsiteY53" fmla="*/ 890236 h 951513"/>
                  <a:gd name="connsiteX54" fmla="*/ 177659 w 286547"/>
                  <a:gd name="connsiteY54" fmla="*/ 887855 h 951513"/>
                  <a:gd name="connsiteX55" fmla="*/ 183478 w 286547"/>
                  <a:gd name="connsiteY55" fmla="*/ 892264 h 951513"/>
                  <a:gd name="connsiteX56" fmla="*/ 192560 w 286547"/>
                  <a:gd name="connsiteY56" fmla="*/ 896320 h 951513"/>
                  <a:gd name="connsiteX57" fmla="*/ 201641 w 286547"/>
                  <a:gd name="connsiteY57" fmla="*/ 897819 h 951513"/>
                  <a:gd name="connsiteX58" fmla="*/ 203933 w 286547"/>
                  <a:gd name="connsiteY58" fmla="*/ 900993 h 951513"/>
                  <a:gd name="connsiteX59" fmla="*/ 210634 w 286547"/>
                  <a:gd name="connsiteY59" fmla="*/ 906812 h 951513"/>
                  <a:gd name="connsiteX60" fmla="*/ 211780 w 286547"/>
                  <a:gd name="connsiteY60" fmla="*/ 911749 h 951513"/>
                  <a:gd name="connsiteX61" fmla="*/ 209753 w 286547"/>
                  <a:gd name="connsiteY61" fmla="*/ 909986 h 951513"/>
                  <a:gd name="connsiteX62" fmla="*/ 207372 w 286547"/>
                  <a:gd name="connsiteY62" fmla="*/ 912278 h 951513"/>
                  <a:gd name="connsiteX63" fmla="*/ 201817 w 286547"/>
                  <a:gd name="connsiteY63" fmla="*/ 911749 h 951513"/>
                  <a:gd name="connsiteX64" fmla="*/ 199437 w 286547"/>
                  <a:gd name="connsiteY64" fmla="*/ 916422 h 951513"/>
                  <a:gd name="connsiteX65" fmla="*/ 196527 w 286547"/>
                  <a:gd name="connsiteY65" fmla="*/ 916687 h 951513"/>
                  <a:gd name="connsiteX66" fmla="*/ 194764 w 286547"/>
                  <a:gd name="connsiteY66" fmla="*/ 912278 h 951513"/>
                  <a:gd name="connsiteX67" fmla="*/ 190356 w 286547"/>
                  <a:gd name="connsiteY67" fmla="*/ 905577 h 951513"/>
                  <a:gd name="connsiteX68" fmla="*/ 188328 w 286547"/>
                  <a:gd name="connsiteY68" fmla="*/ 909898 h 951513"/>
                  <a:gd name="connsiteX69" fmla="*/ 184536 w 286547"/>
                  <a:gd name="connsiteY69" fmla="*/ 907870 h 951513"/>
                  <a:gd name="connsiteX70" fmla="*/ 179863 w 286547"/>
                  <a:gd name="connsiteY70" fmla="*/ 903197 h 951513"/>
                  <a:gd name="connsiteX71" fmla="*/ 176337 w 286547"/>
                  <a:gd name="connsiteY71" fmla="*/ 907605 h 951513"/>
                  <a:gd name="connsiteX72" fmla="*/ 172810 w 286547"/>
                  <a:gd name="connsiteY72" fmla="*/ 904696 h 951513"/>
                  <a:gd name="connsiteX73" fmla="*/ 170606 w 286547"/>
                  <a:gd name="connsiteY73" fmla="*/ 901610 h 951513"/>
                  <a:gd name="connsiteX74" fmla="*/ 158968 w 286547"/>
                  <a:gd name="connsiteY74" fmla="*/ 886709 h 951513"/>
                  <a:gd name="connsiteX75" fmla="*/ 161613 w 286547"/>
                  <a:gd name="connsiteY75" fmla="*/ 883183 h 951513"/>
                  <a:gd name="connsiteX76" fmla="*/ 162494 w 286547"/>
                  <a:gd name="connsiteY76" fmla="*/ 885475 h 951513"/>
                  <a:gd name="connsiteX77" fmla="*/ 164522 w 286547"/>
                  <a:gd name="connsiteY77" fmla="*/ 888649 h 951513"/>
                  <a:gd name="connsiteX78" fmla="*/ 165139 w 286547"/>
                  <a:gd name="connsiteY78" fmla="*/ 891911 h 951513"/>
                  <a:gd name="connsiteX79" fmla="*/ 167784 w 286547"/>
                  <a:gd name="connsiteY79" fmla="*/ 893057 h 951513"/>
                  <a:gd name="connsiteX80" fmla="*/ 165139 w 286547"/>
                  <a:gd name="connsiteY80" fmla="*/ 895085 h 951513"/>
                  <a:gd name="connsiteX81" fmla="*/ 163112 w 286547"/>
                  <a:gd name="connsiteY81" fmla="*/ 893675 h 951513"/>
                  <a:gd name="connsiteX82" fmla="*/ 159585 w 286547"/>
                  <a:gd name="connsiteY82" fmla="*/ 896849 h 951513"/>
                  <a:gd name="connsiteX83" fmla="*/ 159937 w 286547"/>
                  <a:gd name="connsiteY83" fmla="*/ 890765 h 951513"/>
                  <a:gd name="connsiteX84" fmla="*/ 158968 w 286547"/>
                  <a:gd name="connsiteY84" fmla="*/ 886709 h 951513"/>
                  <a:gd name="connsiteX85" fmla="*/ 136749 w 286547"/>
                  <a:gd name="connsiteY85" fmla="*/ 880890 h 951513"/>
                  <a:gd name="connsiteX86" fmla="*/ 141687 w 286547"/>
                  <a:gd name="connsiteY86" fmla="*/ 883183 h 951513"/>
                  <a:gd name="connsiteX87" fmla="*/ 143979 w 286547"/>
                  <a:gd name="connsiteY87" fmla="*/ 882301 h 951513"/>
                  <a:gd name="connsiteX88" fmla="*/ 147770 w 286547"/>
                  <a:gd name="connsiteY88" fmla="*/ 884858 h 951513"/>
                  <a:gd name="connsiteX89" fmla="*/ 149181 w 286547"/>
                  <a:gd name="connsiteY89" fmla="*/ 888384 h 951513"/>
                  <a:gd name="connsiteX90" fmla="*/ 151209 w 286547"/>
                  <a:gd name="connsiteY90" fmla="*/ 886357 h 951513"/>
                  <a:gd name="connsiteX91" fmla="*/ 155264 w 286547"/>
                  <a:gd name="connsiteY91" fmla="*/ 887238 h 951513"/>
                  <a:gd name="connsiteX92" fmla="*/ 155882 w 286547"/>
                  <a:gd name="connsiteY92" fmla="*/ 883183 h 951513"/>
                  <a:gd name="connsiteX93" fmla="*/ 154118 w 286547"/>
                  <a:gd name="connsiteY93" fmla="*/ 882036 h 951513"/>
                  <a:gd name="connsiteX94" fmla="*/ 150944 w 286547"/>
                  <a:gd name="connsiteY94" fmla="*/ 880890 h 951513"/>
                  <a:gd name="connsiteX95" fmla="*/ 150944 w 286547"/>
                  <a:gd name="connsiteY95" fmla="*/ 879391 h 951513"/>
                  <a:gd name="connsiteX96" fmla="*/ 147770 w 286547"/>
                  <a:gd name="connsiteY96" fmla="*/ 878774 h 951513"/>
                  <a:gd name="connsiteX97" fmla="*/ 142216 w 286547"/>
                  <a:gd name="connsiteY97" fmla="*/ 875600 h 951513"/>
                  <a:gd name="connsiteX98" fmla="*/ 138424 w 286547"/>
                  <a:gd name="connsiteY98" fmla="*/ 875600 h 951513"/>
                  <a:gd name="connsiteX99" fmla="*/ 134898 w 286547"/>
                  <a:gd name="connsiteY99" fmla="*/ 874718 h 951513"/>
                  <a:gd name="connsiteX100" fmla="*/ 136749 w 286547"/>
                  <a:gd name="connsiteY100" fmla="*/ 880890 h 951513"/>
                  <a:gd name="connsiteX101" fmla="*/ 228709 w 286547"/>
                  <a:gd name="connsiteY101" fmla="*/ 868370 h 951513"/>
                  <a:gd name="connsiteX102" fmla="*/ 231883 w 286547"/>
                  <a:gd name="connsiteY102" fmla="*/ 869252 h 951513"/>
                  <a:gd name="connsiteX103" fmla="*/ 233911 w 286547"/>
                  <a:gd name="connsiteY103" fmla="*/ 871633 h 951513"/>
                  <a:gd name="connsiteX104" fmla="*/ 246431 w 286547"/>
                  <a:gd name="connsiteY104" fmla="*/ 873043 h 951513"/>
                  <a:gd name="connsiteX105" fmla="*/ 243521 w 286547"/>
                  <a:gd name="connsiteY105" fmla="*/ 876217 h 951513"/>
                  <a:gd name="connsiteX106" fmla="*/ 262213 w 286547"/>
                  <a:gd name="connsiteY106" fmla="*/ 917656 h 951513"/>
                  <a:gd name="connsiteX107" fmla="*/ 264858 w 286547"/>
                  <a:gd name="connsiteY107" fmla="*/ 922065 h 951513"/>
                  <a:gd name="connsiteX108" fmla="*/ 260802 w 286547"/>
                  <a:gd name="connsiteY108" fmla="*/ 922065 h 951513"/>
                  <a:gd name="connsiteX109" fmla="*/ 257011 w 286547"/>
                  <a:gd name="connsiteY109" fmla="*/ 920302 h 951513"/>
                  <a:gd name="connsiteX110" fmla="*/ 251809 w 286547"/>
                  <a:gd name="connsiteY110" fmla="*/ 920037 h 951513"/>
                  <a:gd name="connsiteX111" fmla="*/ 241934 w 286547"/>
                  <a:gd name="connsiteY111" fmla="*/ 919155 h 951513"/>
                  <a:gd name="connsiteX112" fmla="*/ 236997 w 286547"/>
                  <a:gd name="connsiteY112" fmla="*/ 917392 h 951513"/>
                  <a:gd name="connsiteX113" fmla="*/ 233205 w 286547"/>
                  <a:gd name="connsiteY113" fmla="*/ 914482 h 951513"/>
                  <a:gd name="connsiteX114" fmla="*/ 231795 w 286547"/>
                  <a:gd name="connsiteY114" fmla="*/ 914482 h 951513"/>
                  <a:gd name="connsiteX115" fmla="*/ 229150 w 286547"/>
                  <a:gd name="connsiteY115" fmla="*/ 910691 h 951513"/>
                  <a:gd name="connsiteX116" fmla="*/ 227386 w 286547"/>
                  <a:gd name="connsiteY116" fmla="*/ 913953 h 951513"/>
                  <a:gd name="connsiteX117" fmla="*/ 223948 w 286547"/>
                  <a:gd name="connsiteY117" fmla="*/ 914218 h 951513"/>
                  <a:gd name="connsiteX118" fmla="*/ 221567 w 286547"/>
                  <a:gd name="connsiteY118" fmla="*/ 913601 h 951513"/>
                  <a:gd name="connsiteX119" fmla="*/ 216630 w 286547"/>
                  <a:gd name="connsiteY119" fmla="*/ 910074 h 951513"/>
                  <a:gd name="connsiteX120" fmla="*/ 214866 w 286547"/>
                  <a:gd name="connsiteY120" fmla="*/ 911573 h 951513"/>
                  <a:gd name="connsiteX121" fmla="*/ 213720 w 286547"/>
                  <a:gd name="connsiteY121" fmla="*/ 907782 h 951513"/>
                  <a:gd name="connsiteX122" fmla="*/ 215483 w 286547"/>
                  <a:gd name="connsiteY122" fmla="*/ 906283 h 951513"/>
                  <a:gd name="connsiteX123" fmla="*/ 222449 w 286547"/>
                  <a:gd name="connsiteY123" fmla="*/ 907429 h 951513"/>
                  <a:gd name="connsiteX124" fmla="*/ 227739 w 286547"/>
                  <a:gd name="connsiteY124" fmla="*/ 907164 h 951513"/>
                  <a:gd name="connsiteX125" fmla="*/ 231530 w 286547"/>
                  <a:gd name="connsiteY125" fmla="*/ 904519 h 951513"/>
                  <a:gd name="connsiteX126" fmla="*/ 233029 w 286547"/>
                  <a:gd name="connsiteY126" fmla="*/ 902756 h 951513"/>
                  <a:gd name="connsiteX127" fmla="*/ 233293 w 286547"/>
                  <a:gd name="connsiteY127" fmla="*/ 900728 h 951513"/>
                  <a:gd name="connsiteX128" fmla="*/ 231883 w 286547"/>
                  <a:gd name="connsiteY128" fmla="*/ 897819 h 951513"/>
                  <a:gd name="connsiteX129" fmla="*/ 228973 w 286547"/>
                  <a:gd name="connsiteY129" fmla="*/ 896937 h 951513"/>
                  <a:gd name="connsiteX130" fmla="*/ 231001 w 286547"/>
                  <a:gd name="connsiteY130" fmla="*/ 893763 h 951513"/>
                  <a:gd name="connsiteX131" fmla="*/ 233293 w 286547"/>
                  <a:gd name="connsiteY131" fmla="*/ 893146 h 951513"/>
                  <a:gd name="connsiteX132" fmla="*/ 233911 w 286547"/>
                  <a:gd name="connsiteY132" fmla="*/ 891382 h 951513"/>
                  <a:gd name="connsiteX133" fmla="*/ 227827 w 286547"/>
                  <a:gd name="connsiteY133" fmla="*/ 890853 h 951513"/>
                  <a:gd name="connsiteX134" fmla="*/ 225799 w 286547"/>
                  <a:gd name="connsiteY134" fmla="*/ 888825 h 951513"/>
                  <a:gd name="connsiteX135" fmla="*/ 224036 w 286547"/>
                  <a:gd name="connsiteY135" fmla="*/ 885034 h 951513"/>
                  <a:gd name="connsiteX136" fmla="*/ 226328 w 286547"/>
                  <a:gd name="connsiteY136" fmla="*/ 880361 h 951513"/>
                  <a:gd name="connsiteX137" fmla="*/ 224300 w 286547"/>
                  <a:gd name="connsiteY137" fmla="*/ 882389 h 951513"/>
                  <a:gd name="connsiteX138" fmla="*/ 222801 w 286547"/>
                  <a:gd name="connsiteY138" fmla="*/ 880978 h 951513"/>
                  <a:gd name="connsiteX139" fmla="*/ 222537 w 286547"/>
                  <a:gd name="connsiteY139" fmla="*/ 874542 h 951513"/>
                  <a:gd name="connsiteX140" fmla="*/ 225182 w 286547"/>
                  <a:gd name="connsiteY140" fmla="*/ 870486 h 951513"/>
                  <a:gd name="connsiteX141" fmla="*/ 228709 w 286547"/>
                  <a:gd name="connsiteY141" fmla="*/ 868370 h 951513"/>
                  <a:gd name="connsiteX142" fmla="*/ 273586 w 286547"/>
                  <a:gd name="connsiteY142" fmla="*/ 928677 h 951513"/>
                  <a:gd name="connsiteX143" fmla="*/ 276760 w 286547"/>
                  <a:gd name="connsiteY143" fmla="*/ 929295 h 951513"/>
                  <a:gd name="connsiteX144" fmla="*/ 279141 w 286547"/>
                  <a:gd name="connsiteY144" fmla="*/ 929559 h 951513"/>
                  <a:gd name="connsiteX145" fmla="*/ 280023 w 286547"/>
                  <a:gd name="connsiteY145" fmla="*/ 928060 h 951513"/>
                  <a:gd name="connsiteX146" fmla="*/ 279141 w 286547"/>
                  <a:gd name="connsiteY146" fmla="*/ 926297 h 951513"/>
                  <a:gd name="connsiteX147" fmla="*/ 276231 w 286547"/>
                  <a:gd name="connsiteY147" fmla="*/ 925680 h 951513"/>
                  <a:gd name="connsiteX148" fmla="*/ 273586 w 286547"/>
                  <a:gd name="connsiteY148" fmla="*/ 928677 h 951513"/>
                  <a:gd name="connsiteX149" fmla="*/ 207372 w 286547"/>
                  <a:gd name="connsiteY149" fmla="*/ 919949 h 951513"/>
                  <a:gd name="connsiteX150" fmla="*/ 205609 w 286547"/>
                  <a:gd name="connsiteY150" fmla="*/ 922329 h 951513"/>
                  <a:gd name="connsiteX151" fmla="*/ 204727 w 286547"/>
                  <a:gd name="connsiteY151" fmla="*/ 921448 h 951513"/>
                  <a:gd name="connsiteX152" fmla="*/ 204727 w 286547"/>
                  <a:gd name="connsiteY152" fmla="*/ 918538 h 951513"/>
                  <a:gd name="connsiteX153" fmla="*/ 206226 w 286547"/>
                  <a:gd name="connsiteY153" fmla="*/ 917039 h 951513"/>
                  <a:gd name="connsiteX154" fmla="*/ 209135 w 286547"/>
                  <a:gd name="connsiteY154" fmla="*/ 916775 h 951513"/>
                  <a:gd name="connsiteX155" fmla="*/ 211428 w 286547"/>
                  <a:gd name="connsiteY155" fmla="*/ 917392 h 951513"/>
                  <a:gd name="connsiteX156" fmla="*/ 217599 w 286547"/>
                  <a:gd name="connsiteY156" fmla="*/ 917039 h 951513"/>
                  <a:gd name="connsiteX157" fmla="*/ 222008 w 286547"/>
                  <a:gd name="connsiteY157" fmla="*/ 917656 h 951513"/>
                  <a:gd name="connsiteX158" fmla="*/ 228444 w 286547"/>
                  <a:gd name="connsiteY158" fmla="*/ 917039 h 951513"/>
                  <a:gd name="connsiteX159" fmla="*/ 237526 w 286547"/>
                  <a:gd name="connsiteY159" fmla="*/ 921448 h 951513"/>
                  <a:gd name="connsiteX160" fmla="*/ 248635 w 286547"/>
                  <a:gd name="connsiteY160" fmla="*/ 923476 h 951513"/>
                  <a:gd name="connsiteX161" fmla="*/ 255600 w 286547"/>
                  <a:gd name="connsiteY161" fmla="*/ 924357 h 951513"/>
                  <a:gd name="connsiteX162" fmla="*/ 265563 w 286547"/>
                  <a:gd name="connsiteY162" fmla="*/ 926385 h 951513"/>
                  <a:gd name="connsiteX163" fmla="*/ 263800 w 286547"/>
                  <a:gd name="connsiteY163" fmla="*/ 931323 h 951513"/>
                  <a:gd name="connsiteX164" fmla="*/ 270765 w 286547"/>
                  <a:gd name="connsiteY164" fmla="*/ 929030 h 951513"/>
                  <a:gd name="connsiteX165" fmla="*/ 270765 w 286547"/>
                  <a:gd name="connsiteY165" fmla="*/ 934849 h 951513"/>
                  <a:gd name="connsiteX166" fmla="*/ 284519 w 286547"/>
                  <a:gd name="connsiteY166" fmla="*/ 943578 h 951513"/>
                  <a:gd name="connsiteX167" fmla="*/ 285666 w 286547"/>
                  <a:gd name="connsiteY167" fmla="*/ 947986 h 951513"/>
                  <a:gd name="connsiteX168" fmla="*/ 286547 w 286547"/>
                  <a:gd name="connsiteY168" fmla="*/ 951513 h 951513"/>
                  <a:gd name="connsiteX169" fmla="*/ 284519 w 286547"/>
                  <a:gd name="connsiteY169" fmla="*/ 951249 h 951513"/>
                  <a:gd name="connsiteX170" fmla="*/ 281874 w 286547"/>
                  <a:gd name="connsiteY170" fmla="*/ 948868 h 951513"/>
                  <a:gd name="connsiteX171" fmla="*/ 277818 w 286547"/>
                  <a:gd name="connsiteY171" fmla="*/ 945429 h 951513"/>
                  <a:gd name="connsiteX172" fmla="*/ 274644 w 286547"/>
                  <a:gd name="connsiteY172" fmla="*/ 944812 h 951513"/>
                  <a:gd name="connsiteX173" fmla="*/ 267679 w 286547"/>
                  <a:gd name="connsiteY173" fmla="*/ 941550 h 951513"/>
                  <a:gd name="connsiteX174" fmla="*/ 257452 w 286547"/>
                  <a:gd name="connsiteY174" fmla="*/ 943842 h 951513"/>
                  <a:gd name="connsiteX175" fmla="*/ 257981 w 286547"/>
                  <a:gd name="connsiteY175" fmla="*/ 942079 h 951513"/>
                  <a:gd name="connsiteX176" fmla="*/ 255071 w 286547"/>
                  <a:gd name="connsiteY176" fmla="*/ 941462 h 951513"/>
                  <a:gd name="connsiteX177" fmla="*/ 253660 w 286547"/>
                  <a:gd name="connsiteY177" fmla="*/ 937935 h 951513"/>
                  <a:gd name="connsiteX178" fmla="*/ 247841 w 286547"/>
                  <a:gd name="connsiteY178" fmla="*/ 934761 h 951513"/>
                  <a:gd name="connsiteX179" fmla="*/ 244667 w 286547"/>
                  <a:gd name="connsiteY179" fmla="*/ 930970 h 951513"/>
                  <a:gd name="connsiteX180" fmla="*/ 240876 w 286547"/>
                  <a:gd name="connsiteY180" fmla="*/ 933879 h 951513"/>
                  <a:gd name="connsiteX181" fmla="*/ 235674 w 286547"/>
                  <a:gd name="connsiteY181" fmla="*/ 934144 h 951513"/>
                  <a:gd name="connsiteX182" fmla="*/ 231266 w 286547"/>
                  <a:gd name="connsiteY182" fmla="*/ 931763 h 951513"/>
                  <a:gd name="connsiteX183" fmla="*/ 227210 w 286547"/>
                  <a:gd name="connsiteY183" fmla="*/ 930000 h 951513"/>
                  <a:gd name="connsiteX184" fmla="*/ 223683 w 286547"/>
                  <a:gd name="connsiteY184" fmla="*/ 927972 h 951513"/>
                  <a:gd name="connsiteX185" fmla="*/ 220156 w 286547"/>
                  <a:gd name="connsiteY185" fmla="*/ 925063 h 951513"/>
                  <a:gd name="connsiteX186" fmla="*/ 218657 w 286547"/>
                  <a:gd name="connsiteY186" fmla="*/ 922153 h 951513"/>
                  <a:gd name="connsiteX187" fmla="*/ 211957 w 286547"/>
                  <a:gd name="connsiteY187" fmla="*/ 921536 h 951513"/>
                  <a:gd name="connsiteX188" fmla="*/ 207372 w 286547"/>
                  <a:gd name="connsiteY188" fmla="*/ 919949 h 951513"/>
                  <a:gd name="connsiteX189" fmla="*/ 222272 w 286547"/>
                  <a:gd name="connsiteY189" fmla="*/ 894556 h 951513"/>
                  <a:gd name="connsiteX190" fmla="*/ 224653 w 286547"/>
                  <a:gd name="connsiteY190" fmla="*/ 892264 h 951513"/>
                  <a:gd name="connsiteX191" fmla="*/ 225270 w 286547"/>
                  <a:gd name="connsiteY191" fmla="*/ 899229 h 951513"/>
                  <a:gd name="connsiteX192" fmla="*/ 226416 w 286547"/>
                  <a:gd name="connsiteY192" fmla="*/ 906195 h 951513"/>
                  <a:gd name="connsiteX193" fmla="*/ 223154 w 286547"/>
                  <a:gd name="connsiteY193" fmla="*/ 905313 h 951513"/>
                  <a:gd name="connsiteX194" fmla="*/ 217952 w 286547"/>
                  <a:gd name="connsiteY194" fmla="*/ 904696 h 951513"/>
                  <a:gd name="connsiteX195" fmla="*/ 218834 w 286547"/>
                  <a:gd name="connsiteY195" fmla="*/ 900023 h 951513"/>
                  <a:gd name="connsiteX196" fmla="*/ 218569 w 286547"/>
                  <a:gd name="connsiteY196" fmla="*/ 895350 h 951513"/>
                  <a:gd name="connsiteX197" fmla="*/ 222272 w 286547"/>
                  <a:gd name="connsiteY197" fmla="*/ 894556 h 951513"/>
                  <a:gd name="connsiteX198" fmla="*/ 0 w 286547"/>
                  <a:gd name="connsiteY198" fmla="*/ 21337 h 951513"/>
                  <a:gd name="connsiteX199" fmla="*/ 8111 w 286547"/>
                  <a:gd name="connsiteY199" fmla="*/ 13401 h 951513"/>
                  <a:gd name="connsiteX200" fmla="*/ 13930 w 286547"/>
                  <a:gd name="connsiteY200" fmla="*/ 4320 h 951513"/>
                  <a:gd name="connsiteX201" fmla="*/ 17105 w 286547"/>
                  <a:gd name="connsiteY201" fmla="*/ 0 h 951513"/>
                  <a:gd name="connsiteX202" fmla="*/ 17722 w 286547"/>
                  <a:gd name="connsiteY202" fmla="*/ 3527 h 951513"/>
                  <a:gd name="connsiteX203" fmla="*/ 23894 w 286547"/>
                  <a:gd name="connsiteY203" fmla="*/ 11991 h 951513"/>
                  <a:gd name="connsiteX204" fmla="*/ 28831 w 286547"/>
                  <a:gd name="connsiteY204" fmla="*/ 22218 h 951513"/>
                  <a:gd name="connsiteX205" fmla="*/ 34033 w 286547"/>
                  <a:gd name="connsiteY205" fmla="*/ 34474 h 951513"/>
                  <a:gd name="connsiteX206" fmla="*/ 39588 w 286547"/>
                  <a:gd name="connsiteY206" fmla="*/ 47346 h 951513"/>
                  <a:gd name="connsiteX207" fmla="*/ 41880 w 286547"/>
                  <a:gd name="connsiteY207" fmla="*/ 58456 h 951513"/>
                  <a:gd name="connsiteX208" fmla="*/ 42762 w 286547"/>
                  <a:gd name="connsiteY208" fmla="*/ 68330 h 951513"/>
                  <a:gd name="connsiteX209" fmla="*/ 46817 w 286547"/>
                  <a:gd name="connsiteY209" fmla="*/ 80850 h 951513"/>
                  <a:gd name="connsiteX210" fmla="*/ 54664 w 286547"/>
                  <a:gd name="connsiteY210" fmla="*/ 98925 h 951513"/>
                  <a:gd name="connsiteX211" fmla="*/ 62511 w 286547"/>
                  <a:gd name="connsiteY211" fmla="*/ 117264 h 951513"/>
                  <a:gd name="connsiteX212" fmla="*/ 72739 w 286547"/>
                  <a:gd name="connsiteY212" fmla="*/ 134545 h 951513"/>
                  <a:gd name="connsiteX213" fmla="*/ 81203 w 286547"/>
                  <a:gd name="connsiteY213" fmla="*/ 132517 h 951513"/>
                  <a:gd name="connsiteX214" fmla="*/ 85611 w 286547"/>
                  <a:gd name="connsiteY214" fmla="*/ 137190 h 951513"/>
                  <a:gd name="connsiteX215" fmla="*/ 59954 w 286547"/>
                  <a:gd name="connsiteY215" fmla="*/ 185065 h 951513"/>
                  <a:gd name="connsiteX216" fmla="*/ 63746 w 286547"/>
                  <a:gd name="connsiteY216" fmla="*/ 215660 h 951513"/>
                  <a:gd name="connsiteX217" fmla="*/ 62247 w 286547"/>
                  <a:gd name="connsiteY217" fmla="*/ 242816 h 951513"/>
                  <a:gd name="connsiteX218" fmla="*/ 52901 w 286547"/>
                  <a:gd name="connsiteY218" fmla="*/ 262653 h 951513"/>
                  <a:gd name="connsiteX219" fmla="*/ 46465 w 286547"/>
                  <a:gd name="connsiteY219" fmla="*/ 286018 h 951513"/>
                  <a:gd name="connsiteX220" fmla="*/ 47611 w 286547"/>
                  <a:gd name="connsiteY220" fmla="*/ 310265 h 951513"/>
                  <a:gd name="connsiteX221" fmla="*/ 45583 w 286547"/>
                  <a:gd name="connsiteY221" fmla="*/ 329221 h 951513"/>
                  <a:gd name="connsiteX222" fmla="*/ 45319 w 286547"/>
                  <a:gd name="connsiteY222" fmla="*/ 350205 h 951513"/>
                  <a:gd name="connsiteX223" fmla="*/ 52901 w 286547"/>
                  <a:gd name="connsiteY223" fmla="*/ 369161 h 951513"/>
                  <a:gd name="connsiteX224" fmla="*/ 61982 w 286547"/>
                  <a:gd name="connsiteY224" fmla="*/ 387853 h 951513"/>
                  <a:gd name="connsiteX225" fmla="*/ 68948 w 286547"/>
                  <a:gd name="connsiteY225" fmla="*/ 405310 h 951513"/>
                  <a:gd name="connsiteX226" fmla="*/ 68330 w 286547"/>
                  <a:gd name="connsiteY226" fmla="*/ 424883 h 951513"/>
                  <a:gd name="connsiteX227" fmla="*/ 67449 w 286547"/>
                  <a:gd name="connsiteY227" fmla="*/ 447366 h 951513"/>
                  <a:gd name="connsiteX228" fmla="*/ 68330 w 286547"/>
                  <a:gd name="connsiteY228" fmla="*/ 465176 h 951513"/>
                  <a:gd name="connsiteX229" fmla="*/ 62776 w 286547"/>
                  <a:gd name="connsiteY229" fmla="*/ 478049 h 951513"/>
                  <a:gd name="connsiteX230" fmla="*/ 64804 w 286547"/>
                  <a:gd name="connsiteY230" fmla="*/ 494360 h 951513"/>
                  <a:gd name="connsiteX231" fmla="*/ 74150 w 286547"/>
                  <a:gd name="connsiteY231" fmla="*/ 520634 h 951513"/>
                  <a:gd name="connsiteX232" fmla="*/ 72739 w 286547"/>
                  <a:gd name="connsiteY232" fmla="*/ 542236 h 951513"/>
                  <a:gd name="connsiteX233" fmla="*/ 71593 w 286547"/>
                  <a:gd name="connsiteY233" fmla="*/ 558547 h 951513"/>
                  <a:gd name="connsiteX234" fmla="*/ 73973 w 286547"/>
                  <a:gd name="connsiteY234" fmla="*/ 574858 h 951513"/>
                  <a:gd name="connsiteX235" fmla="*/ 80057 w 286547"/>
                  <a:gd name="connsiteY235" fmla="*/ 598487 h 951513"/>
                  <a:gd name="connsiteX236" fmla="*/ 83848 w 286547"/>
                  <a:gd name="connsiteY236" fmla="*/ 617443 h 951513"/>
                  <a:gd name="connsiteX237" fmla="*/ 90813 w 286547"/>
                  <a:gd name="connsiteY237" fmla="*/ 637281 h 951513"/>
                  <a:gd name="connsiteX238" fmla="*/ 99278 w 286547"/>
                  <a:gd name="connsiteY238" fmla="*/ 653063 h 951513"/>
                  <a:gd name="connsiteX239" fmla="*/ 109152 w 286547"/>
                  <a:gd name="connsiteY239" fmla="*/ 668228 h 951513"/>
                  <a:gd name="connsiteX240" fmla="*/ 111445 w 286547"/>
                  <a:gd name="connsiteY240" fmla="*/ 678191 h 951513"/>
                  <a:gd name="connsiteX241" fmla="*/ 115853 w 286547"/>
                  <a:gd name="connsiteY241" fmla="*/ 690447 h 951513"/>
                  <a:gd name="connsiteX242" fmla="*/ 119027 w 286547"/>
                  <a:gd name="connsiteY242" fmla="*/ 706758 h 951513"/>
                  <a:gd name="connsiteX243" fmla="*/ 123965 w 286547"/>
                  <a:gd name="connsiteY243" fmla="*/ 726331 h 951513"/>
                  <a:gd name="connsiteX244" fmla="*/ 123700 w 286547"/>
                  <a:gd name="connsiteY244" fmla="*/ 741761 h 951513"/>
                  <a:gd name="connsiteX245" fmla="*/ 124846 w 286547"/>
                  <a:gd name="connsiteY245" fmla="*/ 763626 h 951513"/>
                  <a:gd name="connsiteX246" fmla="*/ 121055 w 286547"/>
                  <a:gd name="connsiteY246" fmla="*/ 788137 h 951513"/>
                  <a:gd name="connsiteX247" fmla="*/ 129255 w 286547"/>
                  <a:gd name="connsiteY247" fmla="*/ 811149 h 951513"/>
                  <a:gd name="connsiteX248" fmla="*/ 150239 w 286547"/>
                  <a:gd name="connsiteY248" fmla="*/ 826314 h 951513"/>
                  <a:gd name="connsiteX249" fmla="*/ 168931 w 286547"/>
                  <a:gd name="connsiteY249" fmla="*/ 844389 h 951513"/>
                  <a:gd name="connsiteX250" fmla="*/ 241846 w 286547"/>
                  <a:gd name="connsiteY250" fmla="*/ 863080 h 951513"/>
                  <a:gd name="connsiteX251" fmla="*/ 240964 w 286547"/>
                  <a:gd name="connsiteY251" fmla="*/ 863609 h 951513"/>
                  <a:gd name="connsiteX252" fmla="*/ 237790 w 286547"/>
                  <a:gd name="connsiteY252" fmla="*/ 864755 h 951513"/>
                  <a:gd name="connsiteX253" fmla="*/ 235762 w 286547"/>
                  <a:gd name="connsiteY253" fmla="*/ 863874 h 951513"/>
                  <a:gd name="connsiteX254" fmla="*/ 231354 w 286547"/>
                  <a:gd name="connsiteY254" fmla="*/ 863874 h 951513"/>
                  <a:gd name="connsiteX255" fmla="*/ 228973 w 286547"/>
                  <a:gd name="connsiteY255" fmla="*/ 862728 h 951513"/>
                  <a:gd name="connsiteX256" fmla="*/ 224917 w 286547"/>
                  <a:gd name="connsiteY256" fmla="*/ 864138 h 951513"/>
                  <a:gd name="connsiteX257" fmla="*/ 222625 w 286547"/>
                  <a:gd name="connsiteY257" fmla="*/ 865284 h 951513"/>
                  <a:gd name="connsiteX258" fmla="*/ 225270 w 286547"/>
                  <a:gd name="connsiteY258" fmla="*/ 866783 h 951513"/>
                  <a:gd name="connsiteX259" fmla="*/ 224124 w 286547"/>
                  <a:gd name="connsiteY259" fmla="*/ 867930 h 951513"/>
                  <a:gd name="connsiteX260" fmla="*/ 221214 w 286547"/>
                  <a:gd name="connsiteY260" fmla="*/ 868547 h 951513"/>
                  <a:gd name="connsiteX261" fmla="*/ 218305 w 286547"/>
                  <a:gd name="connsiteY261" fmla="*/ 869164 h 951513"/>
                  <a:gd name="connsiteX262" fmla="*/ 218305 w 286547"/>
                  <a:gd name="connsiteY262" fmla="*/ 871809 h 951513"/>
                  <a:gd name="connsiteX263" fmla="*/ 213632 w 286547"/>
                  <a:gd name="connsiteY263" fmla="*/ 871809 h 951513"/>
                  <a:gd name="connsiteX264" fmla="*/ 212486 w 286547"/>
                  <a:gd name="connsiteY264" fmla="*/ 871192 h 951513"/>
                  <a:gd name="connsiteX265" fmla="*/ 210987 w 286547"/>
                  <a:gd name="connsiteY265" fmla="*/ 872690 h 951513"/>
                  <a:gd name="connsiteX266" fmla="*/ 209224 w 286547"/>
                  <a:gd name="connsiteY266" fmla="*/ 872690 h 951513"/>
                  <a:gd name="connsiteX267" fmla="*/ 207813 w 286547"/>
                  <a:gd name="connsiteY267" fmla="*/ 872955 h 951513"/>
                  <a:gd name="connsiteX268" fmla="*/ 206667 w 286547"/>
                  <a:gd name="connsiteY268" fmla="*/ 873572 h 951513"/>
                  <a:gd name="connsiteX269" fmla="*/ 206931 w 286547"/>
                  <a:gd name="connsiteY269" fmla="*/ 877099 h 951513"/>
                  <a:gd name="connsiteX270" fmla="*/ 206049 w 286547"/>
                  <a:gd name="connsiteY270" fmla="*/ 878862 h 951513"/>
                  <a:gd name="connsiteX271" fmla="*/ 206314 w 286547"/>
                  <a:gd name="connsiteY271" fmla="*/ 880009 h 951513"/>
                  <a:gd name="connsiteX272" fmla="*/ 207725 w 286547"/>
                  <a:gd name="connsiteY272" fmla="*/ 882918 h 951513"/>
                  <a:gd name="connsiteX273" fmla="*/ 208871 w 286547"/>
                  <a:gd name="connsiteY273" fmla="*/ 884064 h 951513"/>
                  <a:gd name="connsiteX274" fmla="*/ 207989 w 286547"/>
                  <a:gd name="connsiteY274" fmla="*/ 885211 h 951513"/>
                  <a:gd name="connsiteX275" fmla="*/ 209135 w 286547"/>
                  <a:gd name="connsiteY275" fmla="*/ 887591 h 951513"/>
                  <a:gd name="connsiteX276" fmla="*/ 209400 w 286547"/>
                  <a:gd name="connsiteY276" fmla="*/ 889619 h 951513"/>
                  <a:gd name="connsiteX277" fmla="*/ 210017 w 286547"/>
                  <a:gd name="connsiteY277" fmla="*/ 890501 h 951513"/>
                  <a:gd name="connsiteX278" fmla="*/ 209135 w 286547"/>
                  <a:gd name="connsiteY278" fmla="*/ 892528 h 951513"/>
                  <a:gd name="connsiteX279" fmla="*/ 211780 w 286547"/>
                  <a:gd name="connsiteY279" fmla="*/ 894556 h 951513"/>
                  <a:gd name="connsiteX280" fmla="*/ 212398 w 286547"/>
                  <a:gd name="connsiteY280" fmla="*/ 897201 h 951513"/>
                  <a:gd name="connsiteX281" fmla="*/ 213279 w 286547"/>
                  <a:gd name="connsiteY281" fmla="*/ 900728 h 951513"/>
                  <a:gd name="connsiteX282" fmla="*/ 212133 w 286547"/>
                  <a:gd name="connsiteY282" fmla="*/ 902756 h 951513"/>
                  <a:gd name="connsiteX283" fmla="*/ 204815 w 286547"/>
                  <a:gd name="connsiteY283" fmla="*/ 895174 h 951513"/>
                  <a:gd name="connsiteX284" fmla="*/ 202170 w 286547"/>
                  <a:gd name="connsiteY284" fmla="*/ 893410 h 951513"/>
                  <a:gd name="connsiteX285" fmla="*/ 200407 w 286547"/>
                  <a:gd name="connsiteY285" fmla="*/ 891030 h 951513"/>
                  <a:gd name="connsiteX286" fmla="*/ 198114 w 286547"/>
                  <a:gd name="connsiteY286" fmla="*/ 891030 h 951513"/>
                  <a:gd name="connsiteX287" fmla="*/ 195205 w 286547"/>
                  <a:gd name="connsiteY287" fmla="*/ 893410 h 951513"/>
                  <a:gd name="connsiteX288" fmla="*/ 189121 w 286547"/>
                  <a:gd name="connsiteY288" fmla="*/ 891382 h 951513"/>
                  <a:gd name="connsiteX289" fmla="*/ 182949 w 286547"/>
                  <a:gd name="connsiteY289" fmla="*/ 887855 h 951513"/>
                  <a:gd name="connsiteX290" fmla="*/ 182685 w 286547"/>
                  <a:gd name="connsiteY290" fmla="*/ 885828 h 951513"/>
                  <a:gd name="connsiteX291" fmla="*/ 185594 w 286547"/>
                  <a:gd name="connsiteY291" fmla="*/ 886092 h 951513"/>
                  <a:gd name="connsiteX292" fmla="*/ 188504 w 286547"/>
                  <a:gd name="connsiteY292" fmla="*/ 885475 h 951513"/>
                  <a:gd name="connsiteX293" fmla="*/ 191149 w 286547"/>
                  <a:gd name="connsiteY293" fmla="*/ 881684 h 951513"/>
                  <a:gd name="connsiteX294" fmla="*/ 190532 w 286547"/>
                  <a:gd name="connsiteY294" fmla="*/ 877275 h 951513"/>
                  <a:gd name="connsiteX295" fmla="*/ 185330 w 286547"/>
                  <a:gd name="connsiteY295" fmla="*/ 876394 h 951513"/>
                  <a:gd name="connsiteX296" fmla="*/ 179246 w 286547"/>
                  <a:gd name="connsiteY296" fmla="*/ 878510 h 951513"/>
                  <a:gd name="connsiteX297" fmla="*/ 176601 w 286547"/>
                  <a:gd name="connsiteY297" fmla="*/ 880538 h 951513"/>
                  <a:gd name="connsiteX298" fmla="*/ 176337 w 286547"/>
                  <a:gd name="connsiteY298" fmla="*/ 882301 h 951513"/>
                  <a:gd name="connsiteX299" fmla="*/ 175720 w 286547"/>
                  <a:gd name="connsiteY299" fmla="*/ 884682 h 951513"/>
                  <a:gd name="connsiteX300" fmla="*/ 174838 w 286547"/>
                  <a:gd name="connsiteY300" fmla="*/ 886709 h 951513"/>
                  <a:gd name="connsiteX301" fmla="*/ 171928 w 286547"/>
                  <a:gd name="connsiteY301" fmla="*/ 886709 h 951513"/>
                  <a:gd name="connsiteX302" fmla="*/ 167520 w 286547"/>
                  <a:gd name="connsiteY302" fmla="*/ 884682 h 951513"/>
                  <a:gd name="connsiteX303" fmla="*/ 166374 w 286547"/>
                  <a:gd name="connsiteY303" fmla="*/ 882654 h 951513"/>
                  <a:gd name="connsiteX304" fmla="*/ 167873 w 286547"/>
                  <a:gd name="connsiteY304" fmla="*/ 881243 h 951513"/>
                  <a:gd name="connsiteX305" fmla="*/ 163200 w 286547"/>
                  <a:gd name="connsiteY305" fmla="*/ 878333 h 951513"/>
                  <a:gd name="connsiteX306" fmla="*/ 166991 w 286547"/>
                  <a:gd name="connsiteY306" fmla="*/ 874807 h 951513"/>
                  <a:gd name="connsiteX307" fmla="*/ 170165 w 286547"/>
                  <a:gd name="connsiteY307" fmla="*/ 872161 h 951513"/>
                  <a:gd name="connsiteX308" fmla="*/ 175720 w 286547"/>
                  <a:gd name="connsiteY308" fmla="*/ 870398 h 951513"/>
                  <a:gd name="connsiteX309" fmla="*/ 177747 w 286547"/>
                  <a:gd name="connsiteY309" fmla="*/ 868370 h 951513"/>
                  <a:gd name="connsiteX310" fmla="*/ 174221 w 286547"/>
                  <a:gd name="connsiteY310" fmla="*/ 867224 h 951513"/>
                  <a:gd name="connsiteX311" fmla="*/ 167520 w 286547"/>
                  <a:gd name="connsiteY311" fmla="*/ 866960 h 951513"/>
                  <a:gd name="connsiteX312" fmla="*/ 163464 w 286547"/>
                  <a:gd name="connsiteY312" fmla="*/ 867841 h 951513"/>
                  <a:gd name="connsiteX313" fmla="*/ 162318 w 286547"/>
                  <a:gd name="connsiteY313" fmla="*/ 870751 h 951513"/>
                  <a:gd name="connsiteX314" fmla="*/ 162053 w 286547"/>
                  <a:gd name="connsiteY314" fmla="*/ 874895 h 951513"/>
                  <a:gd name="connsiteX315" fmla="*/ 160290 w 286547"/>
                  <a:gd name="connsiteY315" fmla="*/ 877452 h 951513"/>
                  <a:gd name="connsiteX316" fmla="*/ 157998 w 286547"/>
                  <a:gd name="connsiteY316" fmla="*/ 877452 h 951513"/>
                  <a:gd name="connsiteX317" fmla="*/ 156234 w 286547"/>
                  <a:gd name="connsiteY317" fmla="*/ 875688 h 951513"/>
                  <a:gd name="connsiteX318" fmla="*/ 154735 w 286547"/>
                  <a:gd name="connsiteY318" fmla="*/ 873925 h 951513"/>
                  <a:gd name="connsiteX319" fmla="*/ 154118 w 286547"/>
                  <a:gd name="connsiteY319" fmla="*/ 871545 h 951513"/>
                  <a:gd name="connsiteX320" fmla="*/ 152090 w 286547"/>
                  <a:gd name="connsiteY320" fmla="*/ 875071 h 951513"/>
                  <a:gd name="connsiteX321" fmla="*/ 150944 w 286547"/>
                  <a:gd name="connsiteY321" fmla="*/ 873572 h 951513"/>
                  <a:gd name="connsiteX322" fmla="*/ 148916 w 286547"/>
                  <a:gd name="connsiteY322" fmla="*/ 872074 h 951513"/>
                  <a:gd name="connsiteX323" fmla="*/ 151561 w 286547"/>
                  <a:gd name="connsiteY323" fmla="*/ 868282 h 951513"/>
                  <a:gd name="connsiteX324" fmla="*/ 148916 w 286547"/>
                  <a:gd name="connsiteY324" fmla="*/ 869164 h 951513"/>
                  <a:gd name="connsiteX325" fmla="*/ 147417 w 286547"/>
                  <a:gd name="connsiteY325" fmla="*/ 867665 h 951513"/>
                  <a:gd name="connsiteX326" fmla="*/ 143097 w 286547"/>
                  <a:gd name="connsiteY326" fmla="*/ 864755 h 951513"/>
                  <a:gd name="connsiteX327" fmla="*/ 140188 w 286547"/>
                  <a:gd name="connsiteY327" fmla="*/ 861581 h 951513"/>
                  <a:gd name="connsiteX328" fmla="*/ 138424 w 286547"/>
                  <a:gd name="connsiteY328" fmla="*/ 856909 h 951513"/>
                  <a:gd name="connsiteX329" fmla="*/ 142216 w 286547"/>
                  <a:gd name="connsiteY329" fmla="*/ 856291 h 951513"/>
                  <a:gd name="connsiteX330" fmla="*/ 150680 w 286547"/>
                  <a:gd name="connsiteY330" fmla="*/ 857173 h 951513"/>
                  <a:gd name="connsiteX331" fmla="*/ 154735 w 286547"/>
                  <a:gd name="connsiteY331" fmla="*/ 856909 h 951513"/>
                  <a:gd name="connsiteX332" fmla="*/ 156499 w 286547"/>
                  <a:gd name="connsiteY332" fmla="*/ 856291 h 951513"/>
                  <a:gd name="connsiteX333" fmla="*/ 158527 w 286547"/>
                  <a:gd name="connsiteY333" fmla="*/ 857173 h 951513"/>
                  <a:gd name="connsiteX334" fmla="*/ 160819 w 286547"/>
                  <a:gd name="connsiteY334" fmla="*/ 860082 h 951513"/>
                  <a:gd name="connsiteX335" fmla="*/ 161965 w 286547"/>
                  <a:gd name="connsiteY335" fmla="*/ 861581 h 951513"/>
                  <a:gd name="connsiteX336" fmla="*/ 161613 w 286547"/>
                  <a:gd name="connsiteY336" fmla="*/ 858055 h 951513"/>
                  <a:gd name="connsiteX337" fmla="*/ 158086 w 286547"/>
                  <a:gd name="connsiteY337" fmla="*/ 851089 h 951513"/>
                  <a:gd name="connsiteX338" fmla="*/ 151650 w 286547"/>
                  <a:gd name="connsiteY338" fmla="*/ 844917 h 951513"/>
                  <a:gd name="connsiteX339" fmla="*/ 147594 w 286547"/>
                  <a:gd name="connsiteY339" fmla="*/ 842537 h 951513"/>
                  <a:gd name="connsiteX340" fmla="*/ 149357 w 286547"/>
                  <a:gd name="connsiteY340" fmla="*/ 844036 h 951513"/>
                  <a:gd name="connsiteX341" fmla="*/ 151385 w 286547"/>
                  <a:gd name="connsiteY341" fmla="*/ 846328 h 951513"/>
                  <a:gd name="connsiteX342" fmla="*/ 149357 w 286547"/>
                  <a:gd name="connsiteY342" fmla="*/ 846681 h 951513"/>
                  <a:gd name="connsiteX343" fmla="*/ 146712 w 286547"/>
                  <a:gd name="connsiteY343" fmla="*/ 846328 h 951513"/>
                  <a:gd name="connsiteX344" fmla="*/ 147594 w 286547"/>
                  <a:gd name="connsiteY344" fmla="*/ 848092 h 951513"/>
                  <a:gd name="connsiteX345" fmla="*/ 148211 w 286547"/>
                  <a:gd name="connsiteY345" fmla="*/ 850384 h 951513"/>
                  <a:gd name="connsiteX346" fmla="*/ 146712 w 286547"/>
                  <a:gd name="connsiteY346" fmla="*/ 852147 h 951513"/>
                  <a:gd name="connsiteX347" fmla="*/ 144067 w 286547"/>
                  <a:gd name="connsiteY347" fmla="*/ 852412 h 951513"/>
                  <a:gd name="connsiteX348" fmla="*/ 142039 w 286547"/>
                  <a:gd name="connsiteY348" fmla="*/ 851795 h 951513"/>
                  <a:gd name="connsiteX349" fmla="*/ 140540 w 286547"/>
                  <a:gd name="connsiteY349" fmla="*/ 850031 h 951513"/>
                  <a:gd name="connsiteX350" fmla="*/ 134457 w 286547"/>
                  <a:gd name="connsiteY350" fmla="*/ 848885 h 951513"/>
                  <a:gd name="connsiteX351" fmla="*/ 134721 w 286547"/>
                  <a:gd name="connsiteY351" fmla="*/ 844830 h 951513"/>
                  <a:gd name="connsiteX352" fmla="*/ 132693 w 286547"/>
                  <a:gd name="connsiteY352" fmla="*/ 842449 h 951513"/>
                  <a:gd name="connsiteX353" fmla="*/ 132958 w 286547"/>
                  <a:gd name="connsiteY353" fmla="*/ 840950 h 951513"/>
                  <a:gd name="connsiteX354" fmla="*/ 132958 w 286547"/>
                  <a:gd name="connsiteY354" fmla="*/ 838922 h 951513"/>
                  <a:gd name="connsiteX355" fmla="*/ 128549 w 286547"/>
                  <a:gd name="connsiteY355" fmla="*/ 837247 h 951513"/>
                  <a:gd name="connsiteX356" fmla="*/ 122466 w 286547"/>
                  <a:gd name="connsiteY356" fmla="*/ 836101 h 951513"/>
                  <a:gd name="connsiteX357" fmla="*/ 124494 w 286547"/>
                  <a:gd name="connsiteY357" fmla="*/ 831428 h 951513"/>
                  <a:gd name="connsiteX358" fmla="*/ 123347 w 286547"/>
                  <a:gd name="connsiteY358" fmla="*/ 829047 h 951513"/>
                  <a:gd name="connsiteX359" fmla="*/ 123347 w 286547"/>
                  <a:gd name="connsiteY359" fmla="*/ 826138 h 951513"/>
                  <a:gd name="connsiteX360" fmla="*/ 125375 w 286547"/>
                  <a:gd name="connsiteY360" fmla="*/ 823493 h 951513"/>
                  <a:gd name="connsiteX361" fmla="*/ 125640 w 286547"/>
                  <a:gd name="connsiteY361" fmla="*/ 820583 h 951513"/>
                  <a:gd name="connsiteX362" fmla="*/ 123876 w 286547"/>
                  <a:gd name="connsiteY362" fmla="*/ 819966 h 951513"/>
                  <a:gd name="connsiteX363" fmla="*/ 120614 w 286547"/>
                  <a:gd name="connsiteY363" fmla="*/ 820848 h 951513"/>
                  <a:gd name="connsiteX364" fmla="*/ 117088 w 286547"/>
                  <a:gd name="connsiteY364" fmla="*/ 820583 h 951513"/>
                  <a:gd name="connsiteX365" fmla="*/ 115941 w 286547"/>
                  <a:gd name="connsiteY365" fmla="*/ 818202 h 951513"/>
                  <a:gd name="connsiteX366" fmla="*/ 115324 w 286547"/>
                  <a:gd name="connsiteY366" fmla="*/ 816439 h 951513"/>
                  <a:gd name="connsiteX367" fmla="*/ 112679 w 286547"/>
                  <a:gd name="connsiteY367" fmla="*/ 814676 h 951513"/>
                  <a:gd name="connsiteX368" fmla="*/ 108271 w 286547"/>
                  <a:gd name="connsiteY368" fmla="*/ 812648 h 951513"/>
                  <a:gd name="connsiteX369" fmla="*/ 104215 w 286547"/>
                  <a:gd name="connsiteY369" fmla="*/ 813794 h 951513"/>
                  <a:gd name="connsiteX370" fmla="*/ 96897 w 286547"/>
                  <a:gd name="connsiteY370" fmla="*/ 810885 h 951513"/>
                  <a:gd name="connsiteX371" fmla="*/ 96897 w 286547"/>
                  <a:gd name="connsiteY371" fmla="*/ 814940 h 951513"/>
                  <a:gd name="connsiteX372" fmla="*/ 99278 w 286547"/>
                  <a:gd name="connsiteY372" fmla="*/ 810885 h 951513"/>
                  <a:gd name="connsiteX373" fmla="*/ 98396 w 286547"/>
                  <a:gd name="connsiteY373" fmla="*/ 807975 h 951513"/>
                  <a:gd name="connsiteX374" fmla="*/ 102804 w 286547"/>
                  <a:gd name="connsiteY374" fmla="*/ 806741 h 951513"/>
                  <a:gd name="connsiteX375" fmla="*/ 109241 w 286547"/>
                  <a:gd name="connsiteY375" fmla="*/ 809386 h 951513"/>
                  <a:gd name="connsiteX376" fmla="*/ 112150 w 286547"/>
                  <a:gd name="connsiteY376" fmla="*/ 810003 h 951513"/>
                  <a:gd name="connsiteX377" fmla="*/ 111268 w 286547"/>
                  <a:gd name="connsiteY377" fmla="*/ 808504 h 951513"/>
                  <a:gd name="connsiteX378" fmla="*/ 110122 w 286547"/>
                  <a:gd name="connsiteY378" fmla="*/ 806123 h 951513"/>
                  <a:gd name="connsiteX379" fmla="*/ 107742 w 286547"/>
                  <a:gd name="connsiteY379" fmla="*/ 804713 h 951513"/>
                  <a:gd name="connsiteX380" fmla="*/ 106331 w 286547"/>
                  <a:gd name="connsiteY380" fmla="*/ 804977 h 951513"/>
                  <a:gd name="connsiteX381" fmla="*/ 104303 w 286547"/>
                  <a:gd name="connsiteY381" fmla="*/ 800922 h 951513"/>
                  <a:gd name="connsiteX382" fmla="*/ 105185 w 286547"/>
                  <a:gd name="connsiteY382" fmla="*/ 802068 h 951513"/>
                  <a:gd name="connsiteX383" fmla="*/ 97338 w 286547"/>
                  <a:gd name="connsiteY383" fmla="*/ 802950 h 951513"/>
                  <a:gd name="connsiteX384" fmla="*/ 94428 w 286547"/>
                  <a:gd name="connsiteY384" fmla="*/ 800569 h 951513"/>
                  <a:gd name="connsiteX385" fmla="*/ 90637 w 286547"/>
                  <a:gd name="connsiteY385" fmla="*/ 799687 h 951513"/>
                  <a:gd name="connsiteX386" fmla="*/ 88874 w 286547"/>
                  <a:gd name="connsiteY386" fmla="*/ 795631 h 951513"/>
                  <a:gd name="connsiteX387" fmla="*/ 90373 w 286547"/>
                  <a:gd name="connsiteY387" fmla="*/ 793251 h 951513"/>
                  <a:gd name="connsiteX388" fmla="*/ 90373 w 286547"/>
                  <a:gd name="connsiteY388" fmla="*/ 790077 h 951513"/>
                  <a:gd name="connsiteX389" fmla="*/ 87728 w 286547"/>
                  <a:gd name="connsiteY389" fmla="*/ 789195 h 951513"/>
                  <a:gd name="connsiteX390" fmla="*/ 83319 w 286547"/>
                  <a:gd name="connsiteY390" fmla="*/ 787432 h 951513"/>
                  <a:gd name="connsiteX391" fmla="*/ 85347 w 286547"/>
                  <a:gd name="connsiteY391" fmla="*/ 784170 h 951513"/>
                  <a:gd name="connsiteX392" fmla="*/ 82437 w 286547"/>
                  <a:gd name="connsiteY392" fmla="*/ 783905 h 951513"/>
                  <a:gd name="connsiteX393" fmla="*/ 83936 w 286547"/>
                  <a:gd name="connsiteY393" fmla="*/ 779849 h 951513"/>
                  <a:gd name="connsiteX394" fmla="*/ 80410 w 286547"/>
                  <a:gd name="connsiteY394" fmla="*/ 778086 h 951513"/>
                  <a:gd name="connsiteX395" fmla="*/ 82173 w 286547"/>
                  <a:gd name="connsiteY395" fmla="*/ 775176 h 951513"/>
                  <a:gd name="connsiteX396" fmla="*/ 80674 w 286547"/>
                  <a:gd name="connsiteY396" fmla="*/ 772002 h 951513"/>
                  <a:gd name="connsiteX397" fmla="*/ 77764 w 286547"/>
                  <a:gd name="connsiteY397" fmla="*/ 772002 h 951513"/>
                  <a:gd name="connsiteX398" fmla="*/ 73709 w 286547"/>
                  <a:gd name="connsiteY398" fmla="*/ 770856 h 951513"/>
                  <a:gd name="connsiteX399" fmla="*/ 75472 w 286547"/>
                  <a:gd name="connsiteY399" fmla="*/ 767065 h 951513"/>
                  <a:gd name="connsiteX400" fmla="*/ 74326 w 286547"/>
                  <a:gd name="connsiteY400" fmla="*/ 766536 h 951513"/>
                  <a:gd name="connsiteX401" fmla="*/ 75472 w 286547"/>
                  <a:gd name="connsiteY401" fmla="*/ 764508 h 951513"/>
                  <a:gd name="connsiteX402" fmla="*/ 74326 w 286547"/>
                  <a:gd name="connsiteY402" fmla="*/ 760100 h 951513"/>
                  <a:gd name="connsiteX403" fmla="*/ 72563 w 286547"/>
                  <a:gd name="connsiteY403" fmla="*/ 755162 h 951513"/>
                  <a:gd name="connsiteX404" fmla="*/ 76618 w 286547"/>
                  <a:gd name="connsiteY404" fmla="*/ 756926 h 951513"/>
                  <a:gd name="connsiteX405" fmla="*/ 80145 w 286547"/>
                  <a:gd name="connsiteY405" fmla="*/ 756044 h 951513"/>
                  <a:gd name="connsiteX406" fmla="*/ 77500 w 286547"/>
                  <a:gd name="connsiteY406" fmla="*/ 754280 h 951513"/>
                  <a:gd name="connsiteX407" fmla="*/ 82790 w 286547"/>
                  <a:gd name="connsiteY407" fmla="*/ 754280 h 951513"/>
                  <a:gd name="connsiteX408" fmla="*/ 84201 w 286547"/>
                  <a:gd name="connsiteY408" fmla="*/ 753663 h 951513"/>
                  <a:gd name="connsiteX409" fmla="*/ 83319 w 286547"/>
                  <a:gd name="connsiteY409" fmla="*/ 750136 h 951513"/>
                  <a:gd name="connsiteX410" fmla="*/ 80410 w 286547"/>
                  <a:gd name="connsiteY410" fmla="*/ 748638 h 951513"/>
                  <a:gd name="connsiteX411" fmla="*/ 80939 w 286547"/>
                  <a:gd name="connsiteY411" fmla="*/ 747756 h 951513"/>
                  <a:gd name="connsiteX412" fmla="*/ 83584 w 286547"/>
                  <a:gd name="connsiteY412" fmla="*/ 748373 h 951513"/>
                  <a:gd name="connsiteX413" fmla="*/ 85611 w 286547"/>
                  <a:gd name="connsiteY413" fmla="*/ 748373 h 951513"/>
                  <a:gd name="connsiteX414" fmla="*/ 85347 w 286547"/>
                  <a:gd name="connsiteY414" fmla="*/ 746874 h 951513"/>
                  <a:gd name="connsiteX415" fmla="*/ 88257 w 286547"/>
                  <a:gd name="connsiteY415" fmla="*/ 744846 h 951513"/>
                  <a:gd name="connsiteX416" fmla="*/ 90020 w 286547"/>
                  <a:gd name="connsiteY416" fmla="*/ 743965 h 951513"/>
                  <a:gd name="connsiteX417" fmla="*/ 90549 w 286547"/>
                  <a:gd name="connsiteY417" fmla="*/ 740173 h 951513"/>
                  <a:gd name="connsiteX418" fmla="*/ 89667 w 286547"/>
                  <a:gd name="connsiteY418" fmla="*/ 738146 h 951513"/>
                  <a:gd name="connsiteX419" fmla="*/ 91166 w 286547"/>
                  <a:gd name="connsiteY419" fmla="*/ 734972 h 951513"/>
                  <a:gd name="connsiteX420" fmla="*/ 87639 w 286547"/>
                  <a:gd name="connsiteY420" fmla="*/ 733208 h 951513"/>
                  <a:gd name="connsiteX421" fmla="*/ 84113 w 286547"/>
                  <a:gd name="connsiteY421" fmla="*/ 733561 h 951513"/>
                  <a:gd name="connsiteX422" fmla="*/ 82966 w 286547"/>
                  <a:gd name="connsiteY422" fmla="*/ 735853 h 951513"/>
                  <a:gd name="connsiteX423" fmla="*/ 81556 w 286547"/>
                  <a:gd name="connsiteY423" fmla="*/ 733208 h 951513"/>
                  <a:gd name="connsiteX424" fmla="*/ 79792 w 286547"/>
                  <a:gd name="connsiteY424" fmla="*/ 731445 h 951513"/>
                  <a:gd name="connsiteX425" fmla="*/ 77500 w 286547"/>
                  <a:gd name="connsiteY425" fmla="*/ 730299 h 951513"/>
                  <a:gd name="connsiteX426" fmla="*/ 73973 w 286547"/>
                  <a:gd name="connsiteY426" fmla="*/ 728271 h 951513"/>
                  <a:gd name="connsiteX427" fmla="*/ 69565 w 286547"/>
                  <a:gd name="connsiteY427" fmla="*/ 727389 h 951513"/>
                  <a:gd name="connsiteX428" fmla="*/ 63393 w 286547"/>
                  <a:gd name="connsiteY428" fmla="*/ 728888 h 951513"/>
                  <a:gd name="connsiteX429" fmla="*/ 61101 w 286547"/>
                  <a:gd name="connsiteY429" fmla="*/ 728623 h 951513"/>
                  <a:gd name="connsiteX430" fmla="*/ 58808 w 286547"/>
                  <a:gd name="connsiteY430" fmla="*/ 731180 h 951513"/>
                  <a:gd name="connsiteX431" fmla="*/ 57309 w 286547"/>
                  <a:gd name="connsiteY431" fmla="*/ 722452 h 951513"/>
                  <a:gd name="connsiteX432" fmla="*/ 57309 w 286547"/>
                  <a:gd name="connsiteY432" fmla="*/ 723333 h 951513"/>
                  <a:gd name="connsiteX433" fmla="*/ 53254 w 286547"/>
                  <a:gd name="connsiteY433" fmla="*/ 725361 h 951513"/>
                  <a:gd name="connsiteX434" fmla="*/ 53518 w 286547"/>
                  <a:gd name="connsiteY434" fmla="*/ 727125 h 951513"/>
                  <a:gd name="connsiteX435" fmla="*/ 52989 w 286547"/>
                  <a:gd name="connsiteY435" fmla="*/ 726860 h 951513"/>
                  <a:gd name="connsiteX436" fmla="*/ 57398 w 286547"/>
                  <a:gd name="connsiteY436" fmla="*/ 719542 h 951513"/>
                  <a:gd name="connsiteX437" fmla="*/ 63481 w 286547"/>
                  <a:gd name="connsiteY437" fmla="*/ 720159 h 951513"/>
                  <a:gd name="connsiteX438" fmla="*/ 67890 w 286547"/>
                  <a:gd name="connsiteY438" fmla="*/ 715751 h 951513"/>
                  <a:gd name="connsiteX439" fmla="*/ 64098 w 286547"/>
                  <a:gd name="connsiteY439" fmla="*/ 713458 h 951513"/>
                  <a:gd name="connsiteX440" fmla="*/ 65597 w 286547"/>
                  <a:gd name="connsiteY440" fmla="*/ 709932 h 951513"/>
                  <a:gd name="connsiteX441" fmla="*/ 63305 w 286547"/>
                  <a:gd name="connsiteY441" fmla="*/ 707022 h 951513"/>
                  <a:gd name="connsiteX442" fmla="*/ 68859 w 286547"/>
                  <a:gd name="connsiteY442" fmla="*/ 706758 h 951513"/>
                  <a:gd name="connsiteX443" fmla="*/ 66567 w 286547"/>
                  <a:gd name="connsiteY443" fmla="*/ 702966 h 951513"/>
                  <a:gd name="connsiteX444" fmla="*/ 67713 w 286547"/>
                  <a:gd name="connsiteY444" fmla="*/ 700321 h 951513"/>
                  <a:gd name="connsiteX445" fmla="*/ 67713 w 286547"/>
                  <a:gd name="connsiteY445" fmla="*/ 696795 h 951513"/>
                  <a:gd name="connsiteX446" fmla="*/ 68595 w 286547"/>
                  <a:gd name="connsiteY446" fmla="*/ 693621 h 951513"/>
                  <a:gd name="connsiteX447" fmla="*/ 73885 w 286547"/>
                  <a:gd name="connsiteY447" fmla="*/ 695031 h 951513"/>
                  <a:gd name="connsiteX448" fmla="*/ 76795 w 286547"/>
                  <a:gd name="connsiteY448" fmla="*/ 691857 h 951513"/>
                  <a:gd name="connsiteX449" fmla="*/ 70975 w 286547"/>
                  <a:gd name="connsiteY449" fmla="*/ 691240 h 951513"/>
                  <a:gd name="connsiteX450" fmla="*/ 68683 w 286547"/>
                  <a:gd name="connsiteY450" fmla="*/ 689212 h 951513"/>
                  <a:gd name="connsiteX451" fmla="*/ 71593 w 286547"/>
                  <a:gd name="connsiteY451" fmla="*/ 685685 h 951513"/>
                  <a:gd name="connsiteX452" fmla="*/ 71328 w 286547"/>
                  <a:gd name="connsiteY452" fmla="*/ 683922 h 951513"/>
                  <a:gd name="connsiteX453" fmla="*/ 68683 w 286547"/>
                  <a:gd name="connsiteY453" fmla="*/ 680660 h 951513"/>
                  <a:gd name="connsiteX454" fmla="*/ 67801 w 286547"/>
                  <a:gd name="connsiteY454" fmla="*/ 679778 h 951513"/>
                  <a:gd name="connsiteX455" fmla="*/ 64539 w 286547"/>
                  <a:gd name="connsiteY455" fmla="*/ 675722 h 951513"/>
                  <a:gd name="connsiteX456" fmla="*/ 60748 w 286547"/>
                  <a:gd name="connsiteY456" fmla="*/ 677486 h 951513"/>
                  <a:gd name="connsiteX457" fmla="*/ 57221 w 286547"/>
                  <a:gd name="connsiteY457" fmla="*/ 675987 h 951513"/>
                  <a:gd name="connsiteX458" fmla="*/ 51138 w 286547"/>
                  <a:gd name="connsiteY458" fmla="*/ 679514 h 951513"/>
                  <a:gd name="connsiteX459" fmla="*/ 53783 w 286547"/>
                  <a:gd name="connsiteY459" fmla="*/ 674224 h 951513"/>
                  <a:gd name="connsiteX460" fmla="*/ 58191 w 286547"/>
                  <a:gd name="connsiteY460" fmla="*/ 669286 h 951513"/>
                  <a:gd name="connsiteX461" fmla="*/ 59602 w 286547"/>
                  <a:gd name="connsiteY461" fmla="*/ 664349 h 951513"/>
                  <a:gd name="connsiteX462" fmla="*/ 60748 w 286547"/>
                  <a:gd name="connsiteY462" fmla="*/ 673077 h 951513"/>
                  <a:gd name="connsiteX463" fmla="*/ 64804 w 286547"/>
                  <a:gd name="connsiteY463" fmla="*/ 668140 h 951513"/>
                  <a:gd name="connsiteX464" fmla="*/ 65068 w 286547"/>
                  <a:gd name="connsiteY464" fmla="*/ 663996 h 951513"/>
                  <a:gd name="connsiteX465" fmla="*/ 67713 w 286547"/>
                  <a:gd name="connsiteY465" fmla="*/ 657912 h 951513"/>
                  <a:gd name="connsiteX466" fmla="*/ 71504 w 286547"/>
                  <a:gd name="connsiteY466" fmla="*/ 654121 h 951513"/>
                  <a:gd name="connsiteX467" fmla="*/ 74678 w 286547"/>
                  <a:gd name="connsiteY467" fmla="*/ 659323 h 951513"/>
                  <a:gd name="connsiteX468" fmla="*/ 75825 w 286547"/>
                  <a:gd name="connsiteY468" fmla="*/ 663996 h 951513"/>
                  <a:gd name="connsiteX469" fmla="*/ 78734 w 286547"/>
                  <a:gd name="connsiteY469" fmla="*/ 668140 h 951513"/>
                  <a:gd name="connsiteX470" fmla="*/ 82525 w 286547"/>
                  <a:gd name="connsiteY470" fmla="*/ 671931 h 951513"/>
                  <a:gd name="connsiteX471" fmla="*/ 84906 w 286547"/>
                  <a:gd name="connsiteY471" fmla="*/ 669286 h 951513"/>
                  <a:gd name="connsiteX472" fmla="*/ 86669 w 286547"/>
                  <a:gd name="connsiteY472" fmla="*/ 664966 h 951513"/>
                  <a:gd name="connsiteX473" fmla="*/ 84024 w 286547"/>
                  <a:gd name="connsiteY473" fmla="*/ 660910 h 951513"/>
                  <a:gd name="connsiteX474" fmla="*/ 81115 w 286547"/>
                  <a:gd name="connsiteY474" fmla="*/ 656854 h 951513"/>
                  <a:gd name="connsiteX475" fmla="*/ 80586 w 286547"/>
                  <a:gd name="connsiteY475" fmla="*/ 653063 h 951513"/>
                  <a:gd name="connsiteX476" fmla="*/ 82966 w 286547"/>
                  <a:gd name="connsiteY476" fmla="*/ 650771 h 951513"/>
                  <a:gd name="connsiteX477" fmla="*/ 80939 w 286547"/>
                  <a:gd name="connsiteY477" fmla="*/ 645481 h 951513"/>
                  <a:gd name="connsiteX478" fmla="*/ 79440 w 286547"/>
                  <a:gd name="connsiteY478" fmla="*/ 639044 h 951513"/>
                  <a:gd name="connsiteX479" fmla="*/ 78558 w 286547"/>
                  <a:gd name="connsiteY479" fmla="*/ 634107 h 951513"/>
                  <a:gd name="connsiteX480" fmla="*/ 77676 w 286547"/>
                  <a:gd name="connsiteY480" fmla="*/ 626789 h 951513"/>
                  <a:gd name="connsiteX481" fmla="*/ 76530 w 286547"/>
                  <a:gd name="connsiteY481" fmla="*/ 620088 h 951513"/>
                  <a:gd name="connsiteX482" fmla="*/ 71593 w 286547"/>
                  <a:gd name="connsiteY482" fmla="*/ 616561 h 951513"/>
                  <a:gd name="connsiteX483" fmla="*/ 72474 w 286547"/>
                  <a:gd name="connsiteY483" fmla="*/ 616297 h 951513"/>
                  <a:gd name="connsiteX484" fmla="*/ 76530 w 286547"/>
                  <a:gd name="connsiteY484" fmla="*/ 612506 h 951513"/>
                  <a:gd name="connsiteX485" fmla="*/ 70711 w 286547"/>
                  <a:gd name="connsiteY485" fmla="*/ 607833 h 951513"/>
                  <a:gd name="connsiteX486" fmla="*/ 71593 w 286547"/>
                  <a:gd name="connsiteY486" fmla="*/ 604041 h 951513"/>
                  <a:gd name="connsiteX487" fmla="*/ 68948 w 286547"/>
                  <a:gd name="connsiteY487" fmla="*/ 599633 h 951513"/>
                  <a:gd name="connsiteX488" fmla="*/ 66303 w 286547"/>
                  <a:gd name="connsiteY488" fmla="*/ 599016 h 951513"/>
                  <a:gd name="connsiteX489" fmla="*/ 65421 w 286547"/>
                  <a:gd name="connsiteY489" fmla="*/ 601044 h 951513"/>
                  <a:gd name="connsiteX490" fmla="*/ 60483 w 286547"/>
                  <a:gd name="connsiteY490" fmla="*/ 600427 h 951513"/>
                  <a:gd name="connsiteX491" fmla="*/ 58985 w 286547"/>
                  <a:gd name="connsiteY491" fmla="*/ 601308 h 951513"/>
                  <a:gd name="connsiteX492" fmla="*/ 53695 w 286547"/>
                  <a:gd name="connsiteY492" fmla="*/ 601573 h 951513"/>
                  <a:gd name="connsiteX493" fmla="*/ 52813 w 286547"/>
                  <a:gd name="connsiteY493" fmla="*/ 600074 h 951513"/>
                  <a:gd name="connsiteX494" fmla="*/ 48140 w 286547"/>
                  <a:gd name="connsiteY494" fmla="*/ 601220 h 951513"/>
                  <a:gd name="connsiteX495" fmla="*/ 46377 w 286547"/>
                  <a:gd name="connsiteY495" fmla="*/ 596812 h 951513"/>
                  <a:gd name="connsiteX496" fmla="*/ 48757 w 286547"/>
                  <a:gd name="connsiteY496" fmla="*/ 594784 h 951513"/>
                  <a:gd name="connsiteX497" fmla="*/ 46112 w 286547"/>
                  <a:gd name="connsiteY497" fmla="*/ 590728 h 951513"/>
                  <a:gd name="connsiteX498" fmla="*/ 42056 w 286547"/>
                  <a:gd name="connsiteY498" fmla="*/ 588436 h 951513"/>
                  <a:gd name="connsiteX499" fmla="*/ 44084 w 286547"/>
                  <a:gd name="connsiteY499" fmla="*/ 584909 h 951513"/>
                  <a:gd name="connsiteX500" fmla="*/ 44701 w 286547"/>
                  <a:gd name="connsiteY500" fmla="*/ 579972 h 951513"/>
                  <a:gd name="connsiteX501" fmla="*/ 41792 w 286547"/>
                  <a:gd name="connsiteY501" fmla="*/ 578825 h 951513"/>
                  <a:gd name="connsiteX502" fmla="*/ 42056 w 286547"/>
                  <a:gd name="connsiteY502" fmla="*/ 575034 h 951513"/>
                  <a:gd name="connsiteX503" fmla="*/ 43555 w 286547"/>
                  <a:gd name="connsiteY503" fmla="*/ 573006 h 951513"/>
                  <a:gd name="connsiteX504" fmla="*/ 43555 w 286547"/>
                  <a:gd name="connsiteY504" fmla="*/ 570714 h 951513"/>
                  <a:gd name="connsiteX505" fmla="*/ 42673 w 286547"/>
                  <a:gd name="connsiteY505" fmla="*/ 565776 h 951513"/>
                  <a:gd name="connsiteX506" fmla="*/ 41175 w 286547"/>
                  <a:gd name="connsiteY506" fmla="*/ 561103 h 951513"/>
                  <a:gd name="connsiteX507" fmla="*/ 42673 w 286547"/>
                  <a:gd name="connsiteY507" fmla="*/ 558459 h 951513"/>
                  <a:gd name="connsiteX508" fmla="*/ 38618 w 286547"/>
                  <a:gd name="connsiteY508" fmla="*/ 554932 h 951513"/>
                  <a:gd name="connsiteX509" fmla="*/ 35444 w 286547"/>
                  <a:gd name="connsiteY509" fmla="*/ 553168 h 951513"/>
                  <a:gd name="connsiteX510" fmla="*/ 42409 w 286547"/>
                  <a:gd name="connsiteY510" fmla="*/ 548231 h 951513"/>
                  <a:gd name="connsiteX511" fmla="*/ 45319 w 286547"/>
                  <a:gd name="connsiteY511" fmla="*/ 547614 h 951513"/>
                  <a:gd name="connsiteX512" fmla="*/ 42144 w 286547"/>
                  <a:gd name="connsiteY512" fmla="*/ 544704 h 951513"/>
                  <a:gd name="connsiteX513" fmla="*/ 44789 w 286547"/>
                  <a:gd name="connsiteY513" fmla="*/ 542676 h 951513"/>
                  <a:gd name="connsiteX514" fmla="*/ 42762 w 286547"/>
                  <a:gd name="connsiteY514" fmla="*/ 540031 h 951513"/>
                  <a:gd name="connsiteX515" fmla="*/ 43026 w 286547"/>
                  <a:gd name="connsiteY515" fmla="*/ 535094 h 951513"/>
                  <a:gd name="connsiteX516" fmla="*/ 38618 w 286547"/>
                  <a:gd name="connsiteY516" fmla="*/ 530421 h 951513"/>
                  <a:gd name="connsiteX517" fmla="*/ 36854 w 286547"/>
                  <a:gd name="connsiteY517" fmla="*/ 527247 h 951513"/>
                  <a:gd name="connsiteX518" fmla="*/ 33063 w 286547"/>
                  <a:gd name="connsiteY518" fmla="*/ 527247 h 951513"/>
                  <a:gd name="connsiteX519" fmla="*/ 33592 w 286547"/>
                  <a:gd name="connsiteY519" fmla="*/ 520281 h 951513"/>
                  <a:gd name="connsiteX520" fmla="*/ 32446 w 286547"/>
                  <a:gd name="connsiteY520" fmla="*/ 514110 h 951513"/>
                  <a:gd name="connsiteX521" fmla="*/ 29801 w 286547"/>
                  <a:gd name="connsiteY521" fmla="*/ 510583 h 951513"/>
                  <a:gd name="connsiteX522" fmla="*/ 28655 w 286547"/>
                  <a:gd name="connsiteY522" fmla="*/ 508555 h 951513"/>
                  <a:gd name="connsiteX523" fmla="*/ 26362 w 286547"/>
                  <a:gd name="connsiteY523" fmla="*/ 506527 h 951513"/>
                  <a:gd name="connsiteX524" fmla="*/ 25481 w 286547"/>
                  <a:gd name="connsiteY524" fmla="*/ 503882 h 951513"/>
                  <a:gd name="connsiteX525" fmla="*/ 22571 w 286547"/>
                  <a:gd name="connsiteY525" fmla="*/ 503001 h 951513"/>
                  <a:gd name="connsiteX526" fmla="*/ 17281 w 286547"/>
                  <a:gd name="connsiteY526" fmla="*/ 505381 h 951513"/>
                  <a:gd name="connsiteX527" fmla="*/ 17281 w 286547"/>
                  <a:gd name="connsiteY527" fmla="*/ 501590 h 951513"/>
                  <a:gd name="connsiteX528" fmla="*/ 20455 w 286547"/>
                  <a:gd name="connsiteY528" fmla="*/ 496917 h 951513"/>
                  <a:gd name="connsiteX529" fmla="*/ 16928 w 286547"/>
                  <a:gd name="connsiteY529" fmla="*/ 491362 h 951513"/>
                  <a:gd name="connsiteX530" fmla="*/ 20455 w 286547"/>
                  <a:gd name="connsiteY530" fmla="*/ 485808 h 951513"/>
                  <a:gd name="connsiteX531" fmla="*/ 19044 w 286547"/>
                  <a:gd name="connsiteY531" fmla="*/ 484044 h 951513"/>
                  <a:gd name="connsiteX532" fmla="*/ 22218 w 286547"/>
                  <a:gd name="connsiteY532" fmla="*/ 483780 h 951513"/>
                  <a:gd name="connsiteX533" fmla="*/ 24511 w 286547"/>
                  <a:gd name="connsiteY533" fmla="*/ 488188 h 951513"/>
                  <a:gd name="connsiteX534" fmla="*/ 29448 w 286547"/>
                  <a:gd name="connsiteY534" fmla="*/ 492861 h 951513"/>
                  <a:gd name="connsiteX535" fmla="*/ 27685 w 286547"/>
                  <a:gd name="connsiteY535" fmla="*/ 491098 h 951513"/>
                  <a:gd name="connsiteX536" fmla="*/ 29184 w 286547"/>
                  <a:gd name="connsiteY536" fmla="*/ 488188 h 951513"/>
                  <a:gd name="connsiteX537" fmla="*/ 25657 w 286547"/>
                  <a:gd name="connsiteY537" fmla="*/ 479989 h 951513"/>
                  <a:gd name="connsiteX538" fmla="*/ 27685 w 286547"/>
                  <a:gd name="connsiteY538" fmla="*/ 474434 h 951513"/>
                  <a:gd name="connsiteX539" fmla="*/ 29977 w 286547"/>
                  <a:gd name="connsiteY539" fmla="*/ 473552 h 951513"/>
                  <a:gd name="connsiteX540" fmla="*/ 29977 w 286547"/>
                  <a:gd name="connsiteY540" fmla="*/ 470026 h 951513"/>
                  <a:gd name="connsiteX541" fmla="*/ 30594 w 286547"/>
                  <a:gd name="connsiteY541" fmla="*/ 467380 h 951513"/>
                  <a:gd name="connsiteX542" fmla="*/ 30859 w 286547"/>
                  <a:gd name="connsiteY542" fmla="*/ 464735 h 951513"/>
                  <a:gd name="connsiteX543" fmla="*/ 30594 w 286547"/>
                  <a:gd name="connsiteY543" fmla="*/ 461826 h 951513"/>
                  <a:gd name="connsiteX544" fmla="*/ 31212 w 286547"/>
                  <a:gd name="connsiteY544" fmla="*/ 458299 h 951513"/>
                  <a:gd name="connsiteX545" fmla="*/ 32975 w 286547"/>
                  <a:gd name="connsiteY545" fmla="*/ 455919 h 951513"/>
                  <a:gd name="connsiteX546" fmla="*/ 32975 w 286547"/>
                  <a:gd name="connsiteY546" fmla="*/ 453009 h 951513"/>
                  <a:gd name="connsiteX547" fmla="*/ 33504 w 286547"/>
                  <a:gd name="connsiteY547" fmla="*/ 447719 h 951513"/>
                  <a:gd name="connsiteX548" fmla="*/ 32622 w 286547"/>
                  <a:gd name="connsiteY548" fmla="*/ 445427 h 951513"/>
                  <a:gd name="connsiteX549" fmla="*/ 34650 w 286547"/>
                  <a:gd name="connsiteY549" fmla="*/ 442782 h 951513"/>
                  <a:gd name="connsiteX550" fmla="*/ 34650 w 286547"/>
                  <a:gd name="connsiteY550" fmla="*/ 439255 h 951513"/>
                  <a:gd name="connsiteX551" fmla="*/ 33504 w 286547"/>
                  <a:gd name="connsiteY551" fmla="*/ 435728 h 951513"/>
                  <a:gd name="connsiteX552" fmla="*/ 35267 w 286547"/>
                  <a:gd name="connsiteY552" fmla="*/ 433083 h 951513"/>
                  <a:gd name="connsiteX553" fmla="*/ 33768 w 286547"/>
                  <a:gd name="connsiteY553" fmla="*/ 429292 h 951513"/>
                  <a:gd name="connsiteX554" fmla="*/ 36149 w 286547"/>
                  <a:gd name="connsiteY554" fmla="*/ 427528 h 951513"/>
                  <a:gd name="connsiteX555" fmla="*/ 37560 w 286547"/>
                  <a:gd name="connsiteY555" fmla="*/ 424002 h 951513"/>
                  <a:gd name="connsiteX556" fmla="*/ 34386 w 286547"/>
                  <a:gd name="connsiteY556" fmla="*/ 422855 h 951513"/>
                  <a:gd name="connsiteX557" fmla="*/ 34915 w 286547"/>
                  <a:gd name="connsiteY557" fmla="*/ 419593 h 951513"/>
                  <a:gd name="connsiteX558" fmla="*/ 34915 w 286547"/>
                  <a:gd name="connsiteY558" fmla="*/ 414920 h 951513"/>
                  <a:gd name="connsiteX559" fmla="*/ 33416 w 286547"/>
                  <a:gd name="connsiteY559" fmla="*/ 410865 h 951513"/>
                  <a:gd name="connsiteX560" fmla="*/ 34915 w 286547"/>
                  <a:gd name="connsiteY560" fmla="*/ 405927 h 951513"/>
                  <a:gd name="connsiteX561" fmla="*/ 37824 w 286547"/>
                  <a:gd name="connsiteY561" fmla="*/ 403899 h 951513"/>
                  <a:gd name="connsiteX562" fmla="*/ 35179 w 286547"/>
                  <a:gd name="connsiteY562" fmla="*/ 400373 h 951513"/>
                  <a:gd name="connsiteX563" fmla="*/ 34033 w 286547"/>
                  <a:gd name="connsiteY563" fmla="*/ 396846 h 951513"/>
                  <a:gd name="connsiteX564" fmla="*/ 34033 w 286547"/>
                  <a:gd name="connsiteY564" fmla="*/ 393319 h 951513"/>
                  <a:gd name="connsiteX565" fmla="*/ 32887 w 286547"/>
                  <a:gd name="connsiteY565" fmla="*/ 387764 h 951513"/>
                  <a:gd name="connsiteX566" fmla="*/ 29095 w 286547"/>
                  <a:gd name="connsiteY566" fmla="*/ 386001 h 951513"/>
                  <a:gd name="connsiteX567" fmla="*/ 33504 w 286547"/>
                  <a:gd name="connsiteY567" fmla="*/ 378419 h 951513"/>
                  <a:gd name="connsiteX568" fmla="*/ 32622 w 286547"/>
                  <a:gd name="connsiteY568" fmla="*/ 373393 h 951513"/>
                  <a:gd name="connsiteX569" fmla="*/ 29977 w 286547"/>
                  <a:gd name="connsiteY569" fmla="*/ 370748 h 951513"/>
                  <a:gd name="connsiteX570" fmla="*/ 30594 w 286547"/>
                  <a:gd name="connsiteY570" fmla="*/ 367574 h 951513"/>
                  <a:gd name="connsiteX571" fmla="*/ 30594 w 286547"/>
                  <a:gd name="connsiteY571" fmla="*/ 363783 h 951513"/>
                  <a:gd name="connsiteX572" fmla="*/ 28302 w 286547"/>
                  <a:gd name="connsiteY572" fmla="*/ 358493 h 951513"/>
                  <a:gd name="connsiteX573" fmla="*/ 30594 w 286547"/>
                  <a:gd name="connsiteY573" fmla="*/ 353555 h 951513"/>
                  <a:gd name="connsiteX574" fmla="*/ 27685 w 286547"/>
                  <a:gd name="connsiteY574" fmla="*/ 345973 h 951513"/>
                  <a:gd name="connsiteX575" fmla="*/ 25040 w 286547"/>
                  <a:gd name="connsiteY575" fmla="*/ 341652 h 951513"/>
                  <a:gd name="connsiteX576" fmla="*/ 27332 w 286547"/>
                  <a:gd name="connsiteY576" fmla="*/ 335833 h 951513"/>
                  <a:gd name="connsiteX577" fmla="*/ 23541 w 286547"/>
                  <a:gd name="connsiteY577" fmla="*/ 336451 h 951513"/>
                  <a:gd name="connsiteX578" fmla="*/ 18251 w 286547"/>
                  <a:gd name="connsiteY578" fmla="*/ 335833 h 951513"/>
                  <a:gd name="connsiteX579" fmla="*/ 17105 w 286547"/>
                  <a:gd name="connsiteY579" fmla="*/ 324195 h 951513"/>
                  <a:gd name="connsiteX580" fmla="*/ 18868 w 286547"/>
                  <a:gd name="connsiteY580" fmla="*/ 315114 h 951513"/>
                  <a:gd name="connsiteX581" fmla="*/ 21160 w 286547"/>
                  <a:gd name="connsiteY581" fmla="*/ 313615 h 951513"/>
                  <a:gd name="connsiteX582" fmla="*/ 17105 w 286547"/>
                  <a:gd name="connsiteY582" fmla="*/ 313350 h 951513"/>
                  <a:gd name="connsiteX583" fmla="*/ 18868 w 286547"/>
                  <a:gd name="connsiteY583" fmla="*/ 311058 h 951513"/>
                  <a:gd name="connsiteX584" fmla="*/ 17105 w 286547"/>
                  <a:gd name="connsiteY584" fmla="*/ 304886 h 951513"/>
                  <a:gd name="connsiteX585" fmla="*/ 21513 w 286547"/>
                  <a:gd name="connsiteY585" fmla="*/ 307179 h 951513"/>
                  <a:gd name="connsiteX586" fmla="*/ 22130 w 286547"/>
                  <a:gd name="connsiteY586" fmla="*/ 304533 h 951513"/>
                  <a:gd name="connsiteX587" fmla="*/ 20102 w 286547"/>
                  <a:gd name="connsiteY587" fmla="*/ 299860 h 951513"/>
                  <a:gd name="connsiteX588" fmla="*/ 18339 w 286547"/>
                  <a:gd name="connsiteY588" fmla="*/ 296951 h 951513"/>
                  <a:gd name="connsiteX589" fmla="*/ 14812 w 286547"/>
                  <a:gd name="connsiteY589" fmla="*/ 294306 h 951513"/>
                  <a:gd name="connsiteX590" fmla="*/ 15958 w 286547"/>
                  <a:gd name="connsiteY590" fmla="*/ 289104 h 951513"/>
                  <a:gd name="connsiteX591" fmla="*/ 17986 w 286547"/>
                  <a:gd name="connsiteY591" fmla="*/ 282139 h 951513"/>
                  <a:gd name="connsiteX592" fmla="*/ 16487 w 286547"/>
                  <a:gd name="connsiteY592" fmla="*/ 280640 h 951513"/>
                  <a:gd name="connsiteX593" fmla="*/ 18515 w 286547"/>
                  <a:gd name="connsiteY593" fmla="*/ 276849 h 951513"/>
                  <a:gd name="connsiteX594" fmla="*/ 19397 w 286547"/>
                  <a:gd name="connsiteY594" fmla="*/ 272793 h 951513"/>
                  <a:gd name="connsiteX595" fmla="*/ 18251 w 286547"/>
                  <a:gd name="connsiteY595" fmla="*/ 270148 h 951513"/>
                  <a:gd name="connsiteX596" fmla="*/ 19397 w 286547"/>
                  <a:gd name="connsiteY596" fmla="*/ 266621 h 951513"/>
                  <a:gd name="connsiteX597" fmla="*/ 19397 w 286547"/>
                  <a:gd name="connsiteY597" fmla="*/ 258157 h 951513"/>
                  <a:gd name="connsiteX598" fmla="*/ 21160 w 286547"/>
                  <a:gd name="connsiteY598" fmla="*/ 257011 h 951513"/>
                  <a:gd name="connsiteX599" fmla="*/ 20896 w 286547"/>
                  <a:gd name="connsiteY599" fmla="*/ 252955 h 951513"/>
                  <a:gd name="connsiteX600" fmla="*/ 28743 w 286547"/>
                  <a:gd name="connsiteY600" fmla="*/ 254454 h 951513"/>
                  <a:gd name="connsiteX601" fmla="*/ 25833 w 286547"/>
                  <a:gd name="connsiteY601" fmla="*/ 252691 h 951513"/>
                  <a:gd name="connsiteX602" fmla="*/ 20543 w 286547"/>
                  <a:gd name="connsiteY602" fmla="*/ 250663 h 951513"/>
                  <a:gd name="connsiteX603" fmla="*/ 19397 w 286547"/>
                  <a:gd name="connsiteY603" fmla="*/ 244844 h 951513"/>
                  <a:gd name="connsiteX604" fmla="*/ 20279 w 286547"/>
                  <a:gd name="connsiteY604" fmla="*/ 241670 h 951513"/>
                  <a:gd name="connsiteX605" fmla="*/ 20896 w 286547"/>
                  <a:gd name="connsiteY605" fmla="*/ 239642 h 951513"/>
                  <a:gd name="connsiteX606" fmla="*/ 22395 w 286547"/>
                  <a:gd name="connsiteY606" fmla="*/ 237878 h 951513"/>
                  <a:gd name="connsiteX607" fmla="*/ 18603 w 286547"/>
                  <a:gd name="connsiteY607" fmla="*/ 236732 h 951513"/>
                  <a:gd name="connsiteX608" fmla="*/ 20631 w 286547"/>
                  <a:gd name="connsiteY608" fmla="*/ 234704 h 951513"/>
                  <a:gd name="connsiteX609" fmla="*/ 21248 w 286547"/>
                  <a:gd name="connsiteY609" fmla="*/ 232412 h 951513"/>
                  <a:gd name="connsiteX610" fmla="*/ 22130 w 286547"/>
                  <a:gd name="connsiteY610" fmla="*/ 228885 h 951513"/>
                  <a:gd name="connsiteX611" fmla="*/ 20984 w 286547"/>
                  <a:gd name="connsiteY611" fmla="*/ 221920 h 951513"/>
                  <a:gd name="connsiteX612" fmla="*/ 21601 w 286547"/>
                  <a:gd name="connsiteY612" fmla="*/ 218128 h 951513"/>
                  <a:gd name="connsiteX613" fmla="*/ 22483 w 286547"/>
                  <a:gd name="connsiteY613" fmla="*/ 213720 h 951513"/>
                  <a:gd name="connsiteX614" fmla="*/ 21866 w 286547"/>
                  <a:gd name="connsiteY614" fmla="*/ 209664 h 951513"/>
                  <a:gd name="connsiteX615" fmla="*/ 22483 w 286547"/>
                  <a:gd name="connsiteY615" fmla="*/ 202964 h 951513"/>
                  <a:gd name="connsiteX616" fmla="*/ 21337 w 286547"/>
                  <a:gd name="connsiteY616" fmla="*/ 196792 h 951513"/>
                  <a:gd name="connsiteX617" fmla="*/ 23365 w 286547"/>
                  <a:gd name="connsiteY617" fmla="*/ 193265 h 951513"/>
                  <a:gd name="connsiteX618" fmla="*/ 23365 w 286547"/>
                  <a:gd name="connsiteY618" fmla="*/ 189738 h 951513"/>
                  <a:gd name="connsiteX619" fmla="*/ 21337 w 286547"/>
                  <a:gd name="connsiteY619" fmla="*/ 186829 h 951513"/>
                  <a:gd name="connsiteX620" fmla="*/ 18692 w 286547"/>
                  <a:gd name="connsiteY620" fmla="*/ 184536 h 951513"/>
                  <a:gd name="connsiteX621" fmla="*/ 20719 w 286547"/>
                  <a:gd name="connsiteY621" fmla="*/ 180392 h 951513"/>
                  <a:gd name="connsiteX622" fmla="*/ 19573 w 286547"/>
                  <a:gd name="connsiteY622" fmla="*/ 176601 h 951513"/>
                  <a:gd name="connsiteX623" fmla="*/ 17193 w 286547"/>
                  <a:gd name="connsiteY623" fmla="*/ 174573 h 951513"/>
                  <a:gd name="connsiteX624" fmla="*/ 17193 w 286547"/>
                  <a:gd name="connsiteY624" fmla="*/ 172193 h 951513"/>
                  <a:gd name="connsiteX625" fmla="*/ 14548 w 286547"/>
                  <a:gd name="connsiteY625" fmla="*/ 172193 h 951513"/>
                  <a:gd name="connsiteX626" fmla="*/ 14283 w 286547"/>
                  <a:gd name="connsiteY626" fmla="*/ 170165 h 951513"/>
                  <a:gd name="connsiteX627" fmla="*/ 16311 w 286547"/>
                  <a:gd name="connsiteY627" fmla="*/ 166109 h 951513"/>
                  <a:gd name="connsiteX628" fmla="*/ 17193 w 286547"/>
                  <a:gd name="connsiteY628" fmla="*/ 163464 h 951513"/>
                  <a:gd name="connsiteX629" fmla="*/ 18339 w 286547"/>
                  <a:gd name="connsiteY629" fmla="*/ 160290 h 951513"/>
                  <a:gd name="connsiteX630" fmla="*/ 14548 w 286547"/>
                  <a:gd name="connsiteY630" fmla="*/ 152708 h 951513"/>
                  <a:gd name="connsiteX631" fmla="*/ 12520 w 286547"/>
                  <a:gd name="connsiteY631" fmla="*/ 157381 h 951513"/>
                  <a:gd name="connsiteX632" fmla="*/ 11903 w 286547"/>
                  <a:gd name="connsiteY632" fmla="*/ 151826 h 951513"/>
                  <a:gd name="connsiteX633" fmla="*/ 11021 w 286547"/>
                  <a:gd name="connsiteY633" fmla="*/ 148564 h 951513"/>
                  <a:gd name="connsiteX634" fmla="*/ 12784 w 286547"/>
                  <a:gd name="connsiteY634" fmla="*/ 146800 h 951513"/>
                  <a:gd name="connsiteX635" fmla="*/ 10756 w 286547"/>
                  <a:gd name="connsiteY635" fmla="*/ 141863 h 951513"/>
                  <a:gd name="connsiteX636" fmla="*/ 11903 w 286547"/>
                  <a:gd name="connsiteY636" fmla="*/ 137454 h 951513"/>
                  <a:gd name="connsiteX637" fmla="*/ 14548 w 286547"/>
                  <a:gd name="connsiteY637" fmla="*/ 133663 h 951513"/>
                  <a:gd name="connsiteX638" fmla="*/ 16576 w 286547"/>
                  <a:gd name="connsiteY638" fmla="*/ 135162 h 951513"/>
                  <a:gd name="connsiteX639" fmla="*/ 16576 w 286547"/>
                  <a:gd name="connsiteY639" fmla="*/ 132253 h 951513"/>
                  <a:gd name="connsiteX640" fmla="*/ 16576 w 286547"/>
                  <a:gd name="connsiteY640" fmla="*/ 127580 h 951513"/>
                  <a:gd name="connsiteX641" fmla="*/ 13666 w 286547"/>
                  <a:gd name="connsiteY641" fmla="*/ 124670 h 951513"/>
                  <a:gd name="connsiteX642" fmla="*/ 15429 w 286547"/>
                  <a:gd name="connsiteY642" fmla="*/ 119115 h 951513"/>
                  <a:gd name="connsiteX643" fmla="*/ 15429 w 286547"/>
                  <a:gd name="connsiteY643" fmla="*/ 115589 h 951513"/>
                  <a:gd name="connsiteX644" fmla="*/ 14283 w 286547"/>
                  <a:gd name="connsiteY644" fmla="*/ 113296 h 951513"/>
                  <a:gd name="connsiteX645" fmla="*/ 14283 w 286547"/>
                  <a:gd name="connsiteY645" fmla="*/ 110651 h 951513"/>
                  <a:gd name="connsiteX646" fmla="*/ 13666 w 286547"/>
                  <a:gd name="connsiteY646" fmla="*/ 104215 h 951513"/>
                  <a:gd name="connsiteX647" fmla="*/ 13666 w 286547"/>
                  <a:gd name="connsiteY647" fmla="*/ 104832 h 951513"/>
                  <a:gd name="connsiteX648" fmla="*/ 14283 w 286547"/>
                  <a:gd name="connsiteY648" fmla="*/ 101658 h 951513"/>
                  <a:gd name="connsiteX649" fmla="*/ 13666 w 286547"/>
                  <a:gd name="connsiteY649" fmla="*/ 99895 h 951513"/>
                  <a:gd name="connsiteX650" fmla="*/ 14548 w 286547"/>
                  <a:gd name="connsiteY650" fmla="*/ 96721 h 951513"/>
                  <a:gd name="connsiteX651" fmla="*/ 15429 w 286547"/>
                  <a:gd name="connsiteY651" fmla="*/ 94693 h 951513"/>
                  <a:gd name="connsiteX652" fmla="*/ 12520 w 286547"/>
                  <a:gd name="connsiteY652" fmla="*/ 93811 h 951513"/>
                  <a:gd name="connsiteX653" fmla="*/ 13137 w 286547"/>
                  <a:gd name="connsiteY653" fmla="*/ 90020 h 951513"/>
                  <a:gd name="connsiteX654" fmla="*/ 11991 w 286547"/>
                  <a:gd name="connsiteY654" fmla="*/ 84818 h 951513"/>
                  <a:gd name="connsiteX655" fmla="*/ 12255 w 286547"/>
                  <a:gd name="connsiteY655" fmla="*/ 81908 h 951513"/>
                  <a:gd name="connsiteX656" fmla="*/ 11374 w 286547"/>
                  <a:gd name="connsiteY656" fmla="*/ 78382 h 951513"/>
                  <a:gd name="connsiteX657" fmla="*/ 9346 w 286547"/>
                  <a:gd name="connsiteY657" fmla="*/ 76001 h 951513"/>
                  <a:gd name="connsiteX658" fmla="*/ 11726 w 286547"/>
                  <a:gd name="connsiteY658" fmla="*/ 72827 h 951513"/>
                  <a:gd name="connsiteX659" fmla="*/ 11726 w 286547"/>
                  <a:gd name="connsiteY659" fmla="*/ 70799 h 951513"/>
                  <a:gd name="connsiteX660" fmla="*/ 12608 w 286547"/>
                  <a:gd name="connsiteY660" fmla="*/ 68771 h 951513"/>
                  <a:gd name="connsiteX661" fmla="*/ 10227 w 286547"/>
                  <a:gd name="connsiteY661" fmla="*/ 67625 h 951513"/>
                  <a:gd name="connsiteX662" fmla="*/ 10845 w 286547"/>
                  <a:gd name="connsiteY662" fmla="*/ 62070 h 951513"/>
                  <a:gd name="connsiteX663" fmla="*/ 8200 w 286547"/>
                  <a:gd name="connsiteY663" fmla="*/ 60043 h 951513"/>
                  <a:gd name="connsiteX664" fmla="*/ 9081 w 286547"/>
                  <a:gd name="connsiteY664" fmla="*/ 58544 h 951513"/>
                  <a:gd name="connsiteX665" fmla="*/ 11726 w 286547"/>
                  <a:gd name="connsiteY665" fmla="*/ 55105 h 951513"/>
                  <a:gd name="connsiteX666" fmla="*/ 9081 w 286547"/>
                  <a:gd name="connsiteY666" fmla="*/ 54224 h 951513"/>
                  <a:gd name="connsiteX667" fmla="*/ 3527 w 286547"/>
                  <a:gd name="connsiteY667" fmla="*/ 54841 h 951513"/>
                  <a:gd name="connsiteX668" fmla="*/ 4408 w 286547"/>
                  <a:gd name="connsiteY668" fmla="*/ 52196 h 951513"/>
                  <a:gd name="connsiteX669" fmla="*/ 2645 w 286547"/>
                  <a:gd name="connsiteY669" fmla="*/ 51049 h 951513"/>
                  <a:gd name="connsiteX670" fmla="*/ 7053 w 286547"/>
                  <a:gd name="connsiteY670" fmla="*/ 49022 h 951513"/>
                  <a:gd name="connsiteX671" fmla="*/ 6701 w 286547"/>
                  <a:gd name="connsiteY671" fmla="*/ 41703 h 951513"/>
                  <a:gd name="connsiteX672" fmla="*/ 6701 w 286547"/>
                  <a:gd name="connsiteY672" fmla="*/ 39059 h 951513"/>
                  <a:gd name="connsiteX673" fmla="*/ 8200 w 286547"/>
                  <a:gd name="connsiteY673" fmla="*/ 36766 h 951513"/>
                  <a:gd name="connsiteX674" fmla="*/ 10580 w 286547"/>
                  <a:gd name="connsiteY674" fmla="*/ 37031 h 951513"/>
                  <a:gd name="connsiteX675" fmla="*/ 9169 w 286547"/>
                  <a:gd name="connsiteY675" fmla="*/ 34650 h 951513"/>
                  <a:gd name="connsiteX676" fmla="*/ 7671 w 286547"/>
                  <a:gd name="connsiteY676" fmla="*/ 33239 h 951513"/>
                  <a:gd name="connsiteX677" fmla="*/ 4761 w 286547"/>
                  <a:gd name="connsiteY677" fmla="*/ 33768 h 951513"/>
                  <a:gd name="connsiteX678" fmla="*/ 2116 w 286547"/>
                  <a:gd name="connsiteY678" fmla="*/ 31741 h 951513"/>
                  <a:gd name="connsiteX679" fmla="*/ 617 w 286547"/>
                  <a:gd name="connsiteY679" fmla="*/ 28566 h 951513"/>
                  <a:gd name="connsiteX680" fmla="*/ 1763 w 286547"/>
                  <a:gd name="connsiteY680" fmla="*/ 22747 h 951513"/>
                  <a:gd name="connsiteX681" fmla="*/ 0 w 286547"/>
                  <a:gd name="connsiteY681" fmla="*/ 21337 h 95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</a:cxnLst>
                <a:rect l="l" t="t" r="r" b="b"/>
                <a:pathLst>
                  <a:path w="286547" h="951513">
                    <a:moveTo>
                      <a:pt x="111709" y="825432"/>
                    </a:moveTo>
                    <a:lnTo>
                      <a:pt x="116647" y="823933"/>
                    </a:lnTo>
                    <a:lnTo>
                      <a:pt x="121937" y="824815"/>
                    </a:lnTo>
                    <a:lnTo>
                      <a:pt x="120173" y="833896"/>
                    </a:lnTo>
                    <a:lnTo>
                      <a:pt x="116911" y="836806"/>
                    </a:lnTo>
                    <a:lnTo>
                      <a:pt x="120702" y="839098"/>
                    </a:lnTo>
                    <a:lnTo>
                      <a:pt x="120702" y="842625"/>
                    </a:lnTo>
                    <a:lnTo>
                      <a:pt x="131459" y="851442"/>
                    </a:lnTo>
                    <a:lnTo>
                      <a:pt x="130313" y="855498"/>
                    </a:lnTo>
                    <a:lnTo>
                      <a:pt x="136485" y="853734"/>
                    </a:lnTo>
                    <a:lnTo>
                      <a:pt x="128638" y="858936"/>
                    </a:lnTo>
                    <a:lnTo>
                      <a:pt x="131812" y="862110"/>
                    </a:lnTo>
                    <a:lnTo>
                      <a:pt x="126610" y="862110"/>
                    </a:lnTo>
                    <a:lnTo>
                      <a:pt x="123347" y="858319"/>
                    </a:lnTo>
                    <a:lnTo>
                      <a:pt x="121584" y="848092"/>
                    </a:lnTo>
                    <a:lnTo>
                      <a:pt x="111357" y="844300"/>
                    </a:lnTo>
                    <a:lnTo>
                      <a:pt x="114002" y="834337"/>
                    </a:lnTo>
                    <a:lnTo>
                      <a:pt x="111357" y="829929"/>
                    </a:lnTo>
                    <a:lnTo>
                      <a:pt x="100865" y="825873"/>
                    </a:lnTo>
                    <a:lnTo>
                      <a:pt x="96809" y="820318"/>
                    </a:lnTo>
                    <a:lnTo>
                      <a:pt x="100600" y="816792"/>
                    </a:lnTo>
                    <a:lnTo>
                      <a:pt x="103774" y="822964"/>
                    </a:lnTo>
                    <a:lnTo>
                      <a:pt x="105537" y="825256"/>
                    </a:lnTo>
                    <a:lnTo>
                      <a:pt x="109329" y="826138"/>
                    </a:lnTo>
                    <a:lnTo>
                      <a:pt x="111709" y="825432"/>
                    </a:lnTo>
                    <a:close/>
                    <a:moveTo>
                      <a:pt x="47875" y="606422"/>
                    </a:moveTo>
                    <a:lnTo>
                      <a:pt x="51402" y="608450"/>
                    </a:lnTo>
                    <a:lnTo>
                      <a:pt x="52901" y="604923"/>
                    </a:lnTo>
                    <a:lnTo>
                      <a:pt x="58456" y="605188"/>
                    </a:lnTo>
                    <a:lnTo>
                      <a:pt x="61365" y="612153"/>
                    </a:lnTo>
                    <a:lnTo>
                      <a:pt x="63657" y="617355"/>
                    </a:lnTo>
                    <a:lnTo>
                      <a:pt x="63657" y="620265"/>
                    </a:lnTo>
                    <a:lnTo>
                      <a:pt x="60748" y="621411"/>
                    </a:lnTo>
                    <a:lnTo>
                      <a:pt x="63657" y="626348"/>
                    </a:lnTo>
                    <a:lnTo>
                      <a:pt x="67713" y="631021"/>
                    </a:lnTo>
                    <a:lnTo>
                      <a:pt x="66303" y="633313"/>
                    </a:lnTo>
                    <a:lnTo>
                      <a:pt x="65421" y="642042"/>
                    </a:lnTo>
                    <a:lnTo>
                      <a:pt x="61013" y="643188"/>
                    </a:lnTo>
                    <a:lnTo>
                      <a:pt x="56604" y="642042"/>
                    </a:lnTo>
                    <a:lnTo>
                      <a:pt x="55722" y="639133"/>
                    </a:lnTo>
                    <a:lnTo>
                      <a:pt x="54841" y="636488"/>
                    </a:lnTo>
                    <a:lnTo>
                      <a:pt x="58632" y="633578"/>
                    </a:lnTo>
                    <a:lnTo>
                      <a:pt x="55370" y="630139"/>
                    </a:lnTo>
                    <a:lnTo>
                      <a:pt x="51843" y="630139"/>
                    </a:lnTo>
                    <a:lnTo>
                      <a:pt x="50697" y="625202"/>
                    </a:lnTo>
                    <a:lnTo>
                      <a:pt x="49198" y="622028"/>
                    </a:lnTo>
                    <a:lnTo>
                      <a:pt x="48316" y="617355"/>
                    </a:lnTo>
                    <a:lnTo>
                      <a:pt x="49462" y="615327"/>
                    </a:lnTo>
                    <a:lnTo>
                      <a:pt x="49462" y="609773"/>
                    </a:lnTo>
                    <a:lnTo>
                      <a:pt x="47875" y="606422"/>
                    </a:lnTo>
                    <a:close/>
                    <a:moveTo>
                      <a:pt x="170606" y="901610"/>
                    </a:moveTo>
                    <a:lnTo>
                      <a:pt x="170606" y="896320"/>
                    </a:lnTo>
                    <a:lnTo>
                      <a:pt x="173515" y="895791"/>
                    </a:lnTo>
                    <a:lnTo>
                      <a:pt x="175896" y="890236"/>
                    </a:lnTo>
                    <a:lnTo>
                      <a:pt x="177659" y="887855"/>
                    </a:lnTo>
                    <a:lnTo>
                      <a:pt x="183478" y="892264"/>
                    </a:lnTo>
                    <a:lnTo>
                      <a:pt x="192560" y="896320"/>
                    </a:lnTo>
                    <a:lnTo>
                      <a:pt x="201641" y="897819"/>
                    </a:lnTo>
                    <a:lnTo>
                      <a:pt x="203933" y="900993"/>
                    </a:lnTo>
                    <a:lnTo>
                      <a:pt x="210634" y="906812"/>
                    </a:lnTo>
                    <a:lnTo>
                      <a:pt x="211780" y="911749"/>
                    </a:lnTo>
                    <a:lnTo>
                      <a:pt x="209753" y="909986"/>
                    </a:lnTo>
                    <a:lnTo>
                      <a:pt x="207372" y="912278"/>
                    </a:lnTo>
                    <a:lnTo>
                      <a:pt x="201817" y="911749"/>
                    </a:lnTo>
                    <a:lnTo>
                      <a:pt x="199437" y="916422"/>
                    </a:lnTo>
                    <a:lnTo>
                      <a:pt x="196527" y="916687"/>
                    </a:lnTo>
                    <a:lnTo>
                      <a:pt x="194764" y="912278"/>
                    </a:lnTo>
                    <a:lnTo>
                      <a:pt x="190356" y="905577"/>
                    </a:lnTo>
                    <a:lnTo>
                      <a:pt x="188328" y="909898"/>
                    </a:lnTo>
                    <a:lnTo>
                      <a:pt x="184536" y="907870"/>
                    </a:lnTo>
                    <a:lnTo>
                      <a:pt x="179863" y="903197"/>
                    </a:lnTo>
                    <a:lnTo>
                      <a:pt x="176337" y="907605"/>
                    </a:lnTo>
                    <a:lnTo>
                      <a:pt x="172810" y="904696"/>
                    </a:lnTo>
                    <a:lnTo>
                      <a:pt x="170606" y="901610"/>
                    </a:lnTo>
                    <a:close/>
                    <a:moveTo>
                      <a:pt x="158968" y="886709"/>
                    </a:moveTo>
                    <a:lnTo>
                      <a:pt x="161613" y="883183"/>
                    </a:lnTo>
                    <a:lnTo>
                      <a:pt x="162494" y="885475"/>
                    </a:lnTo>
                    <a:lnTo>
                      <a:pt x="164522" y="888649"/>
                    </a:lnTo>
                    <a:lnTo>
                      <a:pt x="165139" y="891911"/>
                    </a:lnTo>
                    <a:lnTo>
                      <a:pt x="167784" y="893057"/>
                    </a:lnTo>
                    <a:lnTo>
                      <a:pt x="165139" y="895085"/>
                    </a:lnTo>
                    <a:lnTo>
                      <a:pt x="163112" y="893675"/>
                    </a:lnTo>
                    <a:lnTo>
                      <a:pt x="159585" y="896849"/>
                    </a:lnTo>
                    <a:lnTo>
                      <a:pt x="159937" y="890765"/>
                    </a:lnTo>
                    <a:lnTo>
                      <a:pt x="158968" y="886709"/>
                    </a:lnTo>
                    <a:close/>
                    <a:moveTo>
                      <a:pt x="136749" y="880890"/>
                    </a:moveTo>
                    <a:lnTo>
                      <a:pt x="141687" y="883183"/>
                    </a:lnTo>
                    <a:lnTo>
                      <a:pt x="143979" y="882301"/>
                    </a:lnTo>
                    <a:lnTo>
                      <a:pt x="147770" y="884858"/>
                    </a:lnTo>
                    <a:lnTo>
                      <a:pt x="149181" y="888384"/>
                    </a:lnTo>
                    <a:lnTo>
                      <a:pt x="151209" y="886357"/>
                    </a:lnTo>
                    <a:lnTo>
                      <a:pt x="155264" y="887238"/>
                    </a:lnTo>
                    <a:lnTo>
                      <a:pt x="155882" y="883183"/>
                    </a:lnTo>
                    <a:lnTo>
                      <a:pt x="154118" y="882036"/>
                    </a:lnTo>
                    <a:lnTo>
                      <a:pt x="150944" y="880890"/>
                    </a:lnTo>
                    <a:lnTo>
                      <a:pt x="150944" y="879391"/>
                    </a:lnTo>
                    <a:lnTo>
                      <a:pt x="147770" y="878774"/>
                    </a:lnTo>
                    <a:lnTo>
                      <a:pt x="142216" y="875600"/>
                    </a:lnTo>
                    <a:lnTo>
                      <a:pt x="138424" y="875600"/>
                    </a:lnTo>
                    <a:lnTo>
                      <a:pt x="134898" y="874718"/>
                    </a:lnTo>
                    <a:lnTo>
                      <a:pt x="136749" y="880890"/>
                    </a:lnTo>
                    <a:close/>
                    <a:moveTo>
                      <a:pt x="228709" y="868370"/>
                    </a:moveTo>
                    <a:lnTo>
                      <a:pt x="231883" y="869252"/>
                    </a:lnTo>
                    <a:lnTo>
                      <a:pt x="233911" y="871633"/>
                    </a:lnTo>
                    <a:lnTo>
                      <a:pt x="246431" y="873043"/>
                    </a:lnTo>
                    <a:lnTo>
                      <a:pt x="243521" y="876217"/>
                    </a:lnTo>
                    <a:lnTo>
                      <a:pt x="262213" y="917656"/>
                    </a:lnTo>
                    <a:lnTo>
                      <a:pt x="264858" y="922065"/>
                    </a:lnTo>
                    <a:lnTo>
                      <a:pt x="260802" y="922065"/>
                    </a:lnTo>
                    <a:lnTo>
                      <a:pt x="257011" y="920302"/>
                    </a:lnTo>
                    <a:lnTo>
                      <a:pt x="251809" y="920037"/>
                    </a:lnTo>
                    <a:lnTo>
                      <a:pt x="241934" y="919155"/>
                    </a:lnTo>
                    <a:lnTo>
                      <a:pt x="236997" y="917392"/>
                    </a:lnTo>
                    <a:lnTo>
                      <a:pt x="233205" y="914482"/>
                    </a:lnTo>
                    <a:lnTo>
                      <a:pt x="231795" y="914482"/>
                    </a:lnTo>
                    <a:lnTo>
                      <a:pt x="229150" y="910691"/>
                    </a:lnTo>
                    <a:lnTo>
                      <a:pt x="227386" y="913953"/>
                    </a:lnTo>
                    <a:lnTo>
                      <a:pt x="223948" y="914218"/>
                    </a:lnTo>
                    <a:lnTo>
                      <a:pt x="221567" y="913601"/>
                    </a:lnTo>
                    <a:lnTo>
                      <a:pt x="216630" y="910074"/>
                    </a:lnTo>
                    <a:lnTo>
                      <a:pt x="214866" y="911573"/>
                    </a:lnTo>
                    <a:lnTo>
                      <a:pt x="213720" y="907782"/>
                    </a:lnTo>
                    <a:lnTo>
                      <a:pt x="215483" y="906283"/>
                    </a:lnTo>
                    <a:lnTo>
                      <a:pt x="222449" y="907429"/>
                    </a:lnTo>
                    <a:lnTo>
                      <a:pt x="227739" y="907164"/>
                    </a:lnTo>
                    <a:lnTo>
                      <a:pt x="231530" y="904519"/>
                    </a:lnTo>
                    <a:lnTo>
                      <a:pt x="233029" y="902756"/>
                    </a:lnTo>
                    <a:lnTo>
                      <a:pt x="233293" y="900728"/>
                    </a:lnTo>
                    <a:lnTo>
                      <a:pt x="231883" y="897819"/>
                    </a:lnTo>
                    <a:lnTo>
                      <a:pt x="228973" y="896937"/>
                    </a:lnTo>
                    <a:lnTo>
                      <a:pt x="231001" y="893763"/>
                    </a:lnTo>
                    <a:lnTo>
                      <a:pt x="233293" y="893146"/>
                    </a:lnTo>
                    <a:lnTo>
                      <a:pt x="233911" y="891382"/>
                    </a:lnTo>
                    <a:lnTo>
                      <a:pt x="227827" y="890853"/>
                    </a:lnTo>
                    <a:lnTo>
                      <a:pt x="225799" y="888825"/>
                    </a:lnTo>
                    <a:lnTo>
                      <a:pt x="224036" y="885034"/>
                    </a:lnTo>
                    <a:lnTo>
                      <a:pt x="226328" y="880361"/>
                    </a:lnTo>
                    <a:lnTo>
                      <a:pt x="224300" y="882389"/>
                    </a:lnTo>
                    <a:lnTo>
                      <a:pt x="222801" y="880978"/>
                    </a:lnTo>
                    <a:lnTo>
                      <a:pt x="222537" y="874542"/>
                    </a:lnTo>
                    <a:lnTo>
                      <a:pt x="225182" y="870486"/>
                    </a:lnTo>
                    <a:lnTo>
                      <a:pt x="228709" y="868370"/>
                    </a:lnTo>
                    <a:close/>
                    <a:moveTo>
                      <a:pt x="273586" y="928677"/>
                    </a:moveTo>
                    <a:lnTo>
                      <a:pt x="276760" y="929295"/>
                    </a:lnTo>
                    <a:lnTo>
                      <a:pt x="279141" y="929559"/>
                    </a:lnTo>
                    <a:lnTo>
                      <a:pt x="280023" y="928060"/>
                    </a:lnTo>
                    <a:lnTo>
                      <a:pt x="279141" y="926297"/>
                    </a:lnTo>
                    <a:lnTo>
                      <a:pt x="276231" y="925680"/>
                    </a:lnTo>
                    <a:lnTo>
                      <a:pt x="273586" y="928677"/>
                    </a:lnTo>
                    <a:close/>
                    <a:moveTo>
                      <a:pt x="207372" y="919949"/>
                    </a:moveTo>
                    <a:lnTo>
                      <a:pt x="205609" y="922329"/>
                    </a:lnTo>
                    <a:lnTo>
                      <a:pt x="204727" y="921448"/>
                    </a:lnTo>
                    <a:lnTo>
                      <a:pt x="204727" y="918538"/>
                    </a:lnTo>
                    <a:lnTo>
                      <a:pt x="206226" y="917039"/>
                    </a:lnTo>
                    <a:lnTo>
                      <a:pt x="209135" y="916775"/>
                    </a:lnTo>
                    <a:lnTo>
                      <a:pt x="211428" y="917392"/>
                    </a:lnTo>
                    <a:lnTo>
                      <a:pt x="217599" y="917039"/>
                    </a:lnTo>
                    <a:lnTo>
                      <a:pt x="222008" y="917656"/>
                    </a:lnTo>
                    <a:lnTo>
                      <a:pt x="228444" y="917039"/>
                    </a:lnTo>
                    <a:lnTo>
                      <a:pt x="237526" y="921448"/>
                    </a:lnTo>
                    <a:lnTo>
                      <a:pt x="248635" y="923476"/>
                    </a:lnTo>
                    <a:lnTo>
                      <a:pt x="255600" y="924357"/>
                    </a:lnTo>
                    <a:lnTo>
                      <a:pt x="265563" y="926385"/>
                    </a:lnTo>
                    <a:lnTo>
                      <a:pt x="263800" y="931323"/>
                    </a:lnTo>
                    <a:lnTo>
                      <a:pt x="270765" y="929030"/>
                    </a:lnTo>
                    <a:lnTo>
                      <a:pt x="270765" y="934849"/>
                    </a:lnTo>
                    <a:lnTo>
                      <a:pt x="284519" y="943578"/>
                    </a:lnTo>
                    <a:lnTo>
                      <a:pt x="285666" y="947986"/>
                    </a:lnTo>
                    <a:lnTo>
                      <a:pt x="286547" y="951513"/>
                    </a:lnTo>
                    <a:lnTo>
                      <a:pt x="284519" y="951249"/>
                    </a:lnTo>
                    <a:lnTo>
                      <a:pt x="281874" y="948868"/>
                    </a:lnTo>
                    <a:lnTo>
                      <a:pt x="277818" y="945429"/>
                    </a:lnTo>
                    <a:lnTo>
                      <a:pt x="274644" y="944812"/>
                    </a:lnTo>
                    <a:lnTo>
                      <a:pt x="267679" y="941550"/>
                    </a:lnTo>
                    <a:lnTo>
                      <a:pt x="257452" y="943842"/>
                    </a:lnTo>
                    <a:lnTo>
                      <a:pt x="257981" y="942079"/>
                    </a:lnTo>
                    <a:lnTo>
                      <a:pt x="255071" y="941462"/>
                    </a:lnTo>
                    <a:lnTo>
                      <a:pt x="253660" y="937935"/>
                    </a:lnTo>
                    <a:lnTo>
                      <a:pt x="247841" y="934761"/>
                    </a:lnTo>
                    <a:lnTo>
                      <a:pt x="244667" y="930970"/>
                    </a:lnTo>
                    <a:lnTo>
                      <a:pt x="240876" y="933879"/>
                    </a:lnTo>
                    <a:lnTo>
                      <a:pt x="235674" y="934144"/>
                    </a:lnTo>
                    <a:lnTo>
                      <a:pt x="231266" y="931763"/>
                    </a:lnTo>
                    <a:lnTo>
                      <a:pt x="227210" y="930000"/>
                    </a:lnTo>
                    <a:lnTo>
                      <a:pt x="223683" y="927972"/>
                    </a:lnTo>
                    <a:lnTo>
                      <a:pt x="220156" y="925063"/>
                    </a:lnTo>
                    <a:lnTo>
                      <a:pt x="218657" y="922153"/>
                    </a:lnTo>
                    <a:lnTo>
                      <a:pt x="211957" y="921536"/>
                    </a:lnTo>
                    <a:lnTo>
                      <a:pt x="207372" y="919949"/>
                    </a:lnTo>
                    <a:close/>
                    <a:moveTo>
                      <a:pt x="222272" y="894556"/>
                    </a:moveTo>
                    <a:lnTo>
                      <a:pt x="224653" y="892264"/>
                    </a:lnTo>
                    <a:lnTo>
                      <a:pt x="225270" y="899229"/>
                    </a:lnTo>
                    <a:lnTo>
                      <a:pt x="226416" y="906195"/>
                    </a:lnTo>
                    <a:lnTo>
                      <a:pt x="223154" y="905313"/>
                    </a:lnTo>
                    <a:lnTo>
                      <a:pt x="217952" y="904696"/>
                    </a:lnTo>
                    <a:lnTo>
                      <a:pt x="218834" y="900023"/>
                    </a:lnTo>
                    <a:lnTo>
                      <a:pt x="218569" y="895350"/>
                    </a:lnTo>
                    <a:lnTo>
                      <a:pt x="222272" y="894556"/>
                    </a:lnTo>
                    <a:close/>
                    <a:moveTo>
                      <a:pt x="0" y="21337"/>
                    </a:moveTo>
                    <a:lnTo>
                      <a:pt x="8111" y="13401"/>
                    </a:lnTo>
                    <a:lnTo>
                      <a:pt x="13930" y="4320"/>
                    </a:lnTo>
                    <a:lnTo>
                      <a:pt x="17105" y="0"/>
                    </a:lnTo>
                    <a:lnTo>
                      <a:pt x="17722" y="3527"/>
                    </a:lnTo>
                    <a:lnTo>
                      <a:pt x="23894" y="11991"/>
                    </a:lnTo>
                    <a:lnTo>
                      <a:pt x="28831" y="22218"/>
                    </a:lnTo>
                    <a:lnTo>
                      <a:pt x="34033" y="34474"/>
                    </a:lnTo>
                    <a:lnTo>
                      <a:pt x="39588" y="47346"/>
                    </a:lnTo>
                    <a:lnTo>
                      <a:pt x="41880" y="58456"/>
                    </a:lnTo>
                    <a:lnTo>
                      <a:pt x="42762" y="68330"/>
                    </a:lnTo>
                    <a:lnTo>
                      <a:pt x="46817" y="80850"/>
                    </a:lnTo>
                    <a:lnTo>
                      <a:pt x="54664" y="98925"/>
                    </a:lnTo>
                    <a:lnTo>
                      <a:pt x="62511" y="117264"/>
                    </a:lnTo>
                    <a:lnTo>
                      <a:pt x="72739" y="134545"/>
                    </a:lnTo>
                    <a:lnTo>
                      <a:pt x="81203" y="132517"/>
                    </a:lnTo>
                    <a:lnTo>
                      <a:pt x="85611" y="137190"/>
                    </a:lnTo>
                    <a:lnTo>
                      <a:pt x="59954" y="185065"/>
                    </a:lnTo>
                    <a:lnTo>
                      <a:pt x="63746" y="215660"/>
                    </a:lnTo>
                    <a:lnTo>
                      <a:pt x="62247" y="242816"/>
                    </a:lnTo>
                    <a:lnTo>
                      <a:pt x="52901" y="262653"/>
                    </a:lnTo>
                    <a:lnTo>
                      <a:pt x="46465" y="286018"/>
                    </a:lnTo>
                    <a:lnTo>
                      <a:pt x="47611" y="310265"/>
                    </a:lnTo>
                    <a:lnTo>
                      <a:pt x="45583" y="329221"/>
                    </a:lnTo>
                    <a:lnTo>
                      <a:pt x="45319" y="350205"/>
                    </a:lnTo>
                    <a:lnTo>
                      <a:pt x="52901" y="369161"/>
                    </a:lnTo>
                    <a:lnTo>
                      <a:pt x="61982" y="387853"/>
                    </a:lnTo>
                    <a:lnTo>
                      <a:pt x="68948" y="405310"/>
                    </a:lnTo>
                    <a:lnTo>
                      <a:pt x="68330" y="424883"/>
                    </a:lnTo>
                    <a:lnTo>
                      <a:pt x="67449" y="447366"/>
                    </a:lnTo>
                    <a:lnTo>
                      <a:pt x="68330" y="465176"/>
                    </a:lnTo>
                    <a:lnTo>
                      <a:pt x="62776" y="478049"/>
                    </a:lnTo>
                    <a:lnTo>
                      <a:pt x="64804" y="494360"/>
                    </a:lnTo>
                    <a:lnTo>
                      <a:pt x="74150" y="520634"/>
                    </a:lnTo>
                    <a:lnTo>
                      <a:pt x="72739" y="542236"/>
                    </a:lnTo>
                    <a:lnTo>
                      <a:pt x="71593" y="558547"/>
                    </a:lnTo>
                    <a:lnTo>
                      <a:pt x="73973" y="574858"/>
                    </a:lnTo>
                    <a:lnTo>
                      <a:pt x="80057" y="598487"/>
                    </a:lnTo>
                    <a:lnTo>
                      <a:pt x="83848" y="617443"/>
                    </a:lnTo>
                    <a:lnTo>
                      <a:pt x="90813" y="637281"/>
                    </a:lnTo>
                    <a:lnTo>
                      <a:pt x="99278" y="653063"/>
                    </a:lnTo>
                    <a:lnTo>
                      <a:pt x="109152" y="668228"/>
                    </a:lnTo>
                    <a:lnTo>
                      <a:pt x="111445" y="678191"/>
                    </a:lnTo>
                    <a:lnTo>
                      <a:pt x="115853" y="690447"/>
                    </a:lnTo>
                    <a:lnTo>
                      <a:pt x="119027" y="706758"/>
                    </a:lnTo>
                    <a:lnTo>
                      <a:pt x="123965" y="726331"/>
                    </a:lnTo>
                    <a:lnTo>
                      <a:pt x="123700" y="741761"/>
                    </a:lnTo>
                    <a:lnTo>
                      <a:pt x="124846" y="763626"/>
                    </a:lnTo>
                    <a:lnTo>
                      <a:pt x="121055" y="788137"/>
                    </a:lnTo>
                    <a:lnTo>
                      <a:pt x="129255" y="811149"/>
                    </a:lnTo>
                    <a:lnTo>
                      <a:pt x="150239" y="826314"/>
                    </a:lnTo>
                    <a:lnTo>
                      <a:pt x="168931" y="844389"/>
                    </a:lnTo>
                    <a:lnTo>
                      <a:pt x="241846" y="863080"/>
                    </a:lnTo>
                    <a:lnTo>
                      <a:pt x="240964" y="863609"/>
                    </a:lnTo>
                    <a:lnTo>
                      <a:pt x="237790" y="864755"/>
                    </a:lnTo>
                    <a:lnTo>
                      <a:pt x="235762" y="863874"/>
                    </a:lnTo>
                    <a:lnTo>
                      <a:pt x="231354" y="863874"/>
                    </a:lnTo>
                    <a:lnTo>
                      <a:pt x="228973" y="862728"/>
                    </a:lnTo>
                    <a:lnTo>
                      <a:pt x="224917" y="864138"/>
                    </a:lnTo>
                    <a:lnTo>
                      <a:pt x="222625" y="865284"/>
                    </a:lnTo>
                    <a:lnTo>
                      <a:pt x="225270" y="866783"/>
                    </a:lnTo>
                    <a:lnTo>
                      <a:pt x="224124" y="867930"/>
                    </a:lnTo>
                    <a:lnTo>
                      <a:pt x="221214" y="868547"/>
                    </a:lnTo>
                    <a:lnTo>
                      <a:pt x="218305" y="869164"/>
                    </a:lnTo>
                    <a:lnTo>
                      <a:pt x="218305" y="871809"/>
                    </a:lnTo>
                    <a:lnTo>
                      <a:pt x="213632" y="871809"/>
                    </a:lnTo>
                    <a:lnTo>
                      <a:pt x="212486" y="871192"/>
                    </a:lnTo>
                    <a:lnTo>
                      <a:pt x="210987" y="872690"/>
                    </a:lnTo>
                    <a:lnTo>
                      <a:pt x="209224" y="872690"/>
                    </a:lnTo>
                    <a:lnTo>
                      <a:pt x="207813" y="872955"/>
                    </a:lnTo>
                    <a:lnTo>
                      <a:pt x="206667" y="873572"/>
                    </a:lnTo>
                    <a:lnTo>
                      <a:pt x="206931" y="877099"/>
                    </a:lnTo>
                    <a:lnTo>
                      <a:pt x="206049" y="878862"/>
                    </a:lnTo>
                    <a:lnTo>
                      <a:pt x="206314" y="880009"/>
                    </a:lnTo>
                    <a:lnTo>
                      <a:pt x="207725" y="882918"/>
                    </a:lnTo>
                    <a:lnTo>
                      <a:pt x="208871" y="884064"/>
                    </a:lnTo>
                    <a:lnTo>
                      <a:pt x="207989" y="885211"/>
                    </a:lnTo>
                    <a:lnTo>
                      <a:pt x="209135" y="887591"/>
                    </a:lnTo>
                    <a:lnTo>
                      <a:pt x="209400" y="889619"/>
                    </a:lnTo>
                    <a:lnTo>
                      <a:pt x="210017" y="890501"/>
                    </a:lnTo>
                    <a:lnTo>
                      <a:pt x="209135" y="892528"/>
                    </a:lnTo>
                    <a:lnTo>
                      <a:pt x="211780" y="894556"/>
                    </a:lnTo>
                    <a:lnTo>
                      <a:pt x="212398" y="897201"/>
                    </a:lnTo>
                    <a:lnTo>
                      <a:pt x="213279" y="900728"/>
                    </a:lnTo>
                    <a:lnTo>
                      <a:pt x="212133" y="902756"/>
                    </a:lnTo>
                    <a:lnTo>
                      <a:pt x="204815" y="895174"/>
                    </a:lnTo>
                    <a:lnTo>
                      <a:pt x="202170" y="893410"/>
                    </a:lnTo>
                    <a:lnTo>
                      <a:pt x="200407" y="891030"/>
                    </a:lnTo>
                    <a:lnTo>
                      <a:pt x="198114" y="891030"/>
                    </a:lnTo>
                    <a:lnTo>
                      <a:pt x="195205" y="893410"/>
                    </a:lnTo>
                    <a:lnTo>
                      <a:pt x="189121" y="891382"/>
                    </a:lnTo>
                    <a:lnTo>
                      <a:pt x="182949" y="887855"/>
                    </a:lnTo>
                    <a:lnTo>
                      <a:pt x="182685" y="885828"/>
                    </a:lnTo>
                    <a:lnTo>
                      <a:pt x="185594" y="886092"/>
                    </a:lnTo>
                    <a:lnTo>
                      <a:pt x="188504" y="885475"/>
                    </a:lnTo>
                    <a:lnTo>
                      <a:pt x="191149" y="881684"/>
                    </a:lnTo>
                    <a:lnTo>
                      <a:pt x="190532" y="877275"/>
                    </a:lnTo>
                    <a:lnTo>
                      <a:pt x="185330" y="876394"/>
                    </a:lnTo>
                    <a:lnTo>
                      <a:pt x="179246" y="878510"/>
                    </a:lnTo>
                    <a:lnTo>
                      <a:pt x="176601" y="880538"/>
                    </a:lnTo>
                    <a:lnTo>
                      <a:pt x="176337" y="882301"/>
                    </a:lnTo>
                    <a:lnTo>
                      <a:pt x="175720" y="884682"/>
                    </a:lnTo>
                    <a:lnTo>
                      <a:pt x="174838" y="886709"/>
                    </a:lnTo>
                    <a:lnTo>
                      <a:pt x="171928" y="886709"/>
                    </a:lnTo>
                    <a:lnTo>
                      <a:pt x="167520" y="884682"/>
                    </a:lnTo>
                    <a:lnTo>
                      <a:pt x="166374" y="882654"/>
                    </a:lnTo>
                    <a:lnTo>
                      <a:pt x="167873" y="881243"/>
                    </a:lnTo>
                    <a:lnTo>
                      <a:pt x="163200" y="878333"/>
                    </a:lnTo>
                    <a:lnTo>
                      <a:pt x="166991" y="874807"/>
                    </a:lnTo>
                    <a:lnTo>
                      <a:pt x="170165" y="872161"/>
                    </a:lnTo>
                    <a:lnTo>
                      <a:pt x="175720" y="870398"/>
                    </a:lnTo>
                    <a:lnTo>
                      <a:pt x="177747" y="868370"/>
                    </a:lnTo>
                    <a:lnTo>
                      <a:pt x="174221" y="867224"/>
                    </a:lnTo>
                    <a:lnTo>
                      <a:pt x="167520" y="866960"/>
                    </a:lnTo>
                    <a:lnTo>
                      <a:pt x="163464" y="867841"/>
                    </a:lnTo>
                    <a:lnTo>
                      <a:pt x="162318" y="870751"/>
                    </a:lnTo>
                    <a:lnTo>
                      <a:pt x="162053" y="874895"/>
                    </a:lnTo>
                    <a:lnTo>
                      <a:pt x="160290" y="877452"/>
                    </a:lnTo>
                    <a:lnTo>
                      <a:pt x="157998" y="877452"/>
                    </a:lnTo>
                    <a:lnTo>
                      <a:pt x="156234" y="875688"/>
                    </a:lnTo>
                    <a:lnTo>
                      <a:pt x="154735" y="873925"/>
                    </a:lnTo>
                    <a:lnTo>
                      <a:pt x="154118" y="871545"/>
                    </a:lnTo>
                    <a:lnTo>
                      <a:pt x="152090" y="875071"/>
                    </a:lnTo>
                    <a:lnTo>
                      <a:pt x="150944" y="873572"/>
                    </a:lnTo>
                    <a:lnTo>
                      <a:pt x="148916" y="872074"/>
                    </a:lnTo>
                    <a:lnTo>
                      <a:pt x="151561" y="868282"/>
                    </a:lnTo>
                    <a:lnTo>
                      <a:pt x="148916" y="869164"/>
                    </a:lnTo>
                    <a:lnTo>
                      <a:pt x="147417" y="867665"/>
                    </a:lnTo>
                    <a:lnTo>
                      <a:pt x="143097" y="864755"/>
                    </a:lnTo>
                    <a:lnTo>
                      <a:pt x="140188" y="861581"/>
                    </a:lnTo>
                    <a:lnTo>
                      <a:pt x="138424" y="856909"/>
                    </a:lnTo>
                    <a:lnTo>
                      <a:pt x="142216" y="856291"/>
                    </a:lnTo>
                    <a:lnTo>
                      <a:pt x="150680" y="857173"/>
                    </a:lnTo>
                    <a:lnTo>
                      <a:pt x="154735" y="856909"/>
                    </a:lnTo>
                    <a:lnTo>
                      <a:pt x="156499" y="856291"/>
                    </a:lnTo>
                    <a:lnTo>
                      <a:pt x="158527" y="857173"/>
                    </a:lnTo>
                    <a:lnTo>
                      <a:pt x="160819" y="860082"/>
                    </a:lnTo>
                    <a:lnTo>
                      <a:pt x="161965" y="861581"/>
                    </a:lnTo>
                    <a:lnTo>
                      <a:pt x="161613" y="858055"/>
                    </a:lnTo>
                    <a:lnTo>
                      <a:pt x="158086" y="851089"/>
                    </a:lnTo>
                    <a:lnTo>
                      <a:pt x="151650" y="844917"/>
                    </a:lnTo>
                    <a:lnTo>
                      <a:pt x="147594" y="842537"/>
                    </a:lnTo>
                    <a:lnTo>
                      <a:pt x="149357" y="844036"/>
                    </a:lnTo>
                    <a:lnTo>
                      <a:pt x="151385" y="846328"/>
                    </a:lnTo>
                    <a:lnTo>
                      <a:pt x="149357" y="846681"/>
                    </a:lnTo>
                    <a:lnTo>
                      <a:pt x="146712" y="846328"/>
                    </a:lnTo>
                    <a:lnTo>
                      <a:pt x="147594" y="848092"/>
                    </a:lnTo>
                    <a:lnTo>
                      <a:pt x="148211" y="850384"/>
                    </a:lnTo>
                    <a:lnTo>
                      <a:pt x="146712" y="852147"/>
                    </a:lnTo>
                    <a:lnTo>
                      <a:pt x="144067" y="852412"/>
                    </a:lnTo>
                    <a:lnTo>
                      <a:pt x="142039" y="851795"/>
                    </a:lnTo>
                    <a:lnTo>
                      <a:pt x="140540" y="850031"/>
                    </a:lnTo>
                    <a:lnTo>
                      <a:pt x="134457" y="848885"/>
                    </a:lnTo>
                    <a:lnTo>
                      <a:pt x="134721" y="844830"/>
                    </a:lnTo>
                    <a:lnTo>
                      <a:pt x="132693" y="842449"/>
                    </a:lnTo>
                    <a:lnTo>
                      <a:pt x="132958" y="840950"/>
                    </a:lnTo>
                    <a:lnTo>
                      <a:pt x="132958" y="838922"/>
                    </a:lnTo>
                    <a:lnTo>
                      <a:pt x="128549" y="837247"/>
                    </a:lnTo>
                    <a:lnTo>
                      <a:pt x="122466" y="836101"/>
                    </a:lnTo>
                    <a:lnTo>
                      <a:pt x="124494" y="831428"/>
                    </a:lnTo>
                    <a:lnTo>
                      <a:pt x="123347" y="829047"/>
                    </a:lnTo>
                    <a:lnTo>
                      <a:pt x="123347" y="826138"/>
                    </a:lnTo>
                    <a:lnTo>
                      <a:pt x="125375" y="823493"/>
                    </a:lnTo>
                    <a:lnTo>
                      <a:pt x="125640" y="820583"/>
                    </a:lnTo>
                    <a:lnTo>
                      <a:pt x="123876" y="819966"/>
                    </a:lnTo>
                    <a:lnTo>
                      <a:pt x="120614" y="820848"/>
                    </a:lnTo>
                    <a:lnTo>
                      <a:pt x="117088" y="820583"/>
                    </a:lnTo>
                    <a:lnTo>
                      <a:pt x="115941" y="818202"/>
                    </a:lnTo>
                    <a:lnTo>
                      <a:pt x="115324" y="816439"/>
                    </a:lnTo>
                    <a:lnTo>
                      <a:pt x="112679" y="814676"/>
                    </a:lnTo>
                    <a:lnTo>
                      <a:pt x="108271" y="812648"/>
                    </a:lnTo>
                    <a:lnTo>
                      <a:pt x="104215" y="813794"/>
                    </a:lnTo>
                    <a:lnTo>
                      <a:pt x="96897" y="810885"/>
                    </a:lnTo>
                    <a:lnTo>
                      <a:pt x="96897" y="814940"/>
                    </a:lnTo>
                    <a:lnTo>
                      <a:pt x="99278" y="810885"/>
                    </a:lnTo>
                    <a:lnTo>
                      <a:pt x="98396" y="807975"/>
                    </a:lnTo>
                    <a:lnTo>
                      <a:pt x="102804" y="806741"/>
                    </a:lnTo>
                    <a:lnTo>
                      <a:pt x="109241" y="809386"/>
                    </a:lnTo>
                    <a:lnTo>
                      <a:pt x="112150" y="810003"/>
                    </a:lnTo>
                    <a:lnTo>
                      <a:pt x="111268" y="808504"/>
                    </a:lnTo>
                    <a:lnTo>
                      <a:pt x="110122" y="806123"/>
                    </a:lnTo>
                    <a:lnTo>
                      <a:pt x="107742" y="804713"/>
                    </a:lnTo>
                    <a:lnTo>
                      <a:pt x="106331" y="804977"/>
                    </a:lnTo>
                    <a:lnTo>
                      <a:pt x="104303" y="800922"/>
                    </a:lnTo>
                    <a:lnTo>
                      <a:pt x="105185" y="802068"/>
                    </a:lnTo>
                    <a:lnTo>
                      <a:pt x="97338" y="802950"/>
                    </a:lnTo>
                    <a:lnTo>
                      <a:pt x="94428" y="800569"/>
                    </a:lnTo>
                    <a:lnTo>
                      <a:pt x="90637" y="799687"/>
                    </a:lnTo>
                    <a:lnTo>
                      <a:pt x="88874" y="795631"/>
                    </a:lnTo>
                    <a:lnTo>
                      <a:pt x="90373" y="793251"/>
                    </a:lnTo>
                    <a:lnTo>
                      <a:pt x="90373" y="790077"/>
                    </a:lnTo>
                    <a:lnTo>
                      <a:pt x="87728" y="789195"/>
                    </a:lnTo>
                    <a:lnTo>
                      <a:pt x="83319" y="787432"/>
                    </a:lnTo>
                    <a:lnTo>
                      <a:pt x="85347" y="784170"/>
                    </a:lnTo>
                    <a:lnTo>
                      <a:pt x="82437" y="783905"/>
                    </a:lnTo>
                    <a:lnTo>
                      <a:pt x="83936" y="779849"/>
                    </a:lnTo>
                    <a:lnTo>
                      <a:pt x="80410" y="778086"/>
                    </a:lnTo>
                    <a:lnTo>
                      <a:pt x="82173" y="775176"/>
                    </a:lnTo>
                    <a:lnTo>
                      <a:pt x="80674" y="772002"/>
                    </a:lnTo>
                    <a:lnTo>
                      <a:pt x="77764" y="772002"/>
                    </a:lnTo>
                    <a:lnTo>
                      <a:pt x="73709" y="770856"/>
                    </a:lnTo>
                    <a:lnTo>
                      <a:pt x="75472" y="767065"/>
                    </a:lnTo>
                    <a:lnTo>
                      <a:pt x="74326" y="766536"/>
                    </a:lnTo>
                    <a:lnTo>
                      <a:pt x="75472" y="764508"/>
                    </a:lnTo>
                    <a:lnTo>
                      <a:pt x="74326" y="760100"/>
                    </a:lnTo>
                    <a:lnTo>
                      <a:pt x="72563" y="755162"/>
                    </a:lnTo>
                    <a:lnTo>
                      <a:pt x="76618" y="756926"/>
                    </a:lnTo>
                    <a:lnTo>
                      <a:pt x="80145" y="756044"/>
                    </a:lnTo>
                    <a:lnTo>
                      <a:pt x="77500" y="754280"/>
                    </a:lnTo>
                    <a:lnTo>
                      <a:pt x="82790" y="754280"/>
                    </a:lnTo>
                    <a:lnTo>
                      <a:pt x="84201" y="753663"/>
                    </a:lnTo>
                    <a:lnTo>
                      <a:pt x="83319" y="750136"/>
                    </a:lnTo>
                    <a:lnTo>
                      <a:pt x="80410" y="748638"/>
                    </a:lnTo>
                    <a:lnTo>
                      <a:pt x="80939" y="747756"/>
                    </a:lnTo>
                    <a:lnTo>
                      <a:pt x="83584" y="748373"/>
                    </a:lnTo>
                    <a:lnTo>
                      <a:pt x="85611" y="748373"/>
                    </a:lnTo>
                    <a:lnTo>
                      <a:pt x="85347" y="746874"/>
                    </a:lnTo>
                    <a:lnTo>
                      <a:pt x="88257" y="744846"/>
                    </a:lnTo>
                    <a:lnTo>
                      <a:pt x="90020" y="743965"/>
                    </a:lnTo>
                    <a:lnTo>
                      <a:pt x="90549" y="740173"/>
                    </a:lnTo>
                    <a:lnTo>
                      <a:pt x="89667" y="738146"/>
                    </a:lnTo>
                    <a:lnTo>
                      <a:pt x="91166" y="734972"/>
                    </a:lnTo>
                    <a:lnTo>
                      <a:pt x="87639" y="733208"/>
                    </a:lnTo>
                    <a:lnTo>
                      <a:pt x="84113" y="733561"/>
                    </a:lnTo>
                    <a:lnTo>
                      <a:pt x="82966" y="735853"/>
                    </a:lnTo>
                    <a:lnTo>
                      <a:pt x="81556" y="733208"/>
                    </a:lnTo>
                    <a:lnTo>
                      <a:pt x="79792" y="731445"/>
                    </a:lnTo>
                    <a:lnTo>
                      <a:pt x="77500" y="730299"/>
                    </a:lnTo>
                    <a:lnTo>
                      <a:pt x="73973" y="728271"/>
                    </a:lnTo>
                    <a:lnTo>
                      <a:pt x="69565" y="727389"/>
                    </a:lnTo>
                    <a:lnTo>
                      <a:pt x="63393" y="728888"/>
                    </a:lnTo>
                    <a:lnTo>
                      <a:pt x="61101" y="728623"/>
                    </a:lnTo>
                    <a:lnTo>
                      <a:pt x="58808" y="731180"/>
                    </a:lnTo>
                    <a:lnTo>
                      <a:pt x="57309" y="722452"/>
                    </a:lnTo>
                    <a:lnTo>
                      <a:pt x="57309" y="723333"/>
                    </a:lnTo>
                    <a:lnTo>
                      <a:pt x="53254" y="725361"/>
                    </a:lnTo>
                    <a:lnTo>
                      <a:pt x="53518" y="727125"/>
                    </a:lnTo>
                    <a:lnTo>
                      <a:pt x="52989" y="726860"/>
                    </a:lnTo>
                    <a:lnTo>
                      <a:pt x="57398" y="719542"/>
                    </a:lnTo>
                    <a:lnTo>
                      <a:pt x="63481" y="720159"/>
                    </a:lnTo>
                    <a:lnTo>
                      <a:pt x="67890" y="715751"/>
                    </a:lnTo>
                    <a:lnTo>
                      <a:pt x="64098" y="713458"/>
                    </a:lnTo>
                    <a:lnTo>
                      <a:pt x="65597" y="709932"/>
                    </a:lnTo>
                    <a:lnTo>
                      <a:pt x="63305" y="707022"/>
                    </a:lnTo>
                    <a:lnTo>
                      <a:pt x="68859" y="706758"/>
                    </a:lnTo>
                    <a:lnTo>
                      <a:pt x="66567" y="702966"/>
                    </a:lnTo>
                    <a:lnTo>
                      <a:pt x="67713" y="700321"/>
                    </a:lnTo>
                    <a:lnTo>
                      <a:pt x="67713" y="696795"/>
                    </a:lnTo>
                    <a:lnTo>
                      <a:pt x="68595" y="693621"/>
                    </a:lnTo>
                    <a:lnTo>
                      <a:pt x="73885" y="695031"/>
                    </a:lnTo>
                    <a:lnTo>
                      <a:pt x="76795" y="691857"/>
                    </a:lnTo>
                    <a:lnTo>
                      <a:pt x="70975" y="691240"/>
                    </a:lnTo>
                    <a:lnTo>
                      <a:pt x="68683" y="689212"/>
                    </a:lnTo>
                    <a:lnTo>
                      <a:pt x="71593" y="685685"/>
                    </a:lnTo>
                    <a:lnTo>
                      <a:pt x="71328" y="683922"/>
                    </a:lnTo>
                    <a:lnTo>
                      <a:pt x="68683" y="680660"/>
                    </a:lnTo>
                    <a:lnTo>
                      <a:pt x="67801" y="679778"/>
                    </a:lnTo>
                    <a:lnTo>
                      <a:pt x="64539" y="675722"/>
                    </a:lnTo>
                    <a:lnTo>
                      <a:pt x="60748" y="677486"/>
                    </a:lnTo>
                    <a:lnTo>
                      <a:pt x="57221" y="675987"/>
                    </a:lnTo>
                    <a:lnTo>
                      <a:pt x="51138" y="679514"/>
                    </a:lnTo>
                    <a:lnTo>
                      <a:pt x="53783" y="674224"/>
                    </a:lnTo>
                    <a:lnTo>
                      <a:pt x="58191" y="669286"/>
                    </a:lnTo>
                    <a:lnTo>
                      <a:pt x="59602" y="664349"/>
                    </a:lnTo>
                    <a:lnTo>
                      <a:pt x="60748" y="673077"/>
                    </a:lnTo>
                    <a:lnTo>
                      <a:pt x="64804" y="668140"/>
                    </a:lnTo>
                    <a:lnTo>
                      <a:pt x="65068" y="663996"/>
                    </a:lnTo>
                    <a:lnTo>
                      <a:pt x="67713" y="657912"/>
                    </a:lnTo>
                    <a:lnTo>
                      <a:pt x="71504" y="654121"/>
                    </a:lnTo>
                    <a:lnTo>
                      <a:pt x="74678" y="659323"/>
                    </a:lnTo>
                    <a:lnTo>
                      <a:pt x="75825" y="663996"/>
                    </a:lnTo>
                    <a:lnTo>
                      <a:pt x="78734" y="668140"/>
                    </a:lnTo>
                    <a:lnTo>
                      <a:pt x="82525" y="671931"/>
                    </a:lnTo>
                    <a:lnTo>
                      <a:pt x="84906" y="669286"/>
                    </a:lnTo>
                    <a:lnTo>
                      <a:pt x="86669" y="664966"/>
                    </a:lnTo>
                    <a:lnTo>
                      <a:pt x="84024" y="660910"/>
                    </a:lnTo>
                    <a:lnTo>
                      <a:pt x="81115" y="656854"/>
                    </a:lnTo>
                    <a:lnTo>
                      <a:pt x="80586" y="653063"/>
                    </a:lnTo>
                    <a:lnTo>
                      <a:pt x="82966" y="650771"/>
                    </a:lnTo>
                    <a:lnTo>
                      <a:pt x="80939" y="645481"/>
                    </a:lnTo>
                    <a:lnTo>
                      <a:pt x="79440" y="639044"/>
                    </a:lnTo>
                    <a:lnTo>
                      <a:pt x="78558" y="634107"/>
                    </a:lnTo>
                    <a:lnTo>
                      <a:pt x="77676" y="626789"/>
                    </a:lnTo>
                    <a:lnTo>
                      <a:pt x="76530" y="620088"/>
                    </a:lnTo>
                    <a:lnTo>
                      <a:pt x="71593" y="616561"/>
                    </a:lnTo>
                    <a:lnTo>
                      <a:pt x="72474" y="616297"/>
                    </a:lnTo>
                    <a:lnTo>
                      <a:pt x="76530" y="612506"/>
                    </a:lnTo>
                    <a:lnTo>
                      <a:pt x="70711" y="607833"/>
                    </a:lnTo>
                    <a:lnTo>
                      <a:pt x="71593" y="604041"/>
                    </a:lnTo>
                    <a:lnTo>
                      <a:pt x="68948" y="599633"/>
                    </a:lnTo>
                    <a:lnTo>
                      <a:pt x="66303" y="599016"/>
                    </a:lnTo>
                    <a:lnTo>
                      <a:pt x="65421" y="601044"/>
                    </a:lnTo>
                    <a:lnTo>
                      <a:pt x="60483" y="600427"/>
                    </a:lnTo>
                    <a:lnTo>
                      <a:pt x="58985" y="601308"/>
                    </a:lnTo>
                    <a:lnTo>
                      <a:pt x="53695" y="601573"/>
                    </a:lnTo>
                    <a:lnTo>
                      <a:pt x="52813" y="600074"/>
                    </a:lnTo>
                    <a:lnTo>
                      <a:pt x="48140" y="601220"/>
                    </a:lnTo>
                    <a:lnTo>
                      <a:pt x="46377" y="596812"/>
                    </a:lnTo>
                    <a:lnTo>
                      <a:pt x="48757" y="594784"/>
                    </a:lnTo>
                    <a:lnTo>
                      <a:pt x="46112" y="590728"/>
                    </a:lnTo>
                    <a:lnTo>
                      <a:pt x="42056" y="588436"/>
                    </a:lnTo>
                    <a:lnTo>
                      <a:pt x="44084" y="584909"/>
                    </a:lnTo>
                    <a:lnTo>
                      <a:pt x="44701" y="579972"/>
                    </a:lnTo>
                    <a:lnTo>
                      <a:pt x="41792" y="578825"/>
                    </a:lnTo>
                    <a:lnTo>
                      <a:pt x="42056" y="575034"/>
                    </a:lnTo>
                    <a:lnTo>
                      <a:pt x="43555" y="573006"/>
                    </a:lnTo>
                    <a:lnTo>
                      <a:pt x="43555" y="570714"/>
                    </a:lnTo>
                    <a:lnTo>
                      <a:pt x="42673" y="565776"/>
                    </a:lnTo>
                    <a:lnTo>
                      <a:pt x="41175" y="561103"/>
                    </a:lnTo>
                    <a:lnTo>
                      <a:pt x="42673" y="558459"/>
                    </a:lnTo>
                    <a:lnTo>
                      <a:pt x="38618" y="554932"/>
                    </a:lnTo>
                    <a:lnTo>
                      <a:pt x="35444" y="553168"/>
                    </a:lnTo>
                    <a:lnTo>
                      <a:pt x="42409" y="548231"/>
                    </a:lnTo>
                    <a:lnTo>
                      <a:pt x="45319" y="547614"/>
                    </a:lnTo>
                    <a:lnTo>
                      <a:pt x="42144" y="544704"/>
                    </a:lnTo>
                    <a:lnTo>
                      <a:pt x="44789" y="542676"/>
                    </a:lnTo>
                    <a:lnTo>
                      <a:pt x="42762" y="540031"/>
                    </a:lnTo>
                    <a:lnTo>
                      <a:pt x="43026" y="535094"/>
                    </a:lnTo>
                    <a:lnTo>
                      <a:pt x="38618" y="530421"/>
                    </a:lnTo>
                    <a:lnTo>
                      <a:pt x="36854" y="527247"/>
                    </a:lnTo>
                    <a:lnTo>
                      <a:pt x="33063" y="527247"/>
                    </a:lnTo>
                    <a:lnTo>
                      <a:pt x="33592" y="520281"/>
                    </a:lnTo>
                    <a:lnTo>
                      <a:pt x="32446" y="514110"/>
                    </a:lnTo>
                    <a:lnTo>
                      <a:pt x="29801" y="510583"/>
                    </a:lnTo>
                    <a:lnTo>
                      <a:pt x="28655" y="508555"/>
                    </a:lnTo>
                    <a:lnTo>
                      <a:pt x="26362" y="506527"/>
                    </a:lnTo>
                    <a:lnTo>
                      <a:pt x="25481" y="503882"/>
                    </a:lnTo>
                    <a:lnTo>
                      <a:pt x="22571" y="503001"/>
                    </a:lnTo>
                    <a:lnTo>
                      <a:pt x="17281" y="505381"/>
                    </a:lnTo>
                    <a:lnTo>
                      <a:pt x="17281" y="501590"/>
                    </a:lnTo>
                    <a:lnTo>
                      <a:pt x="20455" y="496917"/>
                    </a:lnTo>
                    <a:lnTo>
                      <a:pt x="16928" y="491362"/>
                    </a:lnTo>
                    <a:lnTo>
                      <a:pt x="20455" y="485808"/>
                    </a:lnTo>
                    <a:lnTo>
                      <a:pt x="19044" y="484044"/>
                    </a:lnTo>
                    <a:lnTo>
                      <a:pt x="22218" y="483780"/>
                    </a:lnTo>
                    <a:lnTo>
                      <a:pt x="24511" y="488188"/>
                    </a:lnTo>
                    <a:lnTo>
                      <a:pt x="29448" y="492861"/>
                    </a:lnTo>
                    <a:lnTo>
                      <a:pt x="27685" y="491098"/>
                    </a:lnTo>
                    <a:lnTo>
                      <a:pt x="29184" y="488188"/>
                    </a:lnTo>
                    <a:lnTo>
                      <a:pt x="25657" y="479989"/>
                    </a:lnTo>
                    <a:lnTo>
                      <a:pt x="27685" y="474434"/>
                    </a:lnTo>
                    <a:lnTo>
                      <a:pt x="29977" y="473552"/>
                    </a:lnTo>
                    <a:lnTo>
                      <a:pt x="29977" y="470026"/>
                    </a:lnTo>
                    <a:lnTo>
                      <a:pt x="30594" y="467380"/>
                    </a:lnTo>
                    <a:lnTo>
                      <a:pt x="30859" y="464735"/>
                    </a:lnTo>
                    <a:lnTo>
                      <a:pt x="30594" y="461826"/>
                    </a:lnTo>
                    <a:lnTo>
                      <a:pt x="31212" y="458299"/>
                    </a:lnTo>
                    <a:lnTo>
                      <a:pt x="32975" y="455919"/>
                    </a:lnTo>
                    <a:lnTo>
                      <a:pt x="32975" y="453009"/>
                    </a:lnTo>
                    <a:lnTo>
                      <a:pt x="33504" y="447719"/>
                    </a:lnTo>
                    <a:lnTo>
                      <a:pt x="32622" y="445427"/>
                    </a:lnTo>
                    <a:lnTo>
                      <a:pt x="34650" y="442782"/>
                    </a:lnTo>
                    <a:lnTo>
                      <a:pt x="34650" y="439255"/>
                    </a:lnTo>
                    <a:lnTo>
                      <a:pt x="33504" y="435728"/>
                    </a:lnTo>
                    <a:lnTo>
                      <a:pt x="35267" y="433083"/>
                    </a:lnTo>
                    <a:lnTo>
                      <a:pt x="33768" y="429292"/>
                    </a:lnTo>
                    <a:lnTo>
                      <a:pt x="36149" y="427528"/>
                    </a:lnTo>
                    <a:lnTo>
                      <a:pt x="37560" y="424002"/>
                    </a:lnTo>
                    <a:lnTo>
                      <a:pt x="34386" y="422855"/>
                    </a:lnTo>
                    <a:lnTo>
                      <a:pt x="34915" y="419593"/>
                    </a:lnTo>
                    <a:lnTo>
                      <a:pt x="34915" y="414920"/>
                    </a:lnTo>
                    <a:lnTo>
                      <a:pt x="33416" y="410865"/>
                    </a:lnTo>
                    <a:lnTo>
                      <a:pt x="34915" y="405927"/>
                    </a:lnTo>
                    <a:lnTo>
                      <a:pt x="37824" y="403899"/>
                    </a:lnTo>
                    <a:lnTo>
                      <a:pt x="35179" y="400373"/>
                    </a:lnTo>
                    <a:lnTo>
                      <a:pt x="34033" y="396846"/>
                    </a:lnTo>
                    <a:lnTo>
                      <a:pt x="34033" y="393319"/>
                    </a:lnTo>
                    <a:lnTo>
                      <a:pt x="32887" y="387764"/>
                    </a:lnTo>
                    <a:lnTo>
                      <a:pt x="29095" y="386001"/>
                    </a:lnTo>
                    <a:lnTo>
                      <a:pt x="33504" y="378419"/>
                    </a:lnTo>
                    <a:lnTo>
                      <a:pt x="32622" y="373393"/>
                    </a:lnTo>
                    <a:lnTo>
                      <a:pt x="29977" y="370748"/>
                    </a:lnTo>
                    <a:lnTo>
                      <a:pt x="30594" y="367574"/>
                    </a:lnTo>
                    <a:lnTo>
                      <a:pt x="30594" y="363783"/>
                    </a:lnTo>
                    <a:lnTo>
                      <a:pt x="28302" y="358493"/>
                    </a:lnTo>
                    <a:lnTo>
                      <a:pt x="30594" y="353555"/>
                    </a:lnTo>
                    <a:lnTo>
                      <a:pt x="27685" y="345973"/>
                    </a:lnTo>
                    <a:lnTo>
                      <a:pt x="25040" y="341652"/>
                    </a:lnTo>
                    <a:lnTo>
                      <a:pt x="27332" y="335833"/>
                    </a:lnTo>
                    <a:lnTo>
                      <a:pt x="23541" y="336451"/>
                    </a:lnTo>
                    <a:lnTo>
                      <a:pt x="18251" y="335833"/>
                    </a:lnTo>
                    <a:lnTo>
                      <a:pt x="17105" y="324195"/>
                    </a:lnTo>
                    <a:lnTo>
                      <a:pt x="18868" y="315114"/>
                    </a:lnTo>
                    <a:lnTo>
                      <a:pt x="21160" y="313615"/>
                    </a:lnTo>
                    <a:lnTo>
                      <a:pt x="17105" y="313350"/>
                    </a:lnTo>
                    <a:lnTo>
                      <a:pt x="18868" y="311058"/>
                    </a:lnTo>
                    <a:lnTo>
                      <a:pt x="17105" y="304886"/>
                    </a:lnTo>
                    <a:lnTo>
                      <a:pt x="21513" y="307179"/>
                    </a:lnTo>
                    <a:lnTo>
                      <a:pt x="22130" y="304533"/>
                    </a:lnTo>
                    <a:lnTo>
                      <a:pt x="20102" y="299860"/>
                    </a:lnTo>
                    <a:lnTo>
                      <a:pt x="18339" y="296951"/>
                    </a:lnTo>
                    <a:lnTo>
                      <a:pt x="14812" y="294306"/>
                    </a:lnTo>
                    <a:lnTo>
                      <a:pt x="15958" y="289104"/>
                    </a:lnTo>
                    <a:lnTo>
                      <a:pt x="17986" y="282139"/>
                    </a:lnTo>
                    <a:lnTo>
                      <a:pt x="16487" y="280640"/>
                    </a:lnTo>
                    <a:lnTo>
                      <a:pt x="18515" y="276849"/>
                    </a:lnTo>
                    <a:lnTo>
                      <a:pt x="19397" y="272793"/>
                    </a:lnTo>
                    <a:lnTo>
                      <a:pt x="18251" y="270148"/>
                    </a:lnTo>
                    <a:lnTo>
                      <a:pt x="19397" y="266621"/>
                    </a:lnTo>
                    <a:lnTo>
                      <a:pt x="19397" y="258157"/>
                    </a:lnTo>
                    <a:lnTo>
                      <a:pt x="21160" y="257011"/>
                    </a:lnTo>
                    <a:lnTo>
                      <a:pt x="20896" y="252955"/>
                    </a:lnTo>
                    <a:lnTo>
                      <a:pt x="28743" y="254454"/>
                    </a:lnTo>
                    <a:lnTo>
                      <a:pt x="25833" y="252691"/>
                    </a:lnTo>
                    <a:lnTo>
                      <a:pt x="20543" y="250663"/>
                    </a:lnTo>
                    <a:lnTo>
                      <a:pt x="19397" y="244844"/>
                    </a:lnTo>
                    <a:lnTo>
                      <a:pt x="20279" y="241670"/>
                    </a:lnTo>
                    <a:lnTo>
                      <a:pt x="20896" y="239642"/>
                    </a:lnTo>
                    <a:lnTo>
                      <a:pt x="22395" y="237878"/>
                    </a:lnTo>
                    <a:lnTo>
                      <a:pt x="18603" y="236732"/>
                    </a:lnTo>
                    <a:lnTo>
                      <a:pt x="20631" y="234704"/>
                    </a:lnTo>
                    <a:lnTo>
                      <a:pt x="21248" y="232412"/>
                    </a:lnTo>
                    <a:lnTo>
                      <a:pt x="22130" y="228885"/>
                    </a:lnTo>
                    <a:lnTo>
                      <a:pt x="20984" y="221920"/>
                    </a:lnTo>
                    <a:lnTo>
                      <a:pt x="21601" y="218128"/>
                    </a:lnTo>
                    <a:lnTo>
                      <a:pt x="22483" y="213720"/>
                    </a:lnTo>
                    <a:lnTo>
                      <a:pt x="21866" y="209664"/>
                    </a:lnTo>
                    <a:lnTo>
                      <a:pt x="22483" y="202964"/>
                    </a:lnTo>
                    <a:lnTo>
                      <a:pt x="21337" y="196792"/>
                    </a:lnTo>
                    <a:lnTo>
                      <a:pt x="23365" y="193265"/>
                    </a:lnTo>
                    <a:lnTo>
                      <a:pt x="23365" y="189738"/>
                    </a:lnTo>
                    <a:lnTo>
                      <a:pt x="21337" y="186829"/>
                    </a:lnTo>
                    <a:lnTo>
                      <a:pt x="18692" y="184536"/>
                    </a:lnTo>
                    <a:lnTo>
                      <a:pt x="20719" y="180392"/>
                    </a:lnTo>
                    <a:lnTo>
                      <a:pt x="19573" y="176601"/>
                    </a:lnTo>
                    <a:lnTo>
                      <a:pt x="17193" y="174573"/>
                    </a:lnTo>
                    <a:lnTo>
                      <a:pt x="17193" y="172193"/>
                    </a:lnTo>
                    <a:lnTo>
                      <a:pt x="14548" y="172193"/>
                    </a:lnTo>
                    <a:lnTo>
                      <a:pt x="14283" y="170165"/>
                    </a:lnTo>
                    <a:lnTo>
                      <a:pt x="16311" y="166109"/>
                    </a:lnTo>
                    <a:lnTo>
                      <a:pt x="17193" y="163464"/>
                    </a:lnTo>
                    <a:lnTo>
                      <a:pt x="18339" y="160290"/>
                    </a:lnTo>
                    <a:lnTo>
                      <a:pt x="14548" y="152708"/>
                    </a:lnTo>
                    <a:lnTo>
                      <a:pt x="12520" y="157381"/>
                    </a:lnTo>
                    <a:lnTo>
                      <a:pt x="11903" y="151826"/>
                    </a:lnTo>
                    <a:lnTo>
                      <a:pt x="11021" y="148564"/>
                    </a:lnTo>
                    <a:lnTo>
                      <a:pt x="12784" y="146800"/>
                    </a:lnTo>
                    <a:lnTo>
                      <a:pt x="10756" y="141863"/>
                    </a:lnTo>
                    <a:lnTo>
                      <a:pt x="11903" y="137454"/>
                    </a:lnTo>
                    <a:lnTo>
                      <a:pt x="14548" y="133663"/>
                    </a:lnTo>
                    <a:lnTo>
                      <a:pt x="16576" y="135162"/>
                    </a:lnTo>
                    <a:lnTo>
                      <a:pt x="16576" y="132253"/>
                    </a:lnTo>
                    <a:lnTo>
                      <a:pt x="16576" y="127580"/>
                    </a:lnTo>
                    <a:lnTo>
                      <a:pt x="13666" y="124670"/>
                    </a:lnTo>
                    <a:lnTo>
                      <a:pt x="15429" y="119115"/>
                    </a:lnTo>
                    <a:lnTo>
                      <a:pt x="15429" y="115589"/>
                    </a:lnTo>
                    <a:lnTo>
                      <a:pt x="14283" y="113296"/>
                    </a:lnTo>
                    <a:lnTo>
                      <a:pt x="14283" y="110651"/>
                    </a:lnTo>
                    <a:lnTo>
                      <a:pt x="13666" y="104215"/>
                    </a:lnTo>
                    <a:lnTo>
                      <a:pt x="13666" y="104832"/>
                    </a:lnTo>
                    <a:lnTo>
                      <a:pt x="14283" y="101658"/>
                    </a:lnTo>
                    <a:lnTo>
                      <a:pt x="13666" y="99895"/>
                    </a:lnTo>
                    <a:lnTo>
                      <a:pt x="14548" y="96721"/>
                    </a:lnTo>
                    <a:lnTo>
                      <a:pt x="15429" y="94693"/>
                    </a:lnTo>
                    <a:lnTo>
                      <a:pt x="12520" y="93811"/>
                    </a:lnTo>
                    <a:lnTo>
                      <a:pt x="13137" y="90020"/>
                    </a:lnTo>
                    <a:lnTo>
                      <a:pt x="11991" y="84818"/>
                    </a:lnTo>
                    <a:lnTo>
                      <a:pt x="12255" y="81908"/>
                    </a:lnTo>
                    <a:lnTo>
                      <a:pt x="11374" y="78382"/>
                    </a:lnTo>
                    <a:lnTo>
                      <a:pt x="9346" y="76001"/>
                    </a:lnTo>
                    <a:lnTo>
                      <a:pt x="11726" y="72827"/>
                    </a:lnTo>
                    <a:lnTo>
                      <a:pt x="11726" y="70799"/>
                    </a:lnTo>
                    <a:lnTo>
                      <a:pt x="12608" y="68771"/>
                    </a:lnTo>
                    <a:lnTo>
                      <a:pt x="10227" y="67625"/>
                    </a:lnTo>
                    <a:lnTo>
                      <a:pt x="10845" y="62070"/>
                    </a:lnTo>
                    <a:lnTo>
                      <a:pt x="8200" y="60043"/>
                    </a:lnTo>
                    <a:lnTo>
                      <a:pt x="9081" y="58544"/>
                    </a:lnTo>
                    <a:lnTo>
                      <a:pt x="11726" y="55105"/>
                    </a:lnTo>
                    <a:lnTo>
                      <a:pt x="9081" y="54224"/>
                    </a:lnTo>
                    <a:lnTo>
                      <a:pt x="3527" y="54841"/>
                    </a:lnTo>
                    <a:lnTo>
                      <a:pt x="4408" y="52196"/>
                    </a:lnTo>
                    <a:lnTo>
                      <a:pt x="2645" y="51049"/>
                    </a:lnTo>
                    <a:lnTo>
                      <a:pt x="7053" y="49022"/>
                    </a:lnTo>
                    <a:lnTo>
                      <a:pt x="6701" y="41703"/>
                    </a:lnTo>
                    <a:lnTo>
                      <a:pt x="6701" y="39059"/>
                    </a:lnTo>
                    <a:lnTo>
                      <a:pt x="8200" y="36766"/>
                    </a:lnTo>
                    <a:lnTo>
                      <a:pt x="10580" y="37031"/>
                    </a:lnTo>
                    <a:lnTo>
                      <a:pt x="9169" y="34650"/>
                    </a:lnTo>
                    <a:lnTo>
                      <a:pt x="7671" y="33239"/>
                    </a:lnTo>
                    <a:lnTo>
                      <a:pt x="4761" y="33768"/>
                    </a:lnTo>
                    <a:lnTo>
                      <a:pt x="2116" y="31741"/>
                    </a:lnTo>
                    <a:lnTo>
                      <a:pt x="617" y="28566"/>
                    </a:lnTo>
                    <a:lnTo>
                      <a:pt x="1763" y="22747"/>
                    </a:lnTo>
                    <a:lnTo>
                      <a:pt x="0" y="2133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3" name="Freihandform: Form 1762">
                <a:extLst>
                  <a:ext uri="{FF2B5EF4-FFF2-40B4-BE49-F238E27FC236}">
                    <a16:creationId xmlns:a16="http://schemas.microsoft.com/office/drawing/2014/main" id="{96C50F47-20C0-B2F7-6D7F-36A061A9C077}"/>
                  </a:ext>
                </a:extLst>
              </p:cNvPr>
              <p:cNvSpPr/>
              <p:nvPr/>
            </p:nvSpPr>
            <p:spPr>
              <a:xfrm>
                <a:off x="2127844" y="3689713"/>
                <a:ext cx="31476" cy="65685"/>
              </a:xfrm>
              <a:custGeom>
                <a:avLst/>
                <a:gdLst>
                  <a:gd name="connsiteX0" fmla="*/ 14283 w 31476"/>
                  <a:gd name="connsiteY0" fmla="*/ 14371 h 65685"/>
                  <a:gd name="connsiteX1" fmla="*/ 13754 w 31476"/>
                  <a:gd name="connsiteY1" fmla="*/ 14900 h 65685"/>
                  <a:gd name="connsiteX2" fmla="*/ 12784 w 31476"/>
                  <a:gd name="connsiteY2" fmla="*/ 14636 h 65685"/>
                  <a:gd name="connsiteX3" fmla="*/ 10756 w 31476"/>
                  <a:gd name="connsiteY3" fmla="*/ 13137 h 65685"/>
                  <a:gd name="connsiteX4" fmla="*/ 10492 w 31476"/>
                  <a:gd name="connsiteY4" fmla="*/ 12608 h 65685"/>
                  <a:gd name="connsiteX5" fmla="*/ 9610 w 31476"/>
                  <a:gd name="connsiteY5" fmla="*/ 12344 h 65685"/>
                  <a:gd name="connsiteX6" fmla="*/ 7318 w 31476"/>
                  <a:gd name="connsiteY6" fmla="*/ 13490 h 65685"/>
                  <a:gd name="connsiteX7" fmla="*/ 6436 w 31476"/>
                  <a:gd name="connsiteY7" fmla="*/ 17545 h 65685"/>
                  <a:gd name="connsiteX8" fmla="*/ 0 w 31476"/>
                  <a:gd name="connsiteY8" fmla="*/ 64539 h 65685"/>
                  <a:gd name="connsiteX9" fmla="*/ 7318 w 31476"/>
                  <a:gd name="connsiteY9" fmla="*/ 65685 h 65685"/>
                  <a:gd name="connsiteX10" fmla="*/ 6436 w 31476"/>
                  <a:gd name="connsiteY10" fmla="*/ 63305 h 65685"/>
                  <a:gd name="connsiteX11" fmla="*/ 8464 w 31476"/>
                  <a:gd name="connsiteY11" fmla="*/ 61541 h 65685"/>
                  <a:gd name="connsiteX12" fmla="*/ 8464 w 31476"/>
                  <a:gd name="connsiteY12" fmla="*/ 60748 h 65685"/>
                  <a:gd name="connsiteX13" fmla="*/ 11109 w 31476"/>
                  <a:gd name="connsiteY13" fmla="*/ 58985 h 65685"/>
                  <a:gd name="connsiteX14" fmla="*/ 12784 w 31476"/>
                  <a:gd name="connsiteY14" fmla="*/ 57221 h 65685"/>
                  <a:gd name="connsiteX15" fmla="*/ 13754 w 31476"/>
                  <a:gd name="connsiteY15" fmla="*/ 54841 h 65685"/>
                  <a:gd name="connsiteX16" fmla="*/ 14548 w 31476"/>
                  <a:gd name="connsiteY16" fmla="*/ 55722 h 65685"/>
                  <a:gd name="connsiteX17" fmla="*/ 14900 w 31476"/>
                  <a:gd name="connsiteY17" fmla="*/ 54841 h 65685"/>
                  <a:gd name="connsiteX18" fmla="*/ 14900 w 31476"/>
                  <a:gd name="connsiteY18" fmla="*/ 55722 h 65685"/>
                  <a:gd name="connsiteX19" fmla="*/ 17810 w 31476"/>
                  <a:gd name="connsiteY19" fmla="*/ 53430 h 65685"/>
                  <a:gd name="connsiteX20" fmla="*/ 18692 w 31476"/>
                  <a:gd name="connsiteY20" fmla="*/ 51931 h 65685"/>
                  <a:gd name="connsiteX21" fmla="*/ 18074 w 31476"/>
                  <a:gd name="connsiteY21" fmla="*/ 51667 h 65685"/>
                  <a:gd name="connsiteX22" fmla="*/ 19221 w 31476"/>
                  <a:gd name="connsiteY22" fmla="*/ 49903 h 65685"/>
                  <a:gd name="connsiteX23" fmla="*/ 21866 w 31476"/>
                  <a:gd name="connsiteY23" fmla="*/ 48493 h 65685"/>
                  <a:gd name="connsiteX24" fmla="*/ 20719 w 31476"/>
                  <a:gd name="connsiteY24" fmla="*/ 46377 h 65685"/>
                  <a:gd name="connsiteX25" fmla="*/ 23365 w 31476"/>
                  <a:gd name="connsiteY25" fmla="*/ 45495 h 65685"/>
                  <a:gd name="connsiteX26" fmla="*/ 19838 w 31476"/>
                  <a:gd name="connsiteY26" fmla="*/ 49286 h 65685"/>
                  <a:gd name="connsiteX27" fmla="*/ 19838 w 31476"/>
                  <a:gd name="connsiteY27" fmla="*/ 49903 h 65685"/>
                  <a:gd name="connsiteX28" fmla="*/ 22130 w 31476"/>
                  <a:gd name="connsiteY28" fmla="*/ 46112 h 65685"/>
                  <a:gd name="connsiteX29" fmla="*/ 22483 w 31476"/>
                  <a:gd name="connsiteY29" fmla="*/ 43202 h 65685"/>
                  <a:gd name="connsiteX30" fmla="*/ 24775 w 31476"/>
                  <a:gd name="connsiteY30" fmla="*/ 41175 h 65685"/>
                  <a:gd name="connsiteX31" fmla="*/ 22747 w 31476"/>
                  <a:gd name="connsiteY31" fmla="*/ 40028 h 65685"/>
                  <a:gd name="connsiteX32" fmla="*/ 24775 w 31476"/>
                  <a:gd name="connsiteY32" fmla="*/ 39147 h 65685"/>
                  <a:gd name="connsiteX33" fmla="*/ 25921 w 31476"/>
                  <a:gd name="connsiteY33" fmla="*/ 36766 h 65685"/>
                  <a:gd name="connsiteX34" fmla="*/ 24511 w 31476"/>
                  <a:gd name="connsiteY34" fmla="*/ 38265 h 65685"/>
                  <a:gd name="connsiteX35" fmla="*/ 25657 w 31476"/>
                  <a:gd name="connsiteY35" fmla="*/ 34474 h 65685"/>
                  <a:gd name="connsiteX36" fmla="*/ 23365 w 31476"/>
                  <a:gd name="connsiteY36" fmla="*/ 35003 h 65685"/>
                  <a:gd name="connsiteX37" fmla="*/ 23012 w 31476"/>
                  <a:gd name="connsiteY37" fmla="*/ 32710 h 65685"/>
                  <a:gd name="connsiteX38" fmla="*/ 23365 w 31476"/>
                  <a:gd name="connsiteY38" fmla="*/ 30683 h 65685"/>
                  <a:gd name="connsiteX39" fmla="*/ 25128 w 31476"/>
                  <a:gd name="connsiteY39" fmla="*/ 25745 h 65685"/>
                  <a:gd name="connsiteX40" fmla="*/ 25657 w 31476"/>
                  <a:gd name="connsiteY40" fmla="*/ 24511 h 65685"/>
                  <a:gd name="connsiteX41" fmla="*/ 25128 w 31476"/>
                  <a:gd name="connsiteY41" fmla="*/ 23365 h 65685"/>
                  <a:gd name="connsiteX42" fmla="*/ 24775 w 31476"/>
                  <a:gd name="connsiteY42" fmla="*/ 21337 h 65685"/>
                  <a:gd name="connsiteX43" fmla="*/ 25657 w 31476"/>
                  <a:gd name="connsiteY43" fmla="*/ 20719 h 65685"/>
                  <a:gd name="connsiteX44" fmla="*/ 27156 w 31476"/>
                  <a:gd name="connsiteY44" fmla="*/ 17810 h 65685"/>
                  <a:gd name="connsiteX45" fmla="*/ 27420 w 31476"/>
                  <a:gd name="connsiteY45" fmla="*/ 15165 h 65685"/>
                  <a:gd name="connsiteX46" fmla="*/ 28831 w 31476"/>
                  <a:gd name="connsiteY46" fmla="*/ 13137 h 65685"/>
                  <a:gd name="connsiteX47" fmla="*/ 30594 w 31476"/>
                  <a:gd name="connsiteY47" fmla="*/ 9081 h 65685"/>
                  <a:gd name="connsiteX48" fmla="*/ 31476 w 31476"/>
                  <a:gd name="connsiteY48" fmla="*/ 4673 h 65685"/>
                  <a:gd name="connsiteX49" fmla="*/ 31212 w 31476"/>
                  <a:gd name="connsiteY49" fmla="*/ 2909 h 65685"/>
                  <a:gd name="connsiteX50" fmla="*/ 28831 w 31476"/>
                  <a:gd name="connsiteY50" fmla="*/ 3527 h 65685"/>
                  <a:gd name="connsiteX51" fmla="*/ 26539 w 31476"/>
                  <a:gd name="connsiteY51" fmla="*/ 3262 h 65685"/>
                  <a:gd name="connsiteX52" fmla="*/ 26539 w 31476"/>
                  <a:gd name="connsiteY52" fmla="*/ 1763 h 65685"/>
                  <a:gd name="connsiteX53" fmla="*/ 27420 w 31476"/>
                  <a:gd name="connsiteY53" fmla="*/ 882 h 65685"/>
                  <a:gd name="connsiteX54" fmla="*/ 27156 w 31476"/>
                  <a:gd name="connsiteY54" fmla="*/ 353 h 65685"/>
                  <a:gd name="connsiteX55" fmla="*/ 25392 w 31476"/>
                  <a:gd name="connsiteY55" fmla="*/ 617 h 65685"/>
                  <a:gd name="connsiteX56" fmla="*/ 24775 w 31476"/>
                  <a:gd name="connsiteY56" fmla="*/ 0 h 65685"/>
                  <a:gd name="connsiteX57" fmla="*/ 23012 w 31476"/>
                  <a:gd name="connsiteY57" fmla="*/ 353 h 65685"/>
                  <a:gd name="connsiteX58" fmla="*/ 20102 w 31476"/>
                  <a:gd name="connsiteY58" fmla="*/ 5026 h 65685"/>
                  <a:gd name="connsiteX59" fmla="*/ 19838 w 31476"/>
                  <a:gd name="connsiteY59" fmla="*/ 6436 h 65685"/>
                  <a:gd name="connsiteX60" fmla="*/ 17545 w 31476"/>
                  <a:gd name="connsiteY60" fmla="*/ 7582 h 65685"/>
                  <a:gd name="connsiteX61" fmla="*/ 16928 w 31476"/>
                  <a:gd name="connsiteY61" fmla="*/ 9963 h 65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1476" h="65685">
                    <a:moveTo>
                      <a:pt x="14283" y="14371"/>
                    </a:moveTo>
                    <a:lnTo>
                      <a:pt x="13754" y="14900"/>
                    </a:lnTo>
                    <a:lnTo>
                      <a:pt x="12784" y="14636"/>
                    </a:lnTo>
                    <a:lnTo>
                      <a:pt x="10756" y="13137"/>
                    </a:lnTo>
                    <a:lnTo>
                      <a:pt x="10492" y="12608"/>
                    </a:lnTo>
                    <a:lnTo>
                      <a:pt x="9610" y="12344"/>
                    </a:lnTo>
                    <a:lnTo>
                      <a:pt x="7318" y="13490"/>
                    </a:lnTo>
                    <a:lnTo>
                      <a:pt x="6436" y="17545"/>
                    </a:lnTo>
                    <a:lnTo>
                      <a:pt x="0" y="64539"/>
                    </a:lnTo>
                    <a:lnTo>
                      <a:pt x="7318" y="65685"/>
                    </a:lnTo>
                    <a:lnTo>
                      <a:pt x="6436" y="63305"/>
                    </a:lnTo>
                    <a:lnTo>
                      <a:pt x="8464" y="61541"/>
                    </a:lnTo>
                    <a:lnTo>
                      <a:pt x="8464" y="60748"/>
                    </a:lnTo>
                    <a:lnTo>
                      <a:pt x="11109" y="58985"/>
                    </a:lnTo>
                    <a:lnTo>
                      <a:pt x="12784" y="57221"/>
                    </a:lnTo>
                    <a:lnTo>
                      <a:pt x="13754" y="54841"/>
                    </a:lnTo>
                    <a:lnTo>
                      <a:pt x="14548" y="55722"/>
                    </a:lnTo>
                    <a:lnTo>
                      <a:pt x="14900" y="54841"/>
                    </a:lnTo>
                    <a:lnTo>
                      <a:pt x="14900" y="55722"/>
                    </a:lnTo>
                    <a:lnTo>
                      <a:pt x="17810" y="53430"/>
                    </a:lnTo>
                    <a:lnTo>
                      <a:pt x="18692" y="51931"/>
                    </a:lnTo>
                    <a:lnTo>
                      <a:pt x="18074" y="51667"/>
                    </a:lnTo>
                    <a:lnTo>
                      <a:pt x="19221" y="49903"/>
                    </a:lnTo>
                    <a:lnTo>
                      <a:pt x="21866" y="48493"/>
                    </a:lnTo>
                    <a:lnTo>
                      <a:pt x="20719" y="46377"/>
                    </a:lnTo>
                    <a:lnTo>
                      <a:pt x="23365" y="45495"/>
                    </a:lnTo>
                    <a:lnTo>
                      <a:pt x="19838" y="49286"/>
                    </a:lnTo>
                    <a:lnTo>
                      <a:pt x="19838" y="49903"/>
                    </a:lnTo>
                    <a:lnTo>
                      <a:pt x="22130" y="46112"/>
                    </a:lnTo>
                    <a:lnTo>
                      <a:pt x="22483" y="43202"/>
                    </a:lnTo>
                    <a:lnTo>
                      <a:pt x="24775" y="41175"/>
                    </a:lnTo>
                    <a:lnTo>
                      <a:pt x="22747" y="40028"/>
                    </a:lnTo>
                    <a:lnTo>
                      <a:pt x="24775" y="39147"/>
                    </a:lnTo>
                    <a:lnTo>
                      <a:pt x="25921" y="36766"/>
                    </a:lnTo>
                    <a:lnTo>
                      <a:pt x="24511" y="38265"/>
                    </a:lnTo>
                    <a:lnTo>
                      <a:pt x="25657" y="34474"/>
                    </a:lnTo>
                    <a:lnTo>
                      <a:pt x="23365" y="35003"/>
                    </a:lnTo>
                    <a:lnTo>
                      <a:pt x="23012" y="32710"/>
                    </a:lnTo>
                    <a:lnTo>
                      <a:pt x="23365" y="30683"/>
                    </a:lnTo>
                    <a:lnTo>
                      <a:pt x="25128" y="25745"/>
                    </a:lnTo>
                    <a:lnTo>
                      <a:pt x="25657" y="24511"/>
                    </a:lnTo>
                    <a:lnTo>
                      <a:pt x="25128" y="23365"/>
                    </a:lnTo>
                    <a:lnTo>
                      <a:pt x="24775" y="21337"/>
                    </a:lnTo>
                    <a:lnTo>
                      <a:pt x="25657" y="20719"/>
                    </a:lnTo>
                    <a:lnTo>
                      <a:pt x="27156" y="17810"/>
                    </a:lnTo>
                    <a:lnTo>
                      <a:pt x="27420" y="15165"/>
                    </a:lnTo>
                    <a:lnTo>
                      <a:pt x="28831" y="13137"/>
                    </a:lnTo>
                    <a:lnTo>
                      <a:pt x="30594" y="9081"/>
                    </a:lnTo>
                    <a:lnTo>
                      <a:pt x="31476" y="4673"/>
                    </a:lnTo>
                    <a:lnTo>
                      <a:pt x="31212" y="2909"/>
                    </a:lnTo>
                    <a:lnTo>
                      <a:pt x="28831" y="3527"/>
                    </a:lnTo>
                    <a:lnTo>
                      <a:pt x="26539" y="3262"/>
                    </a:lnTo>
                    <a:lnTo>
                      <a:pt x="26539" y="1763"/>
                    </a:lnTo>
                    <a:lnTo>
                      <a:pt x="27420" y="882"/>
                    </a:lnTo>
                    <a:lnTo>
                      <a:pt x="27156" y="353"/>
                    </a:lnTo>
                    <a:lnTo>
                      <a:pt x="25392" y="617"/>
                    </a:lnTo>
                    <a:lnTo>
                      <a:pt x="24775" y="0"/>
                    </a:lnTo>
                    <a:lnTo>
                      <a:pt x="23012" y="353"/>
                    </a:lnTo>
                    <a:lnTo>
                      <a:pt x="20102" y="5026"/>
                    </a:lnTo>
                    <a:lnTo>
                      <a:pt x="19838" y="6436"/>
                    </a:lnTo>
                    <a:lnTo>
                      <a:pt x="17545" y="7582"/>
                    </a:lnTo>
                    <a:lnTo>
                      <a:pt x="16928" y="99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4" name="Freihandform: Form 1763">
                <a:extLst>
                  <a:ext uri="{FF2B5EF4-FFF2-40B4-BE49-F238E27FC236}">
                    <a16:creationId xmlns:a16="http://schemas.microsoft.com/office/drawing/2014/main" id="{1FBB098C-0E38-AF88-CB72-AF75AC06A6A1}"/>
                  </a:ext>
                </a:extLst>
              </p:cNvPr>
              <p:cNvSpPr/>
              <p:nvPr/>
            </p:nvSpPr>
            <p:spPr>
              <a:xfrm>
                <a:off x="2444016" y="4019110"/>
                <a:ext cx="862286" cy="971615"/>
              </a:xfrm>
              <a:custGeom>
                <a:avLst/>
                <a:gdLst>
                  <a:gd name="connsiteX0" fmla="*/ 557136 w 862286"/>
                  <a:gd name="connsiteY0" fmla="*/ 148388 h 971615"/>
                  <a:gd name="connsiteX1" fmla="*/ 556519 w 862286"/>
                  <a:gd name="connsiteY1" fmla="*/ 153060 h 971615"/>
                  <a:gd name="connsiteX2" fmla="*/ 555373 w 862286"/>
                  <a:gd name="connsiteY2" fmla="*/ 156852 h 971615"/>
                  <a:gd name="connsiteX3" fmla="*/ 550435 w 862286"/>
                  <a:gd name="connsiteY3" fmla="*/ 162054 h 971615"/>
                  <a:gd name="connsiteX4" fmla="*/ 549289 w 862286"/>
                  <a:gd name="connsiteY4" fmla="*/ 168490 h 971615"/>
                  <a:gd name="connsiteX5" fmla="*/ 537563 w 862286"/>
                  <a:gd name="connsiteY5" fmla="*/ 170518 h 971615"/>
                  <a:gd name="connsiteX6" fmla="*/ 531743 w 862286"/>
                  <a:gd name="connsiteY6" fmla="*/ 174045 h 971615"/>
                  <a:gd name="connsiteX7" fmla="*/ 520899 w 862286"/>
                  <a:gd name="connsiteY7" fmla="*/ 172898 h 971615"/>
                  <a:gd name="connsiteX8" fmla="*/ 515961 w 862286"/>
                  <a:gd name="connsiteY8" fmla="*/ 170253 h 971615"/>
                  <a:gd name="connsiteX9" fmla="*/ 515080 w 862286"/>
                  <a:gd name="connsiteY9" fmla="*/ 166197 h 971615"/>
                  <a:gd name="connsiteX10" fmla="*/ 514198 w 862286"/>
                  <a:gd name="connsiteY10" fmla="*/ 160378 h 971615"/>
                  <a:gd name="connsiteX11" fmla="*/ 513581 w 862286"/>
                  <a:gd name="connsiteY11" fmla="*/ 155176 h 971615"/>
                  <a:gd name="connsiteX12" fmla="*/ 515961 w 862286"/>
                  <a:gd name="connsiteY12" fmla="*/ 151121 h 971615"/>
                  <a:gd name="connsiteX13" fmla="*/ 513581 w 862286"/>
                  <a:gd name="connsiteY13" fmla="*/ 146712 h 971615"/>
                  <a:gd name="connsiteX14" fmla="*/ 518518 w 862286"/>
                  <a:gd name="connsiteY14" fmla="*/ 140011 h 971615"/>
                  <a:gd name="connsiteX15" fmla="*/ 527247 w 862286"/>
                  <a:gd name="connsiteY15" fmla="*/ 134192 h 971615"/>
                  <a:gd name="connsiteX16" fmla="*/ 531038 w 862286"/>
                  <a:gd name="connsiteY16" fmla="*/ 135074 h 971615"/>
                  <a:gd name="connsiteX17" fmla="*/ 536857 w 862286"/>
                  <a:gd name="connsiteY17" fmla="*/ 140011 h 971615"/>
                  <a:gd name="connsiteX18" fmla="*/ 542676 w 862286"/>
                  <a:gd name="connsiteY18" fmla="*/ 138865 h 971615"/>
                  <a:gd name="connsiteX19" fmla="*/ 550523 w 862286"/>
                  <a:gd name="connsiteY19" fmla="*/ 137102 h 971615"/>
                  <a:gd name="connsiteX20" fmla="*/ 554050 w 862286"/>
                  <a:gd name="connsiteY20" fmla="*/ 135956 h 971615"/>
                  <a:gd name="connsiteX21" fmla="*/ 558106 w 862286"/>
                  <a:gd name="connsiteY21" fmla="*/ 137102 h 971615"/>
                  <a:gd name="connsiteX22" fmla="*/ 558370 w 862286"/>
                  <a:gd name="connsiteY22" fmla="*/ 138865 h 971615"/>
                  <a:gd name="connsiteX23" fmla="*/ 558635 w 862286"/>
                  <a:gd name="connsiteY23" fmla="*/ 140893 h 971615"/>
                  <a:gd name="connsiteX24" fmla="*/ 558370 w 862286"/>
                  <a:gd name="connsiteY24" fmla="*/ 143186 h 971615"/>
                  <a:gd name="connsiteX25" fmla="*/ 557136 w 862286"/>
                  <a:gd name="connsiteY25" fmla="*/ 148388 h 971615"/>
                  <a:gd name="connsiteX26" fmla="*/ 513669 w 862286"/>
                  <a:gd name="connsiteY26" fmla="*/ 140805 h 971615"/>
                  <a:gd name="connsiteX27" fmla="*/ 511641 w 862286"/>
                  <a:gd name="connsiteY27" fmla="*/ 141951 h 971615"/>
                  <a:gd name="connsiteX28" fmla="*/ 507233 w 862286"/>
                  <a:gd name="connsiteY28" fmla="*/ 149005 h 971615"/>
                  <a:gd name="connsiteX29" fmla="*/ 503706 w 862286"/>
                  <a:gd name="connsiteY29" fmla="*/ 147241 h 971615"/>
                  <a:gd name="connsiteX30" fmla="*/ 504323 w 862286"/>
                  <a:gd name="connsiteY30" fmla="*/ 144949 h 971615"/>
                  <a:gd name="connsiteX31" fmla="*/ 506086 w 862286"/>
                  <a:gd name="connsiteY31" fmla="*/ 135868 h 971615"/>
                  <a:gd name="connsiteX32" fmla="*/ 516314 w 862286"/>
                  <a:gd name="connsiteY32" fmla="*/ 126874 h 971615"/>
                  <a:gd name="connsiteX33" fmla="*/ 526189 w 862286"/>
                  <a:gd name="connsiteY33" fmla="*/ 125375 h 971615"/>
                  <a:gd name="connsiteX34" fmla="*/ 525924 w 862286"/>
                  <a:gd name="connsiteY34" fmla="*/ 128902 h 971615"/>
                  <a:gd name="connsiteX35" fmla="*/ 521251 w 862286"/>
                  <a:gd name="connsiteY35" fmla="*/ 132076 h 971615"/>
                  <a:gd name="connsiteX36" fmla="*/ 517725 w 862286"/>
                  <a:gd name="connsiteY36" fmla="*/ 134721 h 971615"/>
                  <a:gd name="connsiteX37" fmla="*/ 513669 w 862286"/>
                  <a:gd name="connsiteY37" fmla="*/ 140805 h 971615"/>
                  <a:gd name="connsiteX38" fmla="*/ 775000 w 862286"/>
                  <a:gd name="connsiteY38" fmla="*/ 473288 h 971615"/>
                  <a:gd name="connsiteX39" fmla="*/ 772620 w 862286"/>
                  <a:gd name="connsiteY39" fmla="*/ 470907 h 971615"/>
                  <a:gd name="connsiteX40" fmla="*/ 772620 w 862286"/>
                  <a:gd name="connsiteY40" fmla="*/ 470290 h 971615"/>
                  <a:gd name="connsiteX41" fmla="*/ 772884 w 862286"/>
                  <a:gd name="connsiteY41" fmla="*/ 469409 h 971615"/>
                  <a:gd name="connsiteX42" fmla="*/ 775176 w 862286"/>
                  <a:gd name="connsiteY42" fmla="*/ 465000 h 971615"/>
                  <a:gd name="connsiteX43" fmla="*/ 775176 w 862286"/>
                  <a:gd name="connsiteY43" fmla="*/ 460680 h 971615"/>
                  <a:gd name="connsiteX44" fmla="*/ 775793 w 862286"/>
                  <a:gd name="connsiteY44" fmla="*/ 458388 h 971615"/>
                  <a:gd name="connsiteX45" fmla="*/ 777821 w 862286"/>
                  <a:gd name="connsiteY45" fmla="*/ 457506 h 971615"/>
                  <a:gd name="connsiteX46" fmla="*/ 778438 w 862286"/>
                  <a:gd name="connsiteY46" fmla="*/ 455742 h 971615"/>
                  <a:gd name="connsiteX47" fmla="*/ 777292 w 862286"/>
                  <a:gd name="connsiteY47" fmla="*/ 451951 h 971615"/>
                  <a:gd name="connsiteX48" fmla="*/ 775529 w 862286"/>
                  <a:gd name="connsiteY48" fmla="*/ 449571 h 971615"/>
                  <a:gd name="connsiteX49" fmla="*/ 776411 w 862286"/>
                  <a:gd name="connsiteY49" fmla="*/ 447278 h 971615"/>
                  <a:gd name="connsiteX50" fmla="*/ 776675 w 862286"/>
                  <a:gd name="connsiteY50" fmla="*/ 447278 h 971615"/>
                  <a:gd name="connsiteX51" fmla="*/ 775793 w 862286"/>
                  <a:gd name="connsiteY51" fmla="*/ 448777 h 971615"/>
                  <a:gd name="connsiteX52" fmla="*/ 779320 w 862286"/>
                  <a:gd name="connsiteY52" fmla="*/ 448777 h 971615"/>
                  <a:gd name="connsiteX53" fmla="*/ 781613 w 862286"/>
                  <a:gd name="connsiteY53" fmla="*/ 448160 h 971615"/>
                  <a:gd name="connsiteX54" fmla="*/ 782494 w 862286"/>
                  <a:gd name="connsiteY54" fmla="*/ 448777 h 971615"/>
                  <a:gd name="connsiteX55" fmla="*/ 784258 w 862286"/>
                  <a:gd name="connsiteY55" fmla="*/ 448160 h 971615"/>
                  <a:gd name="connsiteX56" fmla="*/ 784258 w 862286"/>
                  <a:gd name="connsiteY56" fmla="*/ 453715 h 971615"/>
                  <a:gd name="connsiteX57" fmla="*/ 786638 w 862286"/>
                  <a:gd name="connsiteY57" fmla="*/ 453979 h 971615"/>
                  <a:gd name="connsiteX58" fmla="*/ 788402 w 862286"/>
                  <a:gd name="connsiteY58" fmla="*/ 453715 h 971615"/>
                  <a:gd name="connsiteX59" fmla="*/ 791311 w 862286"/>
                  <a:gd name="connsiteY59" fmla="*/ 451422 h 971615"/>
                  <a:gd name="connsiteX60" fmla="*/ 789548 w 862286"/>
                  <a:gd name="connsiteY60" fmla="*/ 449923 h 971615"/>
                  <a:gd name="connsiteX61" fmla="*/ 791047 w 862286"/>
                  <a:gd name="connsiteY61" fmla="*/ 446132 h 971615"/>
                  <a:gd name="connsiteX62" fmla="*/ 793339 w 862286"/>
                  <a:gd name="connsiteY62" fmla="*/ 445515 h 971615"/>
                  <a:gd name="connsiteX63" fmla="*/ 796601 w 862286"/>
                  <a:gd name="connsiteY63" fmla="*/ 441106 h 971615"/>
                  <a:gd name="connsiteX64" fmla="*/ 806212 w 862286"/>
                  <a:gd name="connsiteY64" fmla="*/ 420652 h 971615"/>
                  <a:gd name="connsiteX65" fmla="*/ 805683 w 862286"/>
                  <a:gd name="connsiteY65" fmla="*/ 418006 h 971615"/>
                  <a:gd name="connsiteX66" fmla="*/ 805947 w 862286"/>
                  <a:gd name="connsiteY66" fmla="*/ 415097 h 971615"/>
                  <a:gd name="connsiteX67" fmla="*/ 806829 w 862286"/>
                  <a:gd name="connsiteY67" fmla="*/ 414480 h 971615"/>
                  <a:gd name="connsiteX68" fmla="*/ 807446 w 862286"/>
                  <a:gd name="connsiteY68" fmla="*/ 413598 h 971615"/>
                  <a:gd name="connsiteX69" fmla="*/ 808328 w 862286"/>
                  <a:gd name="connsiteY69" fmla="*/ 411570 h 971615"/>
                  <a:gd name="connsiteX70" fmla="*/ 808328 w 862286"/>
                  <a:gd name="connsiteY70" fmla="*/ 410424 h 971615"/>
                  <a:gd name="connsiteX71" fmla="*/ 809474 w 862286"/>
                  <a:gd name="connsiteY71" fmla="*/ 410159 h 971615"/>
                  <a:gd name="connsiteX72" fmla="*/ 807710 w 862286"/>
                  <a:gd name="connsiteY72" fmla="*/ 413422 h 971615"/>
                  <a:gd name="connsiteX73" fmla="*/ 807975 w 862286"/>
                  <a:gd name="connsiteY73" fmla="*/ 416067 h 971615"/>
                  <a:gd name="connsiteX74" fmla="*/ 811502 w 862286"/>
                  <a:gd name="connsiteY74" fmla="*/ 411658 h 971615"/>
                  <a:gd name="connsiteX75" fmla="*/ 812383 w 862286"/>
                  <a:gd name="connsiteY75" fmla="*/ 408484 h 971615"/>
                  <a:gd name="connsiteX76" fmla="*/ 810620 w 862286"/>
                  <a:gd name="connsiteY76" fmla="*/ 406721 h 971615"/>
                  <a:gd name="connsiteX77" fmla="*/ 813265 w 862286"/>
                  <a:gd name="connsiteY77" fmla="*/ 408749 h 971615"/>
                  <a:gd name="connsiteX78" fmla="*/ 818555 w 862286"/>
                  <a:gd name="connsiteY78" fmla="*/ 398521 h 971615"/>
                  <a:gd name="connsiteX79" fmla="*/ 829047 w 862286"/>
                  <a:gd name="connsiteY79" fmla="*/ 392702 h 971615"/>
                  <a:gd name="connsiteX80" fmla="*/ 831075 w 862286"/>
                  <a:gd name="connsiteY80" fmla="*/ 387147 h 971615"/>
                  <a:gd name="connsiteX81" fmla="*/ 840950 w 862286"/>
                  <a:gd name="connsiteY81" fmla="*/ 374010 h 971615"/>
                  <a:gd name="connsiteX82" fmla="*/ 839451 w 862286"/>
                  <a:gd name="connsiteY82" fmla="*/ 372511 h 971615"/>
                  <a:gd name="connsiteX83" fmla="*/ 840597 w 862286"/>
                  <a:gd name="connsiteY83" fmla="*/ 372247 h 971615"/>
                  <a:gd name="connsiteX84" fmla="*/ 841479 w 862286"/>
                  <a:gd name="connsiteY84" fmla="*/ 371365 h 971615"/>
                  <a:gd name="connsiteX85" fmla="*/ 841479 w 862286"/>
                  <a:gd name="connsiteY85" fmla="*/ 372864 h 971615"/>
                  <a:gd name="connsiteX86" fmla="*/ 843859 w 862286"/>
                  <a:gd name="connsiteY86" fmla="*/ 370484 h 971615"/>
                  <a:gd name="connsiteX87" fmla="*/ 855233 w 862286"/>
                  <a:gd name="connsiteY87" fmla="*/ 353291 h 971615"/>
                  <a:gd name="connsiteX88" fmla="*/ 858407 w 862286"/>
                  <a:gd name="connsiteY88" fmla="*/ 345091 h 971615"/>
                  <a:gd name="connsiteX89" fmla="*/ 860171 w 862286"/>
                  <a:gd name="connsiteY89" fmla="*/ 332042 h 971615"/>
                  <a:gd name="connsiteX90" fmla="*/ 860788 w 862286"/>
                  <a:gd name="connsiteY90" fmla="*/ 332659 h 971615"/>
                  <a:gd name="connsiteX91" fmla="*/ 861405 w 862286"/>
                  <a:gd name="connsiteY91" fmla="*/ 326223 h 971615"/>
                  <a:gd name="connsiteX92" fmla="*/ 860523 w 862286"/>
                  <a:gd name="connsiteY92" fmla="*/ 325077 h 971615"/>
                  <a:gd name="connsiteX93" fmla="*/ 859906 w 862286"/>
                  <a:gd name="connsiteY93" fmla="*/ 324195 h 971615"/>
                  <a:gd name="connsiteX94" fmla="*/ 860523 w 862286"/>
                  <a:gd name="connsiteY94" fmla="*/ 321286 h 971615"/>
                  <a:gd name="connsiteX95" fmla="*/ 861140 w 862286"/>
                  <a:gd name="connsiteY95" fmla="*/ 321021 h 971615"/>
                  <a:gd name="connsiteX96" fmla="*/ 860876 w 862286"/>
                  <a:gd name="connsiteY96" fmla="*/ 320404 h 971615"/>
                  <a:gd name="connsiteX97" fmla="*/ 860259 w 862286"/>
                  <a:gd name="connsiteY97" fmla="*/ 319522 h 971615"/>
                  <a:gd name="connsiteX98" fmla="*/ 861405 w 862286"/>
                  <a:gd name="connsiteY98" fmla="*/ 319258 h 971615"/>
                  <a:gd name="connsiteX99" fmla="*/ 862287 w 862286"/>
                  <a:gd name="connsiteY99" fmla="*/ 309912 h 971615"/>
                  <a:gd name="connsiteX100" fmla="*/ 860523 w 862286"/>
                  <a:gd name="connsiteY100" fmla="*/ 307531 h 971615"/>
                  <a:gd name="connsiteX101" fmla="*/ 859377 w 862286"/>
                  <a:gd name="connsiteY101" fmla="*/ 309030 h 971615"/>
                  <a:gd name="connsiteX102" fmla="*/ 859377 w 862286"/>
                  <a:gd name="connsiteY102" fmla="*/ 303211 h 971615"/>
                  <a:gd name="connsiteX103" fmla="*/ 858495 w 862286"/>
                  <a:gd name="connsiteY103" fmla="*/ 298009 h 971615"/>
                  <a:gd name="connsiteX104" fmla="*/ 854969 w 862286"/>
                  <a:gd name="connsiteY104" fmla="*/ 286018 h 971615"/>
                  <a:gd name="connsiteX105" fmla="*/ 854087 w 862286"/>
                  <a:gd name="connsiteY105" fmla="*/ 284872 h 971615"/>
                  <a:gd name="connsiteX106" fmla="*/ 854352 w 862286"/>
                  <a:gd name="connsiteY106" fmla="*/ 280464 h 971615"/>
                  <a:gd name="connsiteX107" fmla="*/ 850825 w 862286"/>
                  <a:gd name="connsiteY107" fmla="*/ 267944 h 971615"/>
                  <a:gd name="connsiteX108" fmla="*/ 845887 w 862286"/>
                  <a:gd name="connsiteY108" fmla="*/ 260361 h 971615"/>
                  <a:gd name="connsiteX109" fmla="*/ 832750 w 862286"/>
                  <a:gd name="connsiteY109" fmla="*/ 257452 h 971615"/>
                  <a:gd name="connsiteX110" fmla="*/ 821641 w 862286"/>
                  <a:gd name="connsiteY110" fmla="*/ 258334 h 971615"/>
                  <a:gd name="connsiteX111" fmla="*/ 822523 w 862286"/>
                  <a:gd name="connsiteY111" fmla="*/ 259480 h 971615"/>
                  <a:gd name="connsiteX112" fmla="*/ 814940 w 862286"/>
                  <a:gd name="connsiteY112" fmla="*/ 254807 h 971615"/>
                  <a:gd name="connsiteX113" fmla="*/ 806212 w 862286"/>
                  <a:gd name="connsiteY113" fmla="*/ 249252 h 971615"/>
                  <a:gd name="connsiteX114" fmla="*/ 798629 w 862286"/>
                  <a:gd name="connsiteY114" fmla="*/ 246871 h 971615"/>
                  <a:gd name="connsiteX115" fmla="*/ 795102 w 862286"/>
                  <a:gd name="connsiteY115" fmla="*/ 241317 h 971615"/>
                  <a:gd name="connsiteX116" fmla="*/ 786021 w 862286"/>
                  <a:gd name="connsiteY116" fmla="*/ 235498 h 971615"/>
                  <a:gd name="connsiteX117" fmla="*/ 782847 w 862286"/>
                  <a:gd name="connsiteY117" fmla="*/ 229679 h 971615"/>
                  <a:gd name="connsiteX118" fmla="*/ 779056 w 862286"/>
                  <a:gd name="connsiteY118" fmla="*/ 223860 h 971615"/>
                  <a:gd name="connsiteX119" fmla="*/ 772355 w 862286"/>
                  <a:gd name="connsiteY119" fmla="*/ 219451 h 971615"/>
                  <a:gd name="connsiteX120" fmla="*/ 768828 w 862286"/>
                  <a:gd name="connsiteY120" fmla="*/ 216542 h 971615"/>
                  <a:gd name="connsiteX121" fmla="*/ 764155 w 862286"/>
                  <a:gd name="connsiteY121" fmla="*/ 214514 h 971615"/>
                  <a:gd name="connsiteX122" fmla="*/ 756837 w 862286"/>
                  <a:gd name="connsiteY122" fmla="*/ 210105 h 971615"/>
                  <a:gd name="connsiteX123" fmla="*/ 752429 w 862286"/>
                  <a:gd name="connsiteY123" fmla="*/ 207460 h 971615"/>
                  <a:gd name="connsiteX124" fmla="*/ 752164 w 862286"/>
                  <a:gd name="connsiteY124" fmla="*/ 206843 h 971615"/>
                  <a:gd name="connsiteX125" fmla="*/ 745728 w 862286"/>
                  <a:gd name="connsiteY125" fmla="*/ 202170 h 971615"/>
                  <a:gd name="connsiteX126" fmla="*/ 741672 w 862286"/>
                  <a:gd name="connsiteY126" fmla="*/ 201289 h 971615"/>
                  <a:gd name="connsiteX127" fmla="*/ 736382 w 862286"/>
                  <a:gd name="connsiteY127" fmla="*/ 201289 h 971615"/>
                  <a:gd name="connsiteX128" fmla="*/ 732327 w 862286"/>
                  <a:gd name="connsiteY128" fmla="*/ 201553 h 971615"/>
                  <a:gd name="connsiteX129" fmla="*/ 727125 w 862286"/>
                  <a:gd name="connsiteY129" fmla="*/ 203052 h 971615"/>
                  <a:gd name="connsiteX130" fmla="*/ 726243 w 862286"/>
                  <a:gd name="connsiteY130" fmla="*/ 203052 h 971615"/>
                  <a:gd name="connsiteX131" fmla="*/ 721570 w 862286"/>
                  <a:gd name="connsiteY131" fmla="*/ 203934 h 971615"/>
                  <a:gd name="connsiteX132" fmla="*/ 717514 w 862286"/>
                  <a:gd name="connsiteY132" fmla="*/ 203934 h 971615"/>
                  <a:gd name="connsiteX133" fmla="*/ 717779 w 862286"/>
                  <a:gd name="connsiteY133" fmla="*/ 204815 h 971615"/>
                  <a:gd name="connsiteX134" fmla="*/ 716280 w 862286"/>
                  <a:gd name="connsiteY134" fmla="*/ 204198 h 971615"/>
                  <a:gd name="connsiteX135" fmla="*/ 713635 w 862286"/>
                  <a:gd name="connsiteY135" fmla="*/ 204815 h 971615"/>
                  <a:gd name="connsiteX136" fmla="*/ 710461 w 862286"/>
                  <a:gd name="connsiteY136" fmla="*/ 203316 h 971615"/>
                  <a:gd name="connsiteX137" fmla="*/ 708962 w 862286"/>
                  <a:gd name="connsiteY137" fmla="*/ 203052 h 971615"/>
                  <a:gd name="connsiteX138" fmla="*/ 708697 w 862286"/>
                  <a:gd name="connsiteY138" fmla="*/ 202170 h 971615"/>
                  <a:gd name="connsiteX139" fmla="*/ 705171 w 862286"/>
                  <a:gd name="connsiteY139" fmla="*/ 199525 h 971615"/>
                  <a:gd name="connsiteX140" fmla="*/ 702878 w 862286"/>
                  <a:gd name="connsiteY140" fmla="*/ 200407 h 971615"/>
                  <a:gd name="connsiteX141" fmla="*/ 701732 w 862286"/>
                  <a:gd name="connsiteY141" fmla="*/ 201289 h 971615"/>
                  <a:gd name="connsiteX142" fmla="*/ 699440 w 862286"/>
                  <a:gd name="connsiteY142" fmla="*/ 201024 h 971615"/>
                  <a:gd name="connsiteX143" fmla="*/ 696795 w 862286"/>
                  <a:gd name="connsiteY143" fmla="*/ 201641 h 971615"/>
                  <a:gd name="connsiteX144" fmla="*/ 695648 w 862286"/>
                  <a:gd name="connsiteY144" fmla="*/ 201377 h 971615"/>
                  <a:gd name="connsiteX145" fmla="*/ 691593 w 862286"/>
                  <a:gd name="connsiteY145" fmla="*/ 199349 h 971615"/>
                  <a:gd name="connsiteX146" fmla="*/ 691064 w 862286"/>
                  <a:gd name="connsiteY146" fmla="*/ 197850 h 971615"/>
                  <a:gd name="connsiteX147" fmla="*/ 686126 w 862286"/>
                  <a:gd name="connsiteY147" fmla="*/ 195205 h 971615"/>
                  <a:gd name="connsiteX148" fmla="*/ 681189 w 862286"/>
                  <a:gd name="connsiteY148" fmla="*/ 192560 h 971615"/>
                  <a:gd name="connsiteX149" fmla="*/ 670080 w 862286"/>
                  <a:gd name="connsiteY149" fmla="*/ 191149 h 971615"/>
                  <a:gd name="connsiteX150" fmla="*/ 670697 w 862286"/>
                  <a:gd name="connsiteY150" fmla="*/ 192295 h 971615"/>
                  <a:gd name="connsiteX151" fmla="*/ 670697 w 862286"/>
                  <a:gd name="connsiteY151" fmla="*/ 193441 h 971615"/>
                  <a:gd name="connsiteX152" fmla="*/ 670080 w 862286"/>
                  <a:gd name="connsiteY152" fmla="*/ 194940 h 971615"/>
                  <a:gd name="connsiteX153" fmla="*/ 668581 w 862286"/>
                  <a:gd name="connsiteY153" fmla="*/ 194323 h 971615"/>
                  <a:gd name="connsiteX154" fmla="*/ 667434 w 862286"/>
                  <a:gd name="connsiteY154" fmla="*/ 193441 h 971615"/>
                  <a:gd name="connsiteX155" fmla="*/ 666818 w 862286"/>
                  <a:gd name="connsiteY155" fmla="*/ 193441 h 971615"/>
                  <a:gd name="connsiteX156" fmla="*/ 665054 w 862286"/>
                  <a:gd name="connsiteY156" fmla="*/ 193706 h 971615"/>
                  <a:gd name="connsiteX157" fmla="*/ 664437 w 862286"/>
                  <a:gd name="connsiteY157" fmla="*/ 193706 h 971615"/>
                  <a:gd name="connsiteX158" fmla="*/ 663820 w 862286"/>
                  <a:gd name="connsiteY158" fmla="*/ 195205 h 971615"/>
                  <a:gd name="connsiteX159" fmla="*/ 662938 w 862286"/>
                  <a:gd name="connsiteY159" fmla="*/ 194940 h 971615"/>
                  <a:gd name="connsiteX160" fmla="*/ 660028 w 862286"/>
                  <a:gd name="connsiteY160" fmla="*/ 195205 h 971615"/>
                  <a:gd name="connsiteX161" fmla="*/ 658530 w 862286"/>
                  <a:gd name="connsiteY161" fmla="*/ 195205 h 971615"/>
                  <a:gd name="connsiteX162" fmla="*/ 657383 w 862286"/>
                  <a:gd name="connsiteY162" fmla="*/ 196704 h 971615"/>
                  <a:gd name="connsiteX163" fmla="*/ 655884 w 862286"/>
                  <a:gd name="connsiteY163" fmla="*/ 201112 h 971615"/>
                  <a:gd name="connsiteX164" fmla="*/ 654738 w 862286"/>
                  <a:gd name="connsiteY164" fmla="*/ 201729 h 971615"/>
                  <a:gd name="connsiteX165" fmla="*/ 653857 w 862286"/>
                  <a:gd name="connsiteY165" fmla="*/ 201465 h 971615"/>
                  <a:gd name="connsiteX166" fmla="*/ 653592 w 862286"/>
                  <a:gd name="connsiteY166" fmla="*/ 200319 h 971615"/>
                  <a:gd name="connsiteX167" fmla="*/ 652446 w 862286"/>
                  <a:gd name="connsiteY167" fmla="*/ 201200 h 971615"/>
                  <a:gd name="connsiteX168" fmla="*/ 651829 w 862286"/>
                  <a:gd name="connsiteY168" fmla="*/ 201465 h 971615"/>
                  <a:gd name="connsiteX169" fmla="*/ 650418 w 862286"/>
                  <a:gd name="connsiteY169" fmla="*/ 200583 h 971615"/>
                  <a:gd name="connsiteX170" fmla="*/ 651035 w 862286"/>
                  <a:gd name="connsiteY170" fmla="*/ 199701 h 971615"/>
                  <a:gd name="connsiteX171" fmla="*/ 652799 w 862286"/>
                  <a:gd name="connsiteY171" fmla="*/ 197938 h 971615"/>
                  <a:gd name="connsiteX172" fmla="*/ 654826 w 862286"/>
                  <a:gd name="connsiteY172" fmla="*/ 197938 h 971615"/>
                  <a:gd name="connsiteX173" fmla="*/ 656590 w 862286"/>
                  <a:gd name="connsiteY173" fmla="*/ 193882 h 971615"/>
                  <a:gd name="connsiteX174" fmla="*/ 656590 w 862286"/>
                  <a:gd name="connsiteY174" fmla="*/ 192383 h 971615"/>
                  <a:gd name="connsiteX175" fmla="*/ 655179 w 862286"/>
                  <a:gd name="connsiteY175" fmla="*/ 192119 h 971615"/>
                  <a:gd name="connsiteX176" fmla="*/ 651388 w 862286"/>
                  <a:gd name="connsiteY176" fmla="*/ 195910 h 971615"/>
                  <a:gd name="connsiteX177" fmla="*/ 650242 w 862286"/>
                  <a:gd name="connsiteY177" fmla="*/ 195293 h 971615"/>
                  <a:gd name="connsiteX178" fmla="*/ 649096 w 862286"/>
                  <a:gd name="connsiteY178" fmla="*/ 196792 h 971615"/>
                  <a:gd name="connsiteX179" fmla="*/ 648478 w 862286"/>
                  <a:gd name="connsiteY179" fmla="*/ 200583 h 971615"/>
                  <a:gd name="connsiteX180" fmla="*/ 648478 w 862286"/>
                  <a:gd name="connsiteY180" fmla="*/ 201200 h 971615"/>
                  <a:gd name="connsiteX181" fmla="*/ 643541 w 862286"/>
                  <a:gd name="connsiteY181" fmla="*/ 210811 h 971615"/>
                  <a:gd name="connsiteX182" fmla="*/ 642042 w 862286"/>
                  <a:gd name="connsiteY182" fmla="*/ 211957 h 971615"/>
                  <a:gd name="connsiteX183" fmla="*/ 640279 w 862286"/>
                  <a:gd name="connsiteY183" fmla="*/ 211075 h 971615"/>
                  <a:gd name="connsiteX184" fmla="*/ 643805 w 862286"/>
                  <a:gd name="connsiteY184" fmla="*/ 207284 h 971615"/>
                  <a:gd name="connsiteX185" fmla="*/ 642395 w 862286"/>
                  <a:gd name="connsiteY185" fmla="*/ 205785 h 971615"/>
                  <a:gd name="connsiteX186" fmla="*/ 643805 w 862286"/>
                  <a:gd name="connsiteY186" fmla="*/ 198467 h 971615"/>
                  <a:gd name="connsiteX187" fmla="*/ 643541 w 862286"/>
                  <a:gd name="connsiteY187" fmla="*/ 196704 h 971615"/>
                  <a:gd name="connsiteX188" fmla="*/ 646451 w 862286"/>
                  <a:gd name="connsiteY188" fmla="*/ 192912 h 971615"/>
                  <a:gd name="connsiteX189" fmla="*/ 645833 w 862286"/>
                  <a:gd name="connsiteY189" fmla="*/ 191766 h 971615"/>
                  <a:gd name="connsiteX190" fmla="*/ 646451 w 862286"/>
                  <a:gd name="connsiteY190" fmla="*/ 190268 h 971615"/>
                  <a:gd name="connsiteX191" fmla="*/ 647597 w 862286"/>
                  <a:gd name="connsiteY191" fmla="*/ 189386 h 971615"/>
                  <a:gd name="connsiteX192" fmla="*/ 646451 w 862286"/>
                  <a:gd name="connsiteY192" fmla="*/ 186476 h 971615"/>
                  <a:gd name="connsiteX193" fmla="*/ 643276 w 862286"/>
                  <a:gd name="connsiteY193" fmla="*/ 189121 h 971615"/>
                  <a:gd name="connsiteX194" fmla="*/ 642659 w 862286"/>
                  <a:gd name="connsiteY194" fmla="*/ 189121 h 971615"/>
                  <a:gd name="connsiteX195" fmla="*/ 642659 w 862286"/>
                  <a:gd name="connsiteY195" fmla="*/ 188240 h 971615"/>
                  <a:gd name="connsiteX196" fmla="*/ 642042 w 862286"/>
                  <a:gd name="connsiteY196" fmla="*/ 187622 h 971615"/>
                  <a:gd name="connsiteX197" fmla="*/ 641160 w 862286"/>
                  <a:gd name="connsiteY197" fmla="*/ 187358 h 971615"/>
                  <a:gd name="connsiteX198" fmla="*/ 642042 w 862286"/>
                  <a:gd name="connsiteY198" fmla="*/ 187093 h 971615"/>
                  <a:gd name="connsiteX199" fmla="*/ 644952 w 862286"/>
                  <a:gd name="connsiteY199" fmla="*/ 185330 h 971615"/>
                  <a:gd name="connsiteX200" fmla="*/ 644952 w 862286"/>
                  <a:gd name="connsiteY200" fmla="*/ 184713 h 971615"/>
                  <a:gd name="connsiteX201" fmla="*/ 646451 w 862286"/>
                  <a:gd name="connsiteY201" fmla="*/ 181803 h 971615"/>
                  <a:gd name="connsiteX202" fmla="*/ 646715 w 862286"/>
                  <a:gd name="connsiteY202" fmla="*/ 181186 h 971615"/>
                  <a:gd name="connsiteX203" fmla="*/ 644423 w 862286"/>
                  <a:gd name="connsiteY203" fmla="*/ 178894 h 971615"/>
                  <a:gd name="connsiteX204" fmla="*/ 645569 w 862286"/>
                  <a:gd name="connsiteY204" fmla="*/ 176866 h 971615"/>
                  <a:gd name="connsiteX205" fmla="*/ 644952 w 862286"/>
                  <a:gd name="connsiteY205" fmla="*/ 176249 h 971615"/>
                  <a:gd name="connsiteX206" fmla="*/ 643805 w 862286"/>
                  <a:gd name="connsiteY206" fmla="*/ 175984 h 971615"/>
                  <a:gd name="connsiteX207" fmla="*/ 643541 w 862286"/>
                  <a:gd name="connsiteY207" fmla="*/ 175367 h 971615"/>
                  <a:gd name="connsiteX208" fmla="*/ 642659 w 862286"/>
                  <a:gd name="connsiteY208" fmla="*/ 175984 h 971615"/>
                  <a:gd name="connsiteX209" fmla="*/ 641513 w 862286"/>
                  <a:gd name="connsiteY209" fmla="*/ 175367 h 971615"/>
                  <a:gd name="connsiteX210" fmla="*/ 640367 w 862286"/>
                  <a:gd name="connsiteY210" fmla="*/ 173868 h 971615"/>
                  <a:gd name="connsiteX211" fmla="*/ 640367 w 862286"/>
                  <a:gd name="connsiteY211" fmla="*/ 174133 h 971615"/>
                  <a:gd name="connsiteX212" fmla="*/ 638868 w 862286"/>
                  <a:gd name="connsiteY212" fmla="*/ 171840 h 971615"/>
                  <a:gd name="connsiteX213" fmla="*/ 637722 w 862286"/>
                  <a:gd name="connsiteY213" fmla="*/ 171576 h 971615"/>
                  <a:gd name="connsiteX214" fmla="*/ 637722 w 862286"/>
                  <a:gd name="connsiteY214" fmla="*/ 169812 h 971615"/>
                  <a:gd name="connsiteX215" fmla="*/ 636576 w 862286"/>
                  <a:gd name="connsiteY215" fmla="*/ 168666 h 971615"/>
                  <a:gd name="connsiteX216" fmla="*/ 635430 w 862286"/>
                  <a:gd name="connsiteY216" fmla="*/ 170430 h 971615"/>
                  <a:gd name="connsiteX217" fmla="*/ 635165 w 862286"/>
                  <a:gd name="connsiteY217" fmla="*/ 170430 h 971615"/>
                  <a:gd name="connsiteX218" fmla="*/ 635165 w 862286"/>
                  <a:gd name="connsiteY218" fmla="*/ 169019 h 971615"/>
                  <a:gd name="connsiteX219" fmla="*/ 635430 w 862286"/>
                  <a:gd name="connsiteY219" fmla="*/ 168402 h 971615"/>
                  <a:gd name="connsiteX220" fmla="*/ 633931 w 862286"/>
                  <a:gd name="connsiteY220" fmla="*/ 167255 h 971615"/>
                  <a:gd name="connsiteX221" fmla="*/ 632167 w 862286"/>
                  <a:gd name="connsiteY221" fmla="*/ 168402 h 971615"/>
                  <a:gd name="connsiteX222" fmla="*/ 631638 w 862286"/>
                  <a:gd name="connsiteY222" fmla="*/ 168402 h 971615"/>
                  <a:gd name="connsiteX223" fmla="*/ 629875 w 862286"/>
                  <a:gd name="connsiteY223" fmla="*/ 170430 h 971615"/>
                  <a:gd name="connsiteX224" fmla="*/ 628993 w 862286"/>
                  <a:gd name="connsiteY224" fmla="*/ 170782 h 971615"/>
                  <a:gd name="connsiteX225" fmla="*/ 628111 w 862286"/>
                  <a:gd name="connsiteY225" fmla="*/ 170165 h 971615"/>
                  <a:gd name="connsiteX226" fmla="*/ 627847 w 862286"/>
                  <a:gd name="connsiteY226" fmla="*/ 169901 h 971615"/>
                  <a:gd name="connsiteX227" fmla="*/ 627847 w 862286"/>
                  <a:gd name="connsiteY227" fmla="*/ 168402 h 971615"/>
                  <a:gd name="connsiteX228" fmla="*/ 628729 w 862286"/>
                  <a:gd name="connsiteY228" fmla="*/ 166638 h 971615"/>
                  <a:gd name="connsiteX229" fmla="*/ 626965 w 862286"/>
                  <a:gd name="connsiteY229" fmla="*/ 166021 h 971615"/>
                  <a:gd name="connsiteX230" fmla="*/ 626965 w 862286"/>
                  <a:gd name="connsiteY230" fmla="*/ 167167 h 971615"/>
                  <a:gd name="connsiteX231" fmla="*/ 625819 w 862286"/>
                  <a:gd name="connsiteY231" fmla="*/ 167167 h 971615"/>
                  <a:gd name="connsiteX232" fmla="*/ 625202 w 862286"/>
                  <a:gd name="connsiteY232" fmla="*/ 168666 h 971615"/>
                  <a:gd name="connsiteX233" fmla="*/ 624056 w 862286"/>
                  <a:gd name="connsiteY233" fmla="*/ 168931 h 971615"/>
                  <a:gd name="connsiteX234" fmla="*/ 623791 w 862286"/>
                  <a:gd name="connsiteY234" fmla="*/ 168666 h 971615"/>
                  <a:gd name="connsiteX235" fmla="*/ 624673 w 862286"/>
                  <a:gd name="connsiteY235" fmla="*/ 166021 h 971615"/>
                  <a:gd name="connsiteX236" fmla="*/ 623791 w 862286"/>
                  <a:gd name="connsiteY236" fmla="*/ 166638 h 971615"/>
                  <a:gd name="connsiteX237" fmla="*/ 624056 w 862286"/>
                  <a:gd name="connsiteY237" fmla="*/ 164610 h 971615"/>
                  <a:gd name="connsiteX238" fmla="*/ 622910 w 862286"/>
                  <a:gd name="connsiteY238" fmla="*/ 163464 h 971615"/>
                  <a:gd name="connsiteX239" fmla="*/ 622028 w 862286"/>
                  <a:gd name="connsiteY239" fmla="*/ 163729 h 971615"/>
                  <a:gd name="connsiteX240" fmla="*/ 621763 w 862286"/>
                  <a:gd name="connsiteY240" fmla="*/ 162847 h 971615"/>
                  <a:gd name="connsiteX241" fmla="*/ 620000 w 862286"/>
                  <a:gd name="connsiteY241" fmla="*/ 165139 h 971615"/>
                  <a:gd name="connsiteX242" fmla="*/ 619118 w 862286"/>
                  <a:gd name="connsiteY242" fmla="*/ 162230 h 971615"/>
                  <a:gd name="connsiteX243" fmla="*/ 618501 w 862286"/>
                  <a:gd name="connsiteY243" fmla="*/ 161348 h 971615"/>
                  <a:gd name="connsiteX244" fmla="*/ 617355 w 862286"/>
                  <a:gd name="connsiteY244" fmla="*/ 162847 h 971615"/>
                  <a:gd name="connsiteX245" fmla="*/ 617090 w 862286"/>
                  <a:gd name="connsiteY245" fmla="*/ 161084 h 971615"/>
                  <a:gd name="connsiteX246" fmla="*/ 615944 w 862286"/>
                  <a:gd name="connsiteY246" fmla="*/ 162847 h 971615"/>
                  <a:gd name="connsiteX247" fmla="*/ 615680 w 862286"/>
                  <a:gd name="connsiteY247" fmla="*/ 162583 h 971615"/>
                  <a:gd name="connsiteX248" fmla="*/ 615944 w 862286"/>
                  <a:gd name="connsiteY248" fmla="*/ 160202 h 971615"/>
                  <a:gd name="connsiteX249" fmla="*/ 615327 w 862286"/>
                  <a:gd name="connsiteY249" fmla="*/ 160555 h 971615"/>
                  <a:gd name="connsiteX250" fmla="*/ 615062 w 862286"/>
                  <a:gd name="connsiteY250" fmla="*/ 159938 h 971615"/>
                  <a:gd name="connsiteX251" fmla="*/ 614533 w 862286"/>
                  <a:gd name="connsiteY251" fmla="*/ 160202 h 971615"/>
                  <a:gd name="connsiteX252" fmla="*/ 614533 w 862286"/>
                  <a:gd name="connsiteY252" fmla="*/ 159938 h 971615"/>
                  <a:gd name="connsiteX253" fmla="*/ 613916 w 862286"/>
                  <a:gd name="connsiteY253" fmla="*/ 159409 h 971615"/>
                  <a:gd name="connsiteX254" fmla="*/ 613035 w 862286"/>
                  <a:gd name="connsiteY254" fmla="*/ 158527 h 971615"/>
                  <a:gd name="connsiteX255" fmla="*/ 612418 w 862286"/>
                  <a:gd name="connsiteY255" fmla="*/ 160290 h 971615"/>
                  <a:gd name="connsiteX256" fmla="*/ 611889 w 862286"/>
                  <a:gd name="connsiteY256" fmla="*/ 159409 h 971615"/>
                  <a:gd name="connsiteX257" fmla="*/ 610390 w 862286"/>
                  <a:gd name="connsiteY257" fmla="*/ 160555 h 971615"/>
                  <a:gd name="connsiteX258" fmla="*/ 609773 w 862286"/>
                  <a:gd name="connsiteY258" fmla="*/ 159938 h 971615"/>
                  <a:gd name="connsiteX259" fmla="*/ 608891 w 862286"/>
                  <a:gd name="connsiteY259" fmla="*/ 158439 h 971615"/>
                  <a:gd name="connsiteX260" fmla="*/ 609155 w 862286"/>
                  <a:gd name="connsiteY260" fmla="*/ 155529 h 971615"/>
                  <a:gd name="connsiteX261" fmla="*/ 607656 w 862286"/>
                  <a:gd name="connsiteY261" fmla="*/ 155000 h 971615"/>
                  <a:gd name="connsiteX262" fmla="*/ 607392 w 862286"/>
                  <a:gd name="connsiteY262" fmla="*/ 155882 h 971615"/>
                  <a:gd name="connsiteX263" fmla="*/ 607039 w 862286"/>
                  <a:gd name="connsiteY263" fmla="*/ 157910 h 971615"/>
                  <a:gd name="connsiteX264" fmla="*/ 606158 w 862286"/>
                  <a:gd name="connsiteY264" fmla="*/ 158791 h 971615"/>
                  <a:gd name="connsiteX265" fmla="*/ 605540 w 862286"/>
                  <a:gd name="connsiteY265" fmla="*/ 158527 h 971615"/>
                  <a:gd name="connsiteX266" fmla="*/ 604394 w 862286"/>
                  <a:gd name="connsiteY266" fmla="*/ 157028 h 971615"/>
                  <a:gd name="connsiteX267" fmla="*/ 602895 w 862286"/>
                  <a:gd name="connsiteY267" fmla="*/ 156852 h 971615"/>
                  <a:gd name="connsiteX268" fmla="*/ 600603 w 862286"/>
                  <a:gd name="connsiteY268" fmla="*/ 156499 h 971615"/>
                  <a:gd name="connsiteX269" fmla="*/ 600603 w 862286"/>
                  <a:gd name="connsiteY269" fmla="*/ 155882 h 971615"/>
                  <a:gd name="connsiteX270" fmla="*/ 599721 w 862286"/>
                  <a:gd name="connsiteY270" fmla="*/ 155882 h 971615"/>
                  <a:gd name="connsiteX271" fmla="*/ 596812 w 862286"/>
                  <a:gd name="connsiteY271" fmla="*/ 156763 h 971615"/>
                  <a:gd name="connsiteX272" fmla="*/ 599721 w 862286"/>
                  <a:gd name="connsiteY272" fmla="*/ 154736 h 971615"/>
                  <a:gd name="connsiteX273" fmla="*/ 599457 w 862286"/>
                  <a:gd name="connsiteY273" fmla="*/ 151561 h 971615"/>
                  <a:gd name="connsiteX274" fmla="*/ 597693 w 862286"/>
                  <a:gd name="connsiteY274" fmla="*/ 151826 h 971615"/>
                  <a:gd name="connsiteX275" fmla="*/ 597429 w 862286"/>
                  <a:gd name="connsiteY275" fmla="*/ 153325 h 971615"/>
                  <a:gd name="connsiteX276" fmla="*/ 595930 w 862286"/>
                  <a:gd name="connsiteY276" fmla="*/ 153589 h 971615"/>
                  <a:gd name="connsiteX277" fmla="*/ 594784 w 862286"/>
                  <a:gd name="connsiteY277" fmla="*/ 151297 h 971615"/>
                  <a:gd name="connsiteX278" fmla="*/ 594784 w 862286"/>
                  <a:gd name="connsiteY278" fmla="*/ 149005 h 971615"/>
                  <a:gd name="connsiteX279" fmla="*/ 593285 w 862286"/>
                  <a:gd name="connsiteY279" fmla="*/ 151297 h 971615"/>
                  <a:gd name="connsiteX280" fmla="*/ 591874 w 862286"/>
                  <a:gd name="connsiteY280" fmla="*/ 153589 h 971615"/>
                  <a:gd name="connsiteX281" fmla="*/ 591874 w 862286"/>
                  <a:gd name="connsiteY281" fmla="*/ 150944 h 971615"/>
                  <a:gd name="connsiteX282" fmla="*/ 589846 w 862286"/>
                  <a:gd name="connsiteY282" fmla="*/ 152972 h 971615"/>
                  <a:gd name="connsiteX283" fmla="*/ 589846 w 862286"/>
                  <a:gd name="connsiteY283" fmla="*/ 151209 h 971615"/>
                  <a:gd name="connsiteX284" fmla="*/ 588347 w 862286"/>
                  <a:gd name="connsiteY284" fmla="*/ 151209 h 971615"/>
                  <a:gd name="connsiteX285" fmla="*/ 586584 w 862286"/>
                  <a:gd name="connsiteY285" fmla="*/ 150327 h 971615"/>
                  <a:gd name="connsiteX286" fmla="*/ 587201 w 862286"/>
                  <a:gd name="connsiteY286" fmla="*/ 148035 h 971615"/>
                  <a:gd name="connsiteX287" fmla="*/ 585791 w 862286"/>
                  <a:gd name="connsiteY287" fmla="*/ 148652 h 971615"/>
                  <a:gd name="connsiteX288" fmla="*/ 586672 w 862286"/>
                  <a:gd name="connsiteY288" fmla="*/ 147153 h 971615"/>
                  <a:gd name="connsiteX289" fmla="*/ 585791 w 862286"/>
                  <a:gd name="connsiteY289" fmla="*/ 148035 h 971615"/>
                  <a:gd name="connsiteX290" fmla="*/ 584645 w 862286"/>
                  <a:gd name="connsiteY290" fmla="*/ 147770 h 971615"/>
                  <a:gd name="connsiteX291" fmla="*/ 583498 w 862286"/>
                  <a:gd name="connsiteY291" fmla="*/ 146624 h 971615"/>
                  <a:gd name="connsiteX292" fmla="*/ 582881 w 862286"/>
                  <a:gd name="connsiteY292" fmla="*/ 147770 h 971615"/>
                  <a:gd name="connsiteX293" fmla="*/ 581999 w 862286"/>
                  <a:gd name="connsiteY293" fmla="*/ 147770 h 971615"/>
                  <a:gd name="connsiteX294" fmla="*/ 581999 w 862286"/>
                  <a:gd name="connsiteY294" fmla="*/ 145742 h 971615"/>
                  <a:gd name="connsiteX295" fmla="*/ 581118 w 862286"/>
                  <a:gd name="connsiteY295" fmla="*/ 149534 h 971615"/>
                  <a:gd name="connsiteX296" fmla="*/ 581999 w 862286"/>
                  <a:gd name="connsiteY296" fmla="*/ 150151 h 971615"/>
                  <a:gd name="connsiteX297" fmla="*/ 581999 w 862286"/>
                  <a:gd name="connsiteY297" fmla="*/ 151650 h 971615"/>
                  <a:gd name="connsiteX298" fmla="*/ 580236 w 862286"/>
                  <a:gd name="connsiteY298" fmla="*/ 150503 h 971615"/>
                  <a:gd name="connsiteX299" fmla="*/ 579090 w 862286"/>
                  <a:gd name="connsiteY299" fmla="*/ 147330 h 971615"/>
                  <a:gd name="connsiteX300" fmla="*/ 575299 w 862286"/>
                  <a:gd name="connsiteY300" fmla="*/ 148211 h 971615"/>
                  <a:gd name="connsiteX301" fmla="*/ 573535 w 862286"/>
                  <a:gd name="connsiteY301" fmla="*/ 148211 h 971615"/>
                  <a:gd name="connsiteX302" fmla="*/ 572389 w 862286"/>
                  <a:gd name="connsiteY302" fmla="*/ 148828 h 971615"/>
                  <a:gd name="connsiteX303" fmla="*/ 570097 w 862286"/>
                  <a:gd name="connsiteY303" fmla="*/ 151209 h 971615"/>
                  <a:gd name="connsiteX304" fmla="*/ 565424 w 862286"/>
                  <a:gd name="connsiteY304" fmla="*/ 151473 h 971615"/>
                  <a:gd name="connsiteX305" fmla="*/ 565159 w 862286"/>
                  <a:gd name="connsiteY305" fmla="*/ 157292 h 971615"/>
                  <a:gd name="connsiteX306" fmla="*/ 563749 w 862286"/>
                  <a:gd name="connsiteY306" fmla="*/ 159056 h 971615"/>
                  <a:gd name="connsiteX307" fmla="*/ 563749 w 862286"/>
                  <a:gd name="connsiteY307" fmla="*/ 159673 h 971615"/>
                  <a:gd name="connsiteX308" fmla="*/ 562867 w 862286"/>
                  <a:gd name="connsiteY308" fmla="*/ 160819 h 971615"/>
                  <a:gd name="connsiteX309" fmla="*/ 560486 w 862286"/>
                  <a:gd name="connsiteY309" fmla="*/ 164258 h 971615"/>
                  <a:gd name="connsiteX310" fmla="*/ 561103 w 862286"/>
                  <a:gd name="connsiteY310" fmla="*/ 159849 h 971615"/>
                  <a:gd name="connsiteX311" fmla="*/ 559957 w 862286"/>
                  <a:gd name="connsiteY311" fmla="*/ 160467 h 971615"/>
                  <a:gd name="connsiteX312" fmla="*/ 559076 w 862286"/>
                  <a:gd name="connsiteY312" fmla="*/ 161348 h 971615"/>
                  <a:gd name="connsiteX313" fmla="*/ 558811 w 862286"/>
                  <a:gd name="connsiteY313" fmla="*/ 164258 h 971615"/>
                  <a:gd name="connsiteX314" fmla="*/ 559428 w 862286"/>
                  <a:gd name="connsiteY314" fmla="*/ 166550 h 971615"/>
                  <a:gd name="connsiteX315" fmla="*/ 562338 w 862286"/>
                  <a:gd name="connsiteY315" fmla="*/ 168313 h 971615"/>
                  <a:gd name="connsiteX316" fmla="*/ 558811 w 862286"/>
                  <a:gd name="connsiteY316" fmla="*/ 169195 h 971615"/>
                  <a:gd name="connsiteX317" fmla="*/ 558547 w 862286"/>
                  <a:gd name="connsiteY317" fmla="*/ 172105 h 971615"/>
                  <a:gd name="connsiteX318" fmla="*/ 556166 w 862286"/>
                  <a:gd name="connsiteY318" fmla="*/ 171488 h 971615"/>
                  <a:gd name="connsiteX319" fmla="*/ 555284 w 862286"/>
                  <a:gd name="connsiteY319" fmla="*/ 168842 h 971615"/>
                  <a:gd name="connsiteX320" fmla="*/ 553257 w 862286"/>
                  <a:gd name="connsiteY320" fmla="*/ 168842 h 971615"/>
                  <a:gd name="connsiteX321" fmla="*/ 551493 w 862286"/>
                  <a:gd name="connsiteY321" fmla="*/ 172017 h 971615"/>
                  <a:gd name="connsiteX322" fmla="*/ 550347 w 862286"/>
                  <a:gd name="connsiteY322" fmla="*/ 175191 h 971615"/>
                  <a:gd name="connsiteX323" fmla="*/ 547702 w 862286"/>
                  <a:gd name="connsiteY323" fmla="*/ 177483 h 971615"/>
                  <a:gd name="connsiteX324" fmla="*/ 545674 w 862286"/>
                  <a:gd name="connsiteY324" fmla="*/ 181010 h 971615"/>
                  <a:gd name="connsiteX325" fmla="*/ 541618 w 862286"/>
                  <a:gd name="connsiteY325" fmla="*/ 181274 h 971615"/>
                  <a:gd name="connsiteX326" fmla="*/ 538092 w 862286"/>
                  <a:gd name="connsiteY326" fmla="*/ 190620 h 971615"/>
                  <a:gd name="connsiteX327" fmla="*/ 536328 w 862286"/>
                  <a:gd name="connsiteY327" fmla="*/ 195910 h 971615"/>
                  <a:gd name="connsiteX328" fmla="*/ 535446 w 862286"/>
                  <a:gd name="connsiteY328" fmla="*/ 199701 h 971615"/>
                  <a:gd name="connsiteX329" fmla="*/ 535446 w 862286"/>
                  <a:gd name="connsiteY329" fmla="*/ 202347 h 971615"/>
                  <a:gd name="connsiteX330" fmla="*/ 537474 w 862286"/>
                  <a:gd name="connsiteY330" fmla="*/ 208166 h 971615"/>
                  <a:gd name="connsiteX331" fmla="*/ 533066 w 862286"/>
                  <a:gd name="connsiteY331" fmla="*/ 201200 h 971615"/>
                  <a:gd name="connsiteX332" fmla="*/ 532449 w 862286"/>
                  <a:gd name="connsiteY332" fmla="*/ 198026 h 971615"/>
                  <a:gd name="connsiteX333" fmla="*/ 533066 w 862286"/>
                  <a:gd name="connsiteY333" fmla="*/ 193353 h 971615"/>
                  <a:gd name="connsiteX334" fmla="*/ 536593 w 862286"/>
                  <a:gd name="connsiteY334" fmla="*/ 187799 h 971615"/>
                  <a:gd name="connsiteX335" fmla="*/ 539238 w 862286"/>
                  <a:gd name="connsiteY335" fmla="*/ 179070 h 971615"/>
                  <a:gd name="connsiteX336" fmla="*/ 538356 w 862286"/>
                  <a:gd name="connsiteY336" fmla="*/ 175808 h 971615"/>
                  <a:gd name="connsiteX337" fmla="*/ 536857 w 862286"/>
                  <a:gd name="connsiteY337" fmla="*/ 175543 h 971615"/>
                  <a:gd name="connsiteX338" fmla="*/ 535975 w 862286"/>
                  <a:gd name="connsiteY338" fmla="*/ 177924 h 971615"/>
                  <a:gd name="connsiteX339" fmla="*/ 533330 w 862286"/>
                  <a:gd name="connsiteY339" fmla="*/ 179687 h 971615"/>
                  <a:gd name="connsiteX340" fmla="*/ 533066 w 862286"/>
                  <a:gd name="connsiteY340" fmla="*/ 179687 h 971615"/>
                  <a:gd name="connsiteX341" fmla="*/ 529010 w 862286"/>
                  <a:gd name="connsiteY341" fmla="*/ 179952 h 971615"/>
                  <a:gd name="connsiteX342" fmla="*/ 529275 w 862286"/>
                  <a:gd name="connsiteY342" fmla="*/ 183743 h 971615"/>
                  <a:gd name="connsiteX343" fmla="*/ 527776 w 862286"/>
                  <a:gd name="connsiteY343" fmla="*/ 184625 h 971615"/>
                  <a:gd name="connsiteX344" fmla="*/ 526630 w 862286"/>
                  <a:gd name="connsiteY344" fmla="*/ 188416 h 971615"/>
                  <a:gd name="connsiteX345" fmla="*/ 526630 w 862286"/>
                  <a:gd name="connsiteY345" fmla="*/ 185506 h 971615"/>
                  <a:gd name="connsiteX346" fmla="*/ 526894 w 862286"/>
                  <a:gd name="connsiteY346" fmla="*/ 179687 h 971615"/>
                  <a:gd name="connsiteX347" fmla="*/ 526013 w 862286"/>
                  <a:gd name="connsiteY347" fmla="*/ 178541 h 971615"/>
                  <a:gd name="connsiteX348" fmla="*/ 522221 w 862286"/>
                  <a:gd name="connsiteY348" fmla="*/ 178012 h 971615"/>
                  <a:gd name="connsiteX349" fmla="*/ 519841 w 862286"/>
                  <a:gd name="connsiteY349" fmla="*/ 179158 h 971615"/>
                  <a:gd name="connsiteX350" fmla="*/ 518077 w 862286"/>
                  <a:gd name="connsiteY350" fmla="*/ 181803 h 971615"/>
                  <a:gd name="connsiteX351" fmla="*/ 516050 w 862286"/>
                  <a:gd name="connsiteY351" fmla="*/ 183567 h 971615"/>
                  <a:gd name="connsiteX352" fmla="*/ 514903 w 862286"/>
                  <a:gd name="connsiteY352" fmla="*/ 181186 h 971615"/>
                  <a:gd name="connsiteX353" fmla="*/ 514374 w 862286"/>
                  <a:gd name="connsiteY353" fmla="*/ 179775 h 971615"/>
                  <a:gd name="connsiteX354" fmla="*/ 510583 w 862286"/>
                  <a:gd name="connsiteY354" fmla="*/ 175984 h 971615"/>
                  <a:gd name="connsiteX355" fmla="*/ 507321 w 862286"/>
                  <a:gd name="connsiteY355" fmla="*/ 167520 h 971615"/>
                  <a:gd name="connsiteX356" fmla="*/ 506704 w 862286"/>
                  <a:gd name="connsiteY356" fmla="*/ 160819 h 971615"/>
                  <a:gd name="connsiteX357" fmla="*/ 505205 w 862286"/>
                  <a:gd name="connsiteY357" fmla="*/ 159673 h 971615"/>
                  <a:gd name="connsiteX358" fmla="*/ 506704 w 862286"/>
                  <a:gd name="connsiteY358" fmla="*/ 158791 h 971615"/>
                  <a:gd name="connsiteX359" fmla="*/ 507321 w 862286"/>
                  <a:gd name="connsiteY359" fmla="*/ 155000 h 971615"/>
                  <a:gd name="connsiteX360" fmla="*/ 504411 w 862286"/>
                  <a:gd name="connsiteY360" fmla="*/ 154383 h 971615"/>
                  <a:gd name="connsiteX361" fmla="*/ 503794 w 862286"/>
                  <a:gd name="connsiteY361" fmla="*/ 154383 h 971615"/>
                  <a:gd name="connsiteX362" fmla="*/ 502912 w 862286"/>
                  <a:gd name="connsiteY362" fmla="*/ 156675 h 971615"/>
                  <a:gd name="connsiteX363" fmla="*/ 495947 w 862286"/>
                  <a:gd name="connsiteY363" fmla="*/ 162847 h 971615"/>
                  <a:gd name="connsiteX364" fmla="*/ 494448 w 862286"/>
                  <a:gd name="connsiteY364" fmla="*/ 162583 h 971615"/>
                  <a:gd name="connsiteX365" fmla="*/ 488629 w 862286"/>
                  <a:gd name="connsiteY365" fmla="*/ 166638 h 971615"/>
                  <a:gd name="connsiteX366" fmla="*/ 477255 w 862286"/>
                  <a:gd name="connsiteY366" fmla="*/ 172457 h 971615"/>
                  <a:gd name="connsiteX367" fmla="*/ 475492 w 862286"/>
                  <a:gd name="connsiteY367" fmla="*/ 173604 h 971615"/>
                  <a:gd name="connsiteX368" fmla="*/ 475492 w 862286"/>
                  <a:gd name="connsiteY368" fmla="*/ 169195 h 971615"/>
                  <a:gd name="connsiteX369" fmla="*/ 465264 w 862286"/>
                  <a:gd name="connsiteY369" fmla="*/ 171488 h 971615"/>
                  <a:gd name="connsiteX370" fmla="*/ 470819 w 862286"/>
                  <a:gd name="connsiteY370" fmla="*/ 168842 h 971615"/>
                  <a:gd name="connsiteX371" fmla="*/ 482193 w 862286"/>
                  <a:gd name="connsiteY371" fmla="*/ 163553 h 971615"/>
                  <a:gd name="connsiteX372" fmla="*/ 491539 w 862286"/>
                  <a:gd name="connsiteY372" fmla="*/ 159761 h 971615"/>
                  <a:gd name="connsiteX373" fmla="*/ 495065 w 862286"/>
                  <a:gd name="connsiteY373" fmla="*/ 152443 h 971615"/>
                  <a:gd name="connsiteX374" fmla="*/ 497446 w 862286"/>
                  <a:gd name="connsiteY374" fmla="*/ 147506 h 971615"/>
                  <a:gd name="connsiteX375" fmla="*/ 497181 w 862286"/>
                  <a:gd name="connsiteY375" fmla="*/ 143715 h 971615"/>
                  <a:gd name="connsiteX376" fmla="*/ 499827 w 862286"/>
                  <a:gd name="connsiteY376" fmla="*/ 140188 h 971615"/>
                  <a:gd name="connsiteX377" fmla="*/ 501854 w 862286"/>
                  <a:gd name="connsiteY377" fmla="*/ 136132 h 971615"/>
                  <a:gd name="connsiteX378" fmla="*/ 503001 w 862286"/>
                  <a:gd name="connsiteY378" fmla="*/ 131459 h 971615"/>
                  <a:gd name="connsiteX379" fmla="*/ 509701 w 862286"/>
                  <a:gd name="connsiteY379" fmla="*/ 126522 h 971615"/>
                  <a:gd name="connsiteX380" fmla="*/ 515521 w 862286"/>
                  <a:gd name="connsiteY380" fmla="*/ 121584 h 971615"/>
                  <a:gd name="connsiteX381" fmla="*/ 522221 w 862286"/>
                  <a:gd name="connsiteY381" fmla="*/ 120085 h 971615"/>
                  <a:gd name="connsiteX382" fmla="*/ 516667 w 862286"/>
                  <a:gd name="connsiteY382" fmla="*/ 113385 h 971615"/>
                  <a:gd name="connsiteX383" fmla="*/ 516931 w 862286"/>
                  <a:gd name="connsiteY383" fmla="*/ 115412 h 971615"/>
                  <a:gd name="connsiteX384" fmla="*/ 520105 w 862286"/>
                  <a:gd name="connsiteY384" fmla="*/ 112150 h 971615"/>
                  <a:gd name="connsiteX385" fmla="*/ 517725 w 862286"/>
                  <a:gd name="connsiteY385" fmla="*/ 107742 h 971615"/>
                  <a:gd name="connsiteX386" fmla="*/ 522398 w 862286"/>
                  <a:gd name="connsiteY386" fmla="*/ 107742 h 971615"/>
                  <a:gd name="connsiteX387" fmla="*/ 524690 w 862286"/>
                  <a:gd name="connsiteY387" fmla="*/ 104832 h 971615"/>
                  <a:gd name="connsiteX388" fmla="*/ 527600 w 862286"/>
                  <a:gd name="connsiteY388" fmla="*/ 102187 h 971615"/>
                  <a:gd name="connsiteX389" fmla="*/ 527600 w 862286"/>
                  <a:gd name="connsiteY389" fmla="*/ 95487 h 971615"/>
                  <a:gd name="connsiteX390" fmla="*/ 523544 w 862286"/>
                  <a:gd name="connsiteY390" fmla="*/ 87639 h 971615"/>
                  <a:gd name="connsiteX391" fmla="*/ 512170 w 862286"/>
                  <a:gd name="connsiteY391" fmla="*/ 79440 h 971615"/>
                  <a:gd name="connsiteX392" fmla="*/ 509260 w 862286"/>
                  <a:gd name="connsiteY392" fmla="*/ 78558 h 971615"/>
                  <a:gd name="connsiteX393" fmla="*/ 508114 w 862286"/>
                  <a:gd name="connsiteY393" fmla="*/ 79440 h 971615"/>
                  <a:gd name="connsiteX394" fmla="*/ 507850 w 862286"/>
                  <a:gd name="connsiteY394" fmla="*/ 77676 h 971615"/>
                  <a:gd name="connsiteX395" fmla="*/ 510495 w 862286"/>
                  <a:gd name="connsiteY395" fmla="*/ 75649 h 971615"/>
                  <a:gd name="connsiteX396" fmla="*/ 509349 w 862286"/>
                  <a:gd name="connsiteY396" fmla="*/ 70711 h 971615"/>
                  <a:gd name="connsiteX397" fmla="*/ 507321 w 862286"/>
                  <a:gd name="connsiteY397" fmla="*/ 69212 h 971615"/>
                  <a:gd name="connsiteX398" fmla="*/ 505293 w 862286"/>
                  <a:gd name="connsiteY398" fmla="*/ 61630 h 971615"/>
                  <a:gd name="connsiteX399" fmla="*/ 502383 w 862286"/>
                  <a:gd name="connsiteY399" fmla="*/ 47876 h 971615"/>
                  <a:gd name="connsiteX400" fmla="*/ 500885 w 862286"/>
                  <a:gd name="connsiteY400" fmla="*/ 34738 h 971615"/>
                  <a:gd name="connsiteX401" fmla="*/ 500620 w 862286"/>
                  <a:gd name="connsiteY401" fmla="*/ 31564 h 971615"/>
                  <a:gd name="connsiteX402" fmla="*/ 497093 w 862286"/>
                  <a:gd name="connsiteY402" fmla="*/ 25393 h 971615"/>
                  <a:gd name="connsiteX403" fmla="*/ 491891 w 862286"/>
                  <a:gd name="connsiteY403" fmla="*/ 22483 h 971615"/>
                  <a:gd name="connsiteX404" fmla="*/ 494536 w 862286"/>
                  <a:gd name="connsiteY404" fmla="*/ 33240 h 971615"/>
                  <a:gd name="connsiteX405" fmla="*/ 490128 w 862286"/>
                  <a:gd name="connsiteY405" fmla="*/ 29713 h 971615"/>
                  <a:gd name="connsiteX406" fmla="*/ 489246 w 862286"/>
                  <a:gd name="connsiteY406" fmla="*/ 30859 h 971615"/>
                  <a:gd name="connsiteX407" fmla="*/ 486337 w 862286"/>
                  <a:gd name="connsiteY407" fmla="*/ 34650 h 971615"/>
                  <a:gd name="connsiteX408" fmla="*/ 483427 w 862286"/>
                  <a:gd name="connsiteY408" fmla="*/ 38177 h 971615"/>
                  <a:gd name="connsiteX409" fmla="*/ 481928 w 862286"/>
                  <a:gd name="connsiteY409" fmla="*/ 40822 h 971615"/>
                  <a:gd name="connsiteX410" fmla="*/ 475492 w 862286"/>
                  <a:gd name="connsiteY410" fmla="*/ 50432 h 971615"/>
                  <a:gd name="connsiteX411" fmla="*/ 474081 w 862286"/>
                  <a:gd name="connsiteY411" fmla="*/ 54224 h 971615"/>
                  <a:gd name="connsiteX412" fmla="*/ 472935 w 862286"/>
                  <a:gd name="connsiteY412" fmla="*/ 59161 h 971615"/>
                  <a:gd name="connsiteX413" fmla="*/ 469144 w 862286"/>
                  <a:gd name="connsiteY413" fmla="*/ 65333 h 971615"/>
                  <a:gd name="connsiteX414" fmla="*/ 466851 w 862286"/>
                  <a:gd name="connsiteY414" fmla="*/ 71769 h 971615"/>
                  <a:gd name="connsiteX415" fmla="*/ 461914 w 862286"/>
                  <a:gd name="connsiteY415" fmla="*/ 76442 h 971615"/>
                  <a:gd name="connsiteX416" fmla="*/ 458123 w 862286"/>
                  <a:gd name="connsiteY416" fmla="*/ 76707 h 971615"/>
                  <a:gd name="connsiteX417" fmla="*/ 453714 w 862286"/>
                  <a:gd name="connsiteY417" fmla="*/ 76442 h 971615"/>
                  <a:gd name="connsiteX418" fmla="*/ 452304 w 862286"/>
                  <a:gd name="connsiteY418" fmla="*/ 72651 h 971615"/>
                  <a:gd name="connsiteX419" fmla="*/ 447631 w 862286"/>
                  <a:gd name="connsiteY419" fmla="*/ 75296 h 971615"/>
                  <a:gd name="connsiteX420" fmla="*/ 443840 w 862286"/>
                  <a:gd name="connsiteY420" fmla="*/ 72651 h 971615"/>
                  <a:gd name="connsiteX421" fmla="*/ 439167 w 862286"/>
                  <a:gd name="connsiteY421" fmla="*/ 74679 h 971615"/>
                  <a:gd name="connsiteX422" fmla="*/ 435904 w 862286"/>
                  <a:gd name="connsiteY422" fmla="*/ 76707 h 971615"/>
                  <a:gd name="connsiteX423" fmla="*/ 433877 w 862286"/>
                  <a:gd name="connsiteY423" fmla="*/ 78470 h 971615"/>
                  <a:gd name="connsiteX424" fmla="*/ 431849 w 862286"/>
                  <a:gd name="connsiteY424" fmla="*/ 77588 h 971615"/>
                  <a:gd name="connsiteX425" fmla="*/ 427176 w 862286"/>
                  <a:gd name="connsiteY425" fmla="*/ 75825 h 971615"/>
                  <a:gd name="connsiteX426" fmla="*/ 426030 w 862286"/>
                  <a:gd name="connsiteY426" fmla="*/ 73180 h 971615"/>
                  <a:gd name="connsiteX427" fmla="*/ 423649 w 862286"/>
                  <a:gd name="connsiteY427" fmla="*/ 72915 h 971615"/>
                  <a:gd name="connsiteX428" fmla="*/ 423913 w 862286"/>
                  <a:gd name="connsiteY428" fmla="*/ 72915 h 971615"/>
                  <a:gd name="connsiteX429" fmla="*/ 423384 w 862286"/>
                  <a:gd name="connsiteY429" fmla="*/ 73180 h 971615"/>
                  <a:gd name="connsiteX430" fmla="*/ 422503 w 862286"/>
                  <a:gd name="connsiteY430" fmla="*/ 71152 h 971615"/>
                  <a:gd name="connsiteX431" fmla="*/ 421004 w 862286"/>
                  <a:gd name="connsiteY431" fmla="*/ 69388 h 971615"/>
                  <a:gd name="connsiteX432" fmla="*/ 418359 w 862286"/>
                  <a:gd name="connsiteY432" fmla="*/ 70535 h 971615"/>
                  <a:gd name="connsiteX433" fmla="*/ 417213 w 862286"/>
                  <a:gd name="connsiteY433" fmla="*/ 66126 h 971615"/>
                  <a:gd name="connsiteX434" fmla="*/ 412804 w 862286"/>
                  <a:gd name="connsiteY434" fmla="*/ 67890 h 971615"/>
                  <a:gd name="connsiteX435" fmla="*/ 410776 w 862286"/>
                  <a:gd name="connsiteY435" fmla="*/ 68154 h 971615"/>
                  <a:gd name="connsiteX436" fmla="*/ 407250 w 862286"/>
                  <a:gd name="connsiteY436" fmla="*/ 70447 h 971615"/>
                  <a:gd name="connsiteX437" fmla="*/ 394113 w 862286"/>
                  <a:gd name="connsiteY437" fmla="*/ 67802 h 971615"/>
                  <a:gd name="connsiteX438" fmla="*/ 391468 w 862286"/>
                  <a:gd name="connsiteY438" fmla="*/ 72474 h 971615"/>
                  <a:gd name="connsiteX439" fmla="*/ 392614 w 862286"/>
                  <a:gd name="connsiteY439" fmla="*/ 75649 h 971615"/>
                  <a:gd name="connsiteX440" fmla="*/ 395788 w 862286"/>
                  <a:gd name="connsiteY440" fmla="*/ 79704 h 971615"/>
                  <a:gd name="connsiteX441" fmla="*/ 392878 w 862286"/>
                  <a:gd name="connsiteY441" fmla="*/ 85259 h 971615"/>
                  <a:gd name="connsiteX442" fmla="*/ 384414 w 862286"/>
                  <a:gd name="connsiteY442" fmla="*/ 83231 h 971615"/>
                  <a:gd name="connsiteX443" fmla="*/ 382651 w 862286"/>
                  <a:gd name="connsiteY443" fmla="*/ 82349 h 971615"/>
                  <a:gd name="connsiteX444" fmla="*/ 381152 w 862286"/>
                  <a:gd name="connsiteY444" fmla="*/ 83231 h 971615"/>
                  <a:gd name="connsiteX445" fmla="*/ 375862 w 862286"/>
                  <a:gd name="connsiteY445" fmla="*/ 84377 h 971615"/>
                  <a:gd name="connsiteX446" fmla="*/ 370660 w 862286"/>
                  <a:gd name="connsiteY446" fmla="*/ 82878 h 971615"/>
                  <a:gd name="connsiteX447" fmla="*/ 366251 w 862286"/>
                  <a:gd name="connsiteY447" fmla="*/ 82261 h 971615"/>
                  <a:gd name="connsiteX448" fmla="*/ 361843 w 862286"/>
                  <a:gd name="connsiteY448" fmla="*/ 83143 h 971615"/>
                  <a:gd name="connsiteX449" fmla="*/ 358933 w 862286"/>
                  <a:gd name="connsiteY449" fmla="*/ 88433 h 971615"/>
                  <a:gd name="connsiteX450" fmla="*/ 351615 w 862286"/>
                  <a:gd name="connsiteY450" fmla="*/ 89315 h 971615"/>
                  <a:gd name="connsiteX451" fmla="*/ 349235 w 862286"/>
                  <a:gd name="connsiteY451" fmla="*/ 89315 h 971615"/>
                  <a:gd name="connsiteX452" fmla="*/ 345708 w 862286"/>
                  <a:gd name="connsiteY452" fmla="*/ 93106 h 971615"/>
                  <a:gd name="connsiteX453" fmla="*/ 342181 w 862286"/>
                  <a:gd name="connsiteY453" fmla="*/ 91078 h 971615"/>
                  <a:gd name="connsiteX454" fmla="*/ 340418 w 862286"/>
                  <a:gd name="connsiteY454" fmla="*/ 94252 h 971615"/>
                  <a:gd name="connsiteX455" fmla="*/ 338655 w 862286"/>
                  <a:gd name="connsiteY455" fmla="*/ 96897 h 971615"/>
                  <a:gd name="connsiteX456" fmla="*/ 333100 w 862286"/>
                  <a:gd name="connsiteY456" fmla="*/ 98660 h 971615"/>
                  <a:gd name="connsiteX457" fmla="*/ 330455 w 862286"/>
                  <a:gd name="connsiteY457" fmla="*/ 101570 h 971615"/>
                  <a:gd name="connsiteX458" fmla="*/ 329044 w 862286"/>
                  <a:gd name="connsiteY458" fmla="*/ 99278 h 971615"/>
                  <a:gd name="connsiteX459" fmla="*/ 321109 w 862286"/>
                  <a:gd name="connsiteY459" fmla="*/ 96368 h 971615"/>
                  <a:gd name="connsiteX460" fmla="*/ 319699 w 862286"/>
                  <a:gd name="connsiteY460" fmla="*/ 93106 h 971615"/>
                  <a:gd name="connsiteX461" fmla="*/ 315643 w 862286"/>
                  <a:gd name="connsiteY461" fmla="*/ 87904 h 971615"/>
                  <a:gd name="connsiteX462" fmla="*/ 313350 w 862286"/>
                  <a:gd name="connsiteY462" fmla="*/ 84994 h 971615"/>
                  <a:gd name="connsiteX463" fmla="*/ 310705 w 862286"/>
                  <a:gd name="connsiteY463" fmla="*/ 84994 h 971615"/>
                  <a:gd name="connsiteX464" fmla="*/ 306914 w 862286"/>
                  <a:gd name="connsiteY464" fmla="*/ 71857 h 971615"/>
                  <a:gd name="connsiteX465" fmla="*/ 305768 w 862286"/>
                  <a:gd name="connsiteY465" fmla="*/ 64539 h 971615"/>
                  <a:gd name="connsiteX466" fmla="*/ 309295 w 862286"/>
                  <a:gd name="connsiteY466" fmla="*/ 47346 h 971615"/>
                  <a:gd name="connsiteX467" fmla="*/ 313086 w 862286"/>
                  <a:gd name="connsiteY467" fmla="*/ 38618 h 971615"/>
                  <a:gd name="connsiteX468" fmla="*/ 315114 w 862286"/>
                  <a:gd name="connsiteY468" fmla="*/ 35973 h 971615"/>
                  <a:gd name="connsiteX469" fmla="*/ 316877 w 862286"/>
                  <a:gd name="connsiteY469" fmla="*/ 32799 h 971615"/>
                  <a:gd name="connsiteX470" fmla="*/ 313703 w 862286"/>
                  <a:gd name="connsiteY470" fmla="*/ 29272 h 971615"/>
                  <a:gd name="connsiteX471" fmla="*/ 312821 w 862286"/>
                  <a:gd name="connsiteY471" fmla="*/ 26980 h 971615"/>
                  <a:gd name="connsiteX472" fmla="*/ 311940 w 862286"/>
                  <a:gd name="connsiteY472" fmla="*/ 23453 h 971615"/>
                  <a:gd name="connsiteX473" fmla="*/ 310441 w 862286"/>
                  <a:gd name="connsiteY473" fmla="*/ 19662 h 971615"/>
                  <a:gd name="connsiteX474" fmla="*/ 307267 w 862286"/>
                  <a:gd name="connsiteY474" fmla="*/ 18515 h 971615"/>
                  <a:gd name="connsiteX475" fmla="*/ 303211 w 862286"/>
                  <a:gd name="connsiteY475" fmla="*/ 16752 h 971615"/>
                  <a:gd name="connsiteX476" fmla="*/ 305856 w 862286"/>
                  <a:gd name="connsiteY476" fmla="*/ 14107 h 971615"/>
                  <a:gd name="connsiteX477" fmla="*/ 304974 w 862286"/>
                  <a:gd name="connsiteY477" fmla="*/ 2116 h 971615"/>
                  <a:gd name="connsiteX478" fmla="*/ 303211 w 862286"/>
                  <a:gd name="connsiteY478" fmla="*/ 617 h 971615"/>
                  <a:gd name="connsiteX479" fmla="*/ 301183 w 862286"/>
                  <a:gd name="connsiteY479" fmla="*/ 0 h 971615"/>
                  <a:gd name="connsiteX480" fmla="*/ 298009 w 862286"/>
                  <a:gd name="connsiteY480" fmla="*/ 882 h 971615"/>
                  <a:gd name="connsiteX481" fmla="*/ 291573 w 862286"/>
                  <a:gd name="connsiteY481" fmla="*/ 882 h 971615"/>
                  <a:gd name="connsiteX482" fmla="*/ 290427 w 862286"/>
                  <a:gd name="connsiteY482" fmla="*/ 1499 h 971615"/>
                  <a:gd name="connsiteX483" fmla="*/ 292190 w 862286"/>
                  <a:gd name="connsiteY483" fmla="*/ 1763 h 971615"/>
                  <a:gd name="connsiteX484" fmla="*/ 293953 w 862286"/>
                  <a:gd name="connsiteY484" fmla="*/ 4673 h 971615"/>
                  <a:gd name="connsiteX485" fmla="*/ 293953 w 862286"/>
                  <a:gd name="connsiteY485" fmla="*/ 7318 h 971615"/>
                  <a:gd name="connsiteX486" fmla="*/ 291925 w 862286"/>
                  <a:gd name="connsiteY486" fmla="*/ 10580 h 971615"/>
                  <a:gd name="connsiteX487" fmla="*/ 288751 w 862286"/>
                  <a:gd name="connsiteY487" fmla="*/ 13225 h 971615"/>
                  <a:gd name="connsiteX488" fmla="*/ 287252 w 862286"/>
                  <a:gd name="connsiteY488" fmla="*/ 13225 h 971615"/>
                  <a:gd name="connsiteX489" fmla="*/ 284608 w 862286"/>
                  <a:gd name="connsiteY489" fmla="*/ 18515 h 971615"/>
                  <a:gd name="connsiteX490" fmla="*/ 281081 w 862286"/>
                  <a:gd name="connsiteY490" fmla="*/ 18780 h 971615"/>
                  <a:gd name="connsiteX491" fmla="*/ 277819 w 862286"/>
                  <a:gd name="connsiteY491" fmla="*/ 17898 h 971615"/>
                  <a:gd name="connsiteX492" fmla="*/ 278083 w 862286"/>
                  <a:gd name="connsiteY492" fmla="*/ 19926 h 971615"/>
                  <a:gd name="connsiteX493" fmla="*/ 276320 w 862286"/>
                  <a:gd name="connsiteY493" fmla="*/ 21072 h 971615"/>
                  <a:gd name="connsiteX494" fmla="*/ 274909 w 862286"/>
                  <a:gd name="connsiteY494" fmla="*/ 20191 h 971615"/>
                  <a:gd name="connsiteX495" fmla="*/ 273146 w 862286"/>
                  <a:gd name="connsiteY495" fmla="*/ 21337 h 971615"/>
                  <a:gd name="connsiteX496" fmla="*/ 272528 w 862286"/>
                  <a:gd name="connsiteY496" fmla="*/ 24511 h 971615"/>
                  <a:gd name="connsiteX497" fmla="*/ 271382 w 862286"/>
                  <a:gd name="connsiteY497" fmla="*/ 25393 h 971615"/>
                  <a:gd name="connsiteX498" fmla="*/ 271382 w 862286"/>
                  <a:gd name="connsiteY498" fmla="*/ 24775 h 971615"/>
                  <a:gd name="connsiteX499" fmla="*/ 269883 w 862286"/>
                  <a:gd name="connsiteY499" fmla="*/ 25040 h 971615"/>
                  <a:gd name="connsiteX500" fmla="*/ 268737 w 862286"/>
                  <a:gd name="connsiteY500" fmla="*/ 24423 h 971615"/>
                  <a:gd name="connsiteX501" fmla="*/ 263800 w 862286"/>
                  <a:gd name="connsiteY501" fmla="*/ 27332 h 971615"/>
                  <a:gd name="connsiteX502" fmla="*/ 260537 w 862286"/>
                  <a:gd name="connsiteY502" fmla="*/ 27332 h 971615"/>
                  <a:gd name="connsiteX503" fmla="*/ 259920 w 862286"/>
                  <a:gd name="connsiteY503" fmla="*/ 28478 h 971615"/>
                  <a:gd name="connsiteX504" fmla="*/ 252338 w 862286"/>
                  <a:gd name="connsiteY504" fmla="*/ 26451 h 971615"/>
                  <a:gd name="connsiteX505" fmla="*/ 252338 w 862286"/>
                  <a:gd name="connsiteY505" fmla="*/ 27332 h 971615"/>
                  <a:gd name="connsiteX506" fmla="*/ 250045 w 862286"/>
                  <a:gd name="connsiteY506" fmla="*/ 28214 h 971615"/>
                  <a:gd name="connsiteX507" fmla="*/ 249781 w 862286"/>
                  <a:gd name="connsiteY507" fmla="*/ 30506 h 971615"/>
                  <a:gd name="connsiteX508" fmla="*/ 247136 w 862286"/>
                  <a:gd name="connsiteY508" fmla="*/ 29977 h 971615"/>
                  <a:gd name="connsiteX509" fmla="*/ 244843 w 862286"/>
                  <a:gd name="connsiteY509" fmla="*/ 30859 h 971615"/>
                  <a:gd name="connsiteX510" fmla="*/ 245725 w 862286"/>
                  <a:gd name="connsiteY510" fmla="*/ 32358 h 971615"/>
                  <a:gd name="connsiteX511" fmla="*/ 244226 w 862286"/>
                  <a:gd name="connsiteY511" fmla="*/ 33504 h 971615"/>
                  <a:gd name="connsiteX512" fmla="*/ 245725 w 862286"/>
                  <a:gd name="connsiteY512" fmla="*/ 36414 h 971615"/>
                  <a:gd name="connsiteX513" fmla="*/ 245725 w 862286"/>
                  <a:gd name="connsiteY513" fmla="*/ 39059 h 971615"/>
                  <a:gd name="connsiteX514" fmla="*/ 244579 w 862286"/>
                  <a:gd name="connsiteY514" fmla="*/ 40822 h 971615"/>
                  <a:gd name="connsiteX515" fmla="*/ 243697 w 862286"/>
                  <a:gd name="connsiteY515" fmla="*/ 40822 h 971615"/>
                  <a:gd name="connsiteX516" fmla="*/ 243080 w 862286"/>
                  <a:gd name="connsiteY516" fmla="*/ 41968 h 971615"/>
                  <a:gd name="connsiteX517" fmla="*/ 241317 w 862286"/>
                  <a:gd name="connsiteY517" fmla="*/ 41968 h 971615"/>
                  <a:gd name="connsiteX518" fmla="*/ 240171 w 862286"/>
                  <a:gd name="connsiteY518" fmla="*/ 40822 h 971615"/>
                  <a:gd name="connsiteX519" fmla="*/ 232588 w 862286"/>
                  <a:gd name="connsiteY519" fmla="*/ 32358 h 971615"/>
                  <a:gd name="connsiteX520" fmla="*/ 230825 w 862286"/>
                  <a:gd name="connsiteY520" fmla="*/ 32358 h 971615"/>
                  <a:gd name="connsiteX521" fmla="*/ 229943 w 862286"/>
                  <a:gd name="connsiteY521" fmla="*/ 34121 h 971615"/>
                  <a:gd name="connsiteX522" fmla="*/ 228797 w 862286"/>
                  <a:gd name="connsiteY522" fmla="*/ 34738 h 971615"/>
                  <a:gd name="connsiteX523" fmla="*/ 226416 w 862286"/>
                  <a:gd name="connsiteY523" fmla="*/ 32711 h 971615"/>
                  <a:gd name="connsiteX524" fmla="*/ 222625 w 862286"/>
                  <a:gd name="connsiteY524" fmla="*/ 32975 h 971615"/>
                  <a:gd name="connsiteX525" fmla="*/ 221743 w 862286"/>
                  <a:gd name="connsiteY525" fmla="*/ 32358 h 971615"/>
                  <a:gd name="connsiteX526" fmla="*/ 217335 w 862286"/>
                  <a:gd name="connsiteY526" fmla="*/ 34121 h 971615"/>
                  <a:gd name="connsiteX527" fmla="*/ 215307 w 862286"/>
                  <a:gd name="connsiteY527" fmla="*/ 28567 h 971615"/>
                  <a:gd name="connsiteX528" fmla="*/ 212398 w 862286"/>
                  <a:gd name="connsiteY528" fmla="*/ 27421 h 971615"/>
                  <a:gd name="connsiteX529" fmla="*/ 205080 w 862286"/>
                  <a:gd name="connsiteY529" fmla="*/ 28567 h 971615"/>
                  <a:gd name="connsiteX530" fmla="*/ 203669 w 862286"/>
                  <a:gd name="connsiteY530" fmla="*/ 24775 h 971615"/>
                  <a:gd name="connsiteX531" fmla="*/ 202170 w 862286"/>
                  <a:gd name="connsiteY531" fmla="*/ 23894 h 971615"/>
                  <a:gd name="connsiteX532" fmla="*/ 200407 w 862286"/>
                  <a:gd name="connsiteY532" fmla="*/ 23894 h 971615"/>
                  <a:gd name="connsiteX533" fmla="*/ 200407 w 862286"/>
                  <a:gd name="connsiteY533" fmla="*/ 25657 h 971615"/>
                  <a:gd name="connsiteX534" fmla="*/ 202170 w 862286"/>
                  <a:gd name="connsiteY534" fmla="*/ 27421 h 971615"/>
                  <a:gd name="connsiteX535" fmla="*/ 202787 w 862286"/>
                  <a:gd name="connsiteY535" fmla="*/ 29184 h 971615"/>
                  <a:gd name="connsiteX536" fmla="*/ 203669 w 862286"/>
                  <a:gd name="connsiteY536" fmla="*/ 31212 h 971615"/>
                  <a:gd name="connsiteX537" fmla="*/ 207725 w 862286"/>
                  <a:gd name="connsiteY537" fmla="*/ 36414 h 971615"/>
                  <a:gd name="connsiteX538" fmla="*/ 210899 w 862286"/>
                  <a:gd name="connsiteY538" fmla="*/ 37913 h 971615"/>
                  <a:gd name="connsiteX539" fmla="*/ 213808 w 862286"/>
                  <a:gd name="connsiteY539" fmla="*/ 40822 h 971615"/>
                  <a:gd name="connsiteX540" fmla="*/ 213808 w 862286"/>
                  <a:gd name="connsiteY540" fmla="*/ 43114 h 971615"/>
                  <a:gd name="connsiteX541" fmla="*/ 212309 w 862286"/>
                  <a:gd name="connsiteY541" fmla="*/ 45495 h 971615"/>
                  <a:gd name="connsiteX542" fmla="*/ 212309 w 862286"/>
                  <a:gd name="connsiteY542" fmla="*/ 53342 h 971615"/>
                  <a:gd name="connsiteX543" fmla="*/ 213808 w 862286"/>
                  <a:gd name="connsiteY543" fmla="*/ 53959 h 971615"/>
                  <a:gd name="connsiteX544" fmla="*/ 217335 w 862286"/>
                  <a:gd name="connsiteY544" fmla="*/ 63305 h 971615"/>
                  <a:gd name="connsiteX545" fmla="*/ 215836 w 862286"/>
                  <a:gd name="connsiteY545" fmla="*/ 67978 h 971615"/>
                  <a:gd name="connsiteX546" fmla="*/ 216101 w 862286"/>
                  <a:gd name="connsiteY546" fmla="*/ 69124 h 971615"/>
                  <a:gd name="connsiteX547" fmla="*/ 221038 w 862286"/>
                  <a:gd name="connsiteY547" fmla="*/ 70623 h 971615"/>
                  <a:gd name="connsiteX548" fmla="*/ 224212 w 862286"/>
                  <a:gd name="connsiteY548" fmla="*/ 70006 h 971615"/>
                  <a:gd name="connsiteX549" fmla="*/ 230648 w 862286"/>
                  <a:gd name="connsiteY549" fmla="*/ 70623 h 971615"/>
                  <a:gd name="connsiteX550" fmla="*/ 231530 w 862286"/>
                  <a:gd name="connsiteY550" fmla="*/ 70887 h 971615"/>
                  <a:gd name="connsiteX551" fmla="*/ 230648 w 862286"/>
                  <a:gd name="connsiteY551" fmla="*/ 71769 h 971615"/>
                  <a:gd name="connsiteX552" fmla="*/ 231530 w 862286"/>
                  <a:gd name="connsiteY552" fmla="*/ 74414 h 971615"/>
                  <a:gd name="connsiteX553" fmla="*/ 230031 w 862286"/>
                  <a:gd name="connsiteY553" fmla="*/ 76178 h 971615"/>
                  <a:gd name="connsiteX554" fmla="*/ 230031 w 862286"/>
                  <a:gd name="connsiteY554" fmla="*/ 77324 h 971615"/>
                  <a:gd name="connsiteX555" fmla="*/ 225358 w 862286"/>
                  <a:gd name="connsiteY555" fmla="*/ 78470 h 971615"/>
                  <a:gd name="connsiteX556" fmla="*/ 221567 w 862286"/>
                  <a:gd name="connsiteY556" fmla="*/ 81997 h 971615"/>
                  <a:gd name="connsiteX557" fmla="*/ 218040 w 862286"/>
                  <a:gd name="connsiteY557" fmla="*/ 81732 h 971615"/>
                  <a:gd name="connsiteX558" fmla="*/ 216542 w 862286"/>
                  <a:gd name="connsiteY558" fmla="*/ 82349 h 971615"/>
                  <a:gd name="connsiteX559" fmla="*/ 215395 w 862286"/>
                  <a:gd name="connsiteY559" fmla="*/ 84113 h 971615"/>
                  <a:gd name="connsiteX560" fmla="*/ 215131 w 862286"/>
                  <a:gd name="connsiteY560" fmla="*/ 88786 h 971615"/>
                  <a:gd name="connsiteX561" fmla="*/ 214249 w 862286"/>
                  <a:gd name="connsiteY561" fmla="*/ 91431 h 971615"/>
                  <a:gd name="connsiteX562" fmla="*/ 208695 w 862286"/>
                  <a:gd name="connsiteY562" fmla="*/ 96721 h 971615"/>
                  <a:gd name="connsiteX563" fmla="*/ 208077 w 862286"/>
                  <a:gd name="connsiteY563" fmla="*/ 96103 h 971615"/>
                  <a:gd name="connsiteX564" fmla="*/ 208695 w 862286"/>
                  <a:gd name="connsiteY564" fmla="*/ 93723 h 971615"/>
                  <a:gd name="connsiteX565" fmla="*/ 208077 w 862286"/>
                  <a:gd name="connsiteY565" fmla="*/ 93106 h 971615"/>
                  <a:gd name="connsiteX566" fmla="*/ 205168 w 862286"/>
                  <a:gd name="connsiteY566" fmla="*/ 95134 h 971615"/>
                  <a:gd name="connsiteX567" fmla="*/ 203669 w 862286"/>
                  <a:gd name="connsiteY567" fmla="*/ 97779 h 971615"/>
                  <a:gd name="connsiteX568" fmla="*/ 200142 w 862286"/>
                  <a:gd name="connsiteY568" fmla="*/ 99807 h 971615"/>
                  <a:gd name="connsiteX569" fmla="*/ 198114 w 862286"/>
                  <a:gd name="connsiteY569" fmla="*/ 98660 h 971615"/>
                  <a:gd name="connsiteX570" fmla="*/ 194323 w 862286"/>
                  <a:gd name="connsiteY570" fmla="*/ 102452 h 971615"/>
                  <a:gd name="connsiteX571" fmla="*/ 191678 w 862286"/>
                  <a:gd name="connsiteY571" fmla="*/ 102452 h 971615"/>
                  <a:gd name="connsiteX572" fmla="*/ 190179 w 862286"/>
                  <a:gd name="connsiteY572" fmla="*/ 107654 h 971615"/>
                  <a:gd name="connsiteX573" fmla="*/ 187005 w 862286"/>
                  <a:gd name="connsiteY573" fmla="*/ 108006 h 971615"/>
                  <a:gd name="connsiteX574" fmla="*/ 184713 w 862286"/>
                  <a:gd name="connsiteY574" fmla="*/ 113561 h 971615"/>
                  <a:gd name="connsiteX575" fmla="*/ 183214 w 862286"/>
                  <a:gd name="connsiteY575" fmla="*/ 115060 h 971615"/>
                  <a:gd name="connsiteX576" fmla="*/ 181715 w 862286"/>
                  <a:gd name="connsiteY576" fmla="*/ 114178 h 971615"/>
                  <a:gd name="connsiteX577" fmla="*/ 181098 w 862286"/>
                  <a:gd name="connsiteY577" fmla="*/ 113032 h 971615"/>
                  <a:gd name="connsiteX578" fmla="*/ 183126 w 862286"/>
                  <a:gd name="connsiteY578" fmla="*/ 110122 h 971615"/>
                  <a:gd name="connsiteX579" fmla="*/ 183126 w 862286"/>
                  <a:gd name="connsiteY579" fmla="*/ 108359 h 971615"/>
                  <a:gd name="connsiteX580" fmla="*/ 181362 w 862286"/>
                  <a:gd name="connsiteY580" fmla="*/ 106331 h 971615"/>
                  <a:gd name="connsiteX581" fmla="*/ 178188 w 862286"/>
                  <a:gd name="connsiteY581" fmla="*/ 106331 h 971615"/>
                  <a:gd name="connsiteX582" fmla="*/ 175279 w 862286"/>
                  <a:gd name="connsiteY582" fmla="*/ 108359 h 971615"/>
                  <a:gd name="connsiteX583" fmla="*/ 172986 w 862286"/>
                  <a:gd name="connsiteY583" fmla="*/ 111004 h 971615"/>
                  <a:gd name="connsiteX584" fmla="*/ 170606 w 862286"/>
                  <a:gd name="connsiteY584" fmla="*/ 111268 h 971615"/>
                  <a:gd name="connsiteX585" fmla="*/ 169107 w 862286"/>
                  <a:gd name="connsiteY585" fmla="*/ 113032 h 971615"/>
                  <a:gd name="connsiteX586" fmla="*/ 167961 w 862286"/>
                  <a:gd name="connsiteY586" fmla="*/ 111886 h 971615"/>
                  <a:gd name="connsiteX587" fmla="*/ 165051 w 862286"/>
                  <a:gd name="connsiteY587" fmla="*/ 112238 h 971615"/>
                  <a:gd name="connsiteX588" fmla="*/ 152531 w 862286"/>
                  <a:gd name="connsiteY588" fmla="*/ 98837 h 971615"/>
                  <a:gd name="connsiteX589" fmla="*/ 148476 w 862286"/>
                  <a:gd name="connsiteY589" fmla="*/ 102011 h 971615"/>
                  <a:gd name="connsiteX590" fmla="*/ 142921 w 862286"/>
                  <a:gd name="connsiteY590" fmla="*/ 78382 h 971615"/>
                  <a:gd name="connsiteX591" fmla="*/ 139130 w 862286"/>
                  <a:gd name="connsiteY591" fmla="*/ 78646 h 971615"/>
                  <a:gd name="connsiteX592" fmla="*/ 133311 w 862286"/>
                  <a:gd name="connsiteY592" fmla="*/ 85964 h 971615"/>
                  <a:gd name="connsiteX593" fmla="*/ 128638 w 862286"/>
                  <a:gd name="connsiteY593" fmla="*/ 86846 h 971615"/>
                  <a:gd name="connsiteX594" fmla="*/ 124582 w 862286"/>
                  <a:gd name="connsiteY594" fmla="*/ 82173 h 971615"/>
                  <a:gd name="connsiteX595" fmla="*/ 122201 w 862286"/>
                  <a:gd name="connsiteY595" fmla="*/ 85347 h 971615"/>
                  <a:gd name="connsiteX596" fmla="*/ 123083 w 862286"/>
                  <a:gd name="connsiteY596" fmla="*/ 86493 h 971615"/>
                  <a:gd name="connsiteX597" fmla="*/ 98043 w 862286"/>
                  <a:gd name="connsiteY597" fmla="*/ 87375 h 971615"/>
                  <a:gd name="connsiteX598" fmla="*/ 90725 w 862286"/>
                  <a:gd name="connsiteY598" fmla="*/ 87375 h 971615"/>
                  <a:gd name="connsiteX599" fmla="*/ 87551 w 862286"/>
                  <a:gd name="connsiteY599" fmla="*/ 87992 h 971615"/>
                  <a:gd name="connsiteX600" fmla="*/ 89314 w 862286"/>
                  <a:gd name="connsiteY600" fmla="*/ 103686 h 971615"/>
                  <a:gd name="connsiteX601" fmla="*/ 96632 w 862286"/>
                  <a:gd name="connsiteY601" fmla="*/ 104568 h 971615"/>
                  <a:gd name="connsiteX602" fmla="*/ 98660 w 862286"/>
                  <a:gd name="connsiteY602" fmla="*/ 104568 h 971615"/>
                  <a:gd name="connsiteX603" fmla="*/ 101834 w 862286"/>
                  <a:gd name="connsiteY603" fmla="*/ 108359 h 971615"/>
                  <a:gd name="connsiteX604" fmla="*/ 102716 w 862286"/>
                  <a:gd name="connsiteY604" fmla="*/ 109770 h 971615"/>
                  <a:gd name="connsiteX605" fmla="*/ 102452 w 862286"/>
                  <a:gd name="connsiteY605" fmla="*/ 113296 h 971615"/>
                  <a:gd name="connsiteX606" fmla="*/ 99807 w 862286"/>
                  <a:gd name="connsiteY606" fmla="*/ 115589 h 971615"/>
                  <a:gd name="connsiteX607" fmla="*/ 98660 w 862286"/>
                  <a:gd name="connsiteY607" fmla="*/ 115324 h 971615"/>
                  <a:gd name="connsiteX608" fmla="*/ 93987 w 862286"/>
                  <a:gd name="connsiteY608" fmla="*/ 113561 h 971615"/>
                  <a:gd name="connsiteX609" fmla="*/ 91342 w 862286"/>
                  <a:gd name="connsiteY609" fmla="*/ 113825 h 971615"/>
                  <a:gd name="connsiteX610" fmla="*/ 86052 w 862286"/>
                  <a:gd name="connsiteY610" fmla="*/ 115853 h 971615"/>
                  <a:gd name="connsiteX611" fmla="*/ 84553 w 862286"/>
                  <a:gd name="connsiteY611" fmla="*/ 115853 h 971615"/>
                  <a:gd name="connsiteX612" fmla="*/ 83055 w 862286"/>
                  <a:gd name="connsiteY612" fmla="*/ 116471 h 971615"/>
                  <a:gd name="connsiteX613" fmla="*/ 85700 w 862286"/>
                  <a:gd name="connsiteY613" fmla="*/ 138601 h 971615"/>
                  <a:gd name="connsiteX614" fmla="*/ 89491 w 862286"/>
                  <a:gd name="connsiteY614" fmla="*/ 142127 h 971615"/>
                  <a:gd name="connsiteX615" fmla="*/ 92929 w 862286"/>
                  <a:gd name="connsiteY615" fmla="*/ 145654 h 971615"/>
                  <a:gd name="connsiteX616" fmla="*/ 92665 w 862286"/>
                  <a:gd name="connsiteY616" fmla="*/ 149710 h 971615"/>
                  <a:gd name="connsiteX617" fmla="*/ 94428 w 862286"/>
                  <a:gd name="connsiteY617" fmla="*/ 153766 h 971615"/>
                  <a:gd name="connsiteX618" fmla="*/ 97690 w 862286"/>
                  <a:gd name="connsiteY618" fmla="*/ 160202 h 971615"/>
                  <a:gd name="connsiteX619" fmla="*/ 95927 w 862286"/>
                  <a:gd name="connsiteY619" fmla="*/ 168313 h 971615"/>
                  <a:gd name="connsiteX620" fmla="*/ 96544 w 862286"/>
                  <a:gd name="connsiteY620" fmla="*/ 169195 h 971615"/>
                  <a:gd name="connsiteX621" fmla="*/ 86934 w 862286"/>
                  <a:gd name="connsiteY621" fmla="*/ 235674 h 971615"/>
                  <a:gd name="connsiteX622" fmla="*/ 85171 w 862286"/>
                  <a:gd name="connsiteY622" fmla="*/ 238848 h 971615"/>
                  <a:gd name="connsiteX623" fmla="*/ 84553 w 862286"/>
                  <a:gd name="connsiteY623" fmla="*/ 237438 h 971615"/>
                  <a:gd name="connsiteX624" fmla="*/ 82261 w 862286"/>
                  <a:gd name="connsiteY624" fmla="*/ 237173 h 971615"/>
                  <a:gd name="connsiteX625" fmla="*/ 81115 w 862286"/>
                  <a:gd name="connsiteY625" fmla="*/ 238936 h 971615"/>
                  <a:gd name="connsiteX626" fmla="*/ 78822 w 862286"/>
                  <a:gd name="connsiteY626" fmla="*/ 236291 h 971615"/>
                  <a:gd name="connsiteX627" fmla="*/ 78205 w 862286"/>
                  <a:gd name="connsiteY627" fmla="*/ 233646 h 971615"/>
                  <a:gd name="connsiteX628" fmla="*/ 75560 w 862286"/>
                  <a:gd name="connsiteY628" fmla="*/ 233646 h 971615"/>
                  <a:gd name="connsiteX629" fmla="*/ 73532 w 862286"/>
                  <a:gd name="connsiteY629" fmla="*/ 233646 h 971615"/>
                  <a:gd name="connsiteX630" fmla="*/ 71769 w 862286"/>
                  <a:gd name="connsiteY630" fmla="*/ 234792 h 971615"/>
                  <a:gd name="connsiteX631" fmla="*/ 70887 w 862286"/>
                  <a:gd name="connsiteY631" fmla="*/ 233294 h 971615"/>
                  <a:gd name="connsiteX632" fmla="*/ 68859 w 862286"/>
                  <a:gd name="connsiteY632" fmla="*/ 233911 h 971615"/>
                  <a:gd name="connsiteX633" fmla="*/ 67361 w 862286"/>
                  <a:gd name="connsiteY633" fmla="*/ 236203 h 971615"/>
                  <a:gd name="connsiteX634" fmla="*/ 63834 w 862286"/>
                  <a:gd name="connsiteY634" fmla="*/ 238848 h 971615"/>
                  <a:gd name="connsiteX635" fmla="*/ 62070 w 862286"/>
                  <a:gd name="connsiteY635" fmla="*/ 239730 h 971615"/>
                  <a:gd name="connsiteX636" fmla="*/ 60043 w 862286"/>
                  <a:gd name="connsiteY636" fmla="*/ 239465 h 971615"/>
                  <a:gd name="connsiteX637" fmla="*/ 57398 w 862286"/>
                  <a:gd name="connsiteY637" fmla="*/ 240612 h 971615"/>
                  <a:gd name="connsiteX638" fmla="*/ 52989 w 862286"/>
                  <a:gd name="connsiteY638" fmla="*/ 241229 h 971615"/>
                  <a:gd name="connsiteX639" fmla="*/ 50697 w 862286"/>
                  <a:gd name="connsiteY639" fmla="*/ 242992 h 971615"/>
                  <a:gd name="connsiteX640" fmla="*/ 49551 w 862286"/>
                  <a:gd name="connsiteY640" fmla="*/ 243257 h 971615"/>
                  <a:gd name="connsiteX641" fmla="*/ 48052 w 862286"/>
                  <a:gd name="connsiteY641" fmla="*/ 242992 h 971615"/>
                  <a:gd name="connsiteX642" fmla="*/ 43996 w 862286"/>
                  <a:gd name="connsiteY642" fmla="*/ 243257 h 971615"/>
                  <a:gd name="connsiteX643" fmla="*/ 40469 w 862286"/>
                  <a:gd name="connsiteY643" fmla="*/ 245285 h 971615"/>
                  <a:gd name="connsiteX644" fmla="*/ 39059 w 862286"/>
                  <a:gd name="connsiteY644" fmla="*/ 247929 h 971615"/>
                  <a:gd name="connsiteX645" fmla="*/ 35003 w 862286"/>
                  <a:gd name="connsiteY645" fmla="*/ 249076 h 971615"/>
                  <a:gd name="connsiteX646" fmla="*/ 33857 w 862286"/>
                  <a:gd name="connsiteY646" fmla="*/ 250222 h 971615"/>
                  <a:gd name="connsiteX647" fmla="*/ 32093 w 862286"/>
                  <a:gd name="connsiteY647" fmla="*/ 252602 h 971615"/>
                  <a:gd name="connsiteX648" fmla="*/ 30330 w 862286"/>
                  <a:gd name="connsiteY648" fmla="*/ 254366 h 971615"/>
                  <a:gd name="connsiteX649" fmla="*/ 28831 w 862286"/>
                  <a:gd name="connsiteY649" fmla="*/ 255865 h 971615"/>
                  <a:gd name="connsiteX650" fmla="*/ 25304 w 862286"/>
                  <a:gd name="connsiteY650" fmla="*/ 256746 h 971615"/>
                  <a:gd name="connsiteX651" fmla="*/ 23541 w 862286"/>
                  <a:gd name="connsiteY651" fmla="*/ 257893 h 971615"/>
                  <a:gd name="connsiteX652" fmla="*/ 22924 w 862286"/>
                  <a:gd name="connsiteY652" fmla="*/ 261684 h 971615"/>
                  <a:gd name="connsiteX653" fmla="*/ 22307 w 862286"/>
                  <a:gd name="connsiteY653" fmla="*/ 268649 h 971615"/>
                  <a:gd name="connsiteX654" fmla="*/ 17898 w 862286"/>
                  <a:gd name="connsiteY654" fmla="*/ 277113 h 971615"/>
                  <a:gd name="connsiteX655" fmla="*/ 17016 w 862286"/>
                  <a:gd name="connsiteY655" fmla="*/ 281786 h 971615"/>
                  <a:gd name="connsiteX656" fmla="*/ 16399 w 862286"/>
                  <a:gd name="connsiteY656" fmla="*/ 293160 h 971615"/>
                  <a:gd name="connsiteX657" fmla="*/ 5290 w 862286"/>
                  <a:gd name="connsiteY657" fmla="*/ 302770 h 971615"/>
                  <a:gd name="connsiteX658" fmla="*/ 4144 w 862286"/>
                  <a:gd name="connsiteY658" fmla="*/ 307972 h 971615"/>
                  <a:gd name="connsiteX659" fmla="*/ 6436 w 862286"/>
                  <a:gd name="connsiteY659" fmla="*/ 312645 h 971615"/>
                  <a:gd name="connsiteX660" fmla="*/ 882 w 862286"/>
                  <a:gd name="connsiteY660" fmla="*/ 313880 h 971615"/>
                  <a:gd name="connsiteX661" fmla="*/ 0 w 862286"/>
                  <a:gd name="connsiteY661" fmla="*/ 318552 h 971615"/>
                  <a:gd name="connsiteX662" fmla="*/ 4056 w 862286"/>
                  <a:gd name="connsiteY662" fmla="*/ 323843 h 971615"/>
                  <a:gd name="connsiteX663" fmla="*/ 6701 w 862286"/>
                  <a:gd name="connsiteY663" fmla="*/ 326752 h 971615"/>
                  <a:gd name="connsiteX664" fmla="*/ 6084 w 862286"/>
                  <a:gd name="connsiteY664" fmla="*/ 329133 h 971615"/>
                  <a:gd name="connsiteX665" fmla="*/ 11638 w 862286"/>
                  <a:gd name="connsiteY665" fmla="*/ 339625 h 971615"/>
                  <a:gd name="connsiteX666" fmla="*/ 15694 w 862286"/>
                  <a:gd name="connsiteY666" fmla="*/ 342270 h 971615"/>
                  <a:gd name="connsiteX667" fmla="*/ 16840 w 862286"/>
                  <a:gd name="connsiteY667" fmla="*/ 345796 h 971615"/>
                  <a:gd name="connsiteX668" fmla="*/ 20014 w 862286"/>
                  <a:gd name="connsiteY668" fmla="*/ 348177 h 971615"/>
                  <a:gd name="connsiteX669" fmla="*/ 24423 w 862286"/>
                  <a:gd name="connsiteY669" fmla="*/ 355142 h 971615"/>
                  <a:gd name="connsiteX670" fmla="*/ 24687 w 862286"/>
                  <a:gd name="connsiteY670" fmla="*/ 358934 h 971615"/>
                  <a:gd name="connsiteX671" fmla="*/ 23805 w 862286"/>
                  <a:gd name="connsiteY671" fmla="*/ 360961 h 971615"/>
                  <a:gd name="connsiteX672" fmla="*/ 19397 w 862286"/>
                  <a:gd name="connsiteY672" fmla="*/ 365370 h 971615"/>
                  <a:gd name="connsiteX673" fmla="*/ 31652 w 862286"/>
                  <a:gd name="connsiteY673" fmla="*/ 366516 h 971615"/>
                  <a:gd name="connsiteX674" fmla="*/ 40734 w 862286"/>
                  <a:gd name="connsiteY674" fmla="*/ 372071 h 971615"/>
                  <a:gd name="connsiteX675" fmla="*/ 43026 w 862286"/>
                  <a:gd name="connsiteY675" fmla="*/ 376479 h 971615"/>
                  <a:gd name="connsiteX676" fmla="*/ 60836 w 862286"/>
                  <a:gd name="connsiteY676" fmla="*/ 380270 h 971615"/>
                  <a:gd name="connsiteX677" fmla="*/ 63305 w 862286"/>
                  <a:gd name="connsiteY677" fmla="*/ 380270 h 971615"/>
                  <a:gd name="connsiteX678" fmla="*/ 69741 w 862286"/>
                  <a:gd name="connsiteY678" fmla="*/ 376215 h 971615"/>
                  <a:gd name="connsiteX679" fmla="*/ 77941 w 862286"/>
                  <a:gd name="connsiteY679" fmla="*/ 366604 h 971615"/>
                  <a:gd name="connsiteX680" fmla="*/ 79704 w 862286"/>
                  <a:gd name="connsiteY680" fmla="*/ 368103 h 971615"/>
                  <a:gd name="connsiteX681" fmla="*/ 78822 w 862286"/>
                  <a:gd name="connsiteY681" fmla="*/ 369249 h 971615"/>
                  <a:gd name="connsiteX682" fmla="*/ 79969 w 862286"/>
                  <a:gd name="connsiteY682" fmla="*/ 373922 h 971615"/>
                  <a:gd name="connsiteX683" fmla="*/ 79440 w 862286"/>
                  <a:gd name="connsiteY683" fmla="*/ 406016 h 971615"/>
                  <a:gd name="connsiteX684" fmla="*/ 84113 w 862286"/>
                  <a:gd name="connsiteY684" fmla="*/ 406280 h 971615"/>
                  <a:gd name="connsiteX685" fmla="*/ 89667 w 862286"/>
                  <a:gd name="connsiteY685" fmla="*/ 406280 h 971615"/>
                  <a:gd name="connsiteX686" fmla="*/ 95839 w 862286"/>
                  <a:gd name="connsiteY686" fmla="*/ 403635 h 971615"/>
                  <a:gd name="connsiteX687" fmla="*/ 98749 w 862286"/>
                  <a:gd name="connsiteY687" fmla="*/ 404252 h 971615"/>
                  <a:gd name="connsiteX688" fmla="*/ 103157 w 862286"/>
                  <a:gd name="connsiteY688" fmla="*/ 403988 h 971615"/>
                  <a:gd name="connsiteX689" fmla="*/ 105449 w 862286"/>
                  <a:gd name="connsiteY689" fmla="*/ 403988 h 971615"/>
                  <a:gd name="connsiteX690" fmla="*/ 117088 w 862286"/>
                  <a:gd name="connsiteY690" fmla="*/ 406016 h 971615"/>
                  <a:gd name="connsiteX691" fmla="*/ 119997 w 862286"/>
                  <a:gd name="connsiteY691" fmla="*/ 406545 h 971615"/>
                  <a:gd name="connsiteX692" fmla="*/ 124405 w 862286"/>
                  <a:gd name="connsiteY692" fmla="*/ 408043 h 971615"/>
                  <a:gd name="connsiteX693" fmla="*/ 127932 w 862286"/>
                  <a:gd name="connsiteY693" fmla="*/ 406545 h 971615"/>
                  <a:gd name="connsiteX694" fmla="*/ 135250 w 862286"/>
                  <a:gd name="connsiteY694" fmla="*/ 397463 h 971615"/>
                  <a:gd name="connsiteX695" fmla="*/ 142568 w 862286"/>
                  <a:gd name="connsiteY695" fmla="*/ 398080 h 971615"/>
                  <a:gd name="connsiteX696" fmla="*/ 149269 w 862286"/>
                  <a:gd name="connsiteY696" fmla="*/ 390762 h 971615"/>
                  <a:gd name="connsiteX697" fmla="*/ 151297 w 862286"/>
                  <a:gd name="connsiteY697" fmla="*/ 388999 h 971615"/>
                  <a:gd name="connsiteX698" fmla="*/ 154559 w 862286"/>
                  <a:gd name="connsiteY698" fmla="*/ 387853 h 971615"/>
                  <a:gd name="connsiteX699" fmla="*/ 162759 w 862286"/>
                  <a:gd name="connsiteY699" fmla="*/ 380006 h 971615"/>
                  <a:gd name="connsiteX700" fmla="*/ 165668 w 862286"/>
                  <a:gd name="connsiteY700" fmla="*/ 377625 h 971615"/>
                  <a:gd name="connsiteX701" fmla="*/ 172105 w 862286"/>
                  <a:gd name="connsiteY701" fmla="*/ 376479 h 971615"/>
                  <a:gd name="connsiteX702" fmla="*/ 177659 w 862286"/>
                  <a:gd name="connsiteY702" fmla="*/ 374980 h 971615"/>
                  <a:gd name="connsiteX703" fmla="*/ 183478 w 862286"/>
                  <a:gd name="connsiteY703" fmla="*/ 374099 h 971615"/>
                  <a:gd name="connsiteX704" fmla="*/ 184360 w 862286"/>
                  <a:gd name="connsiteY704" fmla="*/ 373834 h 971615"/>
                  <a:gd name="connsiteX705" fmla="*/ 185506 w 862286"/>
                  <a:gd name="connsiteY705" fmla="*/ 374099 h 971615"/>
                  <a:gd name="connsiteX706" fmla="*/ 189033 w 862286"/>
                  <a:gd name="connsiteY706" fmla="*/ 376391 h 971615"/>
                  <a:gd name="connsiteX707" fmla="*/ 190532 w 862286"/>
                  <a:gd name="connsiteY707" fmla="*/ 372864 h 971615"/>
                  <a:gd name="connsiteX708" fmla="*/ 193441 w 862286"/>
                  <a:gd name="connsiteY708" fmla="*/ 372864 h 971615"/>
                  <a:gd name="connsiteX709" fmla="*/ 194588 w 862286"/>
                  <a:gd name="connsiteY709" fmla="*/ 381064 h 971615"/>
                  <a:gd name="connsiteX710" fmla="*/ 192560 w 862286"/>
                  <a:gd name="connsiteY710" fmla="*/ 392438 h 971615"/>
                  <a:gd name="connsiteX711" fmla="*/ 194323 w 862286"/>
                  <a:gd name="connsiteY711" fmla="*/ 396493 h 971615"/>
                  <a:gd name="connsiteX712" fmla="*/ 195469 w 862286"/>
                  <a:gd name="connsiteY712" fmla="*/ 401431 h 971615"/>
                  <a:gd name="connsiteX713" fmla="*/ 196086 w 862286"/>
                  <a:gd name="connsiteY713" fmla="*/ 407867 h 971615"/>
                  <a:gd name="connsiteX714" fmla="*/ 195205 w 862286"/>
                  <a:gd name="connsiteY714" fmla="*/ 410512 h 971615"/>
                  <a:gd name="connsiteX715" fmla="*/ 196351 w 862286"/>
                  <a:gd name="connsiteY715" fmla="*/ 413422 h 971615"/>
                  <a:gd name="connsiteX716" fmla="*/ 198643 w 862286"/>
                  <a:gd name="connsiteY716" fmla="*/ 417830 h 971615"/>
                  <a:gd name="connsiteX717" fmla="*/ 199260 w 862286"/>
                  <a:gd name="connsiteY717" fmla="*/ 423032 h 971615"/>
                  <a:gd name="connsiteX718" fmla="*/ 201553 w 862286"/>
                  <a:gd name="connsiteY718" fmla="*/ 422768 h 971615"/>
                  <a:gd name="connsiteX719" fmla="*/ 203581 w 862286"/>
                  <a:gd name="connsiteY719" fmla="*/ 425412 h 971615"/>
                  <a:gd name="connsiteX720" fmla="*/ 208783 w 862286"/>
                  <a:gd name="connsiteY720" fmla="*/ 430703 h 971615"/>
                  <a:gd name="connsiteX721" fmla="*/ 210810 w 862286"/>
                  <a:gd name="connsiteY721" fmla="*/ 432466 h 971615"/>
                  <a:gd name="connsiteX722" fmla="*/ 212574 w 862286"/>
                  <a:gd name="connsiteY722" fmla="*/ 435376 h 971615"/>
                  <a:gd name="connsiteX723" fmla="*/ 215748 w 862286"/>
                  <a:gd name="connsiteY723" fmla="*/ 439431 h 971615"/>
                  <a:gd name="connsiteX724" fmla="*/ 223066 w 862286"/>
                  <a:gd name="connsiteY724" fmla="*/ 442076 h 971615"/>
                  <a:gd name="connsiteX725" fmla="*/ 225094 w 862286"/>
                  <a:gd name="connsiteY725" fmla="*/ 442341 h 971615"/>
                  <a:gd name="connsiteX726" fmla="*/ 229767 w 862286"/>
                  <a:gd name="connsiteY726" fmla="*/ 441724 h 971615"/>
                  <a:gd name="connsiteX727" fmla="*/ 242022 w 862286"/>
                  <a:gd name="connsiteY727" fmla="*/ 447543 h 971615"/>
                  <a:gd name="connsiteX728" fmla="*/ 245813 w 862286"/>
                  <a:gd name="connsiteY728" fmla="*/ 445779 h 971615"/>
                  <a:gd name="connsiteX729" fmla="*/ 248987 w 862286"/>
                  <a:gd name="connsiteY729" fmla="*/ 450981 h 971615"/>
                  <a:gd name="connsiteX730" fmla="*/ 253925 w 862286"/>
                  <a:gd name="connsiteY730" fmla="*/ 455302 h 971615"/>
                  <a:gd name="connsiteX731" fmla="*/ 257099 w 862286"/>
                  <a:gd name="connsiteY731" fmla="*/ 454773 h 971615"/>
                  <a:gd name="connsiteX732" fmla="*/ 260890 w 862286"/>
                  <a:gd name="connsiteY732" fmla="*/ 456800 h 971615"/>
                  <a:gd name="connsiteX733" fmla="*/ 266709 w 862286"/>
                  <a:gd name="connsiteY733" fmla="*/ 457947 h 971615"/>
                  <a:gd name="connsiteX734" fmla="*/ 269090 w 862286"/>
                  <a:gd name="connsiteY734" fmla="*/ 461385 h 971615"/>
                  <a:gd name="connsiteX735" fmla="*/ 275791 w 862286"/>
                  <a:gd name="connsiteY735" fmla="*/ 468703 h 971615"/>
                  <a:gd name="connsiteX736" fmla="*/ 283990 w 862286"/>
                  <a:gd name="connsiteY736" fmla="*/ 468703 h 971615"/>
                  <a:gd name="connsiteX737" fmla="*/ 288663 w 862286"/>
                  <a:gd name="connsiteY737" fmla="*/ 468439 h 971615"/>
                  <a:gd name="connsiteX738" fmla="*/ 292719 w 862286"/>
                  <a:gd name="connsiteY738" fmla="*/ 466411 h 971615"/>
                  <a:gd name="connsiteX739" fmla="*/ 294482 w 862286"/>
                  <a:gd name="connsiteY739" fmla="*/ 468703 h 971615"/>
                  <a:gd name="connsiteX740" fmla="*/ 299772 w 862286"/>
                  <a:gd name="connsiteY740" fmla="*/ 471613 h 971615"/>
                  <a:gd name="connsiteX741" fmla="*/ 306209 w 862286"/>
                  <a:gd name="connsiteY741" fmla="*/ 474875 h 971615"/>
                  <a:gd name="connsiteX742" fmla="*/ 308589 w 862286"/>
                  <a:gd name="connsiteY742" fmla="*/ 479283 h 971615"/>
                  <a:gd name="connsiteX743" fmla="*/ 307443 w 862286"/>
                  <a:gd name="connsiteY743" fmla="*/ 485103 h 971615"/>
                  <a:gd name="connsiteX744" fmla="*/ 310353 w 862286"/>
                  <a:gd name="connsiteY744" fmla="*/ 492420 h 971615"/>
                  <a:gd name="connsiteX745" fmla="*/ 310353 w 862286"/>
                  <a:gd name="connsiteY745" fmla="*/ 495330 h 971615"/>
                  <a:gd name="connsiteX746" fmla="*/ 308854 w 862286"/>
                  <a:gd name="connsiteY746" fmla="*/ 500268 h 971615"/>
                  <a:gd name="connsiteX747" fmla="*/ 306209 w 862286"/>
                  <a:gd name="connsiteY747" fmla="*/ 507233 h 971615"/>
                  <a:gd name="connsiteX748" fmla="*/ 316965 w 862286"/>
                  <a:gd name="connsiteY748" fmla="*/ 536416 h 971615"/>
                  <a:gd name="connsiteX749" fmla="*/ 356906 w 862286"/>
                  <a:gd name="connsiteY749" fmla="*/ 536681 h 971615"/>
                  <a:gd name="connsiteX750" fmla="*/ 356641 w 862286"/>
                  <a:gd name="connsiteY750" fmla="*/ 540737 h 971615"/>
                  <a:gd name="connsiteX751" fmla="*/ 354613 w 862286"/>
                  <a:gd name="connsiteY751" fmla="*/ 545410 h 971615"/>
                  <a:gd name="connsiteX752" fmla="*/ 357523 w 862286"/>
                  <a:gd name="connsiteY752" fmla="*/ 561192 h 971615"/>
                  <a:gd name="connsiteX753" fmla="*/ 372423 w 862286"/>
                  <a:gd name="connsiteY753" fmla="*/ 569392 h 971615"/>
                  <a:gd name="connsiteX754" fmla="*/ 373305 w 862286"/>
                  <a:gd name="connsiteY754" fmla="*/ 573183 h 971615"/>
                  <a:gd name="connsiteX755" fmla="*/ 373305 w 862286"/>
                  <a:gd name="connsiteY755" fmla="*/ 575828 h 971615"/>
                  <a:gd name="connsiteX756" fmla="*/ 380006 w 862286"/>
                  <a:gd name="connsiteY756" fmla="*/ 584292 h 971615"/>
                  <a:gd name="connsiteX757" fmla="*/ 377713 w 862286"/>
                  <a:gd name="connsiteY757" fmla="*/ 585438 h 971615"/>
                  <a:gd name="connsiteX758" fmla="*/ 375685 w 862286"/>
                  <a:gd name="connsiteY758" fmla="*/ 602631 h 971615"/>
                  <a:gd name="connsiteX759" fmla="*/ 374539 w 862286"/>
                  <a:gd name="connsiteY759" fmla="*/ 605805 h 971615"/>
                  <a:gd name="connsiteX760" fmla="*/ 375156 w 862286"/>
                  <a:gd name="connsiteY760" fmla="*/ 628905 h 971615"/>
                  <a:gd name="connsiteX761" fmla="*/ 371630 w 862286"/>
                  <a:gd name="connsiteY761" fmla="*/ 631197 h 971615"/>
                  <a:gd name="connsiteX762" fmla="*/ 369866 w 862286"/>
                  <a:gd name="connsiteY762" fmla="*/ 633225 h 971615"/>
                  <a:gd name="connsiteX763" fmla="*/ 368720 w 862286"/>
                  <a:gd name="connsiteY763" fmla="*/ 633490 h 971615"/>
                  <a:gd name="connsiteX764" fmla="*/ 368985 w 862286"/>
                  <a:gd name="connsiteY764" fmla="*/ 634019 h 971615"/>
                  <a:gd name="connsiteX765" fmla="*/ 368720 w 862286"/>
                  <a:gd name="connsiteY765" fmla="*/ 635165 h 971615"/>
                  <a:gd name="connsiteX766" fmla="*/ 370131 w 862286"/>
                  <a:gd name="connsiteY766" fmla="*/ 636047 h 971615"/>
                  <a:gd name="connsiteX767" fmla="*/ 373040 w 862286"/>
                  <a:gd name="connsiteY767" fmla="*/ 640103 h 971615"/>
                  <a:gd name="connsiteX768" fmla="*/ 373922 w 862286"/>
                  <a:gd name="connsiteY768" fmla="*/ 645657 h 971615"/>
                  <a:gd name="connsiteX769" fmla="*/ 374804 w 862286"/>
                  <a:gd name="connsiteY769" fmla="*/ 646186 h 971615"/>
                  <a:gd name="connsiteX770" fmla="*/ 375068 w 862286"/>
                  <a:gd name="connsiteY770" fmla="*/ 649448 h 971615"/>
                  <a:gd name="connsiteX771" fmla="*/ 375685 w 862286"/>
                  <a:gd name="connsiteY771" fmla="*/ 651829 h 971615"/>
                  <a:gd name="connsiteX772" fmla="*/ 378331 w 862286"/>
                  <a:gd name="connsiteY772" fmla="*/ 653592 h 971615"/>
                  <a:gd name="connsiteX773" fmla="*/ 378066 w 862286"/>
                  <a:gd name="connsiteY773" fmla="*/ 656502 h 971615"/>
                  <a:gd name="connsiteX774" fmla="*/ 377184 w 862286"/>
                  <a:gd name="connsiteY774" fmla="*/ 661439 h 971615"/>
                  <a:gd name="connsiteX775" fmla="*/ 376567 w 862286"/>
                  <a:gd name="connsiteY775" fmla="*/ 667259 h 971615"/>
                  <a:gd name="connsiteX776" fmla="*/ 378331 w 862286"/>
                  <a:gd name="connsiteY776" fmla="*/ 671314 h 971615"/>
                  <a:gd name="connsiteX777" fmla="*/ 377449 w 862286"/>
                  <a:gd name="connsiteY777" fmla="*/ 675723 h 971615"/>
                  <a:gd name="connsiteX778" fmla="*/ 376567 w 862286"/>
                  <a:gd name="connsiteY778" fmla="*/ 679514 h 971615"/>
                  <a:gd name="connsiteX779" fmla="*/ 378066 w 862286"/>
                  <a:gd name="connsiteY779" fmla="*/ 681277 h 971615"/>
                  <a:gd name="connsiteX780" fmla="*/ 379829 w 862286"/>
                  <a:gd name="connsiteY780" fmla="*/ 681806 h 971615"/>
                  <a:gd name="connsiteX781" fmla="*/ 380975 w 862286"/>
                  <a:gd name="connsiteY781" fmla="*/ 681806 h 971615"/>
                  <a:gd name="connsiteX782" fmla="*/ 381504 w 862286"/>
                  <a:gd name="connsiteY782" fmla="*/ 681542 h 971615"/>
                  <a:gd name="connsiteX783" fmla="*/ 385296 w 862286"/>
                  <a:gd name="connsiteY783" fmla="*/ 683569 h 971615"/>
                  <a:gd name="connsiteX784" fmla="*/ 390233 w 862286"/>
                  <a:gd name="connsiteY784" fmla="*/ 684716 h 971615"/>
                  <a:gd name="connsiteX785" fmla="*/ 392878 w 862286"/>
                  <a:gd name="connsiteY785" fmla="*/ 684716 h 971615"/>
                  <a:gd name="connsiteX786" fmla="*/ 394641 w 862286"/>
                  <a:gd name="connsiteY786" fmla="*/ 684716 h 971615"/>
                  <a:gd name="connsiteX787" fmla="*/ 396052 w 862286"/>
                  <a:gd name="connsiteY787" fmla="*/ 684980 h 971615"/>
                  <a:gd name="connsiteX788" fmla="*/ 400725 w 862286"/>
                  <a:gd name="connsiteY788" fmla="*/ 685597 h 971615"/>
                  <a:gd name="connsiteX789" fmla="*/ 400990 w 862286"/>
                  <a:gd name="connsiteY789" fmla="*/ 686479 h 971615"/>
                  <a:gd name="connsiteX790" fmla="*/ 402753 w 862286"/>
                  <a:gd name="connsiteY790" fmla="*/ 685333 h 971615"/>
                  <a:gd name="connsiteX791" fmla="*/ 404781 w 862286"/>
                  <a:gd name="connsiteY791" fmla="*/ 684716 h 971615"/>
                  <a:gd name="connsiteX792" fmla="*/ 405927 w 862286"/>
                  <a:gd name="connsiteY792" fmla="*/ 684980 h 971615"/>
                  <a:gd name="connsiteX793" fmla="*/ 408837 w 862286"/>
                  <a:gd name="connsiteY793" fmla="*/ 681454 h 971615"/>
                  <a:gd name="connsiteX794" fmla="*/ 412011 w 862286"/>
                  <a:gd name="connsiteY794" fmla="*/ 683217 h 971615"/>
                  <a:gd name="connsiteX795" fmla="*/ 417565 w 862286"/>
                  <a:gd name="connsiteY795" fmla="*/ 685597 h 971615"/>
                  <a:gd name="connsiteX796" fmla="*/ 420211 w 862286"/>
                  <a:gd name="connsiteY796" fmla="*/ 685597 h 971615"/>
                  <a:gd name="connsiteX797" fmla="*/ 423120 w 862286"/>
                  <a:gd name="connsiteY797" fmla="*/ 686479 h 971615"/>
                  <a:gd name="connsiteX798" fmla="*/ 426647 w 862286"/>
                  <a:gd name="connsiteY798" fmla="*/ 693180 h 971615"/>
                  <a:gd name="connsiteX799" fmla="*/ 429556 w 862286"/>
                  <a:gd name="connsiteY799" fmla="*/ 703936 h 971615"/>
                  <a:gd name="connsiteX800" fmla="*/ 430703 w 862286"/>
                  <a:gd name="connsiteY800" fmla="*/ 707199 h 971615"/>
                  <a:gd name="connsiteX801" fmla="*/ 432730 w 862286"/>
                  <a:gd name="connsiteY801" fmla="*/ 710108 h 971615"/>
                  <a:gd name="connsiteX802" fmla="*/ 433259 w 862286"/>
                  <a:gd name="connsiteY802" fmla="*/ 713635 h 971615"/>
                  <a:gd name="connsiteX803" fmla="*/ 433524 w 862286"/>
                  <a:gd name="connsiteY803" fmla="*/ 718925 h 971615"/>
                  <a:gd name="connsiteX804" fmla="*/ 436786 w 862286"/>
                  <a:gd name="connsiteY804" fmla="*/ 728271 h 971615"/>
                  <a:gd name="connsiteX805" fmla="*/ 442870 w 862286"/>
                  <a:gd name="connsiteY805" fmla="*/ 728535 h 971615"/>
                  <a:gd name="connsiteX806" fmla="*/ 447278 w 862286"/>
                  <a:gd name="connsiteY806" fmla="*/ 726772 h 971615"/>
                  <a:gd name="connsiteX807" fmla="*/ 457770 w 862286"/>
                  <a:gd name="connsiteY807" fmla="*/ 726772 h 971615"/>
                  <a:gd name="connsiteX808" fmla="*/ 460151 w 862286"/>
                  <a:gd name="connsiteY808" fmla="*/ 732062 h 971615"/>
                  <a:gd name="connsiteX809" fmla="*/ 461032 w 862286"/>
                  <a:gd name="connsiteY809" fmla="*/ 741408 h 971615"/>
                  <a:gd name="connsiteX810" fmla="*/ 460151 w 862286"/>
                  <a:gd name="connsiteY810" fmla="*/ 748991 h 971615"/>
                  <a:gd name="connsiteX811" fmla="*/ 460768 w 862286"/>
                  <a:gd name="connsiteY811" fmla="*/ 757984 h 971615"/>
                  <a:gd name="connsiteX812" fmla="*/ 457594 w 862286"/>
                  <a:gd name="connsiteY812" fmla="*/ 767065 h 971615"/>
                  <a:gd name="connsiteX813" fmla="*/ 457858 w 862286"/>
                  <a:gd name="connsiteY813" fmla="*/ 768211 h 971615"/>
                  <a:gd name="connsiteX814" fmla="*/ 459622 w 862286"/>
                  <a:gd name="connsiteY814" fmla="*/ 768211 h 971615"/>
                  <a:gd name="connsiteX815" fmla="*/ 464559 w 862286"/>
                  <a:gd name="connsiteY815" fmla="*/ 767594 h 971615"/>
                  <a:gd name="connsiteX816" fmla="*/ 466587 w 862286"/>
                  <a:gd name="connsiteY816" fmla="*/ 767329 h 971615"/>
                  <a:gd name="connsiteX817" fmla="*/ 469232 w 862286"/>
                  <a:gd name="connsiteY817" fmla="*/ 767594 h 971615"/>
                  <a:gd name="connsiteX818" fmla="*/ 474170 w 862286"/>
                  <a:gd name="connsiteY818" fmla="*/ 771121 h 971615"/>
                  <a:gd name="connsiteX819" fmla="*/ 477696 w 862286"/>
                  <a:gd name="connsiteY819" fmla="*/ 779585 h 971615"/>
                  <a:gd name="connsiteX820" fmla="*/ 479724 w 862286"/>
                  <a:gd name="connsiteY820" fmla="*/ 795896 h 971615"/>
                  <a:gd name="connsiteX821" fmla="*/ 479724 w 862286"/>
                  <a:gd name="connsiteY821" fmla="*/ 807005 h 971615"/>
                  <a:gd name="connsiteX822" fmla="*/ 476550 w 862286"/>
                  <a:gd name="connsiteY822" fmla="*/ 807270 h 971615"/>
                  <a:gd name="connsiteX823" fmla="*/ 471877 w 862286"/>
                  <a:gd name="connsiteY823" fmla="*/ 810444 h 971615"/>
                  <a:gd name="connsiteX824" fmla="*/ 468968 w 862286"/>
                  <a:gd name="connsiteY824" fmla="*/ 814852 h 971615"/>
                  <a:gd name="connsiteX825" fmla="*/ 465176 w 862286"/>
                  <a:gd name="connsiteY825" fmla="*/ 815734 h 971615"/>
                  <a:gd name="connsiteX826" fmla="*/ 462267 w 862286"/>
                  <a:gd name="connsiteY826" fmla="*/ 817762 h 971615"/>
                  <a:gd name="connsiteX827" fmla="*/ 458476 w 862286"/>
                  <a:gd name="connsiteY827" fmla="*/ 819172 h 971615"/>
                  <a:gd name="connsiteX828" fmla="*/ 454949 w 862286"/>
                  <a:gd name="connsiteY828" fmla="*/ 822964 h 971615"/>
                  <a:gd name="connsiteX829" fmla="*/ 452304 w 862286"/>
                  <a:gd name="connsiteY829" fmla="*/ 824727 h 971615"/>
                  <a:gd name="connsiteX830" fmla="*/ 448777 w 862286"/>
                  <a:gd name="connsiteY830" fmla="*/ 829665 h 971615"/>
                  <a:gd name="connsiteX831" fmla="*/ 443840 w 862286"/>
                  <a:gd name="connsiteY831" fmla="*/ 831693 h 971615"/>
                  <a:gd name="connsiteX832" fmla="*/ 443840 w 862286"/>
                  <a:gd name="connsiteY832" fmla="*/ 836630 h 971615"/>
                  <a:gd name="connsiteX833" fmla="*/ 439431 w 862286"/>
                  <a:gd name="connsiteY833" fmla="*/ 840421 h 971615"/>
                  <a:gd name="connsiteX834" fmla="*/ 433877 w 862286"/>
                  <a:gd name="connsiteY834" fmla="*/ 847739 h 971615"/>
                  <a:gd name="connsiteX835" fmla="*/ 429821 w 862286"/>
                  <a:gd name="connsiteY835" fmla="*/ 855322 h 971615"/>
                  <a:gd name="connsiteX836" fmla="*/ 418447 w 862286"/>
                  <a:gd name="connsiteY836" fmla="*/ 872779 h 971615"/>
                  <a:gd name="connsiteX837" fmla="*/ 411129 w 862286"/>
                  <a:gd name="connsiteY837" fmla="*/ 881860 h 971615"/>
                  <a:gd name="connsiteX838" fmla="*/ 409101 w 862286"/>
                  <a:gd name="connsiteY838" fmla="*/ 885387 h 971615"/>
                  <a:gd name="connsiteX839" fmla="*/ 408837 w 862286"/>
                  <a:gd name="connsiteY839" fmla="*/ 884241 h 971615"/>
                  <a:gd name="connsiteX840" fmla="*/ 410335 w 862286"/>
                  <a:gd name="connsiteY840" fmla="*/ 884241 h 971615"/>
                  <a:gd name="connsiteX841" fmla="*/ 413245 w 862286"/>
                  <a:gd name="connsiteY841" fmla="*/ 885740 h 971615"/>
                  <a:gd name="connsiteX842" fmla="*/ 415273 w 862286"/>
                  <a:gd name="connsiteY842" fmla="*/ 885740 h 971615"/>
                  <a:gd name="connsiteX843" fmla="*/ 419946 w 862286"/>
                  <a:gd name="connsiteY843" fmla="*/ 881684 h 971615"/>
                  <a:gd name="connsiteX844" fmla="*/ 430438 w 862286"/>
                  <a:gd name="connsiteY844" fmla="*/ 884329 h 971615"/>
                  <a:gd name="connsiteX845" fmla="*/ 431320 w 862286"/>
                  <a:gd name="connsiteY845" fmla="*/ 886092 h 971615"/>
                  <a:gd name="connsiteX846" fmla="*/ 440048 w 862286"/>
                  <a:gd name="connsiteY846" fmla="*/ 892793 h 971615"/>
                  <a:gd name="connsiteX847" fmla="*/ 442693 w 862286"/>
                  <a:gd name="connsiteY847" fmla="*/ 895703 h 971615"/>
                  <a:gd name="connsiteX848" fmla="*/ 446485 w 862286"/>
                  <a:gd name="connsiteY848" fmla="*/ 905930 h 971615"/>
                  <a:gd name="connsiteX849" fmla="*/ 452039 w 862286"/>
                  <a:gd name="connsiteY849" fmla="*/ 902668 h 971615"/>
                  <a:gd name="connsiteX850" fmla="*/ 453538 w 862286"/>
                  <a:gd name="connsiteY850" fmla="*/ 900023 h 971615"/>
                  <a:gd name="connsiteX851" fmla="*/ 458828 w 862286"/>
                  <a:gd name="connsiteY851" fmla="*/ 902932 h 971615"/>
                  <a:gd name="connsiteX852" fmla="*/ 465264 w 862286"/>
                  <a:gd name="connsiteY852" fmla="*/ 909898 h 971615"/>
                  <a:gd name="connsiteX853" fmla="*/ 467910 w 862286"/>
                  <a:gd name="connsiteY853" fmla="*/ 911309 h 971615"/>
                  <a:gd name="connsiteX854" fmla="*/ 472847 w 862286"/>
                  <a:gd name="connsiteY854" fmla="*/ 913953 h 971615"/>
                  <a:gd name="connsiteX855" fmla="*/ 481047 w 862286"/>
                  <a:gd name="connsiteY855" fmla="*/ 917745 h 971615"/>
                  <a:gd name="connsiteX856" fmla="*/ 488894 w 862286"/>
                  <a:gd name="connsiteY856" fmla="*/ 926474 h 971615"/>
                  <a:gd name="connsiteX857" fmla="*/ 490392 w 862286"/>
                  <a:gd name="connsiteY857" fmla="*/ 924975 h 971615"/>
                  <a:gd name="connsiteX858" fmla="*/ 493566 w 862286"/>
                  <a:gd name="connsiteY858" fmla="*/ 926738 h 971615"/>
                  <a:gd name="connsiteX859" fmla="*/ 497975 w 862286"/>
                  <a:gd name="connsiteY859" fmla="*/ 929030 h 971615"/>
                  <a:gd name="connsiteX860" fmla="*/ 501149 w 862286"/>
                  <a:gd name="connsiteY860" fmla="*/ 934849 h 971615"/>
                  <a:gd name="connsiteX861" fmla="*/ 501766 w 862286"/>
                  <a:gd name="connsiteY861" fmla="*/ 937495 h 971615"/>
                  <a:gd name="connsiteX862" fmla="*/ 507321 w 862286"/>
                  <a:gd name="connsiteY862" fmla="*/ 942167 h 971615"/>
                  <a:gd name="connsiteX863" fmla="*/ 514022 w 862286"/>
                  <a:gd name="connsiteY863" fmla="*/ 946223 h 971615"/>
                  <a:gd name="connsiteX864" fmla="*/ 511112 w 862286"/>
                  <a:gd name="connsiteY864" fmla="*/ 952395 h 971615"/>
                  <a:gd name="connsiteX865" fmla="*/ 507321 w 862286"/>
                  <a:gd name="connsiteY865" fmla="*/ 958214 h 971615"/>
                  <a:gd name="connsiteX866" fmla="*/ 509084 w 862286"/>
                  <a:gd name="connsiteY866" fmla="*/ 969588 h 971615"/>
                  <a:gd name="connsiteX867" fmla="*/ 511994 w 862286"/>
                  <a:gd name="connsiteY867" fmla="*/ 971351 h 971615"/>
                  <a:gd name="connsiteX868" fmla="*/ 512875 w 862286"/>
                  <a:gd name="connsiteY868" fmla="*/ 971616 h 971615"/>
                  <a:gd name="connsiteX869" fmla="*/ 513757 w 862286"/>
                  <a:gd name="connsiteY869" fmla="*/ 970998 h 971615"/>
                  <a:gd name="connsiteX870" fmla="*/ 516402 w 862286"/>
                  <a:gd name="connsiteY870" fmla="*/ 970998 h 971615"/>
                  <a:gd name="connsiteX871" fmla="*/ 520458 w 862286"/>
                  <a:gd name="connsiteY871" fmla="*/ 967472 h 971615"/>
                  <a:gd name="connsiteX872" fmla="*/ 520987 w 862286"/>
                  <a:gd name="connsiteY872" fmla="*/ 965179 h 971615"/>
                  <a:gd name="connsiteX873" fmla="*/ 523632 w 862286"/>
                  <a:gd name="connsiteY873" fmla="*/ 962270 h 971615"/>
                  <a:gd name="connsiteX874" fmla="*/ 525924 w 862286"/>
                  <a:gd name="connsiteY874" fmla="*/ 956715 h 971615"/>
                  <a:gd name="connsiteX875" fmla="*/ 525307 w 862286"/>
                  <a:gd name="connsiteY875" fmla="*/ 951513 h 971615"/>
                  <a:gd name="connsiteX876" fmla="*/ 529363 w 862286"/>
                  <a:gd name="connsiteY876" fmla="*/ 952660 h 971615"/>
                  <a:gd name="connsiteX877" fmla="*/ 529628 w 862286"/>
                  <a:gd name="connsiteY877" fmla="*/ 946840 h 971615"/>
                  <a:gd name="connsiteX878" fmla="*/ 530774 w 862286"/>
                  <a:gd name="connsiteY878" fmla="*/ 942167 h 971615"/>
                  <a:gd name="connsiteX879" fmla="*/ 531655 w 862286"/>
                  <a:gd name="connsiteY879" fmla="*/ 935996 h 971615"/>
                  <a:gd name="connsiteX880" fmla="*/ 533419 w 862286"/>
                  <a:gd name="connsiteY880" fmla="*/ 932469 h 971615"/>
                  <a:gd name="connsiteX881" fmla="*/ 531655 w 862286"/>
                  <a:gd name="connsiteY881" fmla="*/ 931587 h 971615"/>
                  <a:gd name="connsiteX882" fmla="*/ 531391 w 862286"/>
                  <a:gd name="connsiteY882" fmla="*/ 929824 h 971615"/>
                  <a:gd name="connsiteX883" fmla="*/ 529628 w 862286"/>
                  <a:gd name="connsiteY883" fmla="*/ 930441 h 971615"/>
                  <a:gd name="connsiteX884" fmla="*/ 529363 w 862286"/>
                  <a:gd name="connsiteY884" fmla="*/ 928942 h 971615"/>
                  <a:gd name="connsiteX885" fmla="*/ 531391 w 862286"/>
                  <a:gd name="connsiteY885" fmla="*/ 926650 h 971615"/>
                  <a:gd name="connsiteX886" fmla="*/ 529098 w 862286"/>
                  <a:gd name="connsiteY886" fmla="*/ 923123 h 971615"/>
                  <a:gd name="connsiteX887" fmla="*/ 532625 w 862286"/>
                  <a:gd name="connsiteY887" fmla="*/ 919067 h 971615"/>
                  <a:gd name="connsiteX888" fmla="*/ 531479 w 862286"/>
                  <a:gd name="connsiteY888" fmla="*/ 918538 h 971615"/>
                  <a:gd name="connsiteX889" fmla="*/ 531215 w 862286"/>
                  <a:gd name="connsiteY889" fmla="*/ 917304 h 971615"/>
                  <a:gd name="connsiteX890" fmla="*/ 532713 w 862286"/>
                  <a:gd name="connsiteY890" fmla="*/ 917921 h 971615"/>
                  <a:gd name="connsiteX891" fmla="*/ 533330 w 862286"/>
                  <a:gd name="connsiteY891" fmla="*/ 912102 h 971615"/>
                  <a:gd name="connsiteX892" fmla="*/ 534477 w 862286"/>
                  <a:gd name="connsiteY892" fmla="*/ 911220 h 971615"/>
                  <a:gd name="connsiteX893" fmla="*/ 539414 w 862286"/>
                  <a:gd name="connsiteY893" fmla="*/ 909810 h 971615"/>
                  <a:gd name="connsiteX894" fmla="*/ 539414 w 862286"/>
                  <a:gd name="connsiteY894" fmla="*/ 906636 h 971615"/>
                  <a:gd name="connsiteX895" fmla="*/ 541442 w 862286"/>
                  <a:gd name="connsiteY895" fmla="*/ 904872 h 971615"/>
                  <a:gd name="connsiteX896" fmla="*/ 542059 w 862286"/>
                  <a:gd name="connsiteY896" fmla="*/ 900552 h 971615"/>
                  <a:gd name="connsiteX897" fmla="*/ 542324 w 862286"/>
                  <a:gd name="connsiteY897" fmla="*/ 894997 h 971615"/>
                  <a:gd name="connsiteX898" fmla="*/ 544087 w 862286"/>
                  <a:gd name="connsiteY898" fmla="*/ 896761 h 971615"/>
                  <a:gd name="connsiteX899" fmla="*/ 545498 w 862286"/>
                  <a:gd name="connsiteY899" fmla="*/ 898260 h 971615"/>
                  <a:gd name="connsiteX900" fmla="*/ 544352 w 862286"/>
                  <a:gd name="connsiteY900" fmla="*/ 891294 h 971615"/>
                  <a:gd name="connsiteX901" fmla="*/ 546644 w 862286"/>
                  <a:gd name="connsiteY901" fmla="*/ 889002 h 971615"/>
                  <a:gd name="connsiteX902" fmla="*/ 545498 w 862286"/>
                  <a:gd name="connsiteY902" fmla="*/ 887856 h 971615"/>
                  <a:gd name="connsiteX903" fmla="*/ 543470 w 862286"/>
                  <a:gd name="connsiteY903" fmla="*/ 886092 h 971615"/>
                  <a:gd name="connsiteX904" fmla="*/ 542059 w 862286"/>
                  <a:gd name="connsiteY904" fmla="*/ 884065 h 971615"/>
                  <a:gd name="connsiteX905" fmla="*/ 542059 w 862286"/>
                  <a:gd name="connsiteY905" fmla="*/ 880890 h 971615"/>
                  <a:gd name="connsiteX906" fmla="*/ 543823 w 862286"/>
                  <a:gd name="connsiteY906" fmla="*/ 880009 h 971615"/>
                  <a:gd name="connsiteX907" fmla="*/ 544440 w 862286"/>
                  <a:gd name="connsiteY907" fmla="*/ 882389 h 971615"/>
                  <a:gd name="connsiteX908" fmla="*/ 545057 w 862286"/>
                  <a:gd name="connsiteY908" fmla="*/ 883536 h 971615"/>
                  <a:gd name="connsiteX909" fmla="*/ 547966 w 862286"/>
                  <a:gd name="connsiteY909" fmla="*/ 884417 h 971615"/>
                  <a:gd name="connsiteX910" fmla="*/ 548848 w 862286"/>
                  <a:gd name="connsiteY910" fmla="*/ 888208 h 971615"/>
                  <a:gd name="connsiteX911" fmla="*/ 551140 w 862286"/>
                  <a:gd name="connsiteY911" fmla="*/ 886445 h 971615"/>
                  <a:gd name="connsiteX912" fmla="*/ 554315 w 862286"/>
                  <a:gd name="connsiteY912" fmla="*/ 886180 h 971615"/>
                  <a:gd name="connsiteX913" fmla="*/ 555725 w 862286"/>
                  <a:gd name="connsiteY913" fmla="*/ 884153 h 971615"/>
                  <a:gd name="connsiteX914" fmla="*/ 558987 w 862286"/>
                  <a:gd name="connsiteY914" fmla="*/ 885916 h 971615"/>
                  <a:gd name="connsiteX915" fmla="*/ 558370 w 862286"/>
                  <a:gd name="connsiteY915" fmla="*/ 891206 h 971615"/>
                  <a:gd name="connsiteX916" fmla="*/ 555196 w 862286"/>
                  <a:gd name="connsiteY916" fmla="*/ 888296 h 971615"/>
                  <a:gd name="connsiteX917" fmla="*/ 557224 w 862286"/>
                  <a:gd name="connsiteY917" fmla="*/ 893851 h 971615"/>
                  <a:gd name="connsiteX918" fmla="*/ 556607 w 862286"/>
                  <a:gd name="connsiteY918" fmla="*/ 898260 h 971615"/>
                  <a:gd name="connsiteX919" fmla="*/ 551670 w 862286"/>
                  <a:gd name="connsiteY919" fmla="*/ 901169 h 971615"/>
                  <a:gd name="connsiteX920" fmla="*/ 552551 w 862286"/>
                  <a:gd name="connsiteY920" fmla="*/ 903814 h 971615"/>
                  <a:gd name="connsiteX921" fmla="*/ 552551 w 862286"/>
                  <a:gd name="connsiteY921" fmla="*/ 906195 h 971615"/>
                  <a:gd name="connsiteX922" fmla="*/ 551670 w 862286"/>
                  <a:gd name="connsiteY922" fmla="*/ 905578 h 971615"/>
                  <a:gd name="connsiteX923" fmla="*/ 549642 w 862286"/>
                  <a:gd name="connsiteY923" fmla="*/ 910868 h 971615"/>
                  <a:gd name="connsiteX924" fmla="*/ 548143 w 862286"/>
                  <a:gd name="connsiteY924" fmla="*/ 915805 h 971615"/>
                  <a:gd name="connsiteX925" fmla="*/ 544352 w 862286"/>
                  <a:gd name="connsiteY925" fmla="*/ 916422 h 971615"/>
                  <a:gd name="connsiteX926" fmla="*/ 543470 w 862286"/>
                  <a:gd name="connsiteY926" fmla="*/ 918186 h 971615"/>
                  <a:gd name="connsiteX927" fmla="*/ 542324 w 862286"/>
                  <a:gd name="connsiteY927" fmla="*/ 921624 h 971615"/>
                  <a:gd name="connsiteX928" fmla="*/ 540825 w 862286"/>
                  <a:gd name="connsiteY928" fmla="*/ 922506 h 971615"/>
                  <a:gd name="connsiteX929" fmla="*/ 537298 w 862286"/>
                  <a:gd name="connsiteY929" fmla="*/ 923652 h 971615"/>
                  <a:gd name="connsiteX930" fmla="*/ 536152 w 862286"/>
                  <a:gd name="connsiteY930" fmla="*/ 925680 h 971615"/>
                  <a:gd name="connsiteX931" fmla="*/ 532096 w 862286"/>
                  <a:gd name="connsiteY931" fmla="*/ 924798 h 971615"/>
                  <a:gd name="connsiteX932" fmla="*/ 533859 w 862286"/>
                  <a:gd name="connsiteY932" fmla="*/ 931764 h 971615"/>
                  <a:gd name="connsiteX933" fmla="*/ 537034 w 862286"/>
                  <a:gd name="connsiteY933" fmla="*/ 929118 h 971615"/>
                  <a:gd name="connsiteX934" fmla="*/ 540560 w 862286"/>
                  <a:gd name="connsiteY934" fmla="*/ 926474 h 971615"/>
                  <a:gd name="connsiteX935" fmla="*/ 544087 w 862286"/>
                  <a:gd name="connsiteY935" fmla="*/ 924710 h 971615"/>
                  <a:gd name="connsiteX936" fmla="*/ 548143 w 862286"/>
                  <a:gd name="connsiteY936" fmla="*/ 922947 h 971615"/>
                  <a:gd name="connsiteX937" fmla="*/ 549024 w 862286"/>
                  <a:gd name="connsiteY937" fmla="*/ 918274 h 971615"/>
                  <a:gd name="connsiteX938" fmla="*/ 551934 w 862286"/>
                  <a:gd name="connsiteY938" fmla="*/ 914218 h 971615"/>
                  <a:gd name="connsiteX939" fmla="*/ 554579 w 862286"/>
                  <a:gd name="connsiteY939" fmla="*/ 913865 h 971615"/>
                  <a:gd name="connsiteX940" fmla="*/ 557224 w 862286"/>
                  <a:gd name="connsiteY940" fmla="*/ 908928 h 971615"/>
                  <a:gd name="connsiteX941" fmla="*/ 559516 w 862286"/>
                  <a:gd name="connsiteY941" fmla="*/ 903990 h 971615"/>
                  <a:gd name="connsiteX942" fmla="*/ 562161 w 862286"/>
                  <a:gd name="connsiteY942" fmla="*/ 897907 h 971615"/>
                  <a:gd name="connsiteX943" fmla="*/ 563308 w 862286"/>
                  <a:gd name="connsiteY943" fmla="*/ 894380 h 971615"/>
                  <a:gd name="connsiteX944" fmla="*/ 564454 w 862286"/>
                  <a:gd name="connsiteY944" fmla="*/ 893234 h 971615"/>
                  <a:gd name="connsiteX945" fmla="*/ 564189 w 862286"/>
                  <a:gd name="connsiteY945" fmla="*/ 890324 h 971615"/>
                  <a:gd name="connsiteX946" fmla="*/ 565071 w 862286"/>
                  <a:gd name="connsiteY946" fmla="*/ 885652 h 971615"/>
                  <a:gd name="connsiteX947" fmla="*/ 567981 w 862286"/>
                  <a:gd name="connsiteY947" fmla="*/ 878951 h 971615"/>
                  <a:gd name="connsiteX948" fmla="*/ 571155 w 862286"/>
                  <a:gd name="connsiteY948" fmla="*/ 869605 h 971615"/>
                  <a:gd name="connsiteX949" fmla="*/ 573182 w 862286"/>
                  <a:gd name="connsiteY949" fmla="*/ 866078 h 971615"/>
                  <a:gd name="connsiteX950" fmla="*/ 573182 w 862286"/>
                  <a:gd name="connsiteY950" fmla="*/ 864315 h 971615"/>
                  <a:gd name="connsiteX951" fmla="*/ 576445 w 862286"/>
                  <a:gd name="connsiteY951" fmla="*/ 856732 h 971615"/>
                  <a:gd name="connsiteX952" fmla="*/ 580236 w 862286"/>
                  <a:gd name="connsiteY952" fmla="*/ 853558 h 971615"/>
                  <a:gd name="connsiteX953" fmla="*/ 581382 w 862286"/>
                  <a:gd name="connsiteY953" fmla="*/ 850296 h 971615"/>
                  <a:gd name="connsiteX954" fmla="*/ 590464 w 862286"/>
                  <a:gd name="connsiteY954" fmla="*/ 844477 h 971615"/>
                  <a:gd name="connsiteX955" fmla="*/ 591345 w 862286"/>
                  <a:gd name="connsiteY955" fmla="*/ 841832 h 971615"/>
                  <a:gd name="connsiteX956" fmla="*/ 589846 w 862286"/>
                  <a:gd name="connsiteY956" fmla="*/ 841215 h 971615"/>
                  <a:gd name="connsiteX957" fmla="*/ 588347 w 862286"/>
                  <a:gd name="connsiteY957" fmla="*/ 839187 h 971615"/>
                  <a:gd name="connsiteX958" fmla="*/ 590111 w 862286"/>
                  <a:gd name="connsiteY958" fmla="*/ 838305 h 971615"/>
                  <a:gd name="connsiteX959" fmla="*/ 592756 w 862286"/>
                  <a:gd name="connsiteY959" fmla="*/ 834778 h 971615"/>
                  <a:gd name="connsiteX960" fmla="*/ 595401 w 862286"/>
                  <a:gd name="connsiteY960" fmla="*/ 830105 h 971615"/>
                  <a:gd name="connsiteX961" fmla="*/ 595137 w 862286"/>
                  <a:gd name="connsiteY961" fmla="*/ 826931 h 971615"/>
                  <a:gd name="connsiteX962" fmla="*/ 593109 w 862286"/>
                  <a:gd name="connsiteY962" fmla="*/ 824286 h 971615"/>
                  <a:gd name="connsiteX963" fmla="*/ 591962 w 862286"/>
                  <a:gd name="connsiteY963" fmla="*/ 822523 h 971615"/>
                  <a:gd name="connsiteX964" fmla="*/ 596018 w 862286"/>
                  <a:gd name="connsiteY964" fmla="*/ 820495 h 971615"/>
                  <a:gd name="connsiteX965" fmla="*/ 596018 w 862286"/>
                  <a:gd name="connsiteY965" fmla="*/ 816704 h 971615"/>
                  <a:gd name="connsiteX966" fmla="*/ 591345 w 862286"/>
                  <a:gd name="connsiteY966" fmla="*/ 818732 h 971615"/>
                  <a:gd name="connsiteX967" fmla="*/ 592227 w 862286"/>
                  <a:gd name="connsiteY967" fmla="*/ 817850 h 971615"/>
                  <a:gd name="connsiteX968" fmla="*/ 590464 w 862286"/>
                  <a:gd name="connsiteY968" fmla="*/ 815558 h 971615"/>
                  <a:gd name="connsiteX969" fmla="*/ 591962 w 862286"/>
                  <a:gd name="connsiteY969" fmla="*/ 813177 h 971615"/>
                  <a:gd name="connsiteX970" fmla="*/ 590199 w 862286"/>
                  <a:gd name="connsiteY970" fmla="*/ 810532 h 971615"/>
                  <a:gd name="connsiteX971" fmla="*/ 592227 w 862286"/>
                  <a:gd name="connsiteY971" fmla="*/ 809033 h 971615"/>
                  <a:gd name="connsiteX972" fmla="*/ 592491 w 862286"/>
                  <a:gd name="connsiteY972" fmla="*/ 807887 h 971615"/>
                  <a:gd name="connsiteX973" fmla="*/ 591345 w 862286"/>
                  <a:gd name="connsiteY973" fmla="*/ 808151 h 971615"/>
                  <a:gd name="connsiteX974" fmla="*/ 590728 w 862286"/>
                  <a:gd name="connsiteY974" fmla="*/ 804096 h 971615"/>
                  <a:gd name="connsiteX975" fmla="*/ 588965 w 862286"/>
                  <a:gd name="connsiteY975" fmla="*/ 801186 h 971615"/>
                  <a:gd name="connsiteX976" fmla="*/ 588347 w 862286"/>
                  <a:gd name="connsiteY976" fmla="*/ 797395 h 971615"/>
                  <a:gd name="connsiteX977" fmla="*/ 588347 w 862286"/>
                  <a:gd name="connsiteY977" fmla="*/ 789813 h 971615"/>
                  <a:gd name="connsiteX978" fmla="*/ 584292 w 862286"/>
                  <a:gd name="connsiteY978" fmla="*/ 786903 h 971615"/>
                  <a:gd name="connsiteX979" fmla="*/ 584909 w 862286"/>
                  <a:gd name="connsiteY979" fmla="*/ 786021 h 971615"/>
                  <a:gd name="connsiteX980" fmla="*/ 584027 w 862286"/>
                  <a:gd name="connsiteY980" fmla="*/ 782230 h 971615"/>
                  <a:gd name="connsiteX981" fmla="*/ 585174 w 862286"/>
                  <a:gd name="connsiteY981" fmla="*/ 784258 h 971615"/>
                  <a:gd name="connsiteX982" fmla="*/ 588436 w 862286"/>
                  <a:gd name="connsiteY982" fmla="*/ 783112 h 971615"/>
                  <a:gd name="connsiteX983" fmla="*/ 587907 w 862286"/>
                  <a:gd name="connsiteY983" fmla="*/ 775794 h 971615"/>
                  <a:gd name="connsiteX984" fmla="*/ 586143 w 862286"/>
                  <a:gd name="connsiteY984" fmla="*/ 774648 h 971615"/>
                  <a:gd name="connsiteX985" fmla="*/ 586760 w 862286"/>
                  <a:gd name="connsiteY985" fmla="*/ 773766 h 971615"/>
                  <a:gd name="connsiteX986" fmla="*/ 587642 w 862286"/>
                  <a:gd name="connsiteY986" fmla="*/ 773766 h 971615"/>
                  <a:gd name="connsiteX987" fmla="*/ 588788 w 862286"/>
                  <a:gd name="connsiteY987" fmla="*/ 775177 h 971615"/>
                  <a:gd name="connsiteX988" fmla="*/ 591698 w 862286"/>
                  <a:gd name="connsiteY988" fmla="*/ 768476 h 971615"/>
                  <a:gd name="connsiteX989" fmla="*/ 588788 w 862286"/>
                  <a:gd name="connsiteY989" fmla="*/ 768476 h 971615"/>
                  <a:gd name="connsiteX990" fmla="*/ 587907 w 862286"/>
                  <a:gd name="connsiteY990" fmla="*/ 766977 h 971615"/>
                  <a:gd name="connsiteX991" fmla="*/ 585262 w 862286"/>
                  <a:gd name="connsiteY991" fmla="*/ 766977 h 971615"/>
                  <a:gd name="connsiteX992" fmla="*/ 583498 w 862286"/>
                  <a:gd name="connsiteY992" fmla="*/ 765831 h 971615"/>
                  <a:gd name="connsiteX993" fmla="*/ 582969 w 862286"/>
                  <a:gd name="connsiteY993" fmla="*/ 762304 h 971615"/>
                  <a:gd name="connsiteX994" fmla="*/ 588788 w 862286"/>
                  <a:gd name="connsiteY994" fmla="*/ 766095 h 971615"/>
                  <a:gd name="connsiteX995" fmla="*/ 589670 w 862286"/>
                  <a:gd name="connsiteY995" fmla="*/ 762304 h 971615"/>
                  <a:gd name="connsiteX996" fmla="*/ 589670 w 862286"/>
                  <a:gd name="connsiteY996" fmla="*/ 761422 h 971615"/>
                  <a:gd name="connsiteX997" fmla="*/ 589670 w 862286"/>
                  <a:gd name="connsiteY997" fmla="*/ 760805 h 971615"/>
                  <a:gd name="connsiteX998" fmla="*/ 590816 w 862286"/>
                  <a:gd name="connsiteY998" fmla="*/ 760805 h 971615"/>
                  <a:gd name="connsiteX999" fmla="*/ 592315 w 862286"/>
                  <a:gd name="connsiteY999" fmla="*/ 762833 h 971615"/>
                  <a:gd name="connsiteX1000" fmla="*/ 593461 w 862286"/>
                  <a:gd name="connsiteY1000" fmla="*/ 761334 h 971615"/>
                  <a:gd name="connsiteX1001" fmla="*/ 595842 w 862286"/>
                  <a:gd name="connsiteY1001" fmla="*/ 761070 h 971615"/>
                  <a:gd name="connsiteX1002" fmla="*/ 594343 w 862286"/>
                  <a:gd name="connsiteY1002" fmla="*/ 762833 h 971615"/>
                  <a:gd name="connsiteX1003" fmla="*/ 593726 w 862286"/>
                  <a:gd name="connsiteY1003" fmla="*/ 765125 h 971615"/>
                  <a:gd name="connsiteX1004" fmla="*/ 595225 w 862286"/>
                  <a:gd name="connsiteY1004" fmla="*/ 763362 h 971615"/>
                  <a:gd name="connsiteX1005" fmla="*/ 600779 w 862286"/>
                  <a:gd name="connsiteY1005" fmla="*/ 756397 h 971615"/>
                  <a:gd name="connsiteX1006" fmla="*/ 599016 w 862286"/>
                  <a:gd name="connsiteY1006" fmla="*/ 755779 h 971615"/>
                  <a:gd name="connsiteX1007" fmla="*/ 597253 w 862286"/>
                  <a:gd name="connsiteY1007" fmla="*/ 754281 h 971615"/>
                  <a:gd name="connsiteX1008" fmla="*/ 598399 w 862286"/>
                  <a:gd name="connsiteY1008" fmla="*/ 754281 h 971615"/>
                  <a:gd name="connsiteX1009" fmla="*/ 601573 w 862286"/>
                  <a:gd name="connsiteY1009" fmla="*/ 751106 h 971615"/>
                  <a:gd name="connsiteX1010" fmla="*/ 605364 w 862286"/>
                  <a:gd name="connsiteY1010" fmla="*/ 749960 h 971615"/>
                  <a:gd name="connsiteX1011" fmla="*/ 606246 w 862286"/>
                  <a:gd name="connsiteY1011" fmla="*/ 749079 h 971615"/>
                  <a:gd name="connsiteX1012" fmla="*/ 605364 w 862286"/>
                  <a:gd name="connsiteY1012" fmla="*/ 747580 h 971615"/>
                  <a:gd name="connsiteX1013" fmla="*/ 607392 w 862286"/>
                  <a:gd name="connsiteY1013" fmla="*/ 748462 h 971615"/>
                  <a:gd name="connsiteX1014" fmla="*/ 610037 w 862286"/>
                  <a:gd name="connsiteY1014" fmla="*/ 746169 h 971615"/>
                  <a:gd name="connsiteX1015" fmla="*/ 613828 w 862286"/>
                  <a:gd name="connsiteY1015" fmla="*/ 742995 h 971615"/>
                  <a:gd name="connsiteX1016" fmla="*/ 618501 w 862286"/>
                  <a:gd name="connsiteY1016" fmla="*/ 739468 h 971615"/>
                  <a:gd name="connsiteX1017" fmla="*/ 620000 w 862286"/>
                  <a:gd name="connsiteY1017" fmla="*/ 735413 h 971615"/>
                  <a:gd name="connsiteX1018" fmla="*/ 630756 w 862286"/>
                  <a:gd name="connsiteY1018" fmla="*/ 729593 h 971615"/>
                  <a:gd name="connsiteX1019" fmla="*/ 628993 w 862286"/>
                  <a:gd name="connsiteY1019" fmla="*/ 727566 h 971615"/>
                  <a:gd name="connsiteX1020" fmla="*/ 630492 w 862286"/>
                  <a:gd name="connsiteY1020" fmla="*/ 725802 h 971615"/>
                  <a:gd name="connsiteX1021" fmla="*/ 632520 w 862286"/>
                  <a:gd name="connsiteY1021" fmla="*/ 726684 h 971615"/>
                  <a:gd name="connsiteX1022" fmla="*/ 631991 w 862286"/>
                  <a:gd name="connsiteY1022" fmla="*/ 729329 h 971615"/>
                  <a:gd name="connsiteX1023" fmla="*/ 634283 w 862286"/>
                  <a:gd name="connsiteY1023" fmla="*/ 728447 h 971615"/>
                  <a:gd name="connsiteX1024" fmla="*/ 636047 w 862286"/>
                  <a:gd name="connsiteY1024" fmla="*/ 726155 h 971615"/>
                  <a:gd name="connsiteX1025" fmla="*/ 635430 w 862286"/>
                  <a:gd name="connsiteY1025" fmla="*/ 725890 h 971615"/>
                  <a:gd name="connsiteX1026" fmla="*/ 638075 w 862286"/>
                  <a:gd name="connsiteY1026" fmla="*/ 724744 h 971615"/>
                  <a:gd name="connsiteX1027" fmla="*/ 645657 w 862286"/>
                  <a:gd name="connsiteY1027" fmla="*/ 725361 h 971615"/>
                  <a:gd name="connsiteX1028" fmla="*/ 648567 w 862286"/>
                  <a:gd name="connsiteY1028" fmla="*/ 724215 h 971615"/>
                  <a:gd name="connsiteX1029" fmla="*/ 649713 w 862286"/>
                  <a:gd name="connsiteY1029" fmla="*/ 723333 h 971615"/>
                  <a:gd name="connsiteX1030" fmla="*/ 652358 w 862286"/>
                  <a:gd name="connsiteY1030" fmla="*/ 729505 h 971615"/>
                  <a:gd name="connsiteX1031" fmla="*/ 651212 w 862286"/>
                  <a:gd name="connsiteY1031" fmla="*/ 724832 h 971615"/>
                  <a:gd name="connsiteX1032" fmla="*/ 650594 w 862286"/>
                  <a:gd name="connsiteY1032" fmla="*/ 721658 h 971615"/>
                  <a:gd name="connsiteX1033" fmla="*/ 652093 w 862286"/>
                  <a:gd name="connsiteY1033" fmla="*/ 721041 h 971615"/>
                  <a:gd name="connsiteX1034" fmla="*/ 652358 w 862286"/>
                  <a:gd name="connsiteY1034" fmla="*/ 719278 h 971615"/>
                  <a:gd name="connsiteX1035" fmla="*/ 654121 w 862286"/>
                  <a:gd name="connsiteY1035" fmla="*/ 719013 h 971615"/>
                  <a:gd name="connsiteX1036" fmla="*/ 655003 w 862286"/>
                  <a:gd name="connsiteY1036" fmla="*/ 717514 h 971615"/>
                  <a:gd name="connsiteX1037" fmla="*/ 656149 w 862286"/>
                  <a:gd name="connsiteY1037" fmla="*/ 716368 h 971615"/>
                  <a:gd name="connsiteX1038" fmla="*/ 657295 w 862286"/>
                  <a:gd name="connsiteY1038" fmla="*/ 716633 h 971615"/>
                  <a:gd name="connsiteX1039" fmla="*/ 658177 w 862286"/>
                  <a:gd name="connsiteY1039" fmla="*/ 715486 h 971615"/>
                  <a:gd name="connsiteX1040" fmla="*/ 658177 w 862286"/>
                  <a:gd name="connsiteY1040" fmla="*/ 714605 h 971615"/>
                  <a:gd name="connsiteX1041" fmla="*/ 661086 w 862286"/>
                  <a:gd name="connsiteY1041" fmla="*/ 713194 h 971615"/>
                  <a:gd name="connsiteX1042" fmla="*/ 666641 w 862286"/>
                  <a:gd name="connsiteY1042" fmla="*/ 712577 h 971615"/>
                  <a:gd name="connsiteX1043" fmla="*/ 670168 w 862286"/>
                  <a:gd name="connsiteY1043" fmla="*/ 711695 h 971615"/>
                  <a:gd name="connsiteX1044" fmla="*/ 668669 w 862286"/>
                  <a:gd name="connsiteY1044" fmla="*/ 709932 h 971615"/>
                  <a:gd name="connsiteX1045" fmla="*/ 666641 w 862286"/>
                  <a:gd name="connsiteY1045" fmla="*/ 711695 h 971615"/>
                  <a:gd name="connsiteX1046" fmla="*/ 665759 w 862286"/>
                  <a:gd name="connsiteY1046" fmla="*/ 710813 h 971615"/>
                  <a:gd name="connsiteX1047" fmla="*/ 665142 w 862286"/>
                  <a:gd name="connsiteY1047" fmla="*/ 709668 h 971615"/>
                  <a:gd name="connsiteX1048" fmla="*/ 665759 w 862286"/>
                  <a:gd name="connsiteY1048" fmla="*/ 705524 h 971615"/>
                  <a:gd name="connsiteX1049" fmla="*/ 669815 w 862286"/>
                  <a:gd name="connsiteY1049" fmla="*/ 704025 h 971615"/>
                  <a:gd name="connsiteX1050" fmla="*/ 670697 w 862286"/>
                  <a:gd name="connsiteY1050" fmla="*/ 702261 h 971615"/>
                  <a:gd name="connsiteX1051" fmla="*/ 672460 w 862286"/>
                  <a:gd name="connsiteY1051" fmla="*/ 701997 h 971615"/>
                  <a:gd name="connsiteX1052" fmla="*/ 673606 w 862286"/>
                  <a:gd name="connsiteY1052" fmla="*/ 703496 h 971615"/>
                  <a:gd name="connsiteX1053" fmla="*/ 672460 w 862286"/>
                  <a:gd name="connsiteY1053" fmla="*/ 704377 h 971615"/>
                  <a:gd name="connsiteX1054" fmla="*/ 675105 w 862286"/>
                  <a:gd name="connsiteY1054" fmla="*/ 705524 h 971615"/>
                  <a:gd name="connsiteX1055" fmla="*/ 678632 w 862286"/>
                  <a:gd name="connsiteY1055" fmla="*/ 702349 h 971615"/>
                  <a:gd name="connsiteX1056" fmla="*/ 679249 w 862286"/>
                  <a:gd name="connsiteY1056" fmla="*/ 703496 h 971615"/>
                  <a:gd name="connsiteX1057" fmla="*/ 682776 w 862286"/>
                  <a:gd name="connsiteY1057" fmla="*/ 701468 h 971615"/>
                  <a:gd name="connsiteX1058" fmla="*/ 684539 w 862286"/>
                  <a:gd name="connsiteY1058" fmla="*/ 701468 h 971615"/>
                  <a:gd name="connsiteX1059" fmla="*/ 686567 w 862286"/>
                  <a:gd name="connsiteY1059" fmla="*/ 703496 h 971615"/>
                  <a:gd name="connsiteX1060" fmla="*/ 685685 w 862286"/>
                  <a:gd name="connsiteY1060" fmla="*/ 704377 h 971615"/>
                  <a:gd name="connsiteX1061" fmla="*/ 684187 w 862286"/>
                  <a:gd name="connsiteY1061" fmla="*/ 705524 h 971615"/>
                  <a:gd name="connsiteX1062" fmla="*/ 681541 w 862286"/>
                  <a:gd name="connsiteY1062" fmla="*/ 705876 h 971615"/>
                  <a:gd name="connsiteX1063" fmla="*/ 680043 w 862286"/>
                  <a:gd name="connsiteY1063" fmla="*/ 706758 h 971615"/>
                  <a:gd name="connsiteX1064" fmla="*/ 681541 w 862286"/>
                  <a:gd name="connsiteY1064" fmla="*/ 707640 h 971615"/>
                  <a:gd name="connsiteX1065" fmla="*/ 684451 w 862286"/>
                  <a:gd name="connsiteY1065" fmla="*/ 707904 h 971615"/>
                  <a:gd name="connsiteX1066" fmla="*/ 687978 w 862286"/>
                  <a:gd name="connsiteY1066" fmla="*/ 706758 h 971615"/>
                  <a:gd name="connsiteX1067" fmla="*/ 692651 w 862286"/>
                  <a:gd name="connsiteY1067" fmla="*/ 707375 h 971615"/>
                  <a:gd name="connsiteX1068" fmla="*/ 696706 w 862286"/>
                  <a:gd name="connsiteY1068" fmla="*/ 704113 h 971615"/>
                  <a:gd name="connsiteX1069" fmla="*/ 698205 w 862286"/>
                  <a:gd name="connsiteY1069" fmla="*/ 702349 h 971615"/>
                  <a:gd name="connsiteX1070" fmla="*/ 696442 w 862286"/>
                  <a:gd name="connsiteY1070" fmla="*/ 701732 h 971615"/>
                  <a:gd name="connsiteX1071" fmla="*/ 696177 w 862286"/>
                  <a:gd name="connsiteY1071" fmla="*/ 700233 h 971615"/>
                  <a:gd name="connsiteX1072" fmla="*/ 699087 w 862286"/>
                  <a:gd name="connsiteY1072" fmla="*/ 695825 h 971615"/>
                  <a:gd name="connsiteX1073" fmla="*/ 700586 w 862286"/>
                  <a:gd name="connsiteY1073" fmla="*/ 696971 h 971615"/>
                  <a:gd name="connsiteX1074" fmla="*/ 700586 w 862286"/>
                  <a:gd name="connsiteY1074" fmla="*/ 698734 h 971615"/>
                  <a:gd name="connsiteX1075" fmla="*/ 699440 w 862286"/>
                  <a:gd name="connsiteY1075" fmla="*/ 701909 h 971615"/>
                  <a:gd name="connsiteX1076" fmla="*/ 700586 w 862286"/>
                  <a:gd name="connsiteY1076" fmla="*/ 702526 h 971615"/>
                  <a:gd name="connsiteX1077" fmla="*/ 702085 w 862286"/>
                  <a:gd name="connsiteY1077" fmla="*/ 705171 h 971615"/>
                  <a:gd name="connsiteX1078" fmla="*/ 707287 w 862286"/>
                  <a:gd name="connsiteY1078" fmla="*/ 705435 h 971615"/>
                  <a:gd name="connsiteX1079" fmla="*/ 711078 w 862286"/>
                  <a:gd name="connsiteY1079" fmla="*/ 706317 h 971615"/>
                  <a:gd name="connsiteX1080" fmla="*/ 714605 w 862286"/>
                  <a:gd name="connsiteY1080" fmla="*/ 705435 h 971615"/>
                  <a:gd name="connsiteX1081" fmla="*/ 717514 w 862286"/>
                  <a:gd name="connsiteY1081" fmla="*/ 704554 h 971615"/>
                  <a:gd name="connsiteX1082" fmla="*/ 719807 w 862286"/>
                  <a:gd name="connsiteY1082" fmla="*/ 705700 h 971615"/>
                  <a:gd name="connsiteX1083" fmla="*/ 722716 w 862286"/>
                  <a:gd name="connsiteY1083" fmla="*/ 703319 h 971615"/>
                  <a:gd name="connsiteX1084" fmla="*/ 724479 w 862286"/>
                  <a:gd name="connsiteY1084" fmla="*/ 698646 h 971615"/>
                  <a:gd name="connsiteX1085" fmla="*/ 725626 w 862286"/>
                  <a:gd name="connsiteY1085" fmla="*/ 697765 h 971615"/>
                  <a:gd name="connsiteX1086" fmla="*/ 724127 w 862286"/>
                  <a:gd name="connsiteY1086" fmla="*/ 697500 h 971615"/>
                  <a:gd name="connsiteX1087" fmla="*/ 724744 w 862286"/>
                  <a:gd name="connsiteY1087" fmla="*/ 696618 h 971615"/>
                  <a:gd name="connsiteX1088" fmla="*/ 722716 w 862286"/>
                  <a:gd name="connsiteY1088" fmla="*/ 693092 h 971615"/>
                  <a:gd name="connsiteX1089" fmla="*/ 725008 w 862286"/>
                  <a:gd name="connsiteY1089" fmla="*/ 689301 h 971615"/>
                  <a:gd name="connsiteX1090" fmla="*/ 729417 w 862286"/>
                  <a:gd name="connsiteY1090" fmla="*/ 687537 h 971615"/>
                  <a:gd name="connsiteX1091" fmla="*/ 730563 w 862286"/>
                  <a:gd name="connsiteY1091" fmla="*/ 685245 h 971615"/>
                  <a:gd name="connsiteX1092" fmla="*/ 731709 w 862286"/>
                  <a:gd name="connsiteY1092" fmla="*/ 685509 h 971615"/>
                  <a:gd name="connsiteX1093" fmla="*/ 733737 w 862286"/>
                  <a:gd name="connsiteY1093" fmla="*/ 682335 h 971615"/>
                  <a:gd name="connsiteX1094" fmla="*/ 736382 w 862286"/>
                  <a:gd name="connsiteY1094" fmla="*/ 684980 h 971615"/>
                  <a:gd name="connsiteX1095" fmla="*/ 739027 w 862286"/>
                  <a:gd name="connsiteY1095" fmla="*/ 687008 h 971615"/>
                  <a:gd name="connsiteX1096" fmla="*/ 741937 w 862286"/>
                  <a:gd name="connsiteY1096" fmla="*/ 681189 h 971615"/>
                  <a:gd name="connsiteX1097" fmla="*/ 743700 w 862286"/>
                  <a:gd name="connsiteY1097" fmla="*/ 678897 h 971615"/>
                  <a:gd name="connsiteX1098" fmla="*/ 742819 w 862286"/>
                  <a:gd name="connsiteY1098" fmla="*/ 674488 h 971615"/>
                  <a:gd name="connsiteX1099" fmla="*/ 737264 w 862286"/>
                  <a:gd name="connsiteY1099" fmla="*/ 669815 h 971615"/>
                  <a:gd name="connsiteX1100" fmla="*/ 740438 w 862286"/>
                  <a:gd name="connsiteY1100" fmla="*/ 667170 h 971615"/>
                  <a:gd name="connsiteX1101" fmla="*/ 742201 w 862286"/>
                  <a:gd name="connsiteY1101" fmla="*/ 660205 h 971615"/>
                  <a:gd name="connsiteX1102" fmla="*/ 744846 w 862286"/>
                  <a:gd name="connsiteY1102" fmla="*/ 657295 h 971615"/>
                  <a:gd name="connsiteX1103" fmla="*/ 745111 w 862286"/>
                  <a:gd name="connsiteY1103" fmla="*/ 652623 h 971615"/>
                  <a:gd name="connsiteX1104" fmla="*/ 749167 w 862286"/>
                  <a:gd name="connsiteY1104" fmla="*/ 649977 h 971615"/>
                  <a:gd name="connsiteX1105" fmla="*/ 753222 w 862286"/>
                  <a:gd name="connsiteY1105" fmla="*/ 645304 h 971615"/>
                  <a:gd name="connsiteX1106" fmla="*/ 753751 w 862286"/>
                  <a:gd name="connsiteY1106" fmla="*/ 640896 h 971615"/>
                  <a:gd name="connsiteX1107" fmla="*/ 755779 w 862286"/>
                  <a:gd name="connsiteY1107" fmla="*/ 636840 h 971615"/>
                  <a:gd name="connsiteX1108" fmla="*/ 753487 w 862286"/>
                  <a:gd name="connsiteY1108" fmla="*/ 635959 h 971615"/>
                  <a:gd name="connsiteX1109" fmla="*/ 754016 w 862286"/>
                  <a:gd name="connsiteY1109" fmla="*/ 635694 h 971615"/>
                  <a:gd name="connsiteX1110" fmla="*/ 755515 w 862286"/>
                  <a:gd name="connsiteY1110" fmla="*/ 636223 h 971615"/>
                  <a:gd name="connsiteX1111" fmla="*/ 758160 w 862286"/>
                  <a:gd name="connsiteY1111" fmla="*/ 632432 h 971615"/>
                  <a:gd name="connsiteX1112" fmla="*/ 758160 w 862286"/>
                  <a:gd name="connsiteY1112" fmla="*/ 629522 h 971615"/>
                  <a:gd name="connsiteX1113" fmla="*/ 759306 w 862286"/>
                  <a:gd name="connsiteY1113" fmla="*/ 626877 h 971615"/>
                  <a:gd name="connsiteX1114" fmla="*/ 763362 w 862286"/>
                  <a:gd name="connsiteY1114" fmla="*/ 622822 h 971615"/>
                  <a:gd name="connsiteX1115" fmla="*/ 765125 w 862286"/>
                  <a:gd name="connsiteY1115" fmla="*/ 619912 h 971615"/>
                  <a:gd name="connsiteX1116" fmla="*/ 764508 w 862286"/>
                  <a:gd name="connsiteY1116" fmla="*/ 614974 h 971615"/>
                  <a:gd name="connsiteX1117" fmla="*/ 767417 w 862286"/>
                  <a:gd name="connsiteY1117" fmla="*/ 610566 h 971615"/>
                  <a:gd name="connsiteX1118" fmla="*/ 764508 w 862286"/>
                  <a:gd name="connsiteY1118" fmla="*/ 609067 h 971615"/>
                  <a:gd name="connsiteX1119" fmla="*/ 765125 w 862286"/>
                  <a:gd name="connsiteY1119" fmla="*/ 604394 h 971615"/>
                  <a:gd name="connsiteX1120" fmla="*/ 764243 w 862286"/>
                  <a:gd name="connsiteY1120" fmla="*/ 603248 h 971615"/>
                  <a:gd name="connsiteX1121" fmla="*/ 764508 w 862286"/>
                  <a:gd name="connsiteY1121" fmla="*/ 602102 h 971615"/>
                  <a:gd name="connsiteX1122" fmla="*/ 766007 w 862286"/>
                  <a:gd name="connsiteY1122" fmla="*/ 602455 h 971615"/>
                  <a:gd name="connsiteX1123" fmla="*/ 764243 w 862286"/>
                  <a:gd name="connsiteY1123" fmla="*/ 599281 h 971615"/>
                  <a:gd name="connsiteX1124" fmla="*/ 764243 w 862286"/>
                  <a:gd name="connsiteY1124" fmla="*/ 596636 h 971615"/>
                  <a:gd name="connsiteX1125" fmla="*/ 765125 w 862286"/>
                  <a:gd name="connsiteY1125" fmla="*/ 595137 h 971615"/>
                  <a:gd name="connsiteX1126" fmla="*/ 764508 w 862286"/>
                  <a:gd name="connsiteY1126" fmla="*/ 592492 h 971615"/>
                  <a:gd name="connsiteX1127" fmla="*/ 765390 w 862286"/>
                  <a:gd name="connsiteY1127" fmla="*/ 585791 h 971615"/>
                  <a:gd name="connsiteX1128" fmla="*/ 767682 w 862286"/>
                  <a:gd name="connsiteY1128" fmla="*/ 580853 h 971615"/>
                  <a:gd name="connsiteX1129" fmla="*/ 769974 w 862286"/>
                  <a:gd name="connsiteY1129" fmla="*/ 578208 h 971615"/>
                  <a:gd name="connsiteX1130" fmla="*/ 773766 w 862286"/>
                  <a:gd name="connsiteY1130" fmla="*/ 574417 h 971615"/>
                  <a:gd name="connsiteX1131" fmla="*/ 775529 w 862286"/>
                  <a:gd name="connsiteY1131" fmla="*/ 572389 h 971615"/>
                  <a:gd name="connsiteX1132" fmla="*/ 775793 w 862286"/>
                  <a:gd name="connsiteY1132" fmla="*/ 569127 h 971615"/>
                  <a:gd name="connsiteX1133" fmla="*/ 774295 w 862286"/>
                  <a:gd name="connsiteY1133" fmla="*/ 567099 h 971615"/>
                  <a:gd name="connsiteX1134" fmla="*/ 774912 w 862286"/>
                  <a:gd name="connsiteY1134" fmla="*/ 563308 h 971615"/>
                  <a:gd name="connsiteX1135" fmla="*/ 775793 w 862286"/>
                  <a:gd name="connsiteY1135" fmla="*/ 558371 h 971615"/>
                  <a:gd name="connsiteX1136" fmla="*/ 774912 w 862286"/>
                  <a:gd name="connsiteY1136" fmla="*/ 554050 h 971615"/>
                  <a:gd name="connsiteX1137" fmla="*/ 775176 w 862286"/>
                  <a:gd name="connsiteY1137" fmla="*/ 548496 h 971615"/>
                  <a:gd name="connsiteX1138" fmla="*/ 776322 w 862286"/>
                  <a:gd name="connsiteY1138" fmla="*/ 544440 h 971615"/>
                  <a:gd name="connsiteX1139" fmla="*/ 777821 w 862286"/>
                  <a:gd name="connsiteY1139" fmla="*/ 540913 h 971615"/>
                  <a:gd name="connsiteX1140" fmla="*/ 777557 w 862286"/>
                  <a:gd name="connsiteY1140" fmla="*/ 538621 h 971615"/>
                  <a:gd name="connsiteX1141" fmla="*/ 778438 w 862286"/>
                  <a:gd name="connsiteY1141" fmla="*/ 535447 h 971615"/>
                  <a:gd name="connsiteX1142" fmla="*/ 778438 w 862286"/>
                  <a:gd name="connsiteY1142" fmla="*/ 533419 h 971615"/>
                  <a:gd name="connsiteX1143" fmla="*/ 779585 w 862286"/>
                  <a:gd name="connsiteY1143" fmla="*/ 529628 h 971615"/>
                  <a:gd name="connsiteX1144" fmla="*/ 778086 w 862286"/>
                  <a:gd name="connsiteY1144" fmla="*/ 521781 h 971615"/>
                  <a:gd name="connsiteX1145" fmla="*/ 778703 w 862286"/>
                  <a:gd name="connsiteY1145" fmla="*/ 517989 h 971615"/>
                  <a:gd name="connsiteX1146" fmla="*/ 776940 w 862286"/>
                  <a:gd name="connsiteY1146" fmla="*/ 513934 h 971615"/>
                  <a:gd name="connsiteX1147" fmla="*/ 777204 w 862286"/>
                  <a:gd name="connsiteY1147" fmla="*/ 512787 h 971615"/>
                  <a:gd name="connsiteX1148" fmla="*/ 775176 w 862286"/>
                  <a:gd name="connsiteY1148" fmla="*/ 500268 h 971615"/>
                  <a:gd name="connsiteX1149" fmla="*/ 774030 w 862286"/>
                  <a:gd name="connsiteY1149" fmla="*/ 496212 h 971615"/>
                  <a:gd name="connsiteX1150" fmla="*/ 775176 w 862286"/>
                  <a:gd name="connsiteY1150" fmla="*/ 491803 h 971615"/>
                  <a:gd name="connsiteX1151" fmla="*/ 774912 w 862286"/>
                  <a:gd name="connsiteY1151" fmla="*/ 485984 h 971615"/>
                  <a:gd name="connsiteX1152" fmla="*/ 776675 w 862286"/>
                  <a:gd name="connsiteY1152" fmla="*/ 483604 h 971615"/>
                  <a:gd name="connsiteX1153" fmla="*/ 776058 w 862286"/>
                  <a:gd name="connsiteY1153" fmla="*/ 481223 h 971615"/>
                  <a:gd name="connsiteX1154" fmla="*/ 776675 w 862286"/>
                  <a:gd name="connsiteY1154" fmla="*/ 477432 h 971615"/>
                  <a:gd name="connsiteX1155" fmla="*/ 775529 w 862286"/>
                  <a:gd name="connsiteY1155" fmla="*/ 476903 h 971615"/>
                  <a:gd name="connsiteX1156" fmla="*/ 774030 w 862286"/>
                  <a:gd name="connsiteY1156" fmla="*/ 482457 h 971615"/>
                  <a:gd name="connsiteX1157" fmla="*/ 773413 w 862286"/>
                  <a:gd name="connsiteY1157" fmla="*/ 483339 h 971615"/>
                  <a:gd name="connsiteX1158" fmla="*/ 774030 w 862286"/>
                  <a:gd name="connsiteY1158" fmla="*/ 481311 h 971615"/>
                  <a:gd name="connsiteX1159" fmla="*/ 774030 w 862286"/>
                  <a:gd name="connsiteY1159" fmla="*/ 480165 h 971615"/>
                  <a:gd name="connsiteX1160" fmla="*/ 774295 w 862286"/>
                  <a:gd name="connsiteY1160" fmla="*/ 478666 h 971615"/>
                  <a:gd name="connsiteX1161" fmla="*/ 773149 w 862286"/>
                  <a:gd name="connsiteY1161" fmla="*/ 476638 h 971615"/>
                  <a:gd name="connsiteX1162" fmla="*/ 774647 w 862286"/>
                  <a:gd name="connsiteY1162" fmla="*/ 476109 h 971615"/>
                  <a:gd name="connsiteX1163" fmla="*/ 772355 w 862286"/>
                  <a:gd name="connsiteY1163" fmla="*/ 473200 h 971615"/>
                  <a:gd name="connsiteX1164" fmla="*/ 772620 w 862286"/>
                  <a:gd name="connsiteY1164" fmla="*/ 472935 h 971615"/>
                  <a:gd name="connsiteX1165" fmla="*/ 774647 w 862286"/>
                  <a:gd name="connsiteY1165" fmla="*/ 474963 h 971615"/>
                  <a:gd name="connsiteX1166" fmla="*/ 775000 w 862286"/>
                  <a:gd name="connsiteY1166" fmla="*/ 473288 h 971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</a:cxnLst>
                <a:rect l="l" t="t" r="r" b="b"/>
                <a:pathLst>
                  <a:path w="862286" h="971615">
                    <a:moveTo>
                      <a:pt x="557136" y="148388"/>
                    </a:moveTo>
                    <a:lnTo>
                      <a:pt x="556519" y="153060"/>
                    </a:lnTo>
                    <a:lnTo>
                      <a:pt x="555373" y="156852"/>
                    </a:lnTo>
                    <a:lnTo>
                      <a:pt x="550435" y="162054"/>
                    </a:lnTo>
                    <a:lnTo>
                      <a:pt x="549289" y="168490"/>
                    </a:lnTo>
                    <a:lnTo>
                      <a:pt x="537563" y="170518"/>
                    </a:lnTo>
                    <a:lnTo>
                      <a:pt x="531743" y="174045"/>
                    </a:lnTo>
                    <a:lnTo>
                      <a:pt x="520899" y="172898"/>
                    </a:lnTo>
                    <a:lnTo>
                      <a:pt x="515961" y="170253"/>
                    </a:lnTo>
                    <a:lnTo>
                      <a:pt x="515080" y="166197"/>
                    </a:lnTo>
                    <a:lnTo>
                      <a:pt x="514198" y="160378"/>
                    </a:lnTo>
                    <a:lnTo>
                      <a:pt x="513581" y="155176"/>
                    </a:lnTo>
                    <a:lnTo>
                      <a:pt x="515961" y="151121"/>
                    </a:lnTo>
                    <a:lnTo>
                      <a:pt x="513581" y="146712"/>
                    </a:lnTo>
                    <a:lnTo>
                      <a:pt x="518518" y="140011"/>
                    </a:lnTo>
                    <a:lnTo>
                      <a:pt x="527247" y="134192"/>
                    </a:lnTo>
                    <a:lnTo>
                      <a:pt x="531038" y="135074"/>
                    </a:lnTo>
                    <a:lnTo>
                      <a:pt x="536857" y="140011"/>
                    </a:lnTo>
                    <a:lnTo>
                      <a:pt x="542676" y="138865"/>
                    </a:lnTo>
                    <a:lnTo>
                      <a:pt x="550523" y="137102"/>
                    </a:lnTo>
                    <a:lnTo>
                      <a:pt x="554050" y="135956"/>
                    </a:lnTo>
                    <a:lnTo>
                      <a:pt x="558106" y="137102"/>
                    </a:lnTo>
                    <a:lnTo>
                      <a:pt x="558370" y="138865"/>
                    </a:lnTo>
                    <a:lnTo>
                      <a:pt x="558635" y="140893"/>
                    </a:lnTo>
                    <a:lnTo>
                      <a:pt x="558370" y="143186"/>
                    </a:lnTo>
                    <a:lnTo>
                      <a:pt x="557136" y="148388"/>
                    </a:lnTo>
                    <a:close/>
                    <a:moveTo>
                      <a:pt x="513669" y="140805"/>
                    </a:moveTo>
                    <a:lnTo>
                      <a:pt x="511641" y="141951"/>
                    </a:lnTo>
                    <a:lnTo>
                      <a:pt x="507233" y="149005"/>
                    </a:lnTo>
                    <a:lnTo>
                      <a:pt x="503706" y="147241"/>
                    </a:lnTo>
                    <a:lnTo>
                      <a:pt x="504323" y="144949"/>
                    </a:lnTo>
                    <a:lnTo>
                      <a:pt x="506086" y="135868"/>
                    </a:lnTo>
                    <a:lnTo>
                      <a:pt x="516314" y="126874"/>
                    </a:lnTo>
                    <a:lnTo>
                      <a:pt x="526189" y="125375"/>
                    </a:lnTo>
                    <a:lnTo>
                      <a:pt x="525924" y="128902"/>
                    </a:lnTo>
                    <a:lnTo>
                      <a:pt x="521251" y="132076"/>
                    </a:lnTo>
                    <a:lnTo>
                      <a:pt x="517725" y="134721"/>
                    </a:lnTo>
                    <a:lnTo>
                      <a:pt x="513669" y="140805"/>
                    </a:lnTo>
                    <a:close/>
                    <a:moveTo>
                      <a:pt x="775000" y="473288"/>
                    </a:moveTo>
                    <a:lnTo>
                      <a:pt x="772620" y="470907"/>
                    </a:lnTo>
                    <a:lnTo>
                      <a:pt x="772620" y="470290"/>
                    </a:lnTo>
                    <a:lnTo>
                      <a:pt x="772884" y="469409"/>
                    </a:lnTo>
                    <a:lnTo>
                      <a:pt x="775176" y="465000"/>
                    </a:lnTo>
                    <a:lnTo>
                      <a:pt x="775176" y="460680"/>
                    </a:lnTo>
                    <a:lnTo>
                      <a:pt x="775793" y="458388"/>
                    </a:lnTo>
                    <a:lnTo>
                      <a:pt x="777821" y="457506"/>
                    </a:lnTo>
                    <a:lnTo>
                      <a:pt x="778438" y="455742"/>
                    </a:lnTo>
                    <a:lnTo>
                      <a:pt x="777292" y="451951"/>
                    </a:lnTo>
                    <a:lnTo>
                      <a:pt x="775529" y="449571"/>
                    </a:lnTo>
                    <a:lnTo>
                      <a:pt x="776411" y="447278"/>
                    </a:lnTo>
                    <a:lnTo>
                      <a:pt x="776675" y="447278"/>
                    </a:lnTo>
                    <a:lnTo>
                      <a:pt x="775793" y="448777"/>
                    </a:lnTo>
                    <a:lnTo>
                      <a:pt x="779320" y="448777"/>
                    </a:lnTo>
                    <a:lnTo>
                      <a:pt x="781613" y="448160"/>
                    </a:lnTo>
                    <a:lnTo>
                      <a:pt x="782494" y="448777"/>
                    </a:lnTo>
                    <a:lnTo>
                      <a:pt x="784258" y="448160"/>
                    </a:lnTo>
                    <a:lnTo>
                      <a:pt x="784258" y="453715"/>
                    </a:lnTo>
                    <a:lnTo>
                      <a:pt x="786638" y="453979"/>
                    </a:lnTo>
                    <a:lnTo>
                      <a:pt x="788402" y="453715"/>
                    </a:lnTo>
                    <a:lnTo>
                      <a:pt x="791311" y="451422"/>
                    </a:lnTo>
                    <a:lnTo>
                      <a:pt x="789548" y="449923"/>
                    </a:lnTo>
                    <a:lnTo>
                      <a:pt x="791047" y="446132"/>
                    </a:lnTo>
                    <a:lnTo>
                      <a:pt x="793339" y="445515"/>
                    </a:lnTo>
                    <a:lnTo>
                      <a:pt x="796601" y="441106"/>
                    </a:lnTo>
                    <a:lnTo>
                      <a:pt x="806212" y="420652"/>
                    </a:lnTo>
                    <a:lnTo>
                      <a:pt x="805683" y="418006"/>
                    </a:lnTo>
                    <a:lnTo>
                      <a:pt x="805947" y="415097"/>
                    </a:lnTo>
                    <a:lnTo>
                      <a:pt x="806829" y="414480"/>
                    </a:lnTo>
                    <a:lnTo>
                      <a:pt x="807446" y="413598"/>
                    </a:lnTo>
                    <a:lnTo>
                      <a:pt x="808328" y="411570"/>
                    </a:lnTo>
                    <a:lnTo>
                      <a:pt x="808328" y="410424"/>
                    </a:lnTo>
                    <a:lnTo>
                      <a:pt x="809474" y="410159"/>
                    </a:lnTo>
                    <a:lnTo>
                      <a:pt x="807710" y="413422"/>
                    </a:lnTo>
                    <a:lnTo>
                      <a:pt x="807975" y="416067"/>
                    </a:lnTo>
                    <a:lnTo>
                      <a:pt x="811502" y="411658"/>
                    </a:lnTo>
                    <a:lnTo>
                      <a:pt x="812383" y="408484"/>
                    </a:lnTo>
                    <a:lnTo>
                      <a:pt x="810620" y="406721"/>
                    </a:lnTo>
                    <a:lnTo>
                      <a:pt x="813265" y="408749"/>
                    </a:lnTo>
                    <a:lnTo>
                      <a:pt x="818555" y="398521"/>
                    </a:lnTo>
                    <a:lnTo>
                      <a:pt x="829047" y="392702"/>
                    </a:lnTo>
                    <a:lnTo>
                      <a:pt x="831075" y="387147"/>
                    </a:lnTo>
                    <a:lnTo>
                      <a:pt x="840950" y="374010"/>
                    </a:lnTo>
                    <a:lnTo>
                      <a:pt x="839451" y="372511"/>
                    </a:lnTo>
                    <a:lnTo>
                      <a:pt x="840597" y="372247"/>
                    </a:lnTo>
                    <a:lnTo>
                      <a:pt x="841479" y="371365"/>
                    </a:lnTo>
                    <a:lnTo>
                      <a:pt x="841479" y="372864"/>
                    </a:lnTo>
                    <a:lnTo>
                      <a:pt x="843859" y="370484"/>
                    </a:lnTo>
                    <a:lnTo>
                      <a:pt x="855233" y="353291"/>
                    </a:lnTo>
                    <a:lnTo>
                      <a:pt x="858407" y="345091"/>
                    </a:lnTo>
                    <a:lnTo>
                      <a:pt x="860171" y="332042"/>
                    </a:lnTo>
                    <a:lnTo>
                      <a:pt x="860788" y="332659"/>
                    </a:lnTo>
                    <a:lnTo>
                      <a:pt x="861405" y="326223"/>
                    </a:lnTo>
                    <a:lnTo>
                      <a:pt x="860523" y="325077"/>
                    </a:lnTo>
                    <a:lnTo>
                      <a:pt x="859906" y="324195"/>
                    </a:lnTo>
                    <a:lnTo>
                      <a:pt x="860523" y="321286"/>
                    </a:lnTo>
                    <a:lnTo>
                      <a:pt x="861140" y="321021"/>
                    </a:lnTo>
                    <a:lnTo>
                      <a:pt x="860876" y="320404"/>
                    </a:lnTo>
                    <a:lnTo>
                      <a:pt x="860259" y="319522"/>
                    </a:lnTo>
                    <a:lnTo>
                      <a:pt x="861405" y="319258"/>
                    </a:lnTo>
                    <a:lnTo>
                      <a:pt x="862287" y="309912"/>
                    </a:lnTo>
                    <a:lnTo>
                      <a:pt x="860523" y="307531"/>
                    </a:lnTo>
                    <a:lnTo>
                      <a:pt x="859377" y="309030"/>
                    </a:lnTo>
                    <a:lnTo>
                      <a:pt x="859377" y="303211"/>
                    </a:lnTo>
                    <a:lnTo>
                      <a:pt x="858495" y="298009"/>
                    </a:lnTo>
                    <a:lnTo>
                      <a:pt x="854969" y="286018"/>
                    </a:lnTo>
                    <a:lnTo>
                      <a:pt x="854087" y="284872"/>
                    </a:lnTo>
                    <a:lnTo>
                      <a:pt x="854352" y="280464"/>
                    </a:lnTo>
                    <a:lnTo>
                      <a:pt x="850825" y="267944"/>
                    </a:lnTo>
                    <a:lnTo>
                      <a:pt x="845887" y="260361"/>
                    </a:lnTo>
                    <a:lnTo>
                      <a:pt x="832750" y="257452"/>
                    </a:lnTo>
                    <a:lnTo>
                      <a:pt x="821641" y="258334"/>
                    </a:lnTo>
                    <a:lnTo>
                      <a:pt x="822523" y="259480"/>
                    </a:lnTo>
                    <a:lnTo>
                      <a:pt x="814940" y="254807"/>
                    </a:lnTo>
                    <a:lnTo>
                      <a:pt x="806212" y="249252"/>
                    </a:lnTo>
                    <a:lnTo>
                      <a:pt x="798629" y="246871"/>
                    </a:lnTo>
                    <a:lnTo>
                      <a:pt x="795102" y="241317"/>
                    </a:lnTo>
                    <a:lnTo>
                      <a:pt x="786021" y="235498"/>
                    </a:lnTo>
                    <a:lnTo>
                      <a:pt x="782847" y="229679"/>
                    </a:lnTo>
                    <a:lnTo>
                      <a:pt x="779056" y="223860"/>
                    </a:lnTo>
                    <a:lnTo>
                      <a:pt x="772355" y="219451"/>
                    </a:lnTo>
                    <a:lnTo>
                      <a:pt x="768828" y="216542"/>
                    </a:lnTo>
                    <a:lnTo>
                      <a:pt x="764155" y="214514"/>
                    </a:lnTo>
                    <a:lnTo>
                      <a:pt x="756837" y="210105"/>
                    </a:lnTo>
                    <a:lnTo>
                      <a:pt x="752429" y="207460"/>
                    </a:lnTo>
                    <a:lnTo>
                      <a:pt x="752164" y="206843"/>
                    </a:lnTo>
                    <a:lnTo>
                      <a:pt x="745728" y="202170"/>
                    </a:lnTo>
                    <a:lnTo>
                      <a:pt x="741672" y="201289"/>
                    </a:lnTo>
                    <a:lnTo>
                      <a:pt x="736382" y="201289"/>
                    </a:lnTo>
                    <a:lnTo>
                      <a:pt x="732327" y="201553"/>
                    </a:lnTo>
                    <a:lnTo>
                      <a:pt x="727125" y="203052"/>
                    </a:lnTo>
                    <a:lnTo>
                      <a:pt x="726243" y="203052"/>
                    </a:lnTo>
                    <a:lnTo>
                      <a:pt x="721570" y="203934"/>
                    </a:lnTo>
                    <a:lnTo>
                      <a:pt x="717514" y="203934"/>
                    </a:lnTo>
                    <a:lnTo>
                      <a:pt x="717779" y="204815"/>
                    </a:lnTo>
                    <a:lnTo>
                      <a:pt x="716280" y="204198"/>
                    </a:lnTo>
                    <a:lnTo>
                      <a:pt x="713635" y="204815"/>
                    </a:lnTo>
                    <a:lnTo>
                      <a:pt x="710461" y="203316"/>
                    </a:lnTo>
                    <a:lnTo>
                      <a:pt x="708962" y="203052"/>
                    </a:lnTo>
                    <a:lnTo>
                      <a:pt x="708697" y="202170"/>
                    </a:lnTo>
                    <a:lnTo>
                      <a:pt x="705171" y="199525"/>
                    </a:lnTo>
                    <a:lnTo>
                      <a:pt x="702878" y="200407"/>
                    </a:lnTo>
                    <a:lnTo>
                      <a:pt x="701732" y="201289"/>
                    </a:lnTo>
                    <a:lnTo>
                      <a:pt x="699440" y="201024"/>
                    </a:lnTo>
                    <a:lnTo>
                      <a:pt x="696795" y="201641"/>
                    </a:lnTo>
                    <a:lnTo>
                      <a:pt x="695648" y="201377"/>
                    </a:lnTo>
                    <a:lnTo>
                      <a:pt x="691593" y="199349"/>
                    </a:lnTo>
                    <a:lnTo>
                      <a:pt x="691064" y="197850"/>
                    </a:lnTo>
                    <a:lnTo>
                      <a:pt x="686126" y="195205"/>
                    </a:lnTo>
                    <a:lnTo>
                      <a:pt x="681189" y="192560"/>
                    </a:lnTo>
                    <a:lnTo>
                      <a:pt x="670080" y="191149"/>
                    </a:lnTo>
                    <a:lnTo>
                      <a:pt x="670697" y="192295"/>
                    </a:lnTo>
                    <a:lnTo>
                      <a:pt x="670697" y="193441"/>
                    </a:lnTo>
                    <a:lnTo>
                      <a:pt x="670080" y="194940"/>
                    </a:lnTo>
                    <a:lnTo>
                      <a:pt x="668581" y="194323"/>
                    </a:lnTo>
                    <a:lnTo>
                      <a:pt x="667434" y="193441"/>
                    </a:lnTo>
                    <a:lnTo>
                      <a:pt x="666818" y="193441"/>
                    </a:lnTo>
                    <a:lnTo>
                      <a:pt x="665054" y="193706"/>
                    </a:lnTo>
                    <a:lnTo>
                      <a:pt x="664437" y="193706"/>
                    </a:lnTo>
                    <a:lnTo>
                      <a:pt x="663820" y="195205"/>
                    </a:lnTo>
                    <a:lnTo>
                      <a:pt x="662938" y="194940"/>
                    </a:lnTo>
                    <a:lnTo>
                      <a:pt x="660028" y="195205"/>
                    </a:lnTo>
                    <a:lnTo>
                      <a:pt x="658530" y="195205"/>
                    </a:lnTo>
                    <a:lnTo>
                      <a:pt x="657383" y="196704"/>
                    </a:lnTo>
                    <a:lnTo>
                      <a:pt x="655884" y="201112"/>
                    </a:lnTo>
                    <a:lnTo>
                      <a:pt x="654738" y="201729"/>
                    </a:lnTo>
                    <a:lnTo>
                      <a:pt x="653857" y="201465"/>
                    </a:lnTo>
                    <a:lnTo>
                      <a:pt x="653592" y="200319"/>
                    </a:lnTo>
                    <a:lnTo>
                      <a:pt x="652446" y="201200"/>
                    </a:lnTo>
                    <a:lnTo>
                      <a:pt x="651829" y="201465"/>
                    </a:lnTo>
                    <a:lnTo>
                      <a:pt x="650418" y="200583"/>
                    </a:lnTo>
                    <a:lnTo>
                      <a:pt x="651035" y="199701"/>
                    </a:lnTo>
                    <a:lnTo>
                      <a:pt x="652799" y="197938"/>
                    </a:lnTo>
                    <a:lnTo>
                      <a:pt x="654826" y="197938"/>
                    </a:lnTo>
                    <a:lnTo>
                      <a:pt x="656590" y="193882"/>
                    </a:lnTo>
                    <a:lnTo>
                      <a:pt x="656590" y="192383"/>
                    </a:lnTo>
                    <a:lnTo>
                      <a:pt x="655179" y="192119"/>
                    </a:lnTo>
                    <a:lnTo>
                      <a:pt x="651388" y="195910"/>
                    </a:lnTo>
                    <a:lnTo>
                      <a:pt x="650242" y="195293"/>
                    </a:lnTo>
                    <a:lnTo>
                      <a:pt x="649096" y="196792"/>
                    </a:lnTo>
                    <a:lnTo>
                      <a:pt x="648478" y="200583"/>
                    </a:lnTo>
                    <a:lnTo>
                      <a:pt x="648478" y="201200"/>
                    </a:lnTo>
                    <a:lnTo>
                      <a:pt x="643541" y="210811"/>
                    </a:lnTo>
                    <a:lnTo>
                      <a:pt x="642042" y="211957"/>
                    </a:lnTo>
                    <a:lnTo>
                      <a:pt x="640279" y="211075"/>
                    </a:lnTo>
                    <a:lnTo>
                      <a:pt x="643805" y="207284"/>
                    </a:lnTo>
                    <a:lnTo>
                      <a:pt x="642395" y="205785"/>
                    </a:lnTo>
                    <a:lnTo>
                      <a:pt x="643805" y="198467"/>
                    </a:lnTo>
                    <a:lnTo>
                      <a:pt x="643541" y="196704"/>
                    </a:lnTo>
                    <a:lnTo>
                      <a:pt x="646451" y="192912"/>
                    </a:lnTo>
                    <a:lnTo>
                      <a:pt x="645833" y="191766"/>
                    </a:lnTo>
                    <a:lnTo>
                      <a:pt x="646451" y="190268"/>
                    </a:lnTo>
                    <a:lnTo>
                      <a:pt x="647597" y="189386"/>
                    </a:lnTo>
                    <a:lnTo>
                      <a:pt x="646451" y="186476"/>
                    </a:lnTo>
                    <a:lnTo>
                      <a:pt x="643276" y="189121"/>
                    </a:lnTo>
                    <a:lnTo>
                      <a:pt x="642659" y="189121"/>
                    </a:lnTo>
                    <a:lnTo>
                      <a:pt x="642659" y="188240"/>
                    </a:lnTo>
                    <a:lnTo>
                      <a:pt x="642042" y="187622"/>
                    </a:lnTo>
                    <a:lnTo>
                      <a:pt x="641160" y="187358"/>
                    </a:lnTo>
                    <a:lnTo>
                      <a:pt x="642042" y="187093"/>
                    </a:lnTo>
                    <a:lnTo>
                      <a:pt x="644952" y="185330"/>
                    </a:lnTo>
                    <a:lnTo>
                      <a:pt x="644952" y="184713"/>
                    </a:lnTo>
                    <a:lnTo>
                      <a:pt x="646451" y="181803"/>
                    </a:lnTo>
                    <a:lnTo>
                      <a:pt x="646715" y="181186"/>
                    </a:lnTo>
                    <a:lnTo>
                      <a:pt x="644423" y="178894"/>
                    </a:lnTo>
                    <a:lnTo>
                      <a:pt x="645569" y="176866"/>
                    </a:lnTo>
                    <a:lnTo>
                      <a:pt x="644952" y="176249"/>
                    </a:lnTo>
                    <a:lnTo>
                      <a:pt x="643805" y="175984"/>
                    </a:lnTo>
                    <a:lnTo>
                      <a:pt x="643541" y="175367"/>
                    </a:lnTo>
                    <a:lnTo>
                      <a:pt x="642659" y="175984"/>
                    </a:lnTo>
                    <a:lnTo>
                      <a:pt x="641513" y="175367"/>
                    </a:lnTo>
                    <a:lnTo>
                      <a:pt x="640367" y="173868"/>
                    </a:lnTo>
                    <a:lnTo>
                      <a:pt x="640367" y="174133"/>
                    </a:lnTo>
                    <a:lnTo>
                      <a:pt x="638868" y="171840"/>
                    </a:lnTo>
                    <a:lnTo>
                      <a:pt x="637722" y="171576"/>
                    </a:lnTo>
                    <a:lnTo>
                      <a:pt x="637722" y="169812"/>
                    </a:lnTo>
                    <a:lnTo>
                      <a:pt x="636576" y="168666"/>
                    </a:lnTo>
                    <a:lnTo>
                      <a:pt x="635430" y="170430"/>
                    </a:lnTo>
                    <a:lnTo>
                      <a:pt x="635165" y="170430"/>
                    </a:lnTo>
                    <a:lnTo>
                      <a:pt x="635165" y="169019"/>
                    </a:lnTo>
                    <a:lnTo>
                      <a:pt x="635430" y="168402"/>
                    </a:lnTo>
                    <a:lnTo>
                      <a:pt x="633931" y="167255"/>
                    </a:lnTo>
                    <a:lnTo>
                      <a:pt x="632167" y="168402"/>
                    </a:lnTo>
                    <a:lnTo>
                      <a:pt x="631638" y="168402"/>
                    </a:lnTo>
                    <a:lnTo>
                      <a:pt x="629875" y="170430"/>
                    </a:lnTo>
                    <a:lnTo>
                      <a:pt x="628993" y="170782"/>
                    </a:lnTo>
                    <a:lnTo>
                      <a:pt x="628111" y="170165"/>
                    </a:lnTo>
                    <a:lnTo>
                      <a:pt x="627847" y="169901"/>
                    </a:lnTo>
                    <a:lnTo>
                      <a:pt x="627847" y="168402"/>
                    </a:lnTo>
                    <a:lnTo>
                      <a:pt x="628729" y="166638"/>
                    </a:lnTo>
                    <a:lnTo>
                      <a:pt x="626965" y="166021"/>
                    </a:lnTo>
                    <a:lnTo>
                      <a:pt x="626965" y="167167"/>
                    </a:lnTo>
                    <a:lnTo>
                      <a:pt x="625819" y="167167"/>
                    </a:lnTo>
                    <a:lnTo>
                      <a:pt x="625202" y="168666"/>
                    </a:lnTo>
                    <a:lnTo>
                      <a:pt x="624056" y="168931"/>
                    </a:lnTo>
                    <a:lnTo>
                      <a:pt x="623791" y="168666"/>
                    </a:lnTo>
                    <a:lnTo>
                      <a:pt x="624673" y="166021"/>
                    </a:lnTo>
                    <a:lnTo>
                      <a:pt x="623791" y="166638"/>
                    </a:lnTo>
                    <a:lnTo>
                      <a:pt x="624056" y="164610"/>
                    </a:lnTo>
                    <a:lnTo>
                      <a:pt x="622910" y="163464"/>
                    </a:lnTo>
                    <a:lnTo>
                      <a:pt x="622028" y="163729"/>
                    </a:lnTo>
                    <a:lnTo>
                      <a:pt x="621763" y="162847"/>
                    </a:lnTo>
                    <a:lnTo>
                      <a:pt x="620000" y="165139"/>
                    </a:lnTo>
                    <a:lnTo>
                      <a:pt x="619118" y="162230"/>
                    </a:lnTo>
                    <a:lnTo>
                      <a:pt x="618501" y="161348"/>
                    </a:lnTo>
                    <a:lnTo>
                      <a:pt x="617355" y="162847"/>
                    </a:lnTo>
                    <a:lnTo>
                      <a:pt x="617090" y="161084"/>
                    </a:lnTo>
                    <a:lnTo>
                      <a:pt x="615944" y="162847"/>
                    </a:lnTo>
                    <a:lnTo>
                      <a:pt x="615680" y="162583"/>
                    </a:lnTo>
                    <a:lnTo>
                      <a:pt x="615944" y="160202"/>
                    </a:lnTo>
                    <a:lnTo>
                      <a:pt x="615327" y="160555"/>
                    </a:lnTo>
                    <a:lnTo>
                      <a:pt x="615062" y="159938"/>
                    </a:lnTo>
                    <a:lnTo>
                      <a:pt x="614533" y="160202"/>
                    </a:lnTo>
                    <a:lnTo>
                      <a:pt x="614533" y="159938"/>
                    </a:lnTo>
                    <a:lnTo>
                      <a:pt x="613916" y="159409"/>
                    </a:lnTo>
                    <a:lnTo>
                      <a:pt x="613035" y="158527"/>
                    </a:lnTo>
                    <a:lnTo>
                      <a:pt x="612418" y="160290"/>
                    </a:lnTo>
                    <a:lnTo>
                      <a:pt x="611889" y="159409"/>
                    </a:lnTo>
                    <a:lnTo>
                      <a:pt x="610390" y="160555"/>
                    </a:lnTo>
                    <a:lnTo>
                      <a:pt x="609773" y="159938"/>
                    </a:lnTo>
                    <a:lnTo>
                      <a:pt x="608891" y="158439"/>
                    </a:lnTo>
                    <a:lnTo>
                      <a:pt x="609155" y="155529"/>
                    </a:lnTo>
                    <a:lnTo>
                      <a:pt x="607656" y="155000"/>
                    </a:lnTo>
                    <a:lnTo>
                      <a:pt x="607392" y="155882"/>
                    </a:lnTo>
                    <a:lnTo>
                      <a:pt x="607039" y="157910"/>
                    </a:lnTo>
                    <a:lnTo>
                      <a:pt x="606158" y="158791"/>
                    </a:lnTo>
                    <a:lnTo>
                      <a:pt x="605540" y="158527"/>
                    </a:lnTo>
                    <a:lnTo>
                      <a:pt x="604394" y="157028"/>
                    </a:lnTo>
                    <a:lnTo>
                      <a:pt x="602895" y="156852"/>
                    </a:lnTo>
                    <a:lnTo>
                      <a:pt x="600603" y="156499"/>
                    </a:lnTo>
                    <a:lnTo>
                      <a:pt x="600603" y="155882"/>
                    </a:lnTo>
                    <a:lnTo>
                      <a:pt x="599721" y="155882"/>
                    </a:lnTo>
                    <a:lnTo>
                      <a:pt x="596812" y="156763"/>
                    </a:lnTo>
                    <a:lnTo>
                      <a:pt x="599721" y="154736"/>
                    </a:lnTo>
                    <a:lnTo>
                      <a:pt x="599457" y="151561"/>
                    </a:lnTo>
                    <a:lnTo>
                      <a:pt x="597693" y="151826"/>
                    </a:lnTo>
                    <a:lnTo>
                      <a:pt x="597429" y="153325"/>
                    </a:lnTo>
                    <a:lnTo>
                      <a:pt x="595930" y="153589"/>
                    </a:lnTo>
                    <a:lnTo>
                      <a:pt x="594784" y="151297"/>
                    </a:lnTo>
                    <a:lnTo>
                      <a:pt x="594784" y="149005"/>
                    </a:lnTo>
                    <a:lnTo>
                      <a:pt x="593285" y="151297"/>
                    </a:lnTo>
                    <a:lnTo>
                      <a:pt x="591874" y="153589"/>
                    </a:lnTo>
                    <a:lnTo>
                      <a:pt x="591874" y="150944"/>
                    </a:lnTo>
                    <a:lnTo>
                      <a:pt x="589846" y="152972"/>
                    </a:lnTo>
                    <a:lnTo>
                      <a:pt x="589846" y="151209"/>
                    </a:lnTo>
                    <a:lnTo>
                      <a:pt x="588347" y="151209"/>
                    </a:lnTo>
                    <a:lnTo>
                      <a:pt x="586584" y="150327"/>
                    </a:lnTo>
                    <a:lnTo>
                      <a:pt x="587201" y="148035"/>
                    </a:lnTo>
                    <a:lnTo>
                      <a:pt x="585791" y="148652"/>
                    </a:lnTo>
                    <a:lnTo>
                      <a:pt x="586672" y="147153"/>
                    </a:lnTo>
                    <a:lnTo>
                      <a:pt x="585791" y="148035"/>
                    </a:lnTo>
                    <a:lnTo>
                      <a:pt x="584645" y="147770"/>
                    </a:lnTo>
                    <a:lnTo>
                      <a:pt x="583498" y="146624"/>
                    </a:lnTo>
                    <a:lnTo>
                      <a:pt x="582881" y="147770"/>
                    </a:lnTo>
                    <a:lnTo>
                      <a:pt x="581999" y="147770"/>
                    </a:lnTo>
                    <a:lnTo>
                      <a:pt x="581999" y="145742"/>
                    </a:lnTo>
                    <a:lnTo>
                      <a:pt x="581118" y="149534"/>
                    </a:lnTo>
                    <a:lnTo>
                      <a:pt x="581999" y="150151"/>
                    </a:lnTo>
                    <a:lnTo>
                      <a:pt x="581999" y="151650"/>
                    </a:lnTo>
                    <a:lnTo>
                      <a:pt x="580236" y="150503"/>
                    </a:lnTo>
                    <a:lnTo>
                      <a:pt x="579090" y="147330"/>
                    </a:lnTo>
                    <a:lnTo>
                      <a:pt x="575299" y="148211"/>
                    </a:lnTo>
                    <a:lnTo>
                      <a:pt x="573535" y="148211"/>
                    </a:lnTo>
                    <a:lnTo>
                      <a:pt x="572389" y="148828"/>
                    </a:lnTo>
                    <a:lnTo>
                      <a:pt x="570097" y="151209"/>
                    </a:lnTo>
                    <a:lnTo>
                      <a:pt x="565424" y="151473"/>
                    </a:lnTo>
                    <a:lnTo>
                      <a:pt x="565159" y="157292"/>
                    </a:lnTo>
                    <a:lnTo>
                      <a:pt x="563749" y="159056"/>
                    </a:lnTo>
                    <a:lnTo>
                      <a:pt x="563749" y="159673"/>
                    </a:lnTo>
                    <a:lnTo>
                      <a:pt x="562867" y="160819"/>
                    </a:lnTo>
                    <a:lnTo>
                      <a:pt x="560486" y="164258"/>
                    </a:lnTo>
                    <a:lnTo>
                      <a:pt x="561103" y="159849"/>
                    </a:lnTo>
                    <a:lnTo>
                      <a:pt x="559957" y="160467"/>
                    </a:lnTo>
                    <a:lnTo>
                      <a:pt x="559076" y="161348"/>
                    </a:lnTo>
                    <a:lnTo>
                      <a:pt x="558811" y="164258"/>
                    </a:lnTo>
                    <a:lnTo>
                      <a:pt x="559428" y="166550"/>
                    </a:lnTo>
                    <a:lnTo>
                      <a:pt x="562338" y="168313"/>
                    </a:lnTo>
                    <a:lnTo>
                      <a:pt x="558811" y="169195"/>
                    </a:lnTo>
                    <a:lnTo>
                      <a:pt x="558547" y="172105"/>
                    </a:lnTo>
                    <a:lnTo>
                      <a:pt x="556166" y="171488"/>
                    </a:lnTo>
                    <a:lnTo>
                      <a:pt x="555284" y="168842"/>
                    </a:lnTo>
                    <a:lnTo>
                      <a:pt x="553257" y="168842"/>
                    </a:lnTo>
                    <a:lnTo>
                      <a:pt x="551493" y="172017"/>
                    </a:lnTo>
                    <a:lnTo>
                      <a:pt x="550347" y="175191"/>
                    </a:lnTo>
                    <a:lnTo>
                      <a:pt x="547702" y="177483"/>
                    </a:lnTo>
                    <a:lnTo>
                      <a:pt x="545674" y="181010"/>
                    </a:lnTo>
                    <a:lnTo>
                      <a:pt x="541618" y="181274"/>
                    </a:lnTo>
                    <a:lnTo>
                      <a:pt x="538092" y="190620"/>
                    </a:lnTo>
                    <a:lnTo>
                      <a:pt x="536328" y="195910"/>
                    </a:lnTo>
                    <a:lnTo>
                      <a:pt x="535446" y="199701"/>
                    </a:lnTo>
                    <a:lnTo>
                      <a:pt x="535446" y="202347"/>
                    </a:lnTo>
                    <a:lnTo>
                      <a:pt x="537474" y="208166"/>
                    </a:lnTo>
                    <a:lnTo>
                      <a:pt x="533066" y="201200"/>
                    </a:lnTo>
                    <a:lnTo>
                      <a:pt x="532449" y="198026"/>
                    </a:lnTo>
                    <a:lnTo>
                      <a:pt x="533066" y="193353"/>
                    </a:lnTo>
                    <a:lnTo>
                      <a:pt x="536593" y="187799"/>
                    </a:lnTo>
                    <a:lnTo>
                      <a:pt x="539238" y="179070"/>
                    </a:lnTo>
                    <a:lnTo>
                      <a:pt x="538356" y="175808"/>
                    </a:lnTo>
                    <a:lnTo>
                      <a:pt x="536857" y="175543"/>
                    </a:lnTo>
                    <a:lnTo>
                      <a:pt x="535975" y="177924"/>
                    </a:lnTo>
                    <a:lnTo>
                      <a:pt x="533330" y="179687"/>
                    </a:lnTo>
                    <a:lnTo>
                      <a:pt x="533066" y="179687"/>
                    </a:lnTo>
                    <a:lnTo>
                      <a:pt x="529010" y="179952"/>
                    </a:lnTo>
                    <a:lnTo>
                      <a:pt x="529275" y="183743"/>
                    </a:lnTo>
                    <a:lnTo>
                      <a:pt x="527776" y="184625"/>
                    </a:lnTo>
                    <a:lnTo>
                      <a:pt x="526630" y="188416"/>
                    </a:lnTo>
                    <a:lnTo>
                      <a:pt x="526630" y="185506"/>
                    </a:lnTo>
                    <a:lnTo>
                      <a:pt x="526894" y="179687"/>
                    </a:lnTo>
                    <a:lnTo>
                      <a:pt x="526013" y="178541"/>
                    </a:lnTo>
                    <a:lnTo>
                      <a:pt x="522221" y="178012"/>
                    </a:lnTo>
                    <a:lnTo>
                      <a:pt x="519841" y="179158"/>
                    </a:lnTo>
                    <a:lnTo>
                      <a:pt x="518077" y="181803"/>
                    </a:lnTo>
                    <a:lnTo>
                      <a:pt x="516050" y="183567"/>
                    </a:lnTo>
                    <a:lnTo>
                      <a:pt x="514903" y="181186"/>
                    </a:lnTo>
                    <a:lnTo>
                      <a:pt x="514374" y="179775"/>
                    </a:lnTo>
                    <a:lnTo>
                      <a:pt x="510583" y="175984"/>
                    </a:lnTo>
                    <a:lnTo>
                      <a:pt x="507321" y="167520"/>
                    </a:lnTo>
                    <a:lnTo>
                      <a:pt x="506704" y="160819"/>
                    </a:lnTo>
                    <a:lnTo>
                      <a:pt x="505205" y="159673"/>
                    </a:lnTo>
                    <a:lnTo>
                      <a:pt x="506704" y="158791"/>
                    </a:lnTo>
                    <a:lnTo>
                      <a:pt x="507321" y="155000"/>
                    </a:lnTo>
                    <a:lnTo>
                      <a:pt x="504411" y="154383"/>
                    </a:lnTo>
                    <a:lnTo>
                      <a:pt x="503794" y="154383"/>
                    </a:lnTo>
                    <a:lnTo>
                      <a:pt x="502912" y="156675"/>
                    </a:lnTo>
                    <a:lnTo>
                      <a:pt x="495947" y="162847"/>
                    </a:lnTo>
                    <a:lnTo>
                      <a:pt x="494448" y="162583"/>
                    </a:lnTo>
                    <a:lnTo>
                      <a:pt x="488629" y="166638"/>
                    </a:lnTo>
                    <a:lnTo>
                      <a:pt x="477255" y="172457"/>
                    </a:lnTo>
                    <a:lnTo>
                      <a:pt x="475492" y="173604"/>
                    </a:lnTo>
                    <a:lnTo>
                      <a:pt x="475492" y="169195"/>
                    </a:lnTo>
                    <a:lnTo>
                      <a:pt x="465264" y="171488"/>
                    </a:lnTo>
                    <a:lnTo>
                      <a:pt x="470819" y="168842"/>
                    </a:lnTo>
                    <a:lnTo>
                      <a:pt x="482193" y="163553"/>
                    </a:lnTo>
                    <a:lnTo>
                      <a:pt x="491539" y="159761"/>
                    </a:lnTo>
                    <a:lnTo>
                      <a:pt x="495065" y="152443"/>
                    </a:lnTo>
                    <a:lnTo>
                      <a:pt x="497446" y="147506"/>
                    </a:lnTo>
                    <a:lnTo>
                      <a:pt x="497181" y="143715"/>
                    </a:lnTo>
                    <a:lnTo>
                      <a:pt x="499827" y="140188"/>
                    </a:lnTo>
                    <a:lnTo>
                      <a:pt x="501854" y="136132"/>
                    </a:lnTo>
                    <a:lnTo>
                      <a:pt x="503001" y="131459"/>
                    </a:lnTo>
                    <a:lnTo>
                      <a:pt x="509701" y="126522"/>
                    </a:lnTo>
                    <a:lnTo>
                      <a:pt x="515521" y="121584"/>
                    </a:lnTo>
                    <a:lnTo>
                      <a:pt x="522221" y="120085"/>
                    </a:lnTo>
                    <a:lnTo>
                      <a:pt x="516667" y="113385"/>
                    </a:lnTo>
                    <a:lnTo>
                      <a:pt x="516931" y="115412"/>
                    </a:lnTo>
                    <a:lnTo>
                      <a:pt x="520105" y="112150"/>
                    </a:lnTo>
                    <a:lnTo>
                      <a:pt x="517725" y="107742"/>
                    </a:lnTo>
                    <a:lnTo>
                      <a:pt x="522398" y="107742"/>
                    </a:lnTo>
                    <a:lnTo>
                      <a:pt x="524690" y="104832"/>
                    </a:lnTo>
                    <a:lnTo>
                      <a:pt x="527600" y="102187"/>
                    </a:lnTo>
                    <a:lnTo>
                      <a:pt x="527600" y="95487"/>
                    </a:lnTo>
                    <a:lnTo>
                      <a:pt x="523544" y="87639"/>
                    </a:lnTo>
                    <a:lnTo>
                      <a:pt x="512170" y="79440"/>
                    </a:lnTo>
                    <a:lnTo>
                      <a:pt x="509260" y="78558"/>
                    </a:lnTo>
                    <a:lnTo>
                      <a:pt x="508114" y="79440"/>
                    </a:lnTo>
                    <a:lnTo>
                      <a:pt x="507850" y="77676"/>
                    </a:lnTo>
                    <a:lnTo>
                      <a:pt x="510495" y="75649"/>
                    </a:lnTo>
                    <a:lnTo>
                      <a:pt x="509349" y="70711"/>
                    </a:lnTo>
                    <a:lnTo>
                      <a:pt x="507321" y="69212"/>
                    </a:lnTo>
                    <a:lnTo>
                      <a:pt x="505293" y="61630"/>
                    </a:lnTo>
                    <a:lnTo>
                      <a:pt x="502383" y="47876"/>
                    </a:lnTo>
                    <a:lnTo>
                      <a:pt x="500885" y="34738"/>
                    </a:lnTo>
                    <a:lnTo>
                      <a:pt x="500620" y="31564"/>
                    </a:lnTo>
                    <a:lnTo>
                      <a:pt x="497093" y="25393"/>
                    </a:lnTo>
                    <a:lnTo>
                      <a:pt x="491891" y="22483"/>
                    </a:lnTo>
                    <a:lnTo>
                      <a:pt x="494536" y="33240"/>
                    </a:lnTo>
                    <a:lnTo>
                      <a:pt x="490128" y="29713"/>
                    </a:lnTo>
                    <a:lnTo>
                      <a:pt x="489246" y="30859"/>
                    </a:lnTo>
                    <a:lnTo>
                      <a:pt x="486337" y="34650"/>
                    </a:lnTo>
                    <a:lnTo>
                      <a:pt x="483427" y="38177"/>
                    </a:lnTo>
                    <a:lnTo>
                      <a:pt x="481928" y="40822"/>
                    </a:lnTo>
                    <a:lnTo>
                      <a:pt x="475492" y="50432"/>
                    </a:lnTo>
                    <a:lnTo>
                      <a:pt x="474081" y="54224"/>
                    </a:lnTo>
                    <a:lnTo>
                      <a:pt x="472935" y="59161"/>
                    </a:lnTo>
                    <a:lnTo>
                      <a:pt x="469144" y="65333"/>
                    </a:lnTo>
                    <a:lnTo>
                      <a:pt x="466851" y="71769"/>
                    </a:lnTo>
                    <a:lnTo>
                      <a:pt x="461914" y="76442"/>
                    </a:lnTo>
                    <a:lnTo>
                      <a:pt x="458123" y="76707"/>
                    </a:lnTo>
                    <a:lnTo>
                      <a:pt x="453714" y="76442"/>
                    </a:lnTo>
                    <a:lnTo>
                      <a:pt x="452304" y="72651"/>
                    </a:lnTo>
                    <a:lnTo>
                      <a:pt x="447631" y="75296"/>
                    </a:lnTo>
                    <a:lnTo>
                      <a:pt x="443840" y="72651"/>
                    </a:lnTo>
                    <a:lnTo>
                      <a:pt x="439167" y="74679"/>
                    </a:lnTo>
                    <a:lnTo>
                      <a:pt x="435904" y="76707"/>
                    </a:lnTo>
                    <a:lnTo>
                      <a:pt x="433877" y="78470"/>
                    </a:lnTo>
                    <a:lnTo>
                      <a:pt x="431849" y="77588"/>
                    </a:lnTo>
                    <a:lnTo>
                      <a:pt x="427176" y="75825"/>
                    </a:lnTo>
                    <a:lnTo>
                      <a:pt x="426030" y="73180"/>
                    </a:lnTo>
                    <a:lnTo>
                      <a:pt x="423649" y="72915"/>
                    </a:lnTo>
                    <a:lnTo>
                      <a:pt x="423913" y="72915"/>
                    </a:lnTo>
                    <a:lnTo>
                      <a:pt x="423384" y="73180"/>
                    </a:lnTo>
                    <a:lnTo>
                      <a:pt x="422503" y="71152"/>
                    </a:lnTo>
                    <a:lnTo>
                      <a:pt x="421004" y="69388"/>
                    </a:lnTo>
                    <a:lnTo>
                      <a:pt x="418359" y="70535"/>
                    </a:lnTo>
                    <a:lnTo>
                      <a:pt x="417213" y="66126"/>
                    </a:lnTo>
                    <a:lnTo>
                      <a:pt x="412804" y="67890"/>
                    </a:lnTo>
                    <a:lnTo>
                      <a:pt x="410776" y="68154"/>
                    </a:lnTo>
                    <a:lnTo>
                      <a:pt x="407250" y="70447"/>
                    </a:lnTo>
                    <a:lnTo>
                      <a:pt x="394113" y="67802"/>
                    </a:lnTo>
                    <a:lnTo>
                      <a:pt x="391468" y="72474"/>
                    </a:lnTo>
                    <a:lnTo>
                      <a:pt x="392614" y="75649"/>
                    </a:lnTo>
                    <a:lnTo>
                      <a:pt x="395788" y="79704"/>
                    </a:lnTo>
                    <a:lnTo>
                      <a:pt x="392878" y="85259"/>
                    </a:lnTo>
                    <a:lnTo>
                      <a:pt x="384414" y="83231"/>
                    </a:lnTo>
                    <a:lnTo>
                      <a:pt x="382651" y="82349"/>
                    </a:lnTo>
                    <a:lnTo>
                      <a:pt x="381152" y="83231"/>
                    </a:lnTo>
                    <a:lnTo>
                      <a:pt x="375862" y="84377"/>
                    </a:lnTo>
                    <a:lnTo>
                      <a:pt x="370660" y="82878"/>
                    </a:lnTo>
                    <a:lnTo>
                      <a:pt x="366251" y="82261"/>
                    </a:lnTo>
                    <a:lnTo>
                      <a:pt x="361843" y="83143"/>
                    </a:lnTo>
                    <a:lnTo>
                      <a:pt x="358933" y="88433"/>
                    </a:lnTo>
                    <a:lnTo>
                      <a:pt x="351615" y="89315"/>
                    </a:lnTo>
                    <a:lnTo>
                      <a:pt x="349235" y="89315"/>
                    </a:lnTo>
                    <a:lnTo>
                      <a:pt x="345708" y="93106"/>
                    </a:lnTo>
                    <a:lnTo>
                      <a:pt x="342181" y="91078"/>
                    </a:lnTo>
                    <a:lnTo>
                      <a:pt x="340418" y="94252"/>
                    </a:lnTo>
                    <a:lnTo>
                      <a:pt x="338655" y="96897"/>
                    </a:lnTo>
                    <a:lnTo>
                      <a:pt x="333100" y="98660"/>
                    </a:lnTo>
                    <a:lnTo>
                      <a:pt x="330455" y="101570"/>
                    </a:lnTo>
                    <a:lnTo>
                      <a:pt x="329044" y="99278"/>
                    </a:lnTo>
                    <a:lnTo>
                      <a:pt x="321109" y="96368"/>
                    </a:lnTo>
                    <a:lnTo>
                      <a:pt x="319699" y="93106"/>
                    </a:lnTo>
                    <a:lnTo>
                      <a:pt x="315643" y="87904"/>
                    </a:lnTo>
                    <a:lnTo>
                      <a:pt x="313350" y="84994"/>
                    </a:lnTo>
                    <a:lnTo>
                      <a:pt x="310705" y="84994"/>
                    </a:lnTo>
                    <a:lnTo>
                      <a:pt x="306914" y="71857"/>
                    </a:lnTo>
                    <a:lnTo>
                      <a:pt x="305768" y="64539"/>
                    </a:lnTo>
                    <a:lnTo>
                      <a:pt x="309295" y="47346"/>
                    </a:lnTo>
                    <a:lnTo>
                      <a:pt x="313086" y="38618"/>
                    </a:lnTo>
                    <a:lnTo>
                      <a:pt x="315114" y="35973"/>
                    </a:lnTo>
                    <a:lnTo>
                      <a:pt x="316877" y="32799"/>
                    </a:lnTo>
                    <a:lnTo>
                      <a:pt x="313703" y="29272"/>
                    </a:lnTo>
                    <a:lnTo>
                      <a:pt x="312821" y="26980"/>
                    </a:lnTo>
                    <a:lnTo>
                      <a:pt x="311940" y="23453"/>
                    </a:lnTo>
                    <a:lnTo>
                      <a:pt x="310441" y="19662"/>
                    </a:lnTo>
                    <a:lnTo>
                      <a:pt x="307267" y="18515"/>
                    </a:lnTo>
                    <a:lnTo>
                      <a:pt x="303211" y="16752"/>
                    </a:lnTo>
                    <a:lnTo>
                      <a:pt x="305856" y="14107"/>
                    </a:lnTo>
                    <a:lnTo>
                      <a:pt x="304974" y="2116"/>
                    </a:lnTo>
                    <a:lnTo>
                      <a:pt x="303211" y="617"/>
                    </a:lnTo>
                    <a:lnTo>
                      <a:pt x="301183" y="0"/>
                    </a:lnTo>
                    <a:lnTo>
                      <a:pt x="298009" y="882"/>
                    </a:lnTo>
                    <a:lnTo>
                      <a:pt x="291573" y="882"/>
                    </a:lnTo>
                    <a:lnTo>
                      <a:pt x="290427" y="1499"/>
                    </a:lnTo>
                    <a:lnTo>
                      <a:pt x="292190" y="1763"/>
                    </a:lnTo>
                    <a:lnTo>
                      <a:pt x="293953" y="4673"/>
                    </a:lnTo>
                    <a:lnTo>
                      <a:pt x="293953" y="7318"/>
                    </a:lnTo>
                    <a:lnTo>
                      <a:pt x="291925" y="10580"/>
                    </a:lnTo>
                    <a:lnTo>
                      <a:pt x="288751" y="13225"/>
                    </a:lnTo>
                    <a:lnTo>
                      <a:pt x="287252" y="13225"/>
                    </a:lnTo>
                    <a:lnTo>
                      <a:pt x="284608" y="18515"/>
                    </a:lnTo>
                    <a:lnTo>
                      <a:pt x="281081" y="18780"/>
                    </a:lnTo>
                    <a:lnTo>
                      <a:pt x="277819" y="17898"/>
                    </a:lnTo>
                    <a:lnTo>
                      <a:pt x="278083" y="19926"/>
                    </a:lnTo>
                    <a:lnTo>
                      <a:pt x="276320" y="21072"/>
                    </a:lnTo>
                    <a:lnTo>
                      <a:pt x="274909" y="20191"/>
                    </a:lnTo>
                    <a:lnTo>
                      <a:pt x="273146" y="21337"/>
                    </a:lnTo>
                    <a:lnTo>
                      <a:pt x="272528" y="24511"/>
                    </a:lnTo>
                    <a:lnTo>
                      <a:pt x="271382" y="25393"/>
                    </a:lnTo>
                    <a:lnTo>
                      <a:pt x="271382" y="24775"/>
                    </a:lnTo>
                    <a:lnTo>
                      <a:pt x="269883" y="25040"/>
                    </a:lnTo>
                    <a:lnTo>
                      <a:pt x="268737" y="24423"/>
                    </a:lnTo>
                    <a:lnTo>
                      <a:pt x="263800" y="27332"/>
                    </a:lnTo>
                    <a:lnTo>
                      <a:pt x="260537" y="27332"/>
                    </a:lnTo>
                    <a:lnTo>
                      <a:pt x="259920" y="28478"/>
                    </a:lnTo>
                    <a:lnTo>
                      <a:pt x="252338" y="26451"/>
                    </a:lnTo>
                    <a:lnTo>
                      <a:pt x="252338" y="27332"/>
                    </a:lnTo>
                    <a:lnTo>
                      <a:pt x="250045" y="28214"/>
                    </a:lnTo>
                    <a:lnTo>
                      <a:pt x="249781" y="30506"/>
                    </a:lnTo>
                    <a:lnTo>
                      <a:pt x="247136" y="29977"/>
                    </a:lnTo>
                    <a:lnTo>
                      <a:pt x="244843" y="30859"/>
                    </a:lnTo>
                    <a:lnTo>
                      <a:pt x="245725" y="32358"/>
                    </a:lnTo>
                    <a:lnTo>
                      <a:pt x="244226" y="33504"/>
                    </a:lnTo>
                    <a:lnTo>
                      <a:pt x="245725" y="36414"/>
                    </a:lnTo>
                    <a:lnTo>
                      <a:pt x="245725" y="39059"/>
                    </a:lnTo>
                    <a:lnTo>
                      <a:pt x="244579" y="40822"/>
                    </a:lnTo>
                    <a:lnTo>
                      <a:pt x="243697" y="40822"/>
                    </a:lnTo>
                    <a:lnTo>
                      <a:pt x="243080" y="41968"/>
                    </a:lnTo>
                    <a:lnTo>
                      <a:pt x="241317" y="41968"/>
                    </a:lnTo>
                    <a:lnTo>
                      <a:pt x="240171" y="40822"/>
                    </a:lnTo>
                    <a:lnTo>
                      <a:pt x="232588" y="32358"/>
                    </a:lnTo>
                    <a:lnTo>
                      <a:pt x="230825" y="32358"/>
                    </a:lnTo>
                    <a:lnTo>
                      <a:pt x="229943" y="34121"/>
                    </a:lnTo>
                    <a:lnTo>
                      <a:pt x="228797" y="34738"/>
                    </a:lnTo>
                    <a:lnTo>
                      <a:pt x="226416" y="32711"/>
                    </a:lnTo>
                    <a:lnTo>
                      <a:pt x="222625" y="32975"/>
                    </a:lnTo>
                    <a:lnTo>
                      <a:pt x="221743" y="32358"/>
                    </a:lnTo>
                    <a:lnTo>
                      <a:pt x="217335" y="34121"/>
                    </a:lnTo>
                    <a:lnTo>
                      <a:pt x="215307" y="28567"/>
                    </a:lnTo>
                    <a:lnTo>
                      <a:pt x="212398" y="27421"/>
                    </a:lnTo>
                    <a:lnTo>
                      <a:pt x="205080" y="28567"/>
                    </a:lnTo>
                    <a:lnTo>
                      <a:pt x="203669" y="24775"/>
                    </a:lnTo>
                    <a:lnTo>
                      <a:pt x="202170" y="23894"/>
                    </a:lnTo>
                    <a:lnTo>
                      <a:pt x="200407" y="23894"/>
                    </a:lnTo>
                    <a:lnTo>
                      <a:pt x="200407" y="25657"/>
                    </a:lnTo>
                    <a:lnTo>
                      <a:pt x="202170" y="27421"/>
                    </a:lnTo>
                    <a:lnTo>
                      <a:pt x="202787" y="29184"/>
                    </a:lnTo>
                    <a:lnTo>
                      <a:pt x="203669" y="31212"/>
                    </a:lnTo>
                    <a:lnTo>
                      <a:pt x="207725" y="36414"/>
                    </a:lnTo>
                    <a:lnTo>
                      <a:pt x="210899" y="37913"/>
                    </a:lnTo>
                    <a:lnTo>
                      <a:pt x="213808" y="40822"/>
                    </a:lnTo>
                    <a:lnTo>
                      <a:pt x="213808" y="43114"/>
                    </a:lnTo>
                    <a:lnTo>
                      <a:pt x="212309" y="45495"/>
                    </a:lnTo>
                    <a:lnTo>
                      <a:pt x="212309" y="53342"/>
                    </a:lnTo>
                    <a:lnTo>
                      <a:pt x="213808" y="53959"/>
                    </a:lnTo>
                    <a:lnTo>
                      <a:pt x="217335" y="63305"/>
                    </a:lnTo>
                    <a:lnTo>
                      <a:pt x="215836" y="67978"/>
                    </a:lnTo>
                    <a:lnTo>
                      <a:pt x="216101" y="69124"/>
                    </a:lnTo>
                    <a:lnTo>
                      <a:pt x="221038" y="70623"/>
                    </a:lnTo>
                    <a:lnTo>
                      <a:pt x="224212" y="70006"/>
                    </a:lnTo>
                    <a:lnTo>
                      <a:pt x="230648" y="70623"/>
                    </a:lnTo>
                    <a:lnTo>
                      <a:pt x="231530" y="70887"/>
                    </a:lnTo>
                    <a:lnTo>
                      <a:pt x="230648" y="71769"/>
                    </a:lnTo>
                    <a:lnTo>
                      <a:pt x="231530" y="74414"/>
                    </a:lnTo>
                    <a:lnTo>
                      <a:pt x="230031" y="76178"/>
                    </a:lnTo>
                    <a:lnTo>
                      <a:pt x="230031" y="77324"/>
                    </a:lnTo>
                    <a:lnTo>
                      <a:pt x="225358" y="78470"/>
                    </a:lnTo>
                    <a:lnTo>
                      <a:pt x="221567" y="81997"/>
                    </a:lnTo>
                    <a:lnTo>
                      <a:pt x="218040" y="81732"/>
                    </a:lnTo>
                    <a:lnTo>
                      <a:pt x="216542" y="82349"/>
                    </a:lnTo>
                    <a:lnTo>
                      <a:pt x="215395" y="84113"/>
                    </a:lnTo>
                    <a:lnTo>
                      <a:pt x="215131" y="88786"/>
                    </a:lnTo>
                    <a:lnTo>
                      <a:pt x="214249" y="91431"/>
                    </a:lnTo>
                    <a:lnTo>
                      <a:pt x="208695" y="96721"/>
                    </a:lnTo>
                    <a:lnTo>
                      <a:pt x="208077" y="96103"/>
                    </a:lnTo>
                    <a:lnTo>
                      <a:pt x="208695" y="93723"/>
                    </a:lnTo>
                    <a:lnTo>
                      <a:pt x="208077" y="93106"/>
                    </a:lnTo>
                    <a:lnTo>
                      <a:pt x="205168" y="95134"/>
                    </a:lnTo>
                    <a:lnTo>
                      <a:pt x="203669" y="97779"/>
                    </a:lnTo>
                    <a:lnTo>
                      <a:pt x="200142" y="99807"/>
                    </a:lnTo>
                    <a:lnTo>
                      <a:pt x="198114" y="98660"/>
                    </a:lnTo>
                    <a:lnTo>
                      <a:pt x="194323" y="102452"/>
                    </a:lnTo>
                    <a:lnTo>
                      <a:pt x="191678" y="102452"/>
                    </a:lnTo>
                    <a:lnTo>
                      <a:pt x="190179" y="107654"/>
                    </a:lnTo>
                    <a:lnTo>
                      <a:pt x="187005" y="108006"/>
                    </a:lnTo>
                    <a:lnTo>
                      <a:pt x="184713" y="113561"/>
                    </a:lnTo>
                    <a:lnTo>
                      <a:pt x="183214" y="115060"/>
                    </a:lnTo>
                    <a:lnTo>
                      <a:pt x="181715" y="114178"/>
                    </a:lnTo>
                    <a:lnTo>
                      <a:pt x="181098" y="113032"/>
                    </a:lnTo>
                    <a:lnTo>
                      <a:pt x="183126" y="110122"/>
                    </a:lnTo>
                    <a:lnTo>
                      <a:pt x="183126" y="108359"/>
                    </a:lnTo>
                    <a:lnTo>
                      <a:pt x="181362" y="106331"/>
                    </a:lnTo>
                    <a:lnTo>
                      <a:pt x="178188" y="106331"/>
                    </a:lnTo>
                    <a:lnTo>
                      <a:pt x="175279" y="108359"/>
                    </a:lnTo>
                    <a:lnTo>
                      <a:pt x="172986" y="111004"/>
                    </a:lnTo>
                    <a:lnTo>
                      <a:pt x="170606" y="111268"/>
                    </a:lnTo>
                    <a:lnTo>
                      <a:pt x="169107" y="113032"/>
                    </a:lnTo>
                    <a:lnTo>
                      <a:pt x="167961" y="111886"/>
                    </a:lnTo>
                    <a:lnTo>
                      <a:pt x="165051" y="112238"/>
                    </a:lnTo>
                    <a:lnTo>
                      <a:pt x="152531" y="98837"/>
                    </a:lnTo>
                    <a:lnTo>
                      <a:pt x="148476" y="102011"/>
                    </a:lnTo>
                    <a:lnTo>
                      <a:pt x="142921" y="78382"/>
                    </a:lnTo>
                    <a:lnTo>
                      <a:pt x="139130" y="78646"/>
                    </a:lnTo>
                    <a:lnTo>
                      <a:pt x="133311" y="85964"/>
                    </a:lnTo>
                    <a:lnTo>
                      <a:pt x="128638" y="86846"/>
                    </a:lnTo>
                    <a:lnTo>
                      <a:pt x="124582" y="82173"/>
                    </a:lnTo>
                    <a:lnTo>
                      <a:pt x="122201" y="85347"/>
                    </a:lnTo>
                    <a:lnTo>
                      <a:pt x="123083" y="86493"/>
                    </a:lnTo>
                    <a:lnTo>
                      <a:pt x="98043" y="87375"/>
                    </a:lnTo>
                    <a:lnTo>
                      <a:pt x="90725" y="87375"/>
                    </a:lnTo>
                    <a:lnTo>
                      <a:pt x="87551" y="87992"/>
                    </a:lnTo>
                    <a:lnTo>
                      <a:pt x="89314" y="103686"/>
                    </a:lnTo>
                    <a:lnTo>
                      <a:pt x="96632" y="104568"/>
                    </a:lnTo>
                    <a:lnTo>
                      <a:pt x="98660" y="104568"/>
                    </a:lnTo>
                    <a:lnTo>
                      <a:pt x="101834" y="108359"/>
                    </a:lnTo>
                    <a:lnTo>
                      <a:pt x="102716" y="109770"/>
                    </a:lnTo>
                    <a:lnTo>
                      <a:pt x="102452" y="113296"/>
                    </a:lnTo>
                    <a:lnTo>
                      <a:pt x="99807" y="115589"/>
                    </a:lnTo>
                    <a:lnTo>
                      <a:pt x="98660" y="115324"/>
                    </a:lnTo>
                    <a:lnTo>
                      <a:pt x="93987" y="113561"/>
                    </a:lnTo>
                    <a:lnTo>
                      <a:pt x="91342" y="113825"/>
                    </a:lnTo>
                    <a:lnTo>
                      <a:pt x="86052" y="115853"/>
                    </a:lnTo>
                    <a:lnTo>
                      <a:pt x="84553" y="115853"/>
                    </a:lnTo>
                    <a:lnTo>
                      <a:pt x="83055" y="116471"/>
                    </a:lnTo>
                    <a:lnTo>
                      <a:pt x="85700" y="138601"/>
                    </a:lnTo>
                    <a:lnTo>
                      <a:pt x="89491" y="142127"/>
                    </a:lnTo>
                    <a:lnTo>
                      <a:pt x="92929" y="145654"/>
                    </a:lnTo>
                    <a:lnTo>
                      <a:pt x="92665" y="149710"/>
                    </a:lnTo>
                    <a:lnTo>
                      <a:pt x="94428" y="153766"/>
                    </a:lnTo>
                    <a:lnTo>
                      <a:pt x="97690" y="160202"/>
                    </a:lnTo>
                    <a:lnTo>
                      <a:pt x="95927" y="168313"/>
                    </a:lnTo>
                    <a:lnTo>
                      <a:pt x="96544" y="169195"/>
                    </a:lnTo>
                    <a:lnTo>
                      <a:pt x="86934" y="235674"/>
                    </a:lnTo>
                    <a:lnTo>
                      <a:pt x="85171" y="238848"/>
                    </a:lnTo>
                    <a:lnTo>
                      <a:pt x="84553" y="237438"/>
                    </a:lnTo>
                    <a:lnTo>
                      <a:pt x="82261" y="237173"/>
                    </a:lnTo>
                    <a:lnTo>
                      <a:pt x="81115" y="238936"/>
                    </a:lnTo>
                    <a:lnTo>
                      <a:pt x="78822" y="236291"/>
                    </a:lnTo>
                    <a:lnTo>
                      <a:pt x="78205" y="233646"/>
                    </a:lnTo>
                    <a:lnTo>
                      <a:pt x="75560" y="233646"/>
                    </a:lnTo>
                    <a:lnTo>
                      <a:pt x="73532" y="233646"/>
                    </a:lnTo>
                    <a:lnTo>
                      <a:pt x="71769" y="234792"/>
                    </a:lnTo>
                    <a:lnTo>
                      <a:pt x="70887" y="233294"/>
                    </a:lnTo>
                    <a:lnTo>
                      <a:pt x="68859" y="233911"/>
                    </a:lnTo>
                    <a:lnTo>
                      <a:pt x="67361" y="236203"/>
                    </a:lnTo>
                    <a:lnTo>
                      <a:pt x="63834" y="238848"/>
                    </a:lnTo>
                    <a:lnTo>
                      <a:pt x="62070" y="239730"/>
                    </a:lnTo>
                    <a:lnTo>
                      <a:pt x="60043" y="239465"/>
                    </a:lnTo>
                    <a:lnTo>
                      <a:pt x="57398" y="240612"/>
                    </a:lnTo>
                    <a:lnTo>
                      <a:pt x="52989" y="241229"/>
                    </a:lnTo>
                    <a:lnTo>
                      <a:pt x="50697" y="242992"/>
                    </a:lnTo>
                    <a:lnTo>
                      <a:pt x="49551" y="243257"/>
                    </a:lnTo>
                    <a:lnTo>
                      <a:pt x="48052" y="242992"/>
                    </a:lnTo>
                    <a:lnTo>
                      <a:pt x="43996" y="243257"/>
                    </a:lnTo>
                    <a:lnTo>
                      <a:pt x="40469" y="245285"/>
                    </a:lnTo>
                    <a:lnTo>
                      <a:pt x="39059" y="247929"/>
                    </a:lnTo>
                    <a:lnTo>
                      <a:pt x="35003" y="249076"/>
                    </a:lnTo>
                    <a:lnTo>
                      <a:pt x="33857" y="250222"/>
                    </a:lnTo>
                    <a:lnTo>
                      <a:pt x="32093" y="252602"/>
                    </a:lnTo>
                    <a:lnTo>
                      <a:pt x="30330" y="254366"/>
                    </a:lnTo>
                    <a:lnTo>
                      <a:pt x="28831" y="255865"/>
                    </a:lnTo>
                    <a:lnTo>
                      <a:pt x="25304" y="256746"/>
                    </a:lnTo>
                    <a:lnTo>
                      <a:pt x="23541" y="257893"/>
                    </a:lnTo>
                    <a:lnTo>
                      <a:pt x="22924" y="261684"/>
                    </a:lnTo>
                    <a:lnTo>
                      <a:pt x="22307" y="268649"/>
                    </a:lnTo>
                    <a:lnTo>
                      <a:pt x="17898" y="277113"/>
                    </a:lnTo>
                    <a:lnTo>
                      <a:pt x="17016" y="281786"/>
                    </a:lnTo>
                    <a:lnTo>
                      <a:pt x="16399" y="293160"/>
                    </a:lnTo>
                    <a:lnTo>
                      <a:pt x="5290" y="302770"/>
                    </a:lnTo>
                    <a:lnTo>
                      <a:pt x="4144" y="307972"/>
                    </a:lnTo>
                    <a:lnTo>
                      <a:pt x="6436" y="312645"/>
                    </a:lnTo>
                    <a:lnTo>
                      <a:pt x="882" y="313880"/>
                    </a:lnTo>
                    <a:lnTo>
                      <a:pt x="0" y="318552"/>
                    </a:lnTo>
                    <a:lnTo>
                      <a:pt x="4056" y="323843"/>
                    </a:lnTo>
                    <a:lnTo>
                      <a:pt x="6701" y="326752"/>
                    </a:lnTo>
                    <a:lnTo>
                      <a:pt x="6084" y="329133"/>
                    </a:lnTo>
                    <a:lnTo>
                      <a:pt x="11638" y="339625"/>
                    </a:lnTo>
                    <a:lnTo>
                      <a:pt x="15694" y="342270"/>
                    </a:lnTo>
                    <a:lnTo>
                      <a:pt x="16840" y="345796"/>
                    </a:lnTo>
                    <a:lnTo>
                      <a:pt x="20014" y="348177"/>
                    </a:lnTo>
                    <a:lnTo>
                      <a:pt x="24423" y="355142"/>
                    </a:lnTo>
                    <a:lnTo>
                      <a:pt x="24687" y="358934"/>
                    </a:lnTo>
                    <a:lnTo>
                      <a:pt x="23805" y="360961"/>
                    </a:lnTo>
                    <a:lnTo>
                      <a:pt x="19397" y="365370"/>
                    </a:lnTo>
                    <a:lnTo>
                      <a:pt x="31652" y="366516"/>
                    </a:lnTo>
                    <a:lnTo>
                      <a:pt x="40734" y="372071"/>
                    </a:lnTo>
                    <a:lnTo>
                      <a:pt x="43026" y="376479"/>
                    </a:lnTo>
                    <a:lnTo>
                      <a:pt x="60836" y="380270"/>
                    </a:lnTo>
                    <a:lnTo>
                      <a:pt x="63305" y="380270"/>
                    </a:lnTo>
                    <a:lnTo>
                      <a:pt x="69741" y="376215"/>
                    </a:lnTo>
                    <a:lnTo>
                      <a:pt x="77941" y="366604"/>
                    </a:lnTo>
                    <a:lnTo>
                      <a:pt x="79704" y="368103"/>
                    </a:lnTo>
                    <a:lnTo>
                      <a:pt x="78822" y="369249"/>
                    </a:lnTo>
                    <a:lnTo>
                      <a:pt x="79969" y="373922"/>
                    </a:lnTo>
                    <a:lnTo>
                      <a:pt x="79440" y="406016"/>
                    </a:lnTo>
                    <a:lnTo>
                      <a:pt x="84113" y="406280"/>
                    </a:lnTo>
                    <a:lnTo>
                      <a:pt x="89667" y="406280"/>
                    </a:lnTo>
                    <a:lnTo>
                      <a:pt x="95839" y="403635"/>
                    </a:lnTo>
                    <a:lnTo>
                      <a:pt x="98749" y="404252"/>
                    </a:lnTo>
                    <a:lnTo>
                      <a:pt x="103157" y="403988"/>
                    </a:lnTo>
                    <a:lnTo>
                      <a:pt x="105449" y="403988"/>
                    </a:lnTo>
                    <a:lnTo>
                      <a:pt x="117088" y="406016"/>
                    </a:lnTo>
                    <a:lnTo>
                      <a:pt x="119997" y="406545"/>
                    </a:lnTo>
                    <a:lnTo>
                      <a:pt x="124405" y="408043"/>
                    </a:lnTo>
                    <a:lnTo>
                      <a:pt x="127932" y="406545"/>
                    </a:lnTo>
                    <a:lnTo>
                      <a:pt x="135250" y="397463"/>
                    </a:lnTo>
                    <a:lnTo>
                      <a:pt x="142568" y="398080"/>
                    </a:lnTo>
                    <a:lnTo>
                      <a:pt x="149269" y="390762"/>
                    </a:lnTo>
                    <a:lnTo>
                      <a:pt x="151297" y="388999"/>
                    </a:lnTo>
                    <a:lnTo>
                      <a:pt x="154559" y="387853"/>
                    </a:lnTo>
                    <a:lnTo>
                      <a:pt x="162759" y="380006"/>
                    </a:lnTo>
                    <a:lnTo>
                      <a:pt x="165668" y="377625"/>
                    </a:lnTo>
                    <a:lnTo>
                      <a:pt x="172105" y="376479"/>
                    </a:lnTo>
                    <a:lnTo>
                      <a:pt x="177659" y="374980"/>
                    </a:lnTo>
                    <a:lnTo>
                      <a:pt x="183478" y="374099"/>
                    </a:lnTo>
                    <a:lnTo>
                      <a:pt x="184360" y="373834"/>
                    </a:lnTo>
                    <a:lnTo>
                      <a:pt x="185506" y="374099"/>
                    </a:lnTo>
                    <a:lnTo>
                      <a:pt x="189033" y="376391"/>
                    </a:lnTo>
                    <a:lnTo>
                      <a:pt x="190532" y="372864"/>
                    </a:lnTo>
                    <a:lnTo>
                      <a:pt x="193441" y="372864"/>
                    </a:lnTo>
                    <a:lnTo>
                      <a:pt x="194588" y="381064"/>
                    </a:lnTo>
                    <a:lnTo>
                      <a:pt x="192560" y="392438"/>
                    </a:lnTo>
                    <a:lnTo>
                      <a:pt x="194323" y="396493"/>
                    </a:lnTo>
                    <a:lnTo>
                      <a:pt x="195469" y="401431"/>
                    </a:lnTo>
                    <a:lnTo>
                      <a:pt x="196086" y="407867"/>
                    </a:lnTo>
                    <a:lnTo>
                      <a:pt x="195205" y="410512"/>
                    </a:lnTo>
                    <a:lnTo>
                      <a:pt x="196351" y="413422"/>
                    </a:lnTo>
                    <a:lnTo>
                      <a:pt x="198643" y="417830"/>
                    </a:lnTo>
                    <a:lnTo>
                      <a:pt x="199260" y="423032"/>
                    </a:lnTo>
                    <a:lnTo>
                      <a:pt x="201553" y="422768"/>
                    </a:lnTo>
                    <a:lnTo>
                      <a:pt x="203581" y="425412"/>
                    </a:lnTo>
                    <a:lnTo>
                      <a:pt x="208783" y="430703"/>
                    </a:lnTo>
                    <a:lnTo>
                      <a:pt x="210810" y="432466"/>
                    </a:lnTo>
                    <a:lnTo>
                      <a:pt x="212574" y="435376"/>
                    </a:lnTo>
                    <a:lnTo>
                      <a:pt x="215748" y="439431"/>
                    </a:lnTo>
                    <a:lnTo>
                      <a:pt x="223066" y="442076"/>
                    </a:lnTo>
                    <a:lnTo>
                      <a:pt x="225094" y="442341"/>
                    </a:lnTo>
                    <a:lnTo>
                      <a:pt x="229767" y="441724"/>
                    </a:lnTo>
                    <a:lnTo>
                      <a:pt x="242022" y="447543"/>
                    </a:lnTo>
                    <a:lnTo>
                      <a:pt x="245813" y="445779"/>
                    </a:lnTo>
                    <a:lnTo>
                      <a:pt x="248987" y="450981"/>
                    </a:lnTo>
                    <a:lnTo>
                      <a:pt x="253925" y="455302"/>
                    </a:lnTo>
                    <a:lnTo>
                      <a:pt x="257099" y="454773"/>
                    </a:lnTo>
                    <a:lnTo>
                      <a:pt x="260890" y="456800"/>
                    </a:lnTo>
                    <a:lnTo>
                      <a:pt x="266709" y="457947"/>
                    </a:lnTo>
                    <a:lnTo>
                      <a:pt x="269090" y="461385"/>
                    </a:lnTo>
                    <a:lnTo>
                      <a:pt x="275791" y="468703"/>
                    </a:lnTo>
                    <a:lnTo>
                      <a:pt x="283990" y="468703"/>
                    </a:lnTo>
                    <a:lnTo>
                      <a:pt x="288663" y="468439"/>
                    </a:lnTo>
                    <a:lnTo>
                      <a:pt x="292719" y="466411"/>
                    </a:lnTo>
                    <a:lnTo>
                      <a:pt x="294482" y="468703"/>
                    </a:lnTo>
                    <a:lnTo>
                      <a:pt x="299772" y="471613"/>
                    </a:lnTo>
                    <a:lnTo>
                      <a:pt x="306209" y="474875"/>
                    </a:lnTo>
                    <a:lnTo>
                      <a:pt x="308589" y="479283"/>
                    </a:lnTo>
                    <a:lnTo>
                      <a:pt x="307443" y="485103"/>
                    </a:lnTo>
                    <a:lnTo>
                      <a:pt x="310353" y="492420"/>
                    </a:lnTo>
                    <a:lnTo>
                      <a:pt x="310353" y="495330"/>
                    </a:lnTo>
                    <a:lnTo>
                      <a:pt x="308854" y="500268"/>
                    </a:lnTo>
                    <a:lnTo>
                      <a:pt x="306209" y="507233"/>
                    </a:lnTo>
                    <a:lnTo>
                      <a:pt x="316965" y="536416"/>
                    </a:lnTo>
                    <a:lnTo>
                      <a:pt x="356906" y="536681"/>
                    </a:lnTo>
                    <a:lnTo>
                      <a:pt x="356641" y="540737"/>
                    </a:lnTo>
                    <a:lnTo>
                      <a:pt x="354613" y="545410"/>
                    </a:lnTo>
                    <a:lnTo>
                      <a:pt x="357523" y="561192"/>
                    </a:lnTo>
                    <a:lnTo>
                      <a:pt x="372423" y="569392"/>
                    </a:lnTo>
                    <a:lnTo>
                      <a:pt x="373305" y="573183"/>
                    </a:lnTo>
                    <a:lnTo>
                      <a:pt x="373305" y="575828"/>
                    </a:lnTo>
                    <a:lnTo>
                      <a:pt x="380006" y="584292"/>
                    </a:lnTo>
                    <a:lnTo>
                      <a:pt x="377713" y="585438"/>
                    </a:lnTo>
                    <a:lnTo>
                      <a:pt x="375685" y="602631"/>
                    </a:lnTo>
                    <a:lnTo>
                      <a:pt x="374539" y="605805"/>
                    </a:lnTo>
                    <a:lnTo>
                      <a:pt x="375156" y="628905"/>
                    </a:lnTo>
                    <a:lnTo>
                      <a:pt x="371630" y="631197"/>
                    </a:lnTo>
                    <a:lnTo>
                      <a:pt x="369866" y="633225"/>
                    </a:lnTo>
                    <a:lnTo>
                      <a:pt x="368720" y="633490"/>
                    </a:lnTo>
                    <a:lnTo>
                      <a:pt x="368985" y="634019"/>
                    </a:lnTo>
                    <a:lnTo>
                      <a:pt x="368720" y="635165"/>
                    </a:lnTo>
                    <a:lnTo>
                      <a:pt x="370131" y="636047"/>
                    </a:lnTo>
                    <a:lnTo>
                      <a:pt x="373040" y="640103"/>
                    </a:lnTo>
                    <a:lnTo>
                      <a:pt x="373922" y="645657"/>
                    </a:lnTo>
                    <a:lnTo>
                      <a:pt x="374804" y="646186"/>
                    </a:lnTo>
                    <a:lnTo>
                      <a:pt x="375068" y="649448"/>
                    </a:lnTo>
                    <a:lnTo>
                      <a:pt x="375685" y="651829"/>
                    </a:lnTo>
                    <a:lnTo>
                      <a:pt x="378331" y="653592"/>
                    </a:lnTo>
                    <a:lnTo>
                      <a:pt x="378066" y="656502"/>
                    </a:lnTo>
                    <a:lnTo>
                      <a:pt x="377184" y="661439"/>
                    </a:lnTo>
                    <a:lnTo>
                      <a:pt x="376567" y="667259"/>
                    </a:lnTo>
                    <a:lnTo>
                      <a:pt x="378331" y="671314"/>
                    </a:lnTo>
                    <a:lnTo>
                      <a:pt x="377449" y="675723"/>
                    </a:lnTo>
                    <a:lnTo>
                      <a:pt x="376567" y="679514"/>
                    </a:lnTo>
                    <a:lnTo>
                      <a:pt x="378066" y="681277"/>
                    </a:lnTo>
                    <a:lnTo>
                      <a:pt x="379829" y="681806"/>
                    </a:lnTo>
                    <a:lnTo>
                      <a:pt x="380975" y="681806"/>
                    </a:lnTo>
                    <a:lnTo>
                      <a:pt x="381504" y="681542"/>
                    </a:lnTo>
                    <a:lnTo>
                      <a:pt x="385296" y="683569"/>
                    </a:lnTo>
                    <a:lnTo>
                      <a:pt x="390233" y="684716"/>
                    </a:lnTo>
                    <a:lnTo>
                      <a:pt x="392878" y="684716"/>
                    </a:lnTo>
                    <a:lnTo>
                      <a:pt x="394641" y="684716"/>
                    </a:lnTo>
                    <a:lnTo>
                      <a:pt x="396052" y="684980"/>
                    </a:lnTo>
                    <a:lnTo>
                      <a:pt x="400725" y="685597"/>
                    </a:lnTo>
                    <a:lnTo>
                      <a:pt x="400990" y="686479"/>
                    </a:lnTo>
                    <a:lnTo>
                      <a:pt x="402753" y="685333"/>
                    </a:lnTo>
                    <a:lnTo>
                      <a:pt x="404781" y="684716"/>
                    </a:lnTo>
                    <a:lnTo>
                      <a:pt x="405927" y="684980"/>
                    </a:lnTo>
                    <a:lnTo>
                      <a:pt x="408837" y="681454"/>
                    </a:lnTo>
                    <a:lnTo>
                      <a:pt x="412011" y="683217"/>
                    </a:lnTo>
                    <a:lnTo>
                      <a:pt x="417565" y="685597"/>
                    </a:lnTo>
                    <a:lnTo>
                      <a:pt x="420211" y="685597"/>
                    </a:lnTo>
                    <a:lnTo>
                      <a:pt x="423120" y="686479"/>
                    </a:lnTo>
                    <a:lnTo>
                      <a:pt x="426647" y="693180"/>
                    </a:lnTo>
                    <a:lnTo>
                      <a:pt x="429556" y="703936"/>
                    </a:lnTo>
                    <a:lnTo>
                      <a:pt x="430703" y="707199"/>
                    </a:lnTo>
                    <a:lnTo>
                      <a:pt x="432730" y="710108"/>
                    </a:lnTo>
                    <a:lnTo>
                      <a:pt x="433259" y="713635"/>
                    </a:lnTo>
                    <a:lnTo>
                      <a:pt x="433524" y="718925"/>
                    </a:lnTo>
                    <a:lnTo>
                      <a:pt x="436786" y="728271"/>
                    </a:lnTo>
                    <a:lnTo>
                      <a:pt x="442870" y="728535"/>
                    </a:lnTo>
                    <a:lnTo>
                      <a:pt x="447278" y="726772"/>
                    </a:lnTo>
                    <a:lnTo>
                      <a:pt x="457770" y="726772"/>
                    </a:lnTo>
                    <a:lnTo>
                      <a:pt x="460151" y="732062"/>
                    </a:lnTo>
                    <a:lnTo>
                      <a:pt x="461032" y="741408"/>
                    </a:lnTo>
                    <a:lnTo>
                      <a:pt x="460151" y="748991"/>
                    </a:lnTo>
                    <a:lnTo>
                      <a:pt x="460768" y="757984"/>
                    </a:lnTo>
                    <a:lnTo>
                      <a:pt x="457594" y="767065"/>
                    </a:lnTo>
                    <a:lnTo>
                      <a:pt x="457858" y="768211"/>
                    </a:lnTo>
                    <a:lnTo>
                      <a:pt x="459622" y="768211"/>
                    </a:lnTo>
                    <a:lnTo>
                      <a:pt x="464559" y="767594"/>
                    </a:lnTo>
                    <a:lnTo>
                      <a:pt x="466587" y="767329"/>
                    </a:lnTo>
                    <a:lnTo>
                      <a:pt x="469232" y="767594"/>
                    </a:lnTo>
                    <a:lnTo>
                      <a:pt x="474170" y="771121"/>
                    </a:lnTo>
                    <a:lnTo>
                      <a:pt x="477696" y="779585"/>
                    </a:lnTo>
                    <a:lnTo>
                      <a:pt x="479724" y="795896"/>
                    </a:lnTo>
                    <a:lnTo>
                      <a:pt x="479724" y="807005"/>
                    </a:lnTo>
                    <a:lnTo>
                      <a:pt x="476550" y="807270"/>
                    </a:lnTo>
                    <a:lnTo>
                      <a:pt x="471877" y="810444"/>
                    </a:lnTo>
                    <a:lnTo>
                      <a:pt x="468968" y="814852"/>
                    </a:lnTo>
                    <a:lnTo>
                      <a:pt x="465176" y="815734"/>
                    </a:lnTo>
                    <a:lnTo>
                      <a:pt x="462267" y="817762"/>
                    </a:lnTo>
                    <a:lnTo>
                      <a:pt x="458476" y="819172"/>
                    </a:lnTo>
                    <a:lnTo>
                      <a:pt x="454949" y="822964"/>
                    </a:lnTo>
                    <a:lnTo>
                      <a:pt x="452304" y="824727"/>
                    </a:lnTo>
                    <a:lnTo>
                      <a:pt x="448777" y="829665"/>
                    </a:lnTo>
                    <a:lnTo>
                      <a:pt x="443840" y="831693"/>
                    </a:lnTo>
                    <a:lnTo>
                      <a:pt x="443840" y="836630"/>
                    </a:lnTo>
                    <a:lnTo>
                      <a:pt x="439431" y="840421"/>
                    </a:lnTo>
                    <a:lnTo>
                      <a:pt x="433877" y="847739"/>
                    </a:lnTo>
                    <a:lnTo>
                      <a:pt x="429821" y="855322"/>
                    </a:lnTo>
                    <a:lnTo>
                      <a:pt x="418447" y="872779"/>
                    </a:lnTo>
                    <a:lnTo>
                      <a:pt x="411129" y="881860"/>
                    </a:lnTo>
                    <a:lnTo>
                      <a:pt x="409101" y="885387"/>
                    </a:lnTo>
                    <a:lnTo>
                      <a:pt x="408837" y="884241"/>
                    </a:lnTo>
                    <a:lnTo>
                      <a:pt x="410335" y="884241"/>
                    </a:lnTo>
                    <a:lnTo>
                      <a:pt x="413245" y="885740"/>
                    </a:lnTo>
                    <a:lnTo>
                      <a:pt x="415273" y="885740"/>
                    </a:lnTo>
                    <a:lnTo>
                      <a:pt x="419946" y="881684"/>
                    </a:lnTo>
                    <a:lnTo>
                      <a:pt x="430438" y="884329"/>
                    </a:lnTo>
                    <a:lnTo>
                      <a:pt x="431320" y="886092"/>
                    </a:lnTo>
                    <a:lnTo>
                      <a:pt x="440048" y="892793"/>
                    </a:lnTo>
                    <a:lnTo>
                      <a:pt x="442693" y="895703"/>
                    </a:lnTo>
                    <a:lnTo>
                      <a:pt x="446485" y="905930"/>
                    </a:lnTo>
                    <a:lnTo>
                      <a:pt x="452039" y="902668"/>
                    </a:lnTo>
                    <a:lnTo>
                      <a:pt x="453538" y="900023"/>
                    </a:lnTo>
                    <a:lnTo>
                      <a:pt x="458828" y="902932"/>
                    </a:lnTo>
                    <a:lnTo>
                      <a:pt x="465264" y="909898"/>
                    </a:lnTo>
                    <a:lnTo>
                      <a:pt x="467910" y="911309"/>
                    </a:lnTo>
                    <a:lnTo>
                      <a:pt x="472847" y="913953"/>
                    </a:lnTo>
                    <a:lnTo>
                      <a:pt x="481047" y="917745"/>
                    </a:lnTo>
                    <a:lnTo>
                      <a:pt x="488894" y="926474"/>
                    </a:lnTo>
                    <a:lnTo>
                      <a:pt x="490392" y="924975"/>
                    </a:lnTo>
                    <a:lnTo>
                      <a:pt x="493566" y="926738"/>
                    </a:lnTo>
                    <a:lnTo>
                      <a:pt x="497975" y="929030"/>
                    </a:lnTo>
                    <a:lnTo>
                      <a:pt x="501149" y="934849"/>
                    </a:lnTo>
                    <a:lnTo>
                      <a:pt x="501766" y="937495"/>
                    </a:lnTo>
                    <a:lnTo>
                      <a:pt x="507321" y="942167"/>
                    </a:lnTo>
                    <a:lnTo>
                      <a:pt x="514022" y="946223"/>
                    </a:lnTo>
                    <a:lnTo>
                      <a:pt x="511112" y="952395"/>
                    </a:lnTo>
                    <a:lnTo>
                      <a:pt x="507321" y="958214"/>
                    </a:lnTo>
                    <a:lnTo>
                      <a:pt x="509084" y="969588"/>
                    </a:lnTo>
                    <a:lnTo>
                      <a:pt x="511994" y="971351"/>
                    </a:lnTo>
                    <a:lnTo>
                      <a:pt x="512875" y="971616"/>
                    </a:lnTo>
                    <a:lnTo>
                      <a:pt x="513757" y="970998"/>
                    </a:lnTo>
                    <a:lnTo>
                      <a:pt x="516402" y="970998"/>
                    </a:lnTo>
                    <a:lnTo>
                      <a:pt x="520458" y="967472"/>
                    </a:lnTo>
                    <a:lnTo>
                      <a:pt x="520987" y="965179"/>
                    </a:lnTo>
                    <a:lnTo>
                      <a:pt x="523632" y="962270"/>
                    </a:lnTo>
                    <a:lnTo>
                      <a:pt x="525924" y="956715"/>
                    </a:lnTo>
                    <a:lnTo>
                      <a:pt x="525307" y="951513"/>
                    </a:lnTo>
                    <a:lnTo>
                      <a:pt x="529363" y="952660"/>
                    </a:lnTo>
                    <a:lnTo>
                      <a:pt x="529628" y="946840"/>
                    </a:lnTo>
                    <a:lnTo>
                      <a:pt x="530774" y="942167"/>
                    </a:lnTo>
                    <a:lnTo>
                      <a:pt x="531655" y="935996"/>
                    </a:lnTo>
                    <a:lnTo>
                      <a:pt x="533419" y="932469"/>
                    </a:lnTo>
                    <a:lnTo>
                      <a:pt x="531655" y="931587"/>
                    </a:lnTo>
                    <a:lnTo>
                      <a:pt x="531391" y="929824"/>
                    </a:lnTo>
                    <a:lnTo>
                      <a:pt x="529628" y="930441"/>
                    </a:lnTo>
                    <a:lnTo>
                      <a:pt x="529363" y="928942"/>
                    </a:lnTo>
                    <a:lnTo>
                      <a:pt x="531391" y="926650"/>
                    </a:lnTo>
                    <a:lnTo>
                      <a:pt x="529098" y="923123"/>
                    </a:lnTo>
                    <a:lnTo>
                      <a:pt x="532625" y="919067"/>
                    </a:lnTo>
                    <a:lnTo>
                      <a:pt x="531479" y="918538"/>
                    </a:lnTo>
                    <a:lnTo>
                      <a:pt x="531215" y="917304"/>
                    </a:lnTo>
                    <a:lnTo>
                      <a:pt x="532713" y="917921"/>
                    </a:lnTo>
                    <a:lnTo>
                      <a:pt x="533330" y="912102"/>
                    </a:lnTo>
                    <a:lnTo>
                      <a:pt x="534477" y="911220"/>
                    </a:lnTo>
                    <a:lnTo>
                      <a:pt x="539414" y="909810"/>
                    </a:lnTo>
                    <a:lnTo>
                      <a:pt x="539414" y="906636"/>
                    </a:lnTo>
                    <a:lnTo>
                      <a:pt x="541442" y="904872"/>
                    </a:lnTo>
                    <a:lnTo>
                      <a:pt x="542059" y="900552"/>
                    </a:lnTo>
                    <a:lnTo>
                      <a:pt x="542324" y="894997"/>
                    </a:lnTo>
                    <a:lnTo>
                      <a:pt x="544087" y="896761"/>
                    </a:lnTo>
                    <a:lnTo>
                      <a:pt x="545498" y="898260"/>
                    </a:lnTo>
                    <a:lnTo>
                      <a:pt x="544352" y="891294"/>
                    </a:lnTo>
                    <a:lnTo>
                      <a:pt x="546644" y="889002"/>
                    </a:lnTo>
                    <a:lnTo>
                      <a:pt x="545498" y="887856"/>
                    </a:lnTo>
                    <a:lnTo>
                      <a:pt x="543470" y="886092"/>
                    </a:lnTo>
                    <a:lnTo>
                      <a:pt x="542059" y="884065"/>
                    </a:lnTo>
                    <a:lnTo>
                      <a:pt x="542059" y="880890"/>
                    </a:lnTo>
                    <a:lnTo>
                      <a:pt x="543823" y="880009"/>
                    </a:lnTo>
                    <a:lnTo>
                      <a:pt x="544440" y="882389"/>
                    </a:lnTo>
                    <a:lnTo>
                      <a:pt x="545057" y="883536"/>
                    </a:lnTo>
                    <a:lnTo>
                      <a:pt x="547966" y="884417"/>
                    </a:lnTo>
                    <a:lnTo>
                      <a:pt x="548848" y="888208"/>
                    </a:lnTo>
                    <a:lnTo>
                      <a:pt x="551140" y="886445"/>
                    </a:lnTo>
                    <a:lnTo>
                      <a:pt x="554315" y="886180"/>
                    </a:lnTo>
                    <a:lnTo>
                      <a:pt x="555725" y="884153"/>
                    </a:lnTo>
                    <a:lnTo>
                      <a:pt x="558987" y="885916"/>
                    </a:lnTo>
                    <a:lnTo>
                      <a:pt x="558370" y="891206"/>
                    </a:lnTo>
                    <a:lnTo>
                      <a:pt x="555196" y="888296"/>
                    </a:lnTo>
                    <a:lnTo>
                      <a:pt x="557224" y="893851"/>
                    </a:lnTo>
                    <a:lnTo>
                      <a:pt x="556607" y="898260"/>
                    </a:lnTo>
                    <a:lnTo>
                      <a:pt x="551670" y="901169"/>
                    </a:lnTo>
                    <a:lnTo>
                      <a:pt x="552551" y="903814"/>
                    </a:lnTo>
                    <a:lnTo>
                      <a:pt x="552551" y="906195"/>
                    </a:lnTo>
                    <a:lnTo>
                      <a:pt x="551670" y="905578"/>
                    </a:lnTo>
                    <a:lnTo>
                      <a:pt x="549642" y="910868"/>
                    </a:lnTo>
                    <a:lnTo>
                      <a:pt x="548143" y="915805"/>
                    </a:lnTo>
                    <a:lnTo>
                      <a:pt x="544352" y="916422"/>
                    </a:lnTo>
                    <a:lnTo>
                      <a:pt x="543470" y="918186"/>
                    </a:lnTo>
                    <a:lnTo>
                      <a:pt x="542324" y="921624"/>
                    </a:lnTo>
                    <a:lnTo>
                      <a:pt x="540825" y="922506"/>
                    </a:lnTo>
                    <a:lnTo>
                      <a:pt x="537298" y="923652"/>
                    </a:lnTo>
                    <a:lnTo>
                      <a:pt x="536152" y="925680"/>
                    </a:lnTo>
                    <a:lnTo>
                      <a:pt x="532096" y="924798"/>
                    </a:lnTo>
                    <a:lnTo>
                      <a:pt x="533859" y="931764"/>
                    </a:lnTo>
                    <a:lnTo>
                      <a:pt x="537034" y="929118"/>
                    </a:lnTo>
                    <a:lnTo>
                      <a:pt x="540560" y="926474"/>
                    </a:lnTo>
                    <a:lnTo>
                      <a:pt x="544087" y="924710"/>
                    </a:lnTo>
                    <a:lnTo>
                      <a:pt x="548143" y="922947"/>
                    </a:lnTo>
                    <a:lnTo>
                      <a:pt x="549024" y="918274"/>
                    </a:lnTo>
                    <a:lnTo>
                      <a:pt x="551934" y="914218"/>
                    </a:lnTo>
                    <a:lnTo>
                      <a:pt x="554579" y="913865"/>
                    </a:lnTo>
                    <a:lnTo>
                      <a:pt x="557224" y="908928"/>
                    </a:lnTo>
                    <a:lnTo>
                      <a:pt x="559516" y="903990"/>
                    </a:lnTo>
                    <a:lnTo>
                      <a:pt x="562161" y="897907"/>
                    </a:lnTo>
                    <a:lnTo>
                      <a:pt x="563308" y="894380"/>
                    </a:lnTo>
                    <a:lnTo>
                      <a:pt x="564454" y="893234"/>
                    </a:lnTo>
                    <a:lnTo>
                      <a:pt x="564189" y="890324"/>
                    </a:lnTo>
                    <a:lnTo>
                      <a:pt x="565071" y="885652"/>
                    </a:lnTo>
                    <a:lnTo>
                      <a:pt x="567981" y="878951"/>
                    </a:lnTo>
                    <a:lnTo>
                      <a:pt x="571155" y="869605"/>
                    </a:lnTo>
                    <a:lnTo>
                      <a:pt x="573182" y="866078"/>
                    </a:lnTo>
                    <a:lnTo>
                      <a:pt x="573182" y="864315"/>
                    </a:lnTo>
                    <a:lnTo>
                      <a:pt x="576445" y="856732"/>
                    </a:lnTo>
                    <a:lnTo>
                      <a:pt x="580236" y="853558"/>
                    </a:lnTo>
                    <a:lnTo>
                      <a:pt x="581382" y="850296"/>
                    </a:lnTo>
                    <a:lnTo>
                      <a:pt x="590464" y="844477"/>
                    </a:lnTo>
                    <a:lnTo>
                      <a:pt x="591345" y="841832"/>
                    </a:lnTo>
                    <a:lnTo>
                      <a:pt x="589846" y="841215"/>
                    </a:lnTo>
                    <a:lnTo>
                      <a:pt x="588347" y="839187"/>
                    </a:lnTo>
                    <a:lnTo>
                      <a:pt x="590111" y="838305"/>
                    </a:lnTo>
                    <a:lnTo>
                      <a:pt x="592756" y="834778"/>
                    </a:lnTo>
                    <a:lnTo>
                      <a:pt x="595401" y="830105"/>
                    </a:lnTo>
                    <a:lnTo>
                      <a:pt x="595137" y="826931"/>
                    </a:lnTo>
                    <a:lnTo>
                      <a:pt x="593109" y="824286"/>
                    </a:lnTo>
                    <a:lnTo>
                      <a:pt x="591962" y="822523"/>
                    </a:lnTo>
                    <a:lnTo>
                      <a:pt x="596018" y="820495"/>
                    </a:lnTo>
                    <a:lnTo>
                      <a:pt x="596018" y="816704"/>
                    </a:lnTo>
                    <a:lnTo>
                      <a:pt x="591345" y="818732"/>
                    </a:lnTo>
                    <a:lnTo>
                      <a:pt x="592227" y="817850"/>
                    </a:lnTo>
                    <a:lnTo>
                      <a:pt x="590464" y="815558"/>
                    </a:lnTo>
                    <a:lnTo>
                      <a:pt x="591962" y="813177"/>
                    </a:lnTo>
                    <a:lnTo>
                      <a:pt x="590199" y="810532"/>
                    </a:lnTo>
                    <a:lnTo>
                      <a:pt x="592227" y="809033"/>
                    </a:lnTo>
                    <a:lnTo>
                      <a:pt x="592491" y="807887"/>
                    </a:lnTo>
                    <a:lnTo>
                      <a:pt x="591345" y="808151"/>
                    </a:lnTo>
                    <a:lnTo>
                      <a:pt x="590728" y="804096"/>
                    </a:lnTo>
                    <a:lnTo>
                      <a:pt x="588965" y="801186"/>
                    </a:lnTo>
                    <a:lnTo>
                      <a:pt x="588347" y="797395"/>
                    </a:lnTo>
                    <a:lnTo>
                      <a:pt x="588347" y="789813"/>
                    </a:lnTo>
                    <a:lnTo>
                      <a:pt x="584292" y="786903"/>
                    </a:lnTo>
                    <a:lnTo>
                      <a:pt x="584909" y="786021"/>
                    </a:lnTo>
                    <a:lnTo>
                      <a:pt x="584027" y="782230"/>
                    </a:lnTo>
                    <a:lnTo>
                      <a:pt x="585174" y="784258"/>
                    </a:lnTo>
                    <a:lnTo>
                      <a:pt x="588436" y="783112"/>
                    </a:lnTo>
                    <a:lnTo>
                      <a:pt x="587907" y="775794"/>
                    </a:lnTo>
                    <a:lnTo>
                      <a:pt x="586143" y="774648"/>
                    </a:lnTo>
                    <a:lnTo>
                      <a:pt x="586760" y="773766"/>
                    </a:lnTo>
                    <a:lnTo>
                      <a:pt x="587642" y="773766"/>
                    </a:lnTo>
                    <a:lnTo>
                      <a:pt x="588788" y="775177"/>
                    </a:lnTo>
                    <a:lnTo>
                      <a:pt x="591698" y="768476"/>
                    </a:lnTo>
                    <a:lnTo>
                      <a:pt x="588788" y="768476"/>
                    </a:lnTo>
                    <a:lnTo>
                      <a:pt x="587907" y="766977"/>
                    </a:lnTo>
                    <a:lnTo>
                      <a:pt x="585262" y="766977"/>
                    </a:lnTo>
                    <a:lnTo>
                      <a:pt x="583498" y="765831"/>
                    </a:lnTo>
                    <a:lnTo>
                      <a:pt x="582969" y="762304"/>
                    </a:lnTo>
                    <a:lnTo>
                      <a:pt x="588788" y="766095"/>
                    </a:lnTo>
                    <a:lnTo>
                      <a:pt x="589670" y="762304"/>
                    </a:lnTo>
                    <a:lnTo>
                      <a:pt x="589670" y="761422"/>
                    </a:lnTo>
                    <a:lnTo>
                      <a:pt x="589670" y="760805"/>
                    </a:lnTo>
                    <a:lnTo>
                      <a:pt x="590816" y="760805"/>
                    </a:lnTo>
                    <a:lnTo>
                      <a:pt x="592315" y="762833"/>
                    </a:lnTo>
                    <a:lnTo>
                      <a:pt x="593461" y="761334"/>
                    </a:lnTo>
                    <a:lnTo>
                      <a:pt x="595842" y="761070"/>
                    </a:lnTo>
                    <a:lnTo>
                      <a:pt x="594343" y="762833"/>
                    </a:lnTo>
                    <a:lnTo>
                      <a:pt x="593726" y="765125"/>
                    </a:lnTo>
                    <a:lnTo>
                      <a:pt x="595225" y="763362"/>
                    </a:lnTo>
                    <a:lnTo>
                      <a:pt x="600779" y="756397"/>
                    </a:lnTo>
                    <a:lnTo>
                      <a:pt x="599016" y="755779"/>
                    </a:lnTo>
                    <a:lnTo>
                      <a:pt x="597253" y="754281"/>
                    </a:lnTo>
                    <a:lnTo>
                      <a:pt x="598399" y="754281"/>
                    </a:lnTo>
                    <a:lnTo>
                      <a:pt x="601573" y="751106"/>
                    </a:lnTo>
                    <a:lnTo>
                      <a:pt x="605364" y="749960"/>
                    </a:lnTo>
                    <a:lnTo>
                      <a:pt x="606246" y="749079"/>
                    </a:lnTo>
                    <a:lnTo>
                      <a:pt x="605364" y="747580"/>
                    </a:lnTo>
                    <a:lnTo>
                      <a:pt x="607392" y="748462"/>
                    </a:lnTo>
                    <a:lnTo>
                      <a:pt x="610037" y="746169"/>
                    </a:lnTo>
                    <a:lnTo>
                      <a:pt x="613828" y="742995"/>
                    </a:lnTo>
                    <a:lnTo>
                      <a:pt x="618501" y="739468"/>
                    </a:lnTo>
                    <a:lnTo>
                      <a:pt x="620000" y="735413"/>
                    </a:lnTo>
                    <a:lnTo>
                      <a:pt x="630756" y="729593"/>
                    </a:lnTo>
                    <a:lnTo>
                      <a:pt x="628993" y="727566"/>
                    </a:lnTo>
                    <a:lnTo>
                      <a:pt x="630492" y="725802"/>
                    </a:lnTo>
                    <a:lnTo>
                      <a:pt x="632520" y="726684"/>
                    </a:lnTo>
                    <a:lnTo>
                      <a:pt x="631991" y="729329"/>
                    </a:lnTo>
                    <a:lnTo>
                      <a:pt x="634283" y="728447"/>
                    </a:lnTo>
                    <a:lnTo>
                      <a:pt x="636047" y="726155"/>
                    </a:lnTo>
                    <a:lnTo>
                      <a:pt x="635430" y="725890"/>
                    </a:lnTo>
                    <a:lnTo>
                      <a:pt x="638075" y="724744"/>
                    </a:lnTo>
                    <a:lnTo>
                      <a:pt x="645657" y="725361"/>
                    </a:lnTo>
                    <a:lnTo>
                      <a:pt x="648567" y="724215"/>
                    </a:lnTo>
                    <a:lnTo>
                      <a:pt x="649713" y="723333"/>
                    </a:lnTo>
                    <a:lnTo>
                      <a:pt x="652358" y="729505"/>
                    </a:lnTo>
                    <a:lnTo>
                      <a:pt x="651212" y="724832"/>
                    </a:lnTo>
                    <a:lnTo>
                      <a:pt x="650594" y="721658"/>
                    </a:lnTo>
                    <a:lnTo>
                      <a:pt x="652093" y="721041"/>
                    </a:lnTo>
                    <a:lnTo>
                      <a:pt x="652358" y="719278"/>
                    </a:lnTo>
                    <a:lnTo>
                      <a:pt x="654121" y="719013"/>
                    </a:lnTo>
                    <a:lnTo>
                      <a:pt x="655003" y="717514"/>
                    </a:lnTo>
                    <a:lnTo>
                      <a:pt x="656149" y="716368"/>
                    </a:lnTo>
                    <a:lnTo>
                      <a:pt x="657295" y="716633"/>
                    </a:lnTo>
                    <a:lnTo>
                      <a:pt x="658177" y="715486"/>
                    </a:lnTo>
                    <a:lnTo>
                      <a:pt x="658177" y="714605"/>
                    </a:lnTo>
                    <a:lnTo>
                      <a:pt x="661086" y="713194"/>
                    </a:lnTo>
                    <a:lnTo>
                      <a:pt x="666641" y="712577"/>
                    </a:lnTo>
                    <a:lnTo>
                      <a:pt x="670168" y="711695"/>
                    </a:lnTo>
                    <a:lnTo>
                      <a:pt x="668669" y="709932"/>
                    </a:lnTo>
                    <a:lnTo>
                      <a:pt x="666641" y="711695"/>
                    </a:lnTo>
                    <a:lnTo>
                      <a:pt x="665759" y="710813"/>
                    </a:lnTo>
                    <a:lnTo>
                      <a:pt x="665142" y="709668"/>
                    </a:lnTo>
                    <a:lnTo>
                      <a:pt x="665759" y="705524"/>
                    </a:lnTo>
                    <a:lnTo>
                      <a:pt x="669815" y="704025"/>
                    </a:lnTo>
                    <a:lnTo>
                      <a:pt x="670697" y="702261"/>
                    </a:lnTo>
                    <a:lnTo>
                      <a:pt x="672460" y="701997"/>
                    </a:lnTo>
                    <a:lnTo>
                      <a:pt x="673606" y="703496"/>
                    </a:lnTo>
                    <a:lnTo>
                      <a:pt x="672460" y="704377"/>
                    </a:lnTo>
                    <a:lnTo>
                      <a:pt x="675105" y="705524"/>
                    </a:lnTo>
                    <a:lnTo>
                      <a:pt x="678632" y="702349"/>
                    </a:lnTo>
                    <a:lnTo>
                      <a:pt x="679249" y="703496"/>
                    </a:lnTo>
                    <a:lnTo>
                      <a:pt x="682776" y="701468"/>
                    </a:lnTo>
                    <a:lnTo>
                      <a:pt x="684539" y="701468"/>
                    </a:lnTo>
                    <a:lnTo>
                      <a:pt x="686567" y="703496"/>
                    </a:lnTo>
                    <a:lnTo>
                      <a:pt x="685685" y="704377"/>
                    </a:lnTo>
                    <a:lnTo>
                      <a:pt x="684187" y="705524"/>
                    </a:lnTo>
                    <a:lnTo>
                      <a:pt x="681541" y="705876"/>
                    </a:lnTo>
                    <a:lnTo>
                      <a:pt x="680043" y="706758"/>
                    </a:lnTo>
                    <a:lnTo>
                      <a:pt x="681541" y="707640"/>
                    </a:lnTo>
                    <a:lnTo>
                      <a:pt x="684451" y="707904"/>
                    </a:lnTo>
                    <a:lnTo>
                      <a:pt x="687978" y="706758"/>
                    </a:lnTo>
                    <a:lnTo>
                      <a:pt x="692651" y="707375"/>
                    </a:lnTo>
                    <a:lnTo>
                      <a:pt x="696706" y="704113"/>
                    </a:lnTo>
                    <a:lnTo>
                      <a:pt x="698205" y="702349"/>
                    </a:lnTo>
                    <a:lnTo>
                      <a:pt x="696442" y="701732"/>
                    </a:lnTo>
                    <a:lnTo>
                      <a:pt x="696177" y="700233"/>
                    </a:lnTo>
                    <a:lnTo>
                      <a:pt x="699087" y="695825"/>
                    </a:lnTo>
                    <a:lnTo>
                      <a:pt x="700586" y="696971"/>
                    </a:lnTo>
                    <a:lnTo>
                      <a:pt x="700586" y="698734"/>
                    </a:lnTo>
                    <a:lnTo>
                      <a:pt x="699440" y="701909"/>
                    </a:lnTo>
                    <a:lnTo>
                      <a:pt x="700586" y="702526"/>
                    </a:lnTo>
                    <a:lnTo>
                      <a:pt x="702085" y="705171"/>
                    </a:lnTo>
                    <a:lnTo>
                      <a:pt x="707287" y="705435"/>
                    </a:lnTo>
                    <a:lnTo>
                      <a:pt x="711078" y="706317"/>
                    </a:lnTo>
                    <a:lnTo>
                      <a:pt x="714605" y="705435"/>
                    </a:lnTo>
                    <a:lnTo>
                      <a:pt x="717514" y="704554"/>
                    </a:lnTo>
                    <a:lnTo>
                      <a:pt x="719807" y="705700"/>
                    </a:lnTo>
                    <a:lnTo>
                      <a:pt x="722716" y="703319"/>
                    </a:lnTo>
                    <a:lnTo>
                      <a:pt x="724479" y="698646"/>
                    </a:lnTo>
                    <a:lnTo>
                      <a:pt x="725626" y="697765"/>
                    </a:lnTo>
                    <a:lnTo>
                      <a:pt x="724127" y="697500"/>
                    </a:lnTo>
                    <a:lnTo>
                      <a:pt x="724744" y="696618"/>
                    </a:lnTo>
                    <a:lnTo>
                      <a:pt x="722716" y="693092"/>
                    </a:lnTo>
                    <a:lnTo>
                      <a:pt x="725008" y="689301"/>
                    </a:lnTo>
                    <a:lnTo>
                      <a:pt x="729417" y="687537"/>
                    </a:lnTo>
                    <a:lnTo>
                      <a:pt x="730563" y="685245"/>
                    </a:lnTo>
                    <a:lnTo>
                      <a:pt x="731709" y="685509"/>
                    </a:lnTo>
                    <a:lnTo>
                      <a:pt x="733737" y="682335"/>
                    </a:lnTo>
                    <a:lnTo>
                      <a:pt x="736382" y="684980"/>
                    </a:lnTo>
                    <a:lnTo>
                      <a:pt x="739027" y="687008"/>
                    </a:lnTo>
                    <a:lnTo>
                      <a:pt x="741937" y="681189"/>
                    </a:lnTo>
                    <a:lnTo>
                      <a:pt x="743700" y="678897"/>
                    </a:lnTo>
                    <a:lnTo>
                      <a:pt x="742819" y="674488"/>
                    </a:lnTo>
                    <a:lnTo>
                      <a:pt x="737264" y="669815"/>
                    </a:lnTo>
                    <a:lnTo>
                      <a:pt x="740438" y="667170"/>
                    </a:lnTo>
                    <a:lnTo>
                      <a:pt x="742201" y="660205"/>
                    </a:lnTo>
                    <a:lnTo>
                      <a:pt x="744846" y="657295"/>
                    </a:lnTo>
                    <a:lnTo>
                      <a:pt x="745111" y="652623"/>
                    </a:lnTo>
                    <a:lnTo>
                      <a:pt x="749167" y="649977"/>
                    </a:lnTo>
                    <a:lnTo>
                      <a:pt x="753222" y="645304"/>
                    </a:lnTo>
                    <a:lnTo>
                      <a:pt x="753751" y="640896"/>
                    </a:lnTo>
                    <a:lnTo>
                      <a:pt x="755779" y="636840"/>
                    </a:lnTo>
                    <a:lnTo>
                      <a:pt x="753487" y="635959"/>
                    </a:lnTo>
                    <a:lnTo>
                      <a:pt x="754016" y="635694"/>
                    </a:lnTo>
                    <a:lnTo>
                      <a:pt x="755515" y="636223"/>
                    </a:lnTo>
                    <a:lnTo>
                      <a:pt x="758160" y="632432"/>
                    </a:lnTo>
                    <a:lnTo>
                      <a:pt x="758160" y="629522"/>
                    </a:lnTo>
                    <a:lnTo>
                      <a:pt x="759306" y="626877"/>
                    </a:lnTo>
                    <a:lnTo>
                      <a:pt x="763362" y="622822"/>
                    </a:lnTo>
                    <a:lnTo>
                      <a:pt x="765125" y="619912"/>
                    </a:lnTo>
                    <a:lnTo>
                      <a:pt x="764508" y="614974"/>
                    </a:lnTo>
                    <a:lnTo>
                      <a:pt x="767417" y="610566"/>
                    </a:lnTo>
                    <a:lnTo>
                      <a:pt x="764508" y="609067"/>
                    </a:lnTo>
                    <a:lnTo>
                      <a:pt x="765125" y="604394"/>
                    </a:lnTo>
                    <a:lnTo>
                      <a:pt x="764243" y="603248"/>
                    </a:lnTo>
                    <a:lnTo>
                      <a:pt x="764508" y="602102"/>
                    </a:lnTo>
                    <a:lnTo>
                      <a:pt x="766007" y="602455"/>
                    </a:lnTo>
                    <a:lnTo>
                      <a:pt x="764243" y="599281"/>
                    </a:lnTo>
                    <a:lnTo>
                      <a:pt x="764243" y="596636"/>
                    </a:lnTo>
                    <a:lnTo>
                      <a:pt x="765125" y="595137"/>
                    </a:lnTo>
                    <a:lnTo>
                      <a:pt x="764508" y="592492"/>
                    </a:lnTo>
                    <a:lnTo>
                      <a:pt x="765390" y="585791"/>
                    </a:lnTo>
                    <a:lnTo>
                      <a:pt x="767682" y="580853"/>
                    </a:lnTo>
                    <a:lnTo>
                      <a:pt x="769974" y="578208"/>
                    </a:lnTo>
                    <a:lnTo>
                      <a:pt x="773766" y="574417"/>
                    </a:lnTo>
                    <a:lnTo>
                      <a:pt x="775529" y="572389"/>
                    </a:lnTo>
                    <a:lnTo>
                      <a:pt x="775793" y="569127"/>
                    </a:lnTo>
                    <a:lnTo>
                      <a:pt x="774295" y="567099"/>
                    </a:lnTo>
                    <a:lnTo>
                      <a:pt x="774912" y="563308"/>
                    </a:lnTo>
                    <a:lnTo>
                      <a:pt x="775793" y="558371"/>
                    </a:lnTo>
                    <a:lnTo>
                      <a:pt x="774912" y="554050"/>
                    </a:lnTo>
                    <a:lnTo>
                      <a:pt x="775176" y="548496"/>
                    </a:lnTo>
                    <a:lnTo>
                      <a:pt x="776322" y="544440"/>
                    </a:lnTo>
                    <a:lnTo>
                      <a:pt x="777821" y="540913"/>
                    </a:lnTo>
                    <a:lnTo>
                      <a:pt x="777557" y="538621"/>
                    </a:lnTo>
                    <a:lnTo>
                      <a:pt x="778438" y="535447"/>
                    </a:lnTo>
                    <a:lnTo>
                      <a:pt x="778438" y="533419"/>
                    </a:lnTo>
                    <a:lnTo>
                      <a:pt x="779585" y="529628"/>
                    </a:lnTo>
                    <a:lnTo>
                      <a:pt x="778086" y="521781"/>
                    </a:lnTo>
                    <a:lnTo>
                      <a:pt x="778703" y="517989"/>
                    </a:lnTo>
                    <a:lnTo>
                      <a:pt x="776940" y="513934"/>
                    </a:lnTo>
                    <a:lnTo>
                      <a:pt x="777204" y="512787"/>
                    </a:lnTo>
                    <a:lnTo>
                      <a:pt x="775176" y="500268"/>
                    </a:lnTo>
                    <a:lnTo>
                      <a:pt x="774030" y="496212"/>
                    </a:lnTo>
                    <a:lnTo>
                      <a:pt x="775176" y="491803"/>
                    </a:lnTo>
                    <a:lnTo>
                      <a:pt x="774912" y="485984"/>
                    </a:lnTo>
                    <a:lnTo>
                      <a:pt x="776675" y="483604"/>
                    </a:lnTo>
                    <a:lnTo>
                      <a:pt x="776058" y="481223"/>
                    </a:lnTo>
                    <a:lnTo>
                      <a:pt x="776675" y="477432"/>
                    </a:lnTo>
                    <a:lnTo>
                      <a:pt x="775529" y="476903"/>
                    </a:lnTo>
                    <a:lnTo>
                      <a:pt x="774030" y="482457"/>
                    </a:lnTo>
                    <a:lnTo>
                      <a:pt x="773413" y="483339"/>
                    </a:lnTo>
                    <a:lnTo>
                      <a:pt x="774030" y="481311"/>
                    </a:lnTo>
                    <a:lnTo>
                      <a:pt x="774030" y="480165"/>
                    </a:lnTo>
                    <a:lnTo>
                      <a:pt x="774295" y="478666"/>
                    </a:lnTo>
                    <a:lnTo>
                      <a:pt x="773149" y="476638"/>
                    </a:lnTo>
                    <a:lnTo>
                      <a:pt x="774647" y="476109"/>
                    </a:lnTo>
                    <a:lnTo>
                      <a:pt x="772355" y="473200"/>
                    </a:lnTo>
                    <a:lnTo>
                      <a:pt x="772620" y="472935"/>
                    </a:lnTo>
                    <a:lnTo>
                      <a:pt x="774647" y="474963"/>
                    </a:lnTo>
                    <a:lnTo>
                      <a:pt x="775000" y="47328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5" name="Freihandform: Form 1764">
                <a:extLst>
                  <a:ext uri="{FF2B5EF4-FFF2-40B4-BE49-F238E27FC236}">
                    <a16:creationId xmlns:a16="http://schemas.microsoft.com/office/drawing/2014/main" id="{964505DC-EDA7-3C21-081F-A6960543C11A}"/>
                  </a:ext>
                </a:extLst>
              </p:cNvPr>
              <p:cNvSpPr/>
              <p:nvPr/>
            </p:nvSpPr>
            <p:spPr>
              <a:xfrm>
                <a:off x="2546996" y="4392327"/>
                <a:ext cx="276760" cy="328779"/>
              </a:xfrm>
              <a:custGeom>
                <a:avLst/>
                <a:gdLst>
                  <a:gd name="connsiteX0" fmla="*/ 13402 w 276760"/>
                  <a:gd name="connsiteY0" fmla="*/ 194323 h 328779"/>
                  <a:gd name="connsiteX1" fmla="*/ 14019 w 276760"/>
                  <a:gd name="connsiteY1" fmla="*/ 197762 h 328779"/>
                  <a:gd name="connsiteX2" fmla="*/ 20102 w 276760"/>
                  <a:gd name="connsiteY2" fmla="*/ 206226 h 328779"/>
                  <a:gd name="connsiteX3" fmla="*/ 25128 w 276760"/>
                  <a:gd name="connsiteY3" fmla="*/ 216453 h 328779"/>
                  <a:gd name="connsiteX4" fmla="*/ 30330 w 276760"/>
                  <a:gd name="connsiteY4" fmla="*/ 228709 h 328779"/>
                  <a:gd name="connsiteX5" fmla="*/ 35885 w 276760"/>
                  <a:gd name="connsiteY5" fmla="*/ 241581 h 328779"/>
                  <a:gd name="connsiteX6" fmla="*/ 38177 w 276760"/>
                  <a:gd name="connsiteY6" fmla="*/ 252602 h 328779"/>
                  <a:gd name="connsiteX7" fmla="*/ 39059 w 276760"/>
                  <a:gd name="connsiteY7" fmla="*/ 262565 h 328779"/>
                  <a:gd name="connsiteX8" fmla="*/ 43202 w 276760"/>
                  <a:gd name="connsiteY8" fmla="*/ 275085 h 328779"/>
                  <a:gd name="connsiteX9" fmla="*/ 51049 w 276760"/>
                  <a:gd name="connsiteY9" fmla="*/ 293160 h 328779"/>
                  <a:gd name="connsiteX10" fmla="*/ 58896 w 276760"/>
                  <a:gd name="connsiteY10" fmla="*/ 311499 h 328779"/>
                  <a:gd name="connsiteX11" fmla="*/ 69124 w 276760"/>
                  <a:gd name="connsiteY11" fmla="*/ 328780 h 328779"/>
                  <a:gd name="connsiteX12" fmla="*/ 77588 w 276760"/>
                  <a:gd name="connsiteY12" fmla="*/ 326752 h 328779"/>
                  <a:gd name="connsiteX13" fmla="*/ 78470 w 276760"/>
                  <a:gd name="connsiteY13" fmla="*/ 324371 h 328779"/>
                  <a:gd name="connsiteX14" fmla="*/ 80498 w 276760"/>
                  <a:gd name="connsiteY14" fmla="*/ 319698 h 328779"/>
                  <a:gd name="connsiteX15" fmla="*/ 81908 w 276760"/>
                  <a:gd name="connsiteY15" fmla="*/ 318552 h 328779"/>
                  <a:gd name="connsiteX16" fmla="*/ 84906 w 276760"/>
                  <a:gd name="connsiteY16" fmla="*/ 315907 h 328779"/>
                  <a:gd name="connsiteX17" fmla="*/ 85435 w 276760"/>
                  <a:gd name="connsiteY17" fmla="*/ 312381 h 328779"/>
                  <a:gd name="connsiteX18" fmla="*/ 87816 w 276760"/>
                  <a:gd name="connsiteY18" fmla="*/ 312116 h 328779"/>
                  <a:gd name="connsiteX19" fmla="*/ 93018 w 276760"/>
                  <a:gd name="connsiteY19" fmla="*/ 309206 h 328779"/>
                  <a:gd name="connsiteX20" fmla="*/ 94517 w 276760"/>
                  <a:gd name="connsiteY20" fmla="*/ 308589 h 328779"/>
                  <a:gd name="connsiteX21" fmla="*/ 95398 w 276760"/>
                  <a:gd name="connsiteY21" fmla="*/ 301007 h 328779"/>
                  <a:gd name="connsiteX22" fmla="*/ 98572 w 276760"/>
                  <a:gd name="connsiteY22" fmla="*/ 302770 h 328779"/>
                  <a:gd name="connsiteX23" fmla="*/ 99454 w 276760"/>
                  <a:gd name="connsiteY23" fmla="*/ 304798 h 328779"/>
                  <a:gd name="connsiteX24" fmla="*/ 105009 w 276760"/>
                  <a:gd name="connsiteY24" fmla="*/ 308325 h 328779"/>
                  <a:gd name="connsiteX25" fmla="*/ 109681 w 276760"/>
                  <a:gd name="connsiteY25" fmla="*/ 308942 h 328779"/>
                  <a:gd name="connsiteX26" fmla="*/ 112591 w 276760"/>
                  <a:gd name="connsiteY26" fmla="*/ 308942 h 328779"/>
                  <a:gd name="connsiteX27" fmla="*/ 123700 w 276760"/>
                  <a:gd name="connsiteY27" fmla="*/ 309206 h 328779"/>
                  <a:gd name="connsiteX28" fmla="*/ 128902 w 276760"/>
                  <a:gd name="connsiteY28" fmla="*/ 310970 h 328779"/>
                  <a:gd name="connsiteX29" fmla="*/ 131547 w 276760"/>
                  <a:gd name="connsiteY29" fmla="*/ 312116 h 328779"/>
                  <a:gd name="connsiteX30" fmla="*/ 132693 w 276760"/>
                  <a:gd name="connsiteY30" fmla="*/ 315643 h 328779"/>
                  <a:gd name="connsiteX31" fmla="*/ 133840 w 276760"/>
                  <a:gd name="connsiteY31" fmla="*/ 317671 h 328779"/>
                  <a:gd name="connsiteX32" fmla="*/ 135603 w 276760"/>
                  <a:gd name="connsiteY32" fmla="*/ 322608 h 328779"/>
                  <a:gd name="connsiteX33" fmla="*/ 137631 w 276760"/>
                  <a:gd name="connsiteY33" fmla="*/ 325253 h 328779"/>
                  <a:gd name="connsiteX34" fmla="*/ 139747 w 276760"/>
                  <a:gd name="connsiteY34" fmla="*/ 327898 h 328779"/>
                  <a:gd name="connsiteX35" fmla="*/ 139747 w 276760"/>
                  <a:gd name="connsiteY35" fmla="*/ 325518 h 328779"/>
                  <a:gd name="connsiteX36" fmla="*/ 140011 w 276760"/>
                  <a:gd name="connsiteY36" fmla="*/ 322079 h 328779"/>
                  <a:gd name="connsiteX37" fmla="*/ 140540 w 276760"/>
                  <a:gd name="connsiteY37" fmla="*/ 319698 h 328779"/>
                  <a:gd name="connsiteX38" fmla="*/ 142304 w 276760"/>
                  <a:gd name="connsiteY38" fmla="*/ 315025 h 328779"/>
                  <a:gd name="connsiteX39" fmla="*/ 143450 w 276760"/>
                  <a:gd name="connsiteY39" fmla="*/ 312381 h 328779"/>
                  <a:gd name="connsiteX40" fmla="*/ 144067 w 276760"/>
                  <a:gd name="connsiteY40" fmla="*/ 310353 h 328779"/>
                  <a:gd name="connsiteX41" fmla="*/ 145213 w 276760"/>
                  <a:gd name="connsiteY41" fmla="*/ 308325 h 328779"/>
                  <a:gd name="connsiteX42" fmla="*/ 149357 w 276760"/>
                  <a:gd name="connsiteY42" fmla="*/ 306297 h 328779"/>
                  <a:gd name="connsiteX43" fmla="*/ 151121 w 276760"/>
                  <a:gd name="connsiteY43" fmla="*/ 306297 h 328779"/>
                  <a:gd name="connsiteX44" fmla="*/ 170077 w 276760"/>
                  <a:gd name="connsiteY44" fmla="*/ 309824 h 328779"/>
                  <a:gd name="connsiteX45" fmla="*/ 172634 w 276760"/>
                  <a:gd name="connsiteY45" fmla="*/ 310970 h 328779"/>
                  <a:gd name="connsiteX46" fmla="*/ 173251 w 276760"/>
                  <a:gd name="connsiteY46" fmla="*/ 312381 h 328779"/>
                  <a:gd name="connsiteX47" fmla="*/ 173868 w 276760"/>
                  <a:gd name="connsiteY47" fmla="*/ 312381 h 328779"/>
                  <a:gd name="connsiteX48" fmla="*/ 174750 w 276760"/>
                  <a:gd name="connsiteY48" fmla="*/ 298450 h 328779"/>
                  <a:gd name="connsiteX49" fmla="*/ 179334 w 276760"/>
                  <a:gd name="connsiteY49" fmla="*/ 282932 h 328779"/>
                  <a:gd name="connsiteX50" fmla="*/ 177924 w 276760"/>
                  <a:gd name="connsiteY50" fmla="*/ 271030 h 328779"/>
                  <a:gd name="connsiteX51" fmla="*/ 181980 w 276760"/>
                  <a:gd name="connsiteY51" fmla="*/ 262213 h 328779"/>
                  <a:gd name="connsiteX52" fmla="*/ 191061 w 276760"/>
                  <a:gd name="connsiteY52" fmla="*/ 252602 h 328779"/>
                  <a:gd name="connsiteX53" fmla="*/ 193089 w 276760"/>
                  <a:gd name="connsiteY53" fmla="*/ 243874 h 328779"/>
                  <a:gd name="connsiteX54" fmla="*/ 210546 w 276760"/>
                  <a:gd name="connsiteY54" fmla="*/ 243257 h 328779"/>
                  <a:gd name="connsiteX55" fmla="*/ 217864 w 276760"/>
                  <a:gd name="connsiteY55" fmla="*/ 239818 h 328779"/>
                  <a:gd name="connsiteX56" fmla="*/ 224300 w 276760"/>
                  <a:gd name="connsiteY56" fmla="*/ 239201 h 328779"/>
                  <a:gd name="connsiteX57" fmla="*/ 238319 w 276760"/>
                  <a:gd name="connsiteY57" fmla="*/ 238319 h 328779"/>
                  <a:gd name="connsiteX58" fmla="*/ 249076 w 276760"/>
                  <a:gd name="connsiteY58" fmla="*/ 245372 h 328779"/>
                  <a:gd name="connsiteX59" fmla="*/ 256129 w 276760"/>
                  <a:gd name="connsiteY59" fmla="*/ 247048 h 328779"/>
                  <a:gd name="connsiteX60" fmla="*/ 264858 w 276760"/>
                  <a:gd name="connsiteY60" fmla="*/ 252602 h 328779"/>
                  <a:gd name="connsiteX61" fmla="*/ 265122 w 276760"/>
                  <a:gd name="connsiteY61" fmla="*/ 254366 h 328779"/>
                  <a:gd name="connsiteX62" fmla="*/ 265387 w 276760"/>
                  <a:gd name="connsiteY62" fmla="*/ 256394 h 328779"/>
                  <a:gd name="connsiteX63" fmla="*/ 265739 w 276760"/>
                  <a:gd name="connsiteY63" fmla="*/ 259303 h 328779"/>
                  <a:gd name="connsiteX64" fmla="*/ 265387 w 276760"/>
                  <a:gd name="connsiteY64" fmla="*/ 260802 h 328779"/>
                  <a:gd name="connsiteX65" fmla="*/ 266621 w 276760"/>
                  <a:gd name="connsiteY65" fmla="*/ 260537 h 328779"/>
                  <a:gd name="connsiteX66" fmla="*/ 268296 w 276760"/>
                  <a:gd name="connsiteY66" fmla="*/ 258509 h 328779"/>
                  <a:gd name="connsiteX67" fmla="*/ 271823 w 276760"/>
                  <a:gd name="connsiteY67" fmla="*/ 256129 h 328779"/>
                  <a:gd name="connsiteX68" fmla="*/ 271294 w 276760"/>
                  <a:gd name="connsiteY68" fmla="*/ 233029 h 328779"/>
                  <a:gd name="connsiteX69" fmla="*/ 272440 w 276760"/>
                  <a:gd name="connsiteY69" fmla="*/ 229855 h 328779"/>
                  <a:gd name="connsiteX70" fmla="*/ 274468 w 276760"/>
                  <a:gd name="connsiteY70" fmla="*/ 212662 h 328779"/>
                  <a:gd name="connsiteX71" fmla="*/ 276761 w 276760"/>
                  <a:gd name="connsiteY71" fmla="*/ 211516 h 328779"/>
                  <a:gd name="connsiteX72" fmla="*/ 270060 w 276760"/>
                  <a:gd name="connsiteY72" fmla="*/ 203052 h 328779"/>
                  <a:gd name="connsiteX73" fmla="*/ 270060 w 276760"/>
                  <a:gd name="connsiteY73" fmla="*/ 200407 h 328779"/>
                  <a:gd name="connsiteX74" fmla="*/ 269178 w 276760"/>
                  <a:gd name="connsiteY74" fmla="*/ 196615 h 328779"/>
                  <a:gd name="connsiteX75" fmla="*/ 254366 w 276760"/>
                  <a:gd name="connsiteY75" fmla="*/ 188504 h 328779"/>
                  <a:gd name="connsiteX76" fmla="*/ 251456 w 276760"/>
                  <a:gd name="connsiteY76" fmla="*/ 172722 h 328779"/>
                  <a:gd name="connsiteX77" fmla="*/ 253484 w 276760"/>
                  <a:gd name="connsiteY77" fmla="*/ 168049 h 328779"/>
                  <a:gd name="connsiteX78" fmla="*/ 253749 w 276760"/>
                  <a:gd name="connsiteY78" fmla="*/ 163993 h 328779"/>
                  <a:gd name="connsiteX79" fmla="*/ 213808 w 276760"/>
                  <a:gd name="connsiteY79" fmla="*/ 163640 h 328779"/>
                  <a:gd name="connsiteX80" fmla="*/ 202964 w 276760"/>
                  <a:gd name="connsiteY80" fmla="*/ 134545 h 328779"/>
                  <a:gd name="connsiteX81" fmla="*/ 205609 w 276760"/>
                  <a:gd name="connsiteY81" fmla="*/ 127491 h 328779"/>
                  <a:gd name="connsiteX82" fmla="*/ 207108 w 276760"/>
                  <a:gd name="connsiteY82" fmla="*/ 122554 h 328779"/>
                  <a:gd name="connsiteX83" fmla="*/ 207108 w 276760"/>
                  <a:gd name="connsiteY83" fmla="*/ 119644 h 328779"/>
                  <a:gd name="connsiteX84" fmla="*/ 204198 w 276760"/>
                  <a:gd name="connsiteY84" fmla="*/ 112326 h 328779"/>
                  <a:gd name="connsiteX85" fmla="*/ 205344 w 276760"/>
                  <a:gd name="connsiteY85" fmla="*/ 106507 h 328779"/>
                  <a:gd name="connsiteX86" fmla="*/ 202964 w 276760"/>
                  <a:gd name="connsiteY86" fmla="*/ 102099 h 328779"/>
                  <a:gd name="connsiteX87" fmla="*/ 196616 w 276760"/>
                  <a:gd name="connsiteY87" fmla="*/ 98925 h 328779"/>
                  <a:gd name="connsiteX88" fmla="*/ 191325 w 276760"/>
                  <a:gd name="connsiteY88" fmla="*/ 96015 h 328779"/>
                  <a:gd name="connsiteX89" fmla="*/ 189562 w 276760"/>
                  <a:gd name="connsiteY89" fmla="*/ 93635 h 328779"/>
                  <a:gd name="connsiteX90" fmla="*/ 185506 w 276760"/>
                  <a:gd name="connsiteY90" fmla="*/ 95751 h 328779"/>
                  <a:gd name="connsiteX91" fmla="*/ 180833 w 276760"/>
                  <a:gd name="connsiteY91" fmla="*/ 96015 h 328779"/>
                  <a:gd name="connsiteX92" fmla="*/ 172634 w 276760"/>
                  <a:gd name="connsiteY92" fmla="*/ 96015 h 328779"/>
                  <a:gd name="connsiteX93" fmla="*/ 165933 w 276760"/>
                  <a:gd name="connsiteY93" fmla="*/ 88697 h 328779"/>
                  <a:gd name="connsiteX94" fmla="*/ 163640 w 276760"/>
                  <a:gd name="connsiteY94" fmla="*/ 85259 h 328779"/>
                  <a:gd name="connsiteX95" fmla="*/ 157821 w 276760"/>
                  <a:gd name="connsiteY95" fmla="*/ 84024 h 328779"/>
                  <a:gd name="connsiteX96" fmla="*/ 154030 w 276760"/>
                  <a:gd name="connsiteY96" fmla="*/ 81996 h 328779"/>
                  <a:gd name="connsiteX97" fmla="*/ 150768 w 276760"/>
                  <a:gd name="connsiteY97" fmla="*/ 82614 h 328779"/>
                  <a:gd name="connsiteX98" fmla="*/ 145830 w 276760"/>
                  <a:gd name="connsiteY98" fmla="*/ 78205 h 328779"/>
                  <a:gd name="connsiteX99" fmla="*/ 142656 w 276760"/>
                  <a:gd name="connsiteY99" fmla="*/ 73003 h 328779"/>
                  <a:gd name="connsiteX100" fmla="*/ 138865 w 276760"/>
                  <a:gd name="connsiteY100" fmla="*/ 74679 h 328779"/>
                  <a:gd name="connsiteX101" fmla="*/ 126610 w 276760"/>
                  <a:gd name="connsiteY101" fmla="*/ 68859 h 328779"/>
                  <a:gd name="connsiteX102" fmla="*/ 121937 w 276760"/>
                  <a:gd name="connsiteY102" fmla="*/ 69477 h 328779"/>
                  <a:gd name="connsiteX103" fmla="*/ 119909 w 276760"/>
                  <a:gd name="connsiteY103" fmla="*/ 69212 h 328779"/>
                  <a:gd name="connsiteX104" fmla="*/ 112591 w 276760"/>
                  <a:gd name="connsiteY104" fmla="*/ 66567 h 328779"/>
                  <a:gd name="connsiteX105" fmla="*/ 109417 w 276760"/>
                  <a:gd name="connsiteY105" fmla="*/ 62511 h 328779"/>
                  <a:gd name="connsiteX106" fmla="*/ 107654 w 276760"/>
                  <a:gd name="connsiteY106" fmla="*/ 59514 h 328779"/>
                  <a:gd name="connsiteX107" fmla="*/ 105626 w 276760"/>
                  <a:gd name="connsiteY107" fmla="*/ 57838 h 328779"/>
                  <a:gd name="connsiteX108" fmla="*/ 100336 w 276760"/>
                  <a:gd name="connsiteY108" fmla="*/ 52548 h 328779"/>
                  <a:gd name="connsiteX109" fmla="*/ 98308 w 276760"/>
                  <a:gd name="connsiteY109" fmla="*/ 49903 h 328779"/>
                  <a:gd name="connsiteX110" fmla="*/ 95927 w 276760"/>
                  <a:gd name="connsiteY110" fmla="*/ 50168 h 328779"/>
                  <a:gd name="connsiteX111" fmla="*/ 95398 w 276760"/>
                  <a:gd name="connsiteY111" fmla="*/ 44966 h 328779"/>
                  <a:gd name="connsiteX112" fmla="*/ 93018 w 276760"/>
                  <a:gd name="connsiteY112" fmla="*/ 40558 h 328779"/>
                  <a:gd name="connsiteX113" fmla="*/ 91871 w 276760"/>
                  <a:gd name="connsiteY113" fmla="*/ 37648 h 328779"/>
                  <a:gd name="connsiteX114" fmla="*/ 92753 w 276760"/>
                  <a:gd name="connsiteY114" fmla="*/ 35091 h 328779"/>
                  <a:gd name="connsiteX115" fmla="*/ 92136 w 276760"/>
                  <a:gd name="connsiteY115" fmla="*/ 28655 h 328779"/>
                  <a:gd name="connsiteX116" fmla="*/ 90990 w 276760"/>
                  <a:gd name="connsiteY116" fmla="*/ 23717 h 328779"/>
                  <a:gd name="connsiteX117" fmla="*/ 89226 w 276760"/>
                  <a:gd name="connsiteY117" fmla="*/ 19573 h 328779"/>
                  <a:gd name="connsiteX118" fmla="*/ 91254 w 276760"/>
                  <a:gd name="connsiteY118" fmla="*/ 8200 h 328779"/>
                  <a:gd name="connsiteX119" fmla="*/ 90108 w 276760"/>
                  <a:gd name="connsiteY119" fmla="*/ 0 h 328779"/>
                  <a:gd name="connsiteX120" fmla="*/ 87199 w 276760"/>
                  <a:gd name="connsiteY120" fmla="*/ 0 h 328779"/>
                  <a:gd name="connsiteX121" fmla="*/ 85788 w 276760"/>
                  <a:gd name="connsiteY121" fmla="*/ 3527 h 328779"/>
                  <a:gd name="connsiteX122" fmla="*/ 82261 w 276760"/>
                  <a:gd name="connsiteY122" fmla="*/ 1234 h 328779"/>
                  <a:gd name="connsiteX123" fmla="*/ 81115 w 276760"/>
                  <a:gd name="connsiteY123" fmla="*/ 882 h 328779"/>
                  <a:gd name="connsiteX124" fmla="*/ 80233 w 276760"/>
                  <a:gd name="connsiteY124" fmla="*/ 1234 h 328779"/>
                  <a:gd name="connsiteX125" fmla="*/ 74326 w 276760"/>
                  <a:gd name="connsiteY125" fmla="*/ 2116 h 328779"/>
                  <a:gd name="connsiteX126" fmla="*/ 68859 w 276760"/>
                  <a:gd name="connsiteY126" fmla="*/ 3527 h 328779"/>
                  <a:gd name="connsiteX127" fmla="*/ 62423 w 276760"/>
                  <a:gd name="connsiteY127" fmla="*/ 4673 h 328779"/>
                  <a:gd name="connsiteX128" fmla="*/ 59514 w 276760"/>
                  <a:gd name="connsiteY128" fmla="*/ 7053 h 328779"/>
                  <a:gd name="connsiteX129" fmla="*/ 51314 w 276760"/>
                  <a:gd name="connsiteY129" fmla="*/ 14900 h 328779"/>
                  <a:gd name="connsiteX130" fmla="*/ 48140 w 276760"/>
                  <a:gd name="connsiteY130" fmla="*/ 16046 h 328779"/>
                  <a:gd name="connsiteX131" fmla="*/ 46112 w 276760"/>
                  <a:gd name="connsiteY131" fmla="*/ 17810 h 328779"/>
                  <a:gd name="connsiteX132" fmla="*/ 39323 w 276760"/>
                  <a:gd name="connsiteY132" fmla="*/ 25128 h 328779"/>
                  <a:gd name="connsiteX133" fmla="*/ 32093 w 276760"/>
                  <a:gd name="connsiteY133" fmla="*/ 24511 h 328779"/>
                  <a:gd name="connsiteX134" fmla="*/ 24775 w 276760"/>
                  <a:gd name="connsiteY134" fmla="*/ 33592 h 328779"/>
                  <a:gd name="connsiteX135" fmla="*/ 21249 w 276760"/>
                  <a:gd name="connsiteY135" fmla="*/ 35091 h 328779"/>
                  <a:gd name="connsiteX136" fmla="*/ 16928 w 276760"/>
                  <a:gd name="connsiteY136" fmla="*/ 33592 h 328779"/>
                  <a:gd name="connsiteX137" fmla="*/ 14019 w 276760"/>
                  <a:gd name="connsiteY137" fmla="*/ 32975 h 328779"/>
                  <a:gd name="connsiteX138" fmla="*/ 2292 w 276760"/>
                  <a:gd name="connsiteY138" fmla="*/ 30947 h 328779"/>
                  <a:gd name="connsiteX139" fmla="*/ 0 w 276760"/>
                  <a:gd name="connsiteY139" fmla="*/ 30947 h 328779"/>
                  <a:gd name="connsiteX140" fmla="*/ 15429 w 276760"/>
                  <a:gd name="connsiteY140" fmla="*/ 57221 h 328779"/>
                  <a:gd name="connsiteX141" fmla="*/ 21601 w 276760"/>
                  <a:gd name="connsiteY141" fmla="*/ 69477 h 328779"/>
                  <a:gd name="connsiteX142" fmla="*/ 21249 w 276760"/>
                  <a:gd name="connsiteY142" fmla="*/ 69477 h 328779"/>
                  <a:gd name="connsiteX143" fmla="*/ 21249 w 276760"/>
                  <a:gd name="connsiteY143" fmla="*/ 70623 h 328779"/>
                  <a:gd name="connsiteX144" fmla="*/ 20984 w 276760"/>
                  <a:gd name="connsiteY144" fmla="*/ 71240 h 328779"/>
                  <a:gd name="connsiteX145" fmla="*/ 19838 w 276760"/>
                  <a:gd name="connsiteY145" fmla="*/ 72386 h 328779"/>
                  <a:gd name="connsiteX146" fmla="*/ 19573 w 276760"/>
                  <a:gd name="connsiteY146" fmla="*/ 72651 h 328779"/>
                  <a:gd name="connsiteX147" fmla="*/ 19573 w 276760"/>
                  <a:gd name="connsiteY147" fmla="*/ 73268 h 328779"/>
                  <a:gd name="connsiteX148" fmla="*/ 20720 w 276760"/>
                  <a:gd name="connsiteY148" fmla="*/ 73885 h 328779"/>
                  <a:gd name="connsiteX149" fmla="*/ 20367 w 276760"/>
                  <a:gd name="connsiteY149" fmla="*/ 75031 h 328779"/>
                  <a:gd name="connsiteX150" fmla="*/ 18075 w 276760"/>
                  <a:gd name="connsiteY150" fmla="*/ 75560 h 328779"/>
                  <a:gd name="connsiteX151" fmla="*/ 18075 w 276760"/>
                  <a:gd name="connsiteY151" fmla="*/ 76177 h 328779"/>
                  <a:gd name="connsiteX152" fmla="*/ 17457 w 276760"/>
                  <a:gd name="connsiteY152" fmla="*/ 76177 h 328779"/>
                  <a:gd name="connsiteX153" fmla="*/ 16928 w 276760"/>
                  <a:gd name="connsiteY153" fmla="*/ 77059 h 328779"/>
                  <a:gd name="connsiteX154" fmla="*/ 16576 w 276760"/>
                  <a:gd name="connsiteY154" fmla="*/ 77059 h 328779"/>
                  <a:gd name="connsiteX155" fmla="*/ 16311 w 276760"/>
                  <a:gd name="connsiteY155" fmla="*/ 78470 h 328779"/>
                  <a:gd name="connsiteX156" fmla="*/ 15782 w 276760"/>
                  <a:gd name="connsiteY156" fmla="*/ 78823 h 328779"/>
                  <a:gd name="connsiteX157" fmla="*/ 16047 w 276760"/>
                  <a:gd name="connsiteY157" fmla="*/ 81996 h 328779"/>
                  <a:gd name="connsiteX158" fmla="*/ 16576 w 276760"/>
                  <a:gd name="connsiteY158" fmla="*/ 84024 h 328779"/>
                  <a:gd name="connsiteX159" fmla="*/ 16311 w 276760"/>
                  <a:gd name="connsiteY159" fmla="*/ 86934 h 328779"/>
                  <a:gd name="connsiteX160" fmla="*/ 16928 w 276760"/>
                  <a:gd name="connsiteY160" fmla="*/ 88168 h 328779"/>
                  <a:gd name="connsiteX161" fmla="*/ 16928 w 276760"/>
                  <a:gd name="connsiteY161" fmla="*/ 95398 h 328779"/>
                  <a:gd name="connsiteX162" fmla="*/ 16576 w 276760"/>
                  <a:gd name="connsiteY162" fmla="*/ 96544 h 328779"/>
                  <a:gd name="connsiteX163" fmla="*/ 15782 w 276760"/>
                  <a:gd name="connsiteY163" fmla="*/ 97161 h 328779"/>
                  <a:gd name="connsiteX164" fmla="*/ 15782 w 276760"/>
                  <a:gd name="connsiteY164" fmla="*/ 98043 h 328779"/>
                  <a:gd name="connsiteX165" fmla="*/ 14548 w 276760"/>
                  <a:gd name="connsiteY165" fmla="*/ 98043 h 328779"/>
                  <a:gd name="connsiteX166" fmla="*/ 14548 w 276760"/>
                  <a:gd name="connsiteY166" fmla="*/ 98308 h 328779"/>
                  <a:gd name="connsiteX167" fmla="*/ 14900 w 276760"/>
                  <a:gd name="connsiteY167" fmla="*/ 99189 h 328779"/>
                  <a:gd name="connsiteX168" fmla="*/ 16311 w 276760"/>
                  <a:gd name="connsiteY168" fmla="*/ 100688 h 328779"/>
                  <a:gd name="connsiteX169" fmla="*/ 16047 w 276760"/>
                  <a:gd name="connsiteY169" fmla="*/ 102099 h 328779"/>
                  <a:gd name="connsiteX170" fmla="*/ 17193 w 276760"/>
                  <a:gd name="connsiteY170" fmla="*/ 103862 h 328779"/>
                  <a:gd name="connsiteX171" fmla="*/ 17457 w 276760"/>
                  <a:gd name="connsiteY171" fmla="*/ 106243 h 328779"/>
                  <a:gd name="connsiteX172" fmla="*/ 18075 w 276760"/>
                  <a:gd name="connsiteY172" fmla="*/ 106507 h 328779"/>
                  <a:gd name="connsiteX173" fmla="*/ 18956 w 276760"/>
                  <a:gd name="connsiteY173" fmla="*/ 107918 h 328779"/>
                  <a:gd name="connsiteX174" fmla="*/ 20102 w 276760"/>
                  <a:gd name="connsiteY174" fmla="*/ 110034 h 328779"/>
                  <a:gd name="connsiteX175" fmla="*/ 20720 w 276760"/>
                  <a:gd name="connsiteY175" fmla="*/ 112062 h 328779"/>
                  <a:gd name="connsiteX176" fmla="*/ 17193 w 276760"/>
                  <a:gd name="connsiteY176" fmla="*/ 113208 h 328779"/>
                  <a:gd name="connsiteX177" fmla="*/ 17193 w 276760"/>
                  <a:gd name="connsiteY177" fmla="*/ 115501 h 328779"/>
                  <a:gd name="connsiteX178" fmla="*/ 18075 w 276760"/>
                  <a:gd name="connsiteY178" fmla="*/ 115853 h 328779"/>
                  <a:gd name="connsiteX179" fmla="*/ 18075 w 276760"/>
                  <a:gd name="connsiteY179" fmla="*/ 116735 h 328779"/>
                  <a:gd name="connsiteX180" fmla="*/ 14548 w 276760"/>
                  <a:gd name="connsiteY180" fmla="*/ 119292 h 328779"/>
                  <a:gd name="connsiteX181" fmla="*/ 14900 w 276760"/>
                  <a:gd name="connsiteY181" fmla="*/ 121055 h 328779"/>
                  <a:gd name="connsiteX182" fmla="*/ 13402 w 276760"/>
                  <a:gd name="connsiteY182" fmla="*/ 121408 h 328779"/>
                  <a:gd name="connsiteX183" fmla="*/ 12520 w 276760"/>
                  <a:gd name="connsiteY183" fmla="*/ 123436 h 328779"/>
                  <a:gd name="connsiteX184" fmla="*/ 13666 w 276760"/>
                  <a:gd name="connsiteY184" fmla="*/ 125463 h 328779"/>
                  <a:gd name="connsiteX185" fmla="*/ 12520 w 276760"/>
                  <a:gd name="connsiteY185" fmla="*/ 125728 h 328779"/>
                  <a:gd name="connsiteX186" fmla="*/ 11374 w 276760"/>
                  <a:gd name="connsiteY186" fmla="*/ 126874 h 328779"/>
                  <a:gd name="connsiteX187" fmla="*/ 10492 w 276760"/>
                  <a:gd name="connsiteY187" fmla="*/ 127227 h 328779"/>
                  <a:gd name="connsiteX188" fmla="*/ 10492 w 276760"/>
                  <a:gd name="connsiteY188" fmla="*/ 128638 h 328779"/>
                  <a:gd name="connsiteX189" fmla="*/ 11109 w 276760"/>
                  <a:gd name="connsiteY189" fmla="*/ 129255 h 328779"/>
                  <a:gd name="connsiteX190" fmla="*/ 10228 w 276760"/>
                  <a:gd name="connsiteY190" fmla="*/ 130136 h 328779"/>
                  <a:gd name="connsiteX191" fmla="*/ 10492 w 276760"/>
                  <a:gd name="connsiteY191" fmla="*/ 131018 h 328779"/>
                  <a:gd name="connsiteX192" fmla="*/ 11903 w 276760"/>
                  <a:gd name="connsiteY192" fmla="*/ 132429 h 328779"/>
                  <a:gd name="connsiteX193" fmla="*/ 12784 w 276760"/>
                  <a:gd name="connsiteY193" fmla="*/ 134809 h 328779"/>
                  <a:gd name="connsiteX194" fmla="*/ 14900 w 276760"/>
                  <a:gd name="connsiteY194" fmla="*/ 135955 h 328779"/>
                  <a:gd name="connsiteX195" fmla="*/ 16311 w 276760"/>
                  <a:gd name="connsiteY195" fmla="*/ 137983 h 328779"/>
                  <a:gd name="connsiteX196" fmla="*/ 16576 w 276760"/>
                  <a:gd name="connsiteY196" fmla="*/ 138601 h 328779"/>
                  <a:gd name="connsiteX197" fmla="*/ 16311 w 276760"/>
                  <a:gd name="connsiteY197" fmla="*/ 138865 h 328779"/>
                  <a:gd name="connsiteX198" fmla="*/ 15165 w 276760"/>
                  <a:gd name="connsiteY198" fmla="*/ 138865 h 328779"/>
                  <a:gd name="connsiteX199" fmla="*/ 14900 w 276760"/>
                  <a:gd name="connsiteY199" fmla="*/ 139482 h 328779"/>
                  <a:gd name="connsiteX200" fmla="*/ 13666 w 276760"/>
                  <a:gd name="connsiteY200" fmla="*/ 140364 h 328779"/>
                  <a:gd name="connsiteX201" fmla="*/ 13402 w 276760"/>
                  <a:gd name="connsiteY201" fmla="*/ 141157 h 328779"/>
                  <a:gd name="connsiteX202" fmla="*/ 13402 w 276760"/>
                  <a:gd name="connsiteY202" fmla="*/ 141775 h 328779"/>
                  <a:gd name="connsiteX203" fmla="*/ 12784 w 276760"/>
                  <a:gd name="connsiteY203" fmla="*/ 142921 h 328779"/>
                  <a:gd name="connsiteX204" fmla="*/ 12784 w 276760"/>
                  <a:gd name="connsiteY204" fmla="*/ 144155 h 328779"/>
                  <a:gd name="connsiteX205" fmla="*/ 11109 w 276760"/>
                  <a:gd name="connsiteY205" fmla="*/ 147329 h 328779"/>
                  <a:gd name="connsiteX206" fmla="*/ 16928 w 276760"/>
                  <a:gd name="connsiteY206" fmla="*/ 160995 h 328779"/>
                  <a:gd name="connsiteX207" fmla="*/ 18339 w 276760"/>
                  <a:gd name="connsiteY207" fmla="*/ 162230 h 328779"/>
                  <a:gd name="connsiteX208" fmla="*/ 19838 w 276760"/>
                  <a:gd name="connsiteY208" fmla="*/ 162230 h 328779"/>
                  <a:gd name="connsiteX209" fmla="*/ 20367 w 276760"/>
                  <a:gd name="connsiteY209" fmla="*/ 161877 h 328779"/>
                  <a:gd name="connsiteX210" fmla="*/ 20720 w 276760"/>
                  <a:gd name="connsiteY210" fmla="*/ 162230 h 328779"/>
                  <a:gd name="connsiteX211" fmla="*/ 22130 w 276760"/>
                  <a:gd name="connsiteY211" fmla="*/ 162230 h 328779"/>
                  <a:gd name="connsiteX212" fmla="*/ 23629 w 276760"/>
                  <a:gd name="connsiteY212" fmla="*/ 163640 h 328779"/>
                  <a:gd name="connsiteX213" fmla="*/ 25128 w 276760"/>
                  <a:gd name="connsiteY213" fmla="*/ 164258 h 328779"/>
                  <a:gd name="connsiteX214" fmla="*/ 25657 w 276760"/>
                  <a:gd name="connsiteY214" fmla="*/ 164875 h 328779"/>
                  <a:gd name="connsiteX215" fmla="*/ 25393 w 276760"/>
                  <a:gd name="connsiteY215" fmla="*/ 165668 h 328779"/>
                  <a:gd name="connsiteX216" fmla="*/ 22483 w 276760"/>
                  <a:gd name="connsiteY216" fmla="*/ 167784 h 328779"/>
                  <a:gd name="connsiteX217" fmla="*/ 20984 w 276760"/>
                  <a:gd name="connsiteY217" fmla="*/ 168666 h 328779"/>
                  <a:gd name="connsiteX218" fmla="*/ 21249 w 276760"/>
                  <a:gd name="connsiteY218" fmla="*/ 171840 h 328779"/>
                  <a:gd name="connsiteX219" fmla="*/ 22130 w 276760"/>
                  <a:gd name="connsiteY219" fmla="*/ 173251 h 328779"/>
                  <a:gd name="connsiteX220" fmla="*/ 20720 w 276760"/>
                  <a:gd name="connsiteY220" fmla="*/ 174485 h 328779"/>
                  <a:gd name="connsiteX221" fmla="*/ 19221 w 276760"/>
                  <a:gd name="connsiteY221" fmla="*/ 175014 h 328779"/>
                  <a:gd name="connsiteX222" fmla="*/ 18692 w 276760"/>
                  <a:gd name="connsiteY222" fmla="*/ 177395 h 328779"/>
                  <a:gd name="connsiteX223" fmla="*/ 16311 w 276760"/>
                  <a:gd name="connsiteY223" fmla="*/ 179687 h 328779"/>
                  <a:gd name="connsiteX224" fmla="*/ 15429 w 276760"/>
                  <a:gd name="connsiteY224" fmla="*/ 181186 h 328779"/>
                  <a:gd name="connsiteX225" fmla="*/ 14019 w 276760"/>
                  <a:gd name="connsiteY225" fmla="*/ 182597 h 328779"/>
                  <a:gd name="connsiteX226" fmla="*/ 14900 w 276760"/>
                  <a:gd name="connsiteY226" fmla="*/ 182949 h 328779"/>
                  <a:gd name="connsiteX227" fmla="*/ 14900 w 276760"/>
                  <a:gd name="connsiteY227" fmla="*/ 183214 h 328779"/>
                  <a:gd name="connsiteX228" fmla="*/ 13666 w 276760"/>
                  <a:gd name="connsiteY228" fmla="*/ 184360 h 328779"/>
                  <a:gd name="connsiteX229" fmla="*/ 12784 w 276760"/>
                  <a:gd name="connsiteY229" fmla="*/ 184360 h 328779"/>
                  <a:gd name="connsiteX230" fmla="*/ 11109 w 276760"/>
                  <a:gd name="connsiteY230" fmla="*/ 186741 h 328779"/>
                  <a:gd name="connsiteX231" fmla="*/ 10228 w 276760"/>
                  <a:gd name="connsiteY231" fmla="*/ 186741 h 328779"/>
                  <a:gd name="connsiteX232" fmla="*/ 10492 w 276760"/>
                  <a:gd name="connsiteY232" fmla="*/ 187622 h 328779"/>
                  <a:gd name="connsiteX233" fmla="*/ 9875 w 276760"/>
                  <a:gd name="connsiteY233" fmla="*/ 189033 h 328779"/>
                  <a:gd name="connsiteX234" fmla="*/ 11374 w 276760"/>
                  <a:gd name="connsiteY234" fmla="*/ 189298 h 328779"/>
                  <a:gd name="connsiteX235" fmla="*/ 13137 w 276760"/>
                  <a:gd name="connsiteY235" fmla="*/ 191061 h 328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</a:cxnLst>
                <a:rect l="l" t="t" r="r" b="b"/>
                <a:pathLst>
                  <a:path w="276760" h="328779">
                    <a:moveTo>
                      <a:pt x="13402" y="194323"/>
                    </a:moveTo>
                    <a:lnTo>
                      <a:pt x="14019" y="197762"/>
                    </a:lnTo>
                    <a:lnTo>
                      <a:pt x="20102" y="206226"/>
                    </a:lnTo>
                    <a:lnTo>
                      <a:pt x="25128" y="216453"/>
                    </a:lnTo>
                    <a:lnTo>
                      <a:pt x="30330" y="228709"/>
                    </a:lnTo>
                    <a:lnTo>
                      <a:pt x="35885" y="241581"/>
                    </a:lnTo>
                    <a:lnTo>
                      <a:pt x="38177" y="252602"/>
                    </a:lnTo>
                    <a:lnTo>
                      <a:pt x="39059" y="262565"/>
                    </a:lnTo>
                    <a:lnTo>
                      <a:pt x="43202" y="275085"/>
                    </a:lnTo>
                    <a:lnTo>
                      <a:pt x="51049" y="293160"/>
                    </a:lnTo>
                    <a:lnTo>
                      <a:pt x="58896" y="311499"/>
                    </a:lnTo>
                    <a:lnTo>
                      <a:pt x="69124" y="328780"/>
                    </a:lnTo>
                    <a:lnTo>
                      <a:pt x="77588" y="326752"/>
                    </a:lnTo>
                    <a:lnTo>
                      <a:pt x="78470" y="324371"/>
                    </a:lnTo>
                    <a:lnTo>
                      <a:pt x="80498" y="319698"/>
                    </a:lnTo>
                    <a:lnTo>
                      <a:pt x="81908" y="318552"/>
                    </a:lnTo>
                    <a:lnTo>
                      <a:pt x="84906" y="315907"/>
                    </a:lnTo>
                    <a:lnTo>
                      <a:pt x="85435" y="312381"/>
                    </a:lnTo>
                    <a:lnTo>
                      <a:pt x="87816" y="312116"/>
                    </a:lnTo>
                    <a:lnTo>
                      <a:pt x="93018" y="309206"/>
                    </a:lnTo>
                    <a:lnTo>
                      <a:pt x="94517" y="308589"/>
                    </a:lnTo>
                    <a:lnTo>
                      <a:pt x="95398" y="301007"/>
                    </a:lnTo>
                    <a:lnTo>
                      <a:pt x="98572" y="302770"/>
                    </a:lnTo>
                    <a:lnTo>
                      <a:pt x="99454" y="304798"/>
                    </a:lnTo>
                    <a:lnTo>
                      <a:pt x="105009" y="308325"/>
                    </a:lnTo>
                    <a:lnTo>
                      <a:pt x="109681" y="308942"/>
                    </a:lnTo>
                    <a:lnTo>
                      <a:pt x="112591" y="308942"/>
                    </a:lnTo>
                    <a:lnTo>
                      <a:pt x="123700" y="309206"/>
                    </a:lnTo>
                    <a:lnTo>
                      <a:pt x="128902" y="310970"/>
                    </a:lnTo>
                    <a:lnTo>
                      <a:pt x="131547" y="312116"/>
                    </a:lnTo>
                    <a:lnTo>
                      <a:pt x="132693" y="315643"/>
                    </a:lnTo>
                    <a:lnTo>
                      <a:pt x="133840" y="317671"/>
                    </a:lnTo>
                    <a:lnTo>
                      <a:pt x="135603" y="322608"/>
                    </a:lnTo>
                    <a:lnTo>
                      <a:pt x="137631" y="325253"/>
                    </a:lnTo>
                    <a:lnTo>
                      <a:pt x="139747" y="327898"/>
                    </a:lnTo>
                    <a:lnTo>
                      <a:pt x="139747" y="325518"/>
                    </a:lnTo>
                    <a:lnTo>
                      <a:pt x="140011" y="322079"/>
                    </a:lnTo>
                    <a:lnTo>
                      <a:pt x="140540" y="319698"/>
                    </a:lnTo>
                    <a:lnTo>
                      <a:pt x="142304" y="315025"/>
                    </a:lnTo>
                    <a:lnTo>
                      <a:pt x="143450" y="312381"/>
                    </a:lnTo>
                    <a:lnTo>
                      <a:pt x="144067" y="310353"/>
                    </a:lnTo>
                    <a:lnTo>
                      <a:pt x="145213" y="308325"/>
                    </a:lnTo>
                    <a:lnTo>
                      <a:pt x="149357" y="306297"/>
                    </a:lnTo>
                    <a:lnTo>
                      <a:pt x="151121" y="306297"/>
                    </a:lnTo>
                    <a:lnTo>
                      <a:pt x="170077" y="309824"/>
                    </a:lnTo>
                    <a:lnTo>
                      <a:pt x="172634" y="310970"/>
                    </a:lnTo>
                    <a:lnTo>
                      <a:pt x="173251" y="312381"/>
                    </a:lnTo>
                    <a:lnTo>
                      <a:pt x="173868" y="312381"/>
                    </a:lnTo>
                    <a:lnTo>
                      <a:pt x="174750" y="298450"/>
                    </a:lnTo>
                    <a:lnTo>
                      <a:pt x="179334" y="282932"/>
                    </a:lnTo>
                    <a:lnTo>
                      <a:pt x="177924" y="271030"/>
                    </a:lnTo>
                    <a:lnTo>
                      <a:pt x="181980" y="262213"/>
                    </a:lnTo>
                    <a:lnTo>
                      <a:pt x="191061" y="252602"/>
                    </a:lnTo>
                    <a:lnTo>
                      <a:pt x="193089" y="243874"/>
                    </a:lnTo>
                    <a:lnTo>
                      <a:pt x="210546" y="243257"/>
                    </a:lnTo>
                    <a:lnTo>
                      <a:pt x="217864" y="239818"/>
                    </a:lnTo>
                    <a:lnTo>
                      <a:pt x="224300" y="239201"/>
                    </a:lnTo>
                    <a:lnTo>
                      <a:pt x="238319" y="238319"/>
                    </a:lnTo>
                    <a:lnTo>
                      <a:pt x="249076" y="245372"/>
                    </a:lnTo>
                    <a:lnTo>
                      <a:pt x="256129" y="247048"/>
                    </a:lnTo>
                    <a:lnTo>
                      <a:pt x="264858" y="252602"/>
                    </a:lnTo>
                    <a:lnTo>
                      <a:pt x="265122" y="254366"/>
                    </a:lnTo>
                    <a:lnTo>
                      <a:pt x="265387" y="256394"/>
                    </a:lnTo>
                    <a:lnTo>
                      <a:pt x="265739" y="259303"/>
                    </a:lnTo>
                    <a:lnTo>
                      <a:pt x="265387" y="260802"/>
                    </a:lnTo>
                    <a:lnTo>
                      <a:pt x="266621" y="260537"/>
                    </a:lnTo>
                    <a:lnTo>
                      <a:pt x="268296" y="258509"/>
                    </a:lnTo>
                    <a:lnTo>
                      <a:pt x="271823" y="256129"/>
                    </a:lnTo>
                    <a:lnTo>
                      <a:pt x="271294" y="233029"/>
                    </a:lnTo>
                    <a:lnTo>
                      <a:pt x="272440" y="229855"/>
                    </a:lnTo>
                    <a:lnTo>
                      <a:pt x="274468" y="212662"/>
                    </a:lnTo>
                    <a:lnTo>
                      <a:pt x="276761" y="211516"/>
                    </a:lnTo>
                    <a:lnTo>
                      <a:pt x="270060" y="203052"/>
                    </a:lnTo>
                    <a:lnTo>
                      <a:pt x="270060" y="200407"/>
                    </a:lnTo>
                    <a:lnTo>
                      <a:pt x="269178" y="196615"/>
                    </a:lnTo>
                    <a:lnTo>
                      <a:pt x="254366" y="188504"/>
                    </a:lnTo>
                    <a:lnTo>
                      <a:pt x="251456" y="172722"/>
                    </a:lnTo>
                    <a:lnTo>
                      <a:pt x="253484" y="168049"/>
                    </a:lnTo>
                    <a:lnTo>
                      <a:pt x="253749" y="163993"/>
                    </a:lnTo>
                    <a:lnTo>
                      <a:pt x="213808" y="163640"/>
                    </a:lnTo>
                    <a:lnTo>
                      <a:pt x="202964" y="134545"/>
                    </a:lnTo>
                    <a:lnTo>
                      <a:pt x="205609" y="127491"/>
                    </a:lnTo>
                    <a:lnTo>
                      <a:pt x="207108" y="122554"/>
                    </a:lnTo>
                    <a:lnTo>
                      <a:pt x="207108" y="119644"/>
                    </a:lnTo>
                    <a:lnTo>
                      <a:pt x="204198" y="112326"/>
                    </a:lnTo>
                    <a:lnTo>
                      <a:pt x="205344" y="106507"/>
                    </a:lnTo>
                    <a:lnTo>
                      <a:pt x="202964" y="102099"/>
                    </a:lnTo>
                    <a:lnTo>
                      <a:pt x="196616" y="98925"/>
                    </a:lnTo>
                    <a:lnTo>
                      <a:pt x="191325" y="96015"/>
                    </a:lnTo>
                    <a:lnTo>
                      <a:pt x="189562" y="93635"/>
                    </a:lnTo>
                    <a:lnTo>
                      <a:pt x="185506" y="95751"/>
                    </a:lnTo>
                    <a:lnTo>
                      <a:pt x="180833" y="96015"/>
                    </a:lnTo>
                    <a:lnTo>
                      <a:pt x="172634" y="96015"/>
                    </a:lnTo>
                    <a:lnTo>
                      <a:pt x="165933" y="88697"/>
                    </a:lnTo>
                    <a:lnTo>
                      <a:pt x="163640" y="85259"/>
                    </a:lnTo>
                    <a:lnTo>
                      <a:pt x="157821" y="84024"/>
                    </a:lnTo>
                    <a:lnTo>
                      <a:pt x="154030" y="81996"/>
                    </a:lnTo>
                    <a:lnTo>
                      <a:pt x="150768" y="82614"/>
                    </a:lnTo>
                    <a:lnTo>
                      <a:pt x="145830" y="78205"/>
                    </a:lnTo>
                    <a:lnTo>
                      <a:pt x="142656" y="73003"/>
                    </a:lnTo>
                    <a:lnTo>
                      <a:pt x="138865" y="74679"/>
                    </a:lnTo>
                    <a:lnTo>
                      <a:pt x="126610" y="68859"/>
                    </a:lnTo>
                    <a:lnTo>
                      <a:pt x="121937" y="69477"/>
                    </a:lnTo>
                    <a:lnTo>
                      <a:pt x="119909" y="69212"/>
                    </a:lnTo>
                    <a:lnTo>
                      <a:pt x="112591" y="66567"/>
                    </a:lnTo>
                    <a:lnTo>
                      <a:pt x="109417" y="62511"/>
                    </a:lnTo>
                    <a:lnTo>
                      <a:pt x="107654" y="59514"/>
                    </a:lnTo>
                    <a:lnTo>
                      <a:pt x="105626" y="57838"/>
                    </a:lnTo>
                    <a:lnTo>
                      <a:pt x="100336" y="52548"/>
                    </a:lnTo>
                    <a:lnTo>
                      <a:pt x="98308" y="49903"/>
                    </a:lnTo>
                    <a:lnTo>
                      <a:pt x="95927" y="50168"/>
                    </a:lnTo>
                    <a:lnTo>
                      <a:pt x="95398" y="44966"/>
                    </a:lnTo>
                    <a:lnTo>
                      <a:pt x="93018" y="40558"/>
                    </a:lnTo>
                    <a:lnTo>
                      <a:pt x="91871" y="37648"/>
                    </a:lnTo>
                    <a:lnTo>
                      <a:pt x="92753" y="35091"/>
                    </a:lnTo>
                    <a:lnTo>
                      <a:pt x="92136" y="28655"/>
                    </a:lnTo>
                    <a:lnTo>
                      <a:pt x="90990" y="23717"/>
                    </a:lnTo>
                    <a:lnTo>
                      <a:pt x="89226" y="19573"/>
                    </a:lnTo>
                    <a:lnTo>
                      <a:pt x="91254" y="8200"/>
                    </a:lnTo>
                    <a:lnTo>
                      <a:pt x="90108" y="0"/>
                    </a:lnTo>
                    <a:lnTo>
                      <a:pt x="87199" y="0"/>
                    </a:lnTo>
                    <a:lnTo>
                      <a:pt x="85788" y="3527"/>
                    </a:lnTo>
                    <a:lnTo>
                      <a:pt x="82261" y="1234"/>
                    </a:lnTo>
                    <a:lnTo>
                      <a:pt x="81115" y="882"/>
                    </a:lnTo>
                    <a:lnTo>
                      <a:pt x="80233" y="1234"/>
                    </a:lnTo>
                    <a:lnTo>
                      <a:pt x="74326" y="2116"/>
                    </a:lnTo>
                    <a:lnTo>
                      <a:pt x="68859" y="3527"/>
                    </a:lnTo>
                    <a:lnTo>
                      <a:pt x="62423" y="4673"/>
                    </a:lnTo>
                    <a:lnTo>
                      <a:pt x="59514" y="7053"/>
                    </a:lnTo>
                    <a:lnTo>
                      <a:pt x="51314" y="14900"/>
                    </a:lnTo>
                    <a:lnTo>
                      <a:pt x="48140" y="16046"/>
                    </a:lnTo>
                    <a:lnTo>
                      <a:pt x="46112" y="17810"/>
                    </a:lnTo>
                    <a:lnTo>
                      <a:pt x="39323" y="25128"/>
                    </a:lnTo>
                    <a:lnTo>
                      <a:pt x="32093" y="24511"/>
                    </a:lnTo>
                    <a:lnTo>
                      <a:pt x="24775" y="33592"/>
                    </a:lnTo>
                    <a:lnTo>
                      <a:pt x="21249" y="35091"/>
                    </a:lnTo>
                    <a:lnTo>
                      <a:pt x="16928" y="33592"/>
                    </a:lnTo>
                    <a:lnTo>
                      <a:pt x="14019" y="32975"/>
                    </a:lnTo>
                    <a:lnTo>
                      <a:pt x="2292" y="30947"/>
                    </a:lnTo>
                    <a:lnTo>
                      <a:pt x="0" y="30947"/>
                    </a:lnTo>
                    <a:lnTo>
                      <a:pt x="15429" y="57221"/>
                    </a:lnTo>
                    <a:lnTo>
                      <a:pt x="21601" y="69477"/>
                    </a:lnTo>
                    <a:lnTo>
                      <a:pt x="21249" y="69477"/>
                    </a:lnTo>
                    <a:lnTo>
                      <a:pt x="21249" y="70623"/>
                    </a:lnTo>
                    <a:lnTo>
                      <a:pt x="20984" y="71240"/>
                    </a:lnTo>
                    <a:lnTo>
                      <a:pt x="19838" y="72386"/>
                    </a:lnTo>
                    <a:lnTo>
                      <a:pt x="19573" y="72651"/>
                    </a:lnTo>
                    <a:lnTo>
                      <a:pt x="19573" y="73268"/>
                    </a:lnTo>
                    <a:lnTo>
                      <a:pt x="20720" y="73885"/>
                    </a:lnTo>
                    <a:lnTo>
                      <a:pt x="20367" y="75031"/>
                    </a:lnTo>
                    <a:lnTo>
                      <a:pt x="18075" y="75560"/>
                    </a:lnTo>
                    <a:lnTo>
                      <a:pt x="18075" y="76177"/>
                    </a:lnTo>
                    <a:lnTo>
                      <a:pt x="17457" y="76177"/>
                    </a:lnTo>
                    <a:lnTo>
                      <a:pt x="16928" y="77059"/>
                    </a:lnTo>
                    <a:lnTo>
                      <a:pt x="16576" y="77059"/>
                    </a:lnTo>
                    <a:lnTo>
                      <a:pt x="16311" y="78470"/>
                    </a:lnTo>
                    <a:lnTo>
                      <a:pt x="15782" y="78823"/>
                    </a:lnTo>
                    <a:lnTo>
                      <a:pt x="16047" y="81996"/>
                    </a:lnTo>
                    <a:lnTo>
                      <a:pt x="16576" y="84024"/>
                    </a:lnTo>
                    <a:lnTo>
                      <a:pt x="16311" y="86934"/>
                    </a:lnTo>
                    <a:lnTo>
                      <a:pt x="16928" y="88168"/>
                    </a:lnTo>
                    <a:lnTo>
                      <a:pt x="16928" y="95398"/>
                    </a:lnTo>
                    <a:lnTo>
                      <a:pt x="16576" y="96544"/>
                    </a:lnTo>
                    <a:lnTo>
                      <a:pt x="15782" y="97161"/>
                    </a:lnTo>
                    <a:lnTo>
                      <a:pt x="15782" y="98043"/>
                    </a:lnTo>
                    <a:lnTo>
                      <a:pt x="14548" y="98043"/>
                    </a:lnTo>
                    <a:lnTo>
                      <a:pt x="14548" y="98308"/>
                    </a:lnTo>
                    <a:lnTo>
                      <a:pt x="14900" y="99189"/>
                    </a:lnTo>
                    <a:lnTo>
                      <a:pt x="16311" y="100688"/>
                    </a:lnTo>
                    <a:lnTo>
                      <a:pt x="16047" y="102099"/>
                    </a:lnTo>
                    <a:lnTo>
                      <a:pt x="17193" y="103862"/>
                    </a:lnTo>
                    <a:lnTo>
                      <a:pt x="17457" y="106243"/>
                    </a:lnTo>
                    <a:lnTo>
                      <a:pt x="18075" y="106507"/>
                    </a:lnTo>
                    <a:lnTo>
                      <a:pt x="18956" y="107918"/>
                    </a:lnTo>
                    <a:lnTo>
                      <a:pt x="20102" y="110034"/>
                    </a:lnTo>
                    <a:lnTo>
                      <a:pt x="20720" y="112062"/>
                    </a:lnTo>
                    <a:lnTo>
                      <a:pt x="17193" y="113208"/>
                    </a:lnTo>
                    <a:lnTo>
                      <a:pt x="17193" y="115501"/>
                    </a:lnTo>
                    <a:lnTo>
                      <a:pt x="18075" y="115853"/>
                    </a:lnTo>
                    <a:lnTo>
                      <a:pt x="18075" y="116735"/>
                    </a:lnTo>
                    <a:lnTo>
                      <a:pt x="14548" y="119292"/>
                    </a:lnTo>
                    <a:lnTo>
                      <a:pt x="14900" y="121055"/>
                    </a:lnTo>
                    <a:lnTo>
                      <a:pt x="13402" y="121408"/>
                    </a:lnTo>
                    <a:lnTo>
                      <a:pt x="12520" y="123436"/>
                    </a:lnTo>
                    <a:lnTo>
                      <a:pt x="13666" y="125463"/>
                    </a:lnTo>
                    <a:lnTo>
                      <a:pt x="12520" y="125728"/>
                    </a:lnTo>
                    <a:lnTo>
                      <a:pt x="11374" y="126874"/>
                    </a:lnTo>
                    <a:lnTo>
                      <a:pt x="10492" y="127227"/>
                    </a:lnTo>
                    <a:lnTo>
                      <a:pt x="10492" y="128638"/>
                    </a:lnTo>
                    <a:lnTo>
                      <a:pt x="11109" y="129255"/>
                    </a:lnTo>
                    <a:lnTo>
                      <a:pt x="10228" y="130136"/>
                    </a:lnTo>
                    <a:lnTo>
                      <a:pt x="10492" y="131018"/>
                    </a:lnTo>
                    <a:lnTo>
                      <a:pt x="11903" y="132429"/>
                    </a:lnTo>
                    <a:lnTo>
                      <a:pt x="12784" y="134809"/>
                    </a:lnTo>
                    <a:lnTo>
                      <a:pt x="14900" y="135955"/>
                    </a:lnTo>
                    <a:lnTo>
                      <a:pt x="16311" y="137983"/>
                    </a:lnTo>
                    <a:lnTo>
                      <a:pt x="16576" y="138601"/>
                    </a:lnTo>
                    <a:lnTo>
                      <a:pt x="16311" y="138865"/>
                    </a:lnTo>
                    <a:lnTo>
                      <a:pt x="15165" y="138865"/>
                    </a:lnTo>
                    <a:lnTo>
                      <a:pt x="14900" y="139482"/>
                    </a:lnTo>
                    <a:lnTo>
                      <a:pt x="13666" y="140364"/>
                    </a:lnTo>
                    <a:lnTo>
                      <a:pt x="13402" y="141157"/>
                    </a:lnTo>
                    <a:lnTo>
                      <a:pt x="13402" y="141775"/>
                    </a:lnTo>
                    <a:lnTo>
                      <a:pt x="12784" y="142921"/>
                    </a:lnTo>
                    <a:lnTo>
                      <a:pt x="12784" y="144155"/>
                    </a:lnTo>
                    <a:lnTo>
                      <a:pt x="11109" y="147329"/>
                    </a:lnTo>
                    <a:lnTo>
                      <a:pt x="16928" y="160995"/>
                    </a:lnTo>
                    <a:lnTo>
                      <a:pt x="18339" y="162230"/>
                    </a:lnTo>
                    <a:lnTo>
                      <a:pt x="19838" y="162230"/>
                    </a:lnTo>
                    <a:lnTo>
                      <a:pt x="20367" y="161877"/>
                    </a:lnTo>
                    <a:lnTo>
                      <a:pt x="20720" y="162230"/>
                    </a:lnTo>
                    <a:lnTo>
                      <a:pt x="22130" y="162230"/>
                    </a:lnTo>
                    <a:lnTo>
                      <a:pt x="23629" y="163640"/>
                    </a:lnTo>
                    <a:lnTo>
                      <a:pt x="25128" y="164258"/>
                    </a:lnTo>
                    <a:lnTo>
                      <a:pt x="25657" y="164875"/>
                    </a:lnTo>
                    <a:lnTo>
                      <a:pt x="25393" y="165668"/>
                    </a:lnTo>
                    <a:lnTo>
                      <a:pt x="22483" y="167784"/>
                    </a:lnTo>
                    <a:lnTo>
                      <a:pt x="20984" y="168666"/>
                    </a:lnTo>
                    <a:lnTo>
                      <a:pt x="21249" y="171840"/>
                    </a:lnTo>
                    <a:lnTo>
                      <a:pt x="22130" y="173251"/>
                    </a:lnTo>
                    <a:lnTo>
                      <a:pt x="20720" y="174485"/>
                    </a:lnTo>
                    <a:lnTo>
                      <a:pt x="19221" y="175014"/>
                    </a:lnTo>
                    <a:lnTo>
                      <a:pt x="18692" y="177395"/>
                    </a:lnTo>
                    <a:lnTo>
                      <a:pt x="16311" y="179687"/>
                    </a:lnTo>
                    <a:lnTo>
                      <a:pt x="15429" y="181186"/>
                    </a:lnTo>
                    <a:lnTo>
                      <a:pt x="14019" y="182597"/>
                    </a:lnTo>
                    <a:lnTo>
                      <a:pt x="14900" y="182949"/>
                    </a:lnTo>
                    <a:lnTo>
                      <a:pt x="14900" y="183214"/>
                    </a:lnTo>
                    <a:lnTo>
                      <a:pt x="13666" y="184360"/>
                    </a:lnTo>
                    <a:lnTo>
                      <a:pt x="12784" y="184360"/>
                    </a:lnTo>
                    <a:lnTo>
                      <a:pt x="11109" y="186741"/>
                    </a:lnTo>
                    <a:lnTo>
                      <a:pt x="10228" y="186741"/>
                    </a:lnTo>
                    <a:lnTo>
                      <a:pt x="10492" y="187622"/>
                    </a:lnTo>
                    <a:lnTo>
                      <a:pt x="9875" y="189033"/>
                    </a:lnTo>
                    <a:lnTo>
                      <a:pt x="11374" y="189298"/>
                    </a:lnTo>
                    <a:lnTo>
                      <a:pt x="13137" y="191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6" name="Freihandform: Form 1765">
                <a:extLst>
                  <a:ext uri="{FF2B5EF4-FFF2-40B4-BE49-F238E27FC236}">
                    <a16:creationId xmlns:a16="http://schemas.microsoft.com/office/drawing/2014/main" id="{180BD958-B0D7-DFFE-A969-D2F59C067A72}"/>
                  </a:ext>
                </a:extLst>
              </p:cNvPr>
              <p:cNvSpPr/>
              <p:nvPr/>
            </p:nvSpPr>
            <p:spPr>
              <a:xfrm>
                <a:off x="2588788" y="4693687"/>
                <a:ext cx="334334" cy="833543"/>
              </a:xfrm>
              <a:custGeom>
                <a:avLst/>
                <a:gdLst>
                  <a:gd name="connsiteX0" fmla="*/ 200848 w 334334"/>
                  <a:gd name="connsiteY0" fmla="*/ 765830 h 833543"/>
                  <a:gd name="connsiteX1" fmla="*/ 201729 w 334334"/>
                  <a:gd name="connsiteY1" fmla="*/ 766712 h 833543"/>
                  <a:gd name="connsiteX2" fmla="*/ 206667 w 334334"/>
                  <a:gd name="connsiteY2" fmla="*/ 771033 h 833543"/>
                  <a:gd name="connsiteX3" fmla="*/ 207813 w 334334"/>
                  <a:gd name="connsiteY3" fmla="*/ 776851 h 833543"/>
                  <a:gd name="connsiteX4" fmla="*/ 211869 w 334334"/>
                  <a:gd name="connsiteY4" fmla="*/ 782935 h 833543"/>
                  <a:gd name="connsiteX5" fmla="*/ 216542 w 334334"/>
                  <a:gd name="connsiteY5" fmla="*/ 785228 h 833543"/>
                  <a:gd name="connsiteX6" fmla="*/ 219187 w 334334"/>
                  <a:gd name="connsiteY6" fmla="*/ 786462 h 833543"/>
                  <a:gd name="connsiteX7" fmla="*/ 223242 w 334334"/>
                  <a:gd name="connsiteY7" fmla="*/ 791399 h 833543"/>
                  <a:gd name="connsiteX8" fmla="*/ 225270 w 334334"/>
                  <a:gd name="connsiteY8" fmla="*/ 794044 h 833543"/>
                  <a:gd name="connsiteX9" fmla="*/ 231089 w 334334"/>
                  <a:gd name="connsiteY9" fmla="*/ 798100 h 833543"/>
                  <a:gd name="connsiteX10" fmla="*/ 236644 w 334334"/>
                  <a:gd name="connsiteY10" fmla="*/ 800481 h 833543"/>
                  <a:gd name="connsiteX11" fmla="*/ 243080 w 334334"/>
                  <a:gd name="connsiteY11" fmla="*/ 803126 h 833543"/>
                  <a:gd name="connsiteX12" fmla="*/ 246871 w 334334"/>
                  <a:gd name="connsiteY12" fmla="*/ 805418 h 833543"/>
                  <a:gd name="connsiteX13" fmla="*/ 250663 w 334334"/>
                  <a:gd name="connsiteY13" fmla="*/ 808592 h 833543"/>
                  <a:gd name="connsiteX14" fmla="*/ 256482 w 334334"/>
                  <a:gd name="connsiteY14" fmla="*/ 810091 h 833543"/>
                  <a:gd name="connsiteX15" fmla="*/ 259656 w 334334"/>
                  <a:gd name="connsiteY15" fmla="*/ 812736 h 833543"/>
                  <a:gd name="connsiteX16" fmla="*/ 264064 w 334334"/>
                  <a:gd name="connsiteY16" fmla="*/ 813882 h 833543"/>
                  <a:gd name="connsiteX17" fmla="*/ 271647 w 334334"/>
                  <a:gd name="connsiteY17" fmla="*/ 816175 h 833543"/>
                  <a:gd name="connsiteX18" fmla="*/ 277466 w 334334"/>
                  <a:gd name="connsiteY18" fmla="*/ 815910 h 833543"/>
                  <a:gd name="connsiteX19" fmla="*/ 280375 w 334334"/>
                  <a:gd name="connsiteY19" fmla="*/ 817673 h 833543"/>
                  <a:gd name="connsiteX20" fmla="*/ 282139 w 334334"/>
                  <a:gd name="connsiteY20" fmla="*/ 819966 h 833543"/>
                  <a:gd name="connsiteX21" fmla="*/ 277201 w 334334"/>
                  <a:gd name="connsiteY21" fmla="*/ 824374 h 833543"/>
                  <a:gd name="connsiteX22" fmla="*/ 274292 w 334334"/>
                  <a:gd name="connsiteY22" fmla="*/ 824110 h 833543"/>
                  <a:gd name="connsiteX23" fmla="*/ 266974 w 334334"/>
                  <a:gd name="connsiteY23" fmla="*/ 824727 h 833543"/>
                  <a:gd name="connsiteX24" fmla="*/ 264946 w 334334"/>
                  <a:gd name="connsiteY24" fmla="*/ 819790 h 833543"/>
                  <a:gd name="connsiteX25" fmla="*/ 258510 w 334334"/>
                  <a:gd name="connsiteY25" fmla="*/ 818026 h 833543"/>
                  <a:gd name="connsiteX26" fmla="*/ 254366 w 334334"/>
                  <a:gd name="connsiteY26" fmla="*/ 816263 h 833543"/>
                  <a:gd name="connsiteX27" fmla="*/ 249428 w 334334"/>
                  <a:gd name="connsiteY27" fmla="*/ 814235 h 833543"/>
                  <a:gd name="connsiteX28" fmla="*/ 259920 w 334334"/>
                  <a:gd name="connsiteY28" fmla="*/ 823052 h 833543"/>
                  <a:gd name="connsiteX29" fmla="*/ 259920 w 334334"/>
                  <a:gd name="connsiteY29" fmla="*/ 829753 h 833543"/>
                  <a:gd name="connsiteX30" fmla="*/ 257628 w 334334"/>
                  <a:gd name="connsiteY30" fmla="*/ 827989 h 833543"/>
                  <a:gd name="connsiteX31" fmla="*/ 256482 w 334334"/>
                  <a:gd name="connsiteY31" fmla="*/ 830634 h 833543"/>
                  <a:gd name="connsiteX32" fmla="*/ 250663 w 334334"/>
                  <a:gd name="connsiteY32" fmla="*/ 830017 h 833543"/>
                  <a:gd name="connsiteX33" fmla="*/ 246871 w 334334"/>
                  <a:gd name="connsiteY33" fmla="*/ 832662 h 833543"/>
                  <a:gd name="connsiteX34" fmla="*/ 239553 w 334334"/>
                  <a:gd name="connsiteY34" fmla="*/ 833544 h 833543"/>
                  <a:gd name="connsiteX35" fmla="*/ 237526 w 334334"/>
                  <a:gd name="connsiteY35" fmla="*/ 830282 h 833543"/>
                  <a:gd name="connsiteX36" fmla="*/ 237261 w 334334"/>
                  <a:gd name="connsiteY36" fmla="*/ 827725 h 833543"/>
                  <a:gd name="connsiteX37" fmla="*/ 238407 w 334334"/>
                  <a:gd name="connsiteY37" fmla="*/ 823052 h 833543"/>
                  <a:gd name="connsiteX38" fmla="*/ 236644 w 334334"/>
                  <a:gd name="connsiteY38" fmla="*/ 818643 h 833543"/>
                  <a:gd name="connsiteX39" fmla="*/ 223242 w 334334"/>
                  <a:gd name="connsiteY39" fmla="*/ 818643 h 833543"/>
                  <a:gd name="connsiteX40" fmla="*/ 219187 w 334334"/>
                  <a:gd name="connsiteY40" fmla="*/ 814852 h 833543"/>
                  <a:gd name="connsiteX41" fmla="*/ 216542 w 334334"/>
                  <a:gd name="connsiteY41" fmla="*/ 810444 h 833543"/>
                  <a:gd name="connsiteX42" fmla="*/ 197850 w 334334"/>
                  <a:gd name="connsiteY42" fmla="*/ 769005 h 833543"/>
                  <a:gd name="connsiteX43" fmla="*/ 200848 w 334334"/>
                  <a:gd name="connsiteY43" fmla="*/ 765830 h 833543"/>
                  <a:gd name="connsiteX44" fmla="*/ 131723 w 334334"/>
                  <a:gd name="connsiteY44" fmla="*/ 11021 h 833543"/>
                  <a:gd name="connsiteX45" fmla="*/ 132870 w 334334"/>
                  <a:gd name="connsiteY45" fmla="*/ 12785 h 833543"/>
                  <a:gd name="connsiteX46" fmla="*/ 134280 w 334334"/>
                  <a:gd name="connsiteY46" fmla="*/ 13666 h 833543"/>
                  <a:gd name="connsiteX47" fmla="*/ 136044 w 334334"/>
                  <a:gd name="connsiteY47" fmla="*/ 14548 h 833543"/>
                  <a:gd name="connsiteX48" fmla="*/ 137190 w 334334"/>
                  <a:gd name="connsiteY48" fmla="*/ 16576 h 833543"/>
                  <a:gd name="connsiteX49" fmla="*/ 140100 w 334334"/>
                  <a:gd name="connsiteY49" fmla="*/ 18339 h 833543"/>
                  <a:gd name="connsiteX50" fmla="*/ 141510 w 334334"/>
                  <a:gd name="connsiteY50" fmla="*/ 19221 h 833543"/>
                  <a:gd name="connsiteX51" fmla="*/ 142127 w 334334"/>
                  <a:gd name="connsiteY51" fmla="*/ 20984 h 833543"/>
                  <a:gd name="connsiteX52" fmla="*/ 142392 w 334334"/>
                  <a:gd name="connsiteY52" fmla="*/ 21866 h 833543"/>
                  <a:gd name="connsiteX53" fmla="*/ 142656 w 334334"/>
                  <a:gd name="connsiteY53" fmla="*/ 23012 h 833543"/>
                  <a:gd name="connsiteX54" fmla="*/ 147947 w 334334"/>
                  <a:gd name="connsiteY54" fmla="*/ 30330 h 833543"/>
                  <a:gd name="connsiteX55" fmla="*/ 150856 w 334334"/>
                  <a:gd name="connsiteY55" fmla="*/ 32358 h 833543"/>
                  <a:gd name="connsiteX56" fmla="*/ 152884 w 334334"/>
                  <a:gd name="connsiteY56" fmla="*/ 33857 h 833543"/>
                  <a:gd name="connsiteX57" fmla="*/ 153501 w 334334"/>
                  <a:gd name="connsiteY57" fmla="*/ 35003 h 833543"/>
                  <a:gd name="connsiteX58" fmla="*/ 155882 w 334334"/>
                  <a:gd name="connsiteY58" fmla="*/ 37031 h 833543"/>
                  <a:gd name="connsiteX59" fmla="*/ 158174 w 334334"/>
                  <a:gd name="connsiteY59" fmla="*/ 38794 h 833543"/>
                  <a:gd name="connsiteX60" fmla="*/ 158439 w 334334"/>
                  <a:gd name="connsiteY60" fmla="*/ 39059 h 833543"/>
                  <a:gd name="connsiteX61" fmla="*/ 160202 w 334334"/>
                  <a:gd name="connsiteY61" fmla="*/ 40469 h 833543"/>
                  <a:gd name="connsiteX62" fmla="*/ 162230 w 334334"/>
                  <a:gd name="connsiteY62" fmla="*/ 41086 h 833543"/>
                  <a:gd name="connsiteX63" fmla="*/ 164522 w 334334"/>
                  <a:gd name="connsiteY63" fmla="*/ 42850 h 833543"/>
                  <a:gd name="connsiteX64" fmla="*/ 166550 w 334334"/>
                  <a:gd name="connsiteY64" fmla="*/ 43731 h 833543"/>
                  <a:gd name="connsiteX65" fmla="*/ 168049 w 334334"/>
                  <a:gd name="connsiteY65" fmla="*/ 46288 h 833543"/>
                  <a:gd name="connsiteX66" fmla="*/ 170077 w 334334"/>
                  <a:gd name="connsiteY66" fmla="*/ 48669 h 833543"/>
                  <a:gd name="connsiteX67" fmla="*/ 172986 w 334334"/>
                  <a:gd name="connsiteY67" fmla="*/ 50432 h 833543"/>
                  <a:gd name="connsiteX68" fmla="*/ 177307 w 334334"/>
                  <a:gd name="connsiteY68" fmla="*/ 52196 h 833543"/>
                  <a:gd name="connsiteX69" fmla="*/ 178453 w 334334"/>
                  <a:gd name="connsiteY69" fmla="*/ 52196 h 833543"/>
                  <a:gd name="connsiteX70" fmla="*/ 180745 w 334334"/>
                  <a:gd name="connsiteY70" fmla="*/ 53959 h 833543"/>
                  <a:gd name="connsiteX71" fmla="*/ 183390 w 334334"/>
                  <a:gd name="connsiteY71" fmla="*/ 54488 h 833543"/>
                  <a:gd name="connsiteX72" fmla="*/ 186564 w 334334"/>
                  <a:gd name="connsiteY72" fmla="*/ 55634 h 833543"/>
                  <a:gd name="connsiteX73" fmla="*/ 192383 w 334334"/>
                  <a:gd name="connsiteY73" fmla="*/ 55634 h 833543"/>
                  <a:gd name="connsiteX74" fmla="*/ 208430 w 334334"/>
                  <a:gd name="connsiteY74" fmla="*/ 67008 h 833543"/>
                  <a:gd name="connsiteX75" fmla="*/ 213367 w 334334"/>
                  <a:gd name="connsiteY75" fmla="*/ 69653 h 833543"/>
                  <a:gd name="connsiteX76" fmla="*/ 215395 w 334334"/>
                  <a:gd name="connsiteY76" fmla="*/ 70799 h 833543"/>
                  <a:gd name="connsiteX77" fmla="*/ 220333 w 334334"/>
                  <a:gd name="connsiteY77" fmla="*/ 74590 h 833543"/>
                  <a:gd name="connsiteX78" fmla="*/ 223507 w 334334"/>
                  <a:gd name="connsiteY78" fmla="*/ 75208 h 833543"/>
                  <a:gd name="connsiteX79" fmla="*/ 228180 w 334334"/>
                  <a:gd name="connsiteY79" fmla="*/ 76354 h 833543"/>
                  <a:gd name="connsiteX80" fmla="*/ 231089 w 334334"/>
                  <a:gd name="connsiteY80" fmla="*/ 80145 h 833543"/>
                  <a:gd name="connsiteX81" fmla="*/ 232588 w 334334"/>
                  <a:gd name="connsiteY81" fmla="*/ 78646 h 833543"/>
                  <a:gd name="connsiteX82" fmla="*/ 235762 w 334334"/>
                  <a:gd name="connsiteY82" fmla="*/ 80410 h 833543"/>
                  <a:gd name="connsiteX83" fmla="*/ 237261 w 334334"/>
                  <a:gd name="connsiteY83" fmla="*/ 81027 h 833543"/>
                  <a:gd name="connsiteX84" fmla="*/ 238760 w 334334"/>
                  <a:gd name="connsiteY84" fmla="*/ 81909 h 833543"/>
                  <a:gd name="connsiteX85" fmla="*/ 242287 w 334334"/>
                  <a:gd name="connsiteY85" fmla="*/ 83055 h 833543"/>
                  <a:gd name="connsiteX86" fmla="*/ 244579 w 334334"/>
                  <a:gd name="connsiteY86" fmla="*/ 85964 h 833543"/>
                  <a:gd name="connsiteX87" fmla="*/ 246871 w 334334"/>
                  <a:gd name="connsiteY87" fmla="*/ 87992 h 833543"/>
                  <a:gd name="connsiteX88" fmla="*/ 249252 w 334334"/>
                  <a:gd name="connsiteY88" fmla="*/ 90284 h 833543"/>
                  <a:gd name="connsiteX89" fmla="*/ 248370 w 334334"/>
                  <a:gd name="connsiteY89" fmla="*/ 94340 h 833543"/>
                  <a:gd name="connsiteX90" fmla="*/ 247753 w 334334"/>
                  <a:gd name="connsiteY90" fmla="*/ 94957 h 833543"/>
                  <a:gd name="connsiteX91" fmla="*/ 246871 w 334334"/>
                  <a:gd name="connsiteY91" fmla="*/ 96103 h 833543"/>
                  <a:gd name="connsiteX92" fmla="*/ 245108 w 334334"/>
                  <a:gd name="connsiteY92" fmla="*/ 96985 h 833543"/>
                  <a:gd name="connsiteX93" fmla="*/ 245990 w 334334"/>
                  <a:gd name="connsiteY93" fmla="*/ 97867 h 833543"/>
                  <a:gd name="connsiteX94" fmla="*/ 245108 w 334334"/>
                  <a:gd name="connsiteY94" fmla="*/ 100512 h 833543"/>
                  <a:gd name="connsiteX95" fmla="*/ 243962 w 334334"/>
                  <a:gd name="connsiteY95" fmla="*/ 102540 h 833543"/>
                  <a:gd name="connsiteX96" fmla="*/ 243345 w 334334"/>
                  <a:gd name="connsiteY96" fmla="*/ 104039 h 833543"/>
                  <a:gd name="connsiteX97" fmla="*/ 243962 w 334334"/>
                  <a:gd name="connsiteY97" fmla="*/ 104656 h 833543"/>
                  <a:gd name="connsiteX98" fmla="*/ 241317 w 334334"/>
                  <a:gd name="connsiteY98" fmla="*/ 107566 h 833543"/>
                  <a:gd name="connsiteX99" fmla="*/ 239289 w 334334"/>
                  <a:gd name="connsiteY99" fmla="*/ 108447 h 833543"/>
                  <a:gd name="connsiteX100" fmla="*/ 238407 w 334334"/>
                  <a:gd name="connsiteY100" fmla="*/ 109329 h 833543"/>
                  <a:gd name="connsiteX101" fmla="*/ 238407 w 334334"/>
                  <a:gd name="connsiteY101" fmla="*/ 111709 h 833543"/>
                  <a:gd name="connsiteX102" fmla="*/ 237526 w 334334"/>
                  <a:gd name="connsiteY102" fmla="*/ 115765 h 833543"/>
                  <a:gd name="connsiteX103" fmla="*/ 238054 w 334334"/>
                  <a:gd name="connsiteY103" fmla="*/ 116911 h 833543"/>
                  <a:gd name="connsiteX104" fmla="*/ 239201 w 334334"/>
                  <a:gd name="connsiteY104" fmla="*/ 119556 h 833543"/>
                  <a:gd name="connsiteX105" fmla="*/ 239201 w 334334"/>
                  <a:gd name="connsiteY105" fmla="*/ 121320 h 833543"/>
                  <a:gd name="connsiteX106" fmla="*/ 238054 w 334334"/>
                  <a:gd name="connsiteY106" fmla="*/ 123965 h 833543"/>
                  <a:gd name="connsiteX107" fmla="*/ 237790 w 334334"/>
                  <a:gd name="connsiteY107" fmla="*/ 125375 h 833543"/>
                  <a:gd name="connsiteX108" fmla="*/ 236027 w 334334"/>
                  <a:gd name="connsiteY108" fmla="*/ 125375 h 833543"/>
                  <a:gd name="connsiteX109" fmla="*/ 237526 w 334334"/>
                  <a:gd name="connsiteY109" fmla="*/ 126874 h 833543"/>
                  <a:gd name="connsiteX110" fmla="*/ 236027 w 334334"/>
                  <a:gd name="connsiteY110" fmla="*/ 127139 h 833543"/>
                  <a:gd name="connsiteX111" fmla="*/ 233734 w 334334"/>
                  <a:gd name="connsiteY111" fmla="*/ 128020 h 833543"/>
                  <a:gd name="connsiteX112" fmla="*/ 234352 w 334334"/>
                  <a:gd name="connsiteY112" fmla="*/ 129167 h 833543"/>
                  <a:gd name="connsiteX113" fmla="*/ 233470 w 334334"/>
                  <a:gd name="connsiteY113" fmla="*/ 131195 h 833543"/>
                  <a:gd name="connsiteX114" fmla="*/ 233205 w 334334"/>
                  <a:gd name="connsiteY114" fmla="*/ 131195 h 833543"/>
                  <a:gd name="connsiteX115" fmla="*/ 231442 w 334334"/>
                  <a:gd name="connsiteY115" fmla="*/ 132958 h 833543"/>
                  <a:gd name="connsiteX116" fmla="*/ 230825 w 334334"/>
                  <a:gd name="connsiteY116" fmla="*/ 134457 h 833543"/>
                  <a:gd name="connsiteX117" fmla="*/ 232324 w 334334"/>
                  <a:gd name="connsiteY117" fmla="*/ 137983 h 833543"/>
                  <a:gd name="connsiteX118" fmla="*/ 238143 w 334334"/>
                  <a:gd name="connsiteY118" fmla="*/ 137102 h 833543"/>
                  <a:gd name="connsiteX119" fmla="*/ 243962 w 334334"/>
                  <a:gd name="connsiteY119" fmla="*/ 137102 h 833543"/>
                  <a:gd name="connsiteX120" fmla="*/ 249781 w 334334"/>
                  <a:gd name="connsiteY120" fmla="*/ 137366 h 833543"/>
                  <a:gd name="connsiteX121" fmla="*/ 253572 w 334334"/>
                  <a:gd name="connsiteY121" fmla="*/ 139130 h 833543"/>
                  <a:gd name="connsiteX122" fmla="*/ 258245 w 334334"/>
                  <a:gd name="connsiteY122" fmla="*/ 140540 h 833543"/>
                  <a:gd name="connsiteX123" fmla="*/ 263183 w 334334"/>
                  <a:gd name="connsiteY123" fmla="*/ 141422 h 833543"/>
                  <a:gd name="connsiteX124" fmla="*/ 265828 w 334334"/>
                  <a:gd name="connsiteY124" fmla="*/ 141687 h 833543"/>
                  <a:gd name="connsiteX125" fmla="*/ 269002 w 334334"/>
                  <a:gd name="connsiteY125" fmla="*/ 140188 h 833543"/>
                  <a:gd name="connsiteX126" fmla="*/ 271911 w 334334"/>
                  <a:gd name="connsiteY126" fmla="*/ 142216 h 833543"/>
                  <a:gd name="connsiteX127" fmla="*/ 274292 w 334334"/>
                  <a:gd name="connsiteY127" fmla="*/ 141334 h 833543"/>
                  <a:gd name="connsiteX128" fmla="*/ 277201 w 334334"/>
                  <a:gd name="connsiteY128" fmla="*/ 141334 h 833543"/>
                  <a:gd name="connsiteX129" fmla="*/ 280992 w 334334"/>
                  <a:gd name="connsiteY129" fmla="*/ 144243 h 833543"/>
                  <a:gd name="connsiteX130" fmla="*/ 282403 w 334334"/>
                  <a:gd name="connsiteY130" fmla="*/ 138953 h 833543"/>
                  <a:gd name="connsiteX131" fmla="*/ 284696 w 334334"/>
                  <a:gd name="connsiteY131" fmla="*/ 137807 h 833543"/>
                  <a:gd name="connsiteX132" fmla="*/ 287341 w 334334"/>
                  <a:gd name="connsiteY132" fmla="*/ 137807 h 833543"/>
                  <a:gd name="connsiteX133" fmla="*/ 290250 w 334334"/>
                  <a:gd name="connsiteY133" fmla="*/ 138424 h 833543"/>
                  <a:gd name="connsiteX134" fmla="*/ 291132 w 334334"/>
                  <a:gd name="connsiteY134" fmla="*/ 139923 h 833543"/>
                  <a:gd name="connsiteX135" fmla="*/ 293777 w 334334"/>
                  <a:gd name="connsiteY135" fmla="*/ 140452 h 833543"/>
                  <a:gd name="connsiteX136" fmla="*/ 296422 w 334334"/>
                  <a:gd name="connsiteY136" fmla="*/ 138689 h 833543"/>
                  <a:gd name="connsiteX137" fmla="*/ 296422 w 334334"/>
                  <a:gd name="connsiteY137" fmla="*/ 136925 h 833543"/>
                  <a:gd name="connsiteX138" fmla="*/ 295805 w 334334"/>
                  <a:gd name="connsiteY138" fmla="*/ 134016 h 833543"/>
                  <a:gd name="connsiteX139" fmla="*/ 297304 w 334334"/>
                  <a:gd name="connsiteY139" fmla="*/ 132253 h 833543"/>
                  <a:gd name="connsiteX140" fmla="*/ 298450 w 334334"/>
                  <a:gd name="connsiteY140" fmla="*/ 130489 h 833543"/>
                  <a:gd name="connsiteX141" fmla="*/ 302241 w 334334"/>
                  <a:gd name="connsiteY141" fmla="*/ 127844 h 833543"/>
                  <a:gd name="connsiteX142" fmla="*/ 305151 w 334334"/>
                  <a:gd name="connsiteY142" fmla="*/ 128461 h 833543"/>
                  <a:gd name="connsiteX143" fmla="*/ 306649 w 334334"/>
                  <a:gd name="connsiteY143" fmla="*/ 124935 h 833543"/>
                  <a:gd name="connsiteX144" fmla="*/ 309295 w 334334"/>
                  <a:gd name="connsiteY144" fmla="*/ 121672 h 833543"/>
                  <a:gd name="connsiteX145" fmla="*/ 311322 w 334334"/>
                  <a:gd name="connsiteY145" fmla="*/ 121408 h 833543"/>
                  <a:gd name="connsiteX146" fmla="*/ 311587 w 334334"/>
                  <a:gd name="connsiteY146" fmla="*/ 119380 h 833543"/>
                  <a:gd name="connsiteX147" fmla="*/ 313086 w 334334"/>
                  <a:gd name="connsiteY147" fmla="*/ 115589 h 833543"/>
                  <a:gd name="connsiteX148" fmla="*/ 313086 w 334334"/>
                  <a:gd name="connsiteY148" fmla="*/ 110916 h 833543"/>
                  <a:gd name="connsiteX149" fmla="*/ 312821 w 334334"/>
                  <a:gd name="connsiteY149" fmla="*/ 108888 h 833543"/>
                  <a:gd name="connsiteX150" fmla="*/ 312204 w 334334"/>
                  <a:gd name="connsiteY150" fmla="*/ 104215 h 833543"/>
                  <a:gd name="connsiteX151" fmla="*/ 313086 w 334334"/>
                  <a:gd name="connsiteY151" fmla="*/ 102187 h 833543"/>
                  <a:gd name="connsiteX152" fmla="*/ 312821 w 334334"/>
                  <a:gd name="connsiteY152" fmla="*/ 98660 h 833543"/>
                  <a:gd name="connsiteX153" fmla="*/ 312204 w 334334"/>
                  <a:gd name="connsiteY153" fmla="*/ 96015 h 833543"/>
                  <a:gd name="connsiteX154" fmla="*/ 312469 w 334334"/>
                  <a:gd name="connsiteY154" fmla="*/ 94252 h 833543"/>
                  <a:gd name="connsiteX155" fmla="*/ 312469 w 334334"/>
                  <a:gd name="connsiteY155" fmla="*/ 93988 h 833543"/>
                  <a:gd name="connsiteX156" fmla="*/ 314232 w 334334"/>
                  <a:gd name="connsiteY156" fmla="*/ 93988 h 833543"/>
                  <a:gd name="connsiteX157" fmla="*/ 319170 w 334334"/>
                  <a:gd name="connsiteY157" fmla="*/ 93370 h 833543"/>
                  <a:gd name="connsiteX158" fmla="*/ 321197 w 334334"/>
                  <a:gd name="connsiteY158" fmla="*/ 93106 h 833543"/>
                  <a:gd name="connsiteX159" fmla="*/ 323842 w 334334"/>
                  <a:gd name="connsiteY159" fmla="*/ 93370 h 833543"/>
                  <a:gd name="connsiteX160" fmla="*/ 328780 w 334334"/>
                  <a:gd name="connsiteY160" fmla="*/ 96897 h 833543"/>
                  <a:gd name="connsiteX161" fmla="*/ 332307 w 334334"/>
                  <a:gd name="connsiteY161" fmla="*/ 105361 h 833543"/>
                  <a:gd name="connsiteX162" fmla="*/ 334334 w 334334"/>
                  <a:gd name="connsiteY162" fmla="*/ 121672 h 833543"/>
                  <a:gd name="connsiteX163" fmla="*/ 334334 w 334334"/>
                  <a:gd name="connsiteY163" fmla="*/ 132782 h 833543"/>
                  <a:gd name="connsiteX164" fmla="*/ 331160 w 334334"/>
                  <a:gd name="connsiteY164" fmla="*/ 133046 h 833543"/>
                  <a:gd name="connsiteX165" fmla="*/ 326487 w 334334"/>
                  <a:gd name="connsiteY165" fmla="*/ 136220 h 833543"/>
                  <a:gd name="connsiteX166" fmla="*/ 323578 w 334334"/>
                  <a:gd name="connsiteY166" fmla="*/ 140629 h 833543"/>
                  <a:gd name="connsiteX167" fmla="*/ 319787 w 334334"/>
                  <a:gd name="connsiteY167" fmla="*/ 141510 h 833543"/>
                  <a:gd name="connsiteX168" fmla="*/ 316877 w 334334"/>
                  <a:gd name="connsiteY168" fmla="*/ 143538 h 833543"/>
                  <a:gd name="connsiteX169" fmla="*/ 313086 w 334334"/>
                  <a:gd name="connsiteY169" fmla="*/ 144949 h 833543"/>
                  <a:gd name="connsiteX170" fmla="*/ 309559 w 334334"/>
                  <a:gd name="connsiteY170" fmla="*/ 148740 h 833543"/>
                  <a:gd name="connsiteX171" fmla="*/ 306914 w 334334"/>
                  <a:gd name="connsiteY171" fmla="*/ 150503 h 833543"/>
                  <a:gd name="connsiteX172" fmla="*/ 303387 w 334334"/>
                  <a:gd name="connsiteY172" fmla="*/ 155441 h 833543"/>
                  <a:gd name="connsiteX173" fmla="*/ 298450 w 334334"/>
                  <a:gd name="connsiteY173" fmla="*/ 157469 h 833543"/>
                  <a:gd name="connsiteX174" fmla="*/ 298450 w 334334"/>
                  <a:gd name="connsiteY174" fmla="*/ 162406 h 833543"/>
                  <a:gd name="connsiteX175" fmla="*/ 294041 w 334334"/>
                  <a:gd name="connsiteY175" fmla="*/ 166197 h 833543"/>
                  <a:gd name="connsiteX176" fmla="*/ 288487 w 334334"/>
                  <a:gd name="connsiteY176" fmla="*/ 173515 h 833543"/>
                  <a:gd name="connsiteX177" fmla="*/ 284431 w 334334"/>
                  <a:gd name="connsiteY177" fmla="*/ 181098 h 833543"/>
                  <a:gd name="connsiteX178" fmla="*/ 273057 w 334334"/>
                  <a:gd name="connsiteY178" fmla="*/ 198555 h 833543"/>
                  <a:gd name="connsiteX179" fmla="*/ 265739 w 334334"/>
                  <a:gd name="connsiteY179" fmla="*/ 207636 h 833543"/>
                  <a:gd name="connsiteX180" fmla="*/ 263712 w 334334"/>
                  <a:gd name="connsiteY180" fmla="*/ 211163 h 833543"/>
                  <a:gd name="connsiteX181" fmla="*/ 263447 w 334334"/>
                  <a:gd name="connsiteY181" fmla="*/ 210017 h 833543"/>
                  <a:gd name="connsiteX182" fmla="*/ 263712 w 334334"/>
                  <a:gd name="connsiteY182" fmla="*/ 211780 h 833543"/>
                  <a:gd name="connsiteX183" fmla="*/ 259656 w 334334"/>
                  <a:gd name="connsiteY183" fmla="*/ 216982 h 833543"/>
                  <a:gd name="connsiteX184" fmla="*/ 259656 w 334334"/>
                  <a:gd name="connsiteY184" fmla="*/ 219275 h 833543"/>
                  <a:gd name="connsiteX185" fmla="*/ 261684 w 334334"/>
                  <a:gd name="connsiteY185" fmla="*/ 221920 h 833543"/>
                  <a:gd name="connsiteX186" fmla="*/ 262301 w 334334"/>
                  <a:gd name="connsiteY186" fmla="*/ 227122 h 833543"/>
                  <a:gd name="connsiteX187" fmla="*/ 260273 w 334334"/>
                  <a:gd name="connsiteY187" fmla="*/ 227739 h 833543"/>
                  <a:gd name="connsiteX188" fmla="*/ 262036 w 334334"/>
                  <a:gd name="connsiteY188" fmla="*/ 230913 h 833543"/>
                  <a:gd name="connsiteX189" fmla="*/ 262036 w 334334"/>
                  <a:gd name="connsiteY189" fmla="*/ 234969 h 833543"/>
                  <a:gd name="connsiteX190" fmla="*/ 260273 w 334334"/>
                  <a:gd name="connsiteY190" fmla="*/ 237349 h 833543"/>
                  <a:gd name="connsiteX191" fmla="*/ 259127 w 334334"/>
                  <a:gd name="connsiteY191" fmla="*/ 241141 h 833543"/>
                  <a:gd name="connsiteX192" fmla="*/ 261155 w 334334"/>
                  <a:gd name="connsiteY192" fmla="*/ 242904 h 833543"/>
                  <a:gd name="connsiteX193" fmla="*/ 261419 w 334334"/>
                  <a:gd name="connsiteY193" fmla="*/ 248723 h 833543"/>
                  <a:gd name="connsiteX194" fmla="*/ 258774 w 334334"/>
                  <a:gd name="connsiteY194" fmla="*/ 250222 h 833543"/>
                  <a:gd name="connsiteX195" fmla="*/ 259391 w 334334"/>
                  <a:gd name="connsiteY195" fmla="*/ 252867 h 833543"/>
                  <a:gd name="connsiteX196" fmla="*/ 260273 w 334334"/>
                  <a:gd name="connsiteY196" fmla="*/ 256923 h 833543"/>
                  <a:gd name="connsiteX197" fmla="*/ 261772 w 334334"/>
                  <a:gd name="connsiteY197" fmla="*/ 260449 h 833543"/>
                  <a:gd name="connsiteX198" fmla="*/ 260626 w 334334"/>
                  <a:gd name="connsiteY198" fmla="*/ 265387 h 833543"/>
                  <a:gd name="connsiteX199" fmla="*/ 260361 w 334334"/>
                  <a:gd name="connsiteY199" fmla="*/ 266269 h 833543"/>
                  <a:gd name="connsiteX200" fmla="*/ 262389 w 334334"/>
                  <a:gd name="connsiteY200" fmla="*/ 276143 h 833543"/>
                  <a:gd name="connsiteX201" fmla="*/ 264153 w 334334"/>
                  <a:gd name="connsiteY201" fmla="*/ 278788 h 833543"/>
                  <a:gd name="connsiteX202" fmla="*/ 262389 w 334334"/>
                  <a:gd name="connsiteY202" fmla="*/ 280816 h 833543"/>
                  <a:gd name="connsiteX203" fmla="*/ 258862 w 334334"/>
                  <a:gd name="connsiteY203" fmla="*/ 281434 h 833543"/>
                  <a:gd name="connsiteX204" fmla="*/ 259480 w 334334"/>
                  <a:gd name="connsiteY204" fmla="*/ 284960 h 833543"/>
                  <a:gd name="connsiteX205" fmla="*/ 258862 w 334334"/>
                  <a:gd name="connsiteY205" fmla="*/ 289016 h 833543"/>
                  <a:gd name="connsiteX206" fmla="*/ 259744 w 334334"/>
                  <a:gd name="connsiteY206" fmla="*/ 297216 h 833543"/>
                  <a:gd name="connsiteX207" fmla="*/ 262389 w 334334"/>
                  <a:gd name="connsiteY207" fmla="*/ 303035 h 833543"/>
                  <a:gd name="connsiteX208" fmla="*/ 262654 w 334334"/>
                  <a:gd name="connsiteY208" fmla="*/ 304798 h 833543"/>
                  <a:gd name="connsiteX209" fmla="*/ 264682 w 334334"/>
                  <a:gd name="connsiteY209" fmla="*/ 307708 h 833543"/>
                  <a:gd name="connsiteX210" fmla="*/ 265298 w 334334"/>
                  <a:gd name="connsiteY210" fmla="*/ 309736 h 833543"/>
                  <a:gd name="connsiteX211" fmla="*/ 264417 w 334334"/>
                  <a:gd name="connsiteY211" fmla="*/ 310617 h 833543"/>
                  <a:gd name="connsiteX212" fmla="*/ 261507 w 334334"/>
                  <a:gd name="connsiteY212" fmla="*/ 310970 h 833543"/>
                  <a:gd name="connsiteX213" fmla="*/ 263535 w 334334"/>
                  <a:gd name="connsiteY213" fmla="*/ 315026 h 833543"/>
                  <a:gd name="connsiteX214" fmla="*/ 265034 w 334334"/>
                  <a:gd name="connsiteY214" fmla="*/ 317935 h 833543"/>
                  <a:gd name="connsiteX215" fmla="*/ 267062 w 334334"/>
                  <a:gd name="connsiteY215" fmla="*/ 318552 h 833543"/>
                  <a:gd name="connsiteX216" fmla="*/ 268473 w 334334"/>
                  <a:gd name="connsiteY216" fmla="*/ 317671 h 833543"/>
                  <a:gd name="connsiteX217" fmla="*/ 269971 w 334334"/>
                  <a:gd name="connsiteY217" fmla="*/ 319434 h 833543"/>
                  <a:gd name="connsiteX218" fmla="*/ 270853 w 334334"/>
                  <a:gd name="connsiteY218" fmla="*/ 320316 h 833543"/>
                  <a:gd name="connsiteX219" fmla="*/ 271999 w 334334"/>
                  <a:gd name="connsiteY219" fmla="*/ 322696 h 833543"/>
                  <a:gd name="connsiteX220" fmla="*/ 274909 w 334334"/>
                  <a:gd name="connsiteY220" fmla="*/ 322961 h 833543"/>
                  <a:gd name="connsiteX221" fmla="*/ 276937 w 334334"/>
                  <a:gd name="connsiteY221" fmla="*/ 323843 h 833543"/>
                  <a:gd name="connsiteX222" fmla="*/ 277554 w 334334"/>
                  <a:gd name="connsiteY222" fmla="*/ 324989 h 833543"/>
                  <a:gd name="connsiteX223" fmla="*/ 280463 w 334334"/>
                  <a:gd name="connsiteY223" fmla="*/ 325870 h 833543"/>
                  <a:gd name="connsiteX224" fmla="*/ 283373 w 334334"/>
                  <a:gd name="connsiteY224" fmla="*/ 326135 h 833543"/>
                  <a:gd name="connsiteX225" fmla="*/ 285401 w 334334"/>
                  <a:gd name="connsiteY225" fmla="*/ 327281 h 833543"/>
                  <a:gd name="connsiteX226" fmla="*/ 286018 w 334334"/>
                  <a:gd name="connsiteY226" fmla="*/ 329044 h 833543"/>
                  <a:gd name="connsiteX227" fmla="*/ 287517 w 334334"/>
                  <a:gd name="connsiteY227" fmla="*/ 330543 h 833543"/>
                  <a:gd name="connsiteX228" fmla="*/ 289280 w 334334"/>
                  <a:gd name="connsiteY228" fmla="*/ 330279 h 833543"/>
                  <a:gd name="connsiteX229" fmla="*/ 291044 w 334334"/>
                  <a:gd name="connsiteY229" fmla="*/ 330543 h 833543"/>
                  <a:gd name="connsiteX230" fmla="*/ 293072 w 334334"/>
                  <a:gd name="connsiteY230" fmla="*/ 331954 h 833543"/>
                  <a:gd name="connsiteX231" fmla="*/ 295981 w 334334"/>
                  <a:gd name="connsiteY231" fmla="*/ 334335 h 833543"/>
                  <a:gd name="connsiteX232" fmla="*/ 295981 w 334334"/>
                  <a:gd name="connsiteY232" fmla="*/ 333717 h 833543"/>
                  <a:gd name="connsiteX233" fmla="*/ 297127 w 334334"/>
                  <a:gd name="connsiteY233" fmla="*/ 334599 h 833543"/>
                  <a:gd name="connsiteX234" fmla="*/ 300037 w 334334"/>
                  <a:gd name="connsiteY234" fmla="*/ 336891 h 833543"/>
                  <a:gd name="connsiteX235" fmla="*/ 299155 w 334334"/>
                  <a:gd name="connsiteY235" fmla="*/ 336274 h 833543"/>
                  <a:gd name="connsiteX236" fmla="*/ 300919 w 334334"/>
                  <a:gd name="connsiteY236" fmla="*/ 339448 h 833543"/>
                  <a:gd name="connsiteX237" fmla="*/ 302065 w 334334"/>
                  <a:gd name="connsiteY237" fmla="*/ 342093 h 833543"/>
                  <a:gd name="connsiteX238" fmla="*/ 299684 w 334334"/>
                  <a:gd name="connsiteY238" fmla="*/ 342358 h 833543"/>
                  <a:gd name="connsiteX239" fmla="*/ 297921 w 334334"/>
                  <a:gd name="connsiteY239" fmla="*/ 343239 h 833543"/>
                  <a:gd name="connsiteX240" fmla="*/ 297039 w 334334"/>
                  <a:gd name="connsiteY240" fmla="*/ 345267 h 833543"/>
                  <a:gd name="connsiteX241" fmla="*/ 297039 w 334334"/>
                  <a:gd name="connsiteY241" fmla="*/ 346678 h 833543"/>
                  <a:gd name="connsiteX242" fmla="*/ 295893 w 334334"/>
                  <a:gd name="connsiteY242" fmla="*/ 348706 h 833543"/>
                  <a:gd name="connsiteX243" fmla="*/ 293865 w 334334"/>
                  <a:gd name="connsiteY243" fmla="*/ 349852 h 833543"/>
                  <a:gd name="connsiteX244" fmla="*/ 297392 w 334334"/>
                  <a:gd name="connsiteY244" fmla="*/ 350734 h 833543"/>
                  <a:gd name="connsiteX245" fmla="*/ 298803 w 334334"/>
                  <a:gd name="connsiteY245" fmla="*/ 351351 h 833543"/>
                  <a:gd name="connsiteX246" fmla="*/ 298538 w 334334"/>
                  <a:gd name="connsiteY246" fmla="*/ 353643 h 833543"/>
                  <a:gd name="connsiteX247" fmla="*/ 302065 w 334334"/>
                  <a:gd name="connsiteY247" fmla="*/ 354878 h 833543"/>
                  <a:gd name="connsiteX248" fmla="*/ 302329 w 334334"/>
                  <a:gd name="connsiteY248" fmla="*/ 356641 h 833543"/>
                  <a:gd name="connsiteX249" fmla="*/ 304622 w 334334"/>
                  <a:gd name="connsiteY249" fmla="*/ 357787 h 833543"/>
                  <a:gd name="connsiteX250" fmla="*/ 307002 w 334334"/>
                  <a:gd name="connsiteY250" fmla="*/ 359286 h 833543"/>
                  <a:gd name="connsiteX251" fmla="*/ 309647 w 334334"/>
                  <a:gd name="connsiteY251" fmla="*/ 359903 h 833543"/>
                  <a:gd name="connsiteX252" fmla="*/ 308501 w 334334"/>
                  <a:gd name="connsiteY252" fmla="*/ 359903 h 833543"/>
                  <a:gd name="connsiteX253" fmla="*/ 306738 w 334334"/>
                  <a:gd name="connsiteY253" fmla="*/ 361050 h 833543"/>
                  <a:gd name="connsiteX254" fmla="*/ 305856 w 334334"/>
                  <a:gd name="connsiteY254" fmla="*/ 363077 h 833543"/>
                  <a:gd name="connsiteX255" fmla="*/ 308501 w 334334"/>
                  <a:gd name="connsiteY255" fmla="*/ 362460 h 833543"/>
                  <a:gd name="connsiteX256" fmla="*/ 312910 w 334334"/>
                  <a:gd name="connsiteY256" fmla="*/ 359551 h 833543"/>
                  <a:gd name="connsiteX257" fmla="*/ 311763 w 334334"/>
                  <a:gd name="connsiteY257" fmla="*/ 360961 h 833543"/>
                  <a:gd name="connsiteX258" fmla="*/ 313791 w 334334"/>
                  <a:gd name="connsiteY258" fmla="*/ 364224 h 833543"/>
                  <a:gd name="connsiteX259" fmla="*/ 314673 w 334334"/>
                  <a:gd name="connsiteY259" fmla="*/ 365105 h 833543"/>
                  <a:gd name="connsiteX260" fmla="*/ 315819 w 334334"/>
                  <a:gd name="connsiteY260" fmla="*/ 366869 h 833543"/>
                  <a:gd name="connsiteX261" fmla="*/ 315555 w 334334"/>
                  <a:gd name="connsiteY261" fmla="*/ 368015 h 833543"/>
                  <a:gd name="connsiteX262" fmla="*/ 316701 w 334334"/>
                  <a:gd name="connsiteY262" fmla="*/ 369514 h 833543"/>
                  <a:gd name="connsiteX263" fmla="*/ 316701 w 334334"/>
                  <a:gd name="connsiteY263" fmla="*/ 371806 h 833543"/>
                  <a:gd name="connsiteX264" fmla="*/ 316084 w 334334"/>
                  <a:gd name="connsiteY264" fmla="*/ 374187 h 833543"/>
                  <a:gd name="connsiteX265" fmla="*/ 315202 w 334334"/>
                  <a:gd name="connsiteY265" fmla="*/ 375068 h 833543"/>
                  <a:gd name="connsiteX266" fmla="*/ 315202 w 334334"/>
                  <a:gd name="connsiteY266" fmla="*/ 378595 h 833543"/>
                  <a:gd name="connsiteX267" fmla="*/ 314320 w 334334"/>
                  <a:gd name="connsiteY267" fmla="*/ 380623 h 833543"/>
                  <a:gd name="connsiteX268" fmla="*/ 314320 w 334334"/>
                  <a:gd name="connsiteY268" fmla="*/ 383180 h 833543"/>
                  <a:gd name="connsiteX269" fmla="*/ 310264 w 334334"/>
                  <a:gd name="connsiteY269" fmla="*/ 382033 h 833543"/>
                  <a:gd name="connsiteX270" fmla="*/ 311763 w 334334"/>
                  <a:gd name="connsiteY270" fmla="*/ 383797 h 833543"/>
                  <a:gd name="connsiteX271" fmla="*/ 310882 w 334334"/>
                  <a:gd name="connsiteY271" fmla="*/ 386442 h 833543"/>
                  <a:gd name="connsiteX272" fmla="*/ 309118 w 334334"/>
                  <a:gd name="connsiteY272" fmla="*/ 388470 h 833543"/>
                  <a:gd name="connsiteX273" fmla="*/ 310000 w 334334"/>
                  <a:gd name="connsiteY273" fmla="*/ 389616 h 833543"/>
                  <a:gd name="connsiteX274" fmla="*/ 306738 w 334334"/>
                  <a:gd name="connsiteY274" fmla="*/ 391379 h 833543"/>
                  <a:gd name="connsiteX275" fmla="*/ 307002 w 334334"/>
                  <a:gd name="connsiteY275" fmla="*/ 392790 h 833543"/>
                  <a:gd name="connsiteX276" fmla="*/ 305239 w 334334"/>
                  <a:gd name="connsiteY276" fmla="*/ 393672 h 833543"/>
                  <a:gd name="connsiteX277" fmla="*/ 302947 w 334334"/>
                  <a:gd name="connsiteY277" fmla="*/ 396052 h 833543"/>
                  <a:gd name="connsiteX278" fmla="*/ 303564 w 334334"/>
                  <a:gd name="connsiteY278" fmla="*/ 397551 h 833543"/>
                  <a:gd name="connsiteX279" fmla="*/ 302065 w 334334"/>
                  <a:gd name="connsiteY279" fmla="*/ 399050 h 833543"/>
                  <a:gd name="connsiteX280" fmla="*/ 305239 w 334334"/>
                  <a:gd name="connsiteY280" fmla="*/ 400813 h 833543"/>
                  <a:gd name="connsiteX281" fmla="*/ 303828 w 334334"/>
                  <a:gd name="connsiteY281" fmla="*/ 402312 h 833543"/>
                  <a:gd name="connsiteX282" fmla="*/ 302329 w 334334"/>
                  <a:gd name="connsiteY282" fmla="*/ 404605 h 833543"/>
                  <a:gd name="connsiteX283" fmla="*/ 302065 w 334334"/>
                  <a:gd name="connsiteY283" fmla="*/ 406897 h 833543"/>
                  <a:gd name="connsiteX284" fmla="*/ 300919 w 334334"/>
                  <a:gd name="connsiteY284" fmla="*/ 409542 h 833543"/>
                  <a:gd name="connsiteX285" fmla="*/ 298009 w 334334"/>
                  <a:gd name="connsiteY285" fmla="*/ 410071 h 833543"/>
                  <a:gd name="connsiteX286" fmla="*/ 295717 w 334334"/>
                  <a:gd name="connsiteY286" fmla="*/ 411217 h 833543"/>
                  <a:gd name="connsiteX287" fmla="*/ 295099 w 334334"/>
                  <a:gd name="connsiteY287" fmla="*/ 413510 h 833543"/>
                  <a:gd name="connsiteX288" fmla="*/ 292455 w 334334"/>
                  <a:gd name="connsiteY288" fmla="*/ 414656 h 833543"/>
                  <a:gd name="connsiteX289" fmla="*/ 289280 w 334334"/>
                  <a:gd name="connsiteY289" fmla="*/ 415185 h 833543"/>
                  <a:gd name="connsiteX290" fmla="*/ 288399 w 334334"/>
                  <a:gd name="connsiteY290" fmla="*/ 416331 h 833543"/>
                  <a:gd name="connsiteX291" fmla="*/ 286635 w 334334"/>
                  <a:gd name="connsiteY291" fmla="*/ 415714 h 833543"/>
                  <a:gd name="connsiteX292" fmla="*/ 282844 w 334334"/>
                  <a:gd name="connsiteY292" fmla="*/ 415978 h 833543"/>
                  <a:gd name="connsiteX293" fmla="*/ 282315 w 334334"/>
                  <a:gd name="connsiteY293" fmla="*/ 417742 h 833543"/>
                  <a:gd name="connsiteX294" fmla="*/ 280552 w 334334"/>
                  <a:gd name="connsiteY294" fmla="*/ 418006 h 833543"/>
                  <a:gd name="connsiteX295" fmla="*/ 277378 w 334334"/>
                  <a:gd name="connsiteY295" fmla="*/ 417742 h 833543"/>
                  <a:gd name="connsiteX296" fmla="*/ 274997 w 334334"/>
                  <a:gd name="connsiteY296" fmla="*/ 418359 h 833543"/>
                  <a:gd name="connsiteX297" fmla="*/ 273234 w 334334"/>
                  <a:gd name="connsiteY297" fmla="*/ 418359 h 833543"/>
                  <a:gd name="connsiteX298" fmla="*/ 271206 w 334334"/>
                  <a:gd name="connsiteY298" fmla="*/ 420651 h 833543"/>
                  <a:gd name="connsiteX299" fmla="*/ 267944 w 334334"/>
                  <a:gd name="connsiteY299" fmla="*/ 421269 h 833543"/>
                  <a:gd name="connsiteX300" fmla="*/ 265298 w 334334"/>
                  <a:gd name="connsiteY300" fmla="*/ 421533 h 833543"/>
                  <a:gd name="connsiteX301" fmla="*/ 264153 w 334334"/>
                  <a:gd name="connsiteY301" fmla="*/ 420916 h 833543"/>
                  <a:gd name="connsiteX302" fmla="*/ 260097 w 334334"/>
                  <a:gd name="connsiteY302" fmla="*/ 421533 h 833543"/>
                  <a:gd name="connsiteX303" fmla="*/ 257187 w 334334"/>
                  <a:gd name="connsiteY303" fmla="*/ 423296 h 833543"/>
                  <a:gd name="connsiteX304" fmla="*/ 251985 w 334334"/>
                  <a:gd name="connsiteY304" fmla="*/ 424531 h 833543"/>
                  <a:gd name="connsiteX305" fmla="*/ 248194 w 334334"/>
                  <a:gd name="connsiteY305" fmla="*/ 423649 h 833543"/>
                  <a:gd name="connsiteX306" fmla="*/ 245902 w 334334"/>
                  <a:gd name="connsiteY306" fmla="*/ 423649 h 833543"/>
                  <a:gd name="connsiteX307" fmla="*/ 241493 w 334334"/>
                  <a:gd name="connsiteY307" fmla="*/ 424795 h 833543"/>
                  <a:gd name="connsiteX308" fmla="*/ 238231 w 334334"/>
                  <a:gd name="connsiteY308" fmla="*/ 424531 h 833543"/>
                  <a:gd name="connsiteX309" fmla="*/ 235939 w 334334"/>
                  <a:gd name="connsiteY309" fmla="*/ 425941 h 833543"/>
                  <a:gd name="connsiteX310" fmla="*/ 233029 w 334334"/>
                  <a:gd name="connsiteY310" fmla="*/ 425677 h 833543"/>
                  <a:gd name="connsiteX311" fmla="*/ 228356 w 334334"/>
                  <a:gd name="connsiteY311" fmla="*/ 425060 h 833543"/>
                  <a:gd name="connsiteX312" fmla="*/ 228973 w 334334"/>
                  <a:gd name="connsiteY312" fmla="*/ 427969 h 833543"/>
                  <a:gd name="connsiteX313" fmla="*/ 226945 w 334334"/>
                  <a:gd name="connsiteY313" fmla="*/ 425060 h 833543"/>
                  <a:gd name="connsiteX314" fmla="*/ 224036 w 334334"/>
                  <a:gd name="connsiteY314" fmla="*/ 428234 h 833543"/>
                  <a:gd name="connsiteX315" fmla="*/ 222008 w 334334"/>
                  <a:gd name="connsiteY315" fmla="*/ 425853 h 833543"/>
                  <a:gd name="connsiteX316" fmla="*/ 220245 w 334334"/>
                  <a:gd name="connsiteY316" fmla="*/ 427881 h 833543"/>
                  <a:gd name="connsiteX317" fmla="*/ 217071 w 334334"/>
                  <a:gd name="connsiteY317" fmla="*/ 423208 h 833543"/>
                  <a:gd name="connsiteX318" fmla="*/ 214778 w 334334"/>
                  <a:gd name="connsiteY318" fmla="*/ 426118 h 833543"/>
                  <a:gd name="connsiteX319" fmla="*/ 212133 w 334334"/>
                  <a:gd name="connsiteY319" fmla="*/ 423473 h 833543"/>
                  <a:gd name="connsiteX320" fmla="*/ 208959 w 334334"/>
                  <a:gd name="connsiteY320" fmla="*/ 424090 h 833543"/>
                  <a:gd name="connsiteX321" fmla="*/ 208695 w 334334"/>
                  <a:gd name="connsiteY321" fmla="*/ 425853 h 833543"/>
                  <a:gd name="connsiteX322" fmla="*/ 209312 w 334334"/>
                  <a:gd name="connsiteY322" fmla="*/ 426118 h 833543"/>
                  <a:gd name="connsiteX323" fmla="*/ 210193 w 334334"/>
                  <a:gd name="connsiteY323" fmla="*/ 426999 h 833543"/>
                  <a:gd name="connsiteX324" fmla="*/ 211957 w 334334"/>
                  <a:gd name="connsiteY324" fmla="*/ 429292 h 833543"/>
                  <a:gd name="connsiteX325" fmla="*/ 213367 w 334334"/>
                  <a:gd name="connsiteY325" fmla="*/ 429909 h 833543"/>
                  <a:gd name="connsiteX326" fmla="*/ 213985 w 334334"/>
                  <a:gd name="connsiteY326" fmla="*/ 430526 h 833543"/>
                  <a:gd name="connsiteX327" fmla="*/ 217159 w 334334"/>
                  <a:gd name="connsiteY327" fmla="*/ 431408 h 833543"/>
                  <a:gd name="connsiteX328" fmla="*/ 219187 w 334334"/>
                  <a:gd name="connsiteY328" fmla="*/ 431143 h 833543"/>
                  <a:gd name="connsiteX329" fmla="*/ 220950 w 334334"/>
                  <a:gd name="connsiteY329" fmla="*/ 430614 h 833543"/>
                  <a:gd name="connsiteX330" fmla="*/ 221832 w 334334"/>
                  <a:gd name="connsiteY330" fmla="*/ 431761 h 833543"/>
                  <a:gd name="connsiteX331" fmla="*/ 222096 w 334334"/>
                  <a:gd name="connsiteY331" fmla="*/ 434670 h 833543"/>
                  <a:gd name="connsiteX332" fmla="*/ 223242 w 334334"/>
                  <a:gd name="connsiteY332" fmla="*/ 436169 h 833543"/>
                  <a:gd name="connsiteX333" fmla="*/ 224389 w 334334"/>
                  <a:gd name="connsiteY333" fmla="*/ 439078 h 833543"/>
                  <a:gd name="connsiteX334" fmla="*/ 225006 w 334334"/>
                  <a:gd name="connsiteY334" fmla="*/ 441106 h 833543"/>
                  <a:gd name="connsiteX335" fmla="*/ 223860 w 334334"/>
                  <a:gd name="connsiteY335" fmla="*/ 443134 h 833543"/>
                  <a:gd name="connsiteX336" fmla="*/ 225270 w 334334"/>
                  <a:gd name="connsiteY336" fmla="*/ 443487 h 833543"/>
                  <a:gd name="connsiteX337" fmla="*/ 223242 w 334334"/>
                  <a:gd name="connsiteY337" fmla="*/ 445515 h 833543"/>
                  <a:gd name="connsiteX338" fmla="*/ 221214 w 334334"/>
                  <a:gd name="connsiteY338" fmla="*/ 447014 h 833543"/>
                  <a:gd name="connsiteX339" fmla="*/ 220597 w 334334"/>
                  <a:gd name="connsiteY339" fmla="*/ 450188 h 833543"/>
                  <a:gd name="connsiteX340" fmla="*/ 220597 w 334334"/>
                  <a:gd name="connsiteY340" fmla="*/ 452568 h 833543"/>
                  <a:gd name="connsiteX341" fmla="*/ 222890 w 334334"/>
                  <a:gd name="connsiteY341" fmla="*/ 454861 h 833543"/>
                  <a:gd name="connsiteX342" fmla="*/ 221391 w 334334"/>
                  <a:gd name="connsiteY342" fmla="*/ 456889 h 833543"/>
                  <a:gd name="connsiteX343" fmla="*/ 222008 w 334334"/>
                  <a:gd name="connsiteY343" fmla="*/ 460063 h 833543"/>
                  <a:gd name="connsiteX344" fmla="*/ 224300 w 334334"/>
                  <a:gd name="connsiteY344" fmla="*/ 461826 h 833543"/>
                  <a:gd name="connsiteX345" fmla="*/ 226328 w 334334"/>
                  <a:gd name="connsiteY345" fmla="*/ 463589 h 833543"/>
                  <a:gd name="connsiteX346" fmla="*/ 226945 w 334334"/>
                  <a:gd name="connsiteY346" fmla="*/ 465882 h 833543"/>
                  <a:gd name="connsiteX347" fmla="*/ 227562 w 334334"/>
                  <a:gd name="connsiteY347" fmla="*/ 469144 h 833543"/>
                  <a:gd name="connsiteX348" fmla="*/ 226945 w 334334"/>
                  <a:gd name="connsiteY348" fmla="*/ 471436 h 833543"/>
                  <a:gd name="connsiteX349" fmla="*/ 225182 w 334334"/>
                  <a:gd name="connsiteY349" fmla="*/ 472671 h 833543"/>
                  <a:gd name="connsiteX350" fmla="*/ 223154 w 334334"/>
                  <a:gd name="connsiteY350" fmla="*/ 474081 h 833543"/>
                  <a:gd name="connsiteX351" fmla="*/ 220774 w 334334"/>
                  <a:gd name="connsiteY351" fmla="*/ 474081 h 833543"/>
                  <a:gd name="connsiteX352" fmla="*/ 219627 w 334334"/>
                  <a:gd name="connsiteY352" fmla="*/ 474699 h 833543"/>
                  <a:gd name="connsiteX353" fmla="*/ 218128 w 334334"/>
                  <a:gd name="connsiteY353" fmla="*/ 477608 h 833543"/>
                  <a:gd name="connsiteX354" fmla="*/ 214602 w 334334"/>
                  <a:gd name="connsiteY354" fmla="*/ 479107 h 833543"/>
                  <a:gd name="connsiteX355" fmla="*/ 212574 w 334334"/>
                  <a:gd name="connsiteY355" fmla="*/ 479460 h 833543"/>
                  <a:gd name="connsiteX356" fmla="*/ 210282 w 334334"/>
                  <a:gd name="connsiteY356" fmla="*/ 479107 h 833543"/>
                  <a:gd name="connsiteX357" fmla="*/ 208518 w 334334"/>
                  <a:gd name="connsiteY357" fmla="*/ 479107 h 833543"/>
                  <a:gd name="connsiteX358" fmla="*/ 205344 w 334334"/>
                  <a:gd name="connsiteY358" fmla="*/ 479107 h 833543"/>
                  <a:gd name="connsiteX359" fmla="*/ 202435 w 334334"/>
                  <a:gd name="connsiteY359" fmla="*/ 479989 h 833543"/>
                  <a:gd name="connsiteX360" fmla="*/ 200671 w 334334"/>
                  <a:gd name="connsiteY360" fmla="*/ 477961 h 833543"/>
                  <a:gd name="connsiteX361" fmla="*/ 198643 w 334334"/>
                  <a:gd name="connsiteY361" fmla="*/ 478842 h 833543"/>
                  <a:gd name="connsiteX362" fmla="*/ 193970 w 334334"/>
                  <a:gd name="connsiteY362" fmla="*/ 473905 h 833543"/>
                  <a:gd name="connsiteX363" fmla="*/ 191942 w 334334"/>
                  <a:gd name="connsiteY363" fmla="*/ 475316 h 833543"/>
                  <a:gd name="connsiteX364" fmla="*/ 188768 w 334334"/>
                  <a:gd name="connsiteY364" fmla="*/ 472759 h 833543"/>
                  <a:gd name="connsiteX365" fmla="*/ 186741 w 334334"/>
                  <a:gd name="connsiteY365" fmla="*/ 472494 h 833543"/>
                  <a:gd name="connsiteX366" fmla="*/ 183566 w 334334"/>
                  <a:gd name="connsiteY366" fmla="*/ 470996 h 833543"/>
                  <a:gd name="connsiteX367" fmla="*/ 183566 w 334334"/>
                  <a:gd name="connsiteY367" fmla="*/ 471613 h 833543"/>
                  <a:gd name="connsiteX368" fmla="*/ 182685 w 334334"/>
                  <a:gd name="connsiteY368" fmla="*/ 470466 h 833543"/>
                  <a:gd name="connsiteX369" fmla="*/ 179775 w 334334"/>
                  <a:gd name="connsiteY369" fmla="*/ 470202 h 833543"/>
                  <a:gd name="connsiteX370" fmla="*/ 177130 w 334334"/>
                  <a:gd name="connsiteY370" fmla="*/ 470202 h 833543"/>
                  <a:gd name="connsiteX371" fmla="*/ 173603 w 334334"/>
                  <a:gd name="connsiteY371" fmla="*/ 470202 h 833543"/>
                  <a:gd name="connsiteX372" fmla="*/ 173339 w 334334"/>
                  <a:gd name="connsiteY372" fmla="*/ 470466 h 833543"/>
                  <a:gd name="connsiteX373" fmla="*/ 170429 w 334334"/>
                  <a:gd name="connsiteY373" fmla="*/ 472583 h 833543"/>
                  <a:gd name="connsiteX374" fmla="*/ 172722 w 334334"/>
                  <a:gd name="connsiteY374" fmla="*/ 472847 h 833543"/>
                  <a:gd name="connsiteX375" fmla="*/ 171223 w 334334"/>
                  <a:gd name="connsiteY375" fmla="*/ 471348 h 833543"/>
                  <a:gd name="connsiteX376" fmla="*/ 168313 w 334334"/>
                  <a:gd name="connsiteY376" fmla="*/ 471084 h 833543"/>
                  <a:gd name="connsiteX377" fmla="*/ 167696 w 334334"/>
                  <a:gd name="connsiteY377" fmla="*/ 471701 h 833543"/>
                  <a:gd name="connsiteX378" fmla="*/ 169107 w 334334"/>
                  <a:gd name="connsiteY378" fmla="*/ 472054 h 833543"/>
                  <a:gd name="connsiteX379" fmla="*/ 167961 w 334334"/>
                  <a:gd name="connsiteY379" fmla="*/ 474963 h 833543"/>
                  <a:gd name="connsiteX380" fmla="*/ 171752 w 334334"/>
                  <a:gd name="connsiteY380" fmla="*/ 476462 h 833543"/>
                  <a:gd name="connsiteX381" fmla="*/ 170341 w 334334"/>
                  <a:gd name="connsiteY381" fmla="*/ 479724 h 833543"/>
                  <a:gd name="connsiteX382" fmla="*/ 173868 w 334334"/>
                  <a:gd name="connsiteY382" fmla="*/ 479107 h 833543"/>
                  <a:gd name="connsiteX383" fmla="*/ 172369 w 334334"/>
                  <a:gd name="connsiteY383" fmla="*/ 480606 h 833543"/>
                  <a:gd name="connsiteX384" fmla="*/ 173251 w 334334"/>
                  <a:gd name="connsiteY384" fmla="*/ 481487 h 833543"/>
                  <a:gd name="connsiteX385" fmla="*/ 171752 w 334334"/>
                  <a:gd name="connsiteY385" fmla="*/ 482986 h 833543"/>
                  <a:gd name="connsiteX386" fmla="*/ 174662 w 334334"/>
                  <a:gd name="connsiteY386" fmla="*/ 483868 h 833543"/>
                  <a:gd name="connsiteX387" fmla="*/ 176954 w 334334"/>
                  <a:gd name="connsiteY387" fmla="*/ 484750 h 833543"/>
                  <a:gd name="connsiteX388" fmla="*/ 176954 w 334334"/>
                  <a:gd name="connsiteY388" fmla="*/ 485631 h 833543"/>
                  <a:gd name="connsiteX389" fmla="*/ 174926 w 334334"/>
                  <a:gd name="connsiteY389" fmla="*/ 486425 h 833543"/>
                  <a:gd name="connsiteX390" fmla="*/ 176072 w 334334"/>
                  <a:gd name="connsiteY390" fmla="*/ 489070 h 833543"/>
                  <a:gd name="connsiteX391" fmla="*/ 179599 w 334334"/>
                  <a:gd name="connsiteY391" fmla="*/ 488188 h 833543"/>
                  <a:gd name="connsiteX392" fmla="*/ 178453 w 334334"/>
                  <a:gd name="connsiteY392" fmla="*/ 491715 h 833543"/>
                  <a:gd name="connsiteX393" fmla="*/ 178453 w 334334"/>
                  <a:gd name="connsiteY393" fmla="*/ 492597 h 833543"/>
                  <a:gd name="connsiteX394" fmla="*/ 177571 w 334334"/>
                  <a:gd name="connsiteY394" fmla="*/ 494889 h 833543"/>
                  <a:gd name="connsiteX395" fmla="*/ 178717 w 334334"/>
                  <a:gd name="connsiteY395" fmla="*/ 495154 h 833543"/>
                  <a:gd name="connsiteX396" fmla="*/ 180745 w 334334"/>
                  <a:gd name="connsiteY396" fmla="*/ 496652 h 833543"/>
                  <a:gd name="connsiteX397" fmla="*/ 179599 w 334334"/>
                  <a:gd name="connsiteY397" fmla="*/ 499562 h 833543"/>
                  <a:gd name="connsiteX398" fmla="*/ 179863 w 334334"/>
                  <a:gd name="connsiteY398" fmla="*/ 501325 h 833543"/>
                  <a:gd name="connsiteX399" fmla="*/ 182156 w 334334"/>
                  <a:gd name="connsiteY399" fmla="*/ 501943 h 833543"/>
                  <a:gd name="connsiteX400" fmla="*/ 183038 w 334334"/>
                  <a:gd name="connsiteY400" fmla="*/ 501678 h 833543"/>
                  <a:gd name="connsiteX401" fmla="*/ 185065 w 334334"/>
                  <a:gd name="connsiteY401" fmla="*/ 504059 h 833543"/>
                  <a:gd name="connsiteX402" fmla="*/ 188592 w 334334"/>
                  <a:gd name="connsiteY402" fmla="*/ 503794 h 833543"/>
                  <a:gd name="connsiteX403" fmla="*/ 188328 w 334334"/>
                  <a:gd name="connsiteY403" fmla="*/ 505557 h 833543"/>
                  <a:gd name="connsiteX404" fmla="*/ 190356 w 334334"/>
                  <a:gd name="connsiteY404" fmla="*/ 505557 h 833543"/>
                  <a:gd name="connsiteX405" fmla="*/ 189827 w 334334"/>
                  <a:gd name="connsiteY405" fmla="*/ 507585 h 833543"/>
                  <a:gd name="connsiteX406" fmla="*/ 189209 w 334334"/>
                  <a:gd name="connsiteY406" fmla="*/ 509878 h 833543"/>
                  <a:gd name="connsiteX407" fmla="*/ 188592 w 334334"/>
                  <a:gd name="connsiteY407" fmla="*/ 511906 h 833543"/>
                  <a:gd name="connsiteX408" fmla="*/ 187446 w 334334"/>
                  <a:gd name="connsiteY408" fmla="*/ 513669 h 833543"/>
                  <a:gd name="connsiteX409" fmla="*/ 189827 w 334334"/>
                  <a:gd name="connsiteY409" fmla="*/ 513934 h 833543"/>
                  <a:gd name="connsiteX410" fmla="*/ 193001 w 334334"/>
                  <a:gd name="connsiteY410" fmla="*/ 512787 h 833543"/>
                  <a:gd name="connsiteX411" fmla="*/ 196792 w 334334"/>
                  <a:gd name="connsiteY411" fmla="*/ 513669 h 833543"/>
                  <a:gd name="connsiteX412" fmla="*/ 197056 w 334334"/>
                  <a:gd name="connsiteY412" fmla="*/ 511641 h 833543"/>
                  <a:gd name="connsiteX413" fmla="*/ 196792 w 334334"/>
                  <a:gd name="connsiteY413" fmla="*/ 509349 h 833543"/>
                  <a:gd name="connsiteX414" fmla="*/ 196527 w 334334"/>
                  <a:gd name="connsiteY414" fmla="*/ 509878 h 833543"/>
                  <a:gd name="connsiteX415" fmla="*/ 191854 w 334334"/>
                  <a:gd name="connsiteY415" fmla="*/ 509349 h 833543"/>
                  <a:gd name="connsiteX416" fmla="*/ 193001 w 334334"/>
                  <a:gd name="connsiteY416" fmla="*/ 507585 h 833543"/>
                  <a:gd name="connsiteX417" fmla="*/ 198291 w 334334"/>
                  <a:gd name="connsiteY417" fmla="*/ 507321 h 833543"/>
                  <a:gd name="connsiteX418" fmla="*/ 196792 w 334334"/>
                  <a:gd name="connsiteY418" fmla="*/ 503794 h 833543"/>
                  <a:gd name="connsiteX419" fmla="*/ 199084 w 334334"/>
                  <a:gd name="connsiteY419" fmla="*/ 504059 h 833543"/>
                  <a:gd name="connsiteX420" fmla="*/ 201465 w 334334"/>
                  <a:gd name="connsiteY420" fmla="*/ 504059 h 833543"/>
                  <a:gd name="connsiteX421" fmla="*/ 202611 w 334334"/>
                  <a:gd name="connsiteY421" fmla="*/ 502031 h 833543"/>
                  <a:gd name="connsiteX422" fmla="*/ 204639 w 334334"/>
                  <a:gd name="connsiteY422" fmla="*/ 500532 h 833543"/>
                  <a:gd name="connsiteX423" fmla="*/ 206138 w 334334"/>
                  <a:gd name="connsiteY423" fmla="*/ 501678 h 833543"/>
                  <a:gd name="connsiteX424" fmla="*/ 206402 w 334334"/>
                  <a:gd name="connsiteY424" fmla="*/ 503442 h 833543"/>
                  <a:gd name="connsiteX425" fmla="*/ 208430 w 334334"/>
                  <a:gd name="connsiteY425" fmla="*/ 504588 h 833543"/>
                  <a:gd name="connsiteX426" fmla="*/ 211957 w 334334"/>
                  <a:gd name="connsiteY426" fmla="*/ 504588 h 833543"/>
                  <a:gd name="connsiteX427" fmla="*/ 211957 w 334334"/>
                  <a:gd name="connsiteY427" fmla="*/ 507497 h 833543"/>
                  <a:gd name="connsiteX428" fmla="*/ 212838 w 334334"/>
                  <a:gd name="connsiteY428" fmla="*/ 508643 h 833543"/>
                  <a:gd name="connsiteX429" fmla="*/ 212838 w 334334"/>
                  <a:gd name="connsiteY429" fmla="*/ 511553 h 833543"/>
                  <a:gd name="connsiteX430" fmla="*/ 211957 w 334334"/>
                  <a:gd name="connsiteY430" fmla="*/ 513581 h 833543"/>
                  <a:gd name="connsiteX431" fmla="*/ 210546 w 334334"/>
                  <a:gd name="connsiteY431" fmla="*/ 514727 h 833543"/>
                  <a:gd name="connsiteX432" fmla="*/ 212838 w 334334"/>
                  <a:gd name="connsiteY432" fmla="*/ 516226 h 833543"/>
                  <a:gd name="connsiteX433" fmla="*/ 214602 w 334334"/>
                  <a:gd name="connsiteY433" fmla="*/ 518254 h 833543"/>
                  <a:gd name="connsiteX434" fmla="*/ 211428 w 334334"/>
                  <a:gd name="connsiteY434" fmla="*/ 519047 h 833543"/>
                  <a:gd name="connsiteX435" fmla="*/ 208254 w 334334"/>
                  <a:gd name="connsiteY435" fmla="*/ 523191 h 833543"/>
                  <a:gd name="connsiteX436" fmla="*/ 205080 w 334334"/>
                  <a:gd name="connsiteY436" fmla="*/ 522309 h 833543"/>
                  <a:gd name="connsiteX437" fmla="*/ 201553 w 334334"/>
                  <a:gd name="connsiteY437" fmla="*/ 523191 h 833543"/>
                  <a:gd name="connsiteX438" fmla="*/ 203052 w 334334"/>
                  <a:gd name="connsiteY438" fmla="*/ 522838 h 833543"/>
                  <a:gd name="connsiteX439" fmla="*/ 203052 w 334334"/>
                  <a:gd name="connsiteY439" fmla="*/ 521163 h 833543"/>
                  <a:gd name="connsiteX440" fmla="*/ 201906 w 334334"/>
                  <a:gd name="connsiteY440" fmla="*/ 520282 h 833543"/>
                  <a:gd name="connsiteX441" fmla="*/ 200407 w 334334"/>
                  <a:gd name="connsiteY441" fmla="*/ 517372 h 833543"/>
                  <a:gd name="connsiteX442" fmla="*/ 197145 w 334334"/>
                  <a:gd name="connsiteY442" fmla="*/ 516490 h 833543"/>
                  <a:gd name="connsiteX443" fmla="*/ 194235 w 334334"/>
                  <a:gd name="connsiteY443" fmla="*/ 514727 h 833543"/>
                  <a:gd name="connsiteX444" fmla="*/ 187270 w 334334"/>
                  <a:gd name="connsiteY444" fmla="*/ 515344 h 833543"/>
                  <a:gd name="connsiteX445" fmla="*/ 186388 w 334334"/>
                  <a:gd name="connsiteY445" fmla="*/ 517989 h 833543"/>
                  <a:gd name="connsiteX446" fmla="*/ 189298 w 334334"/>
                  <a:gd name="connsiteY446" fmla="*/ 517989 h 833543"/>
                  <a:gd name="connsiteX447" fmla="*/ 190796 w 334334"/>
                  <a:gd name="connsiteY447" fmla="*/ 518254 h 833543"/>
                  <a:gd name="connsiteX448" fmla="*/ 193706 w 334334"/>
                  <a:gd name="connsiteY448" fmla="*/ 519047 h 833543"/>
                  <a:gd name="connsiteX449" fmla="*/ 194323 w 334334"/>
                  <a:gd name="connsiteY449" fmla="*/ 519664 h 833543"/>
                  <a:gd name="connsiteX450" fmla="*/ 197233 w 334334"/>
                  <a:gd name="connsiteY450" fmla="*/ 521692 h 833543"/>
                  <a:gd name="connsiteX451" fmla="*/ 199613 w 334334"/>
                  <a:gd name="connsiteY451" fmla="*/ 522045 h 833543"/>
                  <a:gd name="connsiteX452" fmla="*/ 199878 w 334334"/>
                  <a:gd name="connsiteY452" fmla="*/ 526101 h 833543"/>
                  <a:gd name="connsiteX453" fmla="*/ 198731 w 334334"/>
                  <a:gd name="connsiteY453" fmla="*/ 526982 h 833543"/>
                  <a:gd name="connsiteX454" fmla="*/ 196704 w 334334"/>
                  <a:gd name="connsiteY454" fmla="*/ 528129 h 833543"/>
                  <a:gd name="connsiteX455" fmla="*/ 195822 w 334334"/>
                  <a:gd name="connsiteY455" fmla="*/ 529892 h 833543"/>
                  <a:gd name="connsiteX456" fmla="*/ 194676 w 334334"/>
                  <a:gd name="connsiteY456" fmla="*/ 530421 h 833543"/>
                  <a:gd name="connsiteX457" fmla="*/ 192383 w 334334"/>
                  <a:gd name="connsiteY457" fmla="*/ 529892 h 833543"/>
                  <a:gd name="connsiteX458" fmla="*/ 188857 w 334334"/>
                  <a:gd name="connsiteY458" fmla="*/ 530421 h 833543"/>
                  <a:gd name="connsiteX459" fmla="*/ 190620 w 334334"/>
                  <a:gd name="connsiteY459" fmla="*/ 533330 h 833543"/>
                  <a:gd name="connsiteX460" fmla="*/ 190620 w 334334"/>
                  <a:gd name="connsiteY460" fmla="*/ 536240 h 833543"/>
                  <a:gd name="connsiteX461" fmla="*/ 188592 w 334334"/>
                  <a:gd name="connsiteY461" fmla="*/ 537739 h 833543"/>
                  <a:gd name="connsiteX462" fmla="*/ 190356 w 334334"/>
                  <a:gd name="connsiteY462" fmla="*/ 539502 h 833543"/>
                  <a:gd name="connsiteX463" fmla="*/ 190356 w 334334"/>
                  <a:gd name="connsiteY463" fmla="*/ 542147 h 833543"/>
                  <a:gd name="connsiteX464" fmla="*/ 190356 w 334334"/>
                  <a:gd name="connsiteY464" fmla="*/ 543911 h 833543"/>
                  <a:gd name="connsiteX465" fmla="*/ 188945 w 334334"/>
                  <a:gd name="connsiteY465" fmla="*/ 545674 h 833543"/>
                  <a:gd name="connsiteX466" fmla="*/ 192472 w 334334"/>
                  <a:gd name="connsiteY466" fmla="*/ 547966 h 833543"/>
                  <a:gd name="connsiteX467" fmla="*/ 191854 w 334334"/>
                  <a:gd name="connsiteY467" fmla="*/ 549730 h 833543"/>
                  <a:gd name="connsiteX468" fmla="*/ 191854 w 334334"/>
                  <a:gd name="connsiteY468" fmla="*/ 550347 h 833543"/>
                  <a:gd name="connsiteX469" fmla="*/ 192736 w 334334"/>
                  <a:gd name="connsiteY469" fmla="*/ 554756 h 833543"/>
                  <a:gd name="connsiteX470" fmla="*/ 194235 w 334334"/>
                  <a:gd name="connsiteY470" fmla="*/ 555285 h 833543"/>
                  <a:gd name="connsiteX471" fmla="*/ 195646 w 334334"/>
                  <a:gd name="connsiteY471" fmla="*/ 557048 h 833543"/>
                  <a:gd name="connsiteX472" fmla="*/ 196263 w 334334"/>
                  <a:gd name="connsiteY472" fmla="*/ 559693 h 833543"/>
                  <a:gd name="connsiteX473" fmla="*/ 193618 w 334334"/>
                  <a:gd name="connsiteY473" fmla="*/ 560839 h 833543"/>
                  <a:gd name="connsiteX474" fmla="*/ 193001 w 334334"/>
                  <a:gd name="connsiteY474" fmla="*/ 563749 h 833543"/>
                  <a:gd name="connsiteX475" fmla="*/ 192383 w 334334"/>
                  <a:gd name="connsiteY475" fmla="*/ 566041 h 833543"/>
                  <a:gd name="connsiteX476" fmla="*/ 188857 w 334334"/>
                  <a:gd name="connsiteY476" fmla="*/ 565777 h 833543"/>
                  <a:gd name="connsiteX477" fmla="*/ 192383 w 334334"/>
                  <a:gd name="connsiteY477" fmla="*/ 571331 h 833543"/>
                  <a:gd name="connsiteX478" fmla="*/ 193530 w 334334"/>
                  <a:gd name="connsiteY478" fmla="*/ 573359 h 833543"/>
                  <a:gd name="connsiteX479" fmla="*/ 192648 w 334334"/>
                  <a:gd name="connsiteY479" fmla="*/ 575122 h 833543"/>
                  <a:gd name="connsiteX480" fmla="*/ 190003 w 334334"/>
                  <a:gd name="connsiteY480" fmla="*/ 572477 h 833543"/>
                  <a:gd name="connsiteX481" fmla="*/ 190003 w 334334"/>
                  <a:gd name="connsiteY481" fmla="*/ 574858 h 833543"/>
                  <a:gd name="connsiteX482" fmla="*/ 186829 w 334334"/>
                  <a:gd name="connsiteY482" fmla="*/ 576357 h 833543"/>
                  <a:gd name="connsiteX483" fmla="*/ 186212 w 334334"/>
                  <a:gd name="connsiteY483" fmla="*/ 577503 h 833543"/>
                  <a:gd name="connsiteX484" fmla="*/ 185065 w 334334"/>
                  <a:gd name="connsiteY484" fmla="*/ 577150 h 833543"/>
                  <a:gd name="connsiteX485" fmla="*/ 183566 w 334334"/>
                  <a:gd name="connsiteY485" fmla="*/ 576268 h 833543"/>
                  <a:gd name="connsiteX486" fmla="*/ 181803 w 334334"/>
                  <a:gd name="connsiteY486" fmla="*/ 576268 h 833543"/>
                  <a:gd name="connsiteX487" fmla="*/ 181186 w 334334"/>
                  <a:gd name="connsiteY487" fmla="*/ 577150 h 833543"/>
                  <a:gd name="connsiteX488" fmla="*/ 178012 w 334334"/>
                  <a:gd name="connsiteY488" fmla="*/ 575651 h 833543"/>
                  <a:gd name="connsiteX489" fmla="*/ 177747 w 334334"/>
                  <a:gd name="connsiteY489" fmla="*/ 577679 h 833543"/>
                  <a:gd name="connsiteX490" fmla="*/ 173339 w 334334"/>
                  <a:gd name="connsiteY490" fmla="*/ 577944 h 833543"/>
                  <a:gd name="connsiteX491" fmla="*/ 171840 w 334334"/>
                  <a:gd name="connsiteY491" fmla="*/ 579090 h 833543"/>
                  <a:gd name="connsiteX492" fmla="*/ 168931 w 334334"/>
                  <a:gd name="connsiteY492" fmla="*/ 578825 h 833543"/>
                  <a:gd name="connsiteX493" fmla="*/ 170694 w 334334"/>
                  <a:gd name="connsiteY493" fmla="*/ 580324 h 833543"/>
                  <a:gd name="connsiteX494" fmla="*/ 169812 w 334334"/>
                  <a:gd name="connsiteY494" fmla="*/ 581206 h 833543"/>
                  <a:gd name="connsiteX495" fmla="*/ 166903 w 334334"/>
                  <a:gd name="connsiteY495" fmla="*/ 581471 h 833543"/>
                  <a:gd name="connsiteX496" fmla="*/ 168049 w 334334"/>
                  <a:gd name="connsiteY496" fmla="*/ 583234 h 833543"/>
                  <a:gd name="connsiteX497" fmla="*/ 166286 w 334334"/>
                  <a:gd name="connsiteY497" fmla="*/ 585262 h 833543"/>
                  <a:gd name="connsiteX498" fmla="*/ 165668 w 334334"/>
                  <a:gd name="connsiteY498" fmla="*/ 587025 h 833543"/>
                  <a:gd name="connsiteX499" fmla="*/ 164522 w 334334"/>
                  <a:gd name="connsiteY499" fmla="*/ 587907 h 833543"/>
                  <a:gd name="connsiteX500" fmla="*/ 163376 w 334334"/>
                  <a:gd name="connsiteY500" fmla="*/ 593109 h 833543"/>
                  <a:gd name="connsiteX501" fmla="*/ 162230 w 334334"/>
                  <a:gd name="connsiteY501" fmla="*/ 594608 h 833543"/>
                  <a:gd name="connsiteX502" fmla="*/ 161965 w 334334"/>
                  <a:gd name="connsiteY502" fmla="*/ 597253 h 833543"/>
                  <a:gd name="connsiteX503" fmla="*/ 159320 w 334334"/>
                  <a:gd name="connsiteY503" fmla="*/ 599281 h 833543"/>
                  <a:gd name="connsiteX504" fmla="*/ 160466 w 334334"/>
                  <a:gd name="connsiteY504" fmla="*/ 601044 h 833543"/>
                  <a:gd name="connsiteX505" fmla="*/ 161613 w 334334"/>
                  <a:gd name="connsiteY505" fmla="*/ 603336 h 833543"/>
                  <a:gd name="connsiteX506" fmla="*/ 162494 w 334334"/>
                  <a:gd name="connsiteY506" fmla="*/ 606246 h 833543"/>
                  <a:gd name="connsiteX507" fmla="*/ 162230 w 334334"/>
                  <a:gd name="connsiteY507" fmla="*/ 607745 h 833543"/>
                  <a:gd name="connsiteX508" fmla="*/ 164875 w 334334"/>
                  <a:gd name="connsiteY508" fmla="*/ 610390 h 833543"/>
                  <a:gd name="connsiteX509" fmla="*/ 165756 w 334334"/>
                  <a:gd name="connsiteY509" fmla="*/ 610654 h 833543"/>
                  <a:gd name="connsiteX510" fmla="*/ 166903 w 334334"/>
                  <a:gd name="connsiteY510" fmla="*/ 612418 h 833543"/>
                  <a:gd name="connsiteX511" fmla="*/ 170694 w 334334"/>
                  <a:gd name="connsiteY511" fmla="*/ 613564 h 833543"/>
                  <a:gd name="connsiteX512" fmla="*/ 170958 w 334334"/>
                  <a:gd name="connsiteY512" fmla="*/ 615063 h 833543"/>
                  <a:gd name="connsiteX513" fmla="*/ 174485 w 334334"/>
                  <a:gd name="connsiteY513" fmla="*/ 618589 h 833543"/>
                  <a:gd name="connsiteX514" fmla="*/ 175102 w 334334"/>
                  <a:gd name="connsiteY514" fmla="*/ 620617 h 833543"/>
                  <a:gd name="connsiteX515" fmla="*/ 178276 w 334334"/>
                  <a:gd name="connsiteY515" fmla="*/ 620000 h 833543"/>
                  <a:gd name="connsiteX516" fmla="*/ 180569 w 334334"/>
                  <a:gd name="connsiteY516" fmla="*/ 623174 h 833543"/>
                  <a:gd name="connsiteX517" fmla="*/ 181451 w 334334"/>
                  <a:gd name="connsiteY517" fmla="*/ 622910 h 833543"/>
                  <a:gd name="connsiteX518" fmla="*/ 184360 w 334334"/>
                  <a:gd name="connsiteY518" fmla="*/ 623174 h 833543"/>
                  <a:gd name="connsiteX519" fmla="*/ 186123 w 334334"/>
                  <a:gd name="connsiteY519" fmla="*/ 624938 h 833543"/>
                  <a:gd name="connsiteX520" fmla="*/ 188768 w 334334"/>
                  <a:gd name="connsiteY520" fmla="*/ 625202 h 833543"/>
                  <a:gd name="connsiteX521" fmla="*/ 191942 w 334334"/>
                  <a:gd name="connsiteY521" fmla="*/ 625202 h 833543"/>
                  <a:gd name="connsiteX522" fmla="*/ 192560 w 334334"/>
                  <a:gd name="connsiteY522" fmla="*/ 626701 h 833543"/>
                  <a:gd name="connsiteX523" fmla="*/ 196615 w 334334"/>
                  <a:gd name="connsiteY523" fmla="*/ 625467 h 833543"/>
                  <a:gd name="connsiteX524" fmla="*/ 198114 w 334334"/>
                  <a:gd name="connsiteY524" fmla="*/ 626701 h 833543"/>
                  <a:gd name="connsiteX525" fmla="*/ 201641 w 334334"/>
                  <a:gd name="connsiteY525" fmla="*/ 627847 h 833543"/>
                  <a:gd name="connsiteX526" fmla="*/ 204286 w 334334"/>
                  <a:gd name="connsiteY526" fmla="*/ 628993 h 833543"/>
                  <a:gd name="connsiteX527" fmla="*/ 203404 w 334334"/>
                  <a:gd name="connsiteY527" fmla="*/ 630139 h 833543"/>
                  <a:gd name="connsiteX528" fmla="*/ 205432 w 334334"/>
                  <a:gd name="connsiteY528" fmla="*/ 633049 h 833543"/>
                  <a:gd name="connsiteX529" fmla="*/ 206578 w 334334"/>
                  <a:gd name="connsiteY529" fmla="*/ 635694 h 833543"/>
                  <a:gd name="connsiteX530" fmla="*/ 207725 w 334334"/>
                  <a:gd name="connsiteY530" fmla="*/ 639838 h 833543"/>
                  <a:gd name="connsiteX531" fmla="*/ 206843 w 334334"/>
                  <a:gd name="connsiteY531" fmla="*/ 641601 h 833543"/>
                  <a:gd name="connsiteX532" fmla="*/ 207107 w 334334"/>
                  <a:gd name="connsiteY532" fmla="*/ 644246 h 833543"/>
                  <a:gd name="connsiteX533" fmla="*/ 206490 w 334334"/>
                  <a:gd name="connsiteY533" fmla="*/ 643982 h 833543"/>
                  <a:gd name="connsiteX534" fmla="*/ 198908 w 334334"/>
                  <a:gd name="connsiteY534" fmla="*/ 645128 h 833543"/>
                  <a:gd name="connsiteX535" fmla="*/ 195381 w 334334"/>
                  <a:gd name="connsiteY535" fmla="*/ 645481 h 833543"/>
                  <a:gd name="connsiteX536" fmla="*/ 193970 w 334334"/>
                  <a:gd name="connsiteY536" fmla="*/ 646362 h 833543"/>
                  <a:gd name="connsiteX537" fmla="*/ 201553 w 334334"/>
                  <a:gd name="connsiteY537" fmla="*/ 645216 h 833543"/>
                  <a:gd name="connsiteX538" fmla="*/ 203052 w 334334"/>
                  <a:gd name="connsiteY538" fmla="*/ 645216 h 833543"/>
                  <a:gd name="connsiteX539" fmla="*/ 207989 w 334334"/>
                  <a:gd name="connsiteY539" fmla="*/ 645833 h 833543"/>
                  <a:gd name="connsiteX540" fmla="*/ 209753 w 334334"/>
                  <a:gd name="connsiteY540" fmla="*/ 645569 h 833543"/>
                  <a:gd name="connsiteX541" fmla="*/ 209135 w 334334"/>
                  <a:gd name="connsiteY541" fmla="*/ 648214 h 833543"/>
                  <a:gd name="connsiteX542" fmla="*/ 210017 w 334334"/>
                  <a:gd name="connsiteY542" fmla="*/ 649625 h 833543"/>
                  <a:gd name="connsiteX543" fmla="*/ 208518 w 334334"/>
                  <a:gd name="connsiteY543" fmla="*/ 649977 h 833543"/>
                  <a:gd name="connsiteX544" fmla="*/ 207019 w 334334"/>
                  <a:gd name="connsiteY544" fmla="*/ 651124 h 833543"/>
                  <a:gd name="connsiteX545" fmla="*/ 205609 w 334334"/>
                  <a:gd name="connsiteY545" fmla="*/ 653151 h 833543"/>
                  <a:gd name="connsiteX546" fmla="*/ 204462 w 334334"/>
                  <a:gd name="connsiteY546" fmla="*/ 654915 h 833543"/>
                  <a:gd name="connsiteX547" fmla="*/ 202435 w 334334"/>
                  <a:gd name="connsiteY547" fmla="*/ 655796 h 833543"/>
                  <a:gd name="connsiteX548" fmla="*/ 200142 w 334334"/>
                  <a:gd name="connsiteY548" fmla="*/ 657824 h 833543"/>
                  <a:gd name="connsiteX549" fmla="*/ 198114 w 334334"/>
                  <a:gd name="connsiteY549" fmla="*/ 661087 h 833543"/>
                  <a:gd name="connsiteX550" fmla="*/ 195205 w 334334"/>
                  <a:gd name="connsiteY550" fmla="*/ 661968 h 833543"/>
                  <a:gd name="connsiteX551" fmla="*/ 191413 w 334334"/>
                  <a:gd name="connsiteY551" fmla="*/ 665142 h 833543"/>
                  <a:gd name="connsiteX552" fmla="*/ 190267 w 334334"/>
                  <a:gd name="connsiteY552" fmla="*/ 668669 h 833543"/>
                  <a:gd name="connsiteX553" fmla="*/ 188239 w 334334"/>
                  <a:gd name="connsiteY553" fmla="*/ 671579 h 833543"/>
                  <a:gd name="connsiteX554" fmla="*/ 186212 w 334334"/>
                  <a:gd name="connsiteY554" fmla="*/ 674488 h 833543"/>
                  <a:gd name="connsiteX555" fmla="*/ 185330 w 334334"/>
                  <a:gd name="connsiteY555" fmla="*/ 677133 h 833543"/>
                  <a:gd name="connsiteX556" fmla="*/ 181803 w 334334"/>
                  <a:gd name="connsiteY556" fmla="*/ 678632 h 833543"/>
                  <a:gd name="connsiteX557" fmla="*/ 180921 w 334334"/>
                  <a:gd name="connsiteY557" fmla="*/ 681541 h 833543"/>
                  <a:gd name="connsiteX558" fmla="*/ 179775 w 334334"/>
                  <a:gd name="connsiteY558" fmla="*/ 683305 h 833543"/>
                  <a:gd name="connsiteX559" fmla="*/ 179775 w 334334"/>
                  <a:gd name="connsiteY559" fmla="*/ 684187 h 833543"/>
                  <a:gd name="connsiteX560" fmla="*/ 182068 w 334334"/>
                  <a:gd name="connsiteY560" fmla="*/ 681277 h 833543"/>
                  <a:gd name="connsiteX561" fmla="*/ 182685 w 334334"/>
                  <a:gd name="connsiteY561" fmla="*/ 680748 h 833543"/>
                  <a:gd name="connsiteX562" fmla="*/ 186212 w 334334"/>
                  <a:gd name="connsiteY562" fmla="*/ 680748 h 833543"/>
                  <a:gd name="connsiteX563" fmla="*/ 186829 w 334334"/>
                  <a:gd name="connsiteY563" fmla="*/ 682776 h 833543"/>
                  <a:gd name="connsiteX564" fmla="*/ 186829 w 334334"/>
                  <a:gd name="connsiteY564" fmla="*/ 685156 h 833543"/>
                  <a:gd name="connsiteX565" fmla="*/ 186564 w 334334"/>
                  <a:gd name="connsiteY565" fmla="*/ 686655 h 833543"/>
                  <a:gd name="connsiteX566" fmla="*/ 186564 w 334334"/>
                  <a:gd name="connsiteY566" fmla="*/ 688948 h 833543"/>
                  <a:gd name="connsiteX567" fmla="*/ 188063 w 334334"/>
                  <a:gd name="connsiteY567" fmla="*/ 689565 h 833543"/>
                  <a:gd name="connsiteX568" fmla="*/ 187446 w 334334"/>
                  <a:gd name="connsiteY568" fmla="*/ 690711 h 833543"/>
                  <a:gd name="connsiteX569" fmla="*/ 187446 w 334334"/>
                  <a:gd name="connsiteY569" fmla="*/ 693004 h 833543"/>
                  <a:gd name="connsiteX570" fmla="*/ 188328 w 334334"/>
                  <a:gd name="connsiteY570" fmla="*/ 694502 h 833543"/>
                  <a:gd name="connsiteX571" fmla="*/ 188592 w 334334"/>
                  <a:gd name="connsiteY571" fmla="*/ 696530 h 833543"/>
                  <a:gd name="connsiteX572" fmla="*/ 187093 w 334334"/>
                  <a:gd name="connsiteY572" fmla="*/ 698294 h 833543"/>
                  <a:gd name="connsiteX573" fmla="*/ 186476 w 334334"/>
                  <a:gd name="connsiteY573" fmla="*/ 699175 h 833543"/>
                  <a:gd name="connsiteX574" fmla="*/ 185859 w 334334"/>
                  <a:gd name="connsiteY574" fmla="*/ 700674 h 833543"/>
                  <a:gd name="connsiteX575" fmla="*/ 184713 w 334334"/>
                  <a:gd name="connsiteY575" fmla="*/ 702085 h 833543"/>
                  <a:gd name="connsiteX576" fmla="*/ 182685 w 334334"/>
                  <a:gd name="connsiteY576" fmla="*/ 701556 h 833543"/>
                  <a:gd name="connsiteX577" fmla="*/ 180921 w 334334"/>
                  <a:gd name="connsiteY577" fmla="*/ 702438 h 833543"/>
                  <a:gd name="connsiteX578" fmla="*/ 179423 w 334334"/>
                  <a:gd name="connsiteY578" fmla="*/ 703319 h 833543"/>
                  <a:gd name="connsiteX579" fmla="*/ 176513 w 334334"/>
                  <a:gd name="connsiteY579" fmla="*/ 701908 h 833543"/>
                  <a:gd name="connsiteX580" fmla="*/ 171840 w 334334"/>
                  <a:gd name="connsiteY580" fmla="*/ 698117 h 833543"/>
                  <a:gd name="connsiteX581" fmla="*/ 168049 w 334334"/>
                  <a:gd name="connsiteY581" fmla="*/ 694591 h 833543"/>
                  <a:gd name="connsiteX582" fmla="*/ 165668 w 334334"/>
                  <a:gd name="connsiteY582" fmla="*/ 692563 h 833543"/>
                  <a:gd name="connsiteX583" fmla="*/ 167432 w 334334"/>
                  <a:gd name="connsiteY583" fmla="*/ 694591 h 833543"/>
                  <a:gd name="connsiteX584" fmla="*/ 169460 w 334334"/>
                  <a:gd name="connsiteY584" fmla="*/ 697235 h 833543"/>
                  <a:gd name="connsiteX585" fmla="*/ 165139 w 334334"/>
                  <a:gd name="connsiteY585" fmla="*/ 698117 h 833543"/>
                  <a:gd name="connsiteX586" fmla="*/ 161965 w 334334"/>
                  <a:gd name="connsiteY586" fmla="*/ 698999 h 833543"/>
                  <a:gd name="connsiteX587" fmla="*/ 167255 w 334334"/>
                  <a:gd name="connsiteY587" fmla="*/ 698117 h 833543"/>
                  <a:gd name="connsiteX588" fmla="*/ 170165 w 334334"/>
                  <a:gd name="connsiteY588" fmla="*/ 698382 h 833543"/>
                  <a:gd name="connsiteX589" fmla="*/ 172810 w 334334"/>
                  <a:gd name="connsiteY589" fmla="*/ 700410 h 833543"/>
                  <a:gd name="connsiteX590" fmla="*/ 173956 w 334334"/>
                  <a:gd name="connsiteY590" fmla="*/ 701644 h 833543"/>
                  <a:gd name="connsiteX591" fmla="*/ 176337 w 334334"/>
                  <a:gd name="connsiteY591" fmla="*/ 702173 h 833543"/>
                  <a:gd name="connsiteX592" fmla="*/ 178365 w 334334"/>
                  <a:gd name="connsiteY592" fmla="*/ 704818 h 833543"/>
                  <a:gd name="connsiteX593" fmla="*/ 177218 w 334334"/>
                  <a:gd name="connsiteY593" fmla="*/ 706229 h 833543"/>
                  <a:gd name="connsiteX594" fmla="*/ 175455 w 334334"/>
                  <a:gd name="connsiteY594" fmla="*/ 707375 h 833543"/>
                  <a:gd name="connsiteX595" fmla="*/ 171928 w 334334"/>
                  <a:gd name="connsiteY595" fmla="*/ 707640 h 833543"/>
                  <a:gd name="connsiteX596" fmla="*/ 170518 w 334334"/>
                  <a:gd name="connsiteY596" fmla="*/ 711695 h 833543"/>
                  <a:gd name="connsiteX597" fmla="*/ 172810 w 334334"/>
                  <a:gd name="connsiteY597" fmla="*/ 713194 h 833543"/>
                  <a:gd name="connsiteX598" fmla="*/ 171928 w 334334"/>
                  <a:gd name="connsiteY598" fmla="*/ 716104 h 833543"/>
                  <a:gd name="connsiteX599" fmla="*/ 164963 w 334334"/>
                  <a:gd name="connsiteY599" fmla="*/ 724920 h 833543"/>
                  <a:gd name="connsiteX600" fmla="*/ 171928 w 334334"/>
                  <a:gd name="connsiteY600" fmla="*/ 720512 h 833543"/>
                  <a:gd name="connsiteX601" fmla="*/ 172193 w 334334"/>
                  <a:gd name="connsiteY601" fmla="*/ 723157 h 833543"/>
                  <a:gd name="connsiteX602" fmla="*/ 173339 w 334334"/>
                  <a:gd name="connsiteY602" fmla="*/ 724656 h 833543"/>
                  <a:gd name="connsiteX603" fmla="*/ 175367 w 334334"/>
                  <a:gd name="connsiteY603" fmla="*/ 726684 h 833543"/>
                  <a:gd name="connsiteX604" fmla="*/ 173956 w 334334"/>
                  <a:gd name="connsiteY604" fmla="*/ 727213 h 833543"/>
                  <a:gd name="connsiteX605" fmla="*/ 175367 w 334334"/>
                  <a:gd name="connsiteY605" fmla="*/ 728712 h 833543"/>
                  <a:gd name="connsiteX606" fmla="*/ 175367 w 334334"/>
                  <a:gd name="connsiteY606" fmla="*/ 731621 h 833543"/>
                  <a:gd name="connsiteX607" fmla="*/ 176866 w 334334"/>
                  <a:gd name="connsiteY607" fmla="*/ 732503 h 833543"/>
                  <a:gd name="connsiteX608" fmla="*/ 177747 w 334334"/>
                  <a:gd name="connsiteY608" fmla="*/ 733385 h 833543"/>
                  <a:gd name="connsiteX609" fmla="*/ 180657 w 334334"/>
                  <a:gd name="connsiteY609" fmla="*/ 735677 h 833543"/>
                  <a:gd name="connsiteX610" fmla="*/ 178894 w 334334"/>
                  <a:gd name="connsiteY610" fmla="*/ 735148 h 833543"/>
                  <a:gd name="connsiteX611" fmla="*/ 177747 w 334334"/>
                  <a:gd name="connsiteY611" fmla="*/ 736911 h 833543"/>
                  <a:gd name="connsiteX612" fmla="*/ 175367 w 334334"/>
                  <a:gd name="connsiteY612" fmla="*/ 737528 h 833543"/>
                  <a:gd name="connsiteX613" fmla="*/ 170429 w 334334"/>
                  <a:gd name="connsiteY613" fmla="*/ 736030 h 833543"/>
                  <a:gd name="connsiteX614" fmla="*/ 166374 w 334334"/>
                  <a:gd name="connsiteY614" fmla="*/ 737793 h 833543"/>
                  <a:gd name="connsiteX615" fmla="*/ 171664 w 334334"/>
                  <a:gd name="connsiteY615" fmla="*/ 737176 h 833543"/>
                  <a:gd name="connsiteX616" fmla="*/ 175191 w 334334"/>
                  <a:gd name="connsiteY616" fmla="*/ 738057 h 833543"/>
                  <a:gd name="connsiteX617" fmla="*/ 177218 w 334334"/>
                  <a:gd name="connsiteY617" fmla="*/ 737793 h 833543"/>
                  <a:gd name="connsiteX618" fmla="*/ 181274 w 334334"/>
                  <a:gd name="connsiteY618" fmla="*/ 740085 h 833543"/>
                  <a:gd name="connsiteX619" fmla="*/ 188239 w 334334"/>
                  <a:gd name="connsiteY619" fmla="*/ 747403 h 833543"/>
                  <a:gd name="connsiteX620" fmla="*/ 191766 w 334334"/>
                  <a:gd name="connsiteY620" fmla="*/ 750930 h 833543"/>
                  <a:gd name="connsiteX621" fmla="*/ 196704 w 334334"/>
                  <a:gd name="connsiteY621" fmla="*/ 754721 h 833543"/>
                  <a:gd name="connsiteX622" fmla="*/ 196439 w 334334"/>
                  <a:gd name="connsiteY622" fmla="*/ 756220 h 833543"/>
                  <a:gd name="connsiteX623" fmla="*/ 123524 w 334334"/>
                  <a:gd name="connsiteY623" fmla="*/ 737528 h 833543"/>
                  <a:gd name="connsiteX624" fmla="*/ 104832 w 334334"/>
                  <a:gd name="connsiteY624" fmla="*/ 719454 h 833543"/>
                  <a:gd name="connsiteX625" fmla="*/ 83848 w 334334"/>
                  <a:gd name="connsiteY625" fmla="*/ 704289 h 833543"/>
                  <a:gd name="connsiteX626" fmla="*/ 75648 w 334334"/>
                  <a:gd name="connsiteY626" fmla="*/ 681277 h 833543"/>
                  <a:gd name="connsiteX627" fmla="*/ 79440 w 334334"/>
                  <a:gd name="connsiteY627" fmla="*/ 656766 h 833543"/>
                  <a:gd name="connsiteX628" fmla="*/ 78293 w 334334"/>
                  <a:gd name="connsiteY628" fmla="*/ 634901 h 833543"/>
                  <a:gd name="connsiteX629" fmla="*/ 78558 w 334334"/>
                  <a:gd name="connsiteY629" fmla="*/ 619471 h 833543"/>
                  <a:gd name="connsiteX630" fmla="*/ 73621 w 334334"/>
                  <a:gd name="connsiteY630" fmla="*/ 599898 h 833543"/>
                  <a:gd name="connsiteX631" fmla="*/ 70446 w 334334"/>
                  <a:gd name="connsiteY631" fmla="*/ 583587 h 833543"/>
                  <a:gd name="connsiteX632" fmla="*/ 66038 w 334334"/>
                  <a:gd name="connsiteY632" fmla="*/ 571331 h 833543"/>
                  <a:gd name="connsiteX633" fmla="*/ 63746 w 334334"/>
                  <a:gd name="connsiteY633" fmla="*/ 561368 h 833543"/>
                  <a:gd name="connsiteX634" fmla="*/ 53871 w 334334"/>
                  <a:gd name="connsiteY634" fmla="*/ 546203 h 833543"/>
                  <a:gd name="connsiteX635" fmla="*/ 45407 w 334334"/>
                  <a:gd name="connsiteY635" fmla="*/ 530421 h 833543"/>
                  <a:gd name="connsiteX636" fmla="*/ 38441 w 334334"/>
                  <a:gd name="connsiteY636" fmla="*/ 510583 h 833543"/>
                  <a:gd name="connsiteX637" fmla="*/ 34650 w 334334"/>
                  <a:gd name="connsiteY637" fmla="*/ 491627 h 833543"/>
                  <a:gd name="connsiteX638" fmla="*/ 28566 w 334334"/>
                  <a:gd name="connsiteY638" fmla="*/ 467998 h 833543"/>
                  <a:gd name="connsiteX639" fmla="*/ 26186 w 334334"/>
                  <a:gd name="connsiteY639" fmla="*/ 451687 h 833543"/>
                  <a:gd name="connsiteX640" fmla="*/ 27332 w 334334"/>
                  <a:gd name="connsiteY640" fmla="*/ 435376 h 833543"/>
                  <a:gd name="connsiteX641" fmla="*/ 28831 w 334334"/>
                  <a:gd name="connsiteY641" fmla="*/ 413774 h 833543"/>
                  <a:gd name="connsiteX642" fmla="*/ 19485 w 334334"/>
                  <a:gd name="connsiteY642" fmla="*/ 387500 h 833543"/>
                  <a:gd name="connsiteX643" fmla="*/ 17457 w 334334"/>
                  <a:gd name="connsiteY643" fmla="*/ 371189 h 833543"/>
                  <a:gd name="connsiteX644" fmla="*/ 23012 w 334334"/>
                  <a:gd name="connsiteY644" fmla="*/ 358316 h 833543"/>
                  <a:gd name="connsiteX645" fmla="*/ 22130 w 334334"/>
                  <a:gd name="connsiteY645" fmla="*/ 340506 h 833543"/>
                  <a:gd name="connsiteX646" fmla="*/ 23012 w 334334"/>
                  <a:gd name="connsiteY646" fmla="*/ 318023 h 833543"/>
                  <a:gd name="connsiteX647" fmla="*/ 23629 w 334334"/>
                  <a:gd name="connsiteY647" fmla="*/ 298450 h 833543"/>
                  <a:gd name="connsiteX648" fmla="*/ 16664 w 334334"/>
                  <a:gd name="connsiteY648" fmla="*/ 280993 h 833543"/>
                  <a:gd name="connsiteX649" fmla="*/ 7582 w 334334"/>
                  <a:gd name="connsiteY649" fmla="*/ 262301 h 833543"/>
                  <a:gd name="connsiteX650" fmla="*/ 0 w 334334"/>
                  <a:gd name="connsiteY650" fmla="*/ 243345 h 833543"/>
                  <a:gd name="connsiteX651" fmla="*/ 264 w 334334"/>
                  <a:gd name="connsiteY651" fmla="*/ 222361 h 833543"/>
                  <a:gd name="connsiteX652" fmla="*/ 2292 w 334334"/>
                  <a:gd name="connsiteY652" fmla="*/ 203405 h 833543"/>
                  <a:gd name="connsiteX653" fmla="*/ 1146 w 334334"/>
                  <a:gd name="connsiteY653" fmla="*/ 179158 h 833543"/>
                  <a:gd name="connsiteX654" fmla="*/ 7582 w 334334"/>
                  <a:gd name="connsiteY654" fmla="*/ 155794 h 833543"/>
                  <a:gd name="connsiteX655" fmla="*/ 16928 w 334334"/>
                  <a:gd name="connsiteY655" fmla="*/ 135956 h 833543"/>
                  <a:gd name="connsiteX656" fmla="*/ 18427 w 334334"/>
                  <a:gd name="connsiteY656" fmla="*/ 108800 h 833543"/>
                  <a:gd name="connsiteX657" fmla="*/ 14636 w 334334"/>
                  <a:gd name="connsiteY657" fmla="*/ 78205 h 833543"/>
                  <a:gd name="connsiteX658" fmla="*/ 40293 w 334334"/>
                  <a:gd name="connsiteY658" fmla="*/ 30330 h 833543"/>
                  <a:gd name="connsiteX659" fmla="*/ 35884 w 334334"/>
                  <a:gd name="connsiteY659" fmla="*/ 25657 h 833543"/>
                  <a:gd name="connsiteX660" fmla="*/ 36766 w 334334"/>
                  <a:gd name="connsiteY660" fmla="*/ 23276 h 833543"/>
                  <a:gd name="connsiteX661" fmla="*/ 38794 w 334334"/>
                  <a:gd name="connsiteY661" fmla="*/ 18603 h 833543"/>
                  <a:gd name="connsiteX662" fmla="*/ 40293 w 334334"/>
                  <a:gd name="connsiteY662" fmla="*/ 17457 h 833543"/>
                  <a:gd name="connsiteX663" fmla="*/ 43202 w 334334"/>
                  <a:gd name="connsiteY663" fmla="*/ 14812 h 833543"/>
                  <a:gd name="connsiteX664" fmla="*/ 43820 w 334334"/>
                  <a:gd name="connsiteY664" fmla="*/ 11286 h 833543"/>
                  <a:gd name="connsiteX665" fmla="*/ 46200 w 334334"/>
                  <a:gd name="connsiteY665" fmla="*/ 11021 h 833543"/>
                  <a:gd name="connsiteX666" fmla="*/ 51490 w 334334"/>
                  <a:gd name="connsiteY666" fmla="*/ 8112 h 833543"/>
                  <a:gd name="connsiteX667" fmla="*/ 52901 w 334334"/>
                  <a:gd name="connsiteY667" fmla="*/ 7582 h 833543"/>
                  <a:gd name="connsiteX668" fmla="*/ 53783 w 334334"/>
                  <a:gd name="connsiteY668" fmla="*/ 0 h 833543"/>
                  <a:gd name="connsiteX669" fmla="*/ 56957 w 334334"/>
                  <a:gd name="connsiteY669" fmla="*/ 1763 h 833543"/>
                  <a:gd name="connsiteX670" fmla="*/ 57838 w 334334"/>
                  <a:gd name="connsiteY670" fmla="*/ 3791 h 833543"/>
                  <a:gd name="connsiteX671" fmla="*/ 63393 w 334334"/>
                  <a:gd name="connsiteY671" fmla="*/ 7318 h 833543"/>
                  <a:gd name="connsiteX672" fmla="*/ 68066 w 334334"/>
                  <a:gd name="connsiteY672" fmla="*/ 7935 h 833543"/>
                  <a:gd name="connsiteX673" fmla="*/ 70975 w 334334"/>
                  <a:gd name="connsiteY673" fmla="*/ 7935 h 833543"/>
                  <a:gd name="connsiteX674" fmla="*/ 82085 w 334334"/>
                  <a:gd name="connsiteY674" fmla="*/ 8200 h 833543"/>
                  <a:gd name="connsiteX675" fmla="*/ 87287 w 334334"/>
                  <a:gd name="connsiteY675" fmla="*/ 9963 h 833543"/>
                  <a:gd name="connsiteX676" fmla="*/ 89932 w 334334"/>
                  <a:gd name="connsiteY676" fmla="*/ 11109 h 833543"/>
                  <a:gd name="connsiteX677" fmla="*/ 91078 w 334334"/>
                  <a:gd name="connsiteY677" fmla="*/ 14636 h 833543"/>
                  <a:gd name="connsiteX678" fmla="*/ 92224 w 334334"/>
                  <a:gd name="connsiteY678" fmla="*/ 16664 h 833543"/>
                  <a:gd name="connsiteX679" fmla="*/ 93987 w 334334"/>
                  <a:gd name="connsiteY679" fmla="*/ 21601 h 833543"/>
                  <a:gd name="connsiteX680" fmla="*/ 96015 w 334334"/>
                  <a:gd name="connsiteY680" fmla="*/ 24246 h 833543"/>
                  <a:gd name="connsiteX681" fmla="*/ 98043 w 334334"/>
                  <a:gd name="connsiteY681" fmla="*/ 26803 h 833543"/>
                  <a:gd name="connsiteX682" fmla="*/ 98043 w 334334"/>
                  <a:gd name="connsiteY682" fmla="*/ 24511 h 833543"/>
                  <a:gd name="connsiteX683" fmla="*/ 98308 w 334334"/>
                  <a:gd name="connsiteY683" fmla="*/ 20984 h 833543"/>
                  <a:gd name="connsiteX684" fmla="*/ 98925 w 334334"/>
                  <a:gd name="connsiteY684" fmla="*/ 18692 h 833543"/>
                  <a:gd name="connsiteX685" fmla="*/ 100688 w 334334"/>
                  <a:gd name="connsiteY685" fmla="*/ 14019 h 833543"/>
                  <a:gd name="connsiteX686" fmla="*/ 101834 w 334334"/>
                  <a:gd name="connsiteY686" fmla="*/ 11374 h 833543"/>
                  <a:gd name="connsiteX687" fmla="*/ 102452 w 334334"/>
                  <a:gd name="connsiteY687" fmla="*/ 9346 h 833543"/>
                  <a:gd name="connsiteX688" fmla="*/ 103598 w 334334"/>
                  <a:gd name="connsiteY688" fmla="*/ 7318 h 833543"/>
                  <a:gd name="connsiteX689" fmla="*/ 107654 w 334334"/>
                  <a:gd name="connsiteY689" fmla="*/ 5290 h 833543"/>
                  <a:gd name="connsiteX690" fmla="*/ 109417 w 334334"/>
                  <a:gd name="connsiteY690" fmla="*/ 5290 h 833543"/>
                  <a:gd name="connsiteX691" fmla="*/ 128373 w 334334"/>
                  <a:gd name="connsiteY691" fmla="*/ 8817 h 833543"/>
                  <a:gd name="connsiteX692" fmla="*/ 131018 w 334334"/>
                  <a:gd name="connsiteY692" fmla="*/ 9963 h 833543"/>
                  <a:gd name="connsiteX693" fmla="*/ 131547 w 334334"/>
                  <a:gd name="connsiteY693" fmla="*/ 11462 h 833543"/>
                  <a:gd name="connsiteX694" fmla="*/ 132164 w 334334"/>
                  <a:gd name="connsiteY694" fmla="*/ 11462 h 833543"/>
                  <a:gd name="connsiteX695" fmla="*/ 131723 w 334334"/>
                  <a:gd name="connsiteY695" fmla="*/ 11462 h 833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</a:cxnLst>
                <a:rect l="l" t="t" r="r" b="b"/>
                <a:pathLst>
                  <a:path w="334334" h="833543">
                    <a:moveTo>
                      <a:pt x="200848" y="765830"/>
                    </a:moveTo>
                    <a:lnTo>
                      <a:pt x="201729" y="766712"/>
                    </a:lnTo>
                    <a:lnTo>
                      <a:pt x="206667" y="771033"/>
                    </a:lnTo>
                    <a:lnTo>
                      <a:pt x="207813" y="776851"/>
                    </a:lnTo>
                    <a:lnTo>
                      <a:pt x="211869" y="782935"/>
                    </a:lnTo>
                    <a:lnTo>
                      <a:pt x="216542" y="785228"/>
                    </a:lnTo>
                    <a:lnTo>
                      <a:pt x="219187" y="786462"/>
                    </a:lnTo>
                    <a:lnTo>
                      <a:pt x="223242" y="791399"/>
                    </a:lnTo>
                    <a:lnTo>
                      <a:pt x="225270" y="794044"/>
                    </a:lnTo>
                    <a:lnTo>
                      <a:pt x="231089" y="798100"/>
                    </a:lnTo>
                    <a:lnTo>
                      <a:pt x="236644" y="800481"/>
                    </a:lnTo>
                    <a:lnTo>
                      <a:pt x="243080" y="803126"/>
                    </a:lnTo>
                    <a:lnTo>
                      <a:pt x="246871" y="805418"/>
                    </a:lnTo>
                    <a:lnTo>
                      <a:pt x="250663" y="808592"/>
                    </a:lnTo>
                    <a:lnTo>
                      <a:pt x="256482" y="810091"/>
                    </a:lnTo>
                    <a:lnTo>
                      <a:pt x="259656" y="812736"/>
                    </a:lnTo>
                    <a:lnTo>
                      <a:pt x="264064" y="813882"/>
                    </a:lnTo>
                    <a:lnTo>
                      <a:pt x="271647" y="816175"/>
                    </a:lnTo>
                    <a:lnTo>
                      <a:pt x="277466" y="815910"/>
                    </a:lnTo>
                    <a:lnTo>
                      <a:pt x="280375" y="817673"/>
                    </a:lnTo>
                    <a:lnTo>
                      <a:pt x="282139" y="819966"/>
                    </a:lnTo>
                    <a:lnTo>
                      <a:pt x="277201" y="824374"/>
                    </a:lnTo>
                    <a:lnTo>
                      <a:pt x="274292" y="824110"/>
                    </a:lnTo>
                    <a:lnTo>
                      <a:pt x="266974" y="824727"/>
                    </a:lnTo>
                    <a:lnTo>
                      <a:pt x="264946" y="819790"/>
                    </a:lnTo>
                    <a:lnTo>
                      <a:pt x="258510" y="818026"/>
                    </a:lnTo>
                    <a:lnTo>
                      <a:pt x="254366" y="816263"/>
                    </a:lnTo>
                    <a:lnTo>
                      <a:pt x="249428" y="814235"/>
                    </a:lnTo>
                    <a:lnTo>
                      <a:pt x="259920" y="823052"/>
                    </a:lnTo>
                    <a:lnTo>
                      <a:pt x="259920" y="829753"/>
                    </a:lnTo>
                    <a:lnTo>
                      <a:pt x="257628" y="827989"/>
                    </a:lnTo>
                    <a:lnTo>
                      <a:pt x="256482" y="830634"/>
                    </a:lnTo>
                    <a:lnTo>
                      <a:pt x="250663" y="830017"/>
                    </a:lnTo>
                    <a:lnTo>
                      <a:pt x="246871" y="832662"/>
                    </a:lnTo>
                    <a:lnTo>
                      <a:pt x="239553" y="833544"/>
                    </a:lnTo>
                    <a:lnTo>
                      <a:pt x="237526" y="830282"/>
                    </a:lnTo>
                    <a:lnTo>
                      <a:pt x="237261" y="827725"/>
                    </a:lnTo>
                    <a:lnTo>
                      <a:pt x="238407" y="823052"/>
                    </a:lnTo>
                    <a:lnTo>
                      <a:pt x="236644" y="818643"/>
                    </a:lnTo>
                    <a:lnTo>
                      <a:pt x="223242" y="818643"/>
                    </a:lnTo>
                    <a:lnTo>
                      <a:pt x="219187" y="814852"/>
                    </a:lnTo>
                    <a:lnTo>
                      <a:pt x="216542" y="810444"/>
                    </a:lnTo>
                    <a:lnTo>
                      <a:pt x="197850" y="769005"/>
                    </a:lnTo>
                    <a:lnTo>
                      <a:pt x="200848" y="765830"/>
                    </a:lnTo>
                    <a:close/>
                    <a:moveTo>
                      <a:pt x="131723" y="11021"/>
                    </a:moveTo>
                    <a:lnTo>
                      <a:pt x="132870" y="12785"/>
                    </a:lnTo>
                    <a:lnTo>
                      <a:pt x="134280" y="13666"/>
                    </a:lnTo>
                    <a:lnTo>
                      <a:pt x="136044" y="14548"/>
                    </a:lnTo>
                    <a:lnTo>
                      <a:pt x="137190" y="16576"/>
                    </a:lnTo>
                    <a:lnTo>
                      <a:pt x="140100" y="18339"/>
                    </a:lnTo>
                    <a:lnTo>
                      <a:pt x="141510" y="19221"/>
                    </a:lnTo>
                    <a:lnTo>
                      <a:pt x="142127" y="20984"/>
                    </a:lnTo>
                    <a:lnTo>
                      <a:pt x="142392" y="21866"/>
                    </a:lnTo>
                    <a:lnTo>
                      <a:pt x="142656" y="23012"/>
                    </a:lnTo>
                    <a:lnTo>
                      <a:pt x="147947" y="30330"/>
                    </a:lnTo>
                    <a:lnTo>
                      <a:pt x="150856" y="32358"/>
                    </a:lnTo>
                    <a:lnTo>
                      <a:pt x="152884" y="33857"/>
                    </a:lnTo>
                    <a:lnTo>
                      <a:pt x="153501" y="35003"/>
                    </a:lnTo>
                    <a:lnTo>
                      <a:pt x="155882" y="37031"/>
                    </a:lnTo>
                    <a:lnTo>
                      <a:pt x="158174" y="38794"/>
                    </a:lnTo>
                    <a:lnTo>
                      <a:pt x="158439" y="39059"/>
                    </a:lnTo>
                    <a:lnTo>
                      <a:pt x="160202" y="40469"/>
                    </a:lnTo>
                    <a:lnTo>
                      <a:pt x="162230" y="41086"/>
                    </a:lnTo>
                    <a:lnTo>
                      <a:pt x="164522" y="42850"/>
                    </a:lnTo>
                    <a:lnTo>
                      <a:pt x="166550" y="43731"/>
                    </a:lnTo>
                    <a:lnTo>
                      <a:pt x="168049" y="46288"/>
                    </a:lnTo>
                    <a:lnTo>
                      <a:pt x="170077" y="48669"/>
                    </a:lnTo>
                    <a:lnTo>
                      <a:pt x="172986" y="50432"/>
                    </a:lnTo>
                    <a:lnTo>
                      <a:pt x="177307" y="52196"/>
                    </a:lnTo>
                    <a:lnTo>
                      <a:pt x="178453" y="52196"/>
                    </a:lnTo>
                    <a:lnTo>
                      <a:pt x="180745" y="53959"/>
                    </a:lnTo>
                    <a:lnTo>
                      <a:pt x="183390" y="54488"/>
                    </a:lnTo>
                    <a:lnTo>
                      <a:pt x="186564" y="55634"/>
                    </a:lnTo>
                    <a:lnTo>
                      <a:pt x="192383" y="55634"/>
                    </a:lnTo>
                    <a:lnTo>
                      <a:pt x="208430" y="67008"/>
                    </a:lnTo>
                    <a:lnTo>
                      <a:pt x="213367" y="69653"/>
                    </a:lnTo>
                    <a:lnTo>
                      <a:pt x="215395" y="70799"/>
                    </a:lnTo>
                    <a:lnTo>
                      <a:pt x="220333" y="74590"/>
                    </a:lnTo>
                    <a:lnTo>
                      <a:pt x="223507" y="75208"/>
                    </a:lnTo>
                    <a:lnTo>
                      <a:pt x="228180" y="76354"/>
                    </a:lnTo>
                    <a:lnTo>
                      <a:pt x="231089" y="80145"/>
                    </a:lnTo>
                    <a:lnTo>
                      <a:pt x="232588" y="78646"/>
                    </a:lnTo>
                    <a:lnTo>
                      <a:pt x="235762" y="80410"/>
                    </a:lnTo>
                    <a:lnTo>
                      <a:pt x="237261" y="81027"/>
                    </a:lnTo>
                    <a:lnTo>
                      <a:pt x="238760" y="81909"/>
                    </a:lnTo>
                    <a:lnTo>
                      <a:pt x="242287" y="83055"/>
                    </a:lnTo>
                    <a:lnTo>
                      <a:pt x="244579" y="85964"/>
                    </a:lnTo>
                    <a:lnTo>
                      <a:pt x="246871" y="87992"/>
                    </a:lnTo>
                    <a:lnTo>
                      <a:pt x="249252" y="90284"/>
                    </a:lnTo>
                    <a:lnTo>
                      <a:pt x="248370" y="94340"/>
                    </a:lnTo>
                    <a:lnTo>
                      <a:pt x="247753" y="94957"/>
                    </a:lnTo>
                    <a:lnTo>
                      <a:pt x="246871" y="96103"/>
                    </a:lnTo>
                    <a:lnTo>
                      <a:pt x="245108" y="96985"/>
                    </a:lnTo>
                    <a:lnTo>
                      <a:pt x="245990" y="97867"/>
                    </a:lnTo>
                    <a:lnTo>
                      <a:pt x="245108" y="100512"/>
                    </a:lnTo>
                    <a:lnTo>
                      <a:pt x="243962" y="102540"/>
                    </a:lnTo>
                    <a:lnTo>
                      <a:pt x="243345" y="104039"/>
                    </a:lnTo>
                    <a:lnTo>
                      <a:pt x="243962" y="104656"/>
                    </a:lnTo>
                    <a:lnTo>
                      <a:pt x="241317" y="107566"/>
                    </a:lnTo>
                    <a:lnTo>
                      <a:pt x="239289" y="108447"/>
                    </a:lnTo>
                    <a:lnTo>
                      <a:pt x="238407" y="109329"/>
                    </a:lnTo>
                    <a:lnTo>
                      <a:pt x="238407" y="111709"/>
                    </a:lnTo>
                    <a:lnTo>
                      <a:pt x="237526" y="115765"/>
                    </a:lnTo>
                    <a:lnTo>
                      <a:pt x="238054" y="116911"/>
                    </a:lnTo>
                    <a:lnTo>
                      <a:pt x="239201" y="119556"/>
                    </a:lnTo>
                    <a:lnTo>
                      <a:pt x="239201" y="121320"/>
                    </a:lnTo>
                    <a:lnTo>
                      <a:pt x="238054" y="123965"/>
                    </a:lnTo>
                    <a:lnTo>
                      <a:pt x="237790" y="125375"/>
                    </a:lnTo>
                    <a:lnTo>
                      <a:pt x="236027" y="125375"/>
                    </a:lnTo>
                    <a:lnTo>
                      <a:pt x="237526" y="126874"/>
                    </a:lnTo>
                    <a:lnTo>
                      <a:pt x="236027" y="127139"/>
                    </a:lnTo>
                    <a:lnTo>
                      <a:pt x="233734" y="128020"/>
                    </a:lnTo>
                    <a:lnTo>
                      <a:pt x="234352" y="129167"/>
                    </a:lnTo>
                    <a:lnTo>
                      <a:pt x="233470" y="131195"/>
                    </a:lnTo>
                    <a:lnTo>
                      <a:pt x="233205" y="131195"/>
                    </a:lnTo>
                    <a:lnTo>
                      <a:pt x="231442" y="132958"/>
                    </a:lnTo>
                    <a:lnTo>
                      <a:pt x="230825" y="134457"/>
                    </a:lnTo>
                    <a:lnTo>
                      <a:pt x="232324" y="137983"/>
                    </a:lnTo>
                    <a:lnTo>
                      <a:pt x="238143" y="137102"/>
                    </a:lnTo>
                    <a:lnTo>
                      <a:pt x="243962" y="137102"/>
                    </a:lnTo>
                    <a:lnTo>
                      <a:pt x="249781" y="137366"/>
                    </a:lnTo>
                    <a:lnTo>
                      <a:pt x="253572" y="139130"/>
                    </a:lnTo>
                    <a:lnTo>
                      <a:pt x="258245" y="140540"/>
                    </a:lnTo>
                    <a:lnTo>
                      <a:pt x="263183" y="141422"/>
                    </a:lnTo>
                    <a:lnTo>
                      <a:pt x="265828" y="141687"/>
                    </a:lnTo>
                    <a:lnTo>
                      <a:pt x="269002" y="140188"/>
                    </a:lnTo>
                    <a:lnTo>
                      <a:pt x="271911" y="142216"/>
                    </a:lnTo>
                    <a:lnTo>
                      <a:pt x="274292" y="141334"/>
                    </a:lnTo>
                    <a:lnTo>
                      <a:pt x="277201" y="141334"/>
                    </a:lnTo>
                    <a:lnTo>
                      <a:pt x="280992" y="144243"/>
                    </a:lnTo>
                    <a:lnTo>
                      <a:pt x="282403" y="138953"/>
                    </a:lnTo>
                    <a:lnTo>
                      <a:pt x="284696" y="137807"/>
                    </a:lnTo>
                    <a:lnTo>
                      <a:pt x="287341" y="137807"/>
                    </a:lnTo>
                    <a:lnTo>
                      <a:pt x="290250" y="138424"/>
                    </a:lnTo>
                    <a:lnTo>
                      <a:pt x="291132" y="139923"/>
                    </a:lnTo>
                    <a:lnTo>
                      <a:pt x="293777" y="140452"/>
                    </a:lnTo>
                    <a:lnTo>
                      <a:pt x="296422" y="138689"/>
                    </a:lnTo>
                    <a:lnTo>
                      <a:pt x="296422" y="136925"/>
                    </a:lnTo>
                    <a:lnTo>
                      <a:pt x="295805" y="134016"/>
                    </a:lnTo>
                    <a:lnTo>
                      <a:pt x="297304" y="132253"/>
                    </a:lnTo>
                    <a:lnTo>
                      <a:pt x="298450" y="130489"/>
                    </a:lnTo>
                    <a:lnTo>
                      <a:pt x="302241" y="127844"/>
                    </a:lnTo>
                    <a:lnTo>
                      <a:pt x="305151" y="128461"/>
                    </a:lnTo>
                    <a:lnTo>
                      <a:pt x="306649" y="124935"/>
                    </a:lnTo>
                    <a:lnTo>
                      <a:pt x="309295" y="121672"/>
                    </a:lnTo>
                    <a:lnTo>
                      <a:pt x="311322" y="121408"/>
                    </a:lnTo>
                    <a:lnTo>
                      <a:pt x="311587" y="119380"/>
                    </a:lnTo>
                    <a:lnTo>
                      <a:pt x="313086" y="115589"/>
                    </a:lnTo>
                    <a:lnTo>
                      <a:pt x="313086" y="110916"/>
                    </a:lnTo>
                    <a:lnTo>
                      <a:pt x="312821" y="108888"/>
                    </a:lnTo>
                    <a:lnTo>
                      <a:pt x="312204" y="104215"/>
                    </a:lnTo>
                    <a:lnTo>
                      <a:pt x="313086" y="102187"/>
                    </a:lnTo>
                    <a:lnTo>
                      <a:pt x="312821" y="98660"/>
                    </a:lnTo>
                    <a:lnTo>
                      <a:pt x="312204" y="96015"/>
                    </a:lnTo>
                    <a:lnTo>
                      <a:pt x="312469" y="94252"/>
                    </a:lnTo>
                    <a:lnTo>
                      <a:pt x="312469" y="93988"/>
                    </a:lnTo>
                    <a:lnTo>
                      <a:pt x="314232" y="93988"/>
                    </a:lnTo>
                    <a:lnTo>
                      <a:pt x="319170" y="93370"/>
                    </a:lnTo>
                    <a:lnTo>
                      <a:pt x="321197" y="93106"/>
                    </a:lnTo>
                    <a:lnTo>
                      <a:pt x="323842" y="93370"/>
                    </a:lnTo>
                    <a:lnTo>
                      <a:pt x="328780" y="96897"/>
                    </a:lnTo>
                    <a:lnTo>
                      <a:pt x="332307" y="105361"/>
                    </a:lnTo>
                    <a:lnTo>
                      <a:pt x="334334" y="121672"/>
                    </a:lnTo>
                    <a:lnTo>
                      <a:pt x="334334" y="132782"/>
                    </a:lnTo>
                    <a:lnTo>
                      <a:pt x="331160" y="133046"/>
                    </a:lnTo>
                    <a:lnTo>
                      <a:pt x="326487" y="136220"/>
                    </a:lnTo>
                    <a:lnTo>
                      <a:pt x="323578" y="140629"/>
                    </a:lnTo>
                    <a:lnTo>
                      <a:pt x="319787" y="141510"/>
                    </a:lnTo>
                    <a:lnTo>
                      <a:pt x="316877" y="143538"/>
                    </a:lnTo>
                    <a:lnTo>
                      <a:pt x="313086" y="144949"/>
                    </a:lnTo>
                    <a:lnTo>
                      <a:pt x="309559" y="148740"/>
                    </a:lnTo>
                    <a:lnTo>
                      <a:pt x="306914" y="150503"/>
                    </a:lnTo>
                    <a:lnTo>
                      <a:pt x="303387" y="155441"/>
                    </a:lnTo>
                    <a:lnTo>
                      <a:pt x="298450" y="157469"/>
                    </a:lnTo>
                    <a:lnTo>
                      <a:pt x="298450" y="162406"/>
                    </a:lnTo>
                    <a:lnTo>
                      <a:pt x="294041" y="166197"/>
                    </a:lnTo>
                    <a:lnTo>
                      <a:pt x="288487" y="173515"/>
                    </a:lnTo>
                    <a:lnTo>
                      <a:pt x="284431" y="181098"/>
                    </a:lnTo>
                    <a:lnTo>
                      <a:pt x="273057" y="198555"/>
                    </a:lnTo>
                    <a:lnTo>
                      <a:pt x="265739" y="207636"/>
                    </a:lnTo>
                    <a:lnTo>
                      <a:pt x="263712" y="211163"/>
                    </a:lnTo>
                    <a:lnTo>
                      <a:pt x="263447" y="210017"/>
                    </a:lnTo>
                    <a:lnTo>
                      <a:pt x="263712" y="211780"/>
                    </a:lnTo>
                    <a:lnTo>
                      <a:pt x="259656" y="216982"/>
                    </a:lnTo>
                    <a:lnTo>
                      <a:pt x="259656" y="219275"/>
                    </a:lnTo>
                    <a:lnTo>
                      <a:pt x="261684" y="221920"/>
                    </a:lnTo>
                    <a:lnTo>
                      <a:pt x="262301" y="227122"/>
                    </a:lnTo>
                    <a:lnTo>
                      <a:pt x="260273" y="227739"/>
                    </a:lnTo>
                    <a:lnTo>
                      <a:pt x="262036" y="230913"/>
                    </a:lnTo>
                    <a:lnTo>
                      <a:pt x="262036" y="234969"/>
                    </a:lnTo>
                    <a:lnTo>
                      <a:pt x="260273" y="237349"/>
                    </a:lnTo>
                    <a:lnTo>
                      <a:pt x="259127" y="241141"/>
                    </a:lnTo>
                    <a:lnTo>
                      <a:pt x="261155" y="242904"/>
                    </a:lnTo>
                    <a:lnTo>
                      <a:pt x="261419" y="248723"/>
                    </a:lnTo>
                    <a:lnTo>
                      <a:pt x="258774" y="250222"/>
                    </a:lnTo>
                    <a:lnTo>
                      <a:pt x="259391" y="252867"/>
                    </a:lnTo>
                    <a:lnTo>
                      <a:pt x="260273" y="256923"/>
                    </a:lnTo>
                    <a:lnTo>
                      <a:pt x="261772" y="260449"/>
                    </a:lnTo>
                    <a:lnTo>
                      <a:pt x="260626" y="265387"/>
                    </a:lnTo>
                    <a:lnTo>
                      <a:pt x="260361" y="266269"/>
                    </a:lnTo>
                    <a:lnTo>
                      <a:pt x="262389" y="276143"/>
                    </a:lnTo>
                    <a:lnTo>
                      <a:pt x="264153" y="278788"/>
                    </a:lnTo>
                    <a:lnTo>
                      <a:pt x="262389" y="280816"/>
                    </a:lnTo>
                    <a:lnTo>
                      <a:pt x="258862" y="281434"/>
                    </a:lnTo>
                    <a:lnTo>
                      <a:pt x="259480" y="284960"/>
                    </a:lnTo>
                    <a:lnTo>
                      <a:pt x="258862" y="289016"/>
                    </a:lnTo>
                    <a:lnTo>
                      <a:pt x="259744" y="297216"/>
                    </a:lnTo>
                    <a:lnTo>
                      <a:pt x="262389" y="303035"/>
                    </a:lnTo>
                    <a:lnTo>
                      <a:pt x="262654" y="304798"/>
                    </a:lnTo>
                    <a:lnTo>
                      <a:pt x="264682" y="307708"/>
                    </a:lnTo>
                    <a:lnTo>
                      <a:pt x="265298" y="309736"/>
                    </a:lnTo>
                    <a:lnTo>
                      <a:pt x="264417" y="310617"/>
                    </a:lnTo>
                    <a:lnTo>
                      <a:pt x="261507" y="310970"/>
                    </a:lnTo>
                    <a:lnTo>
                      <a:pt x="263535" y="315026"/>
                    </a:lnTo>
                    <a:lnTo>
                      <a:pt x="265034" y="317935"/>
                    </a:lnTo>
                    <a:lnTo>
                      <a:pt x="267062" y="318552"/>
                    </a:lnTo>
                    <a:lnTo>
                      <a:pt x="268473" y="317671"/>
                    </a:lnTo>
                    <a:lnTo>
                      <a:pt x="269971" y="319434"/>
                    </a:lnTo>
                    <a:lnTo>
                      <a:pt x="270853" y="320316"/>
                    </a:lnTo>
                    <a:lnTo>
                      <a:pt x="271999" y="322696"/>
                    </a:lnTo>
                    <a:lnTo>
                      <a:pt x="274909" y="322961"/>
                    </a:lnTo>
                    <a:lnTo>
                      <a:pt x="276937" y="323843"/>
                    </a:lnTo>
                    <a:lnTo>
                      <a:pt x="277554" y="324989"/>
                    </a:lnTo>
                    <a:lnTo>
                      <a:pt x="280463" y="325870"/>
                    </a:lnTo>
                    <a:lnTo>
                      <a:pt x="283373" y="326135"/>
                    </a:lnTo>
                    <a:lnTo>
                      <a:pt x="285401" y="327281"/>
                    </a:lnTo>
                    <a:lnTo>
                      <a:pt x="286018" y="329044"/>
                    </a:lnTo>
                    <a:lnTo>
                      <a:pt x="287517" y="330543"/>
                    </a:lnTo>
                    <a:lnTo>
                      <a:pt x="289280" y="330279"/>
                    </a:lnTo>
                    <a:lnTo>
                      <a:pt x="291044" y="330543"/>
                    </a:lnTo>
                    <a:lnTo>
                      <a:pt x="293072" y="331954"/>
                    </a:lnTo>
                    <a:lnTo>
                      <a:pt x="295981" y="334335"/>
                    </a:lnTo>
                    <a:lnTo>
                      <a:pt x="295981" y="333717"/>
                    </a:lnTo>
                    <a:lnTo>
                      <a:pt x="297127" y="334599"/>
                    </a:lnTo>
                    <a:lnTo>
                      <a:pt x="300037" y="336891"/>
                    </a:lnTo>
                    <a:lnTo>
                      <a:pt x="299155" y="336274"/>
                    </a:lnTo>
                    <a:lnTo>
                      <a:pt x="300919" y="339448"/>
                    </a:lnTo>
                    <a:lnTo>
                      <a:pt x="302065" y="342093"/>
                    </a:lnTo>
                    <a:lnTo>
                      <a:pt x="299684" y="342358"/>
                    </a:lnTo>
                    <a:lnTo>
                      <a:pt x="297921" y="343239"/>
                    </a:lnTo>
                    <a:lnTo>
                      <a:pt x="297039" y="345267"/>
                    </a:lnTo>
                    <a:lnTo>
                      <a:pt x="297039" y="346678"/>
                    </a:lnTo>
                    <a:lnTo>
                      <a:pt x="295893" y="348706"/>
                    </a:lnTo>
                    <a:lnTo>
                      <a:pt x="293865" y="349852"/>
                    </a:lnTo>
                    <a:lnTo>
                      <a:pt x="297392" y="350734"/>
                    </a:lnTo>
                    <a:lnTo>
                      <a:pt x="298803" y="351351"/>
                    </a:lnTo>
                    <a:lnTo>
                      <a:pt x="298538" y="353643"/>
                    </a:lnTo>
                    <a:lnTo>
                      <a:pt x="302065" y="354878"/>
                    </a:lnTo>
                    <a:lnTo>
                      <a:pt x="302329" y="356641"/>
                    </a:lnTo>
                    <a:lnTo>
                      <a:pt x="304622" y="357787"/>
                    </a:lnTo>
                    <a:lnTo>
                      <a:pt x="307002" y="359286"/>
                    </a:lnTo>
                    <a:lnTo>
                      <a:pt x="309647" y="359903"/>
                    </a:lnTo>
                    <a:lnTo>
                      <a:pt x="308501" y="359903"/>
                    </a:lnTo>
                    <a:lnTo>
                      <a:pt x="306738" y="361050"/>
                    </a:lnTo>
                    <a:lnTo>
                      <a:pt x="305856" y="363077"/>
                    </a:lnTo>
                    <a:lnTo>
                      <a:pt x="308501" y="362460"/>
                    </a:lnTo>
                    <a:lnTo>
                      <a:pt x="312910" y="359551"/>
                    </a:lnTo>
                    <a:lnTo>
                      <a:pt x="311763" y="360961"/>
                    </a:lnTo>
                    <a:lnTo>
                      <a:pt x="313791" y="364224"/>
                    </a:lnTo>
                    <a:lnTo>
                      <a:pt x="314673" y="365105"/>
                    </a:lnTo>
                    <a:lnTo>
                      <a:pt x="315819" y="366869"/>
                    </a:lnTo>
                    <a:lnTo>
                      <a:pt x="315555" y="368015"/>
                    </a:lnTo>
                    <a:lnTo>
                      <a:pt x="316701" y="369514"/>
                    </a:lnTo>
                    <a:lnTo>
                      <a:pt x="316701" y="371806"/>
                    </a:lnTo>
                    <a:lnTo>
                      <a:pt x="316084" y="374187"/>
                    </a:lnTo>
                    <a:lnTo>
                      <a:pt x="315202" y="375068"/>
                    </a:lnTo>
                    <a:lnTo>
                      <a:pt x="315202" y="378595"/>
                    </a:lnTo>
                    <a:lnTo>
                      <a:pt x="314320" y="380623"/>
                    </a:lnTo>
                    <a:lnTo>
                      <a:pt x="314320" y="383180"/>
                    </a:lnTo>
                    <a:lnTo>
                      <a:pt x="310264" y="382033"/>
                    </a:lnTo>
                    <a:lnTo>
                      <a:pt x="311763" y="383797"/>
                    </a:lnTo>
                    <a:lnTo>
                      <a:pt x="310882" y="386442"/>
                    </a:lnTo>
                    <a:lnTo>
                      <a:pt x="309118" y="388470"/>
                    </a:lnTo>
                    <a:lnTo>
                      <a:pt x="310000" y="389616"/>
                    </a:lnTo>
                    <a:lnTo>
                      <a:pt x="306738" y="391379"/>
                    </a:lnTo>
                    <a:lnTo>
                      <a:pt x="307002" y="392790"/>
                    </a:lnTo>
                    <a:lnTo>
                      <a:pt x="305239" y="393672"/>
                    </a:lnTo>
                    <a:lnTo>
                      <a:pt x="302947" y="396052"/>
                    </a:lnTo>
                    <a:lnTo>
                      <a:pt x="303564" y="397551"/>
                    </a:lnTo>
                    <a:lnTo>
                      <a:pt x="302065" y="399050"/>
                    </a:lnTo>
                    <a:lnTo>
                      <a:pt x="305239" y="400813"/>
                    </a:lnTo>
                    <a:lnTo>
                      <a:pt x="303828" y="402312"/>
                    </a:lnTo>
                    <a:lnTo>
                      <a:pt x="302329" y="404605"/>
                    </a:lnTo>
                    <a:lnTo>
                      <a:pt x="302065" y="406897"/>
                    </a:lnTo>
                    <a:lnTo>
                      <a:pt x="300919" y="409542"/>
                    </a:lnTo>
                    <a:lnTo>
                      <a:pt x="298009" y="410071"/>
                    </a:lnTo>
                    <a:lnTo>
                      <a:pt x="295717" y="411217"/>
                    </a:lnTo>
                    <a:lnTo>
                      <a:pt x="295099" y="413510"/>
                    </a:lnTo>
                    <a:lnTo>
                      <a:pt x="292455" y="414656"/>
                    </a:lnTo>
                    <a:lnTo>
                      <a:pt x="289280" y="415185"/>
                    </a:lnTo>
                    <a:lnTo>
                      <a:pt x="288399" y="416331"/>
                    </a:lnTo>
                    <a:lnTo>
                      <a:pt x="286635" y="415714"/>
                    </a:lnTo>
                    <a:lnTo>
                      <a:pt x="282844" y="415978"/>
                    </a:lnTo>
                    <a:lnTo>
                      <a:pt x="282315" y="417742"/>
                    </a:lnTo>
                    <a:lnTo>
                      <a:pt x="280552" y="418006"/>
                    </a:lnTo>
                    <a:lnTo>
                      <a:pt x="277378" y="417742"/>
                    </a:lnTo>
                    <a:lnTo>
                      <a:pt x="274997" y="418359"/>
                    </a:lnTo>
                    <a:lnTo>
                      <a:pt x="273234" y="418359"/>
                    </a:lnTo>
                    <a:lnTo>
                      <a:pt x="271206" y="420651"/>
                    </a:lnTo>
                    <a:lnTo>
                      <a:pt x="267944" y="421269"/>
                    </a:lnTo>
                    <a:lnTo>
                      <a:pt x="265298" y="421533"/>
                    </a:lnTo>
                    <a:lnTo>
                      <a:pt x="264153" y="420916"/>
                    </a:lnTo>
                    <a:lnTo>
                      <a:pt x="260097" y="421533"/>
                    </a:lnTo>
                    <a:lnTo>
                      <a:pt x="257187" y="423296"/>
                    </a:lnTo>
                    <a:lnTo>
                      <a:pt x="251985" y="424531"/>
                    </a:lnTo>
                    <a:lnTo>
                      <a:pt x="248194" y="423649"/>
                    </a:lnTo>
                    <a:lnTo>
                      <a:pt x="245902" y="423649"/>
                    </a:lnTo>
                    <a:lnTo>
                      <a:pt x="241493" y="424795"/>
                    </a:lnTo>
                    <a:lnTo>
                      <a:pt x="238231" y="424531"/>
                    </a:lnTo>
                    <a:lnTo>
                      <a:pt x="235939" y="425941"/>
                    </a:lnTo>
                    <a:lnTo>
                      <a:pt x="233029" y="425677"/>
                    </a:lnTo>
                    <a:lnTo>
                      <a:pt x="228356" y="425060"/>
                    </a:lnTo>
                    <a:lnTo>
                      <a:pt x="228973" y="427969"/>
                    </a:lnTo>
                    <a:lnTo>
                      <a:pt x="226945" y="425060"/>
                    </a:lnTo>
                    <a:lnTo>
                      <a:pt x="224036" y="428234"/>
                    </a:lnTo>
                    <a:lnTo>
                      <a:pt x="222008" y="425853"/>
                    </a:lnTo>
                    <a:lnTo>
                      <a:pt x="220245" y="427881"/>
                    </a:lnTo>
                    <a:lnTo>
                      <a:pt x="217071" y="423208"/>
                    </a:lnTo>
                    <a:lnTo>
                      <a:pt x="214778" y="426118"/>
                    </a:lnTo>
                    <a:lnTo>
                      <a:pt x="212133" y="423473"/>
                    </a:lnTo>
                    <a:lnTo>
                      <a:pt x="208959" y="424090"/>
                    </a:lnTo>
                    <a:lnTo>
                      <a:pt x="208695" y="425853"/>
                    </a:lnTo>
                    <a:lnTo>
                      <a:pt x="209312" y="426118"/>
                    </a:lnTo>
                    <a:lnTo>
                      <a:pt x="210193" y="426999"/>
                    </a:lnTo>
                    <a:lnTo>
                      <a:pt x="211957" y="429292"/>
                    </a:lnTo>
                    <a:lnTo>
                      <a:pt x="213367" y="429909"/>
                    </a:lnTo>
                    <a:lnTo>
                      <a:pt x="213985" y="430526"/>
                    </a:lnTo>
                    <a:lnTo>
                      <a:pt x="217159" y="431408"/>
                    </a:lnTo>
                    <a:lnTo>
                      <a:pt x="219187" y="431143"/>
                    </a:lnTo>
                    <a:lnTo>
                      <a:pt x="220950" y="430614"/>
                    </a:lnTo>
                    <a:lnTo>
                      <a:pt x="221832" y="431761"/>
                    </a:lnTo>
                    <a:lnTo>
                      <a:pt x="222096" y="434670"/>
                    </a:lnTo>
                    <a:lnTo>
                      <a:pt x="223242" y="436169"/>
                    </a:lnTo>
                    <a:lnTo>
                      <a:pt x="224389" y="439078"/>
                    </a:lnTo>
                    <a:lnTo>
                      <a:pt x="225006" y="441106"/>
                    </a:lnTo>
                    <a:lnTo>
                      <a:pt x="223860" y="443134"/>
                    </a:lnTo>
                    <a:lnTo>
                      <a:pt x="225270" y="443487"/>
                    </a:lnTo>
                    <a:lnTo>
                      <a:pt x="223242" y="445515"/>
                    </a:lnTo>
                    <a:lnTo>
                      <a:pt x="221214" y="447014"/>
                    </a:lnTo>
                    <a:lnTo>
                      <a:pt x="220597" y="450188"/>
                    </a:lnTo>
                    <a:lnTo>
                      <a:pt x="220597" y="452568"/>
                    </a:lnTo>
                    <a:lnTo>
                      <a:pt x="222890" y="454861"/>
                    </a:lnTo>
                    <a:lnTo>
                      <a:pt x="221391" y="456889"/>
                    </a:lnTo>
                    <a:lnTo>
                      <a:pt x="222008" y="460063"/>
                    </a:lnTo>
                    <a:lnTo>
                      <a:pt x="224300" y="461826"/>
                    </a:lnTo>
                    <a:lnTo>
                      <a:pt x="226328" y="463589"/>
                    </a:lnTo>
                    <a:lnTo>
                      <a:pt x="226945" y="465882"/>
                    </a:lnTo>
                    <a:lnTo>
                      <a:pt x="227562" y="469144"/>
                    </a:lnTo>
                    <a:lnTo>
                      <a:pt x="226945" y="471436"/>
                    </a:lnTo>
                    <a:lnTo>
                      <a:pt x="225182" y="472671"/>
                    </a:lnTo>
                    <a:lnTo>
                      <a:pt x="223154" y="474081"/>
                    </a:lnTo>
                    <a:lnTo>
                      <a:pt x="220774" y="474081"/>
                    </a:lnTo>
                    <a:lnTo>
                      <a:pt x="219627" y="474699"/>
                    </a:lnTo>
                    <a:lnTo>
                      <a:pt x="218128" y="477608"/>
                    </a:lnTo>
                    <a:lnTo>
                      <a:pt x="214602" y="479107"/>
                    </a:lnTo>
                    <a:lnTo>
                      <a:pt x="212574" y="479460"/>
                    </a:lnTo>
                    <a:lnTo>
                      <a:pt x="210282" y="479107"/>
                    </a:lnTo>
                    <a:lnTo>
                      <a:pt x="208518" y="479107"/>
                    </a:lnTo>
                    <a:lnTo>
                      <a:pt x="205344" y="479107"/>
                    </a:lnTo>
                    <a:lnTo>
                      <a:pt x="202435" y="479989"/>
                    </a:lnTo>
                    <a:lnTo>
                      <a:pt x="200671" y="477961"/>
                    </a:lnTo>
                    <a:lnTo>
                      <a:pt x="198643" y="478842"/>
                    </a:lnTo>
                    <a:lnTo>
                      <a:pt x="193970" y="473905"/>
                    </a:lnTo>
                    <a:lnTo>
                      <a:pt x="191942" y="475316"/>
                    </a:lnTo>
                    <a:lnTo>
                      <a:pt x="188768" y="472759"/>
                    </a:lnTo>
                    <a:lnTo>
                      <a:pt x="186741" y="472494"/>
                    </a:lnTo>
                    <a:lnTo>
                      <a:pt x="183566" y="470996"/>
                    </a:lnTo>
                    <a:lnTo>
                      <a:pt x="183566" y="471613"/>
                    </a:lnTo>
                    <a:lnTo>
                      <a:pt x="182685" y="470466"/>
                    </a:lnTo>
                    <a:lnTo>
                      <a:pt x="179775" y="470202"/>
                    </a:lnTo>
                    <a:lnTo>
                      <a:pt x="177130" y="470202"/>
                    </a:lnTo>
                    <a:lnTo>
                      <a:pt x="173603" y="470202"/>
                    </a:lnTo>
                    <a:lnTo>
                      <a:pt x="173339" y="470466"/>
                    </a:lnTo>
                    <a:lnTo>
                      <a:pt x="170429" y="472583"/>
                    </a:lnTo>
                    <a:lnTo>
                      <a:pt x="172722" y="472847"/>
                    </a:lnTo>
                    <a:lnTo>
                      <a:pt x="171223" y="471348"/>
                    </a:lnTo>
                    <a:lnTo>
                      <a:pt x="168313" y="471084"/>
                    </a:lnTo>
                    <a:lnTo>
                      <a:pt x="167696" y="471701"/>
                    </a:lnTo>
                    <a:lnTo>
                      <a:pt x="169107" y="472054"/>
                    </a:lnTo>
                    <a:lnTo>
                      <a:pt x="167961" y="474963"/>
                    </a:lnTo>
                    <a:lnTo>
                      <a:pt x="171752" y="476462"/>
                    </a:lnTo>
                    <a:lnTo>
                      <a:pt x="170341" y="479724"/>
                    </a:lnTo>
                    <a:lnTo>
                      <a:pt x="173868" y="479107"/>
                    </a:lnTo>
                    <a:lnTo>
                      <a:pt x="172369" y="480606"/>
                    </a:lnTo>
                    <a:lnTo>
                      <a:pt x="173251" y="481487"/>
                    </a:lnTo>
                    <a:lnTo>
                      <a:pt x="171752" y="482986"/>
                    </a:lnTo>
                    <a:lnTo>
                      <a:pt x="174662" y="483868"/>
                    </a:lnTo>
                    <a:lnTo>
                      <a:pt x="176954" y="484750"/>
                    </a:lnTo>
                    <a:lnTo>
                      <a:pt x="176954" y="485631"/>
                    </a:lnTo>
                    <a:lnTo>
                      <a:pt x="174926" y="486425"/>
                    </a:lnTo>
                    <a:lnTo>
                      <a:pt x="176072" y="489070"/>
                    </a:lnTo>
                    <a:lnTo>
                      <a:pt x="179599" y="488188"/>
                    </a:lnTo>
                    <a:lnTo>
                      <a:pt x="178453" y="491715"/>
                    </a:lnTo>
                    <a:lnTo>
                      <a:pt x="178453" y="492597"/>
                    </a:lnTo>
                    <a:lnTo>
                      <a:pt x="177571" y="494889"/>
                    </a:lnTo>
                    <a:lnTo>
                      <a:pt x="178717" y="495154"/>
                    </a:lnTo>
                    <a:lnTo>
                      <a:pt x="180745" y="496652"/>
                    </a:lnTo>
                    <a:lnTo>
                      <a:pt x="179599" y="499562"/>
                    </a:lnTo>
                    <a:lnTo>
                      <a:pt x="179863" y="501325"/>
                    </a:lnTo>
                    <a:lnTo>
                      <a:pt x="182156" y="501943"/>
                    </a:lnTo>
                    <a:lnTo>
                      <a:pt x="183038" y="501678"/>
                    </a:lnTo>
                    <a:lnTo>
                      <a:pt x="185065" y="504059"/>
                    </a:lnTo>
                    <a:lnTo>
                      <a:pt x="188592" y="503794"/>
                    </a:lnTo>
                    <a:lnTo>
                      <a:pt x="188328" y="505557"/>
                    </a:lnTo>
                    <a:lnTo>
                      <a:pt x="190356" y="505557"/>
                    </a:lnTo>
                    <a:lnTo>
                      <a:pt x="189827" y="507585"/>
                    </a:lnTo>
                    <a:lnTo>
                      <a:pt x="189209" y="509878"/>
                    </a:lnTo>
                    <a:lnTo>
                      <a:pt x="188592" y="511906"/>
                    </a:lnTo>
                    <a:lnTo>
                      <a:pt x="187446" y="513669"/>
                    </a:lnTo>
                    <a:lnTo>
                      <a:pt x="189827" y="513934"/>
                    </a:lnTo>
                    <a:lnTo>
                      <a:pt x="193001" y="512787"/>
                    </a:lnTo>
                    <a:lnTo>
                      <a:pt x="196792" y="513669"/>
                    </a:lnTo>
                    <a:lnTo>
                      <a:pt x="197056" y="511641"/>
                    </a:lnTo>
                    <a:lnTo>
                      <a:pt x="196792" y="509349"/>
                    </a:lnTo>
                    <a:lnTo>
                      <a:pt x="196527" y="509878"/>
                    </a:lnTo>
                    <a:lnTo>
                      <a:pt x="191854" y="509349"/>
                    </a:lnTo>
                    <a:lnTo>
                      <a:pt x="193001" y="507585"/>
                    </a:lnTo>
                    <a:lnTo>
                      <a:pt x="198291" y="507321"/>
                    </a:lnTo>
                    <a:lnTo>
                      <a:pt x="196792" y="503794"/>
                    </a:lnTo>
                    <a:lnTo>
                      <a:pt x="199084" y="504059"/>
                    </a:lnTo>
                    <a:lnTo>
                      <a:pt x="201465" y="504059"/>
                    </a:lnTo>
                    <a:lnTo>
                      <a:pt x="202611" y="502031"/>
                    </a:lnTo>
                    <a:lnTo>
                      <a:pt x="204639" y="500532"/>
                    </a:lnTo>
                    <a:lnTo>
                      <a:pt x="206138" y="501678"/>
                    </a:lnTo>
                    <a:lnTo>
                      <a:pt x="206402" y="503442"/>
                    </a:lnTo>
                    <a:lnTo>
                      <a:pt x="208430" y="504588"/>
                    </a:lnTo>
                    <a:lnTo>
                      <a:pt x="211957" y="504588"/>
                    </a:lnTo>
                    <a:lnTo>
                      <a:pt x="211957" y="507497"/>
                    </a:lnTo>
                    <a:lnTo>
                      <a:pt x="212838" y="508643"/>
                    </a:lnTo>
                    <a:lnTo>
                      <a:pt x="212838" y="511553"/>
                    </a:lnTo>
                    <a:lnTo>
                      <a:pt x="211957" y="513581"/>
                    </a:lnTo>
                    <a:lnTo>
                      <a:pt x="210546" y="514727"/>
                    </a:lnTo>
                    <a:lnTo>
                      <a:pt x="212838" y="516226"/>
                    </a:lnTo>
                    <a:lnTo>
                      <a:pt x="214602" y="518254"/>
                    </a:lnTo>
                    <a:lnTo>
                      <a:pt x="211428" y="519047"/>
                    </a:lnTo>
                    <a:lnTo>
                      <a:pt x="208254" y="523191"/>
                    </a:lnTo>
                    <a:lnTo>
                      <a:pt x="205080" y="522309"/>
                    </a:lnTo>
                    <a:lnTo>
                      <a:pt x="201553" y="523191"/>
                    </a:lnTo>
                    <a:lnTo>
                      <a:pt x="203052" y="522838"/>
                    </a:lnTo>
                    <a:lnTo>
                      <a:pt x="203052" y="521163"/>
                    </a:lnTo>
                    <a:lnTo>
                      <a:pt x="201906" y="520282"/>
                    </a:lnTo>
                    <a:lnTo>
                      <a:pt x="200407" y="517372"/>
                    </a:lnTo>
                    <a:lnTo>
                      <a:pt x="197145" y="516490"/>
                    </a:lnTo>
                    <a:lnTo>
                      <a:pt x="194235" y="514727"/>
                    </a:lnTo>
                    <a:lnTo>
                      <a:pt x="187270" y="515344"/>
                    </a:lnTo>
                    <a:lnTo>
                      <a:pt x="186388" y="517989"/>
                    </a:lnTo>
                    <a:lnTo>
                      <a:pt x="189298" y="517989"/>
                    </a:lnTo>
                    <a:lnTo>
                      <a:pt x="190796" y="518254"/>
                    </a:lnTo>
                    <a:lnTo>
                      <a:pt x="193706" y="519047"/>
                    </a:lnTo>
                    <a:lnTo>
                      <a:pt x="194323" y="519664"/>
                    </a:lnTo>
                    <a:lnTo>
                      <a:pt x="197233" y="521692"/>
                    </a:lnTo>
                    <a:lnTo>
                      <a:pt x="199613" y="522045"/>
                    </a:lnTo>
                    <a:lnTo>
                      <a:pt x="199878" y="526101"/>
                    </a:lnTo>
                    <a:lnTo>
                      <a:pt x="198731" y="526982"/>
                    </a:lnTo>
                    <a:lnTo>
                      <a:pt x="196704" y="528129"/>
                    </a:lnTo>
                    <a:lnTo>
                      <a:pt x="195822" y="529892"/>
                    </a:lnTo>
                    <a:lnTo>
                      <a:pt x="194676" y="530421"/>
                    </a:lnTo>
                    <a:lnTo>
                      <a:pt x="192383" y="529892"/>
                    </a:lnTo>
                    <a:lnTo>
                      <a:pt x="188857" y="530421"/>
                    </a:lnTo>
                    <a:lnTo>
                      <a:pt x="190620" y="533330"/>
                    </a:lnTo>
                    <a:lnTo>
                      <a:pt x="190620" y="536240"/>
                    </a:lnTo>
                    <a:lnTo>
                      <a:pt x="188592" y="537739"/>
                    </a:lnTo>
                    <a:lnTo>
                      <a:pt x="190356" y="539502"/>
                    </a:lnTo>
                    <a:lnTo>
                      <a:pt x="190356" y="542147"/>
                    </a:lnTo>
                    <a:lnTo>
                      <a:pt x="190356" y="543911"/>
                    </a:lnTo>
                    <a:lnTo>
                      <a:pt x="188945" y="545674"/>
                    </a:lnTo>
                    <a:lnTo>
                      <a:pt x="192472" y="547966"/>
                    </a:lnTo>
                    <a:lnTo>
                      <a:pt x="191854" y="549730"/>
                    </a:lnTo>
                    <a:lnTo>
                      <a:pt x="191854" y="550347"/>
                    </a:lnTo>
                    <a:lnTo>
                      <a:pt x="192736" y="554756"/>
                    </a:lnTo>
                    <a:lnTo>
                      <a:pt x="194235" y="555285"/>
                    </a:lnTo>
                    <a:lnTo>
                      <a:pt x="195646" y="557048"/>
                    </a:lnTo>
                    <a:lnTo>
                      <a:pt x="196263" y="559693"/>
                    </a:lnTo>
                    <a:lnTo>
                      <a:pt x="193618" y="560839"/>
                    </a:lnTo>
                    <a:lnTo>
                      <a:pt x="193001" y="563749"/>
                    </a:lnTo>
                    <a:lnTo>
                      <a:pt x="192383" y="566041"/>
                    </a:lnTo>
                    <a:lnTo>
                      <a:pt x="188857" y="565777"/>
                    </a:lnTo>
                    <a:lnTo>
                      <a:pt x="192383" y="571331"/>
                    </a:lnTo>
                    <a:lnTo>
                      <a:pt x="193530" y="573359"/>
                    </a:lnTo>
                    <a:lnTo>
                      <a:pt x="192648" y="575122"/>
                    </a:lnTo>
                    <a:lnTo>
                      <a:pt x="190003" y="572477"/>
                    </a:lnTo>
                    <a:lnTo>
                      <a:pt x="190003" y="574858"/>
                    </a:lnTo>
                    <a:lnTo>
                      <a:pt x="186829" y="576357"/>
                    </a:lnTo>
                    <a:lnTo>
                      <a:pt x="186212" y="577503"/>
                    </a:lnTo>
                    <a:lnTo>
                      <a:pt x="185065" y="577150"/>
                    </a:lnTo>
                    <a:lnTo>
                      <a:pt x="183566" y="576268"/>
                    </a:lnTo>
                    <a:lnTo>
                      <a:pt x="181803" y="576268"/>
                    </a:lnTo>
                    <a:lnTo>
                      <a:pt x="181186" y="577150"/>
                    </a:lnTo>
                    <a:lnTo>
                      <a:pt x="178012" y="575651"/>
                    </a:lnTo>
                    <a:lnTo>
                      <a:pt x="177747" y="577679"/>
                    </a:lnTo>
                    <a:lnTo>
                      <a:pt x="173339" y="577944"/>
                    </a:lnTo>
                    <a:lnTo>
                      <a:pt x="171840" y="579090"/>
                    </a:lnTo>
                    <a:lnTo>
                      <a:pt x="168931" y="578825"/>
                    </a:lnTo>
                    <a:lnTo>
                      <a:pt x="170694" y="580324"/>
                    </a:lnTo>
                    <a:lnTo>
                      <a:pt x="169812" y="581206"/>
                    </a:lnTo>
                    <a:lnTo>
                      <a:pt x="166903" y="581471"/>
                    </a:lnTo>
                    <a:lnTo>
                      <a:pt x="168049" y="583234"/>
                    </a:lnTo>
                    <a:lnTo>
                      <a:pt x="166286" y="585262"/>
                    </a:lnTo>
                    <a:lnTo>
                      <a:pt x="165668" y="587025"/>
                    </a:lnTo>
                    <a:lnTo>
                      <a:pt x="164522" y="587907"/>
                    </a:lnTo>
                    <a:lnTo>
                      <a:pt x="163376" y="593109"/>
                    </a:lnTo>
                    <a:lnTo>
                      <a:pt x="162230" y="594608"/>
                    </a:lnTo>
                    <a:lnTo>
                      <a:pt x="161965" y="597253"/>
                    </a:lnTo>
                    <a:lnTo>
                      <a:pt x="159320" y="599281"/>
                    </a:lnTo>
                    <a:lnTo>
                      <a:pt x="160466" y="601044"/>
                    </a:lnTo>
                    <a:lnTo>
                      <a:pt x="161613" y="603336"/>
                    </a:lnTo>
                    <a:lnTo>
                      <a:pt x="162494" y="606246"/>
                    </a:lnTo>
                    <a:lnTo>
                      <a:pt x="162230" y="607745"/>
                    </a:lnTo>
                    <a:lnTo>
                      <a:pt x="164875" y="610390"/>
                    </a:lnTo>
                    <a:lnTo>
                      <a:pt x="165756" y="610654"/>
                    </a:lnTo>
                    <a:lnTo>
                      <a:pt x="166903" y="612418"/>
                    </a:lnTo>
                    <a:lnTo>
                      <a:pt x="170694" y="613564"/>
                    </a:lnTo>
                    <a:lnTo>
                      <a:pt x="170958" y="615063"/>
                    </a:lnTo>
                    <a:lnTo>
                      <a:pt x="174485" y="618589"/>
                    </a:lnTo>
                    <a:lnTo>
                      <a:pt x="175102" y="620617"/>
                    </a:lnTo>
                    <a:lnTo>
                      <a:pt x="178276" y="620000"/>
                    </a:lnTo>
                    <a:lnTo>
                      <a:pt x="180569" y="623174"/>
                    </a:lnTo>
                    <a:lnTo>
                      <a:pt x="181451" y="622910"/>
                    </a:lnTo>
                    <a:lnTo>
                      <a:pt x="184360" y="623174"/>
                    </a:lnTo>
                    <a:lnTo>
                      <a:pt x="186123" y="624938"/>
                    </a:lnTo>
                    <a:lnTo>
                      <a:pt x="188768" y="625202"/>
                    </a:lnTo>
                    <a:lnTo>
                      <a:pt x="191942" y="625202"/>
                    </a:lnTo>
                    <a:lnTo>
                      <a:pt x="192560" y="626701"/>
                    </a:lnTo>
                    <a:lnTo>
                      <a:pt x="196615" y="625467"/>
                    </a:lnTo>
                    <a:lnTo>
                      <a:pt x="198114" y="626701"/>
                    </a:lnTo>
                    <a:lnTo>
                      <a:pt x="201641" y="627847"/>
                    </a:lnTo>
                    <a:lnTo>
                      <a:pt x="204286" y="628993"/>
                    </a:lnTo>
                    <a:lnTo>
                      <a:pt x="203404" y="630139"/>
                    </a:lnTo>
                    <a:lnTo>
                      <a:pt x="205432" y="633049"/>
                    </a:lnTo>
                    <a:lnTo>
                      <a:pt x="206578" y="635694"/>
                    </a:lnTo>
                    <a:lnTo>
                      <a:pt x="207725" y="639838"/>
                    </a:lnTo>
                    <a:lnTo>
                      <a:pt x="206843" y="641601"/>
                    </a:lnTo>
                    <a:lnTo>
                      <a:pt x="207107" y="644246"/>
                    </a:lnTo>
                    <a:lnTo>
                      <a:pt x="206490" y="643982"/>
                    </a:lnTo>
                    <a:lnTo>
                      <a:pt x="198908" y="645128"/>
                    </a:lnTo>
                    <a:lnTo>
                      <a:pt x="195381" y="645481"/>
                    </a:lnTo>
                    <a:lnTo>
                      <a:pt x="193970" y="646362"/>
                    </a:lnTo>
                    <a:lnTo>
                      <a:pt x="201553" y="645216"/>
                    </a:lnTo>
                    <a:lnTo>
                      <a:pt x="203052" y="645216"/>
                    </a:lnTo>
                    <a:lnTo>
                      <a:pt x="207989" y="645833"/>
                    </a:lnTo>
                    <a:lnTo>
                      <a:pt x="209753" y="645569"/>
                    </a:lnTo>
                    <a:lnTo>
                      <a:pt x="209135" y="648214"/>
                    </a:lnTo>
                    <a:lnTo>
                      <a:pt x="210017" y="649625"/>
                    </a:lnTo>
                    <a:lnTo>
                      <a:pt x="208518" y="649977"/>
                    </a:lnTo>
                    <a:lnTo>
                      <a:pt x="207019" y="651124"/>
                    </a:lnTo>
                    <a:lnTo>
                      <a:pt x="205609" y="653151"/>
                    </a:lnTo>
                    <a:lnTo>
                      <a:pt x="204462" y="654915"/>
                    </a:lnTo>
                    <a:lnTo>
                      <a:pt x="202435" y="655796"/>
                    </a:lnTo>
                    <a:lnTo>
                      <a:pt x="200142" y="657824"/>
                    </a:lnTo>
                    <a:lnTo>
                      <a:pt x="198114" y="661087"/>
                    </a:lnTo>
                    <a:lnTo>
                      <a:pt x="195205" y="661968"/>
                    </a:lnTo>
                    <a:lnTo>
                      <a:pt x="191413" y="665142"/>
                    </a:lnTo>
                    <a:lnTo>
                      <a:pt x="190267" y="668669"/>
                    </a:lnTo>
                    <a:lnTo>
                      <a:pt x="188239" y="671579"/>
                    </a:lnTo>
                    <a:lnTo>
                      <a:pt x="186212" y="674488"/>
                    </a:lnTo>
                    <a:lnTo>
                      <a:pt x="185330" y="677133"/>
                    </a:lnTo>
                    <a:lnTo>
                      <a:pt x="181803" y="678632"/>
                    </a:lnTo>
                    <a:lnTo>
                      <a:pt x="180921" y="681541"/>
                    </a:lnTo>
                    <a:lnTo>
                      <a:pt x="179775" y="683305"/>
                    </a:lnTo>
                    <a:lnTo>
                      <a:pt x="179775" y="684187"/>
                    </a:lnTo>
                    <a:lnTo>
                      <a:pt x="182068" y="681277"/>
                    </a:lnTo>
                    <a:lnTo>
                      <a:pt x="182685" y="680748"/>
                    </a:lnTo>
                    <a:lnTo>
                      <a:pt x="186212" y="680748"/>
                    </a:lnTo>
                    <a:lnTo>
                      <a:pt x="186829" y="682776"/>
                    </a:lnTo>
                    <a:lnTo>
                      <a:pt x="186829" y="685156"/>
                    </a:lnTo>
                    <a:lnTo>
                      <a:pt x="186564" y="686655"/>
                    </a:lnTo>
                    <a:lnTo>
                      <a:pt x="186564" y="688948"/>
                    </a:lnTo>
                    <a:lnTo>
                      <a:pt x="188063" y="689565"/>
                    </a:lnTo>
                    <a:lnTo>
                      <a:pt x="187446" y="690711"/>
                    </a:lnTo>
                    <a:lnTo>
                      <a:pt x="187446" y="693004"/>
                    </a:lnTo>
                    <a:lnTo>
                      <a:pt x="188328" y="694502"/>
                    </a:lnTo>
                    <a:lnTo>
                      <a:pt x="188592" y="696530"/>
                    </a:lnTo>
                    <a:lnTo>
                      <a:pt x="187093" y="698294"/>
                    </a:lnTo>
                    <a:lnTo>
                      <a:pt x="186476" y="699175"/>
                    </a:lnTo>
                    <a:lnTo>
                      <a:pt x="185859" y="700674"/>
                    </a:lnTo>
                    <a:lnTo>
                      <a:pt x="184713" y="702085"/>
                    </a:lnTo>
                    <a:lnTo>
                      <a:pt x="182685" y="701556"/>
                    </a:lnTo>
                    <a:lnTo>
                      <a:pt x="180921" y="702438"/>
                    </a:lnTo>
                    <a:lnTo>
                      <a:pt x="179423" y="703319"/>
                    </a:lnTo>
                    <a:lnTo>
                      <a:pt x="176513" y="701908"/>
                    </a:lnTo>
                    <a:lnTo>
                      <a:pt x="171840" y="698117"/>
                    </a:lnTo>
                    <a:lnTo>
                      <a:pt x="168049" y="694591"/>
                    </a:lnTo>
                    <a:lnTo>
                      <a:pt x="165668" y="692563"/>
                    </a:lnTo>
                    <a:lnTo>
                      <a:pt x="167432" y="694591"/>
                    </a:lnTo>
                    <a:lnTo>
                      <a:pt x="169460" y="697235"/>
                    </a:lnTo>
                    <a:lnTo>
                      <a:pt x="165139" y="698117"/>
                    </a:lnTo>
                    <a:lnTo>
                      <a:pt x="161965" y="698999"/>
                    </a:lnTo>
                    <a:lnTo>
                      <a:pt x="167255" y="698117"/>
                    </a:lnTo>
                    <a:lnTo>
                      <a:pt x="170165" y="698382"/>
                    </a:lnTo>
                    <a:lnTo>
                      <a:pt x="172810" y="700410"/>
                    </a:lnTo>
                    <a:lnTo>
                      <a:pt x="173956" y="701644"/>
                    </a:lnTo>
                    <a:lnTo>
                      <a:pt x="176337" y="702173"/>
                    </a:lnTo>
                    <a:lnTo>
                      <a:pt x="178365" y="704818"/>
                    </a:lnTo>
                    <a:lnTo>
                      <a:pt x="177218" y="706229"/>
                    </a:lnTo>
                    <a:lnTo>
                      <a:pt x="175455" y="707375"/>
                    </a:lnTo>
                    <a:lnTo>
                      <a:pt x="171928" y="707640"/>
                    </a:lnTo>
                    <a:lnTo>
                      <a:pt x="170518" y="711695"/>
                    </a:lnTo>
                    <a:lnTo>
                      <a:pt x="172810" y="713194"/>
                    </a:lnTo>
                    <a:lnTo>
                      <a:pt x="171928" y="716104"/>
                    </a:lnTo>
                    <a:lnTo>
                      <a:pt x="164963" y="724920"/>
                    </a:lnTo>
                    <a:lnTo>
                      <a:pt x="171928" y="720512"/>
                    </a:lnTo>
                    <a:lnTo>
                      <a:pt x="172193" y="723157"/>
                    </a:lnTo>
                    <a:lnTo>
                      <a:pt x="173339" y="724656"/>
                    </a:lnTo>
                    <a:lnTo>
                      <a:pt x="175367" y="726684"/>
                    </a:lnTo>
                    <a:lnTo>
                      <a:pt x="173956" y="727213"/>
                    </a:lnTo>
                    <a:lnTo>
                      <a:pt x="175367" y="728712"/>
                    </a:lnTo>
                    <a:lnTo>
                      <a:pt x="175367" y="731621"/>
                    </a:lnTo>
                    <a:lnTo>
                      <a:pt x="176866" y="732503"/>
                    </a:lnTo>
                    <a:lnTo>
                      <a:pt x="177747" y="733385"/>
                    </a:lnTo>
                    <a:lnTo>
                      <a:pt x="180657" y="735677"/>
                    </a:lnTo>
                    <a:lnTo>
                      <a:pt x="178894" y="735148"/>
                    </a:lnTo>
                    <a:lnTo>
                      <a:pt x="177747" y="736911"/>
                    </a:lnTo>
                    <a:lnTo>
                      <a:pt x="175367" y="737528"/>
                    </a:lnTo>
                    <a:lnTo>
                      <a:pt x="170429" y="736030"/>
                    </a:lnTo>
                    <a:lnTo>
                      <a:pt x="166374" y="737793"/>
                    </a:lnTo>
                    <a:lnTo>
                      <a:pt x="171664" y="737176"/>
                    </a:lnTo>
                    <a:lnTo>
                      <a:pt x="175191" y="738057"/>
                    </a:lnTo>
                    <a:lnTo>
                      <a:pt x="177218" y="737793"/>
                    </a:lnTo>
                    <a:lnTo>
                      <a:pt x="181274" y="740085"/>
                    </a:lnTo>
                    <a:lnTo>
                      <a:pt x="188239" y="747403"/>
                    </a:lnTo>
                    <a:lnTo>
                      <a:pt x="191766" y="750930"/>
                    </a:lnTo>
                    <a:lnTo>
                      <a:pt x="196704" y="754721"/>
                    </a:lnTo>
                    <a:lnTo>
                      <a:pt x="196439" y="756220"/>
                    </a:lnTo>
                    <a:lnTo>
                      <a:pt x="123524" y="737528"/>
                    </a:lnTo>
                    <a:lnTo>
                      <a:pt x="104832" y="719454"/>
                    </a:lnTo>
                    <a:lnTo>
                      <a:pt x="83848" y="704289"/>
                    </a:lnTo>
                    <a:lnTo>
                      <a:pt x="75648" y="681277"/>
                    </a:lnTo>
                    <a:lnTo>
                      <a:pt x="79440" y="656766"/>
                    </a:lnTo>
                    <a:lnTo>
                      <a:pt x="78293" y="634901"/>
                    </a:lnTo>
                    <a:lnTo>
                      <a:pt x="78558" y="619471"/>
                    </a:lnTo>
                    <a:lnTo>
                      <a:pt x="73621" y="599898"/>
                    </a:lnTo>
                    <a:lnTo>
                      <a:pt x="70446" y="583587"/>
                    </a:lnTo>
                    <a:lnTo>
                      <a:pt x="66038" y="571331"/>
                    </a:lnTo>
                    <a:lnTo>
                      <a:pt x="63746" y="561368"/>
                    </a:lnTo>
                    <a:lnTo>
                      <a:pt x="53871" y="546203"/>
                    </a:lnTo>
                    <a:lnTo>
                      <a:pt x="45407" y="530421"/>
                    </a:lnTo>
                    <a:lnTo>
                      <a:pt x="38441" y="510583"/>
                    </a:lnTo>
                    <a:lnTo>
                      <a:pt x="34650" y="491627"/>
                    </a:lnTo>
                    <a:lnTo>
                      <a:pt x="28566" y="467998"/>
                    </a:lnTo>
                    <a:lnTo>
                      <a:pt x="26186" y="451687"/>
                    </a:lnTo>
                    <a:lnTo>
                      <a:pt x="27332" y="435376"/>
                    </a:lnTo>
                    <a:lnTo>
                      <a:pt x="28831" y="413774"/>
                    </a:lnTo>
                    <a:lnTo>
                      <a:pt x="19485" y="387500"/>
                    </a:lnTo>
                    <a:lnTo>
                      <a:pt x="17457" y="371189"/>
                    </a:lnTo>
                    <a:lnTo>
                      <a:pt x="23012" y="358316"/>
                    </a:lnTo>
                    <a:lnTo>
                      <a:pt x="22130" y="340506"/>
                    </a:lnTo>
                    <a:lnTo>
                      <a:pt x="23012" y="318023"/>
                    </a:lnTo>
                    <a:lnTo>
                      <a:pt x="23629" y="298450"/>
                    </a:lnTo>
                    <a:lnTo>
                      <a:pt x="16664" y="280993"/>
                    </a:lnTo>
                    <a:lnTo>
                      <a:pt x="7582" y="262301"/>
                    </a:lnTo>
                    <a:lnTo>
                      <a:pt x="0" y="243345"/>
                    </a:lnTo>
                    <a:lnTo>
                      <a:pt x="264" y="222361"/>
                    </a:lnTo>
                    <a:lnTo>
                      <a:pt x="2292" y="203405"/>
                    </a:lnTo>
                    <a:lnTo>
                      <a:pt x="1146" y="179158"/>
                    </a:lnTo>
                    <a:lnTo>
                      <a:pt x="7582" y="155794"/>
                    </a:lnTo>
                    <a:lnTo>
                      <a:pt x="16928" y="135956"/>
                    </a:lnTo>
                    <a:lnTo>
                      <a:pt x="18427" y="108800"/>
                    </a:lnTo>
                    <a:lnTo>
                      <a:pt x="14636" y="78205"/>
                    </a:lnTo>
                    <a:lnTo>
                      <a:pt x="40293" y="30330"/>
                    </a:lnTo>
                    <a:lnTo>
                      <a:pt x="35884" y="25657"/>
                    </a:lnTo>
                    <a:lnTo>
                      <a:pt x="36766" y="23276"/>
                    </a:lnTo>
                    <a:lnTo>
                      <a:pt x="38794" y="18603"/>
                    </a:lnTo>
                    <a:lnTo>
                      <a:pt x="40293" y="17457"/>
                    </a:lnTo>
                    <a:lnTo>
                      <a:pt x="43202" y="14812"/>
                    </a:lnTo>
                    <a:lnTo>
                      <a:pt x="43820" y="11286"/>
                    </a:lnTo>
                    <a:lnTo>
                      <a:pt x="46200" y="11021"/>
                    </a:lnTo>
                    <a:lnTo>
                      <a:pt x="51490" y="8112"/>
                    </a:lnTo>
                    <a:lnTo>
                      <a:pt x="52901" y="7582"/>
                    </a:lnTo>
                    <a:lnTo>
                      <a:pt x="53783" y="0"/>
                    </a:lnTo>
                    <a:lnTo>
                      <a:pt x="56957" y="1763"/>
                    </a:lnTo>
                    <a:lnTo>
                      <a:pt x="57838" y="3791"/>
                    </a:lnTo>
                    <a:lnTo>
                      <a:pt x="63393" y="7318"/>
                    </a:lnTo>
                    <a:lnTo>
                      <a:pt x="68066" y="7935"/>
                    </a:lnTo>
                    <a:lnTo>
                      <a:pt x="70975" y="7935"/>
                    </a:lnTo>
                    <a:lnTo>
                      <a:pt x="82085" y="8200"/>
                    </a:lnTo>
                    <a:lnTo>
                      <a:pt x="87287" y="9963"/>
                    </a:lnTo>
                    <a:lnTo>
                      <a:pt x="89932" y="11109"/>
                    </a:lnTo>
                    <a:lnTo>
                      <a:pt x="91078" y="14636"/>
                    </a:lnTo>
                    <a:lnTo>
                      <a:pt x="92224" y="16664"/>
                    </a:lnTo>
                    <a:lnTo>
                      <a:pt x="93987" y="21601"/>
                    </a:lnTo>
                    <a:lnTo>
                      <a:pt x="96015" y="24246"/>
                    </a:lnTo>
                    <a:lnTo>
                      <a:pt x="98043" y="26803"/>
                    </a:lnTo>
                    <a:lnTo>
                      <a:pt x="98043" y="24511"/>
                    </a:lnTo>
                    <a:lnTo>
                      <a:pt x="98308" y="20984"/>
                    </a:lnTo>
                    <a:lnTo>
                      <a:pt x="98925" y="18692"/>
                    </a:lnTo>
                    <a:lnTo>
                      <a:pt x="100688" y="14019"/>
                    </a:lnTo>
                    <a:lnTo>
                      <a:pt x="101834" y="11374"/>
                    </a:lnTo>
                    <a:lnTo>
                      <a:pt x="102452" y="9346"/>
                    </a:lnTo>
                    <a:lnTo>
                      <a:pt x="103598" y="7318"/>
                    </a:lnTo>
                    <a:lnTo>
                      <a:pt x="107654" y="5290"/>
                    </a:lnTo>
                    <a:lnTo>
                      <a:pt x="109417" y="5290"/>
                    </a:lnTo>
                    <a:lnTo>
                      <a:pt x="128373" y="8817"/>
                    </a:lnTo>
                    <a:lnTo>
                      <a:pt x="131018" y="9963"/>
                    </a:lnTo>
                    <a:lnTo>
                      <a:pt x="131547" y="11462"/>
                    </a:lnTo>
                    <a:lnTo>
                      <a:pt x="132164" y="11462"/>
                    </a:lnTo>
                    <a:lnTo>
                      <a:pt x="131723" y="1146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7" name="Freihandform: Form 1766">
                <a:extLst>
                  <a:ext uri="{FF2B5EF4-FFF2-40B4-BE49-F238E27FC236}">
                    <a16:creationId xmlns:a16="http://schemas.microsoft.com/office/drawing/2014/main" id="{84A56869-69BA-F0BB-82ED-196C62F95B4A}"/>
                  </a:ext>
                </a:extLst>
              </p:cNvPr>
              <p:cNvSpPr/>
              <p:nvPr/>
            </p:nvSpPr>
            <p:spPr>
              <a:xfrm>
                <a:off x="2792898" y="4000683"/>
                <a:ext cx="90725" cy="104126"/>
              </a:xfrm>
              <a:custGeom>
                <a:avLst/>
                <a:gdLst>
                  <a:gd name="connsiteX0" fmla="*/ 86317 w 90725"/>
                  <a:gd name="connsiteY0" fmla="*/ 16311 h 104126"/>
                  <a:gd name="connsiteX1" fmla="*/ 85700 w 90725"/>
                  <a:gd name="connsiteY1" fmla="*/ 18075 h 104126"/>
                  <a:gd name="connsiteX2" fmla="*/ 83672 w 90725"/>
                  <a:gd name="connsiteY2" fmla="*/ 18956 h 104126"/>
                  <a:gd name="connsiteX3" fmla="*/ 82261 w 90725"/>
                  <a:gd name="connsiteY3" fmla="*/ 21249 h 104126"/>
                  <a:gd name="connsiteX4" fmla="*/ 81379 w 90725"/>
                  <a:gd name="connsiteY4" fmla="*/ 21601 h 104126"/>
                  <a:gd name="connsiteX5" fmla="*/ 79881 w 90725"/>
                  <a:gd name="connsiteY5" fmla="*/ 24775 h 104126"/>
                  <a:gd name="connsiteX6" fmla="*/ 79616 w 90725"/>
                  <a:gd name="connsiteY6" fmla="*/ 26186 h 104126"/>
                  <a:gd name="connsiteX7" fmla="*/ 78999 w 90725"/>
                  <a:gd name="connsiteY7" fmla="*/ 27685 h 104126"/>
                  <a:gd name="connsiteX8" fmla="*/ 79352 w 90725"/>
                  <a:gd name="connsiteY8" fmla="*/ 28831 h 104126"/>
                  <a:gd name="connsiteX9" fmla="*/ 78734 w 90725"/>
                  <a:gd name="connsiteY9" fmla="*/ 31212 h 104126"/>
                  <a:gd name="connsiteX10" fmla="*/ 79352 w 90725"/>
                  <a:gd name="connsiteY10" fmla="*/ 31476 h 104126"/>
                  <a:gd name="connsiteX11" fmla="*/ 80233 w 90725"/>
                  <a:gd name="connsiteY11" fmla="*/ 32975 h 104126"/>
                  <a:gd name="connsiteX12" fmla="*/ 80233 w 90725"/>
                  <a:gd name="connsiteY12" fmla="*/ 33504 h 104126"/>
                  <a:gd name="connsiteX13" fmla="*/ 80233 w 90725"/>
                  <a:gd name="connsiteY13" fmla="*/ 35532 h 104126"/>
                  <a:gd name="connsiteX14" fmla="*/ 79352 w 90725"/>
                  <a:gd name="connsiteY14" fmla="*/ 37295 h 104126"/>
                  <a:gd name="connsiteX15" fmla="*/ 79881 w 90725"/>
                  <a:gd name="connsiteY15" fmla="*/ 40822 h 104126"/>
                  <a:gd name="connsiteX16" fmla="*/ 80762 w 90725"/>
                  <a:gd name="connsiteY16" fmla="*/ 42233 h 104126"/>
                  <a:gd name="connsiteX17" fmla="*/ 80498 w 90725"/>
                  <a:gd name="connsiteY17" fmla="*/ 43731 h 104126"/>
                  <a:gd name="connsiteX18" fmla="*/ 80498 w 90725"/>
                  <a:gd name="connsiteY18" fmla="*/ 45495 h 104126"/>
                  <a:gd name="connsiteX19" fmla="*/ 82261 w 90725"/>
                  <a:gd name="connsiteY19" fmla="*/ 46377 h 104126"/>
                  <a:gd name="connsiteX20" fmla="*/ 81027 w 90725"/>
                  <a:gd name="connsiteY20" fmla="*/ 49551 h 104126"/>
                  <a:gd name="connsiteX21" fmla="*/ 82261 w 90725"/>
                  <a:gd name="connsiteY21" fmla="*/ 50168 h 104126"/>
                  <a:gd name="connsiteX22" fmla="*/ 82790 w 90725"/>
                  <a:gd name="connsiteY22" fmla="*/ 51931 h 104126"/>
                  <a:gd name="connsiteX23" fmla="*/ 84818 w 90725"/>
                  <a:gd name="connsiteY23" fmla="*/ 53607 h 104126"/>
                  <a:gd name="connsiteX24" fmla="*/ 84818 w 90725"/>
                  <a:gd name="connsiteY24" fmla="*/ 54841 h 104126"/>
                  <a:gd name="connsiteX25" fmla="*/ 86846 w 90725"/>
                  <a:gd name="connsiteY25" fmla="*/ 55370 h 104126"/>
                  <a:gd name="connsiteX26" fmla="*/ 87816 w 90725"/>
                  <a:gd name="connsiteY26" fmla="*/ 59161 h 104126"/>
                  <a:gd name="connsiteX27" fmla="*/ 88345 w 90725"/>
                  <a:gd name="connsiteY27" fmla="*/ 59161 h 104126"/>
                  <a:gd name="connsiteX28" fmla="*/ 88609 w 90725"/>
                  <a:gd name="connsiteY28" fmla="*/ 59514 h 104126"/>
                  <a:gd name="connsiteX29" fmla="*/ 89491 w 90725"/>
                  <a:gd name="connsiteY29" fmla="*/ 59778 h 104126"/>
                  <a:gd name="connsiteX30" fmla="*/ 88345 w 90725"/>
                  <a:gd name="connsiteY30" fmla="*/ 61542 h 104126"/>
                  <a:gd name="connsiteX31" fmla="*/ 88609 w 90725"/>
                  <a:gd name="connsiteY31" fmla="*/ 63569 h 104126"/>
                  <a:gd name="connsiteX32" fmla="*/ 87199 w 90725"/>
                  <a:gd name="connsiteY32" fmla="*/ 66215 h 104126"/>
                  <a:gd name="connsiteX33" fmla="*/ 87199 w 90725"/>
                  <a:gd name="connsiteY33" fmla="*/ 67361 h 104126"/>
                  <a:gd name="connsiteX34" fmla="*/ 86581 w 90725"/>
                  <a:gd name="connsiteY34" fmla="*/ 67978 h 104126"/>
                  <a:gd name="connsiteX35" fmla="*/ 84818 w 90725"/>
                  <a:gd name="connsiteY35" fmla="*/ 70270 h 104126"/>
                  <a:gd name="connsiteX36" fmla="*/ 84554 w 90725"/>
                  <a:gd name="connsiteY36" fmla="*/ 71152 h 104126"/>
                  <a:gd name="connsiteX37" fmla="*/ 84025 w 90725"/>
                  <a:gd name="connsiteY37" fmla="*/ 72298 h 104126"/>
                  <a:gd name="connsiteX38" fmla="*/ 84818 w 90725"/>
                  <a:gd name="connsiteY38" fmla="*/ 72034 h 104126"/>
                  <a:gd name="connsiteX39" fmla="*/ 85171 w 90725"/>
                  <a:gd name="connsiteY39" fmla="*/ 72298 h 104126"/>
                  <a:gd name="connsiteX40" fmla="*/ 85171 w 90725"/>
                  <a:gd name="connsiteY40" fmla="*/ 72915 h 104126"/>
                  <a:gd name="connsiteX41" fmla="*/ 84818 w 90725"/>
                  <a:gd name="connsiteY41" fmla="*/ 73444 h 104126"/>
                  <a:gd name="connsiteX42" fmla="*/ 84818 w 90725"/>
                  <a:gd name="connsiteY42" fmla="*/ 74326 h 104126"/>
                  <a:gd name="connsiteX43" fmla="*/ 84554 w 90725"/>
                  <a:gd name="connsiteY43" fmla="*/ 75825 h 104126"/>
                  <a:gd name="connsiteX44" fmla="*/ 84818 w 90725"/>
                  <a:gd name="connsiteY44" fmla="*/ 76089 h 104126"/>
                  <a:gd name="connsiteX45" fmla="*/ 84289 w 90725"/>
                  <a:gd name="connsiteY45" fmla="*/ 78117 h 104126"/>
                  <a:gd name="connsiteX46" fmla="*/ 84818 w 90725"/>
                  <a:gd name="connsiteY46" fmla="*/ 78734 h 104126"/>
                  <a:gd name="connsiteX47" fmla="*/ 84289 w 90725"/>
                  <a:gd name="connsiteY47" fmla="*/ 79616 h 104126"/>
                  <a:gd name="connsiteX48" fmla="*/ 84289 w 90725"/>
                  <a:gd name="connsiteY48" fmla="*/ 80498 h 104126"/>
                  <a:gd name="connsiteX49" fmla="*/ 81644 w 90725"/>
                  <a:gd name="connsiteY49" fmla="*/ 84024 h 104126"/>
                  <a:gd name="connsiteX50" fmla="*/ 80233 w 90725"/>
                  <a:gd name="connsiteY50" fmla="*/ 87728 h 104126"/>
                  <a:gd name="connsiteX51" fmla="*/ 78999 w 90725"/>
                  <a:gd name="connsiteY51" fmla="*/ 89226 h 104126"/>
                  <a:gd name="connsiteX52" fmla="*/ 77588 w 90725"/>
                  <a:gd name="connsiteY52" fmla="*/ 89226 h 104126"/>
                  <a:gd name="connsiteX53" fmla="*/ 77324 w 90725"/>
                  <a:gd name="connsiteY53" fmla="*/ 91607 h 104126"/>
                  <a:gd name="connsiteX54" fmla="*/ 76089 w 90725"/>
                  <a:gd name="connsiteY54" fmla="*/ 91254 h 104126"/>
                  <a:gd name="connsiteX55" fmla="*/ 74943 w 90725"/>
                  <a:gd name="connsiteY55" fmla="*/ 91607 h 104126"/>
                  <a:gd name="connsiteX56" fmla="*/ 74326 w 90725"/>
                  <a:gd name="connsiteY56" fmla="*/ 91872 h 104126"/>
                  <a:gd name="connsiteX57" fmla="*/ 73444 w 90725"/>
                  <a:gd name="connsiteY57" fmla="*/ 89844 h 104126"/>
                  <a:gd name="connsiteX58" fmla="*/ 72034 w 90725"/>
                  <a:gd name="connsiteY58" fmla="*/ 88080 h 104126"/>
                  <a:gd name="connsiteX59" fmla="*/ 69389 w 90725"/>
                  <a:gd name="connsiteY59" fmla="*/ 89226 h 104126"/>
                  <a:gd name="connsiteX60" fmla="*/ 68242 w 90725"/>
                  <a:gd name="connsiteY60" fmla="*/ 84818 h 104126"/>
                  <a:gd name="connsiteX61" fmla="*/ 63834 w 90725"/>
                  <a:gd name="connsiteY61" fmla="*/ 86581 h 104126"/>
                  <a:gd name="connsiteX62" fmla="*/ 61806 w 90725"/>
                  <a:gd name="connsiteY62" fmla="*/ 86934 h 104126"/>
                  <a:gd name="connsiteX63" fmla="*/ 58279 w 90725"/>
                  <a:gd name="connsiteY63" fmla="*/ 89226 h 104126"/>
                  <a:gd name="connsiteX64" fmla="*/ 45230 w 90725"/>
                  <a:gd name="connsiteY64" fmla="*/ 86581 h 104126"/>
                  <a:gd name="connsiteX65" fmla="*/ 42585 w 90725"/>
                  <a:gd name="connsiteY65" fmla="*/ 91254 h 104126"/>
                  <a:gd name="connsiteX66" fmla="*/ 43732 w 90725"/>
                  <a:gd name="connsiteY66" fmla="*/ 94428 h 104126"/>
                  <a:gd name="connsiteX67" fmla="*/ 46906 w 90725"/>
                  <a:gd name="connsiteY67" fmla="*/ 98572 h 104126"/>
                  <a:gd name="connsiteX68" fmla="*/ 43996 w 90725"/>
                  <a:gd name="connsiteY68" fmla="*/ 104127 h 104126"/>
                  <a:gd name="connsiteX69" fmla="*/ 35532 w 90725"/>
                  <a:gd name="connsiteY69" fmla="*/ 102099 h 104126"/>
                  <a:gd name="connsiteX70" fmla="*/ 33857 w 90725"/>
                  <a:gd name="connsiteY70" fmla="*/ 101217 h 104126"/>
                  <a:gd name="connsiteX71" fmla="*/ 33857 w 90725"/>
                  <a:gd name="connsiteY71" fmla="*/ 100865 h 104126"/>
                  <a:gd name="connsiteX72" fmla="*/ 31476 w 90725"/>
                  <a:gd name="connsiteY72" fmla="*/ 99454 h 104126"/>
                  <a:gd name="connsiteX73" fmla="*/ 29448 w 90725"/>
                  <a:gd name="connsiteY73" fmla="*/ 98837 h 104126"/>
                  <a:gd name="connsiteX74" fmla="*/ 26539 w 90725"/>
                  <a:gd name="connsiteY74" fmla="*/ 95046 h 104126"/>
                  <a:gd name="connsiteX75" fmla="*/ 26274 w 90725"/>
                  <a:gd name="connsiteY75" fmla="*/ 93282 h 104126"/>
                  <a:gd name="connsiteX76" fmla="*/ 24775 w 90725"/>
                  <a:gd name="connsiteY76" fmla="*/ 92401 h 104126"/>
                  <a:gd name="connsiteX77" fmla="*/ 24775 w 90725"/>
                  <a:gd name="connsiteY77" fmla="*/ 91254 h 104126"/>
                  <a:gd name="connsiteX78" fmla="*/ 23894 w 90725"/>
                  <a:gd name="connsiteY78" fmla="*/ 89844 h 104126"/>
                  <a:gd name="connsiteX79" fmla="*/ 23894 w 90725"/>
                  <a:gd name="connsiteY79" fmla="*/ 89226 h 104126"/>
                  <a:gd name="connsiteX80" fmla="*/ 23276 w 90725"/>
                  <a:gd name="connsiteY80" fmla="*/ 88080 h 104126"/>
                  <a:gd name="connsiteX81" fmla="*/ 23276 w 90725"/>
                  <a:gd name="connsiteY81" fmla="*/ 86934 h 104126"/>
                  <a:gd name="connsiteX82" fmla="*/ 22747 w 90725"/>
                  <a:gd name="connsiteY82" fmla="*/ 87199 h 104126"/>
                  <a:gd name="connsiteX83" fmla="*/ 22395 w 90725"/>
                  <a:gd name="connsiteY83" fmla="*/ 86934 h 104126"/>
                  <a:gd name="connsiteX84" fmla="*/ 22395 w 90725"/>
                  <a:gd name="connsiteY84" fmla="*/ 86052 h 104126"/>
                  <a:gd name="connsiteX85" fmla="*/ 21866 w 90725"/>
                  <a:gd name="connsiteY85" fmla="*/ 84818 h 104126"/>
                  <a:gd name="connsiteX86" fmla="*/ 22130 w 90725"/>
                  <a:gd name="connsiteY86" fmla="*/ 84024 h 104126"/>
                  <a:gd name="connsiteX87" fmla="*/ 21249 w 90725"/>
                  <a:gd name="connsiteY87" fmla="*/ 84024 h 104126"/>
                  <a:gd name="connsiteX88" fmla="*/ 21249 w 90725"/>
                  <a:gd name="connsiteY88" fmla="*/ 83407 h 104126"/>
                  <a:gd name="connsiteX89" fmla="*/ 20367 w 90725"/>
                  <a:gd name="connsiteY89" fmla="*/ 81909 h 104126"/>
                  <a:gd name="connsiteX90" fmla="*/ 20720 w 90725"/>
                  <a:gd name="connsiteY90" fmla="*/ 80762 h 104126"/>
                  <a:gd name="connsiteX91" fmla="*/ 19838 w 90725"/>
                  <a:gd name="connsiteY91" fmla="*/ 80762 h 104126"/>
                  <a:gd name="connsiteX92" fmla="*/ 19838 w 90725"/>
                  <a:gd name="connsiteY92" fmla="*/ 79352 h 104126"/>
                  <a:gd name="connsiteX93" fmla="*/ 18604 w 90725"/>
                  <a:gd name="connsiteY93" fmla="*/ 79616 h 104126"/>
                  <a:gd name="connsiteX94" fmla="*/ 18339 w 90725"/>
                  <a:gd name="connsiteY94" fmla="*/ 78734 h 104126"/>
                  <a:gd name="connsiteX95" fmla="*/ 18075 w 90725"/>
                  <a:gd name="connsiteY95" fmla="*/ 77853 h 104126"/>
                  <a:gd name="connsiteX96" fmla="*/ 18604 w 90725"/>
                  <a:gd name="connsiteY96" fmla="*/ 76089 h 104126"/>
                  <a:gd name="connsiteX97" fmla="*/ 17810 w 90725"/>
                  <a:gd name="connsiteY97" fmla="*/ 75825 h 104126"/>
                  <a:gd name="connsiteX98" fmla="*/ 17810 w 90725"/>
                  <a:gd name="connsiteY98" fmla="*/ 74326 h 104126"/>
                  <a:gd name="connsiteX99" fmla="*/ 18604 w 90725"/>
                  <a:gd name="connsiteY99" fmla="*/ 74061 h 104126"/>
                  <a:gd name="connsiteX100" fmla="*/ 18075 w 90725"/>
                  <a:gd name="connsiteY100" fmla="*/ 72915 h 104126"/>
                  <a:gd name="connsiteX101" fmla="*/ 16928 w 90725"/>
                  <a:gd name="connsiteY101" fmla="*/ 72915 h 104126"/>
                  <a:gd name="connsiteX102" fmla="*/ 17810 w 90725"/>
                  <a:gd name="connsiteY102" fmla="*/ 72034 h 104126"/>
                  <a:gd name="connsiteX103" fmla="*/ 16928 w 90725"/>
                  <a:gd name="connsiteY103" fmla="*/ 72034 h 104126"/>
                  <a:gd name="connsiteX104" fmla="*/ 16576 w 90725"/>
                  <a:gd name="connsiteY104" fmla="*/ 72034 h 104126"/>
                  <a:gd name="connsiteX105" fmla="*/ 16928 w 90725"/>
                  <a:gd name="connsiteY105" fmla="*/ 70887 h 104126"/>
                  <a:gd name="connsiteX106" fmla="*/ 16576 w 90725"/>
                  <a:gd name="connsiteY106" fmla="*/ 70270 h 104126"/>
                  <a:gd name="connsiteX107" fmla="*/ 16576 w 90725"/>
                  <a:gd name="connsiteY107" fmla="*/ 68859 h 104126"/>
                  <a:gd name="connsiteX108" fmla="*/ 16311 w 90725"/>
                  <a:gd name="connsiteY108" fmla="*/ 67978 h 104126"/>
                  <a:gd name="connsiteX109" fmla="*/ 16576 w 90725"/>
                  <a:gd name="connsiteY109" fmla="*/ 67096 h 104126"/>
                  <a:gd name="connsiteX110" fmla="*/ 16311 w 90725"/>
                  <a:gd name="connsiteY110" fmla="*/ 65333 h 104126"/>
                  <a:gd name="connsiteX111" fmla="*/ 15165 w 90725"/>
                  <a:gd name="connsiteY111" fmla="*/ 66479 h 104126"/>
                  <a:gd name="connsiteX112" fmla="*/ 13666 w 90725"/>
                  <a:gd name="connsiteY112" fmla="*/ 65333 h 104126"/>
                  <a:gd name="connsiteX113" fmla="*/ 13402 w 90725"/>
                  <a:gd name="connsiteY113" fmla="*/ 66479 h 104126"/>
                  <a:gd name="connsiteX114" fmla="*/ 12520 w 90725"/>
                  <a:gd name="connsiteY114" fmla="*/ 66744 h 104126"/>
                  <a:gd name="connsiteX115" fmla="*/ 11638 w 90725"/>
                  <a:gd name="connsiteY115" fmla="*/ 66215 h 104126"/>
                  <a:gd name="connsiteX116" fmla="*/ 10757 w 90725"/>
                  <a:gd name="connsiteY116" fmla="*/ 66479 h 104126"/>
                  <a:gd name="connsiteX117" fmla="*/ 9610 w 90725"/>
                  <a:gd name="connsiteY117" fmla="*/ 66479 h 104126"/>
                  <a:gd name="connsiteX118" fmla="*/ 8729 w 90725"/>
                  <a:gd name="connsiteY118" fmla="*/ 66215 h 104126"/>
                  <a:gd name="connsiteX119" fmla="*/ 8111 w 90725"/>
                  <a:gd name="connsiteY119" fmla="*/ 65333 h 104126"/>
                  <a:gd name="connsiteX120" fmla="*/ 8993 w 90725"/>
                  <a:gd name="connsiteY120" fmla="*/ 63305 h 104126"/>
                  <a:gd name="connsiteX121" fmla="*/ 8729 w 90725"/>
                  <a:gd name="connsiteY121" fmla="*/ 62071 h 104126"/>
                  <a:gd name="connsiteX122" fmla="*/ 7230 w 90725"/>
                  <a:gd name="connsiteY122" fmla="*/ 60924 h 104126"/>
                  <a:gd name="connsiteX123" fmla="*/ 6701 w 90725"/>
                  <a:gd name="connsiteY123" fmla="*/ 59514 h 104126"/>
                  <a:gd name="connsiteX124" fmla="*/ 4673 w 90725"/>
                  <a:gd name="connsiteY124" fmla="*/ 58279 h 104126"/>
                  <a:gd name="connsiteX125" fmla="*/ 4056 w 90725"/>
                  <a:gd name="connsiteY125" fmla="*/ 55987 h 104126"/>
                  <a:gd name="connsiteX126" fmla="*/ 3791 w 90725"/>
                  <a:gd name="connsiteY126" fmla="*/ 54841 h 104126"/>
                  <a:gd name="connsiteX127" fmla="*/ 2292 w 90725"/>
                  <a:gd name="connsiteY127" fmla="*/ 52460 h 104126"/>
                  <a:gd name="connsiteX128" fmla="*/ 882 w 90725"/>
                  <a:gd name="connsiteY128" fmla="*/ 51314 h 104126"/>
                  <a:gd name="connsiteX129" fmla="*/ 264 w 90725"/>
                  <a:gd name="connsiteY129" fmla="*/ 50168 h 104126"/>
                  <a:gd name="connsiteX130" fmla="*/ 0 w 90725"/>
                  <a:gd name="connsiteY130" fmla="*/ 45759 h 104126"/>
                  <a:gd name="connsiteX131" fmla="*/ 882 w 90725"/>
                  <a:gd name="connsiteY131" fmla="*/ 44613 h 104126"/>
                  <a:gd name="connsiteX132" fmla="*/ 2557 w 90725"/>
                  <a:gd name="connsiteY132" fmla="*/ 42850 h 104126"/>
                  <a:gd name="connsiteX133" fmla="*/ 2557 w 90725"/>
                  <a:gd name="connsiteY133" fmla="*/ 40205 h 104126"/>
                  <a:gd name="connsiteX134" fmla="*/ 3174 w 90725"/>
                  <a:gd name="connsiteY134" fmla="*/ 38794 h 104126"/>
                  <a:gd name="connsiteX135" fmla="*/ 5202 w 90725"/>
                  <a:gd name="connsiteY135" fmla="*/ 33504 h 104126"/>
                  <a:gd name="connsiteX136" fmla="*/ 4320 w 90725"/>
                  <a:gd name="connsiteY136" fmla="*/ 30859 h 104126"/>
                  <a:gd name="connsiteX137" fmla="*/ 3439 w 90725"/>
                  <a:gd name="connsiteY137" fmla="*/ 30594 h 104126"/>
                  <a:gd name="connsiteX138" fmla="*/ 3439 w 90725"/>
                  <a:gd name="connsiteY138" fmla="*/ 29448 h 104126"/>
                  <a:gd name="connsiteX139" fmla="*/ 5555 w 90725"/>
                  <a:gd name="connsiteY139" fmla="*/ 26803 h 104126"/>
                  <a:gd name="connsiteX140" fmla="*/ 6701 w 90725"/>
                  <a:gd name="connsiteY140" fmla="*/ 26803 h 104126"/>
                  <a:gd name="connsiteX141" fmla="*/ 6965 w 90725"/>
                  <a:gd name="connsiteY141" fmla="*/ 25922 h 104126"/>
                  <a:gd name="connsiteX142" fmla="*/ 8993 w 90725"/>
                  <a:gd name="connsiteY142" fmla="*/ 24775 h 104126"/>
                  <a:gd name="connsiteX143" fmla="*/ 10492 w 90725"/>
                  <a:gd name="connsiteY143" fmla="*/ 25040 h 104126"/>
                  <a:gd name="connsiteX144" fmla="*/ 12520 w 90725"/>
                  <a:gd name="connsiteY144" fmla="*/ 24775 h 104126"/>
                  <a:gd name="connsiteX145" fmla="*/ 13137 w 90725"/>
                  <a:gd name="connsiteY145" fmla="*/ 25393 h 104126"/>
                  <a:gd name="connsiteX146" fmla="*/ 14548 w 90725"/>
                  <a:gd name="connsiteY146" fmla="*/ 25393 h 104126"/>
                  <a:gd name="connsiteX147" fmla="*/ 16576 w 90725"/>
                  <a:gd name="connsiteY147" fmla="*/ 24158 h 104126"/>
                  <a:gd name="connsiteX148" fmla="*/ 17457 w 90725"/>
                  <a:gd name="connsiteY148" fmla="*/ 24775 h 104126"/>
                  <a:gd name="connsiteX149" fmla="*/ 17457 w 90725"/>
                  <a:gd name="connsiteY149" fmla="*/ 24158 h 104126"/>
                  <a:gd name="connsiteX150" fmla="*/ 16928 w 90725"/>
                  <a:gd name="connsiteY150" fmla="*/ 23629 h 104126"/>
                  <a:gd name="connsiteX151" fmla="*/ 17457 w 90725"/>
                  <a:gd name="connsiteY151" fmla="*/ 20984 h 104126"/>
                  <a:gd name="connsiteX152" fmla="*/ 18075 w 90725"/>
                  <a:gd name="connsiteY152" fmla="*/ 20720 h 104126"/>
                  <a:gd name="connsiteX153" fmla="*/ 18075 w 90725"/>
                  <a:gd name="connsiteY153" fmla="*/ 20984 h 104126"/>
                  <a:gd name="connsiteX154" fmla="*/ 18956 w 90725"/>
                  <a:gd name="connsiteY154" fmla="*/ 21601 h 104126"/>
                  <a:gd name="connsiteX155" fmla="*/ 20102 w 90725"/>
                  <a:gd name="connsiteY155" fmla="*/ 20984 h 104126"/>
                  <a:gd name="connsiteX156" fmla="*/ 18956 w 90725"/>
                  <a:gd name="connsiteY156" fmla="*/ 18692 h 104126"/>
                  <a:gd name="connsiteX157" fmla="*/ 18075 w 90725"/>
                  <a:gd name="connsiteY157" fmla="*/ 18692 h 104126"/>
                  <a:gd name="connsiteX158" fmla="*/ 18339 w 90725"/>
                  <a:gd name="connsiteY158" fmla="*/ 19838 h 104126"/>
                  <a:gd name="connsiteX159" fmla="*/ 17810 w 90725"/>
                  <a:gd name="connsiteY159" fmla="*/ 19485 h 104126"/>
                  <a:gd name="connsiteX160" fmla="*/ 17810 w 90725"/>
                  <a:gd name="connsiteY160" fmla="*/ 17193 h 104126"/>
                  <a:gd name="connsiteX161" fmla="*/ 16576 w 90725"/>
                  <a:gd name="connsiteY161" fmla="*/ 17193 h 104126"/>
                  <a:gd name="connsiteX162" fmla="*/ 16928 w 90725"/>
                  <a:gd name="connsiteY162" fmla="*/ 16311 h 104126"/>
                  <a:gd name="connsiteX163" fmla="*/ 18075 w 90725"/>
                  <a:gd name="connsiteY163" fmla="*/ 15694 h 104126"/>
                  <a:gd name="connsiteX164" fmla="*/ 18339 w 90725"/>
                  <a:gd name="connsiteY164" fmla="*/ 12785 h 104126"/>
                  <a:gd name="connsiteX165" fmla="*/ 20102 w 90725"/>
                  <a:gd name="connsiteY165" fmla="*/ 12256 h 104126"/>
                  <a:gd name="connsiteX166" fmla="*/ 20367 w 90725"/>
                  <a:gd name="connsiteY166" fmla="*/ 11109 h 104126"/>
                  <a:gd name="connsiteX167" fmla="*/ 21601 w 90725"/>
                  <a:gd name="connsiteY167" fmla="*/ 6436 h 104126"/>
                  <a:gd name="connsiteX168" fmla="*/ 22395 w 90725"/>
                  <a:gd name="connsiteY168" fmla="*/ 3174 h 104126"/>
                  <a:gd name="connsiteX169" fmla="*/ 23012 w 90725"/>
                  <a:gd name="connsiteY169" fmla="*/ 1146 h 104126"/>
                  <a:gd name="connsiteX170" fmla="*/ 25040 w 90725"/>
                  <a:gd name="connsiteY170" fmla="*/ 0 h 104126"/>
                  <a:gd name="connsiteX171" fmla="*/ 31741 w 90725"/>
                  <a:gd name="connsiteY171" fmla="*/ 882 h 104126"/>
                  <a:gd name="connsiteX172" fmla="*/ 33240 w 90725"/>
                  <a:gd name="connsiteY172" fmla="*/ 1146 h 104126"/>
                  <a:gd name="connsiteX173" fmla="*/ 35884 w 90725"/>
                  <a:gd name="connsiteY173" fmla="*/ 1146 h 104126"/>
                  <a:gd name="connsiteX174" fmla="*/ 44613 w 90725"/>
                  <a:gd name="connsiteY174" fmla="*/ 4937 h 104126"/>
                  <a:gd name="connsiteX175" fmla="*/ 45759 w 90725"/>
                  <a:gd name="connsiteY175" fmla="*/ 4937 h 104126"/>
                  <a:gd name="connsiteX176" fmla="*/ 48669 w 90725"/>
                  <a:gd name="connsiteY176" fmla="*/ 6436 h 104126"/>
                  <a:gd name="connsiteX177" fmla="*/ 48669 w 90725"/>
                  <a:gd name="connsiteY177" fmla="*/ 8729 h 104126"/>
                  <a:gd name="connsiteX178" fmla="*/ 48933 w 90725"/>
                  <a:gd name="connsiteY178" fmla="*/ 7230 h 104126"/>
                  <a:gd name="connsiteX179" fmla="*/ 48669 w 90725"/>
                  <a:gd name="connsiteY179" fmla="*/ 5202 h 104126"/>
                  <a:gd name="connsiteX180" fmla="*/ 48669 w 90725"/>
                  <a:gd name="connsiteY180" fmla="*/ 4056 h 104126"/>
                  <a:gd name="connsiteX181" fmla="*/ 47787 w 90725"/>
                  <a:gd name="connsiteY181" fmla="*/ 3174 h 104126"/>
                  <a:gd name="connsiteX182" fmla="*/ 49551 w 90725"/>
                  <a:gd name="connsiteY182" fmla="*/ 1146 h 104126"/>
                  <a:gd name="connsiteX183" fmla="*/ 53959 w 90725"/>
                  <a:gd name="connsiteY183" fmla="*/ 529 h 104126"/>
                  <a:gd name="connsiteX184" fmla="*/ 60043 w 90725"/>
                  <a:gd name="connsiteY184" fmla="*/ 882 h 104126"/>
                  <a:gd name="connsiteX185" fmla="*/ 62423 w 90725"/>
                  <a:gd name="connsiteY185" fmla="*/ 2028 h 104126"/>
                  <a:gd name="connsiteX186" fmla="*/ 63569 w 90725"/>
                  <a:gd name="connsiteY186" fmla="*/ 2910 h 104126"/>
                  <a:gd name="connsiteX187" fmla="*/ 64187 w 90725"/>
                  <a:gd name="connsiteY187" fmla="*/ 2910 h 104126"/>
                  <a:gd name="connsiteX188" fmla="*/ 65597 w 90725"/>
                  <a:gd name="connsiteY188" fmla="*/ 3174 h 104126"/>
                  <a:gd name="connsiteX189" fmla="*/ 65862 w 90725"/>
                  <a:gd name="connsiteY189" fmla="*/ 3439 h 104126"/>
                  <a:gd name="connsiteX190" fmla="*/ 65333 w 90725"/>
                  <a:gd name="connsiteY190" fmla="*/ 4937 h 104126"/>
                  <a:gd name="connsiteX191" fmla="*/ 65597 w 90725"/>
                  <a:gd name="connsiteY191" fmla="*/ 4937 h 104126"/>
                  <a:gd name="connsiteX192" fmla="*/ 65862 w 90725"/>
                  <a:gd name="connsiteY192" fmla="*/ 4056 h 104126"/>
                  <a:gd name="connsiteX193" fmla="*/ 66479 w 90725"/>
                  <a:gd name="connsiteY193" fmla="*/ 3174 h 104126"/>
                  <a:gd name="connsiteX194" fmla="*/ 67978 w 90725"/>
                  <a:gd name="connsiteY194" fmla="*/ 4056 h 104126"/>
                  <a:gd name="connsiteX195" fmla="*/ 68771 w 90725"/>
                  <a:gd name="connsiteY195" fmla="*/ 3439 h 104126"/>
                  <a:gd name="connsiteX196" fmla="*/ 70006 w 90725"/>
                  <a:gd name="connsiteY196" fmla="*/ 4056 h 104126"/>
                  <a:gd name="connsiteX197" fmla="*/ 70270 w 90725"/>
                  <a:gd name="connsiteY197" fmla="*/ 3439 h 104126"/>
                  <a:gd name="connsiteX198" fmla="*/ 71152 w 90725"/>
                  <a:gd name="connsiteY198" fmla="*/ 4056 h 104126"/>
                  <a:gd name="connsiteX199" fmla="*/ 70270 w 90725"/>
                  <a:gd name="connsiteY199" fmla="*/ 3174 h 104126"/>
                  <a:gd name="connsiteX200" fmla="*/ 70006 w 90725"/>
                  <a:gd name="connsiteY200" fmla="*/ 3439 h 104126"/>
                  <a:gd name="connsiteX201" fmla="*/ 68507 w 90725"/>
                  <a:gd name="connsiteY201" fmla="*/ 3439 h 104126"/>
                  <a:gd name="connsiteX202" fmla="*/ 67361 w 90725"/>
                  <a:gd name="connsiteY202" fmla="*/ 2910 h 104126"/>
                  <a:gd name="connsiteX203" fmla="*/ 65862 w 90725"/>
                  <a:gd name="connsiteY203" fmla="*/ 2910 h 104126"/>
                  <a:gd name="connsiteX204" fmla="*/ 65333 w 90725"/>
                  <a:gd name="connsiteY204" fmla="*/ 1411 h 104126"/>
                  <a:gd name="connsiteX205" fmla="*/ 64716 w 90725"/>
                  <a:gd name="connsiteY205" fmla="*/ 1146 h 104126"/>
                  <a:gd name="connsiteX206" fmla="*/ 64980 w 90725"/>
                  <a:gd name="connsiteY206" fmla="*/ 882 h 104126"/>
                  <a:gd name="connsiteX207" fmla="*/ 67625 w 90725"/>
                  <a:gd name="connsiteY207" fmla="*/ 0 h 104126"/>
                  <a:gd name="connsiteX208" fmla="*/ 68507 w 90725"/>
                  <a:gd name="connsiteY208" fmla="*/ 529 h 104126"/>
                  <a:gd name="connsiteX209" fmla="*/ 73444 w 90725"/>
                  <a:gd name="connsiteY209" fmla="*/ 529 h 104126"/>
                  <a:gd name="connsiteX210" fmla="*/ 78470 w 90725"/>
                  <a:gd name="connsiteY210" fmla="*/ 2028 h 104126"/>
                  <a:gd name="connsiteX211" fmla="*/ 82526 w 90725"/>
                  <a:gd name="connsiteY211" fmla="*/ 2910 h 104126"/>
                  <a:gd name="connsiteX212" fmla="*/ 84554 w 90725"/>
                  <a:gd name="connsiteY212" fmla="*/ 3174 h 104126"/>
                  <a:gd name="connsiteX213" fmla="*/ 86052 w 90725"/>
                  <a:gd name="connsiteY213" fmla="*/ 3174 h 104126"/>
                  <a:gd name="connsiteX214" fmla="*/ 88345 w 90725"/>
                  <a:gd name="connsiteY214" fmla="*/ 4673 h 104126"/>
                  <a:gd name="connsiteX215" fmla="*/ 89843 w 90725"/>
                  <a:gd name="connsiteY215" fmla="*/ 4937 h 104126"/>
                  <a:gd name="connsiteX216" fmla="*/ 89491 w 90725"/>
                  <a:gd name="connsiteY216" fmla="*/ 5555 h 104126"/>
                  <a:gd name="connsiteX217" fmla="*/ 90725 w 90725"/>
                  <a:gd name="connsiteY217" fmla="*/ 6701 h 104126"/>
                  <a:gd name="connsiteX218" fmla="*/ 88962 w 90725"/>
                  <a:gd name="connsiteY218" fmla="*/ 8993 h 104126"/>
                  <a:gd name="connsiteX219" fmla="*/ 88962 w 90725"/>
                  <a:gd name="connsiteY219" fmla="*/ 12256 h 104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90725" h="104126">
                    <a:moveTo>
                      <a:pt x="86317" y="16311"/>
                    </a:moveTo>
                    <a:lnTo>
                      <a:pt x="85700" y="18075"/>
                    </a:lnTo>
                    <a:lnTo>
                      <a:pt x="83672" y="18956"/>
                    </a:lnTo>
                    <a:lnTo>
                      <a:pt x="82261" y="21249"/>
                    </a:lnTo>
                    <a:lnTo>
                      <a:pt x="81379" y="21601"/>
                    </a:lnTo>
                    <a:lnTo>
                      <a:pt x="79881" y="24775"/>
                    </a:lnTo>
                    <a:lnTo>
                      <a:pt x="79616" y="26186"/>
                    </a:lnTo>
                    <a:lnTo>
                      <a:pt x="78999" y="27685"/>
                    </a:lnTo>
                    <a:lnTo>
                      <a:pt x="79352" y="28831"/>
                    </a:lnTo>
                    <a:lnTo>
                      <a:pt x="78734" y="31212"/>
                    </a:lnTo>
                    <a:lnTo>
                      <a:pt x="79352" y="31476"/>
                    </a:lnTo>
                    <a:lnTo>
                      <a:pt x="80233" y="32975"/>
                    </a:lnTo>
                    <a:lnTo>
                      <a:pt x="80233" y="33504"/>
                    </a:lnTo>
                    <a:lnTo>
                      <a:pt x="80233" y="35532"/>
                    </a:lnTo>
                    <a:lnTo>
                      <a:pt x="79352" y="37295"/>
                    </a:lnTo>
                    <a:lnTo>
                      <a:pt x="79881" y="40822"/>
                    </a:lnTo>
                    <a:lnTo>
                      <a:pt x="80762" y="42233"/>
                    </a:lnTo>
                    <a:lnTo>
                      <a:pt x="80498" y="43731"/>
                    </a:lnTo>
                    <a:lnTo>
                      <a:pt x="80498" y="45495"/>
                    </a:lnTo>
                    <a:lnTo>
                      <a:pt x="82261" y="46377"/>
                    </a:lnTo>
                    <a:lnTo>
                      <a:pt x="81027" y="49551"/>
                    </a:lnTo>
                    <a:lnTo>
                      <a:pt x="82261" y="50168"/>
                    </a:lnTo>
                    <a:lnTo>
                      <a:pt x="82790" y="51931"/>
                    </a:lnTo>
                    <a:lnTo>
                      <a:pt x="84818" y="53607"/>
                    </a:lnTo>
                    <a:lnTo>
                      <a:pt x="84818" y="54841"/>
                    </a:lnTo>
                    <a:lnTo>
                      <a:pt x="86846" y="55370"/>
                    </a:lnTo>
                    <a:lnTo>
                      <a:pt x="87816" y="59161"/>
                    </a:lnTo>
                    <a:lnTo>
                      <a:pt x="88345" y="59161"/>
                    </a:lnTo>
                    <a:lnTo>
                      <a:pt x="88609" y="59514"/>
                    </a:lnTo>
                    <a:lnTo>
                      <a:pt x="89491" y="59778"/>
                    </a:lnTo>
                    <a:lnTo>
                      <a:pt x="88345" y="61542"/>
                    </a:lnTo>
                    <a:lnTo>
                      <a:pt x="88609" y="63569"/>
                    </a:lnTo>
                    <a:lnTo>
                      <a:pt x="87199" y="66215"/>
                    </a:lnTo>
                    <a:lnTo>
                      <a:pt x="87199" y="67361"/>
                    </a:lnTo>
                    <a:lnTo>
                      <a:pt x="86581" y="67978"/>
                    </a:lnTo>
                    <a:lnTo>
                      <a:pt x="84818" y="70270"/>
                    </a:lnTo>
                    <a:lnTo>
                      <a:pt x="84554" y="71152"/>
                    </a:lnTo>
                    <a:lnTo>
                      <a:pt x="84025" y="72298"/>
                    </a:lnTo>
                    <a:lnTo>
                      <a:pt x="84818" y="72034"/>
                    </a:lnTo>
                    <a:lnTo>
                      <a:pt x="85171" y="72298"/>
                    </a:lnTo>
                    <a:lnTo>
                      <a:pt x="85171" y="72915"/>
                    </a:lnTo>
                    <a:lnTo>
                      <a:pt x="84818" y="73444"/>
                    </a:lnTo>
                    <a:lnTo>
                      <a:pt x="84818" y="74326"/>
                    </a:lnTo>
                    <a:lnTo>
                      <a:pt x="84554" y="75825"/>
                    </a:lnTo>
                    <a:lnTo>
                      <a:pt x="84818" y="76089"/>
                    </a:lnTo>
                    <a:lnTo>
                      <a:pt x="84289" y="78117"/>
                    </a:lnTo>
                    <a:lnTo>
                      <a:pt x="84818" y="78734"/>
                    </a:lnTo>
                    <a:lnTo>
                      <a:pt x="84289" y="79616"/>
                    </a:lnTo>
                    <a:lnTo>
                      <a:pt x="84289" y="80498"/>
                    </a:lnTo>
                    <a:lnTo>
                      <a:pt x="81644" y="84024"/>
                    </a:lnTo>
                    <a:lnTo>
                      <a:pt x="80233" y="87728"/>
                    </a:lnTo>
                    <a:lnTo>
                      <a:pt x="78999" y="89226"/>
                    </a:lnTo>
                    <a:lnTo>
                      <a:pt x="77588" y="89226"/>
                    </a:lnTo>
                    <a:lnTo>
                      <a:pt x="77324" y="91607"/>
                    </a:lnTo>
                    <a:lnTo>
                      <a:pt x="76089" y="91254"/>
                    </a:lnTo>
                    <a:lnTo>
                      <a:pt x="74943" y="91607"/>
                    </a:lnTo>
                    <a:lnTo>
                      <a:pt x="74326" y="91872"/>
                    </a:lnTo>
                    <a:lnTo>
                      <a:pt x="73444" y="89844"/>
                    </a:lnTo>
                    <a:lnTo>
                      <a:pt x="72034" y="88080"/>
                    </a:lnTo>
                    <a:lnTo>
                      <a:pt x="69389" y="89226"/>
                    </a:lnTo>
                    <a:lnTo>
                      <a:pt x="68242" y="84818"/>
                    </a:lnTo>
                    <a:lnTo>
                      <a:pt x="63834" y="86581"/>
                    </a:lnTo>
                    <a:lnTo>
                      <a:pt x="61806" y="86934"/>
                    </a:lnTo>
                    <a:lnTo>
                      <a:pt x="58279" y="89226"/>
                    </a:lnTo>
                    <a:lnTo>
                      <a:pt x="45230" y="86581"/>
                    </a:lnTo>
                    <a:lnTo>
                      <a:pt x="42585" y="91254"/>
                    </a:lnTo>
                    <a:lnTo>
                      <a:pt x="43732" y="94428"/>
                    </a:lnTo>
                    <a:lnTo>
                      <a:pt x="46906" y="98572"/>
                    </a:lnTo>
                    <a:lnTo>
                      <a:pt x="43996" y="104127"/>
                    </a:lnTo>
                    <a:lnTo>
                      <a:pt x="35532" y="102099"/>
                    </a:lnTo>
                    <a:lnTo>
                      <a:pt x="33857" y="101217"/>
                    </a:lnTo>
                    <a:lnTo>
                      <a:pt x="33857" y="100865"/>
                    </a:lnTo>
                    <a:lnTo>
                      <a:pt x="31476" y="99454"/>
                    </a:lnTo>
                    <a:lnTo>
                      <a:pt x="29448" y="98837"/>
                    </a:lnTo>
                    <a:lnTo>
                      <a:pt x="26539" y="95046"/>
                    </a:lnTo>
                    <a:lnTo>
                      <a:pt x="26274" y="93282"/>
                    </a:lnTo>
                    <a:lnTo>
                      <a:pt x="24775" y="92401"/>
                    </a:lnTo>
                    <a:lnTo>
                      <a:pt x="24775" y="91254"/>
                    </a:lnTo>
                    <a:lnTo>
                      <a:pt x="23894" y="89844"/>
                    </a:lnTo>
                    <a:lnTo>
                      <a:pt x="23894" y="89226"/>
                    </a:lnTo>
                    <a:lnTo>
                      <a:pt x="23276" y="88080"/>
                    </a:lnTo>
                    <a:lnTo>
                      <a:pt x="23276" y="86934"/>
                    </a:lnTo>
                    <a:lnTo>
                      <a:pt x="22747" y="87199"/>
                    </a:lnTo>
                    <a:lnTo>
                      <a:pt x="22395" y="86934"/>
                    </a:lnTo>
                    <a:lnTo>
                      <a:pt x="22395" y="86052"/>
                    </a:lnTo>
                    <a:lnTo>
                      <a:pt x="21866" y="84818"/>
                    </a:lnTo>
                    <a:lnTo>
                      <a:pt x="22130" y="84024"/>
                    </a:lnTo>
                    <a:lnTo>
                      <a:pt x="21249" y="84024"/>
                    </a:lnTo>
                    <a:lnTo>
                      <a:pt x="21249" y="83407"/>
                    </a:lnTo>
                    <a:lnTo>
                      <a:pt x="20367" y="81909"/>
                    </a:lnTo>
                    <a:lnTo>
                      <a:pt x="20720" y="80762"/>
                    </a:lnTo>
                    <a:lnTo>
                      <a:pt x="19838" y="80762"/>
                    </a:lnTo>
                    <a:lnTo>
                      <a:pt x="19838" y="79352"/>
                    </a:lnTo>
                    <a:lnTo>
                      <a:pt x="18604" y="79616"/>
                    </a:lnTo>
                    <a:lnTo>
                      <a:pt x="18339" y="78734"/>
                    </a:lnTo>
                    <a:lnTo>
                      <a:pt x="18075" y="77853"/>
                    </a:lnTo>
                    <a:lnTo>
                      <a:pt x="18604" y="76089"/>
                    </a:lnTo>
                    <a:lnTo>
                      <a:pt x="17810" y="75825"/>
                    </a:lnTo>
                    <a:lnTo>
                      <a:pt x="17810" y="74326"/>
                    </a:lnTo>
                    <a:lnTo>
                      <a:pt x="18604" y="74061"/>
                    </a:lnTo>
                    <a:lnTo>
                      <a:pt x="18075" y="72915"/>
                    </a:lnTo>
                    <a:lnTo>
                      <a:pt x="16928" y="72915"/>
                    </a:lnTo>
                    <a:lnTo>
                      <a:pt x="17810" y="72034"/>
                    </a:lnTo>
                    <a:lnTo>
                      <a:pt x="16928" y="72034"/>
                    </a:lnTo>
                    <a:lnTo>
                      <a:pt x="16576" y="72034"/>
                    </a:lnTo>
                    <a:lnTo>
                      <a:pt x="16928" y="70887"/>
                    </a:lnTo>
                    <a:lnTo>
                      <a:pt x="16576" y="70270"/>
                    </a:lnTo>
                    <a:lnTo>
                      <a:pt x="16576" y="68859"/>
                    </a:lnTo>
                    <a:lnTo>
                      <a:pt x="16311" y="67978"/>
                    </a:lnTo>
                    <a:lnTo>
                      <a:pt x="16576" y="67096"/>
                    </a:lnTo>
                    <a:lnTo>
                      <a:pt x="16311" y="65333"/>
                    </a:lnTo>
                    <a:lnTo>
                      <a:pt x="15165" y="66479"/>
                    </a:lnTo>
                    <a:lnTo>
                      <a:pt x="13666" y="65333"/>
                    </a:lnTo>
                    <a:lnTo>
                      <a:pt x="13402" y="66479"/>
                    </a:lnTo>
                    <a:lnTo>
                      <a:pt x="12520" y="66744"/>
                    </a:lnTo>
                    <a:lnTo>
                      <a:pt x="11638" y="66215"/>
                    </a:lnTo>
                    <a:lnTo>
                      <a:pt x="10757" y="66479"/>
                    </a:lnTo>
                    <a:lnTo>
                      <a:pt x="9610" y="66479"/>
                    </a:lnTo>
                    <a:lnTo>
                      <a:pt x="8729" y="66215"/>
                    </a:lnTo>
                    <a:lnTo>
                      <a:pt x="8111" y="65333"/>
                    </a:lnTo>
                    <a:lnTo>
                      <a:pt x="8993" y="63305"/>
                    </a:lnTo>
                    <a:lnTo>
                      <a:pt x="8729" y="62071"/>
                    </a:lnTo>
                    <a:lnTo>
                      <a:pt x="7230" y="60924"/>
                    </a:lnTo>
                    <a:lnTo>
                      <a:pt x="6701" y="59514"/>
                    </a:lnTo>
                    <a:lnTo>
                      <a:pt x="4673" y="58279"/>
                    </a:lnTo>
                    <a:lnTo>
                      <a:pt x="4056" y="55987"/>
                    </a:lnTo>
                    <a:lnTo>
                      <a:pt x="3791" y="54841"/>
                    </a:lnTo>
                    <a:lnTo>
                      <a:pt x="2292" y="52460"/>
                    </a:lnTo>
                    <a:lnTo>
                      <a:pt x="882" y="51314"/>
                    </a:lnTo>
                    <a:lnTo>
                      <a:pt x="264" y="50168"/>
                    </a:lnTo>
                    <a:lnTo>
                      <a:pt x="0" y="45759"/>
                    </a:lnTo>
                    <a:lnTo>
                      <a:pt x="882" y="44613"/>
                    </a:lnTo>
                    <a:lnTo>
                      <a:pt x="2557" y="42850"/>
                    </a:lnTo>
                    <a:lnTo>
                      <a:pt x="2557" y="40205"/>
                    </a:lnTo>
                    <a:lnTo>
                      <a:pt x="3174" y="38794"/>
                    </a:lnTo>
                    <a:lnTo>
                      <a:pt x="5202" y="33504"/>
                    </a:lnTo>
                    <a:lnTo>
                      <a:pt x="4320" y="30859"/>
                    </a:lnTo>
                    <a:lnTo>
                      <a:pt x="3439" y="30594"/>
                    </a:lnTo>
                    <a:lnTo>
                      <a:pt x="3439" y="29448"/>
                    </a:lnTo>
                    <a:lnTo>
                      <a:pt x="5555" y="26803"/>
                    </a:lnTo>
                    <a:lnTo>
                      <a:pt x="6701" y="26803"/>
                    </a:lnTo>
                    <a:lnTo>
                      <a:pt x="6965" y="25922"/>
                    </a:lnTo>
                    <a:lnTo>
                      <a:pt x="8993" y="24775"/>
                    </a:lnTo>
                    <a:lnTo>
                      <a:pt x="10492" y="25040"/>
                    </a:lnTo>
                    <a:lnTo>
                      <a:pt x="12520" y="24775"/>
                    </a:lnTo>
                    <a:lnTo>
                      <a:pt x="13137" y="25393"/>
                    </a:lnTo>
                    <a:lnTo>
                      <a:pt x="14548" y="25393"/>
                    </a:lnTo>
                    <a:lnTo>
                      <a:pt x="16576" y="24158"/>
                    </a:lnTo>
                    <a:lnTo>
                      <a:pt x="17457" y="24775"/>
                    </a:lnTo>
                    <a:lnTo>
                      <a:pt x="17457" y="24158"/>
                    </a:lnTo>
                    <a:lnTo>
                      <a:pt x="16928" y="23629"/>
                    </a:lnTo>
                    <a:lnTo>
                      <a:pt x="17457" y="20984"/>
                    </a:lnTo>
                    <a:lnTo>
                      <a:pt x="18075" y="20720"/>
                    </a:lnTo>
                    <a:lnTo>
                      <a:pt x="18075" y="20984"/>
                    </a:lnTo>
                    <a:lnTo>
                      <a:pt x="18956" y="21601"/>
                    </a:lnTo>
                    <a:lnTo>
                      <a:pt x="20102" y="20984"/>
                    </a:lnTo>
                    <a:lnTo>
                      <a:pt x="18956" y="18692"/>
                    </a:lnTo>
                    <a:lnTo>
                      <a:pt x="18075" y="18692"/>
                    </a:lnTo>
                    <a:lnTo>
                      <a:pt x="18339" y="19838"/>
                    </a:lnTo>
                    <a:lnTo>
                      <a:pt x="17810" y="19485"/>
                    </a:lnTo>
                    <a:lnTo>
                      <a:pt x="17810" y="17193"/>
                    </a:lnTo>
                    <a:lnTo>
                      <a:pt x="16576" y="17193"/>
                    </a:lnTo>
                    <a:lnTo>
                      <a:pt x="16928" y="16311"/>
                    </a:lnTo>
                    <a:lnTo>
                      <a:pt x="18075" y="15694"/>
                    </a:lnTo>
                    <a:lnTo>
                      <a:pt x="18339" y="12785"/>
                    </a:lnTo>
                    <a:lnTo>
                      <a:pt x="20102" y="12256"/>
                    </a:lnTo>
                    <a:lnTo>
                      <a:pt x="20367" y="11109"/>
                    </a:lnTo>
                    <a:lnTo>
                      <a:pt x="21601" y="6436"/>
                    </a:lnTo>
                    <a:lnTo>
                      <a:pt x="22395" y="3174"/>
                    </a:lnTo>
                    <a:lnTo>
                      <a:pt x="23012" y="1146"/>
                    </a:lnTo>
                    <a:lnTo>
                      <a:pt x="25040" y="0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5884" y="1146"/>
                    </a:lnTo>
                    <a:lnTo>
                      <a:pt x="44613" y="4937"/>
                    </a:lnTo>
                    <a:lnTo>
                      <a:pt x="45759" y="4937"/>
                    </a:lnTo>
                    <a:lnTo>
                      <a:pt x="48669" y="6436"/>
                    </a:lnTo>
                    <a:lnTo>
                      <a:pt x="48669" y="8729"/>
                    </a:lnTo>
                    <a:lnTo>
                      <a:pt x="48933" y="7230"/>
                    </a:lnTo>
                    <a:lnTo>
                      <a:pt x="48669" y="5202"/>
                    </a:lnTo>
                    <a:lnTo>
                      <a:pt x="48669" y="4056"/>
                    </a:lnTo>
                    <a:lnTo>
                      <a:pt x="47787" y="3174"/>
                    </a:lnTo>
                    <a:lnTo>
                      <a:pt x="49551" y="1146"/>
                    </a:lnTo>
                    <a:lnTo>
                      <a:pt x="53959" y="529"/>
                    </a:lnTo>
                    <a:lnTo>
                      <a:pt x="60043" y="882"/>
                    </a:lnTo>
                    <a:lnTo>
                      <a:pt x="62423" y="2028"/>
                    </a:lnTo>
                    <a:lnTo>
                      <a:pt x="63569" y="2910"/>
                    </a:lnTo>
                    <a:lnTo>
                      <a:pt x="64187" y="2910"/>
                    </a:lnTo>
                    <a:lnTo>
                      <a:pt x="65597" y="3174"/>
                    </a:lnTo>
                    <a:lnTo>
                      <a:pt x="65862" y="3439"/>
                    </a:lnTo>
                    <a:lnTo>
                      <a:pt x="65333" y="4937"/>
                    </a:lnTo>
                    <a:lnTo>
                      <a:pt x="65597" y="4937"/>
                    </a:lnTo>
                    <a:lnTo>
                      <a:pt x="65862" y="4056"/>
                    </a:lnTo>
                    <a:lnTo>
                      <a:pt x="66479" y="3174"/>
                    </a:lnTo>
                    <a:lnTo>
                      <a:pt x="67978" y="4056"/>
                    </a:lnTo>
                    <a:lnTo>
                      <a:pt x="68771" y="3439"/>
                    </a:lnTo>
                    <a:lnTo>
                      <a:pt x="70006" y="4056"/>
                    </a:lnTo>
                    <a:lnTo>
                      <a:pt x="70270" y="3439"/>
                    </a:lnTo>
                    <a:lnTo>
                      <a:pt x="71152" y="4056"/>
                    </a:lnTo>
                    <a:lnTo>
                      <a:pt x="70270" y="3174"/>
                    </a:lnTo>
                    <a:lnTo>
                      <a:pt x="70006" y="3439"/>
                    </a:lnTo>
                    <a:lnTo>
                      <a:pt x="68507" y="3439"/>
                    </a:lnTo>
                    <a:lnTo>
                      <a:pt x="67361" y="2910"/>
                    </a:lnTo>
                    <a:lnTo>
                      <a:pt x="65862" y="2910"/>
                    </a:lnTo>
                    <a:lnTo>
                      <a:pt x="65333" y="1411"/>
                    </a:lnTo>
                    <a:lnTo>
                      <a:pt x="64716" y="1146"/>
                    </a:lnTo>
                    <a:lnTo>
                      <a:pt x="64980" y="882"/>
                    </a:lnTo>
                    <a:lnTo>
                      <a:pt x="67625" y="0"/>
                    </a:lnTo>
                    <a:lnTo>
                      <a:pt x="68507" y="529"/>
                    </a:lnTo>
                    <a:lnTo>
                      <a:pt x="73444" y="529"/>
                    </a:lnTo>
                    <a:lnTo>
                      <a:pt x="78470" y="2028"/>
                    </a:lnTo>
                    <a:lnTo>
                      <a:pt x="82526" y="2910"/>
                    </a:lnTo>
                    <a:lnTo>
                      <a:pt x="84554" y="3174"/>
                    </a:lnTo>
                    <a:lnTo>
                      <a:pt x="86052" y="3174"/>
                    </a:lnTo>
                    <a:lnTo>
                      <a:pt x="88345" y="4673"/>
                    </a:lnTo>
                    <a:lnTo>
                      <a:pt x="89843" y="4937"/>
                    </a:lnTo>
                    <a:lnTo>
                      <a:pt x="89491" y="5555"/>
                    </a:lnTo>
                    <a:lnTo>
                      <a:pt x="90725" y="6701"/>
                    </a:lnTo>
                    <a:lnTo>
                      <a:pt x="88962" y="8993"/>
                    </a:lnTo>
                    <a:lnTo>
                      <a:pt x="88962" y="122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8" name="Freihandform: Form 1767">
                <a:extLst>
                  <a:ext uri="{FF2B5EF4-FFF2-40B4-BE49-F238E27FC236}">
                    <a16:creationId xmlns:a16="http://schemas.microsoft.com/office/drawing/2014/main" id="{A4B6DEA4-0F81-232E-B222-C6DF94BCA2AE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9" name="Freihandform: Form 1768">
                <a:extLst>
                  <a:ext uri="{FF2B5EF4-FFF2-40B4-BE49-F238E27FC236}">
                    <a16:creationId xmlns:a16="http://schemas.microsoft.com/office/drawing/2014/main" id="{F3C479C4-683C-113E-4E1B-A079291A7A39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0" name="Freihandform: Form 1769">
                <a:extLst>
                  <a:ext uri="{FF2B5EF4-FFF2-40B4-BE49-F238E27FC236}">
                    <a16:creationId xmlns:a16="http://schemas.microsoft.com/office/drawing/2014/main" id="{DAF2ABBE-242A-F161-92C8-385A3BD144B7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1" name="Freihandform: Form 1770">
                <a:extLst>
                  <a:ext uri="{FF2B5EF4-FFF2-40B4-BE49-F238E27FC236}">
                    <a16:creationId xmlns:a16="http://schemas.microsoft.com/office/drawing/2014/main" id="{338D41D6-88BB-AF7F-E831-46C97E76F894}"/>
                  </a:ext>
                </a:extLst>
              </p:cNvPr>
              <p:cNvSpPr/>
              <p:nvPr/>
            </p:nvSpPr>
            <p:spPr>
              <a:xfrm>
                <a:off x="2247488" y="3911016"/>
                <a:ext cx="129695" cy="60130"/>
              </a:xfrm>
              <a:custGeom>
                <a:avLst/>
                <a:gdLst>
                  <a:gd name="connsiteX0" fmla="*/ 72034 w 129695"/>
                  <a:gd name="connsiteY0" fmla="*/ 5025 h 60130"/>
                  <a:gd name="connsiteX1" fmla="*/ 71416 w 129695"/>
                  <a:gd name="connsiteY1" fmla="*/ 5025 h 60130"/>
                  <a:gd name="connsiteX2" fmla="*/ 71416 w 129695"/>
                  <a:gd name="connsiteY2" fmla="*/ 5290 h 60130"/>
                  <a:gd name="connsiteX3" fmla="*/ 72034 w 129695"/>
                  <a:gd name="connsiteY3" fmla="*/ 5025 h 60130"/>
                  <a:gd name="connsiteX4" fmla="*/ 72034 w 129695"/>
                  <a:gd name="connsiteY4" fmla="*/ 7406 h 60130"/>
                  <a:gd name="connsiteX5" fmla="*/ 71152 w 129695"/>
                  <a:gd name="connsiteY5" fmla="*/ 7759 h 60130"/>
                  <a:gd name="connsiteX6" fmla="*/ 70535 w 129695"/>
                  <a:gd name="connsiteY6" fmla="*/ 7142 h 60130"/>
                  <a:gd name="connsiteX7" fmla="*/ 70535 w 129695"/>
                  <a:gd name="connsiteY7" fmla="*/ 6524 h 60130"/>
                  <a:gd name="connsiteX8" fmla="*/ 73180 w 129695"/>
                  <a:gd name="connsiteY8" fmla="*/ 4761 h 60130"/>
                  <a:gd name="connsiteX9" fmla="*/ 75560 w 129695"/>
                  <a:gd name="connsiteY9" fmla="*/ 3262 h 60130"/>
                  <a:gd name="connsiteX10" fmla="*/ 76706 w 129695"/>
                  <a:gd name="connsiteY10" fmla="*/ 881 h 60130"/>
                  <a:gd name="connsiteX11" fmla="*/ 77324 w 129695"/>
                  <a:gd name="connsiteY11" fmla="*/ 0 h 60130"/>
                  <a:gd name="connsiteX12" fmla="*/ 79352 w 129695"/>
                  <a:gd name="connsiteY12" fmla="*/ 0 h 60130"/>
                  <a:gd name="connsiteX13" fmla="*/ 79352 w 129695"/>
                  <a:gd name="connsiteY13" fmla="*/ 1146 h 60130"/>
                  <a:gd name="connsiteX14" fmla="*/ 80850 w 129695"/>
                  <a:gd name="connsiteY14" fmla="*/ 881 h 60130"/>
                  <a:gd name="connsiteX15" fmla="*/ 86141 w 129695"/>
                  <a:gd name="connsiteY15" fmla="*/ 2028 h 60130"/>
                  <a:gd name="connsiteX16" fmla="*/ 89315 w 129695"/>
                  <a:gd name="connsiteY16" fmla="*/ 1146 h 60130"/>
                  <a:gd name="connsiteX17" fmla="*/ 91342 w 129695"/>
                  <a:gd name="connsiteY17" fmla="*/ 1763 h 60130"/>
                  <a:gd name="connsiteX18" fmla="*/ 91078 w 129695"/>
                  <a:gd name="connsiteY18" fmla="*/ 2645 h 60130"/>
                  <a:gd name="connsiteX19" fmla="*/ 89050 w 129695"/>
                  <a:gd name="connsiteY19" fmla="*/ 2909 h 60130"/>
                  <a:gd name="connsiteX20" fmla="*/ 89050 w 129695"/>
                  <a:gd name="connsiteY20" fmla="*/ 3791 h 60130"/>
                  <a:gd name="connsiteX21" fmla="*/ 89667 w 129695"/>
                  <a:gd name="connsiteY21" fmla="*/ 4673 h 60130"/>
                  <a:gd name="connsiteX22" fmla="*/ 91695 w 129695"/>
                  <a:gd name="connsiteY22" fmla="*/ 4056 h 60130"/>
                  <a:gd name="connsiteX23" fmla="*/ 93459 w 129695"/>
                  <a:gd name="connsiteY23" fmla="*/ 5202 h 60130"/>
                  <a:gd name="connsiteX24" fmla="*/ 94340 w 129695"/>
                  <a:gd name="connsiteY24" fmla="*/ 4585 h 60130"/>
                  <a:gd name="connsiteX25" fmla="*/ 99278 w 129695"/>
                  <a:gd name="connsiteY25" fmla="*/ 5202 h 60130"/>
                  <a:gd name="connsiteX26" fmla="*/ 100159 w 129695"/>
                  <a:gd name="connsiteY26" fmla="*/ 4585 h 60130"/>
                  <a:gd name="connsiteX27" fmla="*/ 105978 w 129695"/>
                  <a:gd name="connsiteY27" fmla="*/ 6084 h 60130"/>
                  <a:gd name="connsiteX28" fmla="*/ 108006 w 129695"/>
                  <a:gd name="connsiteY28" fmla="*/ 8376 h 60130"/>
                  <a:gd name="connsiteX29" fmla="*/ 111533 w 129695"/>
                  <a:gd name="connsiteY29" fmla="*/ 9258 h 60130"/>
                  <a:gd name="connsiteX30" fmla="*/ 115060 w 129695"/>
                  <a:gd name="connsiteY30" fmla="*/ 14195 h 60130"/>
                  <a:gd name="connsiteX31" fmla="*/ 115060 w 129695"/>
                  <a:gd name="connsiteY31" fmla="*/ 12432 h 60130"/>
                  <a:gd name="connsiteX32" fmla="*/ 116206 w 129695"/>
                  <a:gd name="connsiteY32" fmla="*/ 14195 h 60130"/>
                  <a:gd name="connsiteX33" fmla="*/ 117705 w 129695"/>
                  <a:gd name="connsiteY33" fmla="*/ 16575 h 60130"/>
                  <a:gd name="connsiteX34" fmla="*/ 117088 w 129695"/>
                  <a:gd name="connsiteY34" fmla="*/ 17105 h 60130"/>
                  <a:gd name="connsiteX35" fmla="*/ 120262 w 129695"/>
                  <a:gd name="connsiteY35" fmla="*/ 20014 h 60130"/>
                  <a:gd name="connsiteX36" fmla="*/ 120262 w 129695"/>
                  <a:gd name="connsiteY36" fmla="*/ 19397 h 60130"/>
                  <a:gd name="connsiteX37" fmla="*/ 121143 w 129695"/>
                  <a:gd name="connsiteY37" fmla="*/ 20896 h 60130"/>
                  <a:gd name="connsiteX38" fmla="*/ 122025 w 129695"/>
                  <a:gd name="connsiteY38" fmla="*/ 20896 h 60130"/>
                  <a:gd name="connsiteX39" fmla="*/ 121761 w 129695"/>
                  <a:gd name="connsiteY39" fmla="*/ 22659 h 60130"/>
                  <a:gd name="connsiteX40" fmla="*/ 124053 w 129695"/>
                  <a:gd name="connsiteY40" fmla="*/ 23805 h 60130"/>
                  <a:gd name="connsiteX41" fmla="*/ 125199 w 129695"/>
                  <a:gd name="connsiteY41" fmla="*/ 23541 h 60130"/>
                  <a:gd name="connsiteX42" fmla="*/ 124053 w 129695"/>
                  <a:gd name="connsiteY42" fmla="*/ 24423 h 60130"/>
                  <a:gd name="connsiteX43" fmla="*/ 124053 w 129695"/>
                  <a:gd name="connsiteY43" fmla="*/ 25304 h 60130"/>
                  <a:gd name="connsiteX44" fmla="*/ 122907 w 129695"/>
                  <a:gd name="connsiteY44" fmla="*/ 26451 h 60130"/>
                  <a:gd name="connsiteX45" fmla="*/ 122642 w 129695"/>
                  <a:gd name="connsiteY45" fmla="*/ 27332 h 60130"/>
                  <a:gd name="connsiteX46" fmla="*/ 122907 w 129695"/>
                  <a:gd name="connsiteY46" fmla="*/ 28214 h 60130"/>
                  <a:gd name="connsiteX47" fmla="*/ 123788 w 129695"/>
                  <a:gd name="connsiteY47" fmla="*/ 28214 h 60130"/>
                  <a:gd name="connsiteX48" fmla="*/ 124935 w 129695"/>
                  <a:gd name="connsiteY48" fmla="*/ 29977 h 60130"/>
                  <a:gd name="connsiteX49" fmla="*/ 124670 w 129695"/>
                  <a:gd name="connsiteY49" fmla="*/ 32887 h 60130"/>
                  <a:gd name="connsiteX50" fmla="*/ 126433 w 129695"/>
                  <a:gd name="connsiteY50" fmla="*/ 33151 h 60130"/>
                  <a:gd name="connsiteX51" fmla="*/ 126169 w 129695"/>
                  <a:gd name="connsiteY51" fmla="*/ 34650 h 60130"/>
                  <a:gd name="connsiteX52" fmla="*/ 127051 w 129695"/>
                  <a:gd name="connsiteY52" fmla="*/ 34915 h 60130"/>
                  <a:gd name="connsiteX53" fmla="*/ 127932 w 129695"/>
                  <a:gd name="connsiteY53" fmla="*/ 37824 h 60130"/>
                  <a:gd name="connsiteX54" fmla="*/ 129696 w 129695"/>
                  <a:gd name="connsiteY54" fmla="*/ 40998 h 60130"/>
                  <a:gd name="connsiteX55" fmla="*/ 125904 w 129695"/>
                  <a:gd name="connsiteY55" fmla="*/ 42144 h 60130"/>
                  <a:gd name="connsiteX56" fmla="*/ 125023 w 129695"/>
                  <a:gd name="connsiteY56" fmla="*/ 43290 h 60130"/>
                  <a:gd name="connsiteX57" fmla="*/ 124141 w 129695"/>
                  <a:gd name="connsiteY57" fmla="*/ 45318 h 60130"/>
                  <a:gd name="connsiteX58" fmla="*/ 125023 w 129695"/>
                  <a:gd name="connsiteY58" fmla="*/ 47611 h 60130"/>
                  <a:gd name="connsiteX59" fmla="*/ 121496 w 129695"/>
                  <a:gd name="connsiteY59" fmla="*/ 49639 h 60130"/>
                  <a:gd name="connsiteX60" fmla="*/ 119733 w 129695"/>
                  <a:gd name="connsiteY60" fmla="*/ 51138 h 60130"/>
                  <a:gd name="connsiteX61" fmla="*/ 118851 w 129695"/>
                  <a:gd name="connsiteY61" fmla="*/ 51138 h 60130"/>
                  <a:gd name="connsiteX62" fmla="*/ 118851 w 129695"/>
                  <a:gd name="connsiteY62" fmla="*/ 49991 h 60130"/>
                  <a:gd name="connsiteX63" fmla="*/ 117352 w 129695"/>
                  <a:gd name="connsiteY63" fmla="*/ 48493 h 60130"/>
                  <a:gd name="connsiteX64" fmla="*/ 115589 w 129695"/>
                  <a:gd name="connsiteY64" fmla="*/ 47346 h 60130"/>
                  <a:gd name="connsiteX65" fmla="*/ 115324 w 129695"/>
                  <a:gd name="connsiteY65" fmla="*/ 49110 h 60130"/>
                  <a:gd name="connsiteX66" fmla="*/ 116206 w 129695"/>
                  <a:gd name="connsiteY66" fmla="*/ 52019 h 60130"/>
                  <a:gd name="connsiteX67" fmla="*/ 115324 w 129695"/>
                  <a:gd name="connsiteY67" fmla="*/ 52901 h 60130"/>
                  <a:gd name="connsiteX68" fmla="*/ 114178 w 129695"/>
                  <a:gd name="connsiteY68" fmla="*/ 52901 h 60130"/>
                  <a:gd name="connsiteX69" fmla="*/ 112679 w 129695"/>
                  <a:gd name="connsiteY69" fmla="*/ 59073 h 60130"/>
                  <a:gd name="connsiteX70" fmla="*/ 111798 w 129695"/>
                  <a:gd name="connsiteY70" fmla="*/ 59073 h 60130"/>
                  <a:gd name="connsiteX71" fmla="*/ 110034 w 129695"/>
                  <a:gd name="connsiteY71" fmla="*/ 56692 h 60130"/>
                  <a:gd name="connsiteX72" fmla="*/ 109417 w 129695"/>
                  <a:gd name="connsiteY72" fmla="*/ 54664 h 60130"/>
                  <a:gd name="connsiteX73" fmla="*/ 107389 w 129695"/>
                  <a:gd name="connsiteY73" fmla="*/ 53782 h 60130"/>
                  <a:gd name="connsiteX74" fmla="*/ 106772 w 129695"/>
                  <a:gd name="connsiteY74" fmla="*/ 51755 h 60130"/>
                  <a:gd name="connsiteX75" fmla="*/ 106155 w 129695"/>
                  <a:gd name="connsiteY75" fmla="*/ 52019 h 60130"/>
                  <a:gd name="connsiteX76" fmla="*/ 106155 w 129695"/>
                  <a:gd name="connsiteY76" fmla="*/ 50873 h 60130"/>
                  <a:gd name="connsiteX77" fmla="*/ 105890 w 129695"/>
                  <a:gd name="connsiteY77" fmla="*/ 51138 h 60130"/>
                  <a:gd name="connsiteX78" fmla="*/ 105890 w 129695"/>
                  <a:gd name="connsiteY78" fmla="*/ 49991 h 60130"/>
                  <a:gd name="connsiteX79" fmla="*/ 104127 w 129695"/>
                  <a:gd name="connsiteY79" fmla="*/ 48228 h 60130"/>
                  <a:gd name="connsiteX80" fmla="*/ 104127 w 129695"/>
                  <a:gd name="connsiteY80" fmla="*/ 46729 h 60130"/>
                  <a:gd name="connsiteX81" fmla="*/ 101482 w 129695"/>
                  <a:gd name="connsiteY81" fmla="*/ 41527 h 60130"/>
                  <a:gd name="connsiteX82" fmla="*/ 101482 w 129695"/>
                  <a:gd name="connsiteY82" fmla="*/ 40645 h 60130"/>
                  <a:gd name="connsiteX83" fmla="*/ 100865 w 129695"/>
                  <a:gd name="connsiteY83" fmla="*/ 38882 h 60130"/>
                  <a:gd name="connsiteX84" fmla="*/ 101129 w 129695"/>
                  <a:gd name="connsiteY84" fmla="*/ 37736 h 60130"/>
                  <a:gd name="connsiteX85" fmla="*/ 101394 w 129695"/>
                  <a:gd name="connsiteY85" fmla="*/ 37472 h 60130"/>
                  <a:gd name="connsiteX86" fmla="*/ 101658 w 129695"/>
                  <a:gd name="connsiteY86" fmla="*/ 37736 h 60130"/>
                  <a:gd name="connsiteX87" fmla="*/ 101658 w 129695"/>
                  <a:gd name="connsiteY87" fmla="*/ 38001 h 60130"/>
                  <a:gd name="connsiteX88" fmla="*/ 103421 w 129695"/>
                  <a:gd name="connsiteY88" fmla="*/ 38618 h 60130"/>
                  <a:gd name="connsiteX89" fmla="*/ 104039 w 129695"/>
                  <a:gd name="connsiteY89" fmla="*/ 38618 h 60130"/>
                  <a:gd name="connsiteX90" fmla="*/ 104920 w 129695"/>
                  <a:gd name="connsiteY90" fmla="*/ 37736 h 60130"/>
                  <a:gd name="connsiteX91" fmla="*/ 105538 w 129695"/>
                  <a:gd name="connsiteY91" fmla="*/ 35708 h 60130"/>
                  <a:gd name="connsiteX92" fmla="*/ 104391 w 129695"/>
                  <a:gd name="connsiteY92" fmla="*/ 34209 h 60130"/>
                  <a:gd name="connsiteX93" fmla="*/ 104391 w 129695"/>
                  <a:gd name="connsiteY93" fmla="*/ 33945 h 60130"/>
                  <a:gd name="connsiteX94" fmla="*/ 105273 w 129695"/>
                  <a:gd name="connsiteY94" fmla="*/ 33945 h 60130"/>
                  <a:gd name="connsiteX95" fmla="*/ 105538 w 129695"/>
                  <a:gd name="connsiteY95" fmla="*/ 33328 h 60130"/>
                  <a:gd name="connsiteX96" fmla="*/ 105273 w 129695"/>
                  <a:gd name="connsiteY96" fmla="*/ 32446 h 60130"/>
                  <a:gd name="connsiteX97" fmla="*/ 105538 w 129695"/>
                  <a:gd name="connsiteY97" fmla="*/ 32446 h 60130"/>
                  <a:gd name="connsiteX98" fmla="*/ 106419 w 129695"/>
                  <a:gd name="connsiteY98" fmla="*/ 33328 h 60130"/>
                  <a:gd name="connsiteX99" fmla="*/ 107036 w 129695"/>
                  <a:gd name="connsiteY99" fmla="*/ 33063 h 60130"/>
                  <a:gd name="connsiteX100" fmla="*/ 107565 w 129695"/>
                  <a:gd name="connsiteY100" fmla="*/ 32534 h 60130"/>
                  <a:gd name="connsiteX101" fmla="*/ 107565 w 129695"/>
                  <a:gd name="connsiteY101" fmla="*/ 30771 h 60130"/>
                  <a:gd name="connsiteX102" fmla="*/ 107830 w 129695"/>
                  <a:gd name="connsiteY102" fmla="*/ 30153 h 60130"/>
                  <a:gd name="connsiteX103" fmla="*/ 108447 w 129695"/>
                  <a:gd name="connsiteY103" fmla="*/ 30418 h 60130"/>
                  <a:gd name="connsiteX104" fmla="*/ 109946 w 129695"/>
                  <a:gd name="connsiteY104" fmla="*/ 33945 h 60130"/>
                  <a:gd name="connsiteX105" fmla="*/ 110563 w 129695"/>
                  <a:gd name="connsiteY105" fmla="*/ 33945 h 60130"/>
                  <a:gd name="connsiteX106" fmla="*/ 111180 w 129695"/>
                  <a:gd name="connsiteY106" fmla="*/ 34474 h 60130"/>
                  <a:gd name="connsiteX107" fmla="*/ 114707 w 129695"/>
                  <a:gd name="connsiteY107" fmla="*/ 35355 h 60130"/>
                  <a:gd name="connsiteX108" fmla="*/ 114707 w 129695"/>
                  <a:gd name="connsiteY108" fmla="*/ 35620 h 60130"/>
                  <a:gd name="connsiteX109" fmla="*/ 114707 w 129695"/>
                  <a:gd name="connsiteY109" fmla="*/ 36502 h 60130"/>
                  <a:gd name="connsiteX110" fmla="*/ 115589 w 129695"/>
                  <a:gd name="connsiteY110" fmla="*/ 37648 h 60130"/>
                  <a:gd name="connsiteX111" fmla="*/ 115853 w 129695"/>
                  <a:gd name="connsiteY111" fmla="*/ 37648 h 60130"/>
                  <a:gd name="connsiteX112" fmla="*/ 116118 w 129695"/>
                  <a:gd name="connsiteY112" fmla="*/ 37383 h 60130"/>
                  <a:gd name="connsiteX113" fmla="*/ 116735 w 129695"/>
                  <a:gd name="connsiteY113" fmla="*/ 37031 h 60130"/>
                  <a:gd name="connsiteX114" fmla="*/ 116735 w 129695"/>
                  <a:gd name="connsiteY114" fmla="*/ 36766 h 60130"/>
                  <a:gd name="connsiteX115" fmla="*/ 116118 w 129695"/>
                  <a:gd name="connsiteY115" fmla="*/ 37031 h 60130"/>
                  <a:gd name="connsiteX116" fmla="*/ 115853 w 129695"/>
                  <a:gd name="connsiteY116" fmla="*/ 35884 h 60130"/>
                  <a:gd name="connsiteX117" fmla="*/ 115236 w 129695"/>
                  <a:gd name="connsiteY117" fmla="*/ 35620 h 60130"/>
                  <a:gd name="connsiteX118" fmla="*/ 115236 w 129695"/>
                  <a:gd name="connsiteY118" fmla="*/ 35708 h 60130"/>
                  <a:gd name="connsiteX119" fmla="*/ 115501 w 129695"/>
                  <a:gd name="connsiteY119" fmla="*/ 35355 h 60130"/>
                  <a:gd name="connsiteX120" fmla="*/ 115236 w 129695"/>
                  <a:gd name="connsiteY120" fmla="*/ 35091 h 60130"/>
                  <a:gd name="connsiteX121" fmla="*/ 111445 w 129695"/>
                  <a:gd name="connsiteY121" fmla="*/ 33945 h 60130"/>
                  <a:gd name="connsiteX122" fmla="*/ 110563 w 129695"/>
                  <a:gd name="connsiteY122" fmla="*/ 33680 h 60130"/>
                  <a:gd name="connsiteX123" fmla="*/ 109681 w 129695"/>
                  <a:gd name="connsiteY123" fmla="*/ 30506 h 60130"/>
                  <a:gd name="connsiteX124" fmla="*/ 110299 w 129695"/>
                  <a:gd name="connsiteY124" fmla="*/ 29889 h 60130"/>
                  <a:gd name="connsiteX125" fmla="*/ 109681 w 129695"/>
                  <a:gd name="connsiteY125" fmla="*/ 29007 h 60130"/>
                  <a:gd name="connsiteX126" fmla="*/ 109417 w 129695"/>
                  <a:gd name="connsiteY126" fmla="*/ 28743 h 60130"/>
                  <a:gd name="connsiteX127" fmla="*/ 109417 w 129695"/>
                  <a:gd name="connsiteY127" fmla="*/ 27861 h 60130"/>
                  <a:gd name="connsiteX128" fmla="*/ 109417 w 129695"/>
                  <a:gd name="connsiteY128" fmla="*/ 27596 h 60130"/>
                  <a:gd name="connsiteX129" fmla="*/ 109152 w 129695"/>
                  <a:gd name="connsiteY129" fmla="*/ 26980 h 60130"/>
                  <a:gd name="connsiteX130" fmla="*/ 108888 w 129695"/>
                  <a:gd name="connsiteY130" fmla="*/ 26715 h 60130"/>
                  <a:gd name="connsiteX131" fmla="*/ 108624 w 129695"/>
                  <a:gd name="connsiteY131" fmla="*/ 27596 h 60130"/>
                  <a:gd name="connsiteX132" fmla="*/ 109505 w 129695"/>
                  <a:gd name="connsiteY132" fmla="*/ 29007 h 60130"/>
                  <a:gd name="connsiteX133" fmla="*/ 109505 w 129695"/>
                  <a:gd name="connsiteY133" fmla="*/ 29889 h 60130"/>
                  <a:gd name="connsiteX134" fmla="*/ 108888 w 129695"/>
                  <a:gd name="connsiteY134" fmla="*/ 29007 h 60130"/>
                  <a:gd name="connsiteX135" fmla="*/ 108006 w 129695"/>
                  <a:gd name="connsiteY135" fmla="*/ 28478 h 60130"/>
                  <a:gd name="connsiteX136" fmla="*/ 107742 w 129695"/>
                  <a:gd name="connsiteY136" fmla="*/ 29360 h 60130"/>
                  <a:gd name="connsiteX137" fmla="*/ 107213 w 129695"/>
                  <a:gd name="connsiteY137" fmla="*/ 30506 h 60130"/>
                  <a:gd name="connsiteX138" fmla="*/ 106067 w 129695"/>
                  <a:gd name="connsiteY138" fmla="*/ 30771 h 60130"/>
                  <a:gd name="connsiteX139" fmla="*/ 105449 w 129695"/>
                  <a:gd name="connsiteY139" fmla="*/ 30506 h 60130"/>
                  <a:gd name="connsiteX140" fmla="*/ 106948 w 129695"/>
                  <a:gd name="connsiteY140" fmla="*/ 29889 h 60130"/>
                  <a:gd name="connsiteX141" fmla="*/ 107213 w 129695"/>
                  <a:gd name="connsiteY141" fmla="*/ 29272 h 60130"/>
                  <a:gd name="connsiteX142" fmla="*/ 106948 w 129695"/>
                  <a:gd name="connsiteY142" fmla="*/ 27244 h 60130"/>
                  <a:gd name="connsiteX143" fmla="*/ 106684 w 129695"/>
                  <a:gd name="connsiteY143" fmla="*/ 26980 h 60130"/>
                  <a:gd name="connsiteX144" fmla="*/ 106067 w 129695"/>
                  <a:gd name="connsiteY144" fmla="*/ 29624 h 60130"/>
                  <a:gd name="connsiteX145" fmla="*/ 105802 w 129695"/>
                  <a:gd name="connsiteY145" fmla="*/ 29007 h 60130"/>
                  <a:gd name="connsiteX146" fmla="*/ 106067 w 129695"/>
                  <a:gd name="connsiteY146" fmla="*/ 28478 h 60130"/>
                  <a:gd name="connsiteX147" fmla="*/ 105802 w 129695"/>
                  <a:gd name="connsiteY147" fmla="*/ 27596 h 60130"/>
                  <a:gd name="connsiteX148" fmla="*/ 105185 w 129695"/>
                  <a:gd name="connsiteY148" fmla="*/ 29624 h 60130"/>
                  <a:gd name="connsiteX149" fmla="*/ 104568 w 129695"/>
                  <a:gd name="connsiteY149" fmla="*/ 28126 h 60130"/>
                  <a:gd name="connsiteX150" fmla="*/ 103686 w 129695"/>
                  <a:gd name="connsiteY150" fmla="*/ 29624 h 60130"/>
                  <a:gd name="connsiteX151" fmla="*/ 103069 w 129695"/>
                  <a:gd name="connsiteY151" fmla="*/ 29889 h 60130"/>
                  <a:gd name="connsiteX152" fmla="*/ 103333 w 129695"/>
                  <a:gd name="connsiteY152" fmla="*/ 28743 h 60130"/>
                  <a:gd name="connsiteX153" fmla="*/ 102452 w 129695"/>
                  <a:gd name="connsiteY153" fmla="*/ 26715 h 60130"/>
                  <a:gd name="connsiteX154" fmla="*/ 102187 w 129695"/>
                  <a:gd name="connsiteY154" fmla="*/ 27596 h 60130"/>
                  <a:gd name="connsiteX155" fmla="*/ 103069 w 129695"/>
                  <a:gd name="connsiteY155" fmla="*/ 30506 h 60130"/>
                  <a:gd name="connsiteX156" fmla="*/ 103069 w 129695"/>
                  <a:gd name="connsiteY156" fmla="*/ 31652 h 60130"/>
                  <a:gd name="connsiteX157" fmla="*/ 102804 w 129695"/>
                  <a:gd name="connsiteY157" fmla="*/ 32269 h 60130"/>
                  <a:gd name="connsiteX158" fmla="*/ 102187 w 129695"/>
                  <a:gd name="connsiteY158" fmla="*/ 31652 h 60130"/>
                  <a:gd name="connsiteX159" fmla="*/ 101658 w 129695"/>
                  <a:gd name="connsiteY159" fmla="*/ 31388 h 60130"/>
                  <a:gd name="connsiteX160" fmla="*/ 101658 w 129695"/>
                  <a:gd name="connsiteY160" fmla="*/ 29095 h 60130"/>
                  <a:gd name="connsiteX161" fmla="*/ 101129 w 129695"/>
                  <a:gd name="connsiteY161" fmla="*/ 29095 h 60130"/>
                  <a:gd name="connsiteX162" fmla="*/ 100865 w 129695"/>
                  <a:gd name="connsiteY162" fmla="*/ 29977 h 60130"/>
                  <a:gd name="connsiteX163" fmla="*/ 100247 w 129695"/>
                  <a:gd name="connsiteY163" fmla="*/ 29095 h 60130"/>
                  <a:gd name="connsiteX164" fmla="*/ 100512 w 129695"/>
                  <a:gd name="connsiteY164" fmla="*/ 28214 h 60130"/>
                  <a:gd name="connsiteX165" fmla="*/ 100512 w 129695"/>
                  <a:gd name="connsiteY165" fmla="*/ 27596 h 60130"/>
                  <a:gd name="connsiteX166" fmla="*/ 100247 w 129695"/>
                  <a:gd name="connsiteY166" fmla="*/ 26980 h 60130"/>
                  <a:gd name="connsiteX167" fmla="*/ 99366 w 129695"/>
                  <a:gd name="connsiteY167" fmla="*/ 26098 h 60130"/>
                  <a:gd name="connsiteX168" fmla="*/ 100512 w 129695"/>
                  <a:gd name="connsiteY168" fmla="*/ 26098 h 60130"/>
                  <a:gd name="connsiteX169" fmla="*/ 99630 w 129695"/>
                  <a:gd name="connsiteY169" fmla="*/ 25481 h 60130"/>
                  <a:gd name="connsiteX170" fmla="*/ 100247 w 129695"/>
                  <a:gd name="connsiteY170" fmla="*/ 25128 h 60130"/>
                  <a:gd name="connsiteX171" fmla="*/ 100247 w 129695"/>
                  <a:gd name="connsiteY171" fmla="*/ 24599 h 60130"/>
                  <a:gd name="connsiteX172" fmla="*/ 98484 w 129695"/>
                  <a:gd name="connsiteY172" fmla="*/ 24334 h 60130"/>
                  <a:gd name="connsiteX173" fmla="*/ 97955 w 129695"/>
                  <a:gd name="connsiteY173" fmla="*/ 23717 h 60130"/>
                  <a:gd name="connsiteX174" fmla="*/ 98220 w 129695"/>
                  <a:gd name="connsiteY174" fmla="*/ 23100 h 60130"/>
                  <a:gd name="connsiteX175" fmla="*/ 97955 w 129695"/>
                  <a:gd name="connsiteY175" fmla="*/ 21072 h 60130"/>
                  <a:gd name="connsiteX176" fmla="*/ 97955 w 129695"/>
                  <a:gd name="connsiteY176" fmla="*/ 22218 h 60130"/>
                  <a:gd name="connsiteX177" fmla="*/ 97338 w 129695"/>
                  <a:gd name="connsiteY177" fmla="*/ 22218 h 60130"/>
                  <a:gd name="connsiteX178" fmla="*/ 97073 w 129695"/>
                  <a:gd name="connsiteY178" fmla="*/ 22836 h 60130"/>
                  <a:gd name="connsiteX179" fmla="*/ 96456 w 129695"/>
                  <a:gd name="connsiteY179" fmla="*/ 22571 h 60130"/>
                  <a:gd name="connsiteX180" fmla="*/ 95310 w 129695"/>
                  <a:gd name="connsiteY180" fmla="*/ 21425 h 60130"/>
                  <a:gd name="connsiteX181" fmla="*/ 95046 w 129695"/>
                  <a:gd name="connsiteY181" fmla="*/ 20279 h 60130"/>
                  <a:gd name="connsiteX182" fmla="*/ 94428 w 129695"/>
                  <a:gd name="connsiteY182" fmla="*/ 19132 h 60130"/>
                  <a:gd name="connsiteX183" fmla="*/ 93547 w 129695"/>
                  <a:gd name="connsiteY183" fmla="*/ 20279 h 60130"/>
                  <a:gd name="connsiteX184" fmla="*/ 93282 w 129695"/>
                  <a:gd name="connsiteY184" fmla="*/ 20279 h 60130"/>
                  <a:gd name="connsiteX185" fmla="*/ 92400 w 129695"/>
                  <a:gd name="connsiteY185" fmla="*/ 19661 h 60130"/>
                  <a:gd name="connsiteX186" fmla="*/ 91871 w 129695"/>
                  <a:gd name="connsiteY186" fmla="*/ 17898 h 60130"/>
                  <a:gd name="connsiteX187" fmla="*/ 90990 w 129695"/>
                  <a:gd name="connsiteY187" fmla="*/ 16752 h 60130"/>
                  <a:gd name="connsiteX188" fmla="*/ 88697 w 129695"/>
                  <a:gd name="connsiteY188" fmla="*/ 16487 h 60130"/>
                  <a:gd name="connsiteX189" fmla="*/ 88080 w 129695"/>
                  <a:gd name="connsiteY189" fmla="*/ 16223 h 60130"/>
                  <a:gd name="connsiteX190" fmla="*/ 87816 w 129695"/>
                  <a:gd name="connsiteY190" fmla="*/ 15958 h 60130"/>
                  <a:gd name="connsiteX191" fmla="*/ 88080 w 129695"/>
                  <a:gd name="connsiteY191" fmla="*/ 15077 h 60130"/>
                  <a:gd name="connsiteX192" fmla="*/ 88345 w 129695"/>
                  <a:gd name="connsiteY192" fmla="*/ 13930 h 60130"/>
                  <a:gd name="connsiteX193" fmla="*/ 87728 w 129695"/>
                  <a:gd name="connsiteY193" fmla="*/ 13666 h 60130"/>
                  <a:gd name="connsiteX194" fmla="*/ 88609 w 129695"/>
                  <a:gd name="connsiteY194" fmla="*/ 13401 h 60130"/>
                  <a:gd name="connsiteX195" fmla="*/ 89491 w 129695"/>
                  <a:gd name="connsiteY195" fmla="*/ 12784 h 60130"/>
                  <a:gd name="connsiteX196" fmla="*/ 90108 w 129695"/>
                  <a:gd name="connsiteY196" fmla="*/ 12167 h 60130"/>
                  <a:gd name="connsiteX197" fmla="*/ 90373 w 129695"/>
                  <a:gd name="connsiteY197" fmla="*/ 11638 h 60130"/>
                  <a:gd name="connsiteX198" fmla="*/ 89755 w 129695"/>
                  <a:gd name="connsiteY198" fmla="*/ 11638 h 60130"/>
                  <a:gd name="connsiteX199" fmla="*/ 87728 w 129695"/>
                  <a:gd name="connsiteY199" fmla="*/ 13401 h 60130"/>
                  <a:gd name="connsiteX200" fmla="*/ 87463 w 129695"/>
                  <a:gd name="connsiteY200" fmla="*/ 14019 h 60130"/>
                  <a:gd name="connsiteX201" fmla="*/ 87728 w 129695"/>
                  <a:gd name="connsiteY201" fmla="*/ 14548 h 60130"/>
                  <a:gd name="connsiteX202" fmla="*/ 87728 w 129695"/>
                  <a:gd name="connsiteY202" fmla="*/ 15165 h 60130"/>
                  <a:gd name="connsiteX203" fmla="*/ 87463 w 129695"/>
                  <a:gd name="connsiteY203" fmla="*/ 16311 h 60130"/>
                  <a:gd name="connsiteX204" fmla="*/ 87199 w 129695"/>
                  <a:gd name="connsiteY204" fmla="*/ 16311 h 60130"/>
                  <a:gd name="connsiteX205" fmla="*/ 86317 w 129695"/>
                  <a:gd name="connsiteY205" fmla="*/ 15165 h 60130"/>
                  <a:gd name="connsiteX206" fmla="*/ 85700 w 129695"/>
                  <a:gd name="connsiteY206" fmla="*/ 14548 h 60130"/>
                  <a:gd name="connsiteX207" fmla="*/ 83672 w 129695"/>
                  <a:gd name="connsiteY207" fmla="*/ 14283 h 60130"/>
                  <a:gd name="connsiteX208" fmla="*/ 81644 w 129695"/>
                  <a:gd name="connsiteY208" fmla="*/ 15165 h 60130"/>
                  <a:gd name="connsiteX209" fmla="*/ 81644 w 129695"/>
                  <a:gd name="connsiteY209" fmla="*/ 15429 h 60130"/>
                  <a:gd name="connsiteX210" fmla="*/ 78734 w 129695"/>
                  <a:gd name="connsiteY210" fmla="*/ 17457 h 60130"/>
                  <a:gd name="connsiteX211" fmla="*/ 77853 w 129695"/>
                  <a:gd name="connsiteY211" fmla="*/ 17193 h 60130"/>
                  <a:gd name="connsiteX212" fmla="*/ 77588 w 129695"/>
                  <a:gd name="connsiteY212" fmla="*/ 14812 h 60130"/>
                  <a:gd name="connsiteX213" fmla="*/ 76177 w 129695"/>
                  <a:gd name="connsiteY213" fmla="*/ 13930 h 60130"/>
                  <a:gd name="connsiteX214" fmla="*/ 75913 w 129695"/>
                  <a:gd name="connsiteY214" fmla="*/ 12784 h 60130"/>
                  <a:gd name="connsiteX215" fmla="*/ 76177 w 129695"/>
                  <a:gd name="connsiteY215" fmla="*/ 11903 h 60130"/>
                  <a:gd name="connsiteX216" fmla="*/ 77059 w 129695"/>
                  <a:gd name="connsiteY216" fmla="*/ 10139 h 60130"/>
                  <a:gd name="connsiteX217" fmla="*/ 76177 w 129695"/>
                  <a:gd name="connsiteY217" fmla="*/ 10757 h 60130"/>
                  <a:gd name="connsiteX218" fmla="*/ 75296 w 129695"/>
                  <a:gd name="connsiteY218" fmla="*/ 10757 h 60130"/>
                  <a:gd name="connsiteX219" fmla="*/ 75031 w 129695"/>
                  <a:gd name="connsiteY219" fmla="*/ 11903 h 60130"/>
                  <a:gd name="connsiteX220" fmla="*/ 73268 w 129695"/>
                  <a:gd name="connsiteY220" fmla="*/ 11638 h 60130"/>
                  <a:gd name="connsiteX221" fmla="*/ 72651 w 129695"/>
                  <a:gd name="connsiteY221" fmla="*/ 10492 h 60130"/>
                  <a:gd name="connsiteX222" fmla="*/ 71505 w 129695"/>
                  <a:gd name="connsiteY222" fmla="*/ 10492 h 60130"/>
                  <a:gd name="connsiteX223" fmla="*/ 72122 w 129695"/>
                  <a:gd name="connsiteY223" fmla="*/ 9346 h 60130"/>
                  <a:gd name="connsiteX224" fmla="*/ 73621 w 129695"/>
                  <a:gd name="connsiteY224" fmla="*/ 8729 h 60130"/>
                  <a:gd name="connsiteX225" fmla="*/ 72739 w 129695"/>
                  <a:gd name="connsiteY225" fmla="*/ 8464 h 60130"/>
                  <a:gd name="connsiteX226" fmla="*/ 72210 w 129695"/>
                  <a:gd name="connsiteY226" fmla="*/ 9081 h 60130"/>
                  <a:gd name="connsiteX227" fmla="*/ 71945 w 129695"/>
                  <a:gd name="connsiteY227" fmla="*/ 8464 h 60130"/>
                  <a:gd name="connsiteX228" fmla="*/ 72210 w 129695"/>
                  <a:gd name="connsiteY228" fmla="*/ 8200 h 60130"/>
                  <a:gd name="connsiteX229" fmla="*/ 72474 w 129695"/>
                  <a:gd name="connsiteY229" fmla="*/ 7935 h 60130"/>
                  <a:gd name="connsiteX230" fmla="*/ 72034 w 129695"/>
                  <a:gd name="connsiteY230" fmla="*/ 7406 h 60130"/>
                  <a:gd name="connsiteX231" fmla="*/ 69388 w 129695"/>
                  <a:gd name="connsiteY231" fmla="*/ 7406 h 60130"/>
                  <a:gd name="connsiteX232" fmla="*/ 67978 w 129695"/>
                  <a:gd name="connsiteY232" fmla="*/ 7406 h 60130"/>
                  <a:gd name="connsiteX233" fmla="*/ 65333 w 129695"/>
                  <a:gd name="connsiteY233" fmla="*/ 10316 h 60130"/>
                  <a:gd name="connsiteX234" fmla="*/ 54841 w 129695"/>
                  <a:gd name="connsiteY234" fmla="*/ 13578 h 60130"/>
                  <a:gd name="connsiteX235" fmla="*/ 51931 w 129695"/>
                  <a:gd name="connsiteY235" fmla="*/ 15958 h 60130"/>
                  <a:gd name="connsiteX236" fmla="*/ 49903 w 129695"/>
                  <a:gd name="connsiteY236" fmla="*/ 16223 h 60130"/>
                  <a:gd name="connsiteX237" fmla="*/ 49903 w 129695"/>
                  <a:gd name="connsiteY237" fmla="*/ 18251 h 60130"/>
                  <a:gd name="connsiteX238" fmla="*/ 49022 w 129695"/>
                  <a:gd name="connsiteY238" fmla="*/ 19750 h 60130"/>
                  <a:gd name="connsiteX239" fmla="*/ 46377 w 129695"/>
                  <a:gd name="connsiteY239" fmla="*/ 19750 h 60130"/>
                  <a:gd name="connsiteX240" fmla="*/ 44349 w 129695"/>
                  <a:gd name="connsiteY240" fmla="*/ 19397 h 60130"/>
                  <a:gd name="connsiteX241" fmla="*/ 42850 w 129695"/>
                  <a:gd name="connsiteY241" fmla="*/ 20896 h 60130"/>
                  <a:gd name="connsiteX242" fmla="*/ 38441 w 129695"/>
                  <a:gd name="connsiteY242" fmla="*/ 21778 h 60130"/>
                  <a:gd name="connsiteX243" fmla="*/ 34650 w 129695"/>
                  <a:gd name="connsiteY243" fmla="*/ 20896 h 60130"/>
                  <a:gd name="connsiteX244" fmla="*/ 32005 w 129695"/>
                  <a:gd name="connsiteY244" fmla="*/ 18868 h 60130"/>
                  <a:gd name="connsiteX245" fmla="*/ 31741 w 129695"/>
                  <a:gd name="connsiteY245" fmla="*/ 16223 h 60130"/>
                  <a:gd name="connsiteX246" fmla="*/ 29713 w 129695"/>
                  <a:gd name="connsiteY246" fmla="*/ 14459 h 60130"/>
                  <a:gd name="connsiteX247" fmla="*/ 28214 w 129695"/>
                  <a:gd name="connsiteY247" fmla="*/ 14459 h 60130"/>
                  <a:gd name="connsiteX248" fmla="*/ 27332 w 129695"/>
                  <a:gd name="connsiteY248" fmla="*/ 12696 h 60130"/>
                  <a:gd name="connsiteX249" fmla="*/ 28214 w 129695"/>
                  <a:gd name="connsiteY249" fmla="*/ 12432 h 60130"/>
                  <a:gd name="connsiteX250" fmla="*/ 26451 w 129695"/>
                  <a:gd name="connsiteY250" fmla="*/ 11286 h 60130"/>
                  <a:gd name="connsiteX251" fmla="*/ 27332 w 129695"/>
                  <a:gd name="connsiteY251" fmla="*/ 12167 h 60130"/>
                  <a:gd name="connsiteX252" fmla="*/ 25569 w 129695"/>
                  <a:gd name="connsiteY252" fmla="*/ 12167 h 60130"/>
                  <a:gd name="connsiteX253" fmla="*/ 28743 w 129695"/>
                  <a:gd name="connsiteY253" fmla="*/ 15694 h 60130"/>
                  <a:gd name="connsiteX254" fmla="*/ 28743 w 129695"/>
                  <a:gd name="connsiteY254" fmla="*/ 17457 h 60130"/>
                  <a:gd name="connsiteX255" fmla="*/ 26098 w 129695"/>
                  <a:gd name="connsiteY255" fmla="*/ 16575 h 60130"/>
                  <a:gd name="connsiteX256" fmla="*/ 22307 w 129695"/>
                  <a:gd name="connsiteY256" fmla="*/ 17457 h 60130"/>
                  <a:gd name="connsiteX257" fmla="*/ 21160 w 129695"/>
                  <a:gd name="connsiteY257" fmla="*/ 16311 h 60130"/>
                  <a:gd name="connsiteX258" fmla="*/ 18515 w 129695"/>
                  <a:gd name="connsiteY258" fmla="*/ 15694 h 60130"/>
                  <a:gd name="connsiteX259" fmla="*/ 19133 w 129695"/>
                  <a:gd name="connsiteY259" fmla="*/ 13313 h 60130"/>
                  <a:gd name="connsiteX260" fmla="*/ 18251 w 129695"/>
                  <a:gd name="connsiteY260" fmla="*/ 12696 h 60130"/>
                  <a:gd name="connsiteX261" fmla="*/ 18251 w 129695"/>
                  <a:gd name="connsiteY261" fmla="*/ 11550 h 60130"/>
                  <a:gd name="connsiteX262" fmla="*/ 20543 w 129695"/>
                  <a:gd name="connsiteY262" fmla="*/ 11550 h 60130"/>
                  <a:gd name="connsiteX263" fmla="*/ 20543 w 129695"/>
                  <a:gd name="connsiteY263" fmla="*/ 10404 h 60130"/>
                  <a:gd name="connsiteX264" fmla="*/ 20279 w 129695"/>
                  <a:gd name="connsiteY264" fmla="*/ 10668 h 60130"/>
                  <a:gd name="connsiteX265" fmla="*/ 20014 w 129695"/>
                  <a:gd name="connsiteY265" fmla="*/ 9787 h 60130"/>
                  <a:gd name="connsiteX266" fmla="*/ 19133 w 129695"/>
                  <a:gd name="connsiteY266" fmla="*/ 10668 h 60130"/>
                  <a:gd name="connsiteX267" fmla="*/ 18868 w 129695"/>
                  <a:gd name="connsiteY267" fmla="*/ 9787 h 60130"/>
                  <a:gd name="connsiteX268" fmla="*/ 18251 w 129695"/>
                  <a:gd name="connsiteY268" fmla="*/ 10668 h 60130"/>
                  <a:gd name="connsiteX269" fmla="*/ 18251 w 129695"/>
                  <a:gd name="connsiteY269" fmla="*/ 9787 h 60130"/>
                  <a:gd name="connsiteX270" fmla="*/ 17634 w 129695"/>
                  <a:gd name="connsiteY270" fmla="*/ 10668 h 60130"/>
                  <a:gd name="connsiteX271" fmla="*/ 16135 w 129695"/>
                  <a:gd name="connsiteY271" fmla="*/ 9787 h 60130"/>
                  <a:gd name="connsiteX272" fmla="*/ 15518 w 129695"/>
                  <a:gd name="connsiteY272" fmla="*/ 8640 h 60130"/>
                  <a:gd name="connsiteX273" fmla="*/ 16664 w 129695"/>
                  <a:gd name="connsiteY273" fmla="*/ 7759 h 60130"/>
                  <a:gd name="connsiteX274" fmla="*/ 15782 w 129695"/>
                  <a:gd name="connsiteY274" fmla="*/ 6877 h 60130"/>
                  <a:gd name="connsiteX275" fmla="*/ 16928 w 129695"/>
                  <a:gd name="connsiteY275" fmla="*/ 5114 h 60130"/>
                  <a:gd name="connsiteX276" fmla="*/ 15429 w 129695"/>
                  <a:gd name="connsiteY276" fmla="*/ 2821 h 60130"/>
                  <a:gd name="connsiteX277" fmla="*/ 12255 w 129695"/>
                  <a:gd name="connsiteY277" fmla="*/ 1322 h 60130"/>
                  <a:gd name="connsiteX278" fmla="*/ 12255 w 129695"/>
                  <a:gd name="connsiteY278" fmla="*/ 2204 h 60130"/>
                  <a:gd name="connsiteX279" fmla="*/ 11374 w 129695"/>
                  <a:gd name="connsiteY279" fmla="*/ 2204 h 60130"/>
                  <a:gd name="connsiteX280" fmla="*/ 11374 w 129695"/>
                  <a:gd name="connsiteY280" fmla="*/ 3350 h 60130"/>
                  <a:gd name="connsiteX281" fmla="*/ 8464 w 129695"/>
                  <a:gd name="connsiteY281" fmla="*/ 1322 h 60130"/>
                  <a:gd name="connsiteX282" fmla="*/ 7847 w 129695"/>
                  <a:gd name="connsiteY282" fmla="*/ 1058 h 60130"/>
                  <a:gd name="connsiteX283" fmla="*/ 6701 w 129695"/>
                  <a:gd name="connsiteY283" fmla="*/ 529 h 60130"/>
                  <a:gd name="connsiteX284" fmla="*/ 5555 w 129695"/>
                  <a:gd name="connsiteY284" fmla="*/ 1410 h 60130"/>
                  <a:gd name="connsiteX285" fmla="*/ 5290 w 129695"/>
                  <a:gd name="connsiteY285" fmla="*/ 2557 h 60130"/>
                  <a:gd name="connsiteX286" fmla="*/ 6172 w 129695"/>
                  <a:gd name="connsiteY286" fmla="*/ 3086 h 60130"/>
                  <a:gd name="connsiteX287" fmla="*/ 4144 w 129695"/>
                  <a:gd name="connsiteY287" fmla="*/ 3967 h 60130"/>
                  <a:gd name="connsiteX288" fmla="*/ 3527 w 129695"/>
                  <a:gd name="connsiteY288" fmla="*/ 13578 h 60130"/>
                  <a:gd name="connsiteX289" fmla="*/ 4408 w 129695"/>
                  <a:gd name="connsiteY289" fmla="*/ 13578 h 60130"/>
                  <a:gd name="connsiteX290" fmla="*/ 7935 w 129695"/>
                  <a:gd name="connsiteY290" fmla="*/ 17369 h 60130"/>
                  <a:gd name="connsiteX291" fmla="*/ 7053 w 129695"/>
                  <a:gd name="connsiteY291" fmla="*/ 18251 h 60130"/>
                  <a:gd name="connsiteX292" fmla="*/ 4673 w 129695"/>
                  <a:gd name="connsiteY292" fmla="*/ 19750 h 60130"/>
                  <a:gd name="connsiteX293" fmla="*/ 4408 w 129695"/>
                  <a:gd name="connsiteY293" fmla="*/ 20014 h 60130"/>
                  <a:gd name="connsiteX294" fmla="*/ 4673 w 129695"/>
                  <a:gd name="connsiteY294" fmla="*/ 20014 h 60130"/>
                  <a:gd name="connsiteX295" fmla="*/ 4673 w 129695"/>
                  <a:gd name="connsiteY295" fmla="*/ 20279 h 60130"/>
                  <a:gd name="connsiteX296" fmla="*/ 3527 w 129695"/>
                  <a:gd name="connsiteY296" fmla="*/ 22042 h 60130"/>
                  <a:gd name="connsiteX297" fmla="*/ 4937 w 129695"/>
                  <a:gd name="connsiteY297" fmla="*/ 24687 h 60130"/>
                  <a:gd name="connsiteX298" fmla="*/ 4673 w 129695"/>
                  <a:gd name="connsiteY298" fmla="*/ 29095 h 60130"/>
                  <a:gd name="connsiteX299" fmla="*/ 0 w 129695"/>
                  <a:gd name="connsiteY299" fmla="*/ 32622 h 60130"/>
                  <a:gd name="connsiteX300" fmla="*/ 1411 w 129695"/>
                  <a:gd name="connsiteY300" fmla="*/ 33504 h 60130"/>
                  <a:gd name="connsiteX301" fmla="*/ 2557 w 129695"/>
                  <a:gd name="connsiteY301" fmla="*/ 34386 h 60130"/>
                  <a:gd name="connsiteX302" fmla="*/ 3439 w 129695"/>
                  <a:gd name="connsiteY302" fmla="*/ 38177 h 60130"/>
                  <a:gd name="connsiteX303" fmla="*/ 3174 w 129695"/>
                  <a:gd name="connsiteY303" fmla="*/ 39323 h 60130"/>
                  <a:gd name="connsiteX304" fmla="*/ 3439 w 129695"/>
                  <a:gd name="connsiteY304" fmla="*/ 40205 h 60130"/>
                  <a:gd name="connsiteX305" fmla="*/ 4849 w 129695"/>
                  <a:gd name="connsiteY305" fmla="*/ 39059 h 60130"/>
                  <a:gd name="connsiteX306" fmla="*/ 5114 w 129695"/>
                  <a:gd name="connsiteY306" fmla="*/ 35532 h 60130"/>
                  <a:gd name="connsiteX307" fmla="*/ 4232 w 129695"/>
                  <a:gd name="connsiteY307" fmla="*/ 33768 h 60130"/>
                  <a:gd name="connsiteX308" fmla="*/ 5378 w 129695"/>
                  <a:gd name="connsiteY308" fmla="*/ 32358 h 60130"/>
                  <a:gd name="connsiteX309" fmla="*/ 8288 w 129695"/>
                  <a:gd name="connsiteY309" fmla="*/ 32622 h 60130"/>
                  <a:gd name="connsiteX310" fmla="*/ 10316 w 129695"/>
                  <a:gd name="connsiteY310" fmla="*/ 32358 h 60130"/>
                  <a:gd name="connsiteX311" fmla="*/ 11815 w 129695"/>
                  <a:gd name="connsiteY311" fmla="*/ 33768 h 60130"/>
                  <a:gd name="connsiteX312" fmla="*/ 13313 w 129695"/>
                  <a:gd name="connsiteY312" fmla="*/ 33504 h 60130"/>
                  <a:gd name="connsiteX313" fmla="*/ 13313 w 129695"/>
                  <a:gd name="connsiteY313" fmla="*/ 31740 h 60130"/>
                  <a:gd name="connsiteX314" fmla="*/ 13578 w 129695"/>
                  <a:gd name="connsiteY314" fmla="*/ 32358 h 60130"/>
                  <a:gd name="connsiteX315" fmla="*/ 13843 w 129695"/>
                  <a:gd name="connsiteY315" fmla="*/ 33504 h 60130"/>
                  <a:gd name="connsiteX316" fmla="*/ 14989 w 129695"/>
                  <a:gd name="connsiteY316" fmla="*/ 32975 h 60130"/>
                  <a:gd name="connsiteX317" fmla="*/ 14989 w 129695"/>
                  <a:gd name="connsiteY317" fmla="*/ 32358 h 60130"/>
                  <a:gd name="connsiteX318" fmla="*/ 16752 w 129695"/>
                  <a:gd name="connsiteY318" fmla="*/ 32358 h 60130"/>
                  <a:gd name="connsiteX319" fmla="*/ 17369 w 129695"/>
                  <a:gd name="connsiteY319" fmla="*/ 32975 h 60130"/>
                  <a:gd name="connsiteX320" fmla="*/ 17986 w 129695"/>
                  <a:gd name="connsiteY320" fmla="*/ 32358 h 60130"/>
                  <a:gd name="connsiteX321" fmla="*/ 17722 w 129695"/>
                  <a:gd name="connsiteY321" fmla="*/ 35267 h 60130"/>
                  <a:gd name="connsiteX322" fmla="*/ 19485 w 129695"/>
                  <a:gd name="connsiteY322" fmla="*/ 35267 h 60130"/>
                  <a:gd name="connsiteX323" fmla="*/ 19221 w 129695"/>
                  <a:gd name="connsiteY323" fmla="*/ 36413 h 60130"/>
                  <a:gd name="connsiteX324" fmla="*/ 19838 w 129695"/>
                  <a:gd name="connsiteY324" fmla="*/ 36678 h 60130"/>
                  <a:gd name="connsiteX325" fmla="*/ 20367 w 129695"/>
                  <a:gd name="connsiteY325" fmla="*/ 34650 h 60130"/>
                  <a:gd name="connsiteX326" fmla="*/ 22395 w 129695"/>
                  <a:gd name="connsiteY326" fmla="*/ 35532 h 60130"/>
                  <a:gd name="connsiteX327" fmla="*/ 22659 w 129695"/>
                  <a:gd name="connsiteY327" fmla="*/ 35267 h 60130"/>
                  <a:gd name="connsiteX328" fmla="*/ 23188 w 129695"/>
                  <a:gd name="connsiteY328" fmla="*/ 36149 h 60130"/>
                  <a:gd name="connsiteX329" fmla="*/ 24070 w 129695"/>
                  <a:gd name="connsiteY329" fmla="*/ 34650 h 60130"/>
                  <a:gd name="connsiteX330" fmla="*/ 23453 w 129695"/>
                  <a:gd name="connsiteY330" fmla="*/ 36149 h 60130"/>
                  <a:gd name="connsiteX331" fmla="*/ 27508 w 129695"/>
                  <a:gd name="connsiteY331" fmla="*/ 37560 h 60130"/>
                  <a:gd name="connsiteX332" fmla="*/ 28038 w 129695"/>
                  <a:gd name="connsiteY332" fmla="*/ 36149 h 60130"/>
                  <a:gd name="connsiteX333" fmla="*/ 29801 w 129695"/>
                  <a:gd name="connsiteY333" fmla="*/ 38441 h 60130"/>
                  <a:gd name="connsiteX334" fmla="*/ 28390 w 129695"/>
                  <a:gd name="connsiteY334" fmla="*/ 38441 h 60130"/>
                  <a:gd name="connsiteX335" fmla="*/ 29007 w 129695"/>
                  <a:gd name="connsiteY335" fmla="*/ 39059 h 60130"/>
                  <a:gd name="connsiteX336" fmla="*/ 28743 w 129695"/>
                  <a:gd name="connsiteY336" fmla="*/ 39323 h 60130"/>
                  <a:gd name="connsiteX337" fmla="*/ 29007 w 129695"/>
                  <a:gd name="connsiteY337" fmla="*/ 39940 h 60130"/>
                  <a:gd name="connsiteX338" fmla="*/ 29625 w 129695"/>
                  <a:gd name="connsiteY338" fmla="*/ 39059 h 60130"/>
                  <a:gd name="connsiteX339" fmla="*/ 30771 w 129695"/>
                  <a:gd name="connsiteY339" fmla="*/ 41968 h 60130"/>
                  <a:gd name="connsiteX340" fmla="*/ 30506 w 129695"/>
                  <a:gd name="connsiteY340" fmla="*/ 40822 h 60130"/>
                  <a:gd name="connsiteX341" fmla="*/ 31035 w 129695"/>
                  <a:gd name="connsiteY341" fmla="*/ 40822 h 60130"/>
                  <a:gd name="connsiteX342" fmla="*/ 30771 w 129695"/>
                  <a:gd name="connsiteY342" fmla="*/ 43114 h 60130"/>
                  <a:gd name="connsiteX343" fmla="*/ 31652 w 129695"/>
                  <a:gd name="connsiteY343" fmla="*/ 44260 h 60130"/>
                  <a:gd name="connsiteX344" fmla="*/ 30771 w 129695"/>
                  <a:gd name="connsiteY344" fmla="*/ 45759 h 60130"/>
                  <a:gd name="connsiteX345" fmla="*/ 31652 w 129695"/>
                  <a:gd name="connsiteY345" fmla="*/ 46905 h 60130"/>
                  <a:gd name="connsiteX346" fmla="*/ 33416 w 129695"/>
                  <a:gd name="connsiteY346" fmla="*/ 46905 h 60130"/>
                  <a:gd name="connsiteX347" fmla="*/ 32270 w 129695"/>
                  <a:gd name="connsiteY347" fmla="*/ 48052 h 60130"/>
                  <a:gd name="connsiteX348" fmla="*/ 33680 w 129695"/>
                  <a:gd name="connsiteY348" fmla="*/ 49198 h 60130"/>
                  <a:gd name="connsiteX349" fmla="*/ 35444 w 129695"/>
                  <a:gd name="connsiteY349" fmla="*/ 48581 h 60130"/>
                  <a:gd name="connsiteX350" fmla="*/ 37207 w 129695"/>
                  <a:gd name="connsiteY350" fmla="*/ 48581 h 60130"/>
                  <a:gd name="connsiteX351" fmla="*/ 39235 w 129695"/>
                  <a:gd name="connsiteY351" fmla="*/ 50344 h 60130"/>
                  <a:gd name="connsiteX352" fmla="*/ 39852 w 129695"/>
                  <a:gd name="connsiteY352" fmla="*/ 49462 h 60130"/>
                  <a:gd name="connsiteX353" fmla="*/ 38706 w 129695"/>
                  <a:gd name="connsiteY353" fmla="*/ 46817 h 60130"/>
                  <a:gd name="connsiteX354" fmla="*/ 39588 w 129695"/>
                  <a:gd name="connsiteY354" fmla="*/ 47082 h 60130"/>
                  <a:gd name="connsiteX355" fmla="*/ 40469 w 129695"/>
                  <a:gd name="connsiteY355" fmla="*/ 46200 h 60130"/>
                  <a:gd name="connsiteX356" fmla="*/ 39323 w 129695"/>
                  <a:gd name="connsiteY356" fmla="*/ 43555 h 60130"/>
                  <a:gd name="connsiteX357" fmla="*/ 39588 w 129695"/>
                  <a:gd name="connsiteY357" fmla="*/ 42938 h 60130"/>
                  <a:gd name="connsiteX358" fmla="*/ 41968 w 129695"/>
                  <a:gd name="connsiteY358" fmla="*/ 44701 h 60130"/>
                  <a:gd name="connsiteX359" fmla="*/ 43114 w 129695"/>
                  <a:gd name="connsiteY359" fmla="*/ 42673 h 60130"/>
                  <a:gd name="connsiteX360" fmla="*/ 43114 w 129695"/>
                  <a:gd name="connsiteY360" fmla="*/ 44701 h 60130"/>
                  <a:gd name="connsiteX361" fmla="*/ 43996 w 129695"/>
                  <a:gd name="connsiteY361" fmla="*/ 44966 h 60130"/>
                  <a:gd name="connsiteX362" fmla="*/ 42233 w 129695"/>
                  <a:gd name="connsiteY362" fmla="*/ 46112 h 60130"/>
                  <a:gd name="connsiteX363" fmla="*/ 43996 w 129695"/>
                  <a:gd name="connsiteY363" fmla="*/ 47875 h 60130"/>
                  <a:gd name="connsiteX364" fmla="*/ 43114 w 129695"/>
                  <a:gd name="connsiteY364" fmla="*/ 48493 h 60130"/>
                  <a:gd name="connsiteX365" fmla="*/ 44261 w 129695"/>
                  <a:gd name="connsiteY365" fmla="*/ 49639 h 60130"/>
                  <a:gd name="connsiteX366" fmla="*/ 44790 w 129695"/>
                  <a:gd name="connsiteY366" fmla="*/ 51402 h 60130"/>
                  <a:gd name="connsiteX367" fmla="*/ 44525 w 129695"/>
                  <a:gd name="connsiteY367" fmla="*/ 52548 h 60130"/>
                  <a:gd name="connsiteX368" fmla="*/ 45671 w 129695"/>
                  <a:gd name="connsiteY368" fmla="*/ 53430 h 60130"/>
                  <a:gd name="connsiteX369" fmla="*/ 46288 w 129695"/>
                  <a:gd name="connsiteY369" fmla="*/ 56339 h 60130"/>
                  <a:gd name="connsiteX370" fmla="*/ 45142 w 129695"/>
                  <a:gd name="connsiteY370" fmla="*/ 58985 h 60130"/>
                  <a:gd name="connsiteX371" fmla="*/ 45759 w 129695"/>
                  <a:gd name="connsiteY371" fmla="*/ 58985 h 60130"/>
                  <a:gd name="connsiteX372" fmla="*/ 46641 w 129695"/>
                  <a:gd name="connsiteY372" fmla="*/ 60131 h 60130"/>
                  <a:gd name="connsiteX373" fmla="*/ 55987 w 129695"/>
                  <a:gd name="connsiteY373" fmla="*/ 58985 h 60130"/>
                  <a:gd name="connsiteX374" fmla="*/ 58279 w 129695"/>
                  <a:gd name="connsiteY374" fmla="*/ 57221 h 60130"/>
                  <a:gd name="connsiteX375" fmla="*/ 57750 w 129695"/>
                  <a:gd name="connsiteY375" fmla="*/ 56075 h 60130"/>
                  <a:gd name="connsiteX376" fmla="*/ 60043 w 129695"/>
                  <a:gd name="connsiteY376" fmla="*/ 54929 h 60130"/>
                  <a:gd name="connsiteX377" fmla="*/ 59161 w 129695"/>
                  <a:gd name="connsiteY377" fmla="*/ 54929 h 60130"/>
                  <a:gd name="connsiteX378" fmla="*/ 65597 w 129695"/>
                  <a:gd name="connsiteY378" fmla="*/ 54047 h 60130"/>
                  <a:gd name="connsiteX379" fmla="*/ 66479 w 129695"/>
                  <a:gd name="connsiteY379" fmla="*/ 52284 h 60130"/>
                  <a:gd name="connsiteX380" fmla="*/ 63305 w 129695"/>
                  <a:gd name="connsiteY380" fmla="*/ 46994 h 60130"/>
                  <a:gd name="connsiteX381" fmla="*/ 59249 w 129695"/>
                  <a:gd name="connsiteY381" fmla="*/ 42585 h 60130"/>
                  <a:gd name="connsiteX382" fmla="*/ 59249 w 129695"/>
                  <a:gd name="connsiteY382" fmla="*/ 41439 h 60130"/>
                  <a:gd name="connsiteX383" fmla="*/ 56604 w 129695"/>
                  <a:gd name="connsiteY383" fmla="*/ 39676 h 60130"/>
                  <a:gd name="connsiteX384" fmla="*/ 55987 w 129695"/>
                  <a:gd name="connsiteY384" fmla="*/ 37912 h 60130"/>
                  <a:gd name="connsiteX385" fmla="*/ 56251 w 129695"/>
                  <a:gd name="connsiteY385" fmla="*/ 35003 h 60130"/>
                  <a:gd name="connsiteX386" fmla="*/ 58279 w 129695"/>
                  <a:gd name="connsiteY386" fmla="*/ 32710 h 60130"/>
                  <a:gd name="connsiteX387" fmla="*/ 61453 w 129695"/>
                  <a:gd name="connsiteY387" fmla="*/ 32710 h 60130"/>
                  <a:gd name="connsiteX388" fmla="*/ 66391 w 129695"/>
                  <a:gd name="connsiteY388" fmla="*/ 30330 h 60130"/>
                  <a:gd name="connsiteX389" fmla="*/ 69918 w 129695"/>
                  <a:gd name="connsiteY389" fmla="*/ 26803 h 60130"/>
                  <a:gd name="connsiteX390" fmla="*/ 72563 w 129695"/>
                  <a:gd name="connsiteY390" fmla="*/ 25657 h 60130"/>
                  <a:gd name="connsiteX391" fmla="*/ 70799 w 129695"/>
                  <a:gd name="connsiteY391" fmla="*/ 24511 h 60130"/>
                  <a:gd name="connsiteX392" fmla="*/ 73180 w 129695"/>
                  <a:gd name="connsiteY392" fmla="*/ 22747 h 60130"/>
                  <a:gd name="connsiteX393" fmla="*/ 72563 w 129695"/>
                  <a:gd name="connsiteY393" fmla="*/ 20984 h 60130"/>
                  <a:gd name="connsiteX394" fmla="*/ 72563 w 129695"/>
                  <a:gd name="connsiteY394" fmla="*/ 20102 h 60130"/>
                  <a:gd name="connsiteX395" fmla="*/ 73709 w 129695"/>
                  <a:gd name="connsiteY395" fmla="*/ 18603 h 60130"/>
                  <a:gd name="connsiteX396" fmla="*/ 74591 w 129695"/>
                  <a:gd name="connsiteY396" fmla="*/ 18339 h 60130"/>
                  <a:gd name="connsiteX397" fmla="*/ 75472 w 129695"/>
                  <a:gd name="connsiteY397" fmla="*/ 18339 h 60130"/>
                  <a:gd name="connsiteX398" fmla="*/ 76089 w 129695"/>
                  <a:gd name="connsiteY398" fmla="*/ 17193 h 60130"/>
                  <a:gd name="connsiteX399" fmla="*/ 77235 w 129695"/>
                  <a:gd name="connsiteY399" fmla="*/ 17457 h 60130"/>
                  <a:gd name="connsiteX400" fmla="*/ 74855 w 129695"/>
                  <a:gd name="connsiteY400" fmla="*/ 13666 h 60130"/>
                  <a:gd name="connsiteX401" fmla="*/ 74238 w 129695"/>
                  <a:gd name="connsiteY401" fmla="*/ 13401 h 60130"/>
                  <a:gd name="connsiteX402" fmla="*/ 72739 w 129695"/>
                  <a:gd name="connsiteY402" fmla="*/ 12255 h 60130"/>
                  <a:gd name="connsiteX403" fmla="*/ 71857 w 129695"/>
                  <a:gd name="connsiteY403" fmla="*/ 11638 h 60130"/>
                  <a:gd name="connsiteX404" fmla="*/ 71328 w 129695"/>
                  <a:gd name="connsiteY404" fmla="*/ 11374 h 60130"/>
                  <a:gd name="connsiteX405" fmla="*/ 70711 w 129695"/>
                  <a:gd name="connsiteY405" fmla="*/ 11021 h 60130"/>
                  <a:gd name="connsiteX406" fmla="*/ 70447 w 129695"/>
                  <a:gd name="connsiteY406" fmla="*/ 11021 h 60130"/>
                  <a:gd name="connsiteX407" fmla="*/ 70447 w 129695"/>
                  <a:gd name="connsiteY407" fmla="*/ 11638 h 60130"/>
                  <a:gd name="connsiteX408" fmla="*/ 70447 w 129695"/>
                  <a:gd name="connsiteY408" fmla="*/ 12255 h 60130"/>
                  <a:gd name="connsiteX409" fmla="*/ 70182 w 129695"/>
                  <a:gd name="connsiteY409" fmla="*/ 11638 h 60130"/>
                  <a:gd name="connsiteX410" fmla="*/ 69918 w 129695"/>
                  <a:gd name="connsiteY410" fmla="*/ 11903 h 60130"/>
                  <a:gd name="connsiteX411" fmla="*/ 70182 w 129695"/>
                  <a:gd name="connsiteY411" fmla="*/ 12520 h 60130"/>
                  <a:gd name="connsiteX412" fmla="*/ 69918 w 129695"/>
                  <a:gd name="connsiteY412" fmla="*/ 12784 h 60130"/>
                  <a:gd name="connsiteX413" fmla="*/ 69653 w 129695"/>
                  <a:gd name="connsiteY413" fmla="*/ 12784 h 60130"/>
                  <a:gd name="connsiteX414" fmla="*/ 69388 w 129695"/>
                  <a:gd name="connsiteY414" fmla="*/ 12520 h 60130"/>
                  <a:gd name="connsiteX415" fmla="*/ 68771 w 129695"/>
                  <a:gd name="connsiteY415" fmla="*/ 13137 h 60130"/>
                  <a:gd name="connsiteX416" fmla="*/ 69036 w 129695"/>
                  <a:gd name="connsiteY416" fmla="*/ 14019 h 60130"/>
                  <a:gd name="connsiteX417" fmla="*/ 68507 w 129695"/>
                  <a:gd name="connsiteY417" fmla="*/ 14283 h 60130"/>
                  <a:gd name="connsiteX418" fmla="*/ 67625 w 129695"/>
                  <a:gd name="connsiteY418" fmla="*/ 14283 h 60130"/>
                  <a:gd name="connsiteX419" fmla="*/ 67361 w 129695"/>
                  <a:gd name="connsiteY419" fmla="*/ 13754 h 60130"/>
                  <a:gd name="connsiteX420" fmla="*/ 68507 w 129695"/>
                  <a:gd name="connsiteY420" fmla="*/ 11991 h 60130"/>
                  <a:gd name="connsiteX421" fmla="*/ 69653 w 129695"/>
                  <a:gd name="connsiteY421" fmla="*/ 10845 h 60130"/>
                  <a:gd name="connsiteX422" fmla="*/ 70270 w 129695"/>
                  <a:gd name="connsiteY422" fmla="*/ 10580 h 60130"/>
                  <a:gd name="connsiteX423" fmla="*/ 70535 w 129695"/>
                  <a:gd name="connsiteY423" fmla="*/ 8288 h 60130"/>
                  <a:gd name="connsiteX424" fmla="*/ 70270 w 129695"/>
                  <a:gd name="connsiteY424" fmla="*/ 8023 h 60130"/>
                  <a:gd name="connsiteX425" fmla="*/ 70270 w 129695"/>
                  <a:gd name="connsiteY425" fmla="*/ 7406 h 60130"/>
                  <a:gd name="connsiteX426" fmla="*/ 69388 w 129695"/>
                  <a:gd name="connsiteY426" fmla="*/ 7406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</a:cxnLst>
                <a:rect l="l" t="t" r="r" b="b"/>
                <a:pathLst>
                  <a:path w="129695" h="60130">
                    <a:moveTo>
                      <a:pt x="72034" y="5025"/>
                    </a:moveTo>
                    <a:lnTo>
                      <a:pt x="71416" y="5025"/>
                    </a:lnTo>
                    <a:lnTo>
                      <a:pt x="71416" y="5290"/>
                    </a:lnTo>
                    <a:lnTo>
                      <a:pt x="72034" y="5025"/>
                    </a:lnTo>
                    <a:close/>
                    <a:moveTo>
                      <a:pt x="72034" y="7406"/>
                    </a:moveTo>
                    <a:lnTo>
                      <a:pt x="71152" y="7759"/>
                    </a:lnTo>
                    <a:lnTo>
                      <a:pt x="70535" y="7142"/>
                    </a:lnTo>
                    <a:lnTo>
                      <a:pt x="70535" y="6524"/>
                    </a:lnTo>
                    <a:lnTo>
                      <a:pt x="73180" y="4761"/>
                    </a:lnTo>
                    <a:lnTo>
                      <a:pt x="75560" y="3262"/>
                    </a:lnTo>
                    <a:lnTo>
                      <a:pt x="76706" y="881"/>
                    </a:lnTo>
                    <a:lnTo>
                      <a:pt x="77324" y="0"/>
                    </a:lnTo>
                    <a:lnTo>
                      <a:pt x="79352" y="0"/>
                    </a:lnTo>
                    <a:lnTo>
                      <a:pt x="79352" y="1146"/>
                    </a:lnTo>
                    <a:lnTo>
                      <a:pt x="80850" y="881"/>
                    </a:lnTo>
                    <a:lnTo>
                      <a:pt x="86141" y="2028"/>
                    </a:lnTo>
                    <a:lnTo>
                      <a:pt x="89315" y="1146"/>
                    </a:lnTo>
                    <a:lnTo>
                      <a:pt x="91342" y="1763"/>
                    </a:lnTo>
                    <a:lnTo>
                      <a:pt x="91078" y="2645"/>
                    </a:lnTo>
                    <a:lnTo>
                      <a:pt x="89050" y="2909"/>
                    </a:lnTo>
                    <a:lnTo>
                      <a:pt x="89050" y="3791"/>
                    </a:lnTo>
                    <a:lnTo>
                      <a:pt x="89667" y="4673"/>
                    </a:lnTo>
                    <a:lnTo>
                      <a:pt x="91695" y="4056"/>
                    </a:lnTo>
                    <a:lnTo>
                      <a:pt x="93459" y="5202"/>
                    </a:lnTo>
                    <a:lnTo>
                      <a:pt x="94340" y="4585"/>
                    </a:lnTo>
                    <a:lnTo>
                      <a:pt x="99278" y="5202"/>
                    </a:lnTo>
                    <a:lnTo>
                      <a:pt x="100159" y="4585"/>
                    </a:lnTo>
                    <a:lnTo>
                      <a:pt x="105978" y="6084"/>
                    </a:lnTo>
                    <a:lnTo>
                      <a:pt x="108006" y="8376"/>
                    </a:lnTo>
                    <a:lnTo>
                      <a:pt x="111533" y="9258"/>
                    </a:lnTo>
                    <a:lnTo>
                      <a:pt x="115060" y="14195"/>
                    </a:lnTo>
                    <a:lnTo>
                      <a:pt x="115060" y="12432"/>
                    </a:lnTo>
                    <a:lnTo>
                      <a:pt x="116206" y="14195"/>
                    </a:lnTo>
                    <a:lnTo>
                      <a:pt x="117705" y="16575"/>
                    </a:lnTo>
                    <a:lnTo>
                      <a:pt x="117088" y="17105"/>
                    </a:lnTo>
                    <a:lnTo>
                      <a:pt x="120262" y="20014"/>
                    </a:lnTo>
                    <a:lnTo>
                      <a:pt x="120262" y="19397"/>
                    </a:lnTo>
                    <a:lnTo>
                      <a:pt x="121143" y="20896"/>
                    </a:lnTo>
                    <a:lnTo>
                      <a:pt x="122025" y="20896"/>
                    </a:lnTo>
                    <a:lnTo>
                      <a:pt x="121761" y="22659"/>
                    </a:lnTo>
                    <a:lnTo>
                      <a:pt x="124053" y="23805"/>
                    </a:lnTo>
                    <a:lnTo>
                      <a:pt x="125199" y="23541"/>
                    </a:lnTo>
                    <a:lnTo>
                      <a:pt x="124053" y="24423"/>
                    </a:lnTo>
                    <a:lnTo>
                      <a:pt x="124053" y="25304"/>
                    </a:lnTo>
                    <a:lnTo>
                      <a:pt x="122907" y="26451"/>
                    </a:lnTo>
                    <a:lnTo>
                      <a:pt x="122642" y="27332"/>
                    </a:lnTo>
                    <a:lnTo>
                      <a:pt x="122907" y="28214"/>
                    </a:lnTo>
                    <a:lnTo>
                      <a:pt x="123788" y="28214"/>
                    </a:lnTo>
                    <a:lnTo>
                      <a:pt x="124935" y="29977"/>
                    </a:lnTo>
                    <a:lnTo>
                      <a:pt x="124670" y="32887"/>
                    </a:lnTo>
                    <a:lnTo>
                      <a:pt x="126433" y="33151"/>
                    </a:lnTo>
                    <a:lnTo>
                      <a:pt x="126169" y="34650"/>
                    </a:lnTo>
                    <a:lnTo>
                      <a:pt x="127051" y="34915"/>
                    </a:lnTo>
                    <a:lnTo>
                      <a:pt x="127932" y="37824"/>
                    </a:lnTo>
                    <a:lnTo>
                      <a:pt x="129696" y="40998"/>
                    </a:lnTo>
                    <a:lnTo>
                      <a:pt x="125904" y="42144"/>
                    </a:lnTo>
                    <a:lnTo>
                      <a:pt x="125023" y="43290"/>
                    </a:lnTo>
                    <a:lnTo>
                      <a:pt x="124141" y="45318"/>
                    </a:lnTo>
                    <a:lnTo>
                      <a:pt x="125023" y="47611"/>
                    </a:lnTo>
                    <a:lnTo>
                      <a:pt x="121496" y="49639"/>
                    </a:lnTo>
                    <a:lnTo>
                      <a:pt x="119733" y="51138"/>
                    </a:lnTo>
                    <a:lnTo>
                      <a:pt x="118851" y="51138"/>
                    </a:lnTo>
                    <a:lnTo>
                      <a:pt x="118851" y="49991"/>
                    </a:lnTo>
                    <a:lnTo>
                      <a:pt x="117352" y="48493"/>
                    </a:lnTo>
                    <a:lnTo>
                      <a:pt x="115589" y="47346"/>
                    </a:lnTo>
                    <a:lnTo>
                      <a:pt x="115324" y="49110"/>
                    </a:lnTo>
                    <a:lnTo>
                      <a:pt x="116206" y="52019"/>
                    </a:lnTo>
                    <a:lnTo>
                      <a:pt x="115324" y="52901"/>
                    </a:lnTo>
                    <a:lnTo>
                      <a:pt x="114178" y="52901"/>
                    </a:lnTo>
                    <a:lnTo>
                      <a:pt x="112679" y="59073"/>
                    </a:lnTo>
                    <a:lnTo>
                      <a:pt x="111798" y="59073"/>
                    </a:lnTo>
                    <a:lnTo>
                      <a:pt x="110034" y="56692"/>
                    </a:lnTo>
                    <a:lnTo>
                      <a:pt x="109417" y="54664"/>
                    </a:lnTo>
                    <a:lnTo>
                      <a:pt x="107389" y="53782"/>
                    </a:lnTo>
                    <a:lnTo>
                      <a:pt x="106772" y="51755"/>
                    </a:lnTo>
                    <a:lnTo>
                      <a:pt x="106155" y="52019"/>
                    </a:lnTo>
                    <a:lnTo>
                      <a:pt x="106155" y="50873"/>
                    </a:lnTo>
                    <a:lnTo>
                      <a:pt x="105890" y="51138"/>
                    </a:lnTo>
                    <a:lnTo>
                      <a:pt x="105890" y="49991"/>
                    </a:lnTo>
                    <a:lnTo>
                      <a:pt x="104127" y="48228"/>
                    </a:lnTo>
                    <a:lnTo>
                      <a:pt x="104127" y="46729"/>
                    </a:lnTo>
                    <a:lnTo>
                      <a:pt x="101482" y="41527"/>
                    </a:lnTo>
                    <a:lnTo>
                      <a:pt x="101482" y="40645"/>
                    </a:lnTo>
                    <a:lnTo>
                      <a:pt x="100865" y="38882"/>
                    </a:lnTo>
                    <a:lnTo>
                      <a:pt x="101129" y="37736"/>
                    </a:lnTo>
                    <a:lnTo>
                      <a:pt x="101394" y="37472"/>
                    </a:lnTo>
                    <a:lnTo>
                      <a:pt x="101658" y="37736"/>
                    </a:lnTo>
                    <a:lnTo>
                      <a:pt x="101658" y="38001"/>
                    </a:lnTo>
                    <a:lnTo>
                      <a:pt x="103421" y="38618"/>
                    </a:lnTo>
                    <a:lnTo>
                      <a:pt x="104039" y="38618"/>
                    </a:lnTo>
                    <a:lnTo>
                      <a:pt x="104920" y="37736"/>
                    </a:lnTo>
                    <a:lnTo>
                      <a:pt x="105538" y="35708"/>
                    </a:lnTo>
                    <a:lnTo>
                      <a:pt x="104391" y="34209"/>
                    </a:lnTo>
                    <a:lnTo>
                      <a:pt x="104391" y="33945"/>
                    </a:lnTo>
                    <a:lnTo>
                      <a:pt x="105273" y="33945"/>
                    </a:lnTo>
                    <a:lnTo>
                      <a:pt x="105538" y="33328"/>
                    </a:lnTo>
                    <a:lnTo>
                      <a:pt x="105273" y="32446"/>
                    </a:lnTo>
                    <a:lnTo>
                      <a:pt x="105538" y="32446"/>
                    </a:lnTo>
                    <a:lnTo>
                      <a:pt x="106419" y="33328"/>
                    </a:lnTo>
                    <a:lnTo>
                      <a:pt x="107036" y="33063"/>
                    </a:lnTo>
                    <a:lnTo>
                      <a:pt x="107565" y="32534"/>
                    </a:lnTo>
                    <a:lnTo>
                      <a:pt x="107565" y="30771"/>
                    </a:lnTo>
                    <a:lnTo>
                      <a:pt x="107830" y="30153"/>
                    </a:lnTo>
                    <a:lnTo>
                      <a:pt x="108447" y="30418"/>
                    </a:lnTo>
                    <a:lnTo>
                      <a:pt x="109946" y="33945"/>
                    </a:lnTo>
                    <a:lnTo>
                      <a:pt x="110563" y="33945"/>
                    </a:lnTo>
                    <a:lnTo>
                      <a:pt x="111180" y="34474"/>
                    </a:lnTo>
                    <a:lnTo>
                      <a:pt x="114707" y="35355"/>
                    </a:lnTo>
                    <a:lnTo>
                      <a:pt x="114707" y="35620"/>
                    </a:lnTo>
                    <a:lnTo>
                      <a:pt x="114707" y="36502"/>
                    </a:lnTo>
                    <a:lnTo>
                      <a:pt x="115589" y="37648"/>
                    </a:lnTo>
                    <a:lnTo>
                      <a:pt x="115853" y="37648"/>
                    </a:lnTo>
                    <a:lnTo>
                      <a:pt x="116118" y="37383"/>
                    </a:lnTo>
                    <a:lnTo>
                      <a:pt x="116735" y="37031"/>
                    </a:lnTo>
                    <a:lnTo>
                      <a:pt x="116735" y="36766"/>
                    </a:lnTo>
                    <a:lnTo>
                      <a:pt x="116118" y="37031"/>
                    </a:lnTo>
                    <a:lnTo>
                      <a:pt x="115853" y="35884"/>
                    </a:lnTo>
                    <a:lnTo>
                      <a:pt x="115236" y="35620"/>
                    </a:lnTo>
                    <a:lnTo>
                      <a:pt x="115236" y="35708"/>
                    </a:lnTo>
                    <a:lnTo>
                      <a:pt x="115501" y="35355"/>
                    </a:lnTo>
                    <a:lnTo>
                      <a:pt x="115236" y="35091"/>
                    </a:lnTo>
                    <a:lnTo>
                      <a:pt x="111445" y="33945"/>
                    </a:lnTo>
                    <a:lnTo>
                      <a:pt x="110563" y="33680"/>
                    </a:lnTo>
                    <a:lnTo>
                      <a:pt x="109681" y="30506"/>
                    </a:lnTo>
                    <a:lnTo>
                      <a:pt x="110299" y="29889"/>
                    </a:lnTo>
                    <a:lnTo>
                      <a:pt x="109681" y="29007"/>
                    </a:lnTo>
                    <a:lnTo>
                      <a:pt x="109417" y="28743"/>
                    </a:lnTo>
                    <a:lnTo>
                      <a:pt x="109417" y="27861"/>
                    </a:lnTo>
                    <a:lnTo>
                      <a:pt x="109417" y="27596"/>
                    </a:lnTo>
                    <a:lnTo>
                      <a:pt x="109152" y="26980"/>
                    </a:lnTo>
                    <a:lnTo>
                      <a:pt x="108888" y="26715"/>
                    </a:lnTo>
                    <a:lnTo>
                      <a:pt x="108624" y="27596"/>
                    </a:lnTo>
                    <a:lnTo>
                      <a:pt x="109505" y="29007"/>
                    </a:lnTo>
                    <a:lnTo>
                      <a:pt x="109505" y="29889"/>
                    </a:lnTo>
                    <a:lnTo>
                      <a:pt x="108888" y="29007"/>
                    </a:lnTo>
                    <a:lnTo>
                      <a:pt x="108006" y="28478"/>
                    </a:lnTo>
                    <a:lnTo>
                      <a:pt x="107742" y="29360"/>
                    </a:lnTo>
                    <a:lnTo>
                      <a:pt x="107213" y="30506"/>
                    </a:lnTo>
                    <a:lnTo>
                      <a:pt x="106067" y="30771"/>
                    </a:lnTo>
                    <a:lnTo>
                      <a:pt x="105449" y="30506"/>
                    </a:lnTo>
                    <a:lnTo>
                      <a:pt x="106948" y="29889"/>
                    </a:lnTo>
                    <a:lnTo>
                      <a:pt x="107213" y="29272"/>
                    </a:lnTo>
                    <a:lnTo>
                      <a:pt x="106948" y="27244"/>
                    </a:lnTo>
                    <a:lnTo>
                      <a:pt x="106684" y="26980"/>
                    </a:lnTo>
                    <a:lnTo>
                      <a:pt x="106067" y="29624"/>
                    </a:lnTo>
                    <a:lnTo>
                      <a:pt x="105802" y="29007"/>
                    </a:lnTo>
                    <a:lnTo>
                      <a:pt x="106067" y="28478"/>
                    </a:lnTo>
                    <a:lnTo>
                      <a:pt x="105802" y="27596"/>
                    </a:lnTo>
                    <a:lnTo>
                      <a:pt x="105185" y="29624"/>
                    </a:lnTo>
                    <a:lnTo>
                      <a:pt x="104568" y="28126"/>
                    </a:lnTo>
                    <a:lnTo>
                      <a:pt x="103686" y="29624"/>
                    </a:lnTo>
                    <a:lnTo>
                      <a:pt x="103069" y="29889"/>
                    </a:lnTo>
                    <a:lnTo>
                      <a:pt x="103333" y="28743"/>
                    </a:lnTo>
                    <a:lnTo>
                      <a:pt x="102452" y="26715"/>
                    </a:lnTo>
                    <a:lnTo>
                      <a:pt x="102187" y="27596"/>
                    </a:lnTo>
                    <a:lnTo>
                      <a:pt x="103069" y="30506"/>
                    </a:lnTo>
                    <a:lnTo>
                      <a:pt x="103069" y="31652"/>
                    </a:lnTo>
                    <a:lnTo>
                      <a:pt x="102804" y="32269"/>
                    </a:lnTo>
                    <a:lnTo>
                      <a:pt x="102187" y="31652"/>
                    </a:lnTo>
                    <a:lnTo>
                      <a:pt x="101658" y="31388"/>
                    </a:lnTo>
                    <a:lnTo>
                      <a:pt x="101658" y="29095"/>
                    </a:lnTo>
                    <a:lnTo>
                      <a:pt x="101129" y="29095"/>
                    </a:lnTo>
                    <a:lnTo>
                      <a:pt x="100865" y="29977"/>
                    </a:lnTo>
                    <a:lnTo>
                      <a:pt x="100247" y="29095"/>
                    </a:lnTo>
                    <a:lnTo>
                      <a:pt x="100512" y="28214"/>
                    </a:lnTo>
                    <a:lnTo>
                      <a:pt x="100512" y="27596"/>
                    </a:lnTo>
                    <a:lnTo>
                      <a:pt x="100247" y="26980"/>
                    </a:lnTo>
                    <a:lnTo>
                      <a:pt x="99366" y="26098"/>
                    </a:lnTo>
                    <a:lnTo>
                      <a:pt x="100512" y="26098"/>
                    </a:lnTo>
                    <a:lnTo>
                      <a:pt x="99630" y="25481"/>
                    </a:lnTo>
                    <a:lnTo>
                      <a:pt x="100247" y="25128"/>
                    </a:lnTo>
                    <a:lnTo>
                      <a:pt x="100247" y="24599"/>
                    </a:lnTo>
                    <a:lnTo>
                      <a:pt x="98484" y="24334"/>
                    </a:lnTo>
                    <a:lnTo>
                      <a:pt x="97955" y="23717"/>
                    </a:lnTo>
                    <a:lnTo>
                      <a:pt x="98220" y="23100"/>
                    </a:lnTo>
                    <a:lnTo>
                      <a:pt x="97955" y="21072"/>
                    </a:lnTo>
                    <a:lnTo>
                      <a:pt x="97955" y="22218"/>
                    </a:lnTo>
                    <a:lnTo>
                      <a:pt x="97338" y="22218"/>
                    </a:lnTo>
                    <a:lnTo>
                      <a:pt x="97073" y="22836"/>
                    </a:lnTo>
                    <a:lnTo>
                      <a:pt x="96456" y="22571"/>
                    </a:lnTo>
                    <a:lnTo>
                      <a:pt x="95310" y="21425"/>
                    </a:lnTo>
                    <a:lnTo>
                      <a:pt x="95046" y="20279"/>
                    </a:lnTo>
                    <a:lnTo>
                      <a:pt x="94428" y="19132"/>
                    </a:lnTo>
                    <a:lnTo>
                      <a:pt x="93547" y="20279"/>
                    </a:lnTo>
                    <a:lnTo>
                      <a:pt x="93282" y="20279"/>
                    </a:lnTo>
                    <a:lnTo>
                      <a:pt x="92400" y="19661"/>
                    </a:lnTo>
                    <a:lnTo>
                      <a:pt x="91871" y="17898"/>
                    </a:lnTo>
                    <a:lnTo>
                      <a:pt x="90990" y="16752"/>
                    </a:lnTo>
                    <a:lnTo>
                      <a:pt x="88697" y="16487"/>
                    </a:lnTo>
                    <a:lnTo>
                      <a:pt x="88080" y="16223"/>
                    </a:lnTo>
                    <a:lnTo>
                      <a:pt x="87816" y="15958"/>
                    </a:lnTo>
                    <a:lnTo>
                      <a:pt x="88080" y="15077"/>
                    </a:lnTo>
                    <a:lnTo>
                      <a:pt x="88345" y="13930"/>
                    </a:lnTo>
                    <a:lnTo>
                      <a:pt x="87728" y="13666"/>
                    </a:lnTo>
                    <a:lnTo>
                      <a:pt x="88609" y="13401"/>
                    </a:lnTo>
                    <a:lnTo>
                      <a:pt x="89491" y="12784"/>
                    </a:lnTo>
                    <a:lnTo>
                      <a:pt x="90108" y="12167"/>
                    </a:lnTo>
                    <a:lnTo>
                      <a:pt x="90373" y="11638"/>
                    </a:lnTo>
                    <a:lnTo>
                      <a:pt x="89755" y="11638"/>
                    </a:lnTo>
                    <a:lnTo>
                      <a:pt x="87728" y="13401"/>
                    </a:lnTo>
                    <a:lnTo>
                      <a:pt x="87463" y="14019"/>
                    </a:lnTo>
                    <a:lnTo>
                      <a:pt x="87728" y="14548"/>
                    </a:lnTo>
                    <a:lnTo>
                      <a:pt x="87728" y="15165"/>
                    </a:lnTo>
                    <a:lnTo>
                      <a:pt x="87463" y="16311"/>
                    </a:lnTo>
                    <a:lnTo>
                      <a:pt x="87199" y="16311"/>
                    </a:lnTo>
                    <a:lnTo>
                      <a:pt x="86317" y="15165"/>
                    </a:lnTo>
                    <a:lnTo>
                      <a:pt x="85700" y="14548"/>
                    </a:lnTo>
                    <a:lnTo>
                      <a:pt x="83672" y="14283"/>
                    </a:lnTo>
                    <a:lnTo>
                      <a:pt x="81644" y="15165"/>
                    </a:lnTo>
                    <a:lnTo>
                      <a:pt x="81644" y="15429"/>
                    </a:lnTo>
                    <a:lnTo>
                      <a:pt x="78734" y="17457"/>
                    </a:lnTo>
                    <a:lnTo>
                      <a:pt x="77853" y="17193"/>
                    </a:lnTo>
                    <a:lnTo>
                      <a:pt x="77588" y="14812"/>
                    </a:lnTo>
                    <a:lnTo>
                      <a:pt x="76177" y="13930"/>
                    </a:lnTo>
                    <a:lnTo>
                      <a:pt x="75913" y="12784"/>
                    </a:lnTo>
                    <a:lnTo>
                      <a:pt x="76177" y="11903"/>
                    </a:lnTo>
                    <a:lnTo>
                      <a:pt x="77059" y="10139"/>
                    </a:lnTo>
                    <a:lnTo>
                      <a:pt x="76177" y="10757"/>
                    </a:lnTo>
                    <a:lnTo>
                      <a:pt x="75296" y="10757"/>
                    </a:lnTo>
                    <a:lnTo>
                      <a:pt x="75031" y="11903"/>
                    </a:lnTo>
                    <a:lnTo>
                      <a:pt x="73268" y="11638"/>
                    </a:lnTo>
                    <a:lnTo>
                      <a:pt x="72651" y="10492"/>
                    </a:lnTo>
                    <a:lnTo>
                      <a:pt x="71505" y="10492"/>
                    </a:lnTo>
                    <a:lnTo>
                      <a:pt x="72122" y="9346"/>
                    </a:lnTo>
                    <a:lnTo>
                      <a:pt x="73621" y="8729"/>
                    </a:lnTo>
                    <a:lnTo>
                      <a:pt x="72739" y="8464"/>
                    </a:lnTo>
                    <a:lnTo>
                      <a:pt x="72210" y="9081"/>
                    </a:lnTo>
                    <a:lnTo>
                      <a:pt x="71945" y="8464"/>
                    </a:lnTo>
                    <a:lnTo>
                      <a:pt x="72210" y="8200"/>
                    </a:lnTo>
                    <a:lnTo>
                      <a:pt x="72474" y="7935"/>
                    </a:lnTo>
                    <a:lnTo>
                      <a:pt x="72034" y="7406"/>
                    </a:lnTo>
                    <a:close/>
                    <a:moveTo>
                      <a:pt x="69388" y="7406"/>
                    </a:moveTo>
                    <a:lnTo>
                      <a:pt x="67978" y="7406"/>
                    </a:lnTo>
                    <a:lnTo>
                      <a:pt x="65333" y="10316"/>
                    </a:lnTo>
                    <a:lnTo>
                      <a:pt x="54841" y="13578"/>
                    </a:lnTo>
                    <a:lnTo>
                      <a:pt x="51931" y="15958"/>
                    </a:lnTo>
                    <a:lnTo>
                      <a:pt x="49903" y="16223"/>
                    </a:lnTo>
                    <a:lnTo>
                      <a:pt x="49903" y="18251"/>
                    </a:lnTo>
                    <a:lnTo>
                      <a:pt x="49022" y="19750"/>
                    </a:lnTo>
                    <a:lnTo>
                      <a:pt x="46377" y="19750"/>
                    </a:lnTo>
                    <a:lnTo>
                      <a:pt x="44349" y="19397"/>
                    </a:lnTo>
                    <a:lnTo>
                      <a:pt x="42850" y="20896"/>
                    </a:lnTo>
                    <a:lnTo>
                      <a:pt x="38441" y="21778"/>
                    </a:lnTo>
                    <a:lnTo>
                      <a:pt x="34650" y="20896"/>
                    </a:lnTo>
                    <a:lnTo>
                      <a:pt x="32005" y="18868"/>
                    </a:lnTo>
                    <a:lnTo>
                      <a:pt x="31741" y="16223"/>
                    </a:lnTo>
                    <a:lnTo>
                      <a:pt x="29713" y="14459"/>
                    </a:lnTo>
                    <a:lnTo>
                      <a:pt x="28214" y="14459"/>
                    </a:lnTo>
                    <a:lnTo>
                      <a:pt x="27332" y="12696"/>
                    </a:lnTo>
                    <a:lnTo>
                      <a:pt x="28214" y="12432"/>
                    </a:lnTo>
                    <a:lnTo>
                      <a:pt x="26451" y="11286"/>
                    </a:lnTo>
                    <a:lnTo>
                      <a:pt x="27332" y="12167"/>
                    </a:lnTo>
                    <a:lnTo>
                      <a:pt x="25569" y="12167"/>
                    </a:lnTo>
                    <a:lnTo>
                      <a:pt x="28743" y="15694"/>
                    </a:lnTo>
                    <a:lnTo>
                      <a:pt x="28743" y="17457"/>
                    </a:lnTo>
                    <a:lnTo>
                      <a:pt x="26098" y="16575"/>
                    </a:lnTo>
                    <a:lnTo>
                      <a:pt x="22307" y="17457"/>
                    </a:lnTo>
                    <a:lnTo>
                      <a:pt x="21160" y="16311"/>
                    </a:lnTo>
                    <a:lnTo>
                      <a:pt x="18515" y="15694"/>
                    </a:lnTo>
                    <a:lnTo>
                      <a:pt x="19133" y="13313"/>
                    </a:lnTo>
                    <a:lnTo>
                      <a:pt x="18251" y="12696"/>
                    </a:lnTo>
                    <a:lnTo>
                      <a:pt x="18251" y="11550"/>
                    </a:lnTo>
                    <a:lnTo>
                      <a:pt x="20543" y="11550"/>
                    </a:lnTo>
                    <a:lnTo>
                      <a:pt x="20543" y="10404"/>
                    </a:lnTo>
                    <a:lnTo>
                      <a:pt x="20279" y="10668"/>
                    </a:lnTo>
                    <a:lnTo>
                      <a:pt x="20014" y="9787"/>
                    </a:lnTo>
                    <a:lnTo>
                      <a:pt x="19133" y="10668"/>
                    </a:lnTo>
                    <a:lnTo>
                      <a:pt x="18868" y="9787"/>
                    </a:lnTo>
                    <a:lnTo>
                      <a:pt x="18251" y="10668"/>
                    </a:lnTo>
                    <a:lnTo>
                      <a:pt x="18251" y="9787"/>
                    </a:lnTo>
                    <a:lnTo>
                      <a:pt x="17634" y="10668"/>
                    </a:lnTo>
                    <a:lnTo>
                      <a:pt x="16135" y="9787"/>
                    </a:lnTo>
                    <a:lnTo>
                      <a:pt x="15518" y="8640"/>
                    </a:lnTo>
                    <a:lnTo>
                      <a:pt x="16664" y="7759"/>
                    </a:lnTo>
                    <a:lnTo>
                      <a:pt x="15782" y="6877"/>
                    </a:lnTo>
                    <a:lnTo>
                      <a:pt x="16928" y="5114"/>
                    </a:lnTo>
                    <a:lnTo>
                      <a:pt x="15429" y="2821"/>
                    </a:lnTo>
                    <a:lnTo>
                      <a:pt x="12255" y="1322"/>
                    </a:lnTo>
                    <a:lnTo>
                      <a:pt x="12255" y="2204"/>
                    </a:lnTo>
                    <a:lnTo>
                      <a:pt x="11374" y="2204"/>
                    </a:lnTo>
                    <a:lnTo>
                      <a:pt x="11374" y="3350"/>
                    </a:lnTo>
                    <a:lnTo>
                      <a:pt x="8464" y="1322"/>
                    </a:lnTo>
                    <a:lnTo>
                      <a:pt x="7847" y="1058"/>
                    </a:lnTo>
                    <a:lnTo>
                      <a:pt x="6701" y="529"/>
                    </a:lnTo>
                    <a:lnTo>
                      <a:pt x="5555" y="1410"/>
                    </a:lnTo>
                    <a:lnTo>
                      <a:pt x="5290" y="2557"/>
                    </a:lnTo>
                    <a:lnTo>
                      <a:pt x="6172" y="3086"/>
                    </a:lnTo>
                    <a:lnTo>
                      <a:pt x="4144" y="3967"/>
                    </a:lnTo>
                    <a:lnTo>
                      <a:pt x="3527" y="13578"/>
                    </a:lnTo>
                    <a:lnTo>
                      <a:pt x="4408" y="13578"/>
                    </a:lnTo>
                    <a:lnTo>
                      <a:pt x="7935" y="17369"/>
                    </a:lnTo>
                    <a:lnTo>
                      <a:pt x="7053" y="18251"/>
                    </a:lnTo>
                    <a:lnTo>
                      <a:pt x="4673" y="19750"/>
                    </a:lnTo>
                    <a:lnTo>
                      <a:pt x="4408" y="20014"/>
                    </a:lnTo>
                    <a:lnTo>
                      <a:pt x="4673" y="20014"/>
                    </a:lnTo>
                    <a:lnTo>
                      <a:pt x="4673" y="20279"/>
                    </a:lnTo>
                    <a:lnTo>
                      <a:pt x="3527" y="22042"/>
                    </a:lnTo>
                    <a:lnTo>
                      <a:pt x="4937" y="24687"/>
                    </a:lnTo>
                    <a:lnTo>
                      <a:pt x="4673" y="29095"/>
                    </a:lnTo>
                    <a:lnTo>
                      <a:pt x="0" y="32622"/>
                    </a:lnTo>
                    <a:lnTo>
                      <a:pt x="1411" y="33504"/>
                    </a:lnTo>
                    <a:lnTo>
                      <a:pt x="2557" y="34386"/>
                    </a:lnTo>
                    <a:lnTo>
                      <a:pt x="3439" y="38177"/>
                    </a:lnTo>
                    <a:lnTo>
                      <a:pt x="3174" y="39323"/>
                    </a:lnTo>
                    <a:lnTo>
                      <a:pt x="3439" y="40205"/>
                    </a:lnTo>
                    <a:lnTo>
                      <a:pt x="4849" y="39059"/>
                    </a:lnTo>
                    <a:lnTo>
                      <a:pt x="5114" y="35532"/>
                    </a:lnTo>
                    <a:lnTo>
                      <a:pt x="4232" y="33768"/>
                    </a:lnTo>
                    <a:lnTo>
                      <a:pt x="5378" y="32358"/>
                    </a:lnTo>
                    <a:lnTo>
                      <a:pt x="8288" y="32622"/>
                    </a:lnTo>
                    <a:lnTo>
                      <a:pt x="10316" y="32358"/>
                    </a:lnTo>
                    <a:lnTo>
                      <a:pt x="11815" y="33768"/>
                    </a:lnTo>
                    <a:lnTo>
                      <a:pt x="13313" y="33504"/>
                    </a:lnTo>
                    <a:lnTo>
                      <a:pt x="13313" y="31740"/>
                    </a:lnTo>
                    <a:lnTo>
                      <a:pt x="13578" y="32358"/>
                    </a:lnTo>
                    <a:lnTo>
                      <a:pt x="13843" y="33504"/>
                    </a:lnTo>
                    <a:lnTo>
                      <a:pt x="14989" y="32975"/>
                    </a:lnTo>
                    <a:lnTo>
                      <a:pt x="14989" y="32358"/>
                    </a:lnTo>
                    <a:lnTo>
                      <a:pt x="16752" y="32358"/>
                    </a:lnTo>
                    <a:lnTo>
                      <a:pt x="17369" y="32975"/>
                    </a:lnTo>
                    <a:lnTo>
                      <a:pt x="17986" y="32358"/>
                    </a:lnTo>
                    <a:lnTo>
                      <a:pt x="17722" y="35267"/>
                    </a:lnTo>
                    <a:lnTo>
                      <a:pt x="19485" y="35267"/>
                    </a:lnTo>
                    <a:lnTo>
                      <a:pt x="19221" y="36413"/>
                    </a:lnTo>
                    <a:lnTo>
                      <a:pt x="19838" y="36678"/>
                    </a:lnTo>
                    <a:lnTo>
                      <a:pt x="20367" y="34650"/>
                    </a:lnTo>
                    <a:lnTo>
                      <a:pt x="22395" y="35532"/>
                    </a:lnTo>
                    <a:lnTo>
                      <a:pt x="22659" y="35267"/>
                    </a:lnTo>
                    <a:lnTo>
                      <a:pt x="23188" y="36149"/>
                    </a:lnTo>
                    <a:lnTo>
                      <a:pt x="24070" y="34650"/>
                    </a:lnTo>
                    <a:lnTo>
                      <a:pt x="23453" y="36149"/>
                    </a:lnTo>
                    <a:lnTo>
                      <a:pt x="27508" y="37560"/>
                    </a:lnTo>
                    <a:lnTo>
                      <a:pt x="28038" y="36149"/>
                    </a:lnTo>
                    <a:lnTo>
                      <a:pt x="29801" y="38441"/>
                    </a:lnTo>
                    <a:lnTo>
                      <a:pt x="28390" y="38441"/>
                    </a:lnTo>
                    <a:lnTo>
                      <a:pt x="29007" y="39059"/>
                    </a:lnTo>
                    <a:lnTo>
                      <a:pt x="28743" y="39323"/>
                    </a:lnTo>
                    <a:lnTo>
                      <a:pt x="29007" y="39940"/>
                    </a:lnTo>
                    <a:lnTo>
                      <a:pt x="29625" y="39059"/>
                    </a:lnTo>
                    <a:lnTo>
                      <a:pt x="30771" y="41968"/>
                    </a:lnTo>
                    <a:lnTo>
                      <a:pt x="30506" y="40822"/>
                    </a:lnTo>
                    <a:lnTo>
                      <a:pt x="31035" y="40822"/>
                    </a:lnTo>
                    <a:lnTo>
                      <a:pt x="30771" y="43114"/>
                    </a:lnTo>
                    <a:lnTo>
                      <a:pt x="31652" y="44260"/>
                    </a:lnTo>
                    <a:lnTo>
                      <a:pt x="30771" y="45759"/>
                    </a:lnTo>
                    <a:lnTo>
                      <a:pt x="31652" y="46905"/>
                    </a:lnTo>
                    <a:lnTo>
                      <a:pt x="33416" y="46905"/>
                    </a:lnTo>
                    <a:lnTo>
                      <a:pt x="32270" y="48052"/>
                    </a:lnTo>
                    <a:lnTo>
                      <a:pt x="33680" y="49198"/>
                    </a:lnTo>
                    <a:lnTo>
                      <a:pt x="35444" y="48581"/>
                    </a:lnTo>
                    <a:lnTo>
                      <a:pt x="37207" y="48581"/>
                    </a:lnTo>
                    <a:lnTo>
                      <a:pt x="39235" y="50344"/>
                    </a:lnTo>
                    <a:lnTo>
                      <a:pt x="39852" y="49462"/>
                    </a:lnTo>
                    <a:lnTo>
                      <a:pt x="38706" y="46817"/>
                    </a:lnTo>
                    <a:lnTo>
                      <a:pt x="39588" y="47082"/>
                    </a:lnTo>
                    <a:lnTo>
                      <a:pt x="40469" y="46200"/>
                    </a:lnTo>
                    <a:lnTo>
                      <a:pt x="39323" y="43555"/>
                    </a:lnTo>
                    <a:lnTo>
                      <a:pt x="39588" y="42938"/>
                    </a:lnTo>
                    <a:lnTo>
                      <a:pt x="41968" y="44701"/>
                    </a:lnTo>
                    <a:lnTo>
                      <a:pt x="43114" y="42673"/>
                    </a:lnTo>
                    <a:lnTo>
                      <a:pt x="43114" y="44701"/>
                    </a:lnTo>
                    <a:lnTo>
                      <a:pt x="43996" y="44966"/>
                    </a:lnTo>
                    <a:lnTo>
                      <a:pt x="42233" y="46112"/>
                    </a:lnTo>
                    <a:lnTo>
                      <a:pt x="43996" y="47875"/>
                    </a:lnTo>
                    <a:lnTo>
                      <a:pt x="43114" y="48493"/>
                    </a:lnTo>
                    <a:lnTo>
                      <a:pt x="44261" y="49639"/>
                    </a:lnTo>
                    <a:lnTo>
                      <a:pt x="44790" y="51402"/>
                    </a:lnTo>
                    <a:lnTo>
                      <a:pt x="44525" y="52548"/>
                    </a:lnTo>
                    <a:lnTo>
                      <a:pt x="45671" y="53430"/>
                    </a:lnTo>
                    <a:lnTo>
                      <a:pt x="46288" y="56339"/>
                    </a:lnTo>
                    <a:lnTo>
                      <a:pt x="45142" y="58985"/>
                    </a:lnTo>
                    <a:lnTo>
                      <a:pt x="45759" y="58985"/>
                    </a:lnTo>
                    <a:lnTo>
                      <a:pt x="46641" y="60131"/>
                    </a:lnTo>
                    <a:lnTo>
                      <a:pt x="55987" y="58985"/>
                    </a:lnTo>
                    <a:lnTo>
                      <a:pt x="58279" y="57221"/>
                    </a:lnTo>
                    <a:lnTo>
                      <a:pt x="57750" y="56075"/>
                    </a:lnTo>
                    <a:lnTo>
                      <a:pt x="60043" y="54929"/>
                    </a:lnTo>
                    <a:lnTo>
                      <a:pt x="59161" y="54929"/>
                    </a:lnTo>
                    <a:lnTo>
                      <a:pt x="65597" y="54047"/>
                    </a:lnTo>
                    <a:lnTo>
                      <a:pt x="66479" y="52284"/>
                    </a:lnTo>
                    <a:lnTo>
                      <a:pt x="63305" y="46994"/>
                    </a:lnTo>
                    <a:lnTo>
                      <a:pt x="59249" y="42585"/>
                    </a:lnTo>
                    <a:lnTo>
                      <a:pt x="59249" y="41439"/>
                    </a:lnTo>
                    <a:lnTo>
                      <a:pt x="56604" y="39676"/>
                    </a:lnTo>
                    <a:lnTo>
                      <a:pt x="55987" y="37912"/>
                    </a:lnTo>
                    <a:lnTo>
                      <a:pt x="56251" y="35003"/>
                    </a:lnTo>
                    <a:lnTo>
                      <a:pt x="58279" y="32710"/>
                    </a:lnTo>
                    <a:lnTo>
                      <a:pt x="61453" y="32710"/>
                    </a:lnTo>
                    <a:lnTo>
                      <a:pt x="66391" y="30330"/>
                    </a:lnTo>
                    <a:lnTo>
                      <a:pt x="69918" y="26803"/>
                    </a:lnTo>
                    <a:lnTo>
                      <a:pt x="72563" y="25657"/>
                    </a:lnTo>
                    <a:lnTo>
                      <a:pt x="70799" y="24511"/>
                    </a:lnTo>
                    <a:lnTo>
                      <a:pt x="73180" y="22747"/>
                    </a:lnTo>
                    <a:lnTo>
                      <a:pt x="72563" y="20984"/>
                    </a:lnTo>
                    <a:lnTo>
                      <a:pt x="72563" y="20102"/>
                    </a:lnTo>
                    <a:lnTo>
                      <a:pt x="73709" y="18603"/>
                    </a:lnTo>
                    <a:lnTo>
                      <a:pt x="74591" y="18339"/>
                    </a:lnTo>
                    <a:lnTo>
                      <a:pt x="75472" y="18339"/>
                    </a:lnTo>
                    <a:lnTo>
                      <a:pt x="76089" y="17193"/>
                    </a:lnTo>
                    <a:lnTo>
                      <a:pt x="77235" y="17457"/>
                    </a:lnTo>
                    <a:lnTo>
                      <a:pt x="74855" y="13666"/>
                    </a:lnTo>
                    <a:lnTo>
                      <a:pt x="74238" y="13401"/>
                    </a:lnTo>
                    <a:lnTo>
                      <a:pt x="72739" y="12255"/>
                    </a:lnTo>
                    <a:lnTo>
                      <a:pt x="71857" y="11638"/>
                    </a:lnTo>
                    <a:lnTo>
                      <a:pt x="71328" y="11374"/>
                    </a:lnTo>
                    <a:lnTo>
                      <a:pt x="70711" y="11021"/>
                    </a:lnTo>
                    <a:lnTo>
                      <a:pt x="70447" y="11021"/>
                    </a:lnTo>
                    <a:lnTo>
                      <a:pt x="70447" y="11638"/>
                    </a:lnTo>
                    <a:lnTo>
                      <a:pt x="70447" y="12255"/>
                    </a:lnTo>
                    <a:lnTo>
                      <a:pt x="70182" y="11638"/>
                    </a:lnTo>
                    <a:lnTo>
                      <a:pt x="69918" y="11903"/>
                    </a:lnTo>
                    <a:lnTo>
                      <a:pt x="70182" y="12520"/>
                    </a:lnTo>
                    <a:lnTo>
                      <a:pt x="69918" y="12784"/>
                    </a:lnTo>
                    <a:lnTo>
                      <a:pt x="69653" y="12784"/>
                    </a:lnTo>
                    <a:lnTo>
                      <a:pt x="69388" y="12520"/>
                    </a:lnTo>
                    <a:lnTo>
                      <a:pt x="68771" y="13137"/>
                    </a:lnTo>
                    <a:lnTo>
                      <a:pt x="69036" y="14019"/>
                    </a:lnTo>
                    <a:lnTo>
                      <a:pt x="68507" y="14283"/>
                    </a:lnTo>
                    <a:lnTo>
                      <a:pt x="67625" y="14283"/>
                    </a:lnTo>
                    <a:lnTo>
                      <a:pt x="67361" y="13754"/>
                    </a:lnTo>
                    <a:lnTo>
                      <a:pt x="68507" y="11991"/>
                    </a:lnTo>
                    <a:lnTo>
                      <a:pt x="69653" y="10845"/>
                    </a:lnTo>
                    <a:lnTo>
                      <a:pt x="70270" y="10580"/>
                    </a:lnTo>
                    <a:lnTo>
                      <a:pt x="70535" y="8288"/>
                    </a:lnTo>
                    <a:lnTo>
                      <a:pt x="70270" y="8023"/>
                    </a:lnTo>
                    <a:lnTo>
                      <a:pt x="70270" y="7406"/>
                    </a:lnTo>
                    <a:lnTo>
                      <a:pt x="69388" y="74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2" name="Freihandform: Form 1771">
                <a:extLst>
                  <a:ext uri="{FF2B5EF4-FFF2-40B4-BE49-F238E27FC236}">
                    <a16:creationId xmlns:a16="http://schemas.microsoft.com/office/drawing/2014/main" id="{E3BD9E11-8FAD-8C37-1924-1ED15FBB0CD9}"/>
                  </a:ext>
                </a:extLst>
              </p:cNvPr>
              <p:cNvSpPr/>
              <p:nvPr/>
            </p:nvSpPr>
            <p:spPr>
              <a:xfrm>
                <a:off x="2729593" y="3814119"/>
                <a:ext cx="7317" cy="19397"/>
              </a:xfrm>
              <a:custGeom>
                <a:avLst/>
                <a:gdLst>
                  <a:gd name="connsiteX0" fmla="*/ 6084 w 7317"/>
                  <a:gd name="connsiteY0" fmla="*/ 5731 h 19397"/>
                  <a:gd name="connsiteX1" fmla="*/ 5819 w 7317"/>
                  <a:gd name="connsiteY1" fmla="*/ 5731 h 19397"/>
                  <a:gd name="connsiteX2" fmla="*/ 5555 w 7317"/>
                  <a:gd name="connsiteY2" fmla="*/ 5466 h 19397"/>
                  <a:gd name="connsiteX3" fmla="*/ 5290 w 7317"/>
                  <a:gd name="connsiteY3" fmla="*/ 5466 h 19397"/>
                  <a:gd name="connsiteX4" fmla="*/ 5026 w 7317"/>
                  <a:gd name="connsiteY4" fmla="*/ 5202 h 19397"/>
                  <a:gd name="connsiteX5" fmla="*/ 4761 w 7317"/>
                  <a:gd name="connsiteY5" fmla="*/ 5202 h 19397"/>
                  <a:gd name="connsiteX6" fmla="*/ 4761 w 7317"/>
                  <a:gd name="connsiteY6" fmla="*/ 4937 h 19397"/>
                  <a:gd name="connsiteX7" fmla="*/ 4497 w 7317"/>
                  <a:gd name="connsiteY7" fmla="*/ 4673 h 19397"/>
                  <a:gd name="connsiteX8" fmla="*/ 4232 w 7317"/>
                  <a:gd name="connsiteY8" fmla="*/ 4408 h 19397"/>
                  <a:gd name="connsiteX9" fmla="*/ 4232 w 7317"/>
                  <a:gd name="connsiteY9" fmla="*/ 4144 h 19397"/>
                  <a:gd name="connsiteX10" fmla="*/ 3968 w 7317"/>
                  <a:gd name="connsiteY10" fmla="*/ 4144 h 19397"/>
                  <a:gd name="connsiteX11" fmla="*/ 3968 w 7317"/>
                  <a:gd name="connsiteY11" fmla="*/ 3791 h 19397"/>
                  <a:gd name="connsiteX12" fmla="*/ 4232 w 7317"/>
                  <a:gd name="connsiteY12" fmla="*/ 3791 h 19397"/>
                  <a:gd name="connsiteX13" fmla="*/ 4232 w 7317"/>
                  <a:gd name="connsiteY13" fmla="*/ 3527 h 19397"/>
                  <a:gd name="connsiteX14" fmla="*/ 4232 w 7317"/>
                  <a:gd name="connsiteY14" fmla="*/ 3262 h 19397"/>
                  <a:gd name="connsiteX15" fmla="*/ 4232 w 7317"/>
                  <a:gd name="connsiteY15" fmla="*/ 2998 h 19397"/>
                  <a:gd name="connsiteX16" fmla="*/ 4232 w 7317"/>
                  <a:gd name="connsiteY16" fmla="*/ 2733 h 19397"/>
                  <a:gd name="connsiteX17" fmla="*/ 4497 w 7317"/>
                  <a:gd name="connsiteY17" fmla="*/ 2469 h 19397"/>
                  <a:gd name="connsiteX18" fmla="*/ 4232 w 7317"/>
                  <a:gd name="connsiteY18" fmla="*/ 2469 h 19397"/>
                  <a:gd name="connsiteX19" fmla="*/ 4497 w 7317"/>
                  <a:gd name="connsiteY19" fmla="*/ 2204 h 19397"/>
                  <a:gd name="connsiteX20" fmla="*/ 4761 w 7317"/>
                  <a:gd name="connsiteY20" fmla="*/ 2204 h 19397"/>
                  <a:gd name="connsiteX21" fmla="*/ 4761 w 7317"/>
                  <a:gd name="connsiteY21" fmla="*/ 1851 h 19397"/>
                  <a:gd name="connsiteX22" fmla="*/ 5026 w 7317"/>
                  <a:gd name="connsiteY22" fmla="*/ 1851 h 19397"/>
                  <a:gd name="connsiteX23" fmla="*/ 5026 w 7317"/>
                  <a:gd name="connsiteY23" fmla="*/ 1587 h 19397"/>
                  <a:gd name="connsiteX24" fmla="*/ 5026 w 7317"/>
                  <a:gd name="connsiteY24" fmla="*/ 1322 h 19397"/>
                  <a:gd name="connsiteX25" fmla="*/ 5290 w 7317"/>
                  <a:gd name="connsiteY25" fmla="*/ 1322 h 19397"/>
                  <a:gd name="connsiteX26" fmla="*/ 5290 w 7317"/>
                  <a:gd name="connsiteY26" fmla="*/ 1058 h 19397"/>
                  <a:gd name="connsiteX27" fmla="*/ 5290 w 7317"/>
                  <a:gd name="connsiteY27" fmla="*/ 793 h 19397"/>
                  <a:gd name="connsiteX28" fmla="*/ 5290 w 7317"/>
                  <a:gd name="connsiteY28" fmla="*/ 529 h 19397"/>
                  <a:gd name="connsiteX29" fmla="*/ 5555 w 7317"/>
                  <a:gd name="connsiteY29" fmla="*/ 529 h 19397"/>
                  <a:gd name="connsiteX30" fmla="*/ 5555 w 7317"/>
                  <a:gd name="connsiteY30" fmla="*/ 264 h 19397"/>
                  <a:gd name="connsiteX31" fmla="*/ 5819 w 7317"/>
                  <a:gd name="connsiteY31" fmla="*/ 264 h 19397"/>
                  <a:gd name="connsiteX32" fmla="*/ 5819 w 7317"/>
                  <a:gd name="connsiteY32" fmla="*/ 0 h 19397"/>
                  <a:gd name="connsiteX33" fmla="*/ 6084 w 7317"/>
                  <a:gd name="connsiteY33" fmla="*/ 0 h 19397"/>
                  <a:gd name="connsiteX34" fmla="*/ 6348 w 7317"/>
                  <a:gd name="connsiteY34" fmla="*/ 0 h 19397"/>
                  <a:gd name="connsiteX35" fmla="*/ 6613 w 7317"/>
                  <a:gd name="connsiteY35" fmla="*/ 0 h 19397"/>
                  <a:gd name="connsiteX36" fmla="*/ 6965 w 7317"/>
                  <a:gd name="connsiteY36" fmla="*/ 0 h 19397"/>
                  <a:gd name="connsiteX37" fmla="*/ 6965 w 7317"/>
                  <a:gd name="connsiteY37" fmla="*/ 264 h 19397"/>
                  <a:gd name="connsiteX38" fmla="*/ 6965 w 7317"/>
                  <a:gd name="connsiteY38" fmla="*/ 529 h 19397"/>
                  <a:gd name="connsiteX39" fmla="*/ 6965 w 7317"/>
                  <a:gd name="connsiteY39" fmla="*/ 793 h 19397"/>
                  <a:gd name="connsiteX40" fmla="*/ 7318 w 7317"/>
                  <a:gd name="connsiteY40" fmla="*/ 793 h 19397"/>
                  <a:gd name="connsiteX41" fmla="*/ 7318 w 7317"/>
                  <a:gd name="connsiteY41" fmla="*/ 1058 h 19397"/>
                  <a:gd name="connsiteX42" fmla="*/ 7318 w 7317"/>
                  <a:gd name="connsiteY42" fmla="*/ 1322 h 19397"/>
                  <a:gd name="connsiteX43" fmla="*/ 7318 w 7317"/>
                  <a:gd name="connsiteY43" fmla="*/ 1587 h 19397"/>
                  <a:gd name="connsiteX44" fmla="*/ 7318 w 7317"/>
                  <a:gd name="connsiteY44" fmla="*/ 1851 h 19397"/>
                  <a:gd name="connsiteX45" fmla="*/ 7318 w 7317"/>
                  <a:gd name="connsiteY45" fmla="*/ 2204 h 19397"/>
                  <a:gd name="connsiteX46" fmla="*/ 7318 w 7317"/>
                  <a:gd name="connsiteY46" fmla="*/ 2469 h 19397"/>
                  <a:gd name="connsiteX47" fmla="*/ 7318 w 7317"/>
                  <a:gd name="connsiteY47" fmla="*/ 2733 h 19397"/>
                  <a:gd name="connsiteX48" fmla="*/ 7318 w 7317"/>
                  <a:gd name="connsiteY48" fmla="*/ 2998 h 19397"/>
                  <a:gd name="connsiteX49" fmla="*/ 7318 w 7317"/>
                  <a:gd name="connsiteY49" fmla="*/ 3262 h 19397"/>
                  <a:gd name="connsiteX50" fmla="*/ 7318 w 7317"/>
                  <a:gd name="connsiteY50" fmla="*/ 3527 h 19397"/>
                  <a:gd name="connsiteX51" fmla="*/ 7318 w 7317"/>
                  <a:gd name="connsiteY51" fmla="*/ 3791 h 19397"/>
                  <a:gd name="connsiteX52" fmla="*/ 6965 w 7317"/>
                  <a:gd name="connsiteY52" fmla="*/ 3791 h 19397"/>
                  <a:gd name="connsiteX53" fmla="*/ 6965 w 7317"/>
                  <a:gd name="connsiteY53" fmla="*/ 4144 h 19397"/>
                  <a:gd name="connsiteX54" fmla="*/ 6965 w 7317"/>
                  <a:gd name="connsiteY54" fmla="*/ 4408 h 19397"/>
                  <a:gd name="connsiteX55" fmla="*/ 6965 w 7317"/>
                  <a:gd name="connsiteY55" fmla="*/ 4673 h 19397"/>
                  <a:gd name="connsiteX56" fmla="*/ 6701 w 7317"/>
                  <a:gd name="connsiteY56" fmla="*/ 4937 h 19397"/>
                  <a:gd name="connsiteX57" fmla="*/ 6701 w 7317"/>
                  <a:gd name="connsiteY57" fmla="*/ 5202 h 19397"/>
                  <a:gd name="connsiteX58" fmla="*/ 6436 w 7317"/>
                  <a:gd name="connsiteY58" fmla="*/ 5202 h 19397"/>
                  <a:gd name="connsiteX59" fmla="*/ 6436 w 7317"/>
                  <a:gd name="connsiteY59" fmla="*/ 5466 h 19397"/>
                  <a:gd name="connsiteX60" fmla="*/ 6436 w 7317"/>
                  <a:gd name="connsiteY60" fmla="*/ 5731 h 19397"/>
                  <a:gd name="connsiteX61" fmla="*/ 6084 w 7317"/>
                  <a:gd name="connsiteY61" fmla="*/ 5731 h 19397"/>
                  <a:gd name="connsiteX62" fmla="*/ 6701 w 7317"/>
                  <a:gd name="connsiteY62" fmla="*/ 10404 h 19397"/>
                  <a:gd name="connsiteX63" fmla="*/ 6701 w 7317"/>
                  <a:gd name="connsiteY63" fmla="*/ 10404 h 19397"/>
                  <a:gd name="connsiteX64" fmla="*/ 6701 w 7317"/>
                  <a:gd name="connsiteY64" fmla="*/ 10139 h 19397"/>
                  <a:gd name="connsiteX65" fmla="*/ 6965 w 7317"/>
                  <a:gd name="connsiteY65" fmla="*/ 10139 h 19397"/>
                  <a:gd name="connsiteX66" fmla="*/ 6965 w 7317"/>
                  <a:gd name="connsiteY66" fmla="*/ 10404 h 19397"/>
                  <a:gd name="connsiteX67" fmla="*/ 6965 w 7317"/>
                  <a:gd name="connsiteY67" fmla="*/ 10668 h 19397"/>
                  <a:gd name="connsiteX68" fmla="*/ 6701 w 7317"/>
                  <a:gd name="connsiteY68" fmla="*/ 10668 h 19397"/>
                  <a:gd name="connsiteX69" fmla="*/ 6701 w 7317"/>
                  <a:gd name="connsiteY69" fmla="*/ 10404 h 19397"/>
                  <a:gd name="connsiteX70" fmla="*/ 3174 w 7317"/>
                  <a:gd name="connsiteY70" fmla="*/ 15606 h 19397"/>
                  <a:gd name="connsiteX71" fmla="*/ 3174 w 7317"/>
                  <a:gd name="connsiteY71" fmla="*/ 15870 h 19397"/>
                  <a:gd name="connsiteX72" fmla="*/ 3174 w 7317"/>
                  <a:gd name="connsiteY72" fmla="*/ 16135 h 19397"/>
                  <a:gd name="connsiteX73" fmla="*/ 2909 w 7317"/>
                  <a:gd name="connsiteY73" fmla="*/ 16399 h 19397"/>
                  <a:gd name="connsiteX74" fmla="*/ 2645 w 7317"/>
                  <a:gd name="connsiteY74" fmla="*/ 16399 h 19397"/>
                  <a:gd name="connsiteX75" fmla="*/ 2645 w 7317"/>
                  <a:gd name="connsiteY75" fmla="*/ 16664 h 19397"/>
                  <a:gd name="connsiteX76" fmla="*/ 2645 w 7317"/>
                  <a:gd name="connsiteY76" fmla="*/ 16399 h 19397"/>
                  <a:gd name="connsiteX77" fmla="*/ 2380 w 7317"/>
                  <a:gd name="connsiteY77" fmla="*/ 16399 h 19397"/>
                  <a:gd name="connsiteX78" fmla="*/ 2380 w 7317"/>
                  <a:gd name="connsiteY78" fmla="*/ 16135 h 19397"/>
                  <a:gd name="connsiteX79" fmla="*/ 2645 w 7317"/>
                  <a:gd name="connsiteY79" fmla="*/ 16135 h 19397"/>
                  <a:gd name="connsiteX80" fmla="*/ 2909 w 7317"/>
                  <a:gd name="connsiteY80" fmla="*/ 16135 h 19397"/>
                  <a:gd name="connsiteX81" fmla="*/ 2645 w 7317"/>
                  <a:gd name="connsiteY81" fmla="*/ 15870 h 19397"/>
                  <a:gd name="connsiteX82" fmla="*/ 2645 w 7317"/>
                  <a:gd name="connsiteY82" fmla="*/ 15606 h 19397"/>
                  <a:gd name="connsiteX83" fmla="*/ 2909 w 7317"/>
                  <a:gd name="connsiteY83" fmla="*/ 15606 h 19397"/>
                  <a:gd name="connsiteX84" fmla="*/ 3174 w 7317"/>
                  <a:gd name="connsiteY84" fmla="*/ 15606 h 19397"/>
                  <a:gd name="connsiteX85" fmla="*/ 3174 w 7317"/>
                  <a:gd name="connsiteY85" fmla="*/ 15341 h 19397"/>
                  <a:gd name="connsiteX86" fmla="*/ 3174 w 7317"/>
                  <a:gd name="connsiteY86" fmla="*/ 15606 h 19397"/>
                  <a:gd name="connsiteX87" fmla="*/ 1763 w 7317"/>
                  <a:gd name="connsiteY87" fmla="*/ 17634 h 19397"/>
                  <a:gd name="connsiteX88" fmla="*/ 1763 w 7317"/>
                  <a:gd name="connsiteY88" fmla="*/ 17986 h 19397"/>
                  <a:gd name="connsiteX89" fmla="*/ 1499 w 7317"/>
                  <a:gd name="connsiteY89" fmla="*/ 18251 h 19397"/>
                  <a:gd name="connsiteX90" fmla="*/ 1234 w 7317"/>
                  <a:gd name="connsiteY90" fmla="*/ 18251 h 19397"/>
                  <a:gd name="connsiteX91" fmla="*/ 1234 w 7317"/>
                  <a:gd name="connsiteY91" fmla="*/ 17986 h 19397"/>
                  <a:gd name="connsiteX92" fmla="*/ 1499 w 7317"/>
                  <a:gd name="connsiteY92" fmla="*/ 17634 h 19397"/>
                  <a:gd name="connsiteX93" fmla="*/ 1763 w 7317"/>
                  <a:gd name="connsiteY93" fmla="*/ 17634 h 19397"/>
                  <a:gd name="connsiteX94" fmla="*/ 264 w 7317"/>
                  <a:gd name="connsiteY94" fmla="*/ 18515 h 19397"/>
                  <a:gd name="connsiteX95" fmla="*/ 529 w 7317"/>
                  <a:gd name="connsiteY95" fmla="*/ 18515 h 19397"/>
                  <a:gd name="connsiteX96" fmla="*/ 793 w 7317"/>
                  <a:gd name="connsiteY96" fmla="*/ 18515 h 19397"/>
                  <a:gd name="connsiteX97" fmla="*/ 1058 w 7317"/>
                  <a:gd name="connsiteY97" fmla="*/ 18780 h 19397"/>
                  <a:gd name="connsiteX98" fmla="*/ 793 w 7317"/>
                  <a:gd name="connsiteY98" fmla="*/ 18780 h 19397"/>
                  <a:gd name="connsiteX99" fmla="*/ 793 w 7317"/>
                  <a:gd name="connsiteY99" fmla="*/ 19044 h 19397"/>
                  <a:gd name="connsiteX100" fmla="*/ 529 w 7317"/>
                  <a:gd name="connsiteY100" fmla="*/ 19044 h 19397"/>
                  <a:gd name="connsiteX101" fmla="*/ 264 w 7317"/>
                  <a:gd name="connsiteY101" fmla="*/ 19044 h 19397"/>
                  <a:gd name="connsiteX102" fmla="*/ 0 w 7317"/>
                  <a:gd name="connsiteY102" fmla="*/ 19044 h 19397"/>
                  <a:gd name="connsiteX103" fmla="*/ 0 w 7317"/>
                  <a:gd name="connsiteY103" fmla="*/ 18780 h 19397"/>
                  <a:gd name="connsiteX104" fmla="*/ 264 w 7317"/>
                  <a:gd name="connsiteY104" fmla="*/ 18780 h 19397"/>
                  <a:gd name="connsiteX105" fmla="*/ 0 w 7317"/>
                  <a:gd name="connsiteY105" fmla="*/ 18515 h 19397"/>
                  <a:gd name="connsiteX106" fmla="*/ 264 w 7317"/>
                  <a:gd name="connsiteY106" fmla="*/ 18515 h 19397"/>
                  <a:gd name="connsiteX107" fmla="*/ 1411 w 7317"/>
                  <a:gd name="connsiteY107" fmla="*/ 19397 h 19397"/>
                  <a:gd name="connsiteX108" fmla="*/ 1411 w 7317"/>
                  <a:gd name="connsiteY108" fmla="*/ 19133 h 19397"/>
                  <a:gd name="connsiteX109" fmla="*/ 1146 w 7317"/>
                  <a:gd name="connsiteY109" fmla="*/ 19133 h 19397"/>
                  <a:gd name="connsiteX110" fmla="*/ 1411 w 7317"/>
                  <a:gd name="connsiteY110" fmla="*/ 19133 h 19397"/>
                  <a:gd name="connsiteX111" fmla="*/ 1675 w 7317"/>
                  <a:gd name="connsiteY111" fmla="*/ 19133 h 19397"/>
                  <a:gd name="connsiteX112" fmla="*/ 1411 w 7317"/>
                  <a:gd name="connsiteY112" fmla="*/ 19397 h 19397"/>
                  <a:gd name="connsiteX113" fmla="*/ 4673 w 7317"/>
                  <a:gd name="connsiteY113" fmla="*/ 10404 h 19397"/>
                  <a:gd name="connsiteX114" fmla="*/ 4673 w 7317"/>
                  <a:gd name="connsiteY114" fmla="*/ 10404 h 19397"/>
                  <a:gd name="connsiteX115" fmla="*/ 4408 w 7317"/>
                  <a:gd name="connsiteY115" fmla="*/ 10404 h 19397"/>
                  <a:gd name="connsiteX116" fmla="*/ 4144 w 7317"/>
                  <a:gd name="connsiteY116" fmla="*/ 10404 h 19397"/>
                  <a:gd name="connsiteX117" fmla="*/ 4144 w 7317"/>
                  <a:gd name="connsiteY117" fmla="*/ 10139 h 19397"/>
                  <a:gd name="connsiteX118" fmla="*/ 4408 w 7317"/>
                  <a:gd name="connsiteY118" fmla="*/ 10139 h 19397"/>
                  <a:gd name="connsiteX119" fmla="*/ 4673 w 7317"/>
                  <a:gd name="connsiteY119" fmla="*/ 10139 h 19397"/>
                  <a:gd name="connsiteX120" fmla="*/ 4673 w 7317"/>
                  <a:gd name="connsiteY120" fmla="*/ 10404 h 19397"/>
                  <a:gd name="connsiteX121" fmla="*/ 5819 w 7317"/>
                  <a:gd name="connsiteY121" fmla="*/ 12167 h 19397"/>
                  <a:gd name="connsiteX122" fmla="*/ 5819 w 7317"/>
                  <a:gd name="connsiteY122" fmla="*/ 11903 h 19397"/>
                  <a:gd name="connsiteX123" fmla="*/ 6084 w 7317"/>
                  <a:gd name="connsiteY123" fmla="*/ 11903 h 19397"/>
                  <a:gd name="connsiteX124" fmla="*/ 6084 w 7317"/>
                  <a:gd name="connsiteY124" fmla="*/ 11638 h 19397"/>
                  <a:gd name="connsiteX125" fmla="*/ 6084 w 7317"/>
                  <a:gd name="connsiteY125" fmla="*/ 11903 h 19397"/>
                  <a:gd name="connsiteX126" fmla="*/ 6348 w 7317"/>
                  <a:gd name="connsiteY126" fmla="*/ 11903 h 19397"/>
                  <a:gd name="connsiteX127" fmla="*/ 6348 w 7317"/>
                  <a:gd name="connsiteY127" fmla="*/ 11638 h 19397"/>
                  <a:gd name="connsiteX128" fmla="*/ 6613 w 7317"/>
                  <a:gd name="connsiteY128" fmla="*/ 11903 h 19397"/>
                  <a:gd name="connsiteX129" fmla="*/ 6613 w 7317"/>
                  <a:gd name="connsiteY129" fmla="*/ 12167 h 19397"/>
                  <a:gd name="connsiteX130" fmla="*/ 6348 w 7317"/>
                  <a:gd name="connsiteY130" fmla="*/ 12167 h 19397"/>
                  <a:gd name="connsiteX131" fmla="*/ 6084 w 7317"/>
                  <a:gd name="connsiteY131" fmla="*/ 12167 h 19397"/>
                  <a:gd name="connsiteX132" fmla="*/ 6084 w 7317"/>
                  <a:gd name="connsiteY132" fmla="*/ 12432 h 19397"/>
                  <a:gd name="connsiteX133" fmla="*/ 5819 w 7317"/>
                  <a:gd name="connsiteY133" fmla="*/ 12432 h 19397"/>
                  <a:gd name="connsiteX134" fmla="*/ 5819 w 7317"/>
                  <a:gd name="connsiteY134" fmla="*/ 12167 h 19397"/>
                  <a:gd name="connsiteX135" fmla="*/ 7318 w 7317"/>
                  <a:gd name="connsiteY135" fmla="*/ 9787 h 19397"/>
                  <a:gd name="connsiteX136" fmla="*/ 7318 w 7317"/>
                  <a:gd name="connsiteY136" fmla="*/ 10051 h 19397"/>
                  <a:gd name="connsiteX137" fmla="*/ 6965 w 7317"/>
                  <a:gd name="connsiteY137" fmla="*/ 10051 h 19397"/>
                  <a:gd name="connsiteX138" fmla="*/ 7318 w 7317"/>
                  <a:gd name="connsiteY138" fmla="*/ 9787 h 19397"/>
                  <a:gd name="connsiteX139" fmla="*/ 5290 w 7317"/>
                  <a:gd name="connsiteY139" fmla="*/ 9169 h 19397"/>
                  <a:gd name="connsiteX140" fmla="*/ 5026 w 7317"/>
                  <a:gd name="connsiteY140" fmla="*/ 9434 h 19397"/>
                  <a:gd name="connsiteX141" fmla="*/ 4761 w 7317"/>
                  <a:gd name="connsiteY141" fmla="*/ 9434 h 19397"/>
                  <a:gd name="connsiteX142" fmla="*/ 4497 w 7317"/>
                  <a:gd name="connsiteY142" fmla="*/ 9434 h 19397"/>
                  <a:gd name="connsiteX143" fmla="*/ 4232 w 7317"/>
                  <a:gd name="connsiteY143" fmla="*/ 9434 h 19397"/>
                  <a:gd name="connsiteX144" fmla="*/ 3968 w 7317"/>
                  <a:gd name="connsiteY144" fmla="*/ 9434 h 19397"/>
                  <a:gd name="connsiteX145" fmla="*/ 3968 w 7317"/>
                  <a:gd name="connsiteY145" fmla="*/ 9169 h 19397"/>
                  <a:gd name="connsiteX146" fmla="*/ 4232 w 7317"/>
                  <a:gd name="connsiteY146" fmla="*/ 9169 h 19397"/>
                  <a:gd name="connsiteX147" fmla="*/ 4497 w 7317"/>
                  <a:gd name="connsiteY147" fmla="*/ 9169 h 19397"/>
                  <a:gd name="connsiteX148" fmla="*/ 4761 w 7317"/>
                  <a:gd name="connsiteY148" fmla="*/ 9169 h 19397"/>
                  <a:gd name="connsiteX149" fmla="*/ 5026 w 7317"/>
                  <a:gd name="connsiteY149" fmla="*/ 8905 h 19397"/>
                  <a:gd name="connsiteX150" fmla="*/ 5026 w 7317"/>
                  <a:gd name="connsiteY150" fmla="*/ 8640 h 19397"/>
                  <a:gd name="connsiteX151" fmla="*/ 4761 w 7317"/>
                  <a:gd name="connsiteY151" fmla="*/ 8640 h 19397"/>
                  <a:gd name="connsiteX152" fmla="*/ 4761 w 7317"/>
                  <a:gd name="connsiteY152" fmla="*/ 8905 h 19397"/>
                  <a:gd name="connsiteX153" fmla="*/ 4761 w 7317"/>
                  <a:gd name="connsiteY153" fmla="*/ 8640 h 19397"/>
                  <a:gd name="connsiteX154" fmla="*/ 5026 w 7317"/>
                  <a:gd name="connsiteY154" fmla="*/ 8376 h 19397"/>
                  <a:gd name="connsiteX155" fmla="*/ 5290 w 7317"/>
                  <a:gd name="connsiteY155" fmla="*/ 8111 h 19397"/>
                  <a:gd name="connsiteX156" fmla="*/ 5555 w 7317"/>
                  <a:gd name="connsiteY156" fmla="*/ 8111 h 19397"/>
                  <a:gd name="connsiteX157" fmla="*/ 5555 w 7317"/>
                  <a:gd name="connsiteY157" fmla="*/ 8376 h 19397"/>
                  <a:gd name="connsiteX158" fmla="*/ 5290 w 7317"/>
                  <a:gd name="connsiteY158" fmla="*/ 8640 h 19397"/>
                  <a:gd name="connsiteX159" fmla="*/ 5290 w 7317"/>
                  <a:gd name="connsiteY159" fmla="*/ 8905 h 19397"/>
                  <a:gd name="connsiteX160" fmla="*/ 5290 w 7317"/>
                  <a:gd name="connsiteY160" fmla="*/ 9169 h 19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7317" h="19397">
                    <a:moveTo>
                      <a:pt x="6084" y="5731"/>
                    </a:moveTo>
                    <a:lnTo>
                      <a:pt x="5819" y="5731"/>
                    </a:lnTo>
                    <a:lnTo>
                      <a:pt x="5555" y="5466"/>
                    </a:lnTo>
                    <a:lnTo>
                      <a:pt x="5290" y="5466"/>
                    </a:lnTo>
                    <a:lnTo>
                      <a:pt x="5026" y="5202"/>
                    </a:lnTo>
                    <a:lnTo>
                      <a:pt x="4761" y="5202"/>
                    </a:lnTo>
                    <a:lnTo>
                      <a:pt x="4761" y="4937"/>
                    </a:lnTo>
                    <a:lnTo>
                      <a:pt x="4497" y="4673"/>
                    </a:lnTo>
                    <a:lnTo>
                      <a:pt x="4232" y="4408"/>
                    </a:lnTo>
                    <a:lnTo>
                      <a:pt x="4232" y="4144"/>
                    </a:lnTo>
                    <a:lnTo>
                      <a:pt x="3968" y="4144"/>
                    </a:lnTo>
                    <a:lnTo>
                      <a:pt x="3968" y="3791"/>
                    </a:lnTo>
                    <a:lnTo>
                      <a:pt x="4232" y="3791"/>
                    </a:lnTo>
                    <a:lnTo>
                      <a:pt x="4232" y="3527"/>
                    </a:lnTo>
                    <a:lnTo>
                      <a:pt x="4232" y="3262"/>
                    </a:lnTo>
                    <a:lnTo>
                      <a:pt x="4232" y="2998"/>
                    </a:lnTo>
                    <a:lnTo>
                      <a:pt x="4232" y="2733"/>
                    </a:lnTo>
                    <a:lnTo>
                      <a:pt x="4497" y="2469"/>
                    </a:lnTo>
                    <a:lnTo>
                      <a:pt x="4232" y="2469"/>
                    </a:lnTo>
                    <a:lnTo>
                      <a:pt x="4497" y="2204"/>
                    </a:lnTo>
                    <a:lnTo>
                      <a:pt x="4761" y="2204"/>
                    </a:lnTo>
                    <a:lnTo>
                      <a:pt x="4761" y="1851"/>
                    </a:lnTo>
                    <a:lnTo>
                      <a:pt x="5026" y="1851"/>
                    </a:lnTo>
                    <a:lnTo>
                      <a:pt x="5026" y="1587"/>
                    </a:lnTo>
                    <a:lnTo>
                      <a:pt x="5026" y="1322"/>
                    </a:lnTo>
                    <a:lnTo>
                      <a:pt x="5290" y="1322"/>
                    </a:lnTo>
                    <a:lnTo>
                      <a:pt x="5290" y="1058"/>
                    </a:lnTo>
                    <a:lnTo>
                      <a:pt x="5290" y="793"/>
                    </a:lnTo>
                    <a:lnTo>
                      <a:pt x="5290" y="529"/>
                    </a:lnTo>
                    <a:lnTo>
                      <a:pt x="5555" y="529"/>
                    </a:lnTo>
                    <a:lnTo>
                      <a:pt x="5555" y="264"/>
                    </a:lnTo>
                    <a:lnTo>
                      <a:pt x="5819" y="264"/>
                    </a:lnTo>
                    <a:lnTo>
                      <a:pt x="5819" y="0"/>
                    </a:lnTo>
                    <a:lnTo>
                      <a:pt x="6084" y="0"/>
                    </a:lnTo>
                    <a:lnTo>
                      <a:pt x="6348" y="0"/>
                    </a:lnTo>
                    <a:lnTo>
                      <a:pt x="6613" y="0"/>
                    </a:lnTo>
                    <a:lnTo>
                      <a:pt x="6965" y="0"/>
                    </a:lnTo>
                    <a:lnTo>
                      <a:pt x="6965" y="264"/>
                    </a:lnTo>
                    <a:lnTo>
                      <a:pt x="6965" y="529"/>
                    </a:lnTo>
                    <a:lnTo>
                      <a:pt x="6965" y="793"/>
                    </a:lnTo>
                    <a:lnTo>
                      <a:pt x="7318" y="793"/>
                    </a:lnTo>
                    <a:lnTo>
                      <a:pt x="7318" y="1058"/>
                    </a:lnTo>
                    <a:lnTo>
                      <a:pt x="7318" y="1322"/>
                    </a:lnTo>
                    <a:lnTo>
                      <a:pt x="7318" y="1587"/>
                    </a:lnTo>
                    <a:lnTo>
                      <a:pt x="7318" y="1851"/>
                    </a:lnTo>
                    <a:lnTo>
                      <a:pt x="7318" y="2204"/>
                    </a:lnTo>
                    <a:lnTo>
                      <a:pt x="7318" y="2469"/>
                    </a:lnTo>
                    <a:lnTo>
                      <a:pt x="7318" y="2733"/>
                    </a:lnTo>
                    <a:lnTo>
                      <a:pt x="7318" y="2998"/>
                    </a:lnTo>
                    <a:lnTo>
                      <a:pt x="7318" y="3262"/>
                    </a:lnTo>
                    <a:lnTo>
                      <a:pt x="7318" y="3527"/>
                    </a:lnTo>
                    <a:lnTo>
                      <a:pt x="7318" y="3791"/>
                    </a:lnTo>
                    <a:lnTo>
                      <a:pt x="6965" y="3791"/>
                    </a:lnTo>
                    <a:lnTo>
                      <a:pt x="6965" y="4144"/>
                    </a:lnTo>
                    <a:lnTo>
                      <a:pt x="6965" y="4408"/>
                    </a:lnTo>
                    <a:lnTo>
                      <a:pt x="6965" y="4673"/>
                    </a:lnTo>
                    <a:lnTo>
                      <a:pt x="6701" y="4937"/>
                    </a:lnTo>
                    <a:lnTo>
                      <a:pt x="6701" y="5202"/>
                    </a:lnTo>
                    <a:lnTo>
                      <a:pt x="6436" y="5202"/>
                    </a:lnTo>
                    <a:lnTo>
                      <a:pt x="6436" y="5466"/>
                    </a:lnTo>
                    <a:lnTo>
                      <a:pt x="6436" y="5731"/>
                    </a:lnTo>
                    <a:lnTo>
                      <a:pt x="6084" y="5731"/>
                    </a:lnTo>
                    <a:close/>
                    <a:moveTo>
                      <a:pt x="6701" y="10404"/>
                    </a:moveTo>
                    <a:lnTo>
                      <a:pt x="6701" y="10404"/>
                    </a:lnTo>
                    <a:lnTo>
                      <a:pt x="6701" y="10139"/>
                    </a:lnTo>
                    <a:lnTo>
                      <a:pt x="6965" y="10139"/>
                    </a:lnTo>
                    <a:lnTo>
                      <a:pt x="6965" y="10404"/>
                    </a:lnTo>
                    <a:lnTo>
                      <a:pt x="6965" y="10668"/>
                    </a:lnTo>
                    <a:lnTo>
                      <a:pt x="6701" y="10668"/>
                    </a:lnTo>
                    <a:lnTo>
                      <a:pt x="6701" y="10404"/>
                    </a:lnTo>
                    <a:close/>
                    <a:moveTo>
                      <a:pt x="3174" y="15606"/>
                    </a:moveTo>
                    <a:lnTo>
                      <a:pt x="3174" y="15870"/>
                    </a:lnTo>
                    <a:lnTo>
                      <a:pt x="3174" y="16135"/>
                    </a:lnTo>
                    <a:lnTo>
                      <a:pt x="2909" y="16399"/>
                    </a:lnTo>
                    <a:lnTo>
                      <a:pt x="2645" y="16399"/>
                    </a:lnTo>
                    <a:lnTo>
                      <a:pt x="2645" y="16664"/>
                    </a:lnTo>
                    <a:lnTo>
                      <a:pt x="2645" y="16399"/>
                    </a:lnTo>
                    <a:lnTo>
                      <a:pt x="2380" y="16399"/>
                    </a:lnTo>
                    <a:lnTo>
                      <a:pt x="2380" y="16135"/>
                    </a:lnTo>
                    <a:lnTo>
                      <a:pt x="2645" y="16135"/>
                    </a:lnTo>
                    <a:lnTo>
                      <a:pt x="2909" y="16135"/>
                    </a:lnTo>
                    <a:lnTo>
                      <a:pt x="2645" y="15870"/>
                    </a:lnTo>
                    <a:lnTo>
                      <a:pt x="2645" y="15606"/>
                    </a:lnTo>
                    <a:lnTo>
                      <a:pt x="2909" y="15606"/>
                    </a:lnTo>
                    <a:lnTo>
                      <a:pt x="3174" y="15606"/>
                    </a:lnTo>
                    <a:lnTo>
                      <a:pt x="3174" y="15341"/>
                    </a:lnTo>
                    <a:lnTo>
                      <a:pt x="3174" y="15606"/>
                    </a:lnTo>
                    <a:close/>
                    <a:moveTo>
                      <a:pt x="1763" y="17634"/>
                    </a:moveTo>
                    <a:lnTo>
                      <a:pt x="1763" y="17986"/>
                    </a:lnTo>
                    <a:lnTo>
                      <a:pt x="1499" y="18251"/>
                    </a:lnTo>
                    <a:lnTo>
                      <a:pt x="1234" y="18251"/>
                    </a:lnTo>
                    <a:lnTo>
                      <a:pt x="1234" y="17986"/>
                    </a:lnTo>
                    <a:lnTo>
                      <a:pt x="1499" y="17634"/>
                    </a:lnTo>
                    <a:lnTo>
                      <a:pt x="1763" y="17634"/>
                    </a:lnTo>
                    <a:close/>
                    <a:moveTo>
                      <a:pt x="264" y="18515"/>
                    </a:moveTo>
                    <a:lnTo>
                      <a:pt x="529" y="18515"/>
                    </a:lnTo>
                    <a:lnTo>
                      <a:pt x="793" y="18515"/>
                    </a:lnTo>
                    <a:lnTo>
                      <a:pt x="1058" y="18780"/>
                    </a:lnTo>
                    <a:lnTo>
                      <a:pt x="793" y="18780"/>
                    </a:lnTo>
                    <a:lnTo>
                      <a:pt x="793" y="19044"/>
                    </a:lnTo>
                    <a:lnTo>
                      <a:pt x="529" y="19044"/>
                    </a:lnTo>
                    <a:lnTo>
                      <a:pt x="264" y="19044"/>
                    </a:lnTo>
                    <a:lnTo>
                      <a:pt x="0" y="19044"/>
                    </a:lnTo>
                    <a:lnTo>
                      <a:pt x="0" y="18780"/>
                    </a:lnTo>
                    <a:lnTo>
                      <a:pt x="264" y="18780"/>
                    </a:lnTo>
                    <a:lnTo>
                      <a:pt x="0" y="18515"/>
                    </a:lnTo>
                    <a:lnTo>
                      <a:pt x="264" y="18515"/>
                    </a:lnTo>
                    <a:close/>
                    <a:moveTo>
                      <a:pt x="1411" y="19397"/>
                    </a:moveTo>
                    <a:lnTo>
                      <a:pt x="1411" y="19133"/>
                    </a:lnTo>
                    <a:lnTo>
                      <a:pt x="1146" y="19133"/>
                    </a:lnTo>
                    <a:lnTo>
                      <a:pt x="1411" y="19133"/>
                    </a:lnTo>
                    <a:lnTo>
                      <a:pt x="1675" y="19133"/>
                    </a:lnTo>
                    <a:lnTo>
                      <a:pt x="1411" y="19397"/>
                    </a:lnTo>
                    <a:close/>
                    <a:moveTo>
                      <a:pt x="4673" y="10404"/>
                    </a:moveTo>
                    <a:lnTo>
                      <a:pt x="4673" y="10404"/>
                    </a:lnTo>
                    <a:lnTo>
                      <a:pt x="4408" y="10404"/>
                    </a:lnTo>
                    <a:lnTo>
                      <a:pt x="4144" y="10404"/>
                    </a:lnTo>
                    <a:lnTo>
                      <a:pt x="4144" y="10139"/>
                    </a:lnTo>
                    <a:lnTo>
                      <a:pt x="4408" y="10139"/>
                    </a:lnTo>
                    <a:lnTo>
                      <a:pt x="4673" y="10139"/>
                    </a:lnTo>
                    <a:lnTo>
                      <a:pt x="4673" y="10404"/>
                    </a:lnTo>
                    <a:close/>
                    <a:moveTo>
                      <a:pt x="5819" y="12167"/>
                    </a:moveTo>
                    <a:lnTo>
                      <a:pt x="5819" y="11903"/>
                    </a:lnTo>
                    <a:lnTo>
                      <a:pt x="6084" y="11903"/>
                    </a:lnTo>
                    <a:lnTo>
                      <a:pt x="6084" y="11638"/>
                    </a:lnTo>
                    <a:lnTo>
                      <a:pt x="6084" y="11903"/>
                    </a:lnTo>
                    <a:lnTo>
                      <a:pt x="6348" y="11903"/>
                    </a:lnTo>
                    <a:lnTo>
                      <a:pt x="6348" y="11638"/>
                    </a:lnTo>
                    <a:lnTo>
                      <a:pt x="6613" y="11903"/>
                    </a:lnTo>
                    <a:lnTo>
                      <a:pt x="6613" y="12167"/>
                    </a:lnTo>
                    <a:lnTo>
                      <a:pt x="6348" y="12167"/>
                    </a:lnTo>
                    <a:lnTo>
                      <a:pt x="6084" y="12167"/>
                    </a:lnTo>
                    <a:lnTo>
                      <a:pt x="6084" y="12432"/>
                    </a:lnTo>
                    <a:lnTo>
                      <a:pt x="5819" y="12432"/>
                    </a:lnTo>
                    <a:lnTo>
                      <a:pt x="5819" y="12167"/>
                    </a:lnTo>
                    <a:close/>
                    <a:moveTo>
                      <a:pt x="7318" y="9787"/>
                    </a:moveTo>
                    <a:lnTo>
                      <a:pt x="7318" y="10051"/>
                    </a:lnTo>
                    <a:lnTo>
                      <a:pt x="6965" y="10051"/>
                    </a:lnTo>
                    <a:lnTo>
                      <a:pt x="7318" y="9787"/>
                    </a:lnTo>
                    <a:close/>
                    <a:moveTo>
                      <a:pt x="5290" y="9169"/>
                    </a:moveTo>
                    <a:lnTo>
                      <a:pt x="5026" y="9434"/>
                    </a:lnTo>
                    <a:lnTo>
                      <a:pt x="4761" y="9434"/>
                    </a:lnTo>
                    <a:lnTo>
                      <a:pt x="4497" y="9434"/>
                    </a:lnTo>
                    <a:lnTo>
                      <a:pt x="4232" y="9434"/>
                    </a:lnTo>
                    <a:lnTo>
                      <a:pt x="3968" y="9434"/>
                    </a:lnTo>
                    <a:lnTo>
                      <a:pt x="3968" y="9169"/>
                    </a:lnTo>
                    <a:lnTo>
                      <a:pt x="4232" y="9169"/>
                    </a:lnTo>
                    <a:lnTo>
                      <a:pt x="4497" y="9169"/>
                    </a:lnTo>
                    <a:lnTo>
                      <a:pt x="4761" y="9169"/>
                    </a:lnTo>
                    <a:lnTo>
                      <a:pt x="5026" y="8905"/>
                    </a:lnTo>
                    <a:lnTo>
                      <a:pt x="5026" y="8640"/>
                    </a:lnTo>
                    <a:lnTo>
                      <a:pt x="4761" y="8640"/>
                    </a:lnTo>
                    <a:lnTo>
                      <a:pt x="4761" y="8905"/>
                    </a:lnTo>
                    <a:lnTo>
                      <a:pt x="4761" y="8640"/>
                    </a:lnTo>
                    <a:lnTo>
                      <a:pt x="5026" y="8376"/>
                    </a:lnTo>
                    <a:lnTo>
                      <a:pt x="5290" y="8111"/>
                    </a:lnTo>
                    <a:lnTo>
                      <a:pt x="5555" y="8111"/>
                    </a:lnTo>
                    <a:lnTo>
                      <a:pt x="5555" y="8376"/>
                    </a:lnTo>
                    <a:lnTo>
                      <a:pt x="5290" y="8640"/>
                    </a:lnTo>
                    <a:lnTo>
                      <a:pt x="5290" y="8905"/>
                    </a:lnTo>
                    <a:lnTo>
                      <a:pt x="5290" y="91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3" name="Freihandform: Form 1772">
                <a:extLst>
                  <a:ext uri="{FF2B5EF4-FFF2-40B4-BE49-F238E27FC236}">
                    <a16:creationId xmlns:a16="http://schemas.microsoft.com/office/drawing/2014/main" id="{304561B3-B59B-3334-A0F1-3AB07768E0BB}"/>
                  </a:ext>
                </a:extLst>
              </p:cNvPr>
              <p:cNvSpPr/>
              <p:nvPr/>
            </p:nvSpPr>
            <p:spPr>
              <a:xfrm>
                <a:off x="2733032" y="3778675"/>
                <a:ext cx="9081" cy="11726"/>
              </a:xfrm>
              <a:custGeom>
                <a:avLst/>
                <a:gdLst>
                  <a:gd name="connsiteX0" fmla="*/ 8200 w 9081"/>
                  <a:gd name="connsiteY0" fmla="*/ 11726 h 11726"/>
                  <a:gd name="connsiteX1" fmla="*/ 7671 w 9081"/>
                  <a:gd name="connsiteY1" fmla="*/ 11109 h 11726"/>
                  <a:gd name="connsiteX2" fmla="*/ 8200 w 9081"/>
                  <a:gd name="connsiteY2" fmla="*/ 10228 h 11726"/>
                  <a:gd name="connsiteX3" fmla="*/ 4408 w 9081"/>
                  <a:gd name="connsiteY3" fmla="*/ 9963 h 11726"/>
                  <a:gd name="connsiteX4" fmla="*/ 3879 w 9081"/>
                  <a:gd name="connsiteY4" fmla="*/ 10228 h 11726"/>
                  <a:gd name="connsiteX5" fmla="*/ 2645 w 9081"/>
                  <a:gd name="connsiteY5" fmla="*/ 9081 h 11726"/>
                  <a:gd name="connsiteX6" fmla="*/ 4144 w 9081"/>
                  <a:gd name="connsiteY6" fmla="*/ 7935 h 11726"/>
                  <a:gd name="connsiteX7" fmla="*/ 5026 w 9081"/>
                  <a:gd name="connsiteY7" fmla="*/ 8200 h 11726"/>
                  <a:gd name="connsiteX8" fmla="*/ 4761 w 9081"/>
                  <a:gd name="connsiteY8" fmla="*/ 6789 h 11726"/>
                  <a:gd name="connsiteX9" fmla="*/ 2998 w 9081"/>
                  <a:gd name="connsiteY9" fmla="*/ 6789 h 11726"/>
                  <a:gd name="connsiteX10" fmla="*/ 0 w 9081"/>
                  <a:gd name="connsiteY10" fmla="*/ 1763 h 11726"/>
                  <a:gd name="connsiteX11" fmla="*/ 617 w 9081"/>
                  <a:gd name="connsiteY11" fmla="*/ 617 h 11726"/>
                  <a:gd name="connsiteX12" fmla="*/ 1499 w 9081"/>
                  <a:gd name="connsiteY12" fmla="*/ 0 h 11726"/>
                  <a:gd name="connsiteX13" fmla="*/ 5555 w 9081"/>
                  <a:gd name="connsiteY13" fmla="*/ 2381 h 11726"/>
                  <a:gd name="connsiteX14" fmla="*/ 6436 w 9081"/>
                  <a:gd name="connsiteY14" fmla="*/ 2910 h 11726"/>
                  <a:gd name="connsiteX15" fmla="*/ 7671 w 9081"/>
                  <a:gd name="connsiteY15" fmla="*/ 2645 h 11726"/>
                  <a:gd name="connsiteX16" fmla="*/ 6172 w 9081"/>
                  <a:gd name="connsiteY16" fmla="*/ 3527 h 11726"/>
                  <a:gd name="connsiteX17" fmla="*/ 7935 w 9081"/>
                  <a:gd name="connsiteY17" fmla="*/ 6789 h 11726"/>
                  <a:gd name="connsiteX18" fmla="*/ 8817 w 9081"/>
                  <a:gd name="connsiteY18" fmla="*/ 8464 h 11726"/>
                  <a:gd name="connsiteX19" fmla="*/ 9081 w 9081"/>
                  <a:gd name="connsiteY19" fmla="*/ 10228 h 1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081" h="11726">
                    <a:moveTo>
                      <a:pt x="8200" y="11726"/>
                    </a:moveTo>
                    <a:lnTo>
                      <a:pt x="7671" y="11109"/>
                    </a:lnTo>
                    <a:lnTo>
                      <a:pt x="8200" y="10228"/>
                    </a:lnTo>
                    <a:lnTo>
                      <a:pt x="4408" y="9963"/>
                    </a:lnTo>
                    <a:lnTo>
                      <a:pt x="3879" y="10228"/>
                    </a:lnTo>
                    <a:lnTo>
                      <a:pt x="2645" y="9081"/>
                    </a:lnTo>
                    <a:lnTo>
                      <a:pt x="4144" y="7935"/>
                    </a:lnTo>
                    <a:lnTo>
                      <a:pt x="5026" y="8200"/>
                    </a:lnTo>
                    <a:lnTo>
                      <a:pt x="4761" y="6789"/>
                    </a:lnTo>
                    <a:lnTo>
                      <a:pt x="2998" y="6789"/>
                    </a:lnTo>
                    <a:lnTo>
                      <a:pt x="0" y="1763"/>
                    </a:lnTo>
                    <a:lnTo>
                      <a:pt x="617" y="617"/>
                    </a:lnTo>
                    <a:lnTo>
                      <a:pt x="1499" y="0"/>
                    </a:lnTo>
                    <a:lnTo>
                      <a:pt x="5555" y="2381"/>
                    </a:lnTo>
                    <a:lnTo>
                      <a:pt x="6436" y="2910"/>
                    </a:lnTo>
                    <a:lnTo>
                      <a:pt x="7671" y="2645"/>
                    </a:lnTo>
                    <a:lnTo>
                      <a:pt x="6172" y="3527"/>
                    </a:lnTo>
                    <a:lnTo>
                      <a:pt x="7935" y="6789"/>
                    </a:lnTo>
                    <a:lnTo>
                      <a:pt x="8817" y="8464"/>
                    </a:lnTo>
                    <a:lnTo>
                      <a:pt x="9081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4" name="Freihandform: Form 1773">
                <a:extLst>
                  <a:ext uri="{FF2B5EF4-FFF2-40B4-BE49-F238E27FC236}">
                    <a16:creationId xmlns:a16="http://schemas.microsoft.com/office/drawing/2014/main" id="{D1D78068-C030-AE09-D3BC-493F65B59D17}"/>
                  </a:ext>
                </a:extLst>
              </p:cNvPr>
              <p:cNvSpPr/>
              <p:nvPr/>
            </p:nvSpPr>
            <p:spPr>
              <a:xfrm>
                <a:off x="2740085" y="3797984"/>
                <a:ext cx="4055" cy="9345"/>
              </a:xfrm>
              <a:custGeom>
                <a:avLst/>
                <a:gdLst>
                  <a:gd name="connsiteX0" fmla="*/ 3174 w 4055"/>
                  <a:gd name="connsiteY0" fmla="*/ 9346 h 9345"/>
                  <a:gd name="connsiteX1" fmla="*/ 882 w 4055"/>
                  <a:gd name="connsiteY1" fmla="*/ 8111 h 9345"/>
                  <a:gd name="connsiteX2" fmla="*/ 0 w 4055"/>
                  <a:gd name="connsiteY2" fmla="*/ 5555 h 9345"/>
                  <a:gd name="connsiteX3" fmla="*/ 2910 w 4055"/>
                  <a:gd name="connsiteY3" fmla="*/ 0 h 9345"/>
                  <a:gd name="connsiteX4" fmla="*/ 4056 w 4055"/>
                  <a:gd name="connsiteY4" fmla="*/ 1146 h 9345"/>
                  <a:gd name="connsiteX5" fmla="*/ 4056 w 4055"/>
                  <a:gd name="connsiteY5" fmla="*/ 7847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55" h="9345">
                    <a:moveTo>
                      <a:pt x="3174" y="9346"/>
                    </a:moveTo>
                    <a:lnTo>
                      <a:pt x="882" y="8111"/>
                    </a:lnTo>
                    <a:lnTo>
                      <a:pt x="0" y="5555"/>
                    </a:lnTo>
                    <a:lnTo>
                      <a:pt x="2910" y="0"/>
                    </a:lnTo>
                    <a:lnTo>
                      <a:pt x="4056" y="1146"/>
                    </a:lnTo>
                    <a:lnTo>
                      <a:pt x="4056" y="78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5" name="Freihandform: Form 1774">
                <a:extLst>
                  <a:ext uri="{FF2B5EF4-FFF2-40B4-BE49-F238E27FC236}">
                    <a16:creationId xmlns:a16="http://schemas.microsoft.com/office/drawing/2014/main" id="{D8F4F400-94CF-B217-20A7-7F43F966AD27}"/>
                  </a:ext>
                </a:extLst>
              </p:cNvPr>
              <p:cNvSpPr/>
              <p:nvPr/>
            </p:nvSpPr>
            <p:spPr>
              <a:xfrm>
                <a:off x="2723421" y="3736266"/>
                <a:ext cx="14812" cy="13842"/>
              </a:xfrm>
              <a:custGeom>
                <a:avLst/>
                <a:gdLst>
                  <a:gd name="connsiteX0" fmla="*/ 8464 w 14812"/>
                  <a:gd name="connsiteY0" fmla="*/ 7759 h 13842"/>
                  <a:gd name="connsiteX1" fmla="*/ 6965 w 14812"/>
                  <a:gd name="connsiteY1" fmla="*/ 7142 h 13842"/>
                  <a:gd name="connsiteX2" fmla="*/ 6348 w 14812"/>
                  <a:gd name="connsiteY2" fmla="*/ 6260 h 13842"/>
                  <a:gd name="connsiteX3" fmla="*/ 6965 w 14812"/>
                  <a:gd name="connsiteY3" fmla="*/ 2998 h 13842"/>
                  <a:gd name="connsiteX4" fmla="*/ 6701 w 14812"/>
                  <a:gd name="connsiteY4" fmla="*/ 1499 h 13842"/>
                  <a:gd name="connsiteX5" fmla="*/ 8200 w 14812"/>
                  <a:gd name="connsiteY5" fmla="*/ 0 h 13842"/>
                  <a:gd name="connsiteX6" fmla="*/ 9610 w 14812"/>
                  <a:gd name="connsiteY6" fmla="*/ 882 h 13842"/>
                  <a:gd name="connsiteX7" fmla="*/ 9875 w 14812"/>
                  <a:gd name="connsiteY7" fmla="*/ 3262 h 13842"/>
                  <a:gd name="connsiteX8" fmla="*/ 14812 w 14812"/>
                  <a:gd name="connsiteY8" fmla="*/ 6172 h 13842"/>
                  <a:gd name="connsiteX9" fmla="*/ 13931 w 14812"/>
                  <a:gd name="connsiteY9" fmla="*/ 6436 h 13842"/>
                  <a:gd name="connsiteX10" fmla="*/ 8464 w 14812"/>
                  <a:gd name="connsiteY10" fmla="*/ 7759 h 13842"/>
                  <a:gd name="connsiteX11" fmla="*/ 2381 w 14812"/>
                  <a:gd name="connsiteY11" fmla="*/ 13842 h 13842"/>
                  <a:gd name="connsiteX12" fmla="*/ 617 w 14812"/>
                  <a:gd name="connsiteY12" fmla="*/ 11462 h 13842"/>
                  <a:gd name="connsiteX13" fmla="*/ 0 w 14812"/>
                  <a:gd name="connsiteY13" fmla="*/ 4497 h 13842"/>
                  <a:gd name="connsiteX14" fmla="*/ 1146 w 14812"/>
                  <a:gd name="connsiteY14" fmla="*/ 3879 h 13842"/>
                  <a:gd name="connsiteX15" fmla="*/ 5202 w 14812"/>
                  <a:gd name="connsiteY15" fmla="*/ 5643 h 13842"/>
                  <a:gd name="connsiteX16" fmla="*/ 4938 w 14812"/>
                  <a:gd name="connsiteY16" fmla="*/ 11815 h 13842"/>
                  <a:gd name="connsiteX17" fmla="*/ 2381 w 14812"/>
                  <a:gd name="connsiteY17" fmla="*/ 13842 h 1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812" h="13842">
                    <a:moveTo>
                      <a:pt x="8464" y="7759"/>
                    </a:moveTo>
                    <a:lnTo>
                      <a:pt x="6965" y="7142"/>
                    </a:lnTo>
                    <a:lnTo>
                      <a:pt x="6348" y="6260"/>
                    </a:lnTo>
                    <a:lnTo>
                      <a:pt x="6965" y="2998"/>
                    </a:lnTo>
                    <a:lnTo>
                      <a:pt x="6701" y="1499"/>
                    </a:lnTo>
                    <a:lnTo>
                      <a:pt x="8200" y="0"/>
                    </a:lnTo>
                    <a:lnTo>
                      <a:pt x="9610" y="882"/>
                    </a:lnTo>
                    <a:lnTo>
                      <a:pt x="9875" y="3262"/>
                    </a:lnTo>
                    <a:lnTo>
                      <a:pt x="14812" y="6172"/>
                    </a:lnTo>
                    <a:lnTo>
                      <a:pt x="13931" y="6436"/>
                    </a:lnTo>
                    <a:lnTo>
                      <a:pt x="8464" y="7759"/>
                    </a:lnTo>
                    <a:close/>
                    <a:moveTo>
                      <a:pt x="2381" y="13842"/>
                    </a:moveTo>
                    <a:lnTo>
                      <a:pt x="617" y="11462"/>
                    </a:lnTo>
                    <a:lnTo>
                      <a:pt x="0" y="4497"/>
                    </a:lnTo>
                    <a:lnTo>
                      <a:pt x="1146" y="3879"/>
                    </a:lnTo>
                    <a:lnTo>
                      <a:pt x="5202" y="5643"/>
                    </a:lnTo>
                    <a:lnTo>
                      <a:pt x="4938" y="11815"/>
                    </a:lnTo>
                    <a:lnTo>
                      <a:pt x="2381" y="1384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6" name="Freihandform: Form 1775">
                <a:extLst>
                  <a:ext uri="{FF2B5EF4-FFF2-40B4-BE49-F238E27FC236}">
                    <a16:creationId xmlns:a16="http://schemas.microsoft.com/office/drawing/2014/main" id="{7271BD2C-4B2D-A98B-6344-6163808CF3D0}"/>
                  </a:ext>
                </a:extLst>
              </p:cNvPr>
              <p:cNvSpPr/>
              <p:nvPr/>
            </p:nvSpPr>
            <p:spPr>
              <a:xfrm>
                <a:off x="2719101" y="3841715"/>
                <a:ext cx="4055" cy="5819"/>
              </a:xfrm>
              <a:custGeom>
                <a:avLst/>
                <a:gdLst>
                  <a:gd name="connsiteX0" fmla="*/ 529 w 4055"/>
                  <a:gd name="connsiteY0" fmla="*/ 5819 h 5819"/>
                  <a:gd name="connsiteX1" fmla="*/ 529 w 4055"/>
                  <a:gd name="connsiteY1" fmla="*/ 5555 h 5819"/>
                  <a:gd name="connsiteX2" fmla="*/ 264 w 4055"/>
                  <a:gd name="connsiteY2" fmla="*/ 5555 h 5819"/>
                  <a:gd name="connsiteX3" fmla="*/ 0 w 4055"/>
                  <a:gd name="connsiteY3" fmla="*/ 5819 h 5819"/>
                  <a:gd name="connsiteX4" fmla="*/ 0 w 4055"/>
                  <a:gd name="connsiteY4" fmla="*/ 5555 h 5819"/>
                  <a:gd name="connsiteX5" fmla="*/ 0 w 4055"/>
                  <a:gd name="connsiteY5" fmla="*/ 5202 h 5819"/>
                  <a:gd name="connsiteX6" fmla="*/ 264 w 4055"/>
                  <a:gd name="connsiteY6" fmla="*/ 5202 h 5819"/>
                  <a:gd name="connsiteX7" fmla="*/ 529 w 4055"/>
                  <a:gd name="connsiteY7" fmla="*/ 4937 h 5819"/>
                  <a:gd name="connsiteX8" fmla="*/ 882 w 4055"/>
                  <a:gd name="connsiteY8" fmla="*/ 4937 h 5819"/>
                  <a:gd name="connsiteX9" fmla="*/ 882 w 4055"/>
                  <a:gd name="connsiteY9" fmla="*/ 4673 h 5819"/>
                  <a:gd name="connsiteX10" fmla="*/ 882 w 4055"/>
                  <a:gd name="connsiteY10" fmla="*/ 4408 h 5819"/>
                  <a:gd name="connsiteX11" fmla="*/ 882 w 4055"/>
                  <a:gd name="connsiteY11" fmla="*/ 4056 h 5819"/>
                  <a:gd name="connsiteX12" fmla="*/ 529 w 4055"/>
                  <a:gd name="connsiteY12" fmla="*/ 4056 h 5819"/>
                  <a:gd name="connsiteX13" fmla="*/ 529 w 4055"/>
                  <a:gd name="connsiteY13" fmla="*/ 3791 h 5819"/>
                  <a:gd name="connsiteX14" fmla="*/ 529 w 4055"/>
                  <a:gd name="connsiteY14" fmla="*/ 3527 h 5819"/>
                  <a:gd name="connsiteX15" fmla="*/ 529 w 4055"/>
                  <a:gd name="connsiteY15" fmla="*/ 3174 h 5819"/>
                  <a:gd name="connsiteX16" fmla="*/ 882 w 4055"/>
                  <a:gd name="connsiteY16" fmla="*/ 3174 h 5819"/>
                  <a:gd name="connsiteX17" fmla="*/ 882 w 4055"/>
                  <a:gd name="connsiteY17" fmla="*/ 2910 h 5819"/>
                  <a:gd name="connsiteX18" fmla="*/ 882 w 4055"/>
                  <a:gd name="connsiteY18" fmla="*/ 2645 h 5819"/>
                  <a:gd name="connsiteX19" fmla="*/ 882 w 4055"/>
                  <a:gd name="connsiteY19" fmla="*/ 2292 h 5819"/>
                  <a:gd name="connsiteX20" fmla="*/ 1146 w 4055"/>
                  <a:gd name="connsiteY20" fmla="*/ 2292 h 5819"/>
                  <a:gd name="connsiteX21" fmla="*/ 1146 w 4055"/>
                  <a:gd name="connsiteY21" fmla="*/ 2028 h 5819"/>
                  <a:gd name="connsiteX22" fmla="*/ 1146 w 4055"/>
                  <a:gd name="connsiteY22" fmla="*/ 1763 h 5819"/>
                  <a:gd name="connsiteX23" fmla="*/ 1146 w 4055"/>
                  <a:gd name="connsiteY23" fmla="*/ 1411 h 5819"/>
                  <a:gd name="connsiteX24" fmla="*/ 1411 w 4055"/>
                  <a:gd name="connsiteY24" fmla="*/ 1411 h 5819"/>
                  <a:gd name="connsiteX25" fmla="*/ 1411 w 4055"/>
                  <a:gd name="connsiteY25" fmla="*/ 1146 h 5819"/>
                  <a:gd name="connsiteX26" fmla="*/ 1763 w 4055"/>
                  <a:gd name="connsiteY26" fmla="*/ 882 h 5819"/>
                  <a:gd name="connsiteX27" fmla="*/ 2028 w 4055"/>
                  <a:gd name="connsiteY27" fmla="*/ 617 h 5819"/>
                  <a:gd name="connsiteX28" fmla="*/ 2028 w 4055"/>
                  <a:gd name="connsiteY28" fmla="*/ 264 h 5819"/>
                  <a:gd name="connsiteX29" fmla="*/ 2292 w 4055"/>
                  <a:gd name="connsiteY29" fmla="*/ 264 h 5819"/>
                  <a:gd name="connsiteX30" fmla="*/ 2292 w 4055"/>
                  <a:gd name="connsiteY30" fmla="*/ 0 h 5819"/>
                  <a:gd name="connsiteX31" fmla="*/ 2645 w 4055"/>
                  <a:gd name="connsiteY31" fmla="*/ 0 h 5819"/>
                  <a:gd name="connsiteX32" fmla="*/ 2910 w 4055"/>
                  <a:gd name="connsiteY32" fmla="*/ 0 h 5819"/>
                  <a:gd name="connsiteX33" fmla="*/ 3174 w 4055"/>
                  <a:gd name="connsiteY33" fmla="*/ 0 h 5819"/>
                  <a:gd name="connsiteX34" fmla="*/ 3439 w 4055"/>
                  <a:gd name="connsiteY34" fmla="*/ 0 h 5819"/>
                  <a:gd name="connsiteX35" fmla="*/ 3791 w 4055"/>
                  <a:gd name="connsiteY35" fmla="*/ 0 h 5819"/>
                  <a:gd name="connsiteX36" fmla="*/ 3791 w 4055"/>
                  <a:gd name="connsiteY36" fmla="*/ 264 h 5819"/>
                  <a:gd name="connsiteX37" fmla="*/ 3791 w 4055"/>
                  <a:gd name="connsiteY37" fmla="*/ 617 h 5819"/>
                  <a:gd name="connsiteX38" fmla="*/ 3791 w 4055"/>
                  <a:gd name="connsiteY38" fmla="*/ 882 h 5819"/>
                  <a:gd name="connsiteX39" fmla="*/ 4056 w 4055"/>
                  <a:gd name="connsiteY39" fmla="*/ 1146 h 5819"/>
                  <a:gd name="connsiteX40" fmla="*/ 4056 w 4055"/>
                  <a:gd name="connsiteY40" fmla="*/ 1411 h 5819"/>
                  <a:gd name="connsiteX41" fmla="*/ 4056 w 4055"/>
                  <a:gd name="connsiteY41" fmla="*/ 1763 h 5819"/>
                  <a:gd name="connsiteX42" fmla="*/ 3791 w 4055"/>
                  <a:gd name="connsiteY42" fmla="*/ 2028 h 5819"/>
                  <a:gd name="connsiteX43" fmla="*/ 4056 w 4055"/>
                  <a:gd name="connsiteY43" fmla="*/ 2292 h 5819"/>
                  <a:gd name="connsiteX44" fmla="*/ 4056 w 4055"/>
                  <a:gd name="connsiteY44" fmla="*/ 2645 h 5819"/>
                  <a:gd name="connsiteX45" fmla="*/ 3791 w 4055"/>
                  <a:gd name="connsiteY45" fmla="*/ 2910 h 5819"/>
                  <a:gd name="connsiteX46" fmla="*/ 3439 w 4055"/>
                  <a:gd name="connsiteY46" fmla="*/ 2910 h 5819"/>
                  <a:gd name="connsiteX47" fmla="*/ 3439 w 4055"/>
                  <a:gd name="connsiteY47" fmla="*/ 3174 h 5819"/>
                  <a:gd name="connsiteX48" fmla="*/ 3439 w 4055"/>
                  <a:gd name="connsiteY48" fmla="*/ 3527 h 5819"/>
                  <a:gd name="connsiteX49" fmla="*/ 3791 w 4055"/>
                  <a:gd name="connsiteY49" fmla="*/ 3527 h 5819"/>
                  <a:gd name="connsiteX50" fmla="*/ 3791 w 4055"/>
                  <a:gd name="connsiteY50" fmla="*/ 3791 h 5819"/>
                  <a:gd name="connsiteX51" fmla="*/ 3439 w 4055"/>
                  <a:gd name="connsiteY51" fmla="*/ 3791 h 5819"/>
                  <a:gd name="connsiteX52" fmla="*/ 3439 w 4055"/>
                  <a:gd name="connsiteY52" fmla="*/ 4056 h 5819"/>
                  <a:gd name="connsiteX53" fmla="*/ 3439 w 4055"/>
                  <a:gd name="connsiteY53" fmla="*/ 4408 h 5819"/>
                  <a:gd name="connsiteX54" fmla="*/ 3439 w 4055"/>
                  <a:gd name="connsiteY54" fmla="*/ 4673 h 5819"/>
                  <a:gd name="connsiteX55" fmla="*/ 3174 w 4055"/>
                  <a:gd name="connsiteY55" fmla="*/ 4673 h 5819"/>
                  <a:gd name="connsiteX56" fmla="*/ 3174 w 4055"/>
                  <a:gd name="connsiteY56" fmla="*/ 4937 h 5819"/>
                  <a:gd name="connsiteX57" fmla="*/ 2910 w 4055"/>
                  <a:gd name="connsiteY57" fmla="*/ 4937 h 5819"/>
                  <a:gd name="connsiteX58" fmla="*/ 2645 w 4055"/>
                  <a:gd name="connsiteY58" fmla="*/ 4937 h 5819"/>
                  <a:gd name="connsiteX59" fmla="*/ 2645 w 4055"/>
                  <a:gd name="connsiteY59" fmla="*/ 5202 h 5819"/>
                  <a:gd name="connsiteX60" fmla="*/ 2292 w 4055"/>
                  <a:gd name="connsiteY60" fmla="*/ 5202 h 5819"/>
                  <a:gd name="connsiteX61" fmla="*/ 2028 w 4055"/>
                  <a:gd name="connsiteY61" fmla="*/ 5202 h 5819"/>
                  <a:gd name="connsiteX62" fmla="*/ 2028 w 4055"/>
                  <a:gd name="connsiteY62" fmla="*/ 5555 h 5819"/>
                  <a:gd name="connsiteX63" fmla="*/ 1763 w 4055"/>
                  <a:gd name="connsiteY63" fmla="*/ 5819 h 5819"/>
                  <a:gd name="connsiteX64" fmla="*/ 1763 w 4055"/>
                  <a:gd name="connsiteY64" fmla="*/ 5555 h 5819"/>
                  <a:gd name="connsiteX65" fmla="*/ 1411 w 4055"/>
                  <a:gd name="connsiteY65" fmla="*/ 5555 h 5819"/>
                  <a:gd name="connsiteX66" fmla="*/ 1146 w 4055"/>
                  <a:gd name="connsiteY66" fmla="*/ 5555 h 5819"/>
                  <a:gd name="connsiteX67" fmla="*/ 882 w 4055"/>
                  <a:gd name="connsiteY67" fmla="*/ 5555 h 5819"/>
                  <a:gd name="connsiteX68" fmla="*/ 882 w 4055"/>
                  <a:gd name="connsiteY68" fmla="*/ 5819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4055" h="5819">
                    <a:moveTo>
                      <a:pt x="529" y="5819"/>
                    </a:moveTo>
                    <a:lnTo>
                      <a:pt x="529" y="5555"/>
                    </a:lnTo>
                    <a:lnTo>
                      <a:pt x="264" y="5555"/>
                    </a:lnTo>
                    <a:lnTo>
                      <a:pt x="0" y="5819"/>
                    </a:lnTo>
                    <a:lnTo>
                      <a:pt x="0" y="5555"/>
                    </a:lnTo>
                    <a:lnTo>
                      <a:pt x="0" y="5202"/>
                    </a:lnTo>
                    <a:lnTo>
                      <a:pt x="264" y="5202"/>
                    </a:lnTo>
                    <a:lnTo>
                      <a:pt x="529" y="4937"/>
                    </a:lnTo>
                    <a:lnTo>
                      <a:pt x="882" y="4937"/>
                    </a:lnTo>
                    <a:lnTo>
                      <a:pt x="882" y="4673"/>
                    </a:lnTo>
                    <a:lnTo>
                      <a:pt x="882" y="4408"/>
                    </a:lnTo>
                    <a:lnTo>
                      <a:pt x="882" y="4056"/>
                    </a:lnTo>
                    <a:lnTo>
                      <a:pt x="529" y="4056"/>
                    </a:lnTo>
                    <a:lnTo>
                      <a:pt x="529" y="3791"/>
                    </a:lnTo>
                    <a:lnTo>
                      <a:pt x="529" y="3527"/>
                    </a:lnTo>
                    <a:lnTo>
                      <a:pt x="529" y="3174"/>
                    </a:lnTo>
                    <a:lnTo>
                      <a:pt x="882" y="3174"/>
                    </a:lnTo>
                    <a:lnTo>
                      <a:pt x="882" y="2910"/>
                    </a:lnTo>
                    <a:lnTo>
                      <a:pt x="882" y="2645"/>
                    </a:lnTo>
                    <a:lnTo>
                      <a:pt x="882" y="2292"/>
                    </a:lnTo>
                    <a:lnTo>
                      <a:pt x="1146" y="2292"/>
                    </a:lnTo>
                    <a:lnTo>
                      <a:pt x="1146" y="2028"/>
                    </a:lnTo>
                    <a:lnTo>
                      <a:pt x="1146" y="1763"/>
                    </a:lnTo>
                    <a:lnTo>
                      <a:pt x="1146" y="1411"/>
                    </a:lnTo>
                    <a:lnTo>
                      <a:pt x="1411" y="1411"/>
                    </a:lnTo>
                    <a:lnTo>
                      <a:pt x="1411" y="1146"/>
                    </a:lnTo>
                    <a:lnTo>
                      <a:pt x="1763" y="882"/>
                    </a:lnTo>
                    <a:lnTo>
                      <a:pt x="2028" y="617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292" y="0"/>
                    </a:lnTo>
                    <a:lnTo>
                      <a:pt x="2645" y="0"/>
                    </a:lnTo>
                    <a:lnTo>
                      <a:pt x="2910" y="0"/>
                    </a:lnTo>
                    <a:lnTo>
                      <a:pt x="3174" y="0"/>
                    </a:lnTo>
                    <a:lnTo>
                      <a:pt x="3439" y="0"/>
                    </a:lnTo>
                    <a:lnTo>
                      <a:pt x="3791" y="0"/>
                    </a:lnTo>
                    <a:lnTo>
                      <a:pt x="3791" y="264"/>
                    </a:lnTo>
                    <a:lnTo>
                      <a:pt x="3791" y="617"/>
                    </a:lnTo>
                    <a:lnTo>
                      <a:pt x="3791" y="882"/>
                    </a:lnTo>
                    <a:lnTo>
                      <a:pt x="4056" y="1146"/>
                    </a:lnTo>
                    <a:lnTo>
                      <a:pt x="4056" y="1411"/>
                    </a:lnTo>
                    <a:lnTo>
                      <a:pt x="4056" y="1763"/>
                    </a:lnTo>
                    <a:lnTo>
                      <a:pt x="3791" y="2028"/>
                    </a:lnTo>
                    <a:lnTo>
                      <a:pt x="4056" y="2292"/>
                    </a:lnTo>
                    <a:lnTo>
                      <a:pt x="4056" y="2645"/>
                    </a:lnTo>
                    <a:lnTo>
                      <a:pt x="3791" y="2910"/>
                    </a:lnTo>
                    <a:lnTo>
                      <a:pt x="3439" y="2910"/>
                    </a:lnTo>
                    <a:lnTo>
                      <a:pt x="3439" y="3174"/>
                    </a:lnTo>
                    <a:lnTo>
                      <a:pt x="3439" y="3527"/>
                    </a:lnTo>
                    <a:lnTo>
                      <a:pt x="3791" y="3527"/>
                    </a:lnTo>
                    <a:lnTo>
                      <a:pt x="3791" y="3791"/>
                    </a:lnTo>
                    <a:lnTo>
                      <a:pt x="3439" y="3791"/>
                    </a:lnTo>
                    <a:lnTo>
                      <a:pt x="3439" y="4056"/>
                    </a:lnTo>
                    <a:lnTo>
                      <a:pt x="3439" y="4408"/>
                    </a:lnTo>
                    <a:lnTo>
                      <a:pt x="3439" y="4673"/>
                    </a:lnTo>
                    <a:lnTo>
                      <a:pt x="3174" y="4673"/>
                    </a:lnTo>
                    <a:lnTo>
                      <a:pt x="3174" y="4937"/>
                    </a:lnTo>
                    <a:lnTo>
                      <a:pt x="2910" y="4937"/>
                    </a:lnTo>
                    <a:lnTo>
                      <a:pt x="2645" y="4937"/>
                    </a:lnTo>
                    <a:lnTo>
                      <a:pt x="2645" y="5202"/>
                    </a:lnTo>
                    <a:lnTo>
                      <a:pt x="2292" y="5202"/>
                    </a:lnTo>
                    <a:lnTo>
                      <a:pt x="2028" y="5202"/>
                    </a:lnTo>
                    <a:lnTo>
                      <a:pt x="2028" y="5555"/>
                    </a:lnTo>
                    <a:lnTo>
                      <a:pt x="1763" y="5819"/>
                    </a:lnTo>
                    <a:lnTo>
                      <a:pt x="1763" y="5555"/>
                    </a:lnTo>
                    <a:lnTo>
                      <a:pt x="1411" y="5555"/>
                    </a:lnTo>
                    <a:lnTo>
                      <a:pt x="1146" y="5555"/>
                    </a:lnTo>
                    <a:lnTo>
                      <a:pt x="882" y="5555"/>
                    </a:lnTo>
                    <a:lnTo>
                      <a:pt x="882" y="581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7" name="Freihandform: Form 1776">
                <a:extLst>
                  <a:ext uri="{FF2B5EF4-FFF2-40B4-BE49-F238E27FC236}">
                    <a16:creationId xmlns:a16="http://schemas.microsoft.com/office/drawing/2014/main" id="{BEBBA499-4B06-B771-0E00-AE3A81102606}"/>
                  </a:ext>
                </a:extLst>
              </p:cNvPr>
              <p:cNvSpPr/>
              <p:nvPr/>
            </p:nvSpPr>
            <p:spPr>
              <a:xfrm>
                <a:off x="2733032" y="3757427"/>
                <a:ext cx="5290" cy="10492"/>
              </a:xfrm>
              <a:custGeom>
                <a:avLst/>
                <a:gdLst>
                  <a:gd name="connsiteX0" fmla="*/ 3262 w 5290"/>
                  <a:gd name="connsiteY0" fmla="*/ 10492 h 10492"/>
                  <a:gd name="connsiteX1" fmla="*/ 2645 w 5290"/>
                  <a:gd name="connsiteY1" fmla="*/ 9610 h 10492"/>
                  <a:gd name="connsiteX2" fmla="*/ 1499 w 5290"/>
                  <a:gd name="connsiteY2" fmla="*/ 5202 h 10492"/>
                  <a:gd name="connsiteX3" fmla="*/ 0 w 5290"/>
                  <a:gd name="connsiteY3" fmla="*/ 2292 h 10492"/>
                  <a:gd name="connsiteX4" fmla="*/ 617 w 5290"/>
                  <a:gd name="connsiteY4" fmla="*/ 0 h 10492"/>
                  <a:gd name="connsiteX5" fmla="*/ 4144 w 5290"/>
                  <a:gd name="connsiteY5" fmla="*/ 1146 h 10492"/>
                  <a:gd name="connsiteX6" fmla="*/ 5290 w 5290"/>
                  <a:gd name="connsiteY6" fmla="*/ 6084 h 10492"/>
                  <a:gd name="connsiteX7" fmla="*/ 5026 w 5290"/>
                  <a:gd name="connsiteY7" fmla="*/ 8993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90" h="10492">
                    <a:moveTo>
                      <a:pt x="3262" y="10492"/>
                    </a:moveTo>
                    <a:lnTo>
                      <a:pt x="2645" y="9610"/>
                    </a:lnTo>
                    <a:lnTo>
                      <a:pt x="1499" y="5202"/>
                    </a:lnTo>
                    <a:lnTo>
                      <a:pt x="0" y="2292"/>
                    </a:lnTo>
                    <a:lnTo>
                      <a:pt x="617" y="0"/>
                    </a:lnTo>
                    <a:lnTo>
                      <a:pt x="4144" y="1146"/>
                    </a:lnTo>
                    <a:lnTo>
                      <a:pt x="5290" y="6084"/>
                    </a:lnTo>
                    <a:lnTo>
                      <a:pt x="5026" y="899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8" name="Freihandform: Form 1777">
                <a:extLst>
                  <a:ext uri="{FF2B5EF4-FFF2-40B4-BE49-F238E27FC236}">
                    <a16:creationId xmlns:a16="http://schemas.microsoft.com/office/drawing/2014/main" id="{3B3B2C0C-EA87-04BD-3C43-C44FD3DEE109}"/>
                  </a:ext>
                </a:extLst>
              </p:cNvPr>
              <p:cNvSpPr/>
              <p:nvPr/>
            </p:nvSpPr>
            <p:spPr>
              <a:xfrm>
                <a:off x="2764596" y="3816588"/>
                <a:ext cx="4937" cy="6700"/>
              </a:xfrm>
              <a:custGeom>
                <a:avLst/>
                <a:gdLst>
                  <a:gd name="connsiteX0" fmla="*/ 3527 w 4937"/>
                  <a:gd name="connsiteY0" fmla="*/ 6701 h 6700"/>
                  <a:gd name="connsiteX1" fmla="*/ 1146 w 4937"/>
                  <a:gd name="connsiteY1" fmla="*/ 6436 h 6700"/>
                  <a:gd name="connsiteX2" fmla="*/ 265 w 4937"/>
                  <a:gd name="connsiteY2" fmla="*/ 4673 h 6700"/>
                  <a:gd name="connsiteX3" fmla="*/ 0 w 4937"/>
                  <a:gd name="connsiteY3" fmla="*/ 1234 h 6700"/>
                  <a:gd name="connsiteX4" fmla="*/ 265 w 4937"/>
                  <a:gd name="connsiteY4" fmla="*/ 0 h 6700"/>
                  <a:gd name="connsiteX5" fmla="*/ 1411 w 4937"/>
                  <a:gd name="connsiteY5" fmla="*/ 0 h 6700"/>
                  <a:gd name="connsiteX6" fmla="*/ 2910 w 4937"/>
                  <a:gd name="connsiteY6" fmla="*/ 2910 h 6700"/>
                  <a:gd name="connsiteX7" fmla="*/ 4938 w 4937"/>
                  <a:gd name="connsiteY7" fmla="*/ 4144 h 6700"/>
                  <a:gd name="connsiteX8" fmla="*/ 4673 w 4937"/>
                  <a:gd name="connsiteY8" fmla="*/ 5907 h 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37" h="6700">
                    <a:moveTo>
                      <a:pt x="3527" y="6701"/>
                    </a:moveTo>
                    <a:lnTo>
                      <a:pt x="1146" y="6436"/>
                    </a:lnTo>
                    <a:lnTo>
                      <a:pt x="265" y="4673"/>
                    </a:lnTo>
                    <a:lnTo>
                      <a:pt x="0" y="1234"/>
                    </a:lnTo>
                    <a:lnTo>
                      <a:pt x="265" y="0"/>
                    </a:lnTo>
                    <a:lnTo>
                      <a:pt x="1411" y="0"/>
                    </a:lnTo>
                    <a:lnTo>
                      <a:pt x="2910" y="2910"/>
                    </a:lnTo>
                    <a:lnTo>
                      <a:pt x="4938" y="4144"/>
                    </a:lnTo>
                    <a:lnTo>
                      <a:pt x="4673" y="590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9" name="Freihandform: Form 1778">
                <a:extLst>
                  <a:ext uri="{FF2B5EF4-FFF2-40B4-BE49-F238E27FC236}">
                    <a16:creationId xmlns:a16="http://schemas.microsoft.com/office/drawing/2014/main" id="{BA5779BD-0F62-01E5-8630-B44CB3316082}"/>
                  </a:ext>
                </a:extLst>
              </p:cNvPr>
              <p:cNvSpPr/>
              <p:nvPr/>
            </p:nvSpPr>
            <p:spPr>
              <a:xfrm>
                <a:off x="2724039" y="3722688"/>
                <a:ext cx="3174" cy="3262"/>
              </a:xfrm>
              <a:custGeom>
                <a:avLst/>
                <a:gdLst>
                  <a:gd name="connsiteX0" fmla="*/ 1499 w 3174"/>
                  <a:gd name="connsiteY0" fmla="*/ 2645 h 3262"/>
                  <a:gd name="connsiteX1" fmla="*/ 0 w 3174"/>
                  <a:gd name="connsiteY1" fmla="*/ 2381 h 3262"/>
                  <a:gd name="connsiteX2" fmla="*/ 264 w 3174"/>
                  <a:gd name="connsiteY2" fmla="*/ 353 h 3262"/>
                  <a:gd name="connsiteX3" fmla="*/ 1499 w 3174"/>
                  <a:gd name="connsiteY3" fmla="*/ 0 h 3262"/>
                  <a:gd name="connsiteX4" fmla="*/ 2645 w 3174"/>
                  <a:gd name="connsiteY4" fmla="*/ 617 h 3262"/>
                  <a:gd name="connsiteX5" fmla="*/ 3174 w 3174"/>
                  <a:gd name="connsiteY5" fmla="*/ 2910 h 3262"/>
                  <a:gd name="connsiteX6" fmla="*/ 1763 w 3174"/>
                  <a:gd name="connsiteY6" fmla="*/ 3262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74" h="3262">
                    <a:moveTo>
                      <a:pt x="1499" y="2645"/>
                    </a:moveTo>
                    <a:lnTo>
                      <a:pt x="0" y="2381"/>
                    </a:lnTo>
                    <a:lnTo>
                      <a:pt x="264" y="353"/>
                    </a:lnTo>
                    <a:lnTo>
                      <a:pt x="1499" y="0"/>
                    </a:lnTo>
                    <a:lnTo>
                      <a:pt x="2645" y="617"/>
                    </a:lnTo>
                    <a:lnTo>
                      <a:pt x="3174" y="2910"/>
                    </a:lnTo>
                    <a:lnTo>
                      <a:pt x="176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3" name="Grafik 9">
              <a:extLst>
                <a:ext uri="{FF2B5EF4-FFF2-40B4-BE49-F238E27FC236}">
                  <a16:creationId xmlns:a16="http://schemas.microsoft.com/office/drawing/2014/main" id="{40121004-0A35-412F-683A-787337EC23FF}"/>
                </a:ext>
              </a:extLst>
            </p:cNvPr>
            <p:cNvGrpSpPr/>
            <p:nvPr/>
          </p:nvGrpSpPr>
          <p:grpSpPr>
            <a:xfrm>
              <a:off x="855574" y="2203371"/>
              <a:ext cx="2427099" cy="1596729"/>
              <a:chOff x="855574" y="2203371"/>
              <a:chExt cx="2427099" cy="1596729"/>
            </a:xfrm>
            <a:solidFill>
              <a:schemeClr val="accent6"/>
            </a:solidFill>
          </p:grpSpPr>
          <p:sp>
            <p:nvSpPr>
              <p:cNvPr id="1664" name="Freihandform: Form 1663">
                <a:extLst>
                  <a:ext uri="{FF2B5EF4-FFF2-40B4-BE49-F238E27FC236}">
                    <a16:creationId xmlns:a16="http://schemas.microsoft.com/office/drawing/2014/main" id="{73E32131-3CF6-3B16-5128-07ECFEA276F4}"/>
                  </a:ext>
                </a:extLst>
              </p:cNvPr>
              <p:cNvSpPr/>
              <p:nvPr/>
            </p:nvSpPr>
            <p:spPr>
              <a:xfrm>
                <a:off x="1595219" y="2203371"/>
                <a:ext cx="1687454" cy="903637"/>
              </a:xfrm>
              <a:custGeom>
                <a:avLst/>
                <a:gdLst>
                  <a:gd name="connsiteX0" fmla="*/ 1046911 w 1687454"/>
                  <a:gd name="connsiteY0" fmla="*/ 94605 h 903637"/>
                  <a:gd name="connsiteX1" fmla="*/ 1044002 w 1687454"/>
                  <a:gd name="connsiteY1" fmla="*/ 95134 h 903637"/>
                  <a:gd name="connsiteX2" fmla="*/ 1039858 w 1687454"/>
                  <a:gd name="connsiteY2" fmla="*/ 94605 h 903637"/>
                  <a:gd name="connsiteX3" fmla="*/ 1039858 w 1687454"/>
                  <a:gd name="connsiteY3" fmla="*/ 93106 h 903637"/>
                  <a:gd name="connsiteX4" fmla="*/ 1031129 w 1687454"/>
                  <a:gd name="connsiteY4" fmla="*/ 92577 h 903637"/>
                  <a:gd name="connsiteX5" fmla="*/ 1035802 w 1687454"/>
                  <a:gd name="connsiteY5" fmla="*/ 90196 h 903637"/>
                  <a:gd name="connsiteX6" fmla="*/ 1043120 w 1687454"/>
                  <a:gd name="connsiteY6" fmla="*/ 89315 h 903637"/>
                  <a:gd name="connsiteX7" fmla="*/ 1045148 w 1687454"/>
                  <a:gd name="connsiteY7" fmla="*/ 89932 h 903637"/>
                  <a:gd name="connsiteX8" fmla="*/ 1048057 w 1687454"/>
                  <a:gd name="connsiteY8" fmla="*/ 89667 h 903637"/>
                  <a:gd name="connsiteX9" fmla="*/ 1051496 w 1687454"/>
                  <a:gd name="connsiteY9" fmla="*/ 90549 h 903637"/>
                  <a:gd name="connsiteX10" fmla="*/ 1046911 w 1687454"/>
                  <a:gd name="connsiteY10" fmla="*/ 94605 h 903637"/>
                  <a:gd name="connsiteX11" fmla="*/ 1244320 w 1687454"/>
                  <a:gd name="connsiteY11" fmla="*/ 804184 h 903637"/>
                  <a:gd name="connsiteX12" fmla="*/ 1242293 w 1687454"/>
                  <a:gd name="connsiteY12" fmla="*/ 804448 h 903637"/>
                  <a:gd name="connsiteX13" fmla="*/ 1241411 w 1687454"/>
                  <a:gd name="connsiteY13" fmla="*/ 804184 h 903637"/>
                  <a:gd name="connsiteX14" fmla="*/ 1239647 w 1687454"/>
                  <a:gd name="connsiteY14" fmla="*/ 801803 h 903637"/>
                  <a:gd name="connsiteX15" fmla="*/ 1239647 w 1687454"/>
                  <a:gd name="connsiteY15" fmla="*/ 801186 h 903637"/>
                  <a:gd name="connsiteX16" fmla="*/ 1239647 w 1687454"/>
                  <a:gd name="connsiteY16" fmla="*/ 800922 h 903637"/>
                  <a:gd name="connsiteX17" fmla="*/ 1241146 w 1687454"/>
                  <a:gd name="connsiteY17" fmla="*/ 800657 h 903637"/>
                  <a:gd name="connsiteX18" fmla="*/ 1241411 w 1687454"/>
                  <a:gd name="connsiteY18" fmla="*/ 800393 h 903637"/>
                  <a:gd name="connsiteX19" fmla="*/ 1241411 w 1687454"/>
                  <a:gd name="connsiteY19" fmla="*/ 800128 h 903637"/>
                  <a:gd name="connsiteX20" fmla="*/ 1240265 w 1687454"/>
                  <a:gd name="connsiteY20" fmla="*/ 799599 h 903637"/>
                  <a:gd name="connsiteX21" fmla="*/ 1238237 w 1687454"/>
                  <a:gd name="connsiteY21" fmla="*/ 798717 h 903637"/>
                  <a:gd name="connsiteX22" fmla="*/ 1237620 w 1687454"/>
                  <a:gd name="connsiteY22" fmla="*/ 798100 h 903637"/>
                  <a:gd name="connsiteX23" fmla="*/ 1237620 w 1687454"/>
                  <a:gd name="connsiteY23" fmla="*/ 798365 h 903637"/>
                  <a:gd name="connsiteX24" fmla="*/ 1236738 w 1687454"/>
                  <a:gd name="connsiteY24" fmla="*/ 799511 h 903637"/>
                  <a:gd name="connsiteX25" fmla="*/ 1234710 w 1687454"/>
                  <a:gd name="connsiteY25" fmla="*/ 800040 h 903637"/>
                  <a:gd name="connsiteX26" fmla="*/ 1228009 w 1687454"/>
                  <a:gd name="connsiteY26" fmla="*/ 798012 h 903637"/>
                  <a:gd name="connsiteX27" fmla="*/ 1227128 w 1687454"/>
                  <a:gd name="connsiteY27" fmla="*/ 797130 h 903637"/>
                  <a:gd name="connsiteX28" fmla="*/ 1226246 w 1687454"/>
                  <a:gd name="connsiteY28" fmla="*/ 796249 h 903637"/>
                  <a:gd name="connsiteX29" fmla="*/ 1225364 w 1687454"/>
                  <a:gd name="connsiteY29" fmla="*/ 795367 h 903637"/>
                  <a:gd name="connsiteX30" fmla="*/ 1225981 w 1687454"/>
                  <a:gd name="connsiteY30" fmla="*/ 794485 h 903637"/>
                  <a:gd name="connsiteX31" fmla="*/ 1226246 w 1687454"/>
                  <a:gd name="connsiteY31" fmla="*/ 794221 h 903637"/>
                  <a:gd name="connsiteX32" fmla="*/ 1226246 w 1687454"/>
                  <a:gd name="connsiteY32" fmla="*/ 793956 h 903637"/>
                  <a:gd name="connsiteX33" fmla="*/ 1224218 w 1687454"/>
                  <a:gd name="connsiteY33" fmla="*/ 793692 h 903637"/>
                  <a:gd name="connsiteX34" fmla="*/ 1223072 w 1687454"/>
                  <a:gd name="connsiteY34" fmla="*/ 793692 h 903637"/>
                  <a:gd name="connsiteX35" fmla="*/ 1222190 w 1687454"/>
                  <a:gd name="connsiteY35" fmla="*/ 794309 h 903637"/>
                  <a:gd name="connsiteX36" fmla="*/ 1220162 w 1687454"/>
                  <a:gd name="connsiteY36" fmla="*/ 794045 h 903637"/>
                  <a:gd name="connsiteX37" fmla="*/ 1219016 w 1687454"/>
                  <a:gd name="connsiteY37" fmla="*/ 793427 h 903637"/>
                  <a:gd name="connsiteX38" fmla="*/ 1220515 w 1687454"/>
                  <a:gd name="connsiteY38" fmla="*/ 791664 h 903637"/>
                  <a:gd name="connsiteX39" fmla="*/ 1220779 w 1687454"/>
                  <a:gd name="connsiteY39" fmla="*/ 790165 h 903637"/>
                  <a:gd name="connsiteX40" fmla="*/ 1222543 w 1687454"/>
                  <a:gd name="connsiteY40" fmla="*/ 789019 h 903637"/>
                  <a:gd name="connsiteX41" fmla="*/ 1221396 w 1687454"/>
                  <a:gd name="connsiteY41" fmla="*/ 789019 h 903637"/>
                  <a:gd name="connsiteX42" fmla="*/ 1219016 w 1687454"/>
                  <a:gd name="connsiteY42" fmla="*/ 788137 h 903637"/>
                  <a:gd name="connsiteX43" fmla="*/ 1218134 w 1687454"/>
                  <a:gd name="connsiteY43" fmla="*/ 788137 h 903637"/>
                  <a:gd name="connsiteX44" fmla="*/ 1217870 w 1687454"/>
                  <a:gd name="connsiteY44" fmla="*/ 788137 h 903637"/>
                  <a:gd name="connsiteX45" fmla="*/ 1217605 w 1687454"/>
                  <a:gd name="connsiteY45" fmla="*/ 788137 h 903637"/>
                  <a:gd name="connsiteX46" fmla="*/ 1216724 w 1687454"/>
                  <a:gd name="connsiteY46" fmla="*/ 788402 h 903637"/>
                  <a:gd name="connsiteX47" fmla="*/ 1215842 w 1687454"/>
                  <a:gd name="connsiteY47" fmla="*/ 788402 h 903637"/>
                  <a:gd name="connsiteX48" fmla="*/ 1215842 w 1687454"/>
                  <a:gd name="connsiteY48" fmla="*/ 787520 h 903637"/>
                  <a:gd name="connsiteX49" fmla="*/ 1216724 w 1687454"/>
                  <a:gd name="connsiteY49" fmla="*/ 785757 h 903637"/>
                  <a:gd name="connsiteX50" fmla="*/ 1220779 w 1687454"/>
                  <a:gd name="connsiteY50" fmla="*/ 782583 h 903637"/>
                  <a:gd name="connsiteX51" fmla="*/ 1222807 w 1687454"/>
                  <a:gd name="connsiteY51" fmla="*/ 780555 h 903637"/>
                  <a:gd name="connsiteX52" fmla="*/ 1225452 w 1687454"/>
                  <a:gd name="connsiteY52" fmla="*/ 779056 h 903637"/>
                  <a:gd name="connsiteX53" fmla="*/ 1226863 w 1687454"/>
                  <a:gd name="connsiteY53" fmla="*/ 777910 h 903637"/>
                  <a:gd name="connsiteX54" fmla="*/ 1227480 w 1687454"/>
                  <a:gd name="connsiteY54" fmla="*/ 777910 h 903637"/>
                  <a:gd name="connsiteX55" fmla="*/ 1226863 w 1687454"/>
                  <a:gd name="connsiteY55" fmla="*/ 779056 h 903637"/>
                  <a:gd name="connsiteX56" fmla="*/ 1226246 w 1687454"/>
                  <a:gd name="connsiteY56" fmla="*/ 780819 h 903637"/>
                  <a:gd name="connsiteX57" fmla="*/ 1226246 w 1687454"/>
                  <a:gd name="connsiteY57" fmla="*/ 781348 h 903637"/>
                  <a:gd name="connsiteX58" fmla="*/ 1225981 w 1687454"/>
                  <a:gd name="connsiteY58" fmla="*/ 781965 h 903637"/>
                  <a:gd name="connsiteX59" fmla="*/ 1223953 w 1687454"/>
                  <a:gd name="connsiteY59" fmla="*/ 783729 h 903637"/>
                  <a:gd name="connsiteX60" fmla="*/ 1222807 w 1687454"/>
                  <a:gd name="connsiteY60" fmla="*/ 785228 h 903637"/>
                  <a:gd name="connsiteX61" fmla="*/ 1223424 w 1687454"/>
                  <a:gd name="connsiteY61" fmla="*/ 785492 h 903637"/>
                  <a:gd name="connsiteX62" fmla="*/ 1224306 w 1687454"/>
                  <a:gd name="connsiteY62" fmla="*/ 785757 h 903637"/>
                  <a:gd name="connsiteX63" fmla="*/ 1225805 w 1687454"/>
                  <a:gd name="connsiteY63" fmla="*/ 787784 h 903637"/>
                  <a:gd name="connsiteX64" fmla="*/ 1225540 w 1687454"/>
                  <a:gd name="connsiteY64" fmla="*/ 788402 h 903637"/>
                  <a:gd name="connsiteX65" fmla="*/ 1226422 w 1687454"/>
                  <a:gd name="connsiteY65" fmla="*/ 789283 h 903637"/>
                  <a:gd name="connsiteX66" fmla="*/ 1225276 w 1687454"/>
                  <a:gd name="connsiteY66" fmla="*/ 790430 h 903637"/>
                  <a:gd name="connsiteX67" fmla="*/ 1225629 w 1687454"/>
                  <a:gd name="connsiteY67" fmla="*/ 791576 h 903637"/>
                  <a:gd name="connsiteX68" fmla="*/ 1225893 w 1687454"/>
                  <a:gd name="connsiteY68" fmla="*/ 792193 h 903637"/>
                  <a:gd name="connsiteX69" fmla="*/ 1227657 w 1687454"/>
                  <a:gd name="connsiteY69" fmla="*/ 792810 h 903637"/>
                  <a:gd name="connsiteX70" fmla="*/ 1228803 w 1687454"/>
                  <a:gd name="connsiteY70" fmla="*/ 792546 h 903637"/>
                  <a:gd name="connsiteX71" fmla="*/ 1228538 w 1687454"/>
                  <a:gd name="connsiteY71" fmla="*/ 791928 h 903637"/>
                  <a:gd name="connsiteX72" fmla="*/ 1227921 w 1687454"/>
                  <a:gd name="connsiteY72" fmla="*/ 791664 h 903637"/>
                  <a:gd name="connsiteX73" fmla="*/ 1228538 w 1687454"/>
                  <a:gd name="connsiteY73" fmla="*/ 790165 h 903637"/>
                  <a:gd name="connsiteX74" fmla="*/ 1229067 w 1687454"/>
                  <a:gd name="connsiteY74" fmla="*/ 789901 h 903637"/>
                  <a:gd name="connsiteX75" fmla="*/ 1230831 w 1687454"/>
                  <a:gd name="connsiteY75" fmla="*/ 789901 h 903637"/>
                  <a:gd name="connsiteX76" fmla="*/ 1233476 w 1687454"/>
                  <a:gd name="connsiteY76" fmla="*/ 791047 h 903637"/>
                  <a:gd name="connsiteX77" fmla="*/ 1235768 w 1687454"/>
                  <a:gd name="connsiteY77" fmla="*/ 791664 h 903637"/>
                  <a:gd name="connsiteX78" fmla="*/ 1236385 w 1687454"/>
                  <a:gd name="connsiteY78" fmla="*/ 791928 h 903637"/>
                  <a:gd name="connsiteX79" fmla="*/ 1236650 w 1687454"/>
                  <a:gd name="connsiteY79" fmla="*/ 792546 h 903637"/>
                  <a:gd name="connsiteX80" fmla="*/ 1238678 w 1687454"/>
                  <a:gd name="connsiteY80" fmla="*/ 793163 h 903637"/>
                  <a:gd name="connsiteX81" fmla="*/ 1239559 w 1687454"/>
                  <a:gd name="connsiteY81" fmla="*/ 792898 h 903637"/>
                  <a:gd name="connsiteX82" fmla="*/ 1240441 w 1687454"/>
                  <a:gd name="connsiteY82" fmla="*/ 793516 h 903637"/>
                  <a:gd name="connsiteX83" fmla="*/ 1241940 w 1687454"/>
                  <a:gd name="connsiteY83" fmla="*/ 793516 h 903637"/>
                  <a:gd name="connsiteX84" fmla="*/ 1244849 w 1687454"/>
                  <a:gd name="connsiteY84" fmla="*/ 793251 h 903637"/>
                  <a:gd name="connsiteX85" fmla="*/ 1245996 w 1687454"/>
                  <a:gd name="connsiteY85" fmla="*/ 792634 h 903637"/>
                  <a:gd name="connsiteX86" fmla="*/ 1247494 w 1687454"/>
                  <a:gd name="connsiteY86" fmla="*/ 792634 h 903637"/>
                  <a:gd name="connsiteX87" fmla="*/ 1250139 w 1687454"/>
                  <a:gd name="connsiteY87" fmla="*/ 792017 h 903637"/>
                  <a:gd name="connsiteX88" fmla="*/ 1255694 w 1687454"/>
                  <a:gd name="connsiteY88" fmla="*/ 792017 h 903637"/>
                  <a:gd name="connsiteX89" fmla="*/ 1258868 w 1687454"/>
                  <a:gd name="connsiteY89" fmla="*/ 791752 h 903637"/>
                  <a:gd name="connsiteX90" fmla="*/ 1261513 w 1687454"/>
                  <a:gd name="connsiteY90" fmla="*/ 792017 h 903637"/>
                  <a:gd name="connsiteX91" fmla="*/ 1261778 w 1687454"/>
                  <a:gd name="connsiteY91" fmla="*/ 792634 h 903637"/>
                  <a:gd name="connsiteX92" fmla="*/ 1261513 w 1687454"/>
                  <a:gd name="connsiteY92" fmla="*/ 792634 h 903637"/>
                  <a:gd name="connsiteX93" fmla="*/ 1260896 w 1687454"/>
                  <a:gd name="connsiteY93" fmla="*/ 793251 h 903637"/>
                  <a:gd name="connsiteX94" fmla="*/ 1259485 w 1687454"/>
                  <a:gd name="connsiteY94" fmla="*/ 793516 h 903637"/>
                  <a:gd name="connsiteX95" fmla="*/ 1256576 w 1687454"/>
                  <a:gd name="connsiteY95" fmla="*/ 795014 h 903637"/>
                  <a:gd name="connsiteX96" fmla="*/ 1255959 w 1687454"/>
                  <a:gd name="connsiteY96" fmla="*/ 795014 h 903637"/>
                  <a:gd name="connsiteX97" fmla="*/ 1254195 w 1687454"/>
                  <a:gd name="connsiteY97" fmla="*/ 795279 h 903637"/>
                  <a:gd name="connsiteX98" fmla="*/ 1251903 w 1687454"/>
                  <a:gd name="connsiteY98" fmla="*/ 797924 h 903637"/>
                  <a:gd name="connsiteX99" fmla="*/ 1251286 w 1687454"/>
                  <a:gd name="connsiteY99" fmla="*/ 798188 h 903637"/>
                  <a:gd name="connsiteX100" fmla="*/ 1249875 w 1687454"/>
                  <a:gd name="connsiteY100" fmla="*/ 798188 h 903637"/>
                  <a:gd name="connsiteX101" fmla="*/ 1249258 w 1687454"/>
                  <a:gd name="connsiteY101" fmla="*/ 799687 h 903637"/>
                  <a:gd name="connsiteX102" fmla="*/ 1249258 w 1687454"/>
                  <a:gd name="connsiteY102" fmla="*/ 800216 h 903637"/>
                  <a:gd name="connsiteX103" fmla="*/ 1250404 w 1687454"/>
                  <a:gd name="connsiteY103" fmla="*/ 800481 h 903637"/>
                  <a:gd name="connsiteX104" fmla="*/ 1250139 w 1687454"/>
                  <a:gd name="connsiteY104" fmla="*/ 801362 h 903637"/>
                  <a:gd name="connsiteX105" fmla="*/ 1249258 w 1687454"/>
                  <a:gd name="connsiteY105" fmla="*/ 802509 h 903637"/>
                  <a:gd name="connsiteX106" fmla="*/ 1249522 w 1687454"/>
                  <a:gd name="connsiteY106" fmla="*/ 802773 h 903637"/>
                  <a:gd name="connsiteX107" fmla="*/ 1249522 w 1687454"/>
                  <a:gd name="connsiteY107" fmla="*/ 803038 h 903637"/>
                  <a:gd name="connsiteX108" fmla="*/ 1249522 w 1687454"/>
                  <a:gd name="connsiteY108" fmla="*/ 803302 h 903637"/>
                  <a:gd name="connsiteX109" fmla="*/ 1248023 w 1687454"/>
                  <a:gd name="connsiteY109" fmla="*/ 803919 h 903637"/>
                  <a:gd name="connsiteX110" fmla="*/ 1244320 w 1687454"/>
                  <a:gd name="connsiteY110" fmla="*/ 804184 h 903637"/>
                  <a:gd name="connsiteX111" fmla="*/ 1135521 w 1687454"/>
                  <a:gd name="connsiteY111" fmla="*/ 56340 h 903637"/>
                  <a:gd name="connsiteX112" fmla="*/ 1132346 w 1687454"/>
                  <a:gd name="connsiteY112" fmla="*/ 57221 h 903637"/>
                  <a:gd name="connsiteX113" fmla="*/ 1127409 w 1687454"/>
                  <a:gd name="connsiteY113" fmla="*/ 56075 h 903637"/>
                  <a:gd name="connsiteX114" fmla="*/ 1127674 w 1687454"/>
                  <a:gd name="connsiteY114" fmla="*/ 54047 h 903637"/>
                  <a:gd name="connsiteX115" fmla="*/ 1117446 w 1687454"/>
                  <a:gd name="connsiteY115" fmla="*/ 53430 h 903637"/>
                  <a:gd name="connsiteX116" fmla="*/ 1122736 w 1687454"/>
                  <a:gd name="connsiteY116" fmla="*/ 50256 h 903637"/>
                  <a:gd name="connsiteX117" fmla="*/ 1131200 w 1687454"/>
                  <a:gd name="connsiteY117" fmla="*/ 49110 h 903637"/>
                  <a:gd name="connsiteX118" fmla="*/ 1133493 w 1687454"/>
                  <a:gd name="connsiteY118" fmla="*/ 49727 h 903637"/>
                  <a:gd name="connsiteX119" fmla="*/ 1137019 w 1687454"/>
                  <a:gd name="connsiteY119" fmla="*/ 49462 h 903637"/>
                  <a:gd name="connsiteX120" fmla="*/ 1140811 w 1687454"/>
                  <a:gd name="connsiteY120" fmla="*/ 50609 h 903637"/>
                  <a:gd name="connsiteX121" fmla="*/ 1135521 w 1687454"/>
                  <a:gd name="connsiteY121" fmla="*/ 56340 h 903637"/>
                  <a:gd name="connsiteX122" fmla="*/ 1211345 w 1687454"/>
                  <a:gd name="connsiteY122" fmla="*/ 82878 h 903637"/>
                  <a:gd name="connsiteX123" fmla="*/ 1210464 w 1687454"/>
                  <a:gd name="connsiteY123" fmla="*/ 85523 h 903637"/>
                  <a:gd name="connsiteX124" fmla="*/ 1190361 w 1687454"/>
                  <a:gd name="connsiteY124" fmla="*/ 83495 h 903637"/>
                  <a:gd name="connsiteX125" fmla="*/ 1183396 w 1687454"/>
                  <a:gd name="connsiteY125" fmla="*/ 78205 h 903637"/>
                  <a:gd name="connsiteX126" fmla="*/ 1204645 w 1687454"/>
                  <a:gd name="connsiteY126" fmla="*/ 77941 h 903637"/>
                  <a:gd name="connsiteX127" fmla="*/ 1180134 w 1687454"/>
                  <a:gd name="connsiteY127" fmla="*/ 76178 h 903637"/>
                  <a:gd name="connsiteX128" fmla="*/ 1179252 w 1687454"/>
                  <a:gd name="connsiteY128" fmla="*/ 73003 h 903637"/>
                  <a:gd name="connsiteX129" fmla="*/ 1187099 w 1687454"/>
                  <a:gd name="connsiteY129" fmla="*/ 73268 h 903637"/>
                  <a:gd name="connsiteX130" fmla="*/ 1177753 w 1687454"/>
                  <a:gd name="connsiteY130" fmla="*/ 71769 h 903637"/>
                  <a:gd name="connsiteX131" fmla="*/ 1178018 w 1687454"/>
                  <a:gd name="connsiteY131" fmla="*/ 68595 h 903637"/>
                  <a:gd name="connsiteX132" fmla="*/ 1231360 w 1687454"/>
                  <a:gd name="connsiteY132" fmla="*/ 65068 h 903637"/>
                  <a:gd name="connsiteX133" fmla="*/ 1208348 w 1687454"/>
                  <a:gd name="connsiteY133" fmla="*/ 65333 h 903637"/>
                  <a:gd name="connsiteX134" fmla="*/ 1205438 w 1687454"/>
                  <a:gd name="connsiteY134" fmla="*/ 64451 h 903637"/>
                  <a:gd name="connsiteX135" fmla="*/ 1229332 w 1687454"/>
                  <a:gd name="connsiteY135" fmla="*/ 62423 h 903637"/>
                  <a:gd name="connsiteX136" fmla="*/ 1208612 w 1687454"/>
                  <a:gd name="connsiteY136" fmla="*/ 62423 h 903637"/>
                  <a:gd name="connsiteX137" fmla="*/ 1210376 w 1687454"/>
                  <a:gd name="connsiteY137" fmla="*/ 60924 h 903637"/>
                  <a:gd name="connsiteX138" fmla="*/ 1204292 w 1687454"/>
                  <a:gd name="connsiteY138" fmla="*/ 60307 h 903637"/>
                  <a:gd name="connsiteX139" fmla="*/ 1197327 w 1687454"/>
                  <a:gd name="connsiteY139" fmla="*/ 62335 h 903637"/>
                  <a:gd name="connsiteX140" fmla="*/ 1198208 w 1687454"/>
                  <a:gd name="connsiteY140" fmla="*/ 61189 h 903637"/>
                  <a:gd name="connsiteX141" fmla="*/ 1184454 w 1687454"/>
                  <a:gd name="connsiteY141" fmla="*/ 64363 h 903637"/>
                  <a:gd name="connsiteX142" fmla="*/ 1188245 w 1687454"/>
                  <a:gd name="connsiteY142" fmla="*/ 62071 h 903637"/>
                  <a:gd name="connsiteX143" fmla="*/ 1182426 w 1687454"/>
                  <a:gd name="connsiteY143" fmla="*/ 61453 h 903637"/>
                  <a:gd name="connsiteX144" fmla="*/ 1176607 w 1687454"/>
                  <a:gd name="connsiteY144" fmla="*/ 63481 h 903637"/>
                  <a:gd name="connsiteX145" fmla="*/ 1169642 w 1687454"/>
                  <a:gd name="connsiteY145" fmla="*/ 64363 h 903637"/>
                  <a:gd name="connsiteX146" fmla="*/ 1169906 w 1687454"/>
                  <a:gd name="connsiteY146" fmla="*/ 61718 h 903637"/>
                  <a:gd name="connsiteX147" fmla="*/ 1164087 w 1687454"/>
                  <a:gd name="connsiteY147" fmla="*/ 61101 h 903637"/>
                  <a:gd name="connsiteX148" fmla="*/ 1166732 w 1687454"/>
                  <a:gd name="connsiteY148" fmla="*/ 59073 h 903637"/>
                  <a:gd name="connsiteX149" fmla="*/ 1189744 w 1687454"/>
                  <a:gd name="connsiteY149" fmla="*/ 57045 h 903637"/>
                  <a:gd name="connsiteX150" fmla="*/ 1190890 w 1687454"/>
                  <a:gd name="connsiteY150" fmla="*/ 55282 h 903637"/>
                  <a:gd name="connsiteX151" fmla="*/ 1169289 w 1687454"/>
                  <a:gd name="connsiteY151" fmla="*/ 57309 h 903637"/>
                  <a:gd name="connsiteX152" fmla="*/ 1164616 w 1687454"/>
                  <a:gd name="connsiteY152" fmla="*/ 52901 h 903637"/>
                  <a:gd name="connsiteX153" fmla="*/ 1169554 w 1687454"/>
                  <a:gd name="connsiteY153" fmla="*/ 48845 h 903637"/>
                  <a:gd name="connsiteX154" fmla="*/ 1184454 w 1687454"/>
                  <a:gd name="connsiteY154" fmla="*/ 50873 h 903637"/>
                  <a:gd name="connsiteX155" fmla="*/ 1196445 w 1687454"/>
                  <a:gd name="connsiteY155" fmla="*/ 51138 h 903637"/>
                  <a:gd name="connsiteX156" fmla="*/ 1194153 w 1687454"/>
                  <a:gd name="connsiteY156" fmla="*/ 49639 h 903637"/>
                  <a:gd name="connsiteX157" fmla="*/ 1204027 w 1687454"/>
                  <a:gd name="connsiteY157" fmla="*/ 47875 h 903637"/>
                  <a:gd name="connsiteX158" fmla="*/ 1199090 w 1687454"/>
                  <a:gd name="connsiteY158" fmla="*/ 47258 h 903637"/>
                  <a:gd name="connsiteX159" fmla="*/ 1189215 w 1687454"/>
                  <a:gd name="connsiteY159" fmla="*/ 49022 h 903637"/>
                  <a:gd name="connsiteX160" fmla="*/ 1184542 w 1687454"/>
                  <a:gd name="connsiteY160" fmla="*/ 49022 h 903637"/>
                  <a:gd name="connsiteX161" fmla="*/ 1188951 w 1687454"/>
                  <a:gd name="connsiteY161" fmla="*/ 47258 h 903637"/>
                  <a:gd name="connsiteX162" fmla="*/ 1174667 w 1687454"/>
                  <a:gd name="connsiteY162" fmla="*/ 46994 h 903637"/>
                  <a:gd name="connsiteX163" fmla="*/ 1179605 w 1687454"/>
                  <a:gd name="connsiteY163" fmla="*/ 44966 h 903637"/>
                  <a:gd name="connsiteX164" fmla="*/ 1190097 w 1687454"/>
                  <a:gd name="connsiteY164" fmla="*/ 44701 h 903637"/>
                  <a:gd name="connsiteX165" fmla="*/ 1183925 w 1687454"/>
                  <a:gd name="connsiteY165" fmla="*/ 43203 h 903637"/>
                  <a:gd name="connsiteX166" fmla="*/ 1187981 w 1687454"/>
                  <a:gd name="connsiteY166" fmla="*/ 41439 h 903637"/>
                  <a:gd name="connsiteX167" fmla="*/ 1216283 w 1687454"/>
                  <a:gd name="connsiteY167" fmla="*/ 41704 h 903637"/>
                  <a:gd name="connsiteX168" fmla="*/ 1206672 w 1687454"/>
                  <a:gd name="connsiteY168" fmla="*/ 40558 h 903637"/>
                  <a:gd name="connsiteX169" fmla="*/ 1209582 w 1687454"/>
                  <a:gd name="connsiteY169" fmla="*/ 39676 h 903637"/>
                  <a:gd name="connsiteX170" fmla="*/ 1213109 w 1687454"/>
                  <a:gd name="connsiteY170" fmla="*/ 38794 h 903637"/>
                  <a:gd name="connsiteX171" fmla="*/ 1206672 w 1687454"/>
                  <a:gd name="connsiteY171" fmla="*/ 39147 h 903637"/>
                  <a:gd name="connsiteX172" fmla="*/ 1199354 w 1687454"/>
                  <a:gd name="connsiteY172" fmla="*/ 38001 h 903637"/>
                  <a:gd name="connsiteX173" fmla="*/ 1210728 w 1687454"/>
                  <a:gd name="connsiteY173" fmla="*/ 34209 h 903637"/>
                  <a:gd name="connsiteX174" fmla="*/ 1222984 w 1687454"/>
                  <a:gd name="connsiteY174" fmla="*/ 34209 h 903637"/>
                  <a:gd name="connsiteX175" fmla="*/ 1225364 w 1687454"/>
                  <a:gd name="connsiteY175" fmla="*/ 33328 h 903637"/>
                  <a:gd name="connsiteX176" fmla="*/ 1232065 w 1687454"/>
                  <a:gd name="connsiteY176" fmla="*/ 33857 h 903637"/>
                  <a:gd name="connsiteX177" fmla="*/ 1234357 w 1687454"/>
                  <a:gd name="connsiteY177" fmla="*/ 31564 h 903637"/>
                  <a:gd name="connsiteX178" fmla="*/ 1222102 w 1687454"/>
                  <a:gd name="connsiteY178" fmla="*/ 31300 h 903637"/>
                  <a:gd name="connsiteX179" fmla="*/ 1228538 w 1687454"/>
                  <a:gd name="connsiteY179" fmla="*/ 29272 h 903637"/>
                  <a:gd name="connsiteX180" fmla="*/ 1234974 w 1687454"/>
                  <a:gd name="connsiteY180" fmla="*/ 30154 h 903637"/>
                  <a:gd name="connsiteX181" fmla="*/ 1234710 w 1687454"/>
                  <a:gd name="connsiteY181" fmla="*/ 29272 h 903637"/>
                  <a:gd name="connsiteX182" fmla="*/ 1251903 w 1687454"/>
                  <a:gd name="connsiteY182" fmla="*/ 31035 h 903637"/>
                  <a:gd name="connsiteX183" fmla="*/ 1264158 w 1687454"/>
                  <a:gd name="connsiteY183" fmla="*/ 40117 h 903637"/>
                  <a:gd name="connsiteX184" fmla="*/ 1264158 w 1687454"/>
                  <a:gd name="connsiteY184" fmla="*/ 42145 h 903637"/>
                  <a:gd name="connsiteX185" fmla="*/ 1268831 w 1687454"/>
                  <a:gd name="connsiteY185" fmla="*/ 41880 h 903637"/>
                  <a:gd name="connsiteX186" fmla="*/ 1270330 w 1687454"/>
                  <a:gd name="connsiteY186" fmla="*/ 43643 h 903637"/>
                  <a:gd name="connsiteX187" fmla="*/ 1272975 w 1687454"/>
                  <a:gd name="connsiteY187" fmla="*/ 42145 h 903637"/>
                  <a:gd name="connsiteX188" fmla="*/ 1279676 w 1687454"/>
                  <a:gd name="connsiteY188" fmla="*/ 42409 h 903637"/>
                  <a:gd name="connsiteX189" fmla="*/ 1274738 w 1687454"/>
                  <a:gd name="connsiteY189" fmla="*/ 45936 h 903637"/>
                  <a:gd name="connsiteX190" fmla="*/ 1282056 w 1687454"/>
                  <a:gd name="connsiteY190" fmla="*/ 49462 h 903637"/>
                  <a:gd name="connsiteX191" fmla="*/ 1290521 w 1687454"/>
                  <a:gd name="connsiteY191" fmla="*/ 43643 h 903637"/>
                  <a:gd name="connsiteX192" fmla="*/ 1301365 w 1687454"/>
                  <a:gd name="connsiteY192" fmla="*/ 44261 h 903637"/>
                  <a:gd name="connsiteX193" fmla="*/ 1287611 w 1687454"/>
                  <a:gd name="connsiteY193" fmla="*/ 50080 h 903637"/>
                  <a:gd name="connsiteX194" fmla="*/ 1298103 w 1687454"/>
                  <a:gd name="connsiteY194" fmla="*/ 50080 h 903637"/>
                  <a:gd name="connsiteX195" fmla="*/ 1294312 w 1687454"/>
                  <a:gd name="connsiteY195" fmla="*/ 53606 h 903637"/>
                  <a:gd name="connsiteX196" fmla="*/ 1298985 w 1687454"/>
                  <a:gd name="connsiteY196" fmla="*/ 52725 h 903637"/>
                  <a:gd name="connsiteX197" fmla="*/ 1292019 w 1687454"/>
                  <a:gd name="connsiteY197" fmla="*/ 57133 h 903637"/>
                  <a:gd name="connsiteX198" fmla="*/ 1292637 w 1687454"/>
                  <a:gd name="connsiteY198" fmla="*/ 58896 h 903637"/>
                  <a:gd name="connsiteX199" fmla="*/ 1298720 w 1687454"/>
                  <a:gd name="connsiteY199" fmla="*/ 57486 h 903637"/>
                  <a:gd name="connsiteX200" fmla="*/ 1303393 w 1687454"/>
                  <a:gd name="connsiteY200" fmla="*/ 57750 h 903637"/>
                  <a:gd name="connsiteX201" fmla="*/ 1301365 w 1687454"/>
                  <a:gd name="connsiteY201" fmla="*/ 61277 h 903637"/>
                  <a:gd name="connsiteX202" fmla="*/ 1309829 w 1687454"/>
                  <a:gd name="connsiteY202" fmla="*/ 57750 h 903637"/>
                  <a:gd name="connsiteX203" fmla="*/ 1313621 w 1687454"/>
                  <a:gd name="connsiteY203" fmla="*/ 64187 h 903637"/>
                  <a:gd name="connsiteX204" fmla="*/ 1305421 w 1687454"/>
                  <a:gd name="connsiteY204" fmla="*/ 65950 h 903637"/>
                  <a:gd name="connsiteX205" fmla="*/ 1286465 w 1687454"/>
                  <a:gd name="connsiteY205" fmla="*/ 68595 h 903637"/>
                  <a:gd name="connsiteX206" fmla="*/ 1283291 w 1687454"/>
                  <a:gd name="connsiteY206" fmla="*/ 70094 h 903637"/>
                  <a:gd name="connsiteX207" fmla="*/ 1279235 w 1687454"/>
                  <a:gd name="connsiteY207" fmla="*/ 69212 h 903637"/>
                  <a:gd name="connsiteX208" fmla="*/ 1263806 w 1687454"/>
                  <a:gd name="connsiteY208" fmla="*/ 75296 h 903637"/>
                  <a:gd name="connsiteX209" fmla="*/ 1260279 w 1687454"/>
                  <a:gd name="connsiteY209" fmla="*/ 72651 h 903637"/>
                  <a:gd name="connsiteX210" fmla="*/ 1266980 w 1687454"/>
                  <a:gd name="connsiteY210" fmla="*/ 68595 h 903637"/>
                  <a:gd name="connsiteX211" fmla="*/ 1261425 w 1687454"/>
                  <a:gd name="connsiteY211" fmla="*/ 69741 h 903637"/>
                  <a:gd name="connsiteX212" fmla="*/ 1252696 w 1687454"/>
                  <a:gd name="connsiteY212" fmla="*/ 79087 h 903637"/>
                  <a:gd name="connsiteX213" fmla="*/ 1249522 w 1687454"/>
                  <a:gd name="connsiteY213" fmla="*/ 79352 h 903637"/>
                  <a:gd name="connsiteX214" fmla="*/ 1245467 w 1687454"/>
                  <a:gd name="connsiteY214" fmla="*/ 77324 h 903637"/>
                  <a:gd name="connsiteX215" fmla="*/ 1233828 w 1687454"/>
                  <a:gd name="connsiteY215" fmla="*/ 85171 h 903637"/>
                  <a:gd name="connsiteX216" fmla="*/ 1227128 w 1687454"/>
                  <a:gd name="connsiteY216" fmla="*/ 76707 h 903637"/>
                  <a:gd name="connsiteX217" fmla="*/ 1223072 w 1687454"/>
                  <a:gd name="connsiteY217" fmla="*/ 78734 h 903637"/>
                  <a:gd name="connsiteX218" fmla="*/ 1220691 w 1687454"/>
                  <a:gd name="connsiteY218" fmla="*/ 84377 h 903637"/>
                  <a:gd name="connsiteX219" fmla="*/ 1218663 w 1687454"/>
                  <a:gd name="connsiteY219" fmla="*/ 81732 h 903637"/>
                  <a:gd name="connsiteX220" fmla="*/ 1211345 w 1687454"/>
                  <a:gd name="connsiteY220" fmla="*/ 82878 h 903637"/>
                  <a:gd name="connsiteX221" fmla="*/ 1116564 w 1687454"/>
                  <a:gd name="connsiteY221" fmla="*/ 93106 h 903637"/>
                  <a:gd name="connsiteX222" fmla="*/ 1113655 w 1687454"/>
                  <a:gd name="connsiteY222" fmla="*/ 94252 h 903637"/>
                  <a:gd name="connsiteX223" fmla="*/ 1111010 w 1687454"/>
                  <a:gd name="connsiteY223" fmla="*/ 93370 h 903637"/>
                  <a:gd name="connsiteX224" fmla="*/ 1114537 w 1687454"/>
                  <a:gd name="connsiteY224" fmla="*/ 91342 h 903637"/>
                  <a:gd name="connsiteX225" fmla="*/ 1112244 w 1687454"/>
                  <a:gd name="connsiteY225" fmla="*/ 90196 h 903637"/>
                  <a:gd name="connsiteX226" fmla="*/ 1106425 w 1687454"/>
                  <a:gd name="connsiteY226" fmla="*/ 89315 h 903637"/>
                  <a:gd name="connsiteX227" fmla="*/ 1108453 w 1687454"/>
                  <a:gd name="connsiteY227" fmla="*/ 88433 h 903637"/>
                  <a:gd name="connsiteX228" fmla="*/ 1120973 w 1687454"/>
                  <a:gd name="connsiteY228" fmla="*/ 88433 h 903637"/>
                  <a:gd name="connsiteX229" fmla="*/ 1116300 w 1687454"/>
                  <a:gd name="connsiteY229" fmla="*/ 86141 h 903637"/>
                  <a:gd name="connsiteX230" fmla="*/ 1110481 w 1687454"/>
                  <a:gd name="connsiteY230" fmla="*/ 85788 h 903637"/>
                  <a:gd name="connsiteX231" fmla="*/ 1111980 w 1687454"/>
                  <a:gd name="connsiteY231" fmla="*/ 85171 h 903637"/>
                  <a:gd name="connsiteX232" fmla="*/ 1109335 w 1687454"/>
                  <a:gd name="connsiteY232" fmla="*/ 81379 h 903637"/>
                  <a:gd name="connsiteX233" fmla="*/ 1112244 w 1687454"/>
                  <a:gd name="connsiteY233" fmla="*/ 80233 h 903637"/>
                  <a:gd name="connsiteX234" fmla="*/ 1116035 w 1687454"/>
                  <a:gd name="connsiteY234" fmla="*/ 79969 h 903637"/>
                  <a:gd name="connsiteX235" fmla="*/ 1114889 w 1687454"/>
                  <a:gd name="connsiteY235" fmla="*/ 77324 h 903637"/>
                  <a:gd name="connsiteX236" fmla="*/ 1119298 w 1687454"/>
                  <a:gd name="connsiteY236" fmla="*/ 74943 h 903637"/>
                  <a:gd name="connsiteX237" fmla="*/ 1121590 w 1687454"/>
                  <a:gd name="connsiteY237" fmla="*/ 74943 h 903637"/>
                  <a:gd name="connsiteX238" fmla="*/ 1142310 w 1687454"/>
                  <a:gd name="connsiteY238" fmla="*/ 78117 h 903637"/>
                  <a:gd name="connsiteX239" fmla="*/ 1140546 w 1687454"/>
                  <a:gd name="connsiteY239" fmla="*/ 80498 h 903637"/>
                  <a:gd name="connsiteX240" fmla="*/ 1149275 w 1687454"/>
                  <a:gd name="connsiteY240" fmla="*/ 80233 h 903637"/>
                  <a:gd name="connsiteX241" fmla="*/ 1152537 w 1687454"/>
                  <a:gd name="connsiteY241" fmla="*/ 80850 h 903637"/>
                  <a:gd name="connsiteX242" fmla="*/ 1156593 w 1687454"/>
                  <a:gd name="connsiteY242" fmla="*/ 82614 h 903637"/>
                  <a:gd name="connsiteX243" fmla="*/ 1155094 w 1687454"/>
                  <a:gd name="connsiteY243" fmla="*/ 83760 h 903637"/>
                  <a:gd name="connsiteX244" fmla="*/ 1146630 w 1687454"/>
                  <a:gd name="connsiteY244" fmla="*/ 85523 h 903637"/>
                  <a:gd name="connsiteX245" fmla="*/ 1150157 w 1687454"/>
                  <a:gd name="connsiteY245" fmla="*/ 87816 h 903637"/>
                  <a:gd name="connsiteX246" fmla="*/ 1141340 w 1687454"/>
                  <a:gd name="connsiteY246" fmla="*/ 90813 h 903637"/>
                  <a:gd name="connsiteX247" fmla="*/ 1139929 w 1687454"/>
                  <a:gd name="connsiteY247" fmla="*/ 90813 h 903637"/>
                  <a:gd name="connsiteX248" fmla="*/ 1124147 w 1687454"/>
                  <a:gd name="connsiteY248" fmla="*/ 92312 h 903637"/>
                  <a:gd name="connsiteX249" fmla="*/ 1121766 w 1687454"/>
                  <a:gd name="connsiteY249" fmla="*/ 92048 h 903637"/>
                  <a:gd name="connsiteX250" fmla="*/ 1118240 w 1687454"/>
                  <a:gd name="connsiteY250" fmla="*/ 92665 h 903637"/>
                  <a:gd name="connsiteX251" fmla="*/ 1119121 w 1687454"/>
                  <a:gd name="connsiteY251" fmla="*/ 93194 h 903637"/>
                  <a:gd name="connsiteX252" fmla="*/ 1116564 w 1687454"/>
                  <a:gd name="connsiteY252" fmla="*/ 93194 h 903637"/>
                  <a:gd name="connsiteX253" fmla="*/ 929030 w 1687454"/>
                  <a:gd name="connsiteY253" fmla="*/ 85788 h 903637"/>
                  <a:gd name="connsiteX254" fmla="*/ 923476 w 1687454"/>
                  <a:gd name="connsiteY254" fmla="*/ 86934 h 903637"/>
                  <a:gd name="connsiteX255" fmla="*/ 920831 w 1687454"/>
                  <a:gd name="connsiteY255" fmla="*/ 86934 h 903637"/>
                  <a:gd name="connsiteX256" fmla="*/ 920566 w 1687454"/>
                  <a:gd name="connsiteY256" fmla="*/ 86052 h 903637"/>
                  <a:gd name="connsiteX257" fmla="*/ 912984 w 1687454"/>
                  <a:gd name="connsiteY257" fmla="*/ 85523 h 903637"/>
                  <a:gd name="connsiteX258" fmla="*/ 900111 w 1687454"/>
                  <a:gd name="connsiteY258" fmla="*/ 86934 h 903637"/>
                  <a:gd name="connsiteX259" fmla="*/ 903638 w 1687454"/>
                  <a:gd name="connsiteY259" fmla="*/ 84642 h 903637"/>
                  <a:gd name="connsiteX260" fmla="*/ 910339 w 1687454"/>
                  <a:gd name="connsiteY260" fmla="*/ 83760 h 903637"/>
                  <a:gd name="connsiteX261" fmla="*/ 919684 w 1687454"/>
                  <a:gd name="connsiteY261" fmla="*/ 81997 h 903637"/>
                  <a:gd name="connsiteX262" fmla="*/ 926121 w 1687454"/>
                  <a:gd name="connsiteY262" fmla="*/ 81732 h 903637"/>
                  <a:gd name="connsiteX263" fmla="*/ 933968 w 1687454"/>
                  <a:gd name="connsiteY263" fmla="*/ 81115 h 903637"/>
                  <a:gd name="connsiteX264" fmla="*/ 936877 w 1687454"/>
                  <a:gd name="connsiteY264" fmla="*/ 79969 h 903637"/>
                  <a:gd name="connsiteX265" fmla="*/ 945958 w 1687454"/>
                  <a:gd name="connsiteY265" fmla="*/ 78823 h 903637"/>
                  <a:gd name="connsiteX266" fmla="*/ 952395 w 1687454"/>
                  <a:gd name="connsiteY266" fmla="*/ 78558 h 903637"/>
                  <a:gd name="connsiteX267" fmla="*/ 957068 w 1687454"/>
                  <a:gd name="connsiteY267" fmla="*/ 80586 h 903637"/>
                  <a:gd name="connsiteX268" fmla="*/ 961123 w 1687454"/>
                  <a:gd name="connsiteY268" fmla="*/ 82349 h 903637"/>
                  <a:gd name="connsiteX269" fmla="*/ 955833 w 1687454"/>
                  <a:gd name="connsiteY269" fmla="*/ 85876 h 903637"/>
                  <a:gd name="connsiteX270" fmla="*/ 948515 w 1687454"/>
                  <a:gd name="connsiteY270" fmla="*/ 86758 h 903637"/>
                  <a:gd name="connsiteX271" fmla="*/ 947634 w 1687454"/>
                  <a:gd name="connsiteY271" fmla="*/ 86758 h 903637"/>
                  <a:gd name="connsiteX272" fmla="*/ 946487 w 1687454"/>
                  <a:gd name="connsiteY272" fmla="*/ 86141 h 903637"/>
                  <a:gd name="connsiteX273" fmla="*/ 939170 w 1687454"/>
                  <a:gd name="connsiteY273" fmla="*/ 87022 h 903637"/>
                  <a:gd name="connsiteX274" fmla="*/ 931852 w 1687454"/>
                  <a:gd name="connsiteY274" fmla="*/ 84994 h 903637"/>
                  <a:gd name="connsiteX275" fmla="*/ 929559 w 1687454"/>
                  <a:gd name="connsiteY275" fmla="*/ 84994 h 903637"/>
                  <a:gd name="connsiteX276" fmla="*/ 929030 w 1687454"/>
                  <a:gd name="connsiteY276" fmla="*/ 85788 h 903637"/>
                  <a:gd name="connsiteX277" fmla="*/ 1088262 w 1687454"/>
                  <a:gd name="connsiteY277" fmla="*/ 88433 h 903637"/>
                  <a:gd name="connsiteX278" fmla="*/ 1077153 w 1687454"/>
                  <a:gd name="connsiteY278" fmla="*/ 92489 h 903637"/>
                  <a:gd name="connsiteX279" fmla="*/ 1062253 w 1687454"/>
                  <a:gd name="connsiteY279" fmla="*/ 88080 h 903637"/>
                  <a:gd name="connsiteX280" fmla="*/ 1053171 w 1687454"/>
                  <a:gd name="connsiteY280" fmla="*/ 84289 h 903637"/>
                  <a:gd name="connsiteX281" fmla="*/ 1040299 w 1687454"/>
                  <a:gd name="connsiteY281" fmla="*/ 84554 h 903637"/>
                  <a:gd name="connsiteX282" fmla="*/ 1040299 w 1687454"/>
                  <a:gd name="connsiteY282" fmla="*/ 82790 h 903637"/>
                  <a:gd name="connsiteX283" fmla="*/ 1020725 w 1687454"/>
                  <a:gd name="connsiteY283" fmla="*/ 85083 h 903637"/>
                  <a:gd name="connsiteX284" fmla="*/ 1014024 w 1687454"/>
                  <a:gd name="connsiteY284" fmla="*/ 84201 h 903637"/>
                  <a:gd name="connsiteX285" fmla="*/ 1014024 w 1687454"/>
                  <a:gd name="connsiteY285" fmla="*/ 80145 h 903637"/>
                  <a:gd name="connsiteX286" fmla="*/ 1019226 w 1687454"/>
                  <a:gd name="connsiteY286" fmla="*/ 79263 h 903637"/>
                  <a:gd name="connsiteX287" fmla="*/ 1032364 w 1687454"/>
                  <a:gd name="connsiteY287" fmla="*/ 80145 h 903637"/>
                  <a:gd name="connsiteX288" fmla="*/ 1036419 w 1687454"/>
                  <a:gd name="connsiteY288" fmla="*/ 78646 h 903637"/>
                  <a:gd name="connsiteX289" fmla="*/ 1031746 w 1687454"/>
                  <a:gd name="connsiteY289" fmla="*/ 77765 h 903637"/>
                  <a:gd name="connsiteX290" fmla="*/ 1036684 w 1687454"/>
                  <a:gd name="connsiteY290" fmla="*/ 77500 h 903637"/>
                  <a:gd name="connsiteX291" fmla="*/ 1040211 w 1687454"/>
                  <a:gd name="connsiteY291" fmla="*/ 75737 h 903637"/>
                  <a:gd name="connsiteX292" fmla="*/ 1028572 w 1687454"/>
                  <a:gd name="connsiteY292" fmla="*/ 75120 h 903637"/>
                  <a:gd name="connsiteX293" fmla="*/ 1038183 w 1687454"/>
                  <a:gd name="connsiteY293" fmla="*/ 72827 h 903637"/>
                  <a:gd name="connsiteX294" fmla="*/ 1034127 w 1687454"/>
                  <a:gd name="connsiteY294" fmla="*/ 71945 h 903637"/>
                  <a:gd name="connsiteX295" fmla="*/ 1025663 w 1687454"/>
                  <a:gd name="connsiteY295" fmla="*/ 74855 h 903637"/>
                  <a:gd name="connsiteX296" fmla="*/ 1020990 w 1687454"/>
                  <a:gd name="connsiteY296" fmla="*/ 74855 h 903637"/>
                  <a:gd name="connsiteX297" fmla="*/ 1027955 w 1687454"/>
                  <a:gd name="connsiteY297" fmla="*/ 71328 h 903637"/>
                  <a:gd name="connsiteX298" fmla="*/ 1016846 w 1687454"/>
                  <a:gd name="connsiteY298" fmla="*/ 71328 h 903637"/>
                  <a:gd name="connsiteX299" fmla="*/ 1025046 w 1687454"/>
                  <a:gd name="connsiteY299" fmla="*/ 66038 h 903637"/>
                  <a:gd name="connsiteX300" fmla="*/ 1048939 w 1687454"/>
                  <a:gd name="connsiteY300" fmla="*/ 64892 h 903637"/>
                  <a:gd name="connsiteX301" fmla="*/ 1060048 w 1687454"/>
                  <a:gd name="connsiteY301" fmla="*/ 67273 h 903637"/>
                  <a:gd name="connsiteX302" fmla="*/ 1055376 w 1687454"/>
                  <a:gd name="connsiteY302" fmla="*/ 73444 h 903637"/>
                  <a:gd name="connsiteX303" fmla="*/ 1070276 w 1687454"/>
                  <a:gd name="connsiteY303" fmla="*/ 69653 h 903637"/>
                  <a:gd name="connsiteX304" fmla="*/ 1079622 w 1687454"/>
                  <a:gd name="connsiteY304" fmla="*/ 72034 h 903637"/>
                  <a:gd name="connsiteX305" fmla="*/ 1073803 w 1687454"/>
                  <a:gd name="connsiteY305" fmla="*/ 74679 h 903637"/>
                  <a:gd name="connsiteX306" fmla="*/ 1076712 w 1687454"/>
                  <a:gd name="connsiteY306" fmla="*/ 75296 h 903637"/>
                  <a:gd name="connsiteX307" fmla="*/ 1086323 w 1687454"/>
                  <a:gd name="connsiteY307" fmla="*/ 74150 h 903637"/>
                  <a:gd name="connsiteX308" fmla="*/ 1089232 w 1687454"/>
                  <a:gd name="connsiteY308" fmla="*/ 76795 h 903637"/>
                  <a:gd name="connsiteX309" fmla="*/ 1086058 w 1687454"/>
                  <a:gd name="connsiteY309" fmla="*/ 77941 h 903637"/>
                  <a:gd name="connsiteX310" fmla="*/ 1092759 w 1687454"/>
                  <a:gd name="connsiteY310" fmla="*/ 78823 h 903637"/>
                  <a:gd name="connsiteX311" fmla="*/ 1082267 w 1687454"/>
                  <a:gd name="connsiteY311" fmla="*/ 84113 h 903637"/>
                  <a:gd name="connsiteX312" fmla="*/ 1088262 w 1687454"/>
                  <a:gd name="connsiteY312" fmla="*/ 88433 h 903637"/>
                  <a:gd name="connsiteX313" fmla="*/ 849679 w 1687454"/>
                  <a:gd name="connsiteY313" fmla="*/ 116999 h 903637"/>
                  <a:gd name="connsiteX314" fmla="*/ 839187 w 1687454"/>
                  <a:gd name="connsiteY314" fmla="*/ 117881 h 903637"/>
                  <a:gd name="connsiteX315" fmla="*/ 833985 w 1687454"/>
                  <a:gd name="connsiteY315" fmla="*/ 113473 h 903637"/>
                  <a:gd name="connsiteX316" fmla="*/ 840068 w 1687454"/>
                  <a:gd name="connsiteY316" fmla="*/ 111974 h 903637"/>
                  <a:gd name="connsiteX317" fmla="*/ 846769 w 1687454"/>
                  <a:gd name="connsiteY317" fmla="*/ 111357 h 903637"/>
                  <a:gd name="connsiteX318" fmla="*/ 852588 w 1687454"/>
                  <a:gd name="connsiteY318" fmla="*/ 115765 h 903637"/>
                  <a:gd name="connsiteX319" fmla="*/ 849679 w 1687454"/>
                  <a:gd name="connsiteY319" fmla="*/ 116999 h 903637"/>
                  <a:gd name="connsiteX320" fmla="*/ 902492 w 1687454"/>
                  <a:gd name="connsiteY320" fmla="*/ 103333 h 903637"/>
                  <a:gd name="connsiteX321" fmla="*/ 884681 w 1687454"/>
                  <a:gd name="connsiteY321" fmla="*/ 104480 h 903637"/>
                  <a:gd name="connsiteX322" fmla="*/ 882654 w 1687454"/>
                  <a:gd name="connsiteY322" fmla="*/ 102452 h 903637"/>
                  <a:gd name="connsiteX323" fmla="*/ 878862 w 1687454"/>
                  <a:gd name="connsiteY323" fmla="*/ 102187 h 903637"/>
                  <a:gd name="connsiteX324" fmla="*/ 877716 w 1687454"/>
                  <a:gd name="connsiteY324" fmla="*/ 101041 h 903637"/>
                  <a:gd name="connsiteX325" fmla="*/ 879744 w 1687454"/>
                  <a:gd name="connsiteY325" fmla="*/ 98660 h 903637"/>
                  <a:gd name="connsiteX326" fmla="*/ 882389 w 1687454"/>
                  <a:gd name="connsiteY326" fmla="*/ 97514 h 903637"/>
                  <a:gd name="connsiteX327" fmla="*/ 881507 w 1687454"/>
                  <a:gd name="connsiteY327" fmla="*/ 96368 h 903637"/>
                  <a:gd name="connsiteX328" fmla="*/ 886798 w 1687454"/>
                  <a:gd name="connsiteY328" fmla="*/ 93723 h 903637"/>
                  <a:gd name="connsiteX329" fmla="*/ 891206 w 1687454"/>
                  <a:gd name="connsiteY329" fmla="*/ 93723 h 903637"/>
                  <a:gd name="connsiteX330" fmla="*/ 909545 w 1687454"/>
                  <a:gd name="connsiteY330" fmla="*/ 91695 h 903637"/>
                  <a:gd name="connsiteX331" fmla="*/ 925592 w 1687454"/>
                  <a:gd name="connsiteY331" fmla="*/ 91431 h 903637"/>
                  <a:gd name="connsiteX332" fmla="*/ 929118 w 1687454"/>
                  <a:gd name="connsiteY332" fmla="*/ 90549 h 903637"/>
                  <a:gd name="connsiteX333" fmla="*/ 935819 w 1687454"/>
                  <a:gd name="connsiteY333" fmla="*/ 90284 h 903637"/>
                  <a:gd name="connsiteX334" fmla="*/ 940228 w 1687454"/>
                  <a:gd name="connsiteY334" fmla="*/ 90902 h 903637"/>
                  <a:gd name="connsiteX335" fmla="*/ 941991 w 1687454"/>
                  <a:gd name="connsiteY335" fmla="*/ 91166 h 903637"/>
                  <a:gd name="connsiteX336" fmla="*/ 941462 w 1687454"/>
                  <a:gd name="connsiteY336" fmla="*/ 92048 h 903637"/>
                  <a:gd name="connsiteX337" fmla="*/ 936525 w 1687454"/>
                  <a:gd name="connsiteY337" fmla="*/ 93547 h 903637"/>
                  <a:gd name="connsiteX338" fmla="*/ 935643 w 1687454"/>
                  <a:gd name="connsiteY338" fmla="*/ 93811 h 903637"/>
                  <a:gd name="connsiteX339" fmla="*/ 919596 w 1687454"/>
                  <a:gd name="connsiteY339" fmla="*/ 94428 h 903637"/>
                  <a:gd name="connsiteX340" fmla="*/ 918097 w 1687454"/>
                  <a:gd name="connsiteY340" fmla="*/ 95575 h 903637"/>
                  <a:gd name="connsiteX341" fmla="*/ 918714 w 1687454"/>
                  <a:gd name="connsiteY341" fmla="*/ 96721 h 903637"/>
                  <a:gd name="connsiteX342" fmla="*/ 928325 w 1687454"/>
                  <a:gd name="connsiteY342" fmla="*/ 96456 h 903637"/>
                  <a:gd name="connsiteX343" fmla="*/ 921624 w 1687454"/>
                  <a:gd name="connsiteY343" fmla="*/ 101129 h 903637"/>
                  <a:gd name="connsiteX344" fmla="*/ 907341 w 1687454"/>
                  <a:gd name="connsiteY344" fmla="*/ 103774 h 903637"/>
                  <a:gd name="connsiteX345" fmla="*/ 902492 w 1687454"/>
                  <a:gd name="connsiteY345" fmla="*/ 103333 h 903637"/>
                  <a:gd name="connsiteX346" fmla="*/ 993217 w 1687454"/>
                  <a:gd name="connsiteY346" fmla="*/ 106243 h 903637"/>
                  <a:gd name="connsiteX347" fmla="*/ 986780 w 1687454"/>
                  <a:gd name="connsiteY347" fmla="*/ 107389 h 903637"/>
                  <a:gd name="connsiteX348" fmla="*/ 978316 w 1687454"/>
                  <a:gd name="connsiteY348" fmla="*/ 106243 h 903637"/>
                  <a:gd name="connsiteX349" fmla="*/ 978052 w 1687454"/>
                  <a:gd name="connsiteY349" fmla="*/ 102716 h 903637"/>
                  <a:gd name="connsiteX350" fmla="*/ 981579 w 1687454"/>
                  <a:gd name="connsiteY350" fmla="*/ 100071 h 903637"/>
                  <a:gd name="connsiteX351" fmla="*/ 983077 w 1687454"/>
                  <a:gd name="connsiteY351" fmla="*/ 95663 h 903637"/>
                  <a:gd name="connsiteX352" fmla="*/ 984841 w 1687454"/>
                  <a:gd name="connsiteY352" fmla="*/ 95663 h 903637"/>
                  <a:gd name="connsiteX353" fmla="*/ 990043 w 1687454"/>
                  <a:gd name="connsiteY353" fmla="*/ 96544 h 903637"/>
                  <a:gd name="connsiteX354" fmla="*/ 992071 w 1687454"/>
                  <a:gd name="connsiteY354" fmla="*/ 100600 h 903637"/>
                  <a:gd name="connsiteX355" fmla="*/ 990924 w 1687454"/>
                  <a:gd name="connsiteY355" fmla="*/ 100600 h 903637"/>
                  <a:gd name="connsiteX356" fmla="*/ 990395 w 1687454"/>
                  <a:gd name="connsiteY356" fmla="*/ 102099 h 903637"/>
                  <a:gd name="connsiteX357" fmla="*/ 993305 w 1687454"/>
                  <a:gd name="connsiteY357" fmla="*/ 102099 h 903637"/>
                  <a:gd name="connsiteX358" fmla="*/ 995597 w 1687454"/>
                  <a:gd name="connsiteY358" fmla="*/ 103862 h 903637"/>
                  <a:gd name="connsiteX359" fmla="*/ 993217 w 1687454"/>
                  <a:gd name="connsiteY359" fmla="*/ 106243 h 903637"/>
                  <a:gd name="connsiteX360" fmla="*/ 1161178 w 1687454"/>
                  <a:gd name="connsiteY360" fmla="*/ 99189 h 903637"/>
                  <a:gd name="connsiteX361" fmla="*/ 1157122 w 1687454"/>
                  <a:gd name="connsiteY361" fmla="*/ 100336 h 903637"/>
                  <a:gd name="connsiteX362" fmla="*/ 1150157 w 1687454"/>
                  <a:gd name="connsiteY362" fmla="*/ 100159 h 903637"/>
                  <a:gd name="connsiteX363" fmla="*/ 1148658 w 1687454"/>
                  <a:gd name="connsiteY363" fmla="*/ 99895 h 903637"/>
                  <a:gd name="connsiteX364" fmla="*/ 1143368 w 1687454"/>
                  <a:gd name="connsiteY364" fmla="*/ 99895 h 903637"/>
                  <a:gd name="connsiteX365" fmla="*/ 1139929 w 1687454"/>
                  <a:gd name="connsiteY365" fmla="*/ 99895 h 903637"/>
                  <a:gd name="connsiteX366" fmla="*/ 1134992 w 1687454"/>
                  <a:gd name="connsiteY366" fmla="*/ 99895 h 903637"/>
                  <a:gd name="connsiteX367" fmla="*/ 1124764 w 1687454"/>
                  <a:gd name="connsiteY367" fmla="*/ 99895 h 903637"/>
                  <a:gd name="connsiteX368" fmla="*/ 1121237 w 1687454"/>
                  <a:gd name="connsiteY368" fmla="*/ 97867 h 903637"/>
                  <a:gd name="connsiteX369" fmla="*/ 1123265 w 1687454"/>
                  <a:gd name="connsiteY369" fmla="*/ 96104 h 903637"/>
                  <a:gd name="connsiteX370" fmla="*/ 1127674 w 1687454"/>
                  <a:gd name="connsiteY370" fmla="*/ 94693 h 903637"/>
                  <a:gd name="connsiteX371" fmla="*/ 1136402 w 1687454"/>
                  <a:gd name="connsiteY371" fmla="*/ 94076 h 903637"/>
                  <a:gd name="connsiteX372" fmla="*/ 1138695 w 1687454"/>
                  <a:gd name="connsiteY372" fmla="*/ 93459 h 903637"/>
                  <a:gd name="connsiteX373" fmla="*/ 1139312 w 1687454"/>
                  <a:gd name="connsiteY373" fmla="*/ 94605 h 903637"/>
                  <a:gd name="connsiteX374" fmla="*/ 1143720 w 1687454"/>
                  <a:gd name="connsiteY374" fmla="*/ 94605 h 903637"/>
                  <a:gd name="connsiteX375" fmla="*/ 1146630 w 1687454"/>
                  <a:gd name="connsiteY375" fmla="*/ 93988 h 903637"/>
                  <a:gd name="connsiteX376" fmla="*/ 1150157 w 1687454"/>
                  <a:gd name="connsiteY376" fmla="*/ 93988 h 903637"/>
                  <a:gd name="connsiteX377" fmla="*/ 1150774 w 1687454"/>
                  <a:gd name="connsiteY377" fmla="*/ 94605 h 903637"/>
                  <a:gd name="connsiteX378" fmla="*/ 1153066 w 1687454"/>
                  <a:gd name="connsiteY378" fmla="*/ 94605 h 903637"/>
                  <a:gd name="connsiteX379" fmla="*/ 1155094 w 1687454"/>
                  <a:gd name="connsiteY379" fmla="*/ 94340 h 903637"/>
                  <a:gd name="connsiteX380" fmla="*/ 1160649 w 1687454"/>
                  <a:gd name="connsiteY380" fmla="*/ 94869 h 903637"/>
                  <a:gd name="connsiteX381" fmla="*/ 1163823 w 1687454"/>
                  <a:gd name="connsiteY381" fmla="*/ 94340 h 903637"/>
                  <a:gd name="connsiteX382" fmla="*/ 1166468 w 1687454"/>
                  <a:gd name="connsiteY382" fmla="*/ 94605 h 903637"/>
                  <a:gd name="connsiteX383" fmla="*/ 1167967 w 1687454"/>
                  <a:gd name="connsiteY383" fmla="*/ 94605 h 903637"/>
                  <a:gd name="connsiteX384" fmla="*/ 1169730 w 1687454"/>
                  <a:gd name="connsiteY384" fmla="*/ 95751 h 903637"/>
                  <a:gd name="connsiteX385" fmla="*/ 1168848 w 1687454"/>
                  <a:gd name="connsiteY385" fmla="*/ 96368 h 903637"/>
                  <a:gd name="connsiteX386" fmla="*/ 1165939 w 1687454"/>
                  <a:gd name="connsiteY386" fmla="*/ 96633 h 903637"/>
                  <a:gd name="connsiteX387" fmla="*/ 1163911 w 1687454"/>
                  <a:gd name="connsiteY387" fmla="*/ 97514 h 903637"/>
                  <a:gd name="connsiteX388" fmla="*/ 1164528 w 1687454"/>
                  <a:gd name="connsiteY388" fmla="*/ 96897 h 903637"/>
                  <a:gd name="connsiteX389" fmla="*/ 1161178 w 1687454"/>
                  <a:gd name="connsiteY389" fmla="*/ 99189 h 903637"/>
                  <a:gd name="connsiteX390" fmla="*/ 1328609 w 1687454"/>
                  <a:gd name="connsiteY390" fmla="*/ 123700 h 903637"/>
                  <a:gd name="connsiteX391" fmla="*/ 1298015 w 1687454"/>
                  <a:gd name="connsiteY391" fmla="*/ 127227 h 903637"/>
                  <a:gd name="connsiteX392" fmla="*/ 1308860 w 1687454"/>
                  <a:gd name="connsiteY392" fmla="*/ 121143 h 903637"/>
                  <a:gd name="connsiteX393" fmla="*/ 1292196 w 1687454"/>
                  <a:gd name="connsiteY393" fmla="*/ 118851 h 903637"/>
                  <a:gd name="connsiteX394" fmla="*/ 1288404 w 1687454"/>
                  <a:gd name="connsiteY394" fmla="*/ 115060 h 903637"/>
                  <a:gd name="connsiteX395" fmla="*/ 1286024 w 1687454"/>
                  <a:gd name="connsiteY395" fmla="*/ 121232 h 903637"/>
                  <a:gd name="connsiteX396" fmla="*/ 1276943 w 1687454"/>
                  <a:gd name="connsiteY396" fmla="*/ 122113 h 903637"/>
                  <a:gd name="connsiteX397" fmla="*/ 1276325 w 1687454"/>
                  <a:gd name="connsiteY397" fmla="*/ 113649 h 903637"/>
                  <a:gd name="connsiteX398" fmla="*/ 1271388 w 1687454"/>
                  <a:gd name="connsiteY398" fmla="*/ 120614 h 903637"/>
                  <a:gd name="connsiteX399" fmla="*/ 1267861 w 1687454"/>
                  <a:gd name="connsiteY399" fmla="*/ 121232 h 903637"/>
                  <a:gd name="connsiteX400" fmla="*/ 1261689 w 1687454"/>
                  <a:gd name="connsiteY400" fmla="*/ 118939 h 903637"/>
                  <a:gd name="connsiteX401" fmla="*/ 1262307 w 1687454"/>
                  <a:gd name="connsiteY401" fmla="*/ 116294 h 903637"/>
                  <a:gd name="connsiteX402" fmla="*/ 1259133 w 1687454"/>
                  <a:gd name="connsiteY402" fmla="*/ 116294 h 903637"/>
                  <a:gd name="connsiteX403" fmla="*/ 1253843 w 1687454"/>
                  <a:gd name="connsiteY403" fmla="*/ 120703 h 903637"/>
                  <a:gd name="connsiteX404" fmla="*/ 1250933 w 1687454"/>
                  <a:gd name="connsiteY404" fmla="*/ 120703 h 903637"/>
                  <a:gd name="connsiteX405" fmla="*/ 1249522 w 1687454"/>
                  <a:gd name="connsiteY405" fmla="*/ 117793 h 903637"/>
                  <a:gd name="connsiteX406" fmla="*/ 1245731 w 1687454"/>
                  <a:gd name="connsiteY406" fmla="*/ 118410 h 903637"/>
                  <a:gd name="connsiteX407" fmla="*/ 1249522 w 1687454"/>
                  <a:gd name="connsiteY407" fmla="*/ 123083 h 903637"/>
                  <a:gd name="connsiteX408" fmla="*/ 1237267 w 1687454"/>
                  <a:gd name="connsiteY408" fmla="*/ 123700 h 903637"/>
                  <a:gd name="connsiteX409" fmla="*/ 1223513 w 1687454"/>
                  <a:gd name="connsiteY409" fmla="*/ 121672 h 903637"/>
                  <a:gd name="connsiteX410" fmla="*/ 1225011 w 1687454"/>
                  <a:gd name="connsiteY410" fmla="*/ 119380 h 903637"/>
                  <a:gd name="connsiteX411" fmla="*/ 1217429 w 1687454"/>
                  <a:gd name="connsiteY411" fmla="*/ 122025 h 903637"/>
                  <a:gd name="connsiteX412" fmla="*/ 1211874 w 1687454"/>
                  <a:gd name="connsiteY412" fmla="*/ 121408 h 903637"/>
                  <a:gd name="connsiteX413" fmla="*/ 1209229 w 1687454"/>
                  <a:gd name="connsiteY413" fmla="*/ 117352 h 903637"/>
                  <a:gd name="connsiteX414" fmla="*/ 1204821 w 1687454"/>
                  <a:gd name="connsiteY414" fmla="*/ 122290 h 903637"/>
                  <a:gd name="connsiteX415" fmla="*/ 1194064 w 1687454"/>
                  <a:gd name="connsiteY415" fmla="*/ 121408 h 903637"/>
                  <a:gd name="connsiteX416" fmla="*/ 1195563 w 1687454"/>
                  <a:gd name="connsiteY416" fmla="*/ 118763 h 903637"/>
                  <a:gd name="connsiteX417" fmla="*/ 1189744 w 1687454"/>
                  <a:gd name="connsiteY417" fmla="*/ 120791 h 903637"/>
                  <a:gd name="connsiteX418" fmla="*/ 1187981 w 1687454"/>
                  <a:gd name="connsiteY418" fmla="*/ 119909 h 903637"/>
                  <a:gd name="connsiteX419" fmla="*/ 1186217 w 1687454"/>
                  <a:gd name="connsiteY419" fmla="*/ 121055 h 903637"/>
                  <a:gd name="connsiteX420" fmla="*/ 1181280 w 1687454"/>
                  <a:gd name="connsiteY420" fmla="*/ 120791 h 903637"/>
                  <a:gd name="connsiteX421" fmla="*/ 1177753 w 1687454"/>
                  <a:gd name="connsiteY421" fmla="*/ 118498 h 903637"/>
                  <a:gd name="connsiteX422" fmla="*/ 1187981 w 1687454"/>
                  <a:gd name="connsiteY422" fmla="*/ 111180 h 903637"/>
                  <a:gd name="connsiteX423" fmla="*/ 1208700 w 1687454"/>
                  <a:gd name="connsiteY423" fmla="*/ 106772 h 903637"/>
                  <a:gd name="connsiteX424" fmla="*/ 1227657 w 1687454"/>
                  <a:gd name="connsiteY424" fmla="*/ 105273 h 903637"/>
                  <a:gd name="connsiteX425" fmla="*/ 1230302 w 1687454"/>
                  <a:gd name="connsiteY425" fmla="*/ 102981 h 903637"/>
                  <a:gd name="connsiteX426" fmla="*/ 1224218 w 1687454"/>
                  <a:gd name="connsiteY426" fmla="*/ 101835 h 903637"/>
                  <a:gd name="connsiteX427" fmla="*/ 1227392 w 1687454"/>
                  <a:gd name="connsiteY427" fmla="*/ 98308 h 903637"/>
                  <a:gd name="connsiteX428" fmla="*/ 1222984 w 1687454"/>
                  <a:gd name="connsiteY428" fmla="*/ 96809 h 903637"/>
                  <a:gd name="connsiteX429" fmla="*/ 1227657 w 1687454"/>
                  <a:gd name="connsiteY429" fmla="*/ 93018 h 903637"/>
                  <a:gd name="connsiteX430" fmla="*/ 1238149 w 1687454"/>
                  <a:gd name="connsiteY430" fmla="*/ 91872 h 903637"/>
                  <a:gd name="connsiteX431" fmla="*/ 1249787 w 1687454"/>
                  <a:gd name="connsiteY431" fmla="*/ 92489 h 903637"/>
                  <a:gd name="connsiteX432" fmla="*/ 1255870 w 1687454"/>
                  <a:gd name="connsiteY432" fmla="*/ 94517 h 903637"/>
                  <a:gd name="connsiteX433" fmla="*/ 1251815 w 1687454"/>
                  <a:gd name="connsiteY433" fmla="*/ 100600 h 903637"/>
                  <a:gd name="connsiteX434" fmla="*/ 1266362 w 1687454"/>
                  <a:gd name="connsiteY434" fmla="*/ 102981 h 903637"/>
                  <a:gd name="connsiteX435" fmla="*/ 1280381 w 1687454"/>
                  <a:gd name="connsiteY435" fmla="*/ 101835 h 903637"/>
                  <a:gd name="connsiteX436" fmla="*/ 1306655 w 1687454"/>
                  <a:gd name="connsiteY436" fmla="*/ 94252 h 903637"/>
                  <a:gd name="connsiteX437" fmla="*/ 1311064 w 1687454"/>
                  <a:gd name="connsiteY437" fmla="*/ 89844 h 903637"/>
                  <a:gd name="connsiteX438" fmla="*/ 1287699 w 1687454"/>
                  <a:gd name="connsiteY438" fmla="*/ 99189 h 903637"/>
                  <a:gd name="connsiteX439" fmla="*/ 1272534 w 1687454"/>
                  <a:gd name="connsiteY439" fmla="*/ 99454 h 903637"/>
                  <a:gd name="connsiteX440" fmla="*/ 1273416 w 1687454"/>
                  <a:gd name="connsiteY440" fmla="*/ 97162 h 903637"/>
                  <a:gd name="connsiteX441" fmla="*/ 1266980 w 1687454"/>
                  <a:gd name="connsiteY441" fmla="*/ 97162 h 903637"/>
                  <a:gd name="connsiteX442" fmla="*/ 1269272 w 1687454"/>
                  <a:gd name="connsiteY442" fmla="*/ 94252 h 903637"/>
                  <a:gd name="connsiteX443" fmla="*/ 1265216 w 1687454"/>
                  <a:gd name="connsiteY443" fmla="*/ 94252 h 903637"/>
                  <a:gd name="connsiteX444" fmla="*/ 1269625 w 1687454"/>
                  <a:gd name="connsiteY444" fmla="*/ 92224 h 903637"/>
                  <a:gd name="connsiteX445" fmla="*/ 1263541 w 1687454"/>
                  <a:gd name="connsiteY445" fmla="*/ 90725 h 903637"/>
                  <a:gd name="connsiteX446" fmla="*/ 1280469 w 1687454"/>
                  <a:gd name="connsiteY446" fmla="*/ 88697 h 903637"/>
                  <a:gd name="connsiteX447" fmla="*/ 1279852 w 1687454"/>
                  <a:gd name="connsiteY447" fmla="*/ 87199 h 903637"/>
                  <a:gd name="connsiteX448" fmla="*/ 1284173 w 1687454"/>
                  <a:gd name="connsiteY448" fmla="*/ 86581 h 903637"/>
                  <a:gd name="connsiteX449" fmla="*/ 1286200 w 1687454"/>
                  <a:gd name="connsiteY449" fmla="*/ 84289 h 903637"/>
                  <a:gd name="connsiteX450" fmla="*/ 1283026 w 1687454"/>
                  <a:gd name="connsiteY450" fmla="*/ 84025 h 903637"/>
                  <a:gd name="connsiteX451" fmla="*/ 1271035 w 1687454"/>
                  <a:gd name="connsiteY451" fmla="*/ 87816 h 903637"/>
                  <a:gd name="connsiteX452" fmla="*/ 1259926 w 1687454"/>
                  <a:gd name="connsiteY452" fmla="*/ 88080 h 903637"/>
                  <a:gd name="connsiteX453" fmla="*/ 1264864 w 1687454"/>
                  <a:gd name="connsiteY453" fmla="*/ 84906 h 903637"/>
                  <a:gd name="connsiteX454" fmla="*/ 1249963 w 1687454"/>
                  <a:gd name="connsiteY454" fmla="*/ 88080 h 903637"/>
                  <a:gd name="connsiteX455" fmla="*/ 1242998 w 1687454"/>
                  <a:gd name="connsiteY455" fmla="*/ 87199 h 903637"/>
                  <a:gd name="connsiteX456" fmla="*/ 1247935 w 1687454"/>
                  <a:gd name="connsiteY456" fmla="*/ 86052 h 903637"/>
                  <a:gd name="connsiteX457" fmla="*/ 1243615 w 1687454"/>
                  <a:gd name="connsiteY457" fmla="*/ 85788 h 903637"/>
                  <a:gd name="connsiteX458" fmla="*/ 1270418 w 1687454"/>
                  <a:gd name="connsiteY458" fmla="*/ 74150 h 903637"/>
                  <a:gd name="connsiteX459" fmla="*/ 1294929 w 1687454"/>
                  <a:gd name="connsiteY459" fmla="*/ 71857 h 903637"/>
                  <a:gd name="connsiteX460" fmla="*/ 1297839 w 1687454"/>
                  <a:gd name="connsiteY460" fmla="*/ 73621 h 903637"/>
                  <a:gd name="connsiteX461" fmla="*/ 1311857 w 1687454"/>
                  <a:gd name="connsiteY461" fmla="*/ 73621 h 903637"/>
                  <a:gd name="connsiteX462" fmla="*/ 1323231 w 1687454"/>
                  <a:gd name="connsiteY462" fmla="*/ 77676 h 903637"/>
                  <a:gd name="connsiteX463" fmla="*/ 1328168 w 1687454"/>
                  <a:gd name="connsiteY463" fmla="*/ 75648 h 903637"/>
                  <a:gd name="connsiteX464" fmla="*/ 1319969 w 1687454"/>
                  <a:gd name="connsiteY464" fmla="*/ 73621 h 903637"/>
                  <a:gd name="connsiteX465" fmla="*/ 1342099 w 1687454"/>
                  <a:gd name="connsiteY465" fmla="*/ 73356 h 903637"/>
                  <a:gd name="connsiteX466" fmla="*/ 1344127 w 1687454"/>
                  <a:gd name="connsiteY466" fmla="*/ 70447 h 903637"/>
                  <a:gd name="connsiteX467" fmla="*/ 1340336 w 1687454"/>
                  <a:gd name="connsiteY467" fmla="*/ 71945 h 903637"/>
                  <a:gd name="connsiteX468" fmla="*/ 1306744 w 1687454"/>
                  <a:gd name="connsiteY468" fmla="*/ 71681 h 903637"/>
                  <a:gd name="connsiteX469" fmla="*/ 1301806 w 1687454"/>
                  <a:gd name="connsiteY469" fmla="*/ 69036 h 903637"/>
                  <a:gd name="connsiteX470" fmla="*/ 1306215 w 1687454"/>
                  <a:gd name="connsiteY470" fmla="*/ 67890 h 903637"/>
                  <a:gd name="connsiteX471" fmla="*/ 1318734 w 1687454"/>
                  <a:gd name="connsiteY471" fmla="*/ 69918 h 903637"/>
                  <a:gd name="connsiteX472" fmla="*/ 1323407 w 1687454"/>
                  <a:gd name="connsiteY472" fmla="*/ 69300 h 903637"/>
                  <a:gd name="connsiteX473" fmla="*/ 1312651 w 1687454"/>
                  <a:gd name="connsiteY473" fmla="*/ 66655 h 903637"/>
                  <a:gd name="connsiteX474" fmla="*/ 1307713 w 1687454"/>
                  <a:gd name="connsiteY474" fmla="*/ 57927 h 903637"/>
                  <a:gd name="connsiteX475" fmla="*/ 1290521 w 1687454"/>
                  <a:gd name="connsiteY475" fmla="*/ 54135 h 903637"/>
                  <a:gd name="connsiteX476" fmla="*/ 1294929 w 1687454"/>
                  <a:gd name="connsiteY476" fmla="*/ 52108 h 903637"/>
                  <a:gd name="connsiteX477" fmla="*/ 1303393 w 1687454"/>
                  <a:gd name="connsiteY477" fmla="*/ 51843 h 903637"/>
                  <a:gd name="connsiteX478" fmla="*/ 1294665 w 1687454"/>
                  <a:gd name="connsiteY478" fmla="*/ 49198 h 903637"/>
                  <a:gd name="connsiteX479" fmla="*/ 1301982 w 1687454"/>
                  <a:gd name="connsiteY479" fmla="*/ 45671 h 903637"/>
                  <a:gd name="connsiteX480" fmla="*/ 1310711 w 1687454"/>
                  <a:gd name="connsiteY480" fmla="*/ 45054 h 903637"/>
                  <a:gd name="connsiteX481" fmla="*/ 1318558 w 1687454"/>
                  <a:gd name="connsiteY481" fmla="*/ 46465 h 903637"/>
                  <a:gd name="connsiteX482" fmla="*/ 1338661 w 1687454"/>
                  <a:gd name="connsiteY482" fmla="*/ 46465 h 903637"/>
                  <a:gd name="connsiteX483" fmla="*/ 1352944 w 1687454"/>
                  <a:gd name="connsiteY483" fmla="*/ 52019 h 903637"/>
                  <a:gd name="connsiteX484" fmla="*/ 1359116 w 1687454"/>
                  <a:gd name="connsiteY484" fmla="*/ 57839 h 903637"/>
                  <a:gd name="connsiteX485" fmla="*/ 1365199 w 1687454"/>
                  <a:gd name="connsiteY485" fmla="*/ 58456 h 903637"/>
                  <a:gd name="connsiteX486" fmla="*/ 1368990 w 1687454"/>
                  <a:gd name="connsiteY486" fmla="*/ 57574 h 903637"/>
                  <a:gd name="connsiteX487" fmla="*/ 1361143 w 1687454"/>
                  <a:gd name="connsiteY487" fmla="*/ 56075 h 903637"/>
                  <a:gd name="connsiteX488" fmla="*/ 1365552 w 1687454"/>
                  <a:gd name="connsiteY488" fmla="*/ 52019 h 903637"/>
                  <a:gd name="connsiteX489" fmla="*/ 1355941 w 1687454"/>
                  <a:gd name="connsiteY489" fmla="*/ 49727 h 903637"/>
                  <a:gd name="connsiteX490" fmla="*/ 1351004 w 1687454"/>
                  <a:gd name="connsiteY490" fmla="*/ 45319 h 903637"/>
                  <a:gd name="connsiteX491" fmla="*/ 1390944 w 1687454"/>
                  <a:gd name="connsiteY491" fmla="*/ 43291 h 903637"/>
                  <a:gd name="connsiteX492" fmla="*/ 1396499 w 1687454"/>
                  <a:gd name="connsiteY492" fmla="*/ 41792 h 903637"/>
                  <a:gd name="connsiteX493" fmla="*/ 1425947 w 1687454"/>
                  <a:gd name="connsiteY493" fmla="*/ 40293 h 903637"/>
                  <a:gd name="connsiteX494" fmla="*/ 1401172 w 1687454"/>
                  <a:gd name="connsiteY494" fmla="*/ 40028 h 903637"/>
                  <a:gd name="connsiteX495" fmla="*/ 1429474 w 1687454"/>
                  <a:gd name="connsiteY495" fmla="*/ 36854 h 903637"/>
                  <a:gd name="connsiteX496" fmla="*/ 1451340 w 1687454"/>
                  <a:gd name="connsiteY496" fmla="*/ 35708 h 903637"/>
                  <a:gd name="connsiteX497" fmla="*/ 1420128 w 1687454"/>
                  <a:gd name="connsiteY497" fmla="*/ 35973 h 903637"/>
                  <a:gd name="connsiteX498" fmla="*/ 1435293 w 1687454"/>
                  <a:gd name="connsiteY498" fmla="*/ 30418 h 903637"/>
                  <a:gd name="connsiteX499" fmla="*/ 1451869 w 1687454"/>
                  <a:gd name="connsiteY499" fmla="*/ 26627 h 903637"/>
                  <a:gd name="connsiteX500" fmla="*/ 1423038 w 1687454"/>
                  <a:gd name="connsiteY500" fmla="*/ 31564 h 903637"/>
                  <a:gd name="connsiteX501" fmla="*/ 1411047 w 1687454"/>
                  <a:gd name="connsiteY501" fmla="*/ 36237 h 903637"/>
                  <a:gd name="connsiteX502" fmla="*/ 1387153 w 1687454"/>
                  <a:gd name="connsiteY502" fmla="*/ 39147 h 903637"/>
                  <a:gd name="connsiteX503" fmla="*/ 1355589 w 1687454"/>
                  <a:gd name="connsiteY503" fmla="*/ 41175 h 903637"/>
                  <a:gd name="connsiteX504" fmla="*/ 1359116 w 1687454"/>
                  <a:gd name="connsiteY504" fmla="*/ 39411 h 903637"/>
                  <a:gd name="connsiteX505" fmla="*/ 1379835 w 1687454"/>
                  <a:gd name="connsiteY505" fmla="*/ 36766 h 903637"/>
                  <a:gd name="connsiteX506" fmla="*/ 1354178 w 1687454"/>
                  <a:gd name="connsiteY506" fmla="*/ 37912 h 903637"/>
                  <a:gd name="connsiteX507" fmla="*/ 1355324 w 1687454"/>
                  <a:gd name="connsiteY507" fmla="*/ 36414 h 903637"/>
                  <a:gd name="connsiteX508" fmla="*/ 1349505 w 1687454"/>
                  <a:gd name="connsiteY508" fmla="*/ 39940 h 903637"/>
                  <a:gd name="connsiteX509" fmla="*/ 1341041 w 1687454"/>
                  <a:gd name="connsiteY509" fmla="*/ 41439 h 903637"/>
                  <a:gd name="connsiteX510" fmla="*/ 1304892 w 1687454"/>
                  <a:gd name="connsiteY510" fmla="*/ 40293 h 903637"/>
                  <a:gd name="connsiteX511" fmla="*/ 1335222 w 1687454"/>
                  <a:gd name="connsiteY511" fmla="*/ 32975 h 903637"/>
                  <a:gd name="connsiteX512" fmla="*/ 1373751 w 1687454"/>
                  <a:gd name="connsiteY512" fmla="*/ 30683 h 903637"/>
                  <a:gd name="connsiteX513" fmla="*/ 1323848 w 1687454"/>
                  <a:gd name="connsiteY513" fmla="*/ 32975 h 903637"/>
                  <a:gd name="connsiteX514" fmla="*/ 1297927 w 1687454"/>
                  <a:gd name="connsiteY514" fmla="*/ 39411 h 903637"/>
                  <a:gd name="connsiteX515" fmla="*/ 1277472 w 1687454"/>
                  <a:gd name="connsiteY515" fmla="*/ 36502 h 903637"/>
                  <a:gd name="connsiteX516" fmla="*/ 1275708 w 1687454"/>
                  <a:gd name="connsiteY516" fmla="*/ 34474 h 903637"/>
                  <a:gd name="connsiteX517" fmla="*/ 1326141 w 1687454"/>
                  <a:gd name="connsiteY517" fmla="*/ 32181 h 903637"/>
                  <a:gd name="connsiteX518" fmla="*/ 1346596 w 1687454"/>
                  <a:gd name="connsiteY518" fmla="*/ 28390 h 903637"/>
                  <a:gd name="connsiteX519" fmla="*/ 1306655 w 1687454"/>
                  <a:gd name="connsiteY519" fmla="*/ 31917 h 903637"/>
                  <a:gd name="connsiteX520" fmla="*/ 1271388 w 1687454"/>
                  <a:gd name="connsiteY520" fmla="*/ 33063 h 903637"/>
                  <a:gd name="connsiteX521" fmla="*/ 1264687 w 1687454"/>
                  <a:gd name="connsiteY521" fmla="*/ 31300 h 903637"/>
                  <a:gd name="connsiteX522" fmla="*/ 1266451 w 1687454"/>
                  <a:gd name="connsiteY522" fmla="*/ 29801 h 903637"/>
                  <a:gd name="connsiteX523" fmla="*/ 1283996 w 1687454"/>
                  <a:gd name="connsiteY523" fmla="*/ 28655 h 903637"/>
                  <a:gd name="connsiteX524" fmla="*/ 1274650 w 1687454"/>
                  <a:gd name="connsiteY524" fmla="*/ 27773 h 903637"/>
                  <a:gd name="connsiteX525" fmla="*/ 1292196 w 1687454"/>
                  <a:gd name="connsiteY525" fmla="*/ 26010 h 903637"/>
                  <a:gd name="connsiteX526" fmla="*/ 1305333 w 1687454"/>
                  <a:gd name="connsiteY526" fmla="*/ 23982 h 903637"/>
                  <a:gd name="connsiteX527" fmla="*/ 1301542 w 1687454"/>
                  <a:gd name="connsiteY527" fmla="*/ 23453 h 903637"/>
                  <a:gd name="connsiteX528" fmla="*/ 1268302 w 1687454"/>
                  <a:gd name="connsiteY528" fmla="*/ 26627 h 903637"/>
                  <a:gd name="connsiteX529" fmla="*/ 1266274 w 1687454"/>
                  <a:gd name="connsiteY529" fmla="*/ 25481 h 903637"/>
                  <a:gd name="connsiteX530" fmla="*/ 1285231 w 1687454"/>
                  <a:gd name="connsiteY530" fmla="*/ 22571 h 903637"/>
                  <a:gd name="connsiteX531" fmla="*/ 1266803 w 1687454"/>
                  <a:gd name="connsiteY531" fmla="*/ 22571 h 903637"/>
                  <a:gd name="connsiteX532" fmla="*/ 1260367 w 1687454"/>
                  <a:gd name="connsiteY532" fmla="*/ 24599 h 903637"/>
                  <a:gd name="connsiteX533" fmla="*/ 1253931 w 1687454"/>
                  <a:gd name="connsiteY533" fmla="*/ 22836 h 903637"/>
                  <a:gd name="connsiteX534" fmla="*/ 1274915 w 1687454"/>
                  <a:gd name="connsiteY534" fmla="*/ 18780 h 903637"/>
                  <a:gd name="connsiteX535" fmla="*/ 1289198 w 1687454"/>
                  <a:gd name="connsiteY535" fmla="*/ 18515 h 903637"/>
                  <a:gd name="connsiteX536" fmla="*/ 1291490 w 1687454"/>
                  <a:gd name="connsiteY536" fmla="*/ 19662 h 903637"/>
                  <a:gd name="connsiteX537" fmla="*/ 1306391 w 1687454"/>
                  <a:gd name="connsiteY537" fmla="*/ 15870 h 903637"/>
                  <a:gd name="connsiteX538" fmla="*/ 1313709 w 1687454"/>
                  <a:gd name="connsiteY538" fmla="*/ 15606 h 903637"/>
                  <a:gd name="connsiteX539" fmla="*/ 1325347 w 1687454"/>
                  <a:gd name="connsiteY539" fmla="*/ 16752 h 903637"/>
                  <a:gd name="connsiteX540" fmla="*/ 1321556 w 1687454"/>
                  <a:gd name="connsiteY540" fmla="*/ 17634 h 903637"/>
                  <a:gd name="connsiteX541" fmla="*/ 1336456 w 1687454"/>
                  <a:gd name="connsiteY541" fmla="*/ 16135 h 903637"/>
                  <a:gd name="connsiteX542" fmla="*/ 1348447 w 1687454"/>
                  <a:gd name="connsiteY542" fmla="*/ 17281 h 903637"/>
                  <a:gd name="connsiteX543" fmla="*/ 1351974 w 1687454"/>
                  <a:gd name="connsiteY543" fmla="*/ 16752 h 903637"/>
                  <a:gd name="connsiteX544" fmla="*/ 1334428 w 1687454"/>
                  <a:gd name="connsiteY544" fmla="*/ 15341 h 903637"/>
                  <a:gd name="connsiteX545" fmla="*/ 1334164 w 1687454"/>
                  <a:gd name="connsiteY545" fmla="*/ 13313 h 903637"/>
                  <a:gd name="connsiteX546" fmla="*/ 1354266 w 1687454"/>
                  <a:gd name="connsiteY546" fmla="*/ 12432 h 903637"/>
                  <a:gd name="connsiteX547" fmla="*/ 1353649 w 1687454"/>
                  <a:gd name="connsiteY547" fmla="*/ 10404 h 903637"/>
                  <a:gd name="connsiteX548" fmla="*/ 1350475 w 1687454"/>
                  <a:gd name="connsiteY548" fmla="*/ 9787 h 903637"/>
                  <a:gd name="connsiteX549" fmla="*/ 1379042 w 1687454"/>
                  <a:gd name="connsiteY549" fmla="*/ 11550 h 903637"/>
                  <a:gd name="connsiteX550" fmla="*/ 1381687 w 1687454"/>
                  <a:gd name="connsiteY550" fmla="*/ 12961 h 903637"/>
                  <a:gd name="connsiteX551" fmla="*/ 1395706 w 1687454"/>
                  <a:gd name="connsiteY551" fmla="*/ 12079 h 903637"/>
                  <a:gd name="connsiteX552" fmla="*/ 1402406 w 1687454"/>
                  <a:gd name="connsiteY552" fmla="*/ 9170 h 903637"/>
                  <a:gd name="connsiteX553" fmla="*/ 1413163 w 1687454"/>
                  <a:gd name="connsiteY553" fmla="*/ 8905 h 903637"/>
                  <a:gd name="connsiteX554" fmla="*/ 1406198 w 1687454"/>
                  <a:gd name="connsiteY554" fmla="*/ 8641 h 903637"/>
                  <a:gd name="connsiteX555" fmla="*/ 1406815 w 1687454"/>
                  <a:gd name="connsiteY555" fmla="*/ 6613 h 903637"/>
                  <a:gd name="connsiteX556" fmla="*/ 1426388 w 1687454"/>
                  <a:gd name="connsiteY556" fmla="*/ 7759 h 903637"/>
                  <a:gd name="connsiteX557" fmla="*/ 1419952 w 1687454"/>
                  <a:gd name="connsiteY557" fmla="*/ 4849 h 903637"/>
                  <a:gd name="connsiteX558" fmla="*/ 1434852 w 1687454"/>
                  <a:gd name="connsiteY558" fmla="*/ 5466 h 903637"/>
                  <a:gd name="connsiteX559" fmla="*/ 1441553 w 1687454"/>
                  <a:gd name="connsiteY559" fmla="*/ 4585 h 903637"/>
                  <a:gd name="connsiteX560" fmla="*/ 1433706 w 1687454"/>
                  <a:gd name="connsiteY560" fmla="*/ 3968 h 903637"/>
                  <a:gd name="connsiteX561" fmla="*/ 1439878 w 1687454"/>
                  <a:gd name="connsiteY561" fmla="*/ 2557 h 903637"/>
                  <a:gd name="connsiteX562" fmla="*/ 1450987 w 1687454"/>
                  <a:gd name="connsiteY562" fmla="*/ 2292 h 903637"/>
                  <a:gd name="connsiteX563" fmla="*/ 1453015 w 1687454"/>
                  <a:gd name="connsiteY563" fmla="*/ 3439 h 903637"/>
                  <a:gd name="connsiteX564" fmla="*/ 1458305 w 1687454"/>
                  <a:gd name="connsiteY564" fmla="*/ 3174 h 903637"/>
                  <a:gd name="connsiteX565" fmla="*/ 1456542 w 1687454"/>
                  <a:gd name="connsiteY565" fmla="*/ 4056 h 903637"/>
                  <a:gd name="connsiteX566" fmla="*/ 1462361 w 1687454"/>
                  <a:gd name="connsiteY566" fmla="*/ 4673 h 903637"/>
                  <a:gd name="connsiteX567" fmla="*/ 1475498 w 1687454"/>
                  <a:gd name="connsiteY567" fmla="*/ 3262 h 903637"/>
                  <a:gd name="connsiteX568" fmla="*/ 1475233 w 1687454"/>
                  <a:gd name="connsiteY568" fmla="*/ 1499 h 903637"/>
                  <a:gd name="connsiteX569" fmla="*/ 1484579 w 1687454"/>
                  <a:gd name="connsiteY569" fmla="*/ 617 h 903637"/>
                  <a:gd name="connsiteX570" fmla="*/ 1526283 w 1687454"/>
                  <a:gd name="connsiteY570" fmla="*/ 2910 h 903637"/>
                  <a:gd name="connsiteX571" fmla="*/ 1537392 w 1687454"/>
                  <a:gd name="connsiteY571" fmla="*/ 617 h 903637"/>
                  <a:gd name="connsiteX572" fmla="*/ 1553703 w 1687454"/>
                  <a:gd name="connsiteY572" fmla="*/ 617 h 903637"/>
                  <a:gd name="connsiteX573" fmla="*/ 1552292 w 1687454"/>
                  <a:gd name="connsiteY573" fmla="*/ 1763 h 903637"/>
                  <a:gd name="connsiteX574" fmla="*/ 1566840 w 1687454"/>
                  <a:gd name="connsiteY574" fmla="*/ 0 h 903637"/>
                  <a:gd name="connsiteX575" fmla="*/ 1579360 w 1687454"/>
                  <a:gd name="connsiteY575" fmla="*/ 265 h 903637"/>
                  <a:gd name="connsiteX576" fmla="*/ 1577332 w 1687454"/>
                  <a:gd name="connsiteY576" fmla="*/ 2028 h 903637"/>
                  <a:gd name="connsiteX577" fmla="*/ 1585797 w 1687454"/>
                  <a:gd name="connsiteY577" fmla="*/ 1763 h 903637"/>
                  <a:gd name="connsiteX578" fmla="*/ 1589852 w 1687454"/>
                  <a:gd name="connsiteY578" fmla="*/ 2910 h 903637"/>
                  <a:gd name="connsiteX579" fmla="*/ 1591880 w 1687454"/>
                  <a:gd name="connsiteY579" fmla="*/ 1411 h 903637"/>
                  <a:gd name="connsiteX580" fmla="*/ 1624238 w 1687454"/>
                  <a:gd name="connsiteY580" fmla="*/ 2910 h 903637"/>
                  <a:gd name="connsiteX581" fmla="*/ 1590117 w 1687454"/>
                  <a:gd name="connsiteY581" fmla="*/ 6965 h 903637"/>
                  <a:gd name="connsiteX582" fmla="*/ 1604664 w 1687454"/>
                  <a:gd name="connsiteY582" fmla="*/ 6701 h 903637"/>
                  <a:gd name="connsiteX583" fmla="*/ 1631820 w 1687454"/>
                  <a:gd name="connsiteY583" fmla="*/ 3791 h 903637"/>
                  <a:gd name="connsiteX584" fmla="*/ 1633231 w 1687454"/>
                  <a:gd name="connsiteY584" fmla="*/ 4673 h 903637"/>
                  <a:gd name="connsiteX585" fmla="*/ 1644869 w 1687454"/>
                  <a:gd name="connsiteY585" fmla="*/ 2645 h 903637"/>
                  <a:gd name="connsiteX586" fmla="*/ 1646897 w 1687454"/>
                  <a:gd name="connsiteY586" fmla="*/ 4937 h 903637"/>
                  <a:gd name="connsiteX587" fmla="*/ 1659417 w 1687454"/>
                  <a:gd name="connsiteY587" fmla="*/ 3527 h 903637"/>
                  <a:gd name="connsiteX588" fmla="*/ 1659153 w 1687454"/>
                  <a:gd name="connsiteY588" fmla="*/ 5819 h 903637"/>
                  <a:gd name="connsiteX589" fmla="*/ 1653598 w 1687454"/>
                  <a:gd name="connsiteY589" fmla="*/ 5819 h 903637"/>
                  <a:gd name="connsiteX590" fmla="*/ 1664972 w 1687454"/>
                  <a:gd name="connsiteY590" fmla="*/ 7847 h 903637"/>
                  <a:gd name="connsiteX591" fmla="*/ 1663561 w 1687454"/>
                  <a:gd name="connsiteY591" fmla="*/ 9610 h 903637"/>
                  <a:gd name="connsiteX592" fmla="*/ 1669115 w 1687454"/>
                  <a:gd name="connsiteY592" fmla="*/ 8729 h 903637"/>
                  <a:gd name="connsiteX593" fmla="*/ 1687455 w 1687454"/>
                  <a:gd name="connsiteY593" fmla="*/ 10757 h 903637"/>
                  <a:gd name="connsiteX594" fmla="*/ 1685956 w 1687454"/>
                  <a:gd name="connsiteY594" fmla="*/ 13049 h 903637"/>
                  <a:gd name="connsiteX595" fmla="*/ 1634025 w 1687454"/>
                  <a:gd name="connsiteY595" fmla="*/ 21778 h 903637"/>
                  <a:gd name="connsiteX596" fmla="*/ 1611542 w 1687454"/>
                  <a:gd name="connsiteY596" fmla="*/ 22042 h 903637"/>
                  <a:gd name="connsiteX597" fmla="*/ 1620006 w 1687454"/>
                  <a:gd name="connsiteY597" fmla="*/ 22659 h 903637"/>
                  <a:gd name="connsiteX598" fmla="*/ 1580595 w 1687454"/>
                  <a:gd name="connsiteY598" fmla="*/ 24423 h 903637"/>
                  <a:gd name="connsiteX599" fmla="*/ 1570984 w 1687454"/>
                  <a:gd name="connsiteY599" fmla="*/ 23541 h 903637"/>
                  <a:gd name="connsiteX600" fmla="*/ 1574511 w 1687454"/>
                  <a:gd name="connsiteY600" fmla="*/ 25040 h 903637"/>
                  <a:gd name="connsiteX601" fmla="*/ 1601050 w 1687454"/>
                  <a:gd name="connsiteY601" fmla="*/ 24775 h 903637"/>
                  <a:gd name="connsiteX602" fmla="*/ 1552645 w 1687454"/>
                  <a:gd name="connsiteY602" fmla="*/ 30947 h 903637"/>
                  <a:gd name="connsiteX603" fmla="*/ 1576539 w 1687454"/>
                  <a:gd name="connsiteY603" fmla="*/ 29801 h 903637"/>
                  <a:gd name="connsiteX604" fmla="*/ 1630498 w 1687454"/>
                  <a:gd name="connsiteY604" fmla="*/ 24599 h 903637"/>
                  <a:gd name="connsiteX605" fmla="*/ 1622651 w 1687454"/>
                  <a:gd name="connsiteY605" fmla="*/ 28655 h 903637"/>
                  <a:gd name="connsiteX606" fmla="*/ 1607750 w 1687454"/>
                  <a:gd name="connsiteY606" fmla="*/ 30154 h 903637"/>
                  <a:gd name="connsiteX607" fmla="*/ 1546826 w 1687454"/>
                  <a:gd name="connsiteY607" fmla="*/ 44437 h 903637"/>
                  <a:gd name="connsiteX608" fmla="*/ 1535188 w 1687454"/>
                  <a:gd name="connsiteY608" fmla="*/ 45583 h 903637"/>
                  <a:gd name="connsiteX609" fmla="*/ 1530515 w 1687454"/>
                  <a:gd name="connsiteY609" fmla="*/ 45054 h 903637"/>
                  <a:gd name="connsiteX610" fmla="*/ 1535452 w 1687454"/>
                  <a:gd name="connsiteY610" fmla="*/ 46465 h 903637"/>
                  <a:gd name="connsiteX611" fmla="*/ 1531661 w 1687454"/>
                  <a:gd name="connsiteY611" fmla="*/ 48228 h 903637"/>
                  <a:gd name="connsiteX612" fmla="*/ 1499568 w 1687454"/>
                  <a:gd name="connsiteY612" fmla="*/ 49992 h 903637"/>
                  <a:gd name="connsiteX613" fmla="*/ 1504505 w 1687454"/>
                  <a:gd name="connsiteY613" fmla="*/ 50873 h 903637"/>
                  <a:gd name="connsiteX614" fmla="*/ 1523461 w 1687454"/>
                  <a:gd name="connsiteY614" fmla="*/ 49727 h 903637"/>
                  <a:gd name="connsiteX615" fmla="*/ 1504770 w 1687454"/>
                  <a:gd name="connsiteY615" fmla="*/ 56428 h 903637"/>
                  <a:gd name="connsiteX616" fmla="*/ 1484932 w 1687454"/>
                  <a:gd name="connsiteY616" fmla="*/ 57045 h 903637"/>
                  <a:gd name="connsiteX617" fmla="*/ 1484932 w 1687454"/>
                  <a:gd name="connsiteY617" fmla="*/ 55017 h 903637"/>
                  <a:gd name="connsiteX618" fmla="*/ 1469150 w 1687454"/>
                  <a:gd name="connsiteY618" fmla="*/ 53518 h 903637"/>
                  <a:gd name="connsiteX619" fmla="*/ 1460950 w 1687454"/>
                  <a:gd name="connsiteY619" fmla="*/ 54400 h 903637"/>
                  <a:gd name="connsiteX620" fmla="*/ 1461215 w 1687454"/>
                  <a:gd name="connsiteY620" fmla="*/ 55546 h 903637"/>
                  <a:gd name="connsiteX621" fmla="*/ 1478760 w 1687454"/>
                  <a:gd name="connsiteY621" fmla="*/ 55811 h 903637"/>
                  <a:gd name="connsiteX622" fmla="*/ 1477878 w 1687454"/>
                  <a:gd name="connsiteY622" fmla="*/ 60219 h 903637"/>
                  <a:gd name="connsiteX623" fmla="*/ 1468885 w 1687454"/>
                  <a:gd name="connsiteY623" fmla="*/ 61101 h 903637"/>
                  <a:gd name="connsiteX624" fmla="*/ 1467739 w 1687454"/>
                  <a:gd name="connsiteY624" fmla="*/ 59955 h 903637"/>
                  <a:gd name="connsiteX625" fmla="*/ 1463066 w 1687454"/>
                  <a:gd name="connsiteY625" fmla="*/ 61718 h 903637"/>
                  <a:gd name="connsiteX626" fmla="*/ 1453985 w 1687454"/>
                  <a:gd name="connsiteY626" fmla="*/ 62335 h 903637"/>
                  <a:gd name="connsiteX627" fmla="*/ 1451604 w 1687454"/>
                  <a:gd name="connsiteY627" fmla="*/ 61189 h 903637"/>
                  <a:gd name="connsiteX628" fmla="*/ 1448959 w 1687454"/>
                  <a:gd name="connsiteY628" fmla="*/ 64098 h 903637"/>
                  <a:gd name="connsiteX629" fmla="*/ 1434411 w 1687454"/>
                  <a:gd name="connsiteY629" fmla="*/ 62600 h 903637"/>
                  <a:gd name="connsiteX630" fmla="*/ 1430620 w 1687454"/>
                  <a:gd name="connsiteY630" fmla="*/ 64627 h 903637"/>
                  <a:gd name="connsiteX631" fmla="*/ 1413427 w 1687454"/>
                  <a:gd name="connsiteY631" fmla="*/ 65245 h 903637"/>
                  <a:gd name="connsiteX632" fmla="*/ 1444903 w 1687454"/>
                  <a:gd name="connsiteY632" fmla="*/ 67273 h 903637"/>
                  <a:gd name="connsiteX633" fmla="*/ 1450458 w 1687454"/>
                  <a:gd name="connsiteY633" fmla="*/ 70799 h 903637"/>
                  <a:gd name="connsiteX634" fmla="*/ 1433001 w 1687454"/>
                  <a:gd name="connsiteY634" fmla="*/ 69918 h 903637"/>
                  <a:gd name="connsiteX635" fmla="*/ 1429474 w 1687454"/>
                  <a:gd name="connsiteY635" fmla="*/ 67890 h 903637"/>
                  <a:gd name="connsiteX636" fmla="*/ 1414044 w 1687454"/>
                  <a:gd name="connsiteY636" fmla="*/ 68154 h 903637"/>
                  <a:gd name="connsiteX637" fmla="*/ 1426300 w 1687454"/>
                  <a:gd name="connsiteY637" fmla="*/ 69565 h 903637"/>
                  <a:gd name="connsiteX638" fmla="*/ 1396852 w 1687454"/>
                  <a:gd name="connsiteY638" fmla="*/ 71593 h 903637"/>
                  <a:gd name="connsiteX639" fmla="*/ 1428945 w 1687454"/>
                  <a:gd name="connsiteY639" fmla="*/ 72210 h 903637"/>
                  <a:gd name="connsiteX640" fmla="*/ 1418453 w 1687454"/>
                  <a:gd name="connsiteY640" fmla="*/ 73973 h 903637"/>
                  <a:gd name="connsiteX641" fmla="*/ 1433001 w 1687454"/>
                  <a:gd name="connsiteY641" fmla="*/ 73092 h 903637"/>
                  <a:gd name="connsiteX642" fmla="*/ 1440848 w 1687454"/>
                  <a:gd name="connsiteY642" fmla="*/ 74591 h 903637"/>
                  <a:gd name="connsiteX643" fmla="*/ 1433530 w 1687454"/>
                  <a:gd name="connsiteY643" fmla="*/ 80145 h 903637"/>
                  <a:gd name="connsiteX644" fmla="*/ 1423655 w 1687454"/>
                  <a:gd name="connsiteY644" fmla="*/ 81027 h 903637"/>
                  <a:gd name="connsiteX645" fmla="*/ 1413780 w 1687454"/>
                  <a:gd name="connsiteY645" fmla="*/ 81027 h 903637"/>
                  <a:gd name="connsiteX646" fmla="*/ 1427182 w 1687454"/>
                  <a:gd name="connsiteY646" fmla="*/ 84554 h 903637"/>
                  <a:gd name="connsiteX647" fmla="*/ 1419952 w 1687454"/>
                  <a:gd name="connsiteY647" fmla="*/ 85788 h 903637"/>
                  <a:gd name="connsiteX648" fmla="*/ 1404170 w 1687454"/>
                  <a:gd name="connsiteY648" fmla="*/ 85171 h 903637"/>
                  <a:gd name="connsiteX649" fmla="*/ 1398968 w 1687454"/>
                  <a:gd name="connsiteY649" fmla="*/ 86052 h 903637"/>
                  <a:gd name="connsiteX650" fmla="*/ 1416161 w 1687454"/>
                  <a:gd name="connsiteY650" fmla="*/ 87816 h 903637"/>
                  <a:gd name="connsiteX651" fmla="*/ 1408843 w 1687454"/>
                  <a:gd name="connsiteY651" fmla="*/ 90461 h 903637"/>
                  <a:gd name="connsiteX652" fmla="*/ 1404434 w 1687454"/>
                  <a:gd name="connsiteY652" fmla="*/ 89844 h 903637"/>
                  <a:gd name="connsiteX653" fmla="*/ 1393325 w 1687454"/>
                  <a:gd name="connsiteY653" fmla="*/ 92136 h 903637"/>
                  <a:gd name="connsiteX654" fmla="*/ 1374104 w 1687454"/>
                  <a:gd name="connsiteY654" fmla="*/ 90637 h 903637"/>
                  <a:gd name="connsiteX655" fmla="*/ 1371812 w 1687454"/>
                  <a:gd name="connsiteY655" fmla="*/ 95575 h 903637"/>
                  <a:gd name="connsiteX656" fmla="*/ 1375868 w 1687454"/>
                  <a:gd name="connsiteY656" fmla="*/ 96192 h 903637"/>
                  <a:gd name="connsiteX657" fmla="*/ 1362113 w 1687454"/>
                  <a:gd name="connsiteY657" fmla="*/ 102011 h 903637"/>
                  <a:gd name="connsiteX658" fmla="*/ 1355677 w 1687454"/>
                  <a:gd name="connsiteY658" fmla="*/ 102893 h 903637"/>
                  <a:gd name="connsiteX659" fmla="*/ 1354795 w 1687454"/>
                  <a:gd name="connsiteY659" fmla="*/ 102011 h 903637"/>
                  <a:gd name="connsiteX660" fmla="*/ 1346948 w 1687454"/>
                  <a:gd name="connsiteY660" fmla="*/ 103774 h 903637"/>
                  <a:gd name="connsiteX661" fmla="*/ 1327375 w 1687454"/>
                  <a:gd name="connsiteY661" fmla="*/ 103774 h 903637"/>
                  <a:gd name="connsiteX662" fmla="*/ 1314238 w 1687454"/>
                  <a:gd name="connsiteY662" fmla="*/ 99101 h 903637"/>
                  <a:gd name="connsiteX663" fmla="*/ 1313092 w 1687454"/>
                  <a:gd name="connsiteY663" fmla="*/ 100600 h 903637"/>
                  <a:gd name="connsiteX664" fmla="*/ 1318294 w 1687454"/>
                  <a:gd name="connsiteY664" fmla="*/ 103245 h 903637"/>
                  <a:gd name="connsiteX665" fmla="*/ 1305421 w 1687454"/>
                  <a:gd name="connsiteY665" fmla="*/ 104391 h 903637"/>
                  <a:gd name="connsiteX666" fmla="*/ 1306920 w 1687454"/>
                  <a:gd name="connsiteY666" fmla="*/ 106155 h 903637"/>
                  <a:gd name="connsiteX667" fmla="*/ 1317676 w 1687454"/>
                  <a:gd name="connsiteY667" fmla="*/ 104391 h 903637"/>
                  <a:gd name="connsiteX668" fmla="*/ 1329932 w 1687454"/>
                  <a:gd name="connsiteY668" fmla="*/ 105538 h 903637"/>
                  <a:gd name="connsiteX669" fmla="*/ 1329667 w 1687454"/>
                  <a:gd name="connsiteY669" fmla="*/ 106684 h 903637"/>
                  <a:gd name="connsiteX670" fmla="*/ 1338396 w 1687454"/>
                  <a:gd name="connsiteY670" fmla="*/ 104303 h 903637"/>
                  <a:gd name="connsiteX671" fmla="*/ 1345978 w 1687454"/>
                  <a:gd name="connsiteY671" fmla="*/ 104920 h 903637"/>
                  <a:gd name="connsiteX672" fmla="*/ 1347742 w 1687454"/>
                  <a:gd name="connsiteY672" fmla="*/ 106948 h 903637"/>
                  <a:gd name="connsiteX673" fmla="*/ 1340424 w 1687454"/>
                  <a:gd name="connsiteY673" fmla="*/ 109858 h 903637"/>
                  <a:gd name="connsiteX674" fmla="*/ 1345626 w 1687454"/>
                  <a:gd name="connsiteY674" fmla="*/ 110475 h 903637"/>
                  <a:gd name="connsiteX675" fmla="*/ 1346507 w 1687454"/>
                  <a:gd name="connsiteY675" fmla="*/ 112238 h 903637"/>
                  <a:gd name="connsiteX676" fmla="*/ 1357264 w 1687454"/>
                  <a:gd name="connsiteY676" fmla="*/ 108447 h 903637"/>
                  <a:gd name="connsiteX677" fmla="*/ 1360791 w 1687454"/>
                  <a:gd name="connsiteY677" fmla="*/ 112503 h 903637"/>
                  <a:gd name="connsiteX678" fmla="*/ 1343333 w 1687454"/>
                  <a:gd name="connsiteY678" fmla="*/ 120085 h 903637"/>
                  <a:gd name="connsiteX679" fmla="*/ 1340953 w 1687454"/>
                  <a:gd name="connsiteY679" fmla="*/ 119468 h 903637"/>
                  <a:gd name="connsiteX680" fmla="*/ 1328609 w 1687454"/>
                  <a:gd name="connsiteY680" fmla="*/ 123700 h 903637"/>
                  <a:gd name="connsiteX681" fmla="*/ 875336 w 1687454"/>
                  <a:gd name="connsiteY681" fmla="*/ 126081 h 903637"/>
                  <a:gd name="connsiteX682" fmla="*/ 873837 w 1687454"/>
                  <a:gd name="connsiteY682" fmla="*/ 126698 h 903637"/>
                  <a:gd name="connsiteX683" fmla="*/ 871192 w 1687454"/>
                  <a:gd name="connsiteY683" fmla="*/ 122642 h 903637"/>
                  <a:gd name="connsiteX684" fmla="*/ 881948 w 1687454"/>
                  <a:gd name="connsiteY684" fmla="*/ 121232 h 903637"/>
                  <a:gd name="connsiteX685" fmla="*/ 875336 w 1687454"/>
                  <a:gd name="connsiteY685" fmla="*/ 126081 h 903637"/>
                  <a:gd name="connsiteX686" fmla="*/ 990307 w 1687454"/>
                  <a:gd name="connsiteY686" fmla="*/ 122554 h 903637"/>
                  <a:gd name="connsiteX687" fmla="*/ 983342 w 1687454"/>
                  <a:gd name="connsiteY687" fmla="*/ 125728 h 903637"/>
                  <a:gd name="connsiteX688" fmla="*/ 967560 w 1687454"/>
                  <a:gd name="connsiteY688" fmla="*/ 125111 h 903637"/>
                  <a:gd name="connsiteX689" fmla="*/ 969059 w 1687454"/>
                  <a:gd name="connsiteY689" fmla="*/ 117528 h 903637"/>
                  <a:gd name="connsiteX690" fmla="*/ 993569 w 1687454"/>
                  <a:gd name="connsiteY690" fmla="*/ 111445 h 903637"/>
                  <a:gd name="connsiteX691" fmla="*/ 993834 w 1687454"/>
                  <a:gd name="connsiteY691" fmla="*/ 118146 h 903637"/>
                  <a:gd name="connsiteX692" fmla="*/ 990307 w 1687454"/>
                  <a:gd name="connsiteY692" fmla="*/ 122554 h 903637"/>
                  <a:gd name="connsiteX693" fmla="*/ 728006 w 1687454"/>
                  <a:gd name="connsiteY693" fmla="*/ 132782 h 903637"/>
                  <a:gd name="connsiteX694" fmla="*/ 725097 w 1687454"/>
                  <a:gd name="connsiteY694" fmla="*/ 133928 h 903637"/>
                  <a:gd name="connsiteX695" fmla="*/ 727742 w 1687454"/>
                  <a:gd name="connsiteY695" fmla="*/ 126962 h 903637"/>
                  <a:gd name="connsiteX696" fmla="*/ 720777 w 1687454"/>
                  <a:gd name="connsiteY696" fmla="*/ 130137 h 903637"/>
                  <a:gd name="connsiteX697" fmla="*/ 714340 w 1687454"/>
                  <a:gd name="connsiteY697" fmla="*/ 131018 h 903637"/>
                  <a:gd name="connsiteX698" fmla="*/ 709667 w 1687454"/>
                  <a:gd name="connsiteY698" fmla="*/ 129519 h 903637"/>
                  <a:gd name="connsiteX699" fmla="*/ 704730 w 1687454"/>
                  <a:gd name="connsiteY699" fmla="*/ 130666 h 903637"/>
                  <a:gd name="connsiteX700" fmla="*/ 702085 w 1687454"/>
                  <a:gd name="connsiteY700" fmla="*/ 130048 h 903637"/>
                  <a:gd name="connsiteX701" fmla="*/ 697147 w 1687454"/>
                  <a:gd name="connsiteY701" fmla="*/ 131812 h 903637"/>
                  <a:gd name="connsiteX702" fmla="*/ 694238 w 1687454"/>
                  <a:gd name="connsiteY702" fmla="*/ 130930 h 903637"/>
                  <a:gd name="connsiteX703" fmla="*/ 700674 w 1687454"/>
                  <a:gd name="connsiteY703" fmla="*/ 127756 h 903637"/>
                  <a:gd name="connsiteX704" fmla="*/ 698029 w 1687454"/>
                  <a:gd name="connsiteY704" fmla="*/ 126610 h 903637"/>
                  <a:gd name="connsiteX705" fmla="*/ 707639 w 1687454"/>
                  <a:gd name="connsiteY705" fmla="*/ 123700 h 903637"/>
                  <a:gd name="connsiteX706" fmla="*/ 718749 w 1687454"/>
                  <a:gd name="connsiteY706" fmla="*/ 122819 h 903637"/>
                  <a:gd name="connsiteX707" fmla="*/ 723157 w 1687454"/>
                  <a:gd name="connsiteY707" fmla="*/ 121672 h 903637"/>
                  <a:gd name="connsiteX708" fmla="*/ 728447 w 1687454"/>
                  <a:gd name="connsiteY708" fmla="*/ 120174 h 903637"/>
                  <a:gd name="connsiteX709" fmla="*/ 734883 w 1687454"/>
                  <a:gd name="connsiteY709" fmla="*/ 117793 h 903637"/>
                  <a:gd name="connsiteX710" fmla="*/ 724656 w 1687454"/>
                  <a:gd name="connsiteY710" fmla="*/ 120174 h 903637"/>
                  <a:gd name="connsiteX711" fmla="*/ 748550 w 1687454"/>
                  <a:gd name="connsiteY711" fmla="*/ 115501 h 903637"/>
                  <a:gd name="connsiteX712" fmla="*/ 763450 w 1687454"/>
                  <a:gd name="connsiteY712" fmla="*/ 110210 h 903637"/>
                  <a:gd name="connsiteX713" fmla="*/ 773678 w 1687454"/>
                  <a:gd name="connsiteY713" fmla="*/ 108800 h 903637"/>
                  <a:gd name="connsiteX714" fmla="*/ 782406 w 1687454"/>
                  <a:gd name="connsiteY714" fmla="*/ 107654 h 903637"/>
                  <a:gd name="connsiteX715" fmla="*/ 789107 w 1687454"/>
                  <a:gd name="connsiteY715" fmla="*/ 104744 h 903637"/>
                  <a:gd name="connsiteX716" fmla="*/ 800216 w 1687454"/>
                  <a:gd name="connsiteY716" fmla="*/ 104127 h 903637"/>
                  <a:gd name="connsiteX717" fmla="*/ 815381 w 1687454"/>
                  <a:gd name="connsiteY717" fmla="*/ 105009 h 903637"/>
                  <a:gd name="connsiteX718" fmla="*/ 812736 w 1687454"/>
                  <a:gd name="connsiteY718" fmla="*/ 102981 h 903637"/>
                  <a:gd name="connsiteX719" fmla="*/ 820319 w 1687454"/>
                  <a:gd name="connsiteY719" fmla="*/ 101217 h 903637"/>
                  <a:gd name="connsiteX720" fmla="*/ 827284 w 1687454"/>
                  <a:gd name="connsiteY720" fmla="*/ 101217 h 903637"/>
                  <a:gd name="connsiteX721" fmla="*/ 833720 w 1687454"/>
                  <a:gd name="connsiteY721" fmla="*/ 101835 h 903637"/>
                  <a:gd name="connsiteX722" fmla="*/ 836013 w 1687454"/>
                  <a:gd name="connsiteY722" fmla="*/ 102981 h 903637"/>
                  <a:gd name="connsiteX723" fmla="*/ 834866 w 1687454"/>
                  <a:gd name="connsiteY723" fmla="*/ 105273 h 903637"/>
                  <a:gd name="connsiteX724" fmla="*/ 825520 w 1687454"/>
                  <a:gd name="connsiteY724" fmla="*/ 106155 h 903637"/>
                  <a:gd name="connsiteX725" fmla="*/ 820230 w 1687454"/>
                  <a:gd name="connsiteY725" fmla="*/ 109681 h 903637"/>
                  <a:gd name="connsiteX726" fmla="*/ 814940 w 1687454"/>
                  <a:gd name="connsiteY726" fmla="*/ 109064 h 903637"/>
                  <a:gd name="connsiteX727" fmla="*/ 816968 w 1687454"/>
                  <a:gd name="connsiteY727" fmla="*/ 113120 h 903637"/>
                  <a:gd name="connsiteX728" fmla="*/ 811414 w 1687454"/>
                  <a:gd name="connsiteY728" fmla="*/ 111709 h 903637"/>
                  <a:gd name="connsiteX729" fmla="*/ 810267 w 1687454"/>
                  <a:gd name="connsiteY729" fmla="*/ 116999 h 903637"/>
                  <a:gd name="connsiteX730" fmla="*/ 791047 w 1687454"/>
                  <a:gd name="connsiteY730" fmla="*/ 119644 h 903637"/>
                  <a:gd name="connsiteX731" fmla="*/ 786991 w 1687454"/>
                  <a:gd name="connsiteY731" fmla="*/ 123436 h 903637"/>
                  <a:gd name="connsiteX732" fmla="*/ 775882 w 1687454"/>
                  <a:gd name="connsiteY732" fmla="*/ 124582 h 903637"/>
                  <a:gd name="connsiteX733" fmla="*/ 775617 w 1687454"/>
                  <a:gd name="connsiteY733" fmla="*/ 121937 h 903637"/>
                  <a:gd name="connsiteX734" fmla="*/ 789636 w 1687454"/>
                  <a:gd name="connsiteY734" fmla="*/ 114972 h 903637"/>
                  <a:gd name="connsiteX735" fmla="*/ 775617 w 1687454"/>
                  <a:gd name="connsiteY735" fmla="*/ 116118 h 903637"/>
                  <a:gd name="connsiteX736" fmla="*/ 772972 w 1687454"/>
                  <a:gd name="connsiteY736" fmla="*/ 119644 h 903637"/>
                  <a:gd name="connsiteX737" fmla="*/ 764772 w 1687454"/>
                  <a:gd name="connsiteY737" fmla="*/ 119644 h 903637"/>
                  <a:gd name="connsiteX738" fmla="*/ 760364 w 1687454"/>
                  <a:gd name="connsiteY738" fmla="*/ 124935 h 903637"/>
                  <a:gd name="connsiteX739" fmla="*/ 757190 w 1687454"/>
                  <a:gd name="connsiteY739" fmla="*/ 124935 h 903637"/>
                  <a:gd name="connsiteX740" fmla="*/ 748990 w 1687454"/>
                  <a:gd name="connsiteY740" fmla="*/ 128461 h 903637"/>
                  <a:gd name="connsiteX741" fmla="*/ 746610 w 1687454"/>
                  <a:gd name="connsiteY741" fmla="*/ 123788 h 903637"/>
                  <a:gd name="connsiteX742" fmla="*/ 741055 w 1687454"/>
                  <a:gd name="connsiteY742" fmla="*/ 128461 h 903637"/>
                  <a:gd name="connsiteX743" fmla="*/ 742554 w 1687454"/>
                  <a:gd name="connsiteY743" fmla="*/ 130225 h 903637"/>
                  <a:gd name="connsiteX744" fmla="*/ 728006 w 1687454"/>
                  <a:gd name="connsiteY744" fmla="*/ 132782 h 903637"/>
                  <a:gd name="connsiteX745" fmla="*/ 742907 w 1687454"/>
                  <a:gd name="connsiteY745" fmla="*/ 138336 h 903637"/>
                  <a:gd name="connsiteX746" fmla="*/ 734443 w 1687454"/>
                  <a:gd name="connsiteY746" fmla="*/ 140100 h 903637"/>
                  <a:gd name="connsiteX747" fmla="*/ 729152 w 1687454"/>
                  <a:gd name="connsiteY747" fmla="*/ 139482 h 903637"/>
                  <a:gd name="connsiteX748" fmla="*/ 730299 w 1687454"/>
                  <a:gd name="connsiteY748" fmla="*/ 138601 h 903637"/>
                  <a:gd name="connsiteX749" fmla="*/ 724480 w 1687454"/>
                  <a:gd name="connsiteY749" fmla="*/ 138336 h 903637"/>
                  <a:gd name="connsiteX750" fmla="*/ 748990 w 1687454"/>
                  <a:gd name="connsiteY750" fmla="*/ 131018 h 903637"/>
                  <a:gd name="connsiteX751" fmla="*/ 753663 w 1687454"/>
                  <a:gd name="connsiteY751" fmla="*/ 130754 h 903637"/>
                  <a:gd name="connsiteX752" fmla="*/ 763891 w 1687454"/>
                  <a:gd name="connsiteY752" fmla="*/ 128109 h 903637"/>
                  <a:gd name="connsiteX753" fmla="*/ 765654 w 1687454"/>
                  <a:gd name="connsiteY753" fmla="*/ 128990 h 903637"/>
                  <a:gd name="connsiteX754" fmla="*/ 764508 w 1687454"/>
                  <a:gd name="connsiteY754" fmla="*/ 129872 h 903637"/>
                  <a:gd name="connsiteX755" fmla="*/ 757807 w 1687454"/>
                  <a:gd name="connsiteY755" fmla="*/ 131900 h 903637"/>
                  <a:gd name="connsiteX756" fmla="*/ 751988 w 1687454"/>
                  <a:gd name="connsiteY756" fmla="*/ 134545 h 903637"/>
                  <a:gd name="connsiteX757" fmla="*/ 747051 w 1687454"/>
                  <a:gd name="connsiteY757" fmla="*/ 136308 h 903637"/>
                  <a:gd name="connsiteX758" fmla="*/ 742907 w 1687454"/>
                  <a:gd name="connsiteY758" fmla="*/ 138336 h 903637"/>
                  <a:gd name="connsiteX759" fmla="*/ 966943 w 1687454"/>
                  <a:gd name="connsiteY759" fmla="*/ 131283 h 903637"/>
                  <a:gd name="connsiteX760" fmla="*/ 955833 w 1687454"/>
                  <a:gd name="connsiteY760" fmla="*/ 131900 h 903637"/>
                  <a:gd name="connsiteX761" fmla="*/ 954952 w 1687454"/>
                  <a:gd name="connsiteY761" fmla="*/ 131283 h 903637"/>
                  <a:gd name="connsiteX762" fmla="*/ 969235 w 1687454"/>
                  <a:gd name="connsiteY762" fmla="*/ 129519 h 903637"/>
                  <a:gd name="connsiteX763" fmla="*/ 980609 w 1687454"/>
                  <a:gd name="connsiteY763" fmla="*/ 128638 h 903637"/>
                  <a:gd name="connsiteX764" fmla="*/ 981755 w 1687454"/>
                  <a:gd name="connsiteY764" fmla="*/ 129255 h 903637"/>
                  <a:gd name="connsiteX765" fmla="*/ 966943 w 1687454"/>
                  <a:gd name="connsiteY765" fmla="*/ 131283 h 903637"/>
                  <a:gd name="connsiteX766" fmla="*/ 972762 w 1687454"/>
                  <a:gd name="connsiteY766" fmla="*/ 134192 h 903637"/>
                  <a:gd name="connsiteX767" fmla="*/ 965796 w 1687454"/>
                  <a:gd name="connsiteY767" fmla="*/ 134809 h 903637"/>
                  <a:gd name="connsiteX768" fmla="*/ 959713 w 1687454"/>
                  <a:gd name="connsiteY768" fmla="*/ 134809 h 903637"/>
                  <a:gd name="connsiteX769" fmla="*/ 961741 w 1687454"/>
                  <a:gd name="connsiteY769" fmla="*/ 134192 h 903637"/>
                  <a:gd name="connsiteX770" fmla="*/ 966149 w 1687454"/>
                  <a:gd name="connsiteY770" fmla="*/ 133311 h 903637"/>
                  <a:gd name="connsiteX771" fmla="*/ 966149 w 1687454"/>
                  <a:gd name="connsiteY771" fmla="*/ 132693 h 903637"/>
                  <a:gd name="connsiteX772" fmla="*/ 981579 w 1687454"/>
                  <a:gd name="connsiteY772" fmla="*/ 130313 h 903637"/>
                  <a:gd name="connsiteX773" fmla="*/ 984488 w 1687454"/>
                  <a:gd name="connsiteY773" fmla="*/ 130313 h 903637"/>
                  <a:gd name="connsiteX774" fmla="*/ 984488 w 1687454"/>
                  <a:gd name="connsiteY774" fmla="*/ 130930 h 903637"/>
                  <a:gd name="connsiteX775" fmla="*/ 978405 w 1687454"/>
                  <a:gd name="connsiteY775" fmla="*/ 131812 h 903637"/>
                  <a:gd name="connsiteX776" fmla="*/ 972762 w 1687454"/>
                  <a:gd name="connsiteY776" fmla="*/ 134192 h 903637"/>
                  <a:gd name="connsiteX777" fmla="*/ 1033686 w 1687454"/>
                  <a:gd name="connsiteY777" fmla="*/ 143009 h 903637"/>
                  <a:gd name="connsiteX778" fmla="*/ 1033686 w 1687454"/>
                  <a:gd name="connsiteY778" fmla="*/ 146800 h 903637"/>
                  <a:gd name="connsiteX779" fmla="*/ 998948 w 1687454"/>
                  <a:gd name="connsiteY779" fmla="*/ 143009 h 903637"/>
                  <a:gd name="connsiteX780" fmla="*/ 1006530 w 1687454"/>
                  <a:gd name="connsiteY780" fmla="*/ 142392 h 903637"/>
                  <a:gd name="connsiteX781" fmla="*/ 1004767 w 1687454"/>
                  <a:gd name="connsiteY781" fmla="*/ 140981 h 903637"/>
                  <a:gd name="connsiteX782" fmla="*/ 998066 w 1687454"/>
                  <a:gd name="connsiteY782" fmla="*/ 139571 h 903637"/>
                  <a:gd name="connsiteX783" fmla="*/ 1002122 w 1687454"/>
                  <a:gd name="connsiteY783" fmla="*/ 139571 h 903637"/>
                  <a:gd name="connsiteX784" fmla="*/ 1000358 w 1687454"/>
                  <a:gd name="connsiteY784" fmla="*/ 137543 h 903637"/>
                  <a:gd name="connsiteX785" fmla="*/ 1011732 w 1687454"/>
                  <a:gd name="connsiteY785" fmla="*/ 137014 h 903637"/>
                  <a:gd name="connsiteX786" fmla="*/ 1020461 w 1687454"/>
                  <a:gd name="connsiteY786" fmla="*/ 133222 h 903637"/>
                  <a:gd name="connsiteX787" fmla="*/ 1033333 w 1687454"/>
                  <a:gd name="connsiteY787" fmla="*/ 131459 h 903637"/>
                  <a:gd name="connsiteX788" fmla="*/ 973555 w 1687454"/>
                  <a:gd name="connsiteY788" fmla="*/ 135868 h 903637"/>
                  <a:gd name="connsiteX789" fmla="*/ 973555 w 1687454"/>
                  <a:gd name="connsiteY789" fmla="*/ 132958 h 903637"/>
                  <a:gd name="connsiteX790" fmla="*/ 985811 w 1687454"/>
                  <a:gd name="connsiteY790" fmla="*/ 131812 h 903637"/>
                  <a:gd name="connsiteX791" fmla="*/ 986692 w 1687454"/>
                  <a:gd name="connsiteY791" fmla="*/ 128902 h 903637"/>
                  <a:gd name="connsiteX792" fmla="*/ 993129 w 1687454"/>
                  <a:gd name="connsiteY792" fmla="*/ 128021 h 903637"/>
                  <a:gd name="connsiteX793" fmla="*/ 998066 w 1687454"/>
                  <a:gd name="connsiteY793" fmla="*/ 130930 h 903637"/>
                  <a:gd name="connsiteX794" fmla="*/ 1005649 w 1687454"/>
                  <a:gd name="connsiteY794" fmla="*/ 129431 h 903637"/>
                  <a:gd name="connsiteX795" fmla="*/ 1000182 w 1687454"/>
                  <a:gd name="connsiteY795" fmla="*/ 129872 h 903637"/>
                  <a:gd name="connsiteX796" fmla="*/ 999653 w 1687454"/>
                  <a:gd name="connsiteY796" fmla="*/ 127227 h 903637"/>
                  <a:gd name="connsiteX797" fmla="*/ 1003709 w 1687454"/>
                  <a:gd name="connsiteY797" fmla="*/ 124935 h 903637"/>
                  <a:gd name="connsiteX798" fmla="*/ 997273 w 1687454"/>
                  <a:gd name="connsiteY798" fmla="*/ 124670 h 903637"/>
                  <a:gd name="connsiteX799" fmla="*/ 1006001 w 1687454"/>
                  <a:gd name="connsiteY799" fmla="*/ 120879 h 903637"/>
                  <a:gd name="connsiteX800" fmla="*/ 998419 w 1687454"/>
                  <a:gd name="connsiteY800" fmla="*/ 120262 h 903637"/>
                  <a:gd name="connsiteX801" fmla="*/ 1006883 w 1687454"/>
                  <a:gd name="connsiteY801" fmla="*/ 115589 h 903637"/>
                  <a:gd name="connsiteX802" fmla="*/ 1014730 w 1687454"/>
                  <a:gd name="connsiteY802" fmla="*/ 118234 h 903637"/>
                  <a:gd name="connsiteX803" fmla="*/ 1020549 w 1687454"/>
                  <a:gd name="connsiteY803" fmla="*/ 127580 h 903637"/>
                  <a:gd name="connsiteX804" fmla="*/ 1025222 w 1687454"/>
                  <a:gd name="connsiteY804" fmla="*/ 126081 h 903637"/>
                  <a:gd name="connsiteX805" fmla="*/ 1023194 w 1687454"/>
                  <a:gd name="connsiteY805" fmla="*/ 122554 h 903637"/>
                  <a:gd name="connsiteX806" fmla="*/ 1029366 w 1687454"/>
                  <a:gd name="connsiteY806" fmla="*/ 122290 h 903637"/>
                  <a:gd name="connsiteX807" fmla="*/ 1022400 w 1687454"/>
                  <a:gd name="connsiteY807" fmla="*/ 120791 h 903637"/>
                  <a:gd name="connsiteX808" fmla="*/ 1023547 w 1687454"/>
                  <a:gd name="connsiteY808" fmla="*/ 119644 h 903637"/>
                  <a:gd name="connsiteX809" fmla="*/ 1029630 w 1687454"/>
                  <a:gd name="connsiteY809" fmla="*/ 118763 h 903637"/>
                  <a:gd name="connsiteX810" fmla="*/ 1020549 w 1687454"/>
                  <a:gd name="connsiteY810" fmla="*/ 117264 h 903637"/>
                  <a:gd name="connsiteX811" fmla="*/ 1019403 w 1687454"/>
                  <a:gd name="connsiteY811" fmla="*/ 114354 h 903637"/>
                  <a:gd name="connsiteX812" fmla="*/ 1030777 w 1687454"/>
                  <a:gd name="connsiteY812" fmla="*/ 111709 h 903637"/>
                  <a:gd name="connsiteX813" fmla="*/ 1042415 w 1687454"/>
                  <a:gd name="connsiteY813" fmla="*/ 111709 h 903637"/>
                  <a:gd name="connsiteX814" fmla="*/ 1047352 w 1687454"/>
                  <a:gd name="connsiteY814" fmla="*/ 115236 h 903637"/>
                  <a:gd name="connsiteX815" fmla="*/ 1050526 w 1687454"/>
                  <a:gd name="connsiteY815" fmla="*/ 115236 h 903637"/>
                  <a:gd name="connsiteX816" fmla="*/ 1051408 w 1687454"/>
                  <a:gd name="connsiteY816" fmla="*/ 112591 h 903637"/>
                  <a:gd name="connsiteX817" fmla="*/ 1056345 w 1687454"/>
                  <a:gd name="connsiteY817" fmla="*/ 110828 h 903637"/>
                  <a:gd name="connsiteX818" fmla="*/ 1061018 w 1687454"/>
                  <a:gd name="connsiteY818" fmla="*/ 110828 h 903637"/>
                  <a:gd name="connsiteX819" fmla="*/ 1067102 w 1687454"/>
                  <a:gd name="connsiteY819" fmla="*/ 114619 h 903637"/>
                  <a:gd name="connsiteX820" fmla="*/ 1061900 w 1687454"/>
                  <a:gd name="connsiteY820" fmla="*/ 119027 h 903637"/>
                  <a:gd name="connsiteX821" fmla="*/ 1064192 w 1687454"/>
                  <a:gd name="connsiteY821" fmla="*/ 121055 h 903637"/>
                  <a:gd name="connsiteX822" fmla="*/ 1053524 w 1687454"/>
                  <a:gd name="connsiteY822" fmla="*/ 129872 h 903637"/>
                  <a:gd name="connsiteX823" fmla="*/ 1048587 w 1687454"/>
                  <a:gd name="connsiteY823" fmla="*/ 131371 h 903637"/>
                  <a:gd name="connsiteX824" fmla="*/ 1055023 w 1687454"/>
                  <a:gd name="connsiteY824" fmla="*/ 132253 h 903637"/>
                  <a:gd name="connsiteX825" fmla="*/ 1048322 w 1687454"/>
                  <a:gd name="connsiteY825" fmla="*/ 138336 h 903637"/>
                  <a:gd name="connsiteX826" fmla="*/ 1046823 w 1687454"/>
                  <a:gd name="connsiteY826" fmla="*/ 135162 h 903637"/>
                  <a:gd name="connsiteX827" fmla="*/ 1044443 w 1687454"/>
                  <a:gd name="connsiteY827" fmla="*/ 136926 h 903637"/>
                  <a:gd name="connsiteX828" fmla="*/ 1040387 w 1687454"/>
                  <a:gd name="connsiteY828" fmla="*/ 137190 h 903637"/>
                  <a:gd name="connsiteX829" fmla="*/ 1036860 w 1687454"/>
                  <a:gd name="connsiteY829" fmla="*/ 140717 h 903637"/>
                  <a:gd name="connsiteX830" fmla="*/ 1039770 w 1687454"/>
                  <a:gd name="connsiteY830" fmla="*/ 140717 h 903637"/>
                  <a:gd name="connsiteX831" fmla="*/ 1040651 w 1687454"/>
                  <a:gd name="connsiteY831" fmla="*/ 144243 h 903637"/>
                  <a:gd name="connsiteX832" fmla="*/ 1033686 w 1687454"/>
                  <a:gd name="connsiteY832" fmla="*/ 143009 h 903637"/>
                  <a:gd name="connsiteX833" fmla="*/ 953541 w 1687454"/>
                  <a:gd name="connsiteY833" fmla="*/ 145302 h 903637"/>
                  <a:gd name="connsiteX834" fmla="*/ 938993 w 1687454"/>
                  <a:gd name="connsiteY834" fmla="*/ 147594 h 903637"/>
                  <a:gd name="connsiteX835" fmla="*/ 934585 w 1687454"/>
                  <a:gd name="connsiteY835" fmla="*/ 145566 h 903637"/>
                  <a:gd name="connsiteX836" fmla="*/ 941286 w 1687454"/>
                  <a:gd name="connsiteY836" fmla="*/ 142392 h 903637"/>
                  <a:gd name="connsiteX837" fmla="*/ 949750 w 1687454"/>
                  <a:gd name="connsiteY837" fmla="*/ 139747 h 903637"/>
                  <a:gd name="connsiteX838" fmla="*/ 952924 w 1687454"/>
                  <a:gd name="connsiteY838" fmla="*/ 140629 h 903637"/>
                  <a:gd name="connsiteX839" fmla="*/ 954334 w 1687454"/>
                  <a:gd name="connsiteY839" fmla="*/ 139747 h 903637"/>
                  <a:gd name="connsiteX840" fmla="*/ 954952 w 1687454"/>
                  <a:gd name="connsiteY840" fmla="*/ 144684 h 903637"/>
                  <a:gd name="connsiteX841" fmla="*/ 953541 w 1687454"/>
                  <a:gd name="connsiteY841" fmla="*/ 145302 h 903637"/>
                  <a:gd name="connsiteX842" fmla="*/ 845887 w 1687454"/>
                  <a:gd name="connsiteY842" fmla="*/ 155265 h 903637"/>
                  <a:gd name="connsiteX843" fmla="*/ 838305 w 1687454"/>
                  <a:gd name="connsiteY843" fmla="*/ 158439 h 903637"/>
                  <a:gd name="connsiteX844" fmla="*/ 829224 w 1687454"/>
                  <a:gd name="connsiteY844" fmla="*/ 159320 h 903637"/>
                  <a:gd name="connsiteX845" fmla="*/ 814940 w 1687454"/>
                  <a:gd name="connsiteY845" fmla="*/ 161613 h 903637"/>
                  <a:gd name="connsiteX846" fmla="*/ 809738 w 1687454"/>
                  <a:gd name="connsiteY846" fmla="*/ 165139 h 903637"/>
                  <a:gd name="connsiteX847" fmla="*/ 801010 w 1687454"/>
                  <a:gd name="connsiteY847" fmla="*/ 162230 h 903637"/>
                  <a:gd name="connsiteX848" fmla="*/ 794044 w 1687454"/>
                  <a:gd name="connsiteY848" fmla="*/ 164258 h 903637"/>
                  <a:gd name="connsiteX849" fmla="*/ 786462 w 1687454"/>
                  <a:gd name="connsiteY849" fmla="*/ 164258 h 903637"/>
                  <a:gd name="connsiteX850" fmla="*/ 782935 w 1687454"/>
                  <a:gd name="connsiteY850" fmla="*/ 157821 h 903637"/>
                  <a:gd name="connsiteX851" fmla="*/ 780026 w 1687454"/>
                  <a:gd name="connsiteY851" fmla="*/ 158703 h 903637"/>
                  <a:gd name="connsiteX852" fmla="*/ 782935 w 1687454"/>
                  <a:gd name="connsiteY852" fmla="*/ 160731 h 903637"/>
                  <a:gd name="connsiteX853" fmla="*/ 789019 w 1687454"/>
                  <a:gd name="connsiteY853" fmla="*/ 157821 h 903637"/>
                  <a:gd name="connsiteX854" fmla="*/ 789019 w 1687454"/>
                  <a:gd name="connsiteY854" fmla="*/ 155441 h 903637"/>
                  <a:gd name="connsiteX855" fmla="*/ 801274 w 1687454"/>
                  <a:gd name="connsiteY855" fmla="*/ 153149 h 903637"/>
                  <a:gd name="connsiteX856" fmla="*/ 809474 w 1687454"/>
                  <a:gd name="connsiteY856" fmla="*/ 153149 h 903637"/>
                  <a:gd name="connsiteX857" fmla="*/ 820583 w 1687454"/>
                  <a:gd name="connsiteY857" fmla="*/ 151385 h 903637"/>
                  <a:gd name="connsiteX858" fmla="*/ 827901 w 1687454"/>
                  <a:gd name="connsiteY858" fmla="*/ 149357 h 903637"/>
                  <a:gd name="connsiteX859" fmla="*/ 848003 w 1687454"/>
                  <a:gd name="connsiteY859" fmla="*/ 146712 h 903637"/>
                  <a:gd name="connsiteX860" fmla="*/ 853205 w 1687454"/>
                  <a:gd name="connsiteY860" fmla="*/ 144684 h 903637"/>
                  <a:gd name="connsiteX861" fmla="*/ 850296 w 1687454"/>
                  <a:gd name="connsiteY861" fmla="*/ 144420 h 903637"/>
                  <a:gd name="connsiteX862" fmla="*/ 845358 w 1687454"/>
                  <a:gd name="connsiteY862" fmla="*/ 146183 h 903637"/>
                  <a:gd name="connsiteX863" fmla="*/ 831340 w 1687454"/>
                  <a:gd name="connsiteY863" fmla="*/ 147065 h 903637"/>
                  <a:gd name="connsiteX864" fmla="*/ 832838 w 1687454"/>
                  <a:gd name="connsiteY864" fmla="*/ 145037 h 903637"/>
                  <a:gd name="connsiteX865" fmla="*/ 829664 w 1687454"/>
                  <a:gd name="connsiteY865" fmla="*/ 145654 h 903637"/>
                  <a:gd name="connsiteX866" fmla="*/ 830282 w 1687454"/>
                  <a:gd name="connsiteY866" fmla="*/ 143891 h 903637"/>
                  <a:gd name="connsiteX867" fmla="*/ 827108 w 1687454"/>
                  <a:gd name="connsiteY867" fmla="*/ 146536 h 903637"/>
                  <a:gd name="connsiteX868" fmla="*/ 817144 w 1687454"/>
                  <a:gd name="connsiteY868" fmla="*/ 148299 h 903637"/>
                  <a:gd name="connsiteX869" fmla="*/ 806652 w 1687454"/>
                  <a:gd name="connsiteY869" fmla="*/ 148035 h 903637"/>
                  <a:gd name="connsiteX870" fmla="*/ 815998 w 1687454"/>
                  <a:gd name="connsiteY870" fmla="*/ 142480 h 903637"/>
                  <a:gd name="connsiteX871" fmla="*/ 822170 w 1687454"/>
                  <a:gd name="connsiteY871" fmla="*/ 141334 h 903637"/>
                  <a:gd name="connsiteX872" fmla="*/ 813970 w 1687454"/>
                  <a:gd name="connsiteY872" fmla="*/ 142216 h 903637"/>
                  <a:gd name="connsiteX873" fmla="*/ 814235 w 1687454"/>
                  <a:gd name="connsiteY873" fmla="*/ 140452 h 903637"/>
                  <a:gd name="connsiteX874" fmla="*/ 805154 w 1687454"/>
                  <a:gd name="connsiteY874" fmla="*/ 145125 h 903637"/>
                  <a:gd name="connsiteX875" fmla="*/ 801098 w 1687454"/>
                  <a:gd name="connsiteY875" fmla="*/ 143979 h 903637"/>
                  <a:gd name="connsiteX876" fmla="*/ 802597 w 1687454"/>
                  <a:gd name="connsiteY876" fmla="*/ 146271 h 903637"/>
                  <a:gd name="connsiteX877" fmla="*/ 798188 w 1687454"/>
                  <a:gd name="connsiteY877" fmla="*/ 148299 h 903637"/>
                  <a:gd name="connsiteX878" fmla="*/ 785933 w 1687454"/>
                  <a:gd name="connsiteY878" fmla="*/ 150063 h 903637"/>
                  <a:gd name="connsiteX879" fmla="*/ 789989 w 1687454"/>
                  <a:gd name="connsiteY879" fmla="*/ 146536 h 903637"/>
                  <a:gd name="connsiteX880" fmla="*/ 782142 w 1687454"/>
                  <a:gd name="connsiteY880" fmla="*/ 147153 h 903637"/>
                  <a:gd name="connsiteX881" fmla="*/ 780996 w 1687454"/>
                  <a:gd name="connsiteY881" fmla="*/ 149445 h 903637"/>
                  <a:gd name="connsiteX882" fmla="*/ 771121 w 1687454"/>
                  <a:gd name="connsiteY882" fmla="*/ 150944 h 903637"/>
                  <a:gd name="connsiteX883" fmla="*/ 764684 w 1687454"/>
                  <a:gd name="connsiteY883" fmla="*/ 150327 h 903637"/>
                  <a:gd name="connsiteX884" fmla="*/ 756837 w 1687454"/>
                  <a:gd name="connsiteY884" fmla="*/ 148564 h 903637"/>
                  <a:gd name="connsiteX885" fmla="*/ 753311 w 1687454"/>
                  <a:gd name="connsiteY885" fmla="*/ 147065 h 903637"/>
                  <a:gd name="connsiteX886" fmla="*/ 755956 w 1687454"/>
                  <a:gd name="connsiteY886" fmla="*/ 143891 h 903637"/>
                  <a:gd name="connsiteX887" fmla="*/ 764684 w 1687454"/>
                  <a:gd name="connsiteY887" fmla="*/ 143626 h 903637"/>
                  <a:gd name="connsiteX888" fmla="*/ 783376 w 1687454"/>
                  <a:gd name="connsiteY888" fmla="*/ 139571 h 903637"/>
                  <a:gd name="connsiteX889" fmla="*/ 804360 w 1687454"/>
                  <a:gd name="connsiteY889" fmla="*/ 135515 h 903637"/>
                  <a:gd name="connsiteX890" fmla="*/ 771121 w 1687454"/>
                  <a:gd name="connsiteY890" fmla="*/ 138160 h 903637"/>
                  <a:gd name="connsiteX891" fmla="*/ 779585 w 1687454"/>
                  <a:gd name="connsiteY891" fmla="*/ 133751 h 903637"/>
                  <a:gd name="connsiteX892" fmla="*/ 802597 w 1687454"/>
                  <a:gd name="connsiteY892" fmla="*/ 131371 h 903637"/>
                  <a:gd name="connsiteX893" fmla="*/ 784787 w 1687454"/>
                  <a:gd name="connsiteY893" fmla="*/ 131988 h 903637"/>
                  <a:gd name="connsiteX894" fmla="*/ 790077 w 1687454"/>
                  <a:gd name="connsiteY894" fmla="*/ 129960 h 903637"/>
                  <a:gd name="connsiteX895" fmla="*/ 792986 w 1687454"/>
                  <a:gd name="connsiteY895" fmla="*/ 126786 h 903637"/>
                  <a:gd name="connsiteX896" fmla="*/ 802861 w 1687454"/>
                  <a:gd name="connsiteY896" fmla="*/ 125640 h 903637"/>
                  <a:gd name="connsiteX897" fmla="*/ 820671 w 1687454"/>
                  <a:gd name="connsiteY897" fmla="*/ 125640 h 903637"/>
                  <a:gd name="connsiteX898" fmla="*/ 807534 w 1687454"/>
                  <a:gd name="connsiteY898" fmla="*/ 124758 h 903637"/>
                  <a:gd name="connsiteX899" fmla="*/ 806035 w 1687454"/>
                  <a:gd name="connsiteY899" fmla="*/ 123612 h 903637"/>
                  <a:gd name="connsiteX900" fmla="*/ 811325 w 1687454"/>
                  <a:gd name="connsiteY900" fmla="*/ 121584 h 903637"/>
                  <a:gd name="connsiteX901" fmla="*/ 832927 w 1687454"/>
                  <a:gd name="connsiteY901" fmla="*/ 119292 h 903637"/>
                  <a:gd name="connsiteX902" fmla="*/ 836101 w 1687454"/>
                  <a:gd name="connsiteY902" fmla="*/ 121055 h 903637"/>
                  <a:gd name="connsiteX903" fmla="*/ 836718 w 1687454"/>
                  <a:gd name="connsiteY903" fmla="*/ 125464 h 903637"/>
                  <a:gd name="connsiteX904" fmla="*/ 848356 w 1687454"/>
                  <a:gd name="connsiteY904" fmla="*/ 124317 h 903637"/>
                  <a:gd name="connsiteX905" fmla="*/ 855321 w 1687454"/>
                  <a:gd name="connsiteY905" fmla="*/ 125816 h 903637"/>
                  <a:gd name="connsiteX906" fmla="*/ 853029 w 1687454"/>
                  <a:gd name="connsiteY906" fmla="*/ 127580 h 903637"/>
                  <a:gd name="connsiteX907" fmla="*/ 857966 w 1687454"/>
                  <a:gd name="connsiteY907" fmla="*/ 131371 h 903637"/>
                  <a:gd name="connsiteX908" fmla="*/ 860612 w 1687454"/>
                  <a:gd name="connsiteY908" fmla="*/ 133134 h 903637"/>
                  <a:gd name="connsiteX909" fmla="*/ 855321 w 1687454"/>
                  <a:gd name="connsiteY909" fmla="*/ 138953 h 903637"/>
                  <a:gd name="connsiteX910" fmla="*/ 859994 w 1687454"/>
                  <a:gd name="connsiteY910" fmla="*/ 139218 h 903637"/>
                  <a:gd name="connsiteX911" fmla="*/ 868194 w 1687454"/>
                  <a:gd name="connsiteY911" fmla="*/ 137455 h 903637"/>
                  <a:gd name="connsiteX912" fmla="*/ 876923 w 1687454"/>
                  <a:gd name="connsiteY912" fmla="*/ 138865 h 903637"/>
                  <a:gd name="connsiteX913" fmla="*/ 880978 w 1687454"/>
                  <a:gd name="connsiteY913" fmla="*/ 139130 h 903637"/>
                  <a:gd name="connsiteX914" fmla="*/ 883888 w 1687454"/>
                  <a:gd name="connsiteY914" fmla="*/ 139130 h 903637"/>
                  <a:gd name="connsiteX915" fmla="*/ 889178 w 1687454"/>
                  <a:gd name="connsiteY915" fmla="*/ 140276 h 903637"/>
                  <a:gd name="connsiteX916" fmla="*/ 895614 w 1687454"/>
                  <a:gd name="connsiteY916" fmla="*/ 136220 h 903637"/>
                  <a:gd name="connsiteX917" fmla="*/ 889443 w 1687454"/>
                  <a:gd name="connsiteY917" fmla="*/ 135074 h 903637"/>
                  <a:gd name="connsiteX918" fmla="*/ 885387 w 1687454"/>
                  <a:gd name="connsiteY918" fmla="*/ 131900 h 903637"/>
                  <a:gd name="connsiteX919" fmla="*/ 888561 w 1687454"/>
                  <a:gd name="connsiteY919" fmla="*/ 129608 h 903637"/>
                  <a:gd name="connsiteX920" fmla="*/ 899670 w 1687454"/>
                  <a:gd name="connsiteY920" fmla="*/ 127580 h 903637"/>
                  <a:gd name="connsiteX921" fmla="*/ 894468 w 1687454"/>
                  <a:gd name="connsiteY921" fmla="*/ 124935 h 903637"/>
                  <a:gd name="connsiteX922" fmla="*/ 887767 w 1687454"/>
                  <a:gd name="connsiteY922" fmla="*/ 122907 h 903637"/>
                  <a:gd name="connsiteX923" fmla="*/ 893586 w 1687454"/>
                  <a:gd name="connsiteY923" fmla="*/ 121496 h 903637"/>
                  <a:gd name="connsiteX924" fmla="*/ 894733 w 1687454"/>
                  <a:gd name="connsiteY924" fmla="*/ 119997 h 903637"/>
                  <a:gd name="connsiteX925" fmla="*/ 900023 w 1687454"/>
                  <a:gd name="connsiteY925" fmla="*/ 119997 h 903637"/>
                  <a:gd name="connsiteX926" fmla="*/ 903197 w 1687454"/>
                  <a:gd name="connsiteY926" fmla="*/ 119733 h 903637"/>
                  <a:gd name="connsiteX927" fmla="*/ 914571 w 1687454"/>
                  <a:gd name="connsiteY927" fmla="*/ 114178 h 903637"/>
                  <a:gd name="connsiteX928" fmla="*/ 926473 w 1687454"/>
                  <a:gd name="connsiteY928" fmla="*/ 114178 h 903637"/>
                  <a:gd name="connsiteX929" fmla="*/ 926473 w 1687454"/>
                  <a:gd name="connsiteY929" fmla="*/ 115324 h 903637"/>
                  <a:gd name="connsiteX930" fmla="*/ 921183 w 1687454"/>
                  <a:gd name="connsiteY930" fmla="*/ 116823 h 903637"/>
                  <a:gd name="connsiteX931" fmla="*/ 915893 w 1687454"/>
                  <a:gd name="connsiteY931" fmla="*/ 119997 h 903637"/>
                  <a:gd name="connsiteX932" fmla="*/ 919684 w 1687454"/>
                  <a:gd name="connsiteY932" fmla="*/ 125287 h 903637"/>
                  <a:gd name="connsiteX933" fmla="*/ 913865 w 1687454"/>
                  <a:gd name="connsiteY933" fmla="*/ 126433 h 903637"/>
                  <a:gd name="connsiteX934" fmla="*/ 910339 w 1687454"/>
                  <a:gd name="connsiteY934" fmla="*/ 128726 h 903637"/>
                  <a:gd name="connsiteX935" fmla="*/ 916158 w 1687454"/>
                  <a:gd name="connsiteY935" fmla="*/ 128197 h 903637"/>
                  <a:gd name="connsiteX936" fmla="*/ 920213 w 1687454"/>
                  <a:gd name="connsiteY936" fmla="*/ 129960 h 903637"/>
                  <a:gd name="connsiteX937" fmla="*/ 910868 w 1687454"/>
                  <a:gd name="connsiteY937" fmla="*/ 133134 h 903637"/>
                  <a:gd name="connsiteX938" fmla="*/ 911749 w 1687454"/>
                  <a:gd name="connsiteY938" fmla="*/ 134016 h 903637"/>
                  <a:gd name="connsiteX939" fmla="*/ 915805 w 1687454"/>
                  <a:gd name="connsiteY939" fmla="*/ 132517 h 903637"/>
                  <a:gd name="connsiteX940" fmla="*/ 925415 w 1687454"/>
                  <a:gd name="connsiteY940" fmla="*/ 131900 h 903637"/>
                  <a:gd name="connsiteX941" fmla="*/ 929207 w 1687454"/>
                  <a:gd name="connsiteY941" fmla="*/ 133046 h 903637"/>
                  <a:gd name="connsiteX942" fmla="*/ 932116 w 1687454"/>
                  <a:gd name="connsiteY942" fmla="*/ 129519 h 903637"/>
                  <a:gd name="connsiteX943" fmla="*/ 938200 w 1687454"/>
                  <a:gd name="connsiteY943" fmla="*/ 128109 h 903637"/>
                  <a:gd name="connsiteX944" fmla="*/ 948251 w 1687454"/>
                  <a:gd name="connsiteY944" fmla="*/ 129872 h 903637"/>
                  <a:gd name="connsiteX945" fmla="*/ 943578 w 1687454"/>
                  <a:gd name="connsiteY945" fmla="*/ 132517 h 903637"/>
                  <a:gd name="connsiteX946" fmla="*/ 945077 w 1687454"/>
                  <a:gd name="connsiteY946" fmla="*/ 137455 h 903637"/>
                  <a:gd name="connsiteX947" fmla="*/ 932821 w 1687454"/>
                  <a:gd name="connsiteY947" fmla="*/ 138953 h 903637"/>
                  <a:gd name="connsiteX948" fmla="*/ 927884 w 1687454"/>
                  <a:gd name="connsiteY948" fmla="*/ 143362 h 903637"/>
                  <a:gd name="connsiteX949" fmla="*/ 922947 w 1687454"/>
                  <a:gd name="connsiteY949" fmla="*/ 148299 h 903637"/>
                  <a:gd name="connsiteX950" fmla="*/ 912102 w 1687454"/>
                  <a:gd name="connsiteY950" fmla="*/ 147947 h 903637"/>
                  <a:gd name="connsiteX951" fmla="*/ 900464 w 1687454"/>
                  <a:gd name="connsiteY951" fmla="*/ 151209 h 903637"/>
                  <a:gd name="connsiteX952" fmla="*/ 895526 w 1687454"/>
                  <a:gd name="connsiteY952" fmla="*/ 151209 h 903637"/>
                  <a:gd name="connsiteX953" fmla="*/ 888561 w 1687454"/>
                  <a:gd name="connsiteY953" fmla="*/ 150944 h 903637"/>
                  <a:gd name="connsiteX954" fmla="*/ 884770 w 1687454"/>
                  <a:gd name="connsiteY954" fmla="*/ 150327 h 903637"/>
                  <a:gd name="connsiteX955" fmla="*/ 879215 w 1687454"/>
                  <a:gd name="connsiteY955" fmla="*/ 152972 h 903637"/>
                  <a:gd name="connsiteX956" fmla="*/ 872250 w 1687454"/>
                  <a:gd name="connsiteY956" fmla="*/ 150327 h 903637"/>
                  <a:gd name="connsiteX957" fmla="*/ 863521 w 1687454"/>
                  <a:gd name="connsiteY957" fmla="*/ 152090 h 903637"/>
                  <a:gd name="connsiteX958" fmla="*/ 861141 w 1687454"/>
                  <a:gd name="connsiteY958" fmla="*/ 152355 h 903637"/>
                  <a:gd name="connsiteX959" fmla="*/ 852059 w 1687454"/>
                  <a:gd name="connsiteY959" fmla="*/ 155265 h 903637"/>
                  <a:gd name="connsiteX960" fmla="*/ 845887 w 1687454"/>
                  <a:gd name="connsiteY960" fmla="*/ 155265 h 903637"/>
                  <a:gd name="connsiteX961" fmla="*/ 1089144 w 1687454"/>
                  <a:gd name="connsiteY961" fmla="*/ 153237 h 903637"/>
                  <a:gd name="connsiteX962" fmla="*/ 1085617 w 1687454"/>
                  <a:gd name="connsiteY962" fmla="*/ 155529 h 903637"/>
                  <a:gd name="connsiteX963" fmla="*/ 1080415 w 1687454"/>
                  <a:gd name="connsiteY963" fmla="*/ 155794 h 903637"/>
                  <a:gd name="connsiteX964" fmla="*/ 1075742 w 1687454"/>
                  <a:gd name="connsiteY964" fmla="*/ 153501 h 903637"/>
                  <a:gd name="connsiteX965" fmla="*/ 1068777 w 1687454"/>
                  <a:gd name="connsiteY965" fmla="*/ 152620 h 903637"/>
                  <a:gd name="connsiteX966" fmla="*/ 1068513 w 1687454"/>
                  <a:gd name="connsiteY966" fmla="*/ 152355 h 903637"/>
                  <a:gd name="connsiteX967" fmla="*/ 1066220 w 1687454"/>
                  <a:gd name="connsiteY967" fmla="*/ 151209 h 903637"/>
                  <a:gd name="connsiteX968" fmla="*/ 1063311 w 1687454"/>
                  <a:gd name="connsiteY968" fmla="*/ 151473 h 903637"/>
                  <a:gd name="connsiteX969" fmla="*/ 1062782 w 1687454"/>
                  <a:gd name="connsiteY969" fmla="*/ 150327 h 903637"/>
                  <a:gd name="connsiteX970" fmla="*/ 1061018 w 1687454"/>
                  <a:gd name="connsiteY970" fmla="*/ 150327 h 903637"/>
                  <a:gd name="connsiteX971" fmla="*/ 1056610 w 1687454"/>
                  <a:gd name="connsiteY971" fmla="*/ 148299 h 903637"/>
                  <a:gd name="connsiteX972" fmla="*/ 1054582 w 1687454"/>
                  <a:gd name="connsiteY972" fmla="*/ 148299 h 903637"/>
                  <a:gd name="connsiteX973" fmla="*/ 1053965 w 1687454"/>
                  <a:gd name="connsiteY973" fmla="*/ 147418 h 903637"/>
                  <a:gd name="connsiteX974" fmla="*/ 1051937 w 1687454"/>
                  <a:gd name="connsiteY974" fmla="*/ 146536 h 903637"/>
                  <a:gd name="connsiteX975" fmla="*/ 1052819 w 1687454"/>
                  <a:gd name="connsiteY975" fmla="*/ 145390 h 903637"/>
                  <a:gd name="connsiteX976" fmla="*/ 1055993 w 1687454"/>
                  <a:gd name="connsiteY976" fmla="*/ 143626 h 903637"/>
                  <a:gd name="connsiteX977" fmla="*/ 1064721 w 1687454"/>
                  <a:gd name="connsiteY977" fmla="*/ 141598 h 903637"/>
                  <a:gd name="connsiteX978" fmla="*/ 1067631 w 1687454"/>
                  <a:gd name="connsiteY978" fmla="*/ 139571 h 903637"/>
                  <a:gd name="connsiteX979" fmla="*/ 1065603 w 1687454"/>
                  <a:gd name="connsiteY979" fmla="*/ 138953 h 903637"/>
                  <a:gd name="connsiteX980" fmla="*/ 1066749 w 1687454"/>
                  <a:gd name="connsiteY980" fmla="*/ 138689 h 903637"/>
                  <a:gd name="connsiteX981" fmla="*/ 1072833 w 1687454"/>
                  <a:gd name="connsiteY981" fmla="*/ 138424 h 903637"/>
                  <a:gd name="connsiteX982" fmla="*/ 1073715 w 1687454"/>
                  <a:gd name="connsiteY982" fmla="*/ 137278 h 903637"/>
                  <a:gd name="connsiteX983" fmla="*/ 1076360 w 1687454"/>
                  <a:gd name="connsiteY983" fmla="*/ 136132 h 903637"/>
                  <a:gd name="connsiteX984" fmla="*/ 1083325 w 1687454"/>
                  <a:gd name="connsiteY984" fmla="*/ 135250 h 903637"/>
                  <a:gd name="connsiteX985" fmla="*/ 1083942 w 1687454"/>
                  <a:gd name="connsiteY985" fmla="*/ 135250 h 903637"/>
                  <a:gd name="connsiteX986" fmla="*/ 1090643 w 1687454"/>
                  <a:gd name="connsiteY986" fmla="*/ 134369 h 903637"/>
                  <a:gd name="connsiteX987" fmla="*/ 1095051 w 1687454"/>
                  <a:gd name="connsiteY987" fmla="*/ 131459 h 903637"/>
                  <a:gd name="connsiteX988" fmla="*/ 1097079 w 1687454"/>
                  <a:gd name="connsiteY988" fmla="*/ 127403 h 903637"/>
                  <a:gd name="connsiteX989" fmla="*/ 1101488 w 1687454"/>
                  <a:gd name="connsiteY989" fmla="*/ 128021 h 903637"/>
                  <a:gd name="connsiteX990" fmla="*/ 1106072 w 1687454"/>
                  <a:gd name="connsiteY990" fmla="*/ 128021 h 903637"/>
                  <a:gd name="connsiteX991" fmla="*/ 1106337 w 1687454"/>
                  <a:gd name="connsiteY991" fmla="*/ 131812 h 903637"/>
                  <a:gd name="connsiteX992" fmla="*/ 1104309 w 1687454"/>
                  <a:gd name="connsiteY992" fmla="*/ 133575 h 903637"/>
                  <a:gd name="connsiteX993" fmla="*/ 1099019 w 1687454"/>
                  <a:gd name="connsiteY993" fmla="*/ 135603 h 903637"/>
                  <a:gd name="connsiteX994" fmla="*/ 1101928 w 1687454"/>
                  <a:gd name="connsiteY994" fmla="*/ 137984 h 903637"/>
                  <a:gd name="connsiteX995" fmla="*/ 1102810 w 1687454"/>
                  <a:gd name="connsiteY995" fmla="*/ 141775 h 903637"/>
                  <a:gd name="connsiteX996" fmla="*/ 1100782 w 1687454"/>
                  <a:gd name="connsiteY996" fmla="*/ 142921 h 903637"/>
                  <a:gd name="connsiteX997" fmla="*/ 1099901 w 1687454"/>
                  <a:gd name="connsiteY997" fmla="*/ 145213 h 903637"/>
                  <a:gd name="connsiteX998" fmla="*/ 1097520 w 1687454"/>
                  <a:gd name="connsiteY998" fmla="*/ 145831 h 903637"/>
                  <a:gd name="connsiteX999" fmla="*/ 1098402 w 1687454"/>
                  <a:gd name="connsiteY999" fmla="*/ 146095 h 903637"/>
                  <a:gd name="connsiteX1000" fmla="*/ 1094875 w 1687454"/>
                  <a:gd name="connsiteY1000" fmla="*/ 151385 h 903637"/>
                  <a:gd name="connsiteX1001" fmla="*/ 1092847 w 1687454"/>
                  <a:gd name="connsiteY1001" fmla="*/ 152531 h 903637"/>
                  <a:gd name="connsiteX1002" fmla="*/ 1089144 w 1687454"/>
                  <a:gd name="connsiteY1002" fmla="*/ 153237 h 903637"/>
                  <a:gd name="connsiteX1003" fmla="*/ 1196798 w 1687454"/>
                  <a:gd name="connsiteY1003" fmla="*/ 154383 h 903637"/>
                  <a:gd name="connsiteX1004" fmla="*/ 1195034 w 1687454"/>
                  <a:gd name="connsiteY1004" fmla="*/ 156675 h 903637"/>
                  <a:gd name="connsiteX1005" fmla="*/ 1185159 w 1687454"/>
                  <a:gd name="connsiteY1005" fmla="*/ 155529 h 903637"/>
                  <a:gd name="connsiteX1006" fmla="*/ 1181721 w 1687454"/>
                  <a:gd name="connsiteY1006" fmla="*/ 156675 h 903637"/>
                  <a:gd name="connsiteX1007" fmla="*/ 1170083 w 1687454"/>
                  <a:gd name="connsiteY1007" fmla="*/ 155794 h 903637"/>
                  <a:gd name="connsiteX1008" fmla="*/ 1175285 w 1687454"/>
                  <a:gd name="connsiteY1008" fmla="*/ 148211 h 903637"/>
                  <a:gd name="connsiteX1009" fmla="*/ 1166203 w 1687454"/>
                  <a:gd name="connsiteY1009" fmla="*/ 152620 h 903637"/>
                  <a:gd name="connsiteX1010" fmla="*/ 1166468 w 1687454"/>
                  <a:gd name="connsiteY1010" fmla="*/ 149710 h 903637"/>
                  <a:gd name="connsiteX1011" fmla="*/ 1162059 w 1687454"/>
                  <a:gd name="connsiteY1011" fmla="*/ 151473 h 903637"/>
                  <a:gd name="connsiteX1012" fmla="*/ 1158003 w 1687454"/>
                  <a:gd name="connsiteY1012" fmla="*/ 154647 h 903637"/>
                  <a:gd name="connsiteX1013" fmla="*/ 1148922 w 1687454"/>
                  <a:gd name="connsiteY1013" fmla="*/ 155265 h 903637"/>
                  <a:gd name="connsiteX1014" fmla="*/ 1139312 w 1687454"/>
                  <a:gd name="connsiteY1014" fmla="*/ 153766 h 903637"/>
                  <a:gd name="connsiteX1015" fmla="*/ 1137019 w 1687454"/>
                  <a:gd name="connsiteY1015" fmla="*/ 151121 h 903637"/>
                  <a:gd name="connsiteX1016" fmla="*/ 1139047 w 1687454"/>
                  <a:gd name="connsiteY1016" fmla="*/ 148476 h 903637"/>
                  <a:gd name="connsiteX1017" fmla="*/ 1129437 w 1687454"/>
                  <a:gd name="connsiteY1017" fmla="*/ 153413 h 903637"/>
                  <a:gd name="connsiteX1018" fmla="*/ 1120973 w 1687454"/>
                  <a:gd name="connsiteY1018" fmla="*/ 151650 h 903637"/>
                  <a:gd name="connsiteX1019" fmla="*/ 1127056 w 1687454"/>
                  <a:gd name="connsiteY1019" fmla="*/ 143803 h 903637"/>
                  <a:gd name="connsiteX1020" fmla="*/ 1123882 w 1687454"/>
                  <a:gd name="connsiteY1020" fmla="*/ 141775 h 903637"/>
                  <a:gd name="connsiteX1021" fmla="*/ 1140811 w 1687454"/>
                  <a:gd name="connsiteY1021" fmla="*/ 130137 h 903637"/>
                  <a:gd name="connsiteX1022" fmla="*/ 1136138 w 1687454"/>
                  <a:gd name="connsiteY1022" fmla="*/ 126345 h 903637"/>
                  <a:gd name="connsiteX1023" fmla="*/ 1137901 w 1687454"/>
                  <a:gd name="connsiteY1023" fmla="*/ 121055 h 903637"/>
                  <a:gd name="connsiteX1024" fmla="*/ 1126263 w 1687454"/>
                  <a:gd name="connsiteY1024" fmla="*/ 121320 h 903637"/>
                  <a:gd name="connsiteX1025" fmla="*/ 1125381 w 1687454"/>
                  <a:gd name="connsiteY1025" fmla="*/ 122466 h 903637"/>
                  <a:gd name="connsiteX1026" fmla="*/ 1111980 w 1687454"/>
                  <a:gd name="connsiteY1026" fmla="*/ 121320 h 903637"/>
                  <a:gd name="connsiteX1027" fmla="*/ 1100606 w 1687454"/>
                  <a:gd name="connsiteY1027" fmla="*/ 123083 h 903637"/>
                  <a:gd name="connsiteX1028" fmla="*/ 1100606 w 1687454"/>
                  <a:gd name="connsiteY1028" fmla="*/ 122201 h 903637"/>
                  <a:gd name="connsiteX1029" fmla="*/ 1107571 w 1687454"/>
                  <a:gd name="connsiteY1029" fmla="*/ 121055 h 903637"/>
                  <a:gd name="connsiteX1030" fmla="*/ 1097608 w 1687454"/>
                  <a:gd name="connsiteY1030" fmla="*/ 120174 h 903637"/>
                  <a:gd name="connsiteX1031" fmla="*/ 1097344 w 1687454"/>
                  <a:gd name="connsiteY1031" fmla="*/ 117793 h 903637"/>
                  <a:gd name="connsiteX1032" fmla="*/ 1103427 w 1687454"/>
                  <a:gd name="connsiteY1032" fmla="*/ 117176 h 903637"/>
                  <a:gd name="connsiteX1033" fmla="*/ 1105191 w 1687454"/>
                  <a:gd name="connsiteY1033" fmla="*/ 116030 h 903637"/>
                  <a:gd name="connsiteX1034" fmla="*/ 1099636 w 1687454"/>
                  <a:gd name="connsiteY1034" fmla="*/ 116911 h 903637"/>
                  <a:gd name="connsiteX1035" fmla="*/ 1088262 w 1687454"/>
                  <a:gd name="connsiteY1035" fmla="*/ 113385 h 903637"/>
                  <a:gd name="connsiteX1036" fmla="*/ 1091436 w 1687454"/>
                  <a:gd name="connsiteY1036" fmla="*/ 111886 h 903637"/>
                  <a:gd name="connsiteX1037" fmla="*/ 1094963 w 1687454"/>
                  <a:gd name="connsiteY1037" fmla="*/ 112767 h 903637"/>
                  <a:gd name="connsiteX1038" fmla="*/ 1096109 w 1687454"/>
                  <a:gd name="connsiteY1038" fmla="*/ 108976 h 903637"/>
                  <a:gd name="connsiteX1039" fmla="*/ 1112773 w 1687454"/>
                  <a:gd name="connsiteY1039" fmla="*/ 107213 h 903637"/>
                  <a:gd name="connsiteX1040" fmla="*/ 1127321 w 1687454"/>
                  <a:gd name="connsiteY1040" fmla="*/ 108712 h 903637"/>
                  <a:gd name="connsiteX1041" fmla="*/ 1137549 w 1687454"/>
                  <a:gd name="connsiteY1041" fmla="*/ 110122 h 903637"/>
                  <a:gd name="connsiteX1042" fmla="*/ 1139841 w 1687454"/>
                  <a:gd name="connsiteY1042" fmla="*/ 114178 h 903637"/>
                  <a:gd name="connsiteX1043" fmla="*/ 1130760 w 1687454"/>
                  <a:gd name="connsiteY1043" fmla="*/ 119116 h 903637"/>
                  <a:gd name="connsiteX1044" fmla="*/ 1141604 w 1687454"/>
                  <a:gd name="connsiteY1044" fmla="*/ 115324 h 903637"/>
                  <a:gd name="connsiteX1045" fmla="*/ 1166379 w 1687454"/>
                  <a:gd name="connsiteY1045" fmla="*/ 113561 h 903637"/>
                  <a:gd name="connsiteX1046" fmla="*/ 1174844 w 1687454"/>
                  <a:gd name="connsiteY1046" fmla="*/ 114707 h 903637"/>
                  <a:gd name="connsiteX1047" fmla="*/ 1176872 w 1687454"/>
                  <a:gd name="connsiteY1047" fmla="*/ 117617 h 903637"/>
                  <a:gd name="connsiteX1048" fmla="*/ 1162324 w 1687454"/>
                  <a:gd name="connsiteY1048" fmla="*/ 117352 h 903637"/>
                  <a:gd name="connsiteX1049" fmla="*/ 1190626 w 1687454"/>
                  <a:gd name="connsiteY1049" fmla="*/ 122907 h 903637"/>
                  <a:gd name="connsiteX1050" fmla="*/ 1167261 w 1687454"/>
                  <a:gd name="connsiteY1050" fmla="*/ 123524 h 903637"/>
                  <a:gd name="connsiteX1051" fmla="*/ 1157651 w 1687454"/>
                  <a:gd name="connsiteY1051" fmla="*/ 122378 h 903637"/>
                  <a:gd name="connsiteX1052" fmla="*/ 1157034 w 1687454"/>
                  <a:gd name="connsiteY1052" fmla="*/ 123524 h 903637"/>
                  <a:gd name="connsiteX1053" fmla="*/ 1172816 w 1687454"/>
                  <a:gd name="connsiteY1053" fmla="*/ 125287 h 903637"/>
                  <a:gd name="connsiteX1054" fmla="*/ 1159679 w 1687454"/>
                  <a:gd name="connsiteY1054" fmla="*/ 126786 h 903637"/>
                  <a:gd name="connsiteX1055" fmla="*/ 1155887 w 1687454"/>
                  <a:gd name="connsiteY1055" fmla="*/ 129960 h 903637"/>
                  <a:gd name="connsiteX1056" fmla="*/ 1163205 w 1687454"/>
                  <a:gd name="connsiteY1056" fmla="*/ 127315 h 903637"/>
                  <a:gd name="connsiteX1057" fmla="*/ 1176960 w 1687454"/>
                  <a:gd name="connsiteY1057" fmla="*/ 128197 h 903637"/>
                  <a:gd name="connsiteX1058" fmla="*/ 1174315 w 1687454"/>
                  <a:gd name="connsiteY1058" fmla="*/ 130842 h 903637"/>
                  <a:gd name="connsiteX1059" fmla="*/ 1180134 w 1687454"/>
                  <a:gd name="connsiteY1059" fmla="*/ 129872 h 903637"/>
                  <a:gd name="connsiteX1060" fmla="*/ 1179517 w 1687454"/>
                  <a:gd name="connsiteY1060" fmla="*/ 133663 h 903637"/>
                  <a:gd name="connsiteX1061" fmla="*/ 1171934 w 1687454"/>
                  <a:gd name="connsiteY1061" fmla="*/ 134545 h 903637"/>
                  <a:gd name="connsiteX1062" fmla="*/ 1178106 w 1687454"/>
                  <a:gd name="connsiteY1062" fmla="*/ 134809 h 903637"/>
                  <a:gd name="connsiteX1063" fmla="*/ 1182426 w 1687454"/>
                  <a:gd name="connsiteY1063" fmla="*/ 137719 h 903637"/>
                  <a:gd name="connsiteX1064" fmla="*/ 1189127 w 1687454"/>
                  <a:gd name="connsiteY1064" fmla="*/ 133311 h 903637"/>
                  <a:gd name="connsiteX1065" fmla="*/ 1192654 w 1687454"/>
                  <a:gd name="connsiteY1065" fmla="*/ 136485 h 903637"/>
                  <a:gd name="connsiteX1066" fmla="*/ 1200236 w 1687454"/>
                  <a:gd name="connsiteY1066" fmla="*/ 135074 h 903637"/>
                  <a:gd name="connsiteX1067" fmla="*/ 1200501 w 1687454"/>
                  <a:gd name="connsiteY1067" fmla="*/ 137102 h 903637"/>
                  <a:gd name="connsiteX1068" fmla="*/ 1208965 w 1687454"/>
                  <a:gd name="connsiteY1068" fmla="*/ 134192 h 903637"/>
                  <a:gd name="connsiteX1069" fmla="*/ 1216283 w 1687454"/>
                  <a:gd name="connsiteY1069" fmla="*/ 137719 h 903637"/>
                  <a:gd name="connsiteX1070" fmla="*/ 1213990 w 1687454"/>
                  <a:gd name="connsiteY1070" fmla="*/ 139218 h 903637"/>
                  <a:gd name="connsiteX1071" fmla="*/ 1229773 w 1687454"/>
                  <a:gd name="connsiteY1071" fmla="*/ 137719 h 903637"/>
                  <a:gd name="connsiteX1072" fmla="*/ 1224218 w 1687454"/>
                  <a:gd name="connsiteY1072" fmla="*/ 135956 h 903637"/>
                  <a:gd name="connsiteX1073" fmla="*/ 1244320 w 1687454"/>
                  <a:gd name="connsiteY1073" fmla="*/ 133311 h 903637"/>
                  <a:gd name="connsiteX1074" fmla="*/ 1251286 w 1687454"/>
                  <a:gd name="connsiteY1074" fmla="*/ 133311 h 903637"/>
                  <a:gd name="connsiteX1075" fmla="*/ 1264158 w 1687454"/>
                  <a:gd name="connsiteY1075" fmla="*/ 130137 h 903637"/>
                  <a:gd name="connsiteX1076" fmla="*/ 1273768 w 1687454"/>
                  <a:gd name="connsiteY1076" fmla="*/ 131547 h 903637"/>
                  <a:gd name="connsiteX1077" fmla="*/ 1286906 w 1687454"/>
                  <a:gd name="connsiteY1077" fmla="*/ 130137 h 903637"/>
                  <a:gd name="connsiteX1078" fmla="*/ 1303481 w 1687454"/>
                  <a:gd name="connsiteY1078" fmla="*/ 131900 h 903637"/>
                  <a:gd name="connsiteX1079" fmla="*/ 1299426 w 1687454"/>
                  <a:gd name="connsiteY1079" fmla="*/ 134192 h 903637"/>
                  <a:gd name="connsiteX1080" fmla="*/ 1313444 w 1687454"/>
                  <a:gd name="connsiteY1080" fmla="*/ 134192 h 903637"/>
                  <a:gd name="connsiteX1081" fmla="*/ 1315825 w 1687454"/>
                  <a:gd name="connsiteY1081" fmla="*/ 135956 h 903637"/>
                  <a:gd name="connsiteX1082" fmla="*/ 1308507 w 1687454"/>
                  <a:gd name="connsiteY1082" fmla="*/ 137719 h 903637"/>
                  <a:gd name="connsiteX1083" fmla="*/ 1318999 w 1687454"/>
                  <a:gd name="connsiteY1083" fmla="*/ 137102 h 903637"/>
                  <a:gd name="connsiteX1084" fmla="*/ 1316089 w 1687454"/>
                  <a:gd name="connsiteY1084" fmla="*/ 142304 h 903637"/>
                  <a:gd name="connsiteX1085" fmla="*/ 1301806 w 1687454"/>
                  <a:gd name="connsiteY1085" fmla="*/ 145831 h 903637"/>
                  <a:gd name="connsiteX1086" fmla="*/ 1311681 w 1687454"/>
                  <a:gd name="connsiteY1086" fmla="*/ 146095 h 903637"/>
                  <a:gd name="connsiteX1087" fmla="*/ 1313973 w 1687454"/>
                  <a:gd name="connsiteY1087" fmla="*/ 148740 h 903637"/>
                  <a:gd name="connsiteX1088" fmla="*/ 1304980 w 1687454"/>
                  <a:gd name="connsiteY1088" fmla="*/ 149886 h 903637"/>
                  <a:gd name="connsiteX1089" fmla="*/ 1297662 w 1687454"/>
                  <a:gd name="connsiteY1089" fmla="*/ 148740 h 903637"/>
                  <a:gd name="connsiteX1090" fmla="*/ 1295282 w 1687454"/>
                  <a:gd name="connsiteY1090" fmla="*/ 154559 h 903637"/>
                  <a:gd name="connsiteX1091" fmla="*/ 1282145 w 1687454"/>
                  <a:gd name="connsiteY1091" fmla="*/ 154824 h 903637"/>
                  <a:gd name="connsiteX1092" fmla="*/ 1263453 w 1687454"/>
                  <a:gd name="connsiteY1092" fmla="*/ 156323 h 903637"/>
                  <a:gd name="connsiteX1093" fmla="*/ 1253225 w 1687454"/>
                  <a:gd name="connsiteY1093" fmla="*/ 153677 h 903637"/>
                  <a:gd name="connsiteX1094" fmla="*/ 1254989 w 1687454"/>
                  <a:gd name="connsiteY1094" fmla="*/ 150151 h 903637"/>
                  <a:gd name="connsiteX1095" fmla="*/ 1249699 w 1687454"/>
                  <a:gd name="connsiteY1095" fmla="*/ 148387 h 903637"/>
                  <a:gd name="connsiteX1096" fmla="*/ 1250580 w 1687454"/>
                  <a:gd name="connsiteY1096" fmla="*/ 150680 h 903637"/>
                  <a:gd name="connsiteX1097" fmla="*/ 1245026 w 1687454"/>
                  <a:gd name="connsiteY1097" fmla="*/ 154471 h 903637"/>
                  <a:gd name="connsiteX1098" fmla="*/ 1223160 w 1687454"/>
                  <a:gd name="connsiteY1098" fmla="*/ 155970 h 903637"/>
                  <a:gd name="connsiteX1099" fmla="*/ 1223424 w 1687454"/>
                  <a:gd name="connsiteY1099" fmla="*/ 153060 h 903637"/>
                  <a:gd name="connsiteX1100" fmla="*/ 1216724 w 1687454"/>
                  <a:gd name="connsiteY1100" fmla="*/ 155705 h 903637"/>
                  <a:gd name="connsiteX1101" fmla="*/ 1217341 w 1687454"/>
                  <a:gd name="connsiteY1101" fmla="*/ 152531 h 903637"/>
                  <a:gd name="connsiteX1102" fmla="*/ 1212051 w 1687454"/>
                  <a:gd name="connsiteY1102" fmla="*/ 156058 h 903637"/>
                  <a:gd name="connsiteX1103" fmla="*/ 1205967 w 1687454"/>
                  <a:gd name="connsiteY1103" fmla="*/ 156058 h 903637"/>
                  <a:gd name="connsiteX1104" fmla="*/ 1204821 w 1687454"/>
                  <a:gd name="connsiteY1104" fmla="*/ 154295 h 903637"/>
                  <a:gd name="connsiteX1105" fmla="*/ 1200412 w 1687454"/>
                  <a:gd name="connsiteY1105" fmla="*/ 156058 h 903637"/>
                  <a:gd name="connsiteX1106" fmla="*/ 1196798 w 1687454"/>
                  <a:gd name="connsiteY1106" fmla="*/ 154383 h 903637"/>
                  <a:gd name="connsiteX1107" fmla="*/ 569656 w 1687454"/>
                  <a:gd name="connsiteY1107" fmla="*/ 229590 h 903637"/>
                  <a:gd name="connsiteX1108" fmla="*/ 563837 w 1687454"/>
                  <a:gd name="connsiteY1108" fmla="*/ 229855 h 903637"/>
                  <a:gd name="connsiteX1109" fmla="*/ 564983 w 1687454"/>
                  <a:gd name="connsiteY1109" fmla="*/ 217864 h 903637"/>
                  <a:gd name="connsiteX1110" fmla="*/ 552992 w 1687454"/>
                  <a:gd name="connsiteY1110" fmla="*/ 211780 h 903637"/>
                  <a:gd name="connsiteX1111" fmla="*/ 543999 w 1687454"/>
                  <a:gd name="connsiteY1111" fmla="*/ 211516 h 903637"/>
                  <a:gd name="connsiteX1112" fmla="*/ 548055 w 1687454"/>
                  <a:gd name="connsiteY1112" fmla="*/ 208871 h 903637"/>
                  <a:gd name="connsiteX1113" fmla="*/ 571067 w 1687454"/>
                  <a:gd name="connsiteY1113" fmla="*/ 199261 h 903637"/>
                  <a:gd name="connsiteX1114" fmla="*/ 577238 w 1687454"/>
                  <a:gd name="connsiteY1114" fmla="*/ 193706 h 903637"/>
                  <a:gd name="connsiteX1115" fmla="*/ 587466 w 1687454"/>
                  <a:gd name="connsiteY1115" fmla="*/ 191414 h 903637"/>
                  <a:gd name="connsiteX1116" fmla="*/ 583939 w 1687454"/>
                  <a:gd name="connsiteY1116" fmla="*/ 189915 h 903637"/>
                  <a:gd name="connsiteX1117" fmla="*/ 616914 w 1687454"/>
                  <a:gd name="connsiteY1117" fmla="*/ 175631 h 903637"/>
                  <a:gd name="connsiteX1118" fmla="*/ 618942 w 1687454"/>
                  <a:gd name="connsiteY1118" fmla="*/ 164875 h 903637"/>
                  <a:gd name="connsiteX1119" fmla="*/ 673518 w 1687454"/>
                  <a:gd name="connsiteY1119" fmla="*/ 160819 h 903637"/>
                  <a:gd name="connsiteX1120" fmla="*/ 690447 w 1687454"/>
                  <a:gd name="connsiteY1120" fmla="*/ 166374 h 903637"/>
                  <a:gd name="connsiteX1121" fmla="*/ 684363 w 1687454"/>
                  <a:gd name="connsiteY1121" fmla="*/ 170782 h 903637"/>
                  <a:gd name="connsiteX1122" fmla="*/ 692827 w 1687454"/>
                  <a:gd name="connsiteY1122" fmla="*/ 167255 h 903637"/>
                  <a:gd name="connsiteX1123" fmla="*/ 697765 w 1687454"/>
                  <a:gd name="connsiteY1123" fmla="*/ 167255 h 903637"/>
                  <a:gd name="connsiteX1124" fmla="*/ 693709 w 1687454"/>
                  <a:gd name="connsiteY1124" fmla="*/ 171047 h 903637"/>
                  <a:gd name="connsiteX1125" fmla="*/ 703936 w 1687454"/>
                  <a:gd name="connsiteY1125" fmla="*/ 167255 h 903637"/>
                  <a:gd name="connsiteX1126" fmla="*/ 721129 w 1687454"/>
                  <a:gd name="connsiteY1126" fmla="*/ 166109 h 903637"/>
                  <a:gd name="connsiteX1127" fmla="*/ 730739 w 1687454"/>
                  <a:gd name="connsiteY1127" fmla="*/ 169283 h 903637"/>
                  <a:gd name="connsiteX1128" fmla="*/ 737793 w 1687454"/>
                  <a:gd name="connsiteY1128" fmla="*/ 182156 h 903637"/>
                  <a:gd name="connsiteX1129" fmla="*/ 663114 w 1687454"/>
                  <a:gd name="connsiteY1129" fmla="*/ 198203 h 903637"/>
                  <a:gd name="connsiteX1130" fmla="*/ 645657 w 1687454"/>
                  <a:gd name="connsiteY1130" fmla="*/ 205785 h 903637"/>
                  <a:gd name="connsiteX1131" fmla="*/ 635429 w 1687454"/>
                  <a:gd name="connsiteY1131" fmla="*/ 206931 h 903637"/>
                  <a:gd name="connsiteX1132" fmla="*/ 633402 w 1687454"/>
                  <a:gd name="connsiteY1132" fmla="*/ 209576 h 903637"/>
                  <a:gd name="connsiteX1133" fmla="*/ 627847 w 1687454"/>
                  <a:gd name="connsiteY1133" fmla="*/ 211340 h 903637"/>
                  <a:gd name="connsiteX1134" fmla="*/ 616209 w 1687454"/>
                  <a:gd name="connsiteY1134" fmla="*/ 220068 h 903637"/>
                  <a:gd name="connsiteX1135" fmla="*/ 598134 w 1687454"/>
                  <a:gd name="connsiteY1135" fmla="*/ 223595 h 903637"/>
                  <a:gd name="connsiteX1136" fmla="*/ 596106 w 1687454"/>
                  <a:gd name="connsiteY1136" fmla="*/ 222096 h 903637"/>
                  <a:gd name="connsiteX1137" fmla="*/ 569656 w 1687454"/>
                  <a:gd name="connsiteY1137" fmla="*/ 229590 h 903637"/>
                  <a:gd name="connsiteX1138" fmla="*/ 1041886 w 1687454"/>
                  <a:gd name="connsiteY1138" fmla="*/ 202523 h 903637"/>
                  <a:gd name="connsiteX1139" fmla="*/ 1034039 w 1687454"/>
                  <a:gd name="connsiteY1139" fmla="*/ 206579 h 903637"/>
                  <a:gd name="connsiteX1140" fmla="*/ 1018609 w 1687454"/>
                  <a:gd name="connsiteY1140" fmla="*/ 204815 h 903637"/>
                  <a:gd name="connsiteX1141" fmla="*/ 1024164 w 1687454"/>
                  <a:gd name="connsiteY1141" fmla="*/ 190532 h 903637"/>
                  <a:gd name="connsiteX1142" fmla="*/ 1045765 w 1687454"/>
                  <a:gd name="connsiteY1142" fmla="*/ 172457 h 903637"/>
                  <a:gd name="connsiteX1143" fmla="*/ 1053083 w 1687454"/>
                  <a:gd name="connsiteY1143" fmla="*/ 173339 h 903637"/>
                  <a:gd name="connsiteX1144" fmla="*/ 1053083 w 1687454"/>
                  <a:gd name="connsiteY1144" fmla="*/ 166903 h 903637"/>
                  <a:gd name="connsiteX1145" fmla="*/ 1084295 w 1687454"/>
                  <a:gd name="connsiteY1145" fmla="*/ 163993 h 903637"/>
                  <a:gd name="connsiteX1146" fmla="*/ 1099724 w 1687454"/>
                  <a:gd name="connsiteY1146" fmla="*/ 167784 h 903637"/>
                  <a:gd name="connsiteX1147" fmla="*/ 1125117 w 1687454"/>
                  <a:gd name="connsiteY1147" fmla="*/ 170165 h 903637"/>
                  <a:gd name="connsiteX1148" fmla="*/ 1096550 w 1687454"/>
                  <a:gd name="connsiteY1148" fmla="*/ 182685 h 903637"/>
                  <a:gd name="connsiteX1149" fmla="*/ 1075831 w 1687454"/>
                  <a:gd name="connsiteY1149" fmla="*/ 193177 h 903637"/>
                  <a:gd name="connsiteX1150" fmla="*/ 1051584 w 1687454"/>
                  <a:gd name="connsiteY1150" fmla="*/ 192824 h 903637"/>
                  <a:gd name="connsiteX1151" fmla="*/ 1041886 w 1687454"/>
                  <a:gd name="connsiteY1151" fmla="*/ 202523 h 903637"/>
                  <a:gd name="connsiteX1152" fmla="*/ 882036 w 1687454"/>
                  <a:gd name="connsiteY1152" fmla="*/ 189033 h 903637"/>
                  <a:gd name="connsiteX1153" fmla="*/ 879656 w 1687454"/>
                  <a:gd name="connsiteY1153" fmla="*/ 190444 h 903637"/>
                  <a:gd name="connsiteX1154" fmla="*/ 878510 w 1687454"/>
                  <a:gd name="connsiteY1154" fmla="*/ 190179 h 903637"/>
                  <a:gd name="connsiteX1155" fmla="*/ 874983 w 1687454"/>
                  <a:gd name="connsiteY1155" fmla="*/ 184360 h 903637"/>
                  <a:gd name="connsiteX1156" fmla="*/ 873484 w 1687454"/>
                  <a:gd name="connsiteY1156" fmla="*/ 183478 h 903637"/>
                  <a:gd name="connsiteX1157" fmla="*/ 871985 w 1687454"/>
                  <a:gd name="connsiteY1157" fmla="*/ 180304 h 903637"/>
                  <a:gd name="connsiteX1158" fmla="*/ 868811 w 1687454"/>
                  <a:gd name="connsiteY1158" fmla="*/ 178894 h 903637"/>
                  <a:gd name="connsiteX1159" fmla="*/ 864755 w 1687454"/>
                  <a:gd name="connsiteY1159" fmla="*/ 178276 h 903637"/>
                  <a:gd name="connsiteX1160" fmla="*/ 874101 w 1687454"/>
                  <a:gd name="connsiteY1160" fmla="*/ 174221 h 903637"/>
                  <a:gd name="connsiteX1161" fmla="*/ 895438 w 1687454"/>
                  <a:gd name="connsiteY1161" fmla="*/ 172193 h 903637"/>
                  <a:gd name="connsiteX1162" fmla="*/ 900375 w 1687454"/>
                  <a:gd name="connsiteY1162" fmla="*/ 172810 h 903637"/>
                  <a:gd name="connsiteX1163" fmla="*/ 901874 w 1687454"/>
                  <a:gd name="connsiteY1163" fmla="*/ 173956 h 903637"/>
                  <a:gd name="connsiteX1164" fmla="*/ 903902 w 1687454"/>
                  <a:gd name="connsiteY1164" fmla="*/ 175102 h 903637"/>
                  <a:gd name="connsiteX1165" fmla="*/ 906283 w 1687454"/>
                  <a:gd name="connsiteY1165" fmla="*/ 175367 h 903637"/>
                  <a:gd name="connsiteX1166" fmla="*/ 900111 w 1687454"/>
                  <a:gd name="connsiteY1166" fmla="*/ 181451 h 903637"/>
                  <a:gd name="connsiteX1167" fmla="*/ 890236 w 1687454"/>
                  <a:gd name="connsiteY1167" fmla="*/ 185859 h 903637"/>
                  <a:gd name="connsiteX1168" fmla="*/ 886445 w 1687454"/>
                  <a:gd name="connsiteY1168" fmla="*/ 187622 h 903637"/>
                  <a:gd name="connsiteX1169" fmla="*/ 882036 w 1687454"/>
                  <a:gd name="connsiteY1169" fmla="*/ 189033 h 903637"/>
                  <a:gd name="connsiteX1170" fmla="*/ 1271741 w 1687454"/>
                  <a:gd name="connsiteY1170" fmla="*/ 190267 h 903637"/>
                  <a:gd name="connsiteX1171" fmla="*/ 1267949 w 1687454"/>
                  <a:gd name="connsiteY1171" fmla="*/ 190532 h 903637"/>
                  <a:gd name="connsiteX1172" fmla="*/ 1264158 w 1687454"/>
                  <a:gd name="connsiteY1172" fmla="*/ 190003 h 903637"/>
                  <a:gd name="connsiteX1173" fmla="*/ 1261249 w 1687454"/>
                  <a:gd name="connsiteY1173" fmla="*/ 188240 h 903637"/>
                  <a:gd name="connsiteX1174" fmla="*/ 1260367 w 1687454"/>
                  <a:gd name="connsiteY1174" fmla="*/ 185594 h 903637"/>
                  <a:gd name="connsiteX1175" fmla="*/ 1263541 w 1687454"/>
                  <a:gd name="connsiteY1175" fmla="*/ 181539 h 903637"/>
                  <a:gd name="connsiteX1176" fmla="*/ 1263276 w 1687454"/>
                  <a:gd name="connsiteY1176" fmla="*/ 180922 h 903637"/>
                  <a:gd name="connsiteX1177" fmla="*/ 1257722 w 1687454"/>
                  <a:gd name="connsiteY1177" fmla="*/ 180657 h 903637"/>
                  <a:gd name="connsiteX1178" fmla="*/ 1256311 w 1687454"/>
                  <a:gd name="connsiteY1178" fmla="*/ 180128 h 903637"/>
                  <a:gd name="connsiteX1179" fmla="*/ 1255430 w 1687454"/>
                  <a:gd name="connsiteY1179" fmla="*/ 178629 h 903637"/>
                  <a:gd name="connsiteX1180" fmla="*/ 1261513 w 1687454"/>
                  <a:gd name="connsiteY1180" fmla="*/ 172810 h 903637"/>
                  <a:gd name="connsiteX1181" fmla="*/ 1265569 w 1687454"/>
                  <a:gd name="connsiteY1181" fmla="*/ 170518 h 903637"/>
                  <a:gd name="connsiteX1182" fmla="*/ 1271124 w 1687454"/>
                  <a:gd name="connsiteY1182" fmla="*/ 170518 h 903637"/>
                  <a:gd name="connsiteX1183" fmla="*/ 1271741 w 1687454"/>
                  <a:gd name="connsiteY1183" fmla="*/ 171399 h 903637"/>
                  <a:gd name="connsiteX1184" fmla="*/ 1275796 w 1687454"/>
                  <a:gd name="connsiteY1184" fmla="*/ 171399 h 903637"/>
                  <a:gd name="connsiteX1185" fmla="*/ 1275532 w 1687454"/>
                  <a:gd name="connsiteY1185" fmla="*/ 171664 h 903637"/>
                  <a:gd name="connsiteX1186" fmla="*/ 1281087 w 1687454"/>
                  <a:gd name="connsiteY1186" fmla="*/ 172546 h 903637"/>
                  <a:gd name="connsiteX1187" fmla="*/ 1283996 w 1687454"/>
                  <a:gd name="connsiteY1187" fmla="*/ 173427 h 903637"/>
                  <a:gd name="connsiteX1188" fmla="*/ 1291579 w 1687454"/>
                  <a:gd name="connsiteY1188" fmla="*/ 172281 h 903637"/>
                  <a:gd name="connsiteX1189" fmla="*/ 1301189 w 1687454"/>
                  <a:gd name="connsiteY1189" fmla="*/ 172281 h 903637"/>
                  <a:gd name="connsiteX1190" fmla="*/ 1311417 w 1687454"/>
                  <a:gd name="connsiteY1190" fmla="*/ 174926 h 903637"/>
                  <a:gd name="connsiteX1191" fmla="*/ 1314062 w 1687454"/>
                  <a:gd name="connsiteY1191" fmla="*/ 177219 h 903637"/>
                  <a:gd name="connsiteX1192" fmla="*/ 1313797 w 1687454"/>
                  <a:gd name="connsiteY1192" fmla="*/ 178365 h 903637"/>
                  <a:gd name="connsiteX1193" fmla="*/ 1317853 w 1687454"/>
                  <a:gd name="connsiteY1193" fmla="*/ 179511 h 903637"/>
                  <a:gd name="connsiteX1194" fmla="*/ 1317853 w 1687454"/>
                  <a:gd name="connsiteY1194" fmla="*/ 181010 h 903637"/>
                  <a:gd name="connsiteX1195" fmla="*/ 1318734 w 1687454"/>
                  <a:gd name="connsiteY1195" fmla="*/ 181627 h 903637"/>
                  <a:gd name="connsiteX1196" fmla="*/ 1316354 w 1687454"/>
                  <a:gd name="connsiteY1196" fmla="*/ 182773 h 903637"/>
                  <a:gd name="connsiteX1197" fmla="*/ 1320145 w 1687454"/>
                  <a:gd name="connsiteY1197" fmla="*/ 183919 h 903637"/>
                  <a:gd name="connsiteX1198" fmla="*/ 1318117 w 1687454"/>
                  <a:gd name="connsiteY1198" fmla="*/ 186300 h 903637"/>
                  <a:gd name="connsiteX1199" fmla="*/ 1321027 w 1687454"/>
                  <a:gd name="connsiteY1199" fmla="*/ 187182 h 903637"/>
                  <a:gd name="connsiteX1200" fmla="*/ 1319263 w 1687454"/>
                  <a:gd name="connsiteY1200" fmla="*/ 188328 h 903637"/>
                  <a:gd name="connsiteX1201" fmla="*/ 1307008 w 1687454"/>
                  <a:gd name="connsiteY1201" fmla="*/ 188592 h 903637"/>
                  <a:gd name="connsiteX1202" fmla="*/ 1292460 w 1687454"/>
                  <a:gd name="connsiteY1202" fmla="*/ 187093 h 903637"/>
                  <a:gd name="connsiteX1203" fmla="*/ 1281968 w 1687454"/>
                  <a:gd name="connsiteY1203" fmla="*/ 188240 h 903637"/>
                  <a:gd name="connsiteX1204" fmla="*/ 1277560 w 1687454"/>
                  <a:gd name="connsiteY1204" fmla="*/ 188769 h 903637"/>
                  <a:gd name="connsiteX1205" fmla="*/ 1271741 w 1687454"/>
                  <a:gd name="connsiteY1205" fmla="*/ 190267 h 903637"/>
                  <a:gd name="connsiteX1206" fmla="*/ 962887 w 1687454"/>
                  <a:gd name="connsiteY1206" fmla="*/ 220597 h 903637"/>
                  <a:gd name="connsiteX1207" fmla="*/ 947105 w 1687454"/>
                  <a:gd name="connsiteY1207" fmla="*/ 225270 h 903637"/>
                  <a:gd name="connsiteX1208" fmla="*/ 945077 w 1687454"/>
                  <a:gd name="connsiteY1208" fmla="*/ 223242 h 903637"/>
                  <a:gd name="connsiteX1209" fmla="*/ 941021 w 1687454"/>
                  <a:gd name="connsiteY1209" fmla="*/ 223771 h 903637"/>
                  <a:gd name="connsiteX1210" fmla="*/ 941021 w 1687454"/>
                  <a:gd name="connsiteY1210" fmla="*/ 212662 h 903637"/>
                  <a:gd name="connsiteX1211" fmla="*/ 935466 w 1687454"/>
                  <a:gd name="connsiteY1211" fmla="*/ 207108 h 903637"/>
                  <a:gd name="connsiteX1212" fmla="*/ 931411 w 1687454"/>
                  <a:gd name="connsiteY1212" fmla="*/ 206490 h 903637"/>
                  <a:gd name="connsiteX1213" fmla="*/ 920301 w 1687454"/>
                  <a:gd name="connsiteY1213" fmla="*/ 204463 h 903637"/>
                  <a:gd name="connsiteX1214" fmla="*/ 912454 w 1687454"/>
                  <a:gd name="connsiteY1214" fmla="*/ 197497 h 903637"/>
                  <a:gd name="connsiteX1215" fmla="*/ 921800 w 1687454"/>
                  <a:gd name="connsiteY1215" fmla="*/ 189915 h 903637"/>
                  <a:gd name="connsiteX1216" fmla="*/ 929118 w 1687454"/>
                  <a:gd name="connsiteY1216" fmla="*/ 188151 h 903637"/>
                  <a:gd name="connsiteX1217" fmla="*/ 937318 w 1687454"/>
                  <a:gd name="connsiteY1217" fmla="*/ 195734 h 903637"/>
                  <a:gd name="connsiteX1218" fmla="*/ 951072 w 1687454"/>
                  <a:gd name="connsiteY1218" fmla="*/ 194235 h 903637"/>
                  <a:gd name="connsiteX1219" fmla="*/ 960065 w 1687454"/>
                  <a:gd name="connsiteY1219" fmla="*/ 186917 h 903637"/>
                  <a:gd name="connsiteX1220" fmla="*/ 963857 w 1687454"/>
                  <a:gd name="connsiteY1220" fmla="*/ 183390 h 903637"/>
                  <a:gd name="connsiteX1221" fmla="*/ 969147 w 1687454"/>
                  <a:gd name="connsiteY1221" fmla="*/ 183390 h 903637"/>
                  <a:gd name="connsiteX1222" fmla="*/ 963063 w 1687454"/>
                  <a:gd name="connsiteY1222" fmla="*/ 180745 h 903637"/>
                  <a:gd name="connsiteX1223" fmla="*/ 953982 w 1687454"/>
                  <a:gd name="connsiteY1223" fmla="*/ 182509 h 903637"/>
                  <a:gd name="connsiteX1224" fmla="*/ 956010 w 1687454"/>
                  <a:gd name="connsiteY1224" fmla="*/ 176072 h 903637"/>
                  <a:gd name="connsiteX1225" fmla="*/ 964474 w 1687454"/>
                  <a:gd name="connsiteY1225" fmla="*/ 177836 h 903637"/>
                  <a:gd name="connsiteX1226" fmla="*/ 957509 w 1687454"/>
                  <a:gd name="connsiteY1226" fmla="*/ 172898 h 903637"/>
                  <a:gd name="connsiteX1227" fmla="*/ 961035 w 1687454"/>
                  <a:gd name="connsiteY1227" fmla="*/ 170518 h 903637"/>
                  <a:gd name="connsiteX1228" fmla="*/ 977346 w 1687454"/>
                  <a:gd name="connsiteY1228" fmla="*/ 170518 h 903637"/>
                  <a:gd name="connsiteX1229" fmla="*/ 979727 w 1687454"/>
                  <a:gd name="connsiteY1229" fmla="*/ 169019 h 903637"/>
                  <a:gd name="connsiteX1230" fmla="*/ 990572 w 1687454"/>
                  <a:gd name="connsiteY1230" fmla="*/ 171928 h 903637"/>
                  <a:gd name="connsiteX1231" fmla="*/ 1018257 w 1687454"/>
                  <a:gd name="connsiteY1231" fmla="*/ 167520 h 903637"/>
                  <a:gd name="connsiteX1232" fmla="*/ 1025222 w 1687454"/>
                  <a:gd name="connsiteY1232" fmla="*/ 168137 h 903637"/>
                  <a:gd name="connsiteX1233" fmla="*/ 1023459 w 1687454"/>
                  <a:gd name="connsiteY1233" fmla="*/ 173075 h 903637"/>
                  <a:gd name="connsiteX1234" fmla="*/ 1010586 w 1687454"/>
                  <a:gd name="connsiteY1234" fmla="*/ 175367 h 903637"/>
                  <a:gd name="connsiteX1235" fmla="*/ 1010321 w 1687454"/>
                  <a:gd name="connsiteY1235" fmla="*/ 177130 h 903637"/>
                  <a:gd name="connsiteX1236" fmla="*/ 1017022 w 1687454"/>
                  <a:gd name="connsiteY1236" fmla="*/ 177130 h 903637"/>
                  <a:gd name="connsiteX1237" fmla="*/ 1015259 w 1687454"/>
                  <a:gd name="connsiteY1237" fmla="*/ 179158 h 903637"/>
                  <a:gd name="connsiteX1238" fmla="*/ 988456 w 1687454"/>
                  <a:gd name="connsiteY1238" fmla="*/ 186741 h 903637"/>
                  <a:gd name="connsiteX1239" fmla="*/ 987045 w 1687454"/>
                  <a:gd name="connsiteY1239" fmla="*/ 188504 h 903637"/>
                  <a:gd name="connsiteX1240" fmla="*/ 996391 w 1687454"/>
                  <a:gd name="connsiteY1240" fmla="*/ 186476 h 903637"/>
                  <a:gd name="connsiteX1241" fmla="*/ 1006001 w 1687454"/>
                  <a:gd name="connsiteY1241" fmla="*/ 187975 h 903637"/>
                  <a:gd name="connsiteX1242" fmla="*/ 1001945 w 1687454"/>
                  <a:gd name="connsiteY1242" fmla="*/ 195822 h 903637"/>
                  <a:gd name="connsiteX1243" fmla="*/ 1013319 w 1687454"/>
                  <a:gd name="connsiteY1243" fmla="*/ 194059 h 903637"/>
                  <a:gd name="connsiteX1244" fmla="*/ 994980 w 1687454"/>
                  <a:gd name="connsiteY1244" fmla="*/ 210987 h 903637"/>
                  <a:gd name="connsiteX1245" fmla="*/ 998771 w 1687454"/>
                  <a:gd name="connsiteY1245" fmla="*/ 210634 h 903637"/>
                  <a:gd name="connsiteX1246" fmla="*/ 989161 w 1687454"/>
                  <a:gd name="connsiteY1246" fmla="*/ 213279 h 903637"/>
                  <a:gd name="connsiteX1247" fmla="*/ 976906 w 1687454"/>
                  <a:gd name="connsiteY1247" fmla="*/ 217335 h 903637"/>
                  <a:gd name="connsiteX1248" fmla="*/ 964915 w 1687454"/>
                  <a:gd name="connsiteY1248" fmla="*/ 216718 h 903637"/>
                  <a:gd name="connsiteX1249" fmla="*/ 962887 w 1687454"/>
                  <a:gd name="connsiteY1249" fmla="*/ 220597 h 903637"/>
                  <a:gd name="connsiteX1250" fmla="*/ 1228274 w 1687454"/>
                  <a:gd name="connsiteY1250" fmla="*/ 257893 h 903637"/>
                  <a:gd name="connsiteX1251" fmla="*/ 1227657 w 1687454"/>
                  <a:gd name="connsiteY1251" fmla="*/ 258510 h 903637"/>
                  <a:gd name="connsiteX1252" fmla="*/ 1225893 w 1687454"/>
                  <a:gd name="connsiteY1252" fmla="*/ 258510 h 903637"/>
                  <a:gd name="connsiteX1253" fmla="*/ 1227039 w 1687454"/>
                  <a:gd name="connsiteY1253" fmla="*/ 257893 h 903637"/>
                  <a:gd name="connsiteX1254" fmla="*/ 1233476 w 1687454"/>
                  <a:gd name="connsiteY1254" fmla="*/ 254719 h 903637"/>
                  <a:gd name="connsiteX1255" fmla="*/ 1235239 w 1687454"/>
                  <a:gd name="connsiteY1255" fmla="*/ 254719 h 903637"/>
                  <a:gd name="connsiteX1256" fmla="*/ 1236121 w 1687454"/>
                  <a:gd name="connsiteY1256" fmla="*/ 253837 h 903637"/>
                  <a:gd name="connsiteX1257" fmla="*/ 1238149 w 1687454"/>
                  <a:gd name="connsiteY1257" fmla="*/ 254101 h 903637"/>
                  <a:gd name="connsiteX1258" fmla="*/ 1239647 w 1687454"/>
                  <a:gd name="connsiteY1258" fmla="*/ 252602 h 903637"/>
                  <a:gd name="connsiteX1259" fmla="*/ 1241146 w 1687454"/>
                  <a:gd name="connsiteY1259" fmla="*/ 252867 h 903637"/>
                  <a:gd name="connsiteX1260" fmla="*/ 1242293 w 1687454"/>
                  <a:gd name="connsiteY1260" fmla="*/ 253484 h 903637"/>
                  <a:gd name="connsiteX1261" fmla="*/ 1242557 w 1687454"/>
                  <a:gd name="connsiteY1261" fmla="*/ 253749 h 903637"/>
                  <a:gd name="connsiteX1262" fmla="*/ 1242557 w 1687454"/>
                  <a:gd name="connsiteY1262" fmla="*/ 254366 h 903637"/>
                  <a:gd name="connsiteX1263" fmla="*/ 1241411 w 1687454"/>
                  <a:gd name="connsiteY1263" fmla="*/ 255512 h 903637"/>
                  <a:gd name="connsiteX1264" fmla="*/ 1239030 w 1687454"/>
                  <a:gd name="connsiteY1264" fmla="*/ 256394 h 903637"/>
                  <a:gd name="connsiteX1265" fmla="*/ 1237620 w 1687454"/>
                  <a:gd name="connsiteY1265" fmla="*/ 256394 h 903637"/>
                  <a:gd name="connsiteX1266" fmla="*/ 1233828 w 1687454"/>
                  <a:gd name="connsiteY1266" fmla="*/ 257011 h 903637"/>
                  <a:gd name="connsiteX1267" fmla="*/ 1229773 w 1687454"/>
                  <a:gd name="connsiteY1267" fmla="*/ 257893 h 903637"/>
                  <a:gd name="connsiteX1268" fmla="*/ 1228274 w 1687454"/>
                  <a:gd name="connsiteY1268" fmla="*/ 257893 h 903637"/>
                  <a:gd name="connsiteX1269" fmla="*/ 318552 w 1687454"/>
                  <a:gd name="connsiteY1269" fmla="*/ 271294 h 903637"/>
                  <a:gd name="connsiteX1270" fmla="*/ 311234 w 1687454"/>
                  <a:gd name="connsiteY1270" fmla="*/ 273057 h 903637"/>
                  <a:gd name="connsiteX1271" fmla="*/ 309206 w 1687454"/>
                  <a:gd name="connsiteY1271" fmla="*/ 271911 h 903637"/>
                  <a:gd name="connsiteX1272" fmla="*/ 302506 w 1687454"/>
                  <a:gd name="connsiteY1272" fmla="*/ 270412 h 903637"/>
                  <a:gd name="connsiteX1273" fmla="*/ 302241 w 1687454"/>
                  <a:gd name="connsiteY1273" fmla="*/ 268032 h 903637"/>
                  <a:gd name="connsiteX1274" fmla="*/ 307179 w 1687454"/>
                  <a:gd name="connsiteY1274" fmla="*/ 266269 h 903637"/>
                  <a:gd name="connsiteX1275" fmla="*/ 325870 w 1687454"/>
                  <a:gd name="connsiteY1275" fmla="*/ 261596 h 903637"/>
                  <a:gd name="connsiteX1276" fmla="*/ 330191 w 1687454"/>
                  <a:gd name="connsiteY1276" fmla="*/ 261331 h 903637"/>
                  <a:gd name="connsiteX1277" fmla="*/ 339536 w 1687454"/>
                  <a:gd name="connsiteY1277" fmla="*/ 256923 h 903637"/>
                  <a:gd name="connsiteX1278" fmla="*/ 342181 w 1687454"/>
                  <a:gd name="connsiteY1278" fmla="*/ 256923 h 903637"/>
                  <a:gd name="connsiteX1279" fmla="*/ 341035 w 1687454"/>
                  <a:gd name="connsiteY1279" fmla="*/ 260097 h 903637"/>
                  <a:gd name="connsiteX1280" fmla="*/ 345973 w 1687454"/>
                  <a:gd name="connsiteY1280" fmla="*/ 260361 h 903637"/>
                  <a:gd name="connsiteX1281" fmla="*/ 318552 w 1687454"/>
                  <a:gd name="connsiteY1281" fmla="*/ 271294 h 903637"/>
                  <a:gd name="connsiteX1282" fmla="*/ 1248993 w 1687454"/>
                  <a:gd name="connsiteY1282" fmla="*/ 265211 h 903637"/>
                  <a:gd name="connsiteX1283" fmla="*/ 1247494 w 1687454"/>
                  <a:gd name="connsiteY1283" fmla="*/ 266709 h 903637"/>
                  <a:gd name="connsiteX1284" fmla="*/ 1241675 w 1687454"/>
                  <a:gd name="connsiteY1284" fmla="*/ 266445 h 903637"/>
                  <a:gd name="connsiteX1285" fmla="*/ 1242293 w 1687454"/>
                  <a:gd name="connsiteY1285" fmla="*/ 263535 h 903637"/>
                  <a:gd name="connsiteX1286" fmla="*/ 1245202 w 1687454"/>
                  <a:gd name="connsiteY1286" fmla="*/ 260890 h 903637"/>
                  <a:gd name="connsiteX1287" fmla="*/ 1248729 w 1687454"/>
                  <a:gd name="connsiteY1287" fmla="*/ 260009 h 903637"/>
                  <a:gd name="connsiteX1288" fmla="*/ 1252520 w 1687454"/>
                  <a:gd name="connsiteY1288" fmla="*/ 260273 h 903637"/>
                  <a:gd name="connsiteX1289" fmla="*/ 1255430 w 1687454"/>
                  <a:gd name="connsiteY1289" fmla="*/ 260273 h 903637"/>
                  <a:gd name="connsiteX1290" fmla="*/ 1256047 w 1687454"/>
                  <a:gd name="connsiteY1290" fmla="*/ 261155 h 903637"/>
                  <a:gd name="connsiteX1291" fmla="*/ 1248993 w 1687454"/>
                  <a:gd name="connsiteY1291" fmla="*/ 265211 h 903637"/>
                  <a:gd name="connsiteX1292" fmla="*/ 1209935 w 1687454"/>
                  <a:gd name="connsiteY1292" fmla="*/ 271294 h 903637"/>
                  <a:gd name="connsiteX1293" fmla="*/ 1204645 w 1687454"/>
                  <a:gd name="connsiteY1293" fmla="*/ 271559 h 903637"/>
                  <a:gd name="connsiteX1294" fmla="*/ 1203763 w 1687454"/>
                  <a:gd name="connsiteY1294" fmla="*/ 270677 h 903637"/>
                  <a:gd name="connsiteX1295" fmla="*/ 1209053 w 1687454"/>
                  <a:gd name="connsiteY1295" fmla="*/ 266621 h 903637"/>
                  <a:gd name="connsiteX1296" fmla="*/ 1211081 w 1687454"/>
                  <a:gd name="connsiteY1296" fmla="*/ 266004 h 903637"/>
                  <a:gd name="connsiteX1297" fmla="*/ 1215754 w 1687454"/>
                  <a:gd name="connsiteY1297" fmla="*/ 265740 h 903637"/>
                  <a:gd name="connsiteX1298" fmla="*/ 1221308 w 1687454"/>
                  <a:gd name="connsiteY1298" fmla="*/ 262566 h 903637"/>
                  <a:gd name="connsiteX1299" fmla="*/ 1222719 w 1687454"/>
                  <a:gd name="connsiteY1299" fmla="*/ 262301 h 903637"/>
                  <a:gd name="connsiteX1300" fmla="*/ 1224482 w 1687454"/>
                  <a:gd name="connsiteY1300" fmla="*/ 260538 h 903637"/>
                  <a:gd name="connsiteX1301" fmla="*/ 1228009 w 1687454"/>
                  <a:gd name="connsiteY1301" fmla="*/ 260273 h 903637"/>
                  <a:gd name="connsiteX1302" fmla="*/ 1229508 w 1687454"/>
                  <a:gd name="connsiteY1302" fmla="*/ 261155 h 903637"/>
                  <a:gd name="connsiteX1303" fmla="*/ 1228626 w 1687454"/>
                  <a:gd name="connsiteY1303" fmla="*/ 262654 h 903637"/>
                  <a:gd name="connsiteX1304" fmla="*/ 1225452 w 1687454"/>
                  <a:gd name="connsiteY1304" fmla="*/ 264417 h 903637"/>
                  <a:gd name="connsiteX1305" fmla="*/ 1223689 w 1687454"/>
                  <a:gd name="connsiteY1305" fmla="*/ 264682 h 903637"/>
                  <a:gd name="connsiteX1306" fmla="*/ 1222807 w 1687454"/>
                  <a:gd name="connsiteY1306" fmla="*/ 265211 h 903637"/>
                  <a:gd name="connsiteX1307" fmla="*/ 1222543 w 1687454"/>
                  <a:gd name="connsiteY1307" fmla="*/ 265211 h 903637"/>
                  <a:gd name="connsiteX1308" fmla="*/ 1214960 w 1687454"/>
                  <a:gd name="connsiteY1308" fmla="*/ 269883 h 903637"/>
                  <a:gd name="connsiteX1309" fmla="*/ 1209935 w 1687454"/>
                  <a:gd name="connsiteY1309" fmla="*/ 271294 h 903637"/>
                  <a:gd name="connsiteX1310" fmla="*/ 694767 w 1687454"/>
                  <a:gd name="connsiteY1310" fmla="*/ 280904 h 903637"/>
                  <a:gd name="connsiteX1311" fmla="*/ 660910 w 1687454"/>
                  <a:gd name="connsiteY1311" fmla="*/ 281786 h 903637"/>
                  <a:gd name="connsiteX1312" fmla="*/ 665583 w 1687454"/>
                  <a:gd name="connsiteY1312" fmla="*/ 281169 h 903637"/>
                  <a:gd name="connsiteX1313" fmla="*/ 662409 w 1687454"/>
                  <a:gd name="connsiteY1313" fmla="*/ 279406 h 903637"/>
                  <a:gd name="connsiteX1314" fmla="*/ 662144 w 1687454"/>
                  <a:gd name="connsiteY1314" fmla="*/ 274468 h 903637"/>
                  <a:gd name="connsiteX1315" fmla="*/ 668581 w 1687454"/>
                  <a:gd name="connsiteY1315" fmla="*/ 267150 h 903637"/>
                  <a:gd name="connsiteX1316" fmla="*/ 669727 w 1687454"/>
                  <a:gd name="connsiteY1316" fmla="*/ 266886 h 903637"/>
                  <a:gd name="connsiteX1317" fmla="*/ 661880 w 1687454"/>
                  <a:gd name="connsiteY1317" fmla="*/ 264858 h 903637"/>
                  <a:gd name="connsiteX1318" fmla="*/ 642307 w 1687454"/>
                  <a:gd name="connsiteY1318" fmla="*/ 265475 h 903637"/>
                  <a:gd name="connsiteX1319" fmla="*/ 632432 w 1687454"/>
                  <a:gd name="connsiteY1319" fmla="*/ 263712 h 903637"/>
                  <a:gd name="connsiteX1320" fmla="*/ 627759 w 1687454"/>
                  <a:gd name="connsiteY1320" fmla="*/ 260802 h 903637"/>
                  <a:gd name="connsiteX1321" fmla="*/ 629787 w 1687454"/>
                  <a:gd name="connsiteY1321" fmla="*/ 260538 h 903637"/>
                  <a:gd name="connsiteX1322" fmla="*/ 630404 w 1687454"/>
                  <a:gd name="connsiteY1322" fmla="*/ 259391 h 903637"/>
                  <a:gd name="connsiteX1323" fmla="*/ 625996 w 1687454"/>
                  <a:gd name="connsiteY1323" fmla="*/ 258510 h 903637"/>
                  <a:gd name="connsiteX1324" fmla="*/ 628023 w 1687454"/>
                  <a:gd name="connsiteY1324" fmla="*/ 257364 h 903637"/>
                  <a:gd name="connsiteX1325" fmla="*/ 624497 w 1687454"/>
                  <a:gd name="connsiteY1325" fmla="*/ 255865 h 903637"/>
                  <a:gd name="connsiteX1326" fmla="*/ 626789 w 1687454"/>
                  <a:gd name="connsiteY1326" fmla="*/ 250046 h 903637"/>
                  <a:gd name="connsiteX1327" fmla="*/ 630580 w 1687454"/>
                  <a:gd name="connsiteY1327" fmla="*/ 248547 h 903637"/>
                  <a:gd name="connsiteX1328" fmla="*/ 680484 w 1687454"/>
                  <a:gd name="connsiteY1328" fmla="*/ 242992 h 903637"/>
                  <a:gd name="connsiteX1329" fmla="*/ 697147 w 1687454"/>
                  <a:gd name="connsiteY1329" fmla="*/ 243874 h 903637"/>
                  <a:gd name="connsiteX1330" fmla="*/ 708786 w 1687454"/>
                  <a:gd name="connsiteY1330" fmla="*/ 245637 h 903637"/>
                  <a:gd name="connsiteX1331" fmla="*/ 708786 w 1687454"/>
                  <a:gd name="connsiteY1331" fmla="*/ 244755 h 903637"/>
                  <a:gd name="connsiteX1332" fmla="*/ 712312 w 1687454"/>
                  <a:gd name="connsiteY1332" fmla="*/ 244491 h 903637"/>
                  <a:gd name="connsiteX1333" fmla="*/ 717514 w 1687454"/>
                  <a:gd name="connsiteY1333" fmla="*/ 243874 h 903637"/>
                  <a:gd name="connsiteX1334" fmla="*/ 728006 w 1687454"/>
                  <a:gd name="connsiteY1334" fmla="*/ 243874 h 903637"/>
                  <a:gd name="connsiteX1335" fmla="*/ 725978 w 1687454"/>
                  <a:gd name="connsiteY1335" fmla="*/ 243257 h 903637"/>
                  <a:gd name="connsiteX1336" fmla="*/ 728006 w 1687454"/>
                  <a:gd name="connsiteY1336" fmla="*/ 242992 h 903637"/>
                  <a:gd name="connsiteX1337" fmla="*/ 723333 w 1687454"/>
                  <a:gd name="connsiteY1337" fmla="*/ 242110 h 903637"/>
                  <a:gd name="connsiteX1338" fmla="*/ 721041 w 1687454"/>
                  <a:gd name="connsiteY1338" fmla="*/ 241229 h 903637"/>
                  <a:gd name="connsiteX1339" fmla="*/ 721041 w 1687454"/>
                  <a:gd name="connsiteY1339" fmla="*/ 239465 h 903637"/>
                  <a:gd name="connsiteX1340" fmla="*/ 710549 w 1687454"/>
                  <a:gd name="connsiteY1340" fmla="*/ 238319 h 903637"/>
                  <a:gd name="connsiteX1341" fmla="*/ 706493 w 1687454"/>
                  <a:gd name="connsiteY1341" fmla="*/ 236291 h 903637"/>
                  <a:gd name="connsiteX1342" fmla="*/ 701556 w 1687454"/>
                  <a:gd name="connsiteY1342" fmla="*/ 236291 h 903637"/>
                  <a:gd name="connsiteX1343" fmla="*/ 696883 w 1687454"/>
                  <a:gd name="connsiteY1343" fmla="*/ 235145 h 903637"/>
                  <a:gd name="connsiteX1344" fmla="*/ 686655 w 1687454"/>
                  <a:gd name="connsiteY1344" fmla="*/ 236644 h 903637"/>
                  <a:gd name="connsiteX1345" fmla="*/ 659235 w 1687454"/>
                  <a:gd name="connsiteY1345" fmla="*/ 237790 h 903637"/>
                  <a:gd name="connsiteX1346" fmla="*/ 661615 w 1687454"/>
                  <a:gd name="connsiteY1346" fmla="*/ 236644 h 903637"/>
                  <a:gd name="connsiteX1347" fmla="*/ 644423 w 1687454"/>
                  <a:gd name="connsiteY1347" fmla="*/ 237261 h 903637"/>
                  <a:gd name="connsiteX1348" fmla="*/ 639485 w 1687454"/>
                  <a:gd name="connsiteY1348" fmla="*/ 237878 h 903637"/>
                  <a:gd name="connsiteX1349" fmla="*/ 640102 w 1687454"/>
                  <a:gd name="connsiteY1349" fmla="*/ 237261 h 903637"/>
                  <a:gd name="connsiteX1350" fmla="*/ 637193 w 1687454"/>
                  <a:gd name="connsiteY1350" fmla="*/ 236644 h 903637"/>
                  <a:gd name="connsiteX1351" fmla="*/ 637810 w 1687454"/>
                  <a:gd name="connsiteY1351" fmla="*/ 235145 h 903637"/>
                  <a:gd name="connsiteX1352" fmla="*/ 633402 w 1687454"/>
                  <a:gd name="connsiteY1352" fmla="*/ 232853 h 903637"/>
                  <a:gd name="connsiteX1353" fmla="*/ 632785 w 1687454"/>
                  <a:gd name="connsiteY1353" fmla="*/ 229679 h 903637"/>
                  <a:gd name="connsiteX1354" fmla="*/ 646803 w 1687454"/>
                  <a:gd name="connsiteY1354" fmla="*/ 225887 h 903637"/>
                  <a:gd name="connsiteX1355" fmla="*/ 664349 w 1687454"/>
                  <a:gd name="connsiteY1355" fmla="*/ 223860 h 903637"/>
                  <a:gd name="connsiteX1356" fmla="*/ 665495 w 1687454"/>
                  <a:gd name="connsiteY1356" fmla="*/ 223331 h 903637"/>
                  <a:gd name="connsiteX1357" fmla="*/ 684716 w 1687454"/>
                  <a:gd name="connsiteY1357" fmla="*/ 221303 h 903637"/>
                  <a:gd name="connsiteX1358" fmla="*/ 679161 w 1687454"/>
                  <a:gd name="connsiteY1358" fmla="*/ 220686 h 903637"/>
                  <a:gd name="connsiteX1359" fmla="*/ 689389 w 1687454"/>
                  <a:gd name="connsiteY1359" fmla="*/ 219187 h 903637"/>
                  <a:gd name="connsiteX1360" fmla="*/ 692034 w 1687454"/>
                  <a:gd name="connsiteY1360" fmla="*/ 218305 h 903637"/>
                  <a:gd name="connsiteX1361" fmla="*/ 690006 w 1687454"/>
                  <a:gd name="connsiteY1361" fmla="*/ 217776 h 903637"/>
                  <a:gd name="connsiteX1362" fmla="*/ 658530 w 1687454"/>
                  <a:gd name="connsiteY1362" fmla="*/ 221567 h 903637"/>
                  <a:gd name="connsiteX1363" fmla="*/ 660557 w 1687454"/>
                  <a:gd name="connsiteY1363" fmla="*/ 220068 h 903637"/>
                  <a:gd name="connsiteX1364" fmla="*/ 658530 w 1687454"/>
                  <a:gd name="connsiteY1364" fmla="*/ 219187 h 903637"/>
                  <a:gd name="connsiteX1365" fmla="*/ 656502 w 1687454"/>
                  <a:gd name="connsiteY1365" fmla="*/ 220068 h 903637"/>
                  <a:gd name="connsiteX1366" fmla="*/ 658001 w 1687454"/>
                  <a:gd name="connsiteY1366" fmla="*/ 220686 h 903637"/>
                  <a:gd name="connsiteX1367" fmla="*/ 655973 w 1687454"/>
                  <a:gd name="connsiteY1367" fmla="*/ 221567 h 903637"/>
                  <a:gd name="connsiteX1368" fmla="*/ 645745 w 1687454"/>
                  <a:gd name="connsiteY1368" fmla="*/ 221567 h 903637"/>
                  <a:gd name="connsiteX1369" fmla="*/ 645481 w 1687454"/>
                  <a:gd name="connsiteY1369" fmla="*/ 220068 h 903637"/>
                  <a:gd name="connsiteX1370" fmla="*/ 648126 w 1687454"/>
                  <a:gd name="connsiteY1370" fmla="*/ 219187 h 903637"/>
                  <a:gd name="connsiteX1371" fmla="*/ 656854 w 1687454"/>
                  <a:gd name="connsiteY1371" fmla="*/ 218040 h 903637"/>
                  <a:gd name="connsiteX1372" fmla="*/ 656854 w 1687454"/>
                  <a:gd name="connsiteY1372" fmla="*/ 217159 h 903637"/>
                  <a:gd name="connsiteX1373" fmla="*/ 654827 w 1687454"/>
                  <a:gd name="connsiteY1373" fmla="*/ 216894 h 903637"/>
                  <a:gd name="connsiteX1374" fmla="*/ 658618 w 1687454"/>
                  <a:gd name="connsiteY1374" fmla="*/ 216013 h 903637"/>
                  <a:gd name="connsiteX1375" fmla="*/ 657119 w 1687454"/>
                  <a:gd name="connsiteY1375" fmla="*/ 215395 h 903637"/>
                  <a:gd name="connsiteX1376" fmla="*/ 651564 w 1687454"/>
                  <a:gd name="connsiteY1376" fmla="*/ 216894 h 903637"/>
                  <a:gd name="connsiteX1377" fmla="*/ 647156 w 1687454"/>
                  <a:gd name="connsiteY1377" fmla="*/ 217511 h 903637"/>
                  <a:gd name="connsiteX1378" fmla="*/ 647156 w 1687454"/>
                  <a:gd name="connsiteY1378" fmla="*/ 216013 h 903637"/>
                  <a:gd name="connsiteX1379" fmla="*/ 642218 w 1687454"/>
                  <a:gd name="connsiteY1379" fmla="*/ 216013 h 903637"/>
                  <a:gd name="connsiteX1380" fmla="*/ 639573 w 1687454"/>
                  <a:gd name="connsiteY1380" fmla="*/ 217159 h 903637"/>
                  <a:gd name="connsiteX1381" fmla="*/ 638780 w 1687454"/>
                  <a:gd name="connsiteY1381" fmla="*/ 215924 h 903637"/>
                  <a:gd name="connsiteX1382" fmla="*/ 642836 w 1687454"/>
                  <a:gd name="connsiteY1382" fmla="*/ 211869 h 903637"/>
                  <a:gd name="connsiteX1383" fmla="*/ 653328 w 1687454"/>
                  <a:gd name="connsiteY1383" fmla="*/ 207460 h 903637"/>
                  <a:gd name="connsiteX1384" fmla="*/ 655620 w 1687454"/>
                  <a:gd name="connsiteY1384" fmla="*/ 205961 h 903637"/>
                  <a:gd name="connsiteX1385" fmla="*/ 665495 w 1687454"/>
                  <a:gd name="connsiteY1385" fmla="*/ 203934 h 903637"/>
                  <a:gd name="connsiteX1386" fmla="*/ 666994 w 1687454"/>
                  <a:gd name="connsiteY1386" fmla="*/ 202170 h 903637"/>
                  <a:gd name="connsiteX1387" fmla="*/ 661704 w 1687454"/>
                  <a:gd name="connsiteY1387" fmla="*/ 201553 h 903637"/>
                  <a:gd name="connsiteX1388" fmla="*/ 662850 w 1687454"/>
                  <a:gd name="connsiteY1388" fmla="*/ 199790 h 903637"/>
                  <a:gd name="connsiteX1389" fmla="*/ 668669 w 1687454"/>
                  <a:gd name="connsiteY1389" fmla="*/ 197762 h 903637"/>
                  <a:gd name="connsiteX1390" fmla="*/ 683217 w 1687454"/>
                  <a:gd name="connsiteY1390" fmla="*/ 193970 h 903637"/>
                  <a:gd name="connsiteX1391" fmla="*/ 694326 w 1687454"/>
                  <a:gd name="connsiteY1391" fmla="*/ 190444 h 903637"/>
                  <a:gd name="connsiteX1392" fmla="*/ 744229 w 1687454"/>
                  <a:gd name="connsiteY1392" fmla="*/ 181715 h 903637"/>
                  <a:gd name="connsiteX1393" fmla="*/ 749167 w 1687454"/>
                  <a:gd name="connsiteY1393" fmla="*/ 181980 h 903637"/>
                  <a:gd name="connsiteX1394" fmla="*/ 750313 w 1687454"/>
                  <a:gd name="connsiteY1394" fmla="*/ 184889 h 903637"/>
                  <a:gd name="connsiteX1395" fmla="*/ 741584 w 1687454"/>
                  <a:gd name="connsiteY1395" fmla="*/ 192472 h 903637"/>
                  <a:gd name="connsiteX1396" fmla="*/ 736294 w 1687454"/>
                  <a:gd name="connsiteY1396" fmla="*/ 193618 h 903637"/>
                  <a:gd name="connsiteX1397" fmla="*/ 736559 w 1687454"/>
                  <a:gd name="connsiteY1397" fmla="*/ 194499 h 903637"/>
                  <a:gd name="connsiteX1398" fmla="*/ 727830 w 1687454"/>
                  <a:gd name="connsiteY1398" fmla="*/ 196527 h 903637"/>
                  <a:gd name="connsiteX1399" fmla="*/ 729858 w 1687454"/>
                  <a:gd name="connsiteY1399" fmla="*/ 197409 h 903637"/>
                  <a:gd name="connsiteX1400" fmla="*/ 744141 w 1687454"/>
                  <a:gd name="connsiteY1400" fmla="*/ 195381 h 903637"/>
                  <a:gd name="connsiteX1401" fmla="*/ 743259 w 1687454"/>
                  <a:gd name="connsiteY1401" fmla="*/ 195998 h 903637"/>
                  <a:gd name="connsiteX1402" fmla="*/ 746169 w 1687454"/>
                  <a:gd name="connsiteY1402" fmla="*/ 195381 h 903637"/>
                  <a:gd name="connsiteX1403" fmla="*/ 748814 w 1687454"/>
                  <a:gd name="connsiteY1403" fmla="*/ 193618 h 903637"/>
                  <a:gd name="connsiteX1404" fmla="*/ 747051 w 1687454"/>
                  <a:gd name="connsiteY1404" fmla="*/ 193618 h 903637"/>
                  <a:gd name="connsiteX1405" fmla="*/ 755779 w 1687454"/>
                  <a:gd name="connsiteY1405" fmla="*/ 189209 h 903637"/>
                  <a:gd name="connsiteX1406" fmla="*/ 759306 w 1687454"/>
                  <a:gd name="connsiteY1406" fmla="*/ 188328 h 903637"/>
                  <a:gd name="connsiteX1407" fmla="*/ 765125 w 1687454"/>
                  <a:gd name="connsiteY1407" fmla="*/ 188945 h 903637"/>
                  <a:gd name="connsiteX1408" fmla="*/ 781701 w 1687454"/>
                  <a:gd name="connsiteY1408" fmla="*/ 193001 h 903637"/>
                  <a:gd name="connsiteX1409" fmla="*/ 781701 w 1687454"/>
                  <a:gd name="connsiteY1409" fmla="*/ 195910 h 903637"/>
                  <a:gd name="connsiteX1410" fmla="*/ 772708 w 1687454"/>
                  <a:gd name="connsiteY1410" fmla="*/ 199701 h 903637"/>
                  <a:gd name="connsiteX1411" fmla="*/ 760981 w 1687454"/>
                  <a:gd name="connsiteY1411" fmla="*/ 202875 h 903637"/>
                  <a:gd name="connsiteX1412" fmla="*/ 770327 w 1687454"/>
                  <a:gd name="connsiteY1412" fmla="*/ 201729 h 903637"/>
                  <a:gd name="connsiteX1413" fmla="*/ 770327 w 1687454"/>
                  <a:gd name="connsiteY1413" fmla="*/ 201288 h 903637"/>
                  <a:gd name="connsiteX1414" fmla="*/ 777028 w 1687454"/>
                  <a:gd name="connsiteY1414" fmla="*/ 199525 h 903637"/>
                  <a:gd name="connsiteX1415" fmla="*/ 773501 w 1687454"/>
                  <a:gd name="connsiteY1415" fmla="*/ 201288 h 903637"/>
                  <a:gd name="connsiteX1416" fmla="*/ 777292 w 1687454"/>
                  <a:gd name="connsiteY1416" fmla="*/ 202170 h 903637"/>
                  <a:gd name="connsiteX1417" fmla="*/ 780467 w 1687454"/>
                  <a:gd name="connsiteY1417" fmla="*/ 199525 h 903637"/>
                  <a:gd name="connsiteX1418" fmla="*/ 789195 w 1687454"/>
                  <a:gd name="connsiteY1418" fmla="*/ 197762 h 903637"/>
                  <a:gd name="connsiteX1419" fmla="*/ 795367 w 1687454"/>
                  <a:gd name="connsiteY1419" fmla="*/ 199525 h 903637"/>
                  <a:gd name="connsiteX1420" fmla="*/ 795102 w 1687454"/>
                  <a:gd name="connsiteY1420" fmla="*/ 198114 h 903637"/>
                  <a:gd name="connsiteX1421" fmla="*/ 798012 w 1687454"/>
                  <a:gd name="connsiteY1421" fmla="*/ 198732 h 903637"/>
                  <a:gd name="connsiteX1422" fmla="*/ 798629 w 1687454"/>
                  <a:gd name="connsiteY1422" fmla="*/ 198114 h 903637"/>
                  <a:gd name="connsiteX1423" fmla="*/ 798365 w 1687454"/>
                  <a:gd name="connsiteY1423" fmla="*/ 196087 h 903637"/>
                  <a:gd name="connsiteX1424" fmla="*/ 795984 w 1687454"/>
                  <a:gd name="connsiteY1424" fmla="*/ 195469 h 903637"/>
                  <a:gd name="connsiteX1425" fmla="*/ 798629 w 1687454"/>
                  <a:gd name="connsiteY1425" fmla="*/ 194588 h 903637"/>
                  <a:gd name="connsiteX1426" fmla="*/ 802156 w 1687454"/>
                  <a:gd name="connsiteY1426" fmla="*/ 194852 h 903637"/>
                  <a:gd name="connsiteX1427" fmla="*/ 803038 w 1687454"/>
                  <a:gd name="connsiteY1427" fmla="*/ 194852 h 903637"/>
                  <a:gd name="connsiteX1428" fmla="*/ 804801 w 1687454"/>
                  <a:gd name="connsiteY1428" fmla="*/ 193706 h 903637"/>
                  <a:gd name="connsiteX1429" fmla="*/ 803655 w 1687454"/>
                  <a:gd name="connsiteY1429" fmla="*/ 193441 h 903637"/>
                  <a:gd name="connsiteX1430" fmla="*/ 797571 w 1687454"/>
                  <a:gd name="connsiteY1430" fmla="*/ 191678 h 903637"/>
                  <a:gd name="connsiteX1431" fmla="*/ 797042 w 1687454"/>
                  <a:gd name="connsiteY1431" fmla="*/ 189033 h 903637"/>
                  <a:gd name="connsiteX1432" fmla="*/ 801715 w 1687454"/>
                  <a:gd name="connsiteY1432" fmla="*/ 188416 h 903637"/>
                  <a:gd name="connsiteX1433" fmla="*/ 808151 w 1687454"/>
                  <a:gd name="connsiteY1433" fmla="*/ 189562 h 903637"/>
                  <a:gd name="connsiteX1434" fmla="*/ 811061 w 1687454"/>
                  <a:gd name="connsiteY1434" fmla="*/ 189827 h 903637"/>
                  <a:gd name="connsiteX1435" fmla="*/ 814852 w 1687454"/>
                  <a:gd name="connsiteY1435" fmla="*/ 193618 h 903637"/>
                  <a:gd name="connsiteX1436" fmla="*/ 817233 w 1687454"/>
                  <a:gd name="connsiteY1436" fmla="*/ 195381 h 903637"/>
                  <a:gd name="connsiteX1437" fmla="*/ 814588 w 1687454"/>
                  <a:gd name="connsiteY1437" fmla="*/ 195998 h 903637"/>
                  <a:gd name="connsiteX1438" fmla="*/ 814323 w 1687454"/>
                  <a:gd name="connsiteY1438" fmla="*/ 197145 h 903637"/>
                  <a:gd name="connsiteX1439" fmla="*/ 818114 w 1687454"/>
                  <a:gd name="connsiteY1439" fmla="*/ 197145 h 903637"/>
                  <a:gd name="connsiteX1440" fmla="*/ 812295 w 1687454"/>
                  <a:gd name="connsiteY1440" fmla="*/ 208518 h 903637"/>
                  <a:gd name="connsiteX1441" fmla="*/ 813177 w 1687454"/>
                  <a:gd name="connsiteY1441" fmla="*/ 208783 h 903637"/>
                  <a:gd name="connsiteX1442" fmla="*/ 809386 w 1687454"/>
                  <a:gd name="connsiteY1442" fmla="*/ 214073 h 903637"/>
                  <a:gd name="connsiteX1443" fmla="*/ 811149 w 1687454"/>
                  <a:gd name="connsiteY1443" fmla="*/ 214337 h 903637"/>
                  <a:gd name="connsiteX1444" fmla="*/ 811149 w 1687454"/>
                  <a:gd name="connsiteY1444" fmla="*/ 216101 h 903637"/>
                  <a:gd name="connsiteX1445" fmla="*/ 812912 w 1687454"/>
                  <a:gd name="connsiteY1445" fmla="*/ 216718 h 903637"/>
                  <a:gd name="connsiteX1446" fmla="*/ 815205 w 1687454"/>
                  <a:gd name="connsiteY1446" fmla="*/ 214426 h 903637"/>
                  <a:gd name="connsiteX1447" fmla="*/ 816704 w 1687454"/>
                  <a:gd name="connsiteY1447" fmla="*/ 214690 h 903637"/>
                  <a:gd name="connsiteX1448" fmla="*/ 821112 w 1687454"/>
                  <a:gd name="connsiteY1448" fmla="*/ 212927 h 903637"/>
                  <a:gd name="connsiteX1449" fmla="*/ 825520 w 1687454"/>
                  <a:gd name="connsiteY1449" fmla="*/ 212662 h 903637"/>
                  <a:gd name="connsiteX1450" fmla="*/ 824022 w 1687454"/>
                  <a:gd name="connsiteY1450" fmla="*/ 211252 h 903637"/>
                  <a:gd name="connsiteX1451" fmla="*/ 828077 w 1687454"/>
                  <a:gd name="connsiteY1451" fmla="*/ 210634 h 903637"/>
                  <a:gd name="connsiteX1452" fmla="*/ 826931 w 1687454"/>
                  <a:gd name="connsiteY1452" fmla="*/ 209224 h 903637"/>
                  <a:gd name="connsiteX1453" fmla="*/ 824022 w 1687454"/>
                  <a:gd name="connsiteY1453" fmla="*/ 208606 h 903637"/>
                  <a:gd name="connsiteX1454" fmla="*/ 838922 w 1687454"/>
                  <a:gd name="connsiteY1454" fmla="*/ 184977 h 903637"/>
                  <a:gd name="connsiteX1455" fmla="*/ 842449 w 1687454"/>
                  <a:gd name="connsiteY1455" fmla="*/ 184713 h 903637"/>
                  <a:gd name="connsiteX1456" fmla="*/ 845358 w 1687454"/>
                  <a:gd name="connsiteY1456" fmla="*/ 181803 h 903637"/>
                  <a:gd name="connsiteX1457" fmla="*/ 852059 w 1687454"/>
                  <a:gd name="connsiteY1457" fmla="*/ 182685 h 903637"/>
                  <a:gd name="connsiteX1458" fmla="*/ 854440 w 1687454"/>
                  <a:gd name="connsiteY1458" fmla="*/ 184713 h 903637"/>
                  <a:gd name="connsiteX1459" fmla="*/ 857085 w 1687454"/>
                  <a:gd name="connsiteY1459" fmla="*/ 184977 h 903637"/>
                  <a:gd name="connsiteX1460" fmla="*/ 858848 w 1687454"/>
                  <a:gd name="connsiteY1460" fmla="*/ 182597 h 903637"/>
                  <a:gd name="connsiteX1461" fmla="*/ 863257 w 1687454"/>
                  <a:gd name="connsiteY1461" fmla="*/ 182861 h 903637"/>
                  <a:gd name="connsiteX1462" fmla="*/ 863521 w 1687454"/>
                  <a:gd name="connsiteY1462" fmla="*/ 183743 h 903637"/>
                  <a:gd name="connsiteX1463" fmla="*/ 865813 w 1687454"/>
                  <a:gd name="connsiteY1463" fmla="*/ 183743 h 903637"/>
                  <a:gd name="connsiteX1464" fmla="*/ 866960 w 1687454"/>
                  <a:gd name="connsiteY1464" fmla="*/ 186653 h 903637"/>
                  <a:gd name="connsiteX1465" fmla="*/ 871633 w 1687454"/>
                  <a:gd name="connsiteY1465" fmla="*/ 187799 h 903637"/>
                  <a:gd name="connsiteX1466" fmla="*/ 874807 w 1687454"/>
                  <a:gd name="connsiteY1466" fmla="*/ 192207 h 903637"/>
                  <a:gd name="connsiteX1467" fmla="*/ 866607 w 1687454"/>
                  <a:gd name="connsiteY1467" fmla="*/ 206226 h 903637"/>
                  <a:gd name="connsiteX1468" fmla="*/ 865990 w 1687454"/>
                  <a:gd name="connsiteY1468" fmla="*/ 214955 h 903637"/>
                  <a:gd name="connsiteX1469" fmla="*/ 862199 w 1687454"/>
                  <a:gd name="connsiteY1469" fmla="*/ 221655 h 903637"/>
                  <a:gd name="connsiteX1470" fmla="*/ 861317 w 1687454"/>
                  <a:gd name="connsiteY1470" fmla="*/ 221391 h 903637"/>
                  <a:gd name="connsiteX1471" fmla="*/ 856909 w 1687454"/>
                  <a:gd name="connsiteY1471" fmla="*/ 224918 h 903637"/>
                  <a:gd name="connsiteX1472" fmla="*/ 852500 w 1687454"/>
                  <a:gd name="connsiteY1472" fmla="*/ 226064 h 903637"/>
                  <a:gd name="connsiteX1473" fmla="*/ 852236 w 1687454"/>
                  <a:gd name="connsiteY1473" fmla="*/ 227563 h 903637"/>
                  <a:gd name="connsiteX1474" fmla="*/ 854616 w 1687454"/>
                  <a:gd name="connsiteY1474" fmla="*/ 229590 h 903637"/>
                  <a:gd name="connsiteX1475" fmla="*/ 854881 w 1687454"/>
                  <a:gd name="connsiteY1475" fmla="*/ 233999 h 903637"/>
                  <a:gd name="connsiteX1476" fmla="*/ 857790 w 1687454"/>
                  <a:gd name="connsiteY1476" fmla="*/ 234881 h 903637"/>
                  <a:gd name="connsiteX1477" fmla="*/ 858319 w 1687454"/>
                  <a:gd name="connsiteY1477" fmla="*/ 237526 h 903637"/>
                  <a:gd name="connsiteX1478" fmla="*/ 862375 w 1687454"/>
                  <a:gd name="connsiteY1478" fmla="*/ 237526 h 903637"/>
                  <a:gd name="connsiteX1479" fmla="*/ 864138 w 1687454"/>
                  <a:gd name="connsiteY1479" fmla="*/ 239289 h 903637"/>
                  <a:gd name="connsiteX1480" fmla="*/ 866166 w 1687454"/>
                  <a:gd name="connsiteY1480" fmla="*/ 239289 h 903637"/>
                  <a:gd name="connsiteX1481" fmla="*/ 866431 w 1687454"/>
                  <a:gd name="connsiteY1481" fmla="*/ 236379 h 903637"/>
                  <a:gd name="connsiteX1482" fmla="*/ 867930 w 1687454"/>
                  <a:gd name="connsiteY1482" fmla="*/ 235762 h 903637"/>
                  <a:gd name="connsiteX1483" fmla="*/ 869957 w 1687454"/>
                  <a:gd name="connsiteY1483" fmla="*/ 237261 h 903637"/>
                  <a:gd name="connsiteX1484" fmla="*/ 868194 w 1687454"/>
                  <a:gd name="connsiteY1484" fmla="*/ 239289 h 903637"/>
                  <a:gd name="connsiteX1485" fmla="*/ 874630 w 1687454"/>
                  <a:gd name="connsiteY1485" fmla="*/ 241934 h 903637"/>
                  <a:gd name="connsiteX1486" fmla="*/ 874895 w 1687454"/>
                  <a:gd name="connsiteY1486" fmla="*/ 242816 h 903637"/>
                  <a:gd name="connsiteX1487" fmla="*/ 878951 w 1687454"/>
                  <a:gd name="connsiteY1487" fmla="*/ 244579 h 903637"/>
                  <a:gd name="connsiteX1488" fmla="*/ 881860 w 1687454"/>
                  <a:gd name="connsiteY1488" fmla="*/ 243697 h 903637"/>
                  <a:gd name="connsiteX1489" fmla="*/ 883359 w 1687454"/>
                  <a:gd name="connsiteY1489" fmla="*/ 244579 h 903637"/>
                  <a:gd name="connsiteX1490" fmla="*/ 880449 w 1687454"/>
                  <a:gd name="connsiteY1490" fmla="*/ 246607 h 903637"/>
                  <a:gd name="connsiteX1491" fmla="*/ 883095 w 1687454"/>
                  <a:gd name="connsiteY1491" fmla="*/ 247224 h 903637"/>
                  <a:gd name="connsiteX1492" fmla="*/ 884858 w 1687454"/>
                  <a:gd name="connsiteY1492" fmla="*/ 246342 h 903637"/>
                  <a:gd name="connsiteX1493" fmla="*/ 886357 w 1687454"/>
                  <a:gd name="connsiteY1493" fmla="*/ 246960 h 903637"/>
                  <a:gd name="connsiteX1494" fmla="*/ 890412 w 1687454"/>
                  <a:gd name="connsiteY1494" fmla="*/ 245813 h 903637"/>
                  <a:gd name="connsiteX1495" fmla="*/ 886886 w 1687454"/>
                  <a:gd name="connsiteY1495" fmla="*/ 251897 h 903637"/>
                  <a:gd name="connsiteX1496" fmla="*/ 881948 w 1687454"/>
                  <a:gd name="connsiteY1496" fmla="*/ 256835 h 903637"/>
                  <a:gd name="connsiteX1497" fmla="*/ 876129 w 1687454"/>
                  <a:gd name="connsiteY1497" fmla="*/ 257099 h 903637"/>
                  <a:gd name="connsiteX1498" fmla="*/ 876129 w 1687454"/>
                  <a:gd name="connsiteY1498" fmla="*/ 254454 h 903637"/>
                  <a:gd name="connsiteX1499" fmla="*/ 878510 w 1687454"/>
                  <a:gd name="connsiteY1499" fmla="*/ 251809 h 903637"/>
                  <a:gd name="connsiteX1500" fmla="*/ 870927 w 1687454"/>
                  <a:gd name="connsiteY1500" fmla="*/ 256482 h 903637"/>
                  <a:gd name="connsiteX1501" fmla="*/ 870310 w 1687454"/>
                  <a:gd name="connsiteY1501" fmla="*/ 255865 h 903637"/>
                  <a:gd name="connsiteX1502" fmla="*/ 868018 w 1687454"/>
                  <a:gd name="connsiteY1502" fmla="*/ 255248 h 903637"/>
                  <a:gd name="connsiteX1503" fmla="*/ 868282 w 1687454"/>
                  <a:gd name="connsiteY1503" fmla="*/ 252955 h 903637"/>
                  <a:gd name="connsiteX1504" fmla="*/ 866519 w 1687454"/>
                  <a:gd name="connsiteY1504" fmla="*/ 253572 h 903637"/>
                  <a:gd name="connsiteX1505" fmla="*/ 866519 w 1687454"/>
                  <a:gd name="connsiteY1505" fmla="*/ 251809 h 903637"/>
                  <a:gd name="connsiteX1506" fmla="*/ 865020 w 1687454"/>
                  <a:gd name="connsiteY1506" fmla="*/ 252955 h 903637"/>
                  <a:gd name="connsiteX1507" fmla="*/ 862728 w 1687454"/>
                  <a:gd name="connsiteY1507" fmla="*/ 253220 h 903637"/>
                  <a:gd name="connsiteX1508" fmla="*/ 860964 w 1687454"/>
                  <a:gd name="connsiteY1508" fmla="*/ 254719 h 903637"/>
                  <a:gd name="connsiteX1509" fmla="*/ 861229 w 1687454"/>
                  <a:gd name="connsiteY1509" fmla="*/ 253837 h 903637"/>
                  <a:gd name="connsiteX1510" fmla="*/ 858319 w 1687454"/>
                  <a:gd name="connsiteY1510" fmla="*/ 254983 h 903637"/>
                  <a:gd name="connsiteX1511" fmla="*/ 856027 w 1687454"/>
                  <a:gd name="connsiteY1511" fmla="*/ 254719 h 903637"/>
                  <a:gd name="connsiteX1512" fmla="*/ 857173 w 1687454"/>
                  <a:gd name="connsiteY1512" fmla="*/ 256482 h 903637"/>
                  <a:gd name="connsiteX1513" fmla="*/ 854528 w 1687454"/>
                  <a:gd name="connsiteY1513" fmla="*/ 259127 h 903637"/>
                  <a:gd name="connsiteX1514" fmla="*/ 848709 w 1687454"/>
                  <a:gd name="connsiteY1514" fmla="*/ 259391 h 903637"/>
                  <a:gd name="connsiteX1515" fmla="*/ 844653 w 1687454"/>
                  <a:gd name="connsiteY1515" fmla="*/ 256482 h 903637"/>
                  <a:gd name="connsiteX1516" fmla="*/ 841744 w 1687454"/>
                  <a:gd name="connsiteY1516" fmla="*/ 256482 h 903637"/>
                  <a:gd name="connsiteX1517" fmla="*/ 840245 w 1687454"/>
                  <a:gd name="connsiteY1517" fmla="*/ 257981 h 903637"/>
                  <a:gd name="connsiteX1518" fmla="*/ 844300 w 1687454"/>
                  <a:gd name="connsiteY1518" fmla="*/ 258598 h 903637"/>
                  <a:gd name="connsiteX1519" fmla="*/ 842802 w 1687454"/>
                  <a:gd name="connsiteY1519" fmla="*/ 261507 h 903637"/>
                  <a:gd name="connsiteX1520" fmla="*/ 845182 w 1687454"/>
                  <a:gd name="connsiteY1520" fmla="*/ 260009 h 903637"/>
                  <a:gd name="connsiteX1521" fmla="*/ 841391 w 1687454"/>
                  <a:gd name="connsiteY1521" fmla="*/ 265299 h 903637"/>
                  <a:gd name="connsiteX1522" fmla="*/ 836718 w 1687454"/>
                  <a:gd name="connsiteY1522" fmla="*/ 267062 h 903637"/>
                  <a:gd name="connsiteX1523" fmla="*/ 835219 w 1687454"/>
                  <a:gd name="connsiteY1523" fmla="*/ 268561 h 903637"/>
                  <a:gd name="connsiteX1524" fmla="*/ 843948 w 1687454"/>
                  <a:gd name="connsiteY1524" fmla="*/ 264505 h 903637"/>
                  <a:gd name="connsiteX1525" fmla="*/ 845447 w 1687454"/>
                  <a:gd name="connsiteY1525" fmla="*/ 263359 h 903637"/>
                  <a:gd name="connsiteX1526" fmla="*/ 851883 w 1687454"/>
                  <a:gd name="connsiteY1526" fmla="*/ 262477 h 903637"/>
                  <a:gd name="connsiteX1527" fmla="*/ 854263 w 1687454"/>
                  <a:gd name="connsiteY1527" fmla="*/ 260714 h 903637"/>
                  <a:gd name="connsiteX1528" fmla="*/ 860700 w 1687454"/>
                  <a:gd name="connsiteY1528" fmla="*/ 260978 h 903637"/>
                  <a:gd name="connsiteX1529" fmla="*/ 861581 w 1687454"/>
                  <a:gd name="connsiteY1529" fmla="*/ 262389 h 903637"/>
                  <a:gd name="connsiteX1530" fmla="*/ 857790 w 1687454"/>
                  <a:gd name="connsiteY1530" fmla="*/ 263271 h 903637"/>
                  <a:gd name="connsiteX1531" fmla="*/ 855145 w 1687454"/>
                  <a:gd name="connsiteY1531" fmla="*/ 265563 h 903637"/>
                  <a:gd name="connsiteX1532" fmla="*/ 854263 w 1687454"/>
                  <a:gd name="connsiteY1532" fmla="*/ 267062 h 903637"/>
                  <a:gd name="connsiteX1533" fmla="*/ 858672 w 1687454"/>
                  <a:gd name="connsiteY1533" fmla="*/ 265563 h 903637"/>
                  <a:gd name="connsiteX1534" fmla="*/ 859818 w 1687454"/>
                  <a:gd name="connsiteY1534" fmla="*/ 267327 h 903637"/>
                  <a:gd name="connsiteX1535" fmla="*/ 855410 w 1687454"/>
                  <a:gd name="connsiteY1535" fmla="*/ 270853 h 903637"/>
                  <a:gd name="connsiteX1536" fmla="*/ 852236 w 1687454"/>
                  <a:gd name="connsiteY1536" fmla="*/ 271735 h 903637"/>
                  <a:gd name="connsiteX1537" fmla="*/ 850737 w 1687454"/>
                  <a:gd name="connsiteY1537" fmla="*/ 271470 h 903637"/>
                  <a:gd name="connsiteX1538" fmla="*/ 849238 w 1687454"/>
                  <a:gd name="connsiteY1538" fmla="*/ 272088 h 903637"/>
                  <a:gd name="connsiteX1539" fmla="*/ 845447 w 1687454"/>
                  <a:gd name="connsiteY1539" fmla="*/ 272088 h 903637"/>
                  <a:gd name="connsiteX1540" fmla="*/ 842537 w 1687454"/>
                  <a:gd name="connsiteY1540" fmla="*/ 274116 h 903637"/>
                  <a:gd name="connsiteX1541" fmla="*/ 838746 w 1687454"/>
                  <a:gd name="connsiteY1541" fmla="*/ 273234 h 903637"/>
                  <a:gd name="connsiteX1542" fmla="*/ 837335 w 1687454"/>
                  <a:gd name="connsiteY1542" fmla="*/ 274733 h 903637"/>
                  <a:gd name="connsiteX1543" fmla="*/ 834073 w 1687454"/>
                  <a:gd name="connsiteY1543" fmla="*/ 275614 h 903637"/>
                  <a:gd name="connsiteX1544" fmla="*/ 830899 w 1687454"/>
                  <a:gd name="connsiteY1544" fmla="*/ 274733 h 903637"/>
                  <a:gd name="connsiteX1545" fmla="*/ 827372 w 1687454"/>
                  <a:gd name="connsiteY1545" fmla="*/ 274733 h 903637"/>
                  <a:gd name="connsiteX1546" fmla="*/ 827108 w 1687454"/>
                  <a:gd name="connsiteY1546" fmla="*/ 275614 h 903637"/>
                  <a:gd name="connsiteX1547" fmla="*/ 824727 w 1687454"/>
                  <a:gd name="connsiteY1547" fmla="*/ 275085 h 903637"/>
                  <a:gd name="connsiteX1548" fmla="*/ 815381 w 1687454"/>
                  <a:gd name="connsiteY1548" fmla="*/ 274204 h 903637"/>
                  <a:gd name="connsiteX1549" fmla="*/ 812207 w 1687454"/>
                  <a:gd name="connsiteY1549" fmla="*/ 272440 h 903637"/>
                  <a:gd name="connsiteX1550" fmla="*/ 809562 w 1687454"/>
                  <a:gd name="connsiteY1550" fmla="*/ 274204 h 903637"/>
                  <a:gd name="connsiteX1551" fmla="*/ 799952 w 1687454"/>
                  <a:gd name="connsiteY1551" fmla="*/ 273322 h 903637"/>
                  <a:gd name="connsiteX1552" fmla="*/ 799687 w 1687454"/>
                  <a:gd name="connsiteY1552" fmla="*/ 271823 h 903637"/>
                  <a:gd name="connsiteX1553" fmla="*/ 807534 w 1687454"/>
                  <a:gd name="connsiteY1553" fmla="*/ 269795 h 903637"/>
                  <a:gd name="connsiteX1554" fmla="*/ 805154 w 1687454"/>
                  <a:gd name="connsiteY1554" fmla="*/ 268914 h 903637"/>
                  <a:gd name="connsiteX1555" fmla="*/ 804536 w 1687454"/>
                  <a:gd name="connsiteY1555" fmla="*/ 270060 h 903637"/>
                  <a:gd name="connsiteX1556" fmla="*/ 798717 w 1687454"/>
                  <a:gd name="connsiteY1556" fmla="*/ 268914 h 903637"/>
                  <a:gd name="connsiteX1557" fmla="*/ 796689 w 1687454"/>
                  <a:gd name="connsiteY1557" fmla="*/ 267767 h 903637"/>
                  <a:gd name="connsiteX1558" fmla="*/ 792898 w 1687454"/>
                  <a:gd name="connsiteY1558" fmla="*/ 267503 h 903637"/>
                  <a:gd name="connsiteX1559" fmla="*/ 791135 w 1687454"/>
                  <a:gd name="connsiteY1559" fmla="*/ 268120 h 903637"/>
                  <a:gd name="connsiteX1560" fmla="*/ 785580 w 1687454"/>
                  <a:gd name="connsiteY1560" fmla="*/ 267503 h 903637"/>
                  <a:gd name="connsiteX1561" fmla="*/ 786197 w 1687454"/>
                  <a:gd name="connsiteY1561" fmla="*/ 266004 h 903637"/>
                  <a:gd name="connsiteX1562" fmla="*/ 789724 w 1687454"/>
                  <a:gd name="connsiteY1562" fmla="*/ 264858 h 903637"/>
                  <a:gd name="connsiteX1563" fmla="*/ 790341 w 1687454"/>
                  <a:gd name="connsiteY1563" fmla="*/ 262830 h 903637"/>
                  <a:gd name="connsiteX1564" fmla="*/ 787432 w 1687454"/>
                  <a:gd name="connsiteY1564" fmla="*/ 261067 h 903637"/>
                  <a:gd name="connsiteX1565" fmla="*/ 783376 w 1687454"/>
                  <a:gd name="connsiteY1565" fmla="*/ 263094 h 903637"/>
                  <a:gd name="connsiteX1566" fmla="*/ 779585 w 1687454"/>
                  <a:gd name="connsiteY1566" fmla="*/ 263712 h 903637"/>
                  <a:gd name="connsiteX1567" fmla="*/ 778174 w 1687454"/>
                  <a:gd name="connsiteY1567" fmla="*/ 266357 h 903637"/>
                  <a:gd name="connsiteX1568" fmla="*/ 767947 w 1687454"/>
                  <a:gd name="connsiteY1568" fmla="*/ 270412 h 903637"/>
                  <a:gd name="connsiteX1569" fmla="*/ 763538 w 1687454"/>
                  <a:gd name="connsiteY1569" fmla="*/ 271911 h 903637"/>
                  <a:gd name="connsiteX1570" fmla="*/ 745464 w 1687454"/>
                  <a:gd name="connsiteY1570" fmla="*/ 272793 h 903637"/>
                  <a:gd name="connsiteX1571" fmla="*/ 745199 w 1687454"/>
                  <a:gd name="connsiteY1571" fmla="*/ 273410 h 903637"/>
                  <a:gd name="connsiteX1572" fmla="*/ 736999 w 1687454"/>
                  <a:gd name="connsiteY1572" fmla="*/ 276320 h 903637"/>
                  <a:gd name="connsiteX1573" fmla="*/ 722363 w 1687454"/>
                  <a:gd name="connsiteY1573" fmla="*/ 278612 h 903637"/>
                  <a:gd name="connsiteX1574" fmla="*/ 713018 w 1687454"/>
                  <a:gd name="connsiteY1574" fmla="*/ 278877 h 903637"/>
                  <a:gd name="connsiteX1575" fmla="*/ 709491 w 1687454"/>
                  <a:gd name="connsiteY1575" fmla="*/ 280023 h 903637"/>
                  <a:gd name="connsiteX1576" fmla="*/ 698382 w 1687454"/>
                  <a:gd name="connsiteY1576" fmla="*/ 280640 h 903637"/>
                  <a:gd name="connsiteX1577" fmla="*/ 699263 w 1687454"/>
                  <a:gd name="connsiteY1577" fmla="*/ 279758 h 903637"/>
                  <a:gd name="connsiteX1578" fmla="*/ 692739 w 1687454"/>
                  <a:gd name="connsiteY1578" fmla="*/ 279758 h 903637"/>
                  <a:gd name="connsiteX1579" fmla="*/ 694502 w 1687454"/>
                  <a:gd name="connsiteY1579" fmla="*/ 280023 h 903637"/>
                  <a:gd name="connsiteX1580" fmla="*/ 694767 w 1687454"/>
                  <a:gd name="connsiteY1580" fmla="*/ 280904 h 903637"/>
                  <a:gd name="connsiteX1581" fmla="*/ 1272623 w 1687454"/>
                  <a:gd name="connsiteY1581" fmla="*/ 283021 h 903637"/>
                  <a:gd name="connsiteX1582" fmla="*/ 1271476 w 1687454"/>
                  <a:gd name="connsiteY1582" fmla="*/ 283021 h 903637"/>
                  <a:gd name="connsiteX1583" fmla="*/ 1270330 w 1687454"/>
                  <a:gd name="connsiteY1583" fmla="*/ 283021 h 903637"/>
                  <a:gd name="connsiteX1584" fmla="*/ 1270066 w 1687454"/>
                  <a:gd name="connsiteY1584" fmla="*/ 282756 h 903637"/>
                  <a:gd name="connsiteX1585" fmla="*/ 1270066 w 1687454"/>
                  <a:gd name="connsiteY1585" fmla="*/ 282139 h 903637"/>
                  <a:gd name="connsiteX1586" fmla="*/ 1270330 w 1687454"/>
                  <a:gd name="connsiteY1586" fmla="*/ 281522 h 903637"/>
                  <a:gd name="connsiteX1587" fmla="*/ 1270330 w 1687454"/>
                  <a:gd name="connsiteY1587" fmla="*/ 280904 h 903637"/>
                  <a:gd name="connsiteX1588" fmla="*/ 1268567 w 1687454"/>
                  <a:gd name="connsiteY1588" fmla="*/ 280287 h 903637"/>
                  <a:gd name="connsiteX1589" fmla="*/ 1267332 w 1687454"/>
                  <a:gd name="connsiteY1589" fmla="*/ 279758 h 903637"/>
                  <a:gd name="connsiteX1590" fmla="*/ 1267332 w 1687454"/>
                  <a:gd name="connsiteY1590" fmla="*/ 278877 h 903637"/>
                  <a:gd name="connsiteX1591" fmla="*/ 1267332 w 1687454"/>
                  <a:gd name="connsiteY1591" fmla="*/ 278259 h 903637"/>
                  <a:gd name="connsiteX1592" fmla="*/ 1267949 w 1687454"/>
                  <a:gd name="connsiteY1592" fmla="*/ 277642 h 903637"/>
                  <a:gd name="connsiteX1593" fmla="*/ 1268567 w 1687454"/>
                  <a:gd name="connsiteY1593" fmla="*/ 276761 h 903637"/>
                  <a:gd name="connsiteX1594" fmla="*/ 1271741 w 1687454"/>
                  <a:gd name="connsiteY1594" fmla="*/ 274997 h 903637"/>
                  <a:gd name="connsiteX1595" fmla="*/ 1271741 w 1687454"/>
                  <a:gd name="connsiteY1595" fmla="*/ 274733 h 903637"/>
                  <a:gd name="connsiteX1596" fmla="*/ 1272623 w 1687454"/>
                  <a:gd name="connsiteY1596" fmla="*/ 274997 h 903637"/>
                  <a:gd name="connsiteX1597" fmla="*/ 1275796 w 1687454"/>
                  <a:gd name="connsiteY1597" fmla="*/ 275879 h 903637"/>
                  <a:gd name="connsiteX1598" fmla="*/ 1275179 w 1687454"/>
                  <a:gd name="connsiteY1598" fmla="*/ 278171 h 903637"/>
                  <a:gd name="connsiteX1599" fmla="*/ 1276325 w 1687454"/>
                  <a:gd name="connsiteY1599" fmla="*/ 279317 h 903637"/>
                  <a:gd name="connsiteX1600" fmla="*/ 1274297 w 1687454"/>
                  <a:gd name="connsiteY1600" fmla="*/ 281081 h 903637"/>
                  <a:gd name="connsiteX1601" fmla="*/ 1274915 w 1687454"/>
                  <a:gd name="connsiteY1601" fmla="*/ 281698 h 903637"/>
                  <a:gd name="connsiteX1602" fmla="*/ 1273768 w 1687454"/>
                  <a:gd name="connsiteY1602" fmla="*/ 281963 h 903637"/>
                  <a:gd name="connsiteX1603" fmla="*/ 1272623 w 1687454"/>
                  <a:gd name="connsiteY1603" fmla="*/ 283021 h 903637"/>
                  <a:gd name="connsiteX1604" fmla="*/ 933703 w 1687454"/>
                  <a:gd name="connsiteY1604" fmla="*/ 279494 h 903637"/>
                  <a:gd name="connsiteX1605" fmla="*/ 924357 w 1687454"/>
                  <a:gd name="connsiteY1605" fmla="*/ 282139 h 903637"/>
                  <a:gd name="connsiteX1606" fmla="*/ 916775 w 1687454"/>
                  <a:gd name="connsiteY1606" fmla="*/ 279229 h 903637"/>
                  <a:gd name="connsiteX1607" fmla="*/ 914747 w 1687454"/>
                  <a:gd name="connsiteY1607" fmla="*/ 280728 h 903637"/>
                  <a:gd name="connsiteX1608" fmla="*/ 900464 w 1687454"/>
                  <a:gd name="connsiteY1608" fmla="*/ 273763 h 903637"/>
                  <a:gd name="connsiteX1609" fmla="*/ 885034 w 1687454"/>
                  <a:gd name="connsiteY1609" fmla="*/ 273146 h 903637"/>
                  <a:gd name="connsiteX1610" fmla="*/ 894116 w 1687454"/>
                  <a:gd name="connsiteY1610" fmla="*/ 267327 h 903637"/>
                  <a:gd name="connsiteX1611" fmla="*/ 902315 w 1687454"/>
                  <a:gd name="connsiteY1611" fmla="*/ 266180 h 903637"/>
                  <a:gd name="connsiteX1612" fmla="*/ 911308 w 1687454"/>
                  <a:gd name="connsiteY1612" fmla="*/ 260361 h 903637"/>
                  <a:gd name="connsiteX1613" fmla="*/ 911925 w 1687454"/>
                  <a:gd name="connsiteY1613" fmla="*/ 258333 h 903637"/>
                  <a:gd name="connsiteX1614" fmla="*/ 916863 w 1687454"/>
                  <a:gd name="connsiteY1614" fmla="*/ 259832 h 903637"/>
                  <a:gd name="connsiteX1615" fmla="*/ 926738 w 1687454"/>
                  <a:gd name="connsiteY1615" fmla="*/ 251985 h 903637"/>
                  <a:gd name="connsiteX1616" fmla="*/ 931411 w 1687454"/>
                  <a:gd name="connsiteY1616" fmla="*/ 257540 h 903637"/>
                  <a:gd name="connsiteX1617" fmla="*/ 933791 w 1687454"/>
                  <a:gd name="connsiteY1617" fmla="*/ 256041 h 903637"/>
                  <a:gd name="connsiteX1618" fmla="*/ 941374 w 1687454"/>
                  <a:gd name="connsiteY1618" fmla="*/ 259832 h 903637"/>
                  <a:gd name="connsiteX1619" fmla="*/ 948075 w 1687454"/>
                  <a:gd name="connsiteY1619" fmla="*/ 257804 h 903637"/>
                  <a:gd name="connsiteX1620" fmla="*/ 952483 w 1687454"/>
                  <a:gd name="connsiteY1620" fmla="*/ 259568 h 903637"/>
                  <a:gd name="connsiteX1621" fmla="*/ 962711 w 1687454"/>
                  <a:gd name="connsiteY1621" fmla="*/ 260714 h 903637"/>
                  <a:gd name="connsiteX1622" fmla="*/ 956010 w 1687454"/>
                  <a:gd name="connsiteY1622" fmla="*/ 262742 h 903637"/>
                  <a:gd name="connsiteX1623" fmla="*/ 947369 w 1687454"/>
                  <a:gd name="connsiteY1623" fmla="*/ 264593 h 903637"/>
                  <a:gd name="connsiteX1624" fmla="*/ 944724 w 1687454"/>
                  <a:gd name="connsiteY1624" fmla="*/ 266357 h 903637"/>
                  <a:gd name="connsiteX1625" fmla="*/ 943843 w 1687454"/>
                  <a:gd name="connsiteY1625" fmla="*/ 273675 h 903637"/>
                  <a:gd name="connsiteX1626" fmla="*/ 951160 w 1687454"/>
                  <a:gd name="connsiteY1626" fmla="*/ 273675 h 903637"/>
                  <a:gd name="connsiteX1627" fmla="*/ 943843 w 1687454"/>
                  <a:gd name="connsiteY1627" fmla="*/ 276584 h 903637"/>
                  <a:gd name="connsiteX1628" fmla="*/ 943578 w 1687454"/>
                  <a:gd name="connsiteY1628" fmla="*/ 275703 h 903637"/>
                  <a:gd name="connsiteX1629" fmla="*/ 933703 w 1687454"/>
                  <a:gd name="connsiteY1629" fmla="*/ 279494 h 903637"/>
                  <a:gd name="connsiteX1630" fmla="*/ 1230302 w 1687454"/>
                  <a:gd name="connsiteY1630" fmla="*/ 305415 h 903637"/>
                  <a:gd name="connsiteX1631" fmla="*/ 1225364 w 1687454"/>
                  <a:gd name="connsiteY1631" fmla="*/ 305680 h 903637"/>
                  <a:gd name="connsiteX1632" fmla="*/ 1221308 w 1687454"/>
                  <a:gd name="connsiteY1632" fmla="*/ 305151 h 903637"/>
                  <a:gd name="connsiteX1633" fmla="*/ 1220162 w 1687454"/>
                  <a:gd name="connsiteY1633" fmla="*/ 304534 h 903637"/>
                  <a:gd name="connsiteX1634" fmla="*/ 1219280 w 1687454"/>
                  <a:gd name="connsiteY1634" fmla="*/ 303916 h 903637"/>
                  <a:gd name="connsiteX1635" fmla="*/ 1219898 w 1687454"/>
                  <a:gd name="connsiteY1635" fmla="*/ 301889 h 903637"/>
                  <a:gd name="connsiteX1636" fmla="*/ 1219633 w 1687454"/>
                  <a:gd name="connsiteY1636" fmla="*/ 300390 h 903637"/>
                  <a:gd name="connsiteX1637" fmla="*/ 1223160 w 1687454"/>
                  <a:gd name="connsiteY1637" fmla="*/ 294571 h 903637"/>
                  <a:gd name="connsiteX1638" fmla="*/ 1227833 w 1687454"/>
                  <a:gd name="connsiteY1638" fmla="*/ 291044 h 903637"/>
                  <a:gd name="connsiteX1639" fmla="*/ 1231889 w 1687454"/>
                  <a:gd name="connsiteY1639" fmla="*/ 288134 h 903637"/>
                  <a:gd name="connsiteX1640" fmla="*/ 1239471 w 1687454"/>
                  <a:gd name="connsiteY1640" fmla="*/ 284079 h 903637"/>
                  <a:gd name="connsiteX1641" fmla="*/ 1242998 w 1687454"/>
                  <a:gd name="connsiteY1641" fmla="*/ 282932 h 903637"/>
                  <a:gd name="connsiteX1642" fmla="*/ 1245907 w 1687454"/>
                  <a:gd name="connsiteY1642" fmla="*/ 282315 h 903637"/>
                  <a:gd name="connsiteX1643" fmla="*/ 1247406 w 1687454"/>
                  <a:gd name="connsiteY1643" fmla="*/ 282051 h 903637"/>
                  <a:gd name="connsiteX1644" fmla="*/ 1247671 w 1687454"/>
                  <a:gd name="connsiteY1644" fmla="*/ 281786 h 903637"/>
                  <a:gd name="connsiteX1645" fmla="*/ 1249699 w 1687454"/>
                  <a:gd name="connsiteY1645" fmla="*/ 282051 h 903637"/>
                  <a:gd name="connsiteX1646" fmla="*/ 1252344 w 1687454"/>
                  <a:gd name="connsiteY1646" fmla="*/ 282051 h 903637"/>
                  <a:gd name="connsiteX1647" fmla="*/ 1254107 w 1687454"/>
                  <a:gd name="connsiteY1647" fmla="*/ 281786 h 903637"/>
                  <a:gd name="connsiteX1648" fmla="*/ 1263982 w 1687454"/>
                  <a:gd name="connsiteY1648" fmla="*/ 283814 h 903637"/>
                  <a:gd name="connsiteX1649" fmla="*/ 1265128 w 1687454"/>
                  <a:gd name="connsiteY1649" fmla="*/ 284696 h 903637"/>
                  <a:gd name="connsiteX1650" fmla="*/ 1265393 w 1687454"/>
                  <a:gd name="connsiteY1650" fmla="*/ 285313 h 903637"/>
                  <a:gd name="connsiteX1651" fmla="*/ 1259574 w 1687454"/>
                  <a:gd name="connsiteY1651" fmla="*/ 290603 h 903637"/>
                  <a:gd name="connsiteX1652" fmla="*/ 1259574 w 1687454"/>
                  <a:gd name="connsiteY1652" fmla="*/ 292366 h 903637"/>
                  <a:gd name="connsiteX1653" fmla="*/ 1257810 w 1687454"/>
                  <a:gd name="connsiteY1653" fmla="*/ 296510 h 903637"/>
                  <a:gd name="connsiteX1654" fmla="*/ 1256928 w 1687454"/>
                  <a:gd name="connsiteY1654" fmla="*/ 297392 h 903637"/>
                  <a:gd name="connsiteX1655" fmla="*/ 1251109 w 1687454"/>
                  <a:gd name="connsiteY1655" fmla="*/ 301448 h 903637"/>
                  <a:gd name="connsiteX1656" fmla="*/ 1249081 w 1687454"/>
                  <a:gd name="connsiteY1656" fmla="*/ 302329 h 903637"/>
                  <a:gd name="connsiteX1657" fmla="*/ 1247053 w 1687454"/>
                  <a:gd name="connsiteY1657" fmla="*/ 303211 h 903637"/>
                  <a:gd name="connsiteX1658" fmla="*/ 1245290 w 1687454"/>
                  <a:gd name="connsiteY1658" fmla="*/ 303211 h 903637"/>
                  <a:gd name="connsiteX1659" fmla="*/ 1243791 w 1687454"/>
                  <a:gd name="connsiteY1659" fmla="*/ 303828 h 903637"/>
                  <a:gd name="connsiteX1660" fmla="*/ 1243262 w 1687454"/>
                  <a:gd name="connsiteY1660" fmla="*/ 304093 h 903637"/>
                  <a:gd name="connsiteX1661" fmla="*/ 1242116 w 1687454"/>
                  <a:gd name="connsiteY1661" fmla="*/ 304093 h 903637"/>
                  <a:gd name="connsiteX1662" fmla="*/ 1238589 w 1687454"/>
                  <a:gd name="connsiteY1662" fmla="*/ 305239 h 903637"/>
                  <a:gd name="connsiteX1663" fmla="*/ 1231624 w 1687454"/>
                  <a:gd name="connsiteY1663" fmla="*/ 305239 h 903637"/>
                  <a:gd name="connsiteX1664" fmla="*/ 1230302 w 1687454"/>
                  <a:gd name="connsiteY1664" fmla="*/ 305415 h 903637"/>
                  <a:gd name="connsiteX1665" fmla="*/ 1078652 w 1687454"/>
                  <a:gd name="connsiteY1665" fmla="*/ 291132 h 903637"/>
                  <a:gd name="connsiteX1666" fmla="*/ 1071951 w 1687454"/>
                  <a:gd name="connsiteY1666" fmla="*/ 296069 h 903637"/>
                  <a:gd name="connsiteX1667" fmla="*/ 1068689 w 1687454"/>
                  <a:gd name="connsiteY1667" fmla="*/ 296069 h 903637"/>
                  <a:gd name="connsiteX1668" fmla="*/ 1068160 w 1687454"/>
                  <a:gd name="connsiteY1668" fmla="*/ 293424 h 903637"/>
                  <a:gd name="connsiteX1669" fmla="*/ 1076624 w 1687454"/>
                  <a:gd name="connsiteY1669" fmla="*/ 285225 h 903637"/>
                  <a:gd name="connsiteX1670" fmla="*/ 1080151 w 1687454"/>
                  <a:gd name="connsiteY1670" fmla="*/ 285225 h 903637"/>
                  <a:gd name="connsiteX1671" fmla="*/ 1078652 w 1687454"/>
                  <a:gd name="connsiteY1671" fmla="*/ 291132 h 903637"/>
                  <a:gd name="connsiteX1672" fmla="*/ 1284878 w 1687454"/>
                  <a:gd name="connsiteY1672" fmla="*/ 295276 h 903637"/>
                  <a:gd name="connsiteX1673" fmla="*/ 1283732 w 1687454"/>
                  <a:gd name="connsiteY1673" fmla="*/ 295540 h 903637"/>
                  <a:gd name="connsiteX1674" fmla="*/ 1277912 w 1687454"/>
                  <a:gd name="connsiteY1674" fmla="*/ 294923 h 903637"/>
                  <a:gd name="connsiteX1675" fmla="*/ 1274386 w 1687454"/>
                  <a:gd name="connsiteY1675" fmla="*/ 295188 h 903637"/>
                  <a:gd name="connsiteX1676" fmla="*/ 1270595 w 1687454"/>
                  <a:gd name="connsiteY1676" fmla="*/ 294571 h 903637"/>
                  <a:gd name="connsiteX1677" fmla="*/ 1268831 w 1687454"/>
                  <a:gd name="connsiteY1677" fmla="*/ 293953 h 903637"/>
                  <a:gd name="connsiteX1678" fmla="*/ 1268831 w 1687454"/>
                  <a:gd name="connsiteY1678" fmla="*/ 293072 h 903637"/>
                  <a:gd name="connsiteX1679" fmla="*/ 1267949 w 1687454"/>
                  <a:gd name="connsiteY1679" fmla="*/ 291044 h 903637"/>
                  <a:gd name="connsiteX1680" fmla="*/ 1268214 w 1687454"/>
                  <a:gd name="connsiteY1680" fmla="*/ 289281 h 903637"/>
                  <a:gd name="connsiteX1681" fmla="*/ 1269360 w 1687454"/>
                  <a:gd name="connsiteY1681" fmla="*/ 288663 h 903637"/>
                  <a:gd name="connsiteX1682" fmla="*/ 1269977 w 1687454"/>
                  <a:gd name="connsiteY1682" fmla="*/ 288399 h 903637"/>
                  <a:gd name="connsiteX1683" fmla="*/ 1271476 w 1687454"/>
                  <a:gd name="connsiteY1683" fmla="*/ 288134 h 903637"/>
                  <a:gd name="connsiteX1684" fmla="*/ 1273768 w 1687454"/>
                  <a:gd name="connsiteY1684" fmla="*/ 288399 h 903637"/>
                  <a:gd name="connsiteX1685" fmla="*/ 1274650 w 1687454"/>
                  <a:gd name="connsiteY1685" fmla="*/ 288134 h 903637"/>
                  <a:gd name="connsiteX1686" fmla="*/ 1275003 w 1687454"/>
                  <a:gd name="connsiteY1686" fmla="*/ 287870 h 903637"/>
                  <a:gd name="connsiteX1687" fmla="*/ 1275885 w 1687454"/>
                  <a:gd name="connsiteY1687" fmla="*/ 287870 h 903637"/>
                  <a:gd name="connsiteX1688" fmla="*/ 1277383 w 1687454"/>
                  <a:gd name="connsiteY1688" fmla="*/ 286988 h 903637"/>
                  <a:gd name="connsiteX1689" fmla="*/ 1278530 w 1687454"/>
                  <a:gd name="connsiteY1689" fmla="*/ 286988 h 903637"/>
                  <a:gd name="connsiteX1690" fmla="*/ 1278530 w 1687454"/>
                  <a:gd name="connsiteY1690" fmla="*/ 287253 h 903637"/>
                  <a:gd name="connsiteX1691" fmla="*/ 1279411 w 1687454"/>
                  <a:gd name="connsiteY1691" fmla="*/ 287517 h 903637"/>
                  <a:gd name="connsiteX1692" fmla="*/ 1277912 w 1687454"/>
                  <a:gd name="connsiteY1692" fmla="*/ 288134 h 903637"/>
                  <a:gd name="connsiteX1693" fmla="*/ 1278177 w 1687454"/>
                  <a:gd name="connsiteY1693" fmla="*/ 288751 h 903637"/>
                  <a:gd name="connsiteX1694" fmla="*/ 1287787 w 1687454"/>
                  <a:gd name="connsiteY1694" fmla="*/ 291661 h 903637"/>
                  <a:gd name="connsiteX1695" fmla="*/ 1287523 w 1687454"/>
                  <a:gd name="connsiteY1695" fmla="*/ 292278 h 903637"/>
                  <a:gd name="connsiteX1696" fmla="*/ 1287258 w 1687454"/>
                  <a:gd name="connsiteY1696" fmla="*/ 292895 h 903637"/>
                  <a:gd name="connsiteX1697" fmla="*/ 1286641 w 1687454"/>
                  <a:gd name="connsiteY1697" fmla="*/ 293777 h 903637"/>
                  <a:gd name="connsiteX1698" fmla="*/ 1284878 w 1687454"/>
                  <a:gd name="connsiteY1698" fmla="*/ 295276 h 903637"/>
                  <a:gd name="connsiteX1699" fmla="*/ 1070805 w 1687454"/>
                  <a:gd name="connsiteY1699" fmla="*/ 343945 h 903637"/>
                  <a:gd name="connsiteX1700" fmla="*/ 1066397 w 1687454"/>
                  <a:gd name="connsiteY1700" fmla="*/ 345444 h 903637"/>
                  <a:gd name="connsiteX1701" fmla="*/ 1064633 w 1687454"/>
                  <a:gd name="connsiteY1701" fmla="*/ 340771 h 903637"/>
                  <a:gd name="connsiteX1702" fmla="*/ 1067278 w 1687454"/>
                  <a:gd name="connsiteY1702" fmla="*/ 334952 h 903637"/>
                  <a:gd name="connsiteX1703" fmla="*/ 1071951 w 1687454"/>
                  <a:gd name="connsiteY1703" fmla="*/ 335569 h 903637"/>
                  <a:gd name="connsiteX1704" fmla="*/ 1070452 w 1687454"/>
                  <a:gd name="connsiteY1704" fmla="*/ 337597 h 903637"/>
                  <a:gd name="connsiteX1705" fmla="*/ 1071951 w 1687454"/>
                  <a:gd name="connsiteY1705" fmla="*/ 338126 h 903637"/>
                  <a:gd name="connsiteX1706" fmla="*/ 1070805 w 1687454"/>
                  <a:gd name="connsiteY1706" fmla="*/ 343945 h 903637"/>
                  <a:gd name="connsiteX1707" fmla="*/ 1093200 w 1687454"/>
                  <a:gd name="connsiteY1707" fmla="*/ 343328 h 903637"/>
                  <a:gd name="connsiteX1708" fmla="*/ 1091436 w 1687454"/>
                  <a:gd name="connsiteY1708" fmla="*/ 343328 h 903637"/>
                  <a:gd name="connsiteX1709" fmla="*/ 1091172 w 1687454"/>
                  <a:gd name="connsiteY1709" fmla="*/ 343328 h 903637"/>
                  <a:gd name="connsiteX1710" fmla="*/ 1089409 w 1687454"/>
                  <a:gd name="connsiteY1710" fmla="*/ 342799 h 903637"/>
                  <a:gd name="connsiteX1711" fmla="*/ 1086499 w 1687454"/>
                  <a:gd name="connsiteY1711" fmla="*/ 342799 h 903637"/>
                  <a:gd name="connsiteX1712" fmla="*/ 1085882 w 1687454"/>
                  <a:gd name="connsiteY1712" fmla="*/ 342799 h 903637"/>
                  <a:gd name="connsiteX1713" fmla="*/ 1084736 w 1687454"/>
                  <a:gd name="connsiteY1713" fmla="*/ 342534 h 903637"/>
                  <a:gd name="connsiteX1714" fmla="*/ 1084736 w 1687454"/>
                  <a:gd name="connsiteY1714" fmla="*/ 341917 h 903637"/>
                  <a:gd name="connsiteX1715" fmla="*/ 1086763 w 1687454"/>
                  <a:gd name="connsiteY1715" fmla="*/ 340771 h 903637"/>
                  <a:gd name="connsiteX1716" fmla="*/ 1085000 w 1687454"/>
                  <a:gd name="connsiteY1716" fmla="*/ 340771 h 903637"/>
                  <a:gd name="connsiteX1717" fmla="*/ 1084383 w 1687454"/>
                  <a:gd name="connsiteY1717" fmla="*/ 340771 h 903637"/>
                  <a:gd name="connsiteX1718" fmla="*/ 1082620 w 1687454"/>
                  <a:gd name="connsiteY1718" fmla="*/ 340771 h 903637"/>
                  <a:gd name="connsiteX1719" fmla="*/ 1082355 w 1687454"/>
                  <a:gd name="connsiteY1719" fmla="*/ 339272 h 903637"/>
                  <a:gd name="connsiteX1720" fmla="*/ 1082972 w 1687454"/>
                  <a:gd name="connsiteY1720" fmla="*/ 338390 h 903637"/>
                  <a:gd name="connsiteX1721" fmla="*/ 1082708 w 1687454"/>
                  <a:gd name="connsiteY1721" fmla="*/ 338126 h 903637"/>
                  <a:gd name="connsiteX1722" fmla="*/ 1082708 w 1687454"/>
                  <a:gd name="connsiteY1722" fmla="*/ 337244 h 903637"/>
                  <a:gd name="connsiteX1723" fmla="*/ 1082443 w 1687454"/>
                  <a:gd name="connsiteY1723" fmla="*/ 336980 h 903637"/>
                  <a:gd name="connsiteX1724" fmla="*/ 1083060 w 1687454"/>
                  <a:gd name="connsiteY1724" fmla="*/ 335833 h 903637"/>
                  <a:gd name="connsiteX1725" fmla="*/ 1081033 w 1687454"/>
                  <a:gd name="connsiteY1725" fmla="*/ 335216 h 903637"/>
                  <a:gd name="connsiteX1726" fmla="*/ 1080151 w 1687454"/>
                  <a:gd name="connsiteY1726" fmla="*/ 333717 h 903637"/>
                  <a:gd name="connsiteX1727" fmla="*/ 1080680 w 1687454"/>
                  <a:gd name="connsiteY1727" fmla="*/ 332836 h 903637"/>
                  <a:gd name="connsiteX1728" fmla="*/ 1083854 w 1687454"/>
                  <a:gd name="connsiteY1728" fmla="*/ 333100 h 903637"/>
                  <a:gd name="connsiteX1729" fmla="*/ 1085882 w 1687454"/>
                  <a:gd name="connsiteY1729" fmla="*/ 333717 h 903637"/>
                  <a:gd name="connsiteX1730" fmla="*/ 1087910 w 1687454"/>
                  <a:gd name="connsiteY1730" fmla="*/ 333982 h 903637"/>
                  <a:gd name="connsiteX1731" fmla="*/ 1088439 w 1687454"/>
                  <a:gd name="connsiteY1731" fmla="*/ 335128 h 903637"/>
                  <a:gd name="connsiteX1732" fmla="*/ 1089938 w 1687454"/>
                  <a:gd name="connsiteY1732" fmla="*/ 336274 h 903637"/>
                  <a:gd name="connsiteX1733" fmla="*/ 1090819 w 1687454"/>
                  <a:gd name="connsiteY1733" fmla="*/ 337420 h 903637"/>
                  <a:gd name="connsiteX1734" fmla="*/ 1089938 w 1687454"/>
                  <a:gd name="connsiteY1734" fmla="*/ 338567 h 903637"/>
                  <a:gd name="connsiteX1735" fmla="*/ 1087557 w 1687454"/>
                  <a:gd name="connsiteY1735" fmla="*/ 339713 h 903637"/>
                  <a:gd name="connsiteX1736" fmla="*/ 1088703 w 1687454"/>
                  <a:gd name="connsiteY1736" fmla="*/ 340595 h 903637"/>
                  <a:gd name="connsiteX1737" fmla="*/ 1090466 w 1687454"/>
                  <a:gd name="connsiteY1737" fmla="*/ 341212 h 903637"/>
                  <a:gd name="connsiteX1738" fmla="*/ 1094875 w 1687454"/>
                  <a:gd name="connsiteY1738" fmla="*/ 341829 h 903637"/>
                  <a:gd name="connsiteX1739" fmla="*/ 1093200 w 1687454"/>
                  <a:gd name="connsiteY1739" fmla="*/ 343328 h 903637"/>
                  <a:gd name="connsiteX1740" fmla="*/ 443663 w 1687454"/>
                  <a:gd name="connsiteY1740" fmla="*/ 364400 h 903637"/>
                  <a:gd name="connsiteX1741" fmla="*/ 478666 w 1687454"/>
                  <a:gd name="connsiteY1741" fmla="*/ 352762 h 903637"/>
                  <a:gd name="connsiteX1742" fmla="*/ 484221 w 1687454"/>
                  <a:gd name="connsiteY1742" fmla="*/ 352497 h 903637"/>
                  <a:gd name="connsiteX1743" fmla="*/ 480694 w 1687454"/>
                  <a:gd name="connsiteY1743" fmla="*/ 347560 h 903637"/>
                  <a:gd name="connsiteX1744" fmla="*/ 488541 w 1687454"/>
                  <a:gd name="connsiteY1744" fmla="*/ 345267 h 903637"/>
                  <a:gd name="connsiteX1745" fmla="*/ 490304 w 1687454"/>
                  <a:gd name="connsiteY1745" fmla="*/ 343504 h 903637"/>
                  <a:gd name="connsiteX1746" fmla="*/ 501943 w 1687454"/>
                  <a:gd name="connsiteY1746" fmla="*/ 342622 h 903637"/>
                  <a:gd name="connsiteX1747" fmla="*/ 505469 w 1687454"/>
                  <a:gd name="connsiteY1747" fmla="*/ 345532 h 903637"/>
                  <a:gd name="connsiteX1748" fmla="*/ 513933 w 1687454"/>
                  <a:gd name="connsiteY1748" fmla="*/ 345267 h 903637"/>
                  <a:gd name="connsiteX1749" fmla="*/ 523015 w 1687454"/>
                  <a:gd name="connsiteY1749" fmla="*/ 341212 h 903637"/>
                  <a:gd name="connsiteX1750" fmla="*/ 517196 w 1687454"/>
                  <a:gd name="connsiteY1750" fmla="*/ 341829 h 903637"/>
                  <a:gd name="connsiteX1751" fmla="*/ 517725 w 1687454"/>
                  <a:gd name="connsiteY1751" fmla="*/ 340065 h 903637"/>
                  <a:gd name="connsiteX1752" fmla="*/ 522133 w 1687454"/>
                  <a:gd name="connsiteY1752" fmla="*/ 337773 h 903637"/>
                  <a:gd name="connsiteX1753" fmla="*/ 529451 w 1687454"/>
                  <a:gd name="connsiteY1753" fmla="*/ 335745 h 903637"/>
                  <a:gd name="connsiteX1754" fmla="*/ 538532 w 1687454"/>
                  <a:gd name="connsiteY1754" fmla="*/ 328780 h 903637"/>
                  <a:gd name="connsiteX1755" fmla="*/ 535006 w 1687454"/>
                  <a:gd name="connsiteY1755" fmla="*/ 329397 h 903637"/>
                  <a:gd name="connsiteX1756" fmla="*/ 541971 w 1687454"/>
                  <a:gd name="connsiteY1756" fmla="*/ 324989 h 903637"/>
                  <a:gd name="connsiteX1757" fmla="*/ 533242 w 1687454"/>
                  <a:gd name="connsiteY1757" fmla="*/ 326135 h 903637"/>
                  <a:gd name="connsiteX1758" fmla="*/ 529716 w 1687454"/>
                  <a:gd name="connsiteY1758" fmla="*/ 329662 h 903637"/>
                  <a:gd name="connsiteX1759" fmla="*/ 518342 w 1687454"/>
                  <a:gd name="connsiteY1759" fmla="*/ 331689 h 903637"/>
                  <a:gd name="connsiteX1760" fmla="*/ 492420 w 1687454"/>
                  <a:gd name="connsiteY1760" fmla="*/ 330543 h 903637"/>
                  <a:gd name="connsiteX1761" fmla="*/ 491274 w 1687454"/>
                  <a:gd name="connsiteY1761" fmla="*/ 329044 h 903637"/>
                  <a:gd name="connsiteX1762" fmla="*/ 498592 w 1687454"/>
                  <a:gd name="connsiteY1762" fmla="*/ 326135 h 903637"/>
                  <a:gd name="connsiteX1763" fmla="*/ 524866 w 1687454"/>
                  <a:gd name="connsiteY1763" fmla="*/ 319434 h 903637"/>
                  <a:gd name="connsiteX1764" fmla="*/ 524866 w 1687454"/>
                  <a:gd name="connsiteY1764" fmla="*/ 318552 h 903637"/>
                  <a:gd name="connsiteX1765" fmla="*/ 517548 w 1687454"/>
                  <a:gd name="connsiteY1765" fmla="*/ 318200 h 903637"/>
                  <a:gd name="connsiteX1766" fmla="*/ 514022 w 1687454"/>
                  <a:gd name="connsiteY1766" fmla="*/ 316436 h 903637"/>
                  <a:gd name="connsiteX1767" fmla="*/ 503530 w 1687454"/>
                  <a:gd name="connsiteY1767" fmla="*/ 317318 h 903637"/>
                  <a:gd name="connsiteX1768" fmla="*/ 473464 w 1687454"/>
                  <a:gd name="connsiteY1768" fmla="*/ 324019 h 903637"/>
                  <a:gd name="connsiteX1769" fmla="*/ 429115 w 1687454"/>
                  <a:gd name="connsiteY1769" fmla="*/ 331601 h 903637"/>
                  <a:gd name="connsiteX1770" fmla="*/ 425589 w 1687454"/>
                  <a:gd name="connsiteY1770" fmla="*/ 331337 h 903637"/>
                  <a:gd name="connsiteX1771" fmla="*/ 422415 w 1687454"/>
                  <a:gd name="connsiteY1771" fmla="*/ 332483 h 903637"/>
                  <a:gd name="connsiteX1772" fmla="*/ 409542 w 1687454"/>
                  <a:gd name="connsiteY1772" fmla="*/ 333629 h 903637"/>
                  <a:gd name="connsiteX1773" fmla="*/ 407250 w 1687454"/>
                  <a:gd name="connsiteY1773" fmla="*/ 339184 h 903637"/>
                  <a:gd name="connsiteX1774" fmla="*/ 411305 w 1687454"/>
                  <a:gd name="connsiteY1774" fmla="*/ 338302 h 903637"/>
                  <a:gd name="connsiteX1775" fmla="*/ 415361 w 1687454"/>
                  <a:gd name="connsiteY1775" fmla="*/ 335922 h 903637"/>
                  <a:gd name="connsiteX1776" fmla="*/ 421798 w 1687454"/>
                  <a:gd name="connsiteY1776" fmla="*/ 334775 h 903637"/>
                  <a:gd name="connsiteX1777" fmla="*/ 426206 w 1687454"/>
                  <a:gd name="connsiteY1777" fmla="*/ 336539 h 903637"/>
                  <a:gd name="connsiteX1778" fmla="*/ 437580 w 1687454"/>
                  <a:gd name="connsiteY1778" fmla="*/ 335040 h 903637"/>
                  <a:gd name="connsiteX1779" fmla="*/ 439343 w 1687454"/>
                  <a:gd name="connsiteY1779" fmla="*/ 336803 h 903637"/>
                  <a:gd name="connsiteX1780" fmla="*/ 444016 w 1687454"/>
                  <a:gd name="connsiteY1780" fmla="*/ 335040 h 903637"/>
                  <a:gd name="connsiteX1781" fmla="*/ 444280 w 1687454"/>
                  <a:gd name="connsiteY1781" fmla="*/ 333277 h 903637"/>
                  <a:gd name="connsiteX1782" fmla="*/ 461473 w 1687454"/>
                  <a:gd name="connsiteY1782" fmla="*/ 332395 h 903637"/>
                  <a:gd name="connsiteX1783" fmla="*/ 466146 w 1687454"/>
                  <a:gd name="connsiteY1783" fmla="*/ 336451 h 903637"/>
                  <a:gd name="connsiteX1784" fmla="*/ 470819 w 1687454"/>
                  <a:gd name="connsiteY1784" fmla="*/ 337597 h 903637"/>
                  <a:gd name="connsiteX1785" fmla="*/ 465882 w 1687454"/>
                  <a:gd name="connsiteY1785" fmla="*/ 339625 h 903637"/>
                  <a:gd name="connsiteX1786" fmla="*/ 459445 w 1687454"/>
                  <a:gd name="connsiteY1786" fmla="*/ 339625 h 903637"/>
                  <a:gd name="connsiteX1787" fmla="*/ 450717 w 1687454"/>
                  <a:gd name="connsiteY1787" fmla="*/ 337597 h 903637"/>
                  <a:gd name="connsiteX1788" fmla="*/ 445779 w 1687454"/>
                  <a:gd name="connsiteY1788" fmla="*/ 338743 h 903637"/>
                  <a:gd name="connsiteX1789" fmla="*/ 450452 w 1687454"/>
                  <a:gd name="connsiteY1789" fmla="*/ 342534 h 903637"/>
                  <a:gd name="connsiteX1790" fmla="*/ 435287 w 1687454"/>
                  <a:gd name="connsiteY1790" fmla="*/ 348089 h 903637"/>
                  <a:gd name="connsiteX1791" fmla="*/ 432378 w 1687454"/>
                  <a:gd name="connsiteY1791" fmla="*/ 349588 h 903637"/>
                  <a:gd name="connsiteX1792" fmla="*/ 428322 w 1687454"/>
                  <a:gd name="connsiteY1792" fmla="*/ 352762 h 903637"/>
                  <a:gd name="connsiteX1793" fmla="*/ 413774 w 1687454"/>
                  <a:gd name="connsiteY1793" fmla="*/ 356200 h 903637"/>
                  <a:gd name="connsiteX1794" fmla="*/ 414039 w 1687454"/>
                  <a:gd name="connsiteY1794" fmla="*/ 357699 h 903637"/>
                  <a:gd name="connsiteX1795" fmla="*/ 423914 w 1687454"/>
                  <a:gd name="connsiteY1795" fmla="*/ 360344 h 903637"/>
                  <a:gd name="connsiteX1796" fmla="*/ 429468 w 1687454"/>
                  <a:gd name="connsiteY1796" fmla="*/ 359815 h 903637"/>
                  <a:gd name="connsiteX1797" fmla="*/ 432113 w 1687454"/>
                  <a:gd name="connsiteY1797" fmla="*/ 361314 h 903637"/>
                  <a:gd name="connsiteX1798" fmla="*/ 442341 w 1687454"/>
                  <a:gd name="connsiteY1798" fmla="*/ 358669 h 903637"/>
                  <a:gd name="connsiteX1799" fmla="*/ 448777 w 1687454"/>
                  <a:gd name="connsiteY1799" fmla="*/ 352850 h 903637"/>
                  <a:gd name="connsiteX1800" fmla="*/ 463060 w 1687454"/>
                  <a:gd name="connsiteY1800" fmla="*/ 348441 h 903637"/>
                  <a:gd name="connsiteX1801" fmla="*/ 472406 w 1687454"/>
                  <a:gd name="connsiteY1801" fmla="*/ 347824 h 903637"/>
                  <a:gd name="connsiteX1802" fmla="*/ 472142 w 1687454"/>
                  <a:gd name="connsiteY1802" fmla="*/ 350205 h 903637"/>
                  <a:gd name="connsiteX1803" fmla="*/ 452304 w 1687454"/>
                  <a:gd name="connsiteY1803" fmla="*/ 359551 h 903637"/>
                  <a:gd name="connsiteX1804" fmla="*/ 441195 w 1687454"/>
                  <a:gd name="connsiteY1804" fmla="*/ 362196 h 903637"/>
                  <a:gd name="connsiteX1805" fmla="*/ 441195 w 1687454"/>
                  <a:gd name="connsiteY1805" fmla="*/ 364224 h 903637"/>
                  <a:gd name="connsiteX1806" fmla="*/ 443663 w 1687454"/>
                  <a:gd name="connsiteY1806" fmla="*/ 364400 h 903637"/>
                  <a:gd name="connsiteX1807" fmla="*/ 1175814 w 1687454"/>
                  <a:gd name="connsiteY1807" fmla="*/ 391468 h 903637"/>
                  <a:gd name="connsiteX1808" fmla="*/ 1172639 w 1687454"/>
                  <a:gd name="connsiteY1808" fmla="*/ 393496 h 903637"/>
                  <a:gd name="connsiteX1809" fmla="*/ 1163294 w 1687454"/>
                  <a:gd name="connsiteY1809" fmla="*/ 388558 h 903637"/>
                  <a:gd name="connsiteX1810" fmla="*/ 1164175 w 1687454"/>
                  <a:gd name="connsiteY1810" fmla="*/ 387676 h 903637"/>
                  <a:gd name="connsiteX1811" fmla="*/ 1164175 w 1687454"/>
                  <a:gd name="connsiteY1811" fmla="*/ 386178 h 903637"/>
                  <a:gd name="connsiteX1812" fmla="*/ 1167702 w 1687454"/>
                  <a:gd name="connsiteY1812" fmla="*/ 386178 h 903637"/>
                  <a:gd name="connsiteX1813" fmla="*/ 1175902 w 1687454"/>
                  <a:gd name="connsiteY1813" fmla="*/ 389969 h 903637"/>
                  <a:gd name="connsiteX1814" fmla="*/ 1174138 w 1687454"/>
                  <a:gd name="connsiteY1814" fmla="*/ 391468 h 903637"/>
                  <a:gd name="connsiteX1815" fmla="*/ 1175814 w 1687454"/>
                  <a:gd name="connsiteY1815" fmla="*/ 391468 h 903637"/>
                  <a:gd name="connsiteX1816" fmla="*/ 1036067 w 1687454"/>
                  <a:gd name="connsiteY1816" fmla="*/ 394994 h 903637"/>
                  <a:gd name="connsiteX1817" fmla="*/ 1018609 w 1687454"/>
                  <a:gd name="connsiteY1817" fmla="*/ 399050 h 903637"/>
                  <a:gd name="connsiteX1818" fmla="*/ 1023282 w 1687454"/>
                  <a:gd name="connsiteY1818" fmla="*/ 386530 h 903637"/>
                  <a:gd name="connsiteX1819" fmla="*/ 1004061 w 1687454"/>
                  <a:gd name="connsiteY1819" fmla="*/ 387412 h 903637"/>
                  <a:gd name="connsiteX1820" fmla="*/ 996214 w 1687454"/>
                  <a:gd name="connsiteY1820" fmla="*/ 388029 h 903637"/>
                  <a:gd name="connsiteX1821" fmla="*/ 1000006 w 1687454"/>
                  <a:gd name="connsiteY1821" fmla="*/ 384238 h 903637"/>
                  <a:gd name="connsiteX1822" fmla="*/ 1008470 w 1687454"/>
                  <a:gd name="connsiteY1822" fmla="*/ 381064 h 903637"/>
                  <a:gd name="connsiteX1823" fmla="*/ 1021254 w 1687454"/>
                  <a:gd name="connsiteY1823" fmla="*/ 378154 h 903637"/>
                  <a:gd name="connsiteX1824" fmla="*/ 1025927 w 1687454"/>
                  <a:gd name="connsiteY1824" fmla="*/ 366516 h 903637"/>
                  <a:gd name="connsiteX1825" fmla="*/ 1049821 w 1687454"/>
                  <a:gd name="connsiteY1825" fmla="*/ 342005 h 903637"/>
                  <a:gd name="connsiteX1826" fmla="*/ 1061195 w 1687454"/>
                  <a:gd name="connsiteY1826" fmla="*/ 337597 h 903637"/>
                  <a:gd name="connsiteX1827" fmla="*/ 1064104 w 1687454"/>
                  <a:gd name="connsiteY1827" fmla="*/ 340242 h 903637"/>
                  <a:gd name="connsiteX1828" fmla="*/ 1062341 w 1687454"/>
                  <a:gd name="connsiteY1828" fmla="*/ 345179 h 903637"/>
                  <a:gd name="connsiteX1829" fmla="*/ 1058814 w 1687454"/>
                  <a:gd name="connsiteY1829" fmla="*/ 345796 h 903637"/>
                  <a:gd name="connsiteX1830" fmla="*/ 1061195 w 1687454"/>
                  <a:gd name="connsiteY1830" fmla="*/ 348089 h 903637"/>
                  <a:gd name="connsiteX1831" fmla="*/ 1062341 w 1687454"/>
                  <a:gd name="connsiteY1831" fmla="*/ 352762 h 903637"/>
                  <a:gd name="connsiteX1832" fmla="*/ 1069923 w 1687454"/>
                  <a:gd name="connsiteY1832" fmla="*/ 347207 h 903637"/>
                  <a:gd name="connsiteX1833" fmla="*/ 1074332 w 1687454"/>
                  <a:gd name="connsiteY1833" fmla="*/ 350381 h 903637"/>
                  <a:gd name="connsiteX1834" fmla="*/ 1072568 w 1687454"/>
                  <a:gd name="connsiteY1834" fmla="*/ 352145 h 903637"/>
                  <a:gd name="connsiteX1835" fmla="*/ 1084559 w 1687454"/>
                  <a:gd name="connsiteY1835" fmla="*/ 354790 h 903637"/>
                  <a:gd name="connsiteX1836" fmla="*/ 1084824 w 1687454"/>
                  <a:gd name="connsiteY1836" fmla="*/ 358845 h 903637"/>
                  <a:gd name="connsiteX1837" fmla="*/ 1101399 w 1687454"/>
                  <a:gd name="connsiteY1837" fmla="*/ 366428 h 903637"/>
                  <a:gd name="connsiteX1838" fmla="*/ 1099107 w 1687454"/>
                  <a:gd name="connsiteY1838" fmla="*/ 377184 h 903637"/>
                  <a:gd name="connsiteX1839" fmla="*/ 1091260 w 1687454"/>
                  <a:gd name="connsiteY1839" fmla="*/ 379477 h 903637"/>
                  <a:gd name="connsiteX1840" fmla="*/ 1106425 w 1687454"/>
                  <a:gd name="connsiteY1840" fmla="*/ 380094 h 903637"/>
                  <a:gd name="connsiteX1841" fmla="*/ 1109070 w 1687454"/>
                  <a:gd name="connsiteY1841" fmla="*/ 380094 h 903637"/>
                  <a:gd name="connsiteX1842" fmla="*/ 1111362 w 1687454"/>
                  <a:gd name="connsiteY1842" fmla="*/ 377184 h 903637"/>
                  <a:gd name="connsiteX1843" fmla="*/ 1115154 w 1687454"/>
                  <a:gd name="connsiteY1843" fmla="*/ 380711 h 903637"/>
                  <a:gd name="connsiteX1844" fmla="*/ 1113390 w 1687454"/>
                  <a:gd name="connsiteY1844" fmla="*/ 382122 h 903637"/>
                  <a:gd name="connsiteX1845" fmla="*/ 1118328 w 1687454"/>
                  <a:gd name="connsiteY1845" fmla="*/ 384150 h 903637"/>
                  <a:gd name="connsiteX1846" fmla="*/ 1100253 w 1687454"/>
                  <a:gd name="connsiteY1846" fmla="*/ 391115 h 903637"/>
                  <a:gd name="connsiteX1847" fmla="*/ 1085353 w 1687454"/>
                  <a:gd name="connsiteY1847" fmla="*/ 386178 h 903637"/>
                  <a:gd name="connsiteX1848" fmla="*/ 1078035 w 1687454"/>
                  <a:gd name="connsiteY1848" fmla="*/ 386178 h 903637"/>
                  <a:gd name="connsiteX1849" fmla="*/ 1078299 w 1687454"/>
                  <a:gd name="connsiteY1849" fmla="*/ 384414 h 903637"/>
                  <a:gd name="connsiteX1850" fmla="*/ 1082355 w 1687454"/>
                  <a:gd name="connsiteY1850" fmla="*/ 380623 h 903637"/>
                  <a:gd name="connsiteX1851" fmla="*/ 1070981 w 1687454"/>
                  <a:gd name="connsiteY1851" fmla="*/ 379741 h 903637"/>
                  <a:gd name="connsiteX1852" fmla="*/ 1071598 w 1687454"/>
                  <a:gd name="connsiteY1852" fmla="*/ 376832 h 903637"/>
                  <a:gd name="connsiteX1853" fmla="*/ 1065515 w 1687454"/>
                  <a:gd name="connsiteY1853" fmla="*/ 377449 h 903637"/>
                  <a:gd name="connsiteX1854" fmla="*/ 1059343 w 1687454"/>
                  <a:gd name="connsiteY1854" fmla="*/ 384150 h 903637"/>
                  <a:gd name="connsiteX1855" fmla="*/ 1049733 w 1687454"/>
                  <a:gd name="connsiteY1855" fmla="*/ 387676 h 903637"/>
                  <a:gd name="connsiteX1856" fmla="*/ 1043914 w 1687454"/>
                  <a:gd name="connsiteY1856" fmla="*/ 388558 h 903637"/>
                  <a:gd name="connsiteX1857" fmla="*/ 1036067 w 1687454"/>
                  <a:gd name="connsiteY1857" fmla="*/ 394994 h 903637"/>
                  <a:gd name="connsiteX1858" fmla="*/ 1155976 w 1687454"/>
                  <a:gd name="connsiteY1858" fmla="*/ 397639 h 903637"/>
                  <a:gd name="connsiteX1859" fmla="*/ 1147776 w 1687454"/>
                  <a:gd name="connsiteY1859" fmla="*/ 399403 h 903637"/>
                  <a:gd name="connsiteX1860" fmla="*/ 1146894 w 1687454"/>
                  <a:gd name="connsiteY1860" fmla="*/ 399138 h 903637"/>
                  <a:gd name="connsiteX1861" fmla="*/ 1141957 w 1687454"/>
                  <a:gd name="connsiteY1861" fmla="*/ 392085 h 903637"/>
                  <a:gd name="connsiteX1862" fmla="*/ 1147511 w 1687454"/>
                  <a:gd name="connsiteY1862" fmla="*/ 390674 h 903637"/>
                  <a:gd name="connsiteX1863" fmla="*/ 1157122 w 1687454"/>
                  <a:gd name="connsiteY1863" fmla="*/ 392437 h 903637"/>
                  <a:gd name="connsiteX1864" fmla="*/ 1155976 w 1687454"/>
                  <a:gd name="connsiteY1864" fmla="*/ 397639 h 903637"/>
                  <a:gd name="connsiteX1865" fmla="*/ 1036331 w 1687454"/>
                  <a:gd name="connsiteY1865" fmla="*/ 420034 h 903637"/>
                  <a:gd name="connsiteX1866" fmla="*/ 1034832 w 1687454"/>
                  <a:gd name="connsiteY1866" fmla="*/ 420299 h 903637"/>
                  <a:gd name="connsiteX1867" fmla="*/ 1035978 w 1687454"/>
                  <a:gd name="connsiteY1867" fmla="*/ 417125 h 903637"/>
                  <a:gd name="connsiteX1868" fmla="*/ 1034832 w 1687454"/>
                  <a:gd name="connsiteY1868" fmla="*/ 414215 h 903637"/>
                  <a:gd name="connsiteX1869" fmla="*/ 1036331 w 1687454"/>
                  <a:gd name="connsiteY1869" fmla="*/ 412452 h 903637"/>
                  <a:gd name="connsiteX1870" fmla="*/ 1043032 w 1687454"/>
                  <a:gd name="connsiteY1870" fmla="*/ 409542 h 903637"/>
                  <a:gd name="connsiteX1871" fmla="*/ 1049733 w 1687454"/>
                  <a:gd name="connsiteY1871" fmla="*/ 404252 h 903637"/>
                  <a:gd name="connsiteX1872" fmla="*/ 1052642 w 1687454"/>
                  <a:gd name="connsiteY1872" fmla="*/ 402841 h 903637"/>
                  <a:gd name="connsiteX1873" fmla="*/ 1054406 w 1687454"/>
                  <a:gd name="connsiteY1873" fmla="*/ 403723 h 903637"/>
                  <a:gd name="connsiteX1874" fmla="*/ 1054670 w 1687454"/>
                  <a:gd name="connsiteY1874" fmla="*/ 404340 h 903637"/>
                  <a:gd name="connsiteX1875" fmla="*/ 1059872 w 1687454"/>
                  <a:gd name="connsiteY1875" fmla="*/ 403723 h 903637"/>
                  <a:gd name="connsiteX1876" fmla="*/ 1064280 w 1687454"/>
                  <a:gd name="connsiteY1876" fmla="*/ 402577 h 903637"/>
                  <a:gd name="connsiteX1877" fmla="*/ 1068689 w 1687454"/>
                  <a:gd name="connsiteY1877" fmla="*/ 402577 h 903637"/>
                  <a:gd name="connsiteX1878" fmla="*/ 1070717 w 1687454"/>
                  <a:gd name="connsiteY1878" fmla="*/ 401960 h 903637"/>
                  <a:gd name="connsiteX1879" fmla="*/ 1076800 w 1687454"/>
                  <a:gd name="connsiteY1879" fmla="*/ 403106 h 903637"/>
                  <a:gd name="connsiteX1880" fmla="*/ 1072392 w 1687454"/>
                  <a:gd name="connsiteY1880" fmla="*/ 408043 h 903637"/>
                  <a:gd name="connsiteX1881" fmla="*/ 1068865 w 1687454"/>
                  <a:gd name="connsiteY1881" fmla="*/ 409542 h 903637"/>
                  <a:gd name="connsiteX1882" fmla="*/ 1067719 w 1687454"/>
                  <a:gd name="connsiteY1882" fmla="*/ 410424 h 903637"/>
                  <a:gd name="connsiteX1883" fmla="*/ 1064545 w 1687454"/>
                  <a:gd name="connsiteY1883" fmla="*/ 411041 h 903637"/>
                  <a:gd name="connsiteX1884" fmla="*/ 1060137 w 1687454"/>
                  <a:gd name="connsiteY1884" fmla="*/ 413951 h 903637"/>
                  <a:gd name="connsiteX1885" fmla="*/ 1055728 w 1687454"/>
                  <a:gd name="connsiteY1885" fmla="*/ 415714 h 903637"/>
                  <a:gd name="connsiteX1886" fmla="*/ 1049645 w 1687454"/>
                  <a:gd name="connsiteY1886" fmla="*/ 418976 h 903637"/>
                  <a:gd name="connsiteX1887" fmla="*/ 1045853 w 1687454"/>
                  <a:gd name="connsiteY1887" fmla="*/ 420122 h 903637"/>
                  <a:gd name="connsiteX1888" fmla="*/ 1041798 w 1687454"/>
                  <a:gd name="connsiteY1888" fmla="*/ 418359 h 903637"/>
                  <a:gd name="connsiteX1889" fmla="*/ 1040651 w 1687454"/>
                  <a:gd name="connsiteY1889" fmla="*/ 418359 h 903637"/>
                  <a:gd name="connsiteX1890" fmla="*/ 1036331 w 1687454"/>
                  <a:gd name="connsiteY1890" fmla="*/ 420034 h 903637"/>
                  <a:gd name="connsiteX1891" fmla="*/ 1341129 w 1687454"/>
                  <a:gd name="connsiteY1891" fmla="*/ 425942 h 903637"/>
                  <a:gd name="connsiteX1892" fmla="*/ 1337074 w 1687454"/>
                  <a:gd name="connsiteY1892" fmla="*/ 426206 h 903637"/>
                  <a:gd name="connsiteX1893" fmla="*/ 1333018 w 1687454"/>
                  <a:gd name="connsiteY1893" fmla="*/ 423296 h 903637"/>
                  <a:gd name="connsiteX1894" fmla="*/ 1325171 w 1687454"/>
                  <a:gd name="connsiteY1894" fmla="*/ 421269 h 903637"/>
                  <a:gd name="connsiteX1895" fmla="*/ 1322878 w 1687454"/>
                  <a:gd name="connsiteY1895" fmla="*/ 419770 h 903637"/>
                  <a:gd name="connsiteX1896" fmla="*/ 1307713 w 1687454"/>
                  <a:gd name="connsiteY1896" fmla="*/ 418006 h 903637"/>
                  <a:gd name="connsiteX1897" fmla="*/ 1295194 w 1687454"/>
                  <a:gd name="connsiteY1897" fmla="*/ 413951 h 903637"/>
                  <a:gd name="connsiteX1898" fmla="*/ 1289903 w 1687454"/>
                  <a:gd name="connsiteY1898" fmla="*/ 410424 h 903637"/>
                  <a:gd name="connsiteX1899" fmla="*/ 1290168 w 1687454"/>
                  <a:gd name="connsiteY1899" fmla="*/ 408661 h 903637"/>
                  <a:gd name="connsiteX1900" fmla="*/ 1292196 w 1687454"/>
                  <a:gd name="connsiteY1900" fmla="*/ 406015 h 903637"/>
                  <a:gd name="connsiteX1901" fmla="*/ 1287258 w 1687454"/>
                  <a:gd name="connsiteY1901" fmla="*/ 405398 h 903637"/>
                  <a:gd name="connsiteX1902" fmla="*/ 1281439 w 1687454"/>
                  <a:gd name="connsiteY1902" fmla="*/ 406015 h 903637"/>
                  <a:gd name="connsiteX1903" fmla="*/ 1277031 w 1687454"/>
                  <a:gd name="connsiteY1903" fmla="*/ 403370 h 903637"/>
                  <a:gd name="connsiteX1904" fmla="*/ 1261601 w 1687454"/>
                  <a:gd name="connsiteY1904" fmla="*/ 397816 h 903637"/>
                  <a:gd name="connsiteX1905" fmla="*/ 1260455 w 1687454"/>
                  <a:gd name="connsiteY1905" fmla="*/ 395788 h 903637"/>
                  <a:gd name="connsiteX1906" fmla="*/ 1260191 w 1687454"/>
                  <a:gd name="connsiteY1906" fmla="*/ 390586 h 903637"/>
                  <a:gd name="connsiteX1907" fmla="*/ 1265745 w 1687454"/>
                  <a:gd name="connsiteY1907" fmla="*/ 390586 h 903637"/>
                  <a:gd name="connsiteX1908" fmla="*/ 1270947 w 1687454"/>
                  <a:gd name="connsiteY1908" fmla="*/ 388558 h 903637"/>
                  <a:gd name="connsiteX1909" fmla="*/ 1271564 w 1687454"/>
                  <a:gd name="connsiteY1909" fmla="*/ 387412 h 903637"/>
                  <a:gd name="connsiteX1910" fmla="*/ 1268655 w 1687454"/>
                  <a:gd name="connsiteY1910" fmla="*/ 386795 h 903637"/>
                  <a:gd name="connsiteX1911" fmla="*/ 1263982 w 1687454"/>
                  <a:gd name="connsiteY1911" fmla="*/ 382386 h 903637"/>
                  <a:gd name="connsiteX1912" fmla="*/ 1260455 w 1687454"/>
                  <a:gd name="connsiteY1912" fmla="*/ 385031 h 903637"/>
                  <a:gd name="connsiteX1913" fmla="*/ 1257546 w 1687454"/>
                  <a:gd name="connsiteY1913" fmla="*/ 384150 h 903637"/>
                  <a:gd name="connsiteX1914" fmla="*/ 1261072 w 1687454"/>
                  <a:gd name="connsiteY1914" fmla="*/ 377978 h 903637"/>
                  <a:gd name="connsiteX1915" fmla="*/ 1260191 w 1687454"/>
                  <a:gd name="connsiteY1915" fmla="*/ 377713 h 903637"/>
                  <a:gd name="connsiteX1916" fmla="*/ 1258427 w 1687454"/>
                  <a:gd name="connsiteY1916" fmla="*/ 380623 h 903637"/>
                  <a:gd name="connsiteX1917" fmla="*/ 1255253 w 1687454"/>
                  <a:gd name="connsiteY1917" fmla="*/ 382915 h 903637"/>
                  <a:gd name="connsiteX1918" fmla="*/ 1253754 w 1687454"/>
                  <a:gd name="connsiteY1918" fmla="*/ 379741 h 903637"/>
                  <a:gd name="connsiteX1919" fmla="*/ 1250845 w 1687454"/>
                  <a:gd name="connsiteY1919" fmla="*/ 376832 h 903637"/>
                  <a:gd name="connsiteX1920" fmla="*/ 1252873 w 1687454"/>
                  <a:gd name="connsiteY1920" fmla="*/ 374451 h 903637"/>
                  <a:gd name="connsiteX1921" fmla="*/ 1249699 w 1687454"/>
                  <a:gd name="connsiteY1921" fmla="*/ 374451 h 903637"/>
                  <a:gd name="connsiteX1922" fmla="*/ 1249963 w 1687454"/>
                  <a:gd name="connsiteY1922" fmla="*/ 371806 h 903637"/>
                  <a:gd name="connsiteX1923" fmla="*/ 1247935 w 1687454"/>
                  <a:gd name="connsiteY1923" fmla="*/ 370924 h 903637"/>
                  <a:gd name="connsiteX1924" fmla="*/ 1246172 w 1687454"/>
                  <a:gd name="connsiteY1924" fmla="*/ 371806 h 903637"/>
                  <a:gd name="connsiteX1925" fmla="*/ 1246437 w 1687454"/>
                  <a:gd name="connsiteY1925" fmla="*/ 369514 h 903637"/>
                  <a:gd name="connsiteX1926" fmla="*/ 1254019 w 1687454"/>
                  <a:gd name="connsiteY1926" fmla="*/ 364576 h 903637"/>
                  <a:gd name="connsiteX1927" fmla="*/ 1251726 w 1687454"/>
                  <a:gd name="connsiteY1927" fmla="*/ 363959 h 903637"/>
                  <a:gd name="connsiteX1928" fmla="*/ 1242645 w 1687454"/>
                  <a:gd name="connsiteY1928" fmla="*/ 369778 h 903637"/>
                  <a:gd name="connsiteX1929" fmla="*/ 1245907 w 1687454"/>
                  <a:gd name="connsiteY1929" fmla="*/ 365370 h 903637"/>
                  <a:gd name="connsiteX1930" fmla="*/ 1247935 w 1687454"/>
                  <a:gd name="connsiteY1930" fmla="*/ 364753 h 903637"/>
                  <a:gd name="connsiteX1931" fmla="*/ 1244144 w 1687454"/>
                  <a:gd name="connsiteY1931" fmla="*/ 364488 h 903637"/>
                  <a:gd name="connsiteX1932" fmla="*/ 1242998 w 1687454"/>
                  <a:gd name="connsiteY1932" fmla="*/ 365370 h 903637"/>
                  <a:gd name="connsiteX1933" fmla="*/ 1241234 w 1687454"/>
                  <a:gd name="connsiteY1933" fmla="*/ 365105 h 903637"/>
                  <a:gd name="connsiteX1934" fmla="*/ 1235151 w 1687454"/>
                  <a:gd name="connsiteY1934" fmla="*/ 370043 h 903637"/>
                  <a:gd name="connsiteX1935" fmla="*/ 1233652 w 1687454"/>
                  <a:gd name="connsiteY1935" fmla="*/ 370043 h 903637"/>
                  <a:gd name="connsiteX1936" fmla="*/ 1240970 w 1687454"/>
                  <a:gd name="connsiteY1936" fmla="*/ 363077 h 903637"/>
                  <a:gd name="connsiteX1937" fmla="*/ 1238942 w 1687454"/>
                  <a:gd name="connsiteY1937" fmla="*/ 362196 h 903637"/>
                  <a:gd name="connsiteX1938" fmla="*/ 1233652 w 1687454"/>
                  <a:gd name="connsiteY1938" fmla="*/ 364841 h 903637"/>
                  <a:gd name="connsiteX1939" fmla="*/ 1230743 w 1687454"/>
                  <a:gd name="connsiteY1939" fmla="*/ 363959 h 903637"/>
                  <a:gd name="connsiteX1940" fmla="*/ 1230478 w 1687454"/>
                  <a:gd name="connsiteY1940" fmla="*/ 362196 h 903637"/>
                  <a:gd name="connsiteX1941" fmla="*/ 1233123 w 1687454"/>
                  <a:gd name="connsiteY1941" fmla="*/ 359903 h 903637"/>
                  <a:gd name="connsiteX1942" fmla="*/ 1230478 w 1687454"/>
                  <a:gd name="connsiteY1942" fmla="*/ 359903 h 903637"/>
                  <a:gd name="connsiteX1943" fmla="*/ 1228715 w 1687454"/>
                  <a:gd name="connsiteY1943" fmla="*/ 361050 h 903637"/>
                  <a:gd name="connsiteX1944" fmla="*/ 1225805 w 1687454"/>
                  <a:gd name="connsiteY1944" fmla="*/ 361314 h 903637"/>
                  <a:gd name="connsiteX1945" fmla="*/ 1230213 w 1687454"/>
                  <a:gd name="connsiteY1945" fmla="*/ 365370 h 903637"/>
                  <a:gd name="connsiteX1946" fmla="*/ 1224659 w 1687454"/>
                  <a:gd name="connsiteY1946" fmla="*/ 369426 h 903637"/>
                  <a:gd name="connsiteX1947" fmla="*/ 1217076 w 1687454"/>
                  <a:gd name="connsiteY1947" fmla="*/ 368279 h 903637"/>
                  <a:gd name="connsiteX1948" fmla="*/ 1216195 w 1687454"/>
                  <a:gd name="connsiteY1948" fmla="*/ 366516 h 903637"/>
                  <a:gd name="connsiteX1949" fmla="*/ 1209494 w 1687454"/>
                  <a:gd name="connsiteY1949" fmla="*/ 365370 h 903637"/>
                  <a:gd name="connsiteX1950" fmla="*/ 1207995 w 1687454"/>
                  <a:gd name="connsiteY1950" fmla="*/ 367133 h 903637"/>
                  <a:gd name="connsiteX1951" fmla="*/ 1208877 w 1687454"/>
                  <a:gd name="connsiteY1951" fmla="*/ 367662 h 903637"/>
                  <a:gd name="connsiteX1952" fmla="*/ 1207466 w 1687454"/>
                  <a:gd name="connsiteY1952" fmla="*/ 367927 h 903637"/>
                  <a:gd name="connsiteX1953" fmla="*/ 1206849 w 1687454"/>
                  <a:gd name="connsiteY1953" fmla="*/ 369426 h 903637"/>
                  <a:gd name="connsiteX1954" fmla="*/ 1201911 w 1687454"/>
                  <a:gd name="connsiteY1954" fmla="*/ 369161 h 903637"/>
                  <a:gd name="connsiteX1955" fmla="*/ 1196357 w 1687454"/>
                  <a:gd name="connsiteY1955" fmla="*/ 370307 h 903637"/>
                  <a:gd name="connsiteX1956" fmla="*/ 1198120 w 1687454"/>
                  <a:gd name="connsiteY1956" fmla="*/ 370924 h 903637"/>
                  <a:gd name="connsiteX1957" fmla="*/ 1195475 w 1687454"/>
                  <a:gd name="connsiteY1957" fmla="*/ 371806 h 903637"/>
                  <a:gd name="connsiteX1958" fmla="*/ 1191067 w 1687454"/>
                  <a:gd name="connsiteY1958" fmla="*/ 371189 h 903637"/>
                  <a:gd name="connsiteX1959" fmla="*/ 1188774 w 1687454"/>
                  <a:gd name="connsiteY1959" fmla="*/ 373217 h 903637"/>
                  <a:gd name="connsiteX1960" fmla="*/ 1177401 w 1687454"/>
                  <a:gd name="connsiteY1960" fmla="*/ 372071 h 903637"/>
                  <a:gd name="connsiteX1961" fmla="*/ 1178018 w 1687454"/>
                  <a:gd name="connsiteY1961" fmla="*/ 371189 h 903637"/>
                  <a:gd name="connsiteX1962" fmla="*/ 1174491 w 1687454"/>
                  <a:gd name="connsiteY1962" fmla="*/ 369426 h 903637"/>
                  <a:gd name="connsiteX1963" fmla="*/ 1172992 w 1687454"/>
                  <a:gd name="connsiteY1963" fmla="*/ 369955 h 903637"/>
                  <a:gd name="connsiteX1964" fmla="*/ 1170612 w 1687454"/>
                  <a:gd name="connsiteY1964" fmla="*/ 368808 h 903637"/>
                  <a:gd name="connsiteX1965" fmla="*/ 1168319 w 1687454"/>
                  <a:gd name="connsiteY1965" fmla="*/ 365282 h 903637"/>
                  <a:gd name="connsiteX1966" fmla="*/ 1169818 w 1687454"/>
                  <a:gd name="connsiteY1966" fmla="*/ 361755 h 903637"/>
                  <a:gd name="connsiteX1967" fmla="*/ 1172463 w 1687454"/>
                  <a:gd name="connsiteY1967" fmla="*/ 360344 h 903637"/>
                  <a:gd name="connsiteX1968" fmla="*/ 1174491 w 1687454"/>
                  <a:gd name="connsiteY1968" fmla="*/ 356553 h 903637"/>
                  <a:gd name="connsiteX1969" fmla="*/ 1178547 w 1687454"/>
                  <a:gd name="connsiteY1969" fmla="*/ 354525 h 903637"/>
                  <a:gd name="connsiteX1970" fmla="*/ 1191067 w 1687454"/>
                  <a:gd name="connsiteY1970" fmla="*/ 351351 h 903637"/>
                  <a:gd name="connsiteX1971" fmla="*/ 1191331 w 1687454"/>
                  <a:gd name="connsiteY1971" fmla="*/ 349852 h 903637"/>
                  <a:gd name="connsiteX1972" fmla="*/ 1190185 w 1687454"/>
                  <a:gd name="connsiteY1972" fmla="*/ 349235 h 903637"/>
                  <a:gd name="connsiteX1973" fmla="*/ 1191067 w 1687454"/>
                  <a:gd name="connsiteY1973" fmla="*/ 347472 h 903637"/>
                  <a:gd name="connsiteX1974" fmla="*/ 1194858 w 1687454"/>
                  <a:gd name="connsiteY1974" fmla="*/ 347736 h 903637"/>
                  <a:gd name="connsiteX1975" fmla="*/ 1193447 w 1687454"/>
                  <a:gd name="connsiteY1975" fmla="*/ 345973 h 903637"/>
                  <a:gd name="connsiteX1976" fmla="*/ 1194329 w 1687454"/>
                  <a:gd name="connsiteY1976" fmla="*/ 345356 h 903637"/>
                  <a:gd name="connsiteX1977" fmla="*/ 1215666 w 1687454"/>
                  <a:gd name="connsiteY1977" fmla="*/ 349147 h 903637"/>
                  <a:gd name="connsiteX1978" fmla="*/ 1216283 w 1687454"/>
                  <a:gd name="connsiteY1978" fmla="*/ 348265 h 903637"/>
                  <a:gd name="connsiteX1979" fmla="*/ 1220339 w 1687454"/>
                  <a:gd name="connsiteY1979" fmla="*/ 348265 h 903637"/>
                  <a:gd name="connsiteX1980" fmla="*/ 1223248 w 1687454"/>
                  <a:gd name="connsiteY1980" fmla="*/ 349147 h 903637"/>
                  <a:gd name="connsiteX1981" fmla="*/ 1229684 w 1687454"/>
                  <a:gd name="connsiteY1981" fmla="*/ 349147 h 903637"/>
                  <a:gd name="connsiteX1982" fmla="*/ 1231448 w 1687454"/>
                  <a:gd name="connsiteY1982" fmla="*/ 347383 h 903637"/>
                  <a:gd name="connsiteX1983" fmla="*/ 1233740 w 1687454"/>
                  <a:gd name="connsiteY1983" fmla="*/ 347648 h 903637"/>
                  <a:gd name="connsiteX1984" fmla="*/ 1235768 w 1687454"/>
                  <a:gd name="connsiteY1984" fmla="*/ 347031 h 903637"/>
                  <a:gd name="connsiteX1985" fmla="*/ 1241852 w 1687454"/>
                  <a:gd name="connsiteY1985" fmla="*/ 347295 h 903637"/>
                  <a:gd name="connsiteX1986" fmla="*/ 1248817 w 1687454"/>
                  <a:gd name="connsiteY1986" fmla="*/ 344121 h 903637"/>
                  <a:gd name="connsiteX1987" fmla="*/ 1256135 w 1687454"/>
                  <a:gd name="connsiteY1987" fmla="*/ 346149 h 903637"/>
                  <a:gd name="connsiteX1988" fmla="*/ 1259662 w 1687454"/>
                  <a:gd name="connsiteY1988" fmla="*/ 343240 h 903637"/>
                  <a:gd name="connsiteX1989" fmla="*/ 1258163 w 1687454"/>
                  <a:gd name="connsiteY1989" fmla="*/ 340595 h 903637"/>
                  <a:gd name="connsiteX1990" fmla="*/ 1258780 w 1687454"/>
                  <a:gd name="connsiteY1990" fmla="*/ 339096 h 903637"/>
                  <a:gd name="connsiteX1991" fmla="*/ 1253490 w 1687454"/>
                  <a:gd name="connsiteY1991" fmla="*/ 334158 h 903637"/>
                  <a:gd name="connsiteX1992" fmla="*/ 1252873 w 1687454"/>
                  <a:gd name="connsiteY1992" fmla="*/ 331866 h 903637"/>
                  <a:gd name="connsiteX1993" fmla="*/ 1256664 w 1687454"/>
                  <a:gd name="connsiteY1993" fmla="*/ 328956 h 903637"/>
                  <a:gd name="connsiteX1994" fmla="*/ 1274121 w 1687454"/>
                  <a:gd name="connsiteY1994" fmla="*/ 321991 h 903637"/>
                  <a:gd name="connsiteX1995" fmla="*/ 1277648 w 1687454"/>
                  <a:gd name="connsiteY1995" fmla="*/ 320228 h 903637"/>
                  <a:gd name="connsiteX1996" fmla="*/ 1284966 w 1687454"/>
                  <a:gd name="connsiteY1996" fmla="*/ 317935 h 903637"/>
                  <a:gd name="connsiteX1997" fmla="*/ 1290785 w 1687454"/>
                  <a:gd name="connsiteY1997" fmla="*/ 311499 h 903637"/>
                  <a:gd name="connsiteX1998" fmla="*/ 1294576 w 1687454"/>
                  <a:gd name="connsiteY1998" fmla="*/ 310617 h 903637"/>
                  <a:gd name="connsiteX1999" fmla="*/ 1298985 w 1687454"/>
                  <a:gd name="connsiteY1999" fmla="*/ 310353 h 903637"/>
                  <a:gd name="connsiteX2000" fmla="*/ 1301277 w 1687454"/>
                  <a:gd name="connsiteY2000" fmla="*/ 307443 h 903637"/>
                  <a:gd name="connsiteX2001" fmla="*/ 1303569 w 1687454"/>
                  <a:gd name="connsiteY2001" fmla="*/ 298979 h 903637"/>
                  <a:gd name="connsiteX2002" fmla="*/ 1301806 w 1687454"/>
                  <a:gd name="connsiteY2002" fmla="*/ 298362 h 903637"/>
                  <a:gd name="connsiteX2003" fmla="*/ 1304451 w 1687454"/>
                  <a:gd name="connsiteY2003" fmla="*/ 294571 h 903637"/>
                  <a:gd name="connsiteX2004" fmla="*/ 1302159 w 1687454"/>
                  <a:gd name="connsiteY2004" fmla="*/ 292807 h 903637"/>
                  <a:gd name="connsiteX2005" fmla="*/ 1303305 w 1687454"/>
                  <a:gd name="connsiteY2005" fmla="*/ 287253 h 903637"/>
                  <a:gd name="connsiteX2006" fmla="*/ 1301277 w 1687454"/>
                  <a:gd name="connsiteY2006" fmla="*/ 284872 h 903637"/>
                  <a:gd name="connsiteX2007" fmla="*/ 1292196 w 1687454"/>
                  <a:gd name="connsiteY2007" fmla="*/ 283461 h 903637"/>
                  <a:gd name="connsiteX2008" fmla="*/ 1293077 w 1687454"/>
                  <a:gd name="connsiteY2008" fmla="*/ 282051 h 903637"/>
                  <a:gd name="connsiteX2009" fmla="*/ 1299778 w 1687454"/>
                  <a:gd name="connsiteY2009" fmla="*/ 280904 h 903637"/>
                  <a:gd name="connsiteX2010" fmla="*/ 1293077 w 1687454"/>
                  <a:gd name="connsiteY2010" fmla="*/ 280640 h 903637"/>
                  <a:gd name="connsiteX2011" fmla="*/ 1296252 w 1687454"/>
                  <a:gd name="connsiteY2011" fmla="*/ 278877 h 903637"/>
                  <a:gd name="connsiteX2012" fmla="*/ 1296252 w 1687454"/>
                  <a:gd name="connsiteY2012" fmla="*/ 275703 h 903637"/>
                  <a:gd name="connsiteX2013" fmla="*/ 1293342 w 1687454"/>
                  <a:gd name="connsiteY2013" fmla="*/ 275085 h 903637"/>
                  <a:gd name="connsiteX2014" fmla="*/ 1291843 w 1687454"/>
                  <a:gd name="connsiteY2014" fmla="*/ 275967 h 903637"/>
                  <a:gd name="connsiteX2015" fmla="*/ 1293606 w 1687454"/>
                  <a:gd name="connsiteY2015" fmla="*/ 278348 h 903637"/>
                  <a:gd name="connsiteX2016" fmla="*/ 1292460 w 1687454"/>
                  <a:gd name="connsiteY2016" fmla="*/ 279758 h 903637"/>
                  <a:gd name="connsiteX2017" fmla="*/ 1285142 w 1687454"/>
                  <a:gd name="connsiteY2017" fmla="*/ 277995 h 903637"/>
                  <a:gd name="connsiteX2018" fmla="*/ 1283644 w 1687454"/>
                  <a:gd name="connsiteY2018" fmla="*/ 273939 h 903637"/>
                  <a:gd name="connsiteX2019" fmla="*/ 1282762 w 1687454"/>
                  <a:gd name="connsiteY2019" fmla="*/ 273675 h 903637"/>
                  <a:gd name="connsiteX2020" fmla="*/ 1286289 w 1687454"/>
                  <a:gd name="connsiteY2020" fmla="*/ 271382 h 903637"/>
                  <a:gd name="connsiteX2021" fmla="*/ 1284525 w 1687454"/>
                  <a:gd name="connsiteY2021" fmla="*/ 271118 h 903637"/>
                  <a:gd name="connsiteX2022" fmla="*/ 1294135 w 1687454"/>
                  <a:gd name="connsiteY2022" fmla="*/ 269619 h 903637"/>
                  <a:gd name="connsiteX2023" fmla="*/ 1289462 w 1687454"/>
                  <a:gd name="connsiteY2023" fmla="*/ 269354 h 903637"/>
                  <a:gd name="connsiteX2024" fmla="*/ 1282762 w 1687454"/>
                  <a:gd name="connsiteY2024" fmla="*/ 270853 h 903637"/>
                  <a:gd name="connsiteX2025" fmla="*/ 1284790 w 1687454"/>
                  <a:gd name="connsiteY2025" fmla="*/ 269354 h 903637"/>
                  <a:gd name="connsiteX2026" fmla="*/ 1288316 w 1687454"/>
                  <a:gd name="connsiteY2026" fmla="*/ 269090 h 903637"/>
                  <a:gd name="connsiteX2027" fmla="*/ 1285142 w 1687454"/>
                  <a:gd name="connsiteY2027" fmla="*/ 268473 h 903637"/>
                  <a:gd name="connsiteX2028" fmla="*/ 1279059 w 1687454"/>
                  <a:gd name="connsiteY2028" fmla="*/ 271382 h 903637"/>
                  <a:gd name="connsiteX2029" fmla="*/ 1273768 w 1687454"/>
                  <a:gd name="connsiteY2029" fmla="*/ 269883 h 903637"/>
                  <a:gd name="connsiteX2030" fmla="*/ 1268479 w 1687454"/>
                  <a:gd name="connsiteY2030" fmla="*/ 273057 h 903637"/>
                  <a:gd name="connsiteX2031" fmla="*/ 1255959 w 1687454"/>
                  <a:gd name="connsiteY2031" fmla="*/ 276232 h 903637"/>
                  <a:gd name="connsiteX2032" fmla="*/ 1252432 w 1687454"/>
                  <a:gd name="connsiteY2032" fmla="*/ 275703 h 903637"/>
                  <a:gd name="connsiteX2033" fmla="*/ 1255959 w 1687454"/>
                  <a:gd name="connsiteY2033" fmla="*/ 272529 h 903637"/>
                  <a:gd name="connsiteX2034" fmla="*/ 1254812 w 1687454"/>
                  <a:gd name="connsiteY2034" fmla="*/ 272264 h 903637"/>
                  <a:gd name="connsiteX2035" fmla="*/ 1255694 w 1687454"/>
                  <a:gd name="connsiteY2035" fmla="*/ 270501 h 903637"/>
                  <a:gd name="connsiteX2036" fmla="*/ 1259221 w 1687454"/>
                  <a:gd name="connsiteY2036" fmla="*/ 269002 h 903637"/>
                  <a:gd name="connsiteX2037" fmla="*/ 1265304 w 1687454"/>
                  <a:gd name="connsiteY2037" fmla="*/ 269266 h 903637"/>
                  <a:gd name="connsiteX2038" fmla="*/ 1269977 w 1687454"/>
                  <a:gd name="connsiteY2038" fmla="*/ 268649 h 903637"/>
                  <a:gd name="connsiteX2039" fmla="*/ 1273768 w 1687454"/>
                  <a:gd name="connsiteY2039" fmla="*/ 267767 h 903637"/>
                  <a:gd name="connsiteX2040" fmla="*/ 1275267 w 1687454"/>
                  <a:gd name="connsiteY2040" fmla="*/ 264593 h 903637"/>
                  <a:gd name="connsiteX2041" fmla="*/ 1271476 w 1687454"/>
                  <a:gd name="connsiteY2041" fmla="*/ 261948 h 903637"/>
                  <a:gd name="connsiteX2042" fmla="*/ 1266539 w 1687454"/>
                  <a:gd name="connsiteY2042" fmla="*/ 261331 h 903637"/>
                  <a:gd name="connsiteX2043" fmla="*/ 1263012 w 1687454"/>
                  <a:gd name="connsiteY2043" fmla="*/ 257275 h 903637"/>
                  <a:gd name="connsiteX2044" fmla="*/ 1256840 w 1687454"/>
                  <a:gd name="connsiteY2044" fmla="*/ 256129 h 903637"/>
                  <a:gd name="connsiteX2045" fmla="*/ 1262130 w 1687454"/>
                  <a:gd name="connsiteY2045" fmla="*/ 255600 h 903637"/>
                  <a:gd name="connsiteX2046" fmla="*/ 1264158 w 1687454"/>
                  <a:gd name="connsiteY2046" fmla="*/ 254454 h 903637"/>
                  <a:gd name="connsiteX2047" fmla="*/ 1261778 w 1687454"/>
                  <a:gd name="connsiteY2047" fmla="*/ 252073 h 903637"/>
                  <a:gd name="connsiteX2048" fmla="*/ 1255077 w 1687454"/>
                  <a:gd name="connsiteY2048" fmla="*/ 252073 h 903637"/>
                  <a:gd name="connsiteX2049" fmla="*/ 1252432 w 1687454"/>
                  <a:gd name="connsiteY2049" fmla="*/ 254454 h 903637"/>
                  <a:gd name="connsiteX2050" fmla="*/ 1250668 w 1687454"/>
                  <a:gd name="connsiteY2050" fmla="*/ 253572 h 903637"/>
                  <a:gd name="connsiteX2051" fmla="*/ 1257369 w 1687454"/>
                  <a:gd name="connsiteY2051" fmla="*/ 244226 h 903637"/>
                  <a:gd name="connsiteX2052" fmla="*/ 1248376 w 1687454"/>
                  <a:gd name="connsiteY2052" fmla="*/ 244844 h 903637"/>
                  <a:gd name="connsiteX2053" fmla="*/ 1246084 w 1687454"/>
                  <a:gd name="connsiteY2053" fmla="*/ 243962 h 903637"/>
                  <a:gd name="connsiteX2054" fmla="*/ 1241940 w 1687454"/>
                  <a:gd name="connsiteY2054" fmla="*/ 239024 h 903637"/>
                  <a:gd name="connsiteX2055" fmla="*/ 1237267 w 1687454"/>
                  <a:gd name="connsiteY2055" fmla="*/ 238407 h 903637"/>
                  <a:gd name="connsiteX2056" fmla="*/ 1235768 w 1687454"/>
                  <a:gd name="connsiteY2056" fmla="*/ 239024 h 903637"/>
                  <a:gd name="connsiteX2057" fmla="*/ 1232241 w 1687454"/>
                  <a:gd name="connsiteY2057" fmla="*/ 238407 h 903637"/>
                  <a:gd name="connsiteX2058" fmla="*/ 1229332 w 1687454"/>
                  <a:gd name="connsiteY2058" fmla="*/ 240788 h 903637"/>
                  <a:gd name="connsiteX2059" fmla="*/ 1236650 w 1687454"/>
                  <a:gd name="connsiteY2059" fmla="*/ 241934 h 903637"/>
                  <a:gd name="connsiteX2060" fmla="*/ 1238942 w 1687454"/>
                  <a:gd name="connsiteY2060" fmla="*/ 242816 h 903637"/>
                  <a:gd name="connsiteX2061" fmla="*/ 1238325 w 1687454"/>
                  <a:gd name="connsiteY2061" fmla="*/ 249252 h 903637"/>
                  <a:gd name="connsiteX2062" fmla="*/ 1233387 w 1687454"/>
                  <a:gd name="connsiteY2062" fmla="*/ 251280 h 903637"/>
                  <a:gd name="connsiteX2063" fmla="*/ 1219104 w 1687454"/>
                  <a:gd name="connsiteY2063" fmla="*/ 251280 h 903637"/>
                  <a:gd name="connsiteX2064" fmla="*/ 1218223 w 1687454"/>
                  <a:gd name="connsiteY2064" fmla="*/ 248635 h 903637"/>
                  <a:gd name="connsiteX2065" fmla="*/ 1211786 w 1687454"/>
                  <a:gd name="connsiteY2065" fmla="*/ 248899 h 903637"/>
                  <a:gd name="connsiteX2066" fmla="*/ 1209494 w 1687454"/>
                  <a:gd name="connsiteY2066" fmla="*/ 248018 h 903637"/>
                  <a:gd name="connsiteX2067" fmla="*/ 1191419 w 1687454"/>
                  <a:gd name="connsiteY2067" fmla="*/ 246254 h 903637"/>
                  <a:gd name="connsiteX2068" fmla="*/ 1194064 w 1687454"/>
                  <a:gd name="connsiteY2068" fmla="*/ 248282 h 903637"/>
                  <a:gd name="connsiteX2069" fmla="*/ 1196709 w 1687454"/>
                  <a:gd name="connsiteY2069" fmla="*/ 248018 h 903637"/>
                  <a:gd name="connsiteX2070" fmla="*/ 1200501 w 1687454"/>
                  <a:gd name="connsiteY2070" fmla="*/ 252955 h 903637"/>
                  <a:gd name="connsiteX2071" fmla="*/ 1198120 w 1687454"/>
                  <a:gd name="connsiteY2071" fmla="*/ 254454 h 903637"/>
                  <a:gd name="connsiteX2072" fmla="*/ 1192830 w 1687454"/>
                  <a:gd name="connsiteY2072" fmla="*/ 250663 h 903637"/>
                  <a:gd name="connsiteX2073" fmla="*/ 1180575 w 1687454"/>
                  <a:gd name="connsiteY2073" fmla="*/ 245108 h 903637"/>
                  <a:gd name="connsiteX2074" fmla="*/ 1179428 w 1687454"/>
                  <a:gd name="connsiteY2074" fmla="*/ 245725 h 903637"/>
                  <a:gd name="connsiteX2075" fmla="*/ 1187893 w 1687454"/>
                  <a:gd name="connsiteY2075" fmla="*/ 250398 h 903637"/>
                  <a:gd name="connsiteX2076" fmla="*/ 1184719 w 1687454"/>
                  <a:gd name="connsiteY2076" fmla="*/ 251897 h 903637"/>
                  <a:gd name="connsiteX2077" fmla="*/ 1182691 w 1687454"/>
                  <a:gd name="connsiteY2077" fmla="*/ 251633 h 903637"/>
                  <a:gd name="connsiteX2078" fmla="*/ 1179517 w 1687454"/>
                  <a:gd name="connsiteY2078" fmla="*/ 253131 h 903637"/>
                  <a:gd name="connsiteX2079" fmla="*/ 1177753 w 1687454"/>
                  <a:gd name="connsiteY2079" fmla="*/ 253131 h 903637"/>
                  <a:gd name="connsiteX2080" fmla="*/ 1178370 w 1687454"/>
                  <a:gd name="connsiteY2080" fmla="*/ 252250 h 903637"/>
                  <a:gd name="connsiteX2081" fmla="*/ 1168496 w 1687454"/>
                  <a:gd name="connsiteY2081" fmla="*/ 248723 h 903637"/>
                  <a:gd name="connsiteX2082" fmla="*/ 1157386 w 1687454"/>
                  <a:gd name="connsiteY2082" fmla="*/ 249869 h 903637"/>
                  <a:gd name="connsiteX2083" fmla="*/ 1141340 w 1687454"/>
                  <a:gd name="connsiteY2083" fmla="*/ 248282 h 903637"/>
                  <a:gd name="connsiteX2084" fmla="*/ 1142486 w 1687454"/>
                  <a:gd name="connsiteY2084" fmla="*/ 246783 h 903637"/>
                  <a:gd name="connsiteX2085" fmla="*/ 1125558 w 1687454"/>
                  <a:gd name="connsiteY2085" fmla="*/ 246783 h 903637"/>
                  <a:gd name="connsiteX2086" fmla="*/ 1124940 w 1687454"/>
                  <a:gd name="connsiteY2086" fmla="*/ 247665 h 903637"/>
                  <a:gd name="connsiteX2087" fmla="*/ 1129613 w 1687454"/>
                  <a:gd name="connsiteY2087" fmla="*/ 247665 h 903637"/>
                  <a:gd name="connsiteX2088" fmla="*/ 1133405 w 1687454"/>
                  <a:gd name="connsiteY2088" fmla="*/ 248811 h 903637"/>
                  <a:gd name="connsiteX2089" fmla="*/ 1125558 w 1687454"/>
                  <a:gd name="connsiteY2089" fmla="*/ 248811 h 903637"/>
                  <a:gd name="connsiteX2090" fmla="*/ 1119121 w 1687454"/>
                  <a:gd name="connsiteY2090" fmla="*/ 246519 h 903637"/>
                  <a:gd name="connsiteX2091" fmla="*/ 1116829 w 1687454"/>
                  <a:gd name="connsiteY2091" fmla="*/ 244491 h 903637"/>
                  <a:gd name="connsiteX2092" fmla="*/ 1119474 w 1687454"/>
                  <a:gd name="connsiteY2092" fmla="*/ 240964 h 903637"/>
                  <a:gd name="connsiteX2093" fmla="*/ 1124764 w 1687454"/>
                  <a:gd name="connsiteY2093" fmla="*/ 239201 h 903637"/>
                  <a:gd name="connsiteX2094" fmla="*/ 1118945 w 1687454"/>
                  <a:gd name="connsiteY2094" fmla="*/ 240347 h 903637"/>
                  <a:gd name="connsiteX2095" fmla="*/ 1116300 w 1687454"/>
                  <a:gd name="connsiteY2095" fmla="*/ 242375 h 903637"/>
                  <a:gd name="connsiteX2096" fmla="*/ 1113655 w 1687454"/>
                  <a:gd name="connsiteY2096" fmla="*/ 242110 h 903637"/>
                  <a:gd name="connsiteX2097" fmla="*/ 1113655 w 1687454"/>
                  <a:gd name="connsiteY2097" fmla="*/ 239818 h 903637"/>
                  <a:gd name="connsiteX2098" fmla="*/ 1111891 w 1687454"/>
                  <a:gd name="connsiteY2098" fmla="*/ 239554 h 903637"/>
                  <a:gd name="connsiteX2099" fmla="*/ 1109864 w 1687454"/>
                  <a:gd name="connsiteY2099" fmla="*/ 241052 h 903637"/>
                  <a:gd name="connsiteX2100" fmla="*/ 1111274 w 1687454"/>
                  <a:gd name="connsiteY2100" fmla="*/ 241317 h 903637"/>
                  <a:gd name="connsiteX2101" fmla="*/ 1110128 w 1687454"/>
                  <a:gd name="connsiteY2101" fmla="*/ 243080 h 903637"/>
                  <a:gd name="connsiteX2102" fmla="*/ 1098754 w 1687454"/>
                  <a:gd name="connsiteY2102" fmla="*/ 242463 h 903637"/>
                  <a:gd name="connsiteX2103" fmla="*/ 1100253 w 1687454"/>
                  <a:gd name="connsiteY2103" fmla="*/ 243080 h 903637"/>
                  <a:gd name="connsiteX2104" fmla="*/ 1096462 w 1687454"/>
                  <a:gd name="connsiteY2104" fmla="*/ 243962 h 903637"/>
                  <a:gd name="connsiteX2105" fmla="*/ 1091525 w 1687454"/>
                  <a:gd name="connsiteY2105" fmla="*/ 242199 h 903637"/>
                  <a:gd name="connsiteX2106" fmla="*/ 1097079 w 1687454"/>
                  <a:gd name="connsiteY2106" fmla="*/ 242199 h 903637"/>
                  <a:gd name="connsiteX2107" fmla="*/ 1092671 w 1687454"/>
                  <a:gd name="connsiteY2107" fmla="*/ 240435 h 903637"/>
                  <a:gd name="connsiteX2108" fmla="*/ 1087733 w 1687454"/>
                  <a:gd name="connsiteY2108" fmla="*/ 239289 h 903637"/>
                  <a:gd name="connsiteX2109" fmla="*/ 1085353 w 1687454"/>
                  <a:gd name="connsiteY2109" fmla="*/ 234881 h 903637"/>
                  <a:gd name="connsiteX2110" fmla="*/ 1083060 w 1687454"/>
                  <a:gd name="connsiteY2110" fmla="*/ 231971 h 903637"/>
                  <a:gd name="connsiteX2111" fmla="*/ 1083942 w 1687454"/>
                  <a:gd name="connsiteY2111" fmla="*/ 229943 h 903637"/>
                  <a:gd name="connsiteX2112" fmla="*/ 1087733 w 1687454"/>
                  <a:gd name="connsiteY2112" fmla="*/ 228797 h 903637"/>
                  <a:gd name="connsiteX2113" fmla="*/ 1085088 w 1687454"/>
                  <a:gd name="connsiteY2113" fmla="*/ 227651 h 903637"/>
                  <a:gd name="connsiteX2114" fmla="*/ 1084824 w 1687454"/>
                  <a:gd name="connsiteY2114" fmla="*/ 226505 h 903637"/>
                  <a:gd name="connsiteX2115" fmla="*/ 1088880 w 1687454"/>
                  <a:gd name="connsiteY2115" fmla="*/ 227651 h 903637"/>
                  <a:gd name="connsiteX2116" fmla="*/ 1100253 w 1687454"/>
                  <a:gd name="connsiteY2116" fmla="*/ 227915 h 903637"/>
                  <a:gd name="connsiteX2117" fmla="*/ 1101135 w 1687454"/>
                  <a:gd name="connsiteY2117" fmla="*/ 229414 h 903637"/>
                  <a:gd name="connsiteX2118" fmla="*/ 1120708 w 1687454"/>
                  <a:gd name="connsiteY2118" fmla="*/ 228532 h 903637"/>
                  <a:gd name="connsiteX2119" fmla="*/ 1113390 w 1687454"/>
                  <a:gd name="connsiteY2119" fmla="*/ 225887 h 903637"/>
                  <a:gd name="connsiteX2120" fmla="*/ 1113390 w 1687454"/>
                  <a:gd name="connsiteY2120" fmla="*/ 223242 h 903637"/>
                  <a:gd name="connsiteX2121" fmla="*/ 1109335 w 1687454"/>
                  <a:gd name="connsiteY2121" fmla="*/ 223771 h 903637"/>
                  <a:gd name="connsiteX2122" fmla="*/ 1084559 w 1687454"/>
                  <a:gd name="connsiteY2122" fmla="*/ 221479 h 903637"/>
                  <a:gd name="connsiteX2123" fmla="*/ 1083942 w 1687454"/>
                  <a:gd name="connsiteY2123" fmla="*/ 219716 h 903637"/>
                  <a:gd name="connsiteX2124" fmla="*/ 1087116 w 1687454"/>
                  <a:gd name="connsiteY2124" fmla="*/ 215307 h 903637"/>
                  <a:gd name="connsiteX2125" fmla="*/ 1091525 w 1687454"/>
                  <a:gd name="connsiteY2125" fmla="*/ 213279 h 903637"/>
                  <a:gd name="connsiteX2126" fmla="*/ 1090378 w 1687454"/>
                  <a:gd name="connsiteY2126" fmla="*/ 209488 h 903637"/>
                  <a:gd name="connsiteX2127" fmla="*/ 1093552 w 1687454"/>
                  <a:gd name="connsiteY2127" fmla="*/ 207725 h 903637"/>
                  <a:gd name="connsiteX2128" fmla="*/ 1094434 w 1687454"/>
                  <a:gd name="connsiteY2128" fmla="*/ 205697 h 903637"/>
                  <a:gd name="connsiteX2129" fmla="*/ 1102017 w 1687454"/>
                  <a:gd name="connsiteY2129" fmla="*/ 203934 h 903637"/>
                  <a:gd name="connsiteX2130" fmla="*/ 1098225 w 1687454"/>
                  <a:gd name="connsiteY2130" fmla="*/ 203052 h 903637"/>
                  <a:gd name="connsiteX2131" fmla="*/ 1109864 w 1687454"/>
                  <a:gd name="connsiteY2131" fmla="*/ 194323 h 903637"/>
                  <a:gd name="connsiteX2132" fmla="*/ 1112156 w 1687454"/>
                  <a:gd name="connsiteY2132" fmla="*/ 194059 h 903637"/>
                  <a:gd name="connsiteX2133" fmla="*/ 1115066 w 1687454"/>
                  <a:gd name="connsiteY2133" fmla="*/ 191414 h 903637"/>
                  <a:gd name="connsiteX2134" fmla="*/ 1117358 w 1687454"/>
                  <a:gd name="connsiteY2134" fmla="*/ 191414 h 903637"/>
                  <a:gd name="connsiteX2135" fmla="*/ 1122295 w 1687454"/>
                  <a:gd name="connsiteY2135" fmla="*/ 186741 h 903637"/>
                  <a:gd name="connsiteX2136" fmla="*/ 1133052 w 1687454"/>
                  <a:gd name="connsiteY2136" fmla="*/ 181451 h 903637"/>
                  <a:gd name="connsiteX2137" fmla="*/ 1143544 w 1687454"/>
                  <a:gd name="connsiteY2137" fmla="*/ 175014 h 903637"/>
                  <a:gd name="connsiteX2138" fmla="*/ 1154300 w 1687454"/>
                  <a:gd name="connsiteY2138" fmla="*/ 174133 h 903637"/>
                  <a:gd name="connsiteX2139" fmla="*/ 1162147 w 1687454"/>
                  <a:gd name="connsiteY2139" fmla="*/ 173515 h 903637"/>
                  <a:gd name="connsiteX2140" fmla="*/ 1169994 w 1687454"/>
                  <a:gd name="connsiteY2140" fmla="*/ 171488 h 903637"/>
                  <a:gd name="connsiteX2141" fmla="*/ 1175285 w 1687454"/>
                  <a:gd name="connsiteY2141" fmla="*/ 169107 h 903637"/>
                  <a:gd name="connsiteX2142" fmla="*/ 1181456 w 1687454"/>
                  <a:gd name="connsiteY2142" fmla="*/ 170253 h 903637"/>
                  <a:gd name="connsiteX2143" fmla="*/ 1185865 w 1687454"/>
                  <a:gd name="connsiteY2143" fmla="*/ 167079 h 903637"/>
                  <a:gd name="connsiteX2144" fmla="*/ 1191948 w 1687454"/>
                  <a:gd name="connsiteY2144" fmla="*/ 167079 h 903637"/>
                  <a:gd name="connsiteX2145" fmla="*/ 1197503 w 1687454"/>
                  <a:gd name="connsiteY2145" fmla="*/ 167079 h 903637"/>
                  <a:gd name="connsiteX2146" fmla="*/ 1204204 w 1687454"/>
                  <a:gd name="connsiteY2146" fmla="*/ 170870 h 903637"/>
                  <a:gd name="connsiteX2147" fmla="*/ 1205614 w 1687454"/>
                  <a:gd name="connsiteY2147" fmla="*/ 169372 h 903637"/>
                  <a:gd name="connsiteX2148" fmla="*/ 1202088 w 1687454"/>
                  <a:gd name="connsiteY2148" fmla="*/ 167961 h 903637"/>
                  <a:gd name="connsiteX2149" fmla="*/ 1198914 w 1687454"/>
                  <a:gd name="connsiteY2149" fmla="*/ 171488 h 903637"/>
                  <a:gd name="connsiteX2150" fmla="*/ 1201823 w 1687454"/>
                  <a:gd name="connsiteY2150" fmla="*/ 172369 h 903637"/>
                  <a:gd name="connsiteX2151" fmla="*/ 1197767 w 1687454"/>
                  <a:gd name="connsiteY2151" fmla="*/ 174397 h 903637"/>
                  <a:gd name="connsiteX2152" fmla="*/ 1184013 w 1687454"/>
                  <a:gd name="connsiteY2152" fmla="*/ 177924 h 903637"/>
                  <a:gd name="connsiteX2153" fmla="*/ 1159767 w 1687454"/>
                  <a:gd name="connsiteY2153" fmla="*/ 189915 h 903637"/>
                  <a:gd name="connsiteX2154" fmla="*/ 1156593 w 1687454"/>
                  <a:gd name="connsiteY2154" fmla="*/ 192824 h 903637"/>
                  <a:gd name="connsiteX2155" fmla="*/ 1158356 w 1687454"/>
                  <a:gd name="connsiteY2155" fmla="*/ 197497 h 903637"/>
                  <a:gd name="connsiteX2156" fmla="*/ 1153948 w 1687454"/>
                  <a:gd name="connsiteY2156" fmla="*/ 201024 h 903637"/>
                  <a:gd name="connsiteX2157" fmla="*/ 1149892 w 1687454"/>
                  <a:gd name="connsiteY2157" fmla="*/ 206314 h 903637"/>
                  <a:gd name="connsiteX2158" fmla="*/ 1149275 w 1687454"/>
                  <a:gd name="connsiteY2158" fmla="*/ 211604 h 903637"/>
                  <a:gd name="connsiteX2159" fmla="*/ 1154477 w 1687454"/>
                  <a:gd name="connsiteY2159" fmla="*/ 217688 h 903637"/>
                  <a:gd name="connsiteX2160" fmla="*/ 1163205 w 1687454"/>
                  <a:gd name="connsiteY2160" fmla="*/ 219980 h 903637"/>
                  <a:gd name="connsiteX2161" fmla="*/ 1168143 w 1687454"/>
                  <a:gd name="connsiteY2161" fmla="*/ 218834 h 903637"/>
                  <a:gd name="connsiteX2162" fmla="*/ 1170171 w 1687454"/>
                  <a:gd name="connsiteY2162" fmla="*/ 214426 h 903637"/>
                  <a:gd name="connsiteX2163" fmla="*/ 1167878 w 1687454"/>
                  <a:gd name="connsiteY2163" fmla="*/ 214426 h 903637"/>
                  <a:gd name="connsiteX2164" fmla="*/ 1166468 w 1687454"/>
                  <a:gd name="connsiteY2164" fmla="*/ 215043 h 903637"/>
                  <a:gd name="connsiteX2165" fmla="*/ 1160296 w 1687454"/>
                  <a:gd name="connsiteY2165" fmla="*/ 214426 h 903637"/>
                  <a:gd name="connsiteX2166" fmla="*/ 1158532 w 1687454"/>
                  <a:gd name="connsiteY2166" fmla="*/ 212133 h 903637"/>
                  <a:gd name="connsiteX2167" fmla="*/ 1159414 w 1687454"/>
                  <a:gd name="connsiteY2167" fmla="*/ 209488 h 903637"/>
                  <a:gd name="connsiteX2168" fmla="*/ 1154124 w 1687454"/>
                  <a:gd name="connsiteY2168" fmla="*/ 207725 h 903637"/>
                  <a:gd name="connsiteX2169" fmla="*/ 1156152 w 1687454"/>
                  <a:gd name="connsiteY2169" fmla="*/ 206843 h 903637"/>
                  <a:gd name="connsiteX2170" fmla="*/ 1162588 w 1687454"/>
                  <a:gd name="connsiteY2170" fmla="*/ 205697 h 903637"/>
                  <a:gd name="connsiteX2171" fmla="*/ 1166997 w 1687454"/>
                  <a:gd name="connsiteY2171" fmla="*/ 202787 h 903637"/>
                  <a:gd name="connsiteX2172" fmla="*/ 1175461 w 1687454"/>
                  <a:gd name="connsiteY2172" fmla="*/ 202258 h 903637"/>
                  <a:gd name="connsiteX2173" fmla="*/ 1178106 w 1687454"/>
                  <a:gd name="connsiteY2173" fmla="*/ 200230 h 903637"/>
                  <a:gd name="connsiteX2174" fmla="*/ 1174050 w 1687454"/>
                  <a:gd name="connsiteY2174" fmla="*/ 199966 h 903637"/>
                  <a:gd name="connsiteX2175" fmla="*/ 1170259 w 1687454"/>
                  <a:gd name="connsiteY2175" fmla="*/ 197585 h 903637"/>
                  <a:gd name="connsiteX2176" fmla="*/ 1174050 w 1687454"/>
                  <a:gd name="connsiteY2176" fmla="*/ 190003 h 903637"/>
                  <a:gd name="connsiteX2177" fmla="*/ 1177577 w 1687454"/>
                  <a:gd name="connsiteY2177" fmla="*/ 188504 h 903637"/>
                  <a:gd name="connsiteX2178" fmla="*/ 1181368 w 1687454"/>
                  <a:gd name="connsiteY2178" fmla="*/ 188240 h 903637"/>
                  <a:gd name="connsiteX2179" fmla="*/ 1196798 w 1687454"/>
                  <a:gd name="connsiteY2179" fmla="*/ 191766 h 903637"/>
                  <a:gd name="connsiteX2180" fmla="*/ 1197062 w 1687454"/>
                  <a:gd name="connsiteY2180" fmla="*/ 191149 h 903637"/>
                  <a:gd name="connsiteX2181" fmla="*/ 1180134 w 1687454"/>
                  <a:gd name="connsiteY2181" fmla="*/ 186212 h 903637"/>
                  <a:gd name="connsiteX2182" fmla="*/ 1183308 w 1687454"/>
                  <a:gd name="connsiteY2182" fmla="*/ 184713 h 903637"/>
                  <a:gd name="connsiteX2183" fmla="*/ 1194329 w 1687454"/>
                  <a:gd name="connsiteY2183" fmla="*/ 186476 h 903637"/>
                  <a:gd name="connsiteX2184" fmla="*/ 1205703 w 1687454"/>
                  <a:gd name="connsiteY2184" fmla="*/ 186741 h 903637"/>
                  <a:gd name="connsiteX2185" fmla="*/ 1194946 w 1687454"/>
                  <a:gd name="connsiteY2185" fmla="*/ 184448 h 903637"/>
                  <a:gd name="connsiteX2186" fmla="*/ 1189127 w 1687454"/>
                  <a:gd name="connsiteY2186" fmla="*/ 182420 h 903637"/>
                  <a:gd name="connsiteX2187" fmla="*/ 1194329 w 1687454"/>
                  <a:gd name="connsiteY2187" fmla="*/ 180040 h 903637"/>
                  <a:gd name="connsiteX2188" fmla="*/ 1197591 w 1687454"/>
                  <a:gd name="connsiteY2188" fmla="*/ 180040 h 903637"/>
                  <a:gd name="connsiteX2189" fmla="*/ 1198473 w 1687454"/>
                  <a:gd name="connsiteY2189" fmla="*/ 182068 h 903637"/>
                  <a:gd name="connsiteX2190" fmla="*/ 1200236 w 1687454"/>
                  <a:gd name="connsiteY2190" fmla="*/ 182332 h 903637"/>
                  <a:gd name="connsiteX2191" fmla="*/ 1202264 w 1687454"/>
                  <a:gd name="connsiteY2191" fmla="*/ 178541 h 903637"/>
                  <a:gd name="connsiteX2192" fmla="*/ 1207819 w 1687454"/>
                  <a:gd name="connsiteY2192" fmla="*/ 177924 h 903637"/>
                  <a:gd name="connsiteX2193" fmla="*/ 1213638 w 1687454"/>
                  <a:gd name="connsiteY2193" fmla="*/ 174750 h 903637"/>
                  <a:gd name="connsiteX2194" fmla="*/ 1220339 w 1687454"/>
                  <a:gd name="connsiteY2194" fmla="*/ 175014 h 903637"/>
                  <a:gd name="connsiteX2195" fmla="*/ 1225276 w 1687454"/>
                  <a:gd name="connsiteY2195" fmla="*/ 173251 h 903637"/>
                  <a:gd name="connsiteX2196" fmla="*/ 1234886 w 1687454"/>
                  <a:gd name="connsiteY2196" fmla="*/ 170870 h 903637"/>
                  <a:gd name="connsiteX2197" fmla="*/ 1234005 w 1687454"/>
                  <a:gd name="connsiteY2197" fmla="*/ 172369 h 903637"/>
                  <a:gd name="connsiteX2198" fmla="*/ 1240441 w 1687454"/>
                  <a:gd name="connsiteY2198" fmla="*/ 170077 h 903637"/>
                  <a:gd name="connsiteX2199" fmla="*/ 1245731 w 1687454"/>
                  <a:gd name="connsiteY2199" fmla="*/ 170694 h 903637"/>
                  <a:gd name="connsiteX2200" fmla="*/ 1247759 w 1687454"/>
                  <a:gd name="connsiteY2200" fmla="*/ 170430 h 903637"/>
                  <a:gd name="connsiteX2201" fmla="*/ 1253314 w 1687454"/>
                  <a:gd name="connsiteY2201" fmla="*/ 173339 h 903637"/>
                  <a:gd name="connsiteX2202" fmla="*/ 1253578 w 1687454"/>
                  <a:gd name="connsiteY2202" fmla="*/ 177130 h 903637"/>
                  <a:gd name="connsiteX2203" fmla="*/ 1250051 w 1687454"/>
                  <a:gd name="connsiteY2203" fmla="*/ 182685 h 903637"/>
                  <a:gd name="connsiteX2204" fmla="*/ 1256223 w 1687454"/>
                  <a:gd name="connsiteY2204" fmla="*/ 185330 h 903637"/>
                  <a:gd name="connsiteX2205" fmla="*/ 1252167 w 1687454"/>
                  <a:gd name="connsiteY2205" fmla="*/ 190885 h 903637"/>
                  <a:gd name="connsiteX2206" fmla="*/ 1255077 w 1687454"/>
                  <a:gd name="connsiteY2206" fmla="*/ 192648 h 903637"/>
                  <a:gd name="connsiteX2207" fmla="*/ 1245996 w 1687454"/>
                  <a:gd name="connsiteY2207" fmla="*/ 196704 h 903637"/>
                  <a:gd name="connsiteX2208" fmla="*/ 1242469 w 1687454"/>
                  <a:gd name="connsiteY2208" fmla="*/ 199878 h 903637"/>
                  <a:gd name="connsiteX2209" fmla="*/ 1231977 w 1687454"/>
                  <a:gd name="connsiteY2209" fmla="*/ 206843 h 903637"/>
                  <a:gd name="connsiteX2210" fmla="*/ 1232241 w 1687454"/>
                  <a:gd name="connsiteY2210" fmla="*/ 208871 h 903637"/>
                  <a:gd name="connsiteX2211" fmla="*/ 1240970 w 1687454"/>
                  <a:gd name="connsiteY2211" fmla="*/ 206579 h 903637"/>
                  <a:gd name="connsiteX2212" fmla="*/ 1242998 w 1687454"/>
                  <a:gd name="connsiteY2212" fmla="*/ 204198 h 903637"/>
                  <a:gd name="connsiteX2213" fmla="*/ 1255518 w 1687454"/>
                  <a:gd name="connsiteY2213" fmla="*/ 197497 h 903637"/>
                  <a:gd name="connsiteX2214" fmla="*/ 1258692 w 1687454"/>
                  <a:gd name="connsiteY2214" fmla="*/ 199878 h 903637"/>
                  <a:gd name="connsiteX2215" fmla="*/ 1264511 w 1687454"/>
                  <a:gd name="connsiteY2215" fmla="*/ 200759 h 903637"/>
                  <a:gd name="connsiteX2216" fmla="*/ 1277648 w 1687454"/>
                  <a:gd name="connsiteY2216" fmla="*/ 200759 h 903637"/>
                  <a:gd name="connsiteX2217" fmla="*/ 1278530 w 1687454"/>
                  <a:gd name="connsiteY2217" fmla="*/ 200142 h 903637"/>
                  <a:gd name="connsiteX2218" fmla="*/ 1276766 w 1687454"/>
                  <a:gd name="connsiteY2218" fmla="*/ 198114 h 903637"/>
                  <a:gd name="connsiteX2219" fmla="*/ 1281175 w 1687454"/>
                  <a:gd name="connsiteY2219" fmla="*/ 195469 h 903637"/>
                  <a:gd name="connsiteX2220" fmla="*/ 1290521 w 1687454"/>
                  <a:gd name="connsiteY2220" fmla="*/ 193441 h 903637"/>
                  <a:gd name="connsiteX2221" fmla="*/ 1297221 w 1687454"/>
                  <a:gd name="connsiteY2221" fmla="*/ 192560 h 903637"/>
                  <a:gd name="connsiteX2222" fmla="*/ 1306215 w 1687454"/>
                  <a:gd name="connsiteY2222" fmla="*/ 192824 h 903637"/>
                  <a:gd name="connsiteX2223" fmla="*/ 1316442 w 1687454"/>
                  <a:gd name="connsiteY2223" fmla="*/ 195734 h 903637"/>
                  <a:gd name="connsiteX2224" fmla="*/ 1316707 w 1687454"/>
                  <a:gd name="connsiteY2224" fmla="*/ 197762 h 903637"/>
                  <a:gd name="connsiteX2225" fmla="*/ 1321644 w 1687454"/>
                  <a:gd name="connsiteY2225" fmla="*/ 197497 h 903637"/>
                  <a:gd name="connsiteX2226" fmla="*/ 1321380 w 1687454"/>
                  <a:gd name="connsiteY2226" fmla="*/ 195469 h 903637"/>
                  <a:gd name="connsiteX2227" fmla="*/ 1326934 w 1687454"/>
                  <a:gd name="connsiteY2227" fmla="*/ 196087 h 903637"/>
                  <a:gd name="connsiteX2228" fmla="*/ 1330108 w 1687454"/>
                  <a:gd name="connsiteY2228" fmla="*/ 197497 h 903637"/>
                  <a:gd name="connsiteX2229" fmla="*/ 1329491 w 1687454"/>
                  <a:gd name="connsiteY2229" fmla="*/ 202787 h 903637"/>
                  <a:gd name="connsiteX2230" fmla="*/ 1324554 w 1687454"/>
                  <a:gd name="connsiteY2230" fmla="*/ 204551 h 903637"/>
                  <a:gd name="connsiteX2231" fmla="*/ 1322261 w 1687454"/>
                  <a:gd name="connsiteY2231" fmla="*/ 206579 h 903637"/>
                  <a:gd name="connsiteX2232" fmla="*/ 1329226 w 1687454"/>
                  <a:gd name="connsiteY2232" fmla="*/ 205432 h 903637"/>
                  <a:gd name="connsiteX2233" fmla="*/ 1337074 w 1687454"/>
                  <a:gd name="connsiteY2233" fmla="*/ 206931 h 903637"/>
                  <a:gd name="connsiteX2234" fmla="*/ 1335310 w 1687454"/>
                  <a:gd name="connsiteY2234" fmla="*/ 210105 h 903637"/>
                  <a:gd name="connsiteX2235" fmla="*/ 1330637 w 1687454"/>
                  <a:gd name="connsiteY2235" fmla="*/ 211252 h 903637"/>
                  <a:gd name="connsiteX2236" fmla="*/ 1326582 w 1687454"/>
                  <a:gd name="connsiteY2236" fmla="*/ 213544 h 903637"/>
                  <a:gd name="connsiteX2237" fmla="*/ 1329755 w 1687454"/>
                  <a:gd name="connsiteY2237" fmla="*/ 214161 h 903637"/>
                  <a:gd name="connsiteX2238" fmla="*/ 1334164 w 1687454"/>
                  <a:gd name="connsiteY2238" fmla="*/ 212662 h 903637"/>
                  <a:gd name="connsiteX2239" fmla="*/ 1334428 w 1687454"/>
                  <a:gd name="connsiteY2239" fmla="*/ 213808 h 903637"/>
                  <a:gd name="connsiteX2240" fmla="*/ 1340248 w 1687454"/>
                  <a:gd name="connsiteY2240" fmla="*/ 212045 h 903637"/>
                  <a:gd name="connsiteX2241" fmla="*/ 1343510 w 1687454"/>
                  <a:gd name="connsiteY2241" fmla="*/ 212045 h 903637"/>
                  <a:gd name="connsiteX2242" fmla="*/ 1339983 w 1687454"/>
                  <a:gd name="connsiteY2242" fmla="*/ 214073 h 903637"/>
                  <a:gd name="connsiteX2243" fmla="*/ 1339983 w 1687454"/>
                  <a:gd name="connsiteY2243" fmla="*/ 215836 h 903637"/>
                  <a:gd name="connsiteX2244" fmla="*/ 1341129 w 1687454"/>
                  <a:gd name="connsiteY2244" fmla="*/ 216453 h 903637"/>
                  <a:gd name="connsiteX2245" fmla="*/ 1339983 w 1687454"/>
                  <a:gd name="connsiteY2245" fmla="*/ 219627 h 903637"/>
                  <a:gd name="connsiteX2246" fmla="*/ 1341746 w 1687454"/>
                  <a:gd name="connsiteY2246" fmla="*/ 221038 h 903637"/>
                  <a:gd name="connsiteX2247" fmla="*/ 1345802 w 1687454"/>
                  <a:gd name="connsiteY2247" fmla="*/ 221920 h 903637"/>
                  <a:gd name="connsiteX2248" fmla="*/ 1348183 w 1687454"/>
                  <a:gd name="connsiteY2248" fmla="*/ 221038 h 903637"/>
                  <a:gd name="connsiteX2249" fmla="*/ 1352856 w 1687454"/>
                  <a:gd name="connsiteY2249" fmla="*/ 217511 h 903637"/>
                  <a:gd name="connsiteX2250" fmla="*/ 1359556 w 1687454"/>
                  <a:gd name="connsiteY2250" fmla="*/ 213985 h 903637"/>
                  <a:gd name="connsiteX2251" fmla="*/ 1363612 w 1687454"/>
                  <a:gd name="connsiteY2251" fmla="*/ 211957 h 903637"/>
                  <a:gd name="connsiteX2252" fmla="*/ 1366786 w 1687454"/>
                  <a:gd name="connsiteY2252" fmla="*/ 213368 h 903637"/>
                  <a:gd name="connsiteX2253" fmla="*/ 1368549 w 1687454"/>
                  <a:gd name="connsiteY2253" fmla="*/ 213632 h 903637"/>
                  <a:gd name="connsiteX2254" fmla="*/ 1372341 w 1687454"/>
                  <a:gd name="connsiteY2254" fmla="*/ 214514 h 903637"/>
                  <a:gd name="connsiteX2255" fmla="*/ 1374986 w 1687454"/>
                  <a:gd name="connsiteY2255" fmla="*/ 217423 h 903637"/>
                  <a:gd name="connsiteX2256" fmla="*/ 1377631 w 1687454"/>
                  <a:gd name="connsiteY2256" fmla="*/ 218569 h 903637"/>
                  <a:gd name="connsiteX2257" fmla="*/ 1377631 w 1687454"/>
                  <a:gd name="connsiteY2257" fmla="*/ 221743 h 903637"/>
                  <a:gd name="connsiteX2258" fmla="*/ 1368549 w 1687454"/>
                  <a:gd name="connsiteY2258" fmla="*/ 227298 h 903637"/>
                  <a:gd name="connsiteX2259" fmla="*/ 1367668 w 1687454"/>
                  <a:gd name="connsiteY2259" fmla="*/ 229061 h 903637"/>
                  <a:gd name="connsiteX2260" fmla="*/ 1368549 w 1687454"/>
                  <a:gd name="connsiteY2260" fmla="*/ 229326 h 903637"/>
                  <a:gd name="connsiteX2261" fmla="*/ 1379659 w 1687454"/>
                  <a:gd name="connsiteY2261" fmla="*/ 226416 h 903637"/>
                  <a:gd name="connsiteX2262" fmla="*/ 1380541 w 1687454"/>
                  <a:gd name="connsiteY2262" fmla="*/ 228797 h 903637"/>
                  <a:gd name="connsiteX2263" fmla="*/ 1370666 w 1687454"/>
                  <a:gd name="connsiteY2263" fmla="*/ 234616 h 903637"/>
                  <a:gd name="connsiteX2264" fmla="*/ 1374192 w 1687454"/>
                  <a:gd name="connsiteY2264" fmla="*/ 234616 h 903637"/>
                  <a:gd name="connsiteX2265" fmla="*/ 1384067 w 1687454"/>
                  <a:gd name="connsiteY2265" fmla="*/ 231089 h 903637"/>
                  <a:gd name="connsiteX2266" fmla="*/ 1388123 w 1687454"/>
                  <a:gd name="connsiteY2266" fmla="*/ 230737 h 903637"/>
                  <a:gd name="connsiteX2267" fmla="*/ 1379923 w 1687454"/>
                  <a:gd name="connsiteY2267" fmla="*/ 235674 h 903637"/>
                  <a:gd name="connsiteX2268" fmla="*/ 1382833 w 1687454"/>
                  <a:gd name="connsiteY2268" fmla="*/ 235939 h 903637"/>
                  <a:gd name="connsiteX2269" fmla="*/ 1389005 w 1687454"/>
                  <a:gd name="connsiteY2269" fmla="*/ 235321 h 903637"/>
                  <a:gd name="connsiteX2270" fmla="*/ 1391297 w 1687454"/>
                  <a:gd name="connsiteY2270" fmla="*/ 231795 h 903637"/>
                  <a:gd name="connsiteX2271" fmla="*/ 1393325 w 1687454"/>
                  <a:gd name="connsiteY2271" fmla="*/ 229502 h 903637"/>
                  <a:gd name="connsiteX2272" fmla="*/ 1397733 w 1687454"/>
                  <a:gd name="connsiteY2272" fmla="*/ 230120 h 903637"/>
                  <a:gd name="connsiteX2273" fmla="*/ 1400378 w 1687454"/>
                  <a:gd name="connsiteY2273" fmla="*/ 231001 h 903637"/>
                  <a:gd name="connsiteX2274" fmla="*/ 1403023 w 1687454"/>
                  <a:gd name="connsiteY2274" fmla="*/ 231883 h 903637"/>
                  <a:gd name="connsiteX2275" fmla="*/ 1405933 w 1687454"/>
                  <a:gd name="connsiteY2275" fmla="*/ 232500 h 903637"/>
                  <a:gd name="connsiteX2276" fmla="*/ 1405316 w 1687454"/>
                  <a:gd name="connsiteY2276" fmla="*/ 236908 h 903637"/>
                  <a:gd name="connsiteX2277" fmla="*/ 1403552 w 1687454"/>
                  <a:gd name="connsiteY2277" fmla="*/ 237790 h 903637"/>
                  <a:gd name="connsiteX2278" fmla="*/ 1401172 w 1687454"/>
                  <a:gd name="connsiteY2278" fmla="*/ 241581 h 903637"/>
                  <a:gd name="connsiteX2279" fmla="*/ 1391562 w 1687454"/>
                  <a:gd name="connsiteY2279" fmla="*/ 242463 h 903637"/>
                  <a:gd name="connsiteX2280" fmla="*/ 1386889 w 1687454"/>
                  <a:gd name="connsiteY2280" fmla="*/ 244491 h 903637"/>
                  <a:gd name="connsiteX2281" fmla="*/ 1399408 w 1687454"/>
                  <a:gd name="connsiteY2281" fmla="*/ 244755 h 903637"/>
                  <a:gd name="connsiteX2282" fmla="*/ 1393854 w 1687454"/>
                  <a:gd name="connsiteY2282" fmla="*/ 248547 h 903637"/>
                  <a:gd name="connsiteX2283" fmla="*/ 1396499 w 1687454"/>
                  <a:gd name="connsiteY2283" fmla="*/ 249164 h 903637"/>
                  <a:gd name="connsiteX2284" fmla="*/ 1405580 w 1687454"/>
                  <a:gd name="connsiteY2284" fmla="*/ 245637 h 903637"/>
                  <a:gd name="connsiteX2285" fmla="*/ 1404963 w 1687454"/>
                  <a:gd name="connsiteY2285" fmla="*/ 245373 h 903637"/>
                  <a:gd name="connsiteX2286" fmla="*/ 1407256 w 1687454"/>
                  <a:gd name="connsiteY2286" fmla="*/ 240964 h 903637"/>
                  <a:gd name="connsiteX2287" fmla="*/ 1410518 w 1687454"/>
                  <a:gd name="connsiteY2287" fmla="*/ 239465 h 903637"/>
                  <a:gd name="connsiteX2288" fmla="*/ 1413427 w 1687454"/>
                  <a:gd name="connsiteY2288" fmla="*/ 239465 h 903637"/>
                  <a:gd name="connsiteX2289" fmla="*/ 1416601 w 1687454"/>
                  <a:gd name="connsiteY2289" fmla="*/ 244667 h 903637"/>
                  <a:gd name="connsiteX2290" fmla="*/ 1416866 w 1687454"/>
                  <a:gd name="connsiteY2290" fmla="*/ 247577 h 903637"/>
                  <a:gd name="connsiteX2291" fmla="*/ 1415720 w 1687454"/>
                  <a:gd name="connsiteY2291" fmla="*/ 249340 h 903637"/>
                  <a:gd name="connsiteX2292" fmla="*/ 1416866 w 1687454"/>
                  <a:gd name="connsiteY2292" fmla="*/ 251368 h 903637"/>
                  <a:gd name="connsiteX2293" fmla="*/ 1414662 w 1687454"/>
                  <a:gd name="connsiteY2293" fmla="*/ 253220 h 903637"/>
                  <a:gd name="connsiteX2294" fmla="*/ 1407079 w 1687454"/>
                  <a:gd name="connsiteY2294" fmla="*/ 253484 h 903637"/>
                  <a:gd name="connsiteX2295" fmla="*/ 1399497 w 1687454"/>
                  <a:gd name="connsiteY2295" fmla="*/ 256129 h 903637"/>
                  <a:gd name="connsiteX2296" fmla="*/ 1392179 w 1687454"/>
                  <a:gd name="connsiteY2296" fmla="*/ 257275 h 903637"/>
                  <a:gd name="connsiteX2297" fmla="*/ 1391033 w 1687454"/>
                  <a:gd name="connsiteY2297" fmla="*/ 258157 h 903637"/>
                  <a:gd name="connsiteX2298" fmla="*/ 1402142 w 1687454"/>
                  <a:gd name="connsiteY2298" fmla="*/ 259656 h 903637"/>
                  <a:gd name="connsiteX2299" fmla="*/ 1411488 w 1687454"/>
                  <a:gd name="connsiteY2299" fmla="*/ 256482 h 903637"/>
                  <a:gd name="connsiteX2300" fmla="*/ 1418453 w 1687454"/>
                  <a:gd name="connsiteY2300" fmla="*/ 257364 h 903637"/>
                  <a:gd name="connsiteX2301" fmla="*/ 1420481 w 1687454"/>
                  <a:gd name="connsiteY2301" fmla="*/ 260890 h 903637"/>
                  <a:gd name="connsiteX2302" fmla="*/ 1418982 w 1687454"/>
                  <a:gd name="connsiteY2302" fmla="*/ 264064 h 903637"/>
                  <a:gd name="connsiteX2303" fmla="*/ 1415808 w 1687454"/>
                  <a:gd name="connsiteY2303" fmla="*/ 264064 h 903637"/>
                  <a:gd name="connsiteX2304" fmla="*/ 1412634 w 1687454"/>
                  <a:gd name="connsiteY2304" fmla="*/ 264329 h 903637"/>
                  <a:gd name="connsiteX2305" fmla="*/ 1409107 w 1687454"/>
                  <a:gd name="connsiteY2305" fmla="*/ 264946 h 903637"/>
                  <a:gd name="connsiteX2306" fmla="*/ 1404170 w 1687454"/>
                  <a:gd name="connsiteY2306" fmla="*/ 266709 h 903637"/>
                  <a:gd name="connsiteX2307" fmla="*/ 1398615 w 1687454"/>
                  <a:gd name="connsiteY2307" fmla="*/ 264064 h 903637"/>
                  <a:gd name="connsiteX2308" fmla="*/ 1391650 w 1687454"/>
                  <a:gd name="connsiteY2308" fmla="*/ 264064 h 903637"/>
                  <a:gd name="connsiteX2309" fmla="*/ 1389269 w 1687454"/>
                  <a:gd name="connsiteY2309" fmla="*/ 266445 h 903637"/>
                  <a:gd name="connsiteX2310" fmla="*/ 1396852 w 1687454"/>
                  <a:gd name="connsiteY2310" fmla="*/ 268737 h 903637"/>
                  <a:gd name="connsiteX2311" fmla="*/ 1399144 w 1687454"/>
                  <a:gd name="connsiteY2311" fmla="*/ 270236 h 903637"/>
                  <a:gd name="connsiteX2312" fmla="*/ 1392179 w 1687454"/>
                  <a:gd name="connsiteY2312" fmla="*/ 272264 h 903637"/>
                  <a:gd name="connsiteX2313" fmla="*/ 1394559 w 1687454"/>
                  <a:gd name="connsiteY2313" fmla="*/ 274645 h 903637"/>
                  <a:gd name="connsiteX2314" fmla="*/ 1394295 w 1687454"/>
                  <a:gd name="connsiteY2314" fmla="*/ 275174 h 903637"/>
                  <a:gd name="connsiteX2315" fmla="*/ 1385831 w 1687454"/>
                  <a:gd name="connsiteY2315" fmla="*/ 274292 h 903637"/>
                  <a:gd name="connsiteX2316" fmla="*/ 1382656 w 1687454"/>
                  <a:gd name="connsiteY2316" fmla="*/ 276055 h 903637"/>
                  <a:gd name="connsiteX2317" fmla="*/ 1388740 w 1687454"/>
                  <a:gd name="connsiteY2317" fmla="*/ 277554 h 903637"/>
                  <a:gd name="connsiteX2318" fmla="*/ 1387858 w 1687454"/>
                  <a:gd name="connsiteY2318" fmla="*/ 278171 h 903637"/>
                  <a:gd name="connsiteX2319" fmla="*/ 1379394 w 1687454"/>
                  <a:gd name="connsiteY2319" fmla="*/ 278348 h 903637"/>
                  <a:gd name="connsiteX2320" fmla="*/ 1389005 w 1687454"/>
                  <a:gd name="connsiteY2320" fmla="*/ 280111 h 903637"/>
                  <a:gd name="connsiteX2321" fmla="*/ 1396852 w 1687454"/>
                  <a:gd name="connsiteY2321" fmla="*/ 280728 h 903637"/>
                  <a:gd name="connsiteX2322" fmla="*/ 1397998 w 1687454"/>
                  <a:gd name="connsiteY2322" fmla="*/ 282227 h 903637"/>
                  <a:gd name="connsiteX2323" fmla="*/ 1402671 w 1687454"/>
                  <a:gd name="connsiteY2323" fmla="*/ 280728 h 903637"/>
                  <a:gd name="connsiteX2324" fmla="*/ 1396852 w 1687454"/>
                  <a:gd name="connsiteY2324" fmla="*/ 284519 h 903637"/>
                  <a:gd name="connsiteX2325" fmla="*/ 1406198 w 1687454"/>
                  <a:gd name="connsiteY2325" fmla="*/ 284784 h 903637"/>
                  <a:gd name="connsiteX2326" fmla="*/ 1403905 w 1687454"/>
                  <a:gd name="connsiteY2326" fmla="*/ 286283 h 903637"/>
                  <a:gd name="connsiteX2327" fmla="*/ 1406815 w 1687454"/>
                  <a:gd name="connsiteY2327" fmla="*/ 287429 h 903637"/>
                  <a:gd name="connsiteX2328" fmla="*/ 1407961 w 1687454"/>
                  <a:gd name="connsiteY2328" fmla="*/ 284784 h 903637"/>
                  <a:gd name="connsiteX2329" fmla="*/ 1408843 w 1687454"/>
                  <a:gd name="connsiteY2329" fmla="*/ 289457 h 903637"/>
                  <a:gd name="connsiteX2330" fmla="*/ 1411488 w 1687454"/>
                  <a:gd name="connsiteY2330" fmla="*/ 288575 h 903637"/>
                  <a:gd name="connsiteX2331" fmla="*/ 1412898 w 1687454"/>
                  <a:gd name="connsiteY2331" fmla="*/ 292366 h 903637"/>
                  <a:gd name="connsiteX2332" fmla="*/ 1412281 w 1687454"/>
                  <a:gd name="connsiteY2332" fmla="*/ 292984 h 903637"/>
                  <a:gd name="connsiteX2333" fmla="*/ 1415191 w 1687454"/>
                  <a:gd name="connsiteY2333" fmla="*/ 294130 h 903637"/>
                  <a:gd name="connsiteX2334" fmla="*/ 1416954 w 1687454"/>
                  <a:gd name="connsiteY2334" fmla="*/ 292366 h 903637"/>
                  <a:gd name="connsiteX2335" fmla="*/ 1419335 w 1687454"/>
                  <a:gd name="connsiteY2335" fmla="*/ 291485 h 903637"/>
                  <a:gd name="connsiteX2336" fmla="*/ 1421627 w 1687454"/>
                  <a:gd name="connsiteY2336" fmla="*/ 292366 h 903637"/>
                  <a:gd name="connsiteX2337" fmla="*/ 1421363 w 1687454"/>
                  <a:gd name="connsiteY2337" fmla="*/ 293248 h 903637"/>
                  <a:gd name="connsiteX2338" fmla="*/ 1430091 w 1687454"/>
                  <a:gd name="connsiteY2338" fmla="*/ 290603 h 903637"/>
                  <a:gd name="connsiteX2339" fmla="*/ 1431855 w 1687454"/>
                  <a:gd name="connsiteY2339" fmla="*/ 291749 h 903637"/>
                  <a:gd name="connsiteX2340" fmla="*/ 1427182 w 1687454"/>
                  <a:gd name="connsiteY2340" fmla="*/ 293777 h 903637"/>
                  <a:gd name="connsiteX2341" fmla="*/ 1423126 w 1687454"/>
                  <a:gd name="connsiteY2341" fmla="*/ 297833 h 903637"/>
                  <a:gd name="connsiteX2342" fmla="*/ 1424889 w 1687454"/>
                  <a:gd name="connsiteY2342" fmla="*/ 295452 h 903637"/>
                  <a:gd name="connsiteX2343" fmla="*/ 1427270 w 1687454"/>
                  <a:gd name="connsiteY2343" fmla="*/ 296069 h 903637"/>
                  <a:gd name="connsiteX2344" fmla="*/ 1432824 w 1687454"/>
                  <a:gd name="connsiteY2344" fmla="*/ 295188 h 903637"/>
                  <a:gd name="connsiteX2345" fmla="*/ 1438643 w 1687454"/>
                  <a:gd name="connsiteY2345" fmla="*/ 293424 h 903637"/>
                  <a:gd name="connsiteX2346" fmla="*/ 1437762 w 1687454"/>
                  <a:gd name="connsiteY2346" fmla="*/ 298715 h 903637"/>
                  <a:gd name="connsiteX2347" fmla="*/ 1437762 w 1687454"/>
                  <a:gd name="connsiteY2347" fmla="*/ 300742 h 903637"/>
                  <a:gd name="connsiteX2348" fmla="*/ 1435999 w 1687454"/>
                  <a:gd name="connsiteY2348" fmla="*/ 302770 h 903637"/>
                  <a:gd name="connsiteX2349" fmla="*/ 1438908 w 1687454"/>
                  <a:gd name="connsiteY2349" fmla="*/ 303916 h 903637"/>
                  <a:gd name="connsiteX2350" fmla="*/ 1437409 w 1687454"/>
                  <a:gd name="connsiteY2350" fmla="*/ 306562 h 903637"/>
                  <a:gd name="connsiteX2351" fmla="*/ 1440936 w 1687454"/>
                  <a:gd name="connsiteY2351" fmla="*/ 307708 h 903637"/>
                  <a:gd name="connsiteX2352" fmla="*/ 1444463 w 1687454"/>
                  <a:gd name="connsiteY2352" fmla="*/ 307708 h 903637"/>
                  <a:gd name="connsiteX2353" fmla="*/ 1446226 w 1687454"/>
                  <a:gd name="connsiteY2353" fmla="*/ 305415 h 903637"/>
                  <a:gd name="connsiteX2354" fmla="*/ 1449400 w 1687454"/>
                  <a:gd name="connsiteY2354" fmla="*/ 305415 h 903637"/>
                  <a:gd name="connsiteX2355" fmla="*/ 1451428 w 1687454"/>
                  <a:gd name="connsiteY2355" fmla="*/ 306033 h 903637"/>
                  <a:gd name="connsiteX2356" fmla="*/ 1453191 w 1687454"/>
                  <a:gd name="connsiteY2356" fmla="*/ 307443 h 903637"/>
                  <a:gd name="connsiteX2357" fmla="*/ 1445873 w 1687454"/>
                  <a:gd name="connsiteY2357" fmla="*/ 312733 h 903637"/>
                  <a:gd name="connsiteX2358" fmla="*/ 1451428 w 1687454"/>
                  <a:gd name="connsiteY2358" fmla="*/ 312469 h 903637"/>
                  <a:gd name="connsiteX2359" fmla="*/ 1456718 w 1687454"/>
                  <a:gd name="connsiteY2359" fmla="*/ 312204 h 903637"/>
                  <a:gd name="connsiteX2360" fmla="*/ 1459892 w 1687454"/>
                  <a:gd name="connsiteY2360" fmla="*/ 310705 h 903637"/>
                  <a:gd name="connsiteX2361" fmla="*/ 1464829 w 1687454"/>
                  <a:gd name="connsiteY2361" fmla="*/ 313086 h 903637"/>
                  <a:gd name="connsiteX2362" fmla="*/ 1468356 w 1687454"/>
                  <a:gd name="connsiteY2362" fmla="*/ 311940 h 903637"/>
                  <a:gd name="connsiteX2363" fmla="*/ 1470384 w 1687454"/>
                  <a:gd name="connsiteY2363" fmla="*/ 312821 h 903637"/>
                  <a:gd name="connsiteX2364" fmla="*/ 1473029 w 1687454"/>
                  <a:gd name="connsiteY2364" fmla="*/ 315467 h 903637"/>
                  <a:gd name="connsiteX2365" fmla="*/ 1473911 w 1687454"/>
                  <a:gd name="connsiteY2365" fmla="*/ 318993 h 903637"/>
                  <a:gd name="connsiteX2366" fmla="*/ 1473646 w 1687454"/>
                  <a:gd name="connsiteY2366" fmla="*/ 321638 h 903637"/>
                  <a:gd name="connsiteX2367" fmla="*/ 1467210 w 1687454"/>
                  <a:gd name="connsiteY2367" fmla="*/ 323666 h 903637"/>
                  <a:gd name="connsiteX2368" fmla="*/ 1464565 w 1687454"/>
                  <a:gd name="connsiteY2368" fmla="*/ 325430 h 903637"/>
                  <a:gd name="connsiteX2369" fmla="*/ 1459628 w 1687454"/>
                  <a:gd name="connsiteY2369" fmla="*/ 324283 h 903637"/>
                  <a:gd name="connsiteX2370" fmla="*/ 1461920 w 1687454"/>
                  <a:gd name="connsiteY2370" fmla="*/ 328692 h 903637"/>
                  <a:gd name="connsiteX2371" fmla="*/ 1455836 w 1687454"/>
                  <a:gd name="connsiteY2371" fmla="*/ 327810 h 903637"/>
                  <a:gd name="connsiteX2372" fmla="*/ 1450634 w 1687454"/>
                  <a:gd name="connsiteY2372" fmla="*/ 330102 h 903637"/>
                  <a:gd name="connsiteX2373" fmla="*/ 1451516 w 1687454"/>
                  <a:gd name="connsiteY2373" fmla="*/ 331601 h 903637"/>
                  <a:gd name="connsiteX2374" fmla="*/ 1449753 w 1687454"/>
                  <a:gd name="connsiteY2374" fmla="*/ 335657 h 903637"/>
                  <a:gd name="connsiteX2375" fmla="*/ 1446843 w 1687454"/>
                  <a:gd name="connsiteY2375" fmla="*/ 338567 h 903637"/>
                  <a:gd name="connsiteX2376" fmla="*/ 1442435 w 1687454"/>
                  <a:gd name="connsiteY2376" fmla="*/ 339713 h 903637"/>
                  <a:gd name="connsiteX2377" fmla="*/ 1442435 w 1687454"/>
                  <a:gd name="connsiteY2377" fmla="*/ 342093 h 903637"/>
                  <a:gd name="connsiteX2378" fmla="*/ 1440936 w 1687454"/>
                  <a:gd name="connsiteY2378" fmla="*/ 343240 h 903637"/>
                  <a:gd name="connsiteX2379" fmla="*/ 1434500 w 1687454"/>
                  <a:gd name="connsiteY2379" fmla="*/ 343504 h 903637"/>
                  <a:gd name="connsiteX2380" fmla="*/ 1427799 w 1687454"/>
                  <a:gd name="connsiteY2380" fmla="*/ 341212 h 903637"/>
                  <a:gd name="connsiteX2381" fmla="*/ 1425418 w 1687454"/>
                  <a:gd name="connsiteY2381" fmla="*/ 342711 h 903637"/>
                  <a:gd name="connsiteX2382" fmla="*/ 1426300 w 1687454"/>
                  <a:gd name="connsiteY2382" fmla="*/ 343857 h 903637"/>
                  <a:gd name="connsiteX2383" fmla="*/ 1424272 w 1687454"/>
                  <a:gd name="connsiteY2383" fmla="*/ 346149 h 903637"/>
                  <a:gd name="connsiteX2384" fmla="*/ 1419864 w 1687454"/>
                  <a:gd name="connsiteY2384" fmla="*/ 347031 h 903637"/>
                  <a:gd name="connsiteX2385" fmla="*/ 1418717 w 1687454"/>
                  <a:gd name="connsiteY2385" fmla="*/ 352585 h 903637"/>
                  <a:gd name="connsiteX2386" fmla="*/ 1418453 w 1687454"/>
                  <a:gd name="connsiteY2386" fmla="*/ 358404 h 903637"/>
                  <a:gd name="connsiteX2387" fmla="*/ 1413515 w 1687454"/>
                  <a:gd name="connsiteY2387" fmla="*/ 357787 h 903637"/>
                  <a:gd name="connsiteX2388" fmla="*/ 1411752 w 1687454"/>
                  <a:gd name="connsiteY2388" fmla="*/ 355142 h 903637"/>
                  <a:gd name="connsiteX2389" fmla="*/ 1407696 w 1687454"/>
                  <a:gd name="connsiteY2389" fmla="*/ 353114 h 903637"/>
                  <a:gd name="connsiteX2390" fmla="*/ 1405051 w 1687454"/>
                  <a:gd name="connsiteY2390" fmla="*/ 352850 h 903637"/>
                  <a:gd name="connsiteX2391" fmla="*/ 1402142 w 1687454"/>
                  <a:gd name="connsiteY2391" fmla="*/ 353996 h 903637"/>
                  <a:gd name="connsiteX2392" fmla="*/ 1398086 w 1687454"/>
                  <a:gd name="connsiteY2392" fmla="*/ 351704 h 903637"/>
                  <a:gd name="connsiteX2393" fmla="*/ 1393413 w 1687454"/>
                  <a:gd name="connsiteY2393" fmla="*/ 345885 h 903637"/>
                  <a:gd name="connsiteX2394" fmla="*/ 1392531 w 1687454"/>
                  <a:gd name="connsiteY2394" fmla="*/ 339184 h 903637"/>
                  <a:gd name="connsiteX2395" fmla="*/ 1406815 w 1687454"/>
                  <a:gd name="connsiteY2395" fmla="*/ 335040 h 903637"/>
                  <a:gd name="connsiteX2396" fmla="*/ 1409724 w 1687454"/>
                  <a:gd name="connsiteY2396" fmla="*/ 332395 h 903637"/>
                  <a:gd name="connsiteX2397" fmla="*/ 1401260 w 1687454"/>
                  <a:gd name="connsiteY2397" fmla="*/ 332924 h 903637"/>
                  <a:gd name="connsiteX2398" fmla="*/ 1396587 w 1687454"/>
                  <a:gd name="connsiteY2398" fmla="*/ 335304 h 903637"/>
                  <a:gd name="connsiteX2399" fmla="*/ 1390504 w 1687454"/>
                  <a:gd name="connsiteY2399" fmla="*/ 335304 h 903637"/>
                  <a:gd name="connsiteX2400" fmla="*/ 1391914 w 1687454"/>
                  <a:gd name="connsiteY2400" fmla="*/ 332659 h 903637"/>
                  <a:gd name="connsiteX2401" fmla="*/ 1388387 w 1687454"/>
                  <a:gd name="connsiteY2401" fmla="*/ 331513 h 903637"/>
                  <a:gd name="connsiteX2402" fmla="*/ 1382568 w 1687454"/>
                  <a:gd name="connsiteY2402" fmla="*/ 326576 h 903637"/>
                  <a:gd name="connsiteX2403" fmla="*/ 1381951 w 1687454"/>
                  <a:gd name="connsiteY2403" fmla="*/ 323402 h 903637"/>
                  <a:gd name="connsiteX2404" fmla="*/ 1377543 w 1687454"/>
                  <a:gd name="connsiteY2404" fmla="*/ 323666 h 903637"/>
                  <a:gd name="connsiteX2405" fmla="*/ 1374633 w 1687454"/>
                  <a:gd name="connsiteY2405" fmla="*/ 326840 h 903637"/>
                  <a:gd name="connsiteX2406" fmla="*/ 1371724 w 1687454"/>
                  <a:gd name="connsiteY2406" fmla="*/ 328604 h 903637"/>
                  <a:gd name="connsiteX2407" fmla="*/ 1369696 w 1687454"/>
                  <a:gd name="connsiteY2407" fmla="*/ 325430 h 903637"/>
                  <a:gd name="connsiteX2408" fmla="*/ 1366786 w 1687454"/>
                  <a:gd name="connsiteY2408" fmla="*/ 323931 h 903637"/>
                  <a:gd name="connsiteX2409" fmla="*/ 1364141 w 1687454"/>
                  <a:gd name="connsiteY2409" fmla="*/ 323314 h 903637"/>
                  <a:gd name="connsiteX2410" fmla="*/ 1362378 w 1687454"/>
                  <a:gd name="connsiteY2410" fmla="*/ 324812 h 903637"/>
                  <a:gd name="connsiteX2411" fmla="*/ 1364141 w 1687454"/>
                  <a:gd name="connsiteY2411" fmla="*/ 330367 h 903637"/>
                  <a:gd name="connsiteX2412" fmla="*/ 1368197 w 1687454"/>
                  <a:gd name="connsiteY2412" fmla="*/ 333012 h 903637"/>
                  <a:gd name="connsiteX2413" fmla="*/ 1368197 w 1687454"/>
                  <a:gd name="connsiteY2413" fmla="*/ 335040 h 903637"/>
                  <a:gd name="connsiteX2414" fmla="*/ 1363789 w 1687454"/>
                  <a:gd name="connsiteY2414" fmla="*/ 336803 h 903637"/>
                  <a:gd name="connsiteX2415" fmla="*/ 1359733 w 1687454"/>
                  <a:gd name="connsiteY2415" fmla="*/ 336803 h 903637"/>
                  <a:gd name="connsiteX2416" fmla="*/ 1357088 w 1687454"/>
                  <a:gd name="connsiteY2416" fmla="*/ 335922 h 903637"/>
                  <a:gd name="connsiteX2417" fmla="*/ 1355941 w 1687454"/>
                  <a:gd name="connsiteY2417" fmla="*/ 331249 h 903637"/>
                  <a:gd name="connsiteX2418" fmla="*/ 1350387 w 1687454"/>
                  <a:gd name="connsiteY2418" fmla="*/ 330367 h 903637"/>
                  <a:gd name="connsiteX2419" fmla="*/ 1350122 w 1687454"/>
                  <a:gd name="connsiteY2419" fmla="*/ 331249 h 903637"/>
                  <a:gd name="connsiteX2420" fmla="*/ 1351886 w 1687454"/>
                  <a:gd name="connsiteY2420" fmla="*/ 332395 h 903637"/>
                  <a:gd name="connsiteX2421" fmla="*/ 1351269 w 1687454"/>
                  <a:gd name="connsiteY2421" fmla="*/ 339096 h 903637"/>
                  <a:gd name="connsiteX2422" fmla="*/ 1354795 w 1687454"/>
                  <a:gd name="connsiteY2422" fmla="*/ 339625 h 903637"/>
                  <a:gd name="connsiteX2423" fmla="*/ 1351004 w 1687454"/>
                  <a:gd name="connsiteY2423" fmla="*/ 343680 h 903637"/>
                  <a:gd name="connsiteX2424" fmla="*/ 1359204 w 1687454"/>
                  <a:gd name="connsiteY2424" fmla="*/ 341652 h 903637"/>
                  <a:gd name="connsiteX2425" fmla="*/ 1362730 w 1687454"/>
                  <a:gd name="connsiteY2425" fmla="*/ 342799 h 903637"/>
                  <a:gd name="connsiteX2426" fmla="*/ 1360085 w 1687454"/>
                  <a:gd name="connsiteY2426" fmla="*/ 345708 h 903637"/>
                  <a:gd name="connsiteX2427" fmla="*/ 1364141 w 1687454"/>
                  <a:gd name="connsiteY2427" fmla="*/ 347207 h 903637"/>
                  <a:gd name="connsiteX2428" fmla="*/ 1360085 w 1687454"/>
                  <a:gd name="connsiteY2428" fmla="*/ 348970 h 903637"/>
                  <a:gd name="connsiteX2429" fmla="*/ 1360967 w 1687454"/>
                  <a:gd name="connsiteY2429" fmla="*/ 350998 h 903637"/>
                  <a:gd name="connsiteX2430" fmla="*/ 1364141 w 1687454"/>
                  <a:gd name="connsiteY2430" fmla="*/ 351527 h 903637"/>
                  <a:gd name="connsiteX2431" fmla="*/ 1361496 w 1687454"/>
                  <a:gd name="connsiteY2431" fmla="*/ 354172 h 903637"/>
                  <a:gd name="connsiteX2432" fmla="*/ 1365023 w 1687454"/>
                  <a:gd name="connsiteY2432" fmla="*/ 357347 h 903637"/>
                  <a:gd name="connsiteX2433" fmla="*/ 1366522 w 1687454"/>
                  <a:gd name="connsiteY2433" fmla="*/ 357611 h 903637"/>
                  <a:gd name="connsiteX2434" fmla="*/ 1372341 w 1687454"/>
                  <a:gd name="connsiteY2434" fmla="*/ 359374 h 903637"/>
                  <a:gd name="connsiteX2435" fmla="*/ 1371459 w 1687454"/>
                  <a:gd name="connsiteY2435" fmla="*/ 361402 h 903637"/>
                  <a:gd name="connsiteX2436" fmla="*/ 1376132 w 1687454"/>
                  <a:gd name="connsiteY2436" fmla="*/ 361931 h 903637"/>
                  <a:gd name="connsiteX2437" fmla="*/ 1377631 w 1687454"/>
                  <a:gd name="connsiteY2437" fmla="*/ 359022 h 903637"/>
                  <a:gd name="connsiteX2438" fmla="*/ 1381687 w 1687454"/>
                  <a:gd name="connsiteY2438" fmla="*/ 361402 h 903637"/>
                  <a:gd name="connsiteX2439" fmla="*/ 1381687 w 1687454"/>
                  <a:gd name="connsiteY2439" fmla="*/ 363430 h 903637"/>
                  <a:gd name="connsiteX2440" fmla="*/ 1376485 w 1687454"/>
                  <a:gd name="connsiteY2440" fmla="*/ 367486 h 903637"/>
                  <a:gd name="connsiteX2441" fmla="*/ 1383803 w 1687454"/>
                  <a:gd name="connsiteY2441" fmla="*/ 367221 h 903637"/>
                  <a:gd name="connsiteX2442" fmla="*/ 1382039 w 1687454"/>
                  <a:gd name="connsiteY2442" fmla="*/ 371894 h 903637"/>
                  <a:gd name="connsiteX2443" fmla="*/ 1377984 w 1687454"/>
                  <a:gd name="connsiteY2443" fmla="*/ 371630 h 903637"/>
                  <a:gd name="connsiteX2444" fmla="*/ 1380276 w 1687454"/>
                  <a:gd name="connsiteY2444" fmla="*/ 373922 h 903637"/>
                  <a:gd name="connsiteX2445" fmla="*/ 1381422 w 1687454"/>
                  <a:gd name="connsiteY2445" fmla="*/ 377713 h 903637"/>
                  <a:gd name="connsiteX2446" fmla="*/ 1384332 w 1687454"/>
                  <a:gd name="connsiteY2446" fmla="*/ 378860 h 903637"/>
                  <a:gd name="connsiteX2447" fmla="*/ 1387241 w 1687454"/>
                  <a:gd name="connsiteY2447" fmla="*/ 378860 h 903637"/>
                  <a:gd name="connsiteX2448" fmla="*/ 1382833 w 1687454"/>
                  <a:gd name="connsiteY2448" fmla="*/ 382915 h 903637"/>
                  <a:gd name="connsiteX2449" fmla="*/ 1386360 w 1687454"/>
                  <a:gd name="connsiteY2449" fmla="*/ 384062 h 903637"/>
                  <a:gd name="connsiteX2450" fmla="*/ 1388123 w 1687454"/>
                  <a:gd name="connsiteY2450" fmla="*/ 387853 h 903637"/>
                  <a:gd name="connsiteX2451" fmla="*/ 1383450 w 1687454"/>
                  <a:gd name="connsiteY2451" fmla="*/ 394289 h 903637"/>
                  <a:gd name="connsiteX2452" fmla="*/ 1382304 w 1687454"/>
                  <a:gd name="connsiteY2452" fmla="*/ 394554 h 903637"/>
                  <a:gd name="connsiteX2453" fmla="*/ 1379923 w 1687454"/>
                  <a:gd name="connsiteY2453" fmla="*/ 386707 h 903637"/>
                  <a:gd name="connsiteX2454" fmla="*/ 1377014 w 1687454"/>
                  <a:gd name="connsiteY2454" fmla="*/ 389881 h 903637"/>
                  <a:gd name="connsiteX2455" fmla="*/ 1376132 w 1687454"/>
                  <a:gd name="connsiteY2455" fmla="*/ 396317 h 903637"/>
                  <a:gd name="connsiteX2456" fmla="*/ 1377278 w 1687454"/>
                  <a:gd name="connsiteY2456" fmla="*/ 402136 h 903637"/>
                  <a:gd name="connsiteX2457" fmla="*/ 1374633 w 1687454"/>
                  <a:gd name="connsiteY2457" fmla="*/ 403899 h 903637"/>
                  <a:gd name="connsiteX2458" fmla="*/ 1371371 w 1687454"/>
                  <a:gd name="connsiteY2458" fmla="*/ 401254 h 903637"/>
                  <a:gd name="connsiteX2459" fmla="*/ 1369608 w 1687454"/>
                  <a:gd name="connsiteY2459" fmla="*/ 400990 h 903637"/>
                  <a:gd name="connsiteX2460" fmla="*/ 1368462 w 1687454"/>
                  <a:gd name="connsiteY2460" fmla="*/ 403282 h 903637"/>
                  <a:gd name="connsiteX2461" fmla="*/ 1370489 w 1687454"/>
                  <a:gd name="connsiteY2461" fmla="*/ 408220 h 903637"/>
                  <a:gd name="connsiteX2462" fmla="*/ 1369872 w 1687454"/>
                  <a:gd name="connsiteY2462" fmla="*/ 409366 h 903637"/>
                  <a:gd name="connsiteX2463" fmla="*/ 1367227 w 1687454"/>
                  <a:gd name="connsiteY2463" fmla="*/ 413422 h 903637"/>
                  <a:gd name="connsiteX2464" fmla="*/ 1361937 w 1687454"/>
                  <a:gd name="connsiteY2464" fmla="*/ 410248 h 903637"/>
                  <a:gd name="connsiteX2465" fmla="*/ 1365993 w 1687454"/>
                  <a:gd name="connsiteY2465" fmla="*/ 404428 h 903637"/>
                  <a:gd name="connsiteX2466" fmla="*/ 1364847 w 1687454"/>
                  <a:gd name="connsiteY2466" fmla="*/ 403811 h 903637"/>
                  <a:gd name="connsiteX2467" fmla="*/ 1361937 w 1687454"/>
                  <a:gd name="connsiteY2467" fmla="*/ 404428 h 903637"/>
                  <a:gd name="connsiteX2468" fmla="*/ 1356382 w 1687454"/>
                  <a:gd name="connsiteY2468" fmla="*/ 399755 h 903637"/>
                  <a:gd name="connsiteX2469" fmla="*/ 1353473 w 1687454"/>
                  <a:gd name="connsiteY2469" fmla="*/ 399491 h 903637"/>
                  <a:gd name="connsiteX2470" fmla="*/ 1353737 w 1687454"/>
                  <a:gd name="connsiteY2470" fmla="*/ 400373 h 903637"/>
                  <a:gd name="connsiteX2471" fmla="*/ 1347301 w 1687454"/>
                  <a:gd name="connsiteY2471" fmla="*/ 401254 h 903637"/>
                  <a:gd name="connsiteX2472" fmla="*/ 1342011 w 1687454"/>
                  <a:gd name="connsiteY2472" fmla="*/ 399755 h 903637"/>
                  <a:gd name="connsiteX2473" fmla="*/ 1337955 w 1687454"/>
                  <a:gd name="connsiteY2473" fmla="*/ 400020 h 903637"/>
                  <a:gd name="connsiteX2474" fmla="*/ 1337691 w 1687454"/>
                  <a:gd name="connsiteY2474" fmla="*/ 397110 h 903637"/>
                  <a:gd name="connsiteX2475" fmla="*/ 1334781 w 1687454"/>
                  <a:gd name="connsiteY2475" fmla="*/ 395612 h 903637"/>
                  <a:gd name="connsiteX2476" fmla="*/ 1334164 w 1687454"/>
                  <a:gd name="connsiteY2476" fmla="*/ 392437 h 903637"/>
                  <a:gd name="connsiteX2477" fmla="*/ 1334164 w 1687454"/>
                  <a:gd name="connsiteY2477" fmla="*/ 385472 h 903637"/>
                  <a:gd name="connsiteX2478" fmla="*/ 1331254 w 1687454"/>
                  <a:gd name="connsiteY2478" fmla="*/ 393936 h 903637"/>
                  <a:gd name="connsiteX2479" fmla="*/ 1329491 w 1687454"/>
                  <a:gd name="connsiteY2479" fmla="*/ 391644 h 903637"/>
                  <a:gd name="connsiteX2480" fmla="*/ 1323407 w 1687454"/>
                  <a:gd name="connsiteY2480" fmla="*/ 391380 h 903637"/>
                  <a:gd name="connsiteX2481" fmla="*/ 1321644 w 1687454"/>
                  <a:gd name="connsiteY2481" fmla="*/ 387853 h 903637"/>
                  <a:gd name="connsiteX2482" fmla="*/ 1318117 w 1687454"/>
                  <a:gd name="connsiteY2482" fmla="*/ 385560 h 903637"/>
                  <a:gd name="connsiteX2483" fmla="*/ 1314062 w 1687454"/>
                  <a:gd name="connsiteY2483" fmla="*/ 384062 h 903637"/>
                  <a:gd name="connsiteX2484" fmla="*/ 1313180 w 1687454"/>
                  <a:gd name="connsiteY2484" fmla="*/ 384943 h 903637"/>
                  <a:gd name="connsiteX2485" fmla="*/ 1313444 w 1687454"/>
                  <a:gd name="connsiteY2485" fmla="*/ 386971 h 903637"/>
                  <a:gd name="connsiteX2486" fmla="*/ 1312827 w 1687454"/>
                  <a:gd name="connsiteY2486" fmla="*/ 391380 h 903637"/>
                  <a:gd name="connsiteX2487" fmla="*/ 1318029 w 1687454"/>
                  <a:gd name="connsiteY2487" fmla="*/ 394025 h 903637"/>
                  <a:gd name="connsiteX2488" fmla="*/ 1320057 w 1687454"/>
                  <a:gd name="connsiteY2488" fmla="*/ 396052 h 903637"/>
                  <a:gd name="connsiteX2489" fmla="*/ 1320939 w 1687454"/>
                  <a:gd name="connsiteY2489" fmla="*/ 398697 h 903637"/>
                  <a:gd name="connsiteX2490" fmla="*/ 1325876 w 1687454"/>
                  <a:gd name="connsiteY2490" fmla="*/ 400725 h 903637"/>
                  <a:gd name="connsiteX2491" fmla="*/ 1323584 w 1687454"/>
                  <a:gd name="connsiteY2491" fmla="*/ 400725 h 903637"/>
                  <a:gd name="connsiteX2492" fmla="*/ 1328521 w 1687454"/>
                  <a:gd name="connsiteY2492" fmla="*/ 399844 h 903637"/>
                  <a:gd name="connsiteX2493" fmla="*/ 1326758 w 1687454"/>
                  <a:gd name="connsiteY2493" fmla="*/ 401607 h 903637"/>
                  <a:gd name="connsiteX2494" fmla="*/ 1331166 w 1687454"/>
                  <a:gd name="connsiteY2494" fmla="*/ 407162 h 903637"/>
                  <a:gd name="connsiteX2495" fmla="*/ 1335839 w 1687454"/>
                  <a:gd name="connsiteY2495" fmla="*/ 407162 h 903637"/>
                  <a:gd name="connsiteX2496" fmla="*/ 1335839 w 1687454"/>
                  <a:gd name="connsiteY2496" fmla="*/ 412981 h 903637"/>
                  <a:gd name="connsiteX2497" fmla="*/ 1341394 w 1687454"/>
                  <a:gd name="connsiteY2497" fmla="*/ 414480 h 903637"/>
                  <a:gd name="connsiteX2498" fmla="*/ 1340512 w 1687454"/>
                  <a:gd name="connsiteY2498" fmla="*/ 415978 h 903637"/>
                  <a:gd name="connsiteX2499" fmla="*/ 1337867 w 1687454"/>
                  <a:gd name="connsiteY2499" fmla="*/ 417125 h 903637"/>
                  <a:gd name="connsiteX2500" fmla="*/ 1340512 w 1687454"/>
                  <a:gd name="connsiteY2500" fmla="*/ 420034 h 903637"/>
                  <a:gd name="connsiteX2501" fmla="*/ 1342540 w 1687454"/>
                  <a:gd name="connsiteY2501" fmla="*/ 425324 h 903637"/>
                  <a:gd name="connsiteX2502" fmla="*/ 1341129 w 1687454"/>
                  <a:gd name="connsiteY2502" fmla="*/ 425942 h 903637"/>
                  <a:gd name="connsiteX2503" fmla="*/ 453274 w 1687454"/>
                  <a:gd name="connsiteY2503" fmla="*/ 453009 h 903637"/>
                  <a:gd name="connsiteX2504" fmla="*/ 467821 w 1687454"/>
                  <a:gd name="connsiteY2504" fmla="*/ 451863 h 903637"/>
                  <a:gd name="connsiteX2505" fmla="*/ 489687 w 1687454"/>
                  <a:gd name="connsiteY2505" fmla="*/ 449218 h 903637"/>
                  <a:gd name="connsiteX2506" fmla="*/ 494096 w 1687454"/>
                  <a:gd name="connsiteY2506" fmla="*/ 447719 h 903637"/>
                  <a:gd name="connsiteX2507" fmla="*/ 505469 w 1687454"/>
                  <a:gd name="connsiteY2507" fmla="*/ 439519 h 903637"/>
                  <a:gd name="connsiteX2508" fmla="*/ 513316 w 1687454"/>
                  <a:gd name="connsiteY2508" fmla="*/ 438638 h 903637"/>
                  <a:gd name="connsiteX2509" fmla="*/ 517725 w 1687454"/>
                  <a:gd name="connsiteY2509" fmla="*/ 439784 h 903637"/>
                  <a:gd name="connsiteX2510" fmla="*/ 550964 w 1687454"/>
                  <a:gd name="connsiteY2510" fmla="*/ 425765 h 903637"/>
                  <a:gd name="connsiteX2511" fmla="*/ 561192 w 1687454"/>
                  <a:gd name="connsiteY2511" fmla="*/ 419946 h 903637"/>
                  <a:gd name="connsiteX2512" fmla="*/ 579883 w 1687454"/>
                  <a:gd name="connsiteY2512" fmla="*/ 415890 h 903637"/>
                  <a:gd name="connsiteX2513" fmla="*/ 585438 w 1687454"/>
                  <a:gd name="connsiteY2513" fmla="*/ 414391 h 903637"/>
                  <a:gd name="connsiteX2514" fmla="*/ 573800 w 1687454"/>
                  <a:gd name="connsiteY2514" fmla="*/ 415273 h 903637"/>
                  <a:gd name="connsiteX2515" fmla="*/ 592139 w 1687454"/>
                  <a:gd name="connsiteY2515" fmla="*/ 410600 h 903637"/>
                  <a:gd name="connsiteX2516" fmla="*/ 584292 w 1687454"/>
                  <a:gd name="connsiteY2516" fmla="*/ 409718 h 903637"/>
                  <a:gd name="connsiteX2517" fmla="*/ 565336 w 1687454"/>
                  <a:gd name="connsiteY2517" fmla="*/ 412628 h 903637"/>
                  <a:gd name="connsiteX2518" fmla="*/ 556607 w 1687454"/>
                  <a:gd name="connsiteY2518" fmla="*/ 417036 h 903637"/>
                  <a:gd name="connsiteX2519" fmla="*/ 563572 w 1687454"/>
                  <a:gd name="connsiteY2519" fmla="*/ 412364 h 903637"/>
                  <a:gd name="connsiteX2520" fmla="*/ 587466 w 1687454"/>
                  <a:gd name="connsiteY2520" fmla="*/ 407955 h 903637"/>
                  <a:gd name="connsiteX2521" fmla="*/ 600867 w 1687454"/>
                  <a:gd name="connsiteY2521" fmla="*/ 411482 h 903637"/>
                  <a:gd name="connsiteX2522" fmla="*/ 599721 w 1687454"/>
                  <a:gd name="connsiteY2522" fmla="*/ 412981 h 903637"/>
                  <a:gd name="connsiteX2523" fmla="*/ 607568 w 1687454"/>
                  <a:gd name="connsiteY2523" fmla="*/ 409807 h 903637"/>
                  <a:gd name="connsiteX2524" fmla="*/ 608185 w 1687454"/>
                  <a:gd name="connsiteY2524" fmla="*/ 407514 h 903637"/>
                  <a:gd name="connsiteX2525" fmla="*/ 596195 w 1687454"/>
                  <a:gd name="connsiteY2525" fmla="*/ 404340 h 903637"/>
                  <a:gd name="connsiteX2526" fmla="*/ 585085 w 1687454"/>
                  <a:gd name="connsiteY2526" fmla="*/ 404605 h 903637"/>
                  <a:gd name="connsiteX2527" fmla="*/ 564983 w 1687454"/>
                  <a:gd name="connsiteY2527" fmla="*/ 409807 h 903637"/>
                  <a:gd name="connsiteX2528" fmla="*/ 554491 w 1687454"/>
                  <a:gd name="connsiteY2528" fmla="*/ 417125 h 903637"/>
                  <a:gd name="connsiteX2529" fmla="*/ 541971 w 1687454"/>
                  <a:gd name="connsiteY2529" fmla="*/ 422679 h 903637"/>
                  <a:gd name="connsiteX2530" fmla="*/ 529451 w 1687454"/>
                  <a:gd name="connsiteY2530" fmla="*/ 424972 h 903637"/>
                  <a:gd name="connsiteX2531" fmla="*/ 516050 w 1687454"/>
                  <a:gd name="connsiteY2531" fmla="*/ 424090 h 903637"/>
                  <a:gd name="connsiteX2532" fmla="*/ 507850 w 1687454"/>
                  <a:gd name="connsiteY2532" fmla="*/ 415890 h 903637"/>
                  <a:gd name="connsiteX2533" fmla="*/ 500532 w 1687454"/>
                  <a:gd name="connsiteY2533" fmla="*/ 415626 h 903637"/>
                  <a:gd name="connsiteX2534" fmla="*/ 491803 w 1687454"/>
                  <a:gd name="connsiteY2534" fmla="*/ 407514 h 903637"/>
                  <a:gd name="connsiteX2535" fmla="*/ 491803 w 1687454"/>
                  <a:gd name="connsiteY2535" fmla="*/ 402841 h 903637"/>
                  <a:gd name="connsiteX2536" fmla="*/ 486513 w 1687454"/>
                  <a:gd name="connsiteY2536" fmla="*/ 403723 h 903637"/>
                  <a:gd name="connsiteX2537" fmla="*/ 485631 w 1687454"/>
                  <a:gd name="connsiteY2537" fmla="*/ 406368 h 903637"/>
                  <a:gd name="connsiteX2538" fmla="*/ 490304 w 1687454"/>
                  <a:gd name="connsiteY2538" fmla="*/ 415449 h 903637"/>
                  <a:gd name="connsiteX2539" fmla="*/ 494096 w 1687454"/>
                  <a:gd name="connsiteY2539" fmla="*/ 416067 h 903637"/>
                  <a:gd name="connsiteX2540" fmla="*/ 495594 w 1687454"/>
                  <a:gd name="connsiteY2540" fmla="*/ 428939 h 903637"/>
                  <a:gd name="connsiteX2541" fmla="*/ 490921 w 1687454"/>
                  <a:gd name="connsiteY2541" fmla="*/ 431584 h 903637"/>
                  <a:gd name="connsiteX2542" fmla="*/ 483956 w 1687454"/>
                  <a:gd name="connsiteY2542" fmla="*/ 432466 h 903637"/>
                  <a:gd name="connsiteX2543" fmla="*/ 481928 w 1687454"/>
                  <a:gd name="connsiteY2543" fmla="*/ 431320 h 903637"/>
                  <a:gd name="connsiteX2544" fmla="*/ 477520 w 1687454"/>
                  <a:gd name="connsiteY2544" fmla="*/ 432201 h 903637"/>
                  <a:gd name="connsiteX2545" fmla="*/ 468527 w 1687454"/>
                  <a:gd name="connsiteY2545" fmla="*/ 438285 h 903637"/>
                  <a:gd name="connsiteX2546" fmla="*/ 461561 w 1687454"/>
                  <a:gd name="connsiteY2546" fmla="*/ 440930 h 903637"/>
                  <a:gd name="connsiteX2547" fmla="*/ 459181 w 1687454"/>
                  <a:gd name="connsiteY2547" fmla="*/ 443575 h 903637"/>
                  <a:gd name="connsiteX2548" fmla="*/ 451334 w 1687454"/>
                  <a:gd name="connsiteY2548" fmla="*/ 441547 h 903637"/>
                  <a:gd name="connsiteX2549" fmla="*/ 447543 w 1687454"/>
                  <a:gd name="connsiteY2549" fmla="*/ 442429 h 903637"/>
                  <a:gd name="connsiteX2550" fmla="*/ 445250 w 1687454"/>
                  <a:gd name="connsiteY2550" fmla="*/ 443928 h 903637"/>
                  <a:gd name="connsiteX2551" fmla="*/ 435375 w 1687454"/>
                  <a:gd name="connsiteY2551" fmla="*/ 444192 h 903637"/>
                  <a:gd name="connsiteX2552" fmla="*/ 435993 w 1687454"/>
                  <a:gd name="connsiteY2552" fmla="*/ 447719 h 903637"/>
                  <a:gd name="connsiteX2553" fmla="*/ 445603 w 1687454"/>
                  <a:gd name="connsiteY2553" fmla="*/ 448601 h 903637"/>
                  <a:gd name="connsiteX2554" fmla="*/ 453274 w 1687454"/>
                  <a:gd name="connsiteY2554" fmla="*/ 453009 h 903637"/>
                  <a:gd name="connsiteX2555" fmla="*/ 1096727 w 1687454"/>
                  <a:gd name="connsiteY2555" fmla="*/ 432907 h 903637"/>
                  <a:gd name="connsiteX2556" fmla="*/ 1095228 w 1687454"/>
                  <a:gd name="connsiteY2556" fmla="*/ 433171 h 903637"/>
                  <a:gd name="connsiteX2557" fmla="*/ 1093817 w 1687454"/>
                  <a:gd name="connsiteY2557" fmla="*/ 433171 h 903637"/>
                  <a:gd name="connsiteX2558" fmla="*/ 1093464 w 1687454"/>
                  <a:gd name="connsiteY2558" fmla="*/ 431672 h 903637"/>
                  <a:gd name="connsiteX2559" fmla="*/ 1093200 w 1687454"/>
                  <a:gd name="connsiteY2559" fmla="*/ 431408 h 903637"/>
                  <a:gd name="connsiteX2560" fmla="*/ 1093200 w 1687454"/>
                  <a:gd name="connsiteY2560" fmla="*/ 430526 h 903637"/>
                  <a:gd name="connsiteX2561" fmla="*/ 1091789 w 1687454"/>
                  <a:gd name="connsiteY2561" fmla="*/ 429027 h 903637"/>
                  <a:gd name="connsiteX2562" fmla="*/ 1090643 w 1687454"/>
                  <a:gd name="connsiteY2562" fmla="*/ 428763 h 903637"/>
                  <a:gd name="connsiteX2563" fmla="*/ 1090643 w 1687454"/>
                  <a:gd name="connsiteY2563" fmla="*/ 427264 h 903637"/>
                  <a:gd name="connsiteX2564" fmla="*/ 1091260 w 1687454"/>
                  <a:gd name="connsiteY2564" fmla="*/ 426118 h 903637"/>
                  <a:gd name="connsiteX2565" fmla="*/ 1092142 w 1687454"/>
                  <a:gd name="connsiteY2565" fmla="*/ 424354 h 903637"/>
                  <a:gd name="connsiteX2566" fmla="*/ 1094522 w 1687454"/>
                  <a:gd name="connsiteY2566" fmla="*/ 420828 h 903637"/>
                  <a:gd name="connsiteX2567" fmla="*/ 1096815 w 1687454"/>
                  <a:gd name="connsiteY2567" fmla="*/ 419064 h 903637"/>
                  <a:gd name="connsiteX2568" fmla="*/ 1097079 w 1687454"/>
                  <a:gd name="connsiteY2568" fmla="*/ 418447 h 903637"/>
                  <a:gd name="connsiteX2569" fmla="*/ 1097608 w 1687454"/>
                  <a:gd name="connsiteY2569" fmla="*/ 418447 h 903637"/>
                  <a:gd name="connsiteX2570" fmla="*/ 1100253 w 1687454"/>
                  <a:gd name="connsiteY2570" fmla="*/ 416948 h 903637"/>
                  <a:gd name="connsiteX2571" fmla="*/ 1100870 w 1687454"/>
                  <a:gd name="connsiteY2571" fmla="*/ 416331 h 903637"/>
                  <a:gd name="connsiteX2572" fmla="*/ 1101399 w 1687454"/>
                  <a:gd name="connsiteY2572" fmla="*/ 416067 h 903637"/>
                  <a:gd name="connsiteX2573" fmla="*/ 1102281 w 1687454"/>
                  <a:gd name="connsiteY2573" fmla="*/ 415449 h 903637"/>
                  <a:gd name="connsiteX2574" fmla="*/ 1104309 w 1687454"/>
                  <a:gd name="connsiteY2574" fmla="*/ 414920 h 903637"/>
                  <a:gd name="connsiteX2575" fmla="*/ 1108365 w 1687454"/>
                  <a:gd name="connsiteY2575" fmla="*/ 414656 h 903637"/>
                  <a:gd name="connsiteX2576" fmla="*/ 1108982 w 1687454"/>
                  <a:gd name="connsiteY2576" fmla="*/ 414656 h 903637"/>
                  <a:gd name="connsiteX2577" fmla="*/ 1111891 w 1687454"/>
                  <a:gd name="connsiteY2577" fmla="*/ 414920 h 903637"/>
                  <a:gd name="connsiteX2578" fmla="*/ 1112773 w 1687454"/>
                  <a:gd name="connsiteY2578" fmla="*/ 415802 h 903637"/>
                  <a:gd name="connsiteX2579" fmla="*/ 1112156 w 1687454"/>
                  <a:gd name="connsiteY2579" fmla="*/ 417565 h 903637"/>
                  <a:gd name="connsiteX2580" fmla="*/ 1112773 w 1687454"/>
                  <a:gd name="connsiteY2580" fmla="*/ 418095 h 903637"/>
                  <a:gd name="connsiteX2581" fmla="*/ 1110745 w 1687454"/>
                  <a:gd name="connsiteY2581" fmla="*/ 420740 h 903637"/>
                  <a:gd name="connsiteX2582" fmla="*/ 1109246 w 1687454"/>
                  <a:gd name="connsiteY2582" fmla="*/ 422503 h 903637"/>
                  <a:gd name="connsiteX2583" fmla="*/ 1108365 w 1687454"/>
                  <a:gd name="connsiteY2583" fmla="*/ 424002 h 903637"/>
                  <a:gd name="connsiteX2584" fmla="*/ 1107483 w 1687454"/>
                  <a:gd name="connsiteY2584" fmla="*/ 424266 h 903637"/>
                  <a:gd name="connsiteX2585" fmla="*/ 1106866 w 1687454"/>
                  <a:gd name="connsiteY2585" fmla="*/ 424531 h 903637"/>
                  <a:gd name="connsiteX2586" fmla="*/ 1102193 w 1687454"/>
                  <a:gd name="connsiteY2586" fmla="*/ 428322 h 903637"/>
                  <a:gd name="connsiteX2587" fmla="*/ 1099901 w 1687454"/>
                  <a:gd name="connsiteY2587" fmla="*/ 429468 h 903637"/>
                  <a:gd name="connsiteX2588" fmla="*/ 1098754 w 1687454"/>
                  <a:gd name="connsiteY2588" fmla="*/ 430967 h 903637"/>
                  <a:gd name="connsiteX2589" fmla="*/ 1096727 w 1687454"/>
                  <a:gd name="connsiteY2589" fmla="*/ 432907 h 903637"/>
                  <a:gd name="connsiteX2590" fmla="*/ 1353385 w 1687454"/>
                  <a:gd name="connsiteY2590" fmla="*/ 438461 h 903637"/>
                  <a:gd name="connsiteX2591" fmla="*/ 1351621 w 1687454"/>
                  <a:gd name="connsiteY2591" fmla="*/ 439608 h 903637"/>
                  <a:gd name="connsiteX2592" fmla="*/ 1351357 w 1687454"/>
                  <a:gd name="connsiteY2592" fmla="*/ 438109 h 903637"/>
                  <a:gd name="connsiteX2593" fmla="*/ 1351621 w 1687454"/>
                  <a:gd name="connsiteY2593" fmla="*/ 437580 h 903637"/>
                  <a:gd name="connsiteX2594" fmla="*/ 1349858 w 1687454"/>
                  <a:gd name="connsiteY2594" fmla="*/ 437315 h 903637"/>
                  <a:gd name="connsiteX2595" fmla="*/ 1349858 w 1687454"/>
                  <a:gd name="connsiteY2595" fmla="*/ 436433 h 903637"/>
                  <a:gd name="connsiteX2596" fmla="*/ 1348712 w 1687454"/>
                  <a:gd name="connsiteY2596" fmla="*/ 436433 h 903637"/>
                  <a:gd name="connsiteX2597" fmla="*/ 1347566 w 1687454"/>
                  <a:gd name="connsiteY2597" fmla="*/ 435287 h 903637"/>
                  <a:gd name="connsiteX2598" fmla="*/ 1345538 w 1687454"/>
                  <a:gd name="connsiteY2598" fmla="*/ 434670 h 903637"/>
                  <a:gd name="connsiteX2599" fmla="*/ 1344656 w 1687454"/>
                  <a:gd name="connsiteY2599" fmla="*/ 433788 h 903637"/>
                  <a:gd name="connsiteX2600" fmla="*/ 1344656 w 1687454"/>
                  <a:gd name="connsiteY2600" fmla="*/ 432642 h 903637"/>
                  <a:gd name="connsiteX2601" fmla="*/ 1345538 w 1687454"/>
                  <a:gd name="connsiteY2601" fmla="*/ 432025 h 903637"/>
                  <a:gd name="connsiteX2602" fmla="*/ 1347036 w 1687454"/>
                  <a:gd name="connsiteY2602" fmla="*/ 431408 h 903637"/>
                  <a:gd name="connsiteX2603" fmla="*/ 1352856 w 1687454"/>
                  <a:gd name="connsiteY2603" fmla="*/ 431408 h 903637"/>
                  <a:gd name="connsiteX2604" fmla="*/ 1353473 w 1687454"/>
                  <a:gd name="connsiteY2604" fmla="*/ 431672 h 903637"/>
                  <a:gd name="connsiteX2605" fmla="*/ 1357528 w 1687454"/>
                  <a:gd name="connsiteY2605" fmla="*/ 431672 h 903637"/>
                  <a:gd name="connsiteX2606" fmla="*/ 1357528 w 1687454"/>
                  <a:gd name="connsiteY2606" fmla="*/ 432290 h 903637"/>
                  <a:gd name="connsiteX2607" fmla="*/ 1359027 w 1687454"/>
                  <a:gd name="connsiteY2607" fmla="*/ 432907 h 903637"/>
                  <a:gd name="connsiteX2608" fmla="*/ 1357881 w 1687454"/>
                  <a:gd name="connsiteY2608" fmla="*/ 433788 h 903637"/>
                  <a:gd name="connsiteX2609" fmla="*/ 1356735 w 1687454"/>
                  <a:gd name="connsiteY2609" fmla="*/ 434406 h 903637"/>
                  <a:gd name="connsiteX2610" fmla="*/ 1356735 w 1687454"/>
                  <a:gd name="connsiteY2610" fmla="*/ 434670 h 903637"/>
                  <a:gd name="connsiteX2611" fmla="*/ 1355853 w 1687454"/>
                  <a:gd name="connsiteY2611" fmla="*/ 435287 h 903637"/>
                  <a:gd name="connsiteX2612" fmla="*/ 1356999 w 1687454"/>
                  <a:gd name="connsiteY2612" fmla="*/ 435552 h 903637"/>
                  <a:gd name="connsiteX2613" fmla="*/ 1355501 w 1687454"/>
                  <a:gd name="connsiteY2613" fmla="*/ 436169 h 903637"/>
                  <a:gd name="connsiteX2614" fmla="*/ 1355236 w 1687454"/>
                  <a:gd name="connsiteY2614" fmla="*/ 437051 h 903637"/>
                  <a:gd name="connsiteX2615" fmla="*/ 1353208 w 1687454"/>
                  <a:gd name="connsiteY2615" fmla="*/ 438461 h 903637"/>
                  <a:gd name="connsiteX2616" fmla="*/ 1353385 w 1687454"/>
                  <a:gd name="connsiteY2616" fmla="*/ 438461 h 903637"/>
                  <a:gd name="connsiteX2617" fmla="*/ 1287523 w 1687454"/>
                  <a:gd name="connsiteY2617" fmla="*/ 461738 h 903637"/>
                  <a:gd name="connsiteX2618" fmla="*/ 1279940 w 1687454"/>
                  <a:gd name="connsiteY2618" fmla="*/ 464030 h 903637"/>
                  <a:gd name="connsiteX2619" fmla="*/ 1278441 w 1687454"/>
                  <a:gd name="connsiteY2619" fmla="*/ 462531 h 903637"/>
                  <a:gd name="connsiteX2620" fmla="*/ 1287170 w 1687454"/>
                  <a:gd name="connsiteY2620" fmla="*/ 456095 h 903637"/>
                  <a:gd name="connsiteX2621" fmla="*/ 1288316 w 1687454"/>
                  <a:gd name="connsiteY2621" fmla="*/ 456360 h 903637"/>
                  <a:gd name="connsiteX2622" fmla="*/ 1291226 w 1687454"/>
                  <a:gd name="connsiteY2622" fmla="*/ 458740 h 903637"/>
                  <a:gd name="connsiteX2623" fmla="*/ 1287523 w 1687454"/>
                  <a:gd name="connsiteY2623" fmla="*/ 461738 h 903637"/>
                  <a:gd name="connsiteX2624" fmla="*/ 499386 w 1687454"/>
                  <a:gd name="connsiteY2624" fmla="*/ 502031 h 903637"/>
                  <a:gd name="connsiteX2625" fmla="*/ 502912 w 1687454"/>
                  <a:gd name="connsiteY2625" fmla="*/ 501502 h 903637"/>
                  <a:gd name="connsiteX2626" fmla="*/ 503530 w 1687454"/>
                  <a:gd name="connsiteY2626" fmla="*/ 501766 h 903637"/>
                  <a:gd name="connsiteX2627" fmla="*/ 507585 w 1687454"/>
                  <a:gd name="connsiteY2627" fmla="*/ 501149 h 903637"/>
                  <a:gd name="connsiteX2628" fmla="*/ 509349 w 1687454"/>
                  <a:gd name="connsiteY2628" fmla="*/ 499650 h 903637"/>
                  <a:gd name="connsiteX2629" fmla="*/ 510848 w 1687454"/>
                  <a:gd name="connsiteY2629" fmla="*/ 498151 h 903637"/>
                  <a:gd name="connsiteX2630" fmla="*/ 514639 w 1687454"/>
                  <a:gd name="connsiteY2630" fmla="*/ 495859 h 903637"/>
                  <a:gd name="connsiteX2631" fmla="*/ 516402 w 1687454"/>
                  <a:gd name="connsiteY2631" fmla="*/ 495242 h 903637"/>
                  <a:gd name="connsiteX2632" fmla="*/ 519576 w 1687454"/>
                  <a:gd name="connsiteY2632" fmla="*/ 494096 h 903637"/>
                  <a:gd name="connsiteX2633" fmla="*/ 522750 w 1687454"/>
                  <a:gd name="connsiteY2633" fmla="*/ 493478 h 903637"/>
                  <a:gd name="connsiteX2634" fmla="*/ 527688 w 1687454"/>
                  <a:gd name="connsiteY2634" fmla="*/ 491451 h 903637"/>
                  <a:gd name="connsiteX2635" fmla="*/ 532361 w 1687454"/>
                  <a:gd name="connsiteY2635" fmla="*/ 491186 h 903637"/>
                  <a:gd name="connsiteX2636" fmla="*/ 537915 w 1687454"/>
                  <a:gd name="connsiteY2636" fmla="*/ 489687 h 903637"/>
                  <a:gd name="connsiteX2637" fmla="*/ 538532 w 1687454"/>
                  <a:gd name="connsiteY2637" fmla="*/ 490833 h 903637"/>
                  <a:gd name="connsiteX2638" fmla="*/ 539679 w 1687454"/>
                  <a:gd name="connsiteY2638" fmla="*/ 490833 h 903637"/>
                  <a:gd name="connsiteX2639" fmla="*/ 543470 w 1687454"/>
                  <a:gd name="connsiteY2639" fmla="*/ 490216 h 903637"/>
                  <a:gd name="connsiteX2640" fmla="*/ 545233 w 1687454"/>
                  <a:gd name="connsiteY2640" fmla="*/ 490216 h 903637"/>
                  <a:gd name="connsiteX2641" fmla="*/ 565336 w 1687454"/>
                  <a:gd name="connsiteY2641" fmla="*/ 487307 h 903637"/>
                  <a:gd name="connsiteX2642" fmla="*/ 568510 w 1687454"/>
                  <a:gd name="connsiteY2642" fmla="*/ 485014 h 903637"/>
                  <a:gd name="connsiteX2643" fmla="*/ 570802 w 1687454"/>
                  <a:gd name="connsiteY2643" fmla="*/ 485014 h 903637"/>
                  <a:gd name="connsiteX2644" fmla="*/ 571067 w 1687454"/>
                  <a:gd name="connsiteY2644" fmla="*/ 485896 h 903637"/>
                  <a:gd name="connsiteX2645" fmla="*/ 580677 w 1687454"/>
                  <a:gd name="connsiteY2645" fmla="*/ 486778 h 903637"/>
                  <a:gd name="connsiteX2646" fmla="*/ 582969 w 1687454"/>
                  <a:gd name="connsiteY2646" fmla="*/ 487395 h 903637"/>
                  <a:gd name="connsiteX2647" fmla="*/ 595842 w 1687454"/>
                  <a:gd name="connsiteY2647" fmla="*/ 487395 h 903637"/>
                  <a:gd name="connsiteX2648" fmla="*/ 597605 w 1687454"/>
                  <a:gd name="connsiteY2648" fmla="*/ 486513 h 903637"/>
                  <a:gd name="connsiteX2649" fmla="*/ 574858 w 1687454"/>
                  <a:gd name="connsiteY2649" fmla="*/ 483868 h 903637"/>
                  <a:gd name="connsiteX2650" fmla="*/ 572477 w 1687454"/>
                  <a:gd name="connsiteY2650" fmla="*/ 482369 h 903637"/>
                  <a:gd name="connsiteX2651" fmla="*/ 570449 w 1687454"/>
                  <a:gd name="connsiteY2651" fmla="*/ 482369 h 903637"/>
                  <a:gd name="connsiteX2652" fmla="*/ 564630 w 1687454"/>
                  <a:gd name="connsiteY2652" fmla="*/ 482369 h 903637"/>
                  <a:gd name="connsiteX2653" fmla="*/ 561104 w 1687454"/>
                  <a:gd name="connsiteY2653" fmla="*/ 481752 h 903637"/>
                  <a:gd name="connsiteX2654" fmla="*/ 555284 w 1687454"/>
                  <a:gd name="connsiteY2654" fmla="*/ 482898 h 903637"/>
                  <a:gd name="connsiteX2655" fmla="*/ 549994 w 1687454"/>
                  <a:gd name="connsiteY2655" fmla="*/ 484044 h 903637"/>
                  <a:gd name="connsiteX2656" fmla="*/ 548848 w 1687454"/>
                  <a:gd name="connsiteY2656" fmla="*/ 484044 h 903637"/>
                  <a:gd name="connsiteX2657" fmla="*/ 549113 w 1687454"/>
                  <a:gd name="connsiteY2657" fmla="*/ 483427 h 903637"/>
                  <a:gd name="connsiteX2658" fmla="*/ 552904 w 1687454"/>
                  <a:gd name="connsiteY2658" fmla="*/ 481664 h 903637"/>
                  <a:gd name="connsiteX2659" fmla="*/ 554050 w 1687454"/>
                  <a:gd name="connsiteY2659" fmla="*/ 480518 h 903637"/>
                  <a:gd name="connsiteX2660" fmla="*/ 552904 w 1687454"/>
                  <a:gd name="connsiteY2660" fmla="*/ 480253 h 903637"/>
                  <a:gd name="connsiteX2661" fmla="*/ 548584 w 1687454"/>
                  <a:gd name="connsiteY2661" fmla="*/ 481135 h 903637"/>
                  <a:gd name="connsiteX2662" fmla="*/ 547702 w 1687454"/>
                  <a:gd name="connsiteY2662" fmla="*/ 480518 h 903637"/>
                  <a:gd name="connsiteX2663" fmla="*/ 548584 w 1687454"/>
                  <a:gd name="connsiteY2663" fmla="*/ 478754 h 903637"/>
                  <a:gd name="connsiteX2664" fmla="*/ 544792 w 1687454"/>
                  <a:gd name="connsiteY2664" fmla="*/ 478402 h 903637"/>
                  <a:gd name="connsiteX2665" fmla="*/ 541883 w 1687454"/>
                  <a:gd name="connsiteY2665" fmla="*/ 479019 h 903637"/>
                  <a:gd name="connsiteX2666" fmla="*/ 536593 w 1687454"/>
                  <a:gd name="connsiteY2666" fmla="*/ 480782 h 903637"/>
                  <a:gd name="connsiteX2667" fmla="*/ 531655 w 1687454"/>
                  <a:gd name="connsiteY2667" fmla="*/ 483956 h 903637"/>
                  <a:gd name="connsiteX2668" fmla="*/ 528481 w 1687454"/>
                  <a:gd name="connsiteY2668" fmla="*/ 485455 h 903637"/>
                  <a:gd name="connsiteX2669" fmla="*/ 524954 w 1687454"/>
                  <a:gd name="connsiteY2669" fmla="*/ 486601 h 903637"/>
                  <a:gd name="connsiteX2670" fmla="*/ 517372 w 1687454"/>
                  <a:gd name="connsiteY2670" fmla="*/ 489775 h 903637"/>
                  <a:gd name="connsiteX2671" fmla="*/ 514992 w 1687454"/>
                  <a:gd name="connsiteY2671" fmla="*/ 489775 h 903637"/>
                  <a:gd name="connsiteX2672" fmla="*/ 511200 w 1687454"/>
                  <a:gd name="connsiteY2672" fmla="*/ 491803 h 903637"/>
                  <a:gd name="connsiteX2673" fmla="*/ 508555 w 1687454"/>
                  <a:gd name="connsiteY2673" fmla="*/ 494448 h 903637"/>
                  <a:gd name="connsiteX2674" fmla="*/ 502472 w 1687454"/>
                  <a:gd name="connsiteY2674" fmla="*/ 497093 h 903637"/>
                  <a:gd name="connsiteX2675" fmla="*/ 497799 w 1687454"/>
                  <a:gd name="connsiteY2675" fmla="*/ 498857 h 903637"/>
                  <a:gd name="connsiteX2676" fmla="*/ 497270 w 1687454"/>
                  <a:gd name="connsiteY2676" fmla="*/ 498857 h 903637"/>
                  <a:gd name="connsiteX2677" fmla="*/ 497534 w 1687454"/>
                  <a:gd name="connsiteY2677" fmla="*/ 497711 h 903637"/>
                  <a:gd name="connsiteX2678" fmla="*/ 497270 w 1687454"/>
                  <a:gd name="connsiteY2678" fmla="*/ 497446 h 903637"/>
                  <a:gd name="connsiteX2679" fmla="*/ 494625 w 1687454"/>
                  <a:gd name="connsiteY2679" fmla="*/ 497975 h 903637"/>
                  <a:gd name="connsiteX2680" fmla="*/ 494625 w 1687454"/>
                  <a:gd name="connsiteY2680" fmla="*/ 498857 h 903637"/>
                  <a:gd name="connsiteX2681" fmla="*/ 494625 w 1687454"/>
                  <a:gd name="connsiteY2681" fmla="*/ 499738 h 903637"/>
                  <a:gd name="connsiteX2682" fmla="*/ 495771 w 1687454"/>
                  <a:gd name="connsiteY2682" fmla="*/ 500885 h 903637"/>
                  <a:gd name="connsiteX2683" fmla="*/ 497270 w 1687454"/>
                  <a:gd name="connsiteY2683" fmla="*/ 500885 h 903637"/>
                  <a:gd name="connsiteX2684" fmla="*/ 499386 w 1687454"/>
                  <a:gd name="connsiteY2684" fmla="*/ 502031 h 903637"/>
                  <a:gd name="connsiteX2685" fmla="*/ 597958 w 1687454"/>
                  <a:gd name="connsiteY2685" fmla="*/ 556254 h 903637"/>
                  <a:gd name="connsiteX2686" fmla="*/ 599721 w 1687454"/>
                  <a:gd name="connsiteY2686" fmla="*/ 553962 h 903637"/>
                  <a:gd name="connsiteX2687" fmla="*/ 602366 w 1687454"/>
                  <a:gd name="connsiteY2687" fmla="*/ 552816 h 903637"/>
                  <a:gd name="connsiteX2688" fmla="*/ 602984 w 1687454"/>
                  <a:gd name="connsiteY2688" fmla="*/ 554315 h 903637"/>
                  <a:gd name="connsiteX2689" fmla="*/ 604130 w 1687454"/>
                  <a:gd name="connsiteY2689" fmla="*/ 554315 h 903637"/>
                  <a:gd name="connsiteX2690" fmla="*/ 607039 w 1687454"/>
                  <a:gd name="connsiteY2690" fmla="*/ 551405 h 903637"/>
                  <a:gd name="connsiteX2691" fmla="*/ 614005 w 1687454"/>
                  <a:gd name="connsiteY2691" fmla="*/ 549642 h 903637"/>
                  <a:gd name="connsiteX2692" fmla="*/ 615503 w 1687454"/>
                  <a:gd name="connsiteY2692" fmla="*/ 548760 h 903637"/>
                  <a:gd name="connsiteX2693" fmla="*/ 617531 w 1687454"/>
                  <a:gd name="connsiteY2693" fmla="*/ 547349 h 903637"/>
                  <a:gd name="connsiteX2694" fmla="*/ 620176 w 1687454"/>
                  <a:gd name="connsiteY2694" fmla="*/ 545586 h 903637"/>
                  <a:gd name="connsiteX2695" fmla="*/ 622821 w 1687454"/>
                  <a:gd name="connsiteY2695" fmla="*/ 543558 h 903637"/>
                  <a:gd name="connsiteX2696" fmla="*/ 626877 w 1687454"/>
                  <a:gd name="connsiteY2696" fmla="*/ 542412 h 903637"/>
                  <a:gd name="connsiteX2697" fmla="*/ 635077 w 1687454"/>
                  <a:gd name="connsiteY2697" fmla="*/ 533683 h 903637"/>
                  <a:gd name="connsiteX2698" fmla="*/ 635077 w 1687454"/>
                  <a:gd name="connsiteY2698" fmla="*/ 531038 h 903637"/>
                  <a:gd name="connsiteX2699" fmla="*/ 638251 w 1687454"/>
                  <a:gd name="connsiteY2699" fmla="*/ 527864 h 903637"/>
                  <a:gd name="connsiteX2700" fmla="*/ 640631 w 1687454"/>
                  <a:gd name="connsiteY2700" fmla="*/ 527600 h 903637"/>
                  <a:gd name="connsiteX2701" fmla="*/ 645040 w 1687454"/>
                  <a:gd name="connsiteY2701" fmla="*/ 526453 h 903637"/>
                  <a:gd name="connsiteX2702" fmla="*/ 654650 w 1687454"/>
                  <a:gd name="connsiteY2702" fmla="*/ 519135 h 903637"/>
                  <a:gd name="connsiteX2703" fmla="*/ 652358 w 1687454"/>
                  <a:gd name="connsiteY2703" fmla="*/ 518871 h 903637"/>
                  <a:gd name="connsiteX2704" fmla="*/ 651476 w 1687454"/>
                  <a:gd name="connsiteY2704" fmla="*/ 518871 h 903637"/>
                  <a:gd name="connsiteX2705" fmla="*/ 649096 w 1687454"/>
                  <a:gd name="connsiteY2705" fmla="*/ 520370 h 903637"/>
                  <a:gd name="connsiteX2706" fmla="*/ 646715 w 1687454"/>
                  <a:gd name="connsiteY2706" fmla="*/ 520634 h 903637"/>
                  <a:gd name="connsiteX2707" fmla="*/ 651653 w 1687454"/>
                  <a:gd name="connsiteY2707" fmla="*/ 516843 h 903637"/>
                  <a:gd name="connsiteX2708" fmla="*/ 651388 w 1687454"/>
                  <a:gd name="connsiteY2708" fmla="*/ 515961 h 903637"/>
                  <a:gd name="connsiteX2709" fmla="*/ 649360 w 1687454"/>
                  <a:gd name="connsiteY2709" fmla="*/ 516843 h 903637"/>
                  <a:gd name="connsiteX2710" fmla="*/ 647597 w 1687454"/>
                  <a:gd name="connsiteY2710" fmla="*/ 517725 h 903637"/>
                  <a:gd name="connsiteX2711" fmla="*/ 650771 w 1687454"/>
                  <a:gd name="connsiteY2711" fmla="*/ 513316 h 903637"/>
                  <a:gd name="connsiteX2712" fmla="*/ 648390 w 1687454"/>
                  <a:gd name="connsiteY2712" fmla="*/ 513581 h 903637"/>
                  <a:gd name="connsiteX2713" fmla="*/ 645745 w 1687454"/>
                  <a:gd name="connsiteY2713" fmla="*/ 515873 h 903637"/>
                  <a:gd name="connsiteX2714" fmla="*/ 645745 w 1687454"/>
                  <a:gd name="connsiteY2714" fmla="*/ 517019 h 903637"/>
                  <a:gd name="connsiteX2715" fmla="*/ 643982 w 1687454"/>
                  <a:gd name="connsiteY2715" fmla="*/ 517901 h 903637"/>
                  <a:gd name="connsiteX2716" fmla="*/ 643100 w 1687454"/>
                  <a:gd name="connsiteY2716" fmla="*/ 519047 h 903637"/>
                  <a:gd name="connsiteX2717" fmla="*/ 639926 w 1687454"/>
                  <a:gd name="connsiteY2717" fmla="*/ 520193 h 903637"/>
                  <a:gd name="connsiteX2718" fmla="*/ 640191 w 1687454"/>
                  <a:gd name="connsiteY2718" fmla="*/ 519047 h 903637"/>
                  <a:gd name="connsiteX2719" fmla="*/ 637017 w 1687454"/>
                  <a:gd name="connsiteY2719" fmla="*/ 519929 h 903637"/>
                  <a:gd name="connsiteX2720" fmla="*/ 633490 w 1687454"/>
                  <a:gd name="connsiteY2720" fmla="*/ 523103 h 903637"/>
                  <a:gd name="connsiteX2721" fmla="*/ 630316 w 1687454"/>
                  <a:gd name="connsiteY2721" fmla="*/ 523103 h 903637"/>
                  <a:gd name="connsiteX2722" fmla="*/ 629170 w 1687454"/>
                  <a:gd name="connsiteY2722" fmla="*/ 524866 h 903637"/>
                  <a:gd name="connsiteX2723" fmla="*/ 629787 w 1687454"/>
                  <a:gd name="connsiteY2723" fmla="*/ 525484 h 903637"/>
                  <a:gd name="connsiteX2724" fmla="*/ 628023 w 1687454"/>
                  <a:gd name="connsiteY2724" fmla="*/ 526365 h 903637"/>
                  <a:gd name="connsiteX2725" fmla="*/ 622469 w 1687454"/>
                  <a:gd name="connsiteY2725" fmla="*/ 529010 h 903637"/>
                  <a:gd name="connsiteX2726" fmla="*/ 619824 w 1687454"/>
                  <a:gd name="connsiteY2726" fmla="*/ 532802 h 903637"/>
                  <a:gd name="connsiteX2727" fmla="*/ 622733 w 1687454"/>
                  <a:gd name="connsiteY2727" fmla="*/ 531920 h 903637"/>
                  <a:gd name="connsiteX2728" fmla="*/ 620705 w 1687454"/>
                  <a:gd name="connsiteY2728" fmla="*/ 533948 h 903637"/>
                  <a:gd name="connsiteX2729" fmla="*/ 624232 w 1687454"/>
                  <a:gd name="connsiteY2729" fmla="*/ 533331 h 903637"/>
                  <a:gd name="connsiteX2730" fmla="*/ 622204 w 1687454"/>
                  <a:gd name="connsiteY2730" fmla="*/ 534829 h 903637"/>
                  <a:gd name="connsiteX2731" fmla="*/ 621323 w 1687454"/>
                  <a:gd name="connsiteY2731" fmla="*/ 536857 h 903637"/>
                  <a:gd name="connsiteX2732" fmla="*/ 622204 w 1687454"/>
                  <a:gd name="connsiteY2732" fmla="*/ 536857 h 903637"/>
                  <a:gd name="connsiteX2733" fmla="*/ 622204 w 1687454"/>
                  <a:gd name="connsiteY2733" fmla="*/ 539502 h 903637"/>
                  <a:gd name="connsiteX2734" fmla="*/ 619559 w 1687454"/>
                  <a:gd name="connsiteY2734" fmla="*/ 542412 h 903637"/>
                  <a:gd name="connsiteX2735" fmla="*/ 615768 w 1687454"/>
                  <a:gd name="connsiteY2735" fmla="*/ 545322 h 903637"/>
                  <a:gd name="connsiteX2736" fmla="*/ 610213 w 1687454"/>
                  <a:gd name="connsiteY2736" fmla="*/ 548584 h 903637"/>
                  <a:gd name="connsiteX2737" fmla="*/ 603248 w 1687454"/>
                  <a:gd name="connsiteY2737" fmla="*/ 551493 h 903637"/>
                  <a:gd name="connsiteX2738" fmla="*/ 608185 w 1687454"/>
                  <a:gd name="connsiteY2738" fmla="*/ 546556 h 903637"/>
                  <a:gd name="connsiteX2739" fmla="*/ 607568 w 1687454"/>
                  <a:gd name="connsiteY2739" fmla="*/ 546291 h 903637"/>
                  <a:gd name="connsiteX2740" fmla="*/ 607304 w 1687454"/>
                  <a:gd name="connsiteY2740" fmla="*/ 546291 h 903637"/>
                  <a:gd name="connsiteX2741" fmla="*/ 603248 w 1687454"/>
                  <a:gd name="connsiteY2741" fmla="*/ 550083 h 903637"/>
                  <a:gd name="connsiteX2742" fmla="*/ 602102 w 1687454"/>
                  <a:gd name="connsiteY2742" fmla="*/ 550347 h 903637"/>
                  <a:gd name="connsiteX2743" fmla="*/ 602366 w 1687454"/>
                  <a:gd name="connsiteY2743" fmla="*/ 548584 h 903637"/>
                  <a:gd name="connsiteX2744" fmla="*/ 602102 w 1687454"/>
                  <a:gd name="connsiteY2744" fmla="*/ 548584 h 903637"/>
                  <a:gd name="connsiteX2745" fmla="*/ 601220 w 1687454"/>
                  <a:gd name="connsiteY2745" fmla="*/ 549113 h 903637"/>
                  <a:gd name="connsiteX2746" fmla="*/ 600956 w 1687454"/>
                  <a:gd name="connsiteY2746" fmla="*/ 550612 h 903637"/>
                  <a:gd name="connsiteX2747" fmla="*/ 601573 w 1687454"/>
                  <a:gd name="connsiteY2747" fmla="*/ 551493 h 903637"/>
                  <a:gd name="connsiteX2748" fmla="*/ 597517 w 1687454"/>
                  <a:gd name="connsiteY2748" fmla="*/ 555814 h 903637"/>
                  <a:gd name="connsiteX2749" fmla="*/ 597253 w 1687454"/>
                  <a:gd name="connsiteY2749" fmla="*/ 556431 h 903637"/>
                  <a:gd name="connsiteX2750" fmla="*/ 597958 w 1687454"/>
                  <a:gd name="connsiteY2750" fmla="*/ 556431 h 903637"/>
                  <a:gd name="connsiteX2751" fmla="*/ 1024957 w 1687454"/>
                  <a:gd name="connsiteY2751" fmla="*/ 547526 h 903637"/>
                  <a:gd name="connsiteX2752" fmla="*/ 1022930 w 1687454"/>
                  <a:gd name="connsiteY2752" fmla="*/ 548055 h 903637"/>
                  <a:gd name="connsiteX2753" fmla="*/ 1021783 w 1687454"/>
                  <a:gd name="connsiteY2753" fmla="*/ 547790 h 903637"/>
                  <a:gd name="connsiteX2754" fmla="*/ 1023282 w 1687454"/>
                  <a:gd name="connsiteY2754" fmla="*/ 546027 h 903637"/>
                  <a:gd name="connsiteX2755" fmla="*/ 1023282 w 1687454"/>
                  <a:gd name="connsiteY2755" fmla="*/ 545498 h 903637"/>
                  <a:gd name="connsiteX2756" fmla="*/ 1024781 w 1687454"/>
                  <a:gd name="connsiteY2756" fmla="*/ 544881 h 903637"/>
                  <a:gd name="connsiteX2757" fmla="*/ 1027073 w 1687454"/>
                  <a:gd name="connsiteY2757" fmla="*/ 544881 h 903637"/>
                  <a:gd name="connsiteX2758" fmla="*/ 1028220 w 1687454"/>
                  <a:gd name="connsiteY2758" fmla="*/ 543734 h 903637"/>
                  <a:gd name="connsiteX2759" fmla="*/ 1030247 w 1687454"/>
                  <a:gd name="connsiteY2759" fmla="*/ 544263 h 903637"/>
                  <a:gd name="connsiteX2760" fmla="*/ 1035538 w 1687454"/>
                  <a:gd name="connsiteY2760" fmla="*/ 539855 h 903637"/>
                  <a:gd name="connsiteX2761" fmla="*/ 1034656 w 1687454"/>
                  <a:gd name="connsiteY2761" fmla="*/ 541883 h 903637"/>
                  <a:gd name="connsiteX2762" fmla="*/ 1028220 w 1687454"/>
                  <a:gd name="connsiteY2762" fmla="*/ 545939 h 903637"/>
                  <a:gd name="connsiteX2763" fmla="*/ 1024957 w 1687454"/>
                  <a:gd name="connsiteY2763" fmla="*/ 547526 h 903637"/>
                  <a:gd name="connsiteX2764" fmla="*/ 1020637 w 1687454"/>
                  <a:gd name="connsiteY2764" fmla="*/ 566746 h 903637"/>
                  <a:gd name="connsiteX2765" fmla="*/ 1016229 w 1687454"/>
                  <a:gd name="connsiteY2765" fmla="*/ 568245 h 903637"/>
                  <a:gd name="connsiteX2766" fmla="*/ 1029013 w 1687454"/>
                  <a:gd name="connsiteY2766" fmla="*/ 555108 h 903637"/>
                  <a:gd name="connsiteX2767" fmla="*/ 1043032 w 1687454"/>
                  <a:gd name="connsiteY2767" fmla="*/ 553080 h 903637"/>
                  <a:gd name="connsiteX2768" fmla="*/ 1031041 w 1687454"/>
                  <a:gd name="connsiteY2768" fmla="*/ 565071 h 903637"/>
                  <a:gd name="connsiteX2769" fmla="*/ 1031306 w 1687454"/>
                  <a:gd name="connsiteY2769" fmla="*/ 562162 h 903637"/>
                  <a:gd name="connsiteX2770" fmla="*/ 1020637 w 1687454"/>
                  <a:gd name="connsiteY2770" fmla="*/ 566746 h 903637"/>
                  <a:gd name="connsiteX2771" fmla="*/ 1043649 w 1687454"/>
                  <a:gd name="connsiteY2771" fmla="*/ 558282 h 903637"/>
                  <a:gd name="connsiteX2772" fmla="*/ 1040122 w 1687454"/>
                  <a:gd name="connsiteY2772" fmla="*/ 560575 h 903637"/>
                  <a:gd name="connsiteX2773" fmla="*/ 1040387 w 1687454"/>
                  <a:gd name="connsiteY2773" fmla="*/ 557930 h 903637"/>
                  <a:gd name="connsiteX2774" fmla="*/ 1043649 w 1687454"/>
                  <a:gd name="connsiteY2774" fmla="*/ 558282 h 903637"/>
                  <a:gd name="connsiteX2775" fmla="*/ 1032893 w 1687454"/>
                  <a:gd name="connsiteY2775" fmla="*/ 567099 h 903637"/>
                  <a:gd name="connsiteX2776" fmla="*/ 1032275 w 1687454"/>
                  <a:gd name="connsiteY2776" fmla="*/ 567099 h 903637"/>
                  <a:gd name="connsiteX2777" fmla="*/ 1032540 w 1687454"/>
                  <a:gd name="connsiteY2777" fmla="*/ 566835 h 903637"/>
                  <a:gd name="connsiteX2778" fmla="*/ 1033951 w 1687454"/>
                  <a:gd name="connsiteY2778" fmla="*/ 565071 h 903637"/>
                  <a:gd name="connsiteX2779" fmla="*/ 1034832 w 1687454"/>
                  <a:gd name="connsiteY2779" fmla="*/ 563925 h 903637"/>
                  <a:gd name="connsiteX2780" fmla="*/ 1037125 w 1687454"/>
                  <a:gd name="connsiteY2780" fmla="*/ 561015 h 903637"/>
                  <a:gd name="connsiteX2781" fmla="*/ 1037742 w 1687454"/>
                  <a:gd name="connsiteY2781" fmla="*/ 560751 h 903637"/>
                  <a:gd name="connsiteX2782" fmla="*/ 1038359 w 1687454"/>
                  <a:gd name="connsiteY2782" fmla="*/ 561633 h 903637"/>
                  <a:gd name="connsiteX2783" fmla="*/ 1038359 w 1687454"/>
                  <a:gd name="connsiteY2783" fmla="*/ 561897 h 903637"/>
                  <a:gd name="connsiteX2784" fmla="*/ 1036331 w 1687454"/>
                  <a:gd name="connsiteY2784" fmla="*/ 563660 h 903637"/>
                  <a:gd name="connsiteX2785" fmla="*/ 1033422 w 1687454"/>
                  <a:gd name="connsiteY2785" fmla="*/ 566835 h 903637"/>
                  <a:gd name="connsiteX2786" fmla="*/ 1032893 w 1687454"/>
                  <a:gd name="connsiteY2786" fmla="*/ 567099 h 903637"/>
                  <a:gd name="connsiteX2787" fmla="*/ 1266451 w 1687454"/>
                  <a:gd name="connsiteY2787" fmla="*/ 615504 h 903637"/>
                  <a:gd name="connsiteX2788" fmla="*/ 1267332 w 1687454"/>
                  <a:gd name="connsiteY2788" fmla="*/ 614357 h 903637"/>
                  <a:gd name="connsiteX2789" fmla="*/ 1271124 w 1687454"/>
                  <a:gd name="connsiteY2789" fmla="*/ 613740 h 903637"/>
                  <a:gd name="connsiteX2790" fmla="*/ 1271741 w 1687454"/>
                  <a:gd name="connsiteY2790" fmla="*/ 612858 h 903637"/>
                  <a:gd name="connsiteX2791" fmla="*/ 1273504 w 1687454"/>
                  <a:gd name="connsiteY2791" fmla="*/ 611977 h 903637"/>
                  <a:gd name="connsiteX2792" fmla="*/ 1277031 w 1687454"/>
                  <a:gd name="connsiteY2792" fmla="*/ 612241 h 903637"/>
                  <a:gd name="connsiteX2793" fmla="*/ 1280205 w 1687454"/>
                  <a:gd name="connsiteY2793" fmla="*/ 611624 h 903637"/>
                  <a:gd name="connsiteX2794" fmla="*/ 1281704 w 1687454"/>
                  <a:gd name="connsiteY2794" fmla="*/ 609861 h 903637"/>
                  <a:gd name="connsiteX2795" fmla="*/ 1280822 w 1687454"/>
                  <a:gd name="connsiteY2795" fmla="*/ 608715 h 903637"/>
                  <a:gd name="connsiteX2796" fmla="*/ 1286377 w 1687454"/>
                  <a:gd name="connsiteY2796" fmla="*/ 609596 h 903637"/>
                  <a:gd name="connsiteX2797" fmla="*/ 1287875 w 1687454"/>
                  <a:gd name="connsiteY2797" fmla="*/ 608979 h 903637"/>
                  <a:gd name="connsiteX2798" fmla="*/ 1288140 w 1687454"/>
                  <a:gd name="connsiteY2798" fmla="*/ 609596 h 903637"/>
                  <a:gd name="connsiteX2799" fmla="*/ 1287258 w 1687454"/>
                  <a:gd name="connsiteY2799" fmla="*/ 614005 h 903637"/>
                  <a:gd name="connsiteX2800" fmla="*/ 1288140 w 1687454"/>
                  <a:gd name="connsiteY2800" fmla="*/ 614622 h 903637"/>
                  <a:gd name="connsiteX2801" fmla="*/ 1289022 w 1687454"/>
                  <a:gd name="connsiteY2801" fmla="*/ 614005 h 903637"/>
                  <a:gd name="connsiteX2802" fmla="*/ 1292548 w 1687454"/>
                  <a:gd name="connsiteY2802" fmla="*/ 614005 h 903637"/>
                  <a:gd name="connsiteX2803" fmla="*/ 1293695 w 1687454"/>
                  <a:gd name="connsiteY2803" fmla="*/ 613740 h 903637"/>
                  <a:gd name="connsiteX2804" fmla="*/ 1294841 w 1687454"/>
                  <a:gd name="connsiteY2804" fmla="*/ 613740 h 903637"/>
                  <a:gd name="connsiteX2805" fmla="*/ 1295458 w 1687454"/>
                  <a:gd name="connsiteY2805" fmla="*/ 613476 h 903637"/>
                  <a:gd name="connsiteX2806" fmla="*/ 1296604 w 1687454"/>
                  <a:gd name="connsiteY2806" fmla="*/ 613476 h 903637"/>
                  <a:gd name="connsiteX2807" fmla="*/ 1298632 w 1687454"/>
                  <a:gd name="connsiteY2807" fmla="*/ 612594 h 903637"/>
                  <a:gd name="connsiteX2808" fmla="*/ 1298985 w 1687454"/>
                  <a:gd name="connsiteY2808" fmla="*/ 611712 h 903637"/>
                  <a:gd name="connsiteX2809" fmla="*/ 1299602 w 1687454"/>
                  <a:gd name="connsiteY2809" fmla="*/ 610302 h 903637"/>
                  <a:gd name="connsiteX2810" fmla="*/ 1299867 w 1687454"/>
                  <a:gd name="connsiteY2810" fmla="*/ 610037 h 903637"/>
                  <a:gd name="connsiteX2811" fmla="*/ 1303393 w 1687454"/>
                  <a:gd name="connsiteY2811" fmla="*/ 610037 h 903637"/>
                  <a:gd name="connsiteX2812" fmla="*/ 1304539 w 1687454"/>
                  <a:gd name="connsiteY2812" fmla="*/ 611183 h 903637"/>
                  <a:gd name="connsiteX2813" fmla="*/ 1306038 w 1687454"/>
                  <a:gd name="connsiteY2813" fmla="*/ 611448 h 903637"/>
                  <a:gd name="connsiteX2814" fmla="*/ 1306655 w 1687454"/>
                  <a:gd name="connsiteY2814" fmla="*/ 611448 h 903637"/>
                  <a:gd name="connsiteX2815" fmla="*/ 1309036 w 1687454"/>
                  <a:gd name="connsiteY2815" fmla="*/ 610037 h 903637"/>
                  <a:gd name="connsiteX2816" fmla="*/ 1308419 w 1687454"/>
                  <a:gd name="connsiteY2816" fmla="*/ 609155 h 903637"/>
                  <a:gd name="connsiteX2817" fmla="*/ 1308154 w 1687454"/>
                  <a:gd name="connsiteY2817" fmla="*/ 608009 h 903637"/>
                  <a:gd name="connsiteX2818" fmla="*/ 1307890 w 1687454"/>
                  <a:gd name="connsiteY2818" fmla="*/ 606510 h 903637"/>
                  <a:gd name="connsiteX2819" fmla="*/ 1308771 w 1687454"/>
                  <a:gd name="connsiteY2819" fmla="*/ 605364 h 903637"/>
                  <a:gd name="connsiteX2820" fmla="*/ 1308507 w 1687454"/>
                  <a:gd name="connsiteY2820" fmla="*/ 603336 h 903637"/>
                  <a:gd name="connsiteX2821" fmla="*/ 1310270 w 1687454"/>
                  <a:gd name="connsiteY2821" fmla="*/ 601308 h 903637"/>
                  <a:gd name="connsiteX2822" fmla="*/ 1310270 w 1687454"/>
                  <a:gd name="connsiteY2822" fmla="*/ 600691 h 903637"/>
                  <a:gd name="connsiteX2823" fmla="*/ 1309389 w 1687454"/>
                  <a:gd name="connsiteY2823" fmla="*/ 600162 h 903637"/>
                  <a:gd name="connsiteX2824" fmla="*/ 1304716 w 1687454"/>
                  <a:gd name="connsiteY2824" fmla="*/ 601926 h 903637"/>
                  <a:gd name="connsiteX2825" fmla="*/ 1299778 w 1687454"/>
                  <a:gd name="connsiteY2825" fmla="*/ 602190 h 903637"/>
                  <a:gd name="connsiteX2826" fmla="*/ 1298897 w 1687454"/>
                  <a:gd name="connsiteY2826" fmla="*/ 603336 h 903637"/>
                  <a:gd name="connsiteX2827" fmla="*/ 1299514 w 1687454"/>
                  <a:gd name="connsiteY2827" fmla="*/ 604218 h 903637"/>
                  <a:gd name="connsiteX2828" fmla="*/ 1301542 w 1687454"/>
                  <a:gd name="connsiteY2828" fmla="*/ 604835 h 903637"/>
                  <a:gd name="connsiteX2829" fmla="*/ 1301277 w 1687454"/>
                  <a:gd name="connsiteY2829" fmla="*/ 605452 h 903637"/>
                  <a:gd name="connsiteX2830" fmla="*/ 1298632 w 1687454"/>
                  <a:gd name="connsiteY2830" fmla="*/ 606599 h 903637"/>
                  <a:gd name="connsiteX2831" fmla="*/ 1296604 w 1687454"/>
                  <a:gd name="connsiteY2831" fmla="*/ 607128 h 903637"/>
                  <a:gd name="connsiteX2832" fmla="*/ 1295458 w 1687454"/>
                  <a:gd name="connsiteY2832" fmla="*/ 604835 h 903637"/>
                  <a:gd name="connsiteX2833" fmla="*/ 1293959 w 1687454"/>
                  <a:gd name="connsiteY2833" fmla="*/ 602807 h 903637"/>
                  <a:gd name="connsiteX2834" fmla="*/ 1294576 w 1687454"/>
                  <a:gd name="connsiteY2834" fmla="*/ 601926 h 903637"/>
                  <a:gd name="connsiteX2835" fmla="*/ 1292284 w 1687454"/>
                  <a:gd name="connsiteY2835" fmla="*/ 597517 h 903637"/>
                  <a:gd name="connsiteX2836" fmla="*/ 1293430 w 1687454"/>
                  <a:gd name="connsiteY2836" fmla="*/ 594608 h 903637"/>
                  <a:gd name="connsiteX2837" fmla="*/ 1291931 w 1687454"/>
                  <a:gd name="connsiteY2837" fmla="*/ 592844 h 903637"/>
                  <a:gd name="connsiteX2838" fmla="*/ 1291314 w 1687454"/>
                  <a:gd name="connsiteY2838" fmla="*/ 592844 h 903637"/>
                  <a:gd name="connsiteX2839" fmla="*/ 1290432 w 1687454"/>
                  <a:gd name="connsiteY2839" fmla="*/ 593726 h 903637"/>
                  <a:gd name="connsiteX2840" fmla="*/ 1290697 w 1687454"/>
                  <a:gd name="connsiteY2840" fmla="*/ 595225 h 903637"/>
                  <a:gd name="connsiteX2841" fmla="*/ 1289815 w 1687454"/>
                  <a:gd name="connsiteY2841" fmla="*/ 596988 h 903637"/>
                  <a:gd name="connsiteX2842" fmla="*/ 1287435 w 1687454"/>
                  <a:gd name="connsiteY2842" fmla="*/ 599369 h 903637"/>
                  <a:gd name="connsiteX2843" fmla="*/ 1286818 w 1687454"/>
                  <a:gd name="connsiteY2843" fmla="*/ 601397 h 903637"/>
                  <a:gd name="connsiteX2844" fmla="*/ 1286553 w 1687454"/>
                  <a:gd name="connsiteY2844" fmla="*/ 602014 h 903637"/>
                  <a:gd name="connsiteX2845" fmla="*/ 1285671 w 1687454"/>
                  <a:gd name="connsiteY2845" fmla="*/ 602014 h 903637"/>
                  <a:gd name="connsiteX2846" fmla="*/ 1284525 w 1687454"/>
                  <a:gd name="connsiteY2846" fmla="*/ 601397 h 903637"/>
                  <a:gd name="connsiteX2847" fmla="*/ 1282497 w 1687454"/>
                  <a:gd name="connsiteY2847" fmla="*/ 601132 h 903637"/>
                  <a:gd name="connsiteX2848" fmla="*/ 1281351 w 1687454"/>
                  <a:gd name="connsiteY2848" fmla="*/ 602014 h 903637"/>
                  <a:gd name="connsiteX2849" fmla="*/ 1279588 w 1687454"/>
                  <a:gd name="connsiteY2849" fmla="*/ 602014 h 903637"/>
                  <a:gd name="connsiteX2850" fmla="*/ 1278706 w 1687454"/>
                  <a:gd name="connsiteY2850" fmla="*/ 602895 h 903637"/>
                  <a:gd name="connsiteX2851" fmla="*/ 1279852 w 1687454"/>
                  <a:gd name="connsiteY2851" fmla="*/ 604394 h 903637"/>
                  <a:gd name="connsiteX2852" fmla="*/ 1278353 w 1687454"/>
                  <a:gd name="connsiteY2852" fmla="*/ 605276 h 903637"/>
                  <a:gd name="connsiteX2853" fmla="*/ 1275708 w 1687454"/>
                  <a:gd name="connsiteY2853" fmla="*/ 604394 h 903637"/>
                  <a:gd name="connsiteX2854" fmla="*/ 1274827 w 1687454"/>
                  <a:gd name="connsiteY2854" fmla="*/ 600339 h 903637"/>
                  <a:gd name="connsiteX2855" fmla="*/ 1273681 w 1687454"/>
                  <a:gd name="connsiteY2855" fmla="*/ 600074 h 903637"/>
                  <a:gd name="connsiteX2856" fmla="*/ 1271388 w 1687454"/>
                  <a:gd name="connsiteY2856" fmla="*/ 603865 h 903637"/>
                  <a:gd name="connsiteX2857" fmla="*/ 1269625 w 1687454"/>
                  <a:gd name="connsiteY2857" fmla="*/ 604394 h 903637"/>
                  <a:gd name="connsiteX2858" fmla="*/ 1269008 w 1687454"/>
                  <a:gd name="connsiteY2858" fmla="*/ 606422 h 903637"/>
                  <a:gd name="connsiteX2859" fmla="*/ 1266715 w 1687454"/>
                  <a:gd name="connsiteY2859" fmla="*/ 606687 h 903637"/>
                  <a:gd name="connsiteX2860" fmla="*/ 1264423 w 1687454"/>
                  <a:gd name="connsiteY2860" fmla="*/ 608186 h 903637"/>
                  <a:gd name="connsiteX2861" fmla="*/ 1263541 w 1687454"/>
                  <a:gd name="connsiteY2861" fmla="*/ 608186 h 903637"/>
                  <a:gd name="connsiteX2862" fmla="*/ 1262924 w 1687454"/>
                  <a:gd name="connsiteY2862" fmla="*/ 607304 h 903637"/>
                  <a:gd name="connsiteX2863" fmla="*/ 1262042 w 1687454"/>
                  <a:gd name="connsiteY2863" fmla="*/ 605893 h 903637"/>
                  <a:gd name="connsiteX2864" fmla="*/ 1260014 w 1687454"/>
                  <a:gd name="connsiteY2864" fmla="*/ 606775 h 903637"/>
                  <a:gd name="connsiteX2865" fmla="*/ 1258516 w 1687454"/>
                  <a:gd name="connsiteY2865" fmla="*/ 607039 h 903637"/>
                  <a:gd name="connsiteX2866" fmla="*/ 1258251 w 1687454"/>
                  <a:gd name="connsiteY2866" fmla="*/ 607568 h 903637"/>
                  <a:gd name="connsiteX2867" fmla="*/ 1258868 w 1687454"/>
                  <a:gd name="connsiteY2867" fmla="*/ 607568 h 903637"/>
                  <a:gd name="connsiteX2868" fmla="*/ 1259750 w 1687454"/>
                  <a:gd name="connsiteY2868" fmla="*/ 608715 h 903637"/>
                  <a:gd name="connsiteX2869" fmla="*/ 1265304 w 1687454"/>
                  <a:gd name="connsiteY2869" fmla="*/ 615415 h 903637"/>
                  <a:gd name="connsiteX2870" fmla="*/ 1266451 w 1687454"/>
                  <a:gd name="connsiteY2870" fmla="*/ 615504 h 903637"/>
                  <a:gd name="connsiteX2871" fmla="*/ 10845 w 1687454"/>
                  <a:gd name="connsiteY2871" fmla="*/ 627142 h 903637"/>
                  <a:gd name="connsiteX2872" fmla="*/ 2645 w 1687454"/>
                  <a:gd name="connsiteY2872" fmla="*/ 628905 h 903637"/>
                  <a:gd name="connsiteX2873" fmla="*/ 1499 w 1687454"/>
                  <a:gd name="connsiteY2873" fmla="*/ 624849 h 903637"/>
                  <a:gd name="connsiteX2874" fmla="*/ 2645 w 1687454"/>
                  <a:gd name="connsiteY2874" fmla="*/ 623703 h 903637"/>
                  <a:gd name="connsiteX2875" fmla="*/ 6436 w 1687454"/>
                  <a:gd name="connsiteY2875" fmla="*/ 623086 h 903637"/>
                  <a:gd name="connsiteX2876" fmla="*/ 2028 w 1687454"/>
                  <a:gd name="connsiteY2876" fmla="*/ 621058 h 903637"/>
                  <a:gd name="connsiteX2877" fmla="*/ 2028 w 1687454"/>
                  <a:gd name="connsiteY2877" fmla="*/ 618413 h 903637"/>
                  <a:gd name="connsiteX2878" fmla="*/ 3527 w 1687454"/>
                  <a:gd name="connsiteY2878" fmla="*/ 617796 h 903637"/>
                  <a:gd name="connsiteX2879" fmla="*/ 3791 w 1687454"/>
                  <a:gd name="connsiteY2879" fmla="*/ 613387 h 903637"/>
                  <a:gd name="connsiteX2880" fmla="*/ 7582 w 1687454"/>
                  <a:gd name="connsiteY2880" fmla="*/ 613387 h 903637"/>
                  <a:gd name="connsiteX2881" fmla="*/ 10227 w 1687454"/>
                  <a:gd name="connsiteY2881" fmla="*/ 610478 h 903637"/>
                  <a:gd name="connsiteX2882" fmla="*/ 9963 w 1687454"/>
                  <a:gd name="connsiteY2882" fmla="*/ 607568 h 903637"/>
                  <a:gd name="connsiteX2883" fmla="*/ 12255 w 1687454"/>
                  <a:gd name="connsiteY2883" fmla="*/ 604659 h 903637"/>
                  <a:gd name="connsiteX2884" fmla="*/ 15429 w 1687454"/>
                  <a:gd name="connsiteY2884" fmla="*/ 605805 h 903637"/>
                  <a:gd name="connsiteX2885" fmla="*/ 20102 w 1687454"/>
                  <a:gd name="connsiteY2885" fmla="*/ 605540 h 903637"/>
                  <a:gd name="connsiteX2886" fmla="*/ 20102 w 1687454"/>
                  <a:gd name="connsiteY2886" fmla="*/ 607304 h 903637"/>
                  <a:gd name="connsiteX2887" fmla="*/ 23894 w 1687454"/>
                  <a:gd name="connsiteY2887" fmla="*/ 606422 h 903637"/>
                  <a:gd name="connsiteX2888" fmla="*/ 26274 w 1687454"/>
                  <a:gd name="connsiteY2888" fmla="*/ 604394 h 903637"/>
                  <a:gd name="connsiteX2889" fmla="*/ 26010 w 1687454"/>
                  <a:gd name="connsiteY2889" fmla="*/ 608450 h 903637"/>
                  <a:gd name="connsiteX2890" fmla="*/ 28919 w 1687454"/>
                  <a:gd name="connsiteY2890" fmla="*/ 605805 h 903637"/>
                  <a:gd name="connsiteX2891" fmla="*/ 32975 w 1687454"/>
                  <a:gd name="connsiteY2891" fmla="*/ 606422 h 903637"/>
                  <a:gd name="connsiteX2892" fmla="*/ 36766 w 1687454"/>
                  <a:gd name="connsiteY2892" fmla="*/ 606158 h 903637"/>
                  <a:gd name="connsiteX2893" fmla="*/ 32975 w 1687454"/>
                  <a:gd name="connsiteY2893" fmla="*/ 610213 h 903637"/>
                  <a:gd name="connsiteX2894" fmla="*/ 28919 w 1687454"/>
                  <a:gd name="connsiteY2894" fmla="*/ 614269 h 903637"/>
                  <a:gd name="connsiteX2895" fmla="*/ 26627 w 1687454"/>
                  <a:gd name="connsiteY2895" fmla="*/ 617443 h 903637"/>
                  <a:gd name="connsiteX2896" fmla="*/ 21689 w 1687454"/>
                  <a:gd name="connsiteY2896" fmla="*/ 619471 h 903637"/>
                  <a:gd name="connsiteX2897" fmla="*/ 21425 w 1687454"/>
                  <a:gd name="connsiteY2897" fmla="*/ 623262 h 903637"/>
                  <a:gd name="connsiteX2898" fmla="*/ 13225 w 1687454"/>
                  <a:gd name="connsiteY2898" fmla="*/ 627054 h 903637"/>
                  <a:gd name="connsiteX2899" fmla="*/ 10845 w 1687454"/>
                  <a:gd name="connsiteY2899" fmla="*/ 627054 h 903637"/>
                  <a:gd name="connsiteX2900" fmla="*/ 58103 w 1687454"/>
                  <a:gd name="connsiteY2900" fmla="*/ 611712 h 903637"/>
                  <a:gd name="connsiteX2901" fmla="*/ 52548 w 1687454"/>
                  <a:gd name="connsiteY2901" fmla="*/ 614357 h 903637"/>
                  <a:gd name="connsiteX2902" fmla="*/ 52284 w 1687454"/>
                  <a:gd name="connsiteY2902" fmla="*/ 611448 h 903637"/>
                  <a:gd name="connsiteX2903" fmla="*/ 48228 w 1687454"/>
                  <a:gd name="connsiteY2903" fmla="*/ 613211 h 903637"/>
                  <a:gd name="connsiteX2904" fmla="*/ 48493 w 1687454"/>
                  <a:gd name="connsiteY2904" fmla="*/ 611712 h 903637"/>
                  <a:gd name="connsiteX2905" fmla="*/ 50520 w 1687454"/>
                  <a:gd name="connsiteY2905" fmla="*/ 610302 h 903637"/>
                  <a:gd name="connsiteX2906" fmla="*/ 57221 w 1687454"/>
                  <a:gd name="connsiteY2906" fmla="*/ 607657 h 903637"/>
                  <a:gd name="connsiteX2907" fmla="*/ 59249 w 1687454"/>
                  <a:gd name="connsiteY2907" fmla="*/ 607657 h 903637"/>
                  <a:gd name="connsiteX2908" fmla="*/ 59866 w 1687454"/>
                  <a:gd name="connsiteY2908" fmla="*/ 609155 h 903637"/>
                  <a:gd name="connsiteX2909" fmla="*/ 58103 w 1687454"/>
                  <a:gd name="connsiteY2909" fmla="*/ 611712 h 903637"/>
                  <a:gd name="connsiteX2910" fmla="*/ 58985 w 1687454"/>
                  <a:gd name="connsiteY2910" fmla="*/ 628023 h 903637"/>
                  <a:gd name="connsiteX2911" fmla="*/ 56957 w 1687454"/>
                  <a:gd name="connsiteY2911" fmla="*/ 628288 h 903637"/>
                  <a:gd name="connsiteX2912" fmla="*/ 56075 w 1687454"/>
                  <a:gd name="connsiteY2912" fmla="*/ 622469 h 903637"/>
                  <a:gd name="connsiteX2913" fmla="*/ 56692 w 1687454"/>
                  <a:gd name="connsiteY2913" fmla="*/ 621587 h 903637"/>
                  <a:gd name="connsiteX2914" fmla="*/ 57838 w 1687454"/>
                  <a:gd name="connsiteY2914" fmla="*/ 620441 h 903637"/>
                  <a:gd name="connsiteX2915" fmla="*/ 55546 w 1687454"/>
                  <a:gd name="connsiteY2915" fmla="*/ 619559 h 903637"/>
                  <a:gd name="connsiteX2916" fmla="*/ 55282 w 1687454"/>
                  <a:gd name="connsiteY2916" fmla="*/ 616385 h 903637"/>
                  <a:gd name="connsiteX2917" fmla="*/ 55899 w 1687454"/>
                  <a:gd name="connsiteY2917" fmla="*/ 613740 h 903637"/>
                  <a:gd name="connsiteX2918" fmla="*/ 57927 w 1687454"/>
                  <a:gd name="connsiteY2918" fmla="*/ 612594 h 903637"/>
                  <a:gd name="connsiteX2919" fmla="*/ 59425 w 1687454"/>
                  <a:gd name="connsiteY2919" fmla="*/ 612858 h 903637"/>
                  <a:gd name="connsiteX2920" fmla="*/ 62952 w 1687454"/>
                  <a:gd name="connsiteY2920" fmla="*/ 623086 h 903637"/>
                  <a:gd name="connsiteX2921" fmla="*/ 62335 w 1687454"/>
                  <a:gd name="connsiteY2921" fmla="*/ 624849 h 903637"/>
                  <a:gd name="connsiteX2922" fmla="*/ 58985 w 1687454"/>
                  <a:gd name="connsiteY2922" fmla="*/ 628023 h 903637"/>
                  <a:gd name="connsiteX2923" fmla="*/ 53077 w 1687454"/>
                  <a:gd name="connsiteY2923" fmla="*/ 629434 h 903637"/>
                  <a:gd name="connsiteX2924" fmla="*/ 49022 w 1687454"/>
                  <a:gd name="connsiteY2924" fmla="*/ 629787 h 903637"/>
                  <a:gd name="connsiteX2925" fmla="*/ 48404 w 1687454"/>
                  <a:gd name="connsiteY2925" fmla="*/ 625996 h 903637"/>
                  <a:gd name="connsiteX2926" fmla="*/ 45759 w 1687454"/>
                  <a:gd name="connsiteY2926" fmla="*/ 623968 h 903637"/>
                  <a:gd name="connsiteX2927" fmla="*/ 45495 w 1687454"/>
                  <a:gd name="connsiteY2927" fmla="*/ 620176 h 903637"/>
                  <a:gd name="connsiteX2928" fmla="*/ 46994 w 1687454"/>
                  <a:gd name="connsiteY2928" fmla="*/ 619030 h 903637"/>
                  <a:gd name="connsiteX2929" fmla="*/ 50785 w 1687454"/>
                  <a:gd name="connsiteY2929" fmla="*/ 620176 h 903637"/>
                  <a:gd name="connsiteX2930" fmla="*/ 54312 w 1687454"/>
                  <a:gd name="connsiteY2930" fmla="*/ 623968 h 903637"/>
                  <a:gd name="connsiteX2931" fmla="*/ 53077 w 1687454"/>
                  <a:gd name="connsiteY2931" fmla="*/ 629434 h 903637"/>
                  <a:gd name="connsiteX2932" fmla="*/ 966061 w 1687454"/>
                  <a:gd name="connsiteY2932" fmla="*/ 633578 h 903637"/>
                  <a:gd name="connsiteX2933" fmla="*/ 966061 w 1687454"/>
                  <a:gd name="connsiteY2933" fmla="*/ 639750 h 903637"/>
                  <a:gd name="connsiteX2934" fmla="*/ 959625 w 1687454"/>
                  <a:gd name="connsiteY2934" fmla="*/ 640631 h 903637"/>
                  <a:gd name="connsiteX2935" fmla="*/ 958743 w 1687454"/>
                  <a:gd name="connsiteY2935" fmla="*/ 638868 h 903637"/>
                  <a:gd name="connsiteX2936" fmla="*/ 951160 w 1687454"/>
                  <a:gd name="connsiteY2936" fmla="*/ 638604 h 903637"/>
                  <a:gd name="connsiteX2937" fmla="*/ 948515 w 1687454"/>
                  <a:gd name="connsiteY2937" fmla="*/ 635959 h 903637"/>
                  <a:gd name="connsiteX2938" fmla="*/ 943843 w 1687454"/>
                  <a:gd name="connsiteY2938" fmla="*/ 633666 h 903637"/>
                  <a:gd name="connsiteX2939" fmla="*/ 943843 w 1687454"/>
                  <a:gd name="connsiteY2939" fmla="*/ 631903 h 903637"/>
                  <a:gd name="connsiteX2940" fmla="*/ 950543 w 1687454"/>
                  <a:gd name="connsiteY2940" fmla="*/ 630404 h 903637"/>
                  <a:gd name="connsiteX2941" fmla="*/ 956980 w 1687454"/>
                  <a:gd name="connsiteY2941" fmla="*/ 628905 h 903637"/>
                  <a:gd name="connsiteX2942" fmla="*/ 958743 w 1687454"/>
                  <a:gd name="connsiteY2942" fmla="*/ 628905 h 903637"/>
                  <a:gd name="connsiteX2943" fmla="*/ 963680 w 1687454"/>
                  <a:gd name="connsiteY2943" fmla="*/ 628288 h 903637"/>
                  <a:gd name="connsiteX2944" fmla="*/ 966061 w 1687454"/>
                  <a:gd name="connsiteY2944" fmla="*/ 633578 h 903637"/>
                  <a:gd name="connsiteX2945" fmla="*/ 66567 w 1687454"/>
                  <a:gd name="connsiteY2945" fmla="*/ 645833 h 903637"/>
                  <a:gd name="connsiteX2946" fmla="*/ 65068 w 1687454"/>
                  <a:gd name="connsiteY2946" fmla="*/ 645833 h 903637"/>
                  <a:gd name="connsiteX2947" fmla="*/ 65333 w 1687454"/>
                  <a:gd name="connsiteY2947" fmla="*/ 643806 h 903637"/>
                  <a:gd name="connsiteX2948" fmla="*/ 68859 w 1687454"/>
                  <a:gd name="connsiteY2948" fmla="*/ 640014 h 903637"/>
                  <a:gd name="connsiteX2949" fmla="*/ 70623 w 1687454"/>
                  <a:gd name="connsiteY2949" fmla="*/ 639397 h 903637"/>
                  <a:gd name="connsiteX2950" fmla="*/ 71769 w 1687454"/>
                  <a:gd name="connsiteY2950" fmla="*/ 640014 h 903637"/>
                  <a:gd name="connsiteX2951" fmla="*/ 67978 w 1687454"/>
                  <a:gd name="connsiteY2951" fmla="*/ 644952 h 903637"/>
                  <a:gd name="connsiteX2952" fmla="*/ 66567 w 1687454"/>
                  <a:gd name="connsiteY2952" fmla="*/ 645833 h 903637"/>
                  <a:gd name="connsiteX2953" fmla="*/ 64451 w 1687454"/>
                  <a:gd name="connsiteY2953" fmla="*/ 642571 h 903637"/>
                  <a:gd name="connsiteX2954" fmla="*/ 61806 w 1687454"/>
                  <a:gd name="connsiteY2954" fmla="*/ 645833 h 903637"/>
                  <a:gd name="connsiteX2955" fmla="*/ 59425 w 1687454"/>
                  <a:gd name="connsiteY2955" fmla="*/ 648479 h 903637"/>
                  <a:gd name="connsiteX2956" fmla="*/ 56516 w 1687454"/>
                  <a:gd name="connsiteY2956" fmla="*/ 649096 h 903637"/>
                  <a:gd name="connsiteX2957" fmla="*/ 53606 w 1687454"/>
                  <a:gd name="connsiteY2957" fmla="*/ 647068 h 903637"/>
                  <a:gd name="connsiteX2958" fmla="*/ 50432 w 1687454"/>
                  <a:gd name="connsiteY2958" fmla="*/ 646451 h 903637"/>
                  <a:gd name="connsiteX2959" fmla="*/ 47258 w 1687454"/>
                  <a:gd name="connsiteY2959" fmla="*/ 644952 h 903637"/>
                  <a:gd name="connsiteX2960" fmla="*/ 53077 w 1687454"/>
                  <a:gd name="connsiteY2960" fmla="*/ 643541 h 903637"/>
                  <a:gd name="connsiteX2961" fmla="*/ 55105 w 1687454"/>
                  <a:gd name="connsiteY2961" fmla="*/ 642395 h 903637"/>
                  <a:gd name="connsiteX2962" fmla="*/ 54488 w 1687454"/>
                  <a:gd name="connsiteY2962" fmla="*/ 640631 h 903637"/>
                  <a:gd name="connsiteX2963" fmla="*/ 56780 w 1687454"/>
                  <a:gd name="connsiteY2963" fmla="*/ 637105 h 903637"/>
                  <a:gd name="connsiteX2964" fmla="*/ 55899 w 1687454"/>
                  <a:gd name="connsiteY2964" fmla="*/ 637369 h 903637"/>
                  <a:gd name="connsiteX2965" fmla="*/ 56780 w 1687454"/>
                  <a:gd name="connsiteY2965" fmla="*/ 637369 h 903637"/>
                  <a:gd name="connsiteX2966" fmla="*/ 62600 w 1687454"/>
                  <a:gd name="connsiteY2966" fmla="*/ 636752 h 903637"/>
                  <a:gd name="connsiteX2967" fmla="*/ 61718 w 1687454"/>
                  <a:gd name="connsiteY2967" fmla="*/ 635253 h 903637"/>
                  <a:gd name="connsiteX2968" fmla="*/ 64010 w 1687454"/>
                  <a:gd name="connsiteY2968" fmla="*/ 631197 h 903637"/>
                  <a:gd name="connsiteX2969" fmla="*/ 68419 w 1687454"/>
                  <a:gd name="connsiteY2969" fmla="*/ 628552 h 903637"/>
                  <a:gd name="connsiteX2970" fmla="*/ 68154 w 1687454"/>
                  <a:gd name="connsiteY2970" fmla="*/ 626789 h 903637"/>
                  <a:gd name="connsiteX2971" fmla="*/ 69918 w 1687454"/>
                  <a:gd name="connsiteY2971" fmla="*/ 626789 h 903637"/>
                  <a:gd name="connsiteX2972" fmla="*/ 73092 w 1687454"/>
                  <a:gd name="connsiteY2972" fmla="*/ 631197 h 903637"/>
                  <a:gd name="connsiteX2973" fmla="*/ 71064 w 1687454"/>
                  <a:gd name="connsiteY2973" fmla="*/ 634989 h 903637"/>
                  <a:gd name="connsiteX2974" fmla="*/ 67008 w 1687454"/>
                  <a:gd name="connsiteY2974" fmla="*/ 639397 h 903637"/>
                  <a:gd name="connsiteX2975" fmla="*/ 64451 w 1687454"/>
                  <a:gd name="connsiteY2975" fmla="*/ 642571 h 903637"/>
                  <a:gd name="connsiteX2976" fmla="*/ 68242 w 1687454"/>
                  <a:gd name="connsiteY2976" fmla="*/ 658089 h 903637"/>
                  <a:gd name="connsiteX2977" fmla="*/ 65333 w 1687454"/>
                  <a:gd name="connsiteY2977" fmla="*/ 658618 h 903637"/>
                  <a:gd name="connsiteX2978" fmla="*/ 68859 w 1687454"/>
                  <a:gd name="connsiteY2978" fmla="*/ 654827 h 903637"/>
                  <a:gd name="connsiteX2979" fmla="*/ 72915 w 1687454"/>
                  <a:gd name="connsiteY2979" fmla="*/ 652182 h 903637"/>
                  <a:gd name="connsiteX2980" fmla="*/ 84024 w 1687454"/>
                  <a:gd name="connsiteY2980" fmla="*/ 648390 h 903637"/>
                  <a:gd name="connsiteX2981" fmla="*/ 85171 w 1687454"/>
                  <a:gd name="connsiteY2981" fmla="*/ 648655 h 903637"/>
                  <a:gd name="connsiteX2982" fmla="*/ 84906 w 1687454"/>
                  <a:gd name="connsiteY2982" fmla="*/ 649801 h 903637"/>
                  <a:gd name="connsiteX2983" fmla="*/ 71152 w 1687454"/>
                  <a:gd name="connsiteY2983" fmla="*/ 655091 h 903637"/>
                  <a:gd name="connsiteX2984" fmla="*/ 68242 w 1687454"/>
                  <a:gd name="connsiteY2984" fmla="*/ 658089 h 903637"/>
                  <a:gd name="connsiteX2985" fmla="*/ 9610 w 1687454"/>
                  <a:gd name="connsiteY2985" fmla="*/ 655444 h 903637"/>
                  <a:gd name="connsiteX2986" fmla="*/ 6084 w 1687454"/>
                  <a:gd name="connsiteY2986" fmla="*/ 656061 h 903637"/>
                  <a:gd name="connsiteX2987" fmla="*/ 6965 w 1687454"/>
                  <a:gd name="connsiteY2987" fmla="*/ 654298 h 903637"/>
                  <a:gd name="connsiteX2988" fmla="*/ 6084 w 1687454"/>
                  <a:gd name="connsiteY2988" fmla="*/ 652534 h 903637"/>
                  <a:gd name="connsiteX2989" fmla="*/ 4056 w 1687454"/>
                  <a:gd name="connsiteY2989" fmla="*/ 650242 h 903637"/>
                  <a:gd name="connsiteX2990" fmla="*/ 4937 w 1687454"/>
                  <a:gd name="connsiteY2990" fmla="*/ 646451 h 903637"/>
                  <a:gd name="connsiteX2991" fmla="*/ 4408 w 1687454"/>
                  <a:gd name="connsiteY2991" fmla="*/ 641513 h 903637"/>
                  <a:gd name="connsiteX2992" fmla="*/ 3791 w 1687454"/>
                  <a:gd name="connsiteY2992" fmla="*/ 640631 h 903637"/>
                  <a:gd name="connsiteX2993" fmla="*/ 617 w 1687454"/>
                  <a:gd name="connsiteY2993" fmla="*/ 637458 h 903637"/>
                  <a:gd name="connsiteX2994" fmla="*/ 1234 w 1687454"/>
                  <a:gd name="connsiteY2994" fmla="*/ 634283 h 903637"/>
                  <a:gd name="connsiteX2995" fmla="*/ 5290 w 1687454"/>
                  <a:gd name="connsiteY2995" fmla="*/ 633666 h 903637"/>
                  <a:gd name="connsiteX2996" fmla="*/ 0 w 1687454"/>
                  <a:gd name="connsiteY2996" fmla="*/ 631021 h 903637"/>
                  <a:gd name="connsiteX2997" fmla="*/ 8993 w 1687454"/>
                  <a:gd name="connsiteY2997" fmla="*/ 629875 h 903637"/>
                  <a:gd name="connsiteX2998" fmla="*/ 19750 w 1687454"/>
                  <a:gd name="connsiteY2998" fmla="*/ 627494 h 903637"/>
                  <a:gd name="connsiteX2999" fmla="*/ 18868 w 1687454"/>
                  <a:gd name="connsiteY2999" fmla="*/ 630404 h 903637"/>
                  <a:gd name="connsiteX3000" fmla="*/ 17105 w 1687454"/>
                  <a:gd name="connsiteY3000" fmla="*/ 631286 h 903637"/>
                  <a:gd name="connsiteX3001" fmla="*/ 15341 w 1687454"/>
                  <a:gd name="connsiteY3001" fmla="*/ 632167 h 903637"/>
                  <a:gd name="connsiteX3002" fmla="*/ 15341 w 1687454"/>
                  <a:gd name="connsiteY3002" fmla="*/ 633314 h 903637"/>
                  <a:gd name="connsiteX3003" fmla="*/ 17369 w 1687454"/>
                  <a:gd name="connsiteY3003" fmla="*/ 636223 h 903637"/>
                  <a:gd name="connsiteX3004" fmla="*/ 12696 w 1687454"/>
                  <a:gd name="connsiteY3004" fmla="*/ 638515 h 903637"/>
                  <a:gd name="connsiteX3005" fmla="*/ 8905 w 1687454"/>
                  <a:gd name="connsiteY3005" fmla="*/ 638251 h 903637"/>
                  <a:gd name="connsiteX3006" fmla="*/ 12696 w 1687454"/>
                  <a:gd name="connsiteY3006" fmla="*/ 641425 h 903637"/>
                  <a:gd name="connsiteX3007" fmla="*/ 10933 w 1687454"/>
                  <a:gd name="connsiteY3007" fmla="*/ 644070 h 903637"/>
                  <a:gd name="connsiteX3008" fmla="*/ 11815 w 1687454"/>
                  <a:gd name="connsiteY3008" fmla="*/ 646451 h 903637"/>
                  <a:gd name="connsiteX3009" fmla="*/ 8023 w 1687454"/>
                  <a:gd name="connsiteY3009" fmla="*/ 647597 h 903637"/>
                  <a:gd name="connsiteX3010" fmla="*/ 8288 w 1687454"/>
                  <a:gd name="connsiteY3010" fmla="*/ 650506 h 903637"/>
                  <a:gd name="connsiteX3011" fmla="*/ 11197 w 1687454"/>
                  <a:gd name="connsiteY3011" fmla="*/ 649360 h 903637"/>
                  <a:gd name="connsiteX3012" fmla="*/ 10051 w 1687454"/>
                  <a:gd name="connsiteY3012" fmla="*/ 654650 h 903637"/>
                  <a:gd name="connsiteX3013" fmla="*/ 9610 w 1687454"/>
                  <a:gd name="connsiteY3013" fmla="*/ 655444 h 903637"/>
                  <a:gd name="connsiteX3014" fmla="*/ 63040 w 1687454"/>
                  <a:gd name="connsiteY3014" fmla="*/ 659500 h 903637"/>
                  <a:gd name="connsiteX3015" fmla="*/ 59249 w 1687454"/>
                  <a:gd name="connsiteY3015" fmla="*/ 662762 h 903637"/>
                  <a:gd name="connsiteX3016" fmla="*/ 58103 w 1687454"/>
                  <a:gd name="connsiteY3016" fmla="*/ 662497 h 903637"/>
                  <a:gd name="connsiteX3017" fmla="*/ 58720 w 1687454"/>
                  <a:gd name="connsiteY3017" fmla="*/ 661087 h 903637"/>
                  <a:gd name="connsiteX3018" fmla="*/ 57221 w 1687454"/>
                  <a:gd name="connsiteY3018" fmla="*/ 661087 h 903637"/>
                  <a:gd name="connsiteX3019" fmla="*/ 56957 w 1687454"/>
                  <a:gd name="connsiteY3019" fmla="*/ 660469 h 903637"/>
                  <a:gd name="connsiteX3020" fmla="*/ 62247 w 1687454"/>
                  <a:gd name="connsiteY3020" fmla="*/ 656414 h 903637"/>
                  <a:gd name="connsiteX3021" fmla="*/ 65421 w 1687454"/>
                  <a:gd name="connsiteY3021" fmla="*/ 656149 h 903637"/>
                  <a:gd name="connsiteX3022" fmla="*/ 65421 w 1687454"/>
                  <a:gd name="connsiteY3022" fmla="*/ 656766 h 903637"/>
                  <a:gd name="connsiteX3023" fmla="*/ 63040 w 1687454"/>
                  <a:gd name="connsiteY3023" fmla="*/ 659500 h 903637"/>
                  <a:gd name="connsiteX3024" fmla="*/ 590111 w 1687454"/>
                  <a:gd name="connsiteY3024" fmla="*/ 667964 h 903637"/>
                  <a:gd name="connsiteX3025" fmla="*/ 593285 w 1687454"/>
                  <a:gd name="connsiteY3025" fmla="*/ 667082 h 903637"/>
                  <a:gd name="connsiteX3026" fmla="*/ 596459 w 1687454"/>
                  <a:gd name="connsiteY3026" fmla="*/ 660117 h 903637"/>
                  <a:gd name="connsiteX3027" fmla="*/ 592932 w 1687454"/>
                  <a:gd name="connsiteY3027" fmla="*/ 663643 h 903637"/>
                  <a:gd name="connsiteX3028" fmla="*/ 592668 w 1687454"/>
                  <a:gd name="connsiteY3028" fmla="*/ 663379 h 903637"/>
                  <a:gd name="connsiteX3029" fmla="*/ 594696 w 1687454"/>
                  <a:gd name="connsiteY3029" fmla="*/ 659852 h 903637"/>
                  <a:gd name="connsiteX3030" fmla="*/ 596459 w 1687454"/>
                  <a:gd name="connsiteY3030" fmla="*/ 658089 h 903637"/>
                  <a:gd name="connsiteX3031" fmla="*/ 597076 w 1687454"/>
                  <a:gd name="connsiteY3031" fmla="*/ 656326 h 903637"/>
                  <a:gd name="connsiteX3032" fmla="*/ 596459 w 1687454"/>
                  <a:gd name="connsiteY3032" fmla="*/ 656061 h 903637"/>
                  <a:gd name="connsiteX3033" fmla="*/ 598840 w 1687454"/>
                  <a:gd name="connsiteY3033" fmla="*/ 652005 h 903637"/>
                  <a:gd name="connsiteX3034" fmla="*/ 602631 w 1687454"/>
                  <a:gd name="connsiteY3034" fmla="*/ 649625 h 903637"/>
                  <a:gd name="connsiteX3035" fmla="*/ 606687 w 1687454"/>
                  <a:gd name="connsiteY3035" fmla="*/ 644687 h 903637"/>
                  <a:gd name="connsiteX3036" fmla="*/ 609596 w 1687454"/>
                  <a:gd name="connsiteY3036" fmla="*/ 637986 h 903637"/>
                  <a:gd name="connsiteX3037" fmla="*/ 611007 w 1687454"/>
                  <a:gd name="connsiteY3037" fmla="*/ 635606 h 903637"/>
                  <a:gd name="connsiteX3038" fmla="*/ 610742 w 1687454"/>
                  <a:gd name="connsiteY3038" fmla="*/ 634460 h 903637"/>
                  <a:gd name="connsiteX3039" fmla="*/ 608714 w 1687454"/>
                  <a:gd name="connsiteY3039" fmla="*/ 634460 h 903637"/>
                  <a:gd name="connsiteX3040" fmla="*/ 606687 w 1687454"/>
                  <a:gd name="connsiteY3040" fmla="*/ 633578 h 903637"/>
                  <a:gd name="connsiteX3041" fmla="*/ 605805 w 1687454"/>
                  <a:gd name="connsiteY3041" fmla="*/ 632432 h 903637"/>
                  <a:gd name="connsiteX3042" fmla="*/ 601132 w 1687454"/>
                  <a:gd name="connsiteY3042" fmla="*/ 631286 h 903637"/>
                  <a:gd name="connsiteX3043" fmla="*/ 600867 w 1687454"/>
                  <a:gd name="connsiteY3043" fmla="*/ 630140 h 903637"/>
                  <a:gd name="connsiteX3044" fmla="*/ 599369 w 1687454"/>
                  <a:gd name="connsiteY3044" fmla="*/ 629875 h 903637"/>
                  <a:gd name="connsiteX3045" fmla="*/ 596459 w 1687454"/>
                  <a:gd name="connsiteY3045" fmla="*/ 631286 h 903637"/>
                  <a:gd name="connsiteX3046" fmla="*/ 590640 w 1687454"/>
                  <a:gd name="connsiteY3046" fmla="*/ 631550 h 903637"/>
                  <a:gd name="connsiteX3047" fmla="*/ 590905 w 1687454"/>
                  <a:gd name="connsiteY3047" fmla="*/ 630140 h 903637"/>
                  <a:gd name="connsiteX3048" fmla="*/ 588877 w 1687454"/>
                  <a:gd name="connsiteY3048" fmla="*/ 630404 h 903637"/>
                  <a:gd name="connsiteX3049" fmla="*/ 587995 w 1687454"/>
                  <a:gd name="connsiteY3049" fmla="*/ 631021 h 903637"/>
                  <a:gd name="connsiteX3050" fmla="*/ 587378 w 1687454"/>
                  <a:gd name="connsiteY3050" fmla="*/ 632784 h 903637"/>
                  <a:gd name="connsiteX3051" fmla="*/ 588877 w 1687454"/>
                  <a:gd name="connsiteY3051" fmla="*/ 633049 h 903637"/>
                  <a:gd name="connsiteX3052" fmla="*/ 587378 w 1687454"/>
                  <a:gd name="connsiteY3052" fmla="*/ 635341 h 903637"/>
                  <a:gd name="connsiteX3053" fmla="*/ 585879 w 1687454"/>
                  <a:gd name="connsiteY3053" fmla="*/ 636840 h 903637"/>
                  <a:gd name="connsiteX3054" fmla="*/ 585614 w 1687454"/>
                  <a:gd name="connsiteY3054" fmla="*/ 637105 h 903637"/>
                  <a:gd name="connsiteX3055" fmla="*/ 587642 w 1687454"/>
                  <a:gd name="connsiteY3055" fmla="*/ 637369 h 903637"/>
                  <a:gd name="connsiteX3056" fmla="*/ 586143 w 1687454"/>
                  <a:gd name="connsiteY3056" fmla="*/ 638251 h 903637"/>
                  <a:gd name="connsiteX3057" fmla="*/ 587642 w 1687454"/>
                  <a:gd name="connsiteY3057" fmla="*/ 638868 h 903637"/>
                  <a:gd name="connsiteX3058" fmla="*/ 587907 w 1687454"/>
                  <a:gd name="connsiteY3058" fmla="*/ 639750 h 903637"/>
                  <a:gd name="connsiteX3059" fmla="*/ 590552 w 1687454"/>
                  <a:gd name="connsiteY3059" fmla="*/ 639133 h 903637"/>
                  <a:gd name="connsiteX3060" fmla="*/ 591169 w 1687454"/>
                  <a:gd name="connsiteY3060" fmla="*/ 637986 h 903637"/>
                  <a:gd name="connsiteX3061" fmla="*/ 593197 w 1687454"/>
                  <a:gd name="connsiteY3061" fmla="*/ 636840 h 903637"/>
                  <a:gd name="connsiteX3062" fmla="*/ 593197 w 1687454"/>
                  <a:gd name="connsiteY3062" fmla="*/ 635077 h 903637"/>
                  <a:gd name="connsiteX3063" fmla="*/ 592932 w 1687454"/>
                  <a:gd name="connsiteY3063" fmla="*/ 634812 h 903637"/>
                  <a:gd name="connsiteX3064" fmla="*/ 592668 w 1687454"/>
                  <a:gd name="connsiteY3064" fmla="*/ 634548 h 903637"/>
                  <a:gd name="connsiteX3065" fmla="*/ 594078 w 1687454"/>
                  <a:gd name="connsiteY3065" fmla="*/ 633666 h 903637"/>
                  <a:gd name="connsiteX3066" fmla="*/ 597870 w 1687454"/>
                  <a:gd name="connsiteY3066" fmla="*/ 634812 h 903637"/>
                  <a:gd name="connsiteX3067" fmla="*/ 595842 w 1687454"/>
                  <a:gd name="connsiteY3067" fmla="*/ 637722 h 903637"/>
                  <a:gd name="connsiteX3068" fmla="*/ 594696 w 1687454"/>
                  <a:gd name="connsiteY3068" fmla="*/ 640367 h 903637"/>
                  <a:gd name="connsiteX3069" fmla="*/ 594431 w 1687454"/>
                  <a:gd name="connsiteY3069" fmla="*/ 642395 h 903637"/>
                  <a:gd name="connsiteX3070" fmla="*/ 595313 w 1687454"/>
                  <a:gd name="connsiteY3070" fmla="*/ 642659 h 903637"/>
                  <a:gd name="connsiteX3071" fmla="*/ 596459 w 1687454"/>
                  <a:gd name="connsiteY3071" fmla="*/ 642395 h 903637"/>
                  <a:gd name="connsiteX3072" fmla="*/ 598487 w 1687454"/>
                  <a:gd name="connsiteY3072" fmla="*/ 637458 h 903637"/>
                  <a:gd name="connsiteX3073" fmla="*/ 600250 w 1687454"/>
                  <a:gd name="connsiteY3073" fmla="*/ 636311 h 903637"/>
                  <a:gd name="connsiteX3074" fmla="*/ 600867 w 1687454"/>
                  <a:gd name="connsiteY3074" fmla="*/ 636311 h 903637"/>
                  <a:gd name="connsiteX3075" fmla="*/ 601485 w 1687454"/>
                  <a:gd name="connsiteY3075" fmla="*/ 637722 h 903637"/>
                  <a:gd name="connsiteX3076" fmla="*/ 602366 w 1687454"/>
                  <a:gd name="connsiteY3076" fmla="*/ 638604 h 903637"/>
                  <a:gd name="connsiteX3077" fmla="*/ 600074 w 1687454"/>
                  <a:gd name="connsiteY3077" fmla="*/ 642395 h 903637"/>
                  <a:gd name="connsiteX3078" fmla="*/ 598928 w 1687454"/>
                  <a:gd name="connsiteY3078" fmla="*/ 646186 h 903637"/>
                  <a:gd name="connsiteX3079" fmla="*/ 593638 w 1687454"/>
                  <a:gd name="connsiteY3079" fmla="*/ 650595 h 903637"/>
                  <a:gd name="connsiteX3080" fmla="*/ 591874 w 1687454"/>
                  <a:gd name="connsiteY3080" fmla="*/ 653769 h 903637"/>
                  <a:gd name="connsiteX3081" fmla="*/ 589494 w 1687454"/>
                  <a:gd name="connsiteY3081" fmla="*/ 657295 h 903637"/>
                  <a:gd name="connsiteX3082" fmla="*/ 589229 w 1687454"/>
                  <a:gd name="connsiteY3082" fmla="*/ 658441 h 903637"/>
                  <a:gd name="connsiteX3083" fmla="*/ 588083 w 1687454"/>
                  <a:gd name="connsiteY3083" fmla="*/ 660822 h 903637"/>
                  <a:gd name="connsiteX3084" fmla="*/ 587466 w 1687454"/>
                  <a:gd name="connsiteY3084" fmla="*/ 664878 h 903637"/>
                  <a:gd name="connsiteX3085" fmla="*/ 588612 w 1687454"/>
                  <a:gd name="connsiteY3085" fmla="*/ 663467 h 903637"/>
                  <a:gd name="connsiteX3086" fmla="*/ 593020 w 1687454"/>
                  <a:gd name="connsiteY3086" fmla="*/ 657648 h 903637"/>
                  <a:gd name="connsiteX3087" fmla="*/ 593020 w 1687454"/>
                  <a:gd name="connsiteY3087" fmla="*/ 658265 h 903637"/>
                  <a:gd name="connsiteX3088" fmla="*/ 592139 w 1687454"/>
                  <a:gd name="connsiteY3088" fmla="*/ 661704 h 903637"/>
                  <a:gd name="connsiteX3089" fmla="*/ 589494 w 1687454"/>
                  <a:gd name="connsiteY3089" fmla="*/ 666112 h 903637"/>
                  <a:gd name="connsiteX3090" fmla="*/ 589758 w 1687454"/>
                  <a:gd name="connsiteY3090" fmla="*/ 667258 h 903637"/>
                  <a:gd name="connsiteX3091" fmla="*/ 590111 w 1687454"/>
                  <a:gd name="connsiteY3091" fmla="*/ 667964 h 903637"/>
                  <a:gd name="connsiteX3092" fmla="*/ 55987 w 1687454"/>
                  <a:gd name="connsiteY3092" fmla="*/ 671490 h 903637"/>
                  <a:gd name="connsiteX3093" fmla="*/ 54841 w 1687454"/>
                  <a:gd name="connsiteY3093" fmla="*/ 671755 h 903637"/>
                  <a:gd name="connsiteX3094" fmla="*/ 52813 w 1687454"/>
                  <a:gd name="connsiteY3094" fmla="*/ 670873 h 903637"/>
                  <a:gd name="connsiteX3095" fmla="*/ 54576 w 1687454"/>
                  <a:gd name="connsiteY3095" fmla="*/ 665936 h 903637"/>
                  <a:gd name="connsiteX3096" fmla="*/ 57750 w 1687454"/>
                  <a:gd name="connsiteY3096" fmla="*/ 664437 h 903637"/>
                  <a:gd name="connsiteX3097" fmla="*/ 58632 w 1687454"/>
                  <a:gd name="connsiteY3097" fmla="*/ 664173 h 903637"/>
                  <a:gd name="connsiteX3098" fmla="*/ 58367 w 1687454"/>
                  <a:gd name="connsiteY3098" fmla="*/ 667964 h 903637"/>
                  <a:gd name="connsiteX3099" fmla="*/ 55987 w 1687454"/>
                  <a:gd name="connsiteY3099" fmla="*/ 671490 h 903637"/>
                  <a:gd name="connsiteX3100" fmla="*/ 632961 w 1687454"/>
                  <a:gd name="connsiteY3100" fmla="*/ 696530 h 903637"/>
                  <a:gd name="connsiteX3101" fmla="*/ 635606 w 1687454"/>
                  <a:gd name="connsiteY3101" fmla="*/ 695384 h 903637"/>
                  <a:gd name="connsiteX3102" fmla="*/ 639133 w 1687454"/>
                  <a:gd name="connsiteY3102" fmla="*/ 688948 h 903637"/>
                  <a:gd name="connsiteX3103" fmla="*/ 640279 w 1687454"/>
                  <a:gd name="connsiteY3103" fmla="*/ 688066 h 903637"/>
                  <a:gd name="connsiteX3104" fmla="*/ 640896 w 1687454"/>
                  <a:gd name="connsiteY3104" fmla="*/ 688595 h 903637"/>
                  <a:gd name="connsiteX3105" fmla="*/ 641160 w 1687454"/>
                  <a:gd name="connsiteY3105" fmla="*/ 690359 h 903637"/>
                  <a:gd name="connsiteX3106" fmla="*/ 643188 w 1687454"/>
                  <a:gd name="connsiteY3106" fmla="*/ 690094 h 903637"/>
                  <a:gd name="connsiteX3107" fmla="*/ 643806 w 1687454"/>
                  <a:gd name="connsiteY3107" fmla="*/ 689212 h 903637"/>
                  <a:gd name="connsiteX3108" fmla="*/ 647597 w 1687454"/>
                  <a:gd name="connsiteY3108" fmla="*/ 679337 h 903637"/>
                  <a:gd name="connsiteX3109" fmla="*/ 649625 w 1687454"/>
                  <a:gd name="connsiteY3109" fmla="*/ 677045 h 903637"/>
                  <a:gd name="connsiteX3110" fmla="*/ 651388 w 1687454"/>
                  <a:gd name="connsiteY3110" fmla="*/ 676428 h 903637"/>
                  <a:gd name="connsiteX3111" fmla="*/ 650242 w 1687454"/>
                  <a:gd name="connsiteY3111" fmla="*/ 669992 h 903637"/>
                  <a:gd name="connsiteX3112" fmla="*/ 651123 w 1687454"/>
                  <a:gd name="connsiteY3112" fmla="*/ 667964 h 903637"/>
                  <a:gd name="connsiteX3113" fmla="*/ 649977 w 1687454"/>
                  <a:gd name="connsiteY3113" fmla="*/ 664702 h 903637"/>
                  <a:gd name="connsiteX3114" fmla="*/ 651123 w 1687454"/>
                  <a:gd name="connsiteY3114" fmla="*/ 662409 h 903637"/>
                  <a:gd name="connsiteX3115" fmla="*/ 651123 w 1687454"/>
                  <a:gd name="connsiteY3115" fmla="*/ 661263 h 903637"/>
                  <a:gd name="connsiteX3116" fmla="*/ 649713 w 1687454"/>
                  <a:gd name="connsiteY3116" fmla="*/ 660646 h 903637"/>
                  <a:gd name="connsiteX3117" fmla="*/ 649096 w 1687454"/>
                  <a:gd name="connsiteY3117" fmla="*/ 660381 h 903637"/>
                  <a:gd name="connsiteX3118" fmla="*/ 651123 w 1687454"/>
                  <a:gd name="connsiteY3118" fmla="*/ 658618 h 903637"/>
                  <a:gd name="connsiteX3119" fmla="*/ 649977 w 1687454"/>
                  <a:gd name="connsiteY3119" fmla="*/ 656326 h 903637"/>
                  <a:gd name="connsiteX3120" fmla="*/ 650594 w 1687454"/>
                  <a:gd name="connsiteY3120" fmla="*/ 654827 h 903637"/>
                  <a:gd name="connsiteX3121" fmla="*/ 649977 w 1687454"/>
                  <a:gd name="connsiteY3121" fmla="*/ 651917 h 903637"/>
                  <a:gd name="connsiteX3122" fmla="*/ 651476 w 1687454"/>
                  <a:gd name="connsiteY3122" fmla="*/ 651652 h 903637"/>
                  <a:gd name="connsiteX3123" fmla="*/ 653240 w 1687454"/>
                  <a:gd name="connsiteY3123" fmla="*/ 648479 h 903637"/>
                  <a:gd name="connsiteX3124" fmla="*/ 652711 w 1687454"/>
                  <a:gd name="connsiteY3124" fmla="*/ 647861 h 903637"/>
                  <a:gd name="connsiteX3125" fmla="*/ 653240 w 1687454"/>
                  <a:gd name="connsiteY3125" fmla="*/ 646362 h 903637"/>
                  <a:gd name="connsiteX3126" fmla="*/ 653240 w 1687454"/>
                  <a:gd name="connsiteY3126" fmla="*/ 644864 h 903637"/>
                  <a:gd name="connsiteX3127" fmla="*/ 653857 w 1687454"/>
                  <a:gd name="connsiteY3127" fmla="*/ 643717 h 903637"/>
                  <a:gd name="connsiteX3128" fmla="*/ 653592 w 1687454"/>
                  <a:gd name="connsiteY3128" fmla="*/ 637898 h 903637"/>
                  <a:gd name="connsiteX3129" fmla="*/ 654121 w 1687454"/>
                  <a:gd name="connsiteY3129" fmla="*/ 635253 h 903637"/>
                  <a:gd name="connsiteX3130" fmla="*/ 654738 w 1687454"/>
                  <a:gd name="connsiteY3130" fmla="*/ 634636 h 903637"/>
                  <a:gd name="connsiteX3131" fmla="*/ 656237 w 1687454"/>
                  <a:gd name="connsiteY3131" fmla="*/ 633137 h 903637"/>
                  <a:gd name="connsiteX3132" fmla="*/ 655973 w 1687454"/>
                  <a:gd name="connsiteY3132" fmla="*/ 632255 h 903637"/>
                  <a:gd name="connsiteX3133" fmla="*/ 657119 w 1687454"/>
                  <a:gd name="connsiteY3133" fmla="*/ 629610 h 903637"/>
                  <a:gd name="connsiteX3134" fmla="*/ 656854 w 1687454"/>
                  <a:gd name="connsiteY3134" fmla="*/ 628112 h 903637"/>
                  <a:gd name="connsiteX3135" fmla="*/ 655708 w 1687454"/>
                  <a:gd name="connsiteY3135" fmla="*/ 626965 h 903637"/>
                  <a:gd name="connsiteX3136" fmla="*/ 656854 w 1687454"/>
                  <a:gd name="connsiteY3136" fmla="*/ 625202 h 903637"/>
                  <a:gd name="connsiteX3137" fmla="*/ 655973 w 1687454"/>
                  <a:gd name="connsiteY3137" fmla="*/ 623791 h 903637"/>
                  <a:gd name="connsiteX3138" fmla="*/ 657119 w 1687454"/>
                  <a:gd name="connsiteY3138" fmla="*/ 622645 h 903637"/>
                  <a:gd name="connsiteX3139" fmla="*/ 655973 w 1687454"/>
                  <a:gd name="connsiteY3139" fmla="*/ 619118 h 903637"/>
                  <a:gd name="connsiteX3140" fmla="*/ 654562 w 1687454"/>
                  <a:gd name="connsiteY3140" fmla="*/ 617708 h 903637"/>
                  <a:gd name="connsiteX3141" fmla="*/ 654562 w 1687454"/>
                  <a:gd name="connsiteY3141" fmla="*/ 615680 h 903637"/>
                  <a:gd name="connsiteX3142" fmla="*/ 653063 w 1687454"/>
                  <a:gd name="connsiteY3142" fmla="*/ 614798 h 903637"/>
                  <a:gd name="connsiteX3143" fmla="*/ 648390 w 1687454"/>
                  <a:gd name="connsiteY3143" fmla="*/ 613035 h 903637"/>
                  <a:gd name="connsiteX3144" fmla="*/ 646979 w 1687454"/>
                  <a:gd name="connsiteY3144" fmla="*/ 613035 h 903637"/>
                  <a:gd name="connsiteX3145" fmla="*/ 638780 w 1687454"/>
                  <a:gd name="connsiteY3145" fmla="*/ 615327 h 903637"/>
                  <a:gd name="connsiteX3146" fmla="*/ 636752 w 1687454"/>
                  <a:gd name="connsiteY3146" fmla="*/ 615592 h 903637"/>
                  <a:gd name="connsiteX3147" fmla="*/ 635606 w 1687454"/>
                  <a:gd name="connsiteY3147" fmla="*/ 617355 h 903637"/>
                  <a:gd name="connsiteX3148" fmla="*/ 634460 w 1687454"/>
                  <a:gd name="connsiteY3148" fmla="*/ 618237 h 903637"/>
                  <a:gd name="connsiteX3149" fmla="*/ 629522 w 1687454"/>
                  <a:gd name="connsiteY3149" fmla="*/ 623439 h 903637"/>
                  <a:gd name="connsiteX3150" fmla="*/ 627759 w 1687454"/>
                  <a:gd name="connsiteY3150" fmla="*/ 624320 h 903637"/>
                  <a:gd name="connsiteX3151" fmla="*/ 624849 w 1687454"/>
                  <a:gd name="connsiteY3151" fmla="*/ 628112 h 903637"/>
                  <a:gd name="connsiteX3152" fmla="*/ 622821 w 1687454"/>
                  <a:gd name="connsiteY3152" fmla="*/ 628376 h 903637"/>
                  <a:gd name="connsiteX3153" fmla="*/ 621323 w 1687454"/>
                  <a:gd name="connsiteY3153" fmla="*/ 628376 h 903637"/>
                  <a:gd name="connsiteX3154" fmla="*/ 620441 w 1687454"/>
                  <a:gd name="connsiteY3154" fmla="*/ 628376 h 903637"/>
                  <a:gd name="connsiteX3155" fmla="*/ 623615 w 1687454"/>
                  <a:gd name="connsiteY3155" fmla="*/ 625202 h 903637"/>
                  <a:gd name="connsiteX3156" fmla="*/ 623350 w 1687454"/>
                  <a:gd name="connsiteY3156" fmla="*/ 624937 h 903637"/>
                  <a:gd name="connsiteX3157" fmla="*/ 618060 w 1687454"/>
                  <a:gd name="connsiteY3157" fmla="*/ 626701 h 903637"/>
                  <a:gd name="connsiteX3158" fmla="*/ 618325 w 1687454"/>
                  <a:gd name="connsiteY3158" fmla="*/ 626172 h 903637"/>
                  <a:gd name="connsiteX3159" fmla="*/ 617708 w 1687454"/>
                  <a:gd name="connsiteY3159" fmla="*/ 626436 h 903637"/>
                  <a:gd name="connsiteX3160" fmla="*/ 617090 w 1687454"/>
                  <a:gd name="connsiteY3160" fmla="*/ 626172 h 903637"/>
                  <a:gd name="connsiteX3161" fmla="*/ 615944 w 1687454"/>
                  <a:gd name="connsiteY3161" fmla="*/ 626172 h 903637"/>
                  <a:gd name="connsiteX3162" fmla="*/ 613916 w 1687454"/>
                  <a:gd name="connsiteY3162" fmla="*/ 627671 h 903637"/>
                  <a:gd name="connsiteX3163" fmla="*/ 612770 w 1687454"/>
                  <a:gd name="connsiteY3163" fmla="*/ 628288 h 903637"/>
                  <a:gd name="connsiteX3164" fmla="*/ 612153 w 1687454"/>
                  <a:gd name="connsiteY3164" fmla="*/ 628288 h 903637"/>
                  <a:gd name="connsiteX3165" fmla="*/ 613035 w 1687454"/>
                  <a:gd name="connsiteY3165" fmla="*/ 625643 h 903637"/>
                  <a:gd name="connsiteX3166" fmla="*/ 614798 w 1687454"/>
                  <a:gd name="connsiteY3166" fmla="*/ 623880 h 903637"/>
                  <a:gd name="connsiteX3167" fmla="*/ 613916 w 1687454"/>
                  <a:gd name="connsiteY3167" fmla="*/ 620353 h 903637"/>
                  <a:gd name="connsiteX3168" fmla="*/ 613652 w 1687454"/>
                  <a:gd name="connsiteY3168" fmla="*/ 619207 h 903637"/>
                  <a:gd name="connsiteX3169" fmla="*/ 611624 w 1687454"/>
                  <a:gd name="connsiteY3169" fmla="*/ 618325 h 903637"/>
                  <a:gd name="connsiteX3170" fmla="*/ 608979 w 1687454"/>
                  <a:gd name="connsiteY3170" fmla="*/ 618589 h 903637"/>
                  <a:gd name="connsiteX3171" fmla="*/ 605188 w 1687454"/>
                  <a:gd name="connsiteY3171" fmla="*/ 619471 h 903637"/>
                  <a:gd name="connsiteX3172" fmla="*/ 603689 w 1687454"/>
                  <a:gd name="connsiteY3172" fmla="*/ 619207 h 903637"/>
                  <a:gd name="connsiteX3173" fmla="*/ 602543 w 1687454"/>
                  <a:gd name="connsiteY3173" fmla="*/ 620353 h 903637"/>
                  <a:gd name="connsiteX3174" fmla="*/ 601661 w 1687454"/>
                  <a:gd name="connsiteY3174" fmla="*/ 621499 h 903637"/>
                  <a:gd name="connsiteX3175" fmla="*/ 599369 w 1687454"/>
                  <a:gd name="connsiteY3175" fmla="*/ 621234 h 903637"/>
                  <a:gd name="connsiteX3176" fmla="*/ 597605 w 1687454"/>
                  <a:gd name="connsiteY3176" fmla="*/ 621499 h 903637"/>
                  <a:gd name="connsiteX3177" fmla="*/ 596106 w 1687454"/>
                  <a:gd name="connsiteY3177" fmla="*/ 622998 h 903637"/>
                  <a:gd name="connsiteX3178" fmla="*/ 595489 w 1687454"/>
                  <a:gd name="connsiteY3178" fmla="*/ 623880 h 903637"/>
                  <a:gd name="connsiteX3179" fmla="*/ 600427 w 1687454"/>
                  <a:gd name="connsiteY3179" fmla="*/ 626260 h 903637"/>
                  <a:gd name="connsiteX3180" fmla="*/ 601308 w 1687454"/>
                  <a:gd name="connsiteY3180" fmla="*/ 627142 h 903637"/>
                  <a:gd name="connsiteX3181" fmla="*/ 603072 w 1687454"/>
                  <a:gd name="connsiteY3181" fmla="*/ 627142 h 903637"/>
                  <a:gd name="connsiteX3182" fmla="*/ 603072 w 1687454"/>
                  <a:gd name="connsiteY3182" fmla="*/ 630316 h 903637"/>
                  <a:gd name="connsiteX3183" fmla="*/ 604218 w 1687454"/>
                  <a:gd name="connsiteY3183" fmla="*/ 630933 h 903637"/>
                  <a:gd name="connsiteX3184" fmla="*/ 606863 w 1687454"/>
                  <a:gd name="connsiteY3184" fmla="*/ 630933 h 903637"/>
                  <a:gd name="connsiteX3185" fmla="*/ 607745 w 1687454"/>
                  <a:gd name="connsiteY3185" fmla="*/ 631815 h 903637"/>
                  <a:gd name="connsiteX3186" fmla="*/ 610125 w 1687454"/>
                  <a:gd name="connsiteY3186" fmla="*/ 631815 h 903637"/>
                  <a:gd name="connsiteX3187" fmla="*/ 610390 w 1687454"/>
                  <a:gd name="connsiteY3187" fmla="*/ 631815 h 903637"/>
                  <a:gd name="connsiteX3188" fmla="*/ 612770 w 1687454"/>
                  <a:gd name="connsiteY3188" fmla="*/ 630316 h 903637"/>
                  <a:gd name="connsiteX3189" fmla="*/ 613299 w 1687454"/>
                  <a:gd name="connsiteY3189" fmla="*/ 630580 h 903637"/>
                  <a:gd name="connsiteX3190" fmla="*/ 615592 w 1687454"/>
                  <a:gd name="connsiteY3190" fmla="*/ 628817 h 903637"/>
                  <a:gd name="connsiteX3191" fmla="*/ 616209 w 1687454"/>
                  <a:gd name="connsiteY3191" fmla="*/ 632608 h 903637"/>
                  <a:gd name="connsiteX3192" fmla="*/ 617355 w 1687454"/>
                  <a:gd name="connsiteY3192" fmla="*/ 631726 h 903637"/>
                  <a:gd name="connsiteX3193" fmla="*/ 618854 w 1687454"/>
                  <a:gd name="connsiteY3193" fmla="*/ 630845 h 903637"/>
                  <a:gd name="connsiteX3194" fmla="*/ 620000 w 1687454"/>
                  <a:gd name="connsiteY3194" fmla="*/ 630228 h 903637"/>
                  <a:gd name="connsiteX3195" fmla="*/ 622028 w 1687454"/>
                  <a:gd name="connsiteY3195" fmla="*/ 630492 h 903637"/>
                  <a:gd name="connsiteX3196" fmla="*/ 624056 w 1687454"/>
                  <a:gd name="connsiteY3196" fmla="*/ 629610 h 903637"/>
                  <a:gd name="connsiteX3197" fmla="*/ 625202 w 1687454"/>
                  <a:gd name="connsiteY3197" fmla="*/ 632520 h 903637"/>
                  <a:gd name="connsiteX3198" fmla="*/ 627230 w 1687454"/>
                  <a:gd name="connsiteY3198" fmla="*/ 632520 h 903637"/>
                  <a:gd name="connsiteX3199" fmla="*/ 628376 w 1687454"/>
                  <a:gd name="connsiteY3199" fmla="*/ 632520 h 903637"/>
                  <a:gd name="connsiteX3200" fmla="*/ 631021 w 1687454"/>
                  <a:gd name="connsiteY3200" fmla="*/ 631638 h 903637"/>
                  <a:gd name="connsiteX3201" fmla="*/ 636311 w 1687454"/>
                  <a:gd name="connsiteY3201" fmla="*/ 632520 h 903637"/>
                  <a:gd name="connsiteX3202" fmla="*/ 635429 w 1687454"/>
                  <a:gd name="connsiteY3202" fmla="*/ 633137 h 903637"/>
                  <a:gd name="connsiteX3203" fmla="*/ 626701 w 1687454"/>
                  <a:gd name="connsiteY3203" fmla="*/ 634636 h 903637"/>
                  <a:gd name="connsiteX3204" fmla="*/ 625555 w 1687454"/>
                  <a:gd name="connsiteY3204" fmla="*/ 635518 h 903637"/>
                  <a:gd name="connsiteX3205" fmla="*/ 624673 w 1687454"/>
                  <a:gd name="connsiteY3205" fmla="*/ 640191 h 903637"/>
                  <a:gd name="connsiteX3206" fmla="*/ 624937 w 1687454"/>
                  <a:gd name="connsiteY3206" fmla="*/ 641601 h 903637"/>
                  <a:gd name="connsiteX3207" fmla="*/ 627582 w 1687454"/>
                  <a:gd name="connsiteY3207" fmla="*/ 646539 h 903637"/>
                  <a:gd name="connsiteX3208" fmla="*/ 626701 w 1687454"/>
                  <a:gd name="connsiteY3208" fmla="*/ 648302 h 903637"/>
                  <a:gd name="connsiteX3209" fmla="*/ 626965 w 1687454"/>
                  <a:gd name="connsiteY3209" fmla="*/ 649801 h 903637"/>
                  <a:gd name="connsiteX3210" fmla="*/ 628993 w 1687454"/>
                  <a:gd name="connsiteY3210" fmla="*/ 650683 h 903637"/>
                  <a:gd name="connsiteX3211" fmla="*/ 629875 w 1687454"/>
                  <a:gd name="connsiteY3211" fmla="*/ 652446 h 903637"/>
                  <a:gd name="connsiteX3212" fmla="*/ 628729 w 1687454"/>
                  <a:gd name="connsiteY3212" fmla="*/ 654827 h 903637"/>
                  <a:gd name="connsiteX3213" fmla="*/ 629875 w 1687454"/>
                  <a:gd name="connsiteY3213" fmla="*/ 655973 h 903637"/>
                  <a:gd name="connsiteX3214" fmla="*/ 628376 w 1687454"/>
                  <a:gd name="connsiteY3214" fmla="*/ 658882 h 903637"/>
                  <a:gd name="connsiteX3215" fmla="*/ 631903 w 1687454"/>
                  <a:gd name="connsiteY3215" fmla="*/ 660646 h 903637"/>
                  <a:gd name="connsiteX3216" fmla="*/ 636840 w 1687454"/>
                  <a:gd name="connsiteY3216" fmla="*/ 654562 h 903637"/>
                  <a:gd name="connsiteX3217" fmla="*/ 637105 w 1687454"/>
                  <a:gd name="connsiteY3217" fmla="*/ 654298 h 903637"/>
                  <a:gd name="connsiteX3218" fmla="*/ 641513 w 1687454"/>
                  <a:gd name="connsiteY3218" fmla="*/ 654915 h 903637"/>
                  <a:gd name="connsiteX3219" fmla="*/ 637457 w 1687454"/>
                  <a:gd name="connsiteY3219" fmla="*/ 657207 h 903637"/>
                  <a:gd name="connsiteX3220" fmla="*/ 636311 w 1687454"/>
                  <a:gd name="connsiteY3220" fmla="*/ 659500 h 903637"/>
                  <a:gd name="connsiteX3221" fmla="*/ 637810 w 1687454"/>
                  <a:gd name="connsiteY3221" fmla="*/ 659500 h 903637"/>
                  <a:gd name="connsiteX3222" fmla="*/ 641601 w 1687454"/>
                  <a:gd name="connsiteY3222" fmla="*/ 656855 h 903637"/>
                  <a:gd name="connsiteX3223" fmla="*/ 642747 w 1687454"/>
                  <a:gd name="connsiteY3223" fmla="*/ 657472 h 903637"/>
                  <a:gd name="connsiteX3224" fmla="*/ 641866 w 1687454"/>
                  <a:gd name="connsiteY3224" fmla="*/ 661527 h 903637"/>
                  <a:gd name="connsiteX3225" fmla="*/ 638692 w 1687454"/>
                  <a:gd name="connsiteY3225" fmla="*/ 666200 h 903637"/>
                  <a:gd name="connsiteX3226" fmla="*/ 635782 w 1687454"/>
                  <a:gd name="connsiteY3226" fmla="*/ 670873 h 903637"/>
                  <a:gd name="connsiteX3227" fmla="*/ 635782 w 1687454"/>
                  <a:gd name="connsiteY3227" fmla="*/ 671490 h 903637"/>
                  <a:gd name="connsiteX3228" fmla="*/ 638163 w 1687454"/>
                  <a:gd name="connsiteY3228" fmla="*/ 670609 h 903637"/>
                  <a:gd name="connsiteX3229" fmla="*/ 641689 w 1687454"/>
                  <a:gd name="connsiteY3229" fmla="*/ 667082 h 903637"/>
                  <a:gd name="connsiteX3230" fmla="*/ 646627 w 1687454"/>
                  <a:gd name="connsiteY3230" fmla="*/ 664702 h 903637"/>
                  <a:gd name="connsiteX3231" fmla="*/ 647509 w 1687454"/>
                  <a:gd name="connsiteY3231" fmla="*/ 664437 h 903637"/>
                  <a:gd name="connsiteX3232" fmla="*/ 647773 w 1687454"/>
                  <a:gd name="connsiteY3232" fmla="*/ 667964 h 903637"/>
                  <a:gd name="connsiteX3233" fmla="*/ 646891 w 1687454"/>
                  <a:gd name="connsiteY3233" fmla="*/ 669110 h 903637"/>
                  <a:gd name="connsiteX3234" fmla="*/ 642218 w 1687454"/>
                  <a:gd name="connsiteY3234" fmla="*/ 672284 h 903637"/>
                  <a:gd name="connsiteX3235" fmla="*/ 637281 w 1687454"/>
                  <a:gd name="connsiteY3235" fmla="*/ 677839 h 903637"/>
                  <a:gd name="connsiteX3236" fmla="*/ 641337 w 1687454"/>
                  <a:gd name="connsiteY3236" fmla="*/ 675811 h 903637"/>
                  <a:gd name="connsiteX3237" fmla="*/ 641072 w 1687454"/>
                  <a:gd name="connsiteY3237" fmla="*/ 676428 h 903637"/>
                  <a:gd name="connsiteX3238" fmla="*/ 642836 w 1687454"/>
                  <a:gd name="connsiteY3238" fmla="*/ 674664 h 903637"/>
                  <a:gd name="connsiteX3239" fmla="*/ 645216 w 1687454"/>
                  <a:gd name="connsiteY3239" fmla="*/ 672901 h 903637"/>
                  <a:gd name="connsiteX3240" fmla="*/ 647244 w 1687454"/>
                  <a:gd name="connsiteY3240" fmla="*/ 673166 h 903637"/>
                  <a:gd name="connsiteX3241" fmla="*/ 643188 w 1687454"/>
                  <a:gd name="connsiteY3241" fmla="*/ 676075 h 903637"/>
                  <a:gd name="connsiteX3242" fmla="*/ 635341 w 1687454"/>
                  <a:gd name="connsiteY3242" fmla="*/ 682511 h 903637"/>
                  <a:gd name="connsiteX3243" fmla="*/ 629522 w 1687454"/>
                  <a:gd name="connsiteY3243" fmla="*/ 693003 h 903637"/>
                  <a:gd name="connsiteX3244" fmla="*/ 628905 w 1687454"/>
                  <a:gd name="connsiteY3244" fmla="*/ 695649 h 903637"/>
                  <a:gd name="connsiteX3245" fmla="*/ 632961 w 1687454"/>
                  <a:gd name="connsiteY3245" fmla="*/ 696530 h 903637"/>
                  <a:gd name="connsiteX3246" fmla="*/ 598222 w 1687454"/>
                  <a:gd name="connsiteY3246" fmla="*/ 701556 h 903637"/>
                  <a:gd name="connsiteX3247" fmla="*/ 603777 w 1687454"/>
                  <a:gd name="connsiteY3247" fmla="*/ 700410 h 903637"/>
                  <a:gd name="connsiteX3248" fmla="*/ 605540 w 1687454"/>
                  <a:gd name="connsiteY3248" fmla="*/ 698646 h 903637"/>
                  <a:gd name="connsiteX3249" fmla="*/ 607568 w 1687454"/>
                  <a:gd name="connsiteY3249" fmla="*/ 697765 h 903637"/>
                  <a:gd name="connsiteX3250" fmla="*/ 608450 w 1687454"/>
                  <a:gd name="connsiteY3250" fmla="*/ 695737 h 903637"/>
                  <a:gd name="connsiteX3251" fmla="*/ 608714 w 1687454"/>
                  <a:gd name="connsiteY3251" fmla="*/ 693709 h 903637"/>
                  <a:gd name="connsiteX3252" fmla="*/ 607833 w 1687454"/>
                  <a:gd name="connsiteY3252" fmla="*/ 693092 h 903637"/>
                  <a:gd name="connsiteX3253" fmla="*/ 608097 w 1687454"/>
                  <a:gd name="connsiteY3253" fmla="*/ 690447 h 903637"/>
                  <a:gd name="connsiteX3254" fmla="*/ 606069 w 1687454"/>
                  <a:gd name="connsiteY3254" fmla="*/ 686655 h 903637"/>
                  <a:gd name="connsiteX3255" fmla="*/ 603160 w 1687454"/>
                  <a:gd name="connsiteY3255" fmla="*/ 684363 h 903637"/>
                  <a:gd name="connsiteX3256" fmla="*/ 601396 w 1687454"/>
                  <a:gd name="connsiteY3256" fmla="*/ 684099 h 903637"/>
                  <a:gd name="connsiteX3257" fmla="*/ 601132 w 1687454"/>
                  <a:gd name="connsiteY3257" fmla="*/ 683481 h 903637"/>
                  <a:gd name="connsiteX3258" fmla="*/ 604042 w 1687454"/>
                  <a:gd name="connsiteY3258" fmla="*/ 678279 h 903637"/>
                  <a:gd name="connsiteX3259" fmla="*/ 604306 w 1687454"/>
                  <a:gd name="connsiteY3259" fmla="*/ 678544 h 903637"/>
                  <a:gd name="connsiteX3260" fmla="*/ 606334 w 1687454"/>
                  <a:gd name="connsiteY3260" fmla="*/ 677398 h 903637"/>
                  <a:gd name="connsiteX3261" fmla="*/ 607216 w 1687454"/>
                  <a:gd name="connsiteY3261" fmla="*/ 677398 h 903637"/>
                  <a:gd name="connsiteX3262" fmla="*/ 608362 w 1687454"/>
                  <a:gd name="connsiteY3262" fmla="*/ 676781 h 903637"/>
                  <a:gd name="connsiteX3263" fmla="*/ 608626 w 1687454"/>
                  <a:gd name="connsiteY3263" fmla="*/ 675017 h 903637"/>
                  <a:gd name="connsiteX3264" fmla="*/ 606598 w 1687454"/>
                  <a:gd name="connsiteY3264" fmla="*/ 674753 h 903637"/>
                  <a:gd name="connsiteX3265" fmla="*/ 605717 w 1687454"/>
                  <a:gd name="connsiteY3265" fmla="*/ 673606 h 903637"/>
                  <a:gd name="connsiteX3266" fmla="*/ 609508 w 1687454"/>
                  <a:gd name="connsiteY3266" fmla="*/ 667787 h 903637"/>
                  <a:gd name="connsiteX3267" fmla="*/ 609773 w 1687454"/>
                  <a:gd name="connsiteY3267" fmla="*/ 664878 h 903637"/>
                  <a:gd name="connsiteX3268" fmla="*/ 608626 w 1687454"/>
                  <a:gd name="connsiteY3268" fmla="*/ 664613 h 903637"/>
                  <a:gd name="connsiteX3269" fmla="*/ 607745 w 1687454"/>
                  <a:gd name="connsiteY3269" fmla="*/ 664878 h 903637"/>
                  <a:gd name="connsiteX3270" fmla="*/ 606863 w 1687454"/>
                  <a:gd name="connsiteY3270" fmla="*/ 665759 h 903637"/>
                  <a:gd name="connsiteX3271" fmla="*/ 603336 w 1687454"/>
                  <a:gd name="connsiteY3271" fmla="*/ 671579 h 903637"/>
                  <a:gd name="connsiteX3272" fmla="*/ 605100 w 1687454"/>
                  <a:gd name="connsiteY3272" fmla="*/ 666024 h 903637"/>
                  <a:gd name="connsiteX3273" fmla="*/ 603953 w 1687454"/>
                  <a:gd name="connsiteY3273" fmla="*/ 665142 h 903637"/>
                  <a:gd name="connsiteX3274" fmla="*/ 603072 w 1687454"/>
                  <a:gd name="connsiteY3274" fmla="*/ 665759 h 903637"/>
                  <a:gd name="connsiteX3275" fmla="*/ 602190 w 1687454"/>
                  <a:gd name="connsiteY3275" fmla="*/ 665495 h 903637"/>
                  <a:gd name="connsiteX3276" fmla="*/ 601573 w 1687454"/>
                  <a:gd name="connsiteY3276" fmla="*/ 662850 h 903637"/>
                  <a:gd name="connsiteX3277" fmla="*/ 598663 w 1687454"/>
                  <a:gd name="connsiteY3277" fmla="*/ 662585 h 903637"/>
                  <a:gd name="connsiteX3278" fmla="*/ 597517 w 1687454"/>
                  <a:gd name="connsiteY3278" fmla="*/ 663203 h 903637"/>
                  <a:gd name="connsiteX3279" fmla="*/ 595225 w 1687454"/>
                  <a:gd name="connsiteY3279" fmla="*/ 665495 h 903637"/>
                  <a:gd name="connsiteX3280" fmla="*/ 594343 w 1687454"/>
                  <a:gd name="connsiteY3280" fmla="*/ 668757 h 903637"/>
                  <a:gd name="connsiteX3281" fmla="*/ 594343 w 1687454"/>
                  <a:gd name="connsiteY3281" fmla="*/ 669286 h 903637"/>
                  <a:gd name="connsiteX3282" fmla="*/ 595754 w 1687454"/>
                  <a:gd name="connsiteY3282" fmla="*/ 668757 h 903637"/>
                  <a:gd name="connsiteX3283" fmla="*/ 596635 w 1687454"/>
                  <a:gd name="connsiteY3283" fmla="*/ 667258 h 903637"/>
                  <a:gd name="connsiteX3284" fmla="*/ 598399 w 1687454"/>
                  <a:gd name="connsiteY3284" fmla="*/ 666377 h 903637"/>
                  <a:gd name="connsiteX3285" fmla="*/ 599281 w 1687454"/>
                  <a:gd name="connsiteY3285" fmla="*/ 666641 h 903637"/>
                  <a:gd name="connsiteX3286" fmla="*/ 599545 w 1687454"/>
                  <a:gd name="connsiteY3286" fmla="*/ 668669 h 903637"/>
                  <a:gd name="connsiteX3287" fmla="*/ 601308 w 1687454"/>
                  <a:gd name="connsiteY3287" fmla="*/ 669198 h 903637"/>
                  <a:gd name="connsiteX3288" fmla="*/ 599809 w 1687454"/>
                  <a:gd name="connsiteY3288" fmla="*/ 673606 h 903637"/>
                  <a:gd name="connsiteX3289" fmla="*/ 599545 w 1687454"/>
                  <a:gd name="connsiteY3289" fmla="*/ 676781 h 903637"/>
                  <a:gd name="connsiteX3290" fmla="*/ 600162 w 1687454"/>
                  <a:gd name="connsiteY3290" fmla="*/ 677045 h 903637"/>
                  <a:gd name="connsiteX3291" fmla="*/ 601926 w 1687454"/>
                  <a:gd name="connsiteY3291" fmla="*/ 676163 h 903637"/>
                  <a:gd name="connsiteX3292" fmla="*/ 602190 w 1687454"/>
                  <a:gd name="connsiteY3292" fmla="*/ 676428 h 903637"/>
                  <a:gd name="connsiteX3293" fmla="*/ 600779 w 1687454"/>
                  <a:gd name="connsiteY3293" fmla="*/ 681101 h 903637"/>
                  <a:gd name="connsiteX3294" fmla="*/ 598399 w 1687454"/>
                  <a:gd name="connsiteY3294" fmla="*/ 683481 h 903637"/>
                  <a:gd name="connsiteX3295" fmla="*/ 597782 w 1687454"/>
                  <a:gd name="connsiteY3295" fmla="*/ 684980 h 903637"/>
                  <a:gd name="connsiteX3296" fmla="*/ 598046 w 1687454"/>
                  <a:gd name="connsiteY3296" fmla="*/ 685245 h 903637"/>
                  <a:gd name="connsiteX3297" fmla="*/ 596018 w 1687454"/>
                  <a:gd name="connsiteY3297" fmla="*/ 697236 h 903637"/>
                  <a:gd name="connsiteX3298" fmla="*/ 595401 w 1687454"/>
                  <a:gd name="connsiteY3298" fmla="*/ 698382 h 903637"/>
                  <a:gd name="connsiteX3299" fmla="*/ 595401 w 1687454"/>
                  <a:gd name="connsiteY3299" fmla="*/ 699792 h 903637"/>
                  <a:gd name="connsiteX3300" fmla="*/ 596283 w 1687454"/>
                  <a:gd name="connsiteY3300" fmla="*/ 701291 h 903637"/>
                  <a:gd name="connsiteX3301" fmla="*/ 598222 w 1687454"/>
                  <a:gd name="connsiteY3301" fmla="*/ 701556 h 903637"/>
                  <a:gd name="connsiteX3302" fmla="*/ 72915 w 1687454"/>
                  <a:gd name="connsiteY3302" fmla="*/ 689829 h 903637"/>
                  <a:gd name="connsiteX3303" fmla="*/ 71769 w 1687454"/>
                  <a:gd name="connsiteY3303" fmla="*/ 689829 h 903637"/>
                  <a:gd name="connsiteX3304" fmla="*/ 66567 w 1687454"/>
                  <a:gd name="connsiteY3304" fmla="*/ 689829 h 903637"/>
                  <a:gd name="connsiteX3305" fmla="*/ 67184 w 1687454"/>
                  <a:gd name="connsiteY3305" fmla="*/ 688683 h 903637"/>
                  <a:gd name="connsiteX3306" fmla="*/ 70094 w 1687454"/>
                  <a:gd name="connsiteY3306" fmla="*/ 687184 h 903637"/>
                  <a:gd name="connsiteX3307" fmla="*/ 74502 w 1687454"/>
                  <a:gd name="connsiteY3307" fmla="*/ 686303 h 903637"/>
                  <a:gd name="connsiteX3308" fmla="*/ 75384 w 1687454"/>
                  <a:gd name="connsiteY3308" fmla="*/ 686567 h 903637"/>
                  <a:gd name="connsiteX3309" fmla="*/ 75384 w 1687454"/>
                  <a:gd name="connsiteY3309" fmla="*/ 687184 h 903637"/>
                  <a:gd name="connsiteX3310" fmla="*/ 72915 w 1687454"/>
                  <a:gd name="connsiteY3310" fmla="*/ 689829 h 903637"/>
                  <a:gd name="connsiteX3311" fmla="*/ 83760 w 1687454"/>
                  <a:gd name="connsiteY3311" fmla="*/ 704730 h 903637"/>
                  <a:gd name="connsiteX3312" fmla="*/ 83495 w 1687454"/>
                  <a:gd name="connsiteY3312" fmla="*/ 705347 h 903637"/>
                  <a:gd name="connsiteX3313" fmla="*/ 82349 w 1687454"/>
                  <a:gd name="connsiteY3313" fmla="*/ 701820 h 903637"/>
                  <a:gd name="connsiteX3314" fmla="*/ 83231 w 1687454"/>
                  <a:gd name="connsiteY3314" fmla="*/ 699175 h 903637"/>
                  <a:gd name="connsiteX3315" fmla="*/ 86140 w 1687454"/>
                  <a:gd name="connsiteY3315" fmla="*/ 697676 h 903637"/>
                  <a:gd name="connsiteX3316" fmla="*/ 87287 w 1687454"/>
                  <a:gd name="connsiteY3316" fmla="*/ 700057 h 903637"/>
                  <a:gd name="connsiteX3317" fmla="*/ 83760 w 1687454"/>
                  <a:gd name="connsiteY3317" fmla="*/ 704730 h 903637"/>
                  <a:gd name="connsiteX3318" fmla="*/ 88697 w 1687454"/>
                  <a:gd name="connsiteY3318" fmla="*/ 704465 h 903637"/>
                  <a:gd name="connsiteX3319" fmla="*/ 86669 w 1687454"/>
                  <a:gd name="connsiteY3319" fmla="*/ 705347 h 903637"/>
                  <a:gd name="connsiteX3320" fmla="*/ 86669 w 1687454"/>
                  <a:gd name="connsiteY3320" fmla="*/ 702967 h 903637"/>
                  <a:gd name="connsiteX3321" fmla="*/ 91078 w 1687454"/>
                  <a:gd name="connsiteY3321" fmla="*/ 699175 h 903637"/>
                  <a:gd name="connsiteX3322" fmla="*/ 93458 w 1687454"/>
                  <a:gd name="connsiteY3322" fmla="*/ 698911 h 903637"/>
                  <a:gd name="connsiteX3323" fmla="*/ 93194 w 1687454"/>
                  <a:gd name="connsiteY3323" fmla="*/ 700674 h 903637"/>
                  <a:gd name="connsiteX3324" fmla="*/ 93458 w 1687454"/>
                  <a:gd name="connsiteY3324" fmla="*/ 701291 h 903637"/>
                  <a:gd name="connsiteX3325" fmla="*/ 91960 w 1687454"/>
                  <a:gd name="connsiteY3325" fmla="*/ 702438 h 903637"/>
                  <a:gd name="connsiteX3326" fmla="*/ 89932 w 1687454"/>
                  <a:gd name="connsiteY3326" fmla="*/ 702702 h 903637"/>
                  <a:gd name="connsiteX3327" fmla="*/ 88697 w 1687454"/>
                  <a:gd name="connsiteY3327" fmla="*/ 704465 h 903637"/>
                  <a:gd name="connsiteX3328" fmla="*/ 1287787 w 1687454"/>
                  <a:gd name="connsiteY3328" fmla="*/ 729505 h 903637"/>
                  <a:gd name="connsiteX3329" fmla="*/ 1277560 w 1687454"/>
                  <a:gd name="connsiteY3329" fmla="*/ 730387 h 903637"/>
                  <a:gd name="connsiteX3330" fmla="*/ 1272270 w 1687454"/>
                  <a:gd name="connsiteY3330" fmla="*/ 728359 h 903637"/>
                  <a:gd name="connsiteX3331" fmla="*/ 1264952 w 1687454"/>
                  <a:gd name="connsiteY3331" fmla="*/ 726948 h 903637"/>
                  <a:gd name="connsiteX3332" fmla="*/ 1253843 w 1687454"/>
                  <a:gd name="connsiteY3332" fmla="*/ 722275 h 903637"/>
                  <a:gd name="connsiteX3333" fmla="*/ 1253843 w 1687454"/>
                  <a:gd name="connsiteY3333" fmla="*/ 720248 h 903637"/>
                  <a:gd name="connsiteX3334" fmla="*/ 1252961 w 1687454"/>
                  <a:gd name="connsiteY3334" fmla="*/ 718220 h 903637"/>
                  <a:gd name="connsiteX3335" fmla="*/ 1250051 w 1687454"/>
                  <a:gd name="connsiteY3335" fmla="*/ 715839 h 903637"/>
                  <a:gd name="connsiteX3336" fmla="*/ 1239824 w 1687454"/>
                  <a:gd name="connsiteY3336" fmla="*/ 710549 h 903637"/>
                  <a:gd name="connsiteX3337" fmla="*/ 1246260 w 1687454"/>
                  <a:gd name="connsiteY3337" fmla="*/ 708786 h 903637"/>
                  <a:gd name="connsiteX3338" fmla="*/ 1268126 w 1687454"/>
                  <a:gd name="connsiteY3338" fmla="*/ 713459 h 903637"/>
                  <a:gd name="connsiteX3339" fmla="*/ 1275708 w 1687454"/>
                  <a:gd name="connsiteY3339" fmla="*/ 717514 h 903637"/>
                  <a:gd name="connsiteX3340" fmla="*/ 1281263 w 1687454"/>
                  <a:gd name="connsiteY3340" fmla="*/ 721923 h 903637"/>
                  <a:gd name="connsiteX3341" fmla="*/ 1285054 w 1687454"/>
                  <a:gd name="connsiteY3341" fmla="*/ 722804 h 903637"/>
                  <a:gd name="connsiteX3342" fmla="*/ 1287964 w 1687454"/>
                  <a:gd name="connsiteY3342" fmla="*/ 726860 h 903637"/>
                  <a:gd name="connsiteX3343" fmla="*/ 1287787 w 1687454"/>
                  <a:gd name="connsiteY3343" fmla="*/ 729505 h 903637"/>
                  <a:gd name="connsiteX3344" fmla="*/ 47875 w 1687454"/>
                  <a:gd name="connsiteY3344" fmla="*/ 715486 h 903637"/>
                  <a:gd name="connsiteX3345" fmla="*/ 46465 w 1687454"/>
                  <a:gd name="connsiteY3345" fmla="*/ 715751 h 903637"/>
                  <a:gd name="connsiteX3346" fmla="*/ 44701 w 1687454"/>
                  <a:gd name="connsiteY3346" fmla="*/ 714869 h 903637"/>
                  <a:gd name="connsiteX3347" fmla="*/ 43820 w 1687454"/>
                  <a:gd name="connsiteY3347" fmla="*/ 712841 h 903637"/>
                  <a:gd name="connsiteX3348" fmla="*/ 45583 w 1687454"/>
                  <a:gd name="connsiteY3348" fmla="*/ 711343 h 903637"/>
                  <a:gd name="connsiteX3349" fmla="*/ 45319 w 1687454"/>
                  <a:gd name="connsiteY3349" fmla="*/ 711078 h 903637"/>
                  <a:gd name="connsiteX3350" fmla="*/ 44437 w 1687454"/>
                  <a:gd name="connsiteY3350" fmla="*/ 710461 h 903637"/>
                  <a:gd name="connsiteX3351" fmla="*/ 45319 w 1687454"/>
                  <a:gd name="connsiteY3351" fmla="*/ 709844 h 903637"/>
                  <a:gd name="connsiteX3352" fmla="*/ 49727 w 1687454"/>
                  <a:gd name="connsiteY3352" fmla="*/ 708962 h 903637"/>
                  <a:gd name="connsiteX3353" fmla="*/ 50344 w 1687454"/>
                  <a:gd name="connsiteY3353" fmla="*/ 709579 h 903637"/>
                  <a:gd name="connsiteX3354" fmla="*/ 47875 w 1687454"/>
                  <a:gd name="connsiteY3354" fmla="*/ 715486 h 903637"/>
                  <a:gd name="connsiteX3355" fmla="*/ 94781 w 1687454"/>
                  <a:gd name="connsiteY3355" fmla="*/ 716368 h 903637"/>
                  <a:gd name="connsiteX3356" fmla="*/ 93899 w 1687454"/>
                  <a:gd name="connsiteY3356" fmla="*/ 717779 h 903637"/>
                  <a:gd name="connsiteX3357" fmla="*/ 89844 w 1687454"/>
                  <a:gd name="connsiteY3357" fmla="*/ 715398 h 903637"/>
                  <a:gd name="connsiteX3358" fmla="*/ 89844 w 1687454"/>
                  <a:gd name="connsiteY3358" fmla="*/ 713370 h 903637"/>
                  <a:gd name="connsiteX3359" fmla="*/ 88080 w 1687454"/>
                  <a:gd name="connsiteY3359" fmla="*/ 711607 h 903637"/>
                  <a:gd name="connsiteX3360" fmla="*/ 88962 w 1687454"/>
                  <a:gd name="connsiteY3360" fmla="*/ 710725 h 903637"/>
                  <a:gd name="connsiteX3361" fmla="*/ 89844 w 1687454"/>
                  <a:gd name="connsiteY3361" fmla="*/ 710108 h 903637"/>
                  <a:gd name="connsiteX3362" fmla="*/ 89844 w 1687454"/>
                  <a:gd name="connsiteY3362" fmla="*/ 711254 h 903637"/>
                  <a:gd name="connsiteX3363" fmla="*/ 93635 w 1687454"/>
                  <a:gd name="connsiteY3363" fmla="*/ 712401 h 903637"/>
                  <a:gd name="connsiteX3364" fmla="*/ 93370 w 1687454"/>
                  <a:gd name="connsiteY3364" fmla="*/ 714164 h 903637"/>
                  <a:gd name="connsiteX3365" fmla="*/ 94781 w 1687454"/>
                  <a:gd name="connsiteY3365" fmla="*/ 716368 h 903637"/>
                  <a:gd name="connsiteX3366" fmla="*/ 96897 w 1687454"/>
                  <a:gd name="connsiteY3366" fmla="*/ 732768 h 903637"/>
                  <a:gd name="connsiteX3367" fmla="*/ 95134 w 1687454"/>
                  <a:gd name="connsiteY3367" fmla="*/ 735942 h 903637"/>
                  <a:gd name="connsiteX3368" fmla="*/ 94517 w 1687454"/>
                  <a:gd name="connsiteY3368" fmla="*/ 735942 h 903637"/>
                  <a:gd name="connsiteX3369" fmla="*/ 94252 w 1687454"/>
                  <a:gd name="connsiteY3369" fmla="*/ 735060 h 903637"/>
                  <a:gd name="connsiteX3370" fmla="*/ 94869 w 1687454"/>
                  <a:gd name="connsiteY3370" fmla="*/ 731798 h 903637"/>
                  <a:gd name="connsiteX3371" fmla="*/ 95751 w 1687454"/>
                  <a:gd name="connsiteY3371" fmla="*/ 730916 h 903637"/>
                  <a:gd name="connsiteX3372" fmla="*/ 96897 w 1687454"/>
                  <a:gd name="connsiteY3372" fmla="*/ 732768 h 903637"/>
                  <a:gd name="connsiteX3373" fmla="*/ 87199 w 1687454"/>
                  <a:gd name="connsiteY3373" fmla="*/ 746169 h 903637"/>
                  <a:gd name="connsiteX3374" fmla="*/ 84289 w 1687454"/>
                  <a:gd name="connsiteY3374" fmla="*/ 746786 h 903637"/>
                  <a:gd name="connsiteX3375" fmla="*/ 82261 w 1687454"/>
                  <a:gd name="connsiteY3375" fmla="*/ 745905 h 903637"/>
                  <a:gd name="connsiteX3376" fmla="*/ 76971 w 1687454"/>
                  <a:gd name="connsiteY3376" fmla="*/ 742466 h 903637"/>
                  <a:gd name="connsiteX3377" fmla="*/ 73709 w 1687454"/>
                  <a:gd name="connsiteY3377" fmla="*/ 742113 h 903637"/>
                  <a:gd name="connsiteX3378" fmla="*/ 71416 w 1687454"/>
                  <a:gd name="connsiteY3378" fmla="*/ 741584 h 903637"/>
                  <a:gd name="connsiteX3379" fmla="*/ 67890 w 1687454"/>
                  <a:gd name="connsiteY3379" fmla="*/ 739204 h 903637"/>
                  <a:gd name="connsiteX3380" fmla="*/ 66391 w 1687454"/>
                  <a:gd name="connsiteY3380" fmla="*/ 737705 h 903637"/>
                  <a:gd name="connsiteX3381" fmla="*/ 63746 w 1687454"/>
                  <a:gd name="connsiteY3381" fmla="*/ 736823 h 903637"/>
                  <a:gd name="connsiteX3382" fmla="*/ 62600 w 1687454"/>
                  <a:gd name="connsiteY3382" fmla="*/ 735060 h 903637"/>
                  <a:gd name="connsiteX3383" fmla="*/ 67272 w 1687454"/>
                  <a:gd name="connsiteY3383" fmla="*/ 732150 h 903637"/>
                  <a:gd name="connsiteX3384" fmla="*/ 68154 w 1687454"/>
                  <a:gd name="connsiteY3384" fmla="*/ 730387 h 903637"/>
                  <a:gd name="connsiteX3385" fmla="*/ 65685 w 1687454"/>
                  <a:gd name="connsiteY3385" fmla="*/ 730387 h 903637"/>
                  <a:gd name="connsiteX3386" fmla="*/ 63658 w 1687454"/>
                  <a:gd name="connsiteY3386" fmla="*/ 730651 h 903637"/>
                  <a:gd name="connsiteX3387" fmla="*/ 62511 w 1687454"/>
                  <a:gd name="connsiteY3387" fmla="*/ 729770 h 903637"/>
                  <a:gd name="connsiteX3388" fmla="*/ 58720 w 1687454"/>
                  <a:gd name="connsiteY3388" fmla="*/ 731798 h 903637"/>
                  <a:gd name="connsiteX3389" fmla="*/ 55811 w 1687454"/>
                  <a:gd name="connsiteY3389" fmla="*/ 728271 h 903637"/>
                  <a:gd name="connsiteX3390" fmla="*/ 54047 w 1687454"/>
                  <a:gd name="connsiteY3390" fmla="*/ 727654 h 903637"/>
                  <a:gd name="connsiteX3391" fmla="*/ 56957 w 1687454"/>
                  <a:gd name="connsiteY3391" fmla="*/ 726507 h 903637"/>
                  <a:gd name="connsiteX3392" fmla="*/ 58720 w 1687454"/>
                  <a:gd name="connsiteY3392" fmla="*/ 723862 h 903637"/>
                  <a:gd name="connsiteX3393" fmla="*/ 57574 w 1687454"/>
                  <a:gd name="connsiteY3393" fmla="*/ 723598 h 903637"/>
                  <a:gd name="connsiteX3394" fmla="*/ 54400 w 1687454"/>
                  <a:gd name="connsiteY3394" fmla="*/ 724215 h 903637"/>
                  <a:gd name="connsiteX3395" fmla="*/ 55546 w 1687454"/>
                  <a:gd name="connsiteY3395" fmla="*/ 719807 h 903637"/>
                  <a:gd name="connsiteX3396" fmla="*/ 50609 w 1687454"/>
                  <a:gd name="connsiteY3396" fmla="*/ 720953 h 903637"/>
                  <a:gd name="connsiteX3397" fmla="*/ 48845 w 1687454"/>
                  <a:gd name="connsiteY3397" fmla="*/ 719454 h 903637"/>
                  <a:gd name="connsiteX3398" fmla="*/ 46553 w 1687454"/>
                  <a:gd name="connsiteY3398" fmla="*/ 720953 h 903637"/>
                  <a:gd name="connsiteX3399" fmla="*/ 46553 w 1687454"/>
                  <a:gd name="connsiteY3399" fmla="*/ 719454 h 903637"/>
                  <a:gd name="connsiteX3400" fmla="*/ 49462 w 1687454"/>
                  <a:gd name="connsiteY3400" fmla="*/ 715398 h 903637"/>
                  <a:gd name="connsiteX3401" fmla="*/ 52107 w 1687454"/>
                  <a:gd name="connsiteY3401" fmla="*/ 714252 h 903637"/>
                  <a:gd name="connsiteX3402" fmla="*/ 52107 w 1687454"/>
                  <a:gd name="connsiteY3402" fmla="*/ 713370 h 903637"/>
                  <a:gd name="connsiteX3403" fmla="*/ 50609 w 1687454"/>
                  <a:gd name="connsiteY3403" fmla="*/ 712753 h 903637"/>
                  <a:gd name="connsiteX3404" fmla="*/ 52107 w 1687454"/>
                  <a:gd name="connsiteY3404" fmla="*/ 708962 h 903637"/>
                  <a:gd name="connsiteX3405" fmla="*/ 50344 w 1687454"/>
                  <a:gd name="connsiteY3405" fmla="*/ 708080 h 903637"/>
                  <a:gd name="connsiteX3406" fmla="*/ 45054 w 1687454"/>
                  <a:gd name="connsiteY3406" fmla="*/ 709227 h 903637"/>
                  <a:gd name="connsiteX3407" fmla="*/ 42409 w 1687454"/>
                  <a:gd name="connsiteY3407" fmla="*/ 708962 h 903637"/>
                  <a:gd name="connsiteX3408" fmla="*/ 41792 w 1687454"/>
                  <a:gd name="connsiteY3408" fmla="*/ 706670 h 903637"/>
                  <a:gd name="connsiteX3409" fmla="*/ 44437 w 1687454"/>
                  <a:gd name="connsiteY3409" fmla="*/ 705171 h 903637"/>
                  <a:gd name="connsiteX3410" fmla="*/ 45054 w 1687454"/>
                  <a:gd name="connsiteY3410" fmla="*/ 703672 h 903637"/>
                  <a:gd name="connsiteX3411" fmla="*/ 44437 w 1687454"/>
                  <a:gd name="connsiteY3411" fmla="*/ 703407 h 903637"/>
                  <a:gd name="connsiteX3412" fmla="*/ 39764 w 1687454"/>
                  <a:gd name="connsiteY3412" fmla="*/ 705171 h 903637"/>
                  <a:gd name="connsiteX3413" fmla="*/ 40028 w 1687454"/>
                  <a:gd name="connsiteY3413" fmla="*/ 702526 h 903637"/>
                  <a:gd name="connsiteX3414" fmla="*/ 37383 w 1687454"/>
                  <a:gd name="connsiteY3414" fmla="*/ 701909 h 903637"/>
                  <a:gd name="connsiteX3415" fmla="*/ 32975 w 1687454"/>
                  <a:gd name="connsiteY3415" fmla="*/ 703319 h 903637"/>
                  <a:gd name="connsiteX3416" fmla="*/ 32358 w 1687454"/>
                  <a:gd name="connsiteY3416" fmla="*/ 702438 h 903637"/>
                  <a:gd name="connsiteX3417" fmla="*/ 36149 w 1687454"/>
                  <a:gd name="connsiteY3417" fmla="*/ 700145 h 903637"/>
                  <a:gd name="connsiteX3418" fmla="*/ 36149 w 1687454"/>
                  <a:gd name="connsiteY3418" fmla="*/ 698382 h 903637"/>
                  <a:gd name="connsiteX3419" fmla="*/ 34386 w 1687454"/>
                  <a:gd name="connsiteY3419" fmla="*/ 697236 h 903637"/>
                  <a:gd name="connsiteX3420" fmla="*/ 36678 w 1687454"/>
                  <a:gd name="connsiteY3420" fmla="*/ 695208 h 903637"/>
                  <a:gd name="connsiteX3421" fmla="*/ 38441 w 1687454"/>
                  <a:gd name="connsiteY3421" fmla="*/ 694326 h 903637"/>
                  <a:gd name="connsiteX3422" fmla="*/ 38441 w 1687454"/>
                  <a:gd name="connsiteY3422" fmla="*/ 693709 h 903637"/>
                  <a:gd name="connsiteX3423" fmla="*/ 34650 w 1687454"/>
                  <a:gd name="connsiteY3423" fmla="*/ 694591 h 903637"/>
                  <a:gd name="connsiteX3424" fmla="*/ 33239 w 1687454"/>
                  <a:gd name="connsiteY3424" fmla="*/ 690535 h 903637"/>
                  <a:gd name="connsiteX3425" fmla="*/ 35885 w 1687454"/>
                  <a:gd name="connsiteY3425" fmla="*/ 688242 h 903637"/>
                  <a:gd name="connsiteX3426" fmla="*/ 33857 w 1687454"/>
                  <a:gd name="connsiteY3426" fmla="*/ 687096 h 903637"/>
                  <a:gd name="connsiteX3427" fmla="*/ 35885 w 1687454"/>
                  <a:gd name="connsiteY3427" fmla="*/ 685950 h 903637"/>
                  <a:gd name="connsiteX3428" fmla="*/ 39411 w 1687454"/>
                  <a:gd name="connsiteY3428" fmla="*/ 684804 h 903637"/>
                  <a:gd name="connsiteX3429" fmla="*/ 43467 w 1687454"/>
                  <a:gd name="connsiteY3429" fmla="*/ 684804 h 903637"/>
                  <a:gd name="connsiteX3430" fmla="*/ 50785 w 1687454"/>
                  <a:gd name="connsiteY3430" fmla="*/ 686567 h 903637"/>
                  <a:gd name="connsiteX3431" fmla="*/ 55458 w 1687454"/>
                  <a:gd name="connsiteY3431" fmla="*/ 691240 h 903637"/>
                  <a:gd name="connsiteX3432" fmla="*/ 62159 w 1687454"/>
                  <a:gd name="connsiteY3432" fmla="*/ 693003 h 903637"/>
                  <a:gd name="connsiteX3433" fmla="*/ 63305 w 1687454"/>
                  <a:gd name="connsiteY3433" fmla="*/ 693885 h 903637"/>
                  <a:gd name="connsiteX3434" fmla="*/ 72034 w 1687454"/>
                  <a:gd name="connsiteY3434" fmla="*/ 694502 h 903637"/>
                  <a:gd name="connsiteX3435" fmla="*/ 74414 w 1687454"/>
                  <a:gd name="connsiteY3435" fmla="*/ 696530 h 903637"/>
                  <a:gd name="connsiteX3436" fmla="*/ 81732 w 1687454"/>
                  <a:gd name="connsiteY3436" fmla="*/ 697412 h 903637"/>
                  <a:gd name="connsiteX3437" fmla="*/ 82349 w 1687454"/>
                  <a:gd name="connsiteY3437" fmla="*/ 699440 h 903637"/>
                  <a:gd name="connsiteX3438" fmla="*/ 80939 w 1687454"/>
                  <a:gd name="connsiteY3438" fmla="*/ 702349 h 903637"/>
                  <a:gd name="connsiteX3439" fmla="*/ 81203 w 1687454"/>
                  <a:gd name="connsiteY3439" fmla="*/ 708433 h 903637"/>
                  <a:gd name="connsiteX3440" fmla="*/ 82966 w 1687454"/>
                  <a:gd name="connsiteY3440" fmla="*/ 713106 h 903637"/>
                  <a:gd name="connsiteX3441" fmla="*/ 80939 w 1687454"/>
                  <a:gd name="connsiteY3441" fmla="*/ 714252 h 903637"/>
                  <a:gd name="connsiteX3442" fmla="*/ 81203 w 1687454"/>
                  <a:gd name="connsiteY3442" fmla="*/ 718308 h 903637"/>
                  <a:gd name="connsiteX3443" fmla="*/ 92841 w 1687454"/>
                  <a:gd name="connsiteY3443" fmla="*/ 724480 h 903637"/>
                  <a:gd name="connsiteX3444" fmla="*/ 93723 w 1687454"/>
                  <a:gd name="connsiteY3444" fmla="*/ 727654 h 903637"/>
                  <a:gd name="connsiteX3445" fmla="*/ 93106 w 1687454"/>
                  <a:gd name="connsiteY3445" fmla="*/ 731445 h 903637"/>
                  <a:gd name="connsiteX3446" fmla="*/ 93723 w 1687454"/>
                  <a:gd name="connsiteY3446" fmla="*/ 733737 h 903637"/>
                  <a:gd name="connsiteX3447" fmla="*/ 91960 w 1687454"/>
                  <a:gd name="connsiteY3447" fmla="*/ 737000 h 903637"/>
                  <a:gd name="connsiteX3448" fmla="*/ 92224 w 1687454"/>
                  <a:gd name="connsiteY3448" fmla="*/ 738498 h 903637"/>
                  <a:gd name="connsiteX3449" fmla="*/ 93988 w 1687454"/>
                  <a:gd name="connsiteY3449" fmla="*/ 737352 h 903637"/>
                  <a:gd name="connsiteX3450" fmla="*/ 93723 w 1687454"/>
                  <a:gd name="connsiteY3450" fmla="*/ 737088 h 903637"/>
                  <a:gd name="connsiteX3451" fmla="*/ 93106 w 1687454"/>
                  <a:gd name="connsiteY3451" fmla="*/ 737088 h 903637"/>
                  <a:gd name="connsiteX3452" fmla="*/ 93723 w 1687454"/>
                  <a:gd name="connsiteY3452" fmla="*/ 736206 h 903637"/>
                  <a:gd name="connsiteX3453" fmla="*/ 94869 w 1687454"/>
                  <a:gd name="connsiteY3453" fmla="*/ 735942 h 903637"/>
                  <a:gd name="connsiteX3454" fmla="*/ 94869 w 1687454"/>
                  <a:gd name="connsiteY3454" fmla="*/ 736559 h 903637"/>
                  <a:gd name="connsiteX3455" fmla="*/ 94869 w 1687454"/>
                  <a:gd name="connsiteY3455" fmla="*/ 737440 h 903637"/>
                  <a:gd name="connsiteX3456" fmla="*/ 93988 w 1687454"/>
                  <a:gd name="connsiteY3456" fmla="*/ 738058 h 903637"/>
                  <a:gd name="connsiteX3457" fmla="*/ 93988 w 1687454"/>
                  <a:gd name="connsiteY3457" fmla="*/ 739204 h 903637"/>
                  <a:gd name="connsiteX3458" fmla="*/ 94605 w 1687454"/>
                  <a:gd name="connsiteY3458" fmla="*/ 739204 h 903637"/>
                  <a:gd name="connsiteX3459" fmla="*/ 93723 w 1687454"/>
                  <a:gd name="connsiteY3459" fmla="*/ 741232 h 903637"/>
                  <a:gd name="connsiteX3460" fmla="*/ 94340 w 1687454"/>
                  <a:gd name="connsiteY3460" fmla="*/ 742113 h 903637"/>
                  <a:gd name="connsiteX3461" fmla="*/ 95222 w 1687454"/>
                  <a:gd name="connsiteY3461" fmla="*/ 742995 h 903637"/>
                  <a:gd name="connsiteX3462" fmla="*/ 93458 w 1687454"/>
                  <a:gd name="connsiteY3462" fmla="*/ 743877 h 903637"/>
                  <a:gd name="connsiteX3463" fmla="*/ 93458 w 1687454"/>
                  <a:gd name="connsiteY3463" fmla="*/ 744141 h 903637"/>
                  <a:gd name="connsiteX3464" fmla="*/ 91960 w 1687454"/>
                  <a:gd name="connsiteY3464" fmla="*/ 744758 h 903637"/>
                  <a:gd name="connsiteX3465" fmla="*/ 90461 w 1687454"/>
                  <a:gd name="connsiteY3465" fmla="*/ 744141 h 903637"/>
                  <a:gd name="connsiteX3466" fmla="*/ 89579 w 1687454"/>
                  <a:gd name="connsiteY3466" fmla="*/ 744494 h 903637"/>
                  <a:gd name="connsiteX3467" fmla="*/ 87199 w 1687454"/>
                  <a:gd name="connsiteY3467" fmla="*/ 746169 h 903637"/>
                  <a:gd name="connsiteX3468" fmla="*/ 1282850 w 1687454"/>
                  <a:gd name="connsiteY3468" fmla="*/ 763979 h 903637"/>
                  <a:gd name="connsiteX3469" fmla="*/ 1273239 w 1687454"/>
                  <a:gd name="connsiteY3469" fmla="*/ 769534 h 903637"/>
                  <a:gd name="connsiteX3470" fmla="*/ 1282850 w 1687454"/>
                  <a:gd name="connsiteY3470" fmla="*/ 763979 h 903637"/>
                  <a:gd name="connsiteX3471" fmla="*/ 1285760 w 1687454"/>
                  <a:gd name="connsiteY3471" fmla="*/ 763715 h 903637"/>
                  <a:gd name="connsiteX3472" fmla="*/ 1282850 w 1687454"/>
                  <a:gd name="connsiteY3472" fmla="*/ 763979 h 903637"/>
                  <a:gd name="connsiteX3473" fmla="*/ 1285495 w 1687454"/>
                  <a:gd name="connsiteY3473" fmla="*/ 764508 h 903637"/>
                  <a:gd name="connsiteX3474" fmla="*/ 1282233 w 1687454"/>
                  <a:gd name="connsiteY3474" fmla="*/ 766007 h 903637"/>
                  <a:gd name="connsiteX3475" fmla="*/ 1285760 w 1687454"/>
                  <a:gd name="connsiteY3475" fmla="*/ 764244 h 903637"/>
                  <a:gd name="connsiteX3476" fmla="*/ 1285495 w 1687454"/>
                  <a:gd name="connsiteY3476" fmla="*/ 764508 h 903637"/>
                  <a:gd name="connsiteX3477" fmla="*/ 1274650 w 1687454"/>
                  <a:gd name="connsiteY3477" fmla="*/ 773237 h 903637"/>
                  <a:gd name="connsiteX3478" fmla="*/ 1271741 w 1687454"/>
                  <a:gd name="connsiteY3478" fmla="*/ 774118 h 903637"/>
                  <a:gd name="connsiteX3479" fmla="*/ 1270595 w 1687454"/>
                  <a:gd name="connsiteY3479" fmla="*/ 774118 h 903637"/>
                  <a:gd name="connsiteX3480" fmla="*/ 1270330 w 1687454"/>
                  <a:gd name="connsiteY3480" fmla="*/ 773237 h 903637"/>
                  <a:gd name="connsiteX3481" fmla="*/ 1270595 w 1687454"/>
                  <a:gd name="connsiteY3481" fmla="*/ 774118 h 903637"/>
                  <a:gd name="connsiteX3482" fmla="*/ 1271741 w 1687454"/>
                  <a:gd name="connsiteY3482" fmla="*/ 774118 h 903637"/>
                  <a:gd name="connsiteX3483" fmla="*/ 1274650 w 1687454"/>
                  <a:gd name="connsiteY3483" fmla="*/ 773237 h 903637"/>
                  <a:gd name="connsiteX3484" fmla="*/ 1094963 w 1687454"/>
                  <a:gd name="connsiteY3484" fmla="*/ 781172 h 903637"/>
                  <a:gd name="connsiteX3485" fmla="*/ 1090026 w 1687454"/>
                  <a:gd name="connsiteY3485" fmla="*/ 782671 h 903637"/>
                  <a:gd name="connsiteX3486" fmla="*/ 1095580 w 1687454"/>
                  <a:gd name="connsiteY3486" fmla="*/ 779144 h 903637"/>
                  <a:gd name="connsiteX3487" fmla="*/ 1098225 w 1687454"/>
                  <a:gd name="connsiteY3487" fmla="*/ 778880 h 903637"/>
                  <a:gd name="connsiteX3488" fmla="*/ 1094963 w 1687454"/>
                  <a:gd name="connsiteY3488" fmla="*/ 781172 h 903637"/>
                  <a:gd name="connsiteX3489" fmla="*/ 832486 w 1687454"/>
                  <a:gd name="connsiteY3489" fmla="*/ 800128 h 903637"/>
                  <a:gd name="connsiteX3490" fmla="*/ 831604 w 1687454"/>
                  <a:gd name="connsiteY3490" fmla="*/ 800393 h 903637"/>
                  <a:gd name="connsiteX3491" fmla="*/ 830722 w 1687454"/>
                  <a:gd name="connsiteY3491" fmla="*/ 800128 h 903637"/>
                  <a:gd name="connsiteX3492" fmla="*/ 829841 w 1687454"/>
                  <a:gd name="connsiteY3492" fmla="*/ 798982 h 903637"/>
                  <a:gd name="connsiteX3493" fmla="*/ 829576 w 1687454"/>
                  <a:gd name="connsiteY3493" fmla="*/ 797836 h 903637"/>
                  <a:gd name="connsiteX3494" fmla="*/ 830194 w 1687454"/>
                  <a:gd name="connsiteY3494" fmla="*/ 796072 h 903637"/>
                  <a:gd name="connsiteX3495" fmla="*/ 830811 w 1687454"/>
                  <a:gd name="connsiteY3495" fmla="*/ 796690 h 903637"/>
                  <a:gd name="connsiteX3496" fmla="*/ 834337 w 1687454"/>
                  <a:gd name="connsiteY3496" fmla="*/ 796954 h 903637"/>
                  <a:gd name="connsiteX3497" fmla="*/ 834866 w 1687454"/>
                  <a:gd name="connsiteY3497" fmla="*/ 798982 h 903637"/>
                  <a:gd name="connsiteX3498" fmla="*/ 832838 w 1687454"/>
                  <a:gd name="connsiteY3498" fmla="*/ 799599 h 903637"/>
                  <a:gd name="connsiteX3499" fmla="*/ 832486 w 1687454"/>
                  <a:gd name="connsiteY3499" fmla="*/ 800128 h 903637"/>
                  <a:gd name="connsiteX3500" fmla="*/ 874189 w 1687454"/>
                  <a:gd name="connsiteY3500" fmla="*/ 808592 h 903637"/>
                  <a:gd name="connsiteX3501" fmla="*/ 870663 w 1687454"/>
                  <a:gd name="connsiteY3501" fmla="*/ 813001 h 903637"/>
                  <a:gd name="connsiteX3502" fmla="*/ 866871 w 1687454"/>
                  <a:gd name="connsiteY3502" fmla="*/ 815029 h 903637"/>
                  <a:gd name="connsiteX3503" fmla="*/ 863080 w 1687454"/>
                  <a:gd name="connsiteY3503" fmla="*/ 813001 h 903637"/>
                  <a:gd name="connsiteX3504" fmla="*/ 859024 w 1687454"/>
                  <a:gd name="connsiteY3504" fmla="*/ 812384 h 903637"/>
                  <a:gd name="connsiteX3505" fmla="*/ 857878 w 1687454"/>
                  <a:gd name="connsiteY3505" fmla="*/ 810620 h 903637"/>
                  <a:gd name="connsiteX3506" fmla="*/ 852059 w 1687454"/>
                  <a:gd name="connsiteY3506" fmla="*/ 809474 h 903637"/>
                  <a:gd name="connsiteX3507" fmla="*/ 850913 w 1687454"/>
                  <a:gd name="connsiteY3507" fmla="*/ 808328 h 903637"/>
                  <a:gd name="connsiteX3508" fmla="*/ 843331 w 1687454"/>
                  <a:gd name="connsiteY3508" fmla="*/ 806564 h 903637"/>
                  <a:gd name="connsiteX3509" fmla="*/ 843948 w 1687454"/>
                  <a:gd name="connsiteY3509" fmla="*/ 805066 h 903637"/>
                  <a:gd name="connsiteX3510" fmla="*/ 844565 w 1687454"/>
                  <a:gd name="connsiteY3510" fmla="*/ 804448 h 903637"/>
                  <a:gd name="connsiteX3511" fmla="*/ 848092 w 1687454"/>
                  <a:gd name="connsiteY3511" fmla="*/ 804713 h 903637"/>
                  <a:gd name="connsiteX3512" fmla="*/ 850737 w 1687454"/>
                  <a:gd name="connsiteY3512" fmla="*/ 804096 h 903637"/>
                  <a:gd name="connsiteX3513" fmla="*/ 852500 w 1687454"/>
                  <a:gd name="connsiteY3513" fmla="*/ 803214 h 903637"/>
                  <a:gd name="connsiteX3514" fmla="*/ 852236 w 1687454"/>
                  <a:gd name="connsiteY3514" fmla="*/ 803478 h 903637"/>
                  <a:gd name="connsiteX3515" fmla="*/ 851089 w 1687454"/>
                  <a:gd name="connsiteY3515" fmla="*/ 805242 h 903637"/>
                  <a:gd name="connsiteX3516" fmla="*/ 855762 w 1687454"/>
                  <a:gd name="connsiteY3516" fmla="*/ 807622 h 903637"/>
                  <a:gd name="connsiteX3517" fmla="*/ 856379 w 1687454"/>
                  <a:gd name="connsiteY3517" fmla="*/ 807358 h 903637"/>
                  <a:gd name="connsiteX3518" fmla="*/ 856115 w 1687454"/>
                  <a:gd name="connsiteY3518" fmla="*/ 805859 h 903637"/>
                  <a:gd name="connsiteX3519" fmla="*/ 859024 w 1687454"/>
                  <a:gd name="connsiteY3519" fmla="*/ 805595 h 903637"/>
                  <a:gd name="connsiteX3520" fmla="*/ 862199 w 1687454"/>
                  <a:gd name="connsiteY3520" fmla="*/ 803831 h 903637"/>
                  <a:gd name="connsiteX3521" fmla="*/ 864227 w 1687454"/>
                  <a:gd name="connsiteY3521" fmla="*/ 806476 h 903637"/>
                  <a:gd name="connsiteX3522" fmla="*/ 867489 w 1687454"/>
                  <a:gd name="connsiteY3522" fmla="*/ 804184 h 903637"/>
                  <a:gd name="connsiteX3523" fmla="*/ 869252 w 1687454"/>
                  <a:gd name="connsiteY3523" fmla="*/ 803567 h 903637"/>
                  <a:gd name="connsiteX3524" fmla="*/ 870398 w 1687454"/>
                  <a:gd name="connsiteY3524" fmla="*/ 804184 h 903637"/>
                  <a:gd name="connsiteX3525" fmla="*/ 869517 w 1687454"/>
                  <a:gd name="connsiteY3525" fmla="*/ 805947 h 903637"/>
                  <a:gd name="connsiteX3526" fmla="*/ 870134 w 1687454"/>
                  <a:gd name="connsiteY3526" fmla="*/ 807975 h 903637"/>
                  <a:gd name="connsiteX3527" fmla="*/ 870398 w 1687454"/>
                  <a:gd name="connsiteY3527" fmla="*/ 808857 h 903637"/>
                  <a:gd name="connsiteX3528" fmla="*/ 873043 w 1687454"/>
                  <a:gd name="connsiteY3528" fmla="*/ 805947 h 903637"/>
                  <a:gd name="connsiteX3529" fmla="*/ 874454 w 1687454"/>
                  <a:gd name="connsiteY3529" fmla="*/ 805683 h 903637"/>
                  <a:gd name="connsiteX3530" fmla="*/ 872426 w 1687454"/>
                  <a:gd name="connsiteY3530" fmla="*/ 807975 h 903637"/>
                  <a:gd name="connsiteX3531" fmla="*/ 874807 w 1687454"/>
                  <a:gd name="connsiteY3531" fmla="*/ 807975 h 903637"/>
                  <a:gd name="connsiteX3532" fmla="*/ 874189 w 1687454"/>
                  <a:gd name="connsiteY3532" fmla="*/ 808592 h 903637"/>
                  <a:gd name="connsiteX3533" fmla="*/ 1023811 w 1687454"/>
                  <a:gd name="connsiteY3533" fmla="*/ 817585 h 903637"/>
                  <a:gd name="connsiteX3534" fmla="*/ 1023547 w 1687454"/>
                  <a:gd name="connsiteY3534" fmla="*/ 818467 h 903637"/>
                  <a:gd name="connsiteX3535" fmla="*/ 1021783 w 1687454"/>
                  <a:gd name="connsiteY3535" fmla="*/ 818203 h 903637"/>
                  <a:gd name="connsiteX3536" fmla="*/ 1021166 w 1687454"/>
                  <a:gd name="connsiteY3536" fmla="*/ 817321 h 903637"/>
                  <a:gd name="connsiteX3537" fmla="*/ 1022665 w 1687454"/>
                  <a:gd name="connsiteY3537" fmla="*/ 817056 h 903637"/>
                  <a:gd name="connsiteX3538" fmla="*/ 1022048 w 1687454"/>
                  <a:gd name="connsiteY3538" fmla="*/ 816792 h 903637"/>
                  <a:gd name="connsiteX3539" fmla="*/ 1022048 w 1687454"/>
                  <a:gd name="connsiteY3539" fmla="*/ 816527 h 903637"/>
                  <a:gd name="connsiteX3540" fmla="*/ 1023194 w 1687454"/>
                  <a:gd name="connsiteY3540" fmla="*/ 815646 h 903637"/>
                  <a:gd name="connsiteX3541" fmla="*/ 1026104 w 1687454"/>
                  <a:gd name="connsiteY3541" fmla="*/ 815646 h 903637"/>
                  <a:gd name="connsiteX3542" fmla="*/ 1028749 w 1687454"/>
                  <a:gd name="connsiteY3542" fmla="*/ 814764 h 903637"/>
                  <a:gd name="connsiteX3543" fmla="*/ 1029630 w 1687454"/>
                  <a:gd name="connsiteY3543" fmla="*/ 813265 h 903637"/>
                  <a:gd name="connsiteX3544" fmla="*/ 1032540 w 1687454"/>
                  <a:gd name="connsiteY3544" fmla="*/ 810973 h 903637"/>
                  <a:gd name="connsiteX3545" fmla="*/ 1033686 w 1687454"/>
                  <a:gd name="connsiteY3545" fmla="*/ 810708 h 903637"/>
                  <a:gd name="connsiteX3546" fmla="*/ 1033157 w 1687454"/>
                  <a:gd name="connsiteY3546" fmla="*/ 812207 h 903637"/>
                  <a:gd name="connsiteX3547" fmla="*/ 1032011 w 1687454"/>
                  <a:gd name="connsiteY3547" fmla="*/ 813706 h 903637"/>
                  <a:gd name="connsiteX3548" fmla="*/ 1031129 w 1687454"/>
                  <a:gd name="connsiteY3548" fmla="*/ 814852 h 903637"/>
                  <a:gd name="connsiteX3549" fmla="*/ 1030865 w 1687454"/>
                  <a:gd name="connsiteY3549" fmla="*/ 815998 h 903637"/>
                  <a:gd name="connsiteX3550" fmla="*/ 1029718 w 1687454"/>
                  <a:gd name="connsiteY3550" fmla="*/ 816527 h 903637"/>
                  <a:gd name="connsiteX3551" fmla="*/ 1028837 w 1687454"/>
                  <a:gd name="connsiteY3551" fmla="*/ 818026 h 903637"/>
                  <a:gd name="connsiteX3552" fmla="*/ 1027955 w 1687454"/>
                  <a:gd name="connsiteY3552" fmla="*/ 818026 h 903637"/>
                  <a:gd name="connsiteX3553" fmla="*/ 1027338 w 1687454"/>
                  <a:gd name="connsiteY3553" fmla="*/ 817497 h 903637"/>
                  <a:gd name="connsiteX3554" fmla="*/ 1025310 w 1687454"/>
                  <a:gd name="connsiteY3554" fmla="*/ 817233 h 903637"/>
                  <a:gd name="connsiteX3555" fmla="*/ 1024428 w 1687454"/>
                  <a:gd name="connsiteY3555" fmla="*/ 817497 h 903637"/>
                  <a:gd name="connsiteX3556" fmla="*/ 1024076 w 1687454"/>
                  <a:gd name="connsiteY3556" fmla="*/ 817585 h 903637"/>
                  <a:gd name="connsiteX3557" fmla="*/ 1023811 w 1687454"/>
                  <a:gd name="connsiteY3557" fmla="*/ 817585 h 903637"/>
                  <a:gd name="connsiteX3558" fmla="*/ 1280469 w 1687454"/>
                  <a:gd name="connsiteY3558" fmla="*/ 814059 h 903637"/>
                  <a:gd name="connsiteX3559" fmla="*/ 1279852 w 1687454"/>
                  <a:gd name="connsiteY3559" fmla="*/ 814323 h 903637"/>
                  <a:gd name="connsiteX3560" fmla="*/ 1278706 w 1687454"/>
                  <a:gd name="connsiteY3560" fmla="*/ 813177 h 903637"/>
                  <a:gd name="connsiteX3561" fmla="*/ 1274650 w 1687454"/>
                  <a:gd name="connsiteY3561" fmla="*/ 812913 h 903637"/>
                  <a:gd name="connsiteX3562" fmla="*/ 1271741 w 1687454"/>
                  <a:gd name="connsiteY3562" fmla="*/ 814059 h 903637"/>
                  <a:gd name="connsiteX3563" fmla="*/ 1271476 w 1687454"/>
                  <a:gd name="connsiteY3563" fmla="*/ 813442 h 903637"/>
                  <a:gd name="connsiteX3564" fmla="*/ 1269977 w 1687454"/>
                  <a:gd name="connsiteY3564" fmla="*/ 813706 h 903637"/>
                  <a:gd name="connsiteX3565" fmla="*/ 1268831 w 1687454"/>
                  <a:gd name="connsiteY3565" fmla="*/ 814323 h 903637"/>
                  <a:gd name="connsiteX3566" fmla="*/ 1268214 w 1687454"/>
                  <a:gd name="connsiteY3566" fmla="*/ 813706 h 903637"/>
                  <a:gd name="connsiteX3567" fmla="*/ 1267949 w 1687454"/>
                  <a:gd name="connsiteY3567" fmla="*/ 812824 h 903637"/>
                  <a:gd name="connsiteX3568" fmla="*/ 1267068 w 1687454"/>
                  <a:gd name="connsiteY3568" fmla="*/ 811943 h 903637"/>
                  <a:gd name="connsiteX3569" fmla="*/ 1266451 w 1687454"/>
                  <a:gd name="connsiteY3569" fmla="*/ 810179 h 903637"/>
                  <a:gd name="connsiteX3570" fmla="*/ 1266715 w 1687454"/>
                  <a:gd name="connsiteY3570" fmla="*/ 807270 h 903637"/>
                  <a:gd name="connsiteX3571" fmla="*/ 1267068 w 1687454"/>
                  <a:gd name="connsiteY3571" fmla="*/ 806388 h 903637"/>
                  <a:gd name="connsiteX3572" fmla="*/ 1266451 w 1687454"/>
                  <a:gd name="connsiteY3572" fmla="*/ 805506 h 903637"/>
                  <a:gd name="connsiteX3573" fmla="*/ 1266715 w 1687454"/>
                  <a:gd name="connsiteY3573" fmla="*/ 802861 h 903637"/>
                  <a:gd name="connsiteX3574" fmla="*/ 1268743 w 1687454"/>
                  <a:gd name="connsiteY3574" fmla="*/ 801715 h 903637"/>
                  <a:gd name="connsiteX3575" fmla="*/ 1270242 w 1687454"/>
                  <a:gd name="connsiteY3575" fmla="*/ 799687 h 903637"/>
                  <a:gd name="connsiteX3576" fmla="*/ 1274033 w 1687454"/>
                  <a:gd name="connsiteY3576" fmla="*/ 796778 h 903637"/>
                  <a:gd name="connsiteX3577" fmla="*/ 1275796 w 1687454"/>
                  <a:gd name="connsiteY3577" fmla="*/ 795279 h 903637"/>
                  <a:gd name="connsiteX3578" fmla="*/ 1278441 w 1687454"/>
                  <a:gd name="connsiteY3578" fmla="*/ 792987 h 903637"/>
                  <a:gd name="connsiteX3579" fmla="*/ 1282233 w 1687454"/>
                  <a:gd name="connsiteY3579" fmla="*/ 788049 h 903637"/>
                  <a:gd name="connsiteX3580" fmla="*/ 1285142 w 1687454"/>
                  <a:gd name="connsiteY3580" fmla="*/ 784875 h 903637"/>
                  <a:gd name="connsiteX3581" fmla="*/ 1286553 w 1687454"/>
                  <a:gd name="connsiteY3581" fmla="*/ 783376 h 903637"/>
                  <a:gd name="connsiteX3582" fmla="*/ 1290344 w 1687454"/>
                  <a:gd name="connsiteY3582" fmla="*/ 781348 h 903637"/>
                  <a:gd name="connsiteX3583" fmla="*/ 1292108 w 1687454"/>
                  <a:gd name="connsiteY3583" fmla="*/ 779056 h 903637"/>
                  <a:gd name="connsiteX3584" fmla="*/ 1292989 w 1687454"/>
                  <a:gd name="connsiteY3584" fmla="*/ 778439 h 903637"/>
                  <a:gd name="connsiteX3585" fmla="*/ 1293606 w 1687454"/>
                  <a:gd name="connsiteY3585" fmla="*/ 778174 h 903637"/>
                  <a:gd name="connsiteX3586" fmla="*/ 1295370 w 1687454"/>
                  <a:gd name="connsiteY3586" fmla="*/ 779056 h 903637"/>
                  <a:gd name="connsiteX3587" fmla="*/ 1296869 w 1687454"/>
                  <a:gd name="connsiteY3587" fmla="*/ 778791 h 903637"/>
                  <a:gd name="connsiteX3588" fmla="*/ 1296516 w 1687454"/>
                  <a:gd name="connsiteY3588" fmla="*/ 779056 h 903637"/>
                  <a:gd name="connsiteX3589" fmla="*/ 1295370 w 1687454"/>
                  <a:gd name="connsiteY3589" fmla="*/ 781084 h 903637"/>
                  <a:gd name="connsiteX3590" fmla="*/ 1295634 w 1687454"/>
                  <a:gd name="connsiteY3590" fmla="*/ 782230 h 903637"/>
                  <a:gd name="connsiteX3591" fmla="*/ 1297133 w 1687454"/>
                  <a:gd name="connsiteY3591" fmla="*/ 783112 h 903637"/>
                  <a:gd name="connsiteX3592" fmla="*/ 1295987 w 1687454"/>
                  <a:gd name="connsiteY3592" fmla="*/ 786286 h 903637"/>
                  <a:gd name="connsiteX3593" fmla="*/ 1295105 w 1687454"/>
                  <a:gd name="connsiteY3593" fmla="*/ 787784 h 903637"/>
                  <a:gd name="connsiteX3594" fmla="*/ 1295370 w 1687454"/>
                  <a:gd name="connsiteY3594" fmla="*/ 788666 h 903637"/>
                  <a:gd name="connsiteX3595" fmla="*/ 1294488 w 1687454"/>
                  <a:gd name="connsiteY3595" fmla="*/ 790077 h 903637"/>
                  <a:gd name="connsiteX3596" fmla="*/ 1288933 w 1687454"/>
                  <a:gd name="connsiteY3596" fmla="*/ 795631 h 903637"/>
                  <a:gd name="connsiteX3597" fmla="*/ 1288669 w 1687454"/>
                  <a:gd name="connsiteY3597" fmla="*/ 796513 h 903637"/>
                  <a:gd name="connsiteX3598" fmla="*/ 1289551 w 1687454"/>
                  <a:gd name="connsiteY3598" fmla="*/ 796513 h 903637"/>
                  <a:gd name="connsiteX3599" fmla="*/ 1291050 w 1687454"/>
                  <a:gd name="connsiteY3599" fmla="*/ 795631 h 903637"/>
                  <a:gd name="connsiteX3600" fmla="*/ 1291931 w 1687454"/>
                  <a:gd name="connsiteY3600" fmla="*/ 795896 h 903637"/>
                  <a:gd name="connsiteX3601" fmla="*/ 1292813 w 1687454"/>
                  <a:gd name="connsiteY3601" fmla="*/ 795631 h 903637"/>
                  <a:gd name="connsiteX3602" fmla="*/ 1293959 w 1687454"/>
                  <a:gd name="connsiteY3602" fmla="*/ 795631 h 903637"/>
                  <a:gd name="connsiteX3603" fmla="*/ 1294224 w 1687454"/>
                  <a:gd name="connsiteY3603" fmla="*/ 796513 h 903637"/>
                  <a:gd name="connsiteX3604" fmla="*/ 1294224 w 1687454"/>
                  <a:gd name="connsiteY3604" fmla="*/ 796778 h 903637"/>
                  <a:gd name="connsiteX3605" fmla="*/ 1295105 w 1687454"/>
                  <a:gd name="connsiteY3605" fmla="*/ 797395 h 903637"/>
                  <a:gd name="connsiteX3606" fmla="*/ 1293342 w 1687454"/>
                  <a:gd name="connsiteY3606" fmla="*/ 799423 h 903637"/>
                  <a:gd name="connsiteX3607" fmla="*/ 1293959 w 1687454"/>
                  <a:gd name="connsiteY3607" fmla="*/ 799687 h 903637"/>
                  <a:gd name="connsiteX3608" fmla="*/ 1294576 w 1687454"/>
                  <a:gd name="connsiteY3608" fmla="*/ 799423 h 903637"/>
                  <a:gd name="connsiteX3609" fmla="*/ 1294841 w 1687454"/>
                  <a:gd name="connsiteY3609" fmla="*/ 798277 h 903637"/>
                  <a:gd name="connsiteX3610" fmla="*/ 1296340 w 1687454"/>
                  <a:gd name="connsiteY3610" fmla="*/ 797395 h 903637"/>
                  <a:gd name="connsiteX3611" fmla="*/ 1297221 w 1687454"/>
                  <a:gd name="connsiteY3611" fmla="*/ 797130 h 903637"/>
                  <a:gd name="connsiteX3612" fmla="*/ 1302159 w 1687454"/>
                  <a:gd name="connsiteY3612" fmla="*/ 799511 h 903637"/>
                  <a:gd name="connsiteX3613" fmla="*/ 1301542 w 1687454"/>
                  <a:gd name="connsiteY3613" fmla="*/ 801010 h 903637"/>
                  <a:gd name="connsiteX3614" fmla="*/ 1298897 w 1687454"/>
                  <a:gd name="connsiteY3614" fmla="*/ 802773 h 903637"/>
                  <a:gd name="connsiteX3615" fmla="*/ 1298544 w 1687454"/>
                  <a:gd name="connsiteY3615" fmla="*/ 802773 h 903637"/>
                  <a:gd name="connsiteX3616" fmla="*/ 1298279 w 1687454"/>
                  <a:gd name="connsiteY3616" fmla="*/ 803038 h 903637"/>
                  <a:gd name="connsiteX3617" fmla="*/ 1300043 w 1687454"/>
                  <a:gd name="connsiteY3617" fmla="*/ 803919 h 903637"/>
                  <a:gd name="connsiteX3618" fmla="*/ 1300924 w 1687454"/>
                  <a:gd name="connsiteY3618" fmla="*/ 805066 h 903637"/>
                  <a:gd name="connsiteX3619" fmla="*/ 1300307 w 1687454"/>
                  <a:gd name="connsiteY3619" fmla="*/ 805330 h 903637"/>
                  <a:gd name="connsiteX3620" fmla="*/ 1298897 w 1687454"/>
                  <a:gd name="connsiteY3620" fmla="*/ 805330 h 903637"/>
                  <a:gd name="connsiteX3621" fmla="*/ 1295987 w 1687454"/>
                  <a:gd name="connsiteY3621" fmla="*/ 806829 h 903637"/>
                  <a:gd name="connsiteX3622" fmla="*/ 1293606 w 1687454"/>
                  <a:gd name="connsiteY3622" fmla="*/ 806829 h 903637"/>
                  <a:gd name="connsiteX3623" fmla="*/ 1292989 w 1687454"/>
                  <a:gd name="connsiteY3623" fmla="*/ 807446 h 903637"/>
                  <a:gd name="connsiteX3624" fmla="*/ 1294135 w 1687454"/>
                  <a:gd name="connsiteY3624" fmla="*/ 807975 h 903637"/>
                  <a:gd name="connsiteX3625" fmla="*/ 1294135 w 1687454"/>
                  <a:gd name="connsiteY3625" fmla="*/ 808857 h 903637"/>
                  <a:gd name="connsiteX3626" fmla="*/ 1293518 w 1687454"/>
                  <a:gd name="connsiteY3626" fmla="*/ 809121 h 903637"/>
                  <a:gd name="connsiteX3627" fmla="*/ 1291490 w 1687454"/>
                  <a:gd name="connsiteY3627" fmla="*/ 809386 h 903637"/>
                  <a:gd name="connsiteX3628" fmla="*/ 1289991 w 1687454"/>
                  <a:gd name="connsiteY3628" fmla="*/ 810885 h 903637"/>
                  <a:gd name="connsiteX3629" fmla="*/ 1286465 w 1687454"/>
                  <a:gd name="connsiteY3629" fmla="*/ 812031 h 903637"/>
                  <a:gd name="connsiteX3630" fmla="*/ 1281792 w 1687454"/>
                  <a:gd name="connsiteY3630" fmla="*/ 813177 h 903637"/>
                  <a:gd name="connsiteX3631" fmla="*/ 1280469 w 1687454"/>
                  <a:gd name="connsiteY3631" fmla="*/ 814059 h 903637"/>
                  <a:gd name="connsiteX3632" fmla="*/ 1023194 w 1687454"/>
                  <a:gd name="connsiteY3632" fmla="*/ 817056 h 903637"/>
                  <a:gd name="connsiteX3633" fmla="*/ 1022930 w 1687454"/>
                  <a:gd name="connsiteY3633" fmla="*/ 816439 h 903637"/>
                  <a:gd name="connsiteX3634" fmla="*/ 1023811 w 1687454"/>
                  <a:gd name="connsiteY3634" fmla="*/ 816175 h 903637"/>
                  <a:gd name="connsiteX3635" fmla="*/ 1023194 w 1687454"/>
                  <a:gd name="connsiteY3635" fmla="*/ 817056 h 903637"/>
                  <a:gd name="connsiteX3636" fmla="*/ 1152713 w 1687454"/>
                  <a:gd name="connsiteY3636" fmla="*/ 836277 h 903637"/>
                  <a:gd name="connsiteX3637" fmla="*/ 1152096 w 1687454"/>
                  <a:gd name="connsiteY3637" fmla="*/ 836894 h 903637"/>
                  <a:gd name="connsiteX3638" fmla="*/ 1151832 w 1687454"/>
                  <a:gd name="connsiteY3638" fmla="*/ 836894 h 903637"/>
                  <a:gd name="connsiteX3639" fmla="*/ 1151567 w 1687454"/>
                  <a:gd name="connsiteY3639" fmla="*/ 836630 h 903637"/>
                  <a:gd name="connsiteX3640" fmla="*/ 1152713 w 1687454"/>
                  <a:gd name="connsiteY3640" fmla="*/ 835484 h 903637"/>
                  <a:gd name="connsiteX3641" fmla="*/ 1153860 w 1687454"/>
                  <a:gd name="connsiteY3641" fmla="*/ 833456 h 903637"/>
                  <a:gd name="connsiteX3642" fmla="*/ 1154477 w 1687454"/>
                  <a:gd name="connsiteY3642" fmla="*/ 832574 h 903637"/>
                  <a:gd name="connsiteX3643" fmla="*/ 1155358 w 1687454"/>
                  <a:gd name="connsiteY3643" fmla="*/ 832045 h 903637"/>
                  <a:gd name="connsiteX3644" fmla="*/ 1155976 w 1687454"/>
                  <a:gd name="connsiteY3644" fmla="*/ 832045 h 903637"/>
                  <a:gd name="connsiteX3645" fmla="*/ 1156240 w 1687454"/>
                  <a:gd name="connsiteY3645" fmla="*/ 832574 h 903637"/>
                  <a:gd name="connsiteX3646" fmla="*/ 1155358 w 1687454"/>
                  <a:gd name="connsiteY3646" fmla="*/ 834602 h 903637"/>
                  <a:gd name="connsiteX3647" fmla="*/ 1155358 w 1687454"/>
                  <a:gd name="connsiteY3647" fmla="*/ 835219 h 903637"/>
                  <a:gd name="connsiteX3648" fmla="*/ 1152978 w 1687454"/>
                  <a:gd name="connsiteY3648" fmla="*/ 836101 h 903637"/>
                  <a:gd name="connsiteX3649" fmla="*/ 1152713 w 1687454"/>
                  <a:gd name="connsiteY3649" fmla="*/ 836277 h 903637"/>
                  <a:gd name="connsiteX3650" fmla="*/ 1174579 w 1687454"/>
                  <a:gd name="connsiteY3650" fmla="*/ 864579 h 903637"/>
                  <a:gd name="connsiteX3651" fmla="*/ 1173697 w 1687454"/>
                  <a:gd name="connsiteY3651" fmla="*/ 864844 h 903637"/>
                  <a:gd name="connsiteX3652" fmla="*/ 1173080 w 1687454"/>
                  <a:gd name="connsiteY3652" fmla="*/ 864844 h 903637"/>
                  <a:gd name="connsiteX3653" fmla="*/ 1172463 w 1687454"/>
                  <a:gd name="connsiteY3653" fmla="*/ 863697 h 903637"/>
                  <a:gd name="connsiteX3654" fmla="*/ 1171317 w 1687454"/>
                  <a:gd name="connsiteY3654" fmla="*/ 863433 h 903637"/>
                  <a:gd name="connsiteX3655" fmla="*/ 1169554 w 1687454"/>
                  <a:gd name="connsiteY3655" fmla="*/ 864579 h 903637"/>
                  <a:gd name="connsiteX3656" fmla="*/ 1168672 w 1687454"/>
                  <a:gd name="connsiteY3656" fmla="*/ 864579 h 903637"/>
                  <a:gd name="connsiteX3657" fmla="*/ 1167790 w 1687454"/>
                  <a:gd name="connsiteY3657" fmla="*/ 862816 h 903637"/>
                  <a:gd name="connsiteX3658" fmla="*/ 1166291 w 1687454"/>
                  <a:gd name="connsiteY3658" fmla="*/ 863962 h 903637"/>
                  <a:gd name="connsiteX3659" fmla="*/ 1164528 w 1687454"/>
                  <a:gd name="connsiteY3659" fmla="*/ 864226 h 903637"/>
                  <a:gd name="connsiteX3660" fmla="*/ 1163999 w 1687454"/>
                  <a:gd name="connsiteY3660" fmla="*/ 863345 h 903637"/>
                  <a:gd name="connsiteX3661" fmla="*/ 1163734 w 1687454"/>
                  <a:gd name="connsiteY3661" fmla="*/ 861052 h 903637"/>
                  <a:gd name="connsiteX3662" fmla="*/ 1162853 w 1687454"/>
                  <a:gd name="connsiteY3662" fmla="*/ 860171 h 903637"/>
                  <a:gd name="connsiteX3663" fmla="*/ 1161971 w 1687454"/>
                  <a:gd name="connsiteY3663" fmla="*/ 859906 h 903637"/>
                  <a:gd name="connsiteX3664" fmla="*/ 1158444 w 1687454"/>
                  <a:gd name="connsiteY3664" fmla="*/ 859025 h 903637"/>
                  <a:gd name="connsiteX3665" fmla="*/ 1158180 w 1687454"/>
                  <a:gd name="connsiteY3665" fmla="*/ 857878 h 903637"/>
                  <a:gd name="connsiteX3666" fmla="*/ 1158180 w 1687454"/>
                  <a:gd name="connsiteY3666" fmla="*/ 856379 h 903637"/>
                  <a:gd name="connsiteX3667" fmla="*/ 1158180 w 1687454"/>
                  <a:gd name="connsiteY3667" fmla="*/ 855498 h 903637"/>
                  <a:gd name="connsiteX3668" fmla="*/ 1158444 w 1687454"/>
                  <a:gd name="connsiteY3668" fmla="*/ 854616 h 903637"/>
                  <a:gd name="connsiteX3669" fmla="*/ 1159591 w 1687454"/>
                  <a:gd name="connsiteY3669" fmla="*/ 852853 h 903637"/>
                  <a:gd name="connsiteX3670" fmla="*/ 1161001 w 1687454"/>
                  <a:gd name="connsiteY3670" fmla="*/ 852236 h 903637"/>
                  <a:gd name="connsiteX3671" fmla="*/ 1161354 w 1687454"/>
                  <a:gd name="connsiteY3671" fmla="*/ 849943 h 903637"/>
                  <a:gd name="connsiteX3672" fmla="*/ 1161354 w 1687454"/>
                  <a:gd name="connsiteY3672" fmla="*/ 850208 h 903637"/>
                  <a:gd name="connsiteX3673" fmla="*/ 1160472 w 1687454"/>
                  <a:gd name="connsiteY3673" fmla="*/ 848709 h 903637"/>
                  <a:gd name="connsiteX3674" fmla="*/ 1159855 w 1687454"/>
                  <a:gd name="connsiteY3674" fmla="*/ 848092 h 903637"/>
                  <a:gd name="connsiteX3675" fmla="*/ 1159238 w 1687454"/>
                  <a:gd name="connsiteY3675" fmla="*/ 847210 h 903637"/>
                  <a:gd name="connsiteX3676" fmla="*/ 1157827 w 1687454"/>
                  <a:gd name="connsiteY3676" fmla="*/ 846064 h 903637"/>
                  <a:gd name="connsiteX3677" fmla="*/ 1158092 w 1687454"/>
                  <a:gd name="connsiteY3677" fmla="*/ 845182 h 903637"/>
                  <a:gd name="connsiteX3678" fmla="*/ 1159238 w 1687454"/>
                  <a:gd name="connsiteY3678" fmla="*/ 844300 h 903637"/>
                  <a:gd name="connsiteX3679" fmla="*/ 1158973 w 1687454"/>
                  <a:gd name="connsiteY3679" fmla="*/ 844653 h 903637"/>
                  <a:gd name="connsiteX3680" fmla="*/ 1160737 w 1687454"/>
                  <a:gd name="connsiteY3680" fmla="*/ 843507 h 903637"/>
                  <a:gd name="connsiteX3681" fmla="*/ 1161001 w 1687454"/>
                  <a:gd name="connsiteY3681" fmla="*/ 841744 h 903637"/>
                  <a:gd name="connsiteX3682" fmla="*/ 1162765 w 1687454"/>
                  <a:gd name="connsiteY3682" fmla="*/ 842890 h 903637"/>
                  <a:gd name="connsiteX3683" fmla="*/ 1164528 w 1687454"/>
                  <a:gd name="connsiteY3683" fmla="*/ 842273 h 903637"/>
                  <a:gd name="connsiteX3684" fmla="*/ 1171581 w 1687454"/>
                  <a:gd name="connsiteY3684" fmla="*/ 839628 h 903637"/>
                  <a:gd name="connsiteX3685" fmla="*/ 1173874 w 1687454"/>
                  <a:gd name="connsiteY3685" fmla="*/ 838481 h 903637"/>
                  <a:gd name="connsiteX3686" fmla="*/ 1174138 w 1687454"/>
                  <a:gd name="connsiteY3686" fmla="*/ 838217 h 903637"/>
                  <a:gd name="connsiteX3687" fmla="*/ 1173874 w 1687454"/>
                  <a:gd name="connsiteY3687" fmla="*/ 838217 h 903637"/>
                  <a:gd name="connsiteX3688" fmla="*/ 1172992 w 1687454"/>
                  <a:gd name="connsiteY3688" fmla="*/ 837952 h 903637"/>
                  <a:gd name="connsiteX3689" fmla="*/ 1171846 w 1687454"/>
                  <a:gd name="connsiteY3689" fmla="*/ 838217 h 903637"/>
                  <a:gd name="connsiteX3690" fmla="*/ 1168672 w 1687454"/>
                  <a:gd name="connsiteY3690" fmla="*/ 838834 h 903637"/>
                  <a:gd name="connsiteX3691" fmla="*/ 1166379 w 1687454"/>
                  <a:gd name="connsiteY3691" fmla="*/ 840597 h 903637"/>
                  <a:gd name="connsiteX3692" fmla="*/ 1167261 w 1687454"/>
                  <a:gd name="connsiteY3692" fmla="*/ 838570 h 903637"/>
                  <a:gd name="connsiteX3693" fmla="*/ 1171934 w 1687454"/>
                  <a:gd name="connsiteY3693" fmla="*/ 837688 h 903637"/>
                  <a:gd name="connsiteX3694" fmla="*/ 1173433 w 1687454"/>
                  <a:gd name="connsiteY3694" fmla="*/ 836806 h 903637"/>
                  <a:gd name="connsiteX3695" fmla="*/ 1176343 w 1687454"/>
                  <a:gd name="connsiteY3695" fmla="*/ 835395 h 903637"/>
                  <a:gd name="connsiteX3696" fmla="*/ 1176607 w 1687454"/>
                  <a:gd name="connsiteY3696" fmla="*/ 835395 h 903637"/>
                  <a:gd name="connsiteX3697" fmla="*/ 1176607 w 1687454"/>
                  <a:gd name="connsiteY3697" fmla="*/ 836277 h 903637"/>
                  <a:gd name="connsiteX3698" fmla="*/ 1177224 w 1687454"/>
                  <a:gd name="connsiteY3698" fmla="*/ 836542 h 903637"/>
                  <a:gd name="connsiteX3699" fmla="*/ 1177489 w 1687454"/>
                  <a:gd name="connsiteY3699" fmla="*/ 837159 h 903637"/>
                  <a:gd name="connsiteX3700" fmla="*/ 1178106 w 1687454"/>
                  <a:gd name="connsiteY3700" fmla="*/ 837159 h 903637"/>
                  <a:gd name="connsiteX3701" fmla="*/ 1182426 w 1687454"/>
                  <a:gd name="connsiteY3701" fmla="*/ 834867 h 903637"/>
                  <a:gd name="connsiteX3702" fmla="*/ 1181809 w 1687454"/>
                  <a:gd name="connsiteY3702" fmla="*/ 834249 h 903637"/>
                  <a:gd name="connsiteX3703" fmla="*/ 1178899 w 1687454"/>
                  <a:gd name="connsiteY3703" fmla="*/ 835395 h 903637"/>
                  <a:gd name="connsiteX3704" fmla="*/ 1178018 w 1687454"/>
                  <a:gd name="connsiteY3704" fmla="*/ 835395 h 903637"/>
                  <a:gd name="connsiteX3705" fmla="*/ 1178018 w 1687454"/>
                  <a:gd name="connsiteY3705" fmla="*/ 835131 h 903637"/>
                  <a:gd name="connsiteX3706" fmla="*/ 1178018 w 1687454"/>
                  <a:gd name="connsiteY3706" fmla="*/ 834867 h 903637"/>
                  <a:gd name="connsiteX3707" fmla="*/ 1182955 w 1687454"/>
                  <a:gd name="connsiteY3707" fmla="*/ 832221 h 903637"/>
                  <a:gd name="connsiteX3708" fmla="*/ 1185336 w 1687454"/>
                  <a:gd name="connsiteY3708" fmla="*/ 830723 h 903637"/>
                  <a:gd name="connsiteX3709" fmla="*/ 1192654 w 1687454"/>
                  <a:gd name="connsiteY3709" fmla="*/ 827196 h 903637"/>
                  <a:gd name="connsiteX3710" fmla="*/ 1196180 w 1687454"/>
                  <a:gd name="connsiteY3710" fmla="*/ 824903 h 903637"/>
                  <a:gd name="connsiteX3711" fmla="*/ 1199090 w 1687454"/>
                  <a:gd name="connsiteY3711" fmla="*/ 823405 h 903637"/>
                  <a:gd name="connsiteX3712" fmla="*/ 1206408 w 1687454"/>
                  <a:gd name="connsiteY3712" fmla="*/ 821906 h 903637"/>
                  <a:gd name="connsiteX3713" fmla="*/ 1208171 w 1687454"/>
                  <a:gd name="connsiteY3713" fmla="*/ 820760 h 903637"/>
                  <a:gd name="connsiteX3714" fmla="*/ 1208436 w 1687454"/>
                  <a:gd name="connsiteY3714" fmla="*/ 820142 h 903637"/>
                  <a:gd name="connsiteX3715" fmla="*/ 1208171 w 1687454"/>
                  <a:gd name="connsiteY3715" fmla="*/ 819525 h 903637"/>
                  <a:gd name="connsiteX3716" fmla="*/ 1208436 w 1687454"/>
                  <a:gd name="connsiteY3716" fmla="*/ 819261 h 903637"/>
                  <a:gd name="connsiteX3717" fmla="*/ 1209935 w 1687454"/>
                  <a:gd name="connsiteY3717" fmla="*/ 819525 h 903637"/>
                  <a:gd name="connsiteX3718" fmla="*/ 1210552 w 1687454"/>
                  <a:gd name="connsiteY3718" fmla="*/ 819790 h 903637"/>
                  <a:gd name="connsiteX3719" fmla="*/ 1210287 w 1687454"/>
                  <a:gd name="connsiteY3719" fmla="*/ 820407 h 903637"/>
                  <a:gd name="connsiteX3720" fmla="*/ 1208524 w 1687454"/>
                  <a:gd name="connsiteY3720" fmla="*/ 822787 h 903637"/>
                  <a:gd name="connsiteX3721" fmla="*/ 1208524 w 1687454"/>
                  <a:gd name="connsiteY3721" fmla="*/ 823316 h 903637"/>
                  <a:gd name="connsiteX3722" fmla="*/ 1209406 w 1687454"/>
                  <a:gd name="connsiteY3722" fmla="*/ 824198 h 903637"/>
                  <a:gd name="connsiteX3723" fmla="*/ 1210552 w 1687454"/>
                  <a:gd name="connsiteY3723" fmla="*/ 824815 h 903637"/>
                  <a:gd name="connsiteX3724" fmla="*/ 1211434 w 1687454"/>
                  <a:gd name="connsiteY3724" fmla="*/ 824815 h 903637"/>
                  <a:gd name="connsiteX3725" fmla="*/ 1212580 w 1687454"/>
                  <a:gd name="connsiteY3725" fmla="*/ 822787 h 903637"/>
                  <a:gd name="connsiteX3726" fmla="*/ 1214343 w 1687454"/>
                  <a:gd name="connsiteY3726" fmla="*/ 821906 h 903637"/>
                  <a:gd name="connsiteX3727" fmla="*/ 1216635 w 1687454"/>
                  <a:gd name="connsiteY3727" fmla="*/ 821377 h 903637"/>
                  <a:gd name="connsiteX3728" fmla="*/ 1223072 w 1687454"/>
                  <a:gd name="connsiteY3728" fmla="*/ 819349 h 903637"/>
                  <a:gd name="connsiteX3729" fmla="*/ 1225452 w 1687454"/>
                  <a:gd name="connsiteY3729" fmla="*/ 819613 h 903637"/>
                  <a:gd name="connsiteX3730" fmla="*/ 1226334 w 1687454"/>
                  <a:gd name="connsiteY3730" fmla="*/ 819349 h 903637"/>
                  <a:gd name="connsiteX3731" fmla="*/ 1227480 w 1687454"/>
                  <a:gd name="connsiteY3731" fmla="*/ 819349 h 903637"/>
                  <a:gd name="connsiteX3732" fmla="*/ 1228362 w 1687454"/>
                  <a:gd name="connsiteY3732" fmla="*/ 818732 h 903637"/>
                  <a:gd name="connsiteX3733" fmla="*/ 1228362 w 1687454"/>
                  <a:gd name="connsiteY3733" fmla="*/ 818467 h 903637"/>
                  <a:gd name="connsiteX3734" fmla="*/ 1222190 w 1687454"/>
                  <a:gd name="connsiteY3734" fmla="*/ 817585 h 903637"/>
                  <a:gd name="connsiteX3735" fmla="*/ 1219280 w 1687454"/>
                  <a:gd name="connsiteY3735" fmla="*/ 818114 h 903637"/>
                  <a:gd name="connsiteX3736" fmla="*/ 1217253 w 1687454"/>
                  <a:gd name="connsiteY3736" fmla="*/ 817233 h 903637"/>
                  <a:gd name="connsiteX3737" fmla="*/ 1214343 w 1687454"/>
                  <a:gd name="connsiteY3737" fmla="*/ 817233 h 903637"/>
                  <a:gd name="connsiteX3738" fmla="*/ 1212844 w 1687454"/>
                  <a:gd name="connsiteY3738" fmla="*/ 817497 h 903637"/>
                  <a:gd name="connsiteX3739" fmla="*/ 1211081 w 1687454"/>
                  <a:gd name="connsiteY3739" fmla="*/ 818026 h 903637"/>
                  <a:gd name="connsiteX3740" fmla="*/ 1208788 w 1687454"/>
                  <a:gd name="connsiteY3740" fmla="*/ 818026 h 903637"/>
                  <a:gd name="connsiteX3741" fmla="*/ 1207907 w 1687454"/>
                  <a:gd name="connsiteY3741" fmla="*/ 817497 h 903637"/>
                  <a:gd name="connsiteX3742" fmla="*/ 1205614 w 1687454"/>
                  <a:gd name="connsiteY3742" fmla="*/ 817497 h 903637"/>
                  <a:gd name="connsiteX3743" fmla="*/ 1204116 w 1687454"/>
                  <a:gd name="connsiteY3743" fmla="*/ 818026 h 903637"/>
                  <a:gd name="connsiteX3744" fmla="*/ 1202352 w 1687454"/>
                  <a:gd name="connsiteY3744" fmla="*/ 819790 h 903637"/>
                  <a:gd name="connsiteX3745" fmla="*/ 1201206 w 1687454"/>
                  <a:gd name="connsiteY3745" fmla="*/ 819525 h 903637"/>
                  <a:gd name="connsiteX3746" fmla="*/ 1201559 w 1687454"/>
                  <a:gd name="connsiteY3746" fmla="*/ 818643 h 903637"/>
                  <a:gd name="connsiteX3747" fmla="*/ 1200060 w 1687454"/>
                  <a:gd name="connsiteY3747" fmla="*/ 818643 h 903637"/>
                  <a:gd name="connsiteX3748" fmla="*/ 1198914 w 1687454"/>
                  <a:gd name="connsiteY3748" fmla="*/ 818908 h 903637"/>
                  <a:gd name="connsiteX3749" fmla="*/ 1198297 w 1687454"/>
                  <a:gd name="connsiteY3749" fmla="*/ 818643 h 903637"/>
                  <a:gd name="connsiteX3750" fmla="*/ 1200060 w 1687454"/>
                  <a:gd name="connsiteY3750" fmla="*/ 816880 h 903637"/>
                  <a:gd name="connsiteX3751" fmla="*/ 1202705 w 1687454"/>
                  <a:gd name="connsiteY3751" fmla="*/ 815117 h 903637"/>
                  <a:gd name="connsiteX3752" fmla="*/ 1202705 w 1687454"/>
                  <a:gd name="connsiteY3752" fmla="*/ 814852 h 903637"/>
                  <a:gd name="connsiteX3753" fmla="*/ 1204204 w 1687454"/>
                  <a:gd name="connsiteY3753" fmla="*/ 814588 h 903637"/>
                  <a:gd name="connsiteX3754" fmla="*/ 1206849 w 1687454"/>
                  <a:gd name="connsiteY3754" fmla="*/ 812824 h 903637"/>
                  <a:gd name="connsiteX3755" fmla="*/ 1210376 w 1687454"/>
                  <a:gd name="connsiteY3755" fmla="*/ 810796 h 903637"/>
                  <a:gd name="connsiteX3756" fmla="*/ 1211874 w 1687454"/>
                  <a:gd name="connsiteY3756" fmla="*/ 809298 h 903637"/>
                  <a:gd name="connsiteX3757" fmla="*/ 1214519 w 1687454"/>
                  <a:gd name="connsiteY3757" fmla="*/ 807270 h 903637"/>
                  <a:gd name="connsiteX3758" fmla="*/ 1215666 w 1687454"/>
                  <a:gd name="connsiteY3758" fmla="*/ 807270 h 903637"/>
                  <a:gd name="connsiteX3759" fmla="*/ 1215930 w 1687454"/>
                  <a:gd name="connsiteY3759" fmla="*/ 807005 h 903637"/>
                  <a:gd name="connsiteX3760" fmla="*/ 1215930 w 1687454"/>
                  <a:gd name="connsiteY3760" fmla="*/ 806741 h 903637"/>
                  <a:gd name="connsiteX3761" fmla="*/ 1215930 w 1687454"/>
                  <a:gd name="connsiteY3761" fmla="*/ 806476 h 903637"/>
                  <a:gd name="connsiteX3762" fmla="*/ 1215313 w 1687454"/>
                  <a:gd name="connsiteY3762" fmla="*/ 806476 h 903637"/>
                  <a:gd name="connsiteX3763" fmla="*/ 1215048 w 1687454"/>
                  <a:gd name="connsiteY3763" fmla="*/ 806476 h 903637"/>
                  <a:gd name="connsiteX3764" fmla="*/ 1214784 w 1687454"/>
                  <a:gd name="connsiteY3764" fmla="*/ 806476 h 903637"/>
                  <a:gd name="connsiteX3765" fmla="*/ 1210376 w 1687454"/>
                  <a:gd name="connsiteY3765" fmla="*/ 809650 h 903637"/>
                  <a:gd name="connsiteX3766" fmla="*/ 1210376 w 1687454"/>
                  <a:gd name="connsiteY3766" fmla="*/ 809386 h 903637"/>
                  <a:gd name="connsiteX3767" fmla="*/ 1211257 w 1687454"/>
                  <a:gd name="connsiteY3767" fmla="*/ 808240 h 903637"/>
                  <a:gd name="connsiteX3768" fmla="*/ 1211522 w 1687454"/>
                  <a:gd name="connsiteY3768" fmla="*/ 807711 h 903637"/>
                  <a:gd name="connsiteX3769" fmla="*/ 1211522 w 1687454"/>
                  <a:gd name="connsiteY3769" fmla="*/ 807446 h 903637"/>
                  <a:gd name="connsiteX3770" fmla="*/ 1211257 w 1687454"/>
                  <a:gd name="connsiteY3770" fmla="*/ 807182 h 903637"/>
                  <a:gd name="connsiteX3771" fmla="*/ 1211257 w 1687454"/>
                  <a:gd name="connsiteY3771" fmla="*/ 806917 h 903637"/>
                  <a:gd name="connsiteX3772" fmla="*/ 1210111 w 1687454"/>
                  <a:gd name="connsiteY3772" fmla="*/ 807182 h 903637"/>
                  <a:gd name="connsiteX3773" fmla="*/ 1208348 w 1687454"/>
                  <a:gd name="connsiteY3773" fmla="*/ 808945 h 903637"/>
                  <a:gd name="connsiteX3774" fmla="*/ 1208083 w 1687454"/>
                  <a:gd name="connsiteY3774" fmla="*/ 809827 h 903637"/>
                  <a:gd name="connsiteX3775" fmla="*/ 1205174 w 1687454"/>
                  <a:gd name="connsiteY3775" fmla="*/ 812119 h 903637"/>
                  <a:gd name="connsiteX3776" fmla="*/ 1204909 w 1687454"/>
                  <a:gd name="connsiteY3776" fmla="*/ 812384 h 903637"/>
                  <a:gd name="connsiteX3777" fmla="*/ 1202881 w 1687454"/>
                  <a:gd name="connsiteY3777" fmla="*/ 812384 h 903637"/>
                  <a:gd name="connsiteX3778" fmla="*/ 1202264 w 1687454"/>
                  <a:gd name="connsiteY3778" fmla="*/ 812648 h 903637"/>
                  <a:gd name="connsiteX3779" fmla="*/ 1200765 w 1687454"/>
                  <a:gd name="connsiteY3779" fmla="*/ 813530 h 903637"/>
                  <a:gd name="connsiteX3780" fmla="*/ 1199883 w 1687454"/>
                  <a:gd name="connsiteY3780" fmla="*/ 813794 h 903637"/>
                  <a:gd name="connsiteX3781" fmla="*/ 1198120 w 1687454"/>
                  <a:gd name="connsiteY3781" fmla="*/ 814676 h 903637"/>
                  <a:gd name="connsiteX3782" fmla="*/ 1197503 w 1687454"/>
                  <a:gd name="connsiteY3782" fmla="*/ 814676 h 903637"/>
                  <a:gd name="connsiteX3783" fmla="*/ 1196621 w 1687454"/>
                  <a:gd name="connsiteY3783" fmla="*/ 814676 h 903637"/>
                  <a:gd name="connsiteX3784" fmla="*/ 1194858 w 1687454"/>
                  <a:gd name="connsiteY3784" fmla="*/ 815558 h 903637"/>
                  <a:gd name="connsiteX3785" fmla="*/ 1193712 w 1687454"/>
                  <a:gd name="connsiteY3785" fmla="*/ 816087 h 903637"/>
                  <a:gd name="connsiteX3786" fmla="*/ 1193447 w 1687454"/>
                  <a:gd name="connsiteY3786" fmla="*/ 816087 h 903637"/>
                  <a:gd name="connsiteX3787" fmla="*/ 1189920 w 1687454"/>
                  <a:gd name="connsiteY3787" fmla="*/ 817233 h 903637"/>
                  <a:gd name="connsiteX3788" fmla="*/ 1189303 w 1687454"/>
                  <a:gd name="connsiteY3788" fmla="*/ 818114 h 903637"/>
                  <a:gd name="connsiteX3789" fmla="*/ 1187540 w 1687454"/>
                  <a:gd name="connsiteY3789" fmla="*/ 818732 h 903637"/>
                  <a:gd name="connsiteX3790" fmla="*/ 1187275 w 1687454"/>
                  <a:gd name="connsiteY3790" fmla="*/ 819349 h 903637"/>
                  <a:gd name="connsiteX3791" fmla="*/ 1186658 w 1687454"/>
                  <a:gd name="connsiteY3791" fmla="*/ 819878 h 903637"/>
                  <a:gd name="connsiteX3792" fmla="*/ 1184630 w 1687454"/>
                  <a:gd name="connsiteY3792" fmla="*/ 820495 h 903637"/>
                  <a:gd name="connsiteX3793" fmla="*/ 1183484 w 1687454"/>
                  <a:gd name="connsiteY3793" fmla="*/ 820848 h 903637"/>
                  <a:gd name="connsiteX3794" fmla="*/ 1181985 w 1687454"/>
                  <a:gd name="connsiteY3794" fmla="*/ 821465 h 903637"/>
                  <a:gd name="connsiteX3795" fmla="*/ 1181104 w 1687454"/>
                  <a:gd name="connsiteY3795" fmla="*/ 821729 h 903637"/>
                  <a:gd name="connsiteX3796" fmla="*/ 1179076 w 1687454"/>
                  <a:gd name="connsiteY3796" fmla="*/ 822346 h 903637"/>
                  <a:gd name="connsiteX3797" fmla="*/ 1178194 w 1687454"/>
                  <a:gd name="connsiteY3797" fmla="*/ 822346 h 903637"/>
                  <a:gd name="connsiteX3798" fmla="*/ 1177312 w 1687454"/>
                  <a:gd name="connsiteY3798" fmla="*/ 822346 h 903637"/>
                  <a:gd name="connsiteX3799" fmla="*/ 1177048 w 1687454"/>
                  <a:gd name="connsiteY3799" fmla="*/ 822082 h 903637"/>
                  <a:gd name="connsiteX3800" fmla="*/ 1176783 w 1687454"/>
                  <a:gd name="connsiteY3800" fmla="*/ 821200 h 903637"/>
                  <a:gd name="connsiteX3801" fmla="*/ 1176519 w 1687454"/>
                  <a:gd name="connsiteY3801" fmla="*/ 820936 h 903637"/>
                  <a:gd name="connsiteX3802" fmla="*/ 1175020 w 1687454"/>
                  <a:gd name="connsiteY3802" fmla="*/ 822082 h 903637"/>
                  <a:gd name="connsiteX3803" fmla="*/ 1173874 w 1687454"/>
                  <a:gd name="connsiteY3803" fmla="*/ 822346 h 903637"/>
                  <a:gd name="connsiteX3804" fmla="*/ 1173874 w 1687454"/>
                  <a:gd name="connsiteY3804" fmla="*/ 822611 h 903637"/>
                  <a:gd name="connsiteX3805" fmla="*/ 1173257 w 1687454"/>
                  <a:gd name="connsiteY3805" fmla="*/ 823493 h 903637"/>
                  <a:gd name="connsiteX3806" fmla="*/ 1173257 w 1687454"/>
                  <a:gd name="connsiteY3806" fmla="*/ 823757 h 903637"/>
                  <a:gd name="connsiteX3807" fmla="*/ 1171493 w 1687454"/>
                  <a:gd name="connsiteY3807" fmla="*/ 824374 h 903637"/>
                  <a:gd name="connsiteX3808" fmla="*/ 1170612 w 1687454"/>
                  <a:gd name="connsiteY3808" fmla="*/ 824374 h 903637"/>
                  <a:gd name="connsiteX3809" fmla="*/ 1170083 w 1687454"/>
                  <a:gd name="connsiteY3809" fmla="*/ 824639 h 903637"/>
                  <a:gd name="connsiteX3810" fmla="*/ 1169465 w 1687454"/>
                  <a:gd name="connsiteY3810" fmla="*/ 824639 h 903637"/>
                  <a:gd name="connsiteX3811" fmla="*/ 1167702 w 1687454"/>
                  <a:gd name="connsiteY3811" fmla="*/ 825785 h 903637"/>
                  <a:gd name="connsiteX3812" fmla="*/ 1166556 w 1687454"/>
                  <a:gd name="connsiteY3812" fmla="*/ 826050 h 903637"/>
                  <a:gd name="connsiteX3813" fmla="*/ 1166556 w 1687454"/>
                  <a:gd name="connsiteY3813" fmla="*/ 825521 h 903637"/>
                  <a:gd name="connsiteX3814" fmla="*/ 1166820 w 1687454"/>
                  <a:gd name="connsiteY3814" fmla="*/ 824903 h 903637"/>
                  <a:gd name="connsiteX3815" fmla="*/ 1166820 w 1687454"/>
                  <a:gd name="connsiteY3815" fmla="*/ 824639 h 903637"/>
                  <a:gd name="connsiteX3816" fmla="*/ 1165939 w 1687454"/>
                  <a:gd name="connsiteY3816" fmla="*/ 824374 h 903637"/>
                  <a:gd name="connsiteX3817" fmla="*/ 1165939 w 1687454"/>
                  <a:gd name="connsiteY3817" fmla="*/ 824639 h 903637"/>
                  <a:gd name="connsiteX3818" fmla="*/ 1165057 w 1687454"/>
                  <a:gd name="connsiteY3818" fmla="*/ 825256 h 903637"/>
                  <a:gd name="connsiteX3819" fmla="*/ 1164175 w 1687454"/>
                  <a:gd name="connsiteY3819" fmla="*/ 825256 h 903637"/>
                  <a:gd name="connsiteX3820" fmla="*/ 1163029 w 1687454"/>
                  <a:gd name="connsiteY3820" fmla="*/ 825873 h 903637"/>
                  <a:gd name="connsiteX3821" fmla="*/ 1162412 w 1687454"/>
                  <a:gd name="connsiteY3821" fmla="*/ 826138 h 903637"/>
                  <a:gd name="connsiteX3822" fmla="*/ 1161001 w 1687454"/>
                  <a:gd name="connsiteY3822" fmla="*/ 826402 h 903637"/>
                  <a:gd name="connsiteX3823" fmla="*/ 1160120 w 1687454"/>
                  <a:gd name="connsiteY3823" fmla="*/ 826402 h 903637"/>
                  <a:gd name="connsiteX3824" fmla="*/ 1158973 w 1687454"/>
                  <a:gd name="connsiteY3824" fmla="*/ 826402 h 903637"/>
                  <a:gd name="connsiteX3825" fmla="*/ 1158356 w 1687454"/>
                  <a:gd name="connsiteY3825" fmla="*/ 826402 h 903637"/>
                  <a:gd name="connsiteX3826" fmla="*/ 1158092 w 1687454"/>
                  <a:gd name="connsiteY3826" fmla="*/ 826138 h 903637"/>
                  <a:gd name="connsiteX3827" fmla="*/ 1157827 w 1687454"/>
                  <a:gd name="connsiteY3827" fmla="*/ 825873 h 903637"/>
                  <a:gd name="connsiteX3828" fmla="*/ 1158444 w 1687454"/>
                  <a:gd name="connsiteY3828" fmla="*/ 824727 h 903637"/>
                  <a:gd name="connsiteX3829" fmla="*/ 1158444 w 1687454"/>
                  <a:gd name="connsiteY3829" fmla="*/ 824110 h 903637"/>
                  <a:gd name="connsiteX3830" fmla="*/ 1158180 w 1687454"/>
                  <a:gd name="connsiteY3830" fmla="*/ 823845 h 903637"/>
                  <a:gd name="connsiteX3831" fmla="*/ 1157298 w 1687454"/>
                  <a:gd name="connsiteY3831" fmla="*/ 823845 h 903637"/>
                  <a:gd name="connsiteX3832" fmla="*/ 1156417 w 1687454"/>
                  <a:gd name="connsiteY3832" fmla="*/ 824463 h 903637"/>
                  <a:gd name="connsiteX3833" fmla="*/ 1155535 w 1687454"/>
                  <a:gd name="connsiteY3833" fmla="*/ 825609 h 903637"/>
                  <a:gd name="connsiteX3834" fmla="*/ 1155535 w 1687454"/>
                  <a:gd name="connsiteY3834" fmla="*/ 825873 h 903637"/>
                  <a:gd name="connsiteX3835" fmla="*/ 1154036 w 1687454"/>
                  <a:gd name="connsiteY3835" fmla="*/ 824992 h 903637"/>
                  <a:gd name="connsiteX3836" fmla="*/ 1152008 w 1687454"/>
                  <a:gd name="connsiteY3836" fmla="*/ 827284 h 903637"/>
                  <a:gd name="connsiteX3837" fmla="*/ 1152008 w 1687454"/>
                  <a:gd name="connsiteY3837" fmla="*/ 831692 h 903637"/>
                  <a:gd name="connsiteX3838" fmla="*/ 1148481 w 1687454"/>
                  <a:gd name="connsiteY3838" fmla="*/ 822611 h 903637"/>
                  <a:gd name="connsiteX3839" fmla="*/ 1146453 w 1687454"/>
                  <a:gd name="connsiteY3839" fmla="*/ 824374 h 903637"/>
                  <a:gd name="connsiteX3840" fmla="*/ 1144955 w 1687454"/>
                  <a:gd name="connsiteY3840" fmla="*/ 820583 h 903637"/>
                  <a:gd name="connsiteX3841" fmla="*/ 1146982 w 1687454"/>
                  <a:gd name="connsiteY3841" fmla="*/ 818555 h 903637"/>
                  <a:gd name="connsiteX3842" fmla="*/ 1146365 w 1687454"/>
                  <a:gd name="connsiteY3842" fmla="*/ 815646 h 903637"/>
                  <a:gd name="connsiteX3843" fmla="*/ 1148393 w 1687454"/>
                  <a:gd name="connsiteY3843" fmla="*/ 815029 h 903637"/>
                  <a:gd name="connsiteX3844" fmla="*/ 1148393 w 1687454"/>
                  <a:gd name="connsiteY3844" fmla="*/ 813001 h 903637"/>
                  <a:gd name="connsiteX3845" fmla="*/ 1145219 w 1687454"/>
                  <a:gd name="connsiteY3845" fmla="*/ 812119 h 903637"/>
                  <a:gd name="connsiteX3846" fmla="*/ 1145219 w 1687454"/>
                  <a:gd name="connsiteY3846" fmla="*/ 812384 h 903637"/>
                  <a:gd name="connsiteX3847" fmla="*/ 1142310 w 1687454"/>
                  <a:gd name="connsiteY3847" fmla="*/ 810885 h 903637"/>
                  <a:gd name="connsiteX3848" fmla="*/ 1144955 w 1687454"/>
                  <a:gd name="connsiteY3848" fmla="*/ 805066 h 903637"/>
                  <a:gd name="connsiteX3849" fmla="*/ 1154565 w 1687454"/>
                  <a:gd name="connsiteY3849" fmla="*/ 778262 h 903637"/>
                  <a:gd name="connsiteX3850" fmla="*/ 1153683 w 1687454"/>
                  <a:gd name="connsiteY3850" fmla="*/ 776852 h 903637"/>
                  <a:gd name="connsiteX3851" fmla="*/ 1156593 w 1687454"/>
                  <a:gd name="connsiteY3851" fmla="*/ 777469 h 903637"/>
                  <a:gd name="connsiteX3852" fmla="*/ 1150774 w 1687454"/>
                  <a:gd name="connsiteY3852" fmla="*/ 770504 h 903637"/>
                  <a:gd name="connsiteX3853" fmla="*/ 1148393 w 1687454"/>
                  <a:gd name="connsiteY3853" fmla="*/ 770239 h 903637"/>
                  <a:gd name="connsiteX3854" fmla="*/ 1146894 w 1687454"/>
                  <a:gd name="connsiteY3854" fmla="*/ 772002 h 903637"/>
                  <a:gd name="connsiteX3855" fmla="*/ 1143103 w 1687454"/>
                  <a:gd name="connsiteY3855" fmla="*/ 772267 h 903637"/>
                  <a:gd name="connsiteX3856" fmla="*/ 1136138 w 1687454"/>
                  <a:gd name="connsiteY3856" fmla="*/ 774912 h 903637"/>
                  <a:gd name="connsiteX3857" fmla="*/ 1133493 w 1687454"/>
                  <a:gd name="connsiteY3857" fmla="*/ 773149 h 903637"/>
                  <a:gd name="connsiteX3858" fmla="*/ 1135256 w 1687454"/>
                  <a:gd name="connsiteY3858" fmla="*/ 768740 h 903637"/>
                  <a:gd name="connsiteX3859" fmla="*/ 1130848 w 1687454"/>
                  <a:gd name="connsiteY3859" fmla="*/ 769622 h 903637"/>
                  <a:gd name="connsiteX3860" fmla="*/ 1113655 w 1687454"/>
                  <a:gd name="connsiteY3860" fmla="*/ 782142 h 903637"/>
                  <a:gd name="connsiteX3861" fmla="*/ 1106954 w 1687454"/>
                  <a:gd name="connsiteY3861" fmla="*/ 793516 h 903637"/>
                  <a:gd name="connsiteX3862" fmla="*/ 1099989 w 1687454"/>
                  <a:gd name="connsiteY3862" fmla="*/ 799070 h 903637"/>
                  <a:gd name="connsiteX3863" fmla="*/ 1097961 w 1687454"/>
                  <a:gd name="connsiteY3863" fmla="*/ 804360 h 903637"/>
                  <a:gd name="connsiteX3864" fmla="*/ 1098842 w 1687454"/>
                  <a:gd name="connsiteY3864" fmla="*/ 804977 h 903637"/>
                  <a:gd name="connsiteX3865" fmla="*/ 1098225 w 1687454"/>
                  <a:gd name="connsiteY3865" fmla="*/ 806124 h 903637"/>
                  <a:gd name="connsiteX3866" fmla="*/ 1085705 w 1687454"/>
                  <a:gd name="connsiteY3866" fmla="*/ 815469 h 903637"/>
                  <a:gd name="connsiteX3867" fmla="*/ 1086852 w 1687454"/>
                  <a:gd name="connsiteY3867" fmla="*/ 818643 h 903637"/>
                  <a:gd name="connsiteX3868" fmla="*/ 1083678 w 1687454"/>
                  <a:gd name="connsiteY3868" fmla="*/ 817497 h 903637"/>
                  <a:gd name="connsiteX3869" fmla="*/ 1081033 w 1687454"/>
                  <a:gd name="connsiteY3869" fmla="*/ 822435 h 903637"/>
                  <a:gd name="connsiteX3870" fmla="*/ 1079886 w 1687454"/>
                  <a:gd name="connsiteY3870" fmla="*/ 821817 h 903637"/>
                  <a:gd name="connsiteX3871" fmla="*/ 1079622 w 1687454"/>
                  <a:gd name="connsiteY3871" fmla="*/ 819790 h 903637"/>
                  <a:gd name="connsiteX3872" fmla="*/ 1076712 w 1687454"/>
                  <a:gd name="connsiteY3872" fmla="*/ 820407 h 903637"/>
                  <a:gd name="connsiteX3873" fmla="*/ 1073186 w 1687454"/>
                  <a:gd name="connsiteY3873" fmla="*/ 821553 h 903637"/>
                  <a:gd name="connsiteX3874" fmla="*/ 1069394 w 1687454"/>
                  <a:gd name="connsiteY3874" fmla="*/ 822082 h 903637"/>
                  <a:gd name="connsiteX3875" fmla="*/ 1066485 w 1687454"/>
                  <a:gd name="connsiteY3875" fmla="*/ 827637 h 903637"/>
                  <a:gd name="connsiteX3876" fmla="*/ 1049821 w 1687454"/>
                  <a:gd name="connsiteY3876" fmla="*/ 827637 h 903637"/>
                  <a:gd name="connsiteX3877" fmla="*/ 1024164 w 1687454"/>
                  <a:gd name="connsiteY3877" fmla="*/ 827901 h 903637"/>
                  <a:gd name="connsiteX3878" fmla="*/ 1000799 w 1687454"/>
                  <a:gd name="connsiteY3878" fmla="*/ 827637 h 903637"/>
                  <a:gd name="connsiteX3879" fmla="*/ 1006089 w 1687454"/>
                  <a:gd name="connsiteY3879" fmla="*/ 826138 h 903637"/>
                  <a:gd name="connsiteX3880" fmla="*/ 1012526 w 1687454"/>
                  <a:gd name="connsiteY3880" fmla="*/ 824110 h 903637"/>
                  <a:gd name="connsiteX3881" fmla="*/ 1016052 w 1687454"/>
                  <a:gd name="connsiteY3881" fmla="*/ 822346 h 903637"/>
                  <a:gd name="connsiteX3882" fmla="*/ 1018697 w 1687454"/>
                  <a:gd name="connsiteY3882" fmla="*/ 822611 h 903637"/>
                  <a:gd name="connsiteX3883" fmla="*/ 1020725 w 1687454"/>
                  <a:gd name="connsiteY3883" fmla="*/ 820583 h 903637"/>
                  <a:gd name="connsiteX3884" fmla="*/ 1025134 w 1687454"/>
                  <a:gd name="connsiteY3884" fmla="*/ 818555 h 903637"/>
                  <a:gd name="connsiteX3885" fmla="*/ 1029189 w 1687454"/>
                  <a:gd name="connsiteY3885" fmla="*/ 818291 h 903637"/>
                  <a:gd name="connsiteX3886" fmla="*/ 1035009 w 1687454"/>
                  <a:gd name="connsiteY3886" fmla="*/ 810708 h 903637"/>
                  <a:gd name="connsiteX3887" fmla="*/ 1039417 w 1687454"/>
                  <a:gd name="connsiteY3887" fmla="*/ 807799 h 903637"/>
                  <a:gd name="connsiteX3888" fmla="*/ 1043825 w 1687454"/>
                  <a:gd name="connsiteY3888" fmla="*/ 802861 h 903637"/>
                  <a:gd name="connsiteX3889" fmla="*/ 1064280 w 1687454"/>
                  <a:gd name="connsiteY3889" fmla="*/ 793516 h 903637"/>
                  <a:gd name="connsiteX3890" fmla="*/ 1066308 w 1687454"/>
                  <a:gd name="connsiteY3890" fmla="*/ 791223 h 903637"/>
                  <a:gd name="connsiteX3891" fmla="*/ 1073891 w 1687454"/>
                  <a:gd name="connsiteY3891" fmla="*/ 788313 h 903637"/>
                  <a:gd name="connsiteX3892" fmla="*/ 1077418 w 1687454"/>
                  <a:gd name="connsiteY3892" fmla="*/ 788578 h 903637"/>
                  <a:gd name="connsiteX3893" fmla="*/ 1087645 w 1687454"/>
                  <a:gd name="connsiteY3893" fmla="*/ 785669 h 903637"/>
                  <a:gd name="connsiteX3894" fmla="*/ 1090026 w 1687454"/>
                  <a:gd name="connsiteY3894" fmla="*/ 783641 h 903637"/>
                  <a:gd name="connsiteX3895" fmla="*/ 1100782 w 1687454"/>
                  <a:gd name="connsiteY3895" fmla="*/ 780114 h 903637"/>
                  <a:gd name="connsiteX3896" fmla="*/ 1114184 w 1687454"/>
                  <a:gd name="connsiteY3896" fmla="*/ 770768 h 903637"/>
                  <a:gd name="connsiteX3897" fmla="*/ 1117358 w 1687454"/>
                  <a:gd name="connsiteY3897" fmla="*/ 767858 h 903637"/>
                  <a:gd name="connsiteX3898" fmla="*/ 1119650 w 1687454"/>
                  <a:gd name="connsiteY3898" fmla="*/ 766712 h 903637"/>
                  <a:gd name="connsiteX3899" fmla="*/ 1132523 w 1687454"/>
                  <a:gd name="connsiteY3899" fmla="*/ 755074 h 903637"/>
                  <a:gd name="connsiteX3900" fmla="*/ 1147423 w 1687454"/>
                  <a:gd name="connsiteY3900" fmla="*/ 746345 h 903637"/>
                  <a:gd name="connsiteX3901" fmla="*/ 1149804 w 1687454"/>
                  <a:gd name="connsiteY3901" fmla="*/ 745816 h 903637"/>
                  <a:gd name="connsiteX3902" fmla="*/ 1169906 w 1687454"/>
                  <a:gd name="connsiteY3902" fmla="*/ 736823 h 903637"/>
                  <a:gd name="connsiteX3903" fmla="*/ 1193183 w 1687454"/>
                  <a:gd name="connsiteY3903" fmla="*/ 729241 h 903637"/>
                  <a:gd name="connsiteX3904" fmla="*/ 1206584 w 1687454"/>
                  <a:gd name="connsiteY3904" fmla="*/ 725714 h 903637"/>
                  <a:gd name="connsiteX3905" fmla="*/ 1222895 w 1687454"/>
                  <a:gd name="connsiteY3905" fmla="*/ 724832 h 903637"/>
                  <a:gd name="connsiteX3906" fmla="*/ 1231095 w 1687454"/>
                  <a:gd name="connsiteY3906" fmla="*/ 725714 h 903637"/>
                  <a:gd name="connsiteX3907" fmla="*/ 1238413 w 1687454"/>
                  <a:gd name="connsiteY3907" fmla="*/ 729770 h 903637"/>
                  <a:gd name="connsiteX3908" fmla="*/ 1240705 w 1687454"/>
                  <a:gd name="connsiteY3908" fmla="*/ 733296 h 903637"/>
                  <a:gd name="connsiteX3909" fmla="*/ 1241323 w 1687454"/>
                  <a:gd name="connsiteY3909" fmla="*/ 734443 h 903637"/>
                  <a:gd name="connsiteX3910" fmla="*/ 1240176 w 1687454"/>
                  <a:gd name="connsiteY3910" fmla="*/ 735324 h 903637"/>
                  <a:gd name="connsiteX3911" fmla="*/ 1236385 w 1687454"/>
                  <a:gd name="connsiteY3911" fmla="*/ 734178 h 903637"/>
                  <a:gd name="connsiteX3912" fmla="*/ 1236121 w 1687454"/>
                  <a:gd name="connsiteY3912" fmla="*/ 735060 h 903637"/>
                  <a:gd name="connsiteX3913" fmla="*/ 1238766 w 1687454"/>
                  <a:gd name="connsiteY3913" fmla="*/ 737440 h 903637"/>
                  <a:gd name="connsiteX3914" fmla="*/ 1238766 w 1687454"/>
                  <a:gd name="connsiteY3914" fmla="*/ 739468 h 903637"/>
                  <a:gd name="connsiteX3915" fmla="*/ 1237620 w 1687454"/>
                  <a:gd name="connsiteY3915" fmla="*/ 740614 h 903637"/>
                  <a:gd name="connsiteX3916" fmla="*/ 1237267 w 1687454"/>
                  <a:gd name="connsiteY3916" fmla="*/ 742642 h 903637"/>
                  <a:gd name="connsiteX3917" fmla="*/ 1235503 w 1687454"/>
                  <a:gd name="connsiteY3917" fmla="*/ 744406 h 903637"/>
                  <a:gd name="connsiteX3918" fmla="*/ 1230213 w 1687454"/>
                  <a:gd name="connsiteY3918" fmla="*/ 745905 h 903637"/>
                  <a:gd name="connsiteX3919" fmla="*/ 1224130 w 1687454"/>
                  <a:gd name="connsiteY3919" fmla="*/ 749960 h 903637"/>
                  <a:gd name="connsiteX3920" fmla="*/ 1212756 w 1687454"/>
                  <a:gd name="connsiteY3920" fmla="*/ 754633 h 903637"/>
                  <a:gd name="connsiteX3921" fmla="*/ 1203410 w 1687454"/>
                  <a:gd name="connsiteY3921" fmla="*/ 752253 h 903637"/>
                  <a:gd name="connsiteX3922" fmla="*/ 1202529 w 1687454"/>
                  <a:gd name="connsiteY3922" fmla="*/ 749872 h 903637"/>
                  <a:gd name="connsiteX3923" fmla="*/ 1199354 w 1687454"/>
                  <a:gd name="connsiteY3923" fmla="*/ 752253 h 903637"/>
                  <a:gd name="connsiteX3924" fmla="*/ 1190890 w 1687454"/>
                  <a:gd name="connsiteY3924" fmla="*/ 752253 h 903637"/>
                  <a:gd name="connsiteX3925" fmla="*/ 1186217 w 1687454"/>
                  <a:gd name="connsiteY3925" fmla="*/ 754633 h 903637"/>
                  <a:gd name="connsiteX3926" fmla="*/ 1188245 w 1687454"/>
                  <a:gd name="connsiteY3926" fmla="*/ 754281 h 903637"/>
                  <a:gd name="connsiteX3927" fmla="*/ 1191772 w 1687454"/>
                  <a:gd name="connsiteY3927" fmla="*/ 753134 h 903637"/>
                  <a:gd name="connsiteX3928" fmla="*/ 1192301 w 1687454"/>
                  <a:gd name="connsiteY3928" fmla="*/ 752870 h 903637"/>
                  <a:gd name="connsiteX3929" fmla="*/ 1192918 w 1687454"/>
                  <a:gd name="connsiteY3929" fmla="*/ 753134 h 903637"/>
                  <a:gd name="connsiteX3930" fmla="*/ 1193183 w 1687454"/>
                  <a:gd name="connsiteY3930" fmla="*/ 753399 h 903637"/>
                  <a:gd name="connsiteX3931" fmla="*/ 1192918 w 1687454"/>
                  <a:gd name="connsiteY3931" fmla="*/ 753663 h 903637"/>
                  <a:gd name="connsiteX3932" fmla="*/ 1193183 w 1687454"/>
                  <a:gd name="connsiteY3932" fmla="*/ 754810 h 903637"/>
                  <a:gd name="connsiteX3933" fmla="*/ 1194064 w 1687454"/>
                  <a:gd name="connsiteY3933" fmla="*/ 754810 h 903637"/>
                  <a:gd name="connsiteX3934" fmla="*/ 1194593 w 1687454"/>
                  <a:gd name="connsiteY3934" fmla="*/ 754810 h 903637"/>
                  <a:gd name="connsiteX3935" fmla="*/ 1195475 w 1687454"/>
                  <a:gd name="connsiteY3935" fmla="*/ 755427 h 903637"/>
                  <a:gd name="connsiteX3936" fmla="*/ 1196092 w 1687454"/>
                  <a:gd name="connsiteY3936" fmla="*/ 755427 h 903637"/>
                  <a:gd name="connsiteX3937" fmla="*/ 1196974 w 1687454"/>
                  <a:gd name="connsiteY3937" fmla="*/ 755691 h 903637"/>
                  <a:gd name="connsiteX3938" fmla="*/ 1197591 w 1687454"/>
                  <a:gd name="connsiteY3938" fmla="*/ 756308 h 903637"/>
                  <a:gd name="connsiteX3939" fmla="*/ 1198737 w 1687454"/>
                  <a:gd name="connsiteY3939" fmla="*/ 756661 h 903637"/>
                  <a:gd name="connsiteX3940" fmla="*/ 1201647 w 1687454"/>
                  <a:gd name="connsiteY3940" fmla="*/ 756661 h 903637"/>
                  <a:gd name="connsiteX3941" fmla="*/ 1202529 w 1687454"/>
                  <a:gd name="connsiteY3941" fmla="*/ 757190 h 903637"/>
                  <a:gd name="connsiteX3942" fmla="*/ 1203146 w 1687454"/>
                  <a:gd name="connsiteY3942" fmla="*/ 758072 h 903637"/>
                  <a:gd name="connsiteX3943" fmla="*/ 1203146 w 1687454"/>
                  <a:gd name="connsiteY3943" fmla="*/ 759218 h 903637"/>
                  <a:gd name="connsiteX3944" fmla="*/ 1203146 w 1687454"/>
                  <a:gd name="connsiteY3944" fmla="*/ 759483 h 903637"/>
                  <a:gd name="connsiteX3945" fmla="*/ 1202881 w 1687454"/>
                  <a:gd name="connsiteY3945" fmla="*/ 760100 h 903637"/>
                  <a:gd name="connsiteX3946" fmla="*/ 1202881 w 1687454"/>
                  <a:gd name="connsiteY3946" fmla="*/ 760717 h 903637"/>
                  <a:gd name="connsiteX3947" fmla="*/ 1203146 w 1687454"/>
                  <a:gd name="connsiteY3947" fmla="*/ 762128 h 903637"/>
                  <a:gd name="connsiteX3948" fmla="*/ 1204027 w 1687454"/>
                  <a:gd name="connsiteY3948" fmla="*/ 762745 h 903637"/>
                  <a:gd name="connsiteX3949" fmla="*/ 1204292 w 1687454"/>
                  <a:gd name="connsiteY3949" fmla="*/ 763009 h 903637"/>
                  <a:gd name="connsiteX3950" fmla="*/ 1205174 w 1687454"/>
                  <a:gd name="connsiteY3950" fmla="*/ 762745 h 903637"/>
                  <a:gd name="connsiteX3951" fmla="*/ 1205438 w 1687454"/>
                  <a:gd name="connsiteY3951" fmla="*/ 762745 h 903637"/>
                  <a:gd name="connsiteX3952" fmla="*/ 1206849 w 1687454"/>
                  <a:gd name="connsiteY3952" fmla="*/ 762128 h 903637"/>
                  <a:gd name="connsiteX3953" fmla="*/ 1207995 w 1687454"/>
                  <a:gd name="connsiteY3953" fmla="*/ 761863 h 903637"/>
                  <a:gd name="connsiteX3954" fmla="*/ 1209494 w 1687454"/>
                  <a:gd name="connsiteY3954" fmla="*/ 760717 h 903637"/>
                  <a:gd name="connsiteX3955" fmla="*/ 1210640 w 1687454"/>
                  <a:gd name="connsiteY3955" fmla="*/ 760364 h 903637"/>
                  <a:gd name="connsiteX3956" fmla="*/ 1210905 w 1687454"/>
                  <a:gd name="connsiteY3956" fmla="*/ 760364 h 903637"/>
                  <a:gd name="connsiteX3957" fmla="*/ 1212668 w 1687454"/>
                  <a:gd name="connsiteY3957" fmla="*/ 759483 h 903637"/>
                  <a:gd name="connsiteX3958" fmla="*/ 1215313 w 1687454"/>
                  <a:gd name="connsiteY3958" fmla="*/ 758865 h 903637"/>
                  <a:gd name="connsiteX3959" fmla="*/ 1217694 w 1687454"/>
                  <a:gd name="connsiteY3959" fmla="*/ 758601 h 903637"/>
                  <a:gd name="connsiteX3960" fmla="*/ 1216547 w 1687454"/>
                  <a:gd name="connsiteY3960" fmla="*/ 759483 h 903637"/>
                  <a:gd name="connsiteX3961" fmla="*/ 1215666 w 1687454"/>
                  <a:gd name="connsiteY3961" fmla="*/ 759483 h 903637"/>
                  <a:gd name="connsiteX3962" fmla="*/ 1215930 w 1687454"/>
                  <a:gd name="connsiteY3962" fmla="*/ 760100 h 903637"/>
                  <a:gd name="connsiteX3963" fmla="*/ 1216547 w 1687454"/>
                  <a:gd name="connsiteY3963" fmla="*/ 760100 h 903637"/>
                  <a:gd name="connsiteX3964" fmla="*/ 1218575 w 1687454"/>
                  <a:gd name="connsiteY3964" fmla="*/ 759483 h 903637"/>
                  <a:gd name="connsiteX3965" fmla="*/ 1219721 w 1687454"/>
                  <a:gd name="connsiteY3965" fmla="*/ 759483 h 903637"/>
                  <a:gd name="connsiteX3966" fmla="*/ 1220691 w 1687454"/>
                  <a:gd name="connsiteY3966" fmla="*/ 759483 h 903637"/>
                  <a:gd name="connsiteX3967" fmla="*/ 1220691 w 1687454"/>
                  <a:gd name="connsiteY3967" fmla="*/ 759747 h 903637"/>
                  <a:gd name="connsiteX3968" fmla="*/ 1221573 w 1687454"/>
                  <a:gd name="connsiteY3968" fmla="*/ 760276 h 903637"/>
                  <a:gd name="connsiteX3969" fmla="*/ 1222719 w 1687454"/>
                  <a:gd name="connsiteY3969" fmla="*/ 760893 h 903637"/>
                  <a:gd name="connsiteX3970" fmla="*/ 1222455 w 1687454"/>
                  <a:gd name="connsiteY3970" fmla="*/ 760893 h 903637"/>
                  <a:gd name="connsiteX3971" fmla="*/ 1221573 w 1687454"/>
                  <a:gd name="connsiteY3971" fmla="*/ 762039 h 903637"/>
                  <a:gd name="connsiteX3972" fmla="*/ 1221308 w 1687454"/>
                  <a:gd name="connsiteY3972" fmla="*/ 762039 h 903637"/>
                  <a:gd name="connsiteX3973" fmla="*/ 1219280 w 1687454"/>
                  <a:gd name="connsiteY3973" fmla="*/ 763803 h 903637"/>
                  <a:gd name="connsiteX3974" fmla="*/ 1218134 w 1687454"/>
                  <a:gd name="connsiteY3974" fmla="*/ 764684 h 903637"/>
                  <a:gd name="connsiteX3975" fmla="*/ 1217870 w 1687454"/>
                  <a:gd name="connsiteY3975" fmla="*/ 765302 h 903637"/>
                  <a:gd name="connsiteX3976" fmla="*/ 1217605 w 1687454"/>
                  <a:gd name="connsiteY3976" fmla="*/ 765566 h 903637"/>
                  <a:gd name="connsiteX3977" fmla="*/ 1217341 w 1687454"/>
                  <a:gd name="connsiteY3977" fmla="*/ 766183 h 903637"/>
                  <a:gd name="connsiteX3978" fmla="*/ 1216459 w 1687454"/>
                  <a:gd name="connsiteY3978" fmla="*/ 768211 h 903637"/>
                  <a:gd name="connsiteX3979" fmla="*/ 1215577 w 1687454"/>
                  <a:gd name="connsiteY3979" fmla="*/ 769710 h 903637"/>
                  <a:gd name="connsiteX3980" fmla="*/ 1214696 w 1687454"/>
                  <a:gd name="connsiteY3980" fmla="*/ 770327 h 903637"/>
                  <a:gd name="connsiteX3981" fmla="*/ 1213814 w 1687454"/>
                  <a:gd name="connsiteY3981" fmla="*/ 770944 h 903637"/>
                  <a:gd name="connsiteX3982" fmla="*/ 1213814 w 1687454"/>
                  <a:gd name="connsiteY3982" fmla="*/ 771473 h 903637"/>
                  <a:gd name="connsiteX3983" fmla="*/ 1213550 w 1687454"/>
                  <a:gd name="connsiteY3983" fmla="*/ 772091 h 903637"/>
                  <a:gd name="connsiteX3984" fmla="*/ 1212668 w 1687454"/>
                  <a:gd name="connsiteY3984" fmla="*/ 772355 h 903637"/>
                  <a:gd name="connsiteX3985" fmla="*/ 1211169 w 1687454"/>
                  <a:gd name="connsiteY3985" fmla="*/ 773237 h 903637"/>
                  <a:gd name="connsiteX3986" fmla="*/ 1208877 w 1687454"/>
                  <a:gd name="connsiteY3986" fmla="*/ 775000 h 903637"/>
                  <a:gd name="connsiteX3987" fmla="*/ 1206496 w 1687454"/>
                  <a:gd name="connsiteY3987" fmla="*/ 776146 h 903637"/>
                  <a:gd name="connsiteX3988" fmla="*/ 1205614 w 1687454"/>
                  <a:gd name="connsiteY3988" fmla="*/ 776411 h 903637"/>
                  <a:gd name="connsiteX3989" fmla="*/ 1204997 w 1687454"/>
                  <a:gd name="connsiteY3989" fmla="*/ 777028 h 903637"/>
                  <a:gd name="connsiteX3990" fmla="*/ 1204733 w 1687454"/>
                  <a:gd name="connsiteY3990" fmla="*/ 777292 h 903637"/>
                  <a:gd name="connsiteX3991" fmla="*/ 1205350 w 1687454"/>
                  <a:gd name="connsiteY3991" fmla="*/ 777292 h 903637"/>
                  <a:gd name="connsiteX3992" fmla="*/ 1206761 w 1687454"/>
                  <a:gd name="connsiteY3992" fmla="*/ 777292 h 903637"/>
                  <a:gd name="connsiteX3993" fmla="*/ 1206761 w 1687454"/>
                  <a:gd name="connsiteY3993" fmla="*/ 777557 h 903637"/>
                  <a:gd name="connsiteX3994" fmla="*/ 1207907 w 1687454"/>
                  <a:gd name="connsiteY3994" fmla="*/ 777822 h 903637"/>
                  <a:gd name="connsiteX3995" fmla="*/ 1208524 w 1687454"/>
                  <a:gd name="connsiteY3995" fmla="*/ 777822 h 903637"/>
                  <a:gd name="connsiteX3996" fmla="*/ 1209141 w 1687454"/>
                  <a:gd name="connsiteY3996" fmla="*/ 777204 h 903637"/>
                  <a:gd name="connsiteX3997" fmla="*/ 1209758 w 1687454"/>
                  <a:gd name="connsiteY3997" fmla="*/ 777204 h 903637"/>
                  <a:gd name="connsiteX3998" fmla="*/ 1210640 w 1687454"/>
                  <a:gd name="connsiteY3998" fmla="*/ 776940 h 903637"/>
                  <a:gd name="connsiteX3999" fmla="*/ 1213814 w 1687454"/>
                  <a:gd name="connsiteY3999" fmla="*/ 776940 h 903637"/>
                  <a:gd name="connsiteX4000" fmla="*/ 1214960 w 1687454"/>
                  <a:gd name="connsiteY4000" fmla="*/ 777204 h 903637"/>
                  <a:gd name="connsiteX4001" fmla="*/ 1214079 w 1687454"/>
                  <a:gd name="connsiteY4001" fmla="*/ 779849 h 903637"/>
                  <a:gd name="connsiteX4002" fmla="*/ 1212580 w 1687454"/>
                  <a:gd name="connsiteY4002" fmla="*/ 781348 h 903637"/>
                  <a:gd name="connsiteX4003" fmla="*/ 1211081 w 1687454"/>
                  <a:gd name="connsiteY4003" fmla="*/ 782847 h 903637"/>
                  <a:gd name="connsiteX4004" fmla="*/ 1210816 w 1687454"/>
                  <a:gd name="connsiteY4004" fmla="*/ 783729 h 903637"/>
                  <a:gd name="connsiteX4005" fmla="*/ 1210552 w 1687454"/>
                  <a:gd name="connsiteY4005" fmla="*/ 784346 h 903637"/>
                  <a:gd name="connsiteX4006" fmla="*/ 1211169 w 1687454"/>
                  <a:gd name="connsiteY4006" fmla="*/ 784610 h 903637"/>
                  <a:gd name="connsiteX4007" fmla="*/ 1211434 w 1687454"/>
                  <a:gd name="connsiteY4007" fmla="*/ 785492 h 903637"/>
                  <a:gd name="connsiteX4008" fmla="*/ 1212051 w 1687454"/>
                  <a:gd name="connsiteY4008" fmla="*/ 785757 h 903637"/>
                  <a:gd name="connsiteX4009" fmla="*/ 1212051 w 1687454"/>
                  <a:gd name="connsiteY4009" fmla="*/ 786021 h 903637"/>
                  <a:gd name="connsiteX4010" fmla="*/ 1212932 w 1687454"/>
                  <a:gd name="connsiteY4010" fmla="*/ 786021 h 903637"/>
                  <a:gd name="connsiteX4011" fmla="*/ 1213197 w 1687454"/>
                  <a:gd name="connsiteY4011" fmla="*/ 786286 h 903637"/>
                  <a:gd name="connsiteX4012" fmla="*/ 1213550 w 1687454"/>
                  <a:gd name="connsiteY4012" fmla="*/ 786903 h 903637"/>
                  <a:gd name="connsiteX4013" fmla="*/ 1213197 w 1687454"/>
                  <a:gd name="connsiteY4013" fmla="*/ 787520 h 903637"/>
                  <a:gd name="connsiteX4014" fmla="*/ 1213197 w 1687454"/>
                  <a:gd name="connsiteY4014" fmla="*/ 788137 h 903637"/>
                  <a:gd name="connsiteX4015" fmla="*/ 1212932 w 1687454"/>
                  <a:gd name="connsiteY4015" fmla="*/ 788754 h 903637"/>
                  <a:gd name="connsiteX4016" fmla="*/ 1213197 w 1687454"/>
                  <a:gd name="connsiteY4016" fmla="*/ 789636 h 903637"/>
                  <a:gd name="connsiteX4017" fmla="*/ 1212932 w 1687454"/>
                  <a:gd name="connsiteY4017" fmla="*/ 790253 h 903637"/>
                  <a:gd name="connsiteX4018" fmla="*/ 1212932 w 1687454"/>
                  <a:gd name="connsiteY4018" fmla="*/ 790870 h 903637"/>
                  <a:gd name="connsiteX4019" fmla="*/ 1212668 w 1687454"/>
                  <a:gd name="connsiteY4019" fmla="*/ 791752 h 903637"/>
                  <a:gd name="connsiteX4020" fmla="*/ 1213550 w 1687454"/>
                  <a:gd name="connsiteY4020" fmla="*/ 793251 h 903637"/>
                  <a:gd name="connsiteX4021" fmla="*/ 1213550 w 1687454"/>
                  <a:gd name="connsiteY4021" fmla="*/ 795279 h 903637"/>
                  <a:gd name="connsiteX4022" fmla="*/ 1213814 w 1687454"/>
                  <a:gd name="connsiteY4022" fmla="*/ 795279 h 903637"/>
                  <a:gd name="connsiteX4023" fmla="*/ 1214431 w 1687454"/>
                  <a:gd name="connsiteY4023" fmla="*/ 795279 h 903637"/>
                  <a:gd name="connsiteX4024" fmla="*/ 1215048 w 1687454"/>
                  <a:gd name="connsiteY4024" fmla="*/ 795279 h 903637"/>
                  <a:gd name="connsiteX4025" fmla="*/ 1215048 w 1687454"/>
                  <a:gd name="connsiteY4025" fmla="*/ 795808 h 903637"/>
                  <a:gd name="connsiteX4026" fmla="*/ 1213902 w 1687454"/>
                  <a:gd name="connsiteY4026" fmla="*/ 796425 h 903637"/>
                  <a:gd name="connsiteX4027" fmla="*/ 1213638 w 1687454"/>
                  <a:gd name="connsiteY4027" fmla="*/ 796690 h 903637"/>
                  <a:gd name="connsiteX4028" fmla="*/ 1213638 w 1687454"/>
                  <a:gd name="connsiteY4028" fmla="*/ 796954 h 903637"/>
                  <a:gd name="connsiteX4029" fmla="*/ 1213638 w 1687454"/>
                  <a:gd name="connsiteY4029" fmla="*/ 797219 h 903637"/>
                  <a:gd name="connsiteX4030" fmla="*/ 1214167 w 1687454"/>
                  <a:gd name="connsiteY4030" fmla="*/ 797483 h 903637"/>
                  <a:gd name="connsiteX4031" fmla="*/ 1214431 w 1687454"/>
                  <a:gd name="connsiteY4031" fmla="*/ 797483 h 903637"/>
                  <a:gd name="connsiteX4032" fmla="*/ 1216724 w 1687454"/>
                  <a:gd name="connsiteY4032" fmla="*/ 797748 h 903637"/>
                  <a:gd name="connsiteX4033" fmla="*/ 1218752 w 1687454"/>
                  <a:gd name="connsiteY4033" fmla="*/ 797748 h 903637"/>
                  <a:gd name="connsiteX4034" fmla="*/ 1219369 w 1687454"/>
                  <a:gd name="connsiteY4034" fmla="*/ 797748 h 903637"/>
                  <a:gd name="connsiteX4035" fmla="*/ 1220515 w 1687454"/>
                  <a:gd name="connsiteY4035" fmla="*/ 798629 h 903637"/>
                  <a:gd name="connsiteX4036" fmla="*/ 1221132 w 1687454"/>
                  <a:gd name="connsiteY4036" fmla="*/ 798982 h 903637"/>
                  <a:gd name="connsiteX4037" fmla="*/ 1222278 w 1687454"/>
                  <a:gd name="connsiteY4037" fmla="*/ 799246 h 903637"/>
                  <a:gd name="connsiteX4038" fmla="*/ 1223160 w 1687454"/>
                  <a:gd name="connsiteY4038" fmla="*/ 798982 h 903637"/>
                  <a:gd name="connsiteX4039" fmla="*/ 1224923 w 1687454"/>
                  <a:gd name="connsiteY4039" fmla="*/ 799246 h 903637"/>
                  <a:gd name="connsiteX4040" fmla="*/ 1225540 w 1687454"/>
                  <a:gd name="connsiteY4040" fmla="*/ 799246 h 903637"/>
                  <a:gd name="connsiteX4041" fmla="*/ 1225805 w 1687454"/>
                  <a:gd name="connsiteY4041" fmla="*/ 799511 h 903637"/>
                  <a:gd name="connsiteX4042" fmla="*/ 1228097 w 1687454"/>
                  <a:gd name="connsiteY4042" fmla="*/ 800393 h 903637"/>
                  <a:gd name="connsiteX4043" fmla="*/ 1228097 w 1687454"/>
                  <a:gd name="connsiteY4043" fmla="*/ 800657 h 903637"/>
                  <a:gd name="connsiteX4044" fmla="*/ 1227833 w 1687454"/>
                  <a:gd name="connsiteY4044" fmla="*/ 800922 h 903637"/>
                  <a:gd name="connsiteX4045" fmla="*/ 1227568 w 1687454"/>
                  <a:gd name="connsiteY4045" fmla="*/ 801186 h 903637"/>
                  <a:gd name="connsiteX4046" fmla="*/ 1227304 w 1687454"/>
                  <a:gd name="connsiteY4046" fmla="*/ 801186 h 903637"/>
                  <a:gd name="connsiteX4047" fmla="*/ 1226158 w 1687454"/>
                  <a:gd name="connsiteY4047" fmla="*/ 801186 h 903637"/>
                  <a:gd name="connsiteX4048" fmla="*/ 1225276 w 1687454"/>
                  <a:gd name="connsiteY4048" fmla="*/ 801803 h 903637"/>
                  <a:gd name="connsiteX4049" fmla="*/ 1224394 w 1687454"/>
                  <a:gd name="connsiteY4049" fmla="*/ 802068 h 903637"/>
                  <a:gd name="connsiteX4050" fmla="*/ 1222366 w 1687454"/>
                  <a:gd name="connsiteY4050" fmla="*/ 802068 h 903637"/>
                  <a:gd name="connsiteX4051" fmla="*/ 1221485 w 1687454"/>
                  <a:gd name="connsiteY4051" fmla="*/ 802597 h 903637"/>
                  <a:gd name="connsiteX4052" fmla="*/ 1221132 w 1687454"/>
                  <a:gd name="connsiteY4052" fmla="*/ 803214 h 903637"/>
                  <a:gd name="connsiteX4053" fmla="*/ 1221749 w 1687454"/>
                  <a:gd name="connsiteY4053" fmla="*/ 803478 h 903637"/>
                  <a:gd name="connsiteX4054" fmla="*/ 1222278 w 1687454"/>
                  <a:gd name="connsiteY4054" fmla="*/ 803214 h 903637"/>
                  <a:gd name="connsiteX4055" fmla="*/ 1224042 w 1687454"/>
                  <a:gd name="connsiteY4055" fmla="*/ 803478 h 903637"/>
                  <a:gd name="connsiteX4056" fmla="*/ 1224659 w 1687454"/>
                  <a:gd name="connsiteY4056" fmla="*/ 804360 h 903637"/>
                  <a:gd name="connsiteX4057" fmla="*/ 1226422 w 1687454"/>
                  <a:gd name="connsiteY4057" fmla="*/ 806388 h 903637"/>
                  <a:gd name="connsiteX4058" fmla="*/ 1227304 w 1687454"/>
                  <a:gd name="connsiteY4058" fmla="*/ 806653 h 903637"/>
                  <a:gd name="connsiteX4059" fmla="*/ 1232241 w 1687454"/>
                  <a:gd name="connsiteY4059" fmla="*/ 806388 h 903637"/>
                  <a:gd name="connsiteX4060" fmla="*/ 1232770 w 1687454"/>
                  <a:gd name="connsiteY4060" fmla="*/ 807005 h 903637"/>
                  <a:gd name="connsiteX4061" fmla="*/ 1231889 w 1687454"/>
                  <a:gd name="connsiteY4061" fmla="*/ 807270 h 903637"/>
                  <a:gd name="connsiteX4062" fmla="*/ 1232506 w 1687454"/>
                  <a:gd name="connsiteY4062" fmla="*/ 807887 h 903637"/>
                  <a:gd name="connsiteX4063" fmla="*/ 1234798 w 1687454"/>
                  <a:gd name="connsiteY4063" fmla="*/ 808151 h 903637"/>
                  <a:gd name="connsiteX4064" fmla="*/ 1235415 w 1687454"/>
                  <a:gd name="connsiteY4064" fmla="*/ 808151 h 903637"/>
                  <a:gd name="connsiteX4065" fmla="*/ 1234534 w 1687454"/>
                  <a:gd name="connsiteY4065" fmla="*/ 808769 h 903637"/>
                  <a:gd name="connsiteX4066" fmla="*/ 1233387 w 1687454"/>
                  <a:gd name="connsiteY4066" fmla="*/ 809033 h 903637"/>
                  <a:gd name="connsiteX4067" fmla="*/ 1234269 w 1687454"/>
                  <a:gd name="connsiteY4067" fmla="*/ 809915 h 903637"/>
                  <a:gd name="connsiteX4068" fmla="*/ 1237531 w 1687454"/>
                  <a:gd name="connsiteY4068" fmla="*/ 809298 h 903637"/>
                  <a:gd name="connsiteX4069" fmla="*/ 1238413 w 1687454"/>
                  <a:gd name="connsiteY4069" fmla="*/ 808680 h 903637"/>
                  <a:gd name="connsiteX4070" fmla="*/ 1239030 w 1687454"/>
                  <a:gd name="connsiteY4070" fmla="*/ 808063 h 903637"/>
                  <a:gd name="connsiteX4071" fmla="*/ 1246613 w 1687454"/>
                  <a:gd name="connsiteY4071" fmla="*/ 809827 h 903637"/>
                  <a:gd name="connsiteX4072" fmla="*/ 1248376 w 1687454"/>
                  <a:gd name="connsiteY4072" fmla="*/ 811325 h 903637"/>
                  <a:gd name="connsiteX4073" fmla="*/ 1249610 w 1687454"/>
                  <a:gd name="connsiteY4073" fmla="*/ 811590 h 903637"/>
                  <a:gd name="connsiteX4074" fmla="*/ 1251638 w 1687454"/>
                  <a:gd name="connsiteY4074" fmla="*/ 810708 h 903637"/>
                  <a:gd name="connsiteX4075" fmla="*/ 1253049 w 1687454"/>
                  <a:gd name="connsiteY4075" fmla="*/ 810708 h 903637"/>
                  <a:gd name="connsiteX4076" fmla="*/ 1254812 w 1687454"/>
                  <a:gd name="connsiteY4076" fmla="*/ 809827 h 903637"/>
                  <a:gd name="connsiteX4077" fmla="*/ 1255694 w 1687454"/>
                  <a:gd name="connsiteY4077" fmla="*/ 809827 h 903637"/>
                  <a:gd name="connsiteX4078" fmla="*/ 1256311 w 1687454"/>
                  <a:gd name="connsiteY4078" fmla="*/ 809209 h 903637"/>
                  <a:gd name="connsiteX4079" fmla="*/ 1262130 w 1687454"/>
                  <a:gd name="connsiteY4079" fmla="*/ 806035 h 903637"/>
                  <a:gd name="connsiteX4080" fmla="*/ 1262395 w 1687454"/>
                  <a:gd name="connsiteY4080" fmla="*/ 806035 h 903637"/>
                  <a:gd name="connsiteX4081" fmla="*/ 1260896 w 1687454"/>
                  <a:gd name="connsiteY4081" fmla="*/ 810444 h 903637"/>
                  <a:gd name="connsiteX4082" fmla="*/ 1262395 w 1687454"/>
                  <a:gd name="connsiteY4082" fmla="*/ 811325 h 903637"/>
                  <a:gd name="connsiteX4083" fmla="*/ 1266451 w 1687454"/>
                  <a:gd name="connsiteY4083" fmla="*/ 812207 h 903637"/>
                  <a:gd name="connsiteX4084" fmla="*/ 1268479 w 1687454"/>
                  <a:gd name="connsiteY4084" fmla="*/ 810708 h 903637"/>
                  <a:gd name="connsiteX4085" fmla="*/ 1269977 w 1687454"/>
                  <a:gd name="connsiteY4085" fmla="*/ 811325 h 903637"/>
                  <a:gd name="connsiteX4086" fmla="*/ 1269977 w 1687454"/>
                  <a:gd name="connsiteY4086" fmla="*/ 811943 h 903637"/>
                  <a:gd name="connsiteX4087" fmla="*/ 1271124 w 1687454"/>
                  <a:gd name="connsiteY4087" fmla="*/ 812560 h 903637"/>
                  <a:gd name="connsiteX4088" fmla="*/ 1270859 w 1687454"/>
                  <a:gd name="connsiteY4088" fmla="*/ 813177 h 903637"/>
                  <a:gd name="connsiteX4089" fmla="*/ 1273239 w 1687454"/>
                  <a:gd name="connsiteY4089" fmla="*/ 815205 h 903637"/>
                  <a:gd name="connsiteX4090" fmla="*/ 1272975 w 1687454"/>
                  <a:gd name="connsiteY4090" fmla="*/ 816087 h 903637"/>
                  <a:gd name="connsiteX4091" fmla="*/ 1271829 w 1687454"/>
                  <a:gd name="connsiteY4091" fmla="*/ 816616 h 903637"/>
                  <a:gd name="connsiteX4092" fmla="*/ 1268038 w 1687454"/>
                  <a:gd name="connsiteY4092" fmla="*/ 818114 h 903637"/>
                  <a:gd name="connsiteX4093" fmla="*/ 1267509 w 1687454"/>
                  <a:gd name="connsiteY4093" fmla="*/ 818379 h 903637"/>
                  <a:gd name="connsiteX4094" fmla="*/ 1267773 w 1687454"/>
                  <a:gd name="connsiteY4094" fmla="*/ 818643 h 903637"/>
                  <a:gd name="connsiteX4095" fmla="*/ 1268655 w 1687454"/>
                  <a:gd name="connsiteY4095" fmla="*/ 818908 h 903637"/>
                  <a:gd name="connsiteX4096" fmla="*/ 1273592 w 1687454"/>
                  <a:gd name="connsiteY4096" fmla="*/ 818908 h 903637"/>
                  <a:gd name="connsiteX4097" fmla="*/ 1276502 w 1687454"/>
                  <a:gd name="connsiteY4097" fmla="*/ 819172 h 903637"/>
                  <a:gd name="connsiteX4098" fmla="*/ 1277031 w 1687454"/>
                  <a:gd name="connsiteY4098" fmla="*/ 819790 h 903637"/>
                  <a:gd name="connsiteX4099" fmla="*/ 1276766 w 1687454"/>
                  <a:gd name="connsiteY4099" fmla="*/ 820407 h 903637"/>
                  <a:gd name="connsiteX4100" fmla="*/ 1273592 w 1687454"/>
                  <a:gd name="connsiteY4100" fmla="*/ 822170 h 903637"/>
                  <a:gd name="connsiteX4101" fmla="*/ 1272975 w 1687454"/>
                  <a:gd name="connsiteY4101" fmla="*/ 822435 h 903637"/>
                  <a:gd name="connsiteX4102" fmla="*/ 1270330 w 1687454"/>
                  <a:gd name="connsiteY4102" fmla="*/ 821553 h 903637"/>
                  <a:gd name="connsiteX4103" fmla="*/ 1268831 w 1687454"/>
                  <a:gd name="connsiteY4103" fmla="*/ 822082 h 903637"/>
                  <a:gd name="connsiteX4104" fmla="*/ 1268567 w 1687454"/>
                  <a:gd name="connsiteY4104" fmla="*/ 823228 h 903637"/>
                  <a:gd name="connsiteX4105" fmla="*/ 1262747 w 1687454"/>
                  <a:gd name="connsiteY4105" fmla="*/ 824110 h 903637"/>
                  <a:gd name="connsiteX4106" fmla="*/ 1261337 w 1687454"/>
                  <a:gd name="connsiteY4106" fmla="*/ 825256 h 903637"/>
                  <a:gd name="connsiteX4107" fmla="*/ 1258956 w 1687454"/>
                  <a:gd name="connsiteY4107" fmla="*/ 825521 h 903637"/>
                  <a:gd name="connsiteX4108" fmla="*/ 1257810 w 1687454"/>
                  <a:gd name="connsiteY4108" fmla="*/ 826402 h 903637"/>
                  <a:gd name="connsiteX4109" fmla="*/ 1255518 w 1687454"/>
                  <a:gd name="connsiteY4109" fmla="*/ 826667 h 903637"/>
                  <a:gd name="connsiteX4110" fmla="*/ 1254636 w 1687454"/>
                  <a:gd name="connsiteY4110" fmla="*/ 827549 h 903637"/>
                  <a:gd name="connsiteX4111" fmla="*/ 1253137 w 1687454"/>
                  <a:gd name="connsiteY4111" fmla="*/ 828166 h 903637"/>
                  <a:gd name="connsiteX4112" fmla="*/ 1248464 w 1687454"/>
                  <a:gd name="connsiteY4112" fmla="*/ 829312 h 903637"/>
                  <a:gd name="connsiteX4113" fmla="*/ 1244938 w 1687454"/>
                  <a:gd name="connsiteY4113" fmla="*/ 830723 h 903637"/>
                  <a:gd name="connsiteX4114" fmla="*/ 1243174 w 1687454"/>
                  <a:gd name="connsiteY4114" fmla="*/ 830458 h 903637"/>
                  <a:gd name="connsiteX4115" fmla="*/ 1239647 w 1687454"/>
                  <a:gd name="connsiteY4115" fmla="*/ 832486 h 903637"/>
                  <a:gd name="connsiteX4116" fmla="*/ 1237267 w 1687454"/>
                  <a:gd name="connsiteY4116" fmla="*/ 833103 h 903637"/>
                  <a:gd name="connsiteX4117" fmla="*/ 1235856 w 1687454"/>
                  <a:gd name="connsiteY4117" fmla="*/ 834249 h 903637"/>
                  <a:gd name="connsiteX4118" fmla="*/ 1232682 w 1687454"/>
                  <a:gd name="connsiteY4118" fmla="*/ 834867 h 903637"/>
                  <a:gd name="connsiteX4119" fmla="*/ 1231183 w 1687454"/>
                  <a:gd name="connsiteY4119" fmla="*/ 835484 h 903637"/>
                  <a:gd name="connsiteX4120" fmla="*/ 1230919 w 1687454"/>
                  <a:gd name="connsiteY4120" fmla="*/ 834867 h 903637"/>
                  <a:gd name="connsiteX4121" fmla="*/ 1227745 w 1687454"/>
                  <a:gd name="connsiteY4121" fmla="*/ 835131 h 903637"/>
                  <a:gd name="connsiteX4122" fmla="*/ 1226599 w 1687454"/>
                  <a:gd name="connsiteY4122" fmla="*/ 836277 h 903637"/>
                  <a:gd name="connsiteX4123" fmla="*/ 1225100 w 1687454"/>
                  <a:gd name="connsiteY4123" fmla="*/ 836277 h 903637"/>
                  <a:gd name="connsiteX4124" fmla="*/ 1223689 w 1687454"/>
                  <a:gd name="connsiteY4124" fmla="*/ 836542 h 903637"/>
                  <a:gd name="connsiteX4125" fmla="*/ 1222807 w 1687454"/>
                  <a:gd name="connsiteY4125" fmla="*/ 837688 h 903637"/>
                  <a:gd name="connsiteX4126" fmla="*/ 1221044 w 1687454"/>
                  <a:gd name="connsiteY4126" fmla="*/ 836806 h 903637"/>
                  <a:gd name="connsiteX4127" fmla="*/ 1220779 w 1687454"/>
                  <a:gd name="connsiteY4127" fmla="*/ 837688 h 903637"/>
                  <a:gd name="connsiteX4128" fmla="*/ 1221044 w 1687454"/>
                  <a:gd name="connsiteY4128" fmla="*/ 839187 h 903637"/>
                  <a:gd name="connsiteX4129" fmla="*/ 1219016 w 1687454"/>
                  <a:gd name="connsiteY4129" fmla="*/ 840950 h 903637"/>
                  <a:gd name="connsiteX4130" fmla="*/ 1217605 w 1687454"/>
                  <a:gd name="connsiteY4130" fmla="*/ 840686 h 903637"/>
                  <a:gd name="connsiteX4131" fmla="*/ 1216724 w 1687454"/>
                  <a:gd name="connsiteY4131" fmla="*/ 840950 h 903637"/>
                  <a:gd name="connsiteX4132" fmla="*/ 1214696 w 1687454"/>
                  <a:gd name="connsiteY4132" fmla="*/ 842361 h 903637"/>
                  <a:gd name="connsiteX4133" fmla="*/ 1213550 w 1687454"/>
                  <a:gd name="connsiteY4133" fmla="*/ 841215 h 903637"/>
                  <a:gd name="connsiteX4134" fmla="*/ 1212403 w 1687454"/>
                  <a:gd name="connsiteY4134" fmla="*/ 839451 h 903637"/>
                  <a:gd name="connsiteX4135" fmla="*/ 1212403 w 1687454"/>
                  <a:gd name="connsiteY4135" fmla="*/ 839187 h 903637"/>
                  <a:gd name="connsiteX4136" fmla="*/ 1213285 w 1687454"/>
                  <a:gd name="connsiteY4136" fmla="*/ 836542 h 903637"/>
                  <a:gd name="connsiteX4137" fmla="*/ 1213550 w 1687454"/>
                  <a:gd name="connsiteY4137" fmla="*/ 835924 h 903637"/>
                  <a:gd name="connsiteX4138" fmla="*/ 1212932 w 1687454"/>
                  <a:gd name="connsiteY4138" fmla="*/ 835660 h 903637"/>
                  <a:gd name="connsiteX4139" fmla="*/ 1210905 w 1687454"/>
                  <a:gd name="connsiteY4139" fmla="*/ 836542 h 903637"/>
                  <a:gd name="connsiteX4140" fmla="*/ 1210640 w 1687454"/>
                  <a:gd name="connsiteY4140" fmla="*/ 837423 h 903637"/>
                  <a:gd name="connsiteX4141" fmla="*/ 1211257 w 1687454"/>
                  <a:gd name="connsiteY4141" fmla="*/ 839187 h 903637"/>
                  <a:gd name="connsiteX4142" fmla="*/ 1210640 w 1687454"/>
                  <a:gd name="connsiteY4142" fmla="*/ 839804 h 903637"/>
                  <a:gd name="connsiteX4143" fmla="*/ 1209758 w 1687454"/>
                  <a:gd name="connsiteY4143" fmla="*/ 840421 h 903637"/>
                  <a:gd name="connsiteX4144" fmla="*/ 1209141 w 1687454"/>
                  <a:gd name="connsiteY4144" fmla="*/ 840421 h 903637"/>
                  <a:gd name="connsiteX4145" fmla="*/ 1208524 w 1687454"/>
                  <a:gd name="connsiteY4145" fmla="*/ 840157 h 903637"/>
                  <a:gd name="connsiteX4146" fmla="*/ 1208788 w 1687454"/>
                  <a:gd name="connsiteY4146" fmla="*/ 839275 h 903637"/>
                  <a:gd name="connsiteX4147" fmla="*/ 1208171 w 1687454"/>
                  <a:gd name="connsiteY4147" fmla="*/ 838393 h 903637"/>
                  <a:gd name="connsiteX4148" fmla="*/ 1207907 w 1687454"/>
                  <a:gd name="connsiteY4148" fmla="*/ 838393 h 903637"/>
                  <a:gd name="connsiteX4149" fmla="*/ 1206408 w 1687454"/>
                  <a:gd name="connsiteY4149" fmla="*/ 838393 h 903637"/>
                  <a:gd name="connsiteX4150" fmla="*/ 1205262 w 1687454"/>
                  <a:gd name="connsiteY4150" fmla="*/ 839275 h 903637"/>
                  <a:gd name="connsiteX4151" fmla="*/ 1203851 w 1687454"/>
                  <a:gd name="connsiteY4151" fmla="*/ 841567 h 903637"/>
                  <a:gd name="connsiteX4152" fmla="*/ 1203851 w 1687454"/>
                  <a:gd name="connsiteY4152" fmla="*/ 843066 h 903637"/>
                  <a:gd name="connsiteX4153" fmla="*/ 1204468 w 1687454"/>
                  <a:gd name="connsiteY4153" fmla="*/ 844212 h 903637"/>
                  <a:gd name="connsiteX4154" fmla="*/ 1204468 w 1687454"/>
                  <a:gd name="connsiteY4154" fmla="*/ 845094 h 903637"/>
                  <a:gd name="connsiteX4155" fmla="*/ 1204204 w 1687454"/>
                  <a:gd name="connsiteY4155" fmla="*/ 845711 h 903637"/>
                  <a:gd name="connsiteX4156" fmla="*/ 1204204 w 1687454"/>
                  <a:gd name="connsiteY4156" fmla="*/ 845976 h 903637"/>
                  <a:gd name="connsiteX4157" fmla="*/ 1203058 w 1687454"/>
                  <a:gd name="connsiteY4157" fmla="*/ 846240 h 903637"/>
                  <a:gd name="connsiteX4158" fmla="*/ 1203058 w 1687454"/>
                  <a:gd name="connsiteY4158" fmla="*/ 845976 h 903637"/>
                  <a:gd name="connsiteX4159" fmla="*/ 1202176 w 1687454"/>
                  <a:gd name="connsiteY4159" fmla="*/ 845711 h 903637"/>
                  <a:gd name="connsiteX4160" fmla="*/ 1200148 w 1687454"/>
                  <a:gd name="connsiteY4160" fmla="*/ 847210 h 903637"/>
                  <a:gd name="connsiteX4161" fmla="*/ 1197767 w 1687454"/>
                  <a:gd name="connsiteY4161" fmla="*/ 847210 h 903637"/>
                  <a:gd name="connsiteX4162" fmla="*/ 1198032 w 1687454"/>
                  <a:gd name="connsiteY4162" fmla="*/ 847210 h 903637"/>
                  <a:gd name="connsiteX4163" fmla="*/ 1196886 w 1687454"/>
                  <a:gd name="connsiteY4163" fmla="*/ 847827 h 903637"/>
                  <a:gd name="connsiteX4164" fmla="*/ 1196269 w 1687454"/>
                  <a:gd name="connsiteY4164" fmla="*/ 850472 h 903637"/>
                  <a:gd name="connsiteX4165" fmla="*/ 1195122 w 1687454"/>
                  <a:gd name="connsiteY4165" fmla="*/ 851089 h 903637"/>
                  <a:gd name="connsiteX4166" fmla="*/ 1193976 w 1687454"/>
                  <a:gd name="connsiteY4166" fmla="*/ 851618 h 903637"/>
                  <a:gd name="connsiteX4167" fmla="*/ 1193712 w 1687454"/>
                  <a:gd name="connsiteY4167" fmla="*/ 852147 h 903637"/>
                  <a:gd name="connsiteX4168" fmla="*/ 1190538 w 1687454"/>
                  <a:gd name="connsiteY4168" fmla="*/ 854175 h 903637"/>
                  <a:gd name="connsiteX4169" fmla="*/ 1190538 w 1687454"/>
                  <a:gd name="connsiteY4169" fmla="*/ 854440 h 903637"/>
                  <a:gd name="connsiteX4170" fmla="*/ 1190538 w 1687454"/>
                  <a:gd name="connsiteY4170" fmla="*/ 855057 h 903637"/>
                  <a:gd name="connsiteX4171" fmla="*/ 1190273 w 1687454"/>
                  <a:gd name="connsiteY4171" fmla="*/ 855939 h 903637"/>
                  <a:gd name="connsiteX4172" fmla="*/ 1188510 w 1687454"/>
                  <a:gd name="connsiteY4172" fmla="*/ 855939 h 903637"/>
                  <a:gd name="connsiteX4173" fmla="*/ 1187364 w 1687454"/>
                  <a:gd name="connsiteY4173" fmla="*/ 857438 h 903637"/>
                  <a:gd name="connsiteX4174" fmla="*/ 1186482 w 1687454"/>
                  <a:gd name="connsiteY4174" fmla="*/ 857438 h 903637"/>
                  <a:gd name="connsiteX4175" fmla="*/ 1185336 w 1687454"/>
                  <a:gd name="connsiteY4175" fmla="*/ 857702 h 903637"/>
                  <a:gd name="connsiteX4176" fmla="*/ 1184454 w 1687454"/>
                  <a:gd name="connsiteY4176" fmla="*/ 859465 h 903637"/>
                  <a:gd name="connsiteX4177" fmla="*/ 1182691 w 1687454"/>
                  <a:gd name="connsiteY4177" fmla="*/ 859201 h 903637"/>
                  <a:gd name="connsiteX4178" fmla="*/ 1180927 w 1687454"/>
                  <a:gd name="connsiteY4178" fmla="*/ 859730 h 903637"/>
                  <a:gd name="connsiteX4179" fmla="*/ 1179781 w 1687454"/>
                  <a:gd name="connsiteY4179" fmla="*/ 860612 h 903637"/>
                  <a:gd name="connsiteX4180" fmla="*/ 1178899 w 1687454"/>
                  <a:gd name="connsiteY4180" fmla="*/ 859730 h 903637"/>
                  <a:gd name="connsiteX4181" fmla="*/ 1178635 w 1687454"/>
                  <a:gd name="connsiteY4181" fmla="*/ 860347 h 903637"/>
                  <a:gd name="connsiteX4182" fmla="*/ 1177753 w 1687454"/>
                  <a:gd name="connsiteY4182" fmla="*/ 861493 h 903637"/>
                  <a:gd name="connsiteX4183" fmla="*/ 1177136 w 1687454"/>
                  <a:gd name="connsiteY4183" fmla="*/ 863257 h 903637"/>
                  <a:gd name="connsiteX4184" fmla="*/ 1174579 w 1687454"/>
                  <a:gd name="connsiteY4184" fmla="*/ 864579 h 903637"/>
                  <a:gd name="connsiteX4185" fmla="*/ 1402671 w 1687454"/>
                  <a:gd name="connsiteY4185" fmla="*/ 670344 h 903637"/>
                  <a:gd name="connsiteX4186" fmla="*/ 1402054 w 1687454"/>
                  <a:gd name="connsiteY4186" fmla="*/ 670344 h 903637"/>
                  <a:gd name="connsiteX4187" fmla="*/ 1400643 w 1687454"/>
                  <a:gd name="connsiteY4187" fmla="*/ 671226 h 903637"/>
                  <a:gd name="connsiteX4188" fmla="*/ 1397998 w 1687454"/>
                  <a:gd name="connsiteY4188" fmla="*/ 671490 h 903637"/>
                  <a:gd name="connsiteX4189" fmla="*/ 1396234 w 1687454"/>
                  <a:gd name="connsiteY4189" fmla="*/ 672108 h 903637"/>
                  <a:gd name="connsiteX4190" fmla="*/ 1395617 w 1687454"/>
                  <a:gd name="connsiteY4190" fmla="*/ 670080 h 903637"/>
                  <a:gd name="connsiteX4191" fmla="*/ 1395000 w 1687454"/>
                  <a:gd name="connsiteY4191" fmla="*/ 669815 h 903637"/>
                  <a:gd name="connsiteX4192" fmla="*/ 1391826 w 1687454"/>
                  <a:gd name="connsiteY4192" fmla="*/ 671314 h 903637"/>
                  <a:gd name="connsiteX4193" fmla="*/ 1375779 w 1687454"/>
                  <a:gd name="connsiteY4193" fmla="*/ 675370 h 903637"/>
                  <a:gd name="connsiteX4194" fmla="*/ 1371988 w 1687454"/>
                  <a:gd name="connsiteY4194" fmla="*/ 674488 h 903637"/>
                  <a:gd name="connsiteX4195" fmla="*/ 1367580 w 1687454"/>
                  <a:gd name="connsiteY4195" fmla="*/ 676516 h 903637"/>
                  <a:gd name="connsiteX4196" fmla="*/ 1367315 w 1687454"/>
                  <a:gd name="connsiteY4196" fmla="*/ 677927 h 903637"/>
                  <a:gd name="connsiteX4197" fmla="*/ 1359468 w 1687454"/>
                  <a:gd name="connsiteY4197" fmla="*/ 682600 h 903637"/>
                  <a:gd name="connsiteX4198" fmla="*/ 1356294 w 1687454"/>
                  <a:gd name="connsiteY4198" fmla="*/ 687537 h 903637"/>
                  <a:gd name="connsiteX4199" fmla="*/ 1354266 w 1687454"/>
                  <a:gd name="connsiteY4199" fmla="*/ 687273 h 903637"/>
                  <a:gd name="connsiteX4200" fmla="*/ 1340600 w 1687454"/>
                  <a:gd name="connsiteY4200" fmla="*/ 695472 h 903637"/>
                  <a:gd name="connsiteX4201" fmla="*/ 1339101 w 1687454"/>
                  <a:gd name="connsiteY4201" fmla="*/ 695472 h 903637"/>
                  <a:gd name="connsiteX4202" fmla="*/ 1337603 w 1687454"/>
                  <a:gd name="connsiteY4202" fmla="*/ 696354 h 903637"/>
                  <a:gd name="connsiteX4203" fmla="*/ 1336104 w 1687454"/>
                  <a:gd name="connsiteY4203" fmla="*/ 698999 h 903637"/>
                  <a:gd name="connsiteX4204" fmla="*/ 1331166 w 1687454"/>
                  <a:gd name="connsiteY4204" fmla="*/ 700762 h 903637"/>
                  <a:gd name="connsiteX4205" fmla="*/ 1307273 w 1687454"/>
                  <a:gd name="connsiteY4205" fmla="*/ 701644 h 903637"/>
                  <a:gd name="connsiteX4206" fmla="*/ 1299426 w 1687454"/>
                  <a:gd name="connsiteY4206" fmla="*/ 703936 h 903637"/>
                  <a:gd name="connsiteX4207" fmla="*/ 1297927 w 1687454"/>
                  <a:gd name="connsiteY4207" fmla="*/ 701644 h 903637"/>
                  <a:gd name="connsiteX4208" fmla="*/ 1257634 w 1687454"/>
                  <a:gd name="connsiteY4208" fmla="*/ 698999 h 903637"/>
                  <a:gd name="connsiteX4209" fmla="*/ 1253225 w 1687454"/>
                  <a:gd name="connsiteY4209" fmla="*/ 699881 h 903637"/>
                  <a:gd name="connsiteX4210" fmla="*/ 1248552 w 1687454"/>
                  <a:gd name="connsiteY4210" fmla="*/ 698735 h 903637"/>
                  <a:gd name="connsiteX4211" fmla="*/ 1240970 w 1687454"/>
                  <a:gd name="connsiteY4211" fmla="*/ 699881 h 903637"/>
                  <a:gd name="connsiteX4212" fmla="*/ 1230743 w 1687454"/>
                  <a:gd name="connsiteY4212" fmla="*/ 699263 h 903637"/>
                  <a:gd name="connsiteX4213" fmla="*/ 1222014 w 1687454"/>
                  <a:gd name="connsiteY4213" fmla="*/ 699881 h 903637"/>
                  <a:gd name="connsiteX4214" fmla="*/ 1220867 w 1687454"/>
                  <a:gd name="connsiteY4214" fmla="*/ 699616 h 903637"/>
                  <a:gd name="connsiteX4215" fmla="*/ 1217076 w 1687454"/>
                  <a:gd name="connsiteY4215" fmla="*/ 701115 h 903637"/>
                  <a:gd name="connsiteX4216" fmla="*/ 1211257 w 1687454"/>
                  <a:gd name="connsiteY4216" fmla="*/ 701732 h 903637"/>
                  <a:gd name="connsiteX4217" fmla="*/ 1210376 w 1687454"/>
                  <a:gd name="connsiteY4217" fmla="*/ 699969 h 903637"/>
                  <a:gd name="connsiteX4218" fmla="*/ 1207730 w 1687454"/>
                  <a:gd name="connsiteY4218" fmla="*/ 701115 h 903637"/>
                  <a:gd name="connsiteX4219" fmla="*/ 1208348 w 1687454"/>
                  <a:gd name="connsiteY4219" fmla="*/ 702261 h 903637"/>
                  <a:gd name="connsiteX4220" fmla="*/ 1206055 w 1687454"/>
                  <a:gd name="connsiteY4220" fmla="*/ 702878 h 903637"/>
                  <a:gd name="connsiteX4221" fmla="*/ 1199002 w 1687454"/>
                  <a:gd name="connsiteY4221" fmla="*/ 706405 h 903637"/>
                  <a:gd name="connsiteX4222" fmla="*/ 1194946 w 1687454"/>
                  <a:gd name="connsiteY4222" fmla="*/ 710461 h 903637"/>
                  <a:gd name="connsiteX4223" fmla="*/ 1193800 w 1687454"/>
                  <a:gd name="connsiteY4223" fmla="*/ 710461 h 903637"/>
                  <a:gd name="connsiteX4224" fmla="*/ 1192036 w 1687454"/>
                  <a:gd name="connsiteY4224" fmla="*/ 712224 h 903637"/>
                  <a:gd name="connsiteX4225" fmla="*/ 1187981 w 1687454"/>
                  <a:gd name="connsiteY4225" fmla="*/ 718661 h 903637"/>
                  <a:gd name="connsiteX4226" fmla="*/ 1183308 w 1687454"/>
                  <a:gd name="connsiteY4226" fmla="*/ 722716 h 903637"/>
                  <a:gd name="connsiteX4227" fmla="*/ 1176872 w 1687454"/>
                  <a:gd name="connsiteY4227" fmla="*/ 723333 h 903637"/>
                  <a:gd name="connsiteX4228" fmla="*/ 1175461 w 1687454"/>
                  <a:gd name="connsiteY4228" fmla="*/ 723951 h 903637"/>
                  <a:gd name="connsiteX4229" fmla="*/ 1172551 w 1687454"/>
                  <a:gd name="connsiteY4229" fmla="*/ 723686 h 903637"/>
                  <a:gd name="connsiteX4230" fmla="*/ 1169377 w 1687454"/>
                  <a:gd name="connsiteY4230" fmla="*/ 724303 h 903637"/>
                  <a:gd name="connsiteX4231" fmla="*/ 1166203 w 1687454"/>
                  <a:gd name="connsiteY4231" fmla="*/ 725802 h 903637"/>
                  <a:gd name="connsiteX4232" fmla="*/ 1167349 w 1687454"/>
                  <a:gd name="connsiteY4232" fmla="*/ 726948 h 903637"/>
                  <a:gd name="connsiteX4233" fmla="*/ 1166468 w 1687454"/>
                  <a:gd name="connsiteY4233" fmla="*/ 727830 h 903637"/>
                  <a:gd name="connsiteX4234" fmla="*/ 1161795 w 1687454"/>
                  <a:gd name="connsiteY4234" fmla="*/ 729858 h 903637"/>
                  <a:gd name="connsiteX4235" fmla="*/ 1158268 w 1687454"/>
                  <a:gd name="connsiteY4235" fmla="*/ 729593 h 903637"/>
                  <a:gd name="connsiteX4236" fmla="*/ 1154741 w 1687454"/>
                  <a:gd name="connsiteY4236" fmla="*/ 733120 h 903637"/>
                  <a:gd name="connsiteX4237" fmla="*/ 1153242 w 1687454"/>
                  <a:gd name="connsiteY4237" fmla="*/ 733737 h 903637"/>
                  <a:gd name="connsiteX4238" fmla="*/ 1146542 w 1687454"/>
                  <a:gd name="connsiteY4238" fmla="*/ 737000 h 903637"/>
                  <a:gd name="connsiteX4239" fmla="*/ 1143015 w 1687454"/>
                  <a:gd name="connsiteY4239" fmla="*/ 741408 h 903637"/>
                  <a:gd name="connsiteX4240" fmla="*/ 1140634 w 1687454"/>
                  <a:gd name="connsiteY4240" fmla="*/ 742290 h 903637"/>
                  <a:gd name="connsiteX4241" fmla="*/ 1136579 w 1687454"/>
                  <a:gd name="connsiteY4241" fmla="*/ 746963 h 903637"/>
                  <a:gd name="connsiteX4242" fmla="*/ 1128114 w 1687454"/>
                  <a:gd name="connsiteY4242" fmla="*/ 752165 h 903637"/>
                  <a:gd name="connsiteX4243" fmla="*/ 1120796 w 1687454"/>
                  <a:gd name="connsiteY4243" fmla="*/ 760893 h 903637"/>
                  <a:gd name="connsiteX4244" fmla="*/ 1114977 w 1687454"/>
                  <a:gd name="connsiteY4244" fmla="*/ 764420 h 903637"/>
                  <a:gd name="connsiteX4245" fmla="*/ 1112332 w 1687454"/>
                  <a:gd name="connsiteY4245" fmla="*/ 767594 h 903637"/>
                  <a:gd name="connsiteX4246" fmla="*/ 1107130 w 1687454"/>
                  <a:gd name="connsiteY4246" fmla="*/ 769093 h 903637"/>
                  <a:gd name="connsiteX4247" fmla="*/ 1102457 w 1687454"/>
                  <a:gd name="connsiteY4247" fmla="*/ 774030 h 903637"/>
                  <a:gd name="connsiteX4248" fmla="*/ 1097520 w 1687454"/>
                  <a:gd name="connsiteY4248" fmla="*/ 778439 h 903637"/>
                  <a:gd name="connsiteX4249" fmla="*/ 1090290 w 1687454"/>
                  <a:gd name="connsiteY4249" fmla="*/ 781965 h 903637"/>
                  <a:gd name="connsiteX4250" fmla="*/ 1086499 w 1687454"/>
                  <a:gd name="connsiteY4250" fmla="*/ 785492 h 903637"/>
                  <a:gd name="connsiteX4251" fmla="*/ 1076271 w 1687454"/>
                  <a:gd name="connsiteY4251" fmla="*/ 787520 h 903637"/>
                  <a:gd name="connsiteX4252" fmla="*/ 1073626 w 1687454"/>
                  <a:gd name="connsiteY4252" fmla="*/ 787255 h 903637"/>
                  <a:gd name="connsiteX4253" fmla="*/ 1070100 w 1687454"/>
                  <a:gd name="connsiteY4253" fmla="*/ 789019 h 903637"/>
                  <a:gd name="connsiteX4254" fmla="*/ 1066044 w 1687454"/>
                  <a:gd name="connsiteY4254" fmla="*/ 790165 h 903637"/>
                  <a:gd name="connsiteX4255" fmla="*/ 1064016 w 1687454"/>
                  <a:gd name="connsiteY4255" fmla="*/ 792810 h 903637"/>
                  <a:gd name="connsiteX4256" fmla="*/ 1059079 w 1687454"/>
                  <a:gd name="connsiteY4256" fmla="*/ 794573 h 903637"/>
                  <a:gd name="connsiteX4257" fmla="*/ 1054406 w 1687454"/>
                  <a:gd name="connsiteY4257" fmla="*/ 797219 h 903637"/>
                  <a:gd name="connsiteX4258" fmla="*/ 1050614 w 1687454"/>
                  <a:gd name="connsiteY4258" fmla="*/ 797836 h 903637"/>
                  <a:gd name="connsiteX4259" fmla="*/ 1043914 w 1687454"/>
                  <a:gd name="connsiteY4259" fmla="*/ 801010 h 903637"/>
                  <a:gd name="connsiteX4260" fmla="*/ 1039505 w 1687454"/>
                  <a:gd name="connsiteY4260" fmla="*/ 805947 h 903637"/>
                  <a:gd name="connsiteX4261" fmla="*/ 1029895 w 1687454"/>
                  <a:gd name="connsiteY4261" fmla="*/ 812913 h 903637"/>
                  <a:gd name="connsiteX4262" fmla="*/ 1028396 w 1687454"/>
                  <a:gd name="connsiteY4262" fmla="*/ 814940 h 903637"/>
                  <a:gd name="connsiteX4263" fmla="*/ 1026368 w 1687454"/>
                  <a:gd name="connsiteY4263" fmla="*/ 815558 h 903637"/>
                  <a:gd name="connsiteX4264" fmla="*/ 1022577 w 1687454"/>
                  <a:gd name="connsiteY4264" fmla="*/ 815822 h 903637"/>
                  <a:gd name="connsiteX4265" fmla="*/ 1020285 w 1687454"/>
                  <a:gd name="connsiteY4265" fmla="*/ 817585 h 903637"/>
                  <a:gd name="connsiteX4266" fmla="*/ 1022312 w 1687454"/>
                  <a:gd name="connsiteY4266" fmla="*/ 819613 h 903637"/>
                  <a:gd name="connsiteX4267" fmla="*/ 1012085 w 1687454"/>
                  <a:gd name="connsiteY4267" fmla="*/ 823405 h 903637"/>
                  <a:gd name="connsiteX4268" fmla="*/ 1008029 w 1687454"/>
                  <a:gd name="connsiteY4268" fmla="*/ 824551 h 903637"/>
                  <a:gd name="connsiteX4269" fmla="*/ 1004238 w 1687454"/>
                  <a:gd name="connsiteY4269" fmla="*/ 826314 h 903637"/>
                  <a:gd name="connsiteX4270" fmla="*/ 998948 w 1687454"/>
                  <a:gd name="connsiteY4270" fmla="*/ 827196 h 903637"/>
                  <a:gd name="connsiteX4271" fmla="*/ 991365 w 1687454"/>
                  <a:gd name="connsiteY4271" fmla="*/ 830723 h 903637"/>
                  <a:gd name="connsiteX4272" fmla="*/ 989602 w 1687454"/>
                  <a:gd name="connsiteY4272" fmla="*/ 830987 h 903637"/>
                  <a:gd name="connsiteX4273" fmla="*/ 972145 w 1687454"/>
                  <a:gd name="connsiteY4273" fmla="*/ 842361 h 903637"/>
                  <a:gd name="connsiteX4274" fmla="*/ 969235 w 1687454"/>
                  <a:gd name="connsiteY4274" fmla="*/ 842361 h 903637"/>
                  <a:gd name="connsiteX4275" fmla="*/ 966325 w 1687454"/>
                  <a:gd name="connsiteY4275" fmla="*/ 845006 h 903637"/>
                  <a:gd name="connsiteX4276" fmla="*/ 960506 w 1687454"/>
                  <a:gd name="connsiteY4276" fmla="*/ 847651 h 903637"/>
                  <a:gd name="connsiteX4277" fmla="*/ 957332 w 1687454"/>
                  <a:gd name="connsiteY4277" fmla="*/ 847651 h 903637"/>
                  <a:gd name="connsiteX4278" fmla="*/ 955569 w 1687454"/>
                  <a:gd name="connsiteY4278" fmla="*/ 848268 h 903637"/>
                  <a:gd name="connsiteX4279" fmla="*/ 952395 w 1687454"/>
                  <a:gd name="connsiteY4279" fmla="*/ 850031 h 903637"/>
                  <a:gd name="connsiteX4280" fmla="*/ 949750 w 1687454"/>
                  <a:gd name="connsiteY4280" fmla="*/ 852324 h 903637"/>
                  <a:gd name="connsiteX4281" fmla="*/ 947986 w 1687454"/>
                  <a:gd name="connsiteY4281" fmla="*/ 852941 h 903637"/>
                  <a:gd name="connsiteX4282" fmla="*/ 947369 w 1687454"/>
                  <a:gd name="connsiteY4282" fmla="*/ 854087 h 903637"/>
                  <a:gd name="connsiteX4283" fmla="*/ 948515 w 1687454"/>
                  <a:gd name="connsiteY4283" fmla="*/ 854352 h 903637"/>
                  <a:gd name="connsiteX4284" fmla="*/ 950014 w 1687454"/>
                  <a:gd name="connsiteY4284" fmla="*/ 854352 h 903637"/>
                  <a:gd name="connsiteX4285" fmla="*/ 950014 w 1687454"/>
                  <a:gd name="connsiteY4285" fmla="*/ 854616 h 903637"/>
                  <a:gd name="connsiteX4286" fmla="*/ 946487 w 1687454"/>
                  <a:gd name="connsiteY4286" fmla="*/ 855498 h 903637"/>
                  <a:gd name="connsiteX4287" fmla="*/ 944195 w 1687454"/>
                  <a:gd name="connsiteY4287" fmla="*/ 856644 h 903637"/>
                  <a:gd name="connsiteX4288" fmla="*/ 942167 w 1687454"/>
                  <a:gd name="connsiteY4288" fmla="*/ 856379 h 903637"/>
                  <a:gd name="connsiteX4289" fmla="*/ 942432 w 1687454"/>
                  <a:gd name="connsiteY4289" fmla="*/ 854352 h 903637"/>
                  <a:gd name="connsiteX4290" fmla="*/ 941815 w 1687454"/>
                  <a:gd name="connsiteY4290" fmla="*/ 854087 h 903637"/>
                  <a:gd name="connsiteX4291" fmla="*/ 938023 w 1687454"/>
                  <a:gd name="connsiteY4291" fmla="*/ 854704 h 903637"/>
                  <a:gd name="connsiteX4292" fmla="*/ 936525 w 1687454"/>
                  <a:gd name="connsiteY4292" fmla="*/ 853205 h 903637"/>
                  <a:gd name="connsiteX4293" fmla="*/ 937406 w 1687454"/>
                  <a:gd name="connsiteY4293" fmla="*/ 852941 h 903637"/>
                  <a:gd name="connsiteX4294" fmla="*/ 936525 w 1687454"/>
                  <a:gd name="connsiteY4294" fmla="*/ 852324 h 903637"/>
                  <a:gd name="connsiteX4295" fmla="*/ 931234 w 1687454"/>
                  <a:gd name="connsiteY4295" fmla="*/ 854352 h 903637"/>
                  <a:gd name="connsiteX4296" fmla="*/ 926826 w 1687454"/>
                  <a:gd name="connsiteY4296" fmla="*/ 855498 h 903637"/>
                  <a:gd name="connsiteX4297" fmla="*/ 921624 w 1687454"/>
                  <a:gd name="connsiteY4297" fmla="*/ 856644 h 903637"/>
                  <a:gd name="connsiteX4298" fmla="*/ 914042 w 1687454"/>
                  <a:gd name="connsiteY4298" fmla="*/ 857261 h 903637"/>
                  <a:gd name="connsiteX4299" fmla="*/ 907958 w 1687454"/>
                  <a:gd name="connsiteY4299" fmla="*/ 856997 h 903637"/>
                  <a:gd name="connsiteX4300" fmla="*/ 904784 w 1687454"/>
                  <a:gd name="connsiteY4300" fmla="*/ 857614 h 903637"/>
                  <a:gd name="connsiteX4301" fmla="*/ 899494 w 1687454"/>
                  <a:gd name="connsiteY4301" fmla="*/ 858760 h 903637"/>
                  <a:gd name="connsiteX4302" fmla="*/ 897201 w 1687454"/>
                  <a:gd name="connsiteY4302" fmla="*/ 862551 h 903637"/>
                  <a:gd name="connsiteX4303" fmla="*/ 896584 w 1687454"/>
                  <a:gd name="connsiteY4303" fmla="*/ 861934 h 903637"/>
                  <a:gd name="connsiteX4304" fmla="*/ 895967 w 1687454"/>
                  <a:gd name="connsiteY4304" fmla="*/ 861934 h 903637"/>
                  <a:gd name="connsiteX4305" fmla="*/ 894468 w 1687454"/>
                  <a:gd name="connsiteY4305" fmla="*/ 862816 h 903637"/>
                  <a:gd name="connsiteX4306" fmla="*/ 893586 w 1687454"/>
                  <a:gd name="connsiteY4306" fmla="*/ 862816 h 903637"/>
                  <a:gd name="connsiteX4307" fmla="*/ 890060 w 1687454"/>
                  <a:gd name="connsiteY4307" fmla="*/ 864844 h 903637"/>
                  <a:gd name="connsiteX4308" fmla="*/ 886269 w 1687454"/>
                  <a:gd name="connsiteY4308" fmla="*/ 869252 h 903637"/>
                  <a:gd name="connsiteX4309" fmla="*/ 886533 w 1687454"/>
                  <a:gd name="connsiteY4309" fmla="*/ 871015 h 903637"/>
                  <a:gd name="connsiteX4310" fmla="*/ 889443 w 1687454"/>
                  <a:gd name="connsiteY4310" fmla="*/ 874807 h 903637"/>
                  <a:gd name="connsiteX4311" fmla="*/ 893498 w 1687454"/>
                  <a:gd name="connsiteY4311" fmla="*/ 873043 h 903637"/>
                  <a:gd name="connsiteX4312" fmla="*/ 898171 w 1687454"/>
                  <a:gd name="connsiteY4312" fmla="*/ 870751 h 903637"/>
                  <a:gd name="connsiteX4313" fmla="*/ 896408 w 1687454"/>
                  <a:gd name="connsiteY4313" fmla="*/ 875159 h 903637"/>
                  <a:gd name="connsiteX4314" fmla="*/ 897290 w 1687454"/>
                  <a:gd name="connsiteY4314" fmla="*/ 880097 h 903637"/>
                  <a:gd name="connsiteX4315" fmla="*/ 896143 w 1687454"/>
                  <a:gd name="connsiteY4315" fmla="*/ 881243 h 903637"/>
                  <a:gd name="connsiteX4316" fmla="*/ 894116 w 1687454"/>
                  <a:gd name="connsiteY4316" fmla="*/ 880979 h 903637"/>
                  <a:gd name="connsiteX4317" fmla="*/ 889178 w 1687454"/>
                  <a:gd name="connsiteY4317" fmla="*/ 880714 h 903637"/>
                  <a:gd name="connsiteX4318" fmla="*/ 887679 w 1687454"/>
                  <a:gd name="connsiteY4318" fmla="*/ 880979 h 903637"/>
                  <a:gd name="connsiteX4319" fmla="*/ 885034 w 1687454"/>
                  <a:gd name="connsiteY4319" fmla="*/ 881596 h 903637"/>
                  <a:gd name="connsiteX4320" fmla="*/ 883006 w 1687454"/>
                  <a:gd name="connsiteY4320" fmla="*/ 880979 h 903637"/>
                  <a:gd name="connsiteX4321" fmla="*/ 872514 w 1687454"/>
                  <a:gd name="connsiteY4321" fmla="*/ 883006 h 903637"/>
                  <a:gd name="connsiteX4322" fmla="*/ 868988 w 1687454"/>
                  <a:gd name="connsiteY4322" fmla="*/ 885916 h 903637"/>
                  <a:gd name="connsiteX4323" fmla="*/ 868723 w 1687454"/>
                  <a:gd name="connsiteY4323" fmla="*/ 886180 h 903637"/>
                  <a:gd name="connsiteX4324" fmla="*/ 867841 w 1687454"/>
                  <a:gd name="connsiteY4324" fmla="*/ 885916 h 903637"/>
                  <a:gd name="connsiteX4325" fmla="*/ 866078 w 1687454"/>
                  <a:gd name="connsiteY4325" fmla="*/ 887327 h 903637"/>
                  <a:gd name="connsiteX4326" fmla="*/ 872514 w 1687454"/>
                  <a:gd name="connsiteY4326" fmla="*/ 888208 h 903637"/>
                  <a:gd name="connsiteX4327" fmla="*/ 872779 w 1687454"/>
                  <a:gd name="connsiteY4327" fmla="*/ 888826 h 903637"/>
                  <a:gd name="connsiteX4328" fmla="*/ 871015 w 1687454"/>
                  <a:gd name="connsiteY4328" fmla="*/ 889090 h 903637"/>
                  <a:gd name="connsiteX4329" fmla="*/ 861934 w 1687454"/>
                  <a:gd name="connsiteY4329" fmla="*/ 887679 h 903637"/>
                  <a:gd name="connsiteX4330" fmla="*/ 860788 w 1687454"/>
                  <a:gd name="connsiteY4330" fmla="*/ 887062 h 903637"/>
                  <a:gd name="connsiteX4331" fmla="*/ 857614 w 1687454"/>
                  <a:gd name="connsiteY4331" fmla="*/ 886180 h 903637"/>
                  <a:gd name="connsiteX4332" fmla="*/ 850913 w 1687454"/>
                  <a:gd name="connsiteY4332" fmla="*/ 885916 h 903637"/>
                  <a:gd name="connsiteX4333" fmla="*/ 844212 w 1687454"/>
                  <a:gd name="connsiteY4333" fmla="*/ 888208 h 903637"/>
                  <a:gd name="connsiteX4334" fmla="*/ 839275 w 1687454"/>
                  <a:gd name="connsiteY4334" fmla="*/ 891382 h 903637"/>
                  <a:gd name="connsiteX4335" fmla="*/ 836630 w 1687454"/>
                  <a:gd name="connsiteY4335" fmla="*/ 892529 h 903637"/>
                  <a:gd name="connsiteX4336" fmla="*/ 835484 w 1687454"/>
                  <a:gd name="connsiteY4336" fmla="*/ 895703 h 903637"/>
                  <a:gd name="connsiteX4337" fmla="*/ 828783 w 1687454"/>
                  <a:gd name="connsiteY4337" fmla="*/ 896584 h 903637"/>
                  <a:gd name="connsiteX4338" fmla="*/ 827284 w 1687454"/>
                  <a:gd name="connsiteY4338" fmla="*/ 897730 h 903637"/>
                  <a:gd name="connsiteX4339" fmla="*/ 821465 w 1687454"/>
                  <a:gd name="connsiteY4339" fmla="*/ 899494 h 903637"/>
                  <a:gd name="connsiteX4340" fmla="*/ 820583 w 1687454"/>
                  <a:gd name="connsiteY4340" fmla="*/ 901257 h 903637"/>
                  <a:gd name="connsiteX4341" fmla="*/ 818820 w 1687454"/>
                  <a:gd name="connsiteY4341" fmla="*/ 903638 h 903637"/>
                  <a:gd name="connsiteX4342" fmla="*/ 818203 w 1687454"/>
                  <a:gd name="connsiteY4342" fmla="*/ 901874 h 903637"/>
                  <a:gd name="connsiteX4343" fmla="*/ 815822 w 1687454"/>
                  <a:gd name="connsiteY4343" fmla="*/ 901610 h 903637"/>
                  <a:gd name="connsiteX4344" fmla="*/ 813177 w 1687454"/>
                  <a:gd name="connsiteY4344" fmla="*/ 902492 h 903637"/>
                  <a:gd name="connsiteX4345" fmla="*/ 810267 w 1687454"/>
                  <a:gd name="connsiteY4345" fmla="*/ 902756 h 903637"/>
                  <a:gd name="connsiteX4346" fmla="*/ 808504 w 1687454"/>
                  <a:gd name="connsiteY4346" fmla="*/ 901610 h 903637"/>
                  <a:gd name="connsiteX4347" fmla="*/ 808504 w 1687454"/>
                  <a:gd name="connsiteY4347" fmla="*/ 900111 h 903637"/>
                  <a:gd name="connsiteX4348" fmla="*/ 808769 w 1687454"/>
                  <a:gd name="connsiteY4348" fmla="*/ 899494 h 903637"/>
                  <a:gd name="connsiteX4349" fmla="*/ 810532 w 1687454"/>
                  <a:gd name="connsiteY4349" fmla="*/ 895703 h 903637"/>
                  <a:gd name="connsiteX4350" fmla="*/ 811678 w 1687454"/>
                  <a:gd name="connsiteY4350" fmla="*/ 894821 h 903637"/>
                  <a:gd name="connsiteX4351" fmla="*/ 814852 w 1687454"/>
                  <a:gd name="connsiteY4351" fmla="*/ 893058 h 903637"/>
                  <a:gd name="connsiteX4352" fmla="*/ 817762 w 1687454"/>
                  <a:gd name="connsiteY4352" fmla="*/ 894821 h 903637"/>
                  <a:gd name="connsiteX4353" fmla="*/ 823316 w 1687454"/>
                  <a:gd name="connsiteY4353" fmla="*/ 894204 h 903637"/>
                  <a:gd name="connsiteX4354" fmla="*/ 824462 w 1687454"/>
                  <a:gd name="connsiteY4354" fmla="*/ 893058 h 903637"/>
                  <a:gd name="connsiteX4355" fmla="*/ 825080 w 1687454"/>
                  <a:gd name="connsiteY4355" fmla="*/ 891647 h 903637"/>
                  <a:gd name="connsiteX4356" fmla="*/ 824815 w 1687454"/>
                  <a:gd name="connsiteY4356" fmla="*/ 890765 h 903637"/>
                  <a:gd name="connsiteX4357" fmla="*/ 823933 w 1687454"/>
                  <a:gd name="connsiteY4357" fmla="*/ 889883 h 903637"/>
                  <a:gd name="connsiteX4358" fmla="*/ 824198 w 1687454"/>
                  <a:gd name="connsiteY4358" fmla="*/ 889002 h 903637"/>
                  <a:gd name="connsiteX4359" fmla="*/ 825697 w 1687454"/>
                  <a:gd name="connsiteY4359" fmla="*/ 886974 h 903637"/>
                  <a:gd name="connsiteX4360" fmla="*/ 830899 w 1687454"/>
                  <a:gd name="connsiteY4360" fmla="*/ 878510 h 903637"/>
                  <a:gd name="connsiteX4361" fmla="*/ 835307 w 1687454"/>
                  <a:gd name="connsiteY4361" fmla="*/ 876482 h 903637"/>
                  <a:gd name="connsiteX4362" fmla="*/ 836718 w 1687454"/>
                  <a:gd name="connsiteY4362" fmla="*/ 874101 h 903637"/>
                  <a:gd name="connsiteX4363" fmla="*/ 840245 w 1687454"/>
                  <a:gd name="connsiteY4363" fmla="*/ 872338 h 903637"/>
                  <a:gd name="connsiteX4364" fmla="*/ 842890 w 1687454"/>
                  <a:gd name="connsiteY4364" fmla="*/ 870575 h 903637"/>
                  <a:gd name="connsiteX4365" fmla="*/ 845799 w 1687454"/>
                  <a:gd name="connsiteY4365" fmla="*/ 869957 h 903637"/>
                  <a:gd name="connsiteX4366" fmla="*/ 845799 w 1687454"/>
                  <a:gd name="connsiteY4366" fmla="*/ 866166 h 903637"/>
                  <a:gd name="connsiteX4367" fmla="*/ 846416 w 1687454"/>
                  <a:gd name="connsiteY4367" fmla="*/ 862375 h 903637"/>
                  <a:gd name="connsiteX4368" fmla="*/ 848709 w 1687454"/>
                  <a:gd name="connsiteY4368" fmla="*/ 858584 h 903637"/>
                  <a:gd name="connsiteX4369" fmla="*/ 851089 w 1687454"/>
                  <a:gd name="connsiteY4369" fmla="*/ 856556 h 903637"/>
                  <a:gd name="connsiteX4370" fmla="*/ 853117 w 1687454"/>
                  <a:gd name="connsiteY4370" fmla="*/ 852500 h 903637"/>
                  <a:gd name="connsiteX4371" fmla="*/ 853117 w 1687454"/>
                  <a:gd name="connsiteY4371" fmla="*/ 851618 h 903637"/>
                  <a:gd name="connsiteX4372" fmla="*/ 853999 w 1687454"/>
                  <a:gd name="connsiteY4372" fmla="*/ 850472 h 903637"/>
                  <a:gd name="connsiteX4373" fmla="*/ 856644 w 1687454"/>
                  <a:gd name="connsiteY4373" fmla="*/ 848973 h 903637"/>
                  <a:gd name="connsiteX4374" fmla="*/ 858143 w 1687454"/>
                  <a:gd name="connsiteY4374" fmla="*/ 846328 h 903637"/>
                  <a:gd name="connsiteX4375" fmla="*/ 859642 w 1687454"/>
                  <a:gd name="connsiteY4375" fmla="*/ 844565 h 903637"/>
                  <a:gd name="connsiteX4376" fmla="*/ 862022 w 1687454"/>
                  <a:gd name="connsiteY4376" fmla="*/ 842802 h 903637"/>
                  <a:gd name="connsiteX4377" fmla="*/ 863521 w 1687454"/>
                  <a:gd name="connsiteY4377" fmla="*/ 841920 h 903637"/>
                  <a:gd name="connsiteX4378" fmla="*/ 867930 w 1687454"/>
                  <a:gd name="connsiteY4378" fmla="*/ 836982 h 903637"/>
                  <a:gd name="connsiteX4379" fmla="*/ 866166 w 1687454"/>
                  <a:gd name="connsiteY4379" fmla="*/ 834955 h 903637"/>
                  <a:gd name="connsiteX4380" fmla="*/ 866166 w 1687454"/>
                  <a:gd name="connsiteY4380" fmla="*/ 832662 h 903637"/>
                  <a:gd name="connsiteX4381" fmla="*/ 866431 w 1687454"/>
                  <a:gd name="connsiteY4381" fmla="*/ 830634 h 903637"/>
                  <a:gd name="connsiteX4382" fmla="*/ 864403 w 1687454"/>
                  <a:gd name="connsiteY4382" fmla="*/ 828606 h 903637"/>
                  <a:gd name="connsiteX4383" fmla="*/ 866166 w 1687454"/>
                  <a:gd name="connsiteY4383" fmla="*/ 827725 h 903637"/>
                  <a:gd name="connsiteX4384" fmla="*/ 866431 w 1687454"/>
                  <a:gd name="connsiteY4384" fmla="*/ 824551 h 903637"/>
                  <a:gd name="connsiteX4385" fmla="*/ 865813 w 1687454"/>
                  <a:gd name="connsiteY4385" fmla="*/ 823405 h 903637"/>
                  <a:gd name="connsiteX4386" fmla="*/ 865813 w 1687454"/>
                  <a:gd name="connsiteY4386" fmla="*/ 822787 h 903637"/>
                  <a:gd name="connsiteX4387" fmla="*/ 866695 w 1687454"/>
                  <a:gd name="connsiteY4387" fmla="*/ 822170 h 903637"/>
                  <a:gd name="connsiteX4388" fmla="*/ 867577 w 1687454"/>
                  <a:gd name="connsiteY4388" fmla="*/ 822170 h 903637"/>
                  <a:gd name="connsiteX4389" fmla="*/ 869605 w 1687454"/>
                  <a:gd name="connsiteY4389" fmla="*/ 822787 h 903637"/>
                  <a:gd name="connsiteX4390" fmla="*/ 870486 w 1687454"/>
                  <a:gd name="connsiteY4390" fmla="*/ 823405 h 903637"/>
                  <a:gd name="connsiteX4391" fmla="*/ 869869 w 1687454"/>
                  <a:gd name="connsiteY4391" fmla="*/ 824551 h 903637"/>
                  <a:gd name="connsiteX4392" fmla="*/ 869869 w 1687454"/>
                  <a:gd name="connsiteY4392" fmla="*/ 826843 h 903637"/>
                  <a:gd name="connsiteX4393" fmla="*/ 870486 w 1687454"/>
                  <a:gd name="connsiteY4393" fmla="*/ 827460 h 903637"/>
                  <a:gd name="connsiteX4394" fmla="*/ 870751 w 1687454"/>
                  <a:gd name="connsiteY4394" fmla="*/ 825432 h 903637"/>
                  <a:gd name="connsiteX4395" fmla="*/ 871633 w 1687454"/>
                  <a:gd name="connsiteY4395" fmla="*/ 829224 h 903637"/>
                  <a:gd name="connsiteX4396" fmla="*/ 871633 w 1687454"/>
                  <a:gd name="connsiteY4396" fmla="*/ 829488 h 903637"/>
                  <a:gd name="connsiteX4397" fmla="*/ 872250 w 1687454"/>
                  <a:gd name="connsiteY4397" fmla="*/ 829488 h 903637"/>
                  <a:gd name="connsiteX4398" fmla="*/ 875159 w 1687454"/>
                  <a:gd name="connsiteY4398" fmla="*/ 829224 h 903637"/>
                  <a:gd name="connsiteX4399" fmla="*/ 874895 w 1687454"/>
                  <a:gd name="connsiteY4399" fmla="*/ 830370 h 903637"/>
                  <a:gd name="connsiteX4400" fmla="*/ 875512 w 1687454"/>
                  <a:gd name="connsiteY4400" fmla="*/ 830370 h 903637"/>
                  <a:gd name="connsiteX4401" fmla="*/ 874630 w 1687454"/>
                  <a:gd name="connsiteY4401" fmla="*/ 829841 h 903637"/>
                  <a:gd name="connsiteX4402" fmla="*/ 876658 w 1687454"/>
                  <a:gd name="connsiteY4402" fmla="*/ 829576 h 903637"/>
                  <a:gd name="connsiteX4403" fmla="*/ 878157 w 1687454"/>
                  <a:gd name="connsiteY4403" fmla="*/ 828695 h 903637"/>
                  <a:gd name="connsiteX4404" fmla="*/ 878421 w 1687454"/>
                  <a:gd name="connsiteY4404" fmla="*/ 828959 h 903637"/>
                  <a:gd name="connsiteX4405" fmla="*/ 878157 w 1687454"/>
                  <a:gd name="connsiteY4405" fmla="*/ 829841 h 903637"/>
                  <a:gd name="connsiteX4406" fmla="*/ 877275 w 1687454"/>
                  <a:gd name="connsiteY4406" fmla="*/ 830987 h 903637"/>
                  <a:gd name="connsiteX4407" fmla="*/ 877011 w 1687454"/>
                  <a:gd name="connsiteY4407" fmla="*/ 831869 h 903637"/>
                  <a:gd name="connsiteX4408" fmla="*/ 873484 w 1687454"/>
                  <a:gd name="connsiteY4408" fmla="*/ 833632 h 903637"/>
                  <a:gd name="connsiteX4409" fmla="*/ 873220 w 1687454"/>
                  <a:gd name="connsiteY4409" fmla="*/ 834778 h 903637"/>
                  <a:gd name="connsiteX4410" fmla="*/ 875865 w 1687454"/>
                  <a:gd name="connsiteY4410" fmla="*/ 833368 h 903637"/>
                  <a:gd name="connsiteX4411" fmla="*/ 877011 w 1687454"/>
                  <a:gd name="connsiteY4411" fmla="*/ 833015 h 903637"/>
                  <a:gd name="connsiteX4412" fmla="*/ 877628 w 1687454"/>
                  <a:gd name="connsiteY4412" fmla="*/ 833897 h 903637"/>
                  <a:gd name="connsiteX4413" fmla="*/ 878774 w 1687454"/>
                  <a:gd name="connsiteY4413" fmla="*/ 834778 h 903637"/>
                  <a:gd name="connsiteX4414" fmla="*/ 879391 w 1687454"/>
                  <a:gd name="connsiteY4414" fmla="*/ 835660 h 903637"/>
                  <a:gd name="connsiteX4415" fmla="*/ 880009 w 1687454"/>
                  <a:gd name="connsiteY4415" fmla="*/ 835395 h 903637"/>
                  <a:gd name="connsiteX4416" fmla="*/ 882036 w 1687454"/>
                  <a:gd name="connsiteY4416" fmla="*/ 835395 h 903637"/>
                  <a:gd name="connsiteX4417" fmla="*/ 882301 w 1687454"/>
                  <a:gd name="connsiteY4417" fmla="*/ 837688 h 903637"/>
                  <a:gd name="connsiteX4418" fmla="*/ 887238 w 1687454"/>
                  <a:gd name="connsiteY4418" fmla="*/ 839980 h 903637"/>
                  <a:gd name="connsiteX4419" fmla="*/ 887503 w 1687454"/>
                  <a:gd name="connsiteY4419" fmla="*/ 839980 h 903637"/>
                  <a:gd name="connsiteX4420" fmla="*/ 891030 w 1687454"/>
                  <a:gd name="connsiteY4420" fmla="*/ 841126 h 903637"/>
                  <a:gd name="connsiteX4421" fmla="*/ 893939 w 1687454"/>
                  <a:gd name="connsiteY4421" fmla="*/ 839099 h 903637"/>
                  <a:gd name="connsiteX4422" fmla="*/ 894821 w 1687454"/>
                  <a:gd name="connsiteY4422" fmla="*/ 836718 h 903637"/>
                  <a:gd name="connsiteX4423" fmla="*/ 894556 w 1687454"/>
                  <a:gd name="connsiteY4423" fmla="*/ 835572 h 903637"/>
                  <a:gd name="connsiteX4424" fmla="*/ 893057 w 1687454"/>
                  <a:gd name="connsiteY4424" fmla="*/ 834426 h 903637"/>
                  <a:gd name="connsiteX4425" fmla="*/ 893586 w 1687454"/>
                  <a:gd name="connsiteY4425" fmla="*/ 833279 h 903637"/>
                  <a:gd name="connsiteX4426" fmla="*/ 894733 w 1687454"/>
                  <a:gd name="connsiteY4426" fmla="*/ 832662 h 903637"/>
                  <a:gd name="connsiteX4427" fmla="*/ 897113 w 1687454"/>
                  <a:gd name="connsiteY4427" fmla="*/ 831516 h 903637"/>
                  <a:gd name="connsiteX4428" fmla="*/ 897995 w 1687454"/>
                  <a:gd name="connsiteY4428" fmla="*/ 831781 h 903637"/>
                  <a:gd name="connsiteX4429" fmla="*/ 898259 w 1687454"/>
                  <a:gd name="connsiteY4429" fmla="*/ 834073 h 903637"/>
                  <a:gd name="connsiteX4430" fmla="*/ 900287 w 1687454"/>
                  <a:gd name="connsiteY4430" fmla="*/ 834337 h 903637"/>
                  <a:gd name="connsiteX4431" fmla="*/ 900816 w 1687454"/>
                  <a:gd name="connsiteY4431" fmla="*/ 833720 h 903637"/>
                  <a:gd name="connsiteX4432" fmla="*/ 901081 w 1687454"/>
                  <a:gd name="connsiteY4432" fmla="*/ 833456 h 903637"/>
                  <a:gd name="connsiteX4433" fmla="*/ 899935 w 1687454"/>
                  <a:gd name="connsiteY4433" fmla="*/ 832839 h 903637"/>
                  <a:gd name="connsiteX4434" fmla="*/ 899935 w 1687454"/>
                  <a:gd name="connsiteY4434" fmla="*/ 829664 h 903637"/>
                  <a:gd name="connsiteX4435" fmla="*/ 898788 w 1687454"/>
                  <a:gd name="connsiteY4435" fmla="*/ 829664 h 903637"/>
                  <a:gd name="connsiteX4436" fmla="*/ 898171 w 1687454"/>
                  <a:gd name="connsiteY4436" fmla="*/ 827284 h 903637"/>
                  <a:gd name="connsiteX4437" fmla="*/ 897290 w 1687454"/>
                  <a:gd name="connsiteY4437" fmla="*/ 825785 h 903637"/>
                  <a:gd name="connsiteX4438" fmla="*/ 898436 w 1687454"/>
                  <a:gd name="connsiteY4438" fmla="*/ 823757 h 903637"/>
                  <a:gd name="connsiteX4439" fmla="*/ 896143 w 1687454"/>
                  <a:gd name="connsiteY4439" fmla="*/ 822611 h 903637"/>
                  <a:gd name="connsiteX4440" fmla="*/ 896761 w 1687454"/>
                  <a:gd name="connsiteY4440" fmla="*/ 820231 h 903637"/>
                  <a:gd name="connsiteX4441" fmla="*/ 896496 w 1687454"/>
                  <a:gd name="connsiteY4441" fmla="*/ 819349 h 903637"/>
                  <a:gd name="connsiteX4442" fmla="*/ 895614 w 1687454"/>
                  <a:gd name="connsiteY4442" fmla="*/ 818732 h 903637"/>
                  <a:gd name="connsiteX4443" fmla="*/ 895350 w 1687454"/>
                  <a:gd name="connsiteY4443" fmla="*/ 817321 h 903637"/>
                  <a:gd name="connsiteX4444" fmla="*/ 894733 w 1687454"/>
                  <a:gd name="connsiteY4444" fmla="*/ 817321 h 903637"/>
                  <a:gd name="connsiteX4445" fmla="*/ 894468 w 1687454"/>
                  <a:gd name="connsiteY4445" fmla="*/ 816175 h 903637"/>
                  <a:gd name="connsiteX4446" fmla="*/ 895085 w 1687454"/>
                  <a:gd name="connsiteY4446" fmla="*/ 814676 h 903637"/>
                  <a:gd name="connsiteX4447" fmla="*/ 893586 w 1687454"/>
                  <a:gd name="connsiteY4447" fmla="*/ 814059 h 903637"/>
                  <a:gd name="connsiteX4448" fmla="*/ 893322 w 1687454"/>
                  <a:gd name="connsiteY4448" fmla="*/ 812913 h 903637"/>
                  <a:gd name="connsiteX4449" fmla="*/ 892440 w 1687454"/>
                  <a:gd name="connsiteY4449" fmla="*/ 812295 h 903637"/>
                  <a:gd name="connsiteX4450" fmla="*/ 891823 w 1687454"/>
                  <a:gd name="connsiteY4450" fmla="*/ 810267 h 903637"/>
                  <a:gd name="connsiteX4451" fmla="*/ 892088 w 1687454"/>
                  <a:gd name="connsiteY4451" fmla="*/ 809386 h 903637"/>
                  <a:gd name="connsiteX4452" fmla="*/ 891471 w 1687454"/>
                  <a:gd name="connsiteY4452" fmla="*/ 807005 h 903637"/>
                  <a:gd name="connsiteX4453" fmla="*/ 892088 w 1687454"/>
                  <a:gd name="connsiteY4453" fmla="*/ 805242 h 903637"/>
                  <a:gd name="connsiteX4454" fmla="*/ 890324 w 1687454"/>
                  <a:gd name="connsiteY4454" fmla="*/ 804360 h 903637"/>
                  <a:gd name="connsiteX4455" fmla="*/ 885387 w 1687454"/>
                  <a:gd name="connsiteY4455" fmla="*/ 804977 h 903637"/>
                  <a:gd name="connsiteX4456" fmla="*/ 883888 w 1687454"/>
                  <a:gd name="connsiteY4456" fmla="*/ 805242 h 903637"/>
                  <a:gd name="connsiteX4457" fmla="*/ 883006 w 1687454"/>
                  <a:gd name="connsiteY4457" fmla="*/ 804360 h 903637"/>
                  <a:gd name="connsiteX4458" fmla="*/ 876923 w 1687454"/>
                  <a:gd name="connsiteY4458" fmla="*/ 804096 h 903637"/>
                  <a:gd name="connsiteX4459" fmla="*/ 874278 w 1687454"/>
                  <a:gd name="connsiteY4459" fmla="*/ 804713 h 903637"/>
                  <a:gd name="connsiteX4460" fmla="*/ 873660 w 1687454"/>
                  <a:gd name="connsiteY4460" fmla="*/ 804448 h 903637"/>
                  <a:gd name="connsiteX4461" fmla="*/ 874807 w 1687454"/>
                  <a:gd name="connsiteY4461" fmla="*/ 803831 h 903637"/>
                  <a:gd name="connsiteX4462" fmla="*/ 874807 w 1687454"/>
                  <a:gd name="connsiteY4462" fmla="*/ 803214 h 903637"/>
                  <a:gd name="connsiteX4463" fmla="*/ 872514 w 1687454"/>
                  <a:gd name="connsiteY4463" fmla="*/ 803214 h 903637"/>
                  <a:gd name="connsiteX4464" fmla="*/ 872779 w 1687454"/>
                  <a:gd name="connsiteY4464" fmla="*/ 802597 h 903637"/>
                  <a:gd name="connsiteX4465" fmla="*/ 873396 w 1687454"/>
                  <a:gd name="connsiteY4465" fmla="*/ 800834 h 903637"/>
                  <a:gd name="connsiteX4466" fmla="*/ 871104 w 1687454"/>
                  <a:gd name="connsiteY4466" fmla="*/ 799952 h 903637"/>
                  <a:gd name="connsiteX4467" fmla="*/ 862904 w 1687454"/>
                  <a:gd name="connsiteY4467" fmla="*/ 799952 h 903637"/>
                  <a:gd name="connsiteX4468" fmla="*/ 862904 w 1687454"/>
                  <a:gd name="connsiteY4468" fmla="*/ 799335 h 903637"/>
                  <a:gd name="connsiteX4469" fmla="*/ 863168 w 1687454"/>
                  <a:gd name="connsiteY4469" fmla="*/ 798717 h 903637"/>
                  <a:gd name="connsiteX4470" fmla="*/ 863697 w 1687454"/>
                  <a:gd name="connsiteY4470" fmla="*/ 798717 h 903637"/>
                  <a:gd name="connsiteX4471" fmla="*/ 861052 w 1687454"/>
                  <a:gd name="connsiteY4471" fmla="*/ 798717 h 903637"/>
                  <a:gd name="connsiteX4472" fmla="*/ 855762 w 1687454"/>
                  <a:gd name="connsiteY4472" fmla="*/ 799864 h 903637"/>
                  <a:gd name="connsiteX4473" fmla="*/ 855762 w 1687454"/>
                  <a:gd name="connsiteY4473" fmla="*/ 799246 h 903637"/>
                  <a:gd name="connsiteX4474" fmla="*/ 856027 w 1687454"/>
                  <a:gd name="connsiteY4474" fmla="*/ 798629 h 903637"/>
                  <a:gd name="connsiteX4475" fmla="*/ 849855 w 1687454"/>
                  <a:gd name="connsiteY4475" fmla="*/ 798894 h 903637"/>
                  <a:gd name="connsiteX4476" fmla="*/ 839363 w 1687454"/>
                  <a:gd name="connsiteY4476" fmla="*/ 796866 h 903637"/>
                  <a:gd name="connsiteX4477" fmla="*/ 837952 w 1687454"/>
                  <a:gd name="connsiteY4477" fmla="*/ 796601 h 903637"/>
                  <a:gd name="connsiteX4478" fmla="*/ 837335 w 1687454"/>
                  <a:gd name="connsiteY4478" fmla="*/ 796601 h 903637"/>
                  <a:gd name="connsiteX4479" fmla="*/ 830370 w 1687454"/>
                  <a:gd name="connsiteY4479" fmla="*/ 794838 h 903637"/>
                  <a:gd name="connsiteX4480" fmla="*/ 830105 w 1687454"/>
                  <a:gd name="connsiteY4480" fmla="*/ 793956 h 903637"/>
                  <a:gd name="connsiteX4481" fmla="*/ 831869 w 1687454"/>
                  <a:gd name="connsiteY4481" fmla="*/ 791311 h 903637"/>
                  <a:gd name="connsiteX4482" fmla="*/ 832750 w 1687454"/>
                  <a:gd name="connsiteY4482" fmla="*/ 789548 h 903637"/>
                  <a:gd name="connsiteX4483" fmla="*/ 832221 w 1687454"/>
                  <a:gd name="connsiteY4483" fmla="*/ 788666 h 903637"/>
                  <a:gd name="connsiteX4484" fmla="*/ 831957 w 1687454"/>
                  <a:gd name="connsiteY4484" fmla="*/ 789812 h 903637"/>
                  <a:gd name="connsiteX4485" fmla="*/ 829312 w 1687454"/>
                  <a:gd name="connsiteY4485" fmla="*/ 788666 h 903637"/>
                  <a:gd name="connsiteX4486" fmla="*/ 829576 w 1687454"/>
                  <a:gd name="connsiteY4486" fmla="*/ 789812 h 903637"/>
                  <a:gd name="connsiteX4487" fmla="*/ 823757 w 1687454"/>
                  <a:gd name="connsiteY4487" fmla="*/ 791576 h 903637"/>
                  <a:gd name="connsiteX4488" fmla="*/ 823140 w 1687454"/>
                  <a:gd name="connsiteY4488" fmla="*/ 789548 h 903637"/>
                  <a:gd name="connsiteX4489" fmla="*/ 823405 w 1687454"/>
                  <a:gd name="connsiteY4489" fmla="*/ 788931 h 903637"/>
                  <a:gd name="connsiteX4490" fmla="*/ 826931 w 1687454"/>
                  <a:gd name="connsiteY4490" fmla="*/ 786638 h 903637"/>
                  <a:gd name="connsiteX4491" fmla="*/ 826931 w 1687454"/>
                  <a:gd name="connsiteY4491" fmla="*/ 784875 h 903637"/>
                  <a:gd name="connsiteX4492" fmla="*/ 826667 w 1687454"/>
                  <a:gd name="connsiteY4492" fmla="*/ 784875 h 903637"/>
                  <a:gd name="connsiteX4493" fmla="*/ 825785 w 1687454"/>
                  <a:gd name="connsiteY4493" fmla="*/ 786021 h 903637"/>
                  <a:gd name="connsiteX4494" fmla="*/ 824903 w 1687454"/>
                  <a:gd name="connsiteY4494" fmla="*/ 785404 h 903637"/>
                  <a:gd name="connsiteX4495" fmla="*/ 826050 w 1687454"/>
                  <a:gd name="connsiteY4495" fmla="*/ 783641 h 903637"/>
                  <a:gd name="connsiteX4496" fmla="*/ 826314 w 1687454"/>
                  <a:gd name="connsiteY4496" fmla="*/ 782759 h 903637"/>
                  <a:gd name="connsiteX4497" fmla="*/ 827813 w 1687454"/>
                  <a:gd name="connsiteY4497" fmla="*/ 782494 h 903637"/>
                  <a:gd name="connsiteX4498" fmla="*/ 828959 w 1687454"/>
                  <a:gd name="connsiteY4498" fmla="*/ 782759 h 903637"/>
                  <a:gd name="connsiteX4499" fmla="*/ 830105 w 1687454"/>
                  <a:gd name="connsiteY4499" fmla="*/ 782142 h 903637"/>
                  <a:gd name="connsiteX4500" fmla="*/ 830987 w 1687454"/>
                  <a:gd name="connsiteY4500" fmla="*/ 781260 h 903637"/>
                  <a:gd name="connsiteX4501" fmla="*/ 830722 w 1687454"/>
                  <a:gd name="connsiteY4501" fmla="*/ 780731 h 903637"/>
                  <a:gd name="connsiteX4502" fmla="*/ 829576 w 1687454"/>
                  <a:gd name="connsiteY4502" fmla="*/ 780466 h 903637"/>
                  <a:gd name="connsiteX4503" fmla="*/ 827284 w 1687454"/>
                  <a:gd name="connsiteY4503" fmla="*/ 780114 h 903637"/>
                  <a:gd name="connsiteX4504" fmla="*/ 827019 w 1687454"/>
                  <a:gd name="connsiteY4504" fmla="*/ 780731 h 903637"/>
                  <a:gd name="connsiteX4505" fmla="*/ 825873 w 1687454"/>
                  <a:gd name="connsiteY4505" fmla="*/ 780731 h 903637"/>
                  <a:gd name="connsiteX4506" fmla="*/ 825609 w 1687454"/>
                  <a:gd name="connsiteY4506" fmla="*/ 779232 h 903637"/>
                  <a:gd name="connsiteX4507" fmla="*/ 824462 w 1687454"/>
                  <a:gd name="connsiteY4507" fmla="*/ 779761 h 903637"/>
                  <a:gd name="connsiteX4508" fmla="*/ 823581 w 1687454"/>
                  <a:gd name="connsiteY4508" fmla="*/ 778615 h 903637"/>
                  <a:gd name="connsiteX4509" fmla="*/ 824462 w 1687454"/>
                  <a:gd name="connsiteY4509" fmla="*/ 777116 h 903637"/>
                  <a:gd name="connsiteX4510" fmla="*/ 825609 w 1687454"/>
                  <a:gd name="connsiteY4510" fmla="*/ 776499 h 903637"/>
                  <a:gd name="connsiteX4511" fmla="*/ 825873 w 1687454"/>
                  <a:gd name="connsiteY4511" fmla="*/ 775353 h 903637"/>
                  <a:gd name="connsiteX4512" fmla="*/ 830282 w 1687454"/>
                  <a:gd name="connsiteY4512" fmla="*/ 771562 h 903637"/>
                  <a:gd name="connsiteX4513" fmla="*/ 830017 w 1687454"/>
                  <a:gd name="connsiteY4513" fmla="*/ 769798 h 903637"/>
                  <a:gd name="connsiteX4514" fmla="*/ 828871 w 1687454"/>
                  <a:gd name="connsiteY4514" fmla="*/ 769181 h 903637"/>
                  <a:gd name="connsiteX4515" fmla="*/ 829135 w 1687454"/>
                  <a:gd name="connsiteY4515" fmla="*/ 768035 h 903637"/>
                  <a:gd name="connsiteX4516" fmla="*/ 828254 w 1687454"/>
                  <a:gd name="connsiteY4516" fmla="*/ 766889 h 903637"/>
                  <a:gd name="connsiteX4517" fmla="*/ 827372 w 1687454"/>
                  <a:gd name="connsiteY4517" fmla="*/ 766271 h 903637"/>
                  <a:gd name="connsiteX4518" fmla="*/ 825344 w 1687454"/>
                  <a:gd name="connsiteY4518" fmla="*/ 763979 h 903637"/>
                  <a:gd name="connsiteX4519" fmla="*/ 826843 w 1687454"/>
                  <a:gd name="connsiteY4519" fmla="*/ 762480 h 903637"/>
                  <a:gd name="connsiteX4520" fmla="*/ 827108 w 1687454"/>
                  <a:gd name="connsiteY4520" fmla="*/ 761598 h 903637"/>
                  <a:gd name="connsiteX4521" fmla="*/ 829488 w 1687454"/>
                  <a:gd name="connsiteY4521" fmla="*/ 759571 h 903637"/>
                  <a:gd name="connsiteX4522" fmla="*/ 829224 w 1687454"/>
                  <a:gd name="connsiteY4522" fmla="*/ 758160 h 903637"/>
                  <a:gd name="connsiteX4523" fmla="*/ 832133 w 1687454"/>
                  <a:gd name="connsiteY4523" fmla="*/ 756132 h 903637"/>
                  <a:gd name="connsiteX4524" fmla="*/ 830634 w 1687454"/>
                  <a:gd name="connsiteY4524" fmla="*/ 754986 h 903637"/>
                  <a:gd name="connsiteX4525" fmla="*/ 827460 w 1687454"/>
                  <a:gd name="connsiteY4525" fmla="*/ 754369 h 903637"/>
                  <a:gd name="connsiteX4526" fmla="*/ 825961 w 1687454"/>
                  <a:gd name="connsiteY4526" fmla="*/ 754986 h 903637"/>
                  <a:gd name="connsiteX4527" fmla="*/ 823052 w 1687454"/>
                  <a:gd name="connsiteY4527" fmla="*/ 755603 h 903637"/>
                  <a:gd name="connsiteX4528" fmla="*/ 821288 w 1687454"/>
                  <a:gd name="connsiteY4528" fmla="*/ 756220 h 903637"/>
                  <a:gd name="connsiteX4529" fmla="*/ 817762 w 1687454"/>
                  <a:gd name="connsiteY4529" fmla="*/ 755339 h 903637"/>
                  <a:gd name="connsiteX4530" fmla="*/ 816615 w 1687454"/>
                  <a:gd name="connsiteY4530" fmla="*/ 756220 h 903637"/>
                  <a:gd name="connsiteX4531" fmla="*/ 814852 w 1687454"/>
                  <a:gd name="connsiteY4531" fmla="*/ 753311 h 903637"/>
                  <a:gd name="connsiteX4532" fmla="*/ 814588 w 1687454"/>
                  <a:gd name="connsiteY4532" fmla="*/ 755339 h 903637"/>
                  <a:gd name="connsiteX4533" fmla="*/ 812824 w 1687454"/>
                  <a:gd name="connsiteY4533" fmla="*/ 753311 h 903637"/>
                  <a:gd name="connsiteX4534" fmla="*/ 812824 w 1687454"/>
                  <a:gd name="connsiteY4534" fmla="*/ 751812 h 903637"/>
                  <a:gd name="connsiteX4535" fmla="*/ 811678 w 1687454"/>
                  <a:gd name="connsiteY4535" fmla="*/ 750930 h 903637"/>
                  <a:gd name="connsiteX4536" fmla="*/ 811061 w 1687454"/>
                  <a:gd name="connsiteY4536" fmla="*/ 748902 h 903637"/>
                  <a:gd name="connsiteX4537" fmla="*/ 811061 w 1687454"/>
                  <a:gd name="connsiteY4537" fmla="*/ 748638 h 903637"/>
                  <a:gd name="connsiteX4538" fmla="*/ 811061 w 1687454"/>
                  <a:gd name="connsiteY4538" fmla="*/ 743965 h 903637"/>
                  <a:gd name="connsiteX4539" fmla="*/ 811678 w 1687454"/>
                  <a:gd name="connsiteY4539" fmla="*/ 740438 h 903637"/>
                  <a:gd name="connsiteX4540" fmla="*/ 812295 w 1687454"/>
                  <a:gd name="connsiteY4540" fmla="*/ 738675 h 903637"/>
                  <a:gd name="connsiteX4541" fmla="*/ 811149 w 1687454"/>
                  <a:gd name="connsiteY4541" fmla="*/ 735501 h 903637"/>
                  <a:gd name="connsiteX4542" fmla="*/ 810003 w 1687454"/>
                  <a:gd name="connsiteY4542" fmla="*/ 735501 h 903637"/>
                  <a:gd name="connsiteX4543" fmla="*/ 808857 w 1687454"/>
                  <a:gd name="connsiteY4543" fmla="*/ 736118 h 903637"/>
                  <a:gd name="connsiteX4544" fmla="*/ 806829 w 1687454"/>
                  <a:gd name="connsiteY4544" fmla="*/ 736118 h 903637"/>
                  <a:gd name="connsiteX4545" fmla="*/ 807446 w 1687454"/>
                  <a:gd name="connsiteY4545" fmla="*/ 734972 h 903637"/>
                  <a:gd name="connsiteX4546" fmla="*/ 803038 w 1687454"/>
                  <a:gd name="connsiteY4546" fmla="*/ 735501 h 903637"/>
                  <a:gd name="connsiteX4547" fmla="*/ 801010 w 1687454"/>
                  <a:gd name="connsiteY4547" fmla="*/ 735236 h 903637"/>
                  <a:gd name="connsiteX4548" fmla="*/ 794926 w 1687454"/>
                  <a:gd name="connsiteY4548" fmla="*/ 735236 h 903637"/>
                  <a:gd name="connsiteX4549" fmla="*/ 794309 w 1687454"/>
                  <a:gd name="connsiteY4549" fmla="*/ 734972 h 903637"/>
                  <a:gd name="connsiteX4550" fmla="*/ 792281 w 1687454"/>
                  <a:gd name="connsiteY4550" fmla="*/ 734090 h 903637"/>
                  <a:gd name="connsiteX4551" fmla="*/ 790782 w 1687454"/>
                  <a:gd name="connsiteY4551" fmla="*/ 733825 h 903637"/>
                  <a:gd name="connsiteX4552" fmla="*/ 788754 w 1687454"/>
                  <a:gd name="connsiteY4552" fmla="*/ 733208 h 903637"/>
                  <a:gd name="connsiteX4553" fmla="*/ 788754 w 1687454"/>
                  <a:gd name="connsiteY4553" fmla="*/ 732591 h 903637"/>
                  <a:gd name="connsiteX4554" fmla="*/ 784346 w 1687454"/>
                  <a:gd name="connsiteY4554" fmla="*/ 731445 h 903637"/>
                  <a:gd name="connsiteX4555" fmla="*/ 782935 w 1687454"/>
                  <a:gd name="connsiteY4555" fmla="*/ 730563 h 903637"/>
                  <a:gd name="connsiteX4556" fmla="*/ 780907 w 1687454"/>
                  <a:gd name="connsiteY4556" fmla="*/ 729946 h 903637"/>
                  <a:gd name="connsiteX4557" fmla="*/ 777998 w 1687454"/>
                  <a:gd name="connsiteY4557" fmla="*/ 730828 h 903637"/>
                  <a:gd name="connsiteX4558" fmla="*/ 777116 w 1687454"/>
                  <a:gd name="connsiteY4558" fmla="*/ 733120 h 903637"/>
                  <a:gd name="connsiteX4559" fmla="*/ 778879 w 1687454"/>
                  <a:gd name="connsiteY4559" fmla="*/ 734266 h 903637"/>
                  <a:gd name="connsiteX4560" fmla="*/ 777733 w 1687454"/>
                  <a:gd name="connsiteY4560" fmla="*/ 737176 h 903637"/>
                  <a:gd name="connsiteX4561" fmla="*/ 775088 w 1687454"/>
                  <a:gd name="connsiteY4561" fmla="*/ 739204 h 903637"/>
                  <a:gd name="connsiteX4562" fmla="*/ 773589 w 1687454"/>
                  <a:gd name="connsiteY4562" fmla="*/ 739204 h 903637"/>
                  <a:gd name="connsiteX4563" fmla="*/ 771561 w 1687454"/>
                  <a:gd name="connsiteY4563" fmla="*/ 740350 h 903637"/>
                  <a:gd name="connsiteX4564" fmla="*/ 769534 w 1687454"/>
                  <a:gd name="connsiteY4564" fmla="*/ 740614 h 903637"/>
                  <a:gd name="connsiteX4565" fmla="*/ 768387 w 1687454"/>
                  <a:gd name="connsiteY4565" fmla="*/ 741496 h 903637"/>
                  <a:gd name="connsiteX4566" fmla="*/ 767506 w 1687454"/>
                  <a:gd name="connsiteY4566" fmla="*/ 743260 h 903637"/>
                  <a:gd name="connsiteX4567" fmla="*/ 766360 w 1687454"/>
                  <a:gd name="connsiteY4567" fmla="*/ 743524 h 903637"/>
                  <a:gd name="connsiteX4568" fmla="*/ 766360 w 1687454"/>
                  <a:gd name="connsiteY4568" fmla="*/ 743260 h 903637"/>
                  <a:gd name="connsiteX4569" fmla="*/ 767241 w 1687454"/>
                  <a:gd name="connsiteY4569" fmla="*/ 741232 h 903637"/>
                  <a:gd name="connsiteX4570" fmla="*/ 772531 w 1687454"/>
                  <a:gd name="connsiteY4570" fmla="*/ 737705 h 903637"/>
                  <a:gd name="connsiteX4571" fmla="*/ 774912 w 1687454"/>
                  <a:gd name="connsiteY4571" fmla="*/ 735060 h 903637"/>
                  <a:gd name="connsiteX4572" fmla="*/ 775176 w 1687454"/>
                  <a:gd name="connsiteY4572" fmla="*/ 734443 h 903637"/>
                  <a:gd name="connsiteX4573" fmla="*/ 772796 w 1687454"/>
                  <a:gd name="connsiteY4573" fmla="*/ 733561 h 903637"/>
                  <a:gd name="connsiteX4574" fmla="*/ 770768 w 1687454"/>
                  <a:gd name="connsiteY4574" fmla="*/ 735060 h 903637"/>
                  <a:gd name="connsiteX4575" fmla="*/ 770151 w 1687454"/>
                  <a:gd name="connsiteY4575" fmla="*/ 736559 h 903637"/>
                  <a:gd name="connsiteX4576" fmla="*/ 768652 w 1687454"/>
                  <a:gd name="connsiteY4576" fmla="*/ 738587 h 903637"/>
                  <a:gd name="connsiteX4577" fmla="*/ 767506 w 1687454"/>
                  <a:gd name="connsiteY4577" fmla="*/ 738851 h 903637"/>
                  <a:gd name="connsiteX4578" fmla="*/ 766007 w 1687454"/>
                  <a:gd name="connsiteY4578" fmla="*/ 741232 h 903637"/>
                  <a:gd name="connsiteX4579" fmla="*/ 764508 w 1687454"/>
                  <a:gd name="connsiteY4579" fmla="*/ 741761 h 903637"/>
                  <a:gd name="connsiteX4580" fmla="*/ 763097 w 1687454"/>
                  <a:gd name="connsiteY4580" fmla="*/ 744670 h 903637"/>
                  <a:gd name="connsiteX4581" fmla="*/ 761334 w 1687454"/>
                  <a:gd name="connsiteY4581" fmla="*/ 745816 h 903637"/>
                  <a:gd name="connsiteX4582" fmla="*/ 759042 w 1687454"/>
                  <a:gd name="connsiteY4582" fmla="*/ 745816 h 903637"/>
                  <a:gd name="connsiteX4583" fmla="*/ 757895 w 1687454"/>
                  <a:gd name="connsiteY4583" fmla="*/ 746433 h 903637"/>
                  <a:gd name="connsiteX4584" fmla="*/ 757895 w 1687454"/>
                  <a:gd name="connsiteY4584" fmla="*/ 746169 h 903637"/>
                  <a:gd name="connsiteX4585" fmla="*/ 759659 w 1687454"/>
                  <a:gd name="connsiteY4585" fmla="*/ 744670 h 903637"/>
                  <a:gd name="connsiteX4586" fmla="*/ 761687 w 1687454"/>
                  <a:gd name="connsiteY4586" fmla="*/ 742642 h 903637"/>
                  <a:gd name="connsiteX4587" fmla="*/ 764067 w 1687454"/>
                  <a:gd name="connsiteY4587" fmla="*/ 740350 h 903637"/>
                  <a:gd name="connsiteX4588" fmla="*/ 759394 w 1687454"/>
                  <a:gd name="connsiteY4588" fmla="*/ 741761 h 903637"/>
                  <a:gd name="connsiteX4589" fmla="*/ 755867 w 1687454"/>
                  <a:gd name="connsiteY4589" fmla="*/ 742378 h 903637"/>
                  <a:gd name="connsiteX4590" fmla="*/ 753840 w 1687454"/>
                  <a:gd name="connsiteY4590" fmla="*/ 743524 h 903637"/>
                  <a:gd name="connsiteX4591" fmla="*/ 752341 w 1687454"/>
                  <a:gd name="connsiteY4591" fmla="*/ 744670 h 903637"/>
                  <a:gd name="connsiteX4592" fmla="*/ 752341 w 1687454"/>
                  <a:gd name="connsiteY4592" fmla="*/ 746433 h 903637"/>
                  <a:gd name="connsiteX4593" fmla="*/ 750577 w 1687454"/>
                  <a:gd name="connsiteY4593" fmla="*/ 747580 h 903637"/>
                  <a:gd name="connsiteX4594" fmla="*/ 748550 w 1687454"/>
                  <a:gd name="connsiteY4594" fmla="*/ 750225 h 903637"/>
                  <a:gd name="connsiteX4595" fmla="*/ 747403 w 1687454"/>
                  <a:gd name="connsiteY4595" fmla="*/ 751371 h 903637"/>
                  <a:gd name="connsiteX4596" fmla="*/ 743348 w 1687454"/>
                  <a:gd name="connsiteY4596" fmla="*/ 754016 h 903637"/>
                  <a:gd name="connsiteX4597" fmla="*/ 740703 w 1687454"/>
                  <a:gd name="connsiteY4597" fmla="*/ 754016 h 903637"/>
                  <a:gd name="connsiteX4598" fmla="*/ 734002 w 1687454"/>
                  <a:gd name="connsiteY4598" fmla="*/ 754633 h 903637"/>
                  <a:gd name="connsiteX4599" fmla="*/ 730475 w 1687454"/>
                  <a:gd name="connsiteY4599" fmla="*/ 751371 h 903637"/>
                  <a:gd name="connsiteX4600" fmla="*/ 718220 w 1687454"/>
                  <a:gd name="connsiteY4600" fmla="*/ 751988 h 903637"/>
                  <a:gd name="connsiteX4601" fmla="*/ 718220 w 1687454"/>
                  <a:gd name="connsiteY4601" fmla="*/ 747844 h 903637"/>
                  <a:gd name="connsiteX4602" fmla="*/ 701556 w 1687454"/>
                  <a:gd name="connsiteY4602" fmla="*/ 753134 h 903637"/>
                  <a:gd name="connsiteX4603" fmla="*/ 702437 w 1687454"/>
                  <a:gd name="connsiteY4603" fmla="*/ 751371 h 903637"/>
                  <a:gd name="connsiteX4604" fmla="*/ 700057 w 1687454"/>
                  <a:gd name="connsiteY4604" fmla="*/ 751107 h 903637"/>
                  <a:gd name="connsiteX4605" fmla="*/ 700674 w 1687454"/>
                  <a:gd name="connsiteY4605" fmla="*/ 749343 h 903637"/>
                  <a:gd name="connsiteX4606" fmla="*/ 699175 w 1687454"/>
                  <a:gd name="connsiteY4606" fmla="*/ 749079 h 903637"/>
                  <a:gd name="connsiteX4607" fmla="*/ 694767 w 1687454"/>
                  <a:gd name="connsiteY4607" fmla="*/ 745287 h 903637"/>
                  <a:gd name="connsiteX4608" fmla="*/ 691593 w 1687454"/>
                  <a:gd name="connsiteY4608" fmla="*/ 745552 h 903637"/>
                  <a:gd name="connsiteX4609" fmla="*/ 690976 w 1687454"/>
                  <a:gd name="connsiteY4609" fmla="*/ 748197 h 903637"/>
                  <a:gd name="connsiteX4610" fmla="*/ 689212 w 1687454"/>
                  <a:gd name="connsiteY4610" fmla="*/ 748197 h 903637"/>
                  <a:gd name="connsiteX4611" fmla="*/ 688330 w 1687454"/>
                  <a:gd name="connsiteY4611" fmla="*/ 747844 h 903637"/>
                  <a:gd name="connsiteX4612" fmla="*/ 687713 w 1687454"/>
                  <a:gd name="connsiteY4612" fmla="*/ 744670 h 903637"/>
                  <a:gd name="connsiteX4613" fmla="*/ 688330 w 1687454"/>
                  <a:gd name="connsiteY4613" fmla="*/ 743524 h 903637"/>
                  <a:gd name="connsiteX4614" fmla="*/ 686567 w 1687454"/>
                  <a:gd name="connsiteY4614" fmla="*/ 742995 h 903637"/>
                  <a:gd name="connsiteX4615" fmla="*/ 685686 w 1687454"/>
                  <a:gd name="connsiteY4615" fmla="*/ 743260 h 903637"/>
                  <a:gd name="connsiteX4616" fmla="*/ 683040 w 1687454"/>
                  <a:gd name="connsiteY4616" fmla="*/ 739733 h 903637"/>
                  <a:gd name="connsiteX4617" fmla="*/ 679514 w 1687454"/>
                  <a:gd name="connsiteY4617" fmla="*/ 738851 h 903637"/>
                  <a:gd name="connsiteX4618" fmla="*/ 664084 w 1687454"/>
                  <a:gd name="connsiteY4618" fmla="*/ 741761 h 903637"/>
                  <a:gd name="connsiteX4619" fmla="*/ 664084 w 1687454"/>
                  <a:gd name="connsiteY4619" fmla="*/ 738851 h 903637"/>
                  <a:gd name="connsiteX4620" fmla="*/ 654738 w 1687454"/>
                  <a:gd name="connsiteY4620" fmla="*/ 737088 h 903637"/>
                  <a:gd name="connsiteX4621" fmla="*/ 650330 w 1687454"/>
                  <a:gd name="connsiteY4621" fmla="*/ 735060 h 903637"/>
                  <a:gd name="connsiteX4622" fmla="*/ 654121 w 1687454"/>
                  <a:gd name="connsiteY4622" fmla="*/ 721923 h 903637"/>
                  <a:gd name="connsiteX4623" fmla="*/ 652093 w 1687454"/>
                  <a:gd name="connsiteY4623" fmla="*/ 720777 h 903637"/>
                  <a:gd name="connsiteX4624" fmla="*/ 648567 w 1687454"/>
                  <a:gd name="connsiteY4624" fmla="*/ 720777 h 903637"/>
                  <a:gd name="connsiteX4625" fmla="*/ 622645 w 1687454"/>
                  <a:gd name="connsiteY4625" fmla="*/ 729770 h 903637"/>
                  <a:gd name="connsiteX4626" fmla="*/ 358669 w 1687454"/>
                  <a:gd name="connsiteY4626" fmla="*/ 729770 h 903637"/>
                  <a:gd name="connsiteX4627" fmla="*/ 281962 w 1687454"/>
                  <a:gd name="connsiteY4627" fmla="*/ 729770 h 903637"/>
                  <a:gd name="connsiteX4628" fmla="*/ 264152 w 1687454"/>
                  <a:gd name="connsiteY4628" fmla="*/ 729770 h 903637"/>
                  <a:gd name="connsiteX4629" fmla="*/ 222449 w 1687454"/>
                  <a:gd name="connsiteY4629" fmla="*/ 729770 h 903637"/>
                  <a:gd name="connsiteX4630" fmla="*/ 215131 w 1687454"/>
                  <a:gd name="connsiteY4630" fmla="*/ 729505 h 903637"/>
                  <a:gd name="connsiteX4631" fmla="*/ 187975 w 1687454"/>
                  <a:gd name="connsiteY4631" fmla="*/ 729505 h 903637"/>
                  <a:gd name="connsiteX4632" fmla="*/ 148916 w 1687454"/>
                  <a:gd name="connsiteY4632" fmla="*/ 729770 h 903637"/>
                  <a:gd name="connsiteX4633" fmla="*/ 122378 w 1687454"/>
                  <a:gd name="connsiteY4633" fmla="*/ 730651 h 903637"/>
                  <a:gd name="connsiteX4634" fmla="*/ 111004 w 1687454"/>
                  <a:gd name="connsiteY4634" fmla="*/ 731533 h 903637"/>
                  <a:gd name="connsiteX4635" fmla="*/ 111268 w 1687454"/>
                  <a:gd name="connsiteY4635" fmla="*/ 727125 h 903637"/>
                  <a:gd name="connsiteX4636" fmla="*/ 107477 w 1687454"/>
                  <a:gd name="connsiteY4636" fmla="*/ 728006 h 903637"/>
                  <a:gd name="connsiteX4637" fmla="*/ 106596 w 1687454"/>
                  <a:gd name="connsiteY4637" fmla="*/ 729153 h 903637"/>
                  <a:gd name="connsiteX4638" fmla="*/ 106596 w 1687454"/>
                  <a:gd name="connsiteY4638" fmla="*/ 729682 h 903637"/>
                  <a:gd name="connsiteX4639" fmla="*/ 105978 w 1687454"/>
                  <a:gd name="connsiteY4639" fmla="*/ 729153 h 903637"/>
                  <a:gd name="connsiteX4640" fmla="*/ 106596 w 1687454"/>
                  <a:gd name="connsiteY4640" fmla="*/ 728006 h 903637"/>
                  <a:gd name="connsiteX4641" fmla="*/ 105714 w 1687454"/>
                  <a:gd name="connsiteY4641" fmla="*/ 727742 h 903637"/>
                  <a:gd name="connsiteX4642" fmla="*/ 108006 w 1687454"/>
                  <a:gd name="connsiteY4642" fmla="*/ 726596 h 903637"/>
                  <a:gd name="connsiteX4643" fmla="*/ 108271 w 1687454"/>
                  <a:gd name="connsiteY4643" fmla="*/ 726331 h 903637"/>
                  <a:gd name="connsiteX4644" fmla="*/ 106507 w 1687454"/>
                  <a:gd name="connsiteY4644" fmla="*/ 726596 h 903637"/>
                  <a:gd name="connsiteX4645" fmla="*/ 105626 w 1687454"/>
                  <a:gd name="connsiteY4645" fmla="*/ 726331 h 903637"/>
                  <a:gd name="connsiteX4646" fmla="*/ 106507 w 1687454"/>
                  <a:gd name="connsiteY4646" fmla="*/ 725185 h 903637"/>
                  <a:gd name="connsiteX4647" fmla="*/ 106507 w 1687454"/>
                  <a:gd name="connsiteY4647" fmla="*/ 724921 h 903637"/>
                  <a:gd name="connsiteX4648" fmla="*/ 106772 w 1687454"/>
                  <a:gd name="connsiteY4648" fmla="*/ 724303 h 903637"/>
                  <a:gd name="connsiteX4649" fmla="*/ 107036 w 1687454"/>
                  <a:gd name="connsiteY4649" fmla="*/ 724039 h 903637"/>
                  <a:gd name="connsiteX4650" fmla="*/ 106772 w 1687454"/>
                  <a:gd name="connsiteY4650" fmla="*/ 722540 h 903637"/>
                  <a:gd name="connsiteX4651" fmla="*/ 107654 w 1687454"/>
                  <a:gd name="connsiteY4651" fmla="*/ 722540 h 903637"/>
                  <a:gd name="connsiteX4652" fmla="*/ 109681 w 1687454"/>
                  <a:gd name="connsiteY4652" fmla="*/ 722540 h 903637"/>
                  <a:gd name="connsiteX4653" fmla="*/ 110299 w 1687454"/>
                  <a:gd name="connsiteY4653" fmla="*/ 721658 h 903637"/>
                  <a:gd name="connsiteX4654" fmla="*/ 108800 w 1687454"/>
                  <a:gd name="connsiteY4654" fmla="*/ 721129 h 903637"/>
                  <a:gd name="connsiteX4655" fmla="*/ 107654 w 1687454"/>
                  <a:gd name="connsiteY4655" fmla="*/ 721129 h 903637"/>
                  <a:gd name="connsiteX4656" fmla="*/ 108271 w 1687454"/>
                  <a:gd name="connsiteY4656" fmla="*/ 720248 h 903637"/>
                  <a:gd name="connsiteX4657" fmla="*/ 110034 w 1687454"/>
                  <a:gd name="connsiteY4657" fmla="*/ 719366 h 903637"/>
                  <a:gd name="connsiteX4658" fmla="*/ 111180 w 1687454"/>
                  <a:gd name="connsiteY4658" fmla="*/ 717074 h 903637"/>
                  <a:gd name="connsiteX4659" fmla="*/ 111797 w 1687454"/>
                  <a:gd name="connsiteY4659" fmla="*/ 716456 h 903637"/>
                  <a:gd name="connsiteX4660" fmla="*/ 112679 w 1687454"/>
                  <a:gd name="connsiteY4660" fmla="*/ 715575 h 903637"/>
                  <a:gd name="connsiteX4661" fmla="*/ 111533 w 1687454"/>
                  <a:gd name="connsiteY4661" fmla="*/ 715575 h 903637"/>
                  <a:gd name="connsiteX4662" fmla="*/ 110387 w 1687454"/>
                  <a:gd name="connsiteY4662" fmla="*/ 716192 h 903637"/>
                  <a:gd name="connsiteX4663" fmla="*/ 106860 w 1687454"/>
                  <a:gd name="connsiteY4663" fmla="*/ 717074 h 903637"/>
                  <a:gd name="connsiteX4664" fmla="*/ 104832 w 1687454"/>
                  <a:gd name="connsiteY4664" fmla="*/ 719983 h 903637"/>
                  <a:gd name="connsiteX4665" fmla="*/ 103686 w 1687454"/>
                  <a:gd name="connsiteY4665" fmla="*/ 720600 h 903637"/>
                  <a:gd name="connsiteX4666" fmla="*/ 101041 w 1687454"/>
                  <a:gd name="connsiteY4666" fmla="*/ 718572 h 903637"/>
                  <a:gd name="connsiteX4667" fmla="*/ 98131 w 1687454"/>
                  <a:gd name="connsiteY4667" fmla="*/ 718308 h 903637"/>
                  <a:gd name="connsiteX4668" fmla="*/ 97514 w 1687454"/>
                  <a:gd name="connsiteY4668" fmla="*/ 717426 h 903637"/>
                  <a:gd name="connsiteX4669" fmla="*/ 97779 w 1687454"/>
                  <a:gd name="connsiteY4669" fmla="*/ 713635 h 903637"/>
                  <a:gd name="connsiteX4670" fmla="*/ 99189 w 1687454"/>
                  <a:gd name="connsiteY4670" fmla="*/ 712489 h 903637"/>
                  <a:gd name="connsiteX4671" fmla="*/ 100336 w 1687454"/>
                  <a:gd name="connsiteY4671" fmla="*/ 711607 h 903637"/>
                  <a:gd name="connsiteX4672" fmla="*/ 102099 w 1687454"/>
                  <a:gd name="connsiteY4672" fmla="*/ 710990 h 903637"/>
                  <a:gd name="connsiteX4673" fmla="*/ 102363 w 1687454"/>
                  <a:gd name="connsiteY4673" fmla="*/ 710108 h 903637"/>
                  <a:gd name="connsiteX4674" fmla="*/ 100865 w 1687454"/>
                  <a:gd name="connsiteY4674" fmla="*/ 709491 h 903637"/>
                  <a:gd name="connsiteX4675" fmla="*/ 99101 w 1687454"/>
                  <a:gd name="connsiteY4675" fmla="*/ 710637 h 903637"/>
                  <a:gd name="connsiteX4676" fmla="*/ 94164 w 1687454"/>
                  <a:gd name="connsiteY4676" fmla="*/ 711519 h 903637"/>
                  <a:gd name="connsiteX4677" fmla="*/ 92136 w 1687454"/>
                  <a:gd name="connsiteY4677" fmla="*/ 710902 h 903637"/>
                  <a:gd name="connsiteX4678" fmla="*/ 91254 w 1687454"/>
                  <a:gd name="connsiteY4678" fmla="*/ 710020 h 903637"/>
                  <a:gd name="connsiteX4679" fmla="*/ 91519 w 1687454"/>
                  <a:gd name="connsiteY4679" fmla="*/ 708257 h 903637"/>
                  <a:gd name="connsiteX4680" fmla="*/ 88874 w 1687454"/>
                  <a:gd name="connsiteY4680" fmla="*/ 706493 h 903637"/>
                  <a:gd name="connsiteX4681" fmla="*/ 89138 w 1687454"/>
                  <a:gd name="connsiteY4681" fmla="*/ 705612 h 903637"/>
                  <a:gd name="connsiteX4682" fmla="*/ 89138 w 1687454"/>
                  <a:gd name="connsiteY4682" fmla="*/ 704465 h 903637"/>
                  <a:gd name="connsiteX4683" fmla="*/ 95839 w 1687454"/>
                  <a:gd name="connsiteY4683" fmla="*/ 701291 h 903637"/>
                  <a:gd name="connsiteX4684" fmla="*/ 96721 w 1687454"/>
                  <a:gd name="connsiteY4684" fmla="*/ 699528 h 903637"/>
                  <a:gd name="connsiteX4685" fmla="*/ 96985 w 1687454"/>
                  <a:gd name="connsiteY4685" fmla="*/ 698382 h 903637"/>
                  <a:gd name="connsiteX4686" fmla="*/ 96456 w 1687454"/>
                  <a:gd name="connsiteY4686" fmla="*/ 697500 h 903637"/>
                  <a:gd name="connsiteX4687" fmla="*/ 92665 w 1687454"/>
                  <a:gd name="connsiteY4687" fmla="*/ 697765 h 903637"/>
                  <a:gd name="connsiteX4688" fmla="*/ 91166 w 1687454"/>
                  <a:gd name="connsiteY4688" fmla="*/ 697236 h 903637"/>
                  <a:gd name="connsiteX4689" fmla="*/ 89667 w 1687454"/>
                  <a:gd name="connsiteY4689" fmla="*/ 697500 h 903637"/>
                  <a:gd name="connsiteX4690" fmla="*/ 90549 w 1687454"/>
                  <a:gd name="connsiteY4690" fmla="*/ 696089 h 903637"/>
                  <a:gd name="connsiteX4691" fmla="*/ 90813 w 1687454"/>
                  <a:gd name="connsiteY4691" fmla="*/ 695472 h 903637"/>
                  <a:gd name="connsiteX4692" fmla="*/ 88521 w 1687454"/>
                  <a:gd name="connsiteY4692" fmla="*/ 695208 h 903637"/>
                  <a:gd name="connsiteX4693" fmla="*/ 88257 w 1687454"/>
                  <a:gd name="connsiteY4693" fmla="*/ 694326 h 903637"/>
                  <a:gd name="connsiteX4694" fmla="*/ 86846 w 1687454"/>
                  <a:gd name="connsiteY4694" fmla="*/ 694062 h 903637"/>
                  <a:gd name="connsiteX4695" fmla="*/ 81027 w 1687454"/>
                  <a:gd name="connsiteY4695" fmla="*/ 694679 h 903637"/>
                  <a:gd name="connsiteX4696" fmla="*/ 79263 w 1687454"/>
                  <a:gd name="connsiteY4696" fmla="*/ 695296 h 903637"/>
                  <a:gd name="connsiteX4697" fmla="*/ 78646 w 1687454"/>
                  <a:gd name="connsiteY4697" fmla="*/ 695031 h 903637"/>
                  <a:gd name="connsiteX4698" fmla="*/ 79263 w 1687454"/>
                  <a:gd name="connsiteY4698" fmla="*/ 693532 h 903637"/>
                  <a:gd name="connsiteX4699" fmla="*/ 78382 w 1687454"/>
                  <a:gd name="connsiteY4699" fmla="*/ 693268 h 903637"/>
                  <a:gd name="connsiteX4700" fmla="*/ 73444 w 1687454"/>
                  <a:gd name="connsiteY4700" fmla="*/ 693532 h 903637"/>
                  <a:gd name="connsiteX4701" fmla="*/ 70535 w 1687454"/>
                  <a:gd name="connsiteY4701" fmla="*/ 693268 h 903637"/>
                  <a:gd name="connsiteX4702" fmla="*/ 70535 w 1687454"/>
                  <a:gd name="connsiteY4702" fmla="*/ 693003 h 903637"/>
                  <a:gd name="connsiteX4703" fmla="*/ 72298 w 1687454"/>
                  <a:gd name="connsiteY4703" fmla="*/ 691857 h 903637"/>
                  <a:gd name="connsiteX4704" fmla="*/ 72298 w 1687454"/>
                  <a:gd name="connsiteY4704" fmla="*/ 691240 h 903637"/>
                  <a:gd name="connsiteX4705" fmla="*/ 71152 w 1687454"/>
                  <a:gd name="connsiteY4705" fmla="*/ 690976 h 903637"/>
                  <a:gd name="connsiteX4706" fmla="*/ 72034 w 1687454"/>
                  <a:gd name="connsiteY4706" fmla="*/ 690711 h 903637"/>
                  <a:gd name="connsiteX4707" fmla="*/ 74326 w 1687454"/>
                  <a:gd name="connsiteY4707" fmla="*/ 689829 h 903637"/>
                  <a:gd name="connsiteX4708" fmla="*/ 74943 w 1687454"/>
                  <a:gd name="connsiteY4708" fmla="*/ 688948 h 903637"/>
                  <a:gd name="connsiteX4709" fmla="*/ 76706 w 1687454"/>
                  <a:gd name="connsiteY4709" fmla="*/ 687802 h 903637"/>
                  <a:gd name="connsiteX4710" fmla="*/ 76706 w 1687454"/>
                  <a:gd name="connsiteY4710" fmla="*/ 685774 h 903637"/>
                  <a:gd name="connsiteX4711" fmla="*/ 75560 w 1687454"/>
                  <a:gd name="connsiteY4711" fmla="*/ 684892 h 903637"/>
                  <a:gd name="connsiteX4712" fmla="*/ 72298 w 1687454"/>
                  <a:gd name="connsiteY4712" fmla="*/ 685774 h 903637"/>
                  <a:gd name="connsiteX4713" fmla="*/ 70006 w 1687454"/>
                  <a:gd name="connsiteY4713" fmla="*/ 685509 h 903637"/>
                  <a:gd name="connsiteX4714" fmla="*/ 70006 w 1687454"/>
                  <a:gd name="connsiteY4714" fmla="*/ 685245 h 903637"/>
                  <a:gd name="connsiteX4715" fmla="*/ 71152 w 1687454"/>
                  <a:gd name="connsiteY4715" fmla="*/ 683746 h 903637"/>
                  <a:gd name="connsiteX4716" fmla="*/ 70006 w 1687454"/>
                  <a:gd name="connsiteY4716" fmla="*/ 684010 h 903637"/>
                  <a:gd name="connsiteX4717" fmla="*/ 69124 w 1687454"/>
                  <a:gd name="connsiteY4717" fmla="*/ 684628 h 903637"/>
                  <a:gd name="connsiteX4718" fmla="*/ 67713 w 1687454"/>
                  <a:gd name="connsiteY4718" fmla="*/ 684892 h 903637"/>
                  <a:gd name="connsiteX4719" fmla="*/ 66832 w 1687454"/>
                  <a:gd name="connsiteY4719" fmla="*/ 683129 h 903637"/>
                  <a:gd name="connsiteX4720" fmla="*/ 64804 w 1687454"/>
                  <a:gd name="connsiteY4720" fmla="*/ 684275 h 903637"/>
                  <a:gd name="connsiteX4721" fmla="*/ 63658 w 1687454"/>
                  <a:gd name="connsiteY4721" fmla="*/ 684539 h 903637"/>
                  <a:gd name="connsiteX4722" fmla="*/ 61013 w 1687454"/>
                  <a:gd name="connsiteY4722" fmla="*/ 686038 h 903637"/>
                  <a:gd name="connsiteX4723" fmla="*/ 59866 w 1687454"/>
                  <a:gd name="connsiteY4723" fmla="*/ 686038 h 903637"/>
                  <a:gd name="connsiteX4724" fmla="*/ 58985 w 1687454"/>
                  <a:gd name="connsiteY4724" fmla="*/ 684539 h 903637"/>
                  <a:gd name="connsiteX4725" fmla="*/ 56075 w 1687454"/>
                  <a:gd name="connsiteY4725" fmla="*/ 683658 h 903637"/>
                  <a:gd name="connsiteX4726" fmla="*/ 54929 w 1687454"/>
                  <a:gd name="connsiteY4726" fmla="*/ 681894 h 903637"/>
                  <a:gd name="connsiteX4727" fmla="*/ 55546 w 1687454"/>
                  <a:gd name="connsiteY4727" fmla="*/ 681277 h 903637"/>
                  <a:gd name="connsiteX4728" fmla="*/ 55811 w 1687454"/>
                  <a:gd name="connsiteY4728" fmla="*/ 679866 h 903637"/>
                  <a:gd name="connsiteX4729" fmla="*/ 56075 w 1687454"/>
                  <a:gd name="connsiteY4729" fmla="*/ 679249 h 903637"/>
                  <a:gd name="connsiteX4730" fmla="*/ 53783 w 1687454"/>
                  <a:gd name="connsiteY4730" fmla="*/ 679249 h 903637"/>
                  <a:gd name="connsiteX4731" fmla="*/ 53783 w 1687454"/>
                  <a:gd name="connsiteY4731" fmla="*/ 677221 h 903637"/>
                  <a:gd name="connsiteX4732" fmla="*/ 53166 w 1687454"/>
                  <a:gd name="connsiteY4732" fmla="*/ 676340 h 903637"/>
                  <a:gd name="connsiteX4733" fmla="*/ 54929 w 1687454"/>
                  <a:gd name="connsiteY4733" fmla="*/ 675723 h 903637"/>
                  <a:gd name="connsiteX4734" fmla="*/ 58456 w 1687454"/>
                  <a:gd name="connsiteY4734" fmla="*/ 674841 h 903637"/>
                  <a:gd name="connsiteX4735" fmla="*/ 60219 w 1687454"/>
                  <a:gd name="connsiteY4735" fmla="*/ 674841 h 903637"/>
                  <a:gd name="connsiteX4736" fmla="*/ 61630 w 1687454"/>
                  <a:gd name="connsiteY4736" fmla="*/ 674576 h 903637"/>
                  <a:gd name="connsiteX4737" fmla="*/ 61894 w 1687454"/>
                  <a:gd name="connsiteY4737" fmla="*/ 674047 h 903637"/>
                  <a:gd name="connsiteX4738" fmla="*/ 60395 w 1687454"/>
                  <a:gd name="connsiteY4738" fmla="*/ 673430 h 903637"/>
                  <a:gd name="connsiteX4739" fmla="*/ 58632 w 1687454"/>
                  <a:gd name="connsiteY4739" fmla="*/ 673166 h 903637"/>
                  <a:gd name="connsiteX4740" fmla="*/ 55105 w 1687454"/>
                  <a:gd name="connsiteY4740" fmla="*/ 673430 h 903637"/>
                  <a:gd name="connsiteX4741" fmla="*/ 55987 w 1687454"/>
                  <a:gd name="connsiteY4741" fmla="*/ 672548 h 903637"/>
                  <a:gd name="connsiteX4742" fmla="*/ 58896 w 1687454"/>
                  <a:gd name="connsiteY4742" fmla="*/ 672019 h 903637"/>
                  <a:gd name="connsiteX4743" fmla="*/ 61806 w 1687454"/>
                  <a:gd name="connsiteY4743" fmla="*/ 670256 h 903637"/>
                  <a:gd name="connsiteX4744" fmla="*/ 64716 w 1687454"/>
                  <a:gd name="connsiteY4744" fmla="*/ 667611 h 903637"/>
                  <a:gd name="connsiteX4745" fmla="*/ 65333 w 1687454"/>
                  <a:gd name="connsiteY4745" fmla="*/ 666729 h 903637"/>
                  <a:gd name="connsiteX4746" fmla="*/ 63834 w 1687454"/>
                  <a:gd name="connsiteY4746" fmla="*/ 666994 h 903637"/>
                  <a:gd name="connsiteX4747" fmla="*/ 62688 w 1687454"/>
                  <a:gd name="connsiteY4747" fmla="*/ 668140 h 903637"/>
                  <a:gd name="connsiteX4748" fmla="*/ 60924 w 1687454"/>
                  <a:gd name="connsiteY4748" fmla="*/ 669022 h 903637"/>
                  <a:gd name="connsiteX4749" fmla="*/ 59161 w 1687454"/>
                  <a:gd name="connsiteY4749" fmla="*/ 669022 h 903637"/>
                  <a:gd name="connsiteX4750" fmla="*/ 58896 w 1687454"/>
                  <a:gd name="connsiteY4750" fmla="*/ 668493 h 903637"/>
                  <a:gd name="connsiteX4751" fmla="*/ 59514 w 1687454"/>
                  <a:gd name="connsiteY4751" fmla="*/ 667611 h 903637"/>
                  <a:gd name="connsiteX4752" fmla="*/ 60395 w 1687454"/>
                  <a:gd name="connsiteY4752" fmla="*/ 667082 h 903637"/>
                  <a:gd name="connsiteX4753" fmla="*/ 60660 w 1687454"/>
                  <a:gd name="connsiteY4753" fmla="*/ 666465 h 903637"/>
                  <a:gd name="connsiteX4754" fmla="*/ 59778 w 1687454"/>
                  <a:gd name="connsiteY4754" fmla="*/ 666465 h 903637"/>
                  <a:gd name="connsiteX4755" fmla="*/ 60395 w 1687454"/>
                  <a:gd name="connsiteY4755" fmla="*/ 665319 h 903637"/>
                  <a:gd name="connsiteX4756" fmla="*/ 62423 w 1687454"/>
                  <a:gd name="connsiteY4756" fmla="*/ 661792 h 903637"/>
                  <a:gd name="connsiteX4757" fmla="*/ 63569 w 1687454"/>
                  <a:gd name="connsiteY4757" fmla="*/ 660293 h 903637"/>
                  <a:gd name="connsiteX4758" fmla="*/ 65950 w 1687454"/>
                  <a:gd name="connsiteY4758" fmla="*/ 659147 h 903637"/>
                  <a:gd name="connsiteX4759" fmla="*/ 68595 w 1687454"/>
                  <a:gd name="connsiteY4759" fmla="*/ 658882 h 903637"/>
                  <a:gd name="connsiteX4760" fmla="*/ 70006 w 1687454"/>
                  <a:gd name="connsiteY4760" fmla="*/ 657384 h 903637"/>
                  <a:gd name="connsiteX4761" fmla="*/ 71769 w 1687454"/>
                  <a:gd name="connsiteY4761" fmla="*/ 655356 h 903637"/>
                  <a:gd name="connsiteX4762" fmla="*/ 77059 w 1687454"/>
                  <a:gd name="connsiteY4762" fmla="*/ 653592 h 903637"/>
                  <a:gd name="connsiteX4763" fmla="*/ 78205 w 1687454"/>
                  <a:gd name="connsiteY4763" fmla="*/ 652711 h 903637"/>
                  <a:gd name="connsiteX4764" fmla="*/ 80850 w 1687454"/>
                  <a:gd name="connsiteY4764" fmla="*/ 652093 h 903637"/>
                  <a:gd name="connsiteX4765" fmla="*/ 84642 w 1687454"/>
                  <a:gd name="connsiteY4765" fmla="*/ 650066 h 903637"/>
                  <a:gd name="connsiteX4766" fmla="*/ 86669 w 1687454"/>
                  <a:gd name="connsiteY4766" fmla="*/ 649184 h 903637"/>
                  <a:gd name="connsiteX4767" fmla="*/ 86052 w 1687454"/>
                  <a:gd name="connsiteY4767" fmla="*/ 648038 h 903637"/>
                  <a:gd name="connsiteX4768" fmla="*/ 86934 w 1687454"/>
                  <a:gd name="connsiteY4768" fmla="*/ 646891 h 903637"/>
                  <a:gd name="connsiteX4769" fmla="*/ 86052 w 1687454"/>
                  <a:gd name="connsiteY4769" fmla="*/ 646627 h 903637"/>
                  <a:gd name="connsiteX4770" fmla="*/ 84024 w 1687454"/>
                  <a:gd name="connsiteY4770" fmla="*/ 646891 h 903637"/>
                  <a:gd name="connsiteX4771" fmla="*/ 81997 w 1687454"/>
                  <a:gd name="connsiteY4771" fmla="*/ 647773 h 903637"/>
                  <a:gd name="connsiteX4772" fmla="*/ 78205 w 1687454"/>
                  <a:gd name="connsiteY4772" fmla="*/ 649801 h 903637"/>
                  <a:gd name="connsiteX4773" fmla="*/ 74414 w 1687454"/>
                  <a:gd name="connsiteY4773" fmla="*/ 650418 h 903637"/>
                  <a:gd name="connsiteX4774" fmla="*/ 69741 w 1687454"/>
                  <a:gd name="connsiteY4774" fmla="*/ 652446 h 903637"/>
                  <a:gd name="connsiteX4775" fmla="*/ 70623 w 1687454"/>
                  <a:gd name="connsiteY4775" fmla="*/ 650154 h 903637"/>
                  <a:gd name="connsiteX4776" fmla="*/ 69477 w 1687454"/>
                  <a:gd name="connsiteY4776" fmla="*/ 649537 h 903637"/>
                  <a:gd name="connsiteX4777" fmla="*/ 70976 w 1687454"/>
                  <a:gd name="connsiteY4777" fmla="*/ 646627 h 903637"/>
                  <a:gd name="connsiteX4778" fmla="*/ 70094 w 1687454"/>
                  <a:gd name="connsiteY4778" fmla="*/ 646627 h 903637"/>
                  <a:gd name="connsiteX4779" fmla="*/ 66920 w 1687454"/>
                  <a:gd name="connsiteY4779" fmla="*/ 648919 h 903637"/>
                  <a:gd name="connsiteX4780" fmla="*/ 64539 w 1687454"/>
                  <a:gd name="connsiteY4780" fmla="*/ 650066 h 903637"/>
                  <a:gd name="connsiteX4781" fmla="*/ 63393 w 1687454"/>
                  <a:gd name="connsiteY4781" fmla="*/ 650947 h 903637"/>
                  <a:gd name="connsiteX4782" fmla="*/ 62511 w 1687454"/>
                  <a:gd name="connsiteY4782" fmla="*/ 651212 h 903637"/>
                  <a:gd name="connsiteX4783" fmla="*/ 62247 w 1687454"/>
                  <a:gd name="connsiteY4783" fmla="*/ 650066 h 903637"/>
                  <a:gd name="connsiteX4784" fmla="*/ 64892 w 1687454"/>
                  <a:gd name="connsiteY4784" fmla="*/ 648302 h 903637"/>
                  <a:gd name="connsiteX4785" fmla="*/ 66655 w 1687454"/>
                  <a:gd name="connsiteY4785" fmla="*/ 647420 h 903637"/>
                  <a:gd name="connsiteX4786" fmla="*/ 68154 w 1687454"/>
                  <a:gd name="connsiteY4786" fmla="*/ 646539 h 903637"/>
                  <a:gd name="connsiteX4787" fmla="*/ 69036 w 1687454"/>
                  <a:gd name="connsiteY4787" fmla="*/ 644246 h 903637"/>
                  <a:gd name="connsiteX4788" fmla="*/ 74590 w 1687454"/>
                  <a:gd name="connsiteY4788" fmla="*/ 640455 h 903637"/>
                  <a:gd name="connsiteX4789" fmla="*/ 76089 w 1687454"/>
                  <a:gd name="connsiteY4789" fmla="*/ 638692 h 903637"/>
                  <a:gd name="connsiteX4790" fmla="*/ 76354 w 1687454"/>
                  <a:gd name="connsiteY4790" fmla="*/ 637810 h 903637"/>
                  <a:gd name="connsiteX4791" fmla="*/ 75737 w 1687454"/>
                  <a:gd name="connsiteY4791" fmla="*/ 637193 h 903637"/>
                  <a:gd name="connsiteX4792" fmla="*/ 73709 w 1687454"/>
                  <a:gd name="connsiteY4792" fmla="*/ 638075 h 903637"/>
                  <a:gd name="connsiteX4793" fmla="*/ 72827 w 1687454"/>
                  <a:gd name="connsiteY4793" fmla="*/ 638075 h 903637"/>
                  <a:gd name="connsiteX4794" fmla="*/ 71064 w 1687454"/>
                  <a:gd name="connsiteY4794" fmla="*/ 636928 h 903637"/>
                  <a:gd name="connsiteX4795" fmla="*/ 71064 w 1687454"/>
                  <a:gd name="connsiteY4795" fmla="*/ 635782 h 903637"/>
                  <a:gd name="connsiteX4796" fmla="*/ 73973 w 1687454"/>
                  <a:gd name="connsiteY4796" fmla="*/ 632255 h 903637"/>
                  <a:gd name="connsiteX4797" fmla="*/ 74238 w 1687454"/>
                  <a:gd name="connsiteY4797" fmla="*/ 630492 h 903637"/>
                  <a:gd name="connsiteX4798" fmla="*/ 74238 w 1687454"/>
                  <a:gd name="connsiteY4798" fmla="*/ 628993 h 903637"/>
                  <a:gd name="connsiteX4799" fmla="*/ 71328 w 1687454"/>
                  <a:gd name="connsiteY4799" fmla="*/ 626701 h 903637"/>
                  <a:gd name="connsiteX4800" fmla="*/ 72210 w 1687454"/>
                  <a:gd name="connsiteY4800" fmla="*/ 625202 h 903637"/>
                  <a:gd name="connsiteX4801" fmla="*/ 73621 w 1687454"/>
                  <a:gd name="connsiteY4801" fmla="*/ 624056 h 903637"/>
                  <a:gd name="connsiteX4802" fmla="*/ 73621 w 1687454"/>
                  <a:gd name="connsiteY4802" fmla="*/ 622028 h 903637"/>
                  <a:gd name="connsiteX4803" fmla="*/ 74502 w 1687454"/>
                  <a:gd name="connsiteY4803" fmla="*/ 621146 h 903637"/>
                  <a:gd name="connsiteX4804" fmla="*/ 77412 w 1687454"/>
                  <a:gd name="connsiteY4804" fmla="*/ 620265 h 903637"/>
                  <a:gd name="connsiteX4805" fmla="*/ 81820 w 1687454"/>
                  <a:gd name="connsiteY4805" fmla="*/ 617091 h 903637"/>
                  <a:gd name="connsiteX4806" fmla="*/ 82966 w 1687454"/>
                  <a:gd name="connsiteY4806" fmla="*/ 614798 h 903637"/>
                  <a:gd name="connsiteX4807" fmla="*/ 85259 w 1687454"/>
                  <a:gd name="connsiteY4807" fmla="*/ 613916 h 903637"/>
                  <a:gd name="connsiteX4808" fmla="*/ 86140 w 1687454"/>
                  <a:gd name="connsiteY4808" fmla="*/ 613035 h 903637"/>
                  <a:gd name="connsiteX4809" fmla="*/ 85523 w 1687454"/>
                  <a:gd name="connsiteY4809" fmla="*/ 612418 h 903637"/>
                  <a:gd name="connsiteX4810" fmla="*/ 79969 w 1687454"/>
                  <a:gd name="connsiteY4810" fmla="*/ 614446 h 903637"/>
                  <a:gd name="connsiteX4811" fmla="*/ 70358 w 1687454"/>
                  <a:gd name="connsiteY4811" fmla="*/ 618854 h 903637"/>
                  <a:gd name="connsiteX4812" fmla="*/ 67184 w 1687454"/>
                  <a:gd name="connsiteY4812" fmla="*/ 623262 h 903637"/>
                  <a:gd name="connsiteX4813" fmla="*/ 65685 w 1687454"/>
                  <a:gd name="connsiteY4813" fmla="*/ 624144 h 903637"/>
                  <a:gd name="connsiteX4814" fmla="*/ 64539 w 1687454"/>
                  <a:gd name="connsiteY4814" fmla="*/ 624408 h 903637"/>
                  <a:gd name="connsiteX4815" fmla="*/ 62776 w 1687454"/>
                  <a:gd name="connsiteY4815" fmla="*/ 618589 h 903637"/>
                  <a:gd name="connsiteX4816" fmla="*/ 62247 w 1687454"/>
                  <a:gd name="connsiteY4816" fmla="*/ 615944 h 903637"/>
                  <a:gd name="connsiteX4817" fmla="*/ 60484 w 1687454"/>
                  <a:gd name="connsiteY4817" fmla="*/ 612418 h 903637"/>
                  <a:gd name="connsiteX4818" fmla="*/ 60748 w 1687454"/>
                  <a:gd name="connsiteY4818" fmla="*/ 611007 h 903637"/>
                  <a:gd name="connsiteX4819" fmla="*/ 61894 w 1687454"/>
                  <a:gd name="connsiteY4819" fmla="*/ 610125 h 903637"/>
                  <a:gd name="connsiteX4820" fmla="*/ 65421 w 1687454"/>
                  <a:gd name="connsiteY4820" fmla="*/ 606334 h 903637"/>
                  <a:gd name="connsiteX4821" fmla="*/ 63393 w 1687454"/>
                  <a:gd name="connsiteY4821" fmla="*/ 604835 h 903637"/>
                  <a:gd name="connsiteX4822" fmla="*/ 64010 w 1687454"/>
                  <a:gd name="connsiteY4822" fmla="*/ 603953 h 903637"/>
                  <a:gd name="connsiteX4823" fmla="*/ 65156 w 1687454"/>
                  <a:gd name="connsiteY4823" fmla="*/ 603425 h 903637"/>
                  <a:gd name="connsiteX4824" fmla="*/ 65774 w 1687454"/>
                  <a:gd name="connsiteY4824" fmla="*/ 602807 h 903637"/>
                  <a:gd name="connsiteX4825" fmla="*/ 65509 w 1687454"/>
                  <a:gd name="connsiteY4825" fmla="*/ 601926 h 903637"/>
                  <a:gd name="connsiteX4826" fmla="*/ 62600 w 1687454"/>
                  <a:gd name="connsiteY4826" fmla="*/ 601926 h 903637"/>
                  <a:gd name="connsiteX4827" fmla="*/ 61982 w 1687454"/>
                  <a:gd name="connsiteY4827" fmla="*/ 601308 h 903637"/>
                  <a:gd name="connsiteX4828" fmla="*/ 62864 w 1687454"/>
                  <a:gd name="connsiteY4828" fmla="*/ 600162 h 903637"/>
                  <a:gd name="connsiteX4829" fmla="*/ 63129 w 1687454"/>
                  <a:gd name="connsiteY4829" fmla="*/ 597253 h 903637"/>
                  <a:gd name="connsiteX4830" fmla="*/ 64627 w 1687454"/>
                  <a:gd name="connsiteY4830" fmla="*/ 594960 h 903637"/>
                  <a:gd name="connsiteX4831" fmla="*/ 64627 w 1687454"/>
                  <a:gd name="connsiteY4831" fmla="*/ 590552 h 903637"/>
                  <a:gd name="connsiteX4832" fmla="*/ 64892 w 1687454"/>
                  <a:gd name="connsiteY4832" fmla="*/ 588524 h 903637"/>
                  <a:gd name="connsiteX4833" fmla="*/ 69565 w 1687454"/>
                  <a:gd name="connsiteY4833" fmla="*/ 584733 h 903637"/>
                  <a:gd name="connsiteX4834" fmla="*/ 78911 w 1687454"/>
                  <a:gd name="connsiteY4834" fmla="*/ 581823 h 903637"/>
                  <a:gd name="connsiteX4835" fmla="*/ 85347 w 1687454"/>
                  <a:gd name="connsiteY4835" fmla="*/ 579178 h 903637"/>
                  <a:gd name="connsiteX4836" fmla="*/ 86493 w 1687454"/>
                  <a:gd name="connsiteY4836" fmla="*/ 574770 h 903637"/>
                  <a:gd name="connsiteX4837" fmla="*/ 87375 w 1687454"/>
                  <a:gd name="connsiteY4837" fmla="*/ 572742 h 903637"/>
                  <a:gd name="connsiteX4838" fmla="*/ 88874 w 1687454"/>
                  <a:gd name="connsiteY4838" fmla="*/ 571243 h 903637"/>
                  <a:gd name="connsiteX4839" fmla="*/ 86846 w 1687454"/>
                  <a:gd name="connsiteY4839" fmla="*/ 568333 h 903637"/>
                  <a:gd name="connsiteX4840" fmla="*/ 87728 w 1687454"/>
                  <a:gd name="connsiteY4840" fmla="*/ 564278 h 903637"/>
                  <a:gd name="connsiteX4841" fmla="*/ 85700 w 1687454"/>
                  <a:gd name="connsiteY4841" fmla="*/ 562867 h 903637"/>
                  <a:gd name="connsiteX4842" fmla="*/ 81644 w 1687454"/>
                  <a:gd name="connsiteY4842" fmla="*/ 561104 h 903637"/>
                  <a:gd name="connsiteX4843" fmla="*/ 66479 w 1687454"/>
                  <a:gd name="connsiteY4843" fmla="*/ 560839 h 903637"/>
                  <a:gd name="connsiteX4844" fmla="*/ 74679 w 1687454"/>
                  <a:gd name="connsiteY4844" fmla="*/ 558194 h 903637"/>
                  <a:gd name="connsiteX4845" fmla="*/ 77588 w 1687454"/>
                  <a:gd name="connsiteY4845" fmla="*/ 560839 h 903637"/>
                  <a:gd name="connsiteX4846" fmla="*/ 77588 w 1687454"/>
                  <a:gd name="connsiteY4846" fmla="*/ 557665 h 903637"/>
                  <a:gd name="connsiteX4847" fmla="*/ 84024 w 1687454"/>
                  <a:gd name="connsiteY4847" fmla="*/ 558811 h 903637"/>
                  <a:gd name="connsiteX4848" fmla="*/ 75560 w 1687454"/>
                  <a:gd name="connsiteY4848" fmla="*/ 552728 h 903637"/>
                  <a:gd name="connsiteX4849" fmla="*/ 67361 w 1687454"/>
                  <a:gd name="connsiteY4849" fmla="*/ 550083 h 903637"/>
                  <a:gd name="connsiteX4850" fmla="*/ 60660 w 1687454"/>
                  <a:gd name="connsiteY4850" fmla="*/ 550700 h 903637"/>
                  <a:gd name="connsiteX4851" fmla="*/ 53695 w 1687454"/>
                  <a:gd name="connsiteY4851" fmla="*/ 549818 h 903637"/>
                  <a:gd name="connsiteX4852" fmla="*/ 49022 w 1687454"/>
                  <a:gd name="connsiteY4852" fmla="*/ 547526 h 903637"/>
                  <a:gd name="connsiteX4853" fmla="*/ 40557 w 1687454"/>
                  <a:gd name="connsiteY4853" fmla="*/ 557136 h 903637"/>
                  <a:gd name="connsiteX4854" fmla="*/ 36766 w 1687454"/>
                  <a:gd name="connsiteY4854" fmla="*/ 557489 h 903637"/>
                  <a:gd name="connsiteX4855" fmla="*/ 41439 w 1687454"/>
                  <a:gd name="connsiteY4855" fmla="*/ 553080 h 903637"/>
                  <a:gd name="connsiteX4856" fmla="*/ 45848 w 1687454"/>
                  <a:gd name="connsiteY4856" fmla="*/ 549906 h 903637"/>
                  <a:gd name="connsiteX4857" fmla="*/ 45848 w 1687454"/>
                  <a:gd name="connsiteY4857" fmla="*/ 544969 h 903637"/>
                  <a:gd name="connsiteX4858" fmla="*/ 48228 w 1687454"/>
                  <a:gd name="connsiteY4858" fmla="*/ 543558 h 903637"/>
                  <a:gd name="connsiteX4859" fmla="*/ 49110 w 1687454"/>
                  <a:gd name="connsiteY4859" fmla="*/ 543205 h 903637"/>
                  <a:gd name="connsiteX4860" fmla="*/ 50256 w 1687454"/>
                  <a:gd name="connsiteY4860" fmla="*/ 545233 h 903637"/>
                  <a:gd name="connsiteX4861" fmla="*/ 52901 w 1687454"/>
                  <a:gd name="connsiteY4861" fmla="*/ 545233 h 903637"/>
                  <a:gd name="connsiteX4862" fmla="*/ 56075 w 1687454"/>
                  <a:gd name="connsiteY4862" fmla="*/ 544969 h 903637"/>
                  <a:gd name="connsiteX4863" fmla="*/ 56692 w 1687454"/>
                  <a:gd name="connsiteY4863" fmla="*/ 542941 h 903637"/>
                  <a:gd name="connsiteX4864" fmla="*/ 60748 w 1687454"/>
                  <a:gd name="connsiteY4864" fmla="*/ 540913 h 903637"/>
                  <a:gd name="connsiteX4865" fmla="*/ 59602 w 1687454"/>
                  <a:gd name="connsiteY4865" fmla="*/ 538268 h 903637"/>
                  <a:gd name="connsiteX4866" fmla="*/ 62776 w 1687454"/>
                  <a:gd name="connsiteY4866" fmla="*/ 539150 h 903637"/>
                  <a:gd name="connsiteX4867" fmla="*/ 66567 w 1687454"/>
                  <a:gd name="connsiteY4867" fmla="*/ 539150 h 903637"/>
                  <a:gd name="connsiteX4868" fmla="*/ 71769 w 1687454"/>
                  <a:gd name="connsiteY4868" fmla="*/ 536505 h 903637"/>
                  <a:gd name="connsiteX4869" fmla="*/ 73797 w 1687454"/>
                  <a:gd name="connsiteY4869" fmla="*/ 534741 h 903637"/>
                  <a:gd name="connsiteX4870" fmla="*/ 74150 w 1687454"/>
                  <a:gd name="connsiteY4870" fmla="*/ 531215 h 903637"/>
                  <a:gd name="connsiteX4871" fmla="*/ 76795 w 1687454"/>
                  <a:gd name="connsiteY4871" fmla="*/ 528834 h 903637"/>
                  <a:gd name="connsiteX4872" fmla="*/ 78558 w 1687454"/>
                  <a:gd name="connsiteY4872" fmla="*/ 528570 h 903637"/>
                  <a:gd name="connsiteX4873" fmla="*/ 82614 w 1687454"/>
                  <a:gd name="connsiteY4873" fmla="*/ 525660 h 903637"/>
                  <a:gd name="connsiteX4874" fmla="*/ 81732 w 1687454"/>
                  <a:gd name="connsiteY4874" fmla="*/ 521251 h 903637"/>
                  <a:gd name="connsiteX4875" fmla="*/ 79704 w 1687454"/>
                  <a:gd name="connsiteY4875" fmla="*/ 517460 h 903637"/>
                  <a:gd name="connsiteX4876" fmla="*/ 81732 w 1687454"/>
                  <a:gd name="connsiteY4876" fmla="*/ 517196 h 903637"/>
                  <a:gd name="connsiteX4877" fmla="*/ 80850 w 1687454"/>
                  <a:gd name="connsiteY4877" fmla="*/ 513669 h 903637"/>
                  <a:gd name="connsiteX4878" fmla="*/ 77588 w 1687454"/>
                  <a:gd name="connsiteY4878" fmla="*/ 509878 h 903637"/>
                  <a:gd name="connsiteX4879" fmla="*/ 77588 w 1687454"/>
                  <a:gd name="connsiteY4879" fmla="*/ 507497 h 903637"/>
                  <a:gd name="connsiteX4880" fmla="*/ 78734 w 1687454"/>
                  <a:gd name="connsiteY4880" fmla="*/ 502824 h 903637"/>
                  <a:gd name="connsiteX4881" fmla="*/ 81644 w 1687454"/>
                  <a:gd name="connsiteY4881" fmla="*/ 499915 h 903637"/>
                  <a:gd name="connsiteX4882" fmla="*/ 83672 w 1687454"/>
                  <a:gd name="connsiteY4882" fmla="*/ 499033 h 903637"/>
                  <a:gd name="connsiteX4883" fmla="*/ 86052 w 1687454"/>
                  <a:gd name="connsiteY4883" fmla="*/ 497270 h 903637"/>
                  <a:gd name="connsiteX4884" fmla="*/ 88080 w 1687454"/>
                  <a:gd name="connsiteY4884" fmla="*/ 498680 h 903637"/>
                  <a:gd name="connsiteX4885" fmla="*/ 92753 w 1687454"/>
                  <a:gd name="connsiteY4885" fmla="*/ 499298 h 903637"/>
                  <a:gd name="connsiteX4886" fmla="*/ 88080 w 1687454"/>
                  <a:gd name="connsiteY4886" fmla="*/ 496388 h 903637"/>
                  <a:gd name="connsiteX4887" fmla="*/ 88345 w 1687454"/>
                  <a:gd name="connsiteY4887" fmla="*/ 494625 h 903637"/>
                  <a:gd name="connsiteX4888" fmla="*/ 89226 w 1687454"/>
                  <a:gd name="connsiteY4888" fmla="*/ 493743 h 903637"/>
                  <a:gd name="connsiteX4889" fmla="*/ 88080 w 1687454"/>
                  <a:gd name="connsiteY4889" fmla="*/ 493478 h 903637"/>
                  <a:gd name="connsiteX4890" fmla="*/ 90108 w 1687454"/>
                  <a:gd name="connsiteY4890" fmla="*/ 491980 h 903637"/>
                  <a:gd name="connsiteX4891" fmla="*/ 90725 w 1687454"/>
                  <a:gd name="connsiteY4891" fmla="*/ 489952 h 903637"/>
                  <a:gd name="connsiteX4892" fmla="*/ 88697 w 1687454"/>
                  <a:gd name="connsiteY4892" fmla="*/ 489952 h 903637"/>
                  <a:gd name="connsiteX4893" fmla="*/ 88080 w 1687454"/>
                  <a:gd name="connsiteY4893" fmla="*/ 488188 h 903637"/>
                  <a:gd name="connsiteX4894" fmla="*/ 88962 w 1687454"/>
                  <a:gd name="connsiteY4894" fmla="*/ 487307 h 903637"/>
                  <a:gd name="connsiteX4895" fmla="*/ 85435 w 1687454"/>
                  <a:gd name="connsiteY4895" fmla="*/ 486690 h 903637"/>
                  <a:gd name="connsiteX4896" fmla="*/ 85171 w 1687454"/>
                  <a:gd name="connsiteY4896" fmla="*/ 486425 h 903637"/>
                  <a:gd name="connsiteX4897" fmla="*/ 87199 w 1687454"/>
                  <a:gd name="connsiteY4897" fmla="*/ 484133 h 903637"/>
                  <a:gd name="connsiteX4898" fmla="*/ 86317 w 1687454"/>
                  <a:gd name="connsiteY4898" fmla="*/ 482986 h 903637"/>
                  <a:gd name="connsiteX4899" fmla="*/ 86934 w 1687454"/>
                  <a:gd name="connsiteY4899" fmla="*/ 482369 h 903637"/>
                  <a:gd name="connsiteX4900" fmla="*/ 88080 w 1687454"/>
                  <a:gd name="connsiteY4900" fmla="*/ 482105 h 903637"/>
                  <a:gd name="connsiteX4901" fmla="*/ 90373 w 1687454"/>
                  <a:gd name="connsiteY4901" fmla="*/ 480077 h 903637"/>
                  <a:gd name="connsiteX4902" fmla="*/ 90373 w 1687454"/>
                  <a:gd name="connsiteY4902" fmla="*/ 478578 h 903637"/>
                  <a:gd name="connsiteX4903" fmla="*/ 88874 w 1687454"/>
                  <a:gd name="connsiteY4903" fmla="*/ 478578 h 903637"/>
                  <a:gd name="connsiteX4904" fmla="*/ 89491 w 1687454"/>
                  <a:gd name="connsiteY4904" fmla="*/ 476815 h 903637"/>
                  <a:gd name="connsiteX4905" fmla="*/ 88609 w 1687454"/>
                  <a:gd name="connsiteY4905" fmla="*/ 475933 h 903637"/>
                  <a:gd name="connsiteX4906" fmla="*/ 87728 w 1687454"/>
                  <a:gd name="connsiteY4906" fmla="*/ 474434 h 903637"/>
                  <a:gd name="connsiteX4907" fmla="*/ 76354 w 1687454"/>
                  <a:gd name="connsiteY4907" fmla="*/ 477608 h 903637"/>
                  <a:gd name="connsiteX4908" fmla="*/ 70799 w 1687454"/>
                  <a:gd name="connsiteY4908" fmla="*/ 478490 h 903637"/>
                  <a:gd name="connsiteX4909" fmla="*/ 67890 w 1687454"/>
                  <a:gd name="connsiteY4909" fmla="*/ 479107 h 903637"/>
                  <a:gd name="connsiteX4910" fmla="*/ 69036 w 1687454"/>
                  <a:gd name="connsiteY4910" fmla="*/ 479989 h 903637"/>
                  <a:gd name="connsiteX4911" fmla="*/ 68154 w 1687454"/>
                  <a:gd name="connsiteY4911" fmla="*/ 480606 h 903637"/>
                  <a:gd name="connsiteX4912" fmla="*/ 65245 w 1687454"/>
                  <a:gd name="connsiteY4912" fmla="*/ 480606 h 903637"/>
                  <a:gd name="connsiteX4913" fmla="*/ 63217 w 1687454"/>
                  <a:gd name="connsiteY4913" fmla="*/ 480606 h 903637"/>
                  <a:gd name="connsiteX4914" fmla="*/ 60572 w 1687454"/>
                  <a:gd name="connsiteY4914" fmla="*/ 482105 h 903637"/>
                  <a:gd name="connsiteX4915" fmla="*/ 56516 w 1687454"/>
                  <a:gd name="connsiteY4915" fmla="*/ 485631 h 903637"/>
                  <a:gd name="connsiteX4916" fmla="*/ 53606 w 1687454"/>
                  <a:gd name="connsiteY4916" fmla="*/ 486249 h 903637"/>
                  <a:gd name="connsiteX4917" fmla="*/ 50080 w 1687454"/>
                  <a:gd name="connsiteY4917" fmla="*/ 486513 h 903637"/>
                  <a:gd name="connsiteX4918" fmla="*/ 45671 w 1687454"/>
                  <a:gd name="connsiteY4918" fmla="*/ 484750 h 903637"/>
                  <a:gd name="connsiteX4919" fmla="*/ 43379 w 1687454"/>
                  <a:gd name="connsiteY4919" fmla="*/ 486249 h 903637"/>
                  <a:gd name="connsiteX4920" fmla="*/ 40469 w 1687454"/>
                  <a:gd name="connsiteY4920" fmla="*/ 486866 h 903637"/>
                  <a:gd name="connsiteX4921" fmla="*/ 38706 w 1687454"/>
                  <a:gd name="connsiteY4921" fmla="*/ 486866 h 903637"/>
                  <a:gd name="connsiteX4922" fmla="*/ 37295 w 1687454"/>
                  <a:gd name="connsiteY4922" fmla="*/ 487747 h 903637"/>
                  <a:gd name="connsiteX4923" fmla="*/ 32358 w 1687454"/>
                  <a:gd name="connsiteY4923" fmla="*/ 486249 h 903637"/>
                  <a:gd name="connsiteX4924" fmla="*/ 31212 w 1687454"/>
                  <a:gd name="connsiteY4924" fmla="*/ 475492 h 903637"/>
                  <a:gd name="connsiteX4925" fmla="*/ 33239 w 1687454"/>
                  <a:gd name="connsiteY4925" fmla="*/ 472583 h 903637"/>
                  <a:gd name="connsiteX4926" fmla="*/ 28302 w 1687454"/>
                  <a:gd name="connsiteY4926" fmla="*/ 469673 h 903637"/>
                  <a:gd name="connsiteX4927" fmla="*/ 28567 w 1687454"/>
                  <a:gd name="connsiteY4927" fmla="*/ 468791 h 903637"/>
                  <a:gd name="connsiteX4928" fmla="*/ 28831 w 1687454"/>
                  <a:gd name="connsiteY4928" fmla="*/ 468791 h 903637"/>
                  <a:gd name="connsiteX4929" fmla="*/ 29448 w 1687454"/>
                  <a:gd name="connsiteY4929" fmla="*/ 467910 h 903637"/>
                  <a:gd name="connsiteX4930" fmla="*/ 36149 w 1687454"/>
                  <a:gd name="connsiteY4930" fmla="*/ 463237 h 903637"/>
                  <a:gd name="connsiteX4931" fmla="*/ 37648 w 1687454"/>
                  <a:gd name="connsiteY4931" fmla="*/ 462091 h 903637"/>
                  <a:gd name="connsiteX4932" fmla="*/ 26274 w 1687454"/>
                  <a:gd name="connsiteY4932" fmla="*/ 462355 h 903637"/>
                  <a:gd name="connsiteX4933" fmla="*/ 16399 w 1687454"/>
                  <a:gd name="connsiteY4933" fmla="*/ 466146 h 903637"/>
                  <a:gd name="connsiteX4934" fmla="*/ 12344 w 1687454"/>
                  <a:gd name="connsiteY4934" fmla="*/ 462972 h 903637"/>
                  <a:gd name="connsiteX4935" fmla="*/ 9169 w 1687454"/>
                  <a:gd name="connsiteY4935" fmla="*/ 465000 h 903637"/>
                  <a:gd name="connsiteX4936" fmla="*/ 1322 w 1687454"/>
                  <a:gd name="connsiteY4936" fmla="*/ 465000 h 903637"/>
                  <a:gd name="connsiteX4937" fmla="*/ 14724 w 1687454"/>
                  <a:gd name="connsiteY4937" fmla="*/ 451863 h 903637"/>
                  <a:gd name="connsiteX4938" fmla="*/ 51490 w 1687454"/>
                  <a:gd name="connsiteY4938" fmla="*/ 416860 h 903637"/>
                  <a:gd name="connsiteX4939" fmla="*/ 193530 w 1687454"/>
                  <a:gd name="connsiteY4939" fmla="*/ 292014 h 903637"/>
                  <a:gd name="connsiteX4940" fmla="*/ 209224 w 1687454"/>
                  <a:gd name="connsiteY4940" fmla="*/ 278877 h 903637"/>
                  <a:gd name="connsiteX4941" fmla="*/ 231706 w 1687454"/>
                  <a:gd name="connsiteY4941" fmla="*/ 260538 h 903637"/>
                  <a:gd name="connsiteX4942" fmla="*/ 238672 w 1687454"/>
                  <a:gd name="connsiteY4942" fmla="*/ 260273 h 903637"/>
                  <a:gd name="connsiteX4943" fmla="*/ 242199 w 1687454"/>
                  <a:gd name="connsiteY4943" fmla="*/ 263183 h 903637"/>
                  <a:gd name="connsiteX4944" fmla="*/ 245990 w 1687454"/>
                  <a:gd name="connsiteY4944" fmla="*/ 262036 h 903637"/>
                  <a:gd name="connsiteX4945" fmla="*/ 251280 w 1687454"/>
                  <a:gd name="connsiteY4945" fmla="*/ 262918 h 903637"/>
                  <a:gd name="connsiteX4946" fmla="*/ 254454 w 1687454"/>
                  <a:gd name="connsiteY4946" fmla="*/ 260009 h 903637"/>
                  <a:gd name="connsiteX4947" fmla="*/ 260008 w 1687454"/>
                  <a:gd name="connsiteY4947" fmla="*/ 261155 h 903637"/>
                  <a:gd name="connsiteX4948" fmla="*/ 263183 w 1687454"/>
                  <a:gd name="connsiteY4948" fmla="*/ 259391 h 903637"/>
                  <a:gd name="connsiteX4949" fmla="*/ 265475 w 1687454"/>
                  <a:gd name="connsiteY4949" fmla="*/ 260890 h 903637"/>
                  <a:gd name="connsiteX4950" fmla="*/ 267767 w 1687454"/>
                  <a:gd name="connsiteY4950" fmla="*/ 259391 h 903637"/>
                  <a:gd name="connsiteX4951" fmla="*/ 272440 w 1687454"/>
                  <a:gd name="connsiteY4951" fmla="*/ 260538 h 903637"/>
                  <a:gd name="connsiteX4952" fmla="*/ 272705 w 1687454"/>
                  <a:gd name="connsiteY4952" fmla="*/ 261684 h 903637"/>
                  <a:gd name="connsiteX4953" fmla="*/ 273586 w 1687454"/>
                  <a:gd name="connsiteY4953" fmla="*/ 263712 h 903637"/>
                  <a:gd name="connsiteX4954" fmla="*/ 271823 w 1687454"/>
                  <a:gd name="connsiteY4954" fmla="*/ 266357 h 903637"/>
                  <a:gd name="connsiteX4955" fmla="*/ 270941 w 1687454"/>
                  <a:gd name="connsiteY4955" fmla="*/ 269531 h 903637"/>
                  <a:gd name="connsiteX4956" fmla="*/ 272969 w 1687454"/>
                  <a:gd name="connsiteY4956" fmla="*/ 269266 h 903637"/>
                  <a:gd name="connsiteX4957" fmla="*/ 274997 w 1687454"/>
                  <a:gd name="connsiteY4957" fmla="*/ 270148 h 903637"/>
                  <a:gd name="connsiteX4958" fmla="*/ 278259 w 1687454"/>
                  <a:gd name="connsiteY4958" fmla="*/ 271294 h 903637"/>
                  <a:gd name="connsiteX4959" fmla="*/ 282051 w 1687454"/>
                  <a:gd name="connsiteY4959" fmla="*/ 275350 h 903637"/>
                  <a:gd name="connsiteX4960" fmla="*/ 285577 w 1687454"/>
                  <a:gd name="connsiteY4960" fmla="*/ 274468 h 903637"/>
                  <a:gd name="connsiteX4961" fmla="*/ 288222 w 1687454"/>
                  <a:gd name="connsiteY4961" fmla="*/ 274997 h 903637"/>
                  <a:gd name="connsiteX4962" fmla="*/ 288487 w 1687454"/>
                  <a:gd name="connsiteY4962" fmla="*/ 277025 h 903637"/>
                  <a:gd name="connsiteX4963" fmla="*/ 290250 w 1687454"/>
                  <a:gd name="connsiteY4963" fmla="*/ 278171 h 903637"/>
                  <a:gd name="connsiteX4964" fmla="*/ 295452 w 1687454"/>
                  <a:gd name="connsiteY4964" fmla="*/ 277907 h 903637"/>
                  <a:gd name="connsiteX4965" fmla="*/ 296951 w 1687454"/>
                  <a:gd name="connsiteY4965" fmla="*/ 276761 h 903637"/>
                  <a:gd name="connsiteX4966" fmla="*/ 301888 w 1687454"/>
                  <a:gd name="connsiteY4966" fmla="*/ 277642 h 903637"/>
                  <a:gd name="connsiteX4967" fmla="*/ 305415 w 1687454"/>
                  <a:gd name="connsiteY4967" fmla="*/ 274468 h 903637"/>
                  <a:gd name="connsiteX4968" fmla="*/ 304798 w 1687454"/>
                  <a:gd name="connsiteY4968" fmla="*/ 277378 h 903637"/>
                  <a:gd name="connsiteX4969" fmla="*/ 306297 w 1687454"/>
                  <a:gd name="connsiteY4969" fmla="*/ 280904 h 903637"/>
                  <a:gd name="connsiteX4970" fmla="*/ 308060 w 1687454"/>
                  <a:gd name="connsiteY4970" fmla="*/ 283197 h 903637"/>
                  <a:gd name="connsiteX4971" fmla="*/ 303652 w 1687454"/>
                  <a:gd name="connsiteY4971" fmla="*/ 284343 h 903637"/>
                  <a:gd name="connsiteX4972" fmla="*/ 299596 w 1687454"/>
                  <a:gd name="connsiteY4972" fmla="*/ 286635 h 903637"/>
                  <a:gd name="connsiteX4973" fmla="*/ 298450 w 1687454"/>
                  <a:gd name="connsiteY4973" fmla="*/ 290691 h 903637"/>
                  <a:gd name="connsiteX4974" fmla="*/ 296422 w 1687454"/>
                  <a:gd name="connsiteY4974" fmla="*/ 291837 h 903637"/>
                  <a:gd name="connsiteX4975" fmla="*/ 295805 w 1687454"/>
                  <a:gd name="connsiteY4975" fmla="*/ 294482 h 903637"/>
                  <a:gd name="connsiteX4976" fmla="*/ 292631 w 1687454"/>
                  <a:gd name="connsiteY4976" fmla="*/ 295629 h 903637"/>
                  <a:gd name="connsiteX4977" fmla="*/ 288311 w 1687454"/>
                  <a:gd name="connsiteY4977" fmla="*/ 298803 h 903637"/>
                  <a:gd name="connsiteX4978" fmla="*/ 295893 w 1687454"/>
                  <a:gd name="connsiteY4978" fmla="*/ 304622 h 903637"/>
                  <a:gd name="connsiteX4979" fmla="*/ 294747 w 1687454"/>
                  <a:gd name="connsiteY4979" fmla="*/ 300566 h 903637"/>
                  <a:gd name="connsiteX4980" fmla="*/ 304357 w 1687454"/>
                  <a:gd name="connsiteY4980" fmla="*/ 287693 h 903637"/>
                  <a:gd name="connsiteX4981" fmla="*/ 313968 w 1687454"/>
                  <a:gd name="connsiteY4981" fmla="*/ 284167 h 903637"/>
                  <a:gd name="connsiteX4982" fmla="*/ 315114 w 1687454"/>
                  <a:gd name="connsiteY4982" fmla="*/ 280993 h 903637"/>
                  <a:gd name="connsiteX4983" fmla="*/ 318905 w 1687454"/>
                  <a:gd name="connsiteY4983" fmla="*/ 280375 h 903637"/>
                  <a:gd name="connsiteX4984" fmla="*/ 318905 w 1687454"/>
                  <a:gd name="connsiteY4984" fmla="*/ 275967 h 903637"/>
                  <a:gd name="connsiteX4985" fmla="*/ 321550 w 1687454"/>
                  <a:gd name="connsiteY4985" fmla="*/ 273057 h 903637"/>
                  <a:gd name="connsiteX4986" fmla="*/ 325606 w 1687454"/>
                  <a:gd name="connsiteY4986" fmla="*/ 270765 h 903637"/>
                  <a:gd name="connsiteX4987" fmla="*/ 332924 w 1687454"/>
                  <a:gd name="connsiteY4987" fmla="*/ 267591 h 903637"/>
                  <a:gd name="connsiteX4988" fmla="*/ 338743 w 1687454"/>
                  <a:gd name="connsiteY4988" fmla="*/ 267327 h 903637"/>
                  <a:gd name="connsiteX4989" fmla="*/ 345708 w 1687454"/>
                  <a:gd name="connsiteY4989" fmla="*/ 263271 h 903637"/>
                  <a:gd name="connsiteX4990" fmla="*/ 348089 w 1687454"/>
                  <a:gd name="connsiteY4990" fmla="*/ 262389 h 903637"/>
                  <a:gd name="connsiteX4991" fmla="*/ 351615 w 1687454"/>
                  <a:gd name="connsiteY4991" fmla="*/ 261772 h 903637"/>
                  <a:gd name="connsiteX4992" fmla="*/ 356906 w 1687454"/>
                  <a:gd name="connsiteY4992" fmla="*/ 261772 h 903637"/>
                  <a:gd name="connsiteX4993" fmla="*/ 353996 w 1687454"/>
                  <a:gd name="connsiteY4993" fmla="*/ 265563 h 903637"/>
                  <a:gd name="connsiteX4994" fmla="*/ 354613 w 1687454"/>
                  <a:gd name="connsiteY4994" fmla="*/ 266445 h 903637"/>
                  <a:gd name="connsiteX4995" fmla="*/ 356906 w 1687454"/>
                  <a:gd name="connsiteY4995" fmla="*/ 267327 h 903637"/>
                  <a:gd name="connsiteX4996" fmla="*/ 361314 w 1687454"/>
                  <a:gd name="connsiteY4996" fmla="*/ 267062 h 903637"/>
                  <a:gd name="connsiteX4997" fmla="*/ 365105 w 1687454"/>
                  <a:gd name="connsiteY4997" fmla="*/ 268825 h 903637"/>
                  <a:gd name="connsiteX4998" fmla="*/ 366251 w 1687454"/>
                  <a:gd name="connsiteY4998" fmla="*/ 263888 h 903637"/>
                  <a:gd name="connsiteX4999" fmla="*/ 369778 w 1687454"/>
                  <a:gd name="connsiteY4999" fmla="*/ 262125 h 903637"/>
                  <a:gd name="connsiteX5000" fmla="*/ 372071 w 1687454"/>
                  <a:gd name="connsiteY5000" fmla="*/ 261507 h 903637"/>
                  <a:gd name="connsiteX5001" fmla="*/ 372952 w 1687454"/>
                  <a:gd name="connsiteY5001" fmla="*/ 259744 h 903637"/>
                  <a:gd name="connsiteX5002" fmla="*/ 376743 w 1687454"/>
                  <a:gd name="connsiteY5002" fmla="*/ 262389 h 903637"/>
                  <a:gd name="connsiteX5003" fmla="*/ 378242 w 1687454"/>
                  <a:gd name="connsiteY5003" fmla="*/ 261772 h 903637"/>
                  <a:gd name="connsiteX5004" fmla="*/ 379389 w 1687454"/>
                  <a:gd name="connsiteY5004" fmla="*/ 259480 h 903637"/>
                  <a:gd name="connsiteX5005" fmla="*/ 382915 w 1687454"/>
                  <a:gd name="connsiteY5005" fmla="*/ 258333 h 903637"/>
                  <a:gd name="connsiteX5006" fmla="*/ 385560 w 1687454"/>
                  <a:gd name="connsiteY5006" fmla="*/ 259480 h 903637"/>
                  <a:gd name="connsiteX5007" fmla="*/ 388470 w 1687454"/>
                  <a:gd name="connsiteY5007" fmla="*/ 259480 h 903637"/>
                  <a:gd name="connsiteX5008" fmla="*/ 392261 w 1687454"/>
                  <a:gd name="connsiteY5008" fmla="*/ 257716 h 903637"/>
                  <a:gd name="connsiteX5009" fmla="*/ 395788 w 1687454"/>
                  <a:gd name="connsiteY5009" fmla="*/ 256570 h 903637"/>
                  <a:gd name="connsiteX5010" fmla="*/ 398168 w 1687454"/>
                  <a:gd name="connsiteY5010" fmla="*/ 258598 h 903637"/>
                  <a:gd name="connsiteX5011" fmla="*/ 401960 w 1687454"/>
                  <a:gd name="connsiteY5011" fmla="*/ 257452 h 903637"/>
                  <a:gd name="connsiteX5012" fmla="*/ 403723 w 1687454"/>
                  <a:gd name="connsiteY5012" fmla="*/ 255953 h 903637"/>
                  <a:gd name="connsiteX5013" fmla="*/ 406104 w 1687454"/>
                  <a:gd name="connsiteY5013" fmla="*/ 253043 h 903637"/>
                  <a:gd name="connsiteX5014" fmla="*/ 408749 w 1687454"/>
                  <a:gd name="connsiteY5014" fmla="*/ 251897 h 903637"/>
                  <a:gd name="connsiteX5015" fmla="*/ 410776 w 1687454"/>
                  <a:gd name="connsiteY5015" fmla="*/ 254278 h 903637"/>
                  <a:gd name="connsiteX5016" fmla="*/ 417742 w 1687454"/>
                  <a:gd name="connsiteY5016" fmla="*/ 252250 h 903637"/>
                  <a:gd name="connsiteX5017" fmla="*/ 419770 w 1687454"/>
                  <a:gd name="connsiteY5017" fmla="*/ 252250 h 903637"/>
                  <a:gd name="connsiteX5018" fmla="*/ 423561 w 1687454"/>
                  <a:gd name="connsiteY5018" fmla="*/ 248988 h 903637"/>
                  <a:gd name="connsiteX5019" fmla="*/ 430526 w 1687454"/>
                  <a:gd name="connsiteY5019" fmla="*/ 247841 h 903637"/>
                  <a:gd name="connsiteX5020" fmla="*/ 426999 w 1687454"/>
                  <a:gd name="connsiteY5020" fmla="*/ 249869 h 903637"/>
                  <a:gd name="connsiteX5021" fmla="*/ 423208 w 1687454"/>
                  <a:gd name="connsiteY5021" fmla="*/ 251368 h 903637"/>
                  <a:gd name="connsiteX5022" fmla="*/ 414215 w 1687454"/>
                  <a:gd name="connsiteY5022" fmla="*/ 254278 h 903637"/>
                  <a:gd name="connsiteX5023" fmla="*/ 415978 w 1687454"/>
                  <a:gd name="connsiteY5023" fmla="*/ 255424 h 903637"/>
                  <a:gd name="connsiteX5024" fmla="*/ 420651 w 1687454"/>
                  <a:gd name="connsiteY5024" fmla="*/ 254807 h 903637"/>
                  <a:gd name="connsiteX5025" fmla="*/ 428498 w 1687454"/>
                  <a:gd name="connsiteY5025" fmla="*/ 253308 h 903637"/>
                  <a:gd name="connsiteX5026" fmla="*/ 435199 w 1687454"/>
                  <a:gd name="connsiteY5026" fmla="*/ 251015 h 903637"/>
                  <a:gd name="connsiteX5027" fmla="*/ 436962 w 1687454"/>
                  <a:gd name="connsiteY5027" fmla="*/ 248635 h 903637"/>
                  <a:gd name="connsiteX5028" fmla="*/ 438109 w 1687454"/>
                  <a:gd name="connsiteY5028" fmla="*/ 250134 h 903637"/>
                  <a:gd name="connsiteX5029" fmla="*/ 437227 w 1687454"/>
                  <a:gd name="connsiteY5029" fmla="*/ 253043 h 903637"/>
                  <a:gd name="connsiteX5030" fmla="*/ 434582 w 1687454"/>
                  <a:gd name="connsiteY5030" fmla="*/ 255336 h 903637"/>
                  <a:gd name="connsiteX5031" fmla="*/ 433965 w 1687454"/>
                  <a:gd name="connsiteY5031" fmla="*/ 257981 h 903637"/>
                  <a:gd name="connsiteX5032" fmla="*/ 439519 w 1687454"/>
                  <a:gd name="connsiteY5032" fmla="*/ 255953 h 903637"/>
                  <a:gd name="connsiteX5033" fmla="*/ 441018 w 1687454"/>
                  <a:gd name="connsiteY5033" fmla="*/ 255953 h 903637"/>
                  <a:gd name="connsiteX5034" fmla="*/ 444192 w 1687454"/>
                  <a:gd name="connsiteY5034" fmla="*/ 256835 h 903637"/>
                  <a:gd name="connsiteX5035" fmla="*/ 446837 w 1687454"/>
                  <a:gd name="connsiteY5035" fmla="*/ 254189 h 903637"/>
                  <a:gd name="connsiteX5036" fmla="*/ 451246 w 1687454"/>
                  <a:gd name="connsiteY5036" fmla="*/ 253308 h 903637"/>
                  <a:gd name="connsiteX5037" fmla="*/ 453891 w 1687454"/>
                  <a:gd name="connsiteY5037" fmla="*/ 253925 h 903637"/>
                  <a:gd name="connsiteX5038" fmla="*/ 455654 w 1687454"/>
                  <a:gd name="connsiteY5038" fmla="*/ 251544 h 903637"/>
                  <a:gd name="connsiteX5039" fmla="*/ 458828 w 1687454"/>
                  <a:gd name="connsiteY5039" fmla="*/ 250046 h 903637"/>
                  <a:gd name="connsiteX5040" fmla="*/ 460592 w 1687454"/>
                  <a:gd name="connsiteY5040" fmla="*/ 247665 h 903637"/>
                  <a:gd name="connsiteX5041" fmla="*/ 463766 w 1687454"/>
                  <a:gd name="connsiteY5041" fmla="*/ 247136 h 903637"/>
                  <a:gd name="connsiteX5042" fmla="*/ 466411 w 1687454"/>
                  <a:gd name="connsiteY5042" fmla="*/ 243345 h 903637"/>
                  <a:gd name="connsiteX5043" fmla="*/ 466675 w 1687454"/>
                  <a:gd name="connsiteY5043" fmla="*/ 241846 h 903637"/>
                  <a:gd name="connsiteX5044" fmla="*/ 468174 w 1687454"/>
                  <a:gd name="connsiteY5044" fmla="*/ 239201 h 903637"/>
                  <a:gd name="connsiteX5045" fmla="*/ 469673 w 1687454"/>
                  <a:gd name="connsiteY5045" fmla="*/ 239465 h 903637"/>
                  <a:gd name="connsiteX5046" fmla="*/ 471436 w 1687454"/>
                  <a:gd name="connsiteY5046" fmla="*/ 238848 h 903637"/>
                  <a:gd name="connsiteX5047" fmla="*/ 472582 w 1687454"/>
                  <a:gd name="connsiteY5047" fmla="*/ 240876 h 903637"/>
                  <a:gd name="connsiteX5048" fmla="*/ 474346 w 1687454"/>
                  <a:gd name="connsiteY5048" fmla="*/ 239730 h 903637"/>
                  <a:gd name="connsiteX5049" fmla="*/ 474081 w 1687454"/>
                  <a:gd name="connsiteY5049" fmla="*/ 242639 h 903637"/>
                  <a:gd name="connsiteX5050" fmla="*/ 476991 w 1687454"/>
                  <a:gd name="connsiteY5050" fmla="*/ 244932 h 903637"/>
                  <a:gd name="connsiteX5051" fmla="*/ 477608 w 1687454"/>
                  <a:gd name="connsiteY5051" fmla="*/ 246078 h 903637"/>
                  <a:gd name="connsiteX5052" fmla="*/ 476726 w 1687454"/>
                  <a:gd name="connsiteY5052" fmla="*/ 247489 h 903637"/>
                  <a:gd name="connsiteX5053" fmla="*/ 476109 w 1687454"/>
                  <a:gd name="connsiteY5053" fmla="*/ 252162 h 903637"/>
                  <a:gd name="connsiteX5054" fmla="*/ 476109 w 1687454"/>
                  <a:gd name="connsiteY5054" fmla="*/ 255336 h 903637"/>
                  <a:gd name="connsiteX5055" fmla="*/ 474610 w 1687454"/>
                  <a:gd name="connsiteY5055" fmla="*/ 259391 h 903637"/>
                  <a:gd name="connsiteX5056" fmla="*/ 473200 w 1687454"/>
                  <a:gd name="connsiteY5056" fmla="*/ 261419 h 903637"/>
                  <a:gd name="connsiteX5057" fmla="*/ 474610 w 1687454"/>
                  <a:gd name="connsiteY5057" fmla="*/ 264946 h 903637"/>
                  <a:gd name="connsiteX5058" fmla="*/ 474610 w 1687454"/>
                  <a:gd name="connsiteY5058" fmla="*/ 266974 h 903637"/>
                  <a:gd name="connsiteX5059" fmla="*/ 475492 w 1687454"/>
                  <a:gd name="connsiteY5059" fmla="*/ 269619 h 903637"/>
                  <a:gd name="connsiteX5060" fmla="*/ 477520 w 1687454"/>
                  <a:gd name="connsiteY5060" fmla="*/ 267856 h 903637"/>
                  <a:gd name="connsiteX5061" fmla="*/ 479900 w 1687454"/>
                  <a:gd name="connsiteY5061" fmla="*/ 266092 h 903637"/>
                  <a:gd name="connsiteX5062" fmla="*/ 482193 w 1687454"/>
                  <a:gd name="connsiteY5062" fmla="*/ 263183 h 903637"/>
                  <a:gd name="connsiteX5063" fmla="*/ 485102 w 1687454"/>
                  <a:gd name="connsiteY5063" fmla="*/ 261155 h 903637"/>
                  <a:gd name="connsiteX5064" fmla="*/ 487395 w 1687454"/>
                  <a:gd name="connsiteY5064" fmla="*/ 261772 h 903637"/>
                  <a:gd name="connsiteX5065" fmla="*/ 489158 w 1687454"/>
                  <a:gd name="connsiteY5065" fmla="*/ 260890 h 903637"/>
                  <a:gd name="connsiteX5066" fmla="*/ 491186 w 1687454"/>
                  <a:gd name="connsiteY5066" fmla="*/ 258245 h 903637"/>
                  <a:gd name="connsiteX5067" fmla="*/ 492949 w 1687454"/>
                  <a:gd name="connsiteY5067" fmla="*/ 259127 h 903637"/>
                  <a:gd name="connsiteX5068" fmla="*/ 493831 w 1687454"/>
                  <a:gd name="connsiteY5068" fmla="*/ 258510 h 903637"/>
                  <a:gd name="connsiteX5069" fmla="*/ 495242 w 1687454"/>
                  <a:gd name="connsiteY5069" fmla="*/ 259656 h 903637"/>
                  <a:gd name="connsiteX5070" fmla="*/ 497270 w 1687454"/>
                  <a:gd name="connsiteY5070" fmla="*/ 256746 h 903637"/>
                  <a:gd name="connsiteX5071" fmla="*/ 499915 w 1687454"/>
                  <a:gd name="connsiteY5071" fmla="*/ 253837 h 903637"/>
                  <a:gd name="connsiteX5072" fmla="*/ 503177 w 1687454"/>
                  <a:gd name="connsiteY5072" fmla="*/ 252338 h 903637"/>
                  <a:gd name="connsiteX5073" fmla="*/ 506968 w 1687454"/>
                  <a:gd name="connsiteY5073" fmla="*/ 252338 h 903637"/>
                  <a:gd name="connsiteX5074" fmla="*/ 509613 w 1687454"/>
                  <a:gd name="connsiteY5074" fmla="*/ 250310 h 903637"/>
                  <a:gd name="connsiteX5075" fmla="*/ 512787 w 1687454"/>
                  <a:gd name="connsiteY5075" fmla="*/ 248811 h 903637"/>
                  <a:gd name="connsiteX5076" fmla="*/ 514815 w 1687454"/>
                  <a:gd name="connsiteY5076" fmla="*/ 248811 h 903637"/>
                  <a:gd name="connsiteX5077" fmla="*/ 516579 w 1687454"/>
                  <a:gd name="connsiteY5077" fmla="*/ 249428 h 903637"/>
                  <a:gd name="connsiteX5078" fmla="*/ 515697 w 1687454"/>
                  <a:gd name="connsiteY5078" fmla="*/ 251192 h 903637"/>
                  <a:gd name="connsiteX5079" fmla="*/ 513933 w 1687454"/>
                  <a:gd name="connsiteY5079" fmla="*/ 253572 h 903637"/>
                  <a:gd name="connsiteX5080" fmla="*/ 511906 w 1687454"/>
                  <a:gd name="connsiteY5080" fmla="*/ 254719 h 903637"/>
                  <a:gd name="connsiteX5081" fmla="*/ 512523 w 1687454"/>
                  <a:gd name="connsiteY5081" fmla="*/ 256482 h 903637"/>
                  <a:gd name="connsiteX5082" fmla="*/ 510495 w 1687454"/>
                  <a:gd name="connsiteY5082" fmla="*/ 257628 h 903637"/>
                  <a:gd name="connsiteX5083" fmla="*/ 510759 w 1687454"/>
                  <a:gd name="connsiteY5083" fmla="*/ 259656 h 903637"/>
                  <a:gd name="connsiteX5084" fmla="*/ 508996 w 1687454"/>
                  <a:gd name="connsiteY5084" fmla="*/ 262566 h 903637"/>
                  <a:gd name="connsiteX5085" fmla="*/ 506704 w 1687454"/>
                  <a:gd name="connsiteY5085" fmla="*/ 260802 h 903637"/>
                  <a:gd name="connsiteX5086" fmla="*/ 504676 w 1687454"/>
                  <a:gd name="connsiteY5086" fmla="*/ 262566 h 903637"/>
                  <a:gd name="connsiteX5087" fmla="*/ 502383 w 1687454"/>
                  <a:gd name="connsiteY5087" fmla="*/ 263712 h 903637"/>
                  <a:gd name="connsiteX5088" fmla="*/ 500003 w 1687454"/>
                  <a:gd name="connsiteY5088" fmla="*/ 267238 h 903637"/>
                  <a:gd name="connsiteX5089" fmla="*/ 504411 w 1687454"/>
                  <a:gd name="connsiteY5089" fmla="*/ 266092 h 903637"/>
                  <a:gd name="connsiteX5090" fmla="*/ 507938 w 1687454"/>
                  <a:gd name="connsiteY5090" fmla="*/ 267238 h 903637"/>
                  <a:gd name="connsiteX5091" fmla="*/ 511465 w 1687454"/>
                  <a:gd name="connsiteY5091" fmla="*/ 267856 h 903637"/>
                  <a:gd name="connsiteX5092" fmla="*/ 513757 w 1687454"/>
                  <a:gd name="connsiteY5092" fmla="*/ 266092 h 903637"/>
                  <a:gd name="connsiteX5093" fmla="*/ 518166 w 1687454"/>
                  <a:gd name="connsiteY5093" fmla="*/ 266092 h 903637"/>
                  <a:gd name="connsiteX5094" fmla="*/ 519312 w 1687454"/>
                  <a:gd name="connsiteY5094" fmla="*/ 264064 h 903637"/>
                  <a:gd name="connsiteX5095" fmla="*/ 523368 w 1687454"/>
                  <a:gd name="connsiteY5095" fmla="*/ 263183 h 903637"/>
                  <a:gd name="connsiteX5096" fmla="*/ 527423 w 1687454"/>
                  <a:gd name="connsiteY5096" fmla="*/ 262566 h 903637"/>
                  <a:gd name="connsiteX5097" fmla="*/ 529187 w 1687454"/>
                  <a:gd name="connsiteY5097" fmla="*/ 260802 h 903637"/>
                  <a:gd name="connsiteX5098" fmla="*/ 534124 w 1687454"/>
                  <a:gd name="connsiteY5098" fmla="*/ 260538 h 903637"/>
                  <a:gd name="connsiteX5099" fmla="*/ 537034 w 1687454"/>
                  <a:gd name="connsiteY5099" fmla="*/ 258774 h 903637"/>
                  <a:gd name="connsiteX5100" fmla="*/ 540560 w 1687454"/>
                  <a:gd name="connsiteY5100" fmla="*/ 258510 h 903637"/>
                  <a:gd name="connsiteX5101" fmla="*/ 544087 w 1687454"/>
                  <a:gd name="connsiteY5101" fmla="*/ 257628 h 903637"/>
                  <a:gd name="connsiteX5102" fmla="*/ 547614 w 1687454"/>
                  <a:gd name="connsiteY5102" fmla="*/ 255248 h 903637"/>
                  <a:gd name="connsiteX5103" fmla="*/ 549906 w 1687454"/>
                  <a:gd name="connsiteY5103" fmla="*/ 254983 h 903637"/>
                  <a:gd name="connsiteX5104" fmla="*/ 553962 w 1687454"/>
                  <a:gd name="connsiteY5104" fmla="*/ 255512 h 903637"/>
                  <a:gd name="connsiteX5105" fmla="*/ 556872 w 1687454"/>
                  <a:gd name="connsiteY5105" fmla="*/ 256658 h 903637"/>
                  <a:gd name="connsiteX5106" fmla="*/ 555990 w 1687454"/>
                  <a:gd name="connsiteY5106" fmla="*/ 260185 h 903637"/>
                  <a:gd name="connsiteX5107" fmla="*/ 559164 w 1687454"/>
                  <a:gd name="connsiteY5107" fmla="*/ 260802 h 903637"/>
                  <a:gd name="connsiteX5108" fmla="*/ 559428 w 1687454"/>
                  <a:gd name="connsiteY5108" fmla="*/ 263094 h 903637"/>
                  <a:gd name="connsiteX5109" fmla="*/ 566129 w 1687454"/>
                  <a:gd name="connsiteY5109" fmla="*/ 265122 h 903637"/>
                  <a:gd name="connsiteX5110" fmla="*/ 568774 w 1687454"/>
                  <a:gd name="connsiteY5110" fmla="*/ 267150 h 903637"/>
                  <a:gd name="connsiteX5111" fmla="*/ 571684 w 1687454"/>
                  <a:gd name="connsiteY5111" fmla="*/ 266533 h 903637"/>
                  <a:gd name="connsiteX5112" fmla="*/ 572565 w 1687454"/>
                  <a:gd name="connsiteY5112" fmla="*/ 264505 h 903637"/>
                  <a:gd name="connsiteX5113" fmla="*/ 577856 w 1687454"/>
                  <a:gd name="connsiteY5113" fmla="*/ 264505 h 903637"/>
                  <a:gd name="connsiteX5114" fmla="*/ 582264 w 1687454"/>
                  <a:gd name="connsiteY5114" fmla="*/ 266269 h 903637"/>
                  <a:gd name="connsiteX5115" fmla="*/ 584027 w 1687454"/>
                  <a:gd name="connsiteY5115" fmla="*/ 268296 h 903637"/>
                  <a:gd name="connsiteX5116" fmla="*/ 588083 w 1687454"/>
                  <a:gd name="connsiteY5116" fmla="*/ 270941 h 903637"/>
                  <a:gd name="connsiteX5117" fmla="*/ 594519 w 1687454"/>
                  <a:gd name="connsiteY5117" fmla="*/ 273851 h 903637"/>
                  <a:gd name="connsiteX5118" fmla="*/ 598046 w 1687454"/>
                  <a:gd name="connsiteY5118" fmla="*/ 271823 h 903637"/>
                  <a:gd name="connsiteX5119" fmla="*/ 603601 w 1687454"/>
                  <a:gd name="connsiteY5119" fmla="*/ 273851 h 903637"/>
                  <a:gd name="connsiteX5120" fmla="*/ 610919 w 1687454"/>
                  <a:gd name="connsiteY5120" fmla="*/ 274733 h 903637"/>
                  <a:gd name="connsiteX5121" fmla="*/ 614445 w 1687454"/>
                  <a:gd name="connsiteY5121" fmla="*/ 274997 h 903637"/>
                  <a:gd name="connsiteX5122" fmla="*/ 613035 w 1687454"/>
                  <a:gd name="connsiteY5122" fmla="*/ 272088 h 903637"/>
                  <a:gd name="connsiteX5123" fmla="*/ 615944 w 1687454"/>
                  <a:gd name="connsiteY5123" fmla="*/ 271206 h 903637"/>
                  <a:gd name="connsiteX5124" fmla="*/ 620000 w 1687454"/>
                  <a:gd name="connsiteY5124" fmla="*/ 272088 h 903637"/>
                  <a:gd name="connsiteX5125" fmla="*/ 620264 w 1687454"/>
                  <a:gd name="connsiteY5125" fmla="*/ 271470 h 903637"/>
                  <a:gd name="connsiteX5126" fmla="*/ 630139 w 1687454"/>
                  <a:gd name="connsiteY5126" fmla="*/ 272352 h 903637"/>
                  <a:gd name="connsiteX5127" fmla="*/ 634195 w 1687454"/>
                  <a:gd name="connsiteY5127" fmla="*/ 274645 h 903637"/>
                  <a:gd name="connsiteX5128" fmla="*/ 638604 w 1687454"/>
                  <a:gd name="connsiteY5128" fmla="*/ 281345 h 903637"/>
                  <a:gd name="connsiteX5129" fmla="*/ 637193 w 1687454"/>
                  <a:gd name="connsiteY5129" fmla="*/ 283638 h 903637"/>
                  <a:gd name="connsiteX5130" fmla="*/ 639573 w 1687454"/>
                  <a:gd name="connsiteY5130" fmla="*/ 283638 h 903637"/>
                  <a:gd name="connsiteX5131" fmla="*/ 634283 w 1687454"/>
                  <a:gd name="connsiteY5131" fmla="*/ 286812 h 903637"/>
                  <a:gd name="connsiteX5132" fmla="*/ 622028 w 1687454"/>
                  <a:gd name="connsiteY5132" fmla="*/ 286812 h 903637"/>
                  <a:gd name="connsiteX5133" fmla="*/ 618854 w 1687454"/>
                  <a:gd name="connsiteY5133" fmla="*/ 289192 h 903637"/>
                  <a:gd name="connsiteX5134" fmla="*/ 614181 w 1687454"/>
                  <a:gd name="connsiteY5134" fmla="*/ 288575 h 903637"/>
                  <a:gd name="connsiteX5135" fmla="*/ 609243 w 1687454"/>
                  <a:gd name="connsiteY5135" fmla="*/ 292984 h 903637"/>
                  <a:gd name="connsiteX5136" fmla="*/ 603424 w 1687454"/>
                  <a:gd name="connsiteY5136" fmla="*/ 293865 h 903637"/>
                  <a:gd name="connsiteX5137" fmla="*/ 609596 w 1687454"/>
                  <a:gd name="connsiteY5137" fmla="*/ 296510 h 903637"/>
                  <a:gd name="connsiteX5138" fmla="*/ 615151 w 1687454"/>
                  <a:gd name="connsiteY5138" fmla="*/ 299684 h 903637"/>
                  <a:gd name="connsiteX5139" fmla="*/ 621587 w 1687454"/>
                  <a:gd name="connsiteY5139" fmla="*/ 302065 h 903637"/>
                  <a:gd name="connsiteX5140" fmla="*/ 625643 w 1687454"/>
                  <a:gd name="connsiteY5140" fmla="*/ 298891 h 903637"/>
                  <a:gd name="connsiteX5141" fmla="*/ 634371 w 1687454"/>
                  <a:gd name="connsiteY5141" fmla="*/ 299773 h 903637"/>
                  <a:gd name="connsiteX5142" fmla="*/ 643717 w 1687454"/>
                  <a:gd name="connsiteY5142" fmla="*/ 300390 h 903637"/>
                  <a:gd name="connsiteX5143" fmla="*/ 648390 w 1687454"/>
                  <a:gd name="connsiteY5143" fmla="*/ 298891 h 903637"/>
                  <a:gd name="connsiteX5144" fmla="*/ 651564 w 1687454"/>
                  <a:gd name="connsiteY5144" fmla="*/ 302682 h 903637"/>
                  <a:gd name="connsiteX5145" fmla="*/ 656502 w 1687454"/>
                  <a:gd name="connsiteY5145" fmla="*/ 300654 h 903637"/>
                  <a:gd name="connsiteX5146" fmla="*/ 659147 w 1687454"/>
                  <a:gd name="connsiteY5146" fmla="*/ 304710 h 903637"/>
                  <a:gd name="connsiteX5147" fmla="*/ 666729 w 1687454"/>
                  <a:gd name="connsiteY5147" fmla="*/ 297745 h 903637"/>
                  <a:gd name="connsiteX5148" fmla="*/ 672548 w 1687454"/>
                  <a:gd name="connsiteY5148" fmla="*/ 295981 h 903637"/>
                  <a:gd name="connsiteX5149" fmla="*/ 672019 w 1687454"/>
                  <a:gd name="connsiteY5149" fmla="*/ 296863 h 903637"/>
                  <a:gd name="connsiteX5150" fmla="*/ 679602 w 1687454"/>
                  <a:gd name="connsiteY5150" fmla="*/ 295981 h 903637"/>
                  <a:gd name="connsiteX5151" fmla="*/ 688330 w 1687454"/>
                  <a:gd name="connsiteY5151" fmla="*/ 294218 h 903637"/>
                  <a:gd name="connsiteX5152" fmla="*/ 693621 w 1687454"/>
                  <a:gd name="connsiteY5152" fmla="*/ 291573 h 903637"/>
                  <a:gd name="connsiteX5153" fmla="*/ 695384 w 1687454"/>
                  <a:gd name="connsiteY5153" fmla="*/ 298626 h 903637"/>
                  <a:gd name="connsiteX5154" fmla="*/ 703848 w 1687454"/>
                  <a:gd name="connsiteY5154" fmla="*/ 297745 h 903637"/>
                  <a:gd name="connsiteX5155" fmla="*/ 700674 w 1687454"/>
                  <a:gd name="connsiteY5155" fmla="*/ 304710 h 903637"/>
                  <a:gd name="connsiteX5156" fmla="*/ 703319 w 1687454"/>
                  <a:gd name="connsiteY5156" fmla="*/ 305327 h 903637"/>
                  <a:gd name="connsiteX5157" fmla="*/ 707992 w 1687454"/>
                  <a:gd name="connsiteY5157" fmla="*/ 300390 h 903637"/>
                  <a:gd name="connsiteX5158" fmla="*/ 707375 w 1687454"/>
                  <a:gd name="connsiteY5158" fmla="*/ 305327 h 903637"/>
                  <a:gd name="connsiteX5159" fmla="*/ 710020 w 1687454"/>
                  <a:gd name="connsiteY5159" fmla="*/ 304181 h 903637"/>
                  <a:gd name="connsiteX5160" fmla="*/ 708874 w 1687454"/>
                  <a:gd name="connsiteY5160" fmla="*/ 306473 h 903637"/>
                  <a:gd name="connsiteX5161" fmla="*/ 710637 w 1687454"/>
                  <a:gd name="connsiteY5161" fmla="*/ 305327 h 903637"/>
                  <a:gd name="connsiteX5162" fmla="*/ 712930 w 1687454"/>
                  <a:gd name="connsiteY5162" fmla="*/ 307090 h 903637"/>
                  <a:gd name="connsiteX5163" fmla="*/ 712312 w 1687454"/>
                  <a:gd name="connsiteY5163" fmla="*/ 311146 h 903637"/>
                  <a:gd name="connsiteX5164" fmla="*/ 705347 w 1687454"/>
                  <a:gd name="connsiteY5164" fmla="*/ 312645 h 903637"/>
                  <a:gd name="connsiteX5165" fmla="*/ 701291 w 1687454"/>
                  <a:gd name="connsiteY5165" fmla="*/ 310617 h 903637"/>
                  <a:gd name="connsiteX5166" fmla="*/ 704465 w 1687454"/>
                  <a:gd name="connsiteY5166" fmla="*/ 314144 h 903637"/>
                  <a:gd name="connsiteX5167" fmla="*/ 702702 w 1687454"/>
                  <a:gd name="connsiteY5167" fmla="*/ 316436 h 903637"/>
                  <a:gd name="connsiteX5168" fmla="*/ 704730 w 1687454"/>
                  <a:gd name="connsiteY5168" fmla="*/ 317318 h 903637"/>
                  <a:gd name="connsiteX5169" fmla="*/ 707022 w 1687454"/>
                  <a:gd name="connsiteY5169" fmla="*/ 322608 h 903637"/>
                  <a:gd name="connsiteX5170" fmla="*/ 710813 w 1687454"/>
                  <a:gd name="connsiteY5170" fmla="*/ 314144 h 903637"/>
                  <a:gd name="connsiteX5171" fmla="*/ 716368 w 1687454"/>
                  <a:gd name="connsiteY5171" fmla="*/ 312998 h 903637"/>
                  <a:gd name="connsiteX5172" fmla="*/ 714340 w 1687454"/>
                  <a:gd name="connsiteY5172" fmla="*/ 314761 h 903637"/>
                  <a:gd name="connsiteX5173" fmla="*/ 718749 w 1687454"/>
                  <a:gd name="connsiteY5173" fmla="*/ 317406 h 903637"/>
                  <a:gd name="connsiteX5174" fmla="*/ 720777 w 1687454"/>
                  <a:gd name="connsiteY5174" fmla="*/ 308942 h 903637"/>
                  <a:gd name="connsiteX5175" fmla="*/ 720159 w 1687454"/>
                  <a:gd name="connsiteY5175" fmla="*/ 306033 h 903637"/>
                  <a:gd name="connsiteX5176" fmla="*/ 724215 w 1687454"/>
                  <a:gd name="connsiteY5176" fmla="*/ 302241 h 903637"/>
                  <a:gd name="connsiteX5177" fmla="*/ 721570 w 1687454"/>
                  <a:gd name="connsiteY5177" fmla="*/ 297304 h 903637"/>
                  <a:gd name="connsiteX5178" fmla="*/ 729417 w 1687454"/>
                  <a:gd name="connsiteY5178" fmla="*/ 297039 h 903637"/>
                  <a:gd name="connsiteX5179" fmla="*/ 732327 w 1687454"/>
                  <a:gd name="connsiteY5179" fmla="*/ 293248 h 903637"/>
                  <a:gd name="connsiteX5180" fmla="*/ 733473 w 1687454"/>
                  <a:gd name="connsiteY5180" fmla="*/ 291485 h 903637"/>
                  <a:gd name="connsiteX5181" fmla="*/ 736382 w 1687454"/>
                  <a:gd name="connsiteY5181" fmla="*/ 290338 h 903637"/>
                  <a:gd name="connsiteX5182" fmla="*/ 739027 w 1687454"/>
                  <a:gd name="connsiteY5182" fmla="*/ 291220 h 903637"/>
                  <a:gd name="connsiteX5183" fmla="*/ 743700 w 1687454"/>
                  <a:gd name="connsiteY5183" fmla="*/ 289457 h 903637"/>
                  <a:gd name="connsiteX5184" fmla="*/ 743965 w 1687454"/>
                  <a:gd name="connsiteY5184" fmla="*/ 290338 h 903637"/>
                  <a:gd name="connsiteX5185" fmla="*/ 749519 w 1687454"/>
                  <a:gd name="connsiteY5185" fmla="*/ 289721 h 903637"/>
                  <a:gd name="connsiteX5186" fmla="*/ 751547 w 1687454"/>
                  <a:gd name="connsiteY5186" fmla="*/ 287429 h 903637"/>
                  <a:gd name="connsiteX5187" fmla="*/ 757366 w 1687454"/>
                  <a:gd name="connsiteY5187" fmla="*/ 287693 h 903637"/>
                  <a:gd name="connsiteX5188" fmla="*/ 760011 w 1687454"/>
                  <a:gd name="connsiteY5188" fmla="*/ 284784 h 903637"/>
                  <a:gd name="connsiteX5189" fmla="*/ 772884 w 1687454"/>
                  <a:gd name="connsiteY5189" fmla="*/ 282492 h 903637"/>
                  <a:gd name="connsiteX5190" fmla="*/ 777821 w 1687454"/>
                  <a:gd name="connsiteY5190" fmla="*/ 278700 h 903637"/>
                  <a:gd name="connsiteX5191" fmla="*/ 774912 w 1687454"/>
                  <a:gd name="connsiteY5191" fmla="*/ 278436 h 903637"/>
                  <a:gd name="connsiteX5192" fmla="*/ 765037 w 1687454"/>
                  <a:gd name="connsiteY5192" fmla="*/ 281698 h 903637"/>
                  <a:gd name="connsiteX5193" fmla="*/ 760981 w 1687454"/>
                  <a:gd name="connsiteY5193" fmla="*/ 281081 h 903637"/>
                  <a:gd name="connsiteX5194" fmla="*/ 756925 w 1687454"/>
                  <a:gd name="connsiteY5194" fmla="*/ 285401 h 903637"/>
                  <a:gd name="connsiteX5195" fmla="*/ 755162 w 1687454"/>
                  <a:gd name="connsiteY5195" fmla="*/ 283990 h 903637"/>
                  <a:gd name="connsiteX5196" fmla="*/ 748197 w 1687454"/>
                  <a:gd name="connsiteY5196" fmla="*/ 285137 h 903637"/>
                  <a:gd name="connsiteX5197" fmla="*/ 747051 w 1687454"/>
                  <a:gd name="connsiteY5197" fmla="*/ 286018 h 903637"/>
                  <a:gd name="connsiteX5198" fmla="*/ 741849 w 1687454"/>
                  <a:gd name="connsiteY5198" fmla="*/ 284872 h 903637"/>
                  <a:gd name="connsiteX5199" fmla="*/ 736911 w 1687454"/>
                  <a:gd name="connsiteY5199" fmla="*/ 285137 h 903637"/>
                  <a:gd name="connsiteX5200" fmla="*/ 734883 w 1687454"/>
                  <a:gd name="connsiteY5200" fmla="*/ 286547 h 903637"/>
                  <a:gd name="connsiteX5201" fmla="*/ 737793 w 1687454"/>
                  <a:gd name="connsiteY5201" fmla="*/ 288046 h 903637"/>
                  <a:gd name="connsiteX5202" fmla="*/ 726155 w 1687454"/>
                  <a:gd name="connsiteY5202" fmla="*/ 288663 h 903637"/>
                  <a:gd name="connsiteX5203" fmla="*/ 726419 w 1687454"/>
                  <a:gd name="connsiteY5203" fmla="*/ 285401 h 903637"/>
                  <a:gd name="connsiteX5204" fmla="*/ 719718 w 1687454"/>
                  <a:gd name="connsiteY5204" fmla="*/ 286547 h 903637"/>
                  <a:gd name="connsiteX5205" fmla="*/ 728447 w 1687454"/>
                  <a:gd name="connsiteY5205" fmla="*/ 283638 h 903637"/>
                  <a:gd name="connsiteX5206" fmla="*/ 733737 w 1687454"/>
                  <a:gd name="connsiteY5206" fmla="*/ 279229 h 903637"/>
                  <a:gd name="connsiteX5207" fmla="*/ 739027 w 1687454"/>
                  <a:gd name="connsiteY5207" fmla="*/ 280993 h 903637"/>
                  <a:gd name="connsiteX5208" fmla="*/ 748902 w 1687454"/>
                  <a:gd name="connsiteY5208" fmla="*/ 277819 h 903637"/>
                  <a:gd name="connsiteX5209" fmla="*/ 752693 w 1687454"/>
                  <a:gd name="connsiteY5209" fmla="*/ 277554 h 903637"/>
                  <a:gd name="connsiteX5210" fmla="*/ 756220 w 1687454"/>
                  <a:gd name="connsiteY5210" fmla="*/ 276672 h 903637"/>
                  <a:gd name="connsiteX5211" fmla="*/ 763803 w 1687454"/>
                  <a:gd name="connsiteY5211" fmla="*/ 276937 h 903637"/>
                  <a:gd name="connsiteX5212" fmla="*/ 771121 w 1687454"/>
                  <a:gd name="connsiteY5212" fmla="*/ 273410 h 903637"/>
                  <a:gd name="connsiteX5213" fmla="*/ 768740 w 1687454"/>
                  <a:gd name="connsiteY5213" fmla="*/ 274027 h 903637"/>
                  <a:gd name="connsiteX5214" fmla="*/ 775441 w 1687454"/>
                  <a:gd name="connsiteY5214" fmla="*/ 272264 h 903637"/>
                  <a:gd name="connsiteX5215" fmla="*/ 780643 w 1687454"/>
                  <a:gd name="connsiteY5215" fmla="*/ 273146 h 903637"/>
                  <a:gd name="connsiteX5216" fmla="*/ 782671 w 1687454"/>
                  <a:gd name="connsiteY5216" fmla="*/ 276320 h 903637"/>
                  <a:gd name="connsiteX5217" fmla="*/ 780290 w 1687454"/>
                  <a:gd name="connsiteY5217" fmla="*/ 281610 h 903637"/>
                  <a:gd name="connsiteX5218" fmla="*/ 775617 w 1687454"/>
                  <a:gd name="connsiteY5218" fmla="*/ 282227 h 903637"/>
                  <a:gd name="connsiteX5219" fmla="*/ 780819 w 1687454"/>
                  <a:gd name="connsiteY5219" fmla="*/ 286635 h 903637"/>
                  <a:gd name="connsiteX5220" fmla="*/ 786374 w 1687454"/>
                  <a:gd name="connsiteY5220" fmla="*/ 287253 h 903637"/>
                  <a:gd name="connsiteX5221" fmla="*/ 784346 w 1687454"/>
                  <a:gd name="connsiteY5221" fmla="*/ 291661 h 903637"/>
                  <a:gd name="connsiteX5222" fmla="*/ 798365 w 1687454"/>
                  <a:gd name="connsiteY5222" fmla="*/ 293689 h 903637"/>
                  <a:gd name="connsiteX5223" fmla="*/ 793956 w 1687454"/>
                  <a:gd name="connsiteY5223" fmla="*/ 293689 h 903637"/>
                  <a:gd name="connsiteX5224" fmla="*/ 801274 w 1687454"/>
                  <a:gd name="connsiteY5224" fmla="*/ 290515 h 903637"/>
                  <a:gd name="connsiteX5225" fmla="*/ 805947 w 1687454"/>
                  <a:gd name="connsiteY5225" fmla="*/ 288751 h 903637"/>
                  <a:gd name="connsiteX5226" fmla="*/ 803919 w 1687454"/>
                  <a:gd name="connsiteY5226" fmla="*/ 291926 h 903637"/>
                  <a:gd name="connsiteX5227" fmla="*/ 805683 w 1687454"/>
                  <a:gd name="connsiteY5227" fmla="*/ 294571 h 903637"/>
                  <a:gd name="connsiteX5228" fmla="*/ 814147 w 1687454"/>
                  <a:gd name="connsiteY5228" fmla="*/ 297216 h 903637"/>
                  <a:gd name="connsiteX5229" fmla="*/ 815910 w 1687454"/>
                  <a:gd name="connsiteY5229" fmla="*/ 300390 h 903637"/>
                  <a:gd name="connsiteX5230" fmla="*/ 817938 w 1687454"/>
                  <a:gd name="connsiteY5230" fmla="*/ 297480 h 903637"/>
                  <a:gd name="connsiteX5231" fmla="*/ 821465 w 1687454"/>
                  <a:gd name="connsiteY5231" fmla="*/ 296863 h 903637"/>
                  <a:gd name="connsiteX5232" fmla="*/ 826755 w 1687454"/>
                  <a:gd name="connsiteY5232" fmla="*/ 298891 h 903637"/>
                  <a:gd name="connsiteX5233" fmla="*/ 833191 w 1687454"/>
                  <a:gd name="connsiteY5233" fmla="*/ 297392 h 903637"/>
                  <a:gd name="connsiteX5234" fmla="*/ 843683 w 1687454"/>
                  <a:gd name="connsiteY5234" fmla="*/ 295893 h 903637"/>
                  <a:gd name="connsiteX5235" fmla="*/ 843066 w 1687454"/>
                  <a:gd name="connsiteY5235" fmla="*/ 297039 h 903637"/>
                  <a:gd name="connsiteX5236" fmla="*/ 846857 w 1687454"/>
                  <a:gd name="connsiteY5236" fmla="*/ 295540 h 903637"/>
                  <a:gd name="connsiteX5237" fmla="*/ 857349 w 1687454"/>
                  <a:gd name="connsiteY5237" fmla="*/ 298185 h 903637"/>
                  <a:gd name="connsiteX5238" fmla="*/ 865813 w 1687454"/>
                  <a:gd name="connsiteY5238" fmla="*/ 299949 h 903637"/>
                  <a:gd name="connsiteX5239" fmla="*/ 868988 w 1687454"/>
                  <a:gd name="connsiteY5239" fmla="*/ 298185 h 903637"/>
                  <a:gd name="connsiteX5240" fmla="*/ 874807 w 1687454"/>
                  <a:gd name="connsiteY5240" fmla="*/ 296422 h 903637"/>
                  <a:gd name="connsiteX5241" fmla="*/ 877716 w 1687454"/>
                  <a:gd name="connsiteY5241" fmla="*/ 297304 h 903637"/>
                  <a:gd name="connsiteX5242" fmla="*/ 879480 w 1687454"/>
                  <a:gd name="connsiteY5242" fmla="*/ 294659 h 903637"/>
                  <a:gd name="connsiteX5243" fmla="*/ 876835 w 1687454"/>
                  <a:gd name="connsiteY5243" fmla="*/ 294659 h 903637"/>
                  <a:gd name="connsiteX5244" fmla="*/ 878862 w 1687454"/>
                  <a:gd name="connsiteY5244" fmla="*/ 290250 h 903637"/>
                  <a:gd name="connsiteX5245" fmla="*/ 883535 w 1687454"/>
                  <a:gd name="connsiteY5245" fmla="*/ 288751 h 903637"/>
                  <a:gd name="connsiteX5246" fmla="*/ 885828 w 1687454"/>
                  <a:gd name="connsiteY5246" fmla="*/ 289016 h 903637"/>
                  <a:gd name="connsiteX5247" fmla="*/ 885828 w 1687454"/>
                  <a:gd name="connsiteY5247" fmla="*/ 283197 h 903637"/>
                  <a:gd name="connsiteX5248" fmla="*/ 892528 w 1687454"/>
                  <a:gd name="connsiteY5248" fmla="*/ 284608 h 903637"/>
                  <a:gd name="connsiteX5249" fmla="*/ 897466 w 1687454"/>
                  <a:gd name="connsiteY5249" fmla="*/ 284343 h 903637"/>
                  <a:gd name="connsiteX5250" fmla="*/ 899494 w 1687454"/>
                  <a:gd name="connsiteY5250" fmla="*/ 280552 h 903637"/>
                  <a:gd name="connsiteX5251" fmla="*/ 908487 w 1687454"/>
                  <a:gd name="connsiteY5251" fmla="*/ 281169 h 903637"/>
                  <a:gd name="connsiteX5252" fmla="*/ 912278 w 1687454"/>
                  <a:gd name="connsiteY5252" fmla="*/ 285842 h 903637"/>
                  <a:gd name="connsiteX5253" fmla="*/ 916951 w 1687454"/>
                  <a:gd name="connsiteY5253" fmla="*/ 286459 h 903637"/>
                  <a:gd name="connsiteX5254" fmla="*/ 921624 w 1687454"/>
                  <a:gd name="connsiteY5254" fmla="*/ 285313 h 903637"/>
                  <a:gd name="connsiteX5255" fmla="*/ 918979 w 1687454"/>
                  <a:gd name="connsiteY5255" fmla="*/ 287958 h 903637"/>
                  <a:gd name="connsiteX5256" fmla="*/ 928325 w 1687454"/>
                  <a:gd name="connsiteY5256" fmla="*/ 285930 h 903637"/>
                  <a:gd name="connsiteX5257" fmla="*/ 915188 w 1687454"/>
                  <a:gd name="connsiteY5257" fmla="*/ 295805 h 903637"/>
                  <a:gd name="connsiteX5258" fmla="*/ 918097 w 1687454"/>
                  <a:gd name="connsiteY5258" fmla="*/ 295540 h 903637"/>
                  <a:gd name="connsiteX5259" fmla="*/ 912278 w 1687454"/>
                  <a:gd name="connsiteY5259" fmla="*/ 299596 h 903637"/>
                  <a:gd name="connsiteX5260" fmla="*/ 911397 w 1687454"/>
                  <a:gd name="connsiteY5260" fmla="*/ 298715 h 903637"/>
                  <a:gd name="connsiteX5261" fmla="*/ 906195 w 1687454"/>
                  <a:gd name="connsiteY5261" fmla="*/ 302770 h 903637"/>
                  <a:gd name="connsiteX5262" fmla="*/ 909986 w 1687454"/>
                  <a:gd name="connsiteY5262" fmla="*/ 303299 h 903637"/>
                  <a:gd name="connsiteX5263" fmla="*/ 909986 w 1687454"/>
                  <a:gd name="connsiteY5263" fmla="*/ 307090 h 903637"/>
                  <a:gd name="connsiteX5264" fmla="*/ 912631 w 1687454"/>
                  <a:gd name="connsiteY5264" fmla="*/ 306209 h 903637"/>
                  <a:gd name="connsiteX5265" fmla="*/ 911749 w 1687454"/>
                  <a:gd name="connsiteY5265" fmla="*/ 308854 h 903637"/>
                  <a:gd name="connsiteX5266" fmla="*/ 917833 w 1687454"/>
                  <a:gd name="connsiteY5266" fmla="*/ 309736 h 903637"/>
                  <a:gd name="connsiteX5267" fmla="*/ 922770 w 1687454"/>
                  <a:gd name="connsiteY5267" fmla="*/ 313791 h 903637"/>
                  <a:gd name="connsiteX5268" fmla="*/ 923035 w 1687454"/>
                  <a:gd name="connsiteY5268" fmla="*/ 307090 h 903637"/>
                  <a:gd name="connsiteX5269" fmla="*/ 924534 w 1687454"/>
                  <a:gd name="connsiteY5269" fmla="*/ 301536 h 903637"/>
                  <a:gd name="connsiteX5270" fmla="*/ 927443 w 1687454"/>
                  <a:gd name="connsiteY5270" fmla="*/ 298626 h 903637"/>
                  <a:gd name="connsiteX5271" fmla="*/ 928942 w 1687454"/>
                  <a:gd name="connsiteY5271" fmla="*/ 296246 h 903637"/>
                  <a:gd name="connsiteX5272" fmla="*/ 931234 w 1687454"/>
                  <a:gd name="connsiteY5272" fmla="*/ 290427 h 903637"/>
                  <a:gd name="connsiteX5273" fmla="*/ 937671 w 1687454"/>
                  <a:gd name="connsiteY5273" fmla="*/ 290162 h 903637"/>
                  <a:gd name="connsiteX5274" fmla="*/ 940845 w 1687454"/>
                  <a:gd name="connsiteY5274" fmla="*/ 291044 h 903637"/>
                  <a:gd name="connsiteX5275" fmla="*/ 947810 w 1687454"/>
                  <a:gd name="connsiteY5275" fmla="*/ 292543 h 903637"/>
                  <a:gd name="connsiteX5276" fmla="*/ 953629 w 1687454"/>
                  <a:gd name="connsiteY5276" fmla="*/ 289369 h 903637"/>
                  <a:gd name="connsiteX5277" fmla="*/ 954775 w 1687454"/>
                  <a:gd name="connsiteY5277" fmla="*/ 286459 h 903637"/>
                  <a:gd name="connsiteX5278" fmla="*/ 959713 w 1687454"/>
                  <a:gd name="connsiteY5278" fmla="*/ 287076 h 903637"/>
                  <a:gd name="connsiteX5279" fmla="*/ 959713 w 1687454"/>
                  <a:gd name="connsiteY5279" fmla="*/ 284167 h 903637"/>
                  <a:gd name="connsiteX5280" fmla="*/ 961212 w 1687454"/>
                  <a:gd name="connsiteY5280" fmla="*/ 282139 h 903637"/>
                  <a:gd name="connsiteX5281" fmla="*/ 973467 w 1687454"/>
                  <a:gd name="connsiteY5281" fmla="*/ 280111 h 903637"/>
                  <a:gd name="connsiteX5282" fmla="*/ 970293 w 1687454"/>
                  <a:gd name="connsiteY5282" fmla="*/ 278083 h 903637"/>
                  <a:gd name="connsiteX5283" fmla="*/ 975230 w 1687454"/>
                  <a:gd name="connsiteY5283" fmla="*/ 274556 h 903637"/>
                  <a:gd name="connsiteX5284" fmla="*/ 975495 w 1687454"/>
                  <a:gd name="connsiteY5284" fmla="*/ 271647 h 903637"/>
                  <a:gd name="connsiteX5285" fmla="*/ 973202 w 1687454"/>
                  <a:gd name="connsiteY5285" fmla="*/ 270765 h 903637"/>
                  <a:gd name="connsiteX5286" fmla="*/ 967383 w 1687454"/>
                  <a:gd name="connsiteY5286" fmla="*/ 274821 h 903637"/>
                  <a:gd name="connsiteX5287" fmla="*/ 960683 w 1687454"/>
                  <a:gd name="connsiteY5287" fmla="*/ 275703 h 903637"/>
                  <a:gd name="connsiteX5288" fmla="*/ 958038 w 1687454"/>
                  <a:gd name="connsiteY5288" fmla="*/ 275174 h 903637"/>
                  <a:gd name="connsiteX5289" fmla="*/ 962093 w 1687454"/>
                  <a:gd name="connsiteY5289" fmla="*/ 271118 h 903637"/>
                  <a:gd name="connsiteX5290" fmla="*/ 963504 w 1687454"/>
                  <a:gd name="connsiteY5290" fmla="*/ 271647 h 903637"/>
                  <a:gd name="connsiteX5291" fmla="*/ 967560 w 1687454"/>
                  <a:gd name="connsiteY5291" fmla="*/ 269619 h 903637"/>
                  <a:gd name="connsiteX5292" fmla="*/ 970469 w 1687454"/>
                  <a:gd name="connsiteY5292" fmla="*/ 269354 h 903637"/>
                  <a:gd name="connsiteX5293" fmla="*/ 973114 w 1687454"/>
                  <a:gd name="connsiteY5293" fmla="*/ 267327 h 903637"/>
                  <a:gd name="connsiteX5294" fmla="*/ 969940 w 1687454"/>
                  <a:gd name="connsiteY5294" fmla="*/ 267062 h 903637"/>
                  <a:gd name="connsiteX5295" fmla="*/ 973732 w 1687454"/>
                  <a:gd name="connsiteY5295" fmla="*/ 263888 h 903637"/>
                  <a:gd name="connsiteX5296" fmla="*/ 982813 w 1687454"/>
                  <a:gd name="connsiteY5296" fmla="*/ 262389 h 903637"/>
                  <a:gd name="connsiteX5297" fmla="*/ 983430 w 1687454"/>
                  <a:gd name="connsiteY5297" fmla="*/ 261507 h 903637"/>
                  <a:gd name="connsiteX5298" fmla="*/ 975230 w 1687454"/>
                  <a:gd name="connsiteY5298" fmla="*/ 260890 h 903637"/>
                  <a:gd name="connsiteX5299" fmla="*/ 972585 w 1687454"/>
                  <a:gd name="connsiteY5299" fmla="*/ 256482 h 903637"/>
                  <a:gd name="connsiteX5300" fmla="*/ 970293 w 1687454"/>
                  <a:gd name="connsiteY5300" fmla="*/ 256746 h 903637"/>
                  <a:gd name="connsiteX5301" fmla="*/ 968794 w 1687454"/>
                  <a:gd name="connsiteY5301" fmla="*/ 258510 h 903637"/>
                  <a:gd name="connsiteX5302" fmla="*/ 963240 w 1687454"/>
                  <a:gd name="connsiteY5302" fmla="*/ 257364 h 903637"/>
                  <a:gd name="connsiteX5303" fmla="*/ 957156 w 1687454"/>
                  <a:gd name="connsiteY5303" fmla="*/ 254189 h 903637"/>
                  <a:gd name="connsiteX5304" fmla="*/ 955128 w 1687454"/>
                  <a:gd name="connsiteY5304" fmla="*/ 255071 h 903637"/>
                  <a:gd name="connsiteX5305" fmla="*/ 952219 w 1687454"/>
                  <a:gd name="connsiteY5305" fmla="*/ 252779 h 903637"/>
                  <a:gd name="connsiteX5306" fmla="*/ 953982 w 1687454"/>
                  <a:gd name="connsiteY5306" fmla="*/ 250751 h 903637"/>
                  <a:gd name="connsiteX5307" fmla="*/ 951072 w 1687454"/>
                  <a:gd name="connsiteY5307" fmla="*/ 246960 h 903637"/>
                  <a:gd name="connsiteX5308" fmla="*/ 954864 w 1687454"/>
                  <a:gd name="connsiteY5308" fmla="*/ 241670 h 903637"/>
                  <a:gd name="connsiteX5309" fmla="*/ 959536 w 1687454"/>
                  <a:gd name="connsiteY5309" fmla="*/ 240788 h 903637"/>
                  <a:gd name="connsiteX5310" fmla="*/ 962181 w 1687454"/>
                  <a:gd name="connsiteY5310" fmla="*/ 238760 h 903637"/>
                  <a:gd name="connsiteX5311" fmla="*/ 968265 w 1687454"/>
                  <a:gd name="connsiteY5311" fmla="*/ 238760 h 903637"/>
                  <a:gd name="connsiteX5312" fmla="*/ 967648 w 1687454"/>
                  <a:gd name="connsiteY5312" fmla="*/ 236997 h 903637"/>
                  <a:gd name="connsiteX5313" fmla="*/ 970822 w 1687454"/>
                  <a:gd name="connsiteY5313" fmla="*/ 235233 h 903637"/>
                  <a:gd name="connsiteX5314" fmla="*/ 964121 w 1687454"/>
                  <a:gd name="connsiteY5314" fmla="*/ 236115 h 903637"/>
                  <a:gd name="connsiteX5315" fmla="*/ 961741 w 1687454"/>
                  <a:gd name="connsiteY5315" fmla="*/ 233205 h 903637"/>
                  <a:gd name="connsiteX5316" fmla="*/ 967824 w 1687454"/>
                  <a:gd name="connsiteY5316" fmla="*/ 231442 h 903637"/>
                  <a:gd name="connsiteX5317" fmla="*/ 970734 w 1687454"/>
                  <a:gd name="connsiteY5317" fmla="*/ 228797 h 903637"/>
                  <a:gd name="connsiteX5318" fmla="*/ 972762 w 1687454"/>
                  <a:gd name="connsiteY5318" fmla="*/ 223242 h 903637"/>
                  <a:gd name="connsiteX5319" fmla="*/ 976817 w 1687454"/>
                  <a:gd name="connsiteY5319" fmla="*/ 222978 h 903637"/>
                  <a:gd name="connsiteX5320" fmla="*/ 981226 w 1687454"/>
                  <a:gd name="connsiteY5320" fmla="*/ 220597 h 903637"/>
                  <a:gd name="connsiteX5321" fmla="*/ 985282 w 1687454"/>
                  <a:gd name="connsiteY5321" fmla="*/ 223242 h 903637"/>
                  <a:gd name="connsiteX5322" fmla="*/ 989337 w 1687454"/>
                  <a:gd name="connsiteY5322" fmla="*/ 221743 h 903637"/>
                  <a:gd name="connsiteX5323" fmla="*/ 991101 w 1687454"/>
                  <a:gd name="connsiteY5323" fmla="*/ 219098 h 903637"/>
                  <a:gd name="connsiteX5324" fmla="*/ 991982 w 1687454"/>
                  <a:gd name="connsiteY5324" fmla="*/ 226064 h 903637"/>
                  <a:gd name="connsiteX5325" fmla="*/ 993746 w 1687454"/>
                  <a:gd name="connsiteY5325" fmla="*/ 230472 h 903637"/>
                  <a:gd name="connsiteX5326" fmla="*/ 997537 w 1687454"/>
                  <a:gd name="connsiteY5326" fmla="*/ 227827 h 903637"/>
                  <a:gd name="connsiteX5327" fmla="*/ 1000182 w 1687454"/>
                  <a:gd name="connsiteY5327" fmla="*/ 223771 h 903637"/>
                  <a:gd name="connsiteX5328" fmla="*/ 997890 w 1687454"/>
                  <a:gd name="connsiteY5328" fmla="*/ 217952 h 903637"/>
                  <a:gd name="connsiteX5329" fmla="*/ 999653 w 1687454"/>
                  <a:gd name="connsiteY5329" fmla="*/ 214161 h 903637"/>
                  <a:gd name="connsiteX5330" fmla="*/ 1004061 w 1687454"/>
                  <a:gd name="connsiteY5330" fmla="*/ 210634 h 903637"/>
                  <a:gd name="connsiteX5331" fmla="*/ 1015700 w 1687454"/>
                  <a:gd name="connsiteY5331" fmla="*/ 208871 h 903637"/>
                  <a:gd name="connsiteX5332" fmla="*/ 1016846 w 1687454"/>
                  <a:gd name="connsiteY5332" fmla="*/ 210282 h 903637"/>
                  <a:gd name="connsiteX5333" fmla="*/ 1009881 w 1687454"/>
                  <a:gd name="connsiteY5333" fmla="*/ 212662 h 903637"/>
                  <a:gd name="connsiteX5334" fmla="*/ 1011027 w 1687454"/>
                  <a:gd name="connsiteY5334" fmla="*/ 213808 h 903637"/>
                  <a:gd name="connsiteX5335" fmla="*/ 1013672 w 1687454"/>
                  <a:gd name="connsiteY5335" fmla="*/ 212927 h 903637"/>
                  <a:gd name="connsiteX5336" fmla="*/ 1014289 w 1687454"/>
                  <a:gd name="connsiteY5336" fmla="*/ 214426 h 903637"/>
                  <a:gd name="connsiteX5337" fmla="*/ 1017816 w 1687454"/>
                  <a:gd name="connsiteY5337" fmla="*/ 212927 h 903637"/>
                  <a:gd name="connsiteX5338" fmla="*/ 1020461 w 1687454"/>
                  <a:gd name="connsiteY5338" fmla="*/ 214426 h 903637"/>
                  <a:gd name="connsiteX5339" fmla="*/ 1029542 w 1687454"/>
                  <a:gd name="connsiteY5339" fmla="*/ 212662 h 903637"/>
                  <a:gd name="connsiteX5340" fmla="*/ 1021960 w 1687454"/>
                  <a:gd name="connsiteY5340" fmla="*/ 215836 h 903637"/>
                  <a:gd name="connsiteX5341" fmla="*/ 1028660 w 1687454"/>
                  <a:gd name="connsiteY5341" fmla="*/ 221391 h 903637"/>
                  <a:gd name="connsiteX5342" fmla="*/ 1033598 w 1687454"/>
                  <a:gd name="connsiteY5342" fmla="*/ 217600 h 903637"/>
                  <a:gd name="connsiteX5343" fmla="*/ 1033862 w 1687454"/>
                  <a:gd name="connsiteY5343" fmla="*/ 222890 h 903637"/>
                  <a:gd name="connsiteX5344" fmla="*/ 1032981 w 1687454"/>
                  <a:gd name="connsiteY5344" fmla="*/ 226416 h 903637"/>
                  <a:gd name="connsiteX5345" fmla="*/ 1032716 w 1687454"/>
                  <a:gd name="connsiteY5345" fmla="*/ 227915 h 903637"/>
                  <a:gd name="connsiteX5346" fmla="*/ 1029542 w 1687454"/>
                  <a:gd name="connsiteY5346" fmla="*/ 230825 h 903637"/>
                  <a:gd name="connsiteX5347" fmla="*/ 1022577 w 1687454"/>
                  <a:gd name="connsiteY5347" fmla="*/ 235762 h 903637"/>
                  <a:gd name="connsiteX5348" fmla="*/ 1028131 w 1687454"/>
                  <a:gd name="connsiteY5348" fmla="*/ 235498 h 903637"/>
                  <a:gd name="connsiteX5349" fmla="*/ 1026721 w 1687454"/>
                  <a:gd name="connsiteY5349" fmla="*/ 244491 h 903637"/>
                  <a:gd name="connsiteX5350" fmla="*/ 1031129 w 1687454"/>
                  <a:gd name="connsiteY5350" fmla="*/ 239201 h 903637"/>
                  <a:gd name="connsiteX5351" fmla="*/ 1030247 w 1687454"/>
                  <a:gd name="connsiteY5351" fmla="*/ 241229 h 903637"/>
                  <a:gd name="connsiteX5352" fmla="*/ 1029366 w 1687454"/>
                  <a:gd name="connsiteY5352" fmla="*/ 242992 h 903637"/>
                  <a:gd name="connsiteX5353" fmla="*/ 1031129 w 1687454"/>
                  <a:gd name="connsiteY5353" fmla="*/ 246519 h 903637"/>
                  <a:gd name="connsiteX5354" fmla="*/ 1023282 w 1687454"/>
                  <a:gd name="connsiteY5354" fmla="*/ 247930 h 903637"/>
                  <a:gd name="connsiteX5355" fmla="*/ 1018080 w 1687454"/>
                  <a:gd name="connsiteY5355" fmla="*/ 245020 h 903637"/>
                  <a:gd name="connsiteX5356" fmla="*/ 1012790 w 1687454"/>
                  <a:gd name="connsiteY5356" fmla="*/ 249076 h 903637"/>
                  <a:gd name="connsiteX5357" fmla="*/ 1021519 w 1687454"/>
                  <a:gd name="connsiteY5357" fmla="*/ 249076 h 903637"/>
                  <a:gd name="connsiteX5358" fmla="*/ 1017728 w 1687454"/>
                  <a:gd name="connsiteY5358" fmla="*/ 251456 h 903637"/>
                  <a:gd name="connsiteX5359" fmla="*/ 1015964 w 1687454"/>
                  <a:gd name="connsiteY5359" fmla="*/ 252955 h 903637"/>
                  <a:gd name="connsiteX5360" fmla="*/ 1011027 w 1687454"/>
                  <a:gd name="connsiteY5360" fmla="*/ 254719 h 903637"/>
                  <a:gd name="connsiteX5361" fmla="*/ 1003709 w 1687454"/>
                  <a:gd name="connsiteY5361" fmla="*/ 256482 h 903637"/>
                  <a:gd name="connsiteX5362" fmla="*/ 1011027 w 1687454"/>
                  <a:gd name="connsiteY5362" fmla="*/ 257981 h 903637"/>
                  <a:gd name="connsiteX5363" fmla="*/ 1010145 w 1687454"/>
                  <a:gd name="connsiteY5363" fmla="*/ 259744 h 903637"/>
                  <a:gd name="connsiteX5364" fmla="*/ 1015082 w 1687454"/>
                  <a:gd name="connsiteY5364" fmla="*/ 260626 h 903637"/>
                  <a:gd name="connsiteX5365" fmla="*/ 1023811 w 1687454"/>
                  <a:gd name="connsiteY5365" fmla="*/ 257452 h 903637"/>
                  <a:gd name="connsiteX5366" fmla="*/ 1026104 w 1687454"/>
                  <a:gd name="connsiteY5366" fmla="*/ 258069 h 903637"/>
                  <a:gd name="connsiteX5367" fmla="*/ 1020285 w 1687454"/>
                  <a:gd name="connsiteY5367" fmla="*/ 260097 h 903637"/>
                  <a:gd name="connsiteX5368" fmla="*/ 1026368 w 1687454"/>
                  <a:gd name="connsiteY5368" fmla="*/ 259832 h 903637"/>
                  <a:gd name="connsiteX5369" fmla="*/ 1026985 w 1687454"/>
                  <a:gd name="connsiteY5369" fmla="*/ 260714 h 903637"/>
                  <a:gd name="connsiteX5370" fmla="*/ 1041886 w 1687454"/>
                  <a:gd name="connsiteY5370" fmla="*/ 258422 h 903637"/>
                  <a:gd name="connsiteX5371" fmla="*/ 1043032 w 1687454"/>
                  <a:gd name="connsiteY5371" fmla="*/ 263359 h 903637"/>
                  <a:gd name="connsiteX5372" fmla="*/ 1037477 w 1687454"/>
                  <a:gd name="connsiteY5372" fmla="*/ 263623 h 903637"/>
                  <a:gd name="connsiteX5373" fmla="*/ 1032540 w 1687454"/>
                  <a:gd name="connsiteY5373" fmla="*/ 261596 h 903637"/>
                  <a:gd name="connsiteX5374" fmla="*/ 1025839 w 1687454"/>
                  <a:gd name="connsiteY5374" fmla="*/ 265651 h 903637"/>
                  <a:gd name="connsiteX5375" fmla="*/ 1025222 w 1687454"/>
                  <a:gd name="connsiteY5375" fmla="*/ 266533 h 903637"/>
                  <a:gd name="connsiteX5376" fmla="*/ 1019932 w 1687454"/>
                  <a:gd name="connsiteY5376" fmla="*/ 265387 h 903637"/>
                  <a:gd name="connsiteX5377" fmla="*/ 1025751 w 1687454"/>
                  <a:gd name="connsiteY5377" fmla="*/ 268296 h 903637"/>
                  <a:gd name="connsiteX5378" fmla="*/ 1021166 w 1687454"/>
                  <a:gd name="connsiteY5378" fmla="*/ 279758 h 903637"/>
                  <a:gd name="connsiteX5379" fmla="*/ 1017375 w 1687454"/>
                  <a:gd name="connsiteY5379" fmla="*/ 283550 h 903637"/>
                  <a:gd name="connsiteX5380" fmla="*/ 1019403 w 1687454"/>
                  <a:gd name="connsiteY5380" fmla="*/ 284696 h 903637"/>
                  <a:gd name="connsiteX5381" fmla="*/ 1018521 w 1687454"/>
                  <a:gd name="connsiteY5381" fmla="*/ 286459 h 903637"/>
                  <a:gd name="connsiteX5382" fmla="*/ 1021431 w 1687454"/>
                  <a:gd name="connsiteY5382" fmla="*/ 287341 h 903637"/>
                  <a:gd name="connsiteX5383" fmla="*/ 1022048 w 1687454"/>
                  <a:gd name="connsiteY5383" fmla="*/ 286195 h 903637"/>
                  <a:gd name="connsiteX5384" fmla="*/ 1027867 w 1687454"/>
                  <a:gd name="connsiteY5384" fmla="*/ 287341 h 903637"/>
                  <a:gd name="connsiteX5385" fmla="*/ 1030777 w 1687454"/>
                  <a:gd name="connsiteY5385" fmla="*/ 281522 h 903637"/>
                  <a:gd name="connsiteX5386" fmla="*/ 1037213 w 1687454"/>
                  <a:gd name="connsiteY5386" fmla="*/ 280375 h 903637"/>
                  <a:gd name="connsiteX5387" fmla="*/ 1040122 w 1687454"/>
                  <a:gd name="connsiteY5387" fmla="*/ 271382 h 903637"/>
                  <a:gd name="connsiteX5388" fmla="*/ 1045677 w 1687454"/>
                  <a:gd name="connsiteY5388" fmla="*/ 269002 h 903637"/>
                  <a:gd name="connsiteX5389" fmla="*/ 1047705 w 1687454"/>
                  <a:gd name="connsiteY5389" fmla="*/ 269619 h 903637"/>
                  <a:gd name="connsiteX5390" fmla="*/ 1050879 w 1687454"/>
                  <a:gd name="connsiteY5390" fmla="*/ 266092 h 903637"/>
                  <a:gd name="connsiteX5391" fmla="*/ 1055552 w 1687454"/>
                  <a:gd name="connsiteY5391" fmla="*/ 266092 h 903637"/>
                  <a:gd name="connsiteX5392" fmla="*/ 1056433 w 1687454"/>
                  <a:gd name="connsiteY5392" fmla="*/ 269266 h 903637"/>
                  <a:gd name="connsiteX5393" fmla="*/ 1064633 w 1687454"/>
                  <a:gd name="connsiteY5393" fmla="*/ 275350 h 903637"/>
                  <a:gd name="connsiteX5394" fmla="*/ 1059960 w 1687454"/>
                  <a:gd name="connsiteY5394" fmla="*/ 286724 h 903637"/>
                  <a:gd name="connsiteX5395" fmla="*/ 1055905 w 1687454"/>
                  <a:gd name="connsiteY5395" fmla="*/ 288222 h 903637"/>
                  <a:gd name="connsiteX5396" fmla="*/ 1054141 w 1687454"/>
                  <a:gd name="connsiteY5396" fmla="*/ 286459 h 903637"/>
                  <a:gd name="connsiteX5397" fmla="*/ 1055023 w 1687454"/>
                  <a:gd name="connsiteY5397" fmla="*/ 283814 h 903637"/>
                  <a:gd name="connsiteX5398" fmla="*/ 1050350 w 1687454"/>
                  <a:gd name="connsiteY5398" fmla="*/ 286459 h 903637"/>
                  <a:gd name="connsiteX5399" fmla="*/ 1050967 w 1687454"/>
                  <a:gd name="connsiteY5399" fmla="*/ 287958 h 903637"/>
                  <a:gd name="connsiteX5400" fmla="*/ 1046030 w 1687454"/>
                  <a:gd name="connsiteY5400" fmla="*/ 291749 h 903637"/>
                  <a:gd name="connsiteX5401" fmla="*/ 1045765 w 1687454"/>
                  <a:gd name="connsiteY5401" fmla="*/ 298450 h 903637"/>
                  <a:gd name="connsiteX5402" fmla="*/ 1051320 w 1687454"/>
                  <a:gd name="connsiteY5402" fmla="*/ 308060 h 903637"/>
                  <a:gd name="connsiteX5403" fmla="*/ 1050174 w 1687454"/>
                  <a:gd name="connsiteY5403" fmla="*/ 310970 h 903637"/>
                  <a:gd name="connsiteX5404" fmla="*/ 1053348 w 1687454"/>
                  <a:gd name="connsiteY5404" fmla="*/ 308942 h 903637"/>
                  <a:gd name="connsiteX5405" fmla="*/ 1057139 w 1687454"/>
                  <a:gd name="connsiteY5405" fmla="*/ 308413 h 903637"/>
                  <a:gd name="connsiteX5406" fmla="*/ 1057756 w 1687454"/>
                  <a:gd name="connsiteY5406" fmla="*/ 305768 h 903637"/>
                  <a:gd name="connsiteX5407" fmla="*/ 1064192 w 1687454"/>
                  <a:gd name="connsiteY5407" fmla="*/ 304357 h 903637"/>
                  <a:gd name="connsiteX5408" fmla="*/ 1067366 w 1687454"/>
                  <a:gd name="connsiteY5408" fmla="*/ 305503 h 903637"/>
                  <a:gd name="connsiteX5409" fmla="*/ 1071422 w 1687454"/>
                  <a:gd name="connsiteY5409" fmla="*/ 298803 h 903637"/>
                  <a:gd name="connsiteX5410" fmla="*/ 1079005 w 1687454"/>
                  <a:gd name="connsiteY5410" fmla="*/ 300302 h 903637"/>
                  <a:gd name="connsiteX5411" fmla="*/ 1082796 w 1687454"/>
                  <a:gd name="connsiteY5411" fmla="*/ 292455 h 903637"/>
                  <a:gd name="connsiteX5412" fmla="*/ 1086587 w 1687454"/>
                  <a:gd name="connsiteY5412" fmla="*/ 291573 h 903637"/>
                  <a:gd name="connsiteX5413" fmla="*/ 1093023 w 1687454"/>
                  <a:gd name="connsiteY5413" fmla="*/ 289281 h 903637"/>
                  <a:gd name="connsiteX5414" fmla="*/ 1100341 w 1687454"/>
                  <a:gd name="connsiteY5414" fmla="*/ 287782 h 903637"/>
                  <a:gd name="connsiteX5415" fmla="*/ 1102369 w 1687454"/>
                  <a:gd name="connsiteY5415" fmla="*/ 281698 h 903637"/>
                  <a:gd name="connsiteX5416" fmla="*/ 1104750 w 1687454"/>
                  <a:gd name="connsiteY5416" fmla="*/ 275262 h 903637"/>
                  <a:gd name="connsiteX5417" fmla="*/ 1115859 w 1687454"/>
                  <a:gd name="connsiteY5417" fmla="*/ 276408 h 903637"/>
                  <a:gd name="connsiteX5418" fmla="*/ 1117270 w 1687454"/>
                  <a:gd name="connsiteY5418" fmla="*/ 275262 h 903637"/>
                  <a:gd name="connsiteX5419" fmla="*/ 1112332 w 1687454"/>
                  <a:gd name="connsiteY5419" fmla="*/ 273498 h 903637"/>
                  <a:gd name="connsiteX5420" fmla="*/ 1114977 w 1687454"/>
                  <a:gd name="connsiteY5420" fmla="*/ 272881 h 903637"/>
                  <a:gd name="connsiteX5421" fmla="*/ 1115242 w 1687454"/>
                  <a:gd name="connsiteY5421" fmla="*/ 271118 h 903637"/>
                  <a:gd name="connsiteX5422" fmla="*/ 1123089 w 1687454"/>
                  <a:gd name="connsiteY5422" fmla="*/ 270853 h 903637"/>
                  <a:gd name="connsiteX5423" fmla="*/ 1120444 w 1687454"/>
                  <a:gd name="connsiteY5423" fmla="*/ 268825 h 903637"/>
                  <a:gd name="connsiteX5424" fmla="*/ 1121590 w 1687454"/>
                  <a:gd name="connsiteY5424" fmla="*/ 267327 h 903637"/>
                  <a:gd name="connsiteX5425" fmla="*/ 1116035 w 1687454"/>
                  <a:gd name="connsiteY5425" fmla="*/ 267591 h 903637"/>
                  <a:gd name="connsiteX5426" fmla="*/ 1114007 w 1687454"/>
                  <a:gd name="connsiteY5426" fmla="*/ 264064 h 903637"/>
                  <a:gd name="connsiteX5427" fmla="*/ 1120708 w 1687454"/>
                  <a:gd name="connsiteY5427" fmla="*/ 260890 h 903637"/>
                  <a:gd name="connsiteX5428" fmla="*/ 1121854 w 1687454"/>
                  <a:gd name="connsiteY5428" fmla="*/ 257716 h 903637"/>
                  <a:gd name="connsiteX5429" fmla="*/ 1124764 w 1687454"/>
                  <a:gd name="connsiteY5429" fmla="*/ 253925 h 903637"/>
                  <a:gd name="connsiteX5430" fmla="*/ 1122736 w 1687454"/>
                  <a:gd name="connsiteY5430" fmla="*/ 253660 h 903637"/>
                  <a:gd name="connsiteX5431" fmla="*/ 1123001 w 1687454"/>
                  <a:gd name="connsiteY5431" fmla="*/ 252162 h 903637"/>
                  <a:gd name="connsiteX5432" fmla="*/ 1130848 w 1687454"/>
                  <a:gd name="connsiteY5432" fmla="*/ 253308 h 903637"/>
                  <a:gd name="connsiteX5433" fmla="*/ 1131465 w 1687454"/>
                  <a:gd name="connsiteY5433" fmla="*/ 252426 h 903637"/>
                  <a:gd name="connsiteX5434" fmla="*/ 1141692 w 1687454"/>
                  <a:gd name="connsiteY5434" fmla="*/ 252691 h 903637"/>
                  <a:gd name="connsiteX5435" fmla="*/ 1148129 w 1687454"/>
                  <a:gd name="connsiteY5435" fmla="*/ 252691 h 903637"/>
                  <a:gd name="connsiteX5436" fmla="*/ 1151920 w 1687454"/>
                  <a:gd name="connsiteY5436" fmla="*/ 256746 h 903637"/>
                  <a:gd name="connsiteX5437" fmla="*/ 1158621 w 1687454"/>
                  <a:gd name="connsiteY5437" fmla="*/ 258245 h 903637"/>
                  <a:gd name="connsiteX5438" fmla="*/ 1167349 w 1687454"/>
                  <a:gd name="connsiteY5438" fmla="*/ 256482 h 903637"/>
                  <a:gd name="connsiteX5439" fmla="*/ 1162941 w 1687454"/>
                  <a:gd name="connsiteY5439" fmla="*/ 259127 h 903637"/>
                  <a:gd name="connsiteX5440" fmla="*/ 1164969 w 1687454"/>
                  <a:gd name="connsiteY5440" fmla="*/ 260273 h 903637"/>
                  <a:gd name="connsiteX5441" fmla="*/ 1159150 w 1687454"/>
                  <a:gd name="connsiteY5441" fmla="*/ 260009 h 903637"/>
                  <a:gd name="connsiteX5442" fmla="*/ 1165850 w 1687454"/>
                  <a:gd name="connsiteY5442" fmla="*/ 262654 h 903637"/>
                  <a:gd name="connsiteX5443" fmla="*/ 1167878 w 1687454"/>
                  <a:gd name="connsiteY5443" fmla="*/ 261155 h 903637"/>
                  <a:gd name="connsiteX5444" fmla="*/ 1166997 w 1687454"/>
                  <a:gd name="connsiteY5444" fmla="*/ 264946 h 903637"/>
                  <a:gd name="connsiteX5445" fmla="*/ 1164616 w 1687454"/>
                  <a:gd name="connsiteY5445" fmla="*/ 266092 h 903637"/>
                  <a:gd name="connsiteX5446" fmla="*/ 1172463 w 1687454"/>
                  <a:gd name="connsiteY5446" fmla="*/ 265475 h 903637"/>
                  <a:gd name="connsiteX5447" fmla="*/ 1178547 w 1687454"/>
                  <a:gd name="connsiteY5447" fmla="*/ 266974 h 903637"/>
                  <a:gd name="connsiteX5448" fmla="*/ 1178811 w 1687454"/>
                  <a:gd name="connsiteY5448" fmla="*/ 269266 h 903637"/>
                  <a:gd name="connsiteX5449" fmla="*/ 1175637 w 1687454"/>
                  <a:gd name="connsiteY5449" fmla="*/ 269531 h 903637"/>
                  <a:gd name="connsiteX5450" fmla="*/ 1166644 w 1687454"/>
                  <a:gd name="connsiteY5450" fmla="*/ 272705 h 903637"/>
                  <a:gd name="connsiteX5451" fmla="*/ 1172728 w 1687454"/>
                  <a:gd name="connsiteY5451" fmla="*/ 273851 h 903637"/>
                  <a:gd name="connsiteX5452" fmla="*/ 1172463 w 1687454"/>
                  <a:gd name="connsiteY5452" fmla="*/ 278259 h 903637"/>
                  <a:gd name="connsiteX5453" fmla="*/ 1165145 w 1687454"/>
                  <a:gd name="connsiteY5453" fmla="*/ 281169 h 903637"/>
                  <a:gd name="connsiteX5454" fmla="*/ 1161354 w 1687454"/>
                  <a:gd name="connsiteY5454" fmla="*/ 281169 h 903637"/>
                  <a:gd name="connsiteX5455" fmla="*/ 1156946 w 1687454"/>
                  <a:gd name="connsiteY5455" fmla="*/ 283197 h 903637"/>
                  <a:gd name="connsiteX5456" fmla="*/ 1154565 w 1687454"/>
                  <a:gd name="connsiteY5456" fmla="*/ 280552 h 903637"/>
                  <a:gd name="connsiteX5457" fmla="*/ 1147600 w 1687454"/>
                  <a:gd name="connsiteY5457" fmla="*/ 281434 h 903637"/>
                  <a:gd name="connsiteX5458" fmla="*/ 1148746 w 1687454"/>
                  <a:gd name="connsiteY5458" fmla="*/ 282580 h 903637"/>
                  <a:gd name="connsiteX5459" fmla="*/ 1146101 w 1687454"/>
                  <a:gd name="connsiteY5459" fmla="*/ 283461 h 903637"/>
                  <a:gd name="connsiteX5460" fmla="*/ 1149892 w 1687454"/>
                  <a:gd name="connsiteY5460" fmla="*/ 284608 h 903637"/>
                  <a:gd name="connsiteX5461" fmla="*/ 1147600 w 1687454"/>
                  <a:gd name="connsiteY5461" fmla="*/ 285489 h 903637"/>
                  <a:gd name="connsiteX5462" fmla="*/ 1149628 w 1687454"/>
                  <a:gd name="connsiteY5462" fmla="*/ 286635 h 903637"/>
                  <a:gd name="connsiteX5463" fmla="*/ 1146982 w 1687454"/>
                  <a:gd name="connsiteY5463" fmla="*/ 289281 h 903637"/>
                  <a:gd name="connsiteX5464" fmla="*/ 1149892 w 1687454"/>
                  <a:gd name="connsiteY5464" fmla="*/ 290162 h 903637"/>
                  <a:gd name="connsiteX5465" fmla="*/ 1147247 w 1687454"/>
                  <a:gd name="connsiteY5465" fmla="*/ 294218 h 903637"/>
                  <a:gd name="connsiteX5466" fmla="*/ 1150421 w 1687454"/>
                  <a:gd name="connsiteY5466" fmla="*/ 292455 h 903637"/>
                  <a:gd name="connsiteX5467" fmla="*/ 1152713 w 1687454"/>
                  <a:gd name="connsiteY5467" fmla="*/ 296510 h 903637"/>
                  <a:gd name="connsiteX5468" fmla="*/ 1155623 w 1687454"/>
                  <a:gd name="connsiteY5468" fmla="*/ 303476 h 903637"/>
                  <a:gd name="connsiteX5469" fmla="*/ 1150333 w 1687454"/>
                  <a:gd name="connsiteY5469" fmla="*/ 306738 h 903637"/>
                  <a:gd name="connsiteX5470" fmla="*/ 1147952 w 1687454"/>
                  <a:gd name="connsiteY5470" fmla="*/ 311411 h 903637"/>
                  <a:gd name="connsiteX5471" fmla="*/ 1142398 w 1687454"/>
                  <a:gd name="connsiteY5471" fmla="*/ 313791 h 903637"/>
                  <a:gd name="connsiteX5472" fmla="*/ 1137989 w 1687454"/>
                  <a:gd name="connsiteY5472" fmla="*/ 313791 h 903637"/>
                  <a:gd name="connsiteX5473" fmla="*/ 1133316 w 1687454"/>
                  <a:gd name="connsiteY5473" fmla="*/ 315290 h 903637"/>
                  <a:gd name="connsiteX5474" fmla="*/ 1127762 w 1687454"/>
                  <a:gd name="connsiteY5474" fmla="*/ 320228 h 903637"/>
                  <a:gd name="connsiteX5475" fmla="*/ 1124499 w 1687454"/>
                  <a:gd name="connsiteY5475" fmla="*/ 319875 h 903637"/>
                  <a:gd name="connsiteX5476" fmla="*/ 1118416 w 1687454"/>
                  <a:gd name="connsiteY5476" fmla="*/ 323666 h 903637"/>
                  <a:gd name="connsiteX5477" fmla="*/ 1113214 w 1687454"/>
                  <a:gd name="connsiteY5477" fmla="*/ 323666 h 903637"/>
                  <a:gd name="connsiteX5478" fmla="*/ 1104397 w 1687454"/>
                  <a:gd name="connsiteY5478" fmla="*/ 326576 h 903637"/>
                  <a:gd name="connsiteX5479" fmla="*/ 1100870 w 1687454"/>
                  <a:gd name="connsiteY5479" fmla="*/ 327105 h 903637"/>
                  <a:gd name="connsiteX5480" fmla="*/ 1099989 w 1687454"/>
                  <a:gd name="connsiteY5480" fmla="*/ 323578 h 903637"/>
                  <a:gd name="connsiteX5481" fmla="*/ 1097079 w 1687454"/>
                  <a:gd name="connsiteY5481" fmla="*/ 320404 h 903637"/>
                  <a:gd name="connsiteX5482" fmla="*/ 1097961 w 1687454"/>
                  <a:gd name="connsiteY5482" fmla="*/ 318112 h 903637"/>
                  <a:gd name="connsiteX5483" fmla="*/ 1094170 w 1687454"/>
                  <a:gd name="connsiteY5483" fmla="*/ 318641 h 903637"/>
                  <a:gd name="connsiteX5484" fmla="*/ 1095051 w 1687454"/>
                  <a:gd name="connsiteY5484" fmla="*/ 313703 h 903637"/>
                  <a:gd name="connsiteX5485" fmla="*/ 1088615 w 1687454"/>
                  <a:gd name="connsiteY5485" fmla="*/ 312204 h 903637"/>
                  <a:gd name="connsiteX5486" fmla="*/ 1090378 w 1687454"/>
                  <a:gd name="connsiteY5486" fmla="*/ 313350 h 903637"/>
                  <a:gd name="connsiteX5487" fmla="*/ 1082796 w 1687454"/>
                  <a:gd name="connsiteY5487" fmla="*/ 314497 h 903637"/>
                  <a:gd name="connsiteX5488" fmla="*/ 1081650 w 1687454"/>
                  <a:gd name="connsiteY5488" fmla="*/ 316789 h 903637"/>
                  <a:gd name="connsiteX5489" fmla="*/ 1086058 w 1687454"/>
                  <a:gd name="connsiteY5489" fmla="*/ 315026 h 903637"/>
                  <a:gd name="connsiteX5490" fmla="*/ 1092759 w 1687454"/>
                  <a:gd name="connsiteY5490" fmla="*/ 317671 h 903637"/>
                  <a:gd name="connsiteX5491" fmla="*/ 1090995 w 1687454"/>
                  <a:gd name="connsiteY5491" fmla="*/ 319170 h 903637"/>
                  <a:gd name="connsiteX5492" fmla="*/ 1094170 w 1687454"/>
                  <a:gd name="connsiteY5492" fmla="*/ 320316 h 903637"/>
                  <a:gd name="connsiteX5493" fmla="*/ 1092671 w 1687454"/>
                  <a:gd name="connsiteY5493" fmla="*/ 321197 h 903637"/>
                  <a:gd name="connsiteX5494" fmla="*/ 1095933 w 1687454"/>
                  <a:gd name="connsiteY5494" fmla="*/ 325253 h 903637"/>
                  <a:gd name="connsiteX5495" fmla="*/ 1093905 w 1687454"/>
                  <a:gd name="connsiteY5495" fmla="*/ 327017 h 903637"/>
                  <a:gd name="connsiteX5496" fmla="*/ 1094787 w 1687454"/>
                  <a:gd name="connsiteY5496" fmla="*/ 331072 h 903637"/>
                  <a:gd name="connsiteX5497" fmla="*/ 1089585 w 1687454"/>
                  <a:gd name="connsiteY5497" fmla="*/ 329309 h 903637"/>
                  <a:gd name="connsiteX5498" fmla="*/ 1090466 w 1687454"/>
                  <a:gd name="connsiteY5498" fmla="*/ 328692 h 903637"/>
                  <a:gd name="connsiteX5499" fmla="*/ 1087204 w 1687454"/>
                  <a:gd name="connsiteY5499" fmla="*/ 327546 h 903637"/>
                  <a:gd name="connsiteX5500" fmla="*/ 1085176 w 1687454"/>
                  <a:gd name="connsiteY5500" fmla="*/ 329044 h 903637"/>
                  <a:gd name="connsiteX5501" fmla="*/ 1085176 w 1687454"/>
                  <a:gd name="connsiteY5501" fmla="*/ 326135 h 903637"/>
                  <a:gd name="connsiteX5502" fmla="*/ 1082002 w 1687454"/>
                  <a:gd name="connsiteY5502" fmla="*/ 327546 h 903637"/>
                  <a:gd name="connsiteX5503" fmla="*/ 1084912 w 1687454"/>
                  <a:gd name="connsiteY5503" fmla="*/ 330455 h 903637"/>
                  <a:gd name="connsiteX5504" fmla="*/ 1070629 w 1687454"/>
                  <a:gd name="connsiteY5504" fmla="*/ 328956 h 903637"/>
                  <a:gd name="connsiteX5505" fmla="*/ 1072657 w 1687454"/>
                  <a:gd name="connsiteY5505" fmla="*/ 321991 h 903637"/>
                  <a:gd name="connsiteX5506" fmla="*/ 1064810 w 1687454"/>
                  <a:gd name="connsiteY5506" fmla="*/ 323490 h 903637"/>
                  <a:gd name="connsiteX5507" fmla="*/ 1056962 w 1687454"/>
                  <a:gd name="connsiteY5507" fmla="*/ 322873 h 903637"/>
                  <a:gd name="connsiteX5508" fmla="*/ 1049645 w 1687454"/>
                  <a:gd name="connsiteY5508" fmla="*/ 325165 h 903637"/>
                  <a:gd name="connsiteX5509" fmla="*/ 1047881 w 1687454"/>
                  <a:gd name="connsiteY5509" fmla="*/ 324283 h 903637"/>
                  <a:gd name="connsiteX5510" fmla="*/ 1048146 w 1687454"/>
                  <a:gd name="connsiteY5510" fmla="*/ 326311 h 903637"/>
                  <a:gd name="connsiteX5511" fmla="*/ 1046118 w 1687454"/>
                  <a:gd name="connsiteY5511" fmla="*/ 326311 h 903637"/>
                  <a:gd name="connsiteX5512" fmla="*/ 1047881 w 1687454"/>
                  <a:gd name="connsiteY5512" fmla="*/ 329221 h 903637"/>
                  <a:gd name="connsiteX5513" fmla="*/ 1057492 w 1687454"/>
                  <a:gd name="connsiteY5513" fmla="*/ 332130 h 903637"/>
                  <a:gd name="connsiteX5514" fmla="*/ 1053436 w 1687454"/>
                  <a:gd name="connsiteY5514" fmla="*/ 333012 h 903637"/>
                  <a:gd name="connsiteX5515" fmla="*/ 1053171 w 1687454"/>
                  <a:gd name="connsiteY5515" fmla="*/ 334775 h 903637"/>
                  <a:gd name="connsiteX5516" fmla="*/ 1046735 w 1687454"/>
                  <a:gd name="connsiteY5516" fmla="*/ 337156 h 903637"/>
                  <a:gd name="connsiteX5517" fmla="*/ 1043208 w 1687454"/>
                  <a:gd name="connsiteY5517" fmla="*/ 337685 h 903637"/>
                  <a:gd name="connsiteX5518" fmla="*/ 1038271 w 1687454"/>
                  <a:gd name="connsiteY5518" fmla="*/ 343240 h 903637"/>
                  <a:gd name="connsiteX5519" fmla="*/ 1025134 w 1687454"/>
                  <a:gd name="connsiteY5519" fmla="*/ 347031 h 903637"/>
                  <a:gd name="connsiteX5520" fmla="*/ 1025134 w 1687454"/>
                  <a:gd name="connsiteY5520" fmla="*/ 348530 h 903637"/>
                  <a:gd name="connsiteX5521" fmla="*/ 1018962 w 1687454"/>
                  <a:gd name="connsiteY5521" fmla="*/ 350293 h 903637"/>
                  <a:gd name="connsiteX5522" fmla="*/ 1014024 w 1687454"/>
                  <a:gd name="connsiteY5522" fmla="*/ 349411 h 903637"/>
                  <a:gd name="connsiteX5523" fmla="*/ 1005560 w 1687454"/>
                  <a:gd name="connsiteY5523" fmla="*/ 348794 h 903637"/>
                  <a:gd name="connsiteX5524" fmla="*/ 1004414 w 1687454"/>
                  <a:gd name="connsiteY5524" fmla="*/ 345003 h 903637"/>
                  <a:gd name="connsiteX5525" fmla="*/ 1000358 w 1687454"/>
                  <a:gd name="connsiteY5525" fmla="*/ 343857 h 903637"/>
                  <a:gd name="connsiteX5526" fmla="*/ 1003268 w 1687454"/>
                  <a:gd name="connsiteY5526" fmla="*/ 343592 h 903637"/>
                  <a:gd name="connsiteX5527" fmla="*/ 997449 w 1687454"/>
                  <a:gd name="connsiteY5527" fmla="*/ 342182 h 903637"/>
                  <a:gd name="connsiteX5528" fmla="*/ 995421 w 1687454"/>
                  <a:gd name="connsiteY5528" fmla="*/ 339272 h 903637"/>
                  <a:gd name="connsiteX5529" fmla="*/ 987574 w 1687454"/>
                  <a:gd name="connsiteY5529" fmla="*/ 336980 h 903637"/>
                  <a:gd name="connsiteX5530" fmla="*/ 985193 w 1687454"/>
                  <a:gd name="connsiteY5530" fmla="*/ 337244 h 903637"/>
                  <a:gd name="connsiteX5531" fmla="*/ 988367 w 1687454"/>
                  <a:gd name="connsiteY5531" fmla="*/ 338743 h 903637"/>
                  <a:gd name="connsiteX5532" fmla="*/ 977611 w 1687454"/>
                  <a:gd name="connsiteY5532" fmla="*/ 338126 h 903637"/>
                  <a:gd name="connsiteX5533" fmla="*/ 988367 w 1687454"/>
                  <a:gd name="connsiteY5533" fmla="*/ 343945 h 903637"/>
                  <a:gd name="connsiteX5534" fmla="*/ 990660 w 1687454"/>
                  <a:gd name="connsiteY5534" fmla="*/ 349764 h 903637"/>
                  <a:gd name="connsiteX5535" fmla="*/ 1006971 w 1687454"/>
                  <a:gd name="connsiteY5535" fmla="*/ 352056 h 903637"/>
                  <a:gd name="connsiteX5536" fmla="*/ 1023899 w 1687454"/>
                  <a:gd name="connsiteY5536" fmla="*/ 352056 h 903637"/>
                  <a:gd name="connsiteX5537" fmla="*/ 1024164 w 1687454"/>
                  <a:gd name="connsiteY5537" fmla="*/ 354701 h 903637"/>
                  <a:gd name="connsiteX5538" fmla="*/ 1006618 w 1687454"/>
                  <a:gd name="connsiteY5538" fmla="*/ 366075 h 903637"/>
                  <a:gd name="connsiteX5539" fmla="*/ 998154 w 1687454"/>
                  <a:gd name="connsiteY5539" fmla="*/ 368720 h 903637"/>
                  <a:gd name="connsiteX5540" fmla="*/ 988544 w 1687454"/>
                  <a:gd name="connsiteY5540" fmla="*/ 376920 h 903637"/>
                  <a:gd name="connsiteX5541" fmla="*/ 975142 w 1687454"/>
                  <a:gd name="connsiteY5541" fmla="*/ 380094 h 903637"/>
                  <a:gd name="connsiteX5542" fmla="*/ 969059 w 1687454"/>
                  <a:gd name="connsiteY5542" fmla="*/ 377713 h 903637"/>
                  <a:gd name="connsiteX5543" fmla="*/ 968441 w 1687454"/>
                  <a:gd name="connsiteY5543" fmla="*/ 380358 h 903637"/>
                  <a:gd name="connsiteX5544" fmla="*/ 964033 w 1687454"/>
                  <a:gd name="connsiteY5544" fmla="*/ 377713 h 903637"/>
                  <a:gd name="connsiteX5545" fmla="*/ 963151 w 1687454"/>
                  <a:gd name="connsiteY5545" fmla="*/ 379212 h 903637"/>
                  <a:gd name="connsiteX5546" fmla="*/ 961388 w 1687454"/>
                  <a:gd name="connsiteY5546" fmla="*/ 376920 h 903637"/>
                  <a:gd name="connsiteX5547" fmla="*/ 958478 w 1687454"/>
                  <a:gd name="connsiteY5547" fmla="*/ 375774 h 903637"/>
                  <a:gd name="connsiteX5548" fmla="*/ 954423 w 1687454"/>
                  <a:gd name="connsiteY5548" fmla="*/ 376655 h 903637"/>
                  <a:gd name="connsiteX5549" fmla="*/ 957597 w 1687454"/>
                  <a:gd name="connsiteY5549" fmla="*/ 378154 h 903637"/>
                  <a:gd name="connsiteX5550" fmla="*/ 954423 w 1687454"/>
                  <a:gd name="connsiteY5550" fmla="*/ 381328 h 903637"/>
                  <a:gd name="connsiteX5551" fmla="*/ 950896 w 1687454"/>
                  <a:gd name="connsiteY5551" fmla="*/ 379565 h 903637"/>
                  <a:gd name="connsiteX5552" fmla="*/ 950896 w 1687454"/>
                  <a:gd name="connsiteY5552" fmla="*/ 383092 h 903637"/>
                  <a:gd name="connsiteX5553" fmla="*/ 946223 w 1687454"/>
                  <a:gd name="connsiteY5553" fmla="*/ 388029 h 903637"/>
                  <a:gd name="connsiteX5554" fmla="*/ 940668 w 1687454"/>
                  <a:gd name="connsiteY5554" fmla="*/ 387147 h 903637"/>
                  <a:gd name="connsiteX5555" fmla="*/ 935114 w 1687454"/>
                  <a:gd name="connsiteY5555" fmla="*/ 388294 h 903637"/>
                  <a:gd name="connsiteX5556" fmla="*/ 922594 w 1687454"/>
                  <a:gd name="connsiteY5556" fmla="*/ 385384 h 903637"/>
                  <a:gd name="connsiteX5557" fmla="*/ 922594 w 1687454"/>
                  <a:gd name="connsiteY5557" fmla="*/ 384238 h 903637"/>
                  <a:gd name="connsiteX5558" fmla="*/ 909721 w 1687454"/>
                  <a:gd name="connsiteY5558" fmla="*/ 384502 h 903637"/>
                  <a:gd name="connsiteX5559" fmla="*/ 912631 w 1687454"/>
                  <a:gd name="connsiteY5559" fmla="*/ 385649 h 903637"/>
                  <a:gd name="connsiteX5560" fmla="*/ 909986 w 1687454"/>
                  <a:gd name="connsiteY5560" fmla="*/ 388558 h 903637"/>
                  <a:gd name="connsiteX5561" fmla="*/ 917568 w 1687454"/>
                  <a:gd name="connsiteY5561" fmla="*/ 385913 h 903637"/>
                  <a:gd name="connsiteX5562" fmla="*/ 921095 w 1687454"/>
                  <a:gd name="connsiteY5562" fmla="*/ 386530 h 903637"/>
                  <a:gd name="connsiteX5563" fmla="*/ 922241 w 1687454"/>
                  <a:gd name="connsiteY5563" fmla="*/ 390321 h 903637"/>
                  <a:gd name="connsiteX5564" fmla="*/ 928413 w 1687454"/>
                  <a:gd name="connsiteY5564" fmla="*/ 391203 h 903637"/>
                  <a:gd name="connsiteX5565" fmla="*/ 932204 w 1687454"/>
                  <a:gd name="connsiteY5565" fmla="*/ 393231 h 903637"/>
                  <a:gd name="connsiteX5566" fmla="*/ 928413 w 1687454"/>
                  <a:gd name="connsiteY5566" fmla="*/ 401078 h 903637"/>
                  <a:gd name="connsiteX5567" fmla="*/ 924005 w 1687454"/>
                  <a:gd name="connsiteY5567" fmla="*/ 403370 h 903637"/>
                  <a:gd name="connsiteX5568" fmla="*/ 917568 w 1687454"/>
                  <a:gd name="connsiteY5568" fmla="*/ 403370 h 903637"/>
                  <a:gd name="connsiteX5569" fmla="*/ 912014 w 1687454"/>
                  <a:gd name="connsiteY5569" fmla="*/ 406015 h 903637"/>
                  <a:gd name="connsiteX5570" fmla="*/ 900640 w 1687454"/>
                  <a:gd name="connsiteY5570" fmla="*/ 404605 h 903637"/>
                  <a:gd name="connsiteX5571" fmla="*/ 899758 w 1687454"/>
                  <a:gd name="connsiteY5571" fmla="*/ 405751 h 903637"/>
                  <a:gd name="connsiteX5572" fmla="*/ 895085 w 1687454"/>
                  <a:gd name="connsiteY5572" fmla="*/ 404869 h 903637"/>
                  <a:gd name="connsiteX5573" fmla="*/ 894204 w 1687454"/>
                  <a:gd name="connsiteY5573" fmla="*/ 408396 h 903637"/>
                  <a:gd name="connsiteX5574" fmla="*/ 900287 w 1687454"/>
                  <a:gd name="connsiteY5574" fmla="*/ 410159 h 903637"/>
                  <a:gd name="connsiteX5575" fmla="*/ 898524 w 1687454"/>
                  <a:gd name="connsiteY5575" fmla="*/ 411923 h 903637"/>
                  <a:gd name="connsiteX5576" fmla="*/ 894997 w 1687454"/>
                  <a:gd name="connsiteY5576" fmla="*/ 412540 h 903637"/>
                  <a:gd name="connsiteX5577" fmla="*/ 893234 w 1687454"/>
                  <a:gd name="connsiteY5577" fmla="*/ 411041 h 903637"/>
                  <a:gd name="connsiteX5578" fmla="*/ 889707 w 1687454"/>
                  <a:gd name="connsiteY5578" fmla="*/ 412540 h 903637"/>
                  <a:gd name="connsiteX5579" fmla="*/ 887327 w 1687454"/>
                  <a:gd name="connsiteY5579" fmla="*/ 411658 h 903637"/>
                  <a:gd name="connsiteX5580" fmla="*/ 887062 w 1687454"/>
                  <a:gd name="connsiteY5580" fmla="*/ 414039 h 903637"/>
                  <a:gd name="connsiteX5581" fmla="*/ 891471 w 1687454"/>
                  <a:gd name="connsiteY5581" fmla="*/ 415185 h 903637"/>
                  <a:gd name="connsiteX5582" fmla="*/ 884505 w 1687454"/>
                  <a:gd name="connsiteY5582" fmla="*/ 415449 h 903637"/>
                  <a:gd name="connsiteX5583" fmla="*/ 883624 w 1687454"/>
                  <a:gd name="connsiteY5583" fmla="*/ 413951 h 903637"/>
                  <a:gd name="connsiteX5584" fmla="*/ 880978 w 1687454"/>
                  <a:gd name="connsiteY5584" fmla="*/ 419770 h 903637"/>
                  <a:gd name="connsiteX5585" fmla="*/ 878069 w 1687454"/>
                  <a:gd name="connsiteY5585" fmla="*/ 418624 h 903637"/>
                  <a:gd name="connsiteX5586" fmla="*/ 877187 w 1687454"/>
                  <a:gd name="connsiteY5586" fmla="*/ 419770 h 903637"/>
                  <a:gd name="connsiteX5587" fmla="*/ 871985 w 1687454"/>
                  <a:gd name="connsiteY5587" fmla="*/ 419770 h 903637"/>
                  <a:gd name="connsiteX5588" fmla="*/ 871721 w 1687454"/>
                  <a:gd name="connsiteY5588" fmla="*/ 422415 h 903637"/>
                  <a:gd name="connsiteX5589" fmla="*/ 867930 w 1687454"/>
                  <a:gd name="connsiteY5589" fmla="*/ 424178 h 903637"/>
                  <a:gd name="connsiteX5590" fmla="*/ 865020 w 1687454"/>
                  <a:gd name="connsiteY5590" fmla="*/ 423561 h 903637"/>
                  <a:gd name="connsiteX5591" fmla="*/ 863874 w 1687454"/>
                  <a:gd name="connsiteY5591" fmla="*/ 426735 h 903637"/>
                  <a:gd name="connsiteX5592" fmla="*/ 859818 w 1687454"/>
                  <a:gd name="connsiteY5592" fmla="*/ 425236 h 903637"/>
                  <a:gd name="connsiteX5593" fmla="*/ 857790 w 1687454"/>
                  <a:gd name="connsiteY5593" fmla="*/ 428146 h 903637"/>
                  <a:gd name="connsiteX5594" fmla="*/ 863345 w 1687454"/>
                  <a:gd name="connsiteY5594" fmla="*/ 429027 h 903637"/>
                  <a:gd name="connsiteX5595" fmla="*/ 855498 w 1687454"/>
                  <a:gd name="connsiteY5595" fmla="*/ 431320 h 903637"/>
                  <a:gd name="connsiteX5596" fmla="*/ 842361 w 1687454"/>
                  <a:gd name="connsiteY5596" fmla="*/ 437492 h 903637"/>
                  <a:gd name="connsiteX5597" fmla="*/ 846152 w 1687454"/>
                  <a:gd name="connsiteY5597" fmla="*/ 438021 h 903637"/>
                  <a:gd name="connsiteX5598" fmla="*/ 845535 w 1687454"/>
                  <a:gd name="connsiteY5598" fmla="*/ 439167 h 903637"/>
                  <a:gd name="connsiteX5599" fmla="*/ 841126 w 1687454"/>
                  <a:gd name="connsiteY5599" fmla="*/ 440313 h 903637"/>
                  <a:gd name="connsiteX5600" fmla="*/ 840862 w 1687454"/>
                  <a:gd name="connsiteY5600" fmla="*/ 442076 h 903637"/>
                  <a:gd name="connsiteX5601" fmla="*/ 837688 w 1687454"/>
                  <a:gd name="connsiteY5601" fmla="*/ 444104 h 903637"/>
                  <a:gd name="connsiteX5602" fmla="*/ 821024 w 1687454"/>
                  <a:gd name="connsiteY5602" fmla="*/ 456977 h 903637"/>
                  <a:gd name="connsiteX5603" fmla="*/ 810532 w 1687454"/>
                  <a:gd name="connsiteY5603" fmla="*/ 457858 h 903637"/>
                  <a:gd name="connsiteX5604" fmla="*/ 816615 w 1687454"/>
                  <a:gd name="connsiteY5604" fmla="*/ 458476 h 903637"/>
                  <a:gd name="connsiteX5605" fmla="*/ 812824 w 1687454"/>
                  <a:gd name="connsiteY5605" fmla="*/ 464912 h 903637"/>
                  <a:gd name="connsiteX5606" fmla="*/ 807534 w 1687454"/>
                  <a:gd name="connsiteY5606" fmla="*/ 469585 h 903637"/>
                  <a:gd name="connsiteX5607" fmla="*/ 805154 w 1687454"/>
                  <a:gd name="connsiteY5607" fmla="*/ 474522 h 903637"/>
                  <a:gd name="connsiteX5608" fmla="*/ 802861 w 1687454"/>
                  <a:gd name="connsiteY5608" fmla="*/ 476286 h 903637"/>
                  <a:gd name="connsiteX5609" fmla="*/ 799687 w 1687454"/>
                  <a:gd name="connsiteY5609" fmla="*/ 484485 h 903637"/>
                  <a:gd name="connsiteX5610" fmla="*/ 792722 w 1687454"/>
                  <a:gd name="connsiteY5610" fmla="*/ 491539 h 903637"/>
                  <a:gd name="connsiteX5611" fmla="*/ 794221 w 1687454"/>
                  <a:gd name="connsiteY5611" fmla="*/ 492420 h 903637"/>
                  <a:gd name="connsiteX5612" fmla="*/ 793075 w 1687454"/>
                  <a:gd name="connsiteY5612" fmla="*/ 495065 h 903637"/>
                  <a:gd name="connsiteX5613" fmla="*/ 795102 w 1687454"/>
                  <a:gd name="connsiteY5613" fmla="*/ 497093 h 903637"/>
                  <a:gd name="connsiteX5614" fmla="*/ 794485 w 1687454"/>
                  <a:gd name="connsiteY5614" fmla="*/ 498857 h 903637"/>
                  <a:gd name="connsiteX5615" fmla="*/ 795102 w 1687454"/>
                  <a:gd name="connsiteY5615" fmla="*/ 499738 h 903637"/>
                  <a:gd name="connsiteX5616" fmla="*/ 796866 w 1687454"/>
                  <a:gd name="connsiteY5616" fmla="*/ 499474 h 903637"/>
                  <a:gd name="connsiteX5617" fmla="*/ 798012 w 1687454"/>
                  <a:gd name="connsiteY5617" fmla="*/ 498592 h 903637"/>
                  <a:gd name="connsiteX5618" fmla="*/ 811414 w 1687454"/>
                  <a:gd name="connsiteY5618" fmla="*/ 498328 h 903637"/>
                  <a:gd name="connsiteX5619" fmla="*/ 812560 w 1687454"/>
                  <a:gd name="connsiteY5619" fmla="*/ 499474 h 903637"/>
                  <a:gd name="connsiteX5620" fmla="*/ 816087 w 1687454"/>
                  <a:gd name="connsiteY5620" fmla="*/ 498328 h 903637"/>
                  <a:gd name="connsiteX5621" fmla="*/ 817585 w 1687454"/>
                  <a:gd name="connsiteY5621" fmla="*/ 499209 h 903637"/>
                  <a:gd name="connsiteX5622" fmla="*/ 814059 w 1687454"/>
                  <a:gd name="connsiteY5622" fmla="*/ 510848 h 903637"/>
                  <a:gd name="connsiteX5623" fmla="*/ 813177 w 1687454"/>
                  <a:gd name="connsiteY5623" fmla="*/ 517284 h 903637"/>
                  <a:gd name="connsiteX5624" fmla="*/ 809650 w 1687454"/>
                  <a:gd name="connsiteY5624" fmla="*/ 531303 h 903637"/>
                  <a:gd name="connsiteX5625" fmla="*/ 803831 w 1687454"/>
                  <a:gd name="connsiteY5625" fmla="*/ 537386 h 903637"/>
                  <a:gd name="connsiteX5626" fmla="*/ 800304 w 1687454"/>
                  <a:gd name="connsiteY5626" fmla="*/ 539414 h 903637"/>
                  <a:gd name="connsiteX5627" fmla="*/ 810267 w 1687454"/>
                  <a:gd name="connsiteY5627" fmla="*/ 538268 h 903637"/>
                  <a:gd name="connsiteX5628" fmla="*/ 818732 w 1687454"/>
                  <a:gd name="connsiteY5628" fmla="*/ 537122 h 903637"/>
                  <a:gd name="connsiteX5629" fmla="*/ 836542 w 1687454"/>
                  <a:gd name="connsiteY5629" fmla="*/ 533066 h 903637"/>
                  <a:gd name="connsiteX5630" fmla="*/ 846152 w 1687454"/>
                  <a:gd name="connsiteY5630" fmla="*/ 536240 h 903637"/>
                  <a:gd name="connsiteX5631" fmla="*/ 849943 w 1687454"/>
                  <a:gd name="connsiteY5631" fmla="*/ 539150 h 903637"/>
                  <a:gd name="connsiteX5632" fmla="*/ 862816 w 1687454"/>
                  <a:gd name="connsiteY5632" fmla="*/ 542059 h 903637"/>
                  <a:gd name="connsiteX5633" fmla="*/ 865725 w 1687454"/>
                  <a:gd name="connsiteY5633" fmla="*/ 542676 h 903637"/>
                  <a:gd name="connsiteX5634" fmla="*/ 868635 w 1687454"/>
                  <a:gd name="connsiteY5634" fmla="*/ 542941 h 903637"/>
                  <a:gd name="connsiteX5635" fmla="*/ 869781 w 1687454"/>
                  <a:gd name="connsiteY5635" fmla="*/ 546115 h 903637"/>
                  <a:gd name="connsiteX5636" fmla="*/ 872426 w 1687454"/>
                  <a:gd name="connsiteY5636" fmla="*/ 547614 h 903637"/>
                  <a:gd name="connsiteX5637" fmla="*/ 872426 w 1687454"/>
                  <a:gd name="connsiteY5637" fmla="*/ 548496 h 903637"/>
                  <a:gd name="connsiteX5638" fmla="*/ 877099 w 1687454"/>
                  <a:gd name="connsiteY5638" fmla="*/ 551758 h 903637"/>
                  <a:gd name="connsiteX5639" fmla="*/ 878245 w 1687454"/>
                  <a:gd name="connsiteY5639" fmla="*/ 551758 h 903637"/>
                  <a:gd name="connsiteX5640" fmla="*/ 879744 w 1687454"/>
                  <a:gd name="connsiteY5640" fmla="*/ 560222 h 903637"/>
                  <a:gd name="connsiteX5641" fmla="*/ 880890 w 1687454"/>
                  <a:gd name="connsiteY5641" fmla="*/ 561985 h 903637"/>
                  <a:gd name="connsiteX5642" fmla="*/ 882918 w 1687454"/>
                  <a:gd name="connsiteY5642" fmla="*/ 562867 h 903637"/>
                  <a:gd name="connsiteX5643" fmla="*/ 883447 w 1687454"/>
                  <a:gd name="connsiteY5643" fmla="*/ 563484 h 903637"/>
                  <a:gd name="connsiteX5644" fmla="*/ 890765 w 1687454"/>
                  <a:gd name="connsiteY5644" fmla="*/ 564630 h 903637"/>
                  <a:gd name="connsiteX5645" fmla="*/ 898083 w 1687454"/>
                  <a:gd name="connsiteY5645" fmla="*/ 567540 h 903637"/>
                  <a:gd name="connsiteX5646" fmla="*/ 898700 w 1687454"/>
                  <a:gd name="connsiteY5646" fmla="*/ 568422 h 903637"/>
                  <a:gd name="connsiteX5647" fmla="*/ 904255 w 1687454"/>
                  <a:gd name="connsiteY5647" fmla="*/ 569568 h 903637"/>
                  <a:gd name="connsiteX5648" fmla="*/ 906900 w 1687454"/>
                  <a:gd name="connsiteY5648" fmla="*/ 570449 h 903637"/>
                  <a:gd name="connsiteX5649" fmla="*/ 909810 w 1687454"/>
                  <a:gd name="connsiteY5649" fmla="*/ 572477 h 903637"/>
                  <a:gd name="connsiteX5650" fmla="*/ 910691 w 1687454"/>
                  <a:gd name="connsiteY5650" fmla="*/ 575387 h 903637"/>
                  <a:gd name="connsiteX5651" fmla="*/ 912454 w 1687454"/>
                  <a:gd name="connsiteY5651" fmla="*/ 576798 h 903637"/>
                  <a:gd name="connsiteX5652" fmla="*/ 915717 w 1687454"/>
                  <a:gd name="connsiteY5652" fmla="*/ 577944 h 903637"/>
                  <a:gd name="connsiteX5653" fmla="*/ 915981 w 1687454"/>
                  <a:gd name="connsiteY5653" fmla="*/ 578208 h 903637"/>
                  <a:gd name="connsiteX5654" fmla="*/ 915100 w 1687454"/>
                  <a:gd name="connsiteY5654" fmla="*/ 578825 h 903637"/>
                  <a:gd name="connsiteX5655" fmla="*/ 913601 w 1687454"/>
                  <a:gd name="connsiteY5655" fmla="*/ 579972 h 903637"/>
                  <a:gd name="connsiteX5656" fmla="*/ 917657 w 1687454"/>
                  <a:gd name="connsiteY5656" fmla="*/ 579354 h 903637"/>
                  <a:gd name="connsiteX5657" fmla="*/ 921183 w 1687454"/>
                  <a:gd name="connsiteY5657" fmla="*/ 580236 h 903637"/>
                  <a:gd name="connsiteX5658" fmla="*/ 925856 w 1687454"/>
                  <a:gd name="connsiteY5658" fmla="*/ 580236 h 903637"/>
                  <a:gd name="connsiteX5659" fmla="*/ 931146 w 1687454"/>
                  <a:gd name="connsiteY5659" fmla="*/ 579354 h 903637"/>
                  <a:gd name="connsiteX5660" fmla="*/ 934056 w 1687454"/>
                  <a:gd name="connsiteY5660" fmla="*/ 579619 h 903637"/>
                  <a:gd name="connsiteX5661" fmla="*/ 937583 w 1687454"/>
                  <a:gd name="connsiteY5661" fmla="*/ 578737 h 903637"/>
                  <a:gd name="connsiteX5662" fmla="*/ 939346 w 1687454"/>
                  <a:gd name="connsiteY5662" fmla="*/ 579883 h 903637"/>
                  <a:gd name="connsiteX5663" fmla="*/ 941991 w 1687454"/>
                  <a:gd name="connsiteY5663" fmla="*/ 579883 h 903637"/>
                  <a:gd name="connsiteX5664" fmla="*/ 950191 w 1687454"/>
                  <a:gd name="connsiteY5664" fmla="*/ 581382 h 903637"/>
                  <a:gd name="connsiteX5665" fmla="*/ 954246 w 1687454"/>
                  <a:gd name="connsiteY5665" fmla="*/ 580501 h 903637"/>
                  <a:gd name="connsiteX5666" fmla="*/ 954864 w 1687454"/>
                  <a:gd name="connsiteY5666" fmla="*/ 581382 h 903637"/>
                  <a:gd name="connsiteX5667" fmla="*/ 954599 w 1687454"/>
                  <a:gd name="connsiteY5667" fmla="*/ 582793 h 903637"/>
                  <a:gd name="connsiteX5668" fmla="*/ 958919 w 1687454"/>
                  <a:gd name="connsiteY5668" fmla="*/ 582529 h 903637"/>
                  <a:gd name="connsiteX5669" fmla="*/ 961212 w 1687454"/>
                  <a:gd name="connsiteY5669" fmla="*/ 582793 h 903637"/>
                  <a:gd name="connsiteX5670" fmla="*/ 962358 w 1687454"/>
                  <a:gd name="connsiteY5670" fmla="*/ 582529 h 903637"/>
                  <a:gd name="connsiteX5671" fmla="*/ 962887 w 1687454"/>
                  <a:gd name="connsiteY5671" fmla="*/ 583146 h 903637"/>
                  <a:gd name="connsiteX5672" fmla="*/ 962887 w 1687454"/>
                  <a:gd name="connsiteY5672" fmla="*/ 584027 h 903637"/>
                  <a:gd name="connsiteX5673" fmla="*/ 964386 w 1687454"/>
                  <a:gd name="connsiteY5673" fmla="*/ 583763 h 903637"/>
                  <a:gd name="connsiteX5674" fmla="*/ 965532 w 1687454"/>
                  <a:gd name="connsiteY5674" fmla="*/ 582881 h 903637"/>
                  <a:gd name="connsiteX5675" fmla="*/ 966061 w 1687454"/>
                  <a:gd name="connsiteY5675" fmla="*/ 584027 h 903637"/>
                  <a:gd name="connsiteX5676" fmla="*/ 964298 w 1687454"/>
                  <a:gd name="connsiteY5676" fmla="*/ 585174 h 903637"/>
                  <a:gd name="connsiteX5677" fmla="*/ 963416 w 1687454"/>
                  <a:gd name="connsiteY5677" fmla="*/ 588700 h 903637"/>
                  <a:gd name="connsiteX5678" fmla="*/ 963680 w 1687454"/>
                  <a:gd name="connsiteY5678" fmla="*/ 589318 h 903637"/>
                  <a:gd name="connsiteX5679" fmla="*/ 963416 w 1687454"/>
                  <a:gd name="connsiteY5679" fmla="*/ 589935 h 903637"/>
                  <a:gd name="connsiteX5680" fmla="*/ 953805 w 1687454"/>
                  <a:gd name="connsiteY5680" fmla="*/ 600427 h 903637"/>
                  <a:gd name="connsiteX5681" fmla="*/ 951160 w 1687454"/>
                  <a:gd name="connsiteY5681" fmla="*/ 604218 h 903637"/>
                  <a:gd name="connsiteX5682" fmla="*/ 952307 w 1687454"/>
                  <a:gd name="connsiteY5682" fmla="*/ 612153 h 903637"/>
                  <a:gd name="connsiteX5683" fmla="*/ 951425 w 1687454"/>
                  <a:gd name="connsiteY5683" fmla="*/ 615327 h 903637"/>
                  <a:gd name="connsiteX5684" fmla="*/ 947369 w 1687454"/>
                  <a:gd name="connsiteY5684" fmla="*/ 619736 h 903637"/>
                  <a:gd name="connsiteX5685" fmla="*/ 945341 w 1687454"/>
                  <a:gd name="connsiteY5685" fmla="*/ 627054 h 903637"/>
                  <a:gd name="connsiteX5686" fmla="*/ 942079 w 1687454"/>
                  <a:gd name="connsiteY5686" fmla="*/ 628817 h 903637"/>
                  <a:gd name="connsiteX5687" fmla="*/ 939787 w 1687454"/>
                  <a:gd name="connsiteY5687" fmla="*/ 631726 h 903637"/>
                  <a:gd name="connsiteX5688" fmla="*/ 938288 w 1687454"/>
                  <a:gd name="connsiteY5688" fmla="*/ 634636 h 903637"/>
                  <a:gd name="connsiteX5689" fmla="*/ 939434 w 1687454"/>
                  <a:gd name="connsiteY5689" fmla="*/ 636135 h 903637"/>
                  <a:gd name="connsiteX5690" fmla="*/ 940933 w 1687454"/>
                  <a:gd name="connsiteY5690" fmla="*/ 636399 h 903637"/>
                  <a:gd name="connsiteX5691" fmla="*/ 942079 w 1687454"/>
                  <a:gd name="connsiteY5691" fmla="*/ 641072 h 903637"/>
                  <a:gd name="connsiteX5692" fmla="*/ 945870 w 1687454"/>
                  <a:gd name="connsiteY5692" fmla="*/ 646891 h 903637"/>
                  <a:gd name="connsiteX5693" fmla="*/ 944372 w 1687454"/>
                  <a:gd name="connsiteY5693" fmla="*/ 650066 h 903637"/>
                  <a:gd name="connsiteX5694" fmla="*/ 943754 w 1687454"/>
                  <a:gd name="connsiteY5694" fmla="*/ 650947 h 903637"/>
                  <a:gd name="connsiteX5695" fmla="*/ 945253 w 1687454"/>
                  <a:gd name="connsiteY5695" fmla="*/ 652711 h 903637"/>
                  <a:gd name="connsiteX5696" fmla="*/ 944989 w 1687454"/>
                  <a:gd name="connsiteY5696" fmla="*/ 654474 h 903637"/>
                  <a:gd name="connsiteX5697" fmla="*/ 949044 w 1687454"/>
                  <a:gd name="connsiteY5697" fmla="*/ 657119 h 903637"/>
                  <a:gd name="connsiteX5698" fmla="*/ 949573 w 1687454"/>
                  <a:gd name="connsiteY5698" fmla="*/ 656502 h 903637"/>
                  <a:gd name="connsiteX5699" fmla="*/ 951337 w 1687454"/>
                  <a:gd name="connsiteY5699" fmla="*/ 657384 h 903637"/>
                  <a:gd name="connsiteX5700" fmla="*/ 952219 w 1687454"/>
                  <a:gd name="connsiteY5700" fmla="*/ 660293 h 903637"/>
                  <a:gd name="connsiteX5701" fmla="*/ 953100 w 1687454"/>
                  <a:gd name="connsiteY5701" fmla="*/ 660558 h 903637"/>
                  <a:gd name="connsiteX5702" fmla="*/ 954599 w 1687454"/>
                  <a:gd name="connsiteY5702" fmla="*/ 662850 h 903637"/>
                  <a:gd name="connsiteX5703" fmla="*/ 955216 w 1687454"/>
                  <a:gd name="connsiteY5703" fmla="*/ 664878 h 903637"/>
                  <a:gd name="connsiteX5704" fmla="*/ 954952 w 1687454"/>
                  <a:gd name="connsiteY5704" fmla="*/ 668934 h 903637"/>
                  <a:gd name="connsiteX5705" fmla="*/ 955216 w 1687454"/>
                  <a:gd name="connsiteY5705" fmla="*/ 670432 h 903637"/>
                  <a:gd name="connsiteX5706" fmla="*/ 954599 w 1687454"/>
                  <a:gd name="connsiteY5706" fmla="*/ 671931 h 903637"/>
                  <a:gd name="connsiteX5707" fmla="*/ 952307 w 1687454"/>
                  <a:gd name="connsiteY5707" fmla="*/ 673342 h 903637"/>
                  <a:gd name="connsiteX5708" fmla="*/ 950279 w 1687454"/>
                  <a:gd name="connsiteY5708" fmla="*/ 674224 h 903637"/>
                  <a:gd name="connsiteX5709" fmla="*/ 947105 w 1687454"/>
                  <a:gd name="connsiteY5709" fmla="*/ 676869 h 903637"/>
                  <a:gd name="connsiteX5710" fmla="*/ 945606 w 1687454"/>
                  <a:gd name="connsiteY5710" fmla="*/ 677750 h 903637"/>
                  <a:gd name="connsiteX5711" fmla="*/ 946223 w 1687454"/>
                  <a:gd name="connsiteY5711" fmla="*/ 677750 h 903637"/>
                  <a:gd name="connsiteX5712" fmla="*/ 947986 w 1687454"/>
                  <a:gd name="connsiteY5712" fmla="*/ 677221 h 903637"/>
                  <a:gd name="connsiteX5713" fmla="*/ 951160 w 1687454"/>
                  <a:gd name="connsiteY5713" fmla="*/ 675194 h 903637"/>
                  <a:gd name="connsiteX5714" fmla="*/ 954687 w 1687454"/>
                  <a:gd name="connsiteY5714" fmla="*/ 673430 h 903637"/>
                  <a:gd name="connsiteX5715" fmla="*/ 957068 w 1687454"/>
                  <a:gd name="connsiteY5715" fmla="*/ 673695 h 903637"/>
                  <a:gd name="connsiteX5716" fmla="*/ 961476 w 1687454"/>
                  <a:gd name="connsiteY5716" fmla="*/ 675723 h 903637"/>
                  <a:gd name="connsiteX5717" fmla="*/ 962975 w 1687454"/>
                  <a:gd name="connsiteY5717" fmla="*/ 677133 h 903637"/>
                  <a:gd name="connsiteX5718" fmla="*/ 964474 w 1687454"/>
                  <a:gd name="connsiteY5718" fmla="*/ 677662 h 903637"/>
                  <a:gd name="connsiteX5719" fmla="*/ 965356 w 1687454"/>
                  <a:gd name="connsiteY5719" fmla="*/ 679426 h 903637"/>
                  <a:gd name="connsiteX5720" fmla="*/ 966237 w 1687454"/>
                  <a:gd name="connsiteY5720" fmla="*/ 678544 h 903637"/>
                  <a:gd name="connsiteX5721" fmla="*/ 965973 w 1687454"/>
                  <a:gd name="connsiteY5721" fmla="*/ 676781 h 903637"/>
                  <a:gd name="connsiteX5722" fmla="*/ 969147 w 1687454"/>
                  <a:gd name="connsiteY5722" fmla="*/ 674135 h 903637"/>
                  <a:gd name="connsiteX5723" fmla="*/ 969147 w 1687454"/>
                  <a:gd name="connsiteY5723" fmla="*/ 671755 h 903637"/>
                  <a:gd name="connsiteX5724" fmla="*/ 970293 w 1687454"/>
                  <a:gd name="connsiteY5724" fmla="*/ 671755 h 903637"/>
                  <a:gd name="connsiteX5725" fmla="*/ 974084 w 1687454"/>
                  <a:gd name="connsiteY5725" fmla="*/ 668228 h 903637"/>
                  <a:gd name="connsiteX5726" fmla="*/ 976729 w 1687454"/>
                  <a:gd name="connsiteY5726" fmla="*/ 666200 h 903637"/>
                  <a:gd name="connsiteX5727" fmla="*/ 979639 w 1687454"/>
                  <a:gd name="connsiteY5727" fmla="*/ 666817 h 903637"/>
                  <a:gd name="connsiteX5728" fmla="*/ 978757 w 1687454"/>
                  <a:gd name="connsiteY5728" fmla="*/ 668845 h 903637"/>
                  <a:gd name="connsiteX5729" fmla="*/ 981931 w 1687454"/>
                  <a:gd name="connsiteY5729" fmla="*/ 669463 h 903637"/>
                  <a:gd name="connsiteX5730" fmla="*/ 982548 w 1687454"/>
                  <a:gd name="connsiteY5730" fmla="*/ 670609 h 903637"/>
                  <a:gd name="connsiteX5731" fmla="*/ 982284 w 1687454"/>
                  <a:gd name="connsiteY5731" fmla="*/ 673871 h 903637"/>
                  <a:gd name="connsiteX5732" fmla="*/ 983166 w 1687454"/>
                  <a:gd name="connsiteY5732" fmla="*/ 673871 h 903637"/>
                  <a:gd name="connsiteX5733" fmla="*/ 986428 w 1687454"/>
                  <a:gd name="connsiteY5733" fmla="*/ 670080 h 903637"/>
                  <a:gd name="connsiteX5734" fmla="*/ 987574 w 1687454"/>
                  <a:gd name="connsiteY5734" fmla="*/ 666906 h 903637"/>
                  <a:gd name="connsiteX5735" fmla="*/ 985811 w 1687454"/>
                  <a:gd name="connsiteY5735" fmla="*/ 666024 h 903637"/>
                  <a:gd name="connsiteX5736" fmla="*/ 985546 w 1687454"/>
                  <a:gd name="connsiteY5736" fmla="*/ 663114 h 903637"/>
                  <a:gd name="connsiteX5737" fmla="*/ 986428 w 1687454"/>
                  <a:gd name="connsiteY5737" fmla="*/ 662497 h 903637"/>
                  <a:gd name="connsiteX5738" fmla="*/ 988720 w 1687454"/>
                  <a:gd name="connsiteY5738" fmla="*/ 662497 h 903637"/>
                  <a:gd name="connsiteX5739" fmla="*/ 990748 w 1687454"/>
                  <a:gd name="connsiteY5739" fmla="*/ 658970 h 903637"/>
                  <a:gd name="connsiteX5740" fmla="*/ 992776 w 1687454"/>
                  <a:gd name="connsiteY5740" fmla="*/ 658353 h 903637"/>
                  <a:gd name="connsiteX5741" fmla="*/ 998860 w 1687454"/>
                  <a:gd name="connsiteY5741" fmla="*/ 653063 h 903637"/>
                  <a:gd name="connsiteX5742" fmla="*/ 1002386 w 1687454"/>
                  <a:gd name="connsiteY5742" fmla="*/ 645481 h 903637"/>
                  <a:gd name="connsiteX5743" fmla="*/ 1000623 w 1687454"/>
                  <a:gd name="connsiteY5743" fmla="*/ 644864 h 903637"/>
                  <a:gd name="connsiteX5744" fmla="*/ 1000887 w 1687454"/>
                  <a:gd name="connsiteY5744" fmla="*/ 642836 h 903637"/>
                  <a:gd name="connsiteX5745" fmla="*/ 1000006 w 1687454"/>
                  <a:gd name="connsiteY5745" fmla="*/ 639309 h 903637"/>
                  <a:gd name="connsiteX5746" fmla="*/ 1002034 w 1687454"/>
                  <a:gd name="connsiteY5746" fmla="*/ 638692 h 903637"/>
                  <a:gd name="connsiteX5747" fmla="*/ 1002651 w 1687454"/>
                  <a:gd name="connsiteY5747" fmla="*/ 637546 h 903637"/>
                  <a:gd name="connsiteX5748" fmla="*/ 1000887 w 1687454"/>
                  <a:gd name="connsiteY5748" fmla="*/ 636399 h 903637"/>
                  <a:gd name="connsiteX5749" fmla="*/ 1002651 w 1687454"/>
                  <a:gd name="connsiteY5749" fmla="*/ 634019 h 903637"/>
                  <a:gd name="connsiteX5750" fmla="*/ 1001505 w 1687454"/>
                  <a:gd name="connsiteY5750" fmla="*/ 633137 h 903637"/>
                  <a:gd name="connsiteX5751" fmla="*/ 1004414 w 1687454"/>
                  <a:gd name="connsiteY5751" fmla="*/ 627318 h 903637"/>
                  <a:gd name="connsiteX5752" fmla="*/ 1005031 w 1687454"/>
                  <a:gd name="connsiteY5752" fmla="*/ 623791 h 903637"/>
                  <a:gd name="connsiteX5753" fmla="*/ 1003268 w 1687454"/>
                  <a:gd name="connsiteY5753" fmla="*/ 622910 h 903637"/>
                  <a:gd name="connsiteX5754" fmla="*/ 1003797 w 1687454"/>
                  <a:gd name="connsiteY5754" fmla="*/ 622028 h 903637"/>
                  <a:gd name="connsiteX5755" fmla="*/ 1005825 w 1687454"/>
                  <a:gd name="connsiteY5755" fmla="*/ 621146 h 903637"/>
                  <a:gd name="connsiteX5756" fmla="*/ 1009616 w 1687454"/>
                  <a:gd name="connsiteY5756" fmla="*/ 608009 h 903637"/>
                  <a:gd name="connsiteX5757" fmla="*/ 1011379 w 1687454"/>
                  <a:gd name="connsiteY5757" fmla="*/ 607745 h 903637"/>
                  <a:gd name="connsiteX5758" fmla="*/ 1011644 w 1687454"/>
                  <a:gd name="connsiteY5758" fmla="*/ 606863 h 903637"/>
                  <a:gd name="connsiteX5759" fmla="*/ 1007235 w 1687454"/>
                  <a:gd name="connsiteY5759" fmla="*/ 605452 h 903637"/>
                  <a:gd name="connsiteX5760" fmla="*/ 1008382 w 1687454"/>
                  <a:gd name="connsiteY5760" fmla="*/ 595842 h 903637"/>
                  <a:gd name="connsiteX5761" fmla="*/ 1004855 w 1687454"/>
                  <a:gd name="connsiteY5761" fmla="*/ 594960 h 903637"/>
                  <a:gd name="connsiteX5762" fmla="*/ 1012702 w 1687454"/>
                  <a:gd name="connsiteY5762" fmla="*/ 590023 h 903637"/>
                  <a:gd name="connsiteX5763" fmla="*/ 1021431 w 1687454"/>
                  <a:gd name="connsiteY5763" fmla="*/ 590023 h 903637"/>
                  <a:gd name="connsiteX5764" fmla="*/ 1026368 w 1687454"/>
                  <a:gd name="connsiteY5764" fmla="*/ 589141 h 903637"/>
                  <a:gd name="connsiteX5765" fmla="*/ 1033686 w 1687454"/>
                  <a:gd name="connsiteY5765" fmla="*/ 585967 h 903637"/>
                  <a:gd name="connsiteX5766" fmla="*/ 1038624 w 1687454"/>
                  <a:gd name="connsiteY5766" fmla="*/ 583058 h 903637"/>
                  <a:gd name="connsiteX5767" fmla="*/ 1046206 w 1687454"/>
                  <a:gd name="connsiteY5767" fmla="*/ 580413 h 903637"/>
                  <a:gd name="connsiteX5768" fmla="*/ 1052642 w 1687454"/>
                  <a:gd name="connsiteY5768" fmla="*/ 578649 h 903637"/>
                  <a:gd name="connsiteX5769" fmla="*/ 1062517 w 1687454"/>
                  <a:gd name="connsiteY5769" fmla="*/ 572566 h 903637"/>
                  <a:gd name="connsiteX5770" fmla="*/ 1068072 w 1687454"/>
                  <a:gd name="connsiteY5770" fmla="*/ 571067 h 903637"/>
                  <a:gd name="connsiteX5771" fmla="*/ 1078564 w 1687454"/>
                  <a:gd name="connsiteY5771" fmla="*/ 561456 h 903637"/>
                  <a:gd name="connsiteX5772" fmla="*/ 1085529 w 1687454"/>
                  <a:gd name="connsiteY5772" fmla="*/ 553257 h 903637"/>
                  <a:gd name="connsiteX5773" fmla="*/ 1086940 w 1687454"/>
                  <a:gd name="connsiteY5773" fmla="*/ 548055 h 903637"/>
                  <a:gd name="connsiteX5774" fmla="*/ 1092494 w 1687454"/>
                  <a:gd name="connsiteY5774" fmla="*/ 539855 h 903637"/>
                  <a:gd name="connsiteX5775" fmla="*/ 1094258 w 1687454"/>
                  <a:gd name="connsiteY5775" fmla="*/ 532537 h 903637"/>
                  <a:gd name="connsiteX5776" fmla="*/ 1094522 w 1687454"/>
                  <a:gd name="connsiteY5776" fmla="*/ 520282 h 903637"/>
                  <a:gd name="connsiteX5777" fmla="*/ 1091877 w 1687454"/>
                  <a:gd name="connsiteY5777" fmla="*/ 514463 h 903637"/>
                  <a:gd name="connsiteX5778" fmla="*/ 1090995 w 1687454"/>
                  <a:gd name="connsiteY5778" fmla="*/ 509525 h 903637"/>
                  <a:gd name="connsiteX5779" fmla="*/ 1085705 w 1687454"/>
                  <a:gd name="connsiteY5779" fmla="*/ 507497 h 903637"/>
                  <a:gd name="connsiteX5780" fmla="*/ 1081033 w 1687454"/>
                  <a:gd name="connsiteY5780" fmla="*/ 507233 h 903637"/>
                  <a:gd name="connsiteX5781" fmla="*/ 1076624 w 1687454"/>
                  <a:gd name="connsiteY5781" fmla="*/ 502031 h 903637"/>
                  <a:gd name="connsiteX5782" fmla="*/ 1079534 w 1687454"/>
                  <a:gd name="connsiteY5782" fmla="*/ 496741 h 903637"/>
                  <a:gd name="connsiteX5783" fmla="*/ 1091789 w 1687454"/>
                  <a:gd name="connsiteY5783" fmla="*/ 488012 h 903637"/>
                  <a:gd name="connsiteX5784" fmla="*/ 1096198 w 1687454"/>
                  <a:gd name="connsiteY5784" fmla="*/ 486513 h 903637"/>
                  <a:gd name="connsiteX5785" fmla="*/ 1099372 w 1687454"/>
                  <a:gd name="connsiteY5785" fmla="*/ 485102 h 903637"/>
                  <a:gd name="connsiteX5786" fmla="*/ 1100518 w 1687454"/>
                  <a:gd name="connsiteY5786" fmla="*/ 483604 h 903637"/>
                  <a:gd name="connsiteX5787" fmla="*/ 1099107 w 1687454"/>
                  <a:gd name="connsiteY5787" fmla="*/ 482722 h 903637"/>
                  <a:gd name="connsiteX5788" fmla="*/ 1100253 w 1687454"/>
                  <a:gd name="connsiteY5788" fmla="*/ 480959 h 903637"/>
                  <a:gd name="connsiteX5789" fmla="*/ 1101752 w 1687454"/>
                  <a:gd name="connsiteY5789" fmla="*/ 480694 h 903637"/>
                  <a:gd name="connsiteX5790" fmla="*/ 1103251 w 1687454"/>
                  <a:gd name="connsiteY5790" fmla="*/ 479812 h 903637"/>
                  <a:gd name="connsiteX5791" fmla="*/ 1103868 w 1687454"/>
                  <a:gd name="connsiteY5791" fmla="*/ 476903 h 903637"/>
                  <a:gd name="connsiteX5792" fmla="*/ 1107042 w 1687454"/>
                  <a:gd name="connsiteY5792" fmla="*/ 477784 h 903637"/>
                  <a:gd name="connsiteX5793" fmla="*/ 1108188 w 1687454"/>
                  <a:gd name="connsiteY5793" fmla="*/ 477167 h 903637"/>
                  <a:gd name="connsiteX5794" fmla="*/ 1108806 w 1687454"/>
                  <a:gd name="connsiteY5794" fmla="*/ 475668 h 903637"/>
                  <a:gd name="connsiteX5795" fmla="*/ 1113214 w 1687454"/>
                  <a:gd name="connsiteY5795" fmla="*/ 473905 h 903637"/>
                  <a:gd name="connsiteX5796" fmla="*/ 1113478 w 1687454"/>
                  <a:gd name="connsiteY5796" fmla="*/ 471260 h 903637"/>
                  <a:gd name="connsiteX5797" fmla="*/ 1116124 w 1687454"/>
                  <a:gd name="connsiteY5797" fmla="*/ 470731 h 903637"/>
                  <a:gd name="connsiteX5798" fmla="*/ 1116124 w 1687454"/>
                  <a:gd name="connsiteY5798" fmla="*/ 469232 h 903637"/>
                  <a:gd name="connsiteX5799" fmla="*/ 1112597 w 1687454"/>
                  <a:gd name="connsiteY5799" fmla="*/ 468968 h 903637"/>
                  <a:gd name="connsiteX5800" fmla="*/ 1111980 w 1687454"/>
                  <a:gd name="connsiteY5800" fmla="*/ 468086 h 903637"/>
                  <a:gd name="connsiteX5801" fmla="*/ 1115154 w 1687454"/>
                  <a:gd name="connsiteY5801" fmla="*/ 464912 h 903637"/>
                  <a:gd name="connsiteX5802" fmla="*/ 1115418 w 1687454"/>
                  <a:gd name="connsiteY5802" fmla="*/ 463413 h 903637"/>
                  <a:gd name="connsiteX5803" fmla="*/ 1113655 w 1687454"/>
                  <a:gd name="connsiteY5803" fmla="*/ 460768 h 903637"/>
                  <a:gd name="connsiteX5804" fmla="*/ 1116300 w 1687454"/>
                  <a:gd name="connsiteY5804" fmla="*/ 458740 h 903637"/>
                  <a:gd name="connsiteX5805" fmla="*/ 1117799 w 1687454"/>
                  <a:gd name="connsiteY5805" fmla="*/ 458476 h 903637"/>
                  <a:gd name="connsiteX5806" fmla="*/ 1118063 w 1687454"/>
                  <a:gd name="connsiteY5806" fmla="*/ 457594 h 903637"/>
                  <a:gd name="connsiteX5807" fmla="*/ 1116300 w 1687454"/>
                  <a:gd name="connsiteY5807" fmla="*/ 456977 h 903637"/>
                  <a:gd name="connsiteX5808" fmla="*/ 1116300 w 1687454"/>
                  <a:gd name="connsiteY5808" fmla="*/ 454949 h 903637"/>
                  <a:gd name="connsiteX5809" fmla="*/ 1118328 w 1687454"/>
                  <a:gd name="connsiteY5809" fmla="*/ 453450 h 903637"/>
                  <a:gd name="connsiteX5810" fmla="*/ 1118945 w 1687454"/>
                  <a:gd name="connsiteY5810" fmla="*/ 452568 h 903637"/>
                  <a:gd name="connsiteX5811" fmla="*/ 1111627 w 1687454"/>
                  <a:gd name="connsiteY5811" fmla="*/ 451422 h 903637"/>
                  <a:gd name="connsiteX5812" fmla="*/ 1120620 w 1687454"/>
                  <a:gd name="connsiteY5812" fmla="*/ 445339 h 903637"/>
                  <a:gd name="connsiteX5813" fmla="*/ 1125293 w 1687454"/>
                  <a:gd name="connsiteY5813" fmla="*/ 440930 h 903637"/>
                  <a:gd name="connsiteX5814" fmla="*/ 1126175 w 1687454"/>
                  <a:gd name="connsiteY5814" fmla="*/ 437403 h 903637"/>
                  <a:gd name="connsiteX5815" fmla="*/ 1127321 w 1687454"/>
                  <a:gd name="connsiteY5815" fmla="*/ 436786 h 903637"/>
                  <a:gd name="connsiteX5816" fmla="*/ 1129613 w 1687454"/>
                  <a:gd name="connsiteY5816" fmla="*/ 436169 h 903637"/>
                  <a:gd name="connsiteX5817" fmla="*/ 1130495 w 1687454"/>
                  <a:gd name="connsiteY5817" fmla="*/ 433524 h 903637"/>
                  <a:gd name="connsiteX5818" fmla="*/ 1129349 w 1687454"/>
                  <a:gd name="connsiteY5818" fmla="*/ 431761 h 903637"/>
                  <a:gd name="connsiteX5819" fmla="*/ 1126704 w 1687454"/>
                  <a:gd name="connsiteY5819" fmla="*/ 430614 h 903637"/>
                  <a:gd name="connsiteX5820" fmla="*/ 1127850 w 1687454"/>
                  <a:gd name="connsiteY5820" fmla="*/ 425412 h 903637"/>
                  <a:gd name="connsiteX5821" fmla="*/ 1131641 w 1687454"/>
                  <a:gd name="connsiteY5821" fmla="*/ 417565 h 903637"/>
                  <a:gd name="connsiteX5822" fmla="*/ 1147071 w 1687454"/>
                  <a:gd name="connsiteY5822" fmla="*/ 411394 h 903637"/>
                  <a:gd name="connsiteX5823" fmla="*/ 1151743 w 1687454"/>
                  <a:gd name="connsiteY5823" fmla="*/ 412275 h 903637"/>
                  <a:gd name="connsiteX5824" fmla="*/ 1154653 w 1687454"/>
                  <a:gd name="connsiteY5824" fmla="*/ 412275 h 903637"/>
                  <a:gd name="connsiteX5825" fmla="*/ 1176872 w 1687454"/>
                  <a:gd name="connsiteY5825" fmla="*/ 418095 h 903637"/>
                  <a:gd name="connsiteX5826" fmla="*/ 1180663 w 1687454"/>
                  <a:gd name="connsiteY5826" fmla="*/ 417477 h 903637"/>
                  <a:gd name="connsiteX5827" fmla="*/ 1186482 w 1687454"/>
                  <a:gd name="connsiteY5827" fmla="*/ 418624 h 903637"/>
                  <a:gd name="connsiteX5828" fmla="*/ 1189656 w 1687454"/>
                  <a:gd name="connsiteY5828" fmla="*/ 420387 h 903637"/>
                  <a:gd name="connsiteX5829" fmla="*/ 1189391 w 1687454"/>
                  <a:gd name="connsiteY5829" fmla="*/ 418888 h 903637"/>
                  <a:gd name="connsiteX5830" fmla="*/ 1190890 w 1687454"/>
                  <a:gd name="connsiteY5830" fmla="*/ 418359 h 903637"/>
                  <a:gd name="connsiteX5831" fmla="*/ 1194946 w 1687454"/>
                  <a:gd name="connsiteY5831" fmla="*/ 418624 h 903637"/>
                  <a:gd name="connsiteX5832" fmla="*/ 1200148 w 1687454"/>
                  <a:gd name="connsiteY5832" fmla="*/ 416596 h 903637"/>
                  <a:gd name="connsiteX5833" fmla="*/ 1203410 w 1687454"/>
                  <a:gd name="connsiteY5833" fmla="*/ 415978 h 903637"/>
                  <a:gd name="connsiteX5834" fmla="*/ 1202264 w 1687454"/>
                  <a:gd name="connsiteY5834" fmla="*/ 418006 h 903637"/>
                  <a:gd name="connsiteX5835" fmla="*/ 1205791 w 1687454"/>
                  <a:gd name="connsiteY5835" fmla="*/ 414832 h 903637"/>
                  <a:gd name="connsiteX5836" fmla="*/ 1210728 w 1687454"/>
                  <a:gd name="connsiteY5836" fmla="*/ 413333 h 903637"/>
                  <a:gd name="connsiteX5837" fmla="*/ 1212492 w 1687454"/>
                  <a:gd name="connsiteY5837" fmla="*/ 415361 h 903637"/>
                  <a:gd name="connsiteX5838" fmla="*/ 1216283 w 1687454"/>
                  <a:gd name="connsiteY5838" fmla="*/ 416507 h 903637"/>
                  <a:gd name="connsiteX5839" fmla="*/ 1216812 w 1687454"/>
                  <a:gd name="connsiteY5839" fmla="*/ 418535 h 903637"/>
                  <a:gd name="connsiteX5840" fmla="*/ 1222102 w 1687454"/>
                  <a:gd name="connsiteY5840" fmla="*/ 421445 h 903637"/>
                  <a:gd name="connsiteX5841" fmla="*/ 1223248 w 1687454"/>
                  <a:gd name="connsiteY5841" fmla="*/ 420828 h 903637"/>
                  <a:gd name="connsiteX5842" fmla="*/ 1225011 w 1687454"/>
                  <a:gd name="connsiteY5842" fmla="*/ 422591 h 903637"/>
                  <a:gd name="connsiteX5843" fmla="*/ 1224130 w 1687454"/>
                  <a:gd name="connsiteY5843" fmla="*/ 425236 h 903637"/>
                  <a:gd name="connsiteX5844" fmla="*/ 1229067 w 1687454"/>
                  <a:gd name="connsiteY5844" fmla="*/ 427529 h 903637"/>
                  <a:gd name="connsiteX5845" fmla="*/ 1229067 w 1687454"/>
                  <a:gd name="connsiteY5845" fmla="*/ 429292 h 903637"/>
                  <a:gd name="connsiteX5846" fmla="*/ 1231448 w 1687454"/>
                  <a:gd name="connsiteY5846" fmla="*/ 431937 h 903637"/>
                  <a:gd name="connsiteX5847" fmla="*/ 1232947 w 1687454"/>
                  <a:gd name="connsiteY5847" fmla="*/ 431055 h 903637"/>
                  <a:gd name="connsiteX5848" fmla="*/ 1237355 w 1687454"/>
                  <a:gd name="connsiteY5848" fmla="*/ 432819 h 903637"/>
                  <a:gd name="connsiteX5849" fmla="*/ 1236473 w 1687454"/>
                  <a:gd name="connsiteY5849" fmla="*/ 433965 h 903637"/>
                  <a:gd name="connsiteX5850" fmla="*/ 1233211 w 1687454"/>
                  <a:gd name="connsiteY5850" fmla="*/ 433965 h 903637"/>
                  <a:gd name="connsiteX5851" fmla="*/ 1231712 w 1687454"/>
                  <a:gd name="connsiteY5851" fmla="*/ 436610 h 903637"/>
                  <a:gd name="connsiteX5852" fmla="*/ 1233211 w 1687454"/>
                  <a:gd name="connsiteY5852" fmla="*/ 437492 h 903637"/>
                  <a:gd name="connsiteX5853" fmla="*/ 1232065 w 1687454"/>
                  <a:gd name="connsiteY5853" fmla="*/ 438109 h 903637"/>
                  <a:gd name="connsiteX5854" fmla="*/ 1231536 w 1687454"/>
                  <a:gd name="connsiteY5854" fmla="*/ 439872 h 903637"/>
                  <a:gd name="connsiteX5855" fmla="*/ 1234445 w 1687454"/>
                  <a:gd name="connsiteY5855" fmla="*/ 441900 h 903637"/>
                  <a:gd name="connsiteX5856" fmla="*/ 1242028 w 1687454"/>
                  <a:gd name="connsiteY5856" fmla="*/ 444281 h 903637"/>
                  <a:gd name="connsiteX5857" fmla="*/ 1247230 w 1687454"/>
                  <a:gd name="connsiteY5857" fmla="*/ 446044 h 903637"/>
                  <a:gd name="connsiteX5858" fmla="*/ 1253049 w 1687454"/>
                  <a:gd name="connsiteY5858" fmla="*/ 444898 h 903637"/>
                  <a:gd name="connsiteX5859" fmla="*/ 1255694 w 1687454"/>
                  <a:gd name="connsiteY5859" fmla="*/ 444898 h 903637"/>
                  <a:gd name="connsiteX5860" fmla="*/ 1256311 w 1687454"/>
                  <a:gd name="connsiteY5860" fmla="*/ 445515 h 903637"/>
                  <a:gd name="connsiteX5861" fmla="*/ 1254812 w 1687454"/>
                  <a:gd name="connsiteY5861" fmla="*/ 449042 h 903637"/>
                  <a:gd name="connsiteX5862" fmla="*/ 1255959 w 1687454"/>
                  <a:gd name="connsiteY5862" fmla="*/ 450805 h 903637"/>
                  <a:gd name="connsiteX5863" fmla="*/ 1257987 w 1687454"/>
                  <a:gd name="connsiteY5863" fmla="*/ 450540 h 903637"/>
                  <a:gd name="connsiteX5864" fmla="*/ 1259750 w 1687454"/>
                  <a:gd name="connsiteY5864" fmla="*/ 449394 h 903637"/>
                  <a:gd name="connsiteX5865" fmla="*/ 1262395 w 1687454"/>
                  <a:gd name="connsiteY5865" fmla="*/ 448777 h 903637"/>
                  <a:gd name="connsiteX5866" fmla="*/ 1265922 w 1687454"/>
                  <a:gd name="connsiteY5866" fmla="*/ 445250 h 903637"/>
                  <a:gd name="connsiteX5867" fmla="*/ 1266803 w 1687454"/>
                  <a:gd name="connsiteY5867" fmla="*/ 446132 h 903637"/>
                  <a:gd name="connsiteX5868" fmla="*/ 1266803 w 1687454"/>
                  <a:gd name="connsiteY5868" fmla="*/ 450805 h 903637"/>
                  <a:gd name="connsiteX5869" fmla="*/ 1265922 w 1687454"/>
                  <a:gd name="connsiteY5869" fmla="*/ 451687 h 903637"/>
                  <a:gd name="connsiteX5870" fmla="*/ 1260102 w 1687454"/>
                  <a:gd name="connsiteY5870" fmla="*/ 453450 h 903637"/>
                  <a:gd name="connsiteX5871" fmla="*/ 1258604 w 1687454"/>
                  <a:gd name="connsiteY5871" fmla="*/ 456095 h 903637"/>
                  <a:gd name="connsiteX5872" fmla="*/ 1256223 w 1687454"/>
                  <a:gd name="connsiteY5872" fmla="*/ 457858 h 903637"/>
                  <a:gd name="connsiteX5873" fmla="*/ 1254460 w 1687454"/>
                  <a:gd name="connsiteY5873" fmla="*/ 461914 h 903637"/>
                  <a:gd name="connsiteX5874" fmla="*/ 1255959 w 1687454"/>
                  <a:gd name="connsiteY5874" fmla="*/ 464559 h 903637"/>
                  <a:gd name="connsiteX5875" fmla="*/ 1252785 w 1687454"/>
                  <a:gd name="connsiteY5875" fmla="*/ 467998 h 903637"/>
                  <a:gd name="connsiteX5876" fmla="*/ 1250139 w 1687454"/>
                  <a:gd name="connsiteY5876" fmla="*/ 468262 h 903637"/>
                  <a:gd name="connsiteX5877" fmla="*/ 1249875 w 1687454"/>
                  <a:gd name="connsiteY5877" fmla="*/ 471172 h 903637"/>
                  <a:gd name="connsiteX5878" fmla="*/ 1251638 w 1687454"/>
                  <a:gd name="connsiteY5878" fmla="*/ 473552 h 903637"/>
                  <a:gd name="connsiteX5879" fmla="*/ 1249875 w 1687454"/>
                  <a:gd name="connsiteY5879" fmla="*/ 477079 h 903637"/>
                  <a:gd name="connsiteX5880" fmla="*/ 1250757 w 1687454"/>
                  <a:gd name="connsiteY5880" fmla="*/ 477079 h 903637"/>
                  <a:gd name="connsiteX5881" fmla="*/ 1249610 w 1687454"/>
                  <a:gd name="connsiteY5881" fmla="*/ 478578 h 903637"/>
                  <a:gd name="connsiteX5882" fmla="*/ 1245290 w 1687454"/>
                  <a:gd name="connsiteY5882" fmla="*/ 481223 h 903637"/>
                  <a:gd name="connsiteX5883" fmla="*/ 1244673 w 1687454"/>
                  <a:gd name="connsiteY5883" fmla="*/ 483868 h 903637"/>
                  <a:gd name="connsiteX5884" fmla="*/ 1243527 w 1687454"/>
                  <a:gd name="connsiteY5884" fmla="*/ 485014 h 903637"/>
                  <a:gd name="connsiteX5885" fmla="*/ 1243262 w 1687454"/>
                  <a:gd name="connsiteY5885" fmla="*/ 485896 h 903637"/>
                  <a:gd name="connsiteX5886" fmla="*/ 1247318 w 1687454"/>
                  <a:gd name="connsiteY5886" fmla="*/ 485014 h 903637"/>
                  <a:gd name="connsiteX5887" fmla="*/ 1251109 w 1687454"/>
                  <a:gd name="connsiteY5887" fmla="*/ 485896 h 903637"/>
                  <a:gd name="connsiteX5888" fmla="*/ 1249610 w 1687454"/>
                  <a:gd name="connsiteY5888" fmla="*/ 487924 h 903637"/>
                  <a:gd name="connsiteX5889" fmla="*/ 1245819 w 1687454"/>
                  <a:gd name="connsiteY5889" fmla="*/ 487924 h 903637"/>
                  <a:gd name="connsiteX5890" fmla="*/ 1244673 w 1687454"/>
                  <a:gd name="connsiteY5890" fmla="*/ 489687 h 903637"/>
                  <a:gd name="connsiteX5891" fmla="*/ 1245555 w 1687454"/>
                  <a:gd name="connsiteY5891" fmla="*/ 489952 h 903637"/>
                  <a:gd name="connsiteX5892" fmla="*/ 1249081 w 1687454"/>
                  <a:gd name="connsiteY5892" fmla="*/ 489070 h 903637"/>
                  <a:gd name="connsiteX5893" fmla="*/ 1250228 w 1687454"/>
                  <a:gd name="connsiteY5893" fmla="*/ 489687 h 903637"/>
                  <a:gd name="connsiteX5894" fmla="*/ 1250228 w 1687454"/>
                  <a:gd name="connsiteY5894" fmla="*/ 491186 h 903637"/>
                  <a:gd name="connsiteX5895" fmla="*/ 1247318 w 1687454"/>
                  <a:gd name="connsiteY5895" fmla="*/ 493567 h 903637"/>
                  <a:gd name="connsiteX5896" fmla="*/ 1245907 w 1687454"/>
                  <a:gd name="connsiteY5896" fmla="*/ 493831 h 903637"/>
                  <a:gd name="connsiteX5897" fmla="*/ 1247935 w 1687454"/>
                  <a:gd name="connsiteY5897" fmla="*/ 491539 h 903637"/>
                  <a:gd name="connsiteX5898" fmla="*/ 1247053 w 1687454"/>
                  <a:gd name="connsiteY5898" fmla="*/ 491274 h 903637"/>
                  <a:gd name="connsiteX5899" fmla="*/ 1244409 w 1687454"/>
                  <a:gd name="connsiteY5899" fmla="*/ 492156 h 903637"/>
                  <a:gd name="connsiteX5900" fmla="*/ 1241764 w 1687454"/>
                  <a:gd name="connsiteY5900" fmla="*/ 495683 h 903637"/>
                  <a:gd name="connsiteX5901" fmla="*/ 1239471 w 1687454"/>
                  <a:gd name="connsiteY5901" fmla="*/ 497711 h 903637"/>
                  <a:gd name="connsiteX5902" fmla="*/ 1241764 w 1687454"/>
                  <a:gd name="connsiteY5902" fmla="*/ 497446 h 903637"/>
                  <a:gd name="connsiteX5903" fmla="*/ 1244673 w 1687454"/>
                  <a:gd name="connsiteY5903" fmla="*/ 495683 h 903637"/>
                  <a:gd name="connsiteX5904" fmla="*/ 1256311 w 1687454"/>
                  <a:gd name="connsiteY5904" fmla="*/ 495418 h 903637"/>
                  <a:gd name="connsiteX5905" fmla="*/ 1260367 w 1687454"/>
                  <a:gd name="connsiteY5905" fmla="*/ 497711 h 903637"/>
                  <a:gd name="connsiteX5906" fmla="*/ 1260102 w 1687454"/>
                  <a:gd name="connsiteY5906" fmla="*/ 503265 h 903637"/>
                  <a:gd name="connsiteX5907" fmla="*/ 1265922 w 1687454"/>
                  <a:gd name="connsiteY5907" fmla="*/ 504764 h 903637"/>
                  <a:gd name="connsiteX5908" fmla="*/ 1264775 w 1687454"/>
                  <a:gd name="connsiteY5908" fmla="*/ 507938 h 903637"/>
                  <a:gd name="connsiteX5909" fmla="*/ 1265657 w 1687454"/>
                  <a:gd name="connsiteY5909" fmla="*/ 507938 h 903637"/>
                  <a:gd name="connsiteX5910" fmla="*/ 1267949 w 1687454"/>
                  <a:gd name="connsiteY5910" fmla="*/ 505293 h 903637"/>
                  <a:gd name="connsiteX5911" fmla="*/ 1269096 w 1687454"/>
                  <a:gd name="connsiteY5911" fmla="*/ 506704 h 903637"/>
                  <a:gd name="connsiteX5912" fmla="*/ 1267332 w 1687454"/>
                  <a:gd name="connsiteY5912" fmla="*/ 508732 h 903637"/>
                  <a:gd name="connsiteX5913" fmla="*/ 1267949 w 1687454"/>
                  <a:gd name="connsiteY5913" fmla="*/ 509878 h 903637"/>
                  <a:gd name="connsiteX5914" fmla="*/ 1266186 w 1687454"/>
                  <a:gd name="connsiteY5914" fmla="*/ 512787 h 903637"/>
                  <a:gd name="connsiteX5915" fmla="*/ 1267597 w 1687454"/>
                  <a:gd name="connsiteY5915" fmla="*/ 512523 h 903637"/>
                  <a:gd name="connsiteX5916" fmla="*/ 1270242 w 1687454"/>
                  <a:gd name="connsiteY5916" fmla="*/ 509878 h 903637"/>
                  <a:gd name="connsiteX5917" fmla="*/ 1273152 w 1687454"/>
                  <a:gd name="connsiteY5917" fmla="*/ 509261 h 903637"/>
                  <a:gd name="connsiteX5918" fmla="*/ 1280469 w 1687454"/>
                  <a:gd name="connsiteY5918" fmla="*/ 506351 h 903637"/>
                  <a:gd name="connsiteX5919" fmla="*/ 1283644 w 1687454"/>
                  <a:gd name="connsiteY5919" fmla="*/ 504323 h 903637"/>
                  <a:gd name="connsiteX5920" fmla="*/ 1284525 w 1687454"/>
                  <a:gd name="connsiteY5920" fmla="*/ 504940 h 903637"/>
                  <a:gd name="connsiteX5921" fmla="*/ 1288316 w 1687454"/>
                  <a:gd name="connsiteY5921" fmla="*/ 504323 h 903637"/>
                  <a:gd name="connsiteX5922" fmla="*/ 1295546 w 1687454"/>
                  <a:gd name="connsiteY5922" fmla="*/ 497358 h 903637"/>
                  <a:gd name="connsiteX5923" fmla="*/ 1300219 w 1687454"/>
                  <a:gd name="connsiteY5923" fmla="*/ 499650 h 903637"/>
                  <a:gd name="connsiteX5924" fmla="*/ 1301365 w 1687454"/>
                  <a:gd name="connsiteY5924" fmla="*/ 498769 h 903637"/>
                  <a:gd name="connsiteX5925" fmla="*/ 1301365 w 1687454"/>
                  <a:gd name="connsiteY5925" fmla="*/ 497270 h 903637"/>
                  <a:gd name="connsiteX5926" fmla="*/ 1303129 w 1687454"/>
                  <a:gd name="connsiteY5926" fmla="*/ 496124 h 903637"/>
                  <a:gd name="connsiteX5927" fmla="*/ 1304627 w 1687454"/>
                  <a:gd name="connsiteY5927" fmla="*/ 496741 h 903637"/>
                  <a:gd name="connsiteX5928" fmla="*/ 1306126 w 1687454"/>
                  <a:gd name="connsiteY5928" fmla="*/ 496124 h 903637"/>
                  <a:gd name="connsiteX5929" fmla="*/ 1304627 w 1687454"/>
                  <a:gd name="connsiteY5929" fmla="*/ 494977 h 903637"/>
                  <a:gd name="connsiteX5930" fmla="*/ 1311593 w 1687454"/>
                  <a:gd name="connsiteY5930" fmla="*/ 491803 h 903637"/>
                  <a:gd name="connsiteX5931" fmla="*/ 1312475 w 1687454"/>
                  <a:gd name="connsiteY5931" fmla="*/ 492420 h 903637"/>
                  <a:gd name="connsiteX5932" fmla="*/ 1313356 w 1687454"/>
                  <a:gd name="connsiteY5932" fmla="*/ 491803 h 903637"/>
                  <a:gd name="connsiteX5933" fmla="*/ 1312210 w 1687454"/>
                  <a:gd name="connsiteY5933" fmla="*/ 488012 h 903637"/>
                  <a:gd name="connsiteX5934" fmla="*/ 1313356 w 1687454"/>
                  <a:gd name="connsiteY5934" fmla="*/ 487130 h 903637"/>
                  <a:gd name="connsiteX5935" fmla="*/ 1314855 w 1687454"/>
                  <a:gd name="connsiteY5935" fmla="*/ 487747 h 903637"/>
                  <a:gd name="connsiteX5936" fmla="*/ 1316354 w 1687454"/>
                  <a:gd name="connsiteY5936" fmla="*/ 486601 h 903637"/>
                  <a:gd name="connsiteX5937" fmla="*/ 1317236 w 1687454"/>
                  <a:gd name="connsiteY5937" fmla="*/ 484573 h 903637"/>
                  <a:gd name="connsiteX5938" fmla="*/ 1318734 w 1687454"/>
                  <a:gd name="connsiteY5938" fmla="*/ 484573 h 903637"/>
                  <a:gd name="connsiteX5939" fmla="*/ 1319881 w 1687454"/>
                  <a:gd name="connsiteY5939" fmla="*/ 483692 h 903637"/>
                  <a:gd name="connsiteX5940" fmla="*/ 1319881 w 1687454"/>
                  <a:gd name="connsiteY5940" fmla="*/ 482193 h 903637"/>
                  <a:gd name="connsiteX5941" fmla="*/ 1321644 w 1687454"/>
                  <a:gd name="connsiteY5941" fmla="*/ 482193 h 903637"/>
                  <a:gd name="connsiteX5942" fmla="*/ 1321997 w 1687454"/>
                  <a:gd name="connsiteY5942" fmla="*/ 481928 h 903637"/>
                  <a:gd name="connsiteX5943" fmla="*/ 1321644 w 1687454"/>
                  <a:gd name="connsiteY5943" fmla="*/ 476991 h 903637"/>
                  <a:gd name="connsiteX5944" fmla="*/ 1324289 w 1687454"/>
                  <a:gd name="connsiteY5944" fmla="*/ 474699 h 903637"/>
                  <a:gd name="connsiteX5945" fmla="*/ 1331254 w 1687454"/>
                  <a:gd name="connsiteY5945" fmla="*/ 471436 h 903637"/>
                  <a:gd name="connsiteX5946" fmla="*/ 1341129 w 1687454"/>
                  <a:gd name="connsiteY5946" fmla="*/ 461562 h 903637"/>
                  <a:gd name="connsiteX5947" fmla="*/ 1342275 w 1687454"/>
                  <a:gd name="connsiteY5947" fmla="*/ 461562 h 903637"/>
                  <a:gd name="connsiteX5948" fmla="*/ 1341394 w 1687454"/>
                  <a:gd name="connsiteY5948" fmla="*/ 459798 h 903637"/>
                  <a:gd name="connsiteX5949" fmla="*/ 1342275 w 1687454"/>
                  <a:gd name="connsiteY5949" fmla="*/ 458916 h 903637"/>
                  <a:gd name="connsiteX5950" fmla="*/ 1345802 w 1687454"/>
                  <a:gd name="connsiteY5950" fmla="*/ 458652 h 903637"/>
                  <a:gd name="connsiteX5951" fmla="*/ 1347213 w 1687454"/>
                  <a:gd name="connsiteY5951" fmla="*/ 460944 h 903637"/>
                  <a:gd name="connsiteX5952" fmla="*/ 1347830 w 1687454"/>
                  <a:gd name="connsiteY5952" fmla="*/ 461562 h 903637"/>
                  <a:gd name="connsiteX5953" fmla="*/ 1347213 w 1687454"/>
                  <a:gd name="connsiteY5953" fmla="*/ 462708 h 903637"/>
                  <a:gd name="connsiteX5954" fmla="*/ 1348095 w 1687454"/>
                  <a:gd name="connsiteY5954" fmla="*/ 463325 h 903637"/>
                  <a:gd name="connsiteX5955" fmla="*/ 1346948 w 1687454"/>
                  <a:gd name="connsiteY5955" fmla="*/ 463942 h 903637"/>
                  <a:gd name="connsiteX5956" fmla="*/ 1347213 w 1687454"/>
                  <a:gd name="connsiteY5956" fmla="*/ 465088 h 903637"/>
                  <a:gd name="connsiteX5957" fmla="*/ 1345185 w 1687454"/>
                  <a:gd name="connsiteY5957" fmla="*/ 467116 h 903637"/>
                  <a:gd name="connsiteX5958" fmla="*/ 1346067 w 1687454"/>
                  <a:gd name="connsiteY5958" fmla="*/ 467381 h 903637"/>
                  <a:gd name="connsiteX5959" fmla="*/ 1345802 w 1687454"/>
                  <a:gd name="connsiteY5959" fmla="*/ 468262 h 903637"/>
                  <a:gd name="connsiteX5960" fmla="*/ 1348712 w 1687454"/>
                  <a:gd name="connsiteY5960" fmla="*/ 468527 h 903637"/>
                  <a:gd name="connsiteX5961" fmla="*/ 1349329 w 1687454"/>
                  <a:gd name="connsiteY5961" fmla="*/ 469409 h 903637"/>
                  <a:gd name="connsiteX5962" fmla="*/ 1347918 w 1687454"/>
                  <a:gd name="connsiteY5962" fmla="*/ 470907 h 903637"/>
                  <a:gd name="connsiteX5963" fmla="*/ 1347918 w 1687454"/>
                  <a:gd name="connsiteY5963" fmla="*/ 472671 h 903637"/>
                  <a:gd name="connsiteX5964" fmla="*/ 1348800 w 1687454"/>
                  <a:gd name="connsiteY5964" fmla="*/ 473288 h 903637"/>
                  <a:gd name="connsiteX5965" fmla="*/ 1350299 w 1687454"/>
                  <a:gd name="connsiteY5965" fmla="*/ 474787 h 903637"/>
                  <a:gd name="connsiteX5966" fmla="*/ 1349417 w 1687454"/>
                  <a:gd name="connsiteY5966" fmla="*/ 476197 h 903637"/>
                  <a:gd name="connsiteX5967" fmla="*/ 1349417 w 1687454"/>
                  <a:gd name="connsiteY5967" fmla="*/ 477961 h 903637"/>
                  <a:gd name="connsiteX5968" fmla="*/ 1351180 w 1687454"/>
                  <a:gd name="connsiteY5968" fmla="*/ 480253 h 903637"/>
                  <a:gd name="connsiteX5969" fmla="*/ 1349153 w 1687454"/>
                  <a:gd name="connsiteY5969" fmla="*/ 483163 h 903637"/>
                  <a:gd name="connsiteX5970" fmla="*/ 1353561 w 1687454"/>
                  <a:gd name="connsiteY5970" fmla="*/ 484926 h 903637"/>
                  <a:gd name="connsiteX5971" fmla="*/ 1352944 w 1687454"/>
                  <a:gd name="connsiteY5971" fmla="*/ 486072 h 903637"/>
                  <a:gd name="connsiteX5972" fmla="*/ 1353826 w 1687454"/>
                  <a:gd name="connsiteY5972" fmla="*/ 486337 h 903637"/>
                  <a:gd name="connsiteX5973" fmla="*/ 1354707 w 1687454"/>
                  <a:gd name="connsiteY5973" fmla="*/ 488100 h 903637"/>
                  <a:gd name="connsiteX5974" fmla="*/ 1354090 w 1687454"/>
                  <a:gd name="connsiteY5974" fmla="*/ 488982 h 903637"/>
                  <a:gd name="connsiteX5975" fmla="*/ 1351798 w 1687454"/>
                  <a:gd name="connsiteY5975" fmla="*/ 490745 h 903637"/>
                  <a:gd name="connsiteX5976" fmla="*/ 1354972 w 1687454"/>
                  <a:gd name="connsiteY5976" fmla="*/ 491010 h 903637"/>
                  <a:gd name="connsiteX5977" fmla="*/ 1355853 w 1687454"/>
                  <a:gd name="connsiteY5977" fmla="*/ 492156 h 903637"/>
                  <a:gd name="connsiteX5978" fmla="*/ 1355236 w 1687454"/>
                  <a:gd name="connsiteY5978" fmla="*/ 493655 h 903637"/>
                  <a:gd name="connsiteX5979" fmla="*/ 1356382 w 1687454"/>
                  <a:gd name="connsiteY5979" fmla="*/ 495154 h 903637"/>
                  <a:gd name="connsiteX5980" fmla="*/ 1358675 w 1687454"/>
                  <a:gd name="connsiteY5980" fmla="*/ 496300 h 903637"/>
                  <a:gd name="connsiteX5981" fmla="*/ 1358057 w 1687454"/>
                  <a:gd name="connsiteY5981" fmla="*/ 498680 h 903637"/>
                  <a:gd name="connsiteX5982" fmla="*/ 1358675 w 1687454"/>
                  <a:gd name="connsiteY5982" fmla="*/ 499827 h 903637"/>
                  <a:gd name="connsiteX5983" fmla="*/ 1355765 w 1687454"/>
                  <a:gd name="connsiteY5983" fmla="*/ 502472 h 903637"/>
                  <a:gd name="connsiteX5984" fmla="*/ 1353120 w 1687454"/>
                  <a:gd name="connsiteY5984" fmla="*/ 503353 h 903637"/>
                  <a:gd name="connsiteX5985" fmla="*/ 1352239 w 1687454"/>
                  <a:gd name="connsiteY5985" fmla="*/ 504235 h 903637"/>
                  <a:gd name="connsiteX5986" fmla="*/ 1352503 w 1687454"/>
                  <a:gd name="connsiteY5986" fmla="*/ 505117 h 903637"/>
                  <a:gd name="connsiteX5987" fmla="*/ 1353649 w 1687454"/>
                  <a:gd name="connsiteY5987" fmla="*/ 505381 h 903637"/>
                  <a:gd name="connsiteX5988" fmla="*/ 1357176 w 1687454"/>
                  <a:gd name="connsiteY5988" fmla="*/ 504499 h 903637"/>
                  <a:gd name="connsiteX5989" fmla="*/ 1359556 w 1687454"/>
                  <a:gd name="connsiteY5989" fmla="*/ 504499 h 903637"/>
                  <a:gd name="connsiteX5990" fmla="*/ 1360703 w 1687454"/>
                  <a:gd name="connsiteY5990" fmla="*/ 505117 h 903637"/>
                  <a:gd name="connsiteX5991" fmla="*/ 1357176 w 1687454"/>
                  <a:gd name="connsiteY5991" fmla="*/ 509525 h 903637"/>
                  <a:gd name="connsiteX5992" fmla="*/ 1357793 w 1687454"/>
                  <a:gd name="connsiteY5992" fmla="*/ 510142 h 903637"/>
                  <a:gd name="connsiteX5993" fmla="*/ 1357528 w 1687454"/>
                  <a:gd name="connsiteY5993" fmla="*/ 511024 h 903637"/>
                  <a:gd name="connsiteX5994" fmla="*/ 1354355 w 1687454"/>
                  <a:gd name="connsiteY5994" fmla="*/ 512435 h 903637"/>
                  <a:gd name="connsiteX5995" fmla="*/ 1354619 w 1687454"/>
                  <a:gd name="connsiteY5995" fmla="*/ 512699 h 903637"/>
                  <a:gd name="connsiteX5996" fmla="*/ 1359292 w 1687454"/>
                  <a:gd name="connsiteY5996" fmla="*/ 512435 h 903637"/>
                  <a:gd name="connsiteX5997" fmla="*/ 1360174 w 1687454"/>
                  <a:gd name="connsiteY5997" fmla="*/ 513052 h 903637"/>
                  <a:gd name="connsiteX5998" fmla="*/ 1361055 w 1687454"/>
                  <a:gd name="connsiteY5998" fmla="*/ 514815 h 903637"/>
                  <a:gd name="connsiteX5999" fmla="*/ 1360174 w 1687454"/>
                  <a:gd name="connsiteY5999" fmla="*/ 516314 h 903637"/>
                  <a:gd name="connsiteX6000" fmla="*/ 1360438 w 1687454"/>
                  <a:gd name="connsiteY6000" fmla="*/ 517460 h 903637"/>
                  <a:gd name="connsiteX6001" fmla="*/ 1362201 w 1687454"/>
                  <a:gd name="connsiteY6001" fmla="*/ 517460 h 903637"/>
                  <a:gd name="connsiteX6002" fmla="*/ 1363965 w 1687454"/>
                  <a:gd name="connsiteY6002" fmla="*/ 516843 h 903637"/>
                  <a:gd name="connsiteX6003" fmla="*/ 1365111 w 1687454"/>
                  <a:gd name="connsiteY6003" fmla="*/ 517989 h 903637"/>
                  <a:gd name="connsiteX6004" fmla="*/ 1367756 w 1687454"/>
                  <a:gd name="connsiteY6004" fmla="*/ 518606 h 903637"/>
                  <a:gd name="connsiteX6005" fmla="*/ 1367756 w 1687454"/>
                  <a:gd name="connsiteY6005" fmla="*/ 519224 h 903637"/>
                  <a:gd name="connsiteX6006" fmla="*/ 1364582 w 1687454"/>
                  <a:gd name="connsiteY6006" fmla="*/ 522133 h 903637"/>
                  <a:gd name="connsiteX6007" fmla="*/ 1365464 w 1687454"/>
                  <a:gd name="connsiteY6007" fmla="*/ 523897 h 903637"/>
                  <a:gd name="connsiteX6008" fmla="*/ 1364847 w 1687454"/>
                  <a:gd name="connsiteY6008" fmla="*/ 524514 h 903637"/>
                  <a:gd name="connsiteX6009" fmla="*/ 1363083 w 1687454"/>
                  <a:gd name="connsiteY6009" fmla="*/ 525395 h 903637"/>
                  <a:gd name="connsiteX6010" fmla="*/ 1355765 w 1687454"/>
                  <a:gd name="connsiteY6010" fmla="*/ 527688 h 903637"/>
                  <a:gd name="connsiteX6011" fmla="*/ 1354619 w 1687454"/>
                  <a:gd name="connsiteY6011" fmla="*/ 528834 h 903637"/>
                  <a:gd name="connsiteX6012" fmla="*/ 1355236 w 1687454"/>
                  <a:gd name="connsiteY6012" fmla="*/ 529098 h 903637"/>
                  <a:gd name="connsiteX6013" fmla="*/ 1358498 w 1687454"/>
                  <a:gd name="connsiteY6013" fmla="*/ 528570 h 903637"/>
                  <a:gd name="connsiteX6014" fmla="*/ 1359997 w 1687454"/>
                  <a:gd name="connsiteY6014" fmla="*/ 528570 h 903637"/>
                  <a:gd name="connsiteX6015" fmla="*/ 1362025 w 1687454"/>
                  <a:gd name="connsiteY6015" fmla="*/ 529451 h 903637"/>
                  <a:gd name="connsiteX6016" fmla="*/ 1363171 w 1687454"/>
                  <a:gd name="connsiteY6016" fmla="*/ 530597 h 903637"/>
                  <a:gd name="connsiteX6017" fmla="*/ 1362907 w 1687454"/>
                  <a:gd name="connsiteY6017" fmla="*/ 531479 h 903637"/>
                  <a:gd name="connsiteX6018" fmla="*/ 1359997 w 1687454"/>
                  <a:gd name="connsiteY6018" fmla="*/ 533771 h 903637"/>
                  <a:gd name="connsiteX6019" fmla="*/ 1360879 w 1687454"/>
                  <a:gd name="connsiteY6019" fmla="*/ 534653 h 903637"/>
                  <a:gd name="connsiteX6020" fmla="*/ 1365552 w 1687454"/>
                  <a:gd name="connsiteY6020" fmla="*/ 535799 h 903637"/>
                  <a:gd name="connsiteX6021" fmla="*/ 1367315 w 1687454"/>
                  <a:gd name="connsiteY6021" fmla="*/ 535535 h 903637"/>
                  <a:gd name="connsiteX6022" fmla="*/ 1368814 w 1687454"/>
                  <a:gd name="connsiteY6022" fmla="*/ 536152 h 903637"/>
                  <a:gd name="connsiteX6023" fmla="*/ 1369431 w 1687454"/>
                  <a:gd name="connsiteY6023" fmla="*/ 537298 h 903637"/>
                  <a:gd name="connsiteX6024" fmla="*/ 1369167 w 1687454"/>
                  <a:gd name="connsiteY6024" fmla="*/ 538444 h 903637"/>
                  <a:gd name="connsiteX6025" fmla="*/ 1367404 w 1687454"/>
                  <a:gd name="connsiteY6025" fmla="*/ 540208 h 903637"/>
                  <a:gd name="connsiteX6026" fmla="*/ 1364494 w 1687454"/>
                  <a:gd name="connsiteY6026" fmla="*/ 540825 h 903637"/>
                  <a:gd name="connsiteX6027" fmla="*/ 1360438 w 1687454"/>
                  <a:gd name="connsiteY6027" fmla="*/ 543734 h 903637"/>
                  <a:gd name="connsiteX6028" fmla="*/ 1358675 w 1687454"/>
                  <a:gd name="connsiteY6028" fmla="*/ 547790 h 903637"/>
                  <a:gd name="connsiteX6029" fmla="*/ 1356647 w 1687454"/>
                  <a:gd name="connsiteY6029" fmla="*/ 548936 h 903637"/>
                  <a:gd name="connsiteX6030" fmla="*/ 1356911 w 1687454"/>
                  <a:gd name="connsiteY6030" fmla="*/ 549554 h 903637"/>
                  <a:gd name="connsiteX6031" fmla="*/ 1358057 w 1687454"/>
                  <a:gd name="connsiteY6031" fmla="*/ 549818 h 903637"/>
                  <a:gd name="connsiteX6032" fmla="*/ 1357440 w 1687454"/>
                  <a:gd name="connsiteY6032" fmla="*/ 550700 h 903637"/>
                  <a:gd name="connsiteX6033" fmla="*/ 1357440 w 1687454"/>
                  <a:gd name="connsiteY6033" fmla="*/ 550964 h 903637"/>
                  <a:gd name="connsiteX6034" fmla="*/ 1355677 w 1687454"/>
                  <a:gd name="connsiteY6034" fmla="*/ 551317 h 903637"/>
                  <a:gd name="connsiteX6035" fmla="*/ 1353649 w 1687454"/>
                  <a:gd name="connsiteY6035" fmla="*/ 552199 h 903637"/>
                  <a:gd name="connsiteX6036" fmla="*/ 1353914 w 1687454"/>
                  <a:gd name="connsiteY6036" fmla="*/ 552816 h 903637"/>
                  <a:gd name="connsiteX6037" fmla="*/ 1355324 w 1687454"/>
                  <a:gd name="connsiteY6037" fmla="*/ 555990 h 903637"/>
                  <a:gd name="connsiteX6038" fmla="*/ 1353914 w 1687454"/>
                  <a:gd name="connsiteY6038" fmla="*/ 556607 h 903637"/>
                  <a:gd name="connsiteX6039" fmla="*/ 1351004 w 1687454"/>
                  <a:gd name="connsiteY6039" fmla="*/ 555725 h 903637"/>
                  <a:gd name="connsiteX6040" fmla="*/ 1350387 w 1687454"/>
                  <a:gd name="connsiteY6040" fmla="*/ 555990 h 903637"/>
                  <a:gd name="connsiteX6041" fmla="*/ 1349241 w 1687454"/>
                  <a:gd name="connsiteY6041" fmla="*/ 557136 h 903637"/>
                  <a:gd name="connsiteX6042" fmla="*/ 1350387 w 1687454"/>
                  <a:gd name="connsiteY6042" fmla="*/ 557489 h 903637"/>
                  <a:gd name="connsiteX6043" fmla="*/ 1355589 w 1687454"/>
                  <a:gd name="connsiteY6043" fmla="*/ 558018 h 903637"/>
                  <a:gd name="connsiteX6044" fmla="*/ 1357352 w 1687454"/>
                  <a:gd name="connsiteY6044" fmla="*/ 557753 h 903637"/>
                  <a:gd name="connsiteX6045" fmla="*/ 1358498 w 1687454"/>
                  <a:gd name="connsiteY6045" fmla="*/ 558018 h 903637"/>
                  <a:gd name="connsiteX6046" fmla="*/ 1359997 w 1687454"/>
                  <a:gd name="connsiteY6046" fmla="*/ 557753 h 903637"/>
                  <a:gd name="connsiteX6047" fmla="*/ 1360262 w 1687454"/>
                  <a:gd name="connsiteY6047" fmla="*/ 558635 h 903637"/>
                  <a:gd name="connsiteX6048" fmla="*/ 1359116 w 1687454"/>
                  <a:gd name="connsiteY6048" fmla="*/ 559781 h 903637"/>
                  <a:gd name="connsiteX6049" fmla="*/ 1359733 w 1687454"/>
                  <a:gd name="connsiteY6049" fmla="*/ 560927 h 903637"/>
                  <a:gd name="connsiteX6050" fmla="*/ 1359468 w 1687454"/>
                  <a:gd name="connsiteY6050" fmla="*/ 561809 h 903637"/>
                  <a:gd name="connsiteX6051" fmla="*/ 1359733 w 1687454"/>
                  <a:gd name="connsiteY6051" fmla="*/ 562955 h 903637"/>
                  <a:gd name="connsiteX6052" fmla="*/ 1362113 w 1687454"/>
                  <a:gd name="connsiteY6052" fmla="*/ 563837 h 903637"/>
                  <a:gd name="connsiteX6053" fmla="*/ 1362642 w 1687454"/>
                  <a:gd name="connsiteY6053" fmla="*/ 564366 h 903637"/>
                  <a:gd name="connsiteX6054" fmla="*/ 1362378 w 1687454"/>
                  <a:gd name="connsiteY6054" fmla="*/ 565512 h 903637"/>
                  <a:gd name="connsiteX6055" fmla="*/ 1363260 w 1687454"/>
                  <a:gd name="connsiteY6055" fmla="*/ 566041 h 903637"/>
                  <a:gd name="connsiteX6056" fmla="*/ 1365023 w 1687454"/>
                  <a:gd name="connsiteY6056" fmla="*/ 566041 h 903637"/>
                  <a:gd name="connsiteX6057" fmla="*/ 1368549 w 1687454"/>
                  <a:gd name="connsiteY6057" fmla="*/ 566306 h 903637"/>
                  <a:gd name="connsiteX6058" fmla="*/ 1368285 w 1687454"/>
                  <a:gd name="connsiteY6058" fmla="*/ 567187 h 903637"/>
                  <a:gd name="connsiteX6059" fmla="*/ 1369431 w 1687454"/>
                  <a:gd name="connsiteY6059" fmla="*/ 567187 h 903637"/>
                  <a:gd name="connsiteX6060" fmla="*/ 1369431 w 1687454"/>
                  <a:gd name="connsiteY6060" fmla="*/ 566835 h 903637"/>
                  <a:gd name="connsiteX6061" fmla="*/ 1370048 w 1687454"/>
                  <a:gd name="connsiteY6061" fmla="*/ 566835 h 903637"/>
                  <a:gd name="connsiteX6062" fmla="*/ 1370313 w 1687454"/>
                  <a:gd name="connsiteY6062" fmla="*/ 568862 h 903637"/>
                  <a:gd name="connsiteX6063" fmla="*/ 1370842 w 1687454"/>
                  <a:gd name="connsiteY6063" fmla="*/ 568862 h 903637"/>
                  <a:gd name="connsiteX6064" fmla="*/ 1372870 w 1687454"/>
                  <a:gd name="connsiteY6064" fmla="*/ 567099 h 903637"/>
                  <a:gd name="connsiteX6065" fmla="*/ 1375162 w 1687454"/>
                  <a:gd name="connsiteY6065" fmla="*/ 567981 h 903637"/>
                  <a:gd name="connsiteX6066" fmla="*/ 1372517 w 1687454"/>
                  <a:gd name="connsiteY6066" fmla="*/ 571772 h 903637"/>
                  <a:gd name="connsiteX6067" fmla="*/ 1372782 w 1687454"/>
                  <a:gd name="connsiteY6067" fmla="*/ 572389 h 903637"/>
                  <a:gd name="connsiteX6068" fmla="*/ 1373663 w 1687454"/>
                  <a:gd name="connsiteY6068" fmla="*/ 574153 h 903637"/>
                  <a:gd name="connsiteX6069" fmla="*/ 1373399 w 1687454"/>
                  <a:gd name="connsiteY6069" fmla="*/ 575651 h 903637"/>
                  <a:gd name="connsiteX6070" fmla="*/ 1373134 w 1687454"/>
                  <a:gd name="connsiteY6070" fmla="*/ 576269 h 903637"/>
                  <a:gd name="connsiteX6071" fmla="*/ 1371635 w 1687454"/>
                  <a:gd name="connsiteY6071" fmla="*/ 576533 h 903637"/>
                  <a:gd name="connsiteX6072" fmla="*/ 1371018 w 1687454"/>
                  <a:gd name="connsiteY6072" fmla="*/ 577150 h 903637"/>
                  <a:gd name="connsiteX6073" fmla="*/ 1370401 w 1687454"/>
                  <a:gd name="connsiteY6073" fmla="*/ 578032 h 903637"/>
                  <a:gd name="connsiteX6074" fmla="*/ 1368902 w 1687454"/>
                  <a:gd name="connsiteY6074" fmla="*/ 579531 h 903637"/>
                  <a:gd name="connsiteX6075" fmla="*/ 1369784 w 1687454"/>
                  <a:gd name="connsiteY6075" fmla="*/ 580148 h 903637"/>
                  <a:gd name="connsiteX6076" fmla="*/ 1369167 w 1687454"/>
                  <a:gd name="connsiteY6076" fmla="*/ 581294 h 903637"/>
                  <a:gd name="connsiteX6077" fmla="*/ 1369431 w 1687454"/>
                  <a:gd name="connsiteY6077" fmla="*/ 581559 h 903637"/>
                  <a:gd name="connsiteX6078" fmla="*/ 1372605 w 1687454"/>
                  <a:gd name="connsiteY6078" fmla="*/ 579795 h 903637"/>
                  <a:gd name="connsiteX6079" fmla="*/ 1375515 w 1687454"/>
                  <a:gd name="connsiteY6079" fmla="*/ 580677 h 903637"/>
                  <a:gd name="connsiteX6080" fmla="*/ 1376661 w 1687454"/>
                  <a:gd name="connsiteY6080" fmla="*/ 580677 h 903637"/>
                  <a:gd name="connsiteX6081" fmla="*/ 1381070 w 1687454"/>
                  <a:gd name="connsiteY6081" fmla="*/ 578649 h 903637"/>
                  <a:gd name="connsiteX6082" fmla="*/ 1381687 w 1687454"/>
                  <a:gd name="connsiteY6082" fmla="*/ 578914 h 903637"/>
                  <a:gd name="connsiteX6083" fmla="*/ 1381687 w 1687454"/>
                  <a:gd name="connsiteY6083" fmla="*/ 579795 h 903637"/>
                  <a:gd name="connsiteX6084" fmla="*/ 1381422 w 1687454"/>
                  <a:gd name="connsiteY6084" fmla="*/ 580677 h 903637"/>
                  <a:gd name="connsiteX6085" fmla="*/ 1377631 w 1687454"/>
                  <a:gd name="connsiteY6085" fmla="*/ 582705 h 903637"/>
                  <a:gd name="connsiteX6086" fmla="*/ 1378248 w 1687454"/>
                  <a:gd name="connsiteY6086" fmla="*/ 583322 h 903637"/>
                  <a:gd name="connsiteX6087" fmla="*/ 1379130 w 1687454"/>
                  <a:gd name="connsiteY6087" fmla="*/ 582969 h 903637"/>
                  <a:gd name="connsiteX6088" fmla="*/ 1380629 w 1687454"/>
                  <a:gd name="connsiteY6088" fmla="*/ 582352 h 903637"/>
                  <a:gd name="connsiteX6089" fmla="*/ 1381246 w 1687454"/>
                  <a:gd name="connsiteY6089" fmla="*/ 582617 h 903637"/>
                  <a:gd name="connsiteX6090" fmla="*/ 1384772 w 1687454"/>
                  <a:gd name="connsiteY6090" fmla="*/ 581118 h 903637"/>
                  <a:gd name="connsiteX6091" fmla="*/ 1386536 w 1687454"/>
                  <a:gd name="connsiteY6091" fmla="*/ 582000 h 903637"/>
                  <a:gd name="connsiteX6092" fmla="*/ 1385919 w 1687454"/>
                  <a:gd name="connsiteY6092" fmla="*/ 583146 h 903637"/>
                  <a:gd name="connsiteX6093" fmla="*/ 1384155 w 1687454"/>
                  <a:gd name="connsiteY6093" fmla="*/ 583675 h 903637"/>
                  <a:gd name="connsiteX6094" fmla="*/ 1384420 w 1687454"/>
                  <a:gd name="connsiteY6094" fmla="*/ 584292 h 903637"/>
                  <a:gd name="connsiteX6095" fmla="*/ 1385566 w 1687454"/>
                  <a:gd name="connsiteY6095" fmla="*/ 584292 h 903637"/>
                  <a:gd name="connsiteX6096" fmla="*/ 1387947 w 1687454"/>
                  <a:gd name="connsiteY6096" fmla="*/ 582793 h 903637"/>
                  <a:gd name="connsiteX6097" fmla="*/ 1389093 w 1687454"/>
                  <a:gd name="connsiteY6097" fmla="*/ 581647 h 903637"/>
                  <a:gd name="connsiteX6098" fmla="*/ 1389710 w 1687454"/>
                  <a:gd name="connsiteY6098" fmla="*/ 580765 h 903637"/>
                  <a:gd name="connsiteX6099" fmla="*/ 1391738 w 1687454"/>
                  <a:gd name="connsiteY6099" fmla="*/ 580148 h 903637"/>
                  <a:gd name="connsiteX6100" fmla="*/ 1392002 w 1687454"/>
                  <a:gd name="connsiteY6100" fmla="*/ 580765 h 903637"/>
                  <a:gd name="connsiteX6101" fmla="*/ 1391121 w 1687454"/>
                  <a:gd name="connsiteY6101" fmla="*/ 582529 h 903637"/>
                  <a:gd name="connsiteX6102" fmla="*/ 1389975 w 1687454"/>
                  <a:gd name="connsiteY6102" fmla="*/ 582793 h 903637"/>
                  <a:gd name="connsiteX6103" fmla="*/ 1389975 w 1687454"/>
                  <a:gd name="connsiteY6103" fmla="*/ 583410 h 903637"/>
                  <a:gd name="connsiteX6104" fmla="*/ 1390856 w 1687454"/>
                  <a:gd name="connsiteY6104" fmla="*/ 583410 h 903637"/>
                  <a:gd name="connsiteX6105" fmla="*/ 1393149 w 1687454"/>
                  <a:gd name="connsiteY6105" fmla="*/ 582264 h 903637"/>
                  <a:gd name="connsiteX6106" fmla="*/ 1394030 w 1687454"/>
                  <a:gd name="connsiteY6106" fmla="*/ 582881 h 903637"/>
                  <a:gd name="connsiteX6107" fmla="*/ 1393413 w 1687454"/>
                  <a:gd name="connsiteY6107" fmla="*/ 584645 h 903637"/>
                  <a:gd name="connsiteX6108" fmla="*/ 1393678 w 1687454"/>
                  <a:gd name="connsiteY6108" fmla="*/ 587290 h 903637"/>
                  <a:gd name="connsiteX6109" fmla="*/ 1394295 w 1687454"/>
                  <a:gd name="connsiteY6109" fmla="*/ 589318 h 903637"/>
                  <a:gd name="connsiteX6110" fmla="*/ 1401260 w 1687454"/>
                  <a:gd name="connsiteY6110" fmla="*/ 591345 h 903637"/>
                  <a:gd name="connsiteX6111" fmla="*/ 1403641 w 1687454"/>
                  <a:gd name="connsiteY6111" fmla="*/ 590728 h 903637"/>
                  <a:gd name="connsiteX6112" fmla="*/ 1405669 w 1687454"/>
                  <a:gd name="connsiteY6112" fmla="*/ 589847 h 903637"/>
                  <a:gd name="connsiteX6113" fmla="*/ 1407079 w 1687454"/>
                  <a:gd name="connsiteY6113" fmla="*/ 588965 h 903637"/>
                  <a:gd name="connsiteX6114" fmla="*/ 1410253 w 1687454"/>
                  <a:gd name="connsiteY6114" fmla="*/ 588083 h 903637"/>
                  <a:gd name="connsiteX6115" fmla="*/ 1412017 w 1687454"/>
                  <a:gd name="connsiteY6115" fmla="*/ 587819 h 903637"/>
                  <a:gd name="connsiteX6116" fmla="*/ 1412634 w 1687454"/>
                  <a:gd name="connsiteY6116" fmla="*/ 588700 h 903637"/>
                  <a:gd name="connsiteX6117" fmla="*/ 1412634 w 1687454"/>
                  <a:gd name="connsiteY6117" fmla="*/ 589318 h 903637"/>
                  <a:gd name="connsiteX6118" fmla="*/ 1412634 w 1687454"/>
                  <a:gd name="connsiteY6118" fmla="*/ 590816 h 903637"/>
                  <a:gd name="connsiteX6119" fmla="*/ 1410606 w 1687454"/>
                  <a:gd name="connsiteY6119" fmla="*/ 591698 h 903637"/>
                  <a:gd name="connsiteX6120" fmla="*/ 1413251 w 1687454"/>
                  <a:gd name="connsiteY6120" fmla="*/ 593726 h 903637"/>
                  <a:gd name="connsiteX6121" fmla="*/ 1418806 w 1687454"/>
                  <a:gd name="connsiteY6121" fmla="*/ 594343 h 903637"/>
                  <a:gd name="connsiteX6122" fmla="*/ 1418541 w 1687454"/>
                  <a:gd name="connsiteY6122" fmla="*/ 595489 h 903637"/>
                  <a:gd name="connsiteX6123" fmla="*/ 1420834 w 1687454"/>
                  <a:gd name="connsiteY6123" fmla="*/ 596018 h 903637"/>
                  <a:gd name="connsiteX6124" fmla="*/ 1420834 w 1687454"/>
                  <a:gd name="connsiteY6124" fmla="*/ 596636 h 903637"/>
                  <a:gd name="connsiteX6125" fmla="*/ 1420569 w 1687454"/>
                  <a:gd name="connsiteY6125" fmla="*/ 597253 h 903637"/>
                  <a:gd name="connsiteX6126" fmla="*/ 1418541 w 1687454"/>
                  <a:gd name="connsiteY6126" fmla="*/ 598399 h 903637"/>
                  <a:gd name="connsiteX6127" fmla="*/ 1416161 w 1687454"/>
                  <a:gd name="connsiteY6127" fmla="*/ 598399 h 903637"/>
                  <a:gd name="connsiteX6128" fmla="*/ 1415631 w 1687454"/>
                  <a:gd name="connsiteY6128" fmla="*/ 598399 h 903637"/>
                  <a:gd name="connsiteX6129" fmla="*/ 1414485 w 1687454"/>
                  <a:gd name="connsiteY6129" fmla="*/ 599281 h 903637"/>
                  <a:gd name="connsiteX6130" fmla="*/ 1412722 w 1687454"/>
                  <a:gd name="connsiteY6130" fmla="*/ 600427 h 903637"/>
                  <a:gd name="connsiteX6131" fmla="*/ 1411223 w 1687454"/>
                  <a:gd name="connsiteY6131" fmla="*/ 600691 h 903637"/>
                  <a:gd name="connsiteX6132" fmla="*/ 1407432 w 1687454"/>
                  <a:gd name="connsiteY6132" fmla="*/ 600427 h 903637"/>
                  <a:gd name="connsiteX6133" fmla="*/ 1403641 w 1687454"/>
                  <a:gd name="connsiteY6133" fmla="*/ 601044 h 903637"/>
                  <a:gd name="connsiteX6134" fmla="*/ 1396940 w 1687454"/>
                  <a:gd name="connsiteY6134" fmla="*/ 603953 h 903637"/>
                  <a:gd name="connsiteX6135" fmla="*/ 1392531 w 1687454"/>
                  <a:gd name="connsiteY6135" fmla="*/ 607745 h 903637"/>
                  <a:gd name="connsiteX6136" fmla="*/ 1391033 w 1687454"/>
                  <a:gd name="connsiteY6136" fmla="*/ 608626 h 903637"/>
                  <a:gd name="connsiteX6137" fmla="*/ 1386095 w 1687454"/>
                  <a:gd name="connsiteY6137" fmla="*/ 608626 h 903637"/>
                  <a:gd name="connsiteX6138" fmla="*/ 1385213 w 1687454"/>
                  <a:gd name="connsiteY6138" fmla="*/ 608979 h 903637"/>
                  <a:gd name="connsiteX6139" fmla="*/ 1382921 w 1687454"/>
                  <a:gd name="connsiteY6139" fmla="*/ 610742 h 903637"/>
                  <a:gd name="connsiteX6140" fmla="*/ 1378865 w 1687454"/>
                  <a:gd name="connsiteY6140" fmla="*/ 611007 h 903637"/>
                  <a:gd name="connsiteX6141" fmla="*/ 1371900 w 1687454"/>
                  <a:gd name="connsiteY6141" fmla="*/ 614181 h 903637"/>
                  <a:gd name="connsiteX6142" fmla="*/ 1367227 w 1687454"/>
                  <a:gd name="connsiteY6142" fmla="*/ 613916 h 903637"/>
                  <a:gd name="connsiteX6143" fmla="*/ 1365464 w 1687454"/>
                  <a:gd name="connsiteY6143" fmla="*/ 614181 h 903637"/>
                  <a:gd name="connsiteX6144" fmla="*/ 1361937 w 1687454"/>
                  <a:gd name="connsiteY6144" fmla="*/ 615944 h 903637"/>
                  <a:gd name="connsiteX6145" fmla="*/ 1359909 w 1687454"/>
                  <a:gd name="connsiteY6145" fmla="*/ 618589 h 903637"/>
                  <a:gd name="connsiteX6146" fmla="*/ 1358763 w 1687454"/>
                  <a:gd name="connsiteY6146" fmla="*/ 618589 h 903637"/>
                  <a:gd name="connsiteX6147" fmla="*/ 1359027 w 1687454"/>
                  <a:gd name="connsiteY6147" fmla="*/ 620353 h 903637"/>
                  <a:gd name="connsiteX6148" fmla="*/ 1358410 w 1687454"/>
                  <a:gd name="connsiteY6148" fmla="*/ 621234 h 903637"/>
                  <a:gd name="connsiteX6149" fmla="*/ 1359556 w 1687454"/>
                  <a:gd name="connsiteY6149" fmla="*/ 622116 h 903637"/>
                  <a:gd name="connsiteX6150" fmla="*/ 1358675 w 1687454"/>
                  <a:gd name="connsiteY6150" fmla="*/ 622998 h 903637"/>
                  <a:gd name="connsiteX6151" fmla="*/ 1357793 w 1687454"/>
                  <a:gd name="connsiteY6151" fmla="*/ 622733 h 903637"/>
                  <a:gd name="connsiteX6152" fmla="*/ 1356911 w 1687454"/>
                  <a:gd name="connsiteY6152" fmla="*/ 622998 h 903637"/>
                  <a:gd name="connsiteX6153" fmla="*/ 1354884 w 1687454"/>
                  <a:gd name="connsiteY6153" fmla="*/ 623880 h 903637"/>
                  <a:gd name="connsiteX6154" fmla="*/ 1352591 w 1687454"/>
                  <a:gd name="connsiteY6154" fmla="*/ 624497 h 903637"/>
                  <a:gd name="connsiteX6155" fmla="*/ 1352327 w 1687454"/>
                  <a:gd name="connsiteY6155" fmla="*/ 625026 h 903637"/>
                  <a:gd name="connsiteX6156" fmla="*/ 1352327 w 1687454"/>
                  <a:gd name="connsiteY6156" fmla="*/ 625290 h 903637"/>
                  <a:gd name="connsiteX6157" fmla="*/ 1354355 w 1687454"/>
                  <a:gd name="connsiteY6157" fmla="*/ 625026 h 903637"/>
                  <a:gd name="connsiteX6158" fmla="*/ 1355501 w 1687454"/>
                  <a:gd name="connsiteY6158" fmla="*/ 625643 h 903637"/>
                  <a:gd name="connsiteX6159" fmla="*/ 1356647 w 1687454"/>
                  <a:gd name="connsiteY6159" fmla="*/ 625643 h 903637"/>
                  <a:gd name="connsiteX6160" fmla="*/ 1358675 w 1687454"/>
                  <a:gd name="connsiteY6160" fmla="*/ 625026 h 903637"/>
                  <a:gd name="connsiteX6161" fmla="*/ 1360174 w 1687454"/>
                  <a:gd name="connsiteY6161" fmla="*/ 623880 h 903637"/>
                  <a:gd name="connsiteX6162" fmla="*/ 1364847 w 1687454"/>
                  <a:gd name="connsiteY6162" fmla="*/ 620705 h 903637"/>
                  <a:gd name="connsiteX6163" fmla="*/ 1368373 w 1687454"/>
                  <a:gd name="connsiteY6163" fmla="*/ 620705 h 903637"/>
                  <a:gd name="connsiteX6164" fmla="*/ 1369519 w 1687454"/>
                  <a:gd name="connsiteY6164" fmla="*/ 620441 h 903637"/>
                  <a:gd name="connsiteX6165" fmla="*/ 1374810 w 1687454"/>
                  <a:gd name="connsiteY6165" fmla="*/ 617267 h 903637"/>
                  <a:gd name="connsiteX6166" fmla="*/ 1377719 w 1687454"/>
                  <a:gd name="connsiteY6166" fmla="*/ 617267 h 903637"/>
                  <a:gd name="connsiteX6167" fmla="*/ 1378865 w 1687454"/>
                  <a:gd name="connsiteY6167" fmla="*/ 617002 h 903637"/>
                  <a:gd name="connsiteX6168" fmla="*/ 1380629 w 1687454"/>
                  <a:gd name="connsiteY6168" fmla="*/ 616121 h 903637"/>
                  <a:gd name="connsiteX6169" fmla="*/ 1380893 w 1687454"/>
                  <a:gd name="connsiteY6169" fmla="*/ 614975 h 903637"/>
                  <a:gd name="connsiteX6170" fmla="*/ 1384949 w 1687454"/>
                  <a:gd name="connsiteY6170" fmla="*/ 611448 h 903637"/>
                  <a:gd name="connsiteX6171" fmla="*/ 1391385 w 1687454"/>
                  <a:gd name="connsiteY6171" fmla="*/ 609684 h 903637"/>
                  <a:gd name="connsiteX6172" fmla="*/ 1398086 w 1687454"/>
                  <a:gd name="connsiteY6172" fmla="*/ 608538 h 903637"/>
                  <a:gd name="connsiteX6173" fmla="*/ 1400378 w 1687454"/>
                  <a:gd name="connsiteY6173" fmla="*/ 607392 h 903637"/>
                  <a:gd name="connsiteX6174" fmla="*/ 1405933 w 1687454"/>
                  <a:gd name="connsiteY6174" fmla="*/ 608274 h 903637"/>
                  <a:gd name="connsiteX6175" fmla="*/ 1406198 w 1687454"/>
                  <a:gd name="connsiteY6175" fmla="*/ 608009 h 903637"/>
                  <a:gd name="connsiteX6176" fmla="*/ 1406462 w 1687454"/>
                  <a:gd name="connsiteY6176" fmla="*/ 607392 h 903637"/>
                  <a:gd name="connsiteX6177" fmla="*/ 1402054 w 1687454"/>
                  <a:gd name="connsiteY6177" fmla="*/ 606863 h 903637"/>
                  <a:gd name="connsiteX6178" fmla="*/ 1397116 w 1687454"/>
                  <a:gd name="connsiteY6178" fmla="*/ 607392 h 903637"/>
                  <a:gd name="connsiteX6179" fmla="*/ 1395617 w 1687454"/>
                  <a:gd name="connsiteY6179" fmla="*/ 606863 h 903637"/>
                  <a:gd name="connsiteX6180" fmla="*/ 1397645 w 1687454"/>
                  <a:gd name="connsiteY6180" fmla="*/ 605100 h 903637"/>
                  <a:gd name="connsiteX6181" fmla="*/ 1400026 w 1687454"/>
                  <a:gd name="connsiteY6181" fmla="*/ 604482 h 903637"/>
                  <a:gd name="connsiteX6182" fmla="*/ 1401789 w 1687454"/>
                  <a:gd name="connsiteY6182" fmla="*/ 604218 h 903637"/>
                  <a:gd name="connsiteX6183" fmla="*/ 1414309 w 1687454"/>
                  <a:gd name="connsiteY6183" fmla="*/ 605364 h 903637"/>
                  <a:gd name="connsiteX6184" fmla="*/ 1414573 w 1687454"/>
                  <a:gd name="connsiteY6184" fmla="*/ 605981 h 903637"/>
                  <a:gd name="connsiteX6185" fmla="*/ 1416337 w 1687454"/>
                  <a:gd name="connsiteY6185" fmla="*/ 615063 h 903637"/>
                  <a:gd name="connsiteX6186" fmla="*/ 1415191 w 1687454"/>
                  <a:gd name="connsiteY6186" fmla="*/ 616209 h 903637"/>
                  <a:gd name="connsiteX6187" fmla="*/ 1413427 w 1687454"/>
                  <a:gd name="connsiteY6187" fmla="*/ 616826 h 903637"/>
                  <a:gd name="connsiteX6188" fmla="*/ 1411664 w 1687454"/>
                  <a:gd name="connsiteY6188" fmla="*/ 617091 h 903637"/>
                  <a:gd name="connsiteX6189" fmla="*/ 1408754 w 1687454"/>
                  <a:gd name="connsiteY6189" fmla="*/ 618237 h 903637"/>
                  <a:gd name="connsiteX6190" fmla="*/ 1407873 w 1687454"/>
                  <a:gd name="connsiteY6190" fmla="*/ 618854 h 903637"/>
                  <a:gd name="connsiteX6191" fmla="*/ 1408490 w 1687454"/>
                  <a:gd name="connsiteY6191" fmla="*/ 619736 h 903637"/>
                  <a:gd name="connsiteX6192" fmla="*/ 1409636 w 1687454"/>
                  <a:gd name="connsiteY6192" fmla="*/ 619471 h 903637"/>
                  <a:gd name="connsiteX6193" fmla="*/ 1410518 w 1687454"/>
                  <a:gd name="connsiteY6193" fmla="*/ 619471 h 903637"/>
                  <a:gd name="connsiteX6194" fmla="*/ 1410518 w 1687454"/>
                  <a:gd name="connsiteY6194" fmla="*/ 621763 h 903637"/>
                  <a:gd name="connsiteX6195" fmla="*/ 1409019 w 1687454"/>
                  <a:gd name="connsiteY6195" fmla="*/ 624144 h 903637"/>
                  <a:gd name="connsiteX6196" fmla="*/ 1409019 w 1687454"/>
                  <a:gd name="connsiteY6196" fmla="*/ 624408 h 903637"/>
                  <a:gd name="connsiteX6197" fmla="*/ 1410165 w 1687454"/>
                  <a:gd name="connsiteY6197" fmla="*/ 623791 h 903637"/>
                  <a:gd name="connsiteX6198" fmla="*/ 1413075 w 1687454"/>
                  <a:gd name="connsiteY6198" fmla="*/ 620617 h 903637"/>
                  <a:gd name="connsiteX6199" fmla="*/ 1415102 w 1687454"/>
                  <a:gd name="connsiteY6199" fmla="*/ 618589 h 903637"/>
                  <a:gd name="connsiteX6200" fmla="*/ 1419158 w 1687454"/>
                  <a:gd name="connsiteY6200" fmla="*/ 616209 h 903637"/>
                  <a:gd name="connsiteX6201" fmla="*/ 1420922 w 1687454"/>
                  <a:gd name="connsiteY6201" fmla="*/ 616473 h 903637"/>
                  <a:gd name="connsiteX6202" fmla="*/ 1422068 w 1687454"/>
                  <a:gd name="connsiteY6202" fmla="*/ 616209 h 903637"/>
                  <a:gd name="connsiteX6203" fmla="*/ 1424977 w 1687454"/>
                  <a:gd name="connsiteY6203" fmla="*/ 615944 h 903637"/>
                  <a:gd name="connsiteX6204" fmla="*/ 1428240 w 1687454"/>
                  <a:gd name="connsiteY6204" fmla="*/ 615063 h 903637"/>
                  <a:gd name="connsiteX6205" fmla="*/ 1428240 w 1687454"/>
                  <a:gd name="connsiteY6205" fmla="*/ 615680 h 903637"/>
                  <a:gd name="connsiteX6206" fmla="*/ 1427975 w 1687454"/>
                  <a:gd name="connsiteY6206" fmla="*/ 616297 h 903637"/>
                  <a:gd name="connsiteX6207" fmla="*/ 1425065 w 1687454"/>
                  <a:gd name="connsiteY6207" fmla="*/ 617443 h 903637"/>
                  <a:gd name="connsiteX6208" fmla="*/ 1425065 w 1687454"/>
                  <a:gd name="connsiteY6208" fmla="*/ 617708 h 903637"/>
                  <a:gd name="connsiteX6209" fmla="*/ 1425947 w 1687454"/>
                  <a:gd name="connsiteY6209" fmla="*/ 618325 h 903637"/>
                  <a:gd name="connsiteX6210" fmla="*/ 1430356 w 1687454"/>
                  <a:gd name="connsiteY6210" fmla="*/ 618942 h 903637"/>
                  <a:gd name="connsiteX6211" fmla="*/ 1431237 w 1687454"/>
                  <a:gd name="connsiteY6211" fmla="*/ 619559 h 903637"/>
                  <a:gd name="connsiteX6212" fmla="*/ 1435646 w 1687454"/>
                  <a:gd name="connsiteY6212" fmla="*/ 620441 h 903637"/>
                  <a:gd name="connsiteX6213" fmla="*/ 1435646 w 1687454"/>
                  <a:gd name="connsiteY6213" fmla="*/ 620970 h 903637"/>
                  <a:gd name="connsiteX6214" fmla="*/ 1435029 w 1687454"/>
                  <a:gd name="connsiteY6214" fmla="*/ 621587 h 903637"/>
                  <a:gd name="connsiteX6215" fmla="*/ 1432119 w 1687454"/>
                  <a:gd name="connsiteY6215" fmla="*/ 620705 h 903637"/>
                  <a:gd name="connsiteX6216" fmla="*/ 1430973 w 1687454"/>
                  <a:gd name="connsiteY6216" fmla="*/ 620705 h 903637"/>
                  <a:gd name="connsiteX6217" fmla="*/ 1430708 w 1687454"/>
                  <a:gd name="connsiteY6217" fmla="*/ 620970 h 903637"/>
                  <a:gd name="connsiteX6218" fmla="*/ 1436263 w 1687454"/>
                  <a:gd name="connsiteY6218" fmla="*/ 625378 h 903637"/>
                  <a:gd name="connsiteX6219" fmla="*/ 1436263 w 1687454"/>
                  <a:gd name="connsiteY6219" fmla="*/ 627759 h 903637"/>
                  <a:gd name="connsiteX6220" fmla="*/ 1436880 w 1687454"/>
                  <a:gd name="connsiteY6220" fmla="*/ 628641 h 903637"/>
                  <a:gd name="connsiteX6221" fmla="*/ 1435999 w 1687454"/>
                  <a:gd name="connsiteY6221" fmla="*/ 629522 h 903637"/>
                  <a:gd name="connsiteX6222" fmla="*/ 1435999 w 1687454"/>
                  <a:gd name="connsiteY6222" fmla="*/ 630404 h 903637"/>
                  <a:gd name="connsiteX6223" fmla="*/ 1435469 w 1687454"/>
                  <a:gd name="connsiteY6223" fmla="*/ 631286 h 903637"/>
                  <a:gd name="connsiteX6224" fmla="*/ 1434323 w 1687454"/>
                  <a:gd name="connsiteY6224" fmla="*/ 631550 h 903637"/>
                  <a:gd name="connsiteX6225" fmla="*/ 1432560 w 1687454"/>
                  <a:gd name="connsiteY6225" fmla="*/ 633049 h 903637"/>
                  <a:gd name="connsiteX6226" fmla="*/ 1431061 w 1687454"/>
                  <a:gd name="connsiteY6226" fmla="*/ 633666 h 903637"/>
                  <a:gd name="connsiteX6227" fmla="*/ 1431326 w 1687454"/>
                  <a:gd name="connsiteY6227" fmla="*/ 633931 h 903637"/>
                  <a:gd name="connsiteX6228" fmla="*/ 1432207 w 1687454"/>
                  <a:gd name="connsiteY6228" fmla="*/ 634548 h 903637"/>
                  <a:gd name="connsiteX6229" fmla="*/ 1433353 w 1687454"/>
                  <a:gd name="connsiteY6229" fmla="*/ 637193 h 903637"/>
                  <a:gd name="connsiteX6230" fmla="*/ 1432736 w 1687454"/>
                  <a:gd name="connsiteY6230" fmla="*/ 637810 h 903637"/>
                  <a:gd name="connsiteX6231" fmla="*/ 1427799 w 1687454"/>
                  <a:gd name="connsiteY6231" fmla="*/ 639573 h 903637"/>
                  <a:gd name="connsiteX6232" fmla="*/ 1427799 w 1687454"/>
                  <a:gd name="connsiteY6232" fmla="*/ 640191 h 903637"/>
                  <a:gd name="connsiteX6233" fmla="*/ 1428063 w 1687454"/>
                  <a:gd name="connsiteY6233" fmla="*/ 641072 h 903637"/>
                  <a:gd name="connsiteX6234" fmla="*/ 1428945 w 1687454"/>
                  <a:gd name="connsiteY6234" fmla="*/ 642219 h 903637"/>
                  <a:gd name="connsiteX6235" fmla="*/ 1431855 w 1687454"/>
                  <a:gd name="connsiteY6235" fmla="*/ 641601 h 903637"/>
                  <a:gd name="connsiteX6236" fmla="*/ 1432119 w 1687454"/>
                  <a:gd name="connsiteY6236" fmla="*/ 642219 h 903637"/>
                  <a:gd name="connsiteX6237" fmla="*/ 1432119 w 1687454"/>
                  <a:gd name="connsiteY6237" fmla="*/ 643100 h 903637"/>
                  <a:gd name="connsiteX6238" fmla="*/ 1431855 w 1687454"/>
                  <a:gd name="connsiteY6238" fmla="*/ 643717 h 903637"/>
                  <a:gd name="connsiteX6239" fmla="*/ 1427799 w 1687454"/>
                  <a:gd name="connsiteY6239" fmla="*/ 643717 h 903637"/>
                  <a:gd name="connsiteX6240" fmla="*/ 1426300 w 1687454"/>
                  <a:gd name="connsiteY6240" fmla="*/ 644335 h 903637"/>
                  <a:gd name="connsiteX6241" fmla="*/ 1426035 w 1687454"/>
                  <a:gd name="connsiteY6241" fmla="*/ 645216 h 903637"/>
                  <a:gd name="connsiteX6242" fmla="*/ 1427182 w 1687454"/>
                  <a:gd name="connsiteY6242" fmla="*/ 646098 h 903637"/>
                  <a:gd name="connsiteX6243" fmla="*/ 1429209 w 1687454"/>
                  <a:gd name="connsiteY6243" fmla="*/ 646098 h 903637"/>
                  <a:gd name="connsiteX6244" fmla="*/ 1432472 w 1687454"/>
                  <a:gd name="connsiteY6244" fmla="*/ 647597 h 903637"/>
                  <a:gd name="connsiteX6245" fmla="*/ 1432207 w 1687454"/>
                  <a:gd name="connsiteY6245" fmla="*/ 649096 h 903637"/>
                  <a:gd name="connsiteX6246" fmla="*/ 1431326 w 1687454"/>
                  <a:gd name="connsiteY6246" fmla="*/ 649713 h 903637"/>
                  <a:gd name="connsiteX6247" fmla="*/ 1429562 w 1687454"/>
                  <a:gd name="connsiteY6247" fmla="*/ 649448 h 903637"/>
                  <a:gd name="connsiteX6248" fmla="*/ 1428680 w 1687454"/>
                  <a:gd name="connsiteY6248" fmla="*/ 649713 h 903637"/>
                  <a:gd name="connsiteX6249" fmla="*/ 1428416 w 1687454"/>
                  <a:gd name="connsiteY6249" fmla="*/ 650859 h 903637"/>
                  <a:gd name="connsiteX6250" fmla="*/ 1430444 w 1687454"/>
                  <a:gd name="connsiteY6250" fmla="*/ 651388 h 903637"/>
                  <a:gd name="connsiteX6251" fmla="*/ 1430179 w 1687454"/>
                  <a:gd name="connsiteY6251" fmla="*/ 652534 h 903637"/>
                  <a:gd name="connsiteX6252" fmla="*/ 1429298 w 1687454"/>
                  <a:gd name="connsiteY6252" fmla="*/ 655444 h 903637"/>
                  <a:gd name="connsiteX6253" fmla="*/ 1427534 w 1687454"/>
                  <a:gd name="connsiteY6253" fmla="*/ 656590 h 903637"/>
                  <a:gd name="connsiteX6254" fmla="*/ 1424007 w 1687454"/>
                  <a:gd name="connsiteY6254" fmla="*/ 659500 h 903637"/>
                  <a:gd name="connsiteX6255" fmla="*/ 1417924 w 1687454"/>
                  <a:gd name="connsiteY6255" fmla="*/ 663026 h 903637"/>
                  <a:gd name="connsiteX6256" fmla="*/ 1416425 w 1687454"/>
                  <a:gd name="connsiteY6256" fmla="*/ 663643 h 903637"/>
                  <a:gd name="connsiteX6257" fmla="*/ 1408225 w 1687454"/>
                  <a:gd name="connsiteY6257" fmla="*/ 666817 h 903637"/>
                  <a:gd name="connsiteX6258" fmla="*/ 1406727 w 1687454"/>
                  <a:gd name="connsiteY6258" fmla="*/ 667699 h 903637"/>
                  <a:gd name="connsiteX6259" fmla="*/ 1404699 w 1687454"/>
                  <a:gd name="connsiteY6259" fmla="*/ 668845 h 903637"/>
                  <a:gd name="connsiteX6260" fmla="*/ 1402671 w 1687454"/>
                  <a:gd name="connsiteY6260" fmla="*/ 670344 h 903637"/>
                  <a:gd name="connsiteX6261" fmla="*/ 1204116 w 1687454"/>
                  <a:gd name="connsiteY6261" fmla="*/ 102716 h 903637"/>
                  <a:gd name="connsiteX6262" fmla="*/ 1199707 w 1687454"/>
                  <a:gd name="connsiteY6262" fmla="*/ 103245 h 903637"/>
                  <a:gd name="connsiteX6263" fmla="*/ 1194153 w 1687454"/>
                  <a:gd name="connsiteY6263" fmla="*/ 102363 h 903637"/>
                  <a:gd name="connsiteX6264" fmla="*/ 1194417 w 1687454"/>
                  <a:gd name="connsiteY6264" fmla="*/ 100336 h 903637"/>
                  <a:gd name="connsiteX6265" fmla="*/ 1190009 w 1687454"/>
                  <a:gd name="connsiteY6265" fmla="*/ 103245 h 903637"/>
                  <a:gd name="connsiteX6266" fmla="*/ 1184719 w 1687454"/>
                  <a:gd name="connsiteY6266" fmla="*/ 102363 h 903637"/>
                  <a:gd name="connsiteX6267" fmla="*/ 1182073 w 1687454"/>
                  <a:gd name="connsiteY6267" fmla="*/ 99718 h 903637"/>
                  <a:gd name="connsiteX6268" fmla="*/ 1188510 w 1687454"/>
                  <a:gd name="connsiteY6268" fmla="*/ 96456 h 903637"/>
                  <a:gd name="connsiteX6269" fmla="*/ 1193800 w 1687454"/>
                  <a:gd name="connsiteY6269" fmla="*/ 93282 h 903637"/>
                  <a:gd name="connsiteX6270" fmla="*/ 1198473 w 1687454"/>
                  <a:gd name="connsiteY6270" fmla="*/ 95310 h 903637"/>
                  <a:gd name="connsiteX6271" fmla="*/ 1201382 w 1687454"/>
                  <a:gd name="connsiteY6271" fmla="*/ 95927 h 903637"/>
                  <a:gd name="connsiteX6272" fmla="*/ 1205438 w 1687454"/>
                  <a:gd name="connsiteY6272" fmla="*/ 95663 h 903637"/>
                  <a:gd name="connsiteX6273" fmla="*/ 1210111 w 1687454"/>
                  <a:gd name="connsiteY6273" fmla="*/ 96809 h 903637"/>
                  <a:gd name="connsiteX6274" fmla="*/ 1204116 w 1687454"/>
                  <a:gd name="connsiteY6274" fmla="*/ 102716 h 903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</a:cxnLst>
                <a:rect l="l" t="t" r="r" b="b"/>
                <a:pathLst>
                  <a:path w="1687454" h="903637">
                    <a:moveTo>
                      <a:pt x="1046911" y="94605"/>
                    </a:moveTo>
                    <a:lnTo>
                      <a:pt x="1044002" y="95134"/>
                    </a:lnTo>
                    <a:lnTo>
                      <a:pt x="1039858" y="94605"/>
                    </a:lnTo>
                    <a:lnTo>
                      <a:pt x="1039858" y="93106"/>
                    </a:lnTo>
                    <a:lnTo>
                      <a:pt x="1031129" y="92577"/>
                    </a:lnTo>
                    <a:lnTo>
                      <a:pt x="1035802" y="90196"/>
                    </a:lnTo>
                    <a:lnTo>
                      <a:pt x="1043120" y="89315"/>
                    </a:lnTo>
                    <a:lnTo>
                      <a:pt x="1045148" y="89932"/>
                    </a:lnTo>
                    <a:lnTo>
                      <a:pt x="1048057" y="89667"/>
                    </a:lnTo>
                    <a:lnTo>
                      <a:pt x="1051496" y="90549"/>
                    </a:lnTo>
                    <a:lnTo>
                      <a:pt x="1046911" y="94605"/>
                    </a:lnTo>
                    <a:close/>
                    <a:moveTo>
                      <a:pt x="1244320" y="804184"/>
                    </a:moveTo>
                    <a:lnTo>
                      <a:pt x="1242293" y="804448"/>
                    </a:lnTo>
                    <a:lnTo>
                      <a:pt x="1241411" y="804184"/>
                    </a:lnTo>
                    <a:lnTo>
                      <a:pt x="1239647" y="801803"/>
                    </a:lnTo>
                    <a:lnTo>
                      <a:pt x="1239647" y="801186"/>
                    </a:lnTo>
                    <a:lnTo>
                      <a:pt x="1239647" y="800922"/>
                    </a:lnTo>
                    <a:lnTo>
                      <a:pt x="1241146" y="800657"/>
                    </a:lnTo>
                    <a:lnTo>
                      <a:pt x="1241411" y="800393"/>
                    </a:lnTo>
                    <a:lnTo>
                      <a:pt x="1241411" y="800128"/>
                    </a:lnTo>
                    <a:lnTo>
                      <a:pt x="1240265" y="799599"/>
                    </a:lnTo>
                    <a:lnTo>
                      <a:pt x="1238237" y="798717"/>
                    </a:lnTo>
                    <a:lnTo>
                      <a:pt x="1237620" y="798100"/>
                    </a:lnTo>
                    <a:lnTo>
                      <a:pt x="1237620" y="798365"/>
                    </a:lnTo>
                    <a:lnTo>
                      <a:pt x="1236738" y="799511"/>
                    </a:lnTo>
                    <a:lnTo>
                      <a:pt x="1234710" y="800040"/>
                    </a:lnTo>
                    <a:lnTo>
                      <a:pt x="1228009" y="798012"/>
                    </a:lnTo>
                    <a:lnTo>
                      <a:pt x="1227128" y="797130"/>
                    </a:lnTo>
                    <a:lnTo>
                      <a:pt x="1226246" y="796249"/>
                    </a:lnTo>
                    <a:lnTo>
                      <a:pt x="1225364" y="795367"/>
                    </a:lnTo>
                    <a:lnTo>
                      <a:pt x="1225981" y="794485"/>
                    </a:lnTo>
                    <a:lnTo>
                      <a:pt x="1226246" y="794221"/>
                    </a:lnTo>
                    <a:lnTo>
                      <a:pt x="1226246" y="793956"/>
                    </a:lnTo>
                    <a:lnTo>
                      <a:pt x="1224218" y="793692"/>
                    </a:lnTo>
                    <a:lnTo>
                      <a:pt x="1223072" y="793692"/>
                    </a:lnTo>
                    <a:lnTo>
                      <a:pt x="1222190" y="794309"/>
                    </a:lnTo>
                    <a:lnTo>
                      <a:pt x="1220162" y="794045"/>
                    </a:lnTo>
                    <a:lnTo>
                      <a:pt x="1219016" y="793427"/>
                    </a:lnTo>
                    <a:lnTo>
                      <a:pt x="1220515" y="791664"/>
                    </a:lnTo>
                    <a:lnTo>
                      <a:pt x="1220779" y="790165"/>
                    </a:lnTo>
                    <a:lnTo>
                      <a:pt x="1222543" y="789019"/>
                    </a:lnTo>
                    <a:lnTo>
                      <a:pt x="1221396" y="789019"/>
                    </a:lnTo>
                    <a:lnTo>
                      <a:pt x="1219016" y="788137"/>
                    </a:lnTo>
                    <a:lnTo>
                      <a:pt x="1218134" y="788137"/>
                    </a:lnTo>
                    <a:lnTo>
                      <a:pt x="1217870" y="788137"/>
                    </a:lnTo>
                    <a:lnTo>
                      <a:pt x="1217605" y="788137"/>
                    </a:lnTo>
                    <a:lnTo>
                      <a:pt x="1216724" y="788402"/>
                    </a:lnTo>
                    <a:lnTo>
                      <a:pt x="1215842" y="788402"/>
                    </a:lnTo>
                    <a:lnTo>
                      <a:pt x="1215842" y="787520"/>
                    </a:lnTo>
                    <a:lnTo>
                      <a:pt x="1216724" y="785757"/>
                    </a:lnTo>
                    <a:lnTo>
                      <a:pt x="1220779" y="782583"/>
                    </a:lnTo>
                    <a:lnTo>
                      <a:pt x="1222807" y="780555"/>
                    </a:lnTo>
                    <a:lnTo>
                      <a:pt x="1225452" y="779056"/>
                    </a:lnTo>
                    <a:lnTo>
                      <a:pt x="1226863" y="777910"/>
                    </a:lnTo>
                    <a:lnTo>
                      <a:pt x="1227480" y="777910"/>
                    </a:lnTo>
                    <a:lnTo>
                      <a:pt x="1226863" y="779056"/>
                    </a:lnTo>
                    <a:lnTo>
                      <a:pt x="1226246" y="780819"/>
                    </a:lnTo>
                    <a:lnTo>
                      <a:pt x="1226246" y="781348"/>
                    </a:lnTo>
                    <a:lnTo>
                      <a:pt x="1225981" y="781965"/>
                    </a:lnTo>
                    <a:lnTo>
                      <a:pt x="1223953" y="783729"/>
                    </a:lnTo>
                    <a:lnTo>
                      <a:pt x="1222807" y="785228"/>
                    </a:lnTo>
                    <a:lnTo>
                      <a:pt x="1223424" y="785492"/>
                    </a:lnTo>
                    <a:lnTo>
                      <a:pt x="1224306" y="785757"/>
                    </a:lnTo>
                    <a:lnTo>
                      <a:pt x="1225805" y="787784"/>
                    </a:lnTo>
                    <a:lnTo>
                      <a:pt x="1225540" y="788402"/>
                    </a:lnTo>
                    <a:lnTo>
                      <a:pt x="1226422" y="789283"/>
                    </a:lnTo>
                    <a:lnTo>
                      <a:pt x="1225276" y="790430"/>
                    </a:lnTo>
                    <a:lnTo>
                      <a:pt x="1225629" y="791576"/>
                    </a:lnTo>
                    <a:lnTo>
                      <a:pt x="1225893" y="792193"/>
                    </a:lnTo>
                    <a:lnTo>
                      <a:pt x="1227657" y="792810"/>
                    </a:lnTo>
                    <a:lnTo>
                      <a:pt x="1228803" y="792546"/>
                    </a:lnTo>
                    <a:lnTo>
                      <a:pt x="1228538" y="791928"/>
                    </a:lnTo>
                    <a:lnTo>
                      <a:pt x="1227921" y="791664"/>
                    </a:lnTo>
                    <a:lnTo>
                      <a:pt x="1228538" y="790165"/>
                    </a:lnTo>
                    <a:lnTo>
                      <a:pt x="1229067" y="789901"/>
                    </a:lnTo>
                    <a:lnTo>
                      <a:pt x="1230831" y="789901"/>
                    </a:lnTo>
                    <a:lnTo>
                      <a:pt x="1233476" y="791047"/>
                    </a:lnTo>
                    <a:lnTo>
                      <a:pt x="1235768" y="791664"/>
                    </a:lnTo>
                    <a:lnTo>
                      <a:pt x="1236385" y="791928"/>
                    </a:lnTo>
                    <a:lnTo>
                      <a:pt x="1236650" y="792546"/>
                    </a:lnTo>
                    <a:lnTo>
                      <a:pt x="1238678" y="793163"/>
                    </a:lnTo>
                    <a:lnTo>
                      <a:pt x="1239559" y="792898"/>
                    </a:lnTo>
                    <a:lnTo>
                      <a:pt x="1240441" y="793516"/>
                    </a:lnTo>
                    <a:lnTo>
                      <a:pt x="1241940" y="793516"/>
                    </a:lnTo>
                    <a:lnTo>
                      <a:pt x="1244849" y="793251"/>
                    </a:lnTo>
                    <a:lnTo>
                      <a:pt x="1245996" y="792634"/>
                    </a:lnTo>
                    <a:lnTo>
                      <a:pt x="1247494" y="792634"/>
                    </a:lnTo>
                    <a:lnTo>
                      <a:pt x="1250139" y="792017"/>
                    </a:lnTo>
                    <a:lnTo>
                      <a:pt x="1255694" y="792017"/>
                    </a:lnTo>
                    <a:lnTo>
                      <a:pt x="1258868" y="791752"/>
                    </a:lnTo>
                    <a:lnTo>
                      <a:pt x="1261513" y="792017"/>
                    </a:lnTo>
                    <a:lnTo>
                      <a:pt x="1261778" y="792634"/>
                    </a:lnTo>
                    <a:lnTo>
                      <a:pt x="1261513" y="792634"/>
                    </a:lnTo>
                    <a:lnTo>
                      <a:pt x="1260896" y="793251"/>
                    </a:lnTo>
                    <a:lnTo>
                      <a:pt x="1259485" y="793516"/>
                    </a:lnTo>
                    <a:lnTo>
                      <a:pt x="1256576" y="795014"/>
                    </a:lnTo>
                    <a:lnTo>
                      <a:pt x="1255959" y="795014"/>
                    </a:lnTo>
                    <a:lnTo>
                      <a:pt x="1254195" y="795279"/>
                    </a:lnTo>
                    <a:lnTo>
                      <a:pt x="1251903" y="797924"/>
                    </a:lnTo>
                    <a:lnTo>
                      <a:pt x="1251286" y="798188"/>
                    </a:lnTo>
                    <a:lnTo>
                      <a:pt x="1249875" y="798188"/>
                    </a:lnTo>
                    <a:lnTo>
                      <a:pt x="1249258" y="799687"/>
                    </a:lnTo>
                    <a:lnTo>
                      <a:pt x="1249258" y="800216"/>
                    </a:lnTo>
                    <a:lnTo>
                      <a:pt x="1250404" y="800481"/>
                    </a:lnTo>
                    <a:lnTo>
                      <a:pt x="1250139" y="801362"/>
                    </a:lnTo>
                    <a:lnTo>
                      <a:pt x="1249258" y="802509"/>
                    </a:lnTo>
                    <a:lnTo>
                      <a:pt x="1249522" y="802773"/>
                    </a:lnTo>
                    <a:lnTo>
                      <a:pt x="1249522" y="803038"/>
                    </a:lnTo>
                    <a:lnTo>
                      <a:pt x="1249522" y="803302"/>
                    </a:lnTo>
                    <a:lnTo>
                      <a:pt x="1248023" y="803919"/>
                    </a:lnTo>
                    <a:lnTo>
                      <a:pt x="1244320" y="804184"/>
                    </a:lnTo>
                    <a:close/>
                    <a:moveTo>
                      <a:pt x="1135521" y="56340"/>
                    </a:moveTo>
                    <a:lnTo>
                      <a:pt x="1132346" y="57221"/>
                    </a:lnTo>
                    <a:lnTo>
                      <a:pt x="1127409" y="56075"/>
                    </a:lnTo>
                    <a:lnTo>
                      <a:pt x="1127674" y="54047"/>
                    </a:lnTo>
                    <a:lnTo>
                      <a:pt x="1117446" y="53430"/>
                    </a:lnTo>
                    <a:lnTo>
                      <a:pt x="1122736" y="50256"/>
                    </a:lnTo>
                    <a:lnTo>
                      <a:pt x="1131200" y="49110"/>
                    </a:lnTo>
                    <a:lnTo>
                      <a:pt x="1133493" y="49727"/>
                    </a:lnTo>
                    <a:lnTo>
                      <a:pt x="1137019" y="49462"/>
                    </a:lnTo>
                    <a:lnTo>
                      <a:pt x="1140811" y="50609"/>
                    </a:lnTo>
                    <a:lnTo>
                      <a:pt x="1135521" y="56340"/>
                    </a:lnTo>
                    <a:close/>
                    <a:moveTo>
                      <a:pt x="1211345" y="82878"/>
                    </a:moveTo>
                    <a:lnTo>
                      <a:pt x="1210464" y="85523"/>
                    </a:lnTo>
                    <a:lnTo>
                      <a:pt x="1190361" y="83495"/>
                    </a:lnTo>
                    <a:lnTo>
                      <a:pt x="1183396" y="78205"/>
                    </a:lnTo>
                    <a:lnTo>
                      <a:pt x="1204645" y="77941"/>
                    </a:lnTo>
                    <a:lnTo>
                      <a:pt x="1180134" y="76178"/>
                    </a:lnTo>
                    <a:lnTo>
                      <a:pt x="1179252" y="73003"/>
                    </a:lnTo>
                    <a:lnTo>
                      <a:pt x="1187099" y="73268"/>
                    </a:lnTo>
                    <a:lnTo>
                      <a:pt x="1177753" y="71769"/>
                    </a:lnTo>
                    <a:lnTo>
                      <a:pt x="1178018" y="68595"/>
                    </a:lnTo>
                    <a:lnTo>
                      <a:pt x="1231360" y="65068"/>
                    </a:lnTo>
                    <a:lnTo>
                      <a:pt x="1208348" y="65333"/>
                    </a:lnTo>
                    <a:lnTo>
                      <a:pt x="1205438" y="64451"/>
                    </a:lnTo>
                    <a:lnTo>
                      <a:pt x="1229332" y="62423"/>
                    </a:lnTo>
                    <a:lnTo>
                      <a:pt x="1208612" y="62423"/>
                    </a:lnTo>
                    <a:lnTo>
                      <a:pt x="1210376" y="60924"/>
                    </a:lnTo>
                    <a:lnTo>
                      <a:pt x="1204292" y="60307"/>
                    </a:lnTo>
                    <a:lnTo>
                      <a:pt x="1197327" y="62335"/>
                    </a:lnTo>
                    <a:lnTo>
                      <a:pt x="1198208" y="61189"/>
                    </a:lnTo>
                    <a:lnTo>
                      <a:pt x="1184454" y="64363"/>
                    </a:lnTo>
                    <a:lnTo>
                      <a:pt x="1188245" y="62071"/>
                    </a:lnTo>
                    <a:lnTo>
                      <a:pt x="1182426" y="61453"/>
                    </a:lnTo>
                    <a:lnTo>
                      <a:pt x="1176607" y="63481"/>
                    </a:lnTo>
                    <a:lnTo>
                      <a:pt x="1169642" y="64363"/>
                    </a:lnTo>
                    <a:lnTo>
                      <a:pt x="1169906" y="61718"/>
                    </a:lnTo>
                    <a:lnTo>
                      <a:pt x="1164087" y="61101"/>
                    </a:lnTo>
                    <a:lnTo>
                      <a:pt x="1166732" y="59073"/>
                    </a:lnTo>
                    <a:lnTo>
                      <a:pt x="1189744" y="57045"/>
                    </a:lnTo>
                    <a:lnTo>
                      <a:pt x="1190890" y="55282"/>
                    </a:lnTo>
                    <a:lnTo>
                      <a:pt x="1169289" y="57309"/>
                    </a:lnTo>
                    <a:lnTo>
                      <a:pt x="1164616" y="52901"/>
                    </a:lnTo>
                    <a:lnTo>
                      <a:pt x="1169554" y="48845"/>
                    </a:lnTo>
                    <a:lnTo>
                      <a:pt x="1184454" y="50873"/>
                    </a:lnTo>
                    <a:lnTo>
                      <a:pt x="1196445" y="51138"/>
                    </a:lnTo>
                    <a:lnTo>
                      <a:pt x="1194153" y="49639"/>
                    </a:lnTo>
                    <a:lnTo>
                      <a:pt x="1204027" y="47875"/>
                    </a:lnTo>
                    <a:lnTo>
                      <a:pt x="1199090" y="47258"/>
                    </a:lnTo>
                    <a:lnTo>
                      <a:pt x="1189215" y="49022"/>
                    </a:lnTo>
                    <a:lnTo>
                      <a:pt x="1184542" y="49022"/>
                    </a:lnTo>
                    <a:lnTo>
                      <a:pt x="1188951" y="47258"/>
                    </a:lnTo>
                    <a:lnTo>
                      <a:pt x="1174667" y="46994"/>
                    </a:lnTo>
                    <a:lnTo>
                      <a:pt x="1179605" y="44966"/>
                    </a:lnTo>
                    <a:lnTo>
                      <a:pt x="1190097" y="44701"/>
                    </a:lnTo>
                    <a:lnTo>
                      <a:pt x="1183925" y="43203"/>
                    </a:lnTo>
                    <a:lnTo>
                      <a:pt x="1187981" y="41439"/>
                    </a:lnTo>
                    <a:lnTo>
                      <a:pt x="1216283" y="41704"/>
                    </a:lnTo>
                    <a:lnTo>
                      <a:pt x="1206672" y="40558"/>
                    </a:lnTo>
                    <a:lnTo>
                      <a:pt x="1209582" y="39676"/>
                    </a:lnTo>
                    <a:lnTo>
                      <a:pt x="1213109" y="38794"/>
                    </a:lnTo>
                    <a:lnTo>
                      <a:pt x="1206672" y="39147"/>
                    </a:lnTo>
                    <a:lnTo>
                      <a:pt x="1199354" y="38001"/>
                    </a:lnTo>
                    <a:lnTo>
                      <a:pt x="1210728" y="34209"/>
                    </a:lnTo>
                    <a:lnTo>
                      <a:pt x="1222984" y="34209"/>
                    </a:lnTo>
                    <a:lnTo>
                      <a:pt x="1225364" y="33328"/>
                    </a:lnTo>
                    <a:lnTo>
                      <a:pt x="1232065" y="33857"/>
                    </a:lnTo>
                    <a:lnTo>
                      <a:pt x="1234357" y="31564"/>
                    </a:lnTo>
                    <a:lnTo>
                      <a:pt x="1222102" y="31300"/>
                    </a:lnTo>
                    <a:lnTo>
                      <a:pt x="1228538" y="29272"/>
                    </a:lnTo>
                    <a:lnTo>
                      <a:pt x="1234974" y="30154"/>
                    </a:lnTo>
                    <a:lnTo>
                      <a:pt x="1234710" y="29272"/>
                    </a:lnTo>
                    <a:lnTo>
                      <a:pt x="1251903" y="31035"/>
                    </a:lnTo>
                    <a:lnTo>
                      <a:pt x="1264158" y="40117"/>
                    </a:lnTo>
                    <a:lnTo>
                      <a:pt x="1264158" y="42145"/>
                    </a:lnTo>
                    <a:lnTo>
                      <a:pt x="1268831" y="41880"/>
                    </a:lnTo>
                    <a:lnTo>
                      <a:pt x="1270330" y="43643"/>
                    </a:lnTo>
                    <a:lnTo>
                      <a:pt x="1272975" y="42145"/>
                    </a:lnTo>
                    <a:lnTo>
                      <a:pt x="1279676" y="42409"/>
                    </a:lnTo>
                    <a:lnTo>
                      <a:pt x="1274738" y="45936"/>
                    </a:lnTo>
                    <a:lnTo>
                      <a:pt x="1282056" y="49462"/>
                    </a:lnTo>
                    <a:lnTo>
                      <a:pt x="1290521" y="43643"/>
                    </a:lnTo>
                    <a:lnTo>
                      <a:pt x="1301365" y="44261"/>
                    </a:lnTo>
                    <a:lnTo>
                      <a:pt x="1287611" y="50080"/>
                    </a:lnTo>
                    <a:lnTo>
                      <a:pt x="1298103" y="50080"/>
                    </a:lnTo>
                    <a:lnTo>
                      <a:pt x="1294312" y="53606"/>
                    </a:lnTo>
                    <a:lnTo>
                      <a:pt x="1298985" y="52725"/>
                    </a:lnTo>
                    <a:lnTo>
                      <a:pt x="1292019" y="57133"/>
                    </a:lnTo>
                    <a:lnTo>
                      <a:pt x="1292637" y="58896"/>
                    </a:lnTo>
                    <a:lnTo>
                      <a:pt x="1298720" y="57486"/>
                    </a:lnTo>
                    <a:lnTo>
                      <a:pt x="1303393" y="57750"/>
                    </a:lnTo>
                    <a:lnTo>
                      <a:pt x="1301365" y="61277"/>
                    </a:lnTo>
                    <a:lnTo>
                      <a:pt x="1309829" y="57750"/>
                    </a:lnTo>
                    <a:lnTo>
                      <a:pt x="1313621" y="64187"/>
                    </a:lnTo>
                    <a:lnTo>
                      <a:pt x="1305421" y="65950"/>
                    </a:lnTo>
                    <a:lnTo>
                      <a:pt x="1286465" y="68595"/>
                    </a:lnTo>
                    <a:lnTo>
                      <a:pt x="1283291" y="70094"/>
                    </a:lnTo>
                    <a:lnTo>
                      <a:pt x="1279235" y="69212"/>
                    </a:lnTo>
                    <a:lnTo>
                      <a:pt x="1263806" y="75296"/>
                    </a:lnTo>
                    <a:lnTo>
                      <a:pt x="1260279" y="72651"/>
                    </a:lnTo>
                    <a:lnTo>
                      <a:pt x="1266980" y="68595"/>
                    </a:lnTo>
                    <a:lnTo>
                      <a:pt x="1261425" y="69741"/>
                    </a:lnTo>
                    <a:lnTo>
                      <a:pt x="1252696" y="79087"/>
                    </a:lnTo>
                    <a:lnTo>
                      <a:pt x="1249522" y="79352"/>
                    </a:lnTo>
                    <a:lnTo>
                      <a:pt x="1245467" y="77324"/>
                    </a:lnTo>
                    <a:lnTo>
                      <a:pt x="1233828" y="85171"/>
                    </a:lnTo>
                    <a:lnTo>
                      <a:pt x="1227128" y="76707"/>
                    </a:lnTo>
                    <a:lnTo>
                      <a:pt x="1223072" y="78734"/>
                    </a:lnTo>
                    <a:lnTo>
                      <a:pt x="1220691" y="84377"/>
                    </a:lnTo>
                    <a:lnTo>
                      <a:pt x="1218663" y="81732"/>
                    </a:lnTo>
                    <a:lnTo>
                      <a:pt x="1211345" y="82878"/>
                    </a:lnTo>
                    <a:close/>
                    <a:moveTo>
                      <a:pt x="1116564" y="93106"/>
                    </a:moveTo>
                    <a:lnTo>
                      <a:pt x="1113655" y="94252"/>
                    </a:lnTo>
                    <a:lnTo>
                      <a:pt x="1111010" y="93370"/>
                    </a:lnTo>
                    <a:lnTo>
                      <a:pt x="1114537" y="91342"/>
                    </a:lnTo>
                    <a:lnTo>
                      <a:pt x="1112244" y="90196"/>
                    </a:lnTo>
                    <a:lnTo>
                      <a:pt x="1106425" y="89315"/>
                    </a:lnTo>
                    <a:lnTo>
                      <a:pt x="1108453" y="88433"/>
                    </a:lnTo>
                    <a:lnTo>
                      <a:pt x="1120973" y="88433"/>
                    </a:lnTo>
                    <a:lnTo>
                      <a:pt x="1116300" y="86141"/>
                    </a:lnTo>
                    <a:lnTo>
                      <a:pt x="1110481" y="85788"/>
                    </a:lnTo>
                    <a:lnTo>
                      <a:pt x="1111980" y="85171"/>
                    </a:lnTo>
                    <a:lnTo>
                      <a:pt x="1109335" y="81379"/>
                    </a:lnTo>
                    <a:lnTo>
                      <a:pt x="1112244" y="80233"/>
                    </a:lnTo>
                    <a:lnTo>
                      <a:pt x="1116035" y="79969"/>
                    </a:lnTo>
                    <a:lnTo>
                      <a:pt x="1114889" y="77324"/>
                    </a:lnTo>
                    <a:lnTo>
                      <a:pt x="1119298" y="74943"/>
                    </a:lnTo>
                    <a:lnTo>
                      <a:pt x="1121590" y="74943"/>
                    </a:lnTo>
                    <a:lnTo>
                      <a:pt x="1142310" y="78117"/>
                    </a:lnTo>
                    <a:lnTo>
                      <a:pt x="1140546" y="80498"/>
                    </a:lnTo>
                    <a:lnTo>
                      <a:pt x="1149275" y="80233"/>
                    </a:lnTo>
                    <a:lnTo>
                      <a:pt x="1152537" y="80850"/>
                    </a:lnTo>
                    <a:lnTo>
                      <a:pt x="1156593" y="82614"/>
                    </a:lnTo>
                    <a:lnTo>
                      <a:pt x="1155094" y="83760"/>
                    </a:lnTo>
                    <a:lnTo>
                      <a:pt x="1146630" y="85523"/>
                    </a:lnTo>
                    <a:lnTo>
                      <a:pt x="1150157" y="87816"/>
                    </a:lnTo>
                    <a:lnTo>
                      <a:pt x="1141340" y="90813"/>
                    </a:lnTo>
                    <a:lnTo>
                      <a:pt x="1139929" y="90813"/>
                    </a:lnTo>
                    <a:lnTo>
                      <a:pt x="1124147" y="92312"/>
                    </a:lnTo>
                    <a:lnTo>
                      <a:pt x="1121766" y="92048"/>
                    </a:lnTo>
                    <a:lnTo>
                      <a:pt x="1118240" y="92665"/>
                    </a:lnTo>
                    <a:lnTo>
                      <a:pt x="1119121" y="93194"/>
                    </a:lnTo>
                    <a:lnTo>
                      <a:pt x="1116564" y="93194"/>
                    </a:lnTo>
                    <a:close/>
                    <a:moveTo>
                      <a:pt x="929030" y="85788"/>
                    </a:moveTo>
                    <a:lnTo>
                      <a:pt x="923476" y="86934"/>
                    </a:lnTo>
                    <a:lnTo>
                      <a:pt x="920831" y="86934"/>
                    </a:lnTo>
                    <a:lnTo>
                      <a:pt x="920566" y="86052"/>
                    </a:lnTo>
                    <a:lnTo>
                      <a:pt x="912984" y="85523"/>
                    </a:lnTo>
                    <a:lnTo>
                      <a:pt x="900111" y="86934"/>
                    </a:lnTo>
                    <a:lnTo>
                      <a:pt x="903638" y="84642"/>
                    </a:lnTo>
                    <a:lnTo>
                      <a:pt x="910339" y="83760"/>
                    </a:lnTo>
                    <a:lnTo>
                      <a:pt x="919684" y="81997"/>
                    </a:lnTo>
                    <a:lnTo>
                      <a:pt x="926121" y="81732"/>
                    </a:lnTo>
                    <a:lnTo>
                      <a:pt x="933968" y="81115"/>
                    </a:lnTo>
                    <a:lnTo>
                      <a:pt x="936877" y="79969"/>
                    </a:lnTo>
                    <a:lnTo>
                      <a:pt x="945958" y="78823"/>
                    </a:lnTo>
                    <a:lnTo>
                      <a:pt x="952395" y="78558"/>
                    </a:lnTo>
                    <a:lnTo>
                      <a:pt x="957068" y="80586"/>
                    </a:lnTo>
                    <a:lnTo>
                      <a:pt x="961123" y="82349"/>
                    </a:lnTo>
                    <a:lnTo>
                      <a:pt x="955833" y="85876"/>
                    </a:lnTo>
                    <a:lnTo>
                      <a:pt x="948515" y="86758"/>
                    </a:lnTo>
                    <a:lnTo>
                      <a:pt x="947634" y="86758"/>
                    </a:lnTo>
                    <a:lnTo>
                      <a:pt x="946487" y="86141"/>
                    </a:lnTo>
                    <a:lnTo>
                      <a:pt x="939170" y="87022"/>
                    </a:lnTo>
                    <a:lnTo>
                      <a:pt x="931852" y="84994"/>
                    </a:lnTo>
                    <a:lnTo>
                      <a:pt x="929559" y="84994"/>
                    </a:lnTo>
                    <a:lnTo>
                      <a:pt x="929030" y="85788"/>
                    </a:lnTo>
                    <a:close/>
                    <a:moveTo>
                      <a:pt x="1088262" y="88433"/>
                    </a:moveTo>
                    <a:lnTo>
                      <a:pt x="1077153" y="92489"/>
                    </a:lnTo>
                    <a:lnTo>
                      <a:pt x="1062253" y="88080"/>
                    </a:lnTo>
                    <a:lnTo>
                      <a:pt x="1053171" y="84289"/>
                    </a:lnTo>
                    <a:lnTo>
                      <a:pt x="1040299" y="84554"/>
                    </a:lnTo>
                    <a:lnTo>
                      <a:pt x="1040299" y="82790"/>
                    </a:lnTo>
                    <a:lnTo>
                      <a:pt x="1020725" y="85083"/>
                    </a:lnTo>
                    <a:lnTo>
                      <a:pt x="1014024" y="84201"/>
                    </a:lnTo>
                    <a:lnTo>
                      <a:pt x="1014024" y="80145"/>
                    </a:lnTo>
                    <a:lnTo>
                      <a:pt x="1019226" y="79263"/>
                    </a:lnTo>
                    <a:lnTo>
                      <a:pt x="1032364" y="80145"/>
                    </a:lnTo>
                    <a:lnTo>
                      <a:pt x="1036419" y="78646"/>
                    </a:lnTo>
                    <a:lnTo>
                      <a:pt x="1031746" y="77765"/>
                    </a:lnTo>
                    <a:lnTo>
                      <a:pt x="1036684" y="77500"/>
                    </a:lnTo>
                    <a:lnTo>
                      <a:pt x="1040211" y="75737"/>
                    </a:lnTo>
                    <a:lnTo>
                      <a:pt x="1028572" y="75120"/>
                    </a:lnTo>
                    <a:lnTo>
                      <a:pt x="1038183" y="72827"/>
                    </a:lnTo>
                    <a:lnTo>
                      <a:pt x="1034127" y="71945"/>
                    </a:lnTo>
                    <a:lnTo>
                      <a:pt x="1025663" y="74855"/>
                    </a:lnTo>
                    <a:lnTo>
                      <a:pt x="1020990" y="74855"/>
                    </a:lnTo>
                    <a:lnTo>
                      <a:pt x="1027955" y="71328"/>
                    </a:lnTo>
                    <a:lnTo>
                      <a:pt x="1016846" y="71328"/>
                    </a:lnTo>
                    <a:lnTo>
                      <a:pt x="1025046" y="66038"/>
                    </a:lnTo>
                    <a:lnTo>
                      <a:pt x="1048939" y="64892"/>
                    </a:lnTo>
                    <a:lnTo>
                      <a:pt x="1060048" y="67273"/>
                    </a:lnTo>
                    <a:lnTo>
                      <a:pt x="1055376" y="73444"/>
                    </a:lnTo>
                    <a:lnTo>
                      <a:pt x="1070276" y="69653"/>
                    </a:lnTo>
                    <a:lnTo>
                      <a:pt x="1079622" y="72034"/>
                    </a:lnTo>
                    <a:lnTo>
                      <a:pt x="1073803" y="74679"/>
                    </a:lnTo>
                    <a:lnTo>
                      <a:pt x="1076712" y="75296"/>
                    </a:lnTo>
                    <a:lnTo>
                      <a:pt x="1086323" y="74150"/>
                    </a:lnTo>
                    <a:lnTo>
                      <a:pt x="1089232" y="76795"/>
                    </a:lnTo>
                    <a:lnTo>
                      <a:pt x="1086058" y="77941"/>
                    </a:lnTo>
                    <a:lnTo>
                      <a:pt x="1092759" y="78823"/>
                    </a:lnTo>
                    <a:lnTo>
                      <a:pt x="1082267" y="84113"/>
                    </a:lnTo>
                    <a:lnTo>
                      <a:pt x="1088262" y="88433"/>
                    </a:lnTo>
                    <a:close/>
                    <a:moveTo>
                      <a:pt x="849679" y="116999"/>
                    </a:moveTo>
                    <a:lnTo>
                      <a:pt x="839187" y="117881"/>
                    </a:lnTo>
                    <a:lnTo>
                      <a:pt x="833985" y="113473"/>
                    </a:lnTo>
                    <a:lnTo>
                      <a:pt x="840068" y="111974"/>
                    </a:lnTo>
                    <a:lnTo>
                      <a:pt x="846769" y="111357"/>
                    </a:lnTo>
                    <a:lnTo>
                      <a:pt x="852588" y="115765"/>
                    </a:lnTo>
                    <a:lnTo>
                      <a:pt x="849679" y="116999"/>
                    </a:lnTo>
                    <a:close/>
                    <a:moveTo>
                      <a:pt x="902492" y="103333"/>
                    </a:moveTo>
                    <a:lnTo>
                      <a:pt x="884681" y="104480"/>
                    </a:lnTo>
                    <a:lnTo>
                      <a:pt x="882654" y="102452"/>
                    </a:lnTo>
                    <a:lnTo>
                      <a:pt x="878862" y="102187"/>
                    </a:lnTo>
                    <a:lnTo>
                      <a:pt x="877716" y="101041"/>
                    </a:lnTo>
                    <a:lnTo>
                      <a:pt x="879744" y="98660"/>
                    </a:lnTo>
                    <a:lnTo>
                      <a:pt x="882389" y="97514"/>
                    </a:lnTo>
                    <a:lnTo>
                      <a:pt x="881507" y="96368"/>
                    </a:lnTo>
                    <a:lnTo>
                      <a:pt x="886798" y="93723"/>
                    </a:lnTo>
                    <a:lnTo>
                      <a:pt x="891206" y="93723"/>
                    </a:lnTo>
                    <a:lnTo>
                      <a:pt x="909545" y="91695"/>
                    </a:lnTo>
                    <a:lnTo>
                      <a:pt x="925592" y="91431"/>
                    </a:lnTo>
                    <a:lnTo>
                      <a:pt x="929118" y="90549"/>
                    </a:lnTo>
                    <a:lnTo>
                      <a:pt x="935819" y="90284"/>
                    </a:lnTo>
                    <a:lnTo>
                      <a:pt x="940228" y="90902"/>
                    </a:lnTo>
                    <a:lnTo>
                      <a:pt x="941991" y="91166"/>
                    </a:lnTo>
                    <a:lnTo>
                      <a:pt x="941462" y="92048"/>
                    </a:lnTo>
                    <a:lnTo>
                      <a:pt x="936525" y="93547"/>
                    </a:lnTo>
                    <a:lnTo>
                      <a:pt x="935643" y="93811"/>
                    </a:lnTo>
                    <a:lnTo>
                      <a:pt x="919596" y="94428"/>
                    </a:lnTo>
                    <a:lnTo>
                      <a:pt x="918097" y="95575"/>
                    </a:lnTo>
                    <a:lnTo>
                      <a:pt x="918714" y="96721"/>
                    </a:lnTo>
                    <a:lnTo>
                      <a:pt x="928325" y="96456"/>
                    </a:lnTo>
                    <a:lnTo>
                      <a:pt x="921624" y="101129"/>
                    </a:lnTo>
                    <a:lnTo>
                      <a:pt x="907341" y="103774"/>
                    </a:lnTo>
                    <a:lnTo>
                      <a:pt x="902492" y="103333"/>
                    </a:lnTo>
                    <a:close/>
                    <a:moveTo>
                      <a:pt x="993217" y="106243"/>
                    </a:moveTo>
                    <a:lnTo>
                      <a:pt x="986780" y="107389"/>
                    </a:lnTo>
                    <a:lnTo>
                      <a:pt x="978316" y="106243"/>
                    </a:lnTo>
                    <a:lnTo>
                      <a:pt x="978052" y="102716"/>
                    </a:lnTo>
                    <a:lnTo>
                      <a:pt x="981579" y="100071"/>
                    </a:lnTo>
                    <a:lnTo>
                      <a:pt x="983077" y="95663"/>
                    </a:lnTo>
                    <a:lnTo>
                      <a:pt x="984841" y="95663"/>
                    </a:lnTo>
                    <a:lnTo>
                      <a:pt x="990043" y="96544"/>
                    </a:lnTo>
                    <a:lnTo>
                      <a:pt x="992071" y="100600"/>
                    </a:lnTo>
                    <a:lnTo>
                      <a:pt x="990924" y="100600"/>
                    </a:lnTo>
                    <a:lnTo>
                      <a:pt x="990395" y="102099"/>
                    </a:lnTo>
                    <a:lnTo>
                      <a:pt x="993305" y="102099"/>
                    </a:lnTo>
                    <a:lnTo>
                      <a:pt x="995597" y="103862"/>
                    </a:lnTo>
                    <a:lnTo>
                      <a:pt x="993217" y="106243"/>
                    </a:lnTo>
                    <a:close/>
                    <a:moveTo>
                      <a:pt x="1161178" y="99189"/>
                    </a:moveTo>
                    <a:lnTo>
                      <a:pt x="1157122" y="100336"/>
                    </a:lnTo>
                    <a:lnTo>
                      <a:pt x="1150157" y="100159"/>
                    </a:lnTo>
                    <a:lnTo>
                      <a:pt x="1148658" y="99895"/>
                    </a:lnTo>
                    <a:lnTo>
                      <a:pt x="1143368" y="99895"/>
                    </a:lnTo>
                    <a:lnTo>
                      <a:pt x="1139929" y="99895"/>
                    </a:lnTo>
                    <a:lnTo>
                      <a:pt x="1134992" y="99895"/>
                    </a:lnTo>
                    <a:lnTo>
                      <a:pt x="1124764" y="99895"/>
                    </a:lnTo>
                    <a:lnTo>
                      <a:pt x="1121237" y="97867"/>
                    </a:lnTo>
                    <a:lnTo>
                      <a:pt x="1123265" y="96104"/>
                    </a:lnTo>
                    <a:lnTo>
                      <a:pt x="1127674" y="94693"/>
                    </a:lnTo>
                    <a:lnTo>
                      <a:pt x="1136402" y="94076"/>
                    </a:lnTo>
                    <a:lnTo>
                      <a:pt x="1138695" y="93459"/>
                    </a:lnTo>
                    <a:lnTo>
                      <a:pt x="1139312" y="94605"/>
                    </a:lnTo>
                    <a:lnTo>
                      <a:pt x="1143720" y="94605"/>
                    </a:lnTo>
                    <a:lnTo>
                      <a:pt x="1146630" y="93988"/>
                    </a:lnTo>
                    <a:lnTo>
                      <a:pt x="1150157" y="93988"/>
                    </a:lnTo>
                    <a:lnTo>
                      <a:pt x="1150774" y="94605"/>
                    </a:lnTo>
                    <a:lnTo>
                      <a:pt x="1153066" y="94605"/>
                    </a:lnTo>
                    <a:lnTo>
                      <a:pt x="1155094" y="94340"/>
                    </a:lnTo>
                    <a:lnTo>
                      <a:pt x="1160649" y="94869"/>
                    </a:lnTo>
                    <a:lnTo>
                      <a:pt x="1163823" y="94340"/>
                    </a:lnTo>
                    <a:lnTo>
                      <a:pt x="1166468" y="94605"/>
                    </a:lnTo>
                    <a:lnTo>
                      <a:pt x="1167967" y="94605"/>
                    </a:lnTo>
                    <a:lnTo>
                      <a:pt x="1169730" y="95751"/>
                    </a:lnTo>
                    <a:lnTo>
                      <a:pt x="1168848" y="96368"/>
                    </a:lnTo>
                    <a:lnTo>
                      <a:pt x="1165939" y="96633"/>
                    </a:lnTo>
                    <a:lnTo>
                      <a:pt x="1163911" y="97514"/>
                    </a:lnTo>
                    <a:lnTo>
                      <a:pt x="1164528" y="96897"/>
                    </a:lnTo>
                    <a:lnTo>
                      <a:pt x="1161178" y="99189"/>
                    </a:lnTo>
                    <a:close/>
                    <a:moveTo>
                      <a:pt x="1328609" y="123700"/>
                    </a:moveTo>
                    <a:lnTo>
                      <a:pt x="1298015" y="127227"/>
                    </a:lnTo>
                    <a:lnTo>
                      <a:pt x="1308860" y="121143"/>
                    </a:lnTo>
                    <a:lnTo>
                      <a:pt x="1292196" y="118851"/>
                    </a:lnTo>
                    <a:lnTo>
                      <a:pt x="1288404" y="115060"/>
                    </a:lnTo>
                    <a:lnTo>
                      <a:pt x="1286024" y="121232"/>
                    </a:lnTo>
                    <a:lnTo>
                      <a:pt x="1276943" y="122113"/>
                    </a:lnTo>
                    <a:lnTo>
                      <a:pt x="1276325" y="113649"/>
                    </a:lnTo>
                    <a:lnTo>
                      <a:pt x="1271388" y="120614"/>
                    </a:lnTo>
                    <a:lnTo>
                      <a:pt x="1267861" y="121232"/>
                    </a:lnTo>
                    <a:lnTo>
                      <a:pt x="1261689" y="118939"/>
                    </a:lnTo>
                    <a:lnTo>
                      <a:pt x="1262307" y="116294"/>
                    </a:lnTo>
                    <a:lnTo>
                      <a:pt x="1259133" y="116294"/>
                    </a:lnTo>
                    <a:lnTo>
                      <a:pt x="1253843" y="120703"/>
                    </a:lnTo>
                    <a:lnTo>
                      <a:pt x="1250933" y="120703"/>
                    </a:lnTo>
                    <a:lnTo>
                      <a:pt x="1249522" y="117793"/>
                    </a:lnTo>
                    <a:lnTo>
                      <a:pt x="1245731" y="118410"/>
                    </a:lnTo>
                    <a:lnTo>
                      <a:pt x="1249522" y="123083"/>
                    </a:lnTo>
                    <a:lnTo>
                      <a:pt x="1237267" y="123700"/>
                    </a:lnTo>
                    <a:lnTo>
                      <a:pt x="1223513" y="121672"/>
                    </a:lnTo>
                    <a:lnTo>
                      <a:pt x="1225011" y="119380"/>
                    </a:lnTo>
                    <a:lnTo>
                      <a:pt x="1217429" y="122025"/>
                    </a:lnTo>
                    <a:lnTo>
                      <a:pt x="1211874" y="121408"/>
                    </a:lnTo>
                    <a:lnTo>
                      <a:pt x="1209229" y="117352"/>
                    </a:lnTo>
                    <a:lnTo>
                      <a:pt x="1204821" y="122290"/>
                    </a:lnTo>
                    <a:lnTo>
                      <a:pt x="1194064" y="121408"/>
                    </a:lnTo>
                    <a:lnTo>
                      <a:pt x="1195563" y="118763"/>
                    </a:lnTo>
                    <a:lnTo>
                      <a:pt x="1189744" y="120791"/>
                    </a:lnTo>
                    <a:lnTo>
                      <a:pt x="1187981" y="119909"/>
                    </a:lnTo>
                    <a:lnTo>
                      <a:pt x="1186217" y="121055"/>
                    </a:lnTo>
                    <a:lnTo>
                      <a:pt x="1181280" y="120791"/>
                    </a:lnTo>
                    <a:lnTo>
                      <a:pt x="1177753" y="118498"/>
                    </a:lnTo>
                    <a:lnTo>
                      <a:pt x="1187981" y="111180"/>
                    </a:lnTo>
                    <a:lnTo>
                      <a:pt x="1208700" y="106772"/>
                    </a:lnTo>
                    <a:lnTo>
                      <a:pt x="1227657" y="105273"/>
                    </a:lnTo>
                    <a:lnTo>
                      <a:pt x="1230302" y="102981"/>
                    </a:lnTo>
                    <a:lnTo>
                      <a:pt x="1224218" y="101835"/>
                    </a:lnTo>
                    <a:lnTo>
                      <a:pt x="1227392" y="98308"/>
                    </a:lnTo>
                    <a:lnTo>
                      <a:pt x="1222984" y="96809"/>
                    </a:lnTo>
                    <a:lnTo>
                      <a:pt x="1227657" y="93018"/>
                    </a:lnTo>
                    <a:lnTo>
                      <a:pt x="1238149" y="91872"/>
                    </a:lnTo>
                    <a:lnTo>
                      <a:pt x="1249787" y="92489"/>
                    </a:lnTo>
                    <a:lnTo>
                      <a:pt x="1255870" y="94517"/>
                    </a:lnTo>
                    <a:lnTo>
                      <a:pt x="1251815" y="100600"/>
                    </a:lnTo>
                    <a:lnTo>
                      <a:pt x="1266362" y="102981"/>
                    </a:lnTo>
                    <a:lnTo>
                      <a:pt x="1280381" y="101835"/>
                    </a:lnTo>
                    <a:lnTo>
                      <a:pt x="1306655" y="94252"/>
                    </a:lnTo>
                    <a:lnTo>
                      <a:pt x="1311064" y="89844"/>
                    </a:lnTo>
                    <a:lnTo>
                      <a:pt x="1287699" y="99189"/>
                    </a:lnTo>
                    <a:lnTo>
                      <a:pt x="1272534" y="99454"/>
                    </a:lnTo>
                    <a:lnTo>
                      <a:pt x="1273416" y="97162"/>
                    </a:lnTo>
                    <a:lnTo>
                      <a:pt x="1266980" y="97162"/>
                    </a:lnTo>
                    <a:lnTo>
                      <a:pt x="1269272" y="94252"/>
                    </a:lnTo>
                    <a:lnTo>
                      <a:pt x="1265216" y="94252"/>
                    </a:lnTo>
                    <a:lnTo>
                      <a:pt x="1269625" y="92224"/>
                    </a:lnTo>
                    <a:lnTo>
                      <a:pt x="1263541" y="90725"/>
                    </a:lnTo>
                    <a:lnTo>
                      <a:pt x="1280469" y="88697"/>
                    </a:lnTo>
                    <a:lnTo>
                      <a:pt x="1279852" y="87199"/>
                    </a:lnTo>
                    <a:lnTo>
                      <a:pt x="1284173" y="86581"/>
                    </a:lnTo>
                    <a:lnTo>
                      <a:pt x="1286200" y="84289"/>
                    </a:lnTo>
                    <a:lnTo>
                      <a:pt x="1283026" y="84025"/>
                    </a:lnTo>
                    <a:lnTo>
                      <a:pt x="1271035" y="87816"/>
                    </a:lnTo>
                    <a:lnTo>
                      <a:pt x="1259926" y="88080"/>
                    </a:lnTo>
                    <a:lnTo>
                      <a:pt x="1264864" y="84906"/>
                    </a:lnTo>
                    <a:lnTo>
                      <a:pt x="1249963" y="88080"/>
                    </a:lnTo>
                    <a:lnTo>
                      <a:pt x="1242998" y="87199"/>
                    </a:lnTo>
                    <a:lnTo>
                      <a:pt x="1247935" y="86052"/>
                    </a:lnTo>
                    <a:lnTo>
                      <a:pt x="1243615" y="85788"/>
                    </a:lnTo>
                    <a:lnTo>
                      <a:pt x="1270418" y="74150"/>
                    </a:lnTo>
                    <a:lnTo>
                      <a:pt x="1294929" y="71857"/>
                    </a:lnTo>
                    <a:lnTo>
                      <a:pt x="1297839" y="73621"/>
                    </a:lnTo>
                    <a:lnTo>
                      <a:pt x="1311857" y="73621"/>
                    </a:lnTo>
                    <a:lnTo>
                      <a:pt x="1323231" y="77676"/>
                    </a:lnTo>
                    <a:lnTo>
                      <a:pt x="1328168" y="75648"/>
                    </a:lnTo>
                    <a:lnTo>
                      <a:pt x="1319969" y="73621"/>
                    </a:lnTo>
                    <a:lnTo>
                      <a:pt x="1342099" y="73356"/>
                    </a:lnTo>
                    <a:lnTo>
                      <a:pt x="1344127" y="70447"/>
                    </a:lnTo>
                    <a:lnTo>
                      <a:pt x="1340336" y="71945"/>
                    </a:lnTo>
                    <a:lnTo>
                      <a:pt x="1306744" y="71681"/>
                    </a:lnTo>
                    <a:lnTo>
                      <a:pt x="1301806" y="69036"/>
                    </a:lnTo>
                    <a:lnTo>
                      <a:pt x="1306215" y="67890"/>
                    </a:lnTo>
                    <a:lnTo>
                      <a:pt x="1318734" y="69918"/>
                    </a:lnTo>
                    <a:lnTo>
                      <a:pt x="1323407" y="69300"/>
                    </a:lnTo>
                    <a:lnTo>
                      <a:pt x="1312651" y="66655"/>
                    </a:lnTo>
                    <a:lnTo>
                      <a:pt x="1307713" y="57927"/>
                    </a:lnTo>
                    <a:lnTo>
                      <a:pt x="1290521" y="54135"/>
                    </a:lnTo>
                    <a:lnTo>
                      <a:pt x="1294929" y="52108"/>
                    </a:lnTo>
                    <a:lnTo>
                      <a:pt x="1303393" y="51843"/>
                    </a:lnTo>
                    <a:lnTo>
                      <a:pt x="1294665" y="49198"/>
                    </a:lnTo>
                    <a:lnTo>
                      <a:pt x="1301982" y="45671"/>
                    </a:lnTo>
                    <a:lnTo>
                      <a:pt x="1310711" y="45054"/>
                    </a:lnTo>
                    <a:lnTo>
                      <a:pt x="1318558" y="46465"/>
                    </a:lnTo>
                    <a:lnTo>
                      <a:pt x="1338661" y="46465"/>
                    </a:lnTo>
                    <a:lnTo>
                      <a:pt x="1352944" y="52019"/>
                    </a:lnTo>
                    <a:lnTo>
                      <a:pt x="1359116" y="57839"/>
                    </a:lnTo>
                    <a:lnTo>
                      <a:pt x="1365199" y="58456"/>
                    </a:lnTo>
                    <a:lnTo>
                      <a:pt x="1368990" y="57574"/>
                    </a:lnTo>
                    <a:lnTo>
                      <a:pt x="1361143" y="56075"/>
                    </a:lnTo>
                    <a:lnTo>
                      <a:pt x="1365552" y="52019"/>
                    </a:lnTo>
                    <a:lnTo>
                      <a:pt x="1355941" y="49727"/>
                    </a:lnTo>
                    <a:lnTo>
                      <a:pt x="1351004" y="45319"/>
                    </a:lnTo>
                    <a:lnTo>
                      <a:pt x="1390944" y="43291"/>
                    </a:lnTo>
                    <a:lnTo>
                      <a:pt x="1396499" y="41792"/>
                    </a:lnTo>
                    <a:lnTo>
                      <a:pt x="1425947" y="40293"/>
                    </a:lnTo>
                    <a:lnTo>
                      <a:pt x="1401172" y="40028"/>
                    </a:lnTo>
                    <a:lnTo>
                      <a:pt x="1429474" y="36854"/>
                    </a:lnTo>
                    <a:lnTo>
                      <a:pt x="1451340" y="35708"/>
                    </a:lnTo>
                    <a:lnTo>
                      <a:pt x="1420128" y="35973"/>
                    </a:lnTo>
                    <a:lnTo>
                      <a:pt x="1435293" y="30418"/>
                    </a:lnTo>
                    <a:lnTo>
                      <a:pt x="1451869" y="26627"/>
                    </a:lnTo>
                    <a:lnTo>
                      <a:pt x="1423038" y="31564"/>
                    </a:lnTo>
                    <a:lnTo>
                      <a:pt x="1411047" y="36237"/>
                    </a:lnTo>
                    <a:lnTo>
                      <a:pt x="1387153" y="39147"/>
                    </a:lnTo>
                    <a:lnTo>
                      <a:pt x="1355589" y="41175"/>
                    </a:lnTo>
                    <a:lnTo>
                      <a:pt x="1359116" y="39411"/>
                    </a:lnTo>
                    <a:lnTo>
                      <a:pt x="1379835" y="36766"/>
                    </a:lnTo>
                    <a:lnTo>
                      <a:pt x="1354178" y="37912"/>
                    </a:lnTo>
                    <a:lnTo>
                      <a:pt x="1355324" y="36414"/>
                    </a:lnTo>
                    <a:lnTo>
                      <a:pt x="1349505" y="39940"/>
                    </a:lnTo>
                    <a:lnTo>
                      <a:pt x="1341041" y="41439"/>
                    </a:lnTo>
                    <a:lnTo>
                      <a:pt x="1304892" y="40293"/>
                    </a:lnTo>
                    <a:lnTo>
                      <a:pt x="1335222" y="32975"/>
                    </a:lnTo>
                    <a:lnTo>
                      <a:pt x="1373751" y="30683"/>
                    </a:lnTo>
                    <a:lnTo>
                      <a:pt x="1323848" y="32975"/>
                    </a:lnTo>
                    <a:lnTo>
                      <a:pt x="1297927" y="39411"/>
                    </a:lnTo>
                    <a:lnTo>
                      <a:pt x="1277472" y="36502"/>
                    </a:lnTo>
                    <a:lnTo>
                      <a:pt x="1275708" y="34474"/>
                    </a:lnTo>
                    <a:lnTo>
                      <a:pt x="1326141" y="32181"/>
                    </a:lnTo>
                    <a:lnTo>
                      <a:pt x="1346596" y="28390"/>
                    </a:lnTo>
                    <a:lnTo>
                      <a:pt x="1306655" y="31917"/>
                    </a:lnTo>
                    <a:lnTo>
                      <a:pt x="1271388" y="33063"/>
                    </a:lnTo>
                    <a:lnTo>
                      <a:pt x="1264687" y="31300"/>
                    </a:lnTo>
                    <a:lnTo>
                      <a:pt x="1266451" y="29801"/>
                    </a:lnTo>
                    <a:lnTo>
                      <a:pt x="1283996" y="28655"/>
                    </a:lnTo>
                    <a:lnTo>
                      <a:pt x="1274650" y="27773"/>
                    </a:lnTo>
                    <a:lnTo>
                      <a:pt x="1292196" y="26010"/>
                    </a:lnTo>
                    <a:lnTo>
                      <a:pt x="1305333" y="23982"/>
                    </a:lnTo>
                    <a:lnTo>
                      <a:pt x="1301542" y="23453"/>
                    </a:lnTo>
                    <a:lnTo>
                      <a:pt x="1268302" y="26627"/>
                    </a:lnTo>
                    <a:lnTo>
                      <a:pt x="1266274" y="25481"/>
                    </a:lnTo>
                    <a:lnTo>
                      <a:pt x="1285231" y="22571"/>
                    </a:lnTo>
                    <a:lnTo>
                      <a:pt x="1266803" y="22571"/>
                    </a:lnTo>
                    <a:lnTo>
                      <a:pt x="1260367" y="24599"/>
                    </a:lnTo>
                    <a:lnTo>
                      <a:pt x="1253931" y="22836"/>
                    </a:lnTo>
                    <a:lnTo>
                      <a:pt x="1274915" y="18780"/>
                    </a:lnTo>
                    <a:lnTo>
                      <a:pt x="1289198" y="18515"/>
                    </a:lnTo>
                    <a:lnTo>
                      <a:pt x="1291490" y="19662"/>
                    </a:lnTo>
                    <a:lnTo>
                      <a:pt x="1306391" y="15870"/>
                    </a:lnTo>
                    <a:lnTo>
                      <a:pt x="1313709" y="15606"/>
                    </a:lnTo>
                    <a:lnTo>
                      <a:pt x="1325347" y="16752"/>
                    </a:lnTo>
                    <a:lnTo>
                      <a:pt x="1321556" y="17634"/>
                    </a:lnTo>
                    <a:lnTo>
                      <a:pt x="1336456" y="16135"/>
                    </a:lnTo>
                    <a:lnTo>
                      <a:pt x="1348447" y="17281"/>
                    </a:lnTo>
                    <a:lnTo>
                      <a:pt x="1351974" y="16752"/>
                    </a:lnTo>
                    <a:lnTo>
                      <a:pt x="1334428" y="15341"/>
                    </a:lnTo>
                    <a:lnTo>
                      <a:pt x="1334164" y="13313"/>
                    </a:lnTo>
                    <a:lnTo>
                      <a:pt x="1354266" y="12432"/>
                    </a:lnTo>
                    <a:lnTo>
                      <a:pt x="1353649" y="10404"/>
                    </a:lnTo>
                    <a:lnTo>
                      <a:pt x="1350475" y="9787"/>
                    </a:lnTo>
                    <a:lnTo>
                      <a:pt x="1379042" y="11550"/>
                    </a:lnTo>
                    <a:lnTo>
                      <a:pt x="1381687" y="12961"/>
                    </a:lnTo>
                    <a:lnTo>
                      <a:pt x="1395706" y="12079"/>
                    </a:lnTo>
                    <a:lnTo>
                      <a:pt x="1402406" y="9170"/>
                    </a:lnTo>
                    <a:lnTo>
                      <a:pt x="1413163" y="8905"/>
                    </a:lnTo>
                    <a:lnTo>
                      <a:pt x="1406198" y="8641"/>
                    </a:lnTo>
                    <a:lnTo>
                      <a:pt x="1406815" y="6613"/>
                    </a:lnTo>
                    <a:lnTo>
                      <a:pt x="1426388" y="7759"/>
                    </a:lnTo>
                    <a:lnTo>
                      <a:pt x="1419952" y="4849"/>
                    </a:lnTo>
                    <a:lnTo>
                      <a:pt x="1434852" y="5466"/>
                    </a:lnTo>
                    <a:lnTo>
                      <a:pt x="1441553" y="4585"/>
                    </a:lnTo>
                    <a:lnTo>
                      <a:pt x="1433706" y="3968"/>
                    </a:lnTo>
                    <a:lnTo>
                      <a:pt x="1439878" y="2557"/>
                    </a:lnTo>
                    <a:lnTo>
                      <a:pt x="1450987" y="2292"/>
                    </a:lnTo>
                    <a:lnTo>
                      <a:pt x="1453015" y="3439"/>
                    </a:lnTo>
                    <a:lnTo>
                      <a:pt x="1458305" y="3174"/>
                    </a:lnTo>
                    <a:lnTo>
                      <a:pt x="1456542" y="4056"/>
                    </a:lnTo>
                    <a:lnTo>
                      <a:pt x="1462361" y="4673"/>
                    </a:lnTo>
                    <a:lnTo>
                      <a:pt x="1475498" y="3262"/>
                    </a:lnTo>
                    <a:lnTo>
                      <a:pt x="1475233" y="1499"/>
                    </a:lnTo>
                    <a:lnTo>
                      <a:pt x="1484579" y="617"/>
                    </a:lnTo>
                    <a:lnTo>
                      <a:pt x="1526283" y="2910"/>
                    </a:lnTo>
                    <a:lnTo>
                      <a:pt x="1537392" y="617"/>
                    </a:lnTo>
                    <a:lnTo>
                      <a:pt x="1553703" y="617"/>
                    </a:lnTo>
                    <a:lnTo>
                      <a:pt x="1552292" y="1763"/>
                    </a:lnTo>
                    <a:lnTo>
                      <a:pt x="1566840" y="0"/>
                    </a:lnTo>
                    <a:lnTo>
                      <a:pt x="1579360" y="265"/>
                    </a:lnTo>
                    <a:lnTo>
                      <a:pt x="1577332" y="2028"/>
                    </a:lnTo>
                    <a:lnTo>
                      <a:pt x="1585797" y="1763"/>
                    </a:lnTo>
                    <a:lnTo>
                      <a:pt x="1589852" y="2910"/>
                    </a:lnTo>
                    <a:lnTo>
                      <a:pt x="1591880" y="1411"/>
                    </a:lnTo>
                    <a:lnTo>
                      <a:pt x="1624238" y="2910"/>
                    </a:lnTo>
                    <a:lnTo>
                      <a:pt x="1590117" y="6965"/>
                    </a:lnTo>
                    <a:lnTo>
                      <a:pt x="1604664" y="6701"/>
                    </a:lnTo>
                    <a:lnTo>
                      <a:pt x="1631820" y="3791"/>
                    </a:lnTo>
                    <a:lnTo>
                      <a:pt x="1633231" y="4673"/>
                    </a:lnTo>
                    <a:lnTo>
                      <a:pt x="1644869" y="2645"/>
                    </a:lnTo>
                    <a:lnTo>
                      <a:pt x="1646897" y="4937"/>
                    </a:lnTo>
                    <a:lnTo>
                      <a:pt x="1659417" y="3527"/>
                    </a:lnTo>
                    <a:lnTo>
                      <a:pt x="1659153" y="5819"/>
                    </a:lnTo>
                    <a:lnTo>
                      <a:pt x="1653598" y="5819"/>
                    </a:lnTo>
                    <a:lnTo>
                      <a:pt x="1664972" y="7847"/>
                    </a:lnTo>
                    <a:lnTo>
                      <a:pt x="1663561" y="9610"/>
                    </a:lnTo>
                    <a:lnTo>
                      <a:pt x="1669115" y="8729"/>
                    </a:lnTo>
                    <a:lnTo>
                      <a:pt x="1687455" y="10757"/>
                    </a:lnTo>
                    <a:lnTo>
                      <a:pt x="1685956" y="13049"/>
                    </a:lnTo>
                    <a:lnTo>
                      <a:pt x="1634025" y="21778"/>
                    </a:lnTo>
                    <a:lnTo>
                      <a:pt x="1611542" y="22042"/>
                    </a:lnTo>
                    <a:lnTo>
                      <a:pt x="1620006" y="22659"/>
                    </a:lnTo>
                    <a:lnTo>
                      <a:pt x="1580595" y="24423"/>
                    </a:lnTo>
                    <a:lnTo>
                      <a:pt x="1570984" y="23541"/>
                    </a:lnTo>
                    <a:lnTo>
                      <a:pt x="1574511" y="25040"/>
                    </a:lnTo>
                    <a:lnTo>
                      <a:pt x="1601050" y="24775"/>
                    </a:lnTo>
                    <a:lnTo>
                      <a:pt x="1552645" y="30947"/>
                    </a:lnTo>
                    <a:lnTo>
                      <a:pt x="1576539" y="29801"/>
                    </a:lnTo>
                    <a:lnTo>
                      <a:pt x="1630498" y="24599"/>
                    </a:lnTo>
                    <a:lnTo>
                      <a:pt x="1622651" y="28655"/>
                    </a:lnTo>
                    <a:lnTo>
                      <a:pt x="1607750" y="30154"/>
                    </a:lnTo>
                    <a:lnTo>
                      <a:pt x="1546826" y="44437"/>
                    </a:lnTo>
                    <a:lnTo>
                      <a:pt x="1535188" y="45583"/>
                    </a:lnTo>
                    <a:lnTo>
                      <a:pt x="1530515" y="45054"/>
                    </a:lnTo>
                    <a:lnTo>
                      <a:pt x="1535452" y="46465"/>
                    </a:lnTo>
                    <a:lnTo>
                      <a:pt x="1531661" y="48228"/>
                    </a:lnTo>
                    <a:lnTo>
                      <a:pt x="1499568" y="49992"/>
                    </a:lnTo>
                    <a:lnTo>
                      <a:pt x="1504505" y="50873"/>
                    </a:lnTo>
                    <a:lnTo>
                      <a:pt x="1523461" y="49727"/>
                    </a:lnTo>
                    <a:lnTo>
                      <a:pt x="1504770" y="56428"/>
                    </a:lnTo>
                    <a:lnTo>
                      <a:pt x="1484932" y="57045"/>
                    </a:lnTo>
                    <a:lnTo>
                      <a:pt x="1484932" y="55017"/>
                    </a:lnTo>
                    <a:lnTo>
                      <a:pt x="1469150" y="53518"/>
                    </a:lnTo>
                    <a:lnTo>
                      <a:pt x="1460950" y="54400"/>
                    </a:lnTo>
                    <a:lnTo>
                      <a:pt x="1461215" y="55546"/>
                    </a:lnTo>
                    <a:lnTo>
                      <a:pt x="1478760" y="55811"/>
                    </a:lnTo>
                    <a:lnTo>
                      <a:pt x="1477878" y="60219"/>
                    </a:lnTo>
                    <a:lnTo>
                      <a:pt x="1468885" y="61101"/>
                    </a:lnTo>
                    <a:lnTo>
                      <a:pt x="1467739" y="59955"/>
                    </a:lnTo>
                    <a:lnTo>
                      <a:pt x="1463066" y="61718"/>
                    </a:lnTo>
                    <a:lnTo>
                      <a:pt x="1453985" y="62335"/>
                    </a:lnTo>
                    <a:lnTo>
                      <a:pt x="1451604" y="61189"/>
                    </a:lnTo>
                    <a:lnTo>
                      <a:pt x="1448959" y="64098"/>
                    </a:lnTo>
                    <a:lnTo>
                      <a:pt x="1434411" y="62600"/>
                    </a:lnTo>
                    <a:lnTo>
                      <a:pt x="1430620" y="64627"/>
                    </a:lnTo>
                    <a:lnTo>
                      <a:pt x="1413427" y="65245"/>
                    </a:lnTo>
                    <a:lnTo>
                      <a:pt x="1444903" y="67273"/>
                    </a:lnTo>
                    <a:lnTo>
                      <a:pt x="1450458" y="70799"/>
                    </a:lnTo>
                    <a:lnTo>
                      <a:pt x="1433001" y="69918"/>
                    </a:lnTo>
                    <a:lnTo>
                      <a:pt x="1429474" y="67890"/>
                    </a:lnTo>
                    <a:lnTo>
                      <a:pt x="1414044" y="68154"/>
                    </a:lnTo>
                    <a:lnTo>
                      <a:pt x="1426300" y="69565"/>
                    </a:lnTo>
                    <a:lnTo>
                      <a:pt x="1396852" y="71593"/>
                    </a:lnTo>
                    <a:lnTo>
                      <a:pt x="1428945" y="72210"/>
                    </a:lnTo>
                    <a:lnTo>
                      <a:pt x="1418453" y="73973"/>
                    </a:lnTo>
                    <a:lnTo>
                      <a:pt x="1433001" y="73092"/>
                    </a:lnTo>
                    <a:lnTo>
                      <a:pt x="1440848" y="74591"/>
                    </a:lnTo>
                    <a:lnTo>
                      <a:pt x="1433530" y="80145"/>
                    </a:lnTo>
                    <a:lnTo>
                      <a:pt x="1423655" y="81027"/>
                    </a:lnTo>
                    <a:lnTo>
                      <a:pt x="1413780" y="81027"/>
                    </a:lnTo>
                    <a:lnTo>
                      <a:pt x="1427182" y="84554"/>
                    </a:lnTo>
                    <a:lnTo>
                      <a:pt x="1419952" y="85788"/>
                    </a:lnTo>
                    <a:lnTo>
                      <a:pt x="1404170" y="85171"/>
                    </a:lnTo>
                    <a:lnTo>
                      <a:pt x="1398968" y="86052"/>
                    </a:lnTo>
                    <a:lnTo>
                      <a:pt x="1416161" y="87816"/>
                    </a:lnTo>
                    <a:lnTo>
                      <a:pt x="1408843" y="90461"/>
                    </a:lnTo>
                    <a:lnTo>
                      <a:pt x="1404434" y="89844"/>
                    </a:lnTo>
                    <a:lnTo>
                      <a:pt x="1393325" y="92136"/>
                    </a:lnTo>
                    <a:lnTo>
                      <a:pt x="1374104" y="90637"/>
                    </a:lnTo>
                    <a:lnTo>
                      <a:pt x="1371812" y="95575"/>
                    </a:lnTo>
                    <a:lnTo>
                      <a:pt x="1375868" y="96192"/>
                    </a:lnTo>
                    <a:lnTo>
                      <a:pt x="1362113" y="102011"/>
                    </a:lnTo>
                    <a:lnTo>
                      <a:pt x="1355677" y="102893"/>
                    </a:lnTo>
                    <a:lnTo>
                      <a:pt x="1354795" y="102011"/>
                    </a:lnTo>
                    <a:lnTo>
                      <a:pt x="1346948" y="103774"/>
                    </a:lnTo>
                    <a:lnTo>
                      <a:pt x="1327375" y="103774"/>
                    </a:lnTo>
                    <a:lnTo>
                      <a:pt x="1314238" y="99101"/>
                    </a:lnTo>
                    <a:lnTo>
                      <a:pt x="1313092" y="100600"/>
                    </a:lnTo>
                    <a:lnTo>
                      <a:pt x="1318294" y="103245"/>
                    </a:lnTo>
                    <a:lnTo>
                      <a:pt x="1305421" y="104391"/>
                    </a:lnTo>
                    <a:lnTo>
                      <a:pt x="1306920" y="106155"/>
                    </a:lnTo>
                    <a:lnTo>
                      <a:pt x="1317676" y="104391"/>
                    </a:lnTo>
                    <a:lnTo>
                      <a:pt x="1329932" y="105538"/>
                    </a:lnTo>
                    <a:lnTo>
                      <a:pt x="1329667" y="106684"/>
                    </a:lnTo>
                    <a:lnTo>
                      <a:pt x="1338396" y="104303"/>
                    </a:lnTo>
                    <a:lnTo>
                      <a:pt x="1345978" y="104920"/>
                    </a:lnTo>
                    <a:lnTo>
                      <a:pt x="1347742" y="106948"/>
                    </a:lnTo>
                    <a:lnTo>
                      <a:pt x="1340424" y="109858"/>
                    </a:lnTo>
                    <a:lnTo>
                      <a:pt x="1345626" y="110475"/>
                    </a:lnTo>
                    <a:lnTo>
                      <a:pt x="1346507" y="112238"/>
                    </a:lnTo>
                    <a:lnTo>
                      <a:pt x="1357264" y="108447"/>
                    </a:lnTo>
                    <a:lnTo>
                      <a:pt x="1360791" y="112503"/>
                    </a:lnTo>
                    <a:lnTo>
                      <a:pt x="1343333" y="120085"/>
                    </a:lnTo>
                    <a:lnTo>
                      <a:pt x="1340953" y="119468"/>
                    </a:lnTo>
                    <a:lnTo>
                      <a:pt x="1328609" y="123700"/>
                    </a:lnTo>
                    <a:close/>
                    <a:moveTo>
                      <a:pt x="875336" y="126081"/>
                    </a:moveTo>
                    <a:lnTo>
                      <a:pt x="873837" y="126698"/>
                    </a:lnTo>
                    <a:lnTo>
                      <a:pt x="871192" y="122642"/>
                    </a:lnTo>
                    <a:lnTo>
                      <a:pt x="881948" y="121232"/>
                    </a:lnTo>
                    <a:lnTo>
                      <a:pt x="875336" y="126081"/>
                    </a:lnTo>
                    <a:close/>
                    <a:moveTo>
                      <a:pt x="990307" y="122554"/>
                    </a:moveTo>
                    <a:lnTo>
                      <a:pt x="983342" y="125728"/>
                    </a:lnTo>
                    <a:lnTo>
                      <a:pt x="967560" y="125111"/>
                    </a:lnTo>
                    <a:lnTo>
                      <a:pt x="969059" y="117528"/>
                    </a:lnTo>
                    <a:lnTo>
                      <a:pt x="993569" y="111445"/>
                    </a:lnTo>
                    <a:lnTo>
                      <a:pt x="993834" y="118146"/>
                    </a:lnTo>
                    <a:lnTo>
                      <a:pt x="990307" y="122554"/>
                    </a:lnTo>
                    <a:close/>
                    <a:moveTo>
                      <a:pt x="728006" y="132782"/>
                    </a:moveTo>
                    <a:lnTo>
                      <a:pt x="725097" y="133928"/>
                    </a:lnTo>
                    <a:lnTo>
                      <a:pt x="727742" y="126962"/>
                    </a:lnTo>
                    <a:lnTo>
                      <a:pt x="720777" y="130137"/>
                    </a:lnTo>
                    <a:lnTo>
                      <a:pt x="714340" y="131018"/>
                    </a:lnTo>
                    <a:lnTo>
                      <a:pt x="709667" y="129519"/>
                    </a:lnTo>
                    <a:lnTo>
                      <a:pt x="704730" y="130666"/>
                    </a:lnTo>
                    <a:lnTo>
                      <a:pt x="702085" y="130048"/>
                    </a:lnTo>
                    <a:lnTo>
                      <a:pt x="697147" y="131812"/>
                    </a:lnTo>
                    <a:lnTo>
                      <a:pt x="694238" y="130930"/>
                    </a:lnTo>
                    <a:lnTo>
                      <a:pt x="700674" y="127756"/>
                    </a:lnTo>
                    <a:lnTo>
                      <a:pt x="698029" y="126610"/>
                    </a:lnTo>
                    <a:lnTo>
                      <a:pt x="707639" y="123700"/>
                    </a:lnTo>
                    <a:lnTo>
                      <a:pt x="718749" y="122819"/>
                    </a:lnTo>
                    <a:lnTo>
                      <a:pt x="723157" y="121672"/>
                    </a:lnTo>
                    <a:lnTo>
                      <a:pt x="728447" y="120174"/>
                    </a:lnTo>
                    <a:lnTo>
                      <a:pt x="734883" y="117793"/>
                    </a:lnTo>
                    <a:lnTo>
                      <a:pt x="724656" y="120174"/>
                    </a:lnTo>
                    <a:lnTo>
                      <a:pt x="748550" y="115501"/>
                    </a:lnTo>
                    <a:lnTo>
                      <a:pt x="763450" y="110210"/>
                    </a:lnTo>
                    <a:lnTo>
                      <a:pt x="773678" y="108800"/>
                    </a:lnTo>
                    <a:lnTo>
                      <a:pt x="782406" y="107654"/>
                    </a:lnTo>
                    <a:lnTo>
                      <a:pt x="789107" y="104744"/>
                    </a:lnTo>
                    <a:lnTo>
                      <a:pt x="800216" y="104127"/>
                    </a:lnTo>
                    <a:lnTo>
                      <a:pt x="815381" y="105009"/>
                    </a:lnTo>
                    <a:lnTo>
                      <a:pt x="812736" y="102981"/>
                    </a:lnTo>
                    <a:lnTo>
                      <a:pt x="820319" y="101217"/>
                    </a:lnTo>
                    <a:lnTo>
                      <a:pt x="827284" y="101217"/>
                    </a:lnTo>
                    <a:lnTo>
                      <a:pt x="833720" y="101835"/>
                    </a:lnTo>
                    <a:lnTo>
                      <a:pt x="836013" y="102981"/>
                    </a:lnTo>
                    <a:lnTo>
                      <a:pt x="834866" y="105273"/>
                    </a:lnTo>
                    <a:lnTo>
                      <a:pt x="825520" y="106155"/>
                    </a:lnTo>
                    <a:lnTo>
                      <a:pt x="820230" y="109681"/>
                    </a:lnTo>
                    <a:lnTo>
                      <a:pt x="814940" y="109064"/>
                    </a:lnTo>
                    <a:lnTo>
                      <a:pt x="816968" y="113120"/>
                    </a:lnTo>
                    <a:lnTo>
                      <a:pt x="811414" y="111709"/>
                    </a:lnTo>
                    <a:lnTo>
                      <a:pt x="810267" y="116999"/>
                    </a:lnTo>
                    <a:lnTo>
                      <a:pt x="791047" y="119644"/>
                    </a:lnTo>
                    <a:lnTo>
                      <a:pt x="786991" y="123436"/>
                    </a:lnTo>
                    <a:lnTo>
                      <a:pt x="775882" y="124582"/>
                    </a:lnTo>
                    <a:lnTo>
                      <a:pt x="775617" y="121937"/>
                    </a:lnTo>
                    <a:lnTo>
                      <a:pt x="789636" y="114972"/>
                    </a:lnTo>
                    <a:lnTo>
                      <a:pt x="775617" y="116118"/>
                    </a:lnTo>
                    <a:lnTo>
                      <a:pt x="772972" y="119644"/>
                    </a:lnTo>
                    <a:lnTo>
                      <a:pt x="764772" y="119644"/>
                    </a:lnTo>
                    <a:lnTo>
                      <a:pt x="760364" y="124935"/>
                    </a:lnTo>
                    <a:lnTo>
                      <a:pt x="757190" y="124935"/>
                    </a:lnTo>
                    <a:lnTo>
                      <a:pt x="748990" y="128461"/>
                    </a:lnTo>
                    <a:lnTo>
                      <a:pt x="746610" y="123788"/>
                    </a:lnTo>
                    <a:lnTo>
                      <a:pt x="741055" y="128461"/>
                    </a:lnTo>
                    <a:lnTo>
                      <a:pt x="742554" y="130225"/>
                    </a:lnTo>
                    <a:lnTo>
                      <a:pt x="728006" y="132782"/>
                    </a:lnTo>
                    <a:close/>
                    <a:moveTo>
                      <a:pt x="742907" y="138336"/>
                    </a:moveTo>
                    <a:lnTo>
                      <a:pt x="734443" y="140100"/>
                    </a:lnTo>
                    <a:lnTo>
                      <a:pt x="729152" y="139482"/>
                    </a:lnTo>
                    <a:lnTo>
                      <a:pt x="730299" y="138601"/>
                    </a:lnTo>
                    <a:lnTo>
                      <a:pt x="724480" y="138336"/>
                    </a:lnTo>
                    <a:lnTo>
                      <a:pt x="748990" y="131018"/>
                    </a:lnTo>
                    <a:lnTo>
                      <a:pt x="753663" y="130754"/>
                    </a:lnTo>
                    <a:lnTo>
                      <a:pt x="763891" y="128109"/>
                    </a:lnTo>
                    <a:lnTo>
                      <a:pt x="765654" y="128990"/>
                    </a:lnTo>
                    <a:lnTo>
                      <a:pt x="764508" y="129872"/>
                    </a:lnTo>
                    <a:lnTo>
                      <a:pt x="757807" y="131900"/>
                    </a:lnTo>
                    <a:lnTo>
                      <a:pt x="751988" y="134545"/>
                    </a:lnTo>
                    <a:lnTo>
                      <a:pt x="747051" y="136308"/>
                    </a:lnTo>
                    <a:lnTo>
                      <a:pt x="742907" y="138336"/>
                    </a:lnTo>
                    <a:close/>
                    <a:moveTo>
                      <a:pt x="966943" y="131283"/>
                    </a:moveTo>
                    <a:lnTo>
                      <a:pt x="955833" y="131900"/>
                    </a:lnTo>
                    <a:lnTo>
                      <a:pt x="954952" y="131283"/>
                    </a:lnTo>
                    <a:lnTo>
                      <a:pt x="969235" y="129519"/>
                    </a:lnTo>
                    <a:lnTo>
                      <a:pt x="980609" y="128638"/>
                    </a:lnTo>
                    <a:lnTo>
                      <a:pt x="981755" y="129255"/>
                    </a:lnTo>
                    <a:lnTo>
                      <a:pt x="966943" y="131283"/>
                    </a:lnTo>
                    <a:close/>
                    <a:moveTo>
                      <a:pt x="972762" y="134192"/>
                    </a:moveTo>
                    <a:lnTo>
                      <a:pt x="965796" y="134809"/>
                    </a:lnTo>
                    <a:lnTo>
                      <a:pt x="959713" y="134809"/>
                    </a:lnTo>
                    <a:lnTo>
                      <a:pt x="961741" y="134192"/>
                    </a:lnTo>
                    <a:lnTo>
                      <a:pt x="966149" y="133311"/>
                    </a:lnTo>
                    <a:lnTo>
                      <a:pt x="966149" y="132693"/>
                    </a:lnTo>
                    <a:lnTo>
                      <a:pt x="981579" y="130313"/>
                    </a:lnTo>
                    <a:lnTo>
                      <a:pt x="984488" y="130313"/>
                    </a:lnTo>
                    <a:lnTo>
                      <a:pt x="984488" y="130930"/>
                    </a:lnTo>
                    <a:lnTo>
                      <a:pt x="978405" y="131812"/>
                    </a:lnTo>
                    <a:lnTo>
                      <a:pt x="972762" y="134192"/>
                    </a:lnTo>
                    <a:close/>
                    <a:moveTo>
                      <a:pt x="1033686" y="143009"/>
                    </a:moveTo>
                    <a:lnTo>
                      <a:pt x="1033686" y="146800"/>
                    </a:lnTo>
                    <a:lnTo>
                      <a:pt x="998948" y="143009"/>
                    </a:lnTo>
                    <a:lnTo>
                      <a:pt x="1006530" y="142392"/>
                    </a:lnTo>
                    <a:lnTo>
                      <a:pt x="1004767" y="140981"/>
                    </a:lnTo>
                    <a:lnTo>
                      <a:pt x="998066" y="139571"/>
                    </a:lnTo>
                    <a:lnTo>
                      <a:pt x="1002122" y="139571"/>
                    </a:lnTo>
                    <a:lnTo>
                      <a:pt x="1000358" y="137543"/>
                    </a:lnTo>
                    <a:lnTo>
                      <a:pt x="1011732" y="137014"/>
                    </a:lnTo>
                    <a:lnTo>
                      <a:pt x="1020461" y="133222"/>
                    </a:lnTo>
                    <a:lnTo>
                      <a:pt x="1033333" y="131459"/>
                    </a:lnTo>
                    <a:lnTo>
                      <a:pt x="973555" y="135868"/>
                    </a:lnTo>
                    <a:lnTo>
                      <a:pt x="973555" y="132958"/>
                    </a:lnTo>
                    <a:lnTo>
                      <a:pt x="985811" y="131812"/>
                    </a:lnTo>
                    <a:lnTo>
                      <a:pt x="986692" y="128902"/>
                    </a:lnTo>
                    <a:lnTo>
                      <a:pt x="993129" y="128021"/>
                    </a:lnTo>
                    <a:lnTo>
                      <a:pt x="998066" y="130930"/>
                    </a:lnTo>
                    <a:lnTo>
                      <a:pt x="1005649" y="129431"/>
                    </a:lnTo>
                    <a:lnTo>
                      <a:pt x="1000182" y="129872"/>
                    </a:lnTo>
                    <a:lnTo>
                      <a:pt x="999653" y="127227"/>
                    </a:lnTo>
                    <a:lnTo>
                      <a:pt x="1003709" y="124935"/>
                    </a:lnTo>
                    <a:lnTo>
                      <a:pt x="997273" y="124670"/>
                    </a:lnTo>
                    <a:lnTo>
                      <a:pt x="1006001" y="120879"/>
                    </a:lnTo>
                    <a:lnTo>
                      <a:pt x="998419" y="120262"/>
                    </a:lnTo>
                    <a:lnTo>
                      <a:pt x="1006883" y="115589"/>
                    </a:lnTo>
                    <a:lnTo>
                      <a:pt x="1014730" y="118234"/>
                    </a:lnTo>
                    <a:lnTo>
                      <a:pt x="1020549" y="127580"/>
                    </a:lnTo>
                    <a:lnTo>
                      <a:pt x="1025222" y="126081"/>
                    </a:lnTo>
                    <a:lnTo>
                      <a:pt x="1023194" y="122554"/>
                    </a:lnTo>
                    <a:lnTo>
                      <a:pt x="1029366" y="122290"/>
                    </a:lnTo>
                    <a:lnTo>
                      <a:pt x="1022400" y="120791"/>
                    </a:lnTo>
                    <a:lnTo>
                      <a:pt x="1023547" y="119644"/>
                    </a:lnTo>
                    <a:lnTo>
                      <a:pt x="1029630" y="118763"/>
                    </a:lnTo>
                    <a:lnTo>
                      <a:pt x="1020549" y="117264"/>
                    </a:lnTo>
                    <a:lnTo>
                      <a:pt x="1019403" y="114354"/>
                    </a:lnTo>
                    <a:lnTo>
                      <a:pt x="1030777" y="111709"/>
                    </a:lnTo>
                    <a:lnTo>
                      <a:pt x="1042415" y="111709"/>
                    </a:lnTo>
                    <a:lnTo>
                      <a:pt x="1047352" y="115236"/>
                    </a:lnTo>
                    <a:lnTo>
                      <a:pt x="1050526" y="115236"/>
                    </a:lnTo>
                    <a:lnTo>
                      <a:pt x="1051408" y="112591"/>
                    </a:lnTo>
                    <a:lnTo>
                      <a:pt x="1056345" y="110828"/>
                    </a:lnTo>
                    <a:lnTo>
                      <a:pt x="1061018" y="110828"/>
                    </a:lnTo>
                    <a:lnTo>
                      <a:pt x="1067102" y="114619"/>
                    </a:lnTo>
                    <a:lnTo>
                      <a:pt x="1061900" y="119027"/>
                    </a:lnTo>
                    <a:lnTo>
                      <a:pt x="1064192" y="121055"/>
                    </a:lnTo>
                    <a:lnTo>
                      <a:pt x="1053524" y="129872"/>
                    </a:lnTo>
                    <a:lnTo>
                      <a:pt x="1048587" y="131371"/>
                    </a:lnTo>
                    <a:lnTo>
                      <a:pt x="1055023" y="132253"/>
                    </a:lnTo>
                    <a:lnTo>
                      <a:pt x="1048322" y="138336"/>
                    </a:lnTo>
                    <a:lnTo>
                      <a:pt x="1046823" y="135162"/>
                    </a:lnTo>
                    <a:lnTo>
                      <a:pt x="1044443" y="136926"/>
                    </a:lnTo>
                    <a:lnTo>
                      <a:pt x="1040387" y="137190"/>
                    </a:lnTo>
                    <a:lnTo>
                      <a:pt x="1036860" y="140717"/>
                    </a:lnTo>
                    <a:lnTo>
                      <a:pt x="1039770" y="140717"/>
                    </a:lnTo>
                    <a:lnTo>
                      <a:pt x="1040651" y="144243"/>
                    </a:lnTo>
                    <a:lnTo>
                      <a:pt x="1033686" y="143009"/>
                    </a:lnTo>
                    <a:close/>
                    <a:moveTo>
                      <a:pt x="953541" y="145302"/>
                    </a:moveTo>
                    <a:lnTo>
                      <a:pt x="938993" y="147594"/>
                    </a:lnTo>
                    <a:lnTo>
                      <a:pt x="934585" y="145566"/>
                    </a:lnTo>
                    <a:lnTo>
                      <a:pt x="941286" y="142392"/>
                    </a:lnTo>
                    <a:lnTo>
                      <a:pt x="949750" y="139747"/>
                    </a:lnTo>
                    <a:lnTo>
                      <a:pt x="952924" y="140629"/>
                    </a:lnTo>
                    <a:lnTo>
                      <a:pt x="954334" y="139747"/>
                    </a:lnTo>
                    <a:lnTo>
                      <a:pt x="954952" y="144684"/>
                    </a:lnTo>
                    <a:lnTo>
                      <a:pt x="953541" y="145302"/>
                    </a:lnTo>
                    <a:close/>
                    <a:moveTo>
                      <a:pt x="845887" y="155265"/>
                    </a:moveTo>
                    <a:lnTo>
                      <a:pt x="838305" y="158439"/>
                    </a:lnTo>
                    <a:lnTo>
                      <a:pt x="829224" y="159320"/>
                    </a:lnTo>
                    <a:lnTo>
                      <a:pt x="814940" y="161613"/>
                    </a:lnTo>
                    <a:lnTo>
                      <a:pt x="809738" y="165139"/>
                    </a:lnTo>
                    <a:lnTo>
                      <a:pt x="801010" y="162230"/>
                    </a:lnTo>
                    <a:lnTo>
                      <a:pt x="794044" y="164258"/>
                    </a:lnTo>
                    <a:lnTo>
                      <a:pt x="786462" y="164258"/>
                    </a:lnTo>
                    <a:lnTo>
                      <a:pt x="782935" y="157821"/>
                    </a:lnTo>
                    <a:lnTo>
                      <a:pt x="780026" y="158703"/>
                    </a:lnTo>
                    <a:lnTo>
                      <a:pt x="782935" y="160731"/>
                    </a:lnTo>
                    <a:lnTo>
                      <a:pt x="789019" y="157821"/>
                    </a:lnTo>
                    <a:lnTo>
                      <a:pt x="789019" y="155441"/>
                    </a:lnTo>
                    <a:lnTo>
                      <a:pt x="801274" y="153149"/>
                    </a:lnTo>
                    <a:lnTo>
                      <a:pt x="809474" y="153149"/>
                    </a:lnTo>
                    <a:lnTo>
                      <a:pt x="820583" y="151385"/>
                    </a:lnTo>
                    <a:lnTo>
                      <a:pt x="827901" y="149357"/>
                    </a:lnTo>
                    <a:lnTo>
                      <a:pt x="848003" y="146712"/>
                    </a:lnTo>
                    <a:lnTo>
                      <a:pt x="853205" y="144684"/>
                    </a:lnTo>
                    <a:lnTo>
                      <a:pt x="850296" y="144420"/>
                    </a:lnTo>
                    <a:lnTo>
                      <a:pt x="845358" y="146183"/>
                    </a:lnTo>
                    <a:lnTo>
                      <a:pt x="831340" y="147065"/>
                    </a:lnTo>
                    <a:lnTo>
                      <a:pt x="832838" y="145037"/>
                    </a:lnTo>
                    <a:lnTo>
                      <a:pt x="829664" y="145654"/>
                    </a:lnTo>
                    <a:lnTo>
                      <a:pt x="830282" y="143891"/>
                    </a:lnTo>
                    <a:lnTo>
                      <a:pt x="827108" y="146536"/>
                    </a:lnTo>
                    <a:lnTo>
                      <a:pt x="817144" y="148299"/>
                    </a:lnTo>
                    <a:lnTo>
                      <a:pt x="806652" y="148035"/>
                    </a:lnTo>
                    <a:lnTo>
                      <a:pt x="815998" y="142480"/>
                    </a:lnTo>
                    <a:lnTo>
                      <a:pt x="822170" y="141334"/>
                    </a:lnTo>
                    <a:lnTo>
                      <a:pt x="813970" y="142216"/>
                    </a:lnTo>
                    <a:lnTo>
                      <a:pt x="814235" y="140452"/>
                    </a:lnTo>
                    <a:lnTo>
                      <a:pt x="805154" y="145125"/>
                    </a:lnTo>
                    <a:lnTo>
                      <a:pt x="801098" y="143979"/>
                    </a:lnTo>
                    <a:lnTo>
                      <a:pt x="802597" y="146271"/>
                    </a:lnTo>
                    <a:lnTo>
                      <a:pt x="798188" y="148299"/>
                    </a:lnTo>
                    <a:lnTo>
                      <a:pt x="785933" y="150063"/>
                    </a:lnTo>
                    <a:lnTo>
                      <a:pt x="789989" y="146536"/>
                    </a:lnTo>
                    <a:lnTo>
                      <a:pt x="782142" y="147153"/>
                    </a:lnTo>
                    <a:lnTo>
                      <a:pt x="780996" y="149445"/>
                    </a:lnTo>
                    <a:lnTo>
                      <a:pt x="771121" y="150944"/>
                    </a:lnTo>
                    <a:lnTo>
                      <a:pt x="764684" y="150327"/>
                    </a:lnTo>
                    <a:lnTo>
                      <a:pt x="756837" y="148564"/>
                    </a:lnTo>
                    <a:lnTo>
                      <a:pt x="753311" y="147065"/>
                    </a:lnTo>
                    <a:lnTo>
                      <a:pt x="755956" y="143891"/>
                    </a:lnTo>
                    <a:lnTo>
                      <a:pt x="764684" y="143626"/>
                    </a:lnTo>
                    <a:lnTo>
                      <a:pt x="783376" y="139571"/>
                    </a:lnTo>
                    <a:lnTo>
                      <a:pt x="804360" y="135515"/>
                    </a:lnTo>
                    <a:lnTo>
                      <a:pt x="771121" y="138160"/>
                    </a:lnTo>
                    <a:lnTo>
                      <a:pt x="779585" y="133751"/>
                    </a:lnTo>
                    <a:lnTo>
                      <a:pt x="802597" y="131371"/>
                    </a:lnTo>
                    <a:lnTo>
                      <a:pt x="784787" y="131988"/>
                    </a:lnTo>
                    <a:lnTo>
                      <a:pt x="790077" y="129960"/>
                    </a:lnTo>
                    <a:lnTo>
                      <a:pt x="792986" y="126786"/>
                    </a:lnTo>
                    <a:lnTo>
                      <a:pt x="802861" y="125640"/>
                    </a:lnTo>
                    <a:lnTo>
                      <a:pt x="820671" y="125640"/>
                    </a:lnTo>
                    <a:lnTo>
                      <a:pt x="807534" y="124758"/>
                    </a:lnTo>
                    <a:lnTo>
                      <a:pt x="806035" y="123612"/>
                    </a:lnTo>
                    <a:lnTo>
                      <a:pt x="811325" y="121584"/>
                    </a:lnTo>
                    <a:lnTo>
                      <a:pt x="832927" y="119292"/>
                    </a:lnTo>
                    <a:lnTo>
                      <a:pt x="836101" y="121055"/>
                    </a:lnTo>
                    <a:lnTo>
                      <a:pt x="836718" y="125464"/>
                    </a:lnTo>
                    <a:lnTo>
                      <a:pt x="848356" y="124317"/>
                    </a:lnTo>
                    <a:lnTo>
                      <a:pt x="855321" y="125816"/>
                    </a:lnTo>
                    <a:lnTo>
                      <a:pt x="853029" y="127580"/>
                    </a:lnTo>
                    <a:lnTo>
                      <a:pt x="857966" y="131371"/>
                    </a:lnTo>
                    <a:lnTo>
                      <a:pt x="860612" y="133134"/>
                    </a:lnTo>
                    <a:lnTo>
                      <a:pt x="855321" y="138953"/>
                    </a:lnTo>
                    <a:lnTo>
                      <a:pt x="859994" y="139218"/>
                    </a:lnTo>
                    <a:lnTo>
                      <a:pt x="868194" y="137455"/>
                    </a:lnTo>
                    <a:lnTo>
                      <a:pt x="876923" y="138865"/>
                    </a:lnTo>
                    <a:lnTo>
                      <a:pt x="880978" y="139130"/>
                    </a:lnTo>
                    <a:lnTo>
                      <a:pt x="883888" y="139130"/>
                    </a:lnTo>
                    <a:lnTo>
                      <a:pt x="889178" y="140276"/>
                    </a:lnTo>
                    <a:lnTo>
                      <a:pt x="895614" y="136220"/>
                    </a:lnTo>
                    <a:lnTo>
                      <a:pt x="889443" y="135074"/>
                    </a:lnTo>
                    <a:lnTo>
                      <a:pt x="885387" y="131900"/>
                    </a:lnTo>
                    <a:lnTo>
                      <a:pt x="888561" y="129608"/>
                    </a:lnTo>
                    <a:lnTo>
                      <a:pt x="899670" y="127580"/>
                    </a:lnTo>
                    <a:lnTo>
                      <a:pt x="894468" y="124935"/>
                    </a:lnTo>
                    <a:lnTo>
                      <a:pt x="887767" y="122907"/>
                    </a:lnTo>
                    <a:lnTo>
                      <a:pt x="893586" y="121496"/>
                    </a:lnTo>
                    <a:lnTo>
                      <a:pt x="894733" y="119997"/>
                    </a:lnTo>
                    <a:lnTo>
                      <a:pt x="900023" y="119997"/>
                    </a:lnTo>
                    <a:lnTo>
                      <a:pt x="903197" y="119733"/>
                    </a:lnTo>
                    <a:lnTo>
                      <a:pt x="914571" y="114178"/>
                    </a:lnTo>
                    <a:lnTo>
                      <a:pt x="926473" y="114178"/>
                    </a:lnTo>
                    <a:lnTo>
                      <a:pt x="926473" y="115324"/>
                    </a:lnTo>
                    <a:lnTo>
                      <a:pt x="921183" y="116823"/>
                    </a:lnTo>
                    <a:lnTo>
                      <a:pt x="915893" y="119997"/>
                    </a:lnTo>
                    <a:lnTo>
                      <a:pt x="919684" y="125287"/>
                    </a:lnTo>
                    <a:lnTo>
                      <a:pt x="913865" y="126433"/>
                    </a:lnTo>
                    <a:lnTo>
                      <a:pt x="910339" y="128726"/>
                    </a:lnTo>
                    <a:lnTo>
                      <a:pt x="916158" y="128197"/>
                    </a:lnTo>
                    <a:lnTo>
                      <a:pt x="920213" y="129960"/>
                    </a:lnTo>
                    <a:lnTo>
                      <a:pt x="910868" y="133134"/>
                    </a:lnTo>
                    <a:lnTo>
                      <a:pt x="911749" y="134016"/>
                    </a:lnTo>
                    <a:lnTo>
                      <a:pt x="915805" y="132517"/>
                    </a:lnTo>
                    <a:lnTo>
                      <a:pt x="925415" y="131900"/>
                    </a:lnTo>
                    <a:lnTo>
                      <a:pt x="929207" y="133046"/>
                    </a:lnTo>
                    <a:lnTo>
                      <a:pt x="932116" y="129519"/>
                    </a:lnTo>
                    <a:lnTo>
                      <a:pt x="938200" y="128109"/>
                    </a:lnTo>
                    <a:lnTo>
                      <a:pt x="948251" y="129872"/>
                    </a:lnTo>
                    <a:lnTo>
                      <a:pt x="943578" y="132517"/>
                    </a:lnTo>
                    <a:lnTo>
                      <a:pt x="945077" y="137455"/>
                    </a:lnTo>
                    <a:lnTo>
                      <a:pt x="932821" y="138953"/>
                    </a:lnTo>
                    <a:lnTo>
                      <a:pt x="927884" y="143362"/>
                    </a:lnTo>
                    <a:lnTo>
                      <a:pt x="922947" y="148299"/>
                    </a:lnTo>
                    <a:lnTo>
                      <a:pt x="912102" y="147947"/>
                    </a:lnTo>
                    <a:lnTo>
                      <a:pt x="900464" y="151209"/>
                    </a:lnTo>
                    <a:lnTo>
                      <a:pt x="895526" y="151209"/>
                    </a:lnTo>
                    <a:lnTo>
                      <a:pt x="888561" y="150944"/>
                    </a:lnTo>
                    <a:lnTo>
                      <a:pt x="884770" y="150327"/>
                    </a:lnTo>
                    <a:lnTo>
                      <a:pt x="879215" y="152972"/>
                    </a:lnTo>
                    <a:lnTo>
                      <a:pt x="872250" y="150327"/>
                    </a:lnTo>
                    <a:lnTo>
                      <a:pt x="863521" y="152090"/>
                    </a:lnTo>
                    <a:lnTo>
                      <a:pt x="861141" y="152355"/>
                    </a:lnTo>
                    <a:lnTo>
                      <a:pt x="852059" y="155265"/>
                    </a:lnTo>
                    <a:lnTo>
                      <a:pt x="845887" y="155265"/>
                    </a:lnTo>
                    <a:close/>
                    <a:moveTo>
                      <a:pt x="1089144" y="153237"/>
                    </a:moveTo>
                    <a:lnTo>
                      <a:pt x="1085617" y="155529"/>
                    </a:lnTo>
                    <a:lnTo>
                      <a:pt x="1080415" y="155794"/>
                    </a:lnTo>
                    <a:lnTo>
                      <a:pt x="1075742" y="153501"/>
                    </a:lnTo>
                    <a:lnTo>
                      <a:pt x="1068777" y="152620"/>
                    </a:lnTo>
                    <a:lnTo>
                      <a:pt x="1068513" y="152355"/>
                    </a:lnTo>
                    <a:lnTo>
                      <a:pt x="1066220" y="151209"/>
                    </a:lnTo>
                    <a:lnTo>
                      <a:pt x="1063311" y="151473"/>
                    </a:lnTo>
                    <a:lnTo>
                      <a:pt x="1062782" y="150327"/>
                    </a:lnTo>
                    <a:lnTo>
                      <a:pt x="1061018" y="150327"/>
                    </a:lnTo>
                    <a:lnTo>
                      <a:pt x="1056610" y="148299"/>
                    </a:lnTo>
                    <a:lnTo>
                      <a:pt x="1054582" y="148299"/>
                    </a:lnTo>
                    <a:lnTo>
                      <a:pt x="1053965" y="147418"/>
                    </a:lnTo>
                    <a:lnTo>
                      <a:pt x="1051937" y="146536"/>
                    </a:lnTo>
                    <a:lnTo>
                      <a:pt x="1052819" y="145390"/>
                    </a:lnTo>
                    <a:lnTo>
                      <a:pt x="1055993" y="143626"/>
                    </a:lnTo>
                    <a:lnTo>
                      <a:pt x="1064721" y="141598"/>
                    </a:lnTo>
                    <a:lnTo>
                      <a:pt x="1067631" y="139571"/>
                    </a:lnTo>
                    <a:lnTo>
                      <a:pt x="1065603" y="138953"/>
                    </a:lnTo>
                    <a:lnTo>
                      <a:pt x="1066749" y="138689"/>
                    </a:lnTo>
                    <a:lnTo>
                      <a:pt x="1072833" y="138424"/>
                    </a:lnTo>
                    <a:lnTo>
                      <a:pt x="1073715" y="137278"/>
                    </a:lnTo>
                    <a:lnTo>
                      <a:pt x="1076360" y="136132"/>
                    </a:lnTo>
                    <a:lnTo>
                      <a:pt x="1083325" y="135250"/>
                    </a:lnTo>
                    <a:lnTo>
                      <a:pt x="1083942" y="135250"/>
                    </a:lnTo>
                    <a:lnTo>
                      <a:pt x="1090643" y="134369"/>
                    </a:lnTo>
                    <a:lnTo>
                      <a:pt x="1095051" y="131459"/>
                    </a:lnTo>
                    <a:lnTo>
                      <a:pt x="1097079" y="127403"/>
                    </a:lnTo>
                    <a:lnTo>
                      <a:pt x="1101488" y="128021"/>
                    </a:lnTo>
                    <a:lnTo>
                      <a:pt x="1106072" y="128021"/>
                    </a:lnTo>
                    <a:lnTo>
                      <a:pt x="1106337" y="131812"/>
                    </a:lnTo>
                    <a:lnTo>
                      <a:pt x="1104309" y="133575"/>
                    </a:lnTo>
                    <a:lnTo>
                      <a:pt x="1099019" y="135603"/>
                    </a:lnTo>
                    <a:lnTo>
                      <a:pt x="1101928" y="137984"/>
                    </a:lnTo>
                    <a:lnTo>
                      <a:pt x="1102810" y="141775"/>
                    </a:lnTo>
                    <a:lnTo>
                      <a:pt x="1100782" y="142921"/>
                    </a:lnTo>
                    <a:lnTo>
                      <a:pt x="1099901" y="145213"/>
                    </a:lnTo>
                    <a:lnTo>
                      <a:pt x="1097520" y="145831"/>
                    </a:lnTo>
                    <a:lnTo>
                      <a:pt x="1098402" y="146095"/>
                    </a:lnTo>
                    <a:lnTo>
                      <a:pt x="1094875" y="151385"/>
                    </a:lnTo>
                    <a:lnTo>
                      <a:pt x="1092847" y="152531"/>
                    </a:lnTo>
                    <a:lnTo>
                      <a:pt x="1089144" y="153237"/>
                    </a:lnTo>
                    <a:close/>
                    <a:moveTo>
                      <a:pt x="1196798" y="154383"/>
                    </a:moveTo>
                    <a:lnTo>
                      <a:pt x="1195034" y="156675"/>
                    </a:lnTo>
                    <a:lnTo>
                      <a:pt x="1185159" y="155529"/>
                    </a:lnTo>
                    <a:lnTo>
                      <a:pt x="1181721" y="156675"/>
                    </a:lnTo>
                    <a:lnTo>
                      <a:pt x="1170083" y="155794"/>
                    </a:lnTo>
                    <a:lnTo>
                      <a:pt x="1175285" y="148211"/>
                    </a:lnTo>
                    <a:lnTo>
                      <a:pt x="1166203" y="152620"/>
                    </a:lnTo>
                    <a:lnTo>
                      <a:pt x="1166468" y="149710"/>
                    </a:lnTo>
                    <a:lnTo>
                      <a:pt x="1162059" y="151473"/>
                    </a:lnTo>
                    <a:lnTo>
                      <a:pt x="1158003" y="154647"/>
                    </a:lnTo>
                    <a:lnTo>
                      <a:pt x="1148922" y="155265"/>
                    </a:lnTo>
                    <a:lnTo>
                      <a:pt x="1139312" y="153766"/>
                    </a:lnTo>
                    <a:lnTo>
                      <a:pt x="1137019" y="151121"/>
                    </a:lnTo>
                    <a:lnTo>
                      <a:pt x="1139047" y="148476"/>
                    </a:lnTo>
                    <a:lnTo>
                      <a:pt x="1129437" y="153413"/>
                    </a:lnTo>
                    <a:lnTo>
                      <a:pt x="1120973" y="151650"/>
                    </a:lnTo>
                    <a:lnTo>
                      <a:pt x="1127056" y="143803"/>
                    </a:lnTo>
                    <a:lnTo>
                      <a:pt x="1123882" y="141775"/>
                    </a:lnTo>
                    <a:lnTo>
                      <a:pt x="1140811" y="130137"/>
                    </a:lnTo>
                    <a:lnTo>
                      <a:pt x="1136138" y="126345"/>
                    </a:lnTo>
                    <a:lnTo>
                      <a:pt x="1137901" y="121055"/>
                    </a:lnTo>
                    <a:lnTo>
                      <a:pt x="1126263" y="121320"/>
                    </a:lnTo>
                    <a:lnTo>
                      <a:pt x="1125381" y="122466"/>
                    </a:lnTo>
                    <a:lnTo>
                      <a:pt x="1111980" y="121320"/>
                    </a:lnTo>
                    <a:lnTo>
                      <a:pt x="1100606" y="123083"/>
                    </a:lnTo>
                    <a:lnTo>
                      <a:pt x="1100606" y="122201"/>
                    </a:lnTo>
                    <a:lnTo>
                      <a:pt x="1107571" y="121055"/>
                    </a:lnTo>
                    <a:lnTo>
                      <a:pt x="1097608" y="120174"/>
                    </a:lnTo>
                    <a:lnTo>
                      <a:pt x="1097344" y="117793"/>
                    </a:lnTo>
                    <a:lnTo>
                      <a:pt x="1103427" y="117176"/>
                    </a:lnTo>
                    <a:lnTo>
                      <a:pt x="1105191" y="116030"/>
                    </a:lnTo>
                    <a:lnTo>
                      <a:pt x="1099636" y="116911"/>
                    </a:lnTo>
                    <a:lnTo>
                      <a:pt x="1088262" y="113385"/>
                    </a:lnTo>
                    <a:lnTo>
                      <a:pt x="1091436" y="111886"/>
                    </a:lnTo>
                    <a:lnTo>
                      <a:pt x="1094963" y="112767"/>
                    </a:lnTo>
                    <a:lnTo>
                      <a:pt x="1096109" y="108976"/>
                    </a:lnTo>
                    <a:lnTo>
                      <a:pt x="1112773" y="107213"/>
                    </a:lnTo>
                    <a:lnTo>
                      <a:pt x="1127321" y="108712"/>
                    </a:lnTo>
                    <a:lnTo>
                      <a:pt x="1137549" y="110122"/>
                    </a:lnTo>
                    <a:lnTo>
                      <a:pt x="1139841" y="114178"/>
                    </a:lnTo>
                    <a:lnTo>
                      <a:pt x="1130760" y="119116"/>
                    </a:lnTo>
                    <a:lnTo>
                      <a:pt x="1141604" y="115324"/>
                    </a:lnTo>
                    <a:lnTo>
                      <a:pt x="1166379" y="113561"/>
                    </a:lnTo>
                    <a:lnTo>
                      <a:pt x="1174844" y="114707"/>
                    </a:lnTo>
                    <a:lnTo>
                      <a:pt x="1176872" y="117617"/>
                    </a:lnTo>
                    <a:lnTo>
                      <a:pt x="1162324" y="117352"/>
                    </a:lnTo>
                    <a:lnTo>
                      <a:pt x="1190626" y="122907"/>
                    </a:lnTo>
                    <a:lnTo>
                      <a:pt x="1167261" y="123524"/>
                    </a:lnTo>
                    <a:lnTo>
                      <a:pt x="1157651" y="122378"/>
                    </a:lnTo>
                    <a:lnTo>
                      <a:pt x="1157034" y="123524"/>
                    </a:lnTo>
                    <a:lnTo>
                      <a:pt x="1172816" y="125287"/>
                    </a:lnTo>
                    <a:lnTo>
                      <a:pt x="1159679" y="126786"/>
                    </a:lnTo>
                    <a:lnTo>
                      <a:pt x="1155887" y="129960"/>
                    </a:lnTo>
                    <a:lnTo>
                      <a:pt x="1163205" y="127315"/>
                    </a:lnTo>
                    <a:lnTo>
                      <a:pt x="1176960" y="128197"/>
                    </a:lnTo>
                    <a:lnTo>
                      <a:pt x="1174315" y="130842"/>
                    </a:lnTo>
                    <a:lnTo>
                      <a:pt x="1180134" y="129872"/>
                    </a:lnTo>
                    <a:lnTo>
                      <a:pt x="1179517" y="133663"/>
                    </a:lnTo>
                    <a:lnTo>
                      <a:pt x="1171934" y="134545"/>
                    </a:lnTo>
                    <a:lnTo>
                      <a:pt x="1178106" y="134809"/>
                    </a:lnTo>
                    <a:lnTo>
                      <a:pt x="1182426" y="137719"/>
                    </a:lnTo>
                    <a:lnTo>
                      <a:pt x="1189127" y="133311"/>
                    </a:lnTo>
                    <a:lnTo>
                      <a:pt x="1192654" y="136485"/>
                    </a:lnTo>
                    <a:lnTo>
                      <a:pt x="1200236" y="135074"/>
                    </a:lnTo>
                    <a:lnTo>
                      <a:pt x="1200501" y="137102"/>
                    </a:lnTo>
                    <a:lnTo>
                      <a:pt x="1208965" y="134192"/>
                    </a:lnTo>
                    <a:lnTo>
                      <a:pt x="1216283" y="137719"/>
                    </a:lnTo>
                    <a:lnTo>
                      <a:pt x="1213990" y="139218"/>
                    </a:lnTo>
                    <a:lnTo>
                      <a:pt x="1229773" y="137719"/>
                    </a:lnTo>
                    <a:lnTo>
                      <a:pt x="1224218" y="135956"/>
                    </a:lnTo>
                    <a:lnTo>
                      <a:pt x="1244320" y="133311"/>
                    </a:lnTo>
                    <a:lnTo>
                      <a:pt x="1251286" y="133311"/>
                    </a:lnTo>
                    <a:lnTo>
                      <a:pt x="1264158" y="130137"/>
                    </a:lnTo>
                    <a:lnTo>
                      <a:pt x="1273768" y="131547"/>
                    </a:lnTo>
                    <a:lnTo>
                      <a:pt x="1286906" y="130137"/>
                    </a:lnTo>
                    <a:lnTo>
                      <a:pt x="1303481" y="131900"/>
                    </a:lnTo>
                    <a:lnTo>
                      <a:pt x="1299426" y="134192"/>
                    </a:lnTo>
                    <a:lnTo>
                      <a:pt x="1313444" y="134192"/>
                    </a:lnTo>
                    <a:lnTo>
                      <a:pt x="1315825" y="135956"/>
                    </a:lnTo>
                    <a:lnTo>
                      <a:pt x="1308507" y="137719"/>
                    </a:lnTo>
                    <a:lnTo>
                      <a:pt x="1318999" y="137102"/>
                    </a:lnTo>
                    <a:lnTo>
                      <a:pt x="1316089" y="142304"/>
                    </a:lnTo>
                    <a:lnTo>
                      <a:pt x="1301806" y="145831"/>
                    </a:lnTo>
                    <a:lnTo>
                      <a:pt x="1311681" y="146095"/>
                    </a:lnTo>
                    <a:lnTo>
                      <a:pt x="1313973" y="148740"/>
                    </a:lnTo>
                    <a:lnTo>
                      <a:pt x="1304980" y="149886"/>
                    </a:lnTo>
                    <a:lnTo>
                      <a:pt x="1297662" y="148740"/>
                    </a:lnTo>
                    <a:lnTo>
                      <a:pt x="1295282" y="154559"/>
                    </a:lnTo>
                    <a:lnTo>
                      <a:pt x="1282145" y="154824"/>
                    </a:lnTo>
                    <a:lnTo>
                      <a:pt x="1263453" y="156323"/>
                    </a:lnTo>
                    <a:lnTo>
                      <a:pt x="1253225" y="153677"/>
                    </a:lnTo>
                    <a:lnTo>
                      <a:pt x="1254989" y="150151"/>
                    </a:lnTo>
                    <a:lnTo>
                      <a:pt x="1249699" y="148387"/>
                    </a:lnTo>
                    <a:lnTo>
                      <a:pt x="1250580" y="150680"/>
                    </a:lnTo>
                    <a:lnTo>
                      <a:pt x="1245026" y="154471"/>
                    </a:lnTo>
                    <a:lnTo>
                      <a:pt x="1223160" y="155970"/>
                    </a:lnTo>
                    <a:lnTo>
                      <a:pt x="1223424" y="153060"/>
                    </a:lnTo>
                    <a:lnTo>
                      <a:pt x="1216724" y="155705"/>
                    </a:lnTo>
                    <a:lnTo>
                      <a:pt x="1217341" y="152531"/>
                    </a:lnTo>
                    <a:lnTo>
                      <a:pt x="1212051" y="156058"/>
                    </a:lnTo>
                    <a:lnTo>
                      <a:pt x="1205967" y="156058"/>
                    </a:lnTo>
                    <a:lnTo>
                      <a:pt x="1204821" y="154295"/>
                    </a:lnTo>
                    <a:lnTo>
                      <a:pt x="1200412" y="156058"/>
                    </a:lnTo>
                    <a:lnTo>
                      <a:pt x="1196798" y="154383"/>
                    </a:lnTo>
                    <a:close/>
                    <a:moveTo>
                      <a:pt x="569656" y="229590"/>
                    </a:moveTo>
                    <a:lnTo>
                      <a:pt x="563837" y="229855"/>
                    </a:lnTo>
                    <a:lnTo>
                      <a:pt x="564983" y="217864"/>
                    </a:lnTo>
                    <a:lnTo>
                      <a:pt x="552992" y="211780"/>
                    </a:lnTo>
                    <a:lnTo>
                      <a:pt x="543999" y="211516"/>
                    </a:lnTo>
                    <a:lnTo>
                      <a:pt x="548055" y="208871"/>
                    </a:lnTo>
                    <a:lnTo>
                      <a:pt x="571067" y="199261"/>
                    </a:lnTo>
                    <a:lnTo>
                      <a:pt x="577238" y="193706"/>
                    </a:lnTo>
                    <a:lnTo>
                      <a:pt x="587466" y="191414"/>
                    </a:lnTo>
                    <a:lnTo>
                      <a:pt x="583939" y="189915"/>
                    </a:lnTo>
                    <a:lnTo>
                      <a:pt x="616914" y="175631"/>
                    </a:lnTo>
                    <a:lnTo>
                      <a:pt x="618942" y="164875"/>
                    </a:lnTo>
                    <a:lnTo>
                      <a:pt x="673518" y="160819"/>
                    </a:lnTo>
                    <a:lnTo>
                      <a:pt x="690447" y="166374"/>
                    </a:lnTo>
                    <a:lnTo>
                      <a:pt x="684363" y="170782"/>
                    </a:lnTo>
                    <a:lnTo>
                      <a:pt x="692827" y="167255"/>
                    </a:lnTo>
                    <a:lnTo>
                      <a:pt x="697765" y="167255"/>
                    </a:lnTo>
                    <a:lnTo>
                      <a:pt x="693709" y="171047"/>
                    </a:lnTo>
                    <a:lnTo>
                      <a:pt x="703936" y="167255"/>
                    </a:lnTo>
                    <a:lnTo>
                      <a:pt x="721129" y="166109"/>
                    </a:lnTo>
                    <a:lnTo>
                      <a:pt x="730739" y="169283"/>
                    </a:lnTo>
                    <a:lnTo>
                      <a:pt x="737793" y="182156"/>
                    </a:lnTo>
                    <a:lnTo>
                      <a:pt x="663114" y="198203"/>
                    </a:lnTo>
                    <a:lnTo>
                      <a:pt x="645657" y="205785"/>
                    </a:lnTo>
                    <a:lnTo>
                      <a:pt x="635429" y="206931"/>
                    </a:lnTo>
                    <a:lnTo>
                      <a:pt x="633402" y="209576"/>
                    </a:lnTo>
                    <a:lnTo>
                      <a:pt x="627847" y="211340"/>
                    </a:lnTo>
                    <a:lnTo>
                      <a:pt x="616209" y="220068"/>
                    </a:lnTo>
                    <a:lnTo>
                      <a:pt x="598134" y="223595"/>
                    </a:lnTo>
                    <a:lnTo>
                      <a:pt x="596106" y="222096"/>
                    </a:lnTo>
                    <a:lnTo>
                      <a:pt x="569656" y="229590"/>
                    </a:lnTo>
                    <a:close/>
                    <a:moveTo>
                      <a:pt x="1041886" y="202523"/>
                    </a:moveTo>
                    <a:lnTo>
                      <a:pt x="1034039" y="206579"/>
                    </a:lnTo>
                    <a:lnTo>
                      <a:pt x="1018609" y="204815"/>
                    </a:lnTo>
                    <a:lnTo>
                      <a:pt x="1024164" y="190532"/>
                    </a:lnTo>
                    <a:lnTo>
                      <a:pt x="1045765" y="172457"/>
                    </a:lnTo>
                    <a:lnTo>
                      <a:pt x="1053083" y="173339"/>
                    </a:lnTo>
                    <a:lnTo>
                      <a:pt x="1053083" y="166903"/>
                    </a:lnTo>
                    <a:lnTo>
                      <a:pt x="1084295" y="163993"/>
                    </a:lnTo>
                    <a:lnTo>
                      <a:pt x="1099724" y="167784"/>
                    </a:lnTo>
                    <a:lnTo>
                      <a:pt x="1125117" y="170165"/>
                    </a:lnTo>
                    <a:lnTo>
                      <a:pt x="1096550" y="182685"/>
                    </a:lnTo>
                    <a:lnTo>
                      <a:pt x="1075831" y="193177"/>
                    </a:lnTo>
                    <a:lnTo>
                      <a:pt x="1051584" y="192824"/>
                    </a:lnTo>
                    <a:lnTo>
                      <a:pt x="1041886" y="202523"/>
                    </a:lnTo>
                    <a:close/>
                    <a:moveTo>
                      <a:pt x="882036" y="189033"/>
                    </a:moveTo>
                    <a:lnTo>
                      <a:pt x="879656" y="190444"/>
                    </a:lnTo>
                    <a:lnTo>
                      <a:pt x="878510" y="190179"/>
                    </a:lnTo>
                    <a:lnTo>
                      <a:pt x="874983" y="184360"/>
                    </a:lnTo>
                    <a:lnTo>
                      <a:pt x="873484" y="183478"/>
                    </a:lnTo>
                    <a:lnTo>
                      <a:pt x="871985" y="180304"/>
                    </a:lnTo>
                    <a:lnTo>
                      <a:pt x="868811" y="178894"/>
                    </a:lnTo>
                    <a:lnTo>
                      <a:pt x="864755" y="178276"/>
                    </a:lnTo>
                    <a:lnTo>
                      <a:pt x="874101" y="174221"/>
                    </a:lnTo>
                    <a:lnTo>
                      <a:pt x="895438" y="172193"/>
                    </a:lnTo>
                    <a:lnTo>
                      <a:pt x="900375" y="172810"/>
                    </a:lnTo>
                    <a:lnTo>
                      <a:pt x="901874" y="173956"/>
                    </a:lnTo>
                    <a:lnTo>
                      <a:pt x="903902" y="175102"/>
                    </a:lnTo>
                    <a:lnTo>
                      <a:pt x="906283" y="175367"/>
                    </a:lnTo>
                    <a:lnTo>
                      <a:pt x="900111" y="181451"/>
                    </a:lnTo>
                    <a:lnTo>
                      <a:pt x="890236" y="185859"/>
                    </a:lnTo>
                    <a:lnTo>
                      <a:pt x="886445" y="187622"/>
                    </a:lnTo>
                    <a:lnTo>
                      <a:pt x="882036" y="189033"/>
                    </a:lnTo>
                    <a:close/>
                    <a:moveTo>
                      <a:pt x="1271741" y="190267"/>
                    </a:moveTo>
                    <a:lnTo>
                      <a:pt x="1267949" y="190532"/>
                    </a:lnTo>
                    <a:lnTo>
                      <a:pt x="1264158" y="190003"/>
                    </a:lnTo>
                    <a:lnTo>
                      <a:pt x="1261249" y="188240"/>
                    </a:lnTo>
                    <a:lnTo>
                      <a:pt x="1260367" y="185594"/>
                    </a:lnTo>
                    <a:lnTo>
                      <a:pt x="1263541" y="181539"/>
                    </a:lnTo>
                    <a:lnTo>
                      <a:pt x="1263276" y="180922"/>
                    </a:lnTo>
                    <a:lnTo>
                      <a:pt x="1257722" y="180657"/>
                    </a:lnTo>
                    <a:lnTo>
                      <a:pt x="1256311" y="180128"/>
                    </a:lnTo>
                    <a:lnTo>
                      <a:pt x="1255430" y="178629"/>
                    </a:lnTo>
                    <a:lnTo>
                      <a:pt x="1261513" y="172810"/>
                    </a:lnTo>
                    <a:lnTo>
                      <a:pt x="1265569" y="170518"/>
                    </a:lnTo>
                    <a:lnTo>
                      <a:pt x="1271124" y="170518"/>
                    </a:lnTo>
                    <a:lnTo>
                      <a:pt x="1271741" y="171399"/>
                    </a:lnTo>
                    <a:lnTo>
                      <a:pt x="1275796" y="171399"/>
                    </a:lnTo>
                    <a:lnTo>
                      <a:pt x="1275532" y="171664"/>
                    </a:lnTo>
                    <a:lnTo>
                      <a:pt x="1281087" y="172546"/>
                    </a:lnTo>
                    <a:lnTo>
                      <a:pt x="1283996" y="173427"/>
                    </a:lnTo>
                    <a:lnTo>
                      <a:pt x="1291579" y="172281"/>
                    </a:lnTo>
                    <a:lnTo>
                      <a:pt x="1301189" y="172281"/>
                    </a:lnTo>
                    <a:lnTo>
                      <a:pt x="1311417" y="174926"/>
                    </a:lnTo>
                    <a:lnTo>
                      <a:pt x="1314062" y="177219"/>
                    </a:lnTo>
                    <a:lnTo>
                      <a:pt x="1313797" y="178365"/>
                    </a:lnTo>
                    <a:lnTo>
                      <a:pt x="1317853" y="179511"/>
                    </a:lnTo>
                    <a:lnTo>
                      <a:pt x="1317853" y="181010"/>
                    </a:lnTo>
                    <a:lnTo>
                      <a:pt x="1318734" y="181627"/>
                    </a:lnTo>
                    <a:lnTo>
                      <a:pt x="1316354" y="182773"/>
                    </a:lnTo>
                    <a:lnTo>
                      <a:pt x="1320145" y="183919"/>
                    </a:lnTo>
                    <a:lnTo>
                      <a:pt x="1318117" y="186300"/>
                    </a:lnTo>
                    <a:lnTo>
                      <a:pt x="1321027" y="187182"/>
                    </a:lnTo>
                    <a:lnTo>
                      <a:pt x="1319263" y="188328"/>
                    </a:lnTo>
                    <a:lnTo>
                      <a:pt x="1307008" y="188592"/>
                    </a:lnTo>
                    <a:lnTo>
                      <a:pt x="1292460" y="187093"/>
                    </a:lnTo>
                    <a:lnTo>
                      <a:pt x="1281968" y="188240"/>
                    </a:lnTo>
                    <a:lnTo>
                      <a:pt x="1277560" y="188769"/>
                    </a:lnTo>
                    <a:lnTo>
                      <a:pt x="1271741" y="190267"/>
                    </a:lnTo>
                    <a:close/>
                    <a:moveTo>
                      <a:pt x="962887" y="220597"/>
                    </a:moveTo>
                    <a:lnTo>
                      <a:pt x="947105" y="225270"/>
                    </a:lnTo>
                    <a:lnTo>
                      <a:pt x="945077" y="223242"/>
                    </a:lnTo>
                    <a:lnTo>
                      <a:pt x="941021" y="223771"/>
                    </a:lnTo>
                    <a:lnTo>
                      <a:pt x="941021" y="212662"/>
                    </a:lnTo>
                    <a:lnTo>
                      <a:pt x="935466" y="207108"/>
                    </a:lnTo>
                    <a:lnTo>
                      <a:pt x="931411" y="206490"/>
                    </a:lnTo>
                    <a:lnTo>
                      <a:pt x="920301" y="204463"/>
                    </a:lnTo>
                    <a:lnTo>
                      <a:pt x="912454" y="197497"/>
                    </a:lnTo>
                    <a:lnTo>
                      <a:pt x="921800" y="189915"/>
                    </a:lnTo>
                    <a:lnTo>
                      <a:pt x="929118" y="188151"/>
                    </a:lnTo>
                    <a:lnTo>
                      <a:pt x="937318" y="195734"/>
                    </a:lnTo>
                    <a:lnTo>
                      <a:pt x="951072" y="194235"/>
                    </a:lnTo>
                    <a:lnTo>
                      <a:pt x="960065" y="186917"/>
                    </a:lnTo>
                    <a:lnTo>
                      <a:pt x="963857" y="183390"/>
                    </a:lnTo>
                    <a:lnTo>
                      <a:pt x="969147" y="183390"/>
                    </a:lnTo>
                    <a:lnTo>
                      <a:pt x="963063" y="180745"/>
                    </a:lnTo>
                    <a:lnTo>
                      <a:pt x="953982" y="182509"/>
                    </a:lnTo>
                    <a:lnTo>
                      <a:pt x="956010" y="176072"/>
                    </a:lnTo>
                    <a:lnTo>
                      <a:pt x="964474" y="177836"/>
                    </a:lnTo>
                    <a:lnTo>
                      <a:pt x="957509" y="172898"/>
                    </a:lnTo>
                    <a:lnTo>
                      <a:pt x="961035" y="170518"/>
                    </a:lnTo>
                    <a:lnTo>
                      <a:pt x="977346" y="170518"/>
                    </a:lnTo>
                    <a:lnTo>
                      <a:pt x="979727" y="169019"/>
                    </a:lnTo>
                    <a:lnTo>
                      <a:pt x="990572" y="171928"/>
                    </a:lnTo>
                    <a:lnTo>
                      <a:pt x="1018257" y="167520"/>
                    </a:lnTo>
                    <a:lnTo>
                      <a:pt x="1025222" y="168137"/>
                    </a:lnTo>
                    <a:lnTo>
                      <a:pt x="1023459" y="173075"/>
                    </a:lnTo>
                    <a:lnTo>
                      <a:pt x="1010586" y="175367"/>
                    </a:lnTo>
                    <a:lnTo>
                      <a:pt x="1010321" y="177130"/>
                    </a:lnTo>
                    <a:lnTo>
                      <a:pt x="1017022" y="177130"/>
                    </a:lnTo>
                    <a:lnTo>
                      <a:pt x="1015259" y="179158"/>
                    </a:lnTo>
                    <a:lnTo>
                      <a:pt x="988456" y="186741"/>
                    </a:lnTo>
                    <a:lnTo>
                      <a:pt x="987045" y="188504"/>
                    </a:lnTo>
                    <a:lnTo>
                      <a:pt x="996391" y="186476"/>
                    </a:lnTo>
                    <a:lnTo>
                      <a:pt x="1006001" y="187975"/>
                    </a:lnTo>
                    <a:lnTo>
                      <a:pt x="1001945" y="195822"/>
                    </a:lnTo>
                    <a:lnTo>
                      <a:pt x="1013319" y="194059"/>
                    </a:lnTo>
                    <a:lnTo>
                      <a:pt x="994980" y="210987"/>
                    </a:lnTo>
                    <a:lnTo>
                      <a:pt x="998771" y="210634"/>
                    </a:lnTo>
                    <a:lnTo>
                      <a:pt x="989161" y="213279"/>
                    </a:lnTo>
                    <a:lnTo>
                      <a:pt x="976906" y="217335"/>
                    </a:lnTo>
                    <a:lnTo>
                      <a:pt x="964915" y="216718"/>
                    </a:lnTo>
                    <a:lnTo>
                      <a:pt x="962887" y="220597"/>
                    </a:lnTo>
                    <a:close/>
                    <a:moveTo>
                      <a:pt x="1228274" y="257893"/>
                    </a:moveTo>
                    <a:lnTo>
                      <a:pt x="1227657" y="258510"/>
                    </a:lnTo>
                    <a:lnTo>
                      <a:pt x="1225893" y="258510"/>
                    </a:lnTo>
                    <a:lnTo>
                      <a:pt x="1227039" y="257893"/>
                    </a:lnTo>
                    <a:lnTo>
                      <a:pt x="1233476" y="254719"/>
                    </a:lnTo>
                    <a:lnTo>
                      <a:pt x="1235239" y="254719"/>
                    </a:lnTo>
                    <a:lnTo>
                      <a:pt x="1236121" y="253837"/>
                    </a:lnTo>
                    <a:lnTo>
                      <a:pt x="1238149" y="254101"/>
                    </a:lnTo>
                    <a:lnTo>
                      <a:pt x="1239647" y="252602"/>
                    </a:lnTo>
                    <a:lnTo>
                      <a:pt x="1241146" y="252867"/>
                    </a:lnTo>
                    <a:lnTo>
                      <a:pt x="1242293" y="253484"/>
                    </a:lnTo>
                    <a:lnTo>
                      <a:pt x="1242557" y="253749"/>
                    </a:lnTo>
                    <a:lnTo>
                      <a:pt x="1242557" y="254366"/>
                    </a:lnTo>
                    <a:lnTo>
                      <a:pt x="1241411" y="255512"/>
                    </a:lnTo>
                    <a:lnTo>
                      <a:pt x="1239030" y="256394"/>
                    </a:lnTo>
                    <a:lnTo>
                      <a:pt x="1237620" y="256394"/>
                    </a:lnTo>
                    <a:lnTo>
                      <a:pt x="1233828" y="257011"/>
                    </a:lnTo>
                    <a:lnTo>
                      <a:pt x="1229773" y="257893"/>
                    </a:lnTo>
                    <a:lnTo>
                      <a:pt x="1228274" y="257893"/>
                    </a:lnTo>
                    <a:close/>
                    <a:moveTo>
                      <a:pt x="318552" y="271294"/>
                    </a:moveTo>
                    <a:lnTo>
                      <a:pt x="311234" y="273057"/>
                    </a:lnTo>
                    <a:lnTo>
                      <a:pt x="309206" y="271911"/>
                    </a:lnTo>
                    <a:lnTo>
                      <a:pt x="302506" y="270412"/>
                    </a:lnTo>
                    <a:lnTo>
                      <a:pt x="302241" y="268032"/>
                    </a:lnTo>
                    <a:lnTo>
                      <a:pt x="307179" y="266269"/>
                    </a:lnTo>
                    <a:lnTo>
                      <a:pt x="325870" y="261596"/>
                    </a:lnTo>
                    <a:lnTo>
                      <a:pt x="330191" y="261331"/>
                    </a:lnTo>
                    <a:lnTo>
                      <a:pt x="339536" y="256923"/>
                    </a:lnTo>
                    <a:lnTo>
                      <a:pt x="342181" y="256923"/>
                    </a:lnTo>
                    <a:lnTo>
                      <a:pt x="341035" y="260097"/>
                    </a:lnTo>
                    <a:lnTo>
                      <a:pt x="345973" y="260361"/>
                    </a:lnTo>
                    <a:lnTo>
                      <a:pt x="318552" y="271294"/>
                    </a:lnTo>
                    <a:close/>
                    <a:moveTo>
                      <a:pt x="1248993" y="265211"/>
                    </a:moveTo>
                    <a:lnTo>
                      <a:pt x="1247494" y="266709"/>
                    </a:lnTo>
                    <a:lnTo>
                      <a:pt x="1241675" y="266445"/>
                    </a:lnTo>
                    <a:lnTo>
                      <a:pt x="1242293" y="263535"/>
                    </a:lnTo>
                    <a:lnTo>
                      <a:pt x="1245202" y="260890"/>
                    </a:lnTo>
                    <a:lnTo>
                      <a:pt x="1248729" y="260009"/>
                    </a:lnTo>
                    <a:lnTo>
                      <a:pt x="1252520" y="260273"/>
                    </a:lnTo>
                    <a:lnTo>
                      <a:pt x="1255430" y="260273"/>
                    </a:lnTo>
                    <a:lnTo>
                      <a:pt x="1256047" y="261155"/>
                    </a:lnTo>
                    <a:lnTo>
                      <a:pt x="1248993" y="265211"/>
                    </a:lnTo>
                    <a:close/>
                    <a:moveTo>
                      <a:pt x="1209935" y="271294"/>
                    </a:moveTo>
                    <a:lnTo>
                      <a:pt x="1204645" y="271559"/>
                    </a:lnTo>
                    <a:lnTo>
                      <a:pt x="1203763" y="270677"/>
                    </a:lnTo>
                    <a:lnTo>
                      <a:pt x="1209053" y="266621"/>
                    </a:lnTo>
                    <a:lnTo>
                      <a:pt x="1211081" y="266004"/>
                    </a:lnTo>
                    <a:lnTo>
                      <a:pt x="1215754" y="265740"/>
                    </a:lnTo>
                    <a:lnTo>
                      <a:pt x="1221308" y="262566"/>
                    </a:lnTo>
                    <a:lnTo>
                      <a:pt x="1222719" y="262301"/>
                    </a:lnTo>
                    <a:lnTo>
                      <a:pt x="1224482" y="260538"/>
                    </a:lnTo>
                    <a:lnTo>
                      <a:pt x="1228009" y="260273"/>
                    </a:lnTo>
                    <a:lnTo>
                      <a:pt x="1229508" y="261155"/>
                    </a:lnTo>
                    <a:lnTo>
                      <a:pt x="1228626" y="262654"/>
                    </a:lnTo>
                    <a:lnTo>
                      <a:pt x="1225452" y="264417"/>
                    </a:lnTo>
                    <a:lnTo>
                      <a:pt x="1223689" y="264682"/>
                    </a:lnTo>
                    <a:lnTo>
                      <a:pt x="1222807" y="265211"/>
                    </a:lnTo>
                    <a:lnTo>
                      <a:pt x="1222543" y="265211"/>
                    </a:lnTo>
                    <a:lnTo>
                      <a:pt x="1214960" y="269883"/>
                    </a:lnTo>
                    <a:lnTo>
                      <a:pt x="1209935" y="271294"/>
                    </a:lnTo>
                    <a:close/>
                    <a:moveTo>
                      <a:pt x="694767" y="280904"/>
                    </a:moveTo>
                    <a:lnTo>
                      <a:pt x="660910" y="281786"/>
                    </a:lnTo>
                    <a:lnTo>
                      <a:pt x="665583" y="281169"/>
                    </a:lnTo>
                    <a:lnTo>
                      <a:pt x="662409" y="279406"/>
                    </a:lnTo>
                    <a:lnTo>
                      <a:pt x="662144" y="274468"/>
                    </a:lnTo>
                    <a:lnTo>
                      <a:pt x="668581" y="267150"/>
                    </a:lnTo>
                    <a:lnTo>
                      <a:pt x="669727" y="266886"/>
                    </a:lnTo>
                    <a:lnTo>
                      <a:pt x="661880" y="264858"/>
                    </a:lnTo>
                    <a:lnTo>
                      <a:pt x="642307" y="265475"/>
                    </a:lnTo>
                    <a:lnTo>
                      <a:pt x="632432" y="263712"/>
                    </a:lnTo>
                    <a:lnTo>
                      <a:pt x="627759" y="260802"/>
                    </a:lnTo>
                    <a:lnTo>
                      <a:pt x="629787" y="260538"/>
                    </a:lnTo>
                    <a:lnTo>
                      <a:pt x="630404" y="259391"/>
                    </a:lnTo>
                    <a:lnTo>
                      <a:pt x="625996" y="258510"/>
                    </a:lnTo>
                    <a:lnTo>
                      <a:pt x="628023" y="257364"/>
                    </a:lnTo>
                    <a:lnTo>
                      <a:pt x="624497" y="255865"/>
                    </a:lnTo>
                    <a:lnTo>
                      <a:pt x="626789" y="250046"/>
                    </a:lnTo>
                    <a:lnTo>
                      <a:pt x="630580" y="248547"/>
                    </a:lnTo>
                    <a:lnTo>
                      <a:pt x="680484" y="242992"/>
                    </a:lnTo>
                    <a:lnTo>
                      <a:pt x="697147" y="243874"/>
                    </a:lnTo>
                    <a:lnTo>
                      <a:pt x="708786" y="245637"/>
                    </a:lnTo>
                    <a:lnTo>
                      <a:pt x="708786" y="244755"/>
                    </a:lnTo>
                    <a:lnTo>
                      <a:pt x="712312" y="244491"/>
                    </a:lnTo>
                    <a:lnTo>
                      <a:pt x="717514" y="243874"/>
                    </a:lnTo>
                    <a:lnTo>
                      <a:pt x="728006" y="243874"/>
                    </a:lnTo>
                    <a:lnTo>
                      <a:pt x="725978" y="243257"/>
                    </a:lnTo>
                    <a:lnTo>
                      <a:pt x="728006" y="242992"/>
                    </a:lnTo>
                    <a:lnTo>
                      <a:pt x="723333" y="242110"/>
                    </a:lnTo>
                    <a:lnTo>
                      <a:pt x="721041" y="241229"/>
                    </a:lnTo>
                    <a:lnTo>
                      <a:pt x="721041" y="239465"/>
                    </a:lnTo>
                    <a:lnTo>
                      <a:pt x="710549" y="238319"/>
                    </a:lnTo>
                    <a:lnTo>
                      <a:pt x="706493" y="236291"/>
                    </a:lnTo>
                    <a:lnTo>
                      <a:pt x="701556" y="236291"/>
                    </a:lnTo>
                    <a:lnTo>
                      <a:pt x="696883" y="235145"/>
                    </a:lnTo>
                    <a:lnTo>
                      <a:pt x="686655" y="236644"/>
                    </a:lnTo>
                    <a:lnTo>
                      <a:pt x="659235" y="237790"/>
                    </a:lnTo>
                    <a:lnTo>
                      <a:pt x="661615" y="236644"/>
                    </a:lnTo>
                    <a:lnTo>
                      <a:pt x="644423" y="237261"/>
                    </a:lnTo>
                    <a:lnTo>
                      <a:pt x="639485" y="237878"/>
                    </a:lnTo>
                    <a:lnTo>
                      <a:pt x="640102" y="237261"/>
                    </a:lnTo>
                    <a:lnTo>
                      <a:pt x="637193" y="236644"/>
                    </a:lnTo>
                    <a:lnTo>
                      <a:pt x="637810" y="235145"/>
                    </a:lnTo>
                    <a:lnTo>
                      <a:pt x="633402" y="232853"/>
                    </a:lnTo>
                    <a:lnTo>
                      <a:pt x="632785" y="229679"/>
                    </a:lnTo>
                    <a:lnTo>
                      <a:pt x="646803" y="225887"/>
                    </a:lnTo>
                    <a:lnTo>
                      <a:pt x="664349" y="223860"/>
                    </a:lnTo>
                    <a:lnTo>
                      <a:pt x="665495" y="223331"/>
                    </a:lnTo>
                    <a:lnTo>
                      <a:pt x="684716" y="221303"/>
                    </a:lnTo>
                    <a:lnTo>
                      <a:pt x="679161" y="220686"/>
                    </a:lnTo>
                    <a:lnTo>
                      <a:pt x="689389" y="219187"/>
                    </a:lnTo>
                    <a:lnTo>
                      <a:pt x="692034" y="218305"/>
                    </a:lnTo>
                    <a:lnTo>
                      <a:pt x="690006" y="217776"/>
                    </a:lnTo>
                    <a:lnTo>
                      <a:pt x="658530" y="221567"/>
                    </a:lnTo>
                    <a:lnTo>
                      <a:pt x="660557" y="220068"/>
                    </a:lnTo>
                    <a:lnTo>
                      <a:pt x="658530" y="219187"/>
                    </a:lnTo>
                    <a:lnTo>
                      <a:pt x="656502" y="220068"/>
                    </a:lnTo>
                    <a:lnTo>
                      <a:pt x="658001" y="220686"/>
                    </a:lnTo>
                    <a:lnTo>
                      <a:pt x="655973" y="221567"/>
                    </a:lnTo>
                    <a:lnTo>
                      <a:pt x="645745" y="221567"/>
                    </a:lnTo>
                    <a:lnTo>
                      <a:pt x="645481" y="220068"/>
                    </a:lnTo>
                    <a:lnTo>
                      <a:pt x="648126" y="219187"/>
                    </a:lnTo>
                    <a:lnTo>
                      <a:pt x="656854" y="218040"/>
                    </a:lnTo>
                    <a:lnTo>
                      <a:pt x="656854" y="217159"/>
                    </a:lnTo>
                    <a:lnTo>
                      <a:pt x="654827" y="216894"/>
                    </a:lnTo>
                    <a:lnTo>
                      <a:pt x="658618" y="216013"/>
                    </a:lnTo>
                    <a:lnTo>
                      <a:pt x="657119" y="215395"/>
                    </a:lnTo>
                    <a:lnTo>
                      <a:pt x="651564" y="216894"/>
                    </a:lnTo>
                    <a:lnTo>
                      <a:pt x="647156" y="217511"/>
                    </a:lnTo>
                    <a:lnTo>
                      <a:pt x="647156" y="216013"/>
                    </a:lnTo>
                    <a:lnTo>
                      <a:pt x="642218" y="216013"/>
                    </a:lnTo>
                    <a:lnTo>
                      <a:pt x="639573" y="217159"/>
                    </a:lnTo>
                    <a:lnTo>
                      <a:pt x="638780" y="215924"/>
                    </a:lnTo>
                    <a:lnTo>
                      <a:pt x="642836" y="211869"/>
                    </a:lnTo>
                    <a:lnTo>
                      <a:pt x="653328" y="207460"/>
                    </a:lnTo>
                    <a:lnTo>
                      <a:pt x="655620" y="205961"/>
                    </a:lnTo>
                    <a:lnTo>
                      <a:pt x="665495" y="203934"/>
                    </a:lnTo>
                    <a:lnTo>
                      <a:pt x="666994" y="202170"/>
                    </a:lnTo>
                    <a:lnTo>
                      <a:pt x="661704" y="201553"/>
                    </a:lnTo>
                    <a:lnTo>
                      <a:pt x="662850" y="199790"/>
                    </a:lnTo>
                    <a:lnTo>
                      <a:pt x="668669" y="197762"/>
                    </a:lnTo>
                    <a:lnTo>
                      <a:pt x="683217" y="193970"/>
                    </a:lnTo>
                    <a:lnTo>
                      <a:pt x="694326" y="190444"/>
                    </a:lnTo>
                    <a:lnTo>
                      <a:pt x="744229" y="181715"/>
                    </a:lnTo>
                    <a:lnTo>
                      <a:pt x="749167" y="181980"/>
                    </a:lnTo>
                    <a:lnTo>
                      <a:pt x="750313" y="184889"/>
                    </a:lnTo>
                    <a:lnTo>
                      <a:pt x="741584" y="192472"/>
                    </a:lnTo>
                    <a:lnTo>
                      <a:pt x="736294" y="193618"/>
                    </a:lnTo>
                    <a:lnTo>
                      <a:pt x="736559" y="194499"/>
                    </a:lnTo>
                    <a:lnTo>
                      <a:pt x="727830" y="196527"/>
                    </a:lnTo>
                    <a:lnTo>
                      <a:pt x="729858" y="197409"/>
                    </a:lnTo>
                    <a:lnTo>
                      <a:pt x="744141" y="195381"/>
                    </a:lnTo>
                    <a:lnTo>
                      <a:pt x="743259" y="195998"/>
                    </a:lnTo>
                    <a:lnTo>
                      <a:pt x="746169" y="195381"/>
                    </a:lnTo>
                    <a:lnTo>
                      <a:pt x="748814" y="193618"/>
                    </a:lnTo>
                    <a:lnTo>
                      <a:pt x="747051" y="193618"/>
                    </a:lnTo>
                    <a:lnTo>
                      <a:pt x="755779" y="189209"/>
                    </a:lnTo>
                    <a:lnTo>
                      <a:pt x="759306" y="188328"/>
                    </a:lnTo>
                    <a:lnTo>
                      <a:pt x="765125" y="188945"/>
                    </a:lnTo>
                    <a:lnTo>
                      <a:pt x="781701" y="193001"/>
                    </a:lnTo>
                    <a:lnTo>
                      <a:pt x="781701" y="195910"/>
                    </a:lnTo>
                    <a:lnTo>
                      <a:pt x="772708" y="199701"/>
                    </a:lnTo>
                    <a:lnTo>
                      <a:pt x="760981" y="202875"/>
                    </a:lnTo>
                    <a:lnTo>
                      <a:pt x="770327" y="201729"/>
                    </a:lnTo>
                    <a:lnTo>
                      <a:pt x="770327" y="201288"/>
                    </a:lnTo>
                    <a:lnTo>
                      <a:pt x="777028" y="199525"/>
                    </a:lnTo>
                    <a:lnTo>
                      <a:pt x="773501" y="201288"/>
                    </a:lnTo>
                    <a:lnTo>
                      <a:pt x="777292" y="202170"/>
                    </a:lnTo>
                    <a:lnTo>
                      <a:pt x="780467" y="199525"/>
                    </a:lnTo>
                    <a:lnTo>
                      <a:pt x="789195" y="197762"/>
                    </a:lnTo>
                    <a:lnTo>
                      <a:pt x="795367" y="199525"/>
                    </a:lnTo>
                    <a:lnTo>
                      <a:pt x="795102" y="198114"/>
                    </a:lnTo>
                    <a:lnTo>
                      <a:pt x="798012" y="198732"/>
                    </a:lnTo>
                    <a:lnTo>
                      <a:pt x="798629" y="198114"/>
                    </a:lnTo>
                    <a:lnTo>
                      <a:pt x="798365" y="196087"/>
                    </a:lnTo>
                    <a:lnTo>
                      <a:pt x="795984" y="195469"/>
                    </a:lnTo>
                    <a:lnTo>
                      <a:pt x="798629" y="194588"/>
                    </a:lnTo>
                    <a:lnTo>
                      <a:pt x="802156" y="194852"/>
                    </a:lnTo>
                    <a:lnTo>
                      <a:pt x="803038" y="194852"/>
                    </a:lnTo>
                    <a:lnTo>
                      <a:pt x="804801" y="193706"/>
                    </a:lnTo>
                    <a:lnTo>
                      <a:pt x="803655" y="193441"/>
                    </a:lnTo>
                    <a:lnTo>
                      <a:pt x="797571" y="191678"/>
                    </a:lnTo>
                    <a:lnTo>
                      <a:pt x="797042" y="189033"/>
                    </a:lnTo>
                    <a:lnTo>
                      <a:pt x="801715" y="188416"/>
                    </a:lnTo>
                    <a:lnTo>
                      <a:pt x="808151" y="189562"/>
                    </a:lnTo>
                    <a:lnTo>
                      <a:pt x="811061" y="189827"/>
                    </a:lnTo>
                    <a:lnTo>
                      <a:pt x="814852" y="193618"/>
                    </a:lnTo>
                    <a:lnTo>
                      <a:pt x="817233" y="195381"/>
                    </a:lnTo>
                    <a:lnTo>
                      <a:pt x="814588" y="195998"/>
                    </a:lnTo>
                    <a:lnTo>
                      <a:pt x="814323" y="197145"/>
                    </a:lnTo>
                    <a:lnTo>
                      <a:pt x="818114" y="197145"/>
                    </a:lnTo>
                    <a:lnTo>
                      <a:pt x="812295" y="208518"/>
                    </a:lnTo>
                    <a:lnTo>
                      <a:pt x="813177" y="208783"/>
                    </a:lnTo>
                    <a:lnTo>
                      <a:pt x="809386" y="214073"/>
                    </a:lnTo>
                    <a:lnTo>
                      <a:pt x="811149" y="214337"/>
                    </a:lnTo>
                    <a:lnTo>
                      <a:pt x="811149" y="216101"/>
                    </a:lnTo>
                    <a:lnTo>
                      <a:pt x="812912" y="216718"/>
                    </a:lnTo>
                    <a:lnTo>
                      <a:pt x="815205" y="214426"/>
                    </a:lnTo>
                    <a:lnTo>
                      <a:pt x="816704" y="214690"/>
                    </a:lnTo>
                    <a:lnTo>
                      <a:pt x="821112" y="212927"/>
                    </a:lnTo>
                    <a:lnTo>
                      <a:pt x="825520" y="212662"/>
                    </a:lnTo>
                    <a:lnTo>
                      <a:pt x="824022" y="211252"/>
                    </a:lnTo>
                    <a:lnTo>
                      <a:pt x="828077" y="210634"/>
                    </a:lnTo>
                    <a:lnTo>
                      <a:pt x="826931" y="209224"/>
                    </a:lnTo>
                    <a:lnTo>
                      <a:pt x="824022" y="208606"/>
                    </a:lnTo>
                    <a:lnTo>
                      <a:pt x="838922" y="184977"/>
                    </a:lnTo>
                    <a:lnTo>
                      <a:pt x="842449" y="184713"/>
                    </a:lnTo>
                    <a:lnTo>
                      <a:pt x="845358" y="181803"/>
                    </a:lnTo>
                    <a:lnTo>
                      <a:pt x="852059" y="182685"/>
                    </a:lnTo>
                    <a:lnTo>
                      <a:pt x="854440" y="184713"/>
                    </a:lnTo>
                    <a:lnTo>
                      <a:pt x="857085" y="184977"/>
                    </a:lnTo>
                    <a:lnTo>
                      <a:pt x="858848" y="182597"/>
                    </a:lnTo>
                    <a:lnTo>
                      <a:pt x="863257" y="182861"/>
                    </a:lnTo>
                    <a:lnTo>
                      <a:pt x="863521" y="183743"/>
                    </a:lnTo>
                    <a:lnTo>
                      <a:pt x="865813" y="183743"/>
                    </a:lnTo>
                    <a:lnTo>
                      <a:pt x="866960" y="186653"/>
                    </a:lnTo>
                    <a:lnTo>
                      <a:pt x="871633" y="187799"/>
                    </a:lnTo>
                    <a:lnTo>
                      <a:pt x="874807" y="192207"/>
                    </a:lnTo>
                    <a:lnTo>
                      <a:pt x="866607" y="206226"/>
                    </a:lnTo>
                    <a:lnTo>
                      <a:pt x="865990" y="214955"/>
                    </a:lnTo>
                    <a:lnTo>
                      <a:pt x="862199" y="221655"/>
                    </a:lnTo>
                    <a:lnTo>
                      <a:pt x="861317" y="221391"/>
                    </a:lnTo>
                    <a:lnTo>
                      <a:pt x="856909" y="224918"/>
                    </a:lnTo>
                    <a:lnTo>
                      <a:pt x="852500" y="226064"/>
                    </a:lnTo>
                    <a:lnTo>
                      <a:pt x="852236" y="227563"/>
                    </a:lnTo>
                    <a:lnTo>
                      <a:pt x="854616" y="229590"/>
                    </a:lnTo>
                    <a:lnTo>
                      <a:pt x="854881" y="233999"/>
                    </a:lnTo>
                    <a:lnTo>
                      <a:pt x="857790" y="234881"/>
                    </a:lnTo>
                    <a:lnTo>
                      <a:pt x="858319" y="237526"/>
                    </a:lnTo>
                    <a:lnTo>
                      <a:pt x="862375" y="237526"/>
                    </a:lnTo>
                    <a:lnTo>
                      <a:pt x="864138" y="239289"/>
                    </a:lnTo>
                    <a:lnTo>
                      <a:pt x="866166" y="239289"/>
                    </a:lnTo>
                    <a:lnTo>
                      <a:pt x="866431" y="236379"/>
                    </a:lnTo>
                    <a:lnTo>
                      <a:pt x="867930" y="235762"/>
                    </a:lnTo>
                    <a:lnTo>
                      <a:pt x="869957" y="237261"/>
                    </a:lnTo>
                    <a:lnTo>
                      <a:pt x="868194" y="239289"/>
                    </a:lnTo>
                    <a:lnTo>
                      <a:pt x="874630" y="241934"/>
                    </a:lnTo>
                    <a:lnTo>
                      <a:pt x="874895" y="242816"/>
                    </a:lnTo>
                    <a:lnTo>
                      <a:pt x="878951" y="244579"/>
                    </a:lnTo>
                    <a:lnTo>
                      <a:pt x="881860" y="243697"/>
                    </a:lnTo>
                    <a:lnTo>
                      <a:pt x="883359" y="244579"/>
                    </a:lnTo>
                    <a:lnTo>
                      <a:pt x="880449" y="246607"/>
                    </a:lnTo>
                    <a:lnTo>
                      <a:pt x="883095" y="247224"/>
                    </a:lnTo>
                    <a:lnTo>
                      <a:pt x="884858" y="246342"/>
                    </a:lnTo>
                    <a:lnTo>
                      <a:pt x="886357" y="246960"/>
                    </a:lnTo>
                    <a:lnTo>
                      <a:pt x="890412" y="245813"/>
                    </a:lnTo>
                    <a:lnTo>
                      <a:pt x="886886" y="251897"/>
                    </a:lnTo>
                    <a:lnTo>
                      <a:pt x="881948" y="256835"/>
                    </a:lnTo>
                    <a:lnTo>
                      <a:pt x="876129" y="257099"/>
                    </a:lnTo>
                    <a:lnTo>
                      <a:pt x="876129" y="254454"/>
                    </a:lnTo>
                    <a:lnTo>
                      <a:pt x="878510" y="251809"/>
                    </a:lnTo>
                    <a:lnTo>
                      <a:pt x="870927" y="256482"/>
                    </a:lnTo>
                    <a:lnTo>
                      <a:pt x="870310" y="255865"/>
                    </a:lnTo>
                    <a:lnTo>
                      <a:pt x="868018" y="255248"/>
                    </a:lnTo>
                    <a:lnTo>
                      <a:pt x="868282" y="252955"/>
                    </a:lnTo>
                    <a:lnTo>
                      <a:pt x="866519" y="253572"/>
                    </a:lnTo>
                    <a:lnTo>
                      <a:pt x="866519" y="251809"/>
                    </a:lnTo>
                    <a:lnTo>
                      <a:pt x="865020" y="252955"/>
                    </a:lnTo>
                    <a:lnTo>
                      <a:pt x="862728" y="253220"/>
                    </a:lnTo>
                    <a:lnTo>
                      <a:pt x="860964" y="254719"/>
                    </a:lnTo>
                    <a:lnTo>
                      <a:pt x="861229" y="253837"/>
                    </a:lnTo>
                    <a:lnTo>
                      <a:pt x="858319" y="254983"/>
                    </a:lnTo>
                    <a:lnTo>
                      <a:pt x="856027" y="254719"/>
                    </a:lnTo>
                    <a:lnTo>
                      <a:pt x="857173" y="256482"/>
                    </a:lnTo>
                    <a:lnTo>
                      <a:pt x="854528" y="259127"/>
                    </a:lnTo>
                    <a:lnTo>
                      <a:pt x="848709" y="259391"/>
                    </a:lnTo>
                    <a:lnTo>
                      <a:pt x="844653" y="256482"/>
                    </a:lnTo>
                    <a:lnTo>
                      <a:pt x="841744" y="256482"/>
                    </a:lnTo>
                    <a:lnTo>
                      <a:pt x="840245" y="257981"/>
                    </a:lnTo>
                    <a:lnTo>
                      <a:pt x="844300" y="258598"/>
                    </a:lnTo>
                    <a:lnTo>
                      <a:pt x="842802" y="261507"/>
                    </a:lnTo>
                    <a:lnTo>
                      <a:pt x="845182" y="260009"/>
                    </a:lnTo>
                    <a:lnTo>
                      <a:pt x="841391" y="265299"/>
                    </a:lnTo>
                    <a:lnTo>
                      <a:pt x="836718" y="267062"/>
                    </a:lnTo>
                    <a:lnTo>
                      <a:pt x="835219" y="268561"/>
                    </a:lnTo>
                    <a:lnTo>
                      <a:pt x="843948" y="264505"/>
                    </a:lnTo>
                    <a:lnTo>
                      <a:pt x="845447" y="263359"/>
                    </a:lnTo>
                    <a:lnTo>
                      <a:pt x="851883" y="262477"/>
                    </a:lnTo>
                    <a:lnTo>
                      <a:pt x="854263" y="260714"/>
                    </a:lnTo>
                    <a:lnTo>
                      <a:pt x="860700" y="260978"/>
                    </a:lnTo>
                    <a:lnTo>
                      <a:pt x="861581" y="262389"/>
                    </a:lnTo>
                    <a:lnTo>
                      <a:pt x="857790" y="263271"/>
                    </a:lnTo>
                    <a:lnTo>
                      <a:pt x="855145" y="265563"/>
                    </a:lnTo>
                    <a:lnTo>
                      <a:pt x="854263" y="267062"/>
                    </a:lnTo>
                    <a:lnTo>
                      <a:pt x="858672" y="265563"/>
                    </a:lnTo>
                    <a:lnTo>
                      <a:pt x="859818" y="267327"/>
                    </a:lnTo>
                    <a:lnTo>
                      <a:pt x="855410" y="270853"/>
                    </a:lnTo>
                    <a:lnTo>
                      <a:pt x="852236" y="271735"/>
                    </a:lnTo>
                    <a:lnTo>
                      <a:pt x="850737" y="271470"/>
                    </a:lnTo>
                    <a:lnTo>
                      <a:pt x="849238" y="272088"/>
                    </a:lnTo>
                    <a:lnTo>
                      <a:pt x="845447" y="272088"/>
                    </a:lnTo>
                    <a:lnTo>
                      <a:pt x="842537" y="274116"/>
                    </a:lnTo>
                    <a:lnTo>
                      <a:pt x="838746" y="273234"/>
                    </a:lnTo>
                    <a:lnTo>
                      <a:pt x="837335" y="274733"/>
                    </a:lnTo>
                    <a:lnTo>
                      <a:pt x="834073" y="275614"/>
                    </a:lnTo>
                    <a:lnTo>
                      <a:pt x="830899" y="274733"/>
                    </a:lnTo>
                    <a:lnTo>
                      <a:pt x="827372" y="274733"/>
                    </a:lnTo>
                    <a:lnTo>
                      <a:pt x="827108" y="275614"/>
                    </a:lnTo>
                    <a:lnTo>
                      <a:pt x="824727" y="275085"/>
                    </a:lnTo>
                    <a:lnTo>
                      <a:pt x="815381" y="274204"/>
                    </a:lnTo>
                    <a:lnTo>
                      <a:pt x="812207" y="272440"/>
                    </a:lnTo>
                    <a:lnTo>
                      <a:pt x="809562" y="274204"/>
                    </a:lnTo>
                    <a:lnTo>
                      <a:pt x="799952" y="273322"/>
                    </a:lnTo>
                    <a:lnTo>
                      <a:pt x="799687" y="271823"/>
                    </a:lnTo>
                    <a:lnTo>
                      <a:pt x="807534" y="269795"/>
                    </a:lnTo>
                    <a:lnTo>
                      <a:pt x="805154" y="268914"/>
                    </a:lnTo>
                    <a:lnTo>
                      <a:pt x="804536" y="270060"/>
                    </a:lnTo>
                    <a:lnTo>
                      <a:pt x="798717" y="268914"/>
                    </a:lnTo>
                    <a:lnTo>
                      <a:pt x="796689" y="267767"/>
                    </a:lnTo>
                    <a:lnTo>
                      <a:pt x="792898" y="267503"/>
                    </a:lnTo>
                    <a:lnTo>
                      <a:pt x="791135" y="268120"/>
                    </a:lnTo>
                    <a:lnTo>
                      <a:pt x="785580" y="267503"/>
                    </a:lnTo>
                    <a:lnTo>
                      <a:pt x="786197" y="266004"/>
                    </a:lnTo>
                    <a:lnTo>
                      <a:pt x="789724" y="264858"/>
                    </a:lnTo>
                    <a:lnTo>
                      <a:pt x="790341" y="262830"/>
                    </a:lnTo>
                    <a:lnTo>
                      <a:pt x="787432" y="261067"/>
                    </a:lnTo>
                    <a:lnTo>
                      <a:pt x="783376" y="263094"/>
                    </a:lnTo>
                    <a:lnTo>
                      <a:pt x="779585" y="263712"/>
                    </a:lnTo>
                    <a:lnTo>
                      <a:pt x="778174" y="266357"/>
                    </a:lnTo>
                    <a:lnTo>
                      <a:pt x="767947" y="270412"/>
                    </a:lnTo>
                    <a:lnTo>
                      <a:pt x="763538" y="271911"/>
                    </a:lnTo>
                    <a:lnTo>
                      <a:pt x="745464" y="272793"/>
                    </a:lnTo>
                    <a:lnTo>
                      <a:pt x="745199" y="273410"/>
                    </a:lnTo>
                    <a:lnTo>
                      <a:pt x="736999" y="276320"/>
                    </a:lnTo>
                    <a:lnTo>
                      <a:pt x="722363" y="278612"/>
                    </a:lnTo>
                    <a:lnTo>
                      <a:pt x="713018" y="278877"/>
                    </a:lnTo>
                    <a:lnTo>
                      <a:pt x="709491" y="280023"/>
                    </a:lnTo>
                    <a:lnTo>
                      <a:pt x="698382" y="280640"/>
                    </a:lnTo>
                    <a:lnTo>
                      <a:pt x="699263" y="279758"/>
                    </a:lnTo>
                    <a:lnTo>
                      <a:pt x="692739" y="279758"/>
                    </a:lnTo>
                    <a:lnTo>
                      <a:pt x="694502" y="280023"/>
                    </a:lnTo>
                    <a:lnTo>
                      <a:pt x="694767" y="280904"/>
                    </a:lnTo>
                    <a:close/>
                    <a:moveTo>
                      <a:pt x="1272623" y="283021"/>
                    </a:moveTo>
                    <a:lnTo>
                      <a:pt x="1271476" y="283021"/>
                    </a:lnTo>
                    <a:lnTo>
                      <a:pt x="1270330" y="283021"/>
                    </a:lnTo>
                    <a:lnTo>
                      <a:pt x="1270066" y="282756"/>
                    </a:lnTo>
                    <a:lnTo>
                      <a:pt x="1270066" y="282139"/>
                    </a:lnTo>
                    <a:lnTo>
                      <a:pt x="1270330" y="281522"/>
                    </a:lnTo>
                    <a:lnTo>
                      <a:pt x="1270330" y="280904"/>
                    </a:lnTo>
                    <a:lnTo>
                      <a:pt x="1268567" y="280287"/>
                    </a:lnTo>
                    <a:lnTo>
                      <a:pt x="1267332" y="279758"/>
                    </a:lnTo>
                    <a:lnTo>
                      <a:pt x="1267332" y="278877"/>
                    </a:lnTo>
                    <a:lnTo>
                      <a:pt x="1267332" y="278259"/>
                    </a:lnTo>
                    <a:lnTo>
                      <a:pt x="1267949" y="277642"/>
                    </a:lnTo>
                    <a:lnTo>
                      <a:pt x="1268567" y="276761"/>
                    </a:lnTo>
                    <a:lnTo>
                      <a:pt x="1271741" y="274997"/>
                    </a:lnTo>
                    <a:lnTo>
                      <a:pt x="1271741" y="274733"/>
                    </a:lnTo>
                    <a:lnTo>
                      <a:pt x="1272623" y="274997"/>
                    </a:lnTo>
                    <a:lnTo>
                      <a:pt x="1275796" y="275879"/>
                    </a:lnTo>
                    <a:lnTo>
                      <a:pt x="1275179" y="278171"/>
                    </a:lnTo>
                    <a:lnTo>
                      <a:pt x="1276325" y="279317"/>
                    </a:lnTo>
                    <a:lnTo>
                      <a:pt x="1274297" y="281081"/>
                    </a:lnTo>
                    <a:lnTo>
                      <a:pt x="1274915" y="281698"/>
                    </a:lnTo>
                    <a:lnTo>
                      <a:pt x="1273768" y="281963"/>
                    </a:lnTo>
                    <a:lnTo>
                      <a:pt x="1272623" y="283021"/>
                    </a:lnTo>
                    <a:close/>
                    <a:moveTo>
                      <a:pt x="933703" y="279494"/>
                    </a:moveTo>
                    <a:lnTo>
                      <a:pt x="924357" y="282139"/>
                    </a:lnTo>
                    <a:lnTo>
                      <a:pt x="916775" y="279229"/>
                    </a:lnTo>
                    <a:lnTo>
                      <a:pt x="914747" y="280728"/>
                    </a:lnTo>
                    <a:lnTo>
                      <a:pt x="900464" y="273763"/>
                    </a:lnTo>
                    <a:lnTo>
                      <a:pt x="885034" y="273146"/>
                    </a:lnTo>
                    <a:lnTo>
                      <a:pt x="894116" y="267327"/>
                    </a:lnTo>
                    <a:lnTo>
                      <a:pt x="902315" y="266180"/>
                    </a:lnTo>
                    <a:lnTo>
                      <a:pt x="911308" y="260361"/>
                    </a:lnTo>
                    <a:lnTo>
                      <a:pt x="911925" y="258333"/>
                    </a:lnTo>
                    <a:lnTo>
                      <a:pt x="916863" y="259832"/>
                    </a:lnTo>
                    <a:lnTo>
                      <a:pt x="926738" y="251985"/>
                    </a:lnTo>
                    <a:lnTo>
                      <a:pt x="931411" y="257540"/>
                    </a:lnTo>
                    <a:lnTo>
                      <a:pt x="933791" y="256041"/>
                    </a:lnTo>
                    <a:lnTo>
                      <a:pt x="941374" y="259832"/>
                    </a:lnTo>
                    <a:lnTo>
                      <a:pt x="948075" y="257804"/>
                    </a:lnTo>
                    <a:lnTo>
                      <a:pt x="952483" y="259568"/>
                    </a:lnTo>
                    <a:lnTo>
                      <a:pt x="962711" y="260714"/>
                    </a:lnTo>
                    <a:lnTo>
                      <a:pt x="956010" y="262742"/>
                    </a:lnTo>
                    <a:lnTo>
                      <a:pt x="947369" y="264593"/>
                    </a:lnTo>
                    <a:lnTo>
                      <a:pt x="944724" y="266357"/>
                    </a:lnTo>
                    <a:lnTo>
                      <a:pt x="943843" y="273675"/>
                    </a:lnTo>
                    <a:lnTo>
                      <a:pt x="951160" y="273675"/>
                    </a:lnTo>
                    <a:lnTo>
                      <a:pt x="943843" y="276584"/>
                    </a:lnTo>
                    <a:lnTo>
                      <a:pt x="943578" y="275703"/>
                    </a:lnTo>
                    <a:lnTo>
                      <a:pt x="933703" y="279494"/>
                    </a:lnTo>
                    <a:close/>
                    <a:moveTo>
                      <a:pt x="1230302" y="305415"/>
                    </a:moveTo>
                    <a:lnTo>
                      <a:pt x="1225364" y="305680"/>
                    </a:lnTo>
                    <a:lnTo>
                      <a:pt x="1221308" y="305151"/>
                    </a:lnTo>
                    <a:lnTo>
                      <a:pt x="1220162" y="304534"/>
                    </a:lnTo>
                    <a:lnTo>
                      <a:pt x="1219280" y="303916"/>
                    </a:lnTo>
                    <a:lnTo>
                      <a:pt x="1219898" y="301889"/>
                    </a:lnTo>
                    <a:lnTo>
                      <a:pt x="1219633" y="300390"/>
                    </a:lnTo>
                    <a:lnTo>
                      <a:pt x="1223160" y="294571"/>
                    </a:lnTo>
                    <a:lnTo>
                      <a:pt x="1227833" y="291044"/>
                    </a:lnTo>
                    <a:lnTo>
                      <a:pt x="1231889" y="288134"/>
                    </a:lnTo>
                    <a:lnTo>
                      <a:pt x="1239471" y="284079"/>
                    </a:lnTo>
                    <a:lnTo>
                      <a:pt x="1242998" y="282932"/>
                    </a:lnTo>
                    <a:lnTo>
                      <a:pt x="1245907" y="282315"/>
                    </a:lnTo>
                    <a:lnTo>
                      <a:pt x="1247406" y="282051"/>
                    </a:lnTo>
                    <a:lnTo>
                      <a:pt x="1247671" y="281786"/>
                    </a:lnTo>
                    <a:lnTo>
                      <a:pt x="1249699" y="282051"/>
                    </a:lnTo>
                    <a:lnTo>
                      <a:pt x="1252344" y="282051"/>
                    </a:lnTo>
                    <a:lnTo>
                      <a:pt x="1254107" y="281786"/>
                    </a:lnTo>
                    <a:lnTo>
                      <a:pt x="1263982" y="283814"/>
                    </a:lnTo>
                    <a:lnTo>
                      <a:pt x="1265128" y="284696"/>
                    </a:lnTo>
                    <a:lnTo>
                      <a:pt x="1265393" y="285313"/>
                    </a:lnTo>
                    <a:lnTo>
                      <a:pt x="1259574" y="290603"/>
                    </a:lnTo>
                    <a:lnTo>
                      <a:pt x="1259574" y="292366"/>
                    </a:lnTo>
                    <a:lnTo>
                      <a:pt x="1257810" y="296510"/>
                    </a:lnTo>
                    <a:lnTo>
                      <a:pt x="1256928" y="297392"/>
                    </a:lnTo>
                    <a:lnTo>
                      <a:pt x="1251109" y="301448"/>
                    </a:lnTo>
                    <a:lnTo>
                      <a:pt x="1249081" y="302329"/>
                    </a:lnTo>
                    <a:lnTo>
                      <a:pt x="1247053" y="303211"/>
                    </a:lnTo>
                    <a:lnTo>
                      <a:pt x="1245290" y="303211"/>
                    </a:lnTo>
                    <a:lnTo>
                      <a:pt x="1243791" y="303828"/>
                    </a:lnTo>
                    <a:lnTo>
                      <a:pt x="1243262" y="304093"/>
                    </a:lnTo>
                    <a:lnTo>
                      <a:pt x="1242116" y="304093"/>
                    </a:lnTo>
                    <a:lnTo>
                      <a:pt x="1238589" y="305239"/>
                    </a:lnTo>
                    <a:lnTo>
                      <a:pt x="1231624" y="305239"/>
                    </a:lnTo>
                    <a:lnTo>
                      <a:pt x="1230302" y="305415"/>
                    </a:lnTo>
                    <a:close/>
                    <a:moveTo>
                      <a:pt x="1078652" y="291132"/>
                    </a:moveTo>
                    <a:lnTo>
                      <a:pt x="1071951" y="296069"/>
                    </a:lnTo>
                    <a:lnTo>
                      <a:pt x="1068689" y="296069"/>
                    </a:lnTo>
                    <a:lnTo>
                      <a:pt x="1068160" y="293424"/>
                    </a:lnTo>
                    <a:lnTo>
                      <a:pt x="1076624" y="285225"/>
                    </a:lnTo>
                    <a:lnTo>
                      <a:pt x="1080151" y="285225"/>
                    </a:lnTo>
                    <a:lnTo>
                      <a:pt x="1078652" y="291132"/>
                    </a:lnTo>
                    <a:close/>
                    <a:moveTo>
                      <a:pt x="1284878" y="295276"/>
                    </a:moveTo>
                    <a:lnTo>
                      <a:pt x="1283732" y="295540"/>
                    </a:lnTo>
                    <a:lnTo>
                      <a:pt x="1277912" y="294923"/>
                    </a:lnTo>
                    <a:lnTo>
                      <a:pt x="1274386" y="295188"/>
                    </a:lnTo>
                    <a:lnTo>
                      <a:pt x="1270595" y="294571"/>
                    </a:lnTo>
                    <a:lnTo>
                      <a:pt x="1268831" y="293953"/>
                    </a:lnTo>
                    <a:lnTo>
                      <a:pt x="1268831" y="293072"/>
                    </a:lnTo>
                    <a:lnTo>
                      <a:pt x="1267949" y="291044"/>
                    </a:lnTo>
                    <a:lnTo>
                      <a:pt x="1268214" y="289281"/>
                    </a:lnTo>
                    <a:lnTo>
                      <a:pt x="1269360" y="288663"/>
                    </a:lnTo>
                    <a:lnTo>
                      <a:pt x="1269977" y="288399"/>
                    </a:lnTo>
                    <a:lnTo>
                      <a:pt x="1271476" y="288134"/>
                    </a:lnTo>
                    <a:lnTo>
                      <a:pt x="1273768" y="288399"/>
                    </a:lnTo>
                    <a:lnTo>
                      <a:pt x="1274650" y="288134"/>
                    </a:lnTo>
                    <a:lnTo>
                      <a:pt x="1275003" y="287870"/>
                    </a:lnTo>
                    <a:lnTo>
                      <a:pt x="1275885" y="287870"/>
                    </a:lnTo>
                    <a:lnTo>
                      <a:pt x="1277383" y="286988"/>
                    </a:lnTo>
                    <a:lnTo>
                      <a:pt x="1278530" y="286988"/>
                    </a:lnTo>
                    <a:lnTo>
                      <a:pt x="1278530" y="287253"/>
                    </a:lnTo>
                    <a:lnTo>
                      <a:pt x="1279411" y="287517"/>
                    </a:lnTo>
                    <a:lnTo>
                      <a:pt x="1277912" y="288134"/>
                    </a:lnTo>
                    <a:lnTo>
                      <a:pt x="1278177" y="288751"/>
                    </a:lnTo>
                    <a:lnTo>
                      <a:pt x="1287787" y="291661"/>
                    </a:lnTo>
                    <a:lnTo>
                      <a:pt x="1287523" y="292278"/>
                    </a:lnTo>
                    <a:lnTo>
                      <a:pt x="1287258" y="292895"/>
                    </a:lnTo>
                    <a:lnTo>
                      <a:pt x="1286641" y="293777"/>
                    </a:lnTo>
                    <a:lnTo>
                      <a:pt x="1284878" y="295276"/>
                    </a:lnTo>
                    <a:close/>
                    <a:moveTo>
                      <a:pt x="1070805" y="343945"/>
                    </a:moveTo>
                    <a:lnTo>
                      <a:pt x="1066397" y="345444"/>
                    </a:lnTo>
                    <a:lnTo>
                      <a:pt x="1064633" y="340771"/>
                    </a:lnTo>
                    <a:lnTo>
                      <a:pt x="1067278" y="334952"/>
                    </a:lnTo>
                    <a:lnTo>
                      <a:pt x="1071951" y="335569"/>
                    </a:lnTo>
                    <a:lnTo>
                      <a:pt x="1070452" y="337597"/>
                    </a:lnTo>
                    <a:lnTo>
                      <a:pt x="1071951" y="338126"/>
                    </a:lnTo>
                    <a:lnTo>
                      <a:pt x="1070805" y="343945"/>
                    </a:lnTo>
                    <a:close/>
                    <a:moveTo>
                      <a:pt x="1093200" y="343328"/>
                    </a:moveTo>
                    <a:lnTo>
                      <a:pt x="1091436" y="343328"/>
                    </a:lnTo>
                    <a:lnTo>
                      <a:pt x="1091172" y="343328"/>
                    </a:lnTo>
                    <a:lnTo>
                      <a:pt x="1089409" y="342799"/>
                    </a:lnTo>
                    <a:lnTo>
                      <a:pt x="1086499" y="342799"/>
                    </a:lnTo>
                    <a:lnTo>
                      <a:pt x="1085882" y="342799"/>
                    </a:lnTo>
                    <a:lnTo>
                      <a:pt x="1084736" y="342534"/>
                    </a:lnTo>
                    <a:lnTo>
                      <a:pt x="1084736" y="341917"/>
                    </a:lnTo>
                    <a:lnTo>
                      <a:pt x="1086763" y="340771"/>
                    </a:lnTo>
                    <a:lnTo>
                      <a:pt x="1085000" y="340771"/>
                    </a:lnTo>
                    <a:lnTo>
                      <a:pt x="1084383" y="340771"/>
                    </a:lnTo>
                    <a:lnTo>
                      <a:pt x="1082620" y="340771"/>
                    </a:lnTo>
                    <a:lnTo>
                      <a:pt x="1082355" y="339272"/>
                    </a:lnTo>
                    <a:lnTo>
                      <a:pt x="1082972" y="338390"/>
                    </a:lnTo>
                    <a:lnTo>
                      <a:pt x="1082708" y="338126"/>
                    </a:lnTo>
                    <a:lnTo>
                      <a:pt x="1082708" y="337244"/>
                    </a:lnTo>
                    <a:lnTo>
                      <a:pt x="1082443" y="336980"/>
                    </a:lnTo>
                    <a:lnTo>
                      <a:pt x="1083060" y="335833"/>
                    </a:lnTo>
                    <a:lnTo>
                      <a:pt x="1081033" y="335216"/>
                    </a:lnTo>
                    <a:lnTo>
                      <a:pt x="1080151" y="333717"/>
                    </a:lnTo>
                    <a:lnTo>
                      <a:pt x="1080680" y="332836"/>
                    </a:lnTo>
                    <a:lnTo>
                      <a:pt x="1083854" y="333100"/>
                    </a:lnTo>
                    <a:lnTo>
                      <a:pt x="1085882" y="333717"/>
                    </a:lnTo>
                    <a:lnTo>
                      <a:pt x="1087910" y="333982"/>
                    </a:lnTo>
                    <a:lnTo>
                      <a:pt x="1088439" y="335128"/>
                    </a:lnTo>
                    <a:lnTo>
                      <a:pt x="1089938" y="336274"/>
                    </a:lnTo>
                    <a:lnTo>
                      <a:pt x="1090819" y="337420"/>
                    </a:lnTo>
                    <a:lnTo>
                      <a:pt x="1089938" y="338567"/>
                    </a:lnTo>
                    <a:lnTo>
                      <a:pt x="1087557" y="339713"/>
                    </a:lnTo>
                    <a:lnTo>
                      <a:pt x="1088703" y="340595"/>
                    </a:lnTo>
                    <a:lnTo>
                      <a:pt x="1090466" y="341212"/>
                    </a:lnTo>
                    <a:lnTo>
                      <a:pt x="1094875" y="341829"/>
                    </a:lnTo>
                    <a:lnTo>
                      <a:pt x="1093200" y="343328"/>
                    </a:lnTo>
                    <a:close/>
                    <a:moveTo>
                      <a:pt x="443663" y="364400"/>
                    </a:moveTo>
                    <a:lnTo>
                      <a:pt x="478666" y="352762"/>
                    </a:lnTo>
                    <a:lnTo>
                      <a:pt x="484221" y="352497"/>
                    </a:lnTo>
                    <a:lnTo>
                      <a:pt x="480694" y="347560"/>
                    </a:lnTo>
                    <a:lnTo>
                      <a:pt x="488541" y="345267"/>
                    </a:lnTo>
                    <a:lnTo>
                      <a:pt x="490304" y="343504"/>
                    </a:lnTo>
                    <a:lnTo>
                      <a:pt x="501943" y="342622"/>
                    </a:lnTo>
                    <a:lnTo>
                      <a:pt x="505469" y="345532"/>
                    </a:lnTo>
                    <a:lnTo>
                      <a:pt x="513933" y="345267"/>
                    </a:lnTo>
                    <a:lnTo>
                      <a:pt x="523015" y="341212"/>
                    </a:lnTo>
                    <a:lnTo>
                      <a:pt x="517196" y="341829"/>
                    </a:lnTo>
                    <a:lnTo>
                      <a:pt x="517725" y="340065"/>
                    </a:lnTo>
                    <a:lnTo>
                      <a:pt x="522133" y="337773"/>
                    </a:lnTo>
                    <a:lnTo>
                      <a:pt x="529451" y="335745"/>
                    </a:lnTo>
                    <a:lnTo>
                      <a:pt x="538532" y="328780"/>
                    </a:lnTo>
                    <a:lnTo>
                      <a:pt x="535006" y="329397"/>
                    </a:lnTo>
                    <a:lnTo>
                      <a:pt x="541971" y="324989"/>
                    </a:lnTo>
                    <a:lnTo>
                      <a:pt x="533242" y="326135"/>
                    </a:lnTo>
                    <a:lnTo>
                      <a:pt x="529716" y="329662"/>
                    </a:lnTo>
                    <a:lnTo>
                      <a:pt x="518342" y="331689"/>
                    </a:lnTo>
                    <a:lnTo>
                      <a:pt x="492420" y="330543"/>
                    </a:lnTo>
                    <a:lnTo>
                      <a:pt x="491274" y="329044"/>
                    </a:lnTo>
                    <a:lnTo>
                      <a:pt x="498592" y="326135"/>
                    </a:lnTo>
                    <a:lnTo>
                      <a:pt x="524866" y="319434"/>
                    </a:lnTo>
                    <a:lnTo>
                      <a:pt x="524866" y="318552"/>
                    </a:lnTo>
                    <a:lnTo>
                      <a:pt x="517548" y="318200"/>
                    </a:lnTo>
                    <a:lnTo>
                      <a:pt x="514022" y="316436"/>
                    </a:lnTo>
                    <a:lnTo>
                      <a:pt x="503530" y="317318"/>
                    </a:lnTo>
                    <a:lnTo>
                      <a:pt x="473464" y="324019"/>
                    </a:lnTo>
                    <a:lnTo>
                      <a:pt x="429115" y="331601"/>
                    </a:lnTo>
                    <a:lnTo>
                      <a:pt x="425589" y="331337"/>
                    </a:lnTo>
                    <a:lnTo>
                      <a:pt x="422415" y="332483"/>
                    </a:lnTo>
                    <a:lnTo>
                      <a:pt x="409542" y="333629"/>
                    </a:lnTo>
                    <a:lnTo>
                      <a:pt x="407250" y="339184"/>
                    </a:lnTo>
                    <a:lnTo>
                      <a:pt x="411305" y="338302"/>
                    </a:lnTo>
                    <a:lnTo>
                      <a:pt x="415361" y="335922"/>
                    </a:lnTo>
                    <a:lnTo>
                      <a:pt x="421798" y="334775"/>
                    </a:lnTo>
                    <a:lnTo>
                      <a:pt x="426206" y="336539"/>
                    </a:lnTo>
                    <a:lnTo>
                      <a:pt x="437580" y="335040"/>
                    </a:lnTo>
                    <a:lnTo>
                      <a:pt x="439343" y="336803"/>
                    </a:lnTo>
                    <a:lnTo>
                      <a:pt x="444016" y="335040"/>
                    </a:lnTo>
                    <a:lnTo>
                      <a:pt x="444280" y="333277"/>
                    </a:lnTo>
                    <a:lnTo>
                      <a:pt x="461473" y="332395"/>
                    </a:lnTo>
                    <a:lnTo>
                      <a:pt x="466146" y="336451"/>
                    </a:lnTo>
                    <a:lnTo>
                      <a:pt x="470819" y="337597"/>
                    </a:lnTo>
                    <a:lnTo>
                      <a:pt x="465882" y="339625"/>
                    </a:lnTo>
                    <a:lnTo>
                      <a:pt x="459445" y="339625"/>
                    </a:lnTo>
                    <a:lnTo>
                      <a:pt x="450717" y="337597"/>
                    </a:lnTo>
                    <a:lnTo>
                      <a:pt x="445779" y="338743"/>
                    </a:lnTo>
                    <a:lnTo>
                      <a:pt x="450452" y="342534"/>
                    </a:lnTo>
                    <a:lnTo>
                      <a:pt x="435287" y="348089"/>
                    </a:lnTo>
                    <a:lnTo>
                      <a:pt x="432378" y="349588"/>
                    </a:lnTo>
                    <a:lnTo>
                      <a:pt x="428322" y="352762"/>
                    </a:lnTo>
                    <a:lnTo>
                      <a:pt x="413774" y="356200"/>
                    </a:lnTo>
                    <a:lnTo>
                      <a:pt x="414039" y="357699"/>
                    </a:lnTo>
                    <a:lnTo>
                      <a:pt x="423914" y="360344"/>
                    </a:lnTo>
                    <a:lnTo>
                      <a:pt x="429468" y="359815"/>
                    </a:lnTo>
                    <a:lnTo>
                      <a:pt x="432113" y="361314"/>
                    </a:lnTo>
                    <a:lnTo>
                      <a:pt x="442341" y="358669"/>
                    </a:lnTo>
                    <a:lnTo>
                      <a:pt x="448777" y="352850"/>
                    </a:lnTo>
                    <a:lnTo>
                      <a:pt x="463060" y="348441"/>
                    </a:lnTo>
                    <a:lnTo>
                      <a:pt x="472406" y="347824"/>
                    </a:lnTo>
                    <a:lnTo>
                      <a:pt x="472142" y="350205"/>
                    </a:lnTo>
                    <a:lnTo>
                      <a:pt x="452304" y="359551"/>
                    </a:lnTo>
                    <a:lnTo>
                      <a:pt x="441195" y="362196"/>
                    </a:lnTo>
                    <a:lnTo>
                      <a:pt x="441195" y="364224"/>
                    </a:lnTo>
                    <a:lnTo>
                      <a:pt x="443663" y="364400"/>
                    </a:lnTo>
                    <a:close/>
                    <a:moveTo>
                      <a:pt x="1175814" y="391468"/>
                    </a:moveTo>
                    <a:lnTo>
                      <a:pt x="1172639" y="393496"/>
                    </a:lnTo>
                    <a:lnTo>
                      <a:pt x="1163294" y="388558"/>
                    </a:lnTo>
                    <a:lnTo>
                      <a:pt x="1164175" y="387676"/>
                    </a:lnTo>
                    <a:lnTo>
                      <a:pt x="1164175" y="386178"/>
                    </a:lnTo>
                    <a:lnTo>
                      <a:pt x="1167702" y="386178"/>
                    </a:lnTo>
                    <a:lnTo>
                      <a:pt x="1175902" y="389969"/>
                    </a:lnTo>
                    <a:lnTo>
                      <a:pt x="1174138" y="391468"/>
                    </a:lnTo>
                    <a:lnTo>
                      <a:pt x="1175814" y="391468"/>
                    </a:lnTo>
                    <a:close/>
                    <a:moveTo>
                      <a:pt x="1036067" y="394994"/>
                    </a:moveTo>
                    <a:lnTo>
                      <a:pt x="1018609" y="399050"/>
                    </a:lnTo>
                    <a:lnTo>
                      <a:pt x="1023282" y="386530"/>
                    </a:lnTo>
                    <a:lnTo>
                      <a:pt x="1004061" y="387412"/>
                    </a:lnTo>
                    <a:lnTo>
                      <a:pt x="996214" y="388029"/>
                    </a:lnTo>
                    <a:lnTo>
                      <a:pt x="1000006" y="384238"/>
                    </a:lnTo>
                    <a:lnTo>
                      <a:pt x="1008470" y="381064"/>
                    </a:lnTo>
                    <a:lnTo>
                      <a:pt x="1021254" y="378154"/>
                    </a:lnTo>
                    <a:lnTo>
                      <a:pt x="1025927" y="366516"/>
                    </a:lnTo>
                    <a:lnTo>
                      <a:pt x="1049821" y="342005"/>
                    </a:lnTo>
                    <a:lnTo>
                      <a:pt x="1061195" y="337597"/>
                    </a:lnTo>
                    <a:lnTo>
                      <a:pt x="1064104" y="340242"/>
                    </a:lnTo>
                    <a:lnTo>
                      <a:pt x="1062341" y="345179"/>
                    </a:lnTo>
                    <a:lnTo>
                      <a:pt x="1058814" y="345796"/>
                    </a:lnTo>
                    <a:lnTo>
                      <a:pt x="1061195" y="348089"/>
                    </a:lnTo>
                    <a:lnTo>
                      <a:pt x="1062341" y="352762"/>
                    </a:lnTo>
                    <a:lnTo>
                      <a:pt x="1069923" y="347207"/>
                    </a:lnTo>
                    <a:lnTo>
                      <a:pt x="1074332" y="350381"/>
                    </a:lnTo>
                    <a:lnTo>
                      <a:pt x="1072568" y="352145"/>
                    </a:lnTo>
                    <a:lnTo>
                      <a:pt x="1084559" y="354790"/>
                    </a:lnTo>
                    <a:lnTo>
                      <a:pt x="1084824" y="358845"/>
                    </a:lnTo>
                    <a:lnTo>
                      <a:pt x="1101399" y="366428"/>
                    </a:lnTo>
                    <a:lnTo>
                      <a:pt x="1099107" y="377184"/>
                    </a:lnTo>
                    <a:lnTo>
                      <a:pt x="1091260" y="379477"/>
                    </a:lnTo>
                    <a:lnTo>
                      <a:pt x="1106425" y="380094"/>
                    </a:lnTo>
                    <a:lnTo>
                      <a:pt x="1109070" y="380094"/>
                    </a:lnTo>
                    <a:lnTo>
                      <a:pt x="1111362" y="377184"/>
                    </a:lnTo>
                    <a:lnTo>
                      <a:pt x="1115154" y="380711"/>
                    </a:lnTo>
                    <a:lnTo>
                      <a:pt x="1113390" y="382122"/>
                    </a:lnTo>
                    <a:lnTo>
                      <a:pt x="1118328" y="384150"/>
                    </a:lnTo>
                    <a:lnTo>
                      <a:pt x="1100253" y="391115"/>
                    </a:lnTo>
                    <a:lnTo>
                      <a:pt x="1085353" y="386178"/>
                    </a:lnTo>
                    <a:lnTo>
                      <a:pt x="1078035" y="386178"/>
                    </a:lnTo>
                    <a:lnTo>
                      <a:pt x="1078299" y="384414"/>
                    </a:lnTo>
                    <a:lnTo>
                      <a:pt x="1082355" y="380623"/>
                    </a:lnTo>
                    <a:lnTo>
                      <a:pt x="1070981" y="379741"/>
                    </a:lnTo>
                    <a:lnTo>
                      <a:pt x="1071598" y="376832"/>
                    </a:lnTo>
                    <a:lnTo>
                      <a:pt x="1065515" y="377449"/>
                    </a:lnTo>
                    <a:lnTo>
                      <a:pt x="1059343" y="384150"/>
                    </a:lnTo>
                    <a:lnTo>
                      <a:pt x="1049733" y="387676"/>
                    </a:lnTo>
                    <a:lnTo>
                      <a:pt x="1043914" y="388558"/>
                    </a:lnTo>
                    <a:lnTo>
                      <a:pt x="1036067" y="394994"/>
                    </a:lnTo>
                    <a:close/>
                    <a:moveTo>
                      <a:pt x="1155976" y="397639"/>
                    </a:moveTo>
                    <a:lnTo>
                      <a:pt x="1147776" y="399403"/>
                    </a:lnTo>
                    <a:lnTo>
                      <a:pt x="1146894" y="399138"/>
                    </a:lnTo>
                    <a:lnTo>
                      <a:pt x="1141957" y="392085"/>
                    </a:lnTo>
                    <a:lnTo>
                      <a:pt x="1147511" y="390674"/>
                    </a:lnTo>
                    <a:lnTo>
                      <a:pt x="1157122" y="392437"/>
                    </a:lnTo>
                    <a:lnTo>
                      <a:pt x="1155976" y="397639"/>
                    </a:lnTo>
                    <a:close/>
                    <a:moveTo>
                      <a:pt x="1036331" y="420034"/>
                    </a:moveTo>
                    <a:lnTo>
                      <a:pt x="1034832" y="420299"/>
                    </a:lnTo>
                    <a:lnTo>
                      <a:pt x="1035978" y="417125"/>
                    </a:lnTo>
                    <a:lnTo>
                      <a:pt x="1034832" y="414215"/>
                    </a:lnTo>
                    <a:lnTo>
                      <a:pt x="1036331" y="412452"/>
                    </a:lnTo>
                    <a:lnTo>
                      <a:pt x="1043032" y="409542"/>
                    </a:lnTo>
                    <a:lnTo>
                      <a:pt x="1049733" y="404252"/>
                    </a:lnTo>
                    <a:lnTo>
                      <a:pt x="1052642" y="402841"/>
                    </a:lnTo>
                    <a:lnTo>
                      <a:pt x="1054406" y="403723"/>
                    </a:lnTo>
                    <a:lnTo>
                      <a:pt x="1054670" y="404340"/>
                    </a:lnTo>
                    <a:lnTo>
                      <a:pt x="1059872" y="403723"/>
                    </a:lnTo>
                    <a:lnTo>
                      <a:pt x="1064280" y="402577"/>
                    </a:lnTo>
                    <a:lnTo>
                      <a:pt x="1068689" y="402577"/>
                    </a:lnTo>
                    <a:lnTo>
                      <a:pt x="1070717" y="401960"/>
                    </a:lnTo>
                    <a:lnTo>
                      <a:pt x="1076800" y="403106"/>
                    </a:lnTo>
                    <a:lnTo>
                      <a:pt x="1072392" y="408043"/>
                    </a:lnTo>
                    <a:lnTo>
                      <a:pt x="1068865" y="409542"/>
                    </a:lnTo>
                    <a:lnTo>
                      <a:pt x="1067719" y="410424"/>
                    </a:lnTo>
                    <a:lnTo>
                      <a:pt x="1064545" y="411041"/>
                    </a:lnTo>
                    <a:lnTo>
                      <a:pt x="1060137" y="413951"/>
                    </a:lnTo>
                    <a:lnTo>
                      <a:pt x="1055728" y="415714"/>
                    </a:lnTo>
                    <a:lnTo>
                      <a:pt x="1049645" y="418976"/>
                    </a:lnTo>
                    <a:lnTo>
                      <a:pt x="1045853" y="420122"/>
                    </a:lnTo>
                    <a:lnTo>
                      <a:pt x="1041798" y="418359"/>
                    </a:lnTo>
                    <a:lnTo>
                      <a:pt x="1040651" y="418359"/>
                    </a:lnTo>
                    <a:lnTo>
                      <a:pt x="1036331" y="420034"/>
                    </a:lnTo>
                    <a:close/>
                    <a:moveTo>
                      <a:pt x="1341129" y="425942"/>
                    </a:moveTo>
                    <a:lnTo>
                      <a:pt x="1337074" y="426206"/>
                    </a:lnTo>
                    <a:lnTo>
                      <a:pt x="1333018" y="423296"/>
                    </a:lnTo>
                    <a:lnTo>
                      <a:pt x="1325171" y="421269"/>
                    </a:lnTo>
                    <a:lnTo>
                      <a:pt x="1322878" y="419770"/>
                    </a:lnTo>
                    <a:lnTo>
                      <a:pt x="1307713" y="418006"/>
                    </a:lnTo>
                    <a:lnTo>
                      <a:pt x="1295194" y="413951"/>
                    </a:lnTo>
                    <a:lnTo>
                      <a:pt x="1289903" y="410424"/>
                    </a:lnTo>
                    <a:lnTo>
                      <a:pt x="1290168" y="408661"/>
                    </a:lnTo>
                    <a:lnTo>
                      <a:pt x="1292196" y="406015"/>
                    </a:lnTo>
                    <a:lnTo>
                      <a:pt x="1287258" y="405398"/>
                    </a:lnTo>
                    <a:lnTo>
                      <a:pt x="1281439" y="406015"/>
                    </a:lnTo>
                    <a:lnTo>
                      <a:pt x="1277031" y="403370"/>
                    </a:lnTo>
                    <a:lnTo>
                      <a:pt x="1261601" y="397816"/>
                    </a:lnTo>
                    <a:lnTo>
                      <a:pt x="1260455" y="395788"/>
                    </a:lnTo>
                    <a:lnTo>
                      <a:pt x="1260191" y="390586"/>
                    </a:lnTo>
                    <a:lnTo>
                      <a:pt x="1265745" y="390586"/>
                    </a:lnTo>
                    <a:lnTo>
                      <a:pt x="1270947" y="388558"/>
                    </a:lnTo>
                    <a:lnTo>
                      <a:pt x="1271564" y="387412"/>
                    </a:lnTo>
                    <a:lnTo>
                      <a:pt x="1268655" y="386795"/>
                    </a:lnTo>
                    <a:lnTo>
                      <a:pt x="1263982" y="382386"/>
                    </a:lnTo>
                    <a:lnTo>
                      <a:pt x="1260455" y="385031"/>
                    </a:lnTo>
                    <a:lnTo>
                      <a:pt x="1257546" y="384150"/>
                    </a:lnTo>
                    <a:lnTo>
                      <a:pt x="1261072" y="377978"/>
                    </a:lnTo>
                    <a:lnTo>
                      <a:pt x="1260191" y="377713"/>
                    </a:lnTo>
                    <a:lnTo>
                      <a:pt x="1258427" y="380623"/>
                    </a:lnTo>
                    <a:lnTo>
                      <a:pt x="1255253" y="382915"/>
                    </a:lnTo>
                    <a:lnTo>
                      <a:pt x="1253754" y="379741"/>
                    </a:lnTo>
                    <a:lnTo>
                      <a:pt x="1250845" y="376832"/>
                    </a:lnTo>
                    <a:lnTo>
                      <a:pt x="1252873" y="374451"/>
                    </a:lnTo>
                    <a:lnTo>
                      <a:pt x="1249699" y="374451"/>
                    </a:lnTo>
                    <a:lnTo>
                      <a:pt x="1249963" y="371806"/>
                    </a:lnTo>
                    <a:lnTo>
                      <a:pt x="1247935" y="370924"/>
                    </a:lnTo>
                    <a:lnTo>
                      <a:pt x="1246172" y="371806"/>
                    </a:lnTo>
                    <a:lnTo>
                      <a:pt x="1246437" y="369514"/>
                    </a:lnTo>
                    <a:lnTo>
                      <a:pt x="1254019" y="364576"/>
                    </a:lnTo>
                    <a:lnTo>
                      <a:pt x="1251726" y="363959"/>
                    </a:lnTo>
                    <a:lnTo>
                      <a:pt x="1242645" y="369778"/>
                    </a:lnTo>
                    <a:lnTo>
                      <a:pt x="1245907" y="365370"/>
                    </a:lnTo>
                    <a:lnTo>
                      <a:pt x="1247935" y="364753"/>
                    </a:lnTo>
                    <a:lnTo>
                      <a:pt x="1244144" y="364488"/>
                    </a:lnTo>
                    <a:lnTo>
                      <a:pt x="1242998" y="365370"/>
                    </a:lnTo>
                    <a:lnTo>
                      <a:pt x="1241234" y="365105"/>
                    </a:lnTo>
                    <a:lnTo>
                      <a:pt x="1235151" y="370043"/>
                    </a:lnTo>
                    <a:lnTo>
                      <a:pt x="1233652" y="370043"/>
                    </a:lnTo>
                    <a:lnTo>
                      <a:pt x="1240970" y="363077"/>
                    </a:lnTo>
                    <a:lnTo>
                      <a:pt x="1238942" y="362196"/>
                    </a:lnTo>
                    <a:lnTo>
                      <a:pt x="1233652" y="364841"/>
                    </a:lnTo>
                    <a:lnTo>
                      <a:pt x="1230743" y="363959"/>
                    </a:lnTo>
                    <a:lnTo>
                      <a:pt x="1230478" y="362196"/>
                    </a:lnTo>
                    <a:lnTo>
                      <a:pt x="1233123" y="359903"/>
                    </a:lnTo>
                    <a:lnTo>
                      <a:pt x="1230478" y="359903"/>
                    </a:lnTo>
                    <a:lnTo>
                      <a:pt x="1228715" y="361050"/>
                    </a:lnTo>
                    <a:lnTo>
                      <a:pt x="1225805" y="361314"/>
                    </a:lnTo>
                    <a:lnTo>
                      <a:pt x="1230213" y="365370"/>
                    </a:lnTo>
                    <a:lnTo>
                      <a:pt x="1224659" y="369426"/>
                    </a:lnTo>
                    <a:lnTo>
                      <a:pt x="1217076" y="368279"/>
                    </a:lnTo>
                    <a:lnTo>
                      <a:pt x="1216195" y="366516"/>
                    </a:lnTo>
                    <a:lnTo>
                      <a:pt x="1209494" y="365370"/>
                    </a:lnTo>
                    <a:lnTo>
                      <a:pt x="1207995" y="367133"/>
                    </a:lnTo>
                    <a:lnTo>
                      <a:pt x="1208877" y="367662"/>
                    </a:lnTo>
                    <a:lnTo>
                      <a:pt x="1207466" y="367927"/>
                    </a:lnTo>
                    <a:lnTo>
                      <a:pt x="1206849" y="369426"/>
                    </a:lnTo>
                    <a:lnTo>
                      <a:pt x="1201911" y="369161"/>
                    </a:lnTo>
                    <a:lnTo>
                      <a:pt x="1196357" y="370307"/>
                    </a:lnTo>
                    <a:lnTo>
                      <a:pt x="1198120" y="370924"/>
                    </a:lnTo>
                    <a:lnTo>
                      <a:pt x="1195475" y="371806"/>
                    </a:lnTo>
                    <a:lnTo>
                      <a:pt x="1191067" y="371189"/>
                    </a:lnTo>
                    <a:lnTo>
                      <a:pt x="1188774" y="373217"/>
                    </a:lnTo>
                    <a:lnTo>
                      <a:pt x="1177401" y="372071"/>
                    </a:lnTo>
                    <a:lnTo>
                      <a:pt x="1178018" y="371189"/>
                    </a:lnTo>
                    <a:lnTo>
                      <a:pt x="1174491" y="369426"/>
                    </a:lnTo>
                    <a:lnTo>
                      <a:pt x="1172992" y="369955"/>
                    </a:lnTo>
                    <a:lnTo>
                      <a:pt x="1170612" y="368808"/>
                    </a:lnTo>
                    <a:lnTo>
                      <a:pt x="1168319" y="365282"/>
                    </a:lnTo>
                    <a:lnTo>
                      <a:pt x="1169818" y="361755"/>
                    </a:lnTo>
                    <a:lnTo>
                      <a:pt x="1172463" y="360344"/>
                    </a:lnTo>
                    <a:lnTo>
                      <a:pt x="1174491" y="356553"/>
                    </a:lnTo>
                    <a:lnTo>
                      <a:pt x="1178547" y="354525"/>
                    </a:lnTo>
                    <a:lnTo>
                      <a:pt x="1191067" y="351351"/>
                    </a:lnTo>
                    <a:lnTo>
                      <a:pt x="1191331" y="349852"/>
                    </a:lnTo>
                    <a:lnTo>
                      <a:pt x="1190185" y="349235"/>
                    </a:lnTo>
                    <a:lnTo>
                      <a:pt x="1191067" y="347472"/>
                    </a:lnTo>
                    <a:lnTo>
                      <a:pt x="1194858" y="347736"/>
                    </a:lnTo>
                    <a:lnTo>
                      <a:pt x="1193447" y="345973"/>
                    </a:lnTo>
                    <a:lnTo>
                      <a:pt x="1194329" y="345356"/>
                    </a:lnTo>
                    <a:lnTo>
                      <a:pt x="1215666" y="349147"/>
                    </a:lnTo>
                    <a:lnTo>
                      <a:pt x="1216283" y="348265"/>
                    </a:lnTo>
                    <a:lnTo>
                      <a:pt x="1220339" y="348265"/>
                    </a:lnTo>
                    <a:lnTo>
                      <a:pt x="1223248" y="349147"/>
                    </a:lnTo>
                    <a:lnTo>
                      <a:pt x="1229684" y="349147"/>
                    </a:lnTo>
                    <a:lnTo>
                      <a:pt x="1231448" y="347383"/>
                    </a:lnTo>
                    <a:lnTo>
                      <a:pt x="1233740" y="347648"/>
                    </a:lnTo>
                    <a:lnTo>
                      <a:pt x="1235768" y="347031"/>
                    </a:lnTo>
                    <a:lnTo>
                      <a:pt x="1241852" y="347295"/>
                    </a:lnTo>
                    <a:lnTo>
                      <a:pt x="1248817" y="344121"/>
                    </a:lnTo>
                    <a:lnTo>
                      <a:pt x="1256135" y="346149"/>
                    </a:lnTo>
                    <a:lnTo>
                      <a:pt x="1259662" y="343240"/>
                    </a:lnTo>
                    <a:lnTo>
                      <a:pt x="1258163" y="340595"/>
                    </a:lnTo>
                    <a:lnTo>
                      <a:pt x="1258780" y="339096"/>
                    </a:lnTo>
                    <a:lnTo>
                      <a:pt x="1253490" y="334158"/>
                    </a:lnTo>
                    <a:lnTo>
                      <a:pt x="1252873" y="331866"/>
                    </a:lnTo>
                    <a:lnTo>
                      <a:pt x="1256664" y="328956"/>
                    </a:lnTo>
                    <a:lnTo>
                      <a:pt x="1274121" y="321991"/>
                    </a:lnTo>
                    <a:lnTo>
                      <a:pt x="1277648" y="320228"/>
                    </a:lnTo>
                    <a:lnTo>
                      <a:pt x="1284966" y="317935"/>
                    </a:lnTo>
                    <a:lnTo>
                      <a:pt x="1290785" y="311499"/>
                    </a:lnTo>
                    <a:lnTo>
                      <a:pt x="1294576" y="310617"/>
                    </a:lnTo>
                    <a:lnTo>
                      <a:pt x="1298985" y="310353"/>
                    </a:lnTo>
                    <a:lnTo>
                      <a:pt x="1301277" y="307443"/>
                    </a:lnTo>
                    <a:lnTo>
                      <a:pt x="1303569" y="298979"/>
                    </a:lnTo>
                    <a:lnTo>
                      <a:pt x="1301806" y="298362"/>
                    </a:lnTo>
                    <a:lnTo>
                      <a:pt x="1304451" y="294571"/>
                    </a:lnTo>
                    <a:lnTo>
                      <a:pt x="1302159" y="292807"/>
                    </a:lnTo>
                    <a:lnTo>
                      <a:pt x="1303305" y="287253"/>
                    </a:lnTo>
                    <a:lnTo>
                      <a:pt x="1301277" y="284872"/>
                    </a:lnTo>
                    <a:lnTo>
                      <a:pt x="1292196" y="283461"/>
                    </a:lnTo>
                    <a:lnTo>
                      <a:pt x="1293077" y="282051"/>
                    </a:lnTo>
                    <a:lnTo>
                      <a:pt x="1299778" y="280904"/>
                    </a:lnTo>
                    <a:lnTo>
                      <a:pt x="1293077" y="280640"/>
                    </a:lnTo>
                    <a:lnTo>
                      <a:pt x="1296252" y="278877"/>
                    </a:lnTo>
                    <a:lnTo>
                      <a:pt x="1296252" y="275703"/>
                    </a:lnTo>
                    <a:lnTo>
                      <a:pt x="1293342" y="275085"/>
                    </a:lnTo>
                    <a:lnTo>
                      <a:pt x="1291843" y="275967"/>
                    </a:lnTo>
                    <a:lnTo>
                      <a:pt x="1293606" y="278348"/>
                    </a:lnTo>
                    <a:lnTo>
                      <a:pt x="1292460" y="279758"/>
                    </a:lnTo>
                    <a:lnTo>
                      <a:pt x="1285142" y="277995"/>
                    </a:lnTo>
                    <a:lnTo>
                      <a:pt x="1283644" y="273939"/>
                    </a:lnTo>
                    <a:lnTo>
                      <a:pt x="1282762" y="273675"/>
                    </a:lnTo>
                    <a:lnTo>
                      <a:pt x="1286289" y="271382"/>
                    </a:lnTo>
                    <a:lnTo>
                      <a:pt x="1284525" y="271118"/>
                    </a:lnTo>
                    <a:lnTo>
                      <a:pt x="1294135" y="269619"/>
                    </a:lnTo>
                    <a:lnTo>
                      <a:pt x="1289462" y="269354"/>
                    </a:lnTo>
                    <a:lnTo>
                      <a:pt x="1282762" y="270853"/>
                    </a:lnTo>
                    <a:lnTo>
                      <a:pt x="1284790" y="269354"/>
                    </a:lnTo>
                    <a:lnTo>
                      <a:pt x="1288316" y="269090"/>
                    </a:lnTo>
                    <a:lnTo>
                      <a:pt x="1285142" y="268473"/>
                    </a:lnTo>
                    <a:lnTo>
                      <a:pt x="1279059" y="271382"/>
                    </a:lnTo>
                    <a:lnTo>
                      <a:pt x="1273768" y="269883"/>
                    </a:lnTo>
                    <a:lnTo>
                      <a:pt x="1268479" y="273057"/>
                    </a:lnTo>
                    <a:lnTo>
                      <a:pt x="1255959" y="276232"/>
                    </a:lnTo>
                    <a:lnTo>
                      <a:pt x="1252432" y="275703"/>
                    </a:lnTo>
                    <a:lnTo>
                      <a:pt x="1255959" y="272529"/>
                    </a:lnTo>
                    <a:lnTo>
                      <a:pt x="1254812" y="272264"/>
                    </a:lnTo>
                    <a:lnTo>
                      <a:pt x="1255694" y="270501"/>
                    </a:lnTo>
                    <a:lnTo>
                      <a:pt x="1259221" y="269002"/>
                    </a:lnTo>
                    <a:lnTo>
                      <a:pt x="1265304" y="269266"/>
                    </a:lnTo>
                    <a:lnTo>
                      <a:pt x="1269977" y="268649"/>
                    </a:lnTo>
                    <a:lnTo>
                      <a:pt x="1273768" y="267767"/>
                    </a:lnTo>
                    <a:lnTo>
                      <a:pt x="1275267" y="264593"/>
                    </a:lnTo>
                    <a:lnTo>
                      <a:pt x="1271476" y="261948"/>
                    </a:lnTo>
                    <a:lnTo>
                      <a:pt x="1266539" y="261331"/>
                    </a:lnTo>
                    <a:lnTo>
                      <a:pt x="1263012" y="257275"/>
                    </a:lnTo>
                    <a:lnTo>
                      <a:pt x="1256840" y="256129"/>
                    </a:lnTo>
                    <a:lnTo>
                      <a:pt x="1262130" y="255600"/>
                    </a:lnTo>
                    <a:lnTo>
                      <a:pt x="1264158" y="254454"/>
                    </a:lnTo>
                    <a:lnTo>
                      <a:pt x="1261778" y="252073"/>
                    </a:lnTo>
                    <a:lnTo>
                      <a:pt x="1255077" y="252073"/>
                    </a:lnTo>
                    <a:lnTo>
                      <a:pt x="1252432" y="254454"/>
                    </a:lnTo>
                    <a:lnTo>
                      <a:pt x="1250668" y="253572"/>
                    </a:lnTo>
                    <a:lnTo>
                      <a:pt x="1257369" y="244226"/>
                    </a:lnTo>
                    <a:lnTo>
                      <a:pt x="1248376" y="244844"/>
                    </a:lnTo>
                    <a:lnTo>
                      <a:pt x="1246084" y="243962"/>
                    </a:lnTo>
                    <a:lnTo>
                      <a:pt x="1241940" y="239024"/>
                    </a:lnTo>
                    <a:lnTo>
                      <a:pt x="1237267" y="238407"/>
                    </a:lnTo>
                    <a:lnTo>
                      <a:pt x="1235768" y="239024"/>
                    </a:lnTo>
                    <a:lnTo>
                      <a:pt x="1232241" y="238407"/>
                    </a:lnTo>
                    <a:lnTo>
                      <a:pt x="1229332" y="240788"/>
                    </a:lnTo>
                    <a:lnTo>
                      <a:pt x="1236650" y="241934"/>
                    </a:lnTo>
                    <a:lnTo>
                      <a:pt x="1238942" y="242816"/>
                    </a:lnTo>
                    <a:lnTo>
                      <a:pt x="1238325" y="249252"/>
                    </a:lnTo>
                    <a:lnTo>
                      <a:pt x="1233387" y="251280"/>
                    </a:lnTo>
                    <a:lnTo>
                      <a:pt x="1219104" y="251280"/>
                    </a:lnTo>
                    <a:lnTo>
                      <a:pt x="1218223" y="248635"/>
                    </a:lnTo>
                    <a:lnTo>
                      <a:pt x="1211786" y="248899"/>
                    </a:lnTo>
                    <a:lnTo>
                      <a:pt x="1209494" y="248018"/>
                    </a:lnTo>
                    <a:lnTo>
                      <a:pt x="1191419" y="246254"/>
                    </a:lnTo>
                    <a:lnTo>
                      <a:pt x="1194064" y="248282"/>
                    </a:lnTo>
                    <a:lnTo>
                      <a:pt x="1196709" y="248018"/>
                    </a:lnTo>
                    <a:lnTo>
                      <a:pt x="1200501" y="252955"/>
                    </a:lnTo>
                    <a:lnTo>
                      <a:pt x="1198120" y="254454"/>
                    </a:lnTo>
                    <a:lnTo>
                      <a:pt x="1192830" y="250663"/>
                    </a:lnTo>
                    <a:lnTo>
                      <a:pt x="1180575" y="245108"/>
                    </a:lnTo>
                    <a:lnTo>
                      <a:pt x="1179428" y="245725"/>
                    </a:lnTo>
                    <a:lnTo>
                      <a:pt x="1187893" y="250398"/>
                    </a:lnTo>
                    <a:lnTo>
                      <a:pt x="1184719" y="251897"/>
                    </a:lnTo>
                    <a:lnTo>
                      <a:pt x="1182691" y="251633"/>
                    </a:lnTo>
                    <a:lnTo>
                      <a:pt x="1179517" y="253131"/>
                    </a:lnTo>
                    <a:lnTo>
                      <a:pt x="1177753" y="253131"/>
                    </a:lnTo>
                    <a:lnTo>
                      <a:pt x="1178370" y="252250"/>
                    </a:lnTo>
                    <a:lnTo>
                      <a:pt x="1168496" y="248723"/>
                    </a:lnTo>
                    <a:lnTo>
                      <a:pt x="1157386" y="249869"/>
                    </a:lnTo>
                    <a:lnTo>
                      <a:pt x="1141340" y="248282"/>
                    </a:lnTo>
                    <a:lnTo>
                      <a:pt x="1142486" y="246783"/>
                    </a:lnTo>
                    <a:lnTo>
                      <a:pt x="1125558" y="246783"/>
                    </a:lnTo>
                    <a:lnTo>
                      <a:pt x="1124940" y="247665"/>
                    </a:lnTo>
                    <a:lnTo>
                      <a:pt x="1129613" y="247665"/>
                    </a:lnTo>
                    <a:lnTo>
                      <a:pt x="1133405" y="248811"/>
                    </a:lnTo>
                    <a:lnTo>
                      <a:pt x="1125558" y="248811"/>
                    </a:lnTo>
                    <a:lnTo>
                      <a:pt x="1119121" y="246519"/>
                    </a:lnTo>
                    <a:lnTo>
                      <a:pt x="1116829" y="244491"/>
                    </a:lnTo>
                    <a:lnTo>
                      <a:pt x="1119474" y="240964"/>
                    </a:lnTo>
                    <a:lnTo>
                      <a:pt x="1124764" y="239201"/>
                    </a:lnTo>
                    <a:lnTo>
                      <a:pt x="1118945" y="240347"/>
                    </a:lnTo>
                    <a:lnTo>
                      <a:pt x="1116300" y="242375"/>
                    </a:lnTo>
                    <a:lnTo>
                      <a:pt x="1113655" y="242110"/>
                    </a:lnTo>
                    <a:lnTo>
                      <a:pt x="1113655" y="239818"/>
                    </a:lnTo>
                    <a:lnTo>
                      <a:pt x="1111891" y="239554"/>
                    </a:lnTo>
                    <a:lnTo>
                      <a:pt x="1109864" y="241052"/>
                    </a:lnTo>
                    <a:lnTo>
                      <a:pt x="1111274" y="241317"/>
                    </a:lnTo>
                    <a:lnTo>
                      <a:pt x="1110128" y="243080"/>
                    </a:lnTo>
                    <a:lnTo>
                      <a:pt x="1098754" y="242463"/>
                    </a:lnTo>
                    <a:lnTo>
                      <a:pt x="1100253" y="243080"/>
                    </a:lnTo>
                    <a:lnTo>
                      <a:pt x="1096462" y="243962"/>
                    </a:lnTo>
                    <a:lnTo>
                      <a:pt x="1091525" y="242199"/>
                    </a:lnTo>
                    <a:lnTo>
                      <a:pt x="1097079" y="242199"/>
                    </a:lnTo>
                    <a:lnTo>
                      <a:pt x="1092671" y="240435"/>
                    </a:lnTo>
                    <a:lnTo>
                      <a:pt x="1087733" y="239289"/>
                    </a:lnTo>
                    <a:lnTo>
                      <a:pt x="1085353" y="234881"/>
                    </a:lnTo>
                    <a:lnTo>
                      <a:pt x="1083060" y="231971"/>
                    </a:lnTo>
                    <a:lnTo>
                      <a:pt x="1083942" y="229943"/>
                    </a:lnTo>
                    <a:lnTo>
                      <a:pt x="1087733" y="228797"/>
                    </a:lnTo>
                    <a:lnTo>
                      <a:pt x="1085088" y="227651"/>
                    </a:lnTo>
                    <a:lnTo>
                      <a:pt x="1084824" y="226505"/>
                    </a:lnTo>
                    <a:lnTo>
                      <a:pt x="1088880" y="227651"/>
                    </a:lnTo>
                    <a:lnTo>
                      <a:pt x="1100253" y="227915"/>
                    </a:lnTo>
                    <a:lnTo>
                      <a:pt x="1101135" y="229414"/>
                    </a:lnTo>
                    <a:lnTo>
                      <a:pt x="1120708" y="228532"/>
                    </a:lnTo>
                    <a:lnTo>
                      <a:pt x="1113390" y="225887"/>
                    </a:lnTo>
                    <a:lnTo>
                      <a:pt x="1113390" y="223242"/>
                    </a:lnTo>
                    <a:lnTo>
                      <a:pt x="1109335" y="223771"/>
                    </a:lnTo>
                    <a:lnTo>
                      <a:pt x="1084559" y="221479"/>
                    </a:lnTo>
                    <a:lnTo>
                      <a:pt x="1083942" y="219716"/>
                    </a:lnTo>
                    <a:lnTo>
                      <a:pt x="1087116" y="215307"/>
                    </a:lnTo>
                    <a:lnTo>
                      <a:pt x="1091525" y="213279"/>
                    </a:lnTo>
                    <a:lnTo>
                      <a:pt x="1090378" y="209488"/>
                    </a:lnTo>
                    <a:lnTo>
                      <a:pt x="1093552" y="207725"/>
                    </a:lnTo>
                    <a:lnTo>
                      <a:pt x="1094434" y="205697"/>
                    </a:lnTo>
                    <a:lnTo>
                      <a:pt x="1102017" y="203934"/>
                    </a:lnTo>
                    <a:lnTo>
                      <a:pt x="1098225" y="203052"/>
                    </a:lnTo>
                    <a:lnTo>
                      <a:pt x="1109864" y="194323"/>
                    </a:lnTo>
                    <a:lnTo>
                      <a:pt x="1112156" y="194059"/>
                    </a:lnTo>
                    <a:lnTo>
                      <a:pt x="1115066" y="191414"/>
                    </a:lnTo>
                    <a:lnTo>
                      <a:pt x="1117358" y="191414"/>
                    </a:lnTo>
                    <a:lnTo>
                      <a:pt x="1122295" y="186741"/>
                    </a:lnTo>
                    <a:lnTo>
                      <a:pt x="1133052" y="181451"/>
                    </a:lnTo>
                    <a:lnTo>
                      <a:pt x="1143544" y="175014"/>
                    </a:lnTo>
                    <a:lnTo>
                      <a:pt x="1154300" y="174133"/>
                    </a:lnTo>
                    <a:lnTo>
                      <a:pt x="1162147" y="173515"/>
                    </a:lnTo>
                    <a:lnTo>
                      <a:pt x="1169994" y="171488"/>
                    </a:lnTo>
                    <a:lnTo>
                      <a:pt x="1175285" y="169107"/>
                    </a:lnTo>
                    <a:lnTo>
                      <a:pt x="1181456" y="170253"/>
                    </a:lnTo>
                    <a:lnTo>
                      <a:pt x="1185865" y="167079"/>
                    </a:lnTo>
                    <a:lnTo>
                      <a:pt x="1191948" y="167079"/>
                    </a:lnTo>
                    <a:lnTo>
                      <a:pt x="1197503" y="167079"/>
                    </a:lnTo>
                    <a:lnTo>
                      <a:pt x="1204204" y="170870"/>
                    </a:lnTo>
                    <a:lnTo>
                      <a:pt x="1205614" y="169372"/>
                    </a:lnTo>
                    <a:lnTo>
                      <a:pt x="1202088" y="167961"/>
                    </a:lnTo>
                    <a:lnTo>
                      <a:pt x="1198914" y="171488"/>
                    </a:lnTo>
                    <a:lnTo>
                      <a:pt x="1201823" y="172369"/>
                    </a:lnTo>
                    <a:lnTo>
                      <a:pt x="1197767" y="174397"/>
                    </a:lnTo>
                    <a:lnTo>
                      <a:pt x="1184013" y="177924"/>
                    </a:lnTo>
                    <a:lnTo>
                      <a:pt x="1159767" y="189915"/>
                    </a:lnTo>
                    <a:lnTo>
                      <a:pt x="1156593" y="192824"/>
                    </a:lnTo>
                    <a:lnTo>
                      <a:pt x="1158356" y="197497"/>
                    </a:lnTo>
                    <a:lnTo>
                      <a:pt x="1153948" y="201024"/>
                    </a:lnTo>
                    <a:lnTo>
                      <a:pt x="1149892" y="206314"/>
                    </a:lnTo>
                    <a:lnTo>
                      <a:pt x="1149275" y="211604"/>
                    </a:lnTo>
                    <a:lnTo>
                      <a:pt x="1154477" y="217688"/>
                    </a:lnTo>
                    <a:lnTo>
                      <a:pt x="1163205" y="219980"/>
                    </a:lnTo>
                    <a:lnTo>
                      <a:pt x="1168143" y="218834"/>
                    </a:lnTo>
                    <a:lnTo>
                      <a:pt x="1170171" y="214426"/>
                    </a:lnTo>
                    <a:lnTo>
                      <a:pt x="1167878" y="214426"/>
                    </a:lnTo>
                    <a:lnTo>
                      <a:pt x="1166468" y="215043"/>
                    </a:lnTo>
                    <a:lnTo>
                      <a:pt x="1160296" y="214426"/>
                    </a:lnTo>
                    <a:lnTo>
                      <a:pt x="1158532" y="212133"/>
                    </a:lnTo>
                    <a:lnTo>
                      <a:pt x="1159414" y="209488"/>
                    </a:lnTo>
                    <a:lnTo>
                      <a:pt x="1154124" y="207725"/>
                    </a:lnTo>
                    <a:lnTo>
                      <a:pt x="1156152" y="206843"/>
                    </a:lnTo>
                    <a:lnTo>
                      <a:pt x="1162588" y="205697"/>
                    </a:lnTo>
                    <a:lnTo>
                      <a:pt x="1166997" y="202787"/>
                    </a:lnTo>
                    <a:lnTo>
                      <a:pt x="1175461" y="202258"/>
                    </a:lnTo>
                    <a:lnTo>
                      <a:pt x="1178106" y="200230"/>
                    </a:lnTo>
                    <a:lnTo>
                      <a:pt x="1174050" y="199966"/>
                    </a:lnTo>
                    <a:lnTo>
                      <a:pt x="1170259" y="197585"/>
                    </a:lnTo>
                    <a:lnTo>
                      <a:pt x="1174050" y="190003"/>
                    </a:lnTo>
                    <a:lnTo>
                      <a:pt x="1177577" y="188504"/>
                    </a:lnTo>
                    <a:lnTo>
                      <a:pt x="1181368" y="188240"/>
                    </a:lnTo>
                    <a:lnTo>
                      <a:pt x="1196798" y="191766"/>
                    </a:lnTo>
                    <a:lnTo>
                      <a:pt x="1197062" y="191149"/>
                    </a:lnTo>
                    <a:lnTo>
                      <a:pt x="1180134" y="186212"/>
                    </a:lnTo>
                    <a:lnTo>
                      <a:pt x="1183308" y="184713"/>
                    </a:lnTo>
                    <a:lnTo>
                      <a:pt x="1194329" y="186476"/>
                    </a:lnTo>
                    <a:lnTo>
                      <a:pt x="1205703" y="186741"/>
                    </a:lnTo>
                    <a:lnTo>
                      <a:pt x="1194946" y="184448"/>
                    </a:lnTo>
                    <a:lnTo>
                      <a:pt x="1189127" y="182420"/>
                    </a:lnTo>
                    <a:lnTo>
                      <a:pt x="1194329" y="180040"/>
                    </a:lnTo>
                    <a:lnTo>
                      <a:pt x="1197591" y="180040"/>
                    </a:lnTo>
                    <a:lnTo>
                      <a:pt x="1198473" y="182068"/>
                    </a:lnTo>
                    <a:lnTo>
                      <a:pt x="1200236" y="182332"/>
                    </a:lnTo>
                    <a:lnTo>
                      <a:pt x="1202264" y="178541"/>
                    </a:lnTo>
                    <a:lnTo>
                      <a:pt x="1207819" y="177924"/>
                    </a:lnTo>
                    <a:lnTo>
                      <a:pt x="1213638" y="174750"/>
                    </a:lnTo>
                    <a:lnTo>
                      <a:pt x="1220339" y="175014"/>
                    </a:lnTo>
                    <a:lnTo>
                      <a:pt x="1225276" y="173251"/>
                    </a:lnTo>
                    <a:lnTo>
                      <a:pt x="1234886" y="170870"/>
                    </a:lnTo>
                    <a:lnTo>
                      <a:pt x="1234005" y="172369"/>
                    </a:lnTo>
                    <a:lnTo>
                      <a:pt x="1240441" y="170077"/>
                    </a:lnTo>
                    <a:lnTo>
                      <a:pt x="1245731" y="170694"/>
                    </a:lnTo>
                    <a:lnTo>
                      <a:pt x="1247759" y="170430"/>
                    </a:lnTo>
                    <a:lnTo>
                      <a:pt x="1253314" y="173339"/>
                    </a:lnTo>
                    <a:lnTo>
                      <a:pt x="1253578" y="177130"/>
                    </a:lnTo>
                    <a:lnTo>
                      <a:pt x="1250051" y="182685"/>
                    </a:lnTo>
                    <a:lnTo>
                      <a:pt x="1256223" y="185330"/>
                    </a:lnTo>
                    <a:lnTo>
                      <a:pt x="1252167" y="190885"/>
                    </a:lnTo>
                    <a:lnTo>
                      <a:pt x="1255077" y="192648"/>
                    </a:lnTo>
                    <a:lnTo>
                      <a:pt x="1245996" y="196704"/>
                    </a:lnTo>
                    <a:lnTo>
                      <a:pt x="1242469" y="199878"/>
                    </a:lnTo>
                    <a:lnTo>
                      <a:pt x="1231977" y="206843"/>
                    </a:lnTo>
                    <a:lnTo>
                      <a:pt x="1232241" y="208871"/>
                    </a:lnTo>
                    <a:lnTo>
                      <a:pt x="1240970" y="206579"/>
                    </a:lnTo>
                    <a:lnTo>
                      <a:pt x="1242998" y="204198"/>
                    </a:lnTo>
                    <a:lnTo>
                      <a:pt x="1255518" y="197497"/>
                    </a:lnTo>
                    <a:lnTo>
                      <a:pt x="1258692" y="199878"/>
                    </a:lnTo>
                    <a:lnTo>
                      <a:pt x="1264511" y="200759"/>
                    </a:lnTo>
                    <a:lnTo>
                      <a:pt x="1277648" y="200759"/>
                    </a:lnTo>
                    <a:lnTo>
                      <a:pt x="1278530" y="200142"/>
                    </a:lnTo>
                    <a:lnTo>
                      <a:pt x="1276766" y="198114"/>
                    </a:lnTo>
                    <a:lnTo>
                      <a:pt x="1281175" y="195469"/>
                    </a:lnTo>
                    <a:lnTo>
                      <a:pt x="1290521" y="193441"/>
                    </a:lnTo>
                    <a:lnTo>
                      <a:pt x="1297221" y="192560"/>
                    </a:lnTo>
                    <a:lnTo>
                      <a:pt x="1306215" y="192824"/>
                    </a:lnTo>
                    <a:lnTo>
                      <a:pt x="1316442" y="195734"/>
                    </a:lnTo>
                    <a:lnTo>
                      <a:pt x="1316707" y="197762"/>
                    </a:lnTo>
                    <a:lnTo>
                      <a:pt x="1321644" y="197497"/>
                    </a:lnTo>
                    <a:lnTo>
                      <a:pt x="1321380" y="195469"/>
                    </a:lnTo>
                    <a:lnTo>
                      <a:pt x="1326934" y="196087"/>
                    </a:lnTo>
                    <a:lnTo>
                      <a:pt x="1330108" y="197497"/>
                    </a:lnTo>
                    <a:lnTo>
                      <a:pt x="1329491" y="202787"/>
                    </a:lnTo>
                    <a:lnTo>
                      <a:pt x="1324554" y="204551"/>
                    </a:lnTo>
                    <a:lnTo>
                      <a:pt x="1322261" y="206579"/>
                    </a:lnTo>
                    <a:lnTo>
                      <a:pt x="1329226" y="205432"/>
                    </a:lnTo>
                    <a:lnTo>
                      <a:pt x="1337074" y="206931"/>
                    </a:lnTo>
                    <a:lnTo>
                      <a:pt x="1335310" y="210105"/>
                    </a:lnTo>
                    <a:lnTo>
                      <a:pt x="1330637" y="211252"/>
                    </a:lnTo>
                    <a:lnTo>
                      <a:pt x="1326582" y="213544"/>
                    </a:lnTo>
                    <a:lnTo>
                      <a:pt x="1329755" y="214161"/>
                    </a:lnTo>
                    <a:lnTo>
                      <a:pt x="1334164" y="212662"/>
                    </a:lnTo>
                    <a:lnTo>
                      <a:pt x="1334428" y="213808"/>
                    </a:lnTo>
                    <a:lnTo>
                      <a:pt x="1340248" y="212045"/>
                    </a:lnTo>
                    <a:lnTo>
                      <a:pt x="1343510" y="212045"/>
                    </a:lnTo>
                    <a:lnTo>
                      <a:pt x="1339983" y="214073"/>
                    </a:lnTo>
                    <a:lnTo>
                      <a:pt x="1339983" y="215836"/>
                    </a:lnTo>
                    <a:lnTo>
                      <a:pt x="1341129" y="216453"/>
                    </a:lnTo>
                    <a:lnTo>
                      <a:pt x="1339983" y="219627"/>
                    </a:lnTo>
                    <a:lnTo>
                      <a:pt x="1341746" y="221038"/>
                    </a:lnTo>
                    <a:lnTo>
                      <a:pt x="1345802" y="221920"/>
                    </a:lnTo>
                    <a:lnTo>
                      <a:pt x="1348183" y="221038"/>
                    </a:lnTo>
                    <a:lnTo>
                      <a:pt x="1352856" y="217511"/>
                    </a:lnTo>
                    <a:lnTo>
                      <a:pt x="1359556" y="213985"/>
                    </a:lnTo>
                    <a:lnTo>
                      <a:pt x="1363612" y="211957"/>
                    </a:lnTo>
                    <a:lnTo>
                      <a:pt x="1366786" y="213368"/>
                    </a:lnTo>
                    <a:lnTo>
                      <a:pt x="1368549" y="213632"/>
                    </a:lnTo>
                    <a:lnTo>
                      <a:pt x="1372341" y="214514"/>
                    </a:lnTo>
                    <a:lnTo>
                      <a:pt x="1374986" y="217423"/>
                    </a:lnTo>
                    <a:lnTo>
                      <a:pt x="1377631" y="218569"/>
                    </a:lnTo>
                    <a:lnTo>
                      <a:pt x="1377631" y="221743"/>
                    </a:lnTo>
                    <a:lnTo>
                      <a:pt x="1368549" y="227298"/>
                    </a:lnTo>
                    <a:lnTo>
                      <a:pt x="1367668" y="229061"/>
                    </a:lnTo>
                    <a:lnTo>
                      <a:pt x="1368549" y="229326"/>
                    </a:lnTo>
                    <a:lnTo>
                      <a:pt x="1379659" y="226416"/>
                    </a:lnTo>
                    <a:lnTo>
                      <a:pt x="1380541" y="228797"/>
                    </a:lnTo>
                    <a:lnTo>
                      <a:pt x="1370666" y="234616"/>
                    </a:lnTo>
                    <a:lnTo>
                      <a:pt x="1374192" y="234616"/>
                    </a:lnTo>
                    <a:lnTo>
                      <a:pt x="1384067" y="231089"/>
                    </a:lnTo>
                    <a:lnTo>
                      <a:pt x="1388123" y="230737"/>
                    </a:lnTo>
                    <a:lnTo>
                      <a:pt x="1379923" y="235674"/>
                    </a:lnTo>
                    <a:lnTo>
                      <a:pt x="1382833" y="235939"/>
                    </a:lnTo>
                    <a:lnTo>
                      <a:pt x="1389005" y="235321"/>
                    </a:lnTo>
                    <a:lnTo>
                      <a:pt x="1391297" y="231795"/>
                    </a:lnTo>
                    <a:lnTo>
                      <a:pt x="1393325" y="229502"/>
                    </a:lnTo>
                    <a:lnTo>
                      <a:pt x="1397733" y="230120"/>
                    </a:lnTo>
                    <a:lnTo>
                      <a:pt x="1400378" y="231001"/>
                    </a:lnTo>
                    <a:lnTo>
                      <a:pt x="1403023" y="231883"/>
                    </a:lnTo>
                    <a:lnTo>
                      <a:pt x="1405933" y="232500"/>
                    </a:lnTo>
                    <a:lnTo>
                      <a:pt x="1405316" y="236908"/>
                    </a:lnTo>
                    <a:lnTo>
                      <a:pt x="1403552" y="237790"/>
                    </a:lnTo>
                    <a:lnTo>
                      <a:pt x="1401172" y="241581"/>
                    </a:lnTo>
                    <a:lnTo>
                      <a:pt x="1391562" y="242463"/>
                    </a:lnTo>
                    <a:lnTo>
                      <a:pt x="1386889" y="244491"/>
                    </a:lnTo>
                    <a:lnTo>
                      <a:pt x="1399408" y="244755"/>
                    </a:lnTo>
                    <a:lnTo>
                      <a:pt x="1393854" y="248547"/>
                    </a:lnTo>
                    <a:lnTo>
                      <a:pt x="1396499" y="249164"/>
                    </a:lnTo>
                    <a:lnTo>
                      <a:pt x="1405580" y="245637"/>
                    </a:lnTo>
                    <a:lnTo>
                      <a:pt x="1404963" y="245373"/>
                    </a:lnTo>
                    <a:lnTo>
                      <a:pt x="1407256" y="240964"/>
                    </a:lnTo>
                    <a:lnTo>
                      <a:pt x="1410518" y="239465"/>
                    </a:lnTo>
                    <a:lnTo>
                      <a:pt x="1413427" y="239465"/>
                    </a:lnTo>
                    <a:lnTo>
                      <a:pt x="1416601" y="244667"/>
                    </a:lnTo>
                    <a:lnTo>
                      <a:pt x="1416866" y="247577"/>
                    </a:lnTo>
                    <a:lnTo>
                      <a:pt x="1415720" y="249340"/>
                    </a:lnTo>
                    <a:lnTo>
                      <a:pt x="1416866" y="251368"/>
                    </a:lnTo>
                    <a:lnTo>
                      <a:pt x="1414662" y="253220"/>
                    </a:lnTo>
                    <a:lnTo>
                      <a:pt x="1407079" y="253484"/>
                    </a:lnTo>
                    <a:lnTo>
                      <a:pt x="1399497" y="256129"/>
                    </a:lnTo>
                    <a:lnTo>
                      <a:pt x="1392179" y="257275"/>
                    </a:lnTo>
                    <a:lnTo>
                      <a:pt x="1391033" y="258157"/>
                    </a:lnTo>
                    <a:lnTo>
                      <a:pt x="1402142" y="259656"/>
                    </a:lnTo>
                    <a:lnTo>
                      <a:pt x="1411488" y="256482"/>
                    </a:lnTo>
                    <a:lnTo>
                      <a:pt x="1418453" y="257364"/>
                    </a:lnTo>
                    <a:lnTo>
                      <a:pt x="1420481" y="260890"/>
                    </a:lnTo>
                    <a:lnTo>
                      <a:pt x="1418982" y="264064"/>
                    </a:lnTo>
                    <a:lnTo>
                      <a:pt x="1415808" y="264064"/>
                    </a:lnTo>
                    <a:lnTo>
                      <a:pt x="1412634" y="264329"/>
                    </a:lnTo>
                    <a:lnTo>
                      <a:pt x="1409107" y="264946"/>
                    </a:lnTo>
                    <a:lnTo>
                      <a:pt x="1404170" y="266709"/>
                    </a:lnTo>
                    <a:lnTo>
                      <a:pt x="1398615" y="264064"/>
                    </a:lnTo>
                    <a:lnTo>
                      <a:pt x="1391650" y="264064"/>
                    </a:lnTo>
                    <a:lnTo>
                      <a:pt x="1389269" y="266445"/>
                    </a:lnTo>
                    <a:lnTo>
                      <a:pt x="1396852" y="268737"/>
                    </a:lnTo>
                    <a:lnTo>
                      <a:pt x="1399144" y="270236"/>
                    </a:lnTo>
                    <a:lnTo>
                      <a:pt x="1392179" y="272264"/>
                    </a:lnTo>
                    <a:lnTo>
                      <a:pt x="1394559" y="274645"/>
                    </a:lnTo>
                    <a:lnTo>
                      <a:pt x="1394295" y="275174"/>
                    </a:lnTo>
                    <a:lnTo>
                      <a:pt x="1385831" y="274292"/>
                    </a:lnTo>
                    <a:lnTo>
                      <a:pt x="1382656" y="276055"/>
                    </a:lnTo>
                    <a:lnTo>
                      <a:pt x="1388740" y="277554"/>
                    </a:lnTo>
                    <a:lnTo>
                      <a:pt x="1387858" y="278171"/>
                    </a:lnTo>
                    <a:lnTo>
                      <a:pt x="1379394" y="278348"/>
                    </a:lnTo>
                    <a:lnTo>
                      <a:pt x="1389005" y="280111"/>
                    </a:lnTo>
                    <a:lnTo>
                      <a:pt x="1396852" y="280728"/>
                    </a:lnTo>
                    <a:lnTo>
                      <a:pt x="1397998" y="282227"/>
                    </a:lnTo>
                    <a:lnTo>
                      <a:pt x="1402671" y="280728"/>
                    </a:lnTo>
                    <a:lnTo>
                      <a:pt x="1396852" y="284519"/>
                    </a:lnTo>
                    <a:lnTo>
                      <a:pt x="1406198" y="284784"/>
                    </a:lnTo>
                    <a:lnTo>
                      <a:pt x="1403905" y="286283"/>
                    </a:lnTo>
                    <a:lnTo>
                      <a:pt x="1406815" y="287429"/>
                    </a:lnTo>
                    <a:lnTo>
                      <a:pt x="1407961" y="284784"/>
                    </a:lnTo>
                    <a:lnTo>
                      <a:pt x="1408843" y="289457"/>
                    </a:lnTo>
                    <a:lnTo>
                      <a:pt x="1411488" y="288575"/>
                    </a:lnTo>
                    <a:lnTo>
                      <a:pt x="1412898" y="292366"/>
                    </a:lnTo>
                    <a:lnTo>
                      <a:pt x="1412281" y="292984"/>
                    </a:lnTo>
                    <a:lnTo>
                      <a:pt x="1415191" y="294130"/>
                    </a:lnTo>
                    <a:lnTo>
                      <a:pt x="1416954" y="292366"/>
                    </a:lnTo>
                    <a:lnTo>
                      <a:pt x="1419335" y="291485"/>
                    </a:lnTo>
                    <a:lnTo>
                      <a:pt x="1421627" y="292366"/>
                    </a:lnTo>
                    <a:lnTo>
                      <a:pt x="1421363" y="293248"/>
                    </a:lnTo>
                    <a:lnTo>
                      <a:pt x="1430091" y="290603"/>
                    </a:lnTo>
                    <a:lnTo>
                      <a:pt x="1431855" y="291749"/>
                    </a:lnTo>
                    <a:lnTo>
                      <a:pt x="1427182" y="293777"/>
                    </a:lnTo>
                    <a:lnTo>
                      <a:pt x="1423126" y="297833"/>
                    </a:lnTo>
                    <a:lnTo>
                      <a:pt x="1424889" y="295452"/>
                    </a:lnTo>
                    <a:lnTo>
                      <a:pt x="1427270" y="296069"/>
                    </a:lnTo>
                    <a:lnTo>
                      <a:pt x="1432824" y="295188"/>
                    </a:lnTo>
                    <a:lnTo>
                      <a:pt x="1438643" y="293424"/>
                    </a:lnTo>
                    <a:lnTo>
                      <a:pt x="1437762" y="298715"/>
                    </a:lnTo>
                    <a:lnTo>
                      <a:pt x="1437762" y="300742"/>
                    </a:lnTo>
                    <a:lnTo>
                      <a:pt x="1435999" y="302770"/>
                    </a:lnTo>
                    <a:lnTo>
                      <a:pt x="1438908" y="303916"/>
                    </a:lnTo>
                    <a:lnTo>
                      <a:pt x="1437409" y="306562"/>
                    </a:lnTo>
                    <a:lnTo>
                      <a:pt x="1440936" y="307708"/>
                    </a:lnTo>
                    <a:lnTo>
                      <a:pt x="1444463" y="307708"/>
                    </a:lnTo>
                    <a:lnTo>
                      <a:pt x="1446226" y="305415"/>
                    </a:lnTo>
                    <a:lnTo>
                      <a:pt x="1449400" y="305415"/>
                    </a:lnTo>
                    <a:lnTo>
                      <a:pt x="1451428" y="306033"/>
                    </a:lnTo>
                    <a:lnTo>
                      <a:pt x="1453191" y="307443"/>
                    </a:lnTo>
                    <a:lnTo>
                      <a:pt x="1445873" y="312733"/>
                    </a:lnTo>
                    <a:lnTo>
                      <a:pt x="1451428" y="312469"/>
                    </a:lnTo>
                    <a:lnTo>
                      <a:pt x="1456718" y="312204"/>
                    </a:lnTo>
                    <a:lnTo>
                      <a:pt x="1459892" y="310705"/>
                    </a:lnTo>
                    <a:lnTo>
                      <a:pt x="1464829" y="313086"/>
                    </a:lnTo>
                    <a:lnTo>
                      <a:pt x="1468356" y="311940"/>
                    </a:lnTo>
                    <a:lnTo>
                      <a:pt x="1470384" y="312821"/>
                    </a:lnTo>
                    <a:lnTo>
                      <a:pt x="1473029" y="315467"/>
                    </a:lnTo>
                    <a:lnTo>
                      <a:pt x="1473911" y="318993"/>
                    </a:lnTo>
                    <a:lnTo>
                      <a:pt x="1473646" y="321638"/>
                    </a:lnTo>
                    <a:lnTo>
                      <a:pt x="1467210" y="323666"/>
                    </a:lnTo>
                    <a:lnTo>
                      <a:pt x="1464565" y="325430"/>
                    </a:lnTo>
                    <a:lnTo>
                      <a:pt x="1459628" y="324283"/>
                    </a:lnTo>
                    <a:lnTo>
                      <a:pt x="1461920" y="328692"/>
                    </a:lnTo>
                    <a:lnTo>
                      <a:pt x="1455836" y="327810"/>
                    </a:lnTo>
                    <a:lnTo>
                      <a:pt x="1450634" y="330102"/>
                    </a:lnTo>
                    <a:lnTo>
                      <a:pt x="1451516" y="331601"/>
                    </a:lnTo>
                    <a:lnTo>
                      <a:pt x="1449753" y="335657"/>
                    </a:lnTo>
                    <a:lnTo>
                      <a:pt x="1446843" y="338567"/>
                    </a:lnTo>
                    <a:lnTo>
                      <a:pt x="1442435" y="339713"/>
                    </a:lnTo>
                    <a:lnTo>
                      <a:pt x="1442435" y="342093"/>
                    </a:lnTo>
                    <a:lnTo>
                      <a:pt x="1440936" y="343240"/>
                    </a:lnTo>
                    <a:lnTo>
                      <a:pt x="1434500" y="343504"/>
                    </a:lnTo>
                    <a:lnTo>
                      <a:pt x="1427799" y="341212"/>
                    </a:lnTo>
                    <a:lnTo>
                      <a:pt x="1425418" y="342711"/>
                    </a:lnTo>
                    <a:lnTo>
                      <a:pt x="1426300" y="343857"/>
                    </a:lnTo>
                    <a:lnTo>
                      <a:pt x="1424272" y="346149"/>
                    </a:lnTo>
                    <a:lnTo>
                      <a:pt x="1419864" y="347031"/>
                    </a:lnTo>
                    <a:lnTo>
                      <a:pt x="1418717" y="352585"/>
                    </a:lnTo>
                    <a:lnTo>
                      <a:pt x="1418453" y="358404"/>
                    </a:lnTo>
                    <a:lnTo>
                      <a:pt x="1413515" y="357787"/>
                    </a:lnTo>
                    <a:lnTo>
                      <a:pt x="1411752" y="355142"/>
                    </a:lnTo>
                    <a:lnTo>
                      <a:pt x="1407696" y="353114"/>
                    </a:lnTo>
                    <a:lnTo>
                      <a:pt x="1405051" y="352850"/>
                    </a:lnTo>
                    <a:lnTo>
                      <a:pt x="1402142" y="353996"/>
                    </a:lnTo>
                    <a:lnTo>
                      <a:pt x="1398086" y="351704"/>
                    </a:lnTo>
                    <a:lnTo>
                      <a:pt x="1393413" y="345885"/>
                    </a:lnTo>
                    <a:lnTo>
                      <a:pt x="1392531" y="339184"/>
                    </a:lnTo>
                    <a:lnTo>
                      <a:pt x="1406815" y="335040"/>
                    </a:lnTo>
                    <a:lnTo>
                      <a:pt x="1409724" y="332395"/>
                    </a:lnTo>
                    <a:lnTo>
                      <a:pt x="1401260" y="332924"/>
                    </a:lnTo>
                    <a:lnTo>
                      <a:pt x="1396587" y="335304"/>
                    </a:lnTo>
                    <a:lnTo>
                      <a:pt x="1390504" y="335304"/>
                    </a:lnTo>
                    <a:lnTo>
                      <a:pt x="1391914" y="332659"/>
                    </a:lnTo>
                    <a:lnTo>
                      <a:pt x="1388387" y="331513"/>
                    </a:lnTo>
                    <a:lnTo>
                      <a:pt x="1382568" y="326576"/>
                    </a:lnTo>
                    <a:lnTo>
                      <a:pt x="1381951" y="323402"/>
                    </a:lnTo>
                    <a:lnTo>
                      <a:pt x="1377543" y="323666"/>
                    </a:lnTo>
                    <a:lnTo>
                      <a:pt x="1374633" y="326840"/>
                    </a:lnTo>
                    <a:lnTo>
                      <a:pt x="1371724" y="328604"/>
                    </a:lnTo>
                    <a:lnTo>
                      <a:pt x="1369696" y="325430"/>
                    </a:lnTo>
                    <a:lnTo>
                      <a:pt x="1366786" y="323931"/>
                    </a:lnTo>
                    <a:lnTo>
                      <a:pt x="1364141" y="323314"/>
                    </a:lnTo>
                    <a:lnTo>
                      <a:pt x="1362378" y="324812"/>
                    </a:lnTo>
                    <a:lnTo>
                      <a:pt x="1364141" y="330367"/>
                    </a:lnTo>
                    <a:lnTo>
                      <a:pt x="1368197" y="333012"/>
                    </a:lnTo>
                    <a:lnTo>
                      <a:pt x="1368197" y="335040"/>
                    </a:lnTo>
                    <a:lnTo>
                      <a:pt x="1363789" y="336803"/>
                    </a:lnTo>
                    <a:lnTo>
                      <a:pt x="1359733" y="336803"/>
                    </a:lnTo>
                    <a:lnTo>
                      <a:pt x="1357088" y="335922"/>
                    </a:lnTo>
                    <a:lnTo>
                      <a:pt x="1355941" y="331249"/>
                    </a:lnTo>
                    <a:lnTo>
                      <a:pt x="1350387" y="330367"/>
                    </a:lnTo>
                    <a:lnTo>
                      <a:pt x="1350122" y="331249"/>
                    </a:lnTo>
                    <a:lnTo>
                      <a:pt x="1351886" y="332395"/>
                    </a:lnTo>
                    <a:lnTo>
                      <a:pt x="1351269" y="339096"/>
                    </a:lnTo>
                    <a:lnTo>
                      <a:pt x="1354795" y="339625"/>
                    </a:lnTo>
                    <a:lnTo>
                      <a:pt x="1351004" y="343680"/>
                    </a:lnTo>
                    <a:lnTo>
                      <a:pt x="1359204" y="341652"/>
                    </a:lnTo>
                    <a:lnTo>
                      <a:pt x="1362730" y="342799"/>
                    </a:lnTo>
                    <a:lnTo>
                      <a:pt x="1360085" y="345708"/>
                    </a:lnTo>
                    <a:lnTo>
                      <a:pt x="1364141" y="347207"/>
                    </a:lnTo>
                    <a:lnTo>
                      <a:pt x="1360085" y="348970"/>
                    </a:lnTo>
                    <a:lnTo>
                      <a:pt x="1360967" y="350998"/>
                    </a:lnTo>
                    <a:lnTo>
                      <a:pt x="1364141" y="351527"/>
                    </a:lnTo>
                    <a:lnTo>
                      <a:pt x="1361496" y="354172"/>
                    </a:lnTo>
                    <a:lnTo>
                      <a:pt x="1365023" y="357347"/>
                    </a:lnTo>
                    <a:lnTo>
                      <a:pt x="1366522" y="357611"/>
                    </a:lnTo>
                    <a:lnTo>
                      <a:pt x="1372341" y="359374"/>
                    </a:lnTo>
                    <a:lnTo>
                      <a:pt x="1371459" y="361402"/>
                    </a:lnTo>
                    <a:lnTo>
                      <a:pt x="1376132" y="361931"/>
                    </a:lnTo>
                    <a:lnTo>
                      <a:pt x="1377631" y="359022"/>
                    </a:lnTo>
                    <a:lnTo>
                      <a:pt x="1381687" y="361402"/>
                    </a:lnTo>
                    <a:lnTo>
                      <a:pt x="1381687" y="363430"/>
                    </a:lnTo>
                    <a:lnTo>
                      <a:pt x="1376485" y="367486"/>
                    </a:lnTo>
                    <a:lnTo>
                      <a:pt x="1383803" y="367221"/>
                    </a:lnTo>
                    <a:lnTo>
                      <a:pt x="1382039" y="371894"/>
                    </a:lnTo>
                    <a:lnTo>
                      <a:pt x="1377984" y="371630"/>
                    </a:lnTo>
                    <a:lnTo>
                      <a:pt x="1380276" y="373922"/>
                    </a:lnTo>
                    <a:lnTo>
                      <a:pt x="1381422" y="377713"/>
                    </a:lnTo>
                    <a:lnTo>
                      <a:pt x="1384332" y="378860"/>
                    </a:lnTo>
                    <a:lnTo>
                      <a:pt x="1387241" y="378860"/>
                    </a:lnTo>
                    <a:lnTo>
                      <a:pt x="1382833" y="382915"/>
                    </a:lnTo>
                    <a:lnTo>
                      <a:pt x="1386360" y="384062"/>
                    </a:lnTo>
                    <a:lnTo>
                      <a:pt x="1388123" y="387853"/>
                    </a:lnTo>
                    <a:lnTo>
                      <a:pt x="1383450" y="394289"/>
                    </a:lnTo>
                    <a:lnTo>
                      <a:pt x="1382304" y="394554"/>
                    </a:lnTo>
                    <a:lnTo>
                      <a:pt x="1379923" y="386707"/>
                    </a:lnTo>
                    <a:lnTo>
                      <a:pt x="1377014" y="389881"/>
                    </a:lnTo>
                    <a:lnTo>
                      <a:pt x="1376132" y="396317"/>
                    </a:lnTo>
                    <a:lnTo>
                      <a:pt x="1377278" y="402136"/>
                    </a:lnTo>
                    <a:lnTo>
                      <a:pt x="1374633" y="403899"/>
                    </a:lnTo>
                    <a:lnTo>
                      <a:pt x="1371371" y="401254"/>
                    </a:lnTo>
                    <a:lnTo>
                      <a:pt x="1369608" y="400990"/>
                    </a:lnTo>
                    <a:lnTo>
                      <a:pt x="1368462" y="403282"/>
                    </a:lnTo>
                    <a:lnTo>
                      <a:pt x="1370489" y="408220"/>
                    </a:lnTo>
                    <a:lnTo>
                      <a:pt x="1369872" y="409366"/>
                    </a:lnTo>
                    <a:lnTo>
                      <a:pt x="1367227" y="413422"/>
                    </a:lnTo>
                    <a:lnTo>
                      <a:pt x="1361937" y="410248"/>
                    </a:lnTo>
                    <a:lnTo>
                      <a:pt x="1365993" y="404428"/>
                    </a:lnTo>
                    <a:lnTo>
                      <a:pt x="1364847" y="403811"/>
                    </a:lnTo>
                    <a:lnTo>
                      <a:pt x="1361937" y="404428"/>
                    </a:lnTo>
                    <a:lnTo>
                      <a:pt x="1356382" y="399755"/>
                    </a:lnTo>
                    <a:lnTo>
                      <a:pt x="1353473" y="399491"/>
                    </a:lnTo>
                    <a:lnTo>
                      <a:pt x="1353737" y="400373"/>
                    </a:lnTo>
                    <a:lnTo>
                      <a:pt x="1347301" y="401254"/>
                    </a:lnTo>
                    <a:lnTo>
                      <a:pt x="1342011" y="399755"/>
                    </a:lnTo>
                    <a:lnTo>
                      <a:pt x="1337955" y="400020"/>
                    </a:lnTo>
                    <a:lnTo>
                      <a:pt x="1337691" y="397110"/>
                    </a:lnTo>
                    <a:lnTo>
                      <a:pt x="1334781" y="395612"/>
                    </a:lnTo>
                    <a:lnTo>
                      <a:pt x="1334164" y="392437"/>
                    </a:lnTo>
                    <a:lnTo>
                      <a:pt x="1334164" y="385472"/>
                    </a:lnTo>
                    <a:lnTo>
                      <a:pt x="1331254" y="393936"/>
                    </a:lnTo>
                    <a:lnTo>
                      <a:pt x="1329491" y="391644"/>
                    </a:lnTo>
                    <a:lnTo>
                      <a:pt x="1323407" y="391380"/>
                    </a:lnTo>
                    <a:lnTo>
                      <a:pt x="1321644" y="387853"/>
                    </a:lnTo>
                    <a:lnTo>
                      <a:pt x="1318117" y="385560"/>
                    </a:lnTo>
                    <a:lnTo>
                      <a:pt x="1314062" y="384062"/>
                    </a:lnTo>
                    <a:lnTo>
                      <a:pt x="1313180" y="384943"/>
                    </a:lnTo>
                    <a:lnTo>
                      <a:pt x="1313444" y="386971"/>
                    </a:lnTo>
                    <a:lnTo>
                      <a:pt x="1312827" y="391380"/>
                    </a:lnTo>
                    <a:lnTo>
                      <a:pt x="1318029" y="394025"/>
                    </a:lnTo>
                    <a:lnTo>
                      <a:pt x="1320057" y="396052"/>
                    </a:lnTo>
                    <a:lnTo>
                      <a:pt x="1320939" y="398697"/>
                    </a:lnTo>
                    <a:lnTo>
                      <a:pt x="1325876" y="400725"/>
                    </a:lnTo>
                    <a:lnTo>
                      <a:pt x="1323584" y="400725"/>
                    </a:lnTo>
                    <a:lnTo>
                      <a:pt x="1328521" y="399844"/>
                    </a:lnTo>
                    <a:lnTo>
                      <a:pt x="1326758" y="401607"/>
                    </a:lnTo>
                    <a:lnTo>
                      <a:pt x="1331166" y="407162"/>
                    </a:lnTo>
                    <a:lnTo>
                      <a:pt x="1335839" y="407162"/>
                    </a:lnTo>
                    <a:lnTo>
                      <a:pt x="1335839" y="412981"/>
                    </a:lnTo>
                    <a:lnTo>
                      <a:pt x="1341394" y="414480"/>
                    </a:lnTo>
                    <a:lnTo>
                      <a:pt x="1340512" y="415978"/>
                    </a:lnTo>
                    <a:lnTo>
                      <a:pt x="1337867" y="417125"/>
                    </a:lnTo>
                    <a:lnTo>
                      <a:pt x="1340512" y="420034"/>
                    </a:lnTo>
                    <a:lnTo>
                      <a:pt x="1342540" y="425324"/>
                    </a:lnTo>
                    <a:lnTo>
                      <a:pt x="1341129" y="425942"/>
                    </a:lnTo>
                    <a:close/>
                    <a:moveTo>
                      <a:pt x="453274" y="453009"/>
                    </a:moveTo>
                    <a:lnTo>
                      <a:pt x="467821" y="451863"/>
                    </a:lnTo>
                    <a:lnTo>
                      <a:pt x="489687" y="449218"/>
                    </a:lnTo>
                    <a:lnTo>
                      <a:pt x="494096" y="447719"/>
                    </a:lnTo>
                    <a:lnTo>
                      <a:pt x="505469" y="439519"/>
                    </a:lnTo>
                    <a:lnTo>
                      <a:pt x="513316" y="438638"/>
                    </a:lnTo>
                    <a:lnTo>
                      <a:pt x="517725" y="439784"/>
                    </a:lnTo>
                    <a:lnTo>
                      <a:pt x="550964" y="425765"/>
                    </a:lnTo>
                    <a:lnTo>
                      <a:pt x="561192" y="419946"/>
                    </a:lnTo>
                    <a:lnTo>
                      <a:pt x="579883" y="415890"/>
                    </a:lnTo>
                    <a:lnTo>
                      <a:pt x="585438" y="414391"/>
                    </a:lnTo>
                    <a:lnTo>
                      <a:pt x="573800" y="415273"/>
                    </a:lnTo>
                    <a:lnTo>
                      <a:pt x="592139" y="410600"/>
                    </a:lnTo>
                    <a:lnTo>
                      <a:pt x="584292" y="409718"/>
                    </a:lnTo>
                    <a:lnTo>
                      <a:pt x="565336" y="412628"/>
                    </a:lnTo>
                    <a:lnTo>
                      <a:pt x="556607" y="417036"/>
                    </a:lnTo>
                    <a:lnTo>
                      <a:pt x="563572" y="412364"/>
                    </a:lnTo>
                    <a:lnTo>
                      <a:pt x="587466" y="407955"/>
                    </a:lnTo>
                    <a:lnTo>
                      <a:pt x="600867" y="411482"/>
                    </a:lnTo>
                    <a:lnTo>
                      <a:pt x="599721" y="412981"/>
                    </a:lnTo>
                    <a:lnTo>
                      <a:pt x="607568" y="409807"/>
                    </a:lnTo>
                    <a:lnTo>
                      <a:pt x="608185" y="407514"/>
                    </a:lnTo>
                    <a:lnTo>
                      <a:pt x="596195" y="404340"/>
                    </a:lnTo>
                    <a:lnTo>
                      <a:pt x="585085" y="404605"/>
                    </a:lnTo>
                    <a:lnTo>
                      <a:pt x="564983" y="409807"/>
                    </a:lnTo>
                    <a:lnTo>
                      <a:pt x="554491" y="417125"/>
                    </a:lnTo>
                    <a:lnTo>
                      <a:pt x="541971" y="422679"/>
                    </a:lnTo>
                    <a:lnTo>
                      <a:pt x="529451" y="424972"/>
                    </a:lnTo>
                    <a:lnTo>
                      <a:pt x="516050" y="424090"/>
                    </a:lnTo>
                    <a:lnTo>
                      <a:pt x="507850" y="415890"/>
                    </a:lnTo>
                    <a:lnTo>
                      <a:pt x="500532" y="415626"/>
                    </a:lnTo>
                    <a:lnTo>
                      <a:pt x="491803" y="407514"/>
                    </a:lnTo>
                    <a:lnTo>
                      <a:pt x="491803" y="402841"/>
                    </a:lnTo>
                    <a:lnTo>
                      <a:pt x="486513" y="403723"/>
                    </a:lnTo>
                    <a:lnTo>
                      <a:pt x="485631" y="406368"/>
                    </a:lnTo>
                    <a:lnTo>
                      <a:pt x="490304" y="415449"/>
                    </a:lnTo>
                    <a:lnTo>
                      <a:pt x="494096" y="416067"/>
                    </a:lnTo>
                    <a:lnTo>
                      <a:pt x="495594" y="428939"/>
                    </a:lnTo>
                    <a:lnTo>
                      <a:pt x="490921" y="431584"/>
                    </a:lnTo>
                    <a:lnTo>
                      <a:pt x="483956" y="432466"/>
                    </a:lnTo>
                    <a:lnTo>
                      <a:pt x="481928" y="431320"/>
                    </a:lnTo>
                    <a:lnTo>
                      <a:pt x="477520" y="432201"/>
                    </a:lnTo>
                    <a:lnTo>
                      <a:pt x="468527" y="438285"/>
                    </a:lnTo>
                    <a:lnTo>
                      <a:pt x="461561" y="440930"/>
                    </a:lnTo>
                    <a:lnTo>
                      <a:pt x="459181" y="443575"/>
                    </a:lnTo>
                    <a:lnTo>
                      <a:pt x="451334" y="441547"/>
                    </a:lnTo>
                    <a:lnTo>
                      <a:pt x="447543" y="442429"/>
                    </a:lnTo>
                    <a:lnTo>
                      <a:pt x="445250" y="443928"/>
                    </a:lnTo>
                    <a:lnTo>
                      <a:pt x="435375" y="444192"/>
                    </a:lnTo>
                    <a:lnTo>
                      <a:pt x="435993" y="447719"/>
                    </a:lnTo>
                    <a:lnTo>
                      <a:pt x="445603" y="448601"/>
                    </a:lnTo>
                    <a:lnTo>
                      <a:pt x="453274" y="453009"/>
                    </a:lnTo>
                    <a:close/>
                    <a:moveTo>
                      <a:pt x="1096727" y="432907"/>
                    </a:moveTo>
                    <a:lnTo>
                      <a:pt x="1095228" y="433171"/>
                    </a:lnTo>
                    <a:lnTo>
                      <a:pt x="1093817" y="433171"/>
                    </a:lnTo>
                    <a:lnTo>
                      <a:pt x="1093464" y="431672"/>
                    </a:lnTo>
                    <a:lnTo>
                      <a:pt x="1093200" y="431408"/>
                    </a:lnTo>
                    <a:lnTo>
                      <a:pt x="1093200" y="430526"/>
                    </a:lnTo>
                    <a:lnTo>
                      <a:pt x="1091789" y="429027"/>
                    </a:lnTo>
                    <a:lnTo>
                      <a:pt x="1090643" y="428763"/>
                    </a:lnTo>
                    <a:lnTo>
                      <a:pt x="1090643" y="427264"/>
                    </a:lnTo>
                    <a:lnTo>
                      <a:pt x="1091260" y="426118"/>
                    </a:lnTo>
                    <a:lnTo>
                      <a:pt x="1092142" y="424354"/>
                    </a:lnTo>
                    <a:lnTo>
                      <a:pt x="1094522" y="420828"/>
                    </a:lnTo>
                    <a:lnTo>
                      <a:pt x="1096815" y="419064"/>
                    </a:lnTo>
                    <a:lnTo>
                      <a:pt x="1097079" y="418447"/>
                    </a:lnTo>
                    <a:lnTo>
                      <a:pt x="1097608" y="418447"/>
                    </a:lnTo>
                    <a:lnTo>
                      <a:pt x="1100253" y="416948"/>
                    </a:lnTo>
                    <a:lnTo>
                      <a:pt x="1100870" y="416331"/>
                    </a:lnTo>
                    <a:lnTo>
                      <a:pt x="1101399" y="416067"/>
                    </a:lnTo>
                    <a:lnTo>
                      <a:pt x="1102281" y="415449"/>
                    </a:lnTo>
                    <a:lnTo>
                      <a:pt x="1104309" y="414920"/>
                    </a:lnTo>
                    <a:lnTo>
                      <a:pt x="1108365" y="414656"/>
                    </a:lnTo>
                    <a:lnTo>
                      <a:pt x="1108982" y="414656"/>
                    </a:lnTo>
                    <a:lnTo>
                      <a:pt x="1111891" y="414920"/>
                    </a:lnTo>
                    <a:lnTo>
                      <a:pt x="1112773" y="415802"/>
                    </a:lnTo>
                    <a:lnTo>
                      <a:pt x="1112156" y="417565"/>
                    </a:lnTo>
                    <a:lnTo>
                      <a:pt x="1112773" y="418095"/>
                    </a:lnTo>
                    <a:lnTo>
                      <a:pt x="1110745" y="420740"/>
                    </a:lnTo>
                    <a:lnTo>
                      <a:pt x="1109246" y="422503"/>
                    </a:lnTo>
                    <a:lnTo>
                      <a:pt x="1108365" y="424002"/>
                    </a:lnTo>
                    <a:lnTo>
                      <a:pt x="1107483" y="424266"/>
                    </a:lnTo>
                    <a:lnTo>
                      <a:pt x="1106866" y="424531"/>
                    </a:lnTo>
                    <a:lnTo>
                      <a:pt x="1102193" y="428322"/>
                    </a:lnTo>
                    <a:lnTo>
                      <a:pt x="1099901" y="429468"/>
                    </a:lnTo>
                    <a:lnTo>
                      <a:pt x="1098754" y="430967"/>
                    </a:lnTo>
                    <a:lnTo>
                      <a:pt x="1096727" y="432907"/>
                    </a:lnTo>
                    <a:close/>
                    <a:moveTo>
                      <a:pt x="1353385" y="438461"/>
                    </a:moveTo>
                    <a:lnTo>
                      <a:pt x="1351621" y="439608"/>
                    </a:lnTo>
                    <a:lnTo>
                      <a:pt x="1351357" y="438109"/>
                    </a:lnTo>
                    <a:lnTo>
                      <a:pt x="1351621" y="437580"/>
                    </a:lnTo>
                    <a:lnTo>
                      <a:pt x="1349858" y="437315"/>
                    </a:lnTo>
                    <a:lnTo>
                      <a:pt x="1349858" y="436433"/>
                    </a:lnTo>
                    <a:lnTo>
                      <a:pt x="1348712" y="436433"/>
                    </a:lnTo>
                    <a:lnTo>
                      <a:pt x="1347566" y="435287"/>
                    </a:lnTo>
                    <a:lnTo>
                      <a:pt x="1345538" y="434670"/>
                    </a:lnTo>
                    <a:lnTo>
                      <a:pt x="1344656" y="433788"/>
                    </a:lnTo>
                    <a:lnTo>
                      <a:pt x="1344656" y="432642"/>
                    </a:lnTo>
                    <a:lnTo>
                      <a:pt x="1345538" y="432025"/>
                    </a:lnTo>
                    <a:lnTo>
                      <a:pt x="1347036" y="431408"/>
                    </a:lnTo>
                    <a:lnTo>
                      <a:pt x="1352856" y="431408"/>
                    </a:lnTo>
                    <a:lnTo>
                      <a:pt x="1353473" y="431672"/>
                    </a:lnTo>
                    <a:lnTo>
                      <a:pt x="1357528" y="431672"/>
                    </a:lnTo>
                    <a:lnTo>
                      <a:pt x="1357528" y="432290"/>
                    </a:lnTo>
                    <a:lnTo>
                      <a:pt x="1359027" y="432907"/>
                    </a:lnTo>
                    <a:lnTo>
                      <a:pt x="1357881" y="433788"/>
                    </a:lnTo>
                    <a:lnTo>
                      <a:pt x="1356735" y="434406"/>
                    </a:lnTo>
                    <a:lnTo>
                      <a:pt x="1356735" y="434670"/>
                    </a:lnTo>
                    <a:lnTo>
                      <a:pt x="1355853" y="435287"/>
                    </a:lnTo>
                    <a:lnTo>
                      <a:pt x="1356999" y="435552"/>
                    </a:lnTo>
                    <a:lnTo>
                      <a:pt x="1355501" y="436169"/>
                    </a:lnTo>
                    <a:lnTo>
                      <a:pt x="1355236" y="437051"/>
                    </a:lnTo>
                    <a:lnTo>
                      <a:pt x="1353208" y="438461"/>
                    </a:lnTo>
                    <a:lnTo>
                      <a:pt x="1353385" y="438461"/>
                    </a:lnTo>
                    <a:close/>
                    <a:moveTo>
                      <a:pt x="1287523" y="461738"/>
                    </a:moveTo>
                    <a:lnTo>
                      <a:pt x="1279940" y="464030"/>
                    </a:lnTo>
                    <a:lnTo>
                      <a:pt x="1278441" y="462531"/>
                    </a:lnTo>
                    <a:lnTo>
                      <a:pt x="1287170" y="456095"/>
                    </a:lnTo>
                    <a:lnTo>
                      <a:pt x="1288316" y="456360"/>
                    </a:lnTo>
                    <a:lnTo>
                      <a:pt x="1291226" y="458740"/>
                    </a:lnTo>
                    <a:lnTo>
                      <a:pt x="1287523" y="461738"/>
                    </a:lnTo>
                    <a:close/>
                    <a:moveTo>
                      <a:pt x="499386" y="502031"/>
                    </a:moveTo>
                    <a:lnTo>
                      <a:pt x="502912" y="501502"/>
                    </a:lnTo>
                    <a:lnTo>
                      <a:pt x="503530" y="501766"/>
                    </a:lnTo>
                    <a:lnTo>
                      <a:pt x="507585" y="501149"/>
                    </a:lnTo>
                    <a:lnTo>
                      <a:pt x="509349" y="499650"/>
                    </a:lnTo>
                    <a:lnTo>
                      <a:pt x="510848" y="498151"/>
                    </a:lnTo>
                    <a:lnTo>
                      <a:pt x="514639" y="495859"/>
                    </a:lnTo>
                    <a:lnTo>
                      <a:pt x="516402" y="495242"/>
                    </a:lnTo>
                    <a:lnTo>
                      <a:pt x="519576" y="494096"/>
                    </a:lnTo>
                    <a:lnTo>
                      <a:pt x="522750" y="493478"/>
                    </a:lnTo>
                    <a:lnTo>
                      <a:pt x="527688" y="491451"/>
                    </a:lnTo>
                    <a:lnTo>
                      <a:pt x="532361" y="491186"/>
                    </a:lnTo>
                    <a:lnTo>
                      <a:pt x="537915" y="489687"/>
                    </a:lnTo>
                    <a:lnTo>
                      <a:pt x="538532" y="490833"/>
                    </a:lnTo>
                    <a:lnTo>
                      <a:pt x="539679" y="490833"/>
                    </a:lnTo>
                    <a:lnTo>
                      <a:pt x="543470" y="490216"/>
                    </a:lnTo>
                    <a:lnTo>
                      <a:pt x="545233" y="490216"/>
                    </a:lnTo>
                    <a:lnTo>
                      <a:pt x="565336" y="487307"/>
                    </a:lnTo>
                    <a:lnTo>
                      <a:pt x="568510" y="485014"/>
                    </a:lnTo>
                    <a:lnTo>
                      <a:pt x="570802" y="485014"/>
                    </a:lnTo>
                    <a:lnTo>
                      <a:pt x="571067" y="485896"/>
                    </a:lnTo>
                    <a:lnTo>
                      <a:pt x="580677" y="486778"/>
                    </a:lnTo>
                    <a:lnTo>
                      <a:pt x="582969" y="487395"/>
                    </a:lnTo>
                    <a:lnTo>
                      <a:pt x="595842" y="487395"/>
                    </a:lnTo>
                    <a:lnTo>
                      <a:pt x="597605" y="486513"/>
                    </a:lnTo>
                    <a:lnTo>
                      <a:pt x="574858" y="483868"/>
                    </a:lnTo>
                    <a:lnTo>
                      <a:pt x="572477" y="482369"/>
                    </a:lnTo>
                    <a:lnTo>
                      <a:pt x="570449" y="482369"/>
                    </a:lnTo>
                    <a:lnTo>
                      <a:pt x="564630" y="482369"/>
                    </a:lnTo>
                    <a:lnTo>
                      <a:pt x="561104" y="481752"/>
                    </a:lnTo>
                    <a:lnTo>
                      <a:pt x="555284" y="482898"/>
                    </a:lnTo>
                    <a:lnTo>
                      <a:pt x="549994" y="484044"/>
                    </a:lnTo>
                    <a:lnTo>
                      <a:pt x="548848" y="484044"/>
                    </a:lnTo>
                    <a:lnTo>
                      <a:pt x="549113" y="483427"/>
                    </a:lnTo>
                    <a:lnTo>
                      <a:pt x="552904" y="481664"/>
                    </a:lnTo>
                    <a:lnTo>
                      <a:pt x="554050" y="480518"/>
                    </a:lnTo>
                    <a:lnTo>
                      <a:pt x="552904" y="480253"/>
                    </a:lnTo>
                    <a:lnTo>
                      <a:pt x="548584" y="481135"/>
                    </a:lnTo>
                    <a:lnTo>
                      <a:pt x="547702" y="480518"/>
                    </a:lnTo>
                    <a:lnTo>
                      <a:pt x="548584" y="478754"/>
                    </a:lnTo>
                    <a:lnTo>
                      <a:pt x="544792" y="478402"/>
                    </a:lnTo>
                    <a:lnTo>
                      <a:pt x="541883" y="479019"/>
                    </a:lnTo>
                    <a:lnTo>
                      <a:pt x="536593" y="480782"/>
                    </a:lnTo>
                    <a:lnTo>
                      <a:pt x="531655" y="483956"/>
                    </a:lnTo>
                    <a:lnTo>
                      <a:pt x="528481" y="485455"/>
                    </a:lnTo>
                    <a:lnTo>
                      <a:pt x="524954" y="486601"/>
                    </a:lnTo>
                    <a:lnTo>
                      <a:pt x="517372" y="489775"/>
                    </a:lnTo>
                    <a:lnTo>
                      <a:pt x="514992" y="489775"/>
                    </a:lnTo>
                    <a:lnTo>
                      <a:pt x="511200" y="491803"/>
                    </a:lnTo>
                    <a:lnTo>
                      <a:pt x="508555" y="494448"/>
                    </a:lnTo>
                    <a:lnTo>
                      <a:pt x="502472" y="497093"/>
                    </a:lnTo>
                    <a:lnTo>
                      <a:pt x="497799" y="498857"/>
                    </a:lnTo>
                    <a:lnTo>
                      <a:pt x="497270" y="498857"/>
                    </a:lnTo>
                    <a:lnTo>
                      <a:pt x="497534" y="497711"/>
                    </a:lnTo>
                    <a:lnTo>
                      <a:pt x="497270" y="497446"/>
                    </a:lnTo>
                    <a:lnTo>
                      <a:pt x="494625" y="497975"/>
                    </a:lnTo>
                    <a:lnTo>
                      <a:pt x="494625" y="498857"/>
                    </a:lnTo>
                    <a:lnTo>
                      <a:pt x="494625" y="499738"/>
                    </a:lnTo>
                    <a:lnTo>
                      <a:pt x="495771" y="500885"/>
                    </a:lnTo>
                    <a:lnTo>
                      <a:pt x="497270" y="500885"/>
                    </a:lnTo>
                    <a:lnTo>
                      <a:pt x="499386" y="502031"/>
                    </a:lnTo>
                    <a:close/>
                    <a:moveTo>
                      <a:pt x="597958" y="556254"/>
                    </a:moveTo>
                    <a:lnTo>
                      <a:pt x="599721" y="553962"/>
                    </a:lnTo>
                    <a:lnTo>
                      <a:pt x="602366" y="552816"/>
                    </a:lnTo>
                    <a:lnTo>
                      <a:pt x="602984" y="554315"/>
                    </a:lnTo>
                    <a:lnTo>
                      <a:pt x="604130" y="554315"/>
                    </a:lnTo>
                    <a:lnTo>
                      <a:pt x="607039" y="551405"/>
                    </a:lnTo>
                    <a:lnTo>
                      <a:pt x="614005" y="549642"/>
                    </a:lnTo>
                    <a:lnTo>
                      <a:pt x="615503" y="548760"/>
                    </a:lnTo>
                    <a:lnTo>
                      <a:pt x="617531" y="547349"/>
                    </a:lnTo>
                    <a:lnTo>
                      <a:pt x="620176" y="545586"/>
                    </a:lnTo>
                    <a:lnTo>
                      <a:pt x="622821" y="543558"/>
                    </a:lnTo>
                    <a:lnTo>
                      <a:pt x="626877" y="542412"/>
                    </a:lnTo>
                    <a:lnTo>
                      <a:pt x="635077" y="533683"/>
                    </a:lnTo>
                    <a:lnTo>
                      <a:pt x="635077" y="531038"/>
                    </a:lnTo>
                    <a:lnTo>
                      <a:pt x="638251" y="527864"/>
                    </a:lnTo>
                    <a:lnTo>
                      <a:pt x="640631" y="527600"/>
                    </a:lnTo>
                    <a:lnTo>
                      <a:pt x="645040" y="526453"/>
                    </a:lnTo>
                    <a:lnTo>
                      <a:pt x="654650" y="519135"/>
                    </a:lnTo>
                    <a:lnTo>
                      <a:pt x="652358" y="518871"/>
                    </a:lnTo>
                    <a:lnTo>
                      <a:pt x="651476" y="518871"/>
                    </a:lnTo>
                    <a:lnTo>
                      <a:pt x="649096" y="520370"/>
                    </a:lnTo>
                    <a:lnTo>
                      <a:pt x="646715" y="520634"/>
                    </a:lnTo>
                    <a:lnTo>
                      <a:pt x="651653" y="516843"/>
                    </a:lnTo>
                    <a:lnTo>
                      <a:pt x="651388" y="515961"/>
                    </a:lnTo>
                    <a:lnTo>
                      <a:pt x="649360" y="516843"/>
                    </a:lnTo>
                    <a:lnTo>
                      <a:pt x="647597" y="517725"/>
                    </a:lnTo>
                    <a:lnTo>
                      <a:pt x="650771" y="513316"/>
                    </a:lnTo>
                    <a:lnTo>
                      <a:pt x="648390" y="513581"/>
                    </a:lnTo>
                    <a:lnTo>
                      <a:pt x="645745" y="515873"/>
                    </a:lnTo>
                    <a:lnTo>
                      <a:pt x="645745" y="517019"/>
                    </a:lnTo>
                    <a:lnTo>
                      <a:pt x="643982" y="517901"/>
                    </a:lnTo>
                    <a:lnTo>
                      <a:pt x="643100" y="519047"/>
                    </a:lnTo>
                    <a:lnTo>
                      <a:pt x="639926" y="520193"/>
                    </a:lnTo>
                    <a:lnTo>
                      <a:pt x="640191" y="519047"/>
                    </a:lnTo>
                    <a:lnTo>
                      <a:pt x="637017" y="519929"/>
                    </a:lnTo>
                    <a:lnTo>
                      <a:pt x="633490" y="523103"/>
                    </a:lnTo>
                    <a:lnTo>
                      <a:pt x="630316" y="523103"/>
                    </a:lnTo>
                    <a:lnTo>
                      <a:pt x="629170" y="524866"/>
                    </a:lnTo>
                    <a:lnTo>
                      <a:pt x="629787" y="525484"/>
                    </a:lnTo>
                    <a:lnTo>
                      <a:pt x="628023" y="526365"/>
                    </a:lnTo>
                    <a:lnTo>
                      <a:pt x="622469" y="529010"/>
                    </a:lnTo>
                    <a:lnTo>
                      <a:pt x="619824" y="532802"/>
                    </a:lnTo>
                    <a:lnTo>
                      <a:pt x="622733" y="531920"/>
                    </a:lnTo>
                    <a:lnTo>
                      <a:pt x="620705" y="533948"/>
                    </a:lnTo>
                    <a:lnTo>
                      <a:pt x="624232" y="533331"/>
                    </a:lnTo>
                    <a:lnTo>
                      <a:pt x="622204" y="534829"/>
                    </a:lnTo>
                    <a:lnTo>
                      <a:pt x="621323" y="536857"/>
                    </a:lnTo>
                    <a:lnTo>
                      <a:pt x="622204" y="536857"/>
                    </a:lnTo>
                    <a:lnTo>
                      <a:pt x="622204" y="539502"/>
                    </a:lnTo>
                    <a:lnTo>
                      <a:pt x="619559" y="542412"/>
                    </a:lnTo>
                    <a:lnTo>
                      <a:pt x="615768" y="545322"/>
                    </a:lnTo>
                    <a:lnTo>
                      <a:pt x="610213" y="548584"/>
                    </a:lnTo>
                    <a:lnTo>
                      <a:pt x="603248" y="551493"/>
                    </a:lnTo>
                    <a:lnTo>
                      <a:pt x="608185" y="546556"/>
                    </a:lnTo>
                    <a:lnTo>
                      <a:pt x="607568" y="546291"/>
                    </a:lnTo>
                    <a:lnTo>
                      <a:pt x="607304" y="546291"/>
                    </a:lnTo>
                    <a:lnTo>
                      <a:pt x="603248" y="550083"/>
                    </a:lnTo>
                    <a:lnTo>
                      <a:pt x="602102" y="550347"/>
                    </a:lnTo>
                    <a:lnTo>
                      <a:pt x="602366" y="548584"/>
                    </a:lnTo>
                    <a:lnTo>
                      <a:pt x="602102" y="548584"/>
                    </a:lnTo>
                    <a:lnTo>
                      <a:pt x="601220" y="549113"/>
                    </a:lnTo>
                    <a:lnTo>
                      <a:pt x="600956" y="550612"/>
                    </a:lnTo>
                    <a:lnTo>
                      <a:pt x="601573" y="551493"/>
                    </a:lnTo>
                    <a:lnTo>
                      <a:pt x="597517" y="555814"/>
                    </a:lnTo>
                    <a:lnTo>
                      <a:pt x="597253" y="556431"/>
                    </a:lnTo>
                    <a:lnTo>
                      <a:pt x="597958" y="556431"/>
                    </a:lnTo>
                    <a:close/>
                    <a:moveTo>
                      <a:pt x="1024957" y="547526"/>
                    </a:moveTo>
                    <a:lnTo>
                      <a:pt x="1022930" y="548055"/>
                    </a:lnTo>
                    <a:lnTo>
                      <a:pt x="1021783" y="547790"/>
                    </a:lnTo>
                    <a:lnTo>
                      <a:pt x="1023282" y="546027"/>
                    </a:lnTo>
                    <a:lnTo>
                      <a:pt x="1023282" y="545498"/>
                    </a:lnTo>
                    <a:lnTo>
                      <a:pt x="1024781" y="544881"/>
                    </a:lnTo>
                    <a:lnTo>
                      <a:pt x="1027073" y="544881"/>
                    </a:lnTo>
                    <a:lnTo>
                      <a:pt x="1028220" y="543734"/>
                    </a:lnTo>
                    <a:lnTo>
                      <a:pt x="1030247" y="544263"/>
                    </a:lnTo>
                    <a:lnTo>
                      <a:pt x="1035538" y="539855"/>
                    </a:lnTo>
                    <a:lnTo>
                      <a:pt x="1034656" y="541883"/>
                    </a:lnTo>
                    <a:lnTo>
                      <a:pt x="1028220" y="545939"/>
                    </a:lnTo>
                    <a:lnTo>
                      <a:pt x="1024957" y="547526"/>
                    </a:lnTo>
                    <a:close/>
                    <a:moveTo>
                      <a:pt x="1020637" y="566746"/>
                    </a:moveTo>
                    <a:lnTo>
                      <a:pt x="1016229" y="568245"/>
                    </a:lnTo>
                    <a:lnTo>
                      <a:pt x="1029013" y="555108"/>
                    </a:lnTo>
                    <a:lnTo>
                      <a:pt x="1043032" y="553080"/>
                    </a:lnTo>
                    <a:lnTo>
                      <a:pt x="1031041" y="565071"/>
                    </a:lnTo>
                    <a:lnTo>
                      <a:pt x="1031306" y="562162"/>
                    </a:lnTo>
                    <a:lnTo>
                      <a:pt x="1020637" y="566746"/>
                    </a:lnTo>
                    <a:close/>
                    <a:moveTo>
                      <a:pt x="1043649" y="558282"/>
                    </a:moveTo>
                    <a:lnTo>
                      <a:pt x="1040122" y="560575"/>
                    </a:lnTo>
                    <a:lnTo>
                      <a:pt x="1040387" y="557930"/>
                    </a:lnTo>
                    <a:lnTo>
                      <a:pt x="1043649" y="558282"/>
                    </a:lnTo>
                    <a:close/>
                    <a:moveTo>
                      <a:pt x="1032893" y="567099"/>
                    </a:moveTo>
                    <a:lnTo>
                      <a:pt x="1032275" y="567099"/>
                    </a:lnTo>
                    <a:lnTo>
                      <a:pt x="1032540" y="566835"/>
                    </a:lnTo>
                    <a:lnTo>
                      <a:pt x="1033951" y="565071"/>
                    </a:lnTo>
                    <a:lnTo>
                      <a:pt x="1034832" y="563925"/>
                    </a:lnTo>
                    <a:lnTo>
                      <a:pt x="1037125" y="561015"/>
                    </a:lnTo>
                    <a:lnTo>
                      <a:pt x="1037742" y="560751"/>
                    </a:lnTo>
                    <a:lnTo>
                      <a:pt x="1038359" y="561633"/>
                    </a:lnTo>
                    <a:lnTo>
                      <a:pt x="1038359" y="561897"/>
                    </a:lnTo>
                    <a:lnTo>
                      <a:pt x="1036331" y="563660"/>
                    </a:lnTo>
                    <a:lnTo>
                      <a:pt x="1033422" y="566835"/>
                    </a:lnTo>
                    <a:lnTo>
                      <a:pt x="1032893" y="567099"/>
                    </a:lnTo>
                    <a:close/>
                    <a:moveTo>
                      <a:pt x="1266451" y="615504"/>
                    </a:moveTo>
                    <a:lnTo>
                      <a:pt x="1267332" y="614357"/>
                    </a:lnTo>
                    <a:lnTo>
                      <a:pt x="1271124" y="613740"/>
                    </a:lnTo>
                    <a:lnTo>
                      <a:pt x="1271741" y="612858"/>
                    </a:lnTo>
                    <a:lnTo>
                      <a:pt x="1273504" y="611977"/>
                    </a:lnTo>
                    <a:lnTo>
                      <a:pt x="1277031" y="612241"/>
                    </a:lnTo>
                    <a:lnTo>
                      <a:pt x="1280205" y="611624"/>
                    </a:lnTo>
                    <a:lnTo>
                      <a:pt x="1281704" y="609861"/>
                    </a:lnTo>
                    <a:lnTo>
                      <a:pt x="1280822" y="608715"/>
                    </a:lnTo>
                    <a:lnTo>
                      <a:pt x="1286377" y="609596"/>
                    </a:lnTo>
                    <a:lnTo>
                      <a:pt x="1287875" y="608979"/>
                    </a:lnTo>
                    <a:lnTo>
                      <a:pt x="1288140" y="609596"/>
                    </a:lnTo>
                    <a:lnTo>
                      <a:pt x="1287258" y="614005"/>
                    </a:lnTo>
                    <a:lnTo>
                      <a:pt x="1288140" y="614622"/>
                    </a:lnTo>
                    <a:lnTo>
                      <a:pt x="1289022" y="614005"/>
                    </a:lnTo>
                    <a:lnTo>
                      <a:pt x="1292548" y="614005"/>
                    </a:lnTo>
                    <a:lnTo>
                      <a:pt x="1293695" y="613740"/>
                    </a:lnTo>
                    <a:lnTo>
                      <a:pt x="1294841" y="613740"/>
                    </a:lnTo>
                    <a:lnTo>
                      <a:pt x="1295458" y="613476"/>
                    </a:lnTo>
                    <a:lnTo>
                      <a:pt x="1296604" y="613476"/>
                    </a:lnTo>
                    <a:lnTo>
                      <a:pt x="1298632" y="612594"/>
                    </a:lnTo>
                    <a:lnTo>
                      <a:pt x="1298985" y="611712"/>
                    </a:lnTo>
                    <a:lnTo>
                      <a:pt x="1299602" y="610302"/>
                    </a:lnTo>
                    <a:lnTo>
                      <a:pt x="1299867" y="610037"/>
                    </a:lnTo>
                    <a:lnTo>
                      <a:pt x="1303393" y="610037"/>
                    </a:lnTo>
                    <a:lnTo>
                      <a:pt x="1304539" y="611183"/>
                    </a:lnTo>
                    <a:lnTo>
                      <a:pt x="1306038" y="611448"/>
                    </a:lnTo>
                    <a:lnTo>
                      <a:pt x="1306655" y="611448"/>
                    </a:lnTo>
                    <a:lnTo>
                      <a:pt x="1309036" y="610037"/>
                    </a:lnTo>
                    <a:lnTo>
                      <a:pt x="1308419" y="609155"/>
                    </a:lnTo>
                    <a:lnTo>
                      <a:pt x="1308154" y="608009"/>
                    </a:lnTo>
                    <a:lnTo>
                      <a:pt x="1307890" y="606510"/>
                    </a:lnTo>
                    <a:lnTo>
                      <a:pt x="1308771" y="605364"/>
                    </a:lnTo>
                    <a:lnTo>
                      <a:pt x="1308507" y="603336"/>
                    </a:lnTo>
                    <a:lnTo>
                      <a:pt x="1310270" y="601308"/>
                    </a:lnTo>
                    <a:lnTo>
                      <a:pt x="1310270" y="600691"/>
                    </a:lnTo>
                    <a:lnTo>
                      <a:pt x="1309389" y="600162"/>
                    </a:lnTo>
                    <a:lnTo>
                      <a:pt x="1304716" y="601926"/>
                    </a:lnTo>
                    <a:lnTo>
                      <a:pt x="1299778" y="602190"/>
                    </a:lnTo>
                    <a:lnTo>
                      <a:pt x="1298897" y="603336"/>
                    </a:lnTo>
                    <a:lnTo>
                      <a:pt x="1299514" y="604218"/>
                    </a:lnTo>
                    <a:lnTo>
                      <a:pt x="1301542" y="604835"/>
                    </a:lnTo>
                    <a:lnTo>
                      <a:pt x="1301277" y="605452"/>
                    </a:lnTo>
                    <a:lnTo>
                      <a:pt x="1298632" y="606599"/>
                    </a:lnTo>
                    <a:lnTo>
                      <a:pt x="1296604" y="607128"/>
                    </a:lnTo>
                    <a:lnTo>
                      <a:pt x="1295458" y="604835"/>
                    </a:lnTo>
                    <a:lnTo>
                      <a:pt x="1293959" y="602807"/>
                    </a:lnTo>
                    <a:lnTo>
                      <a:pt x="1294576" y="601926"/>
                    </a:lnTo>
                    <a:lnTo>
                      <a:pt x="1292284" y="597517"/>
                    </a:lnTo>
                    <a:lnTo>
                      <a:pt x="1293430" y="594608"/>
                    </a:lnTo>
                    <a:lnTo>
                      <a:pt x="1291931" y="592844"/>
                    </a:lnTo>
                    <a:lnTo>
                      <a:pt x="1291314" y="592844"/>
                    </a:lnTo>
                    <a:lnTo>
                      <a:pt x="1290432" y="593726"/>
                    </a:lnTo>
                    <a:lnTo>
                      <a:pt x="1290697" y="595225"/>
                    </a:lnTo>
                    <a:lnTo>
                      <a:pt x="1289815" y="596988"/>
                    </a:lnTo>
                    <a:lnTo>
                      <a:pt x="1287435" y="599369"/>
                    </a:lnTo>
                    <a:lnTo>
                      <a:pt x="1286818" y="601397"/>
                    </a:lnTo>
                    <a:lnTo>
                      <a:pt x="1286553" y="602014"/>
                    </a:lnTo>
                    <a:lnTo>
                      <a:pt x="1285671" y="602014"/>
                    </a:lnTo>
                    <a:lnTo>
                      <a:pt x="1284525" y="601397"/>
                    </a:lnTo>
                    <a:lnTo>
                      <a:pt x="1282497" y="601132"/>
                    </a:lnTo>
                    <a:lnTo>
                      <a:pt x="1281351" y="602014"/>
                    </a:lnTo>
                    <a:lnTo>
                      <a:pt x="1279588" y="602014"/>
                    </a:lnTo>
                    <a:lnTo>
                      <a:pt x="1278706" y="602895"/>
                    </a:lnTo>
                    <a:lnTo>
                      <a:pt x="1279852" y="604394"/>
                    </a:lnTo>
                    <a:lnTo>
                      <a:pt x="1278353" y="605276"/>
                    </a:lnTo>
                    <a:lnTo>
                      <a:pt x="1275708" y="604394"/>
                    </a:lnTo>
                    <a:lnTo>
                      <a:pt x="1274827" y="600339"/>
                    </a:lnTo>
                    <a:lnTo>
                      <a:pt x="1273681" y="600074"/>
                    </a:lnTo>
                    <a:lnTo>
                      <a:pt x="1271388" y="603865"/>
                    </a:lnTo>
                    <a:lnTo>
                      <a:pt x="1269625" y="604394"/>
                    </a:lnTo>
                    <a:lnTo>
                      <a:pt x="1269008" y="606422"/>
                    </a:lnTo>
                    <a:lnTo>
                      <a:pt x="1266715" y="606687"/>
                    </a:lnTo>
                    <a:lnTo>
                      <a:pt x="1264423" y="608186"/>
                    </a:lnTo>
                    <a:lnTo>
                      <a:pt x="1263541" y="608186"/>
                    </a:lnTo>
                    <a:lnTo>
                      <a:pt x="1262924" y="607304"/>
                    </a:lnTo>
                    <a:lnTo>
                      <a:pt x="1262042" y="605893"/>
                    </a:lnTo>
                    <a:lnTo>
                      <a:pt x="1260014" y="606775"/>
                    </a:lnTo>
                    <a:lnTo>
                      <a:pt x="1258516" y="607039"/>
                    </a:lnTo>
                    <a:lnTo>
                      <a:pt x="1258251" y="607568"/>
                    </a:lnTo>
                    <a:lnTo>
                      <a:pt x="1258868" y="607568"/>
                    </a:lnTo>
                    <a:lnTo>
                      <a:pt x="1259750" y="608715"/>
                    </a:lnTo>
                    <a:lnTo>
                      <a:pt x="1265304" y="615415"/>
                    </a:lnTo>
                    <a:lnTo>
                      <a:pt x="1266451" y="615504"/>
                    </a:lnTo>
                    <a:close/>
                    <a:moveTo>
                      <a:pt x="10845" y="627142"/>
                    </a:moveTo>
                    <a:lnTo>
                      <a:pt x="2645" y="628905"/>
                    </a:lnTo>
                    <a:lnTo>
                      <a:pt x="1499" y="624849"/>
                    </a:lnTo>
                    <a:lnTo>
                      <a:pt x="2645" y="623703"/>
                    </a:lnTo>
                    <a:lnTo>
                      <a:pt x="6436" y="623086"/>
                    </a:lnTo>
                    <a:lnTo>
                      <a:pt x="2028" y="621058"/>
                    </a:lnTo>
                    <a:lnTo>
                      <a:pt x="2028" y="618413"/>
                    </a:lnTo>
                    <a:lnTo>
                      <a:pt x="3527" y="617796"/>
                    </a:lnTo>
                    <a:lnTo>
                      <a:pt x="3791" y="613387"/>
                    </a:lnTo>
                    <a:lnTo>
                      <a:pt x="7582" y="613387"/>
                    </a:lnTo>
                    <a:lnTo>
                      <a:pt x="10227" y="610478"/>
                    </a:lnTo>
                    <a:lnTo>
                      <a:pt x="9963" y="607568"/>
                    </a:lnTo>
                    <a:lnTo>
                      <a:pt x="12255" y="604659"/>
                    </a:lnTo>
                    <a:lnTo>
                      <a:pt x="15429" y="605805"/>
                    </a:lnTo>
                    <a:lnTo>
                      <a:pt x="20102" y="605540"/>
                    </a:lnTo>
                    <a:lnTo>
                      <a:pt x="20102" y="607304"/>
                    </a:lnTo>
                    <a:lnTo>
                      <a:pt x="23894" y="606422"/>
                    </a:lnTo>
                    <a:lnTo>
                      <a:pt x="26274" y="604394"/>
                    </a:lnTo>
                    <a:lnTo>
                      <a:pt x="26010" y="608450"/>
                    </a:lnTo>
                    <a:lnTo>
                      <a:pt x="28919" y="605805"/>
                    </a:lnTo>
                    <a:lnTo>
                      <a:pt x="32975" y="606422"/>
                    </a:lnTo>
                    <a:lnTo>
                      <a:pt x="36766" y="606158"/>
                    </a:lnTo>
                    <a:lnTo>
                      <a:pt x="32975" y="610213"/>
                    </a:lnTo>
                    <a:lnTo>
                      <a:pt x="28919" y="614269"/>
                    </a:lnTo>
                    <a:lnTo>
                      <a:pt x="26627" y="617443"/>
                    </a:lnTo>
                    <a:lnTo>
                      <a:pt x="21689" y="619471"/>
                    </a:lnTo>
                    <a:lnTo>
                      <a:pt x="21425" y="623262"/>
                    </a:lnTo>
                    <a:lnTo>
                      <a:pt x="13225" y="627054"/>
                    </a:lnTo>
                    <a:lnTo>
                      <a:pt x="10845" y="627054"/>
                    </a:lnTo>
                    <a:close/>
                    <a:moveTo>
                      <a:pt x="58103" y="611712"/>
                    </a:moveTo>
                    <a:lnTo>
                      <a:pt x="52548" y="614357"/>
                    </a:lnTo>
                    <a:lnTo>
                      <a:pt x="52284" y="611448"/>
                    </a:lnTo>
                    <a:lnTo>
                      <a:pt x="48228" y="613211"/>
                    </a:lnTo>
                    <a:lnTo>
                      <a:pt x="48493" y="611712"/>
                    </a:lnTo>
                    <a:lnTo>
                      <a:pt x="50520" y="610302"/>
                    </a:lnTo>
                    <a:lnTo>
                      <a:pt x="57221" y="607657"/>
                    </a:lnTo>
                    <a:lnTo>
                      <a:pt x="59249" y="607657"/>
                    </a:lnTo>
                    <a:lnTo>
                      <a:pt x="59866" y="609155"/>
                    </a:lnTo>
                    <a:lnTo>
                      <a:pt x="58103" y="611712"/>
                    </a:lnTo>
                    <a:close/>
                    <a:moveTo>
                      <a:pt x="58985" y="628023"/>
                    </a:moveTo>
                    <a:lnTo>
                      <a:pt x="56957" y="628288"/>
                    </a:lnTo>
                    <a:lnTo>
                      <a:pt x="56075" y="622469"/>
                    </a:lnTo>
                    <a:lnTo>
                      <a:pt x="56692" y="621587"/>
                    </a:lnTo>
                    <a:lnTo>
                      <a:pt x="57838" y="620441"/>
                    </a:lnTo>
                    <a:lnTo>
                      <a:pt x="55546" y="619559"/>
                    </a:lnTo>
                    <a:lnTo>
                      <a:pt x="55282" y="616385"/>
                    </a:lnTo>
                    <a:lnTo>
                      <a:pt x="55899" y="613740"/>
                    </a:lnTo>
                    <a:lnTo>
                      <a:pt x="57927" y="612594"/>
                    </a:lnTo>
                    <a:lnTo>
                      <a:pt x="59425" y="612858"/>
                    </a:lnTo>
                    <a:lnTo>
                      <a:pt x="62952" y="623086"/>
                    </a:lnTo>
                    <a:lnTo>
                      <a:pt x="62335" y="624849"/>
                    </a:lnTo>
                    <a:lnTo>
                      <a:pt x="58985" y="628023"/>
                    </a:lnTo>
                    <a:close/>
                    <a:moveTo>
                      <a:pt x="53077" y="629434"/>
                    </a:moveTo>
                    <a:lnTo>
                      <a:pt x="49022" y="629787"/>
                    </a:lnTo>
                    <a:lnTo>
                      <a:pt x="48404" y="625996"/>
                    </a:lnTo>
                    <a:lnTo>
                      <a:pt x="45759" y="623968"/>
                    </a:lnTo>
                    <a:lnTo>
                      <a:pt x="45495" y="620176"/>
                    </a:lnTo>
                    <a:lnTo>
                      <a:pt x="46994" y="619030"/>
                    </a:lnTo>
                    <a:lnTo>
                      <a:pt x="50785" y="620176"/>
                    </a:lnTo>
                    <a:lnTo>
                      <a:pt x="54312" y="623968"/>
                    </a:lnTo>
                    <a:lnTo>
                      <a:pt x="53077" y="629434"/>
                    </a:lnTo>
                    <a:close/>
                    <a:moveTo>
                      <a:pt x="966061" y="633578"/>
                    </a:moveTo>
                    <a:lnTo>
                      <a:pt x="966061" y="639750"/>
                    </a:lnTo>
                    <a:lnTo>
                      <a:pt x="959625" y="640631"/>
                    </a:lnTo>
                    <a:lnTo>
                      <a:pt x="958743" y="638868"/>
                    </a:lnTo>
                    <a:lnTo>
                      <a:pt x="951160" y="638604"/>
                    </a:lnTo>
                    <a:lnTo>
                      <a:pt x="948515" y="635959"/>
                    </a:lnTo>
                    <a:lnTo>
                      <a:pt x="943843" y="633666"/>
                    </a:lnTo>
                    <a:lnTo>
                      <a:pt x="943843" y="631903"/>
                    </a:lnTo>
                    <a:lnTo>
                      <a:pt x="950543" y="630404"/>
                    </a:lnTo>
                    <a:lnTo>
                      <a:pt x="956980" y="628905"/>
                    </a:lnTo>
                    <a:lnTo>
                      <a:pt x="958743" y="628905"/>
                    </a:lnTo>
                    <a:lnTo>
                      <a:pt x="963680" y="628288"/>
                    </a:lnTo>
                    <a:lnTo>
                      <a:pt x="966061" y="633578"/>
                    </a:lnTo>
                    <a:close/>
                    <a:moveTo>
                      <a:pt x="66567" y="645833"/>
                    </a:moveTo>
                    <a:lnTo>
                      <a:pt x="65068" y="645833"/>
                    </a:lnTo>
                    <a:lnTo>
                      <a:pt x="65333" y="643806"/>
                    </a:lnTo>
                    <a:lnTo>
                      <a:pt x="68859" y="640014"/>
                    </a:lnTo>
                    <a:lnTo>
                      <a:pt x="70623" y="639397"/>
                    </a:lnTo>
                    <a:lnTo>
                      <a:pt x="71769" y="640014"/>
                    </a:lnTo>
                    <a:lnTo>
                      <a:pt x="67978" y="644952"/>
                    </a:lnTo>
                    <a:lnTo>
                      <a:pt x="66567" y="645833"/>
                    </a:lnTo>
                    <a:close/>
                    <a:moveTo>
                      <a:pt x="64451" y="642571"/>
                    </a:moveTo>
                    <a:lnTo>
                      <a:pt x="61806" y="645833"/>
                    </a:lnTo>
                    <a:lnTo>
                      <a:pt x="59425" y="648479"/>
                    </a:lnTo>
                    <a:lnTo>
                      <a:pt x="56516" y="649096"/>
                    </a:lnTo>
                    <a:lnTo>
                      <a:pt x="53606" y="647068"/>
                    </a:lnTo>
                    <a:lnTo>
                      <a:pt x="50432" y="646451"/>
                    </a:lnTo>
                    <a:lnTo>
                      <a:pt x="47258" y="644952"/>
                    </a:lnTo>
                    <a:lnTo>
                      <a:pt x="53077" y="643541"/>
                    </a:lnTo>
                    <a:lnTo>
                      <a:pt x="55105" y="642395"/>
                    </a:lnTo>
                    <a:lnTo>
                      <a:pt x="54488" y="640631"/>
                    </a:lnTo>
                    <a:lnTo>
                      <a:pt x="56780" y="637105"/>
                    </a:lnTo>
                    <a:lnTo>
                      <a:pt x="55899" y="637369"/>
                    </a:lnTo>
                    <a:lnTo>
                      <a:pt x="56780" y="637369"/>
                    </a:lnTo>
                    <a:lnTo>
                      <a:pt x="62600" y="636752"/>
                    </a:lnTo>
                    <a:lnTo>
                      <a:pt x="61718" y="635253"/>
                    </a:lnTo>
                    <a:lnTo>
                      <a:pt x="64010" y="631197"/>
                    </a:lnTo>
                    <a:lnTo>
                      <a:pt x="68419" y="628552"/>
                    </a:lnTo>
                    <a:lnTo>
                      <a:pt x="68154" y="626789"/>
                    </a:lnTo>
                    <a:lnTo>
                      <a:pt x="69918" y="626789"/>
                    </a:lnTo>
                    <a:lnTo>
                      <a:pt x="73092" y="631197"/>
                    </a:lnTo>
                    <a:lnTo>
                      <a:pt x="71064" y="634989"/>
                    </a:lnTo>
                    <a:lnTo>
                      <a:pt x="67008" y="639397"/>
                    </a:lnTo>
                    <a:lnTo>
                      <a:pt x="64451" y="642571"/>
                    </a:lnTo>
                    <a:close/>
                    <a:moveTo>
                      <a:pt x="68242" y="658089"/>
                    </a:moveTo>
                    <a:lnTo>
                      <a:pt x="65333" y="658618"/>
                    </a:lnTo>
                    <a:lnTo>
                      <a:pt x="68859" y="654827"/>
                    </a:lnTo>
                    <a:lnTo>
                      <a:pt x="72915" y="652182"/>
                    </a:lnTo>
                    <a:lnTo>
                      <a:pt x="84024" y="648390"/>
                    </a:lnTo>
                    <a:lnTo>
                      <a:pt x="85171" y="648655"/>
                    </a:lnTo>
                    <a:lnTo>
                      <a:pt x="84906" y="649801"/>
                    </a:lnTo>
                    <a:lnTo>
                      <a:pt x="71152" y="655091"/>
                    </a:lnTo>
                    <a:lnTo>
                      <a:pt x="68242" y="658089"/>
                    </a:lnTo>
                    <a:close/>
                    <a:moveTo>
                      <a:pt x="9610" y="655444"/>
                    </a:moveTo>
                    <a:lnTo>
                      <a:pt x="6084" y="656061"/>
                    </a:lnTo>
                    <a:lnTo>
                      <a:pt x="6965" y="654298"/>
                    </a:lnTo>
                    <a:lnTo>
                      <a:pt x="6084" y="652534"/>
                    </a:lnTo>
                    <a:lnTo>
                      <a:pt x="4056" y="650242"/>
                    </a:lnTo>
                    <a:lnTo>
                      <a:pt x="4937" y="646451"/>
                    </a:lnTo>
                    <a:lnTo>
                      <a:pt x="4408" y="641513"/>
                    </a:lnTo>
                    <a:lnTo>
                      <a:pt x="3791" y="640631"/>
                    </a:lnTo>
                    <a:lnTo>
                      <a:pt x="617" y="637458"/>
                    </a:lnTo>
                    <a:lnTo>
                      <a:pt x="1234" y="634283"/>
                    </a:lnTo>
                    <a:lnTo>
                      <a:pt x="5290" y="633666"/>
                    </a:lnTo>
                    <a:lnTo>
                      <a:pt x="0" y="631021"/>
                    </a:lnTo>
                    <a:lnTo>
                      <a:pt x="8993" y="629875"/>
                    </a:lnTo>
                    <a:lnTo>
                      <a:pt x="19750" y="627494"/>
                    </a:lnTo>
                    <a:lnTo>
                      <a:pt x="18868" y="630404"/>
                    </a:lnTo>
                    <a:lnTo>
                      <a:pt x="17105" y="631286"/>
                    </a:lnTo>
                    <a:lnTo>
                      <a:pt x="15341" y="632167"/>
                    </a:lnTo>
                    <a:lnTo>
                      <a:pt x="15341" y="633314"/>
                    </a:lnTo>
                    <a:lnTo>
                      <a:pt x="17369" y="636223"/>
                    </a:lnTo>
                    <a:lnTo>
                      <a:pt x="12696" y="638515"/>
                    </a:lnTo>
                    <a:lnTo>
                      <a:pt x="8905" y="638251"/>
                    </a:lnTo>
                    <a:lnTo>
                      <a:pt x="12696" y="641425"/>
                    </a:lnTo>
                    <a:lnTo>
                      <a:pt x="10933" y="644070"/>
                    </a:lnTo>
                    <a:lnTo>
                      <a:pt x="11815" y="646451"/>
                    </a:lnTo>
                    <a:lnTo>
                      <a:pt x="8023" y="647597"/>
                    </a:lnTo>
                    <a:lnTo>
                      <a:pt x="8288" y="650506"/>
                    </a:lnTo>
                    <a:lnTo>
                      <a:pt x="11197" y="649360"/>
                    </a:lnTo>
                    <a:lnTo>
                      <a:pt x="10051" y="654650"/>
                    </a:lnTo>
                    <a:lnTo>
                      <a:pt x="9610" y="655444"/>
                    </a:lnTo>
                    <a:close/>
                    <a:moveTo>
                      <a:pt x="63040" y="659500"/>
                    </a:moveTo>
                    <a:lnTo>
                      <a:pt x="59249" y="662762"/>
                    </a:lnTo>
                    <a:lnTo>
                      <a:pt x="58103" y="662497"/>
                    </a:lnTo>
                    <a:lnTo>
                      <a:pt x="58720" y="661087"/>
                    </a:lnTo>
                    <a:lnTo>
                      <a:pt x="57221" y="661087"/>
                    </a:lnTo>
                    <a:lnTo>
                      <a:pt x="56957" y="660469"/>
                    </a:lnTo>
                    <a:lnTo>
                      <a:pt x="62247" y="656414"/>
                    </a:lnTo>
                    <a:lnTo>
                      <a:pt x="65421" y="656149"/>
                    </a:lnTo>
                    <a:lnTo>
                      <a:pt x="65421" y="656766"/>
                    </a:lnTo>
                    <a:lnTo>
                      <a:pt x="63040" y="659500"/>
                    </a:lnTo>
                    <a:close/>
                    <a:moveTo>
                      <a:pt x="590111" y="667964"/>
                    </a:moveTo>
                    <a:lnTo>
                      <a:pt x="593285" y="667082"/>
                    </a:lnTo>
                    <a:lnTo>
                      <a:pt x="596459" y="660117"/>
                    </a:lnTo>
                    <a:lnTo>
                      <a:pt x="592932" y="663643"/>
                    </a:lnTo>
                    <a:lnTo>
                      <a:pt x="592668" y="663379"/>
                    </a:lnTo>
                    <a:lnTo>
                      <a:pt x="594696" y="659852"/>
                    </a:lnTo>
                    <a:lnTo>
                      <a:pt x="596459" y="658089"/>
                    </a:lnTo>
                    <a:lnTo>
                      <a:pt x="597076" y="656326"/>
                    </a:lnTo>
                    <a:lnTo>
                      <a:pt x="596459" y="656061"/>
                    </a:lnTo>
                    <a:lnTo>
                      <a:pt x="598840" y="652005"/>
                    </a:lnTo>
                    <a:lnTo>
                      <a:pt x="602631" y="649625"/>
                    </a:lnTo>
                    <a:lnTo>
                      <a:pt x="606687" y="644687"/>
                    </a:lnTo>
                    <a:lnTo>
                      <a:pt x="609596" y="637986"/>
                    </a:lnTo>
                    <a:lnTo>
                      <a:pt x="611007" y="635606"/>
                    </a:lnTo>
                    <a:lnTo>
                      <a:pt x="610742" y="634460"/>
                    </a:lnTo>
                    <a:lnTo>
                      <a:pt x="608714" y="634460"/>
                    </a:lnTo>
                    <a:lnTo>
                      <a:pt x="606687" y="633578"/>
                    </a:lnTo>
                    <a:lnTo>
                      <a:pt x="605805" y="632432"/>
                    </a:lnTo>
                    <a:lnTo>
                      <a:pt x="601132" y="631286"/>
                    </a:lnTo>
                    <a:lnTo>
                      <a:pt x="600867" y="630140"/>
                    </a:lnTo>
                    <a:lnTo>
                      <a:pt x="599369" y="629875"/>
                    </a:lnTo>
                    <a:lnTo>
                      <a:pt x="596459" y="631286"/>
                    </a:lnTo>
                    <a:lnTo>
                      <a:pt x="590640" y="631550"/>
                    </a:lnTo>
                    <a:lnTo>
                      <a:pt x="590905" y="630140"/>
                    </a:lnTo>
                    <a:lnTo>
                      <a:pt x="588877" y="630404"/>
                    </a:lnTo>
                    <a:lnTo>
                      <a:pt x="587995" y="631021"/>
                    </a:lnTo>
                    <a:lnTo>
                      <a:pt x="587378" y="632784"/>
                    </a:lnTo>
                    <a:lnTo>
                      <a:pt x="588877" y="633049"/>
                    </a:lnTo>
                    <a:lnTo>
                      <a:pt x="587378" y="635341"/>
                    </a:lnTo>
                    <a:lnTo>
                      <a:pt x="585879" y="636840"/>
                    </a:lnTo>
                    <a:lnTo>
                      <a:pt x="585614" y="637105"/>
                    </a:lnTo>
                    <a:lnTo>
                      <a:pt x="587642" y="637369"/>
                    </a:lnTo>
                    <a:lnTo>
                      <a:pt x="586143" y="638251"/>
                    </a:lnTo>
                    <a:lnTo>
                      <a:pt x="587642" y="638868"/>
                    </a:lnTo>
                    <a:lnTo>
                      <a:pt x="587907" y="639750"/>
                    </a:lnTo>
                    <a:lnTo>
                      <a:pt x="590552" y="639133"/>
                    </a:lnTo>
                    <a:lnTo>
                      <a:pt x="591169" y="637986"/>
                    </a:lnTo>
                    <a:lnTo>
                      <a:pt x="593197" y="636840"/>
                    </a:lnTo>
                    <a:lnTo>
                      <a:pt x="593197" y="635077"/>
                    </a:lnTo>
                    <a:lnTo>
                      <a:pt x="592932" y="634812"/>
                    </a:lnTo>
                    <a:lnTo>
                      <a:pt x="592668" y="634548"/>
                    </a:lnTo>
                    <a:lnTo>
                      <a:pt x="594078" y="633666"/>
                    </a:lnTo>
                    <a:lnTo>
                      <a:pt x="597870" y="634812"/>
                    </a:lnTo>
                    <a:lnTo>
                      <a:pt x="595842" y="637722"/>
                    </a:lnTo>
                    <a:lnTo>
                      <a:pt x="594696" y="640367"/>
                    </a:lnTo>
                    <a:lnTo>
                      <a:pt x="594431" y="642395"/>
                    </a:lnTo>
                    <a:lnTo>
                      <a:pt x="595313" y="642659"/>
                    </a:lnTo>
                    <a:lnTo>
                      <a:pt x="596459" y="642395"/>
                    </a:lnTo>
                    <a:lnTo>
                      <a:pt x="598487" y="637458"/>
                    </a:lnTo>
                    <a:lnTo>
                      <a:pt x="600250" y="636311"/>
                    </a:lnTo>
                    <a:lnTo>
                      <a:pt x="600867" y="636311"/>
                    </a:lnTo>
                    <a:lnTo>
                      <a:pt x="601485" y="637722"/>
                    </a:lnTo>
                    <a:lnTo>
                      <a:pt x="602366" y="638604"/>
                    </a:lnTo>
                    <a:lnTo>
                      <a:pt x="600074" y="642395"/>
                    </a:lnTo>
                    <a:lnTo>
                      <a:pt x="598928" y="646186"/>
                    </a:lnTo>
                    <a:lnTo>
                      <a:pt x="593638" y="650595"/>
                    </a:lnTo>
                    <a:lnTo>
                      <a:pt x="591874" y="653769"/>
                    </a:lnTo>
                    <a:lnTo>
                      <a:pt x="589494" y="657295"/>
                    </a:lnTo>
                    <a:lnTo>
                      <a:pt x="589229" y="658441"/>
                    </a:lnTo>
                    <a:lnTo>
                      <a:pt x="588083" y="660822"/>
                    </a:lnTo>
                    <a:lnTo>
                      <a:pt x="587466" y="664878"/>
                    </a:lnTo>
                    <a:lnTo>
                      <a:pt x="588612" y="663467"/>
                    </a:lnTo>
                    <a:lnTo>
                      <a:pt x="593020" y="657648"/>
                    </a:lnTo>
                    <a:lnTo>
                      <a:pt x="593020" y="658265"/>
                    </a:lnTo>
                    <a:lnTo>
                      <a:pt x="592139" y="661704"/>
                    </a:lnTo>
                    <a:lnTo>
                      <a:pt x="589494" y="666112"/>
                    </a:lnTo>
                    <a:lnTo>
                      <a:pt x="589758" y="667258"/>
                    </a:lnTo>
                    <a:lnTo>
                      <a:pt x="590111" y="667964"/>
                    </a:lnTo>
                    <a:close/>
                    <a:moveTo>
                      <a:pt x="55987" y="671490"/>
                    </a:moveTo>
                    <a:lnTo>
                      <a:pt x="54841" y="671755"/>
                    </a:lnTo>
                    <a:lnTo>
                      <a:pt x="52813" y="670873"/>
                    </a:lnTo>
                    <a:lnTo>
                      <a:pt x="54576" y="665936"/>
                    </a:lnTo>
                    <a:lnTo>
                      <a:pt x="57750" y="664437"/>
                    </a:lnTo>
                    <a:lnTo>
                      <a:pt x="58632" y="664173"/>
                    </a:lnTo>
                    <a:lnTo>
                      <a:pt x="58367" y="667964"/>
                    </a:lnTo>
                    <a:lnTo>
                      <a:pt x="55987" y="671490"/>
                    </a:lnTo>
                    <a:close/>
                    <a:moveTo>
                      <a:pt x="632961" y="696530"/>
                    </a:moveTo>
                    <a:lnTo>
                      <a:pt x="635606" y="695384"/>
                    </a:lnTo>
                    <a:lnTo>
                      <a:pt x="639133" y="688948"/>
                    </a:lnTo>
                    <a:lnTo>
                      <a:pt x="640279" y="688066"/>
                    </a:lnTo>
                    <a:lnTo>
                      <a:pt x="640896" y="688595"/>
                    </a:lnTo>
                    <a:lnTo>
                      <a:pt x="641160" y="690359"/>
                    </a:lnTo>
                    <a:lnTo>
                      <a:pt x="643188" y="690094"/>
                    </a:lnTo>
                    <a:lnTo>
                      <a:pt x="643806" y="689212"/>
                    </a:lnTo>
                    <a:lnTo>
                      <a:pt x="647597" y="679337"/>
                    </a:lnTo>
                    <a:lnTo>
                      <a:pt x="649625" y="677045"/>
                    </a:lnTo>
                    <a:lnTo>
                      <a:pt x="651388" y="676428"/>
                    </a:lnTo>
                    <a:lnTo>
                      <a:pt x="650242" y="669992"/>
                    </a:lnTo>
                    <a:lnTo>
                      <a:pt x="651123" y="667964"/>
                    </a:lnTo>
                    <a:lnTo>
                      <a:pt x="649977" y="664702"/>
                    </a:lnTo>
                    <a:lnTo>
                      <a:pt x="651123" y="662409"/>
                    </a:lnTo>
                    <a:lnTo>
                      <a:pt x="651123" y="661263"/>
                    </a:lnTo>
                    <a:lnTo>
                      <a:pt x="649713" y="660646"/>
                    </a:lnTo>
                    <a:lnTo>
                      <a:pt x="649096" y="660381"/>
                    </a:lnTo>
                    <a:lnTo>
                      <a:pt x="651123" y="658618"/>
                    </a:lnTo>
                    <a:lnTo>
                      <a:pt x="649977" y="656326"/>
                    </a:lnTo>
                    <a:lnTo>
                      <a:pt x="650594" y="654827"/>
                    </a:lnTo>
                    <a:lnTo>
                      <a:pt x="649977" y="651917"/>
                    </a:lnTo>
                    <a:lnTo>
                      <a:pt x="651476" y="651652"/>
                    </a:lnTo>
                    <a:lnTo>
                      <a:pt x="653240" y="648479"/>
                    </a:lnTo>
                    <a:lnTo>
                      <a:pt x="652711" y="647861"/>
                    </a:lnTo>
                    <a:lnTo>
                      <a:pt x="653240" y="646362"/>
                    </a:lnTo>
                    <a:lnTo>
                      <a:pt x="653240" y="644864"/>
                    </a:lnTo>
                    <a:lnTo>
                      <a:pt x="653857" y="643717"/>
                    </a:lnTo>
                    <a:lnTo>
                      <a:pt x="653592" y="637898"/>
                    </a:lnTo>
                    <a:lnTo>
                      <a:pt x="654121" y="635253"/>
                    </a:lnTo>
                    <a:lnTo>
                      <a:pt x="654738" y="634636"/>
                    </a:lnTo>
                    <a:lnTo>
                      <a:pt x="656237" y="633137"/>
                    </a:lnTo>
                    <a:lnTo>
                      <a:pt x="655973" y="632255"/>
                    </a:lnTo>
                    <a:lnTo>
                      <a:pt x="657119" y="629610"/>
                    </a:lnTo>
                    <a:lnTo>
                      <a:pt x="656854" y="628112"/>
                    </a:lnTo>
                    <a:lnTo>
                      <a:pt x="655708" y="626965"/>
                    </a:lnTo>
                    <a:lnTo>
                      <a:pt x="656854" y="625202"/>
                    </a:lnTo>
                    <a:lnTo>
                      <a:pt x="655973" y="623791"/>
                    </a:lnTo>
                    <a:lnTo>
                      <a:pt x="657119" y="622645"/>
                    </a:lnTo>
                    <a:lnTo>
                      <a:pt x="655973" y="619118"/>
                    </a:lnTo>
                    <a:lnTo>
                      <a:pt x="654562" y="617708"/>
                    </a:lnTo>
                    <a:lnTo>
                      <a:pt x="654562" y="615680"/>
                    </a:lnTo>
                    <a:lnTo>
                      <a:pt x="653063" y="614798"/>
                    </a:lnTo>
                    <a:lnTo>
                      <a:pt x="648390" y="613035"/>
                    </a:lnTo>
                    <a:lnTo>
                      <a:pt x="646979" y="613035"/>
                    </a:lnTo>
                    <a:lnTo>
                      <a:pt x="638780" y="615327"/>
                    </a:lnTo>
                    <a:lnTo>
                      <a:pt x="636752" y="615592"/>
                    </a:lnTo>
                    <a:lnTo>
                      <a:pt x="635606" y="617355"/>
                    </a:lnTo>
                    <a:lnTo>
                      <a:pt x="634460" y="618237"/>
                    </a:lnTo>
                    <a:lnTo>
                      <a:pt x="629522" y="623439"/>
                    </a:lnTo>
                    <a:lnTo>
                      <a:pt x="627759" y="624320"/>
                    </a:lnTo>
                    <a:lnTo>
                      <a:pt x="624849" y="628112"/>
                    </a:lnTo>
                    <a:lnTo>
                      <a:pt x="622821" y="628376"/>
                    </a:lnTo>
                    <a:lnTo>
                      <a:pt x="621323" y="628376"/>
                    </a:lnTo>
                    <a:lnTo>
                      <a:pt x="620441" y="628376"/>
                    </a:lnTo>
                    <a:lnTo>
                      <a:pt x="623615" y="625202"/>
                    </a:lnTo>
                    <a:lnTo>
                      <a:pt x="623350" y="624937"/>
                    </a:lnTo>
                    <a:lnTo>
                      <a:pt x="618060" y="626701"/>
                    </a:lnTo>
                    <a:lnTo>
                      <a:pt x="618325" y="626172"/>
                    </a:lnTo>
                    <a:lnTo>
                      <a:pt x="617708" y="626436"/>
                    </a:lnTo>
                    <a:lnTo>
                      <a:pt x="617090" y="626172"/>
                    </a:lnTo>
                    <a:lnTo>
                      <a:pt x="615944" y="626172"/>
                    </a:lnTo>
                    <a:lnTo>
                      <a:pt x="613916" y="627671"/>
                    </a:lnTo>
                    <a:lnTo>
                      <a:pt x="612770" y="628288"/>
                    </a:lnTo>
                    <a:lnTo>
                      <a:pt x="612153" y="628288"/>
                    </a:lnTo>
                    <a:lnTo>
                      <a:pt x="613035" y="625643"/>
                    </a:lnTo>
                    <a:lnTo>
                      <a:pt x="614798" y="623880"/>
                    </a:lnTo>
                    <a:lnTo>
                      <a:pt x="613916" y="620353"/>
                    </a:lnTo>
                    <a:lnTo>
                      <a:pt x="613652" y="619207"/>
                    </a:lnTo>
                    <a:lnTo>
                      <a:pt x="611624" y="618325"/>
                    </a:lnTo>
                    <a:lnTo>
                      <a:pt x="608979" y="618589"/>
                    </a:lnTo>
                    <a:lnTo>
                      <a:pt x="605188" y="619471"/>
                    </a:lnTo>
                    <a:lnTo>
                      <a:pt x="603689" y="619207"/>
                    </a:lnTo>
                    <a:lnTo>
                      <a:pt x="602543" y="620353"/>
                    </a:lnTo>
                    <a:lnTo>
                      <a:pt x="601661" y="621499"/>
                    </a:lnTo>
                    <a:lnTo>
                      <a:pt x="599369" y="621234"/>
                    </a:lnTo>
                    <a:lnTo>
                      <a:pt x="597605" y="621499"/>
                    </a:lnTo>
                    <a:lnTo>
                      <a:pt x="596106" y="622998"/>
                    </a:lnTo>
                    <a:lnTo>
                      <a:pt x="595489" y="623880"/>
                    </a:lnTo>
                    <a:lnTo>
                      <a:pt x="600427" y="626260"/>
                    </a:lnTo>
                    <a:lnTo>
                      <a:pt x="601308" y="627142"/>
                    </a:lnTo>
                    <a:lnTo>
                      <a:pt x="603072" y="627142"/>
                    </a:lnTo>
                    <a:lnTo>
                      <a:pt x="603072" y="630316"/>
                    </a:lnTo>
                    <a:lnTo>
                      <a:pt x="604218" y="630933"/>
                    </a:lnTo>
                    <a:lnTo>
                      <a:pt x="606863" y="630933"/>
                    </a:lnTo>
                    <a:lnTo>
                      <a:pt x="607745" y="631815"/>
                    </a:lnTo>
                    <a:lnTo>
                      <a:pt x="610125" y="631815"/>
                    </a:lnTo>
                    <a:lnTo>
                      <a:pt x="610390" y="631815"/>
                    </a:lnTo>
                    <a:lnTo>
                      <a:pt x="612770" y="630316"/>
                    </a:lnTo>
                    <a:lnTo>
                      <a:pt x="613299" y="630580"/>
                    </a:lnTo>
                    <a:lnTo>
                      <a:pt x="615592" y="628817"/>
                    </a:lnTo>
                    <a:lnTo>
                      <a:pt x="616209" y="632608"/>
                    </a:lnTo>
                    <a:lnTo>
                      <a:pt x="617355" y="631726"/>
                    </a:lnTo>
                    <a:lnTo>
                      <a:pt x="618854" y="630845"/>
                    </a:lnTo>
                    <a:lnTo>
                      <a:pt x="620000" y="630228"/>
                    </a:lnTo>
                    <a:lnTo>
                      <a:pt x="622028" y="630492"/>
                    </a:lnTo>
                    <a:lnTo>
                      <a:pt x="624056" y="629610"/>
                    </a:lnTo>
                    <a:lnTo>
                      <a:pt x="625202" y="632520"/>
                    </a:lnTo>
                    <a:lnTo>
                      <a:pt x="627230" y="632520"/>
                    </a:lnTo>
                    <a:lnTo>
                      <a:pt x="628376" y="632520"/>
                    </a:lnTo>
                    <a:lnTo>
                      <a:pt x="631021" y="631638"/>
                    </a:lnTo>
                    <a:lnTo>
                      <a:pt x="636311" y="632520"/>
                    </a:lnTo>
                    <a:lnTo>
                      <a:pt x="635429" y="633137"/>
                    </a:lnTo>
                    <a:lnTo>
                      <a:pt x="626701" y="634636"/>
                    </a:lnTo>
                    <a:lnTo>
                      <a:pt x="625555" y="635518"/>
                    </a:lnTo>
                    <a:lnTo>
                      <a:pt x="624673" y="640191"/>
                    </a:lnTo>
                    <a:lnTo>
                      <a:pt x="624937" y="641601"/>
                    </a:lnTo>
                    <a:lnTo>
                      <a:pt x="627582" y="646539"/>
                    </a:lnTo>
                    <a:lnTo>
                      <a:pt x="626701" y="648302"/>
                    </a:lnTo>
                    <a:lnTo>
                      <a:pt x="626965" y="649801"/>
                    </a:lnTo>
                    <a:lnTo>
                      <a:pt x="628993" y="650683"/>
                    </a:lnTo>
                    <a:lnTo>
                      <a:pt x="629875" y="652446"/>
                    </a:lnTo>
                    <a:lnTo>
                      <a:pt x="628729" y="654827"/>
                    </a:lnTo>
                    <a:lnTo>
                      <a:pt x="629875" y="655973"/>
                    </a:lnTo>
                    <a:lnTo>
                      <a:pt x="628376" y="658882"/>
                    </a:lnTo>
                    <a:lnTo>
                      <a:pt x="631903" y="660646"/>
                    </a:lnTo>
                    <a:lnTo>
                      <a:pt x="636840" y="654562"/>
                    </a:lnTo>
                    <a:lnTo>
                      <a:pt x="637105" y="654298"/>
                    </a:lnTo>
                    <a:lnTo>
                      <a:pt x="641513" y="654915"/>
                    </a:lnTo>
                    <a:lnTo>
                      <a:pt x="637457" y="657207"/>
                    </a:lnTo>
                    <a:lnTo>
                      <a:pt x="636311" y="659500"/>
                    </a:lnTo>
                    <a:lnTo>
                      <a:pt x="637810" y="659500"/>
                    </a:lnTo>
                    <a:lnTo>
                      <a:pt x="641601" y="656855"/>
                    </a:lnTo>
                    <a:lnTo>
                      <a:pt x="642747" y="657472"/>
                    </a:lnTo>
                    <a:lnTo>
                      <a:pt x="641866" y="661527"/>
                    </a:lnTo>
                    <a:lnTo>
                      <a:pt x="638692" y="666200"/>
                    </a:lnTo>
                    <a:lnTo>
                      <a:pt x="635782" y="670873"/>
                    </a:lnTo>
                    <a:lnTo>
                      <a:pt x="635782" y="671490"/>
                    </a:lnTo>
                    <a:lnTo>
                      <a:pt x="638163" y="670609"/>
                    </a:lnTo>
                    <a:lnTo>
                      <a:pt x="641689" y="667082"/>
                    </a:lnTo>
                    <a:lnTo>
                      <a:pt x="646627" y="664702"/>
                    </a:lnTo>
                    <a:lnTo>
                      <a:pt x="647509" y="664437"/>
                    </a:lnTo>
                    <a:lnTo>
                      <a:pt x="647773" y="667964"/>
                    </a:lnTo>
                    <a:lnTo>
                      <a:pt x="646891" y="669110"/>
                    </a:lnTo>
                    <a:lnTo>
                      <a:pt x="642218" y="672284"/>
                    </a:lnTo>
                    <a:lnTo>
                      <a:pt x="637281" y="677839"/>
                    </a:lnTo>
                    <a:lnTo>
                      <a:pt x="641337" y="675811"/>
                    </a:lnTo>
                    <a:lnTo>
                      <a:pt x="641072" y="676428"/>
                    </a:lnTo>
                    <a:lnTo>
                      <a:pt x="642836" y="674664"/>
                    </a:lnTo>
                    <a:lnTo>
                      <a:pt x="645216" y="672901"/>
                    </a:lnTo>
                    <a:lnTo>
                      <a:pt x="647244" y="673166"/>
                    </a:lnTo>
                    <a:lnTo>
                      <a:pt x="643188" y="676075"/>
                    </a:lnTo>
                    <a:lnTo>
                      <a:pt x="635341" y="682511"/>
                    </a:lnTo>
                    <a:lnTo>
                      <a:pt x="629522" y="693003"/>
                    </a:lnTo>
                    <a:lnTo>
                      <a:pt x="628905" y="695649"/>
                    </a:lnTo>
                    <a:lnTo>
                      <a:pt x="632961" y="696530"/>
                    </a:lnTo>
                    <a:close/>
                    <a:moveTo>
                      <a:pt x="598222" y="701556"/>
                    </a:moveTo>
                    <a:lnTo>
                      <a:pt x="603777" y="700410"/>
                    </a:lnTo>
                    <a:lnTo>
                      <a:pt x="605540" y="698646"/>
                    </a:lnTo>
                    <a:lnTo>
                      <a:pt x="607568" y="697765"/>
                    </a:lnTo>
                    <a:lnTo>
                      <a:pt x="608450" y="695737"/>
                    </a:lnTo>
                    <a:lnTo>
                      <a:pt x="608714" y="693709"/>
                    </a:lnTo>
                    <a:lnTo>
                      <a:pt x="607833" y="693092"/>
                    </a:lnTo>
                    <a:lnTo>
                      <a:pt x="608097" y="690447"/>
                    </a:lnTo>
                    <a:lnTo>
                      <a:pt x="606069" y="686655"/>
                    </a:lnTo>
                    <a:lnTo>
                      <a:pt x="603160" y="684363"/>
                    </a:lnTo>
                    <a:lnTo>
                      <a:pt x="601396" y="684099"/>
                    </a:lnTo>
                    <a:lnTo>
                      <a:pt x="601132" y="683481"/>
                    </a:lnTo>
                    <a:lnTo>
                      <a:pt x="604042" y="678279"/>
                    </a:lnTo>
                    <a:lnTo>
                      <a:pt x="604306" y="678544"/>
                    </a:lnTo>
                    <a:lnTo>
                      <a:pt x="606334" y="677398"/>
                    </a:lnTo>
                    <a:lnTo>
                      <a:pt x="607216" y="677398"/>
                    </a:lnTo>
                    <a:lnTo>
                      <a:pt x="608362" y="676781"/>
                    </a:lnTo>
                    <a:lnTo>
                      <a:pt x="608626" y="675017"/>
                    </a:lnTo>
                    <a:lnTo>
                      <a:pt x="606598" y="674753"/>
                    </a:lnTo>
                    <a:lnTo>
                      <a:pt x="605717" y="673606"/>
                    </a:lnTo>
                    <a:lnTo>
                      <a:pt x="609508" y="667787"/>
                    </a:lnTo>
                    <a:lnTo>
                      <a:pt x="609773" y="664878"/>
                    </a:lnTo>
                    <a:lnTo>
                      <a:pt x="608626" y="664613"/>
                    </a:lnTo>
                    <a:lnTo>
                      <a:pt x="607745" y="664878"/>
                    </a:lnTo>
                    <a:lnTo>
                      <a:pt x="606863" y="665759"/>
                    </a:lnTo>
                    <a:lnTo>
                      <a:pt x="603336" y="671579"/>
                    </a:lnTo>
                    <a:lnTo>
                      <a:pt x="605100" y="666024"/>
                    </a:lnTo>
                    <a:lnTo>
                      <a:pt x="603953" y="665142"/>
                    </a:lnTo>
                    <a:lnTo>
                      <a:pt x="603072" y="665759"/>
                    </a:lnTo>
                    <a:lnTo>
                      <a:pt x="602190" y="665495"/>
                    </a:lnTo>
                    <a:lnTo>
                      <a:pt x="601573" y="662850"/>
                    </a:lnTo>
                    <a:lnTo>
                      <a:pt x="598663" y="662585"/>
                    </a:lnTo>
                    <a:lnTo>
                      <a:pt x="597517" y="663203"/>
                    </a:lnTo>
                    <a:lnTo>
                      <a:pt x="595225" y="665495"/>
                    </a:lnTo>
                    <a:lnTo>
                      <a:pt x="594343" y="668757"/>
                    </a:lnTo>
                    <a:lnTo>
                      <a:pt x="594343" y="669286"/>
                    </a:lnTo>
                    <a:lnTo>
                      <a:pt x="595754" y="668757"/>
                    </a:lnTo>
                    <a:lnTo>
                      <a:pt x="596635" y="667258"/>
                    </a:lnTo>
                    <a:lnTo>
                      <a:pt x="598399" y="666377"/>
                    </a:lnTo>
                    <a:lnTo>
                      <a:pt x="599281" y="666641"/>
                    </a:lnTo>
                    <a:lnTo>
                      <a:pt x="599545" y="668669"/>
                    </a:lnTo>
                    <a:lnTo>
                      <a:pt x="601308" y="669198"/>
                    </a:lnTo>
                    <a:lnTo>
                      <a:pt x="599809" y="673606"/>
                    </a:lnTo>
                    <a:lnTo>
                      <a:pt x="599545" y="676781"/>
                    </a:lnTo>
                    <a:lnTo>
                      <a:pt x="600162" y="677045"/>
                    </a:lnTo>
                    <a:lnTo>
                      <a:pt x="601926" y="676163"/>
                    </a:lnTo>
                    <a:lnTo>
                      <a:pt x="602190" y="676428"/>
                    </a:lnTo>
                    <a:lnTo>
                      <a:pt x="600779" y="681101"/>
                    </a:lnTo>
                    <a:lnTo>
                      <a:pt x="598399" y="683481"/>
                    </a:lnTo>
                    <a:lnTo>
                      <a:pt x="597782" y="684980"/>
                    </a:lnTo>
                    <a:lnTo>
                      <a:pt x="598046" y="685245"/>
                    </a:lnTo>
                    <a:lnTo>
                      <a:pt x="596018" y="697236"/>
                    </a:lnTo>
                    <a:lnTo>
                      <a:pt x="595401" y="698382"/>
                    </a:lnTo>
                    <a:lnTo>
                      <a:pt x="595401" y="699792"/>
                    </a:lnTo>
                    <a:lnTo>
                      <a:pt x="596283" y="701291"/>
                    </a:lnTo>
                    <a:lnTo>
                      <a:pt x="598222" y="701556"/>
                    </a:lnTo>
                    <a:close/>
                    <a:moveTo>
                      <a:pt x="72915" y="689829"/>
                    </a:moveTo>
                    <a:lnTo>
                      <a:pt x="71769" y="689829"/>
                    </a:lnTo>
                    <a:lnTo>
                      <a:pt x="66567" y="689829"/>
                    </a:lnTo>
                    <a:lnTo>
                      <a:pt x="67184" y="688683"/>
                    </a:lnTo>
                    <a:lnTo>
                      <a:pt x="70094" y="687184"/>
                    </a:lnTo>
                    <a:lnTo>
                      <a:pt x="74502" y="686303"/>
                    </a:lnTo>
                    <a:lnTo>
                      <a:pt x="75384" y="686567"/>
                    </a:lnTo>
                    <a:lnTo>
                      <a:pt x="75384" y="687184"/>
                    </a:lnTo>
                    <a:lnTo>
                      <a:pt x="72915" y="689829"/>
                    </a:lnTo>
                    <a:close/>
                    <a:moveTo>
                      <a:pt x="83760" y="704730"/>
                    </a:moveTo>
                    <a:lnTo>
                      <a:pt x="83495" y="705347"/>
                    </a:lnTo>
                    <a:lnTo>
                      <a:pt x="82349" y="701820"/>
                    </a:lnTo>
                    <a:lnTo>
                      <a:pt x="83231" y="699175"/>
                    </a:lnTo>
                    <a:lnTo>
                      <a:pt x="86140" y="697676"/>
                    </a:lnTo>
                    <a:lnTo>
                      <a:pt x="87287" y="700057"/>
                    </a:lnTo>
                    <a:lnTo>
                      <a:pt x="83760" y="704730"/>
                    </a:lnTo>
                    <a:close/>
                    <a:moveTo>
                      <a:pt x="88697" y="704465"/>
                    </a:moveTo>
                    <a:lnTo>
                      <a:pt x="86669" y="705347"/>
                    </a:lnTo>
                    <a:lnTo>
                      <a:pt x="86669" y="702967"/>
                    </a:lnTo>
                    <a:lnTo>
                      <a:pt x="91078" y="699175"/>
                    </a:lnTo>
                    <a:lnTo>
                      <a:pt x="93458" y="698911"/>
                    </a:lnTo>
                    <a:lnTo>
                      <a:pt x="93194" y="700674"/>
                    </a:lnTo>
                    <a:lnTo>
                      <a:pt x="93458" y="701291"/>
                    </a:lnTo>
                    <a:lnTo>
                      <a:pt x="91960" y="702438"/>
                    </a:lnTo>
                    <a:lnTo>
                      <a:pt x="89932" y="702702"/>
                    </a:lnTo>
                    <a:lnTo>
                      <a:pt x="88697" y="704465"/>
                    </a:lnTo>
                    <a:close/>
                    <a:moveTo>
                      <a:pt x="1287787" y="729505"/>
                    </a:moveTo>
                    <a:lnTo>
                      <a:pt x="1277560" y="730387"/>
                    </a:lnTo>
                    <a:lnTo>
                      <a:pt x="1272270" y="728359"/>
                    </a:lnTo>
                    <a:lnTo>
                      <a:pt x="1264952" y="726948"/>
                    </a:lnTo>
                    <a:lnTo>
                      <a:pt x="1253843" y="722275"/>
                    </a:lnTo>
                    <a:lnTo>
                      <a:pt x="1253843" y="720248"/>
                    </a:lnTo>
                    <a:lnTo>
                      <a:pt x="1252961" y="718220"/>
                    </a:lnTo>
                    <a:lnTo>
                      <a:pt x="1250051" y="715839"/>
                    </a:lnTo>
                    <a:lnTo>
                      <a:pt x="1239824" y="710549"/>
                    </a:lnTo>
                    <a:lnTo>
                      <a:pt x="1246260" y="708786"/>
                    </a:lnTo>
                    <a:lnTo>
                      <a:pt x="1268126" y="713459"/>
                    </a:lnTo>
                    <a:lnTo>
                      <a:pt x="1275708" y="717514"/>
                    </a:lnTo>
                    <a:lnTo>
                      <a:pt x="1281263" y="721923"/>
                    </a:lnTo>
                    <a:lnTo>
                      <a:pt x="1285054" y="722804"/>
                    </a:lnTo>
                    <a:lnTo>
                      <a:pt x="1287964" y="726860"/>
                    </a:lnTo>
                    <a:lnTo>
                      <a:pt x="1287787" y="729505"/>
                    </a:lnTo>
                    <a:close/>
                    <a:moveTo>
                      <a:pt x="47875" y="715486"/>
                    </a:moveTo>
                    <a:lnTo>
                      <a:pt x="46465" y="715751"/>
                    </a:lnTo>
                    <a:lnTo>
                      <a:pt x="44701" y="714869"/>
                    </a:lnTo>
                    <a:lnTo>
                      <a:pt x="43820" y="712841"/>
                    </a:lnTo>
                    <a:lnTo>
                      <a:pt x="45583" y="711343"/>
                    </a:lnTo>
                    <a:lnTo>
                      <a:pt x="45319" y="711078"/>
                    </a:lnTo>
                    <a:lnTo>
                      <a:pt x="44437" y="710461"/>
                    </a:lnTo>
                    <a:lnTo>
                      <a:pt x="45319" y="709844"/>
                    </a:lnTo>
                    <a:lnTo>
                      <a:pt x="49727" y="708962"/>
                    </a:lnTo>
                    <a:lnTo>
                      <a:pt x="50344" y="709579"/>
                    </a:lnTo>
                    <a:lnTo>
                      <a:pt x="47875" y="715486"/>
                    </a:lnTo>
                    <a:close/>
                    <a:moveTo>
                      <a:pt x="94781" y="716368"/>
                    </a:moveTo>
                    <a:lnTo>
                      <a:pt x="93899" y="717779"/>
                    </a:lnTo>
                    <a:lnTo>
                      <a:pt x="89844" y="715398"/>
                    </a:lnTo>
                    <a:lnTo>
                      <a:pt x="89844" y="713370"/>
                    </a:lnTo>
                    <a:lnTo>
                      <a:pt x="88080" y="711607"/>
                    </a:lnTo>
                    <a:lnTo>
                      <a:pt x="88962" y="710725"/>
                    </a:lnTo>
                    <a:lnTo>
                      <a:pt x="89844" y="710108"/>
                    </a:lnTo>
                    <a:lnTo>
                      <a:pt x="89844" y="711254"/>
                    </a:lnTo>
                    <a:lnTo>
                      <a:pt x="93635" y="712401"/>
                    </a:lnTo>
                    <a:lnTo>
                      <a:pt x="93370" y="714164"/>
                    </a:lnTo>
                    <a:lnTo>
                      <a:pt x="94781" y="716368"/>
                    </a:lnTo>
                    <a:close/>
                    <a:moveTo>
                      <a:pt x="96897" y="732768"/>
                    </a:moveTo>
                    <a:lnTo>
                      <a:pt x="95134" y="735942"/>
                    </a:lnTo>
                    <a:lnTo>
                      <a:pt x="94517" y="735942"/>
                    </a:lnTo>
                    <a:lnTo>
                      <a:pt x="94252" y="735060"/>
                    </a:lnTo>
                    <a:lnTo>
                      <a:pt x="94869" y="731798"/>
                    </a:lnTo>
                    <a:lnTo>
                      <a:pt x="95751" y="730916"/>
                    </a:lnTo>
                    <a:lnTo>
                      <a:pt x="96897" y="732768"/>
                    </a:lnTo>
                    <a:close/>
                    <a:moveTo>
                      <a:pt x="87199" y="746169"/>
                    </a:moveTo>
                    <a:lnTo>
                      <a:pt x="84289" y="746786"/>
                    </a:lnTo>
                    <a:lnTo>
                      <a:pt x="82261" y="745905"/>
                    </a:lnTo>
                    <a:lnTo>
                      <a:pt x="76971" y="742466"/>
                    </a:lnTo>
                    <a:lnTo>
                      <a:pt x="73709" y="742113"/>
                    </a:lnTo>
                    <a:lnTo>
                      <a:pt x="71416" y="741584"/>
                    </a:lnTo>
                    <a:lnTo>
                      <a:pt x="67890" y="739204"/>
                    </a:lnTo>
                    <a:lnTo>
                      <a:pt x="66391" y="737705"/>
                    </a:lnTo>
                    <a:lnTo>
                      <a:pt x="63746" y="736823"/>
                    </a:lnTo>
                    <a:lnTo>
                      <a:pt x="62600" y="735060"/>
                    </a:lnTo>
                    <a:lnTo>
                      <a:pt x="67272" y="732150"/>
                    </a:lnTo>
                    <a:lnTo>
                      <a:pt x="68154" y="730387"/>
                    </a:lnTo>
                    <a:lnTo>
                      <a:pt x="65685" y="730387"/>
                    </a:lnTo>
                    <a:lnTo>
                      <a:pt x="63658" y="730651"/>
                    </a:lnTo>
                    <a:lnTo>
                      <a:pt x="62511" y="729770"/>
                    </a:lnTo>
                    <a:lnTo>
                      <a:pt x="58720" y="731798"/>
                    </a:lnTo>
                    <a:lnTo>
                      <a:pt x="55811" y="728271"/>
                    </a:lnTo>
                    <a:lnTo>
                      <a:pt x="54047" y="727654"/>
                    </a:lnTo>
                    <a:lnTo>
                      <a:pt x="56957" y="726507"/>
                    </a:lnTo>
                    <a:lnTo>
                      <a:pt x="58720" y="723862"/>
                    </a:lnTo>
                    <a:lnTo>
                      <a:pt x="57574" y="723598"/>
                    </a:lnTo>
                    <a:lnTo>
                      <a:pt x="54400" y="724215"/>
                    </a:lnTo>
                    <a:lnTo>
                      <a:pt x="55546" y="719807"/>
                    </a:lnTo>
                    <a:lnTo>
                      <a:pt x="50609" y="720953"/>
                    </a:lnTo>
                    <a:lnTo>
                      <a:pt x="48845" y="719454"/>
                    </a:lnTo>
                    <a:lnTo>
                      <a:pt x="46553" y="720953"/>
                    </a:lnTo>
                    <a:lnTo>
                      <a:pt x="46553" y="719454"/>
                    </a:lnTo>
                    <a:lnTo>
                      <a:pt x="49462" y="715398"/>
                    </a:lnTo>
                    <a:lnTo>
                      <a:pt x="52107" y="714252"/>
                    </a:lnTo>
                    <a:lnTo>
                      <a:pt x="52107" y="713370"/>
                    </a:lnTo>
                    <a:lnTo>
                      <a:pt x="50609" y="712753"/>
                    </a:lnTo>
                    <a:lnTo>
                      <a:pt x="52107" y="708962"/>
                    </a:lnTo>
                    <a:lnTo>
                      <a:pt x="50344" y="708080"/>
                    </a:lnTo>
                    <a:lnTo>
                      <a:pt x="45054" y="709227"/>
                    </a:lnTo>
                    <a:lnTo>
                      <a:pt x="42409" y="708962"/>
                    </a:lnTo>
                    <a:lnTo>
                      <a:pt x="41792" y="706670"/>
                    </a:lnTo>
                    <a:lnTo>
                      <a:pt x="44437" y="705171"/>
                    </a:lnTo>
                    <a:lnTo>
                      <a:pt x="45054" y="703672"/>
                    </a:lnTo>
                    <a:lnTo>
                      <a:pt x="44437" y="703407"/>
                    </a:lnTo>
                    <a:lnTo>
                      <a:pt x="39764" y="705171"/>
                    </a:lnTo>
                    <a:lnTo>
                      <a:pt x="40028" y="702526"/>
                    </a:lnTo>
                    <a:lnTo>
                      <a:pt x="37383" y="701909"/>
                    </a:lnTo>
                    <a:lnTo>
                      <a:pt x="32975" y="703319"/>
                    </a:lnTo>
                    <a:lnTo>
                      <a:pt x="32358" y="702438"/>
                    </a:lnTo>
                    <a:lnTo>
                      <a:pt x="36149" y="700145"/>
                    </a:lnTo>
                    <a:lnTo>
                      <a:pt x="36149" y="698382"/>
                    </a:lnTo>
                    <a:lnTo>
                      <a:pt x="34386" y="697236"/>
                    </a:lnTo>
                    <a:lnTo>
                      <a:pt x="36678" y="695208"/>
                    </a:lnTo>
                    <a:lnTo>
                      <a:pt x="38441" y="694326"/>
                    </a:lnTo>
                    <a:lnTo>
                      <a:pt x="38441" y="693709"/>
                    </a:lnTo>
                    <a:lnTo>
                      <a:pt x="34650" y="694591"/>
                    </a:lnTo>
                    <a:lnTo>
                      <a:pt x="33239" y="690535"/>
                    </a:lnTo>
                    <a:lnTo>
                      <a:pt x="35885" y="688242"/>
                    </a:lnTo>
                    <a:lnTo>
                      <a:pt x="33857" y="687096"/>
                    </a:lnTo>
                    <a:lnTo>
                      <a:pt x="35885" y="685950"/>
                    </a:lnTo>
                    <a:lnTo>
                      <a:pt x="39411" y="684804"/>
                    </a:lnTo>
                    <a:lnTo>
                      <a:pt x="43467" y="684804"/>
                    </a:lnTo>
                    <a:lnTo>
                      <a:pt x="50785" y="686567"/>
                    </a:lnTo>
                    <a:lnTo>
                      <a:pt x="55458" y="691240"/>
                    </a:lnTo>
                    <a:lnTo>
                      <a:pt x="62159" y="693003"/>
                    </a:lnTo>
                    <a:lnTo>
                      <a:pt x="63305" y="693885"/>
                    </a:lnTo>
                    <a:lnTo>
                      <a:pt x="72034" y="694502"/>
                    </a:lnTo>
                    <a:lnTo>
                      <a:pt x="74414" y="696530"/>
                    </a:lnTo>
                    <a:lnTo>
                      <a:pt x="81732" y="697412"/>
                    </a:lnTo>
                    <a:lnTo>
                      <a:pt x="82349" y="699440"/>
                    </a:lnTo>
                    <a:lnTo>
                      <a:pt x="80939" y="702349"/>
                    </a:lnTo>
                    <a:lnTo>
                      <a:pt x="81203" y="708433"/>
                    </a:lnTo>
                    <a:lnTo>
                      <a:pt x="82966" y="713106"/>
                    </a:lnTo>
                    <a:lnTo>
                      <a:pt x="80939" y="714252"/>
                    </a:lnTo>
                    <a:lnTo>
                      <a:pt x="81203" y="718308"/>
                    </a:lnTo>
                    <a:lnTo>
                      <a:pt x="92841" y="724480"/>
                    </a:lnTo>
                    <a:lnTo>
                      <a:pt x="93723" y="727654"/>
                    </a:lnTo>
                    <a:lnTo>
                      <a:pt x="93106" y="731445"/>
                    </a:lnTo>
                    <a:lnTo>
                      <a:pt x="93723" y="733737"/>
                    </a:lnTo>
                    <a:lnTo>
                      <a:pt x="91960" y="737000"/>
                    </a:lnTo>
                    <a:lnTo>
                      <a:pt x="92224" y="738498"/>
                    </a:lnTo>
                    <a:lnTo>
                      <a:pt x="93988" y="737352"/>
                    </a:lnTo>
                    <a:lnTo>
                      <a:pt x="93723" y="737088"/>
                    </a:lnTo>
                    <a:lnTo>
                      <a:pt x="93106" y="737088"/>
                    </a:lnTo>
                    <a:lnTo>
                      <a:pt x="93723" y="736206"/>
                    </a:lnTo>
                    <a:lnTo>
                      <a:pt x="94869" y="735942"/>
                    </a:lnTo>
                    <a:lnTo>
                      <a:pt x="94869" y="736559"/>
                    </a:lnTo>
                    <a:lnTo>
                      <a:pt x="94869" y="737440"/>
                    </a:lnTo>
                    <a:lnTo>
                      <a:pt x="93988" y="738058"/>
                    </a:lnTo>
                    <a:lnTo>
                      <a:pt x="93988" y="739204"/>
                    </a:lnTo>
                    <a:lnTo>
                      <a:pt x="94605" y="739204"/>
                    </a:lnTo>
                    <a:lnTo>
                      <a:pt x="93723" y="741232"/>
                    </a:lnTo>
                    <a:lnTo>
                      <a:pt x="94340" y="742113"/>
                    </a:lnTo>
                    <a:lnTo>
                      <a:pt x="95222" y="742995"/>
                    </a:lnTo>
                    <a:lnTo>
                      <a:pt x="93458" y="743877"/>
                    </a:lnTo>
                    <a:lnTo>
                      <a:pt x="93458" y="744141"/>
                    </a:lnTo>
                    <a:lnTo>
                      <a:pt x="91960" y="744758"/>
                    </a:lnTo>
                    <a:lnTo>
                      <a:pt x="90461" y="744141"/>
                    </a:lnTo>
                    <a:lnTo>
                      <a:pt x="89579" y="744494"/>
                    </a:lnTo>
                    <a:lnTo>
                      <a:pt x="87199" y="746169"/>
                    </a:lnTo>
                    <a:close/>
                    <a:moveTo>
                      <a:pt x="1282850" y="763979"/>
                    </a:moveTo>
                    <a:lnTo>
                      <a:pt x="1273239" y="769534"/>
                    </a:lnTo>
                    <a:lnTo>
                      <a:pt x="1282850" y="763979"/>
                    </a:lnTo>
                    <a:lnTo>
                      <a:pt x="1285760" y="763715"/>
                    </a:lnTo>
                    <a:lnTo>
                      <a:pt x="1282850" y="763979"/>
                    </a:lnTo>
                    <a:close/>
                    <a:moveTo>
                      <a:pt x="1285495" y="764508"/>
                    </a:moveTo>
                    <a:lnTo>
                      <a:pt x="1282233" y="766007"/>
                    </a:lnTo>
                    <a:lnTo>
                      <a:pt x="1285760" y="764244"/>
                    </a:lnTo>
                    <a:lnTo>
                      <a:pt x="1285495" y="764508"/>
                    </a:lnTo>
                    <a:close/>
                    <a:moveTo>
                      <a:pt x="1274650" y="773237"/>
                    </a:moveTo>
                    <a:lnTo>
                      <a:pt x="1271741" y="774118"/>
                    </a:lnTo>
                    <a:lnTo>
                      <a:pt x="1270595" y="774118"/>
                    </a:lnTo>
                    <a:lnTo>
                      <a:pt x="1270330" y="773237"/>
                    </a:lnTo>
                    <a:lnTo>
                      <a:pt x="1270595" y="774118"/>
                    </a:lnTo>
                    <a:lnTo>
                      <a:pt x="1271741" y="774118"/>
                    </a:lnTo>
                    <a:lnTo>
                      <a:pt x="1274650" y="773237"/>
                    </a:lnTo>
                    <a:close/>
                    <a:moveTo>
                      <a:pt x="1094963" y="781172"/>
                    </a:moveTo>
                    <a:lnTo>
                      <a:pt x="1090026" y="782671"/>
                    </a:lnTo>
                    <a:lnTo>
                      <a:pt x="1095580" y="779144"/>
                    </a:lnTo>
                    <a:lnTo>
                      <a:pt x="1098225" y="778880"/>
                    </a:lnTo>
                    <a:lnTo>
                      <a:pt x="1094963" y="781172"/>
                    </a:lnTo>
                    <a:close/>
                    <a:moveTo>
                      <a:pt x="832486" y="800128"/>
                    </a:moveTo>
                    <a:lnTo>
                      <a:pt x="831604" y="800393"/>
                    </a:lnTo>
                    <a:lnTo>
                      <a:pt x="830722" y="800128"/>
                    </a:lnTo>
                    <a:lnTo>
                      <a:pt x="829841" y="798982"/>
                    </a:lnTo>
                    <a:lnTo>
                      <a:pt x="829576" y="797836"/>
                    </a:lnTo>
                    <a:lnTo>
                      <a:pt x="830194" y="796072"/>
                    </a:lnTo>
                    <a:lnTo>
                      <a:pt x="830811" y="796690"/>
                    </a:lnTo>
                    <a:lnTo>
                      <a:pt x="834337" y="796954"/>
                    </a:lnTo>
                    <a:lnTo>
                      <a:pt x="834866" y="798982"/>
                    </a:lnTo>
                    <a:lnTo>
                      <a:pt x="832838" y="799599"/>
                    </a:lnTo>
                    <a:lnTo>
                      <a:pt x="832486" y="800128"/>
                    </a:lnTo>
                    <a:close/>
                    <a:moveTo>
                      <a:pt x="874189" y="808592"/>
                    </a:moveTo>
                    <a:lnTo>
                      <a:pt x="870663" y="813001"/>
                    </a:lnTo>
                    <a:lnTo>
                      <a:pt x="866871" y="815029"/>
                    </a:lnTo>
                    <a:lnTo>
                      <a:pt x="863080" y="813001"/>
                    </a:lnTo>
                    <a:lnTo>
                      <a:pt x="859024" y="812384"/>
                    </a:lnTo>
                    <a:lnTo>
                      <a:pt x="857878" y="810620"/>
                    </a:lnTo>
                    <a:lnTo>
                      <a:pt x="852059" y="809474"/>
                    </a:lnTo>
                    <a:lnTo>
                      <a:pt x="850913" y="808328"/>
                    </a:lnTo>
                    <a:lnTo>
                      <a:pt x="843331" y="806564"/>
                    </a:lnTo>
                    <a:lnTo>
                      <a:pt x="843948" y="805066"/>
                    </a:lnTo>
                    <a:lnTo>
                      <a:pt x="844565" y="804448"/>
                    </a:lnTo>
                    <a:lnTo>
                      <a:pt x="848092" y="804713"/>
                    </a:lnTo>
                    <a:lnTo>
                      <a:pt x="850737" y="804096"/>
                    </a:lnTo>
                    <a:lnTo>
                      <a:pt x="852500" y="803214"/>
                    </a:lnTo>
                    <a:lnTo>
                      <a:pt x="852236" y="803478"/>
                    </a:lnTo>
                    <a:lnTo>
                      <a:pt x="851089" y="805242"/>
                    </a:lnTo>
                    <a:lnTo>
                      <a:pt x="855762" y="807622"/>
                    </a:lnTo>
                    <a:lnTo>
                      <a:pt x="856379" y="807358"/>
                    </a:lnTo>
                    <a:lnTo>
                      <a:pt x="856115" y="805859"/>
                    </a:lnTo>
                    <a:lnTo>
                      <a:pt x="859024" y="805595"/>
                    </a:lnTo>
                    <a:lnTo>
                      <a:pt x="862199" y="803831"/>
                    </a:lnTo>
                    <a:lnTo>
                      <a:pt x="864227" y="806476"/>
                    </a:lnTo>
                    <a:lnTo>
                      <a:pt x="867489" y="804184"/>
                    </a:lnTo>
                    <a:lnTo>
                      <a:pt x="869252" y="803567"/>
                    </a:lnTo>
                    <a:lnTo>
                      <a:pt x="870398" y="804184"/>
                    </a:lnTo>
                    <a:lnTo>
                      <a:pt x="869517" y="805947"/>
                    </a:lnTo>
                    <a:lnTo>
                      <a:pt x="870134" y="807975"/>
                    </a:lnTo>
                    <a:lnTo>
                      <a:pt x="870398" y="808857"/>
                    </a:lnTo>
                    <a:lnTo>
                      <a:pt x="873043" y="805947"/>
                    </a:lnTo>
                    <a:lnTo>
                      <a:pt x="874454" y="805683"/>
                    </a:lnTo>
                    <a:lnTo>
                      <a:pt x="872426" y="807975"/>
                    </a:lnTo>
                    <a:lnTo>
                      <a:pt x="874807" y="807975"/>
                    </a:lnTo>
                    <a:lnTo>
                      <a:pt x="874189" y="808592"/>
                    </a:lnTo>
                    <a:close/>
                    <a:moveTo>
                      <a:pt x="1023811" y="817585"/>
                    </a:moveTo>
                    <a:lnTo>
                      <a:pt x="1023547" y="818467"/>
                    </a:lnTo>
                    <a:lnTo>
                      <a:pt x="1021783" y="818203"/>
                    </a:lnTo>
                    <a:lnTo>
                      <a:pt x="1021166" y="817321"/>
                    </a:lnTo>
                    <a:lnTo>
                      <a:pt x="1022665" y="817056"/>
                    </a:lnTo>
                    <a:lnTo>
                      <a:pt x="1022048" y="816792"/>
                    </a:lnTo>
                    <a:lnTo>
                      <a:pt x="1022048" y="816527"/>
                    </a:lnTo>
                    <a:lnTo>
                      <a:pt x="1023194" y="815646"/>
                    </a:lnTo>
                    <a:lnTo>
                      <a:pt x="1026104" y="815646"/>
                    </a:lnTo>
                    <a:lnTo>
                      <a:pt x="1028749" y="814764"/>
                    </a:lnTo>
                    <a:lnTo>
                      <a:pt x="1029630" y="813265"/>
                    </a:lnTo>
                    <a:lnTo>
                      <a:pt x="1032540" y="810973"/>
                    </a:lnTo>
                    <a:lnTo>
                      <a:pt x="1033686" y="810708"/>
                    </a:lnTo>
                    <a:lnTo>
                      <a:pt x="1033157" y="812207"/>
                    </a:lnTo>
                    <a:lnTo>
                      <a:pt x="1032011" y="813706"/>
                    </a:lnTo>
                    <a:lnTo>
                      <a:pt x="1031129" y="814852"/>
                    </a:lnTo>
                    <a:lnTo>
                      <a:pt x="1030865" y="815998"/>
                    </a:lnTo>
                    <a:lnTo>
                      <a:pt x="1029718" y="816527"/>
                    </a:lnTo>
                    <a:lnTo>
                      <a:pt x="1028837" y="818026"/>
                    </a:lnTo>
                    <a:lnTo>
                      <a:pt x="1027955" y="818026"/>
                    </a:lnTo>
                    <a:lnTo>
                      <a:pt x="1027338" y="817497"/>
                    </a:lnTo>
                    <a:lnTo>
                      <a:pt x="1025310" y="817233"/>
                    </a:lnTo>
                    <a:lnTo>
                      <a:pt x="1024428" y="817497"/>
                    </a:lnTo>
                    <a:lnTo>
                      <a:pt x="1024076" y="817585"/>
                    </a:lnTo>
                    <a:lnTo>
                      <a:pt x="1023811" y="817585"/>
                    </a:lnTo>
                    <a:close/>
                    <a:moveTo>
                      <a:pt x="1280469" y="814059"/>
                    </a:moveTo>
                    <a:lnTo>
                      <a:pt x="1279852" y="814323"/>
                    </a:lnTo>
                    <a:lnTo>
                      <a:pt x="1278706" y="813177"/>
                    </a:lnTo>
                    <a:lnTo>
                      <a:pt x="1274650" y="812913"/>
                    </a:lnTo>
                    <a:lnTo>
                      <a:pt x="1271741" y="814059"/>
                    </a:lnTo>
                    <a:lnTo>
                      <a:pt x="1271476" y="813442"/>
                    </a:lnTo>
                    <a:lnTo>
                      <a:pt x="1269977" y="813706"/>
                    </a:lnTo>
                    <a:lnTo>
                      <a:pt x="1268831" y="814323"/>
                    </a:lnTo>
                    <a:lnTo>
                      <a:pt x="1268214" y="813706"/>
                    </a:lnTo>
                    <a:lnTo>
                      <a:pt x="1267949" y="812824"/>
                    </a:lnTo>
                    <a:lnTo>
                      <a:pt x="1267068" y="811943"/>
                    </a:lnTo>
                    <a:lnTo>
                      <a:pt x="1266451" y="810179"/>
                    </a:lnTo>
                    <a:lnTo>
                      <a:pt x="1266715" y="807270"/>
                    </a:lnTo>
                    <a:lnTo>
                      <a:pt x="1267068" y="806388"/>
                    </a:lnTo>
                    <a:lnTo>
                      <a:pt x="1266451" y="805506"/>
                    </a:lnTo>
                    <a:lnTo>
                      <a:pt x="1266715" y="802861"/>
                    </a:lnTo>
                    <a:lnTo>
                      <a:pt x="1268743" y="801715"/>
                    </a:lnTo>
                    <a:lnTo>
                      <a:pt x="1270242" y="799687"/>
                    </a:lnTo>
                    <a:lnTo>
                      <a:pt x="1274033" y="796778"/>
                    </a:lnTo>
                    <a:lnTo>
                      <a:pt x="1275796" y="795279"/>
                    </a:lnTo>
                    <a:lnTo>
                      <a:pt x="1278441" y="792987"/>
                    </a:lnTo>
                    <a:lnTo>
                      <a:pt x="1282233" y="788049"/>
                    </a:lnTo>
                    <a:lnTo>
                      <a:pt x="1285142" y="784875"/>
                    </a:lnTo>
                    <a:lnTo>
                      <a:pt x="1286553" y="783376"/>
                    </a:lnTo>
                    <a:lnTo>
                      <a:pt x="1290344" y="781348"/>
                    </a:lnTo>
                    <a:lnTo>
                      <a:pt x="1292108" y="779056"/>
                    </a:lnTo>
                    <a:lnTo>
                      <a:pt x="1292989" y="778439"/>
                    </a:lnTo>
                    <a:lnTo>
                      <a:pt x="1293606" y="778174"/>
                    </a:lnTo>
                    <a:lnTo>
                      <a:pt x="1295370" y="779056"/>
                    </a:lnTo>
                    <a:lnTo>
                      <a:pt x="1296869" y="778791"/>
                    </a:lnTo>
                    <a:lnTo>
                      <a:pt x="1296516" y="779056"/>
                    </a:lnTo>
                    <a:lnTo>
                      <a:pt x="1295370" y="781084"/>
                    </a:lnTo>
                    <a:lnTo>
                      <a:pt x="1295634" y="782230"/>
                    </a:lnTo>
                    <a:lnTo>
                      <a:pt x="1297133" y="783112"/>
                    </a:lnTo>
                    <a:lnTo>
                      <a:pt x="1295987" y="786286"/>
                    </a:lnTo>
                    <a:lnTo>
                      <a:pt x="1295105" y="787784"/>
                    </a:lnTo>
                    <a:lnTo>
                      <a:pt x="1295370" y="788666"/>
                    </a:lnTo>
                    <a:lnTo>
                      <a:pt x="1294488" y="790077"/>
                    </a:lnTo>
                    <a:lnTo>
                      <a:pt x="1288933" y="795631"/>
                    </a:lnTo>
                    <a:lnTo>
                      <a:pt x="1288669" y="796513"/>
                    </a:lnTo>
                    <a:lnTo>
                      <a:pt x="1289551" y="796513"/>
                    </a:lnTo>
                    <a:lnTo>
                      <a:pt x="1291050" y="795631"/>
                    </a:lnTo>
                    <a:lnTo>
                      <a:pt x="1291931" y="795896"/>
                    </a:lnTo>
                    <a:lnTo>
                      <a:pt x="1292813" y="795631"/>
                    </a:lnTo>
                    <a:lnTo>
                      <a:pt x="1293959" y="795631"/>
                    </a:lnTo>
                    <a:lnTo>
                      <a:pt x="1294224" y="796513"/>
                    </a:lnTo>
                    <a:lnTo>
                      <a:pt x="1294224" y="796778"/>
                    </a:lnTo>
                    <a:lnTo>
                      <a:pt x="1295105" y="797395"/>
                    </a:lnTo>
                    <a:lnTo>
                      <a:pt x="1293342" y="799423"/>
                    </a:lnTo>
                    <a:lnTo>
                      <a:pt x="1293959" y="799687"/>
                    </a:lnTo>
                    <a:lnTo>
                      <a:pt x="1294576" y="799423"/>
                    </a:lnTo>
                    <a:lnTo>
                      <a:pt x="1294841" y="798277"/>
                    </a:lnTo>
                    <a:lnTo>
                      <a:pt x="1296340" y="797395"/>
                    </a:lnTo>
                    <a:lnTo>
                      <a:pt x="1297221" y="797130"/>
                    </a:lnTo>
                    <a:lnTo>
                      <a:pt x="1302159" y="799511"/>
                    </a:lnTo>
                    <a:lnTo>
                      <a:pt x="1301542" y="801010"/>
                    </a:lnTo>
                    <a:lnTo>
                      <a:pt x="1298897" y="802773"/>
                    </a:lnTo>
                    <a:lnTo>
                      <a:pt x="1298544" y="802773"/>
                    </a:lnTo>
                    <a:lnTo>
                      <a:pt x="1298279" y="803038"/>
                    </a:lnTo>
                    <a:lnTo>
                      <a:pt x="1300043" y="803919"/>
                    </a:lnTo>
                    <a:lnTo>
                      <a:pt x="1300924" y="805066"/>
                    </a:lnTo>
                    <a:lnTo>
                      <a:pt x="1300307" y="805330"/>
                    </a:lnTo>
                    <a:lnTo>
                      <a:pt x="1298897" y="805330"/>
                    </a:lnTo>
                    <a:lnTo>
                      <a:pt x="1295987" y="806829"/>
                    </a:lnTo>
                    <a:lnTo>
                      <a:pt x="1293606" y="806829"/>
                    </a:lnTo>
                    <a:lnTo>
                      <a:pt x="1292989" y="807446"/>
                    </a:lnTo>
                    <a:lnTo>
                      <a:pt x="1294135" y="807975"/>
                    </a:lnTo>
                    <a:lnTo>
                      <a:pt x="1294135" y="808857"/>
                    </a:lnTo>
                    <a:lnTo>
                      <a:pt x="1293518" y="809121"/>
                    </a:lnTo>
                    <a:lnTo>
                      <a:pt x="1291490" y="809386"/>
                    </a:lnTo>
                    <a:lnTo>
                      <a:pt x="1289991" y="810885"/>
                    </a:lnTo>
                    <a:lnTo>
                      <a:pt x="1286465" y="812031"/>
                    </a:lnTo>
                    <a:lnTo>
                      <a:pt x="1281792" y="813177"/>
                    </a:lnTo>
                    <a:lnTo>
                      <a:pt x="1280469" y="814059"/>
                    </a:lnTo>
                    <a:close/>
                    <a:moveTo>
                      <a:pt x="1023194" y="817056"/>
                    </a:moveTo>
                    <a:lnTo>
                      <a:pt x="1022930" y="816439"/>
                    </a:lnTo>
                    <a:lnTo>
                      <a:pt x="1023811" y="816175"/>
                    </a:lnTo>
                    <a:lnTo>
                      <a:pt x="1023194" y="817056"/>
                    </a:lnTo>
                    <a:close/>
                    <a:moveTo>
                      <a:pt x="1152713" y="836277"/>
                    </a:moveTo>
                    <a:lnTo>
                      <a:pt x="1152096" y="836894"/>
                    </a:lnTo>
                    <a:lnTo>
                      <a:pt x="1151832" y="836894"/>
                    </a:lnTo>
                    <a:lnTo>
                      <a:pt x="1151567" y="836630"/>
                    </a:lnTo>
                    <a:lnTo>
                      <a:pt x="1152713" y="835484"/>
                    </a:lnTo>
                    <a:lnTo>
                      <a:pt x="1153860" y="833456"/>
                    </a:lnTo>
                    <a:lnTo>
                      <a:pt x="1154477" y="832574"/>
                    </a:lnTo>
                    <a:lnTo>
                      <a:pt x="1155358" y="832045"/>
                    </a:lnTo>
                    <a:lnTo>
                      <a:pt x="1155976" y="832045"/>
                    </a:lnTo>
                    <a:lnTo>
                      <a:pt x="1156240" y="832574"/>
                    </a:lnTo>
                    <a:lnTo>
                      <a:pt x="1155358" y="834602"/>
                    </a:lnTo>
                    <a:lnTo>
                      <a:pt x="1155358" y="835219"/>
                    </a:lnTo>
                    <a:lnTo>
                      <a:pt x="1152978" y="836101"/>
                    </a:lnTo>
                    <a:lnTo>
                      <a:pt x="1152713" y="836277"/>
                    </a:lnTo>
                    <a:close/>
                    <a:moveTo>
                      <a:pt x="1174579" y="864579"/>
                    </a:moveTo>
                    <a:lnTo>
                      <a:pt x="1173697" y="864844"/>
                    </a:lnTo>
                    <a:lnTo>
                      <a:pt x="1173080" y="864844"/>
                    </a:lnTo>
                    <a:lnTo>
                      <a:pt x="1172463" y="863697"/>
                    </a:lnTo>
                    <a:lnTo>
                      <a:pt x="1171317" y="863433"/>
                    </a:lnTo>
                    <a:lnTo>
                      <a:pt x="1169554" y="864579"/>
                    </a:lnTo>
                    <a:lnTo>
                      <a:pt x="1168672" y="864579"/>
                    </a:lnTo>
                    <a:lnTo>
                      <a:pt x="1167790" y="862816"/>
                    </a:lnTo>
                    <a:lnTo>
                      <a:pt x="1166291" y="863962"/>
                    </a:lnTo>
                    <a:lnTo>
                      <a:pt x="1164528" y="864226"/>
                    </a:lnTo>
                    <a:lnTo>
                      <a:pt x="1163999" y="863345"/>
                    </a:lnTo>
                    <a:lnTo>
                      <a:pt x="1163734" y="861052"/>
                    </a:lnTo>
                    <a:lnTo>
                      <a:pt x="1162853" y="860171"/>
                    </a:lnTo>
                    <a:lnTo>
                      <a:pt x="1161971" y="859906"/>
                    </a:lnTo>
                    <a:lnTo>
                      <a:pt x="1158444" y="859025"/>
                    </a:lnTo>
                    <a:lnTo>
                      <a:pt x="1158180" y="857878"/>
                    </a:lnTo>
                    <a:lnTo>
                      <a:pt x="1158180" y="856379"/>
                    </a:lnTo>
                    <a:lnTo>
                      <a:pt x="1158180" y="855498"/>
                    </a:lnTo>
                    <a:lnTo>
                      <a:pt x="1158444" y="854616"/>
                    </a:lnTo>
                    <a:lnTo>
                      <a:pt x="1159591" y="852853"/>
                    </a:lnTo>
                    <a:lnTo>
                      <a:pt x="1161001" y="852236"/>
                    </a:lnTo>
                    <a:lnTo>
                      <a:pt x="1161354" y="849943"/>
                    </a:lnTo>
                    <a:lnTo>
                      <a:pt x="1161354" y="850208"/>
                    </a:lnTo>
                    <a:lnTo>
                      <a:pt x="1160472" y="848709"/>
                    </a:lnTo>
                    <a:lnTo>
                      <a:pt x="1159855" y="848092"/>
                    </a:lnTo>
                    <a:lnTo>
                      <a:pt x="1159238" y="847210"/>
                    </a:lnTo>
                    <a:lnTo>
                      <a:pt x="1157827" y="846064"/>
                    </a:lnTo>
                    <a:lnTo>
                      <a:pt x="1158092" y="845182"/>
                    </a:lnTo>
                    <a:lnTo>
                      <a:pt x="1159238" y="844300"/>
                    </a:lnTo>
                    <a:lnTo>
                      <a:pt x="1158973" y="844653"/>
                    </a:lnTo>
                    <a:lnTo>
                      <a:pt x="1160737" y="843507"/>
                    </a:lnTo>
                    <a:lnTo>
                      <a:pt x="1161001" y="841744"/>
                    </a:lnTo>
                    <a:lnTo>
                      <a:pt x="1162765" y="842890"/>
                    </a:lnTo>
                    <a:lnTo>
                      <a:pt x="1164528" y="842273"/>
                    </a:lnTo>
                    <a:lnTo>
                      <a:pt x="1171581" y="839628"/>
                    </a:lnTo>
                    <a:lnTo>
                      <a:pt x="1173874" y="838481"/>
                    </a:lnTo>
                    <a:lnTo>
                      <a:pt x="1174138" y="838217"/>
                    </a:lnTo>
                    <a:lnTo>
                      <a:pt x="1173874" y="838217"/>
                    </a:lnTo>
                    <a:lnTo>
                      <a:pt x="1172992" y="837952"/>
                    </a:lnTo>
                    <a:lnTo>
                      <a:pt x="1171846" y="838217"/>
                    </a:lnTo>
                    <a:lnTo>
                      <a:pt x="1168672" y="838834"/>
                    </a:lnTo>
                    <a:lnTo>
                      <a:pt x="1166379" y="840597"/>
                    </a:lnTo>
                    <a:lnTo>
                      <a:pt x="1167261" y="838570"/>
                    </a:lnTo>
                    <a:lnTo>
                      <a:pt x="1171934" y="837688"/>
                    </a:lnTo>
                    <a:lnTo>
                      <a:pt x="1173433" y="836806"/>
                    </a:lnTo>
                    <a:lnTo>
                      <a:pt x="1176343" y="835395"/>
                    </a:lnTo>
                    <a:lnTo>
                      <a:pt x="1176607" y="835395"/>
                    </a:lnTo>
                    <a:lnTo>
                      <a:pt x="1176607" y="836277"/>
                    </a:lnTo>
                    <a:lnTo>
                      <a:pt x="1177224" y="836542"/>
                    </a:lnTo>
                    <a:lnTo>
                      <a:pt x="1177489" y="837159"/>
                    </a:lnTo>
                    <a:lnTo>
                      <a:pt x="1178106" y="837159"/>
                    </a:lnTo>
                    <a:lnTo>
                      <a:pt x="1182426" y="834867"/>
                    </a:lnTo>
                    <a:lnTo>
                      <a:pt x="1181809" y="834249"/>
                    </a:lnTo>
                    <a:lnTo>
                      <a:pt x="1178899" y="835395"/>
                    </a:lnTo>
                    <a:lnTo>
                      <a:pt x="1178018" y="835395"/>
                    </a:lnTo>
                    <a:lnTo>
                      <a:pt x="1178018" y="835131"/>
                    </a:lnTo>
                    <a:lnTo>
                      <a:pt x="1178018" y="834867"/>
                    </a:lnTo>
                    <a:lnTo>
                      <a:pt x="1182955" y="832221"/>
                    </a:lnTo>
                    <a:lnTo>
                      <a:pt x="1185336" y="830723"/>
                    </a:lnTo>
                    <a:lnTo>
                      <a:pt x="1192654" y="827196"/>
                    </a:lnTo>
                    <a:lnTo>
                      <a:pt x="1196180" y="824903"/>
                    </a:lnTo>
                    <a:lnTo>
                      <a:pt x="1199090" y="823405"/>
                    </a:lnTo>
                    <a:lnTo>
                      <a:pt x="1206408" y="821906"/>
                    </a:lnTo>
                    <a:lnTo>
                      <a:pt x="1208171" y="820760"/>
                    </a:lnTo>
                    <a:lnTo>
                      <a:pt x="1208436" y="820142"/>
                    </a:lnTo>
                    <a:lnTo>
                      <a:pt x="1208171" y="819525"/>
                    </a:lnTo>
                    <a:lnTo>
                      <a:pt x="1208436" y="819261"/>
                    </a:lnTo>
                    <a:lnTo>
                      <a:pt x="1209935" y="819525"/>
                    </a:lnTo>
                    <a:lnTo>
                      <a:pt x="1210552" y="819790"/>
                    </a:lnTo>
                    <a:lnTo>
                      <a:pt x="1210287" y="820407"/>
                    </a:lnTo>
                    <a:lnTo>
                      <a:pt x="1208524" y="822787"/>
                    </a:lnTo>
                    <a:lnTo>
                      <a:pt x="1208524" y="823316"/>
                    </a:lnTo>
                    <a:lnTo>
                      <a:pt x="1209406" y="824198"/>
                    </a:lnTo>
                    <a:lnTo>
                      <a:pt x="1210552" y="824815"/>
                    </a:lnTo>
                    <a:lnTo>
                      <a:pt x="1211434" y="824815"/>
                    </a:lnTo>
                    <a:lnTo>
                      <a:pt x="1212580" y="822787"/>
                    </a:lnTo>
                    <a:lnTo>
                      <a:pt x="1214343" y="821906"/>
                    </a:lnTo>
                    <a:lnTo>
                      <a:pt x="1216635" y="821377"/>
                    </a:lnTo>
                    <a:lnTo>
                      <a:pt x="1223072" y="819349"/>
                    </a:lnTo>
                    <a:lnTo>
                      <a:pt x="1225452" y="819613"/>
                    </a:lnTo>
                    <a:lnTo>
                      <a:pt x="1226334" y="819349"/>
                    </a:lnTo>
                    <a:lnTo>
                      <a:pt x="1227480" y="819349"/>
                    </a:lnTo>
                    <a:lnTo>
                      <a:pt x="1228362" y="818732"/>
                    </a:lnTo>
                    <a:lnTo>
                      <a:pt x="1228362" y="818467"/>
                    </a:lnTo>
                    <a:lnTo>
                      <a:pt x="1222190" y="817585"/>
                    </a:lnTo>
                    <a:lnTo>
                      <a:pt x="1219280" y="818114"/>
                    </a:lnTo>
                    <a:lnTo>
                      <a:pt x="1217253" y="817233"/>
                    </a:lnTo>
                    <a:lnTo>
                      <a:pt x="1214343" y="817233"/>
                    </a:lnTo>
                    <a:lnTo>
                      <a:pt x="1212844" y="817497"/>
                    </a:lnTo>
                    <a:lnTo>
                      <a:pt x="1211081" y="818026"/>
                    </a:lnTo>
                    <a:lnTo>
                      <a:pt x="1208788" y="818026"/>
                    </a:lnTo>
                    <a:lnTo>
                      <a:pt x="1207907" y="817497"/>
                    </a:lnTo>
                    <a:lnTo>
                      <a:pt x="1205614" y="817497"/>
                    </a:lnTo>
                    <a:lnTo>
                      <a:pt x="1204116" y="818026"/>
                    </a:lnTo>
                    <a:lnTo>
                      <a:pt x="1202352" y="819790"/>
                    </a:lnTo>
                    <a:lnTo>
                      <a:pt x="1201206" y="819525"/>
                    </a:lnTo>
                    <a:lnTo>
                      <a:pt x="1201559" y="818643"/>
                    </a:lnTo>
                    <a:lnTo>
                      <a:pt x="1200060" y="818643"/>
                    </a:lnTo>
                    <a:lnTo>
                      <a:pt x="1198914" y="818908"/>
                    </a:lnTo>
                    <a:lnTo>
                      <a:pt x="1198297" y="818643"/>
                    </a:lnTo>
                    <a:lnTo>
                      <a:pt x="1200060" y="816880"/>
                    </a:lnTo>
                    <a:lnTo>
                      <a:pt x="1202705" y="815117"/>
                    </a:lnTo>
                    <a:lnTo>
                      <a:pt x="1202705" y="814852"/>
                    </a:lnTo>
                    <a:lnTo>
                      <a:pt x="1204204" y="814588"/>
                    </a:lnTo>
                    <a:lnTo>
                      <a:pt x="1206849" y="812824"/>
                    </a:lnTo>
                    <a:lnTo>
                      <a:pt x="1210376" y="810796"/>
                    </a:lnTo>
                    <a:lnTo>
                      <a:pt x="1211874" y="809298"/>
                    </a:lnTo>
                    <a:lnTo>
                      <a:pt x="1214519" y="807270"/>
                    </a:lnTo>
                    <a:lnTo>
                      <a:pt x="1215666" y="807270"/>
                    </a:lnTo>
                    <a:lnTo>
                      <a:pt x="1215930" y="807005"/>
                    </a:lnTo>
                    <a:lnTo>
                      <a:pt x="1215930" y="806741"/>
                    </a:lnTo>
                    <a:lnTo>
                      <a:pt x="1215930" y="806476"/>
                    </a:lnTo>
                    <a:lnTo>
                      <a:pt x="1215313" y="806476"/>
                    </a:lnTo>
                    <a:lnTo>
                      <a:pt x="1215048" y="806476"/>
                    </a:lnTo>
                    <a:lnTo>
                      <a:pt x="1214784" y="806476"/>
                    </a:lnTo>
                    <a:lnTo>
                      <a:pt x="1210376" y="809650"/>
                    </a:lnTo>
                    <a:lnTo>
                      <a:pt x="1210376" y="809386"/>
                    </a:lnTo>
                    <a:lnTo>
                      <a:pt x="1211257" y="808240"/>
                    </a:lnTo>
                    <a:lnTo>
                      <a:pt x="1211522" y="807711"/>
                    </a:lnTo>
                    <a:lnTo>
                      <a:pt x="1211522" y="807446"/>
                    </a:lnTo>
                    <a:lnTo>
                      <a:pt x="1211257" y="807182"/>
                    </a:lnTo>
                    <a:lnTo>
                      <a:pt x="1211257" y="806917"/>
                    </a:lnTo>
                    <a:lnTo>
                      <a:pt x="1210111" y="807182"/>
                    </a:lnTo>
                    <a:lnTo>
                      <a:pt x="1208348" y="808945"/>
                    </a:lnTo>
                    <a:lnTo>
                      <a:pt x="1208083" y="809827"/>
                    </a:lnTo>
                    <a:lnTo>
                      <a:pt x="1205174" y="812119"/>
                    </a:lnTo>
                    <a:lnTo>
                      <a:pt x="1204909" y="812384"/>
                    </a:lnTo>
                    <a:lnTo>
                      <a:pt x="1202881" y="812384"/>
                    </a:lnTo>
                    <a:lnTo>
                      <a:pt x="1202264" y="812648"/>
                    </a:lnTo>
                    <a:lnTo>
                      <a:pt x="1200765" y="813530"/>
                    </a:lnTo>
                    <a:lnTo>
                      <a:pt x="1199883" y="813794"/>
                    </a:lnTo>
                    <a:lnTo>
                      <a:pt x="1198120" y="814676"/>
                    </a:lnTo>
                    <a:lnTo>
                      <a:pt x="1197503" y="814676"/>
                    </a:lnTo>
                    <a:lnTo>
                      <a:pt x="1196621" y="814676"/>
                    </a:lnTo>
                    <a:lnTo>
                      <a:pt x="1194858" y="815558"/>
                    </a:lnTo>
                    <a:lnTo>
                      <a:pt x="1193712" y="816087"/>
                    </a:lnTo>
                    <a:lnTo>
                      <a:pt x="1193447" y="816087"/>
                    </a:lnTo>
                    <a:lnTo>
                      <a:pt x="1189920" y="817233"/>
                    </a:lnTo>
                    <a:lnTo>
                      <a:pt x="1189303" y="818114"/>
                    </a:lnTo>
                    <a:lnTo>
                      <a:pt x="1187540" y="818732"/>
                    </a:lnTo>
                    <a:lnTo>
                      <a:pt x="1187275" y="819349"/>
                    </a:lnTo>
                    <a:lnTo>
                      <a:pt x="1186658" y="819878"/>
                    </a:lnTo>
                    <a:lnTo>
                      <a:pt x="1184630" y="820495"/>
                    </a:lnTo>
                    <a:lnTo>
                      <a:pt x="1183484" y="820848"/>
                    </a:lnTo>
                    <a:lnTo>
                      <a:pt x="1181985" y="821465"/>
                    </a:lnTo>
                    <a:lnTo>
                      <a:pt x="1181104" y="821729"/>
                    </a:lnTo>
                    <a:lnTo>
                      <a:pt x="1179076" y="822346"/>
                    </a:lnTo>
                    <a:lnTo>
                      <a:pt x="1178194" y="822346"/>
                    </a:lnTo>
                    <a:lnTo>
                      <a:pt x="1177312" y="822346"/>
                    </a:lnTo>
                    <a:lnTo>
                      <a:pt x="1177048" y="822082"/>
                    </a:lnTo>
                    <a:lnTo>
                      <a:pt x="1176783" y="821200"/>
                    </a:lnTo>
                    <a:lnTo>
                      <a:pt x="1176519" y="820936"/>
                    </a:lnTo>
                    <a:lnTo>
                      <a:pt x="1175020" y="822082"/>
                    </a:lnTo>
                    <a:lnTo>
                      <a:pt x="1173874" y="822346"/>
                    </a:lnTo>
                    <a:lnTo>
                      <a:pt x="1173874" y="822611"/>
                    </a:lnTo>
                    <a:lnTo>
                      <a:pt x="1173257" y="823493"/>
                    </a:lnTo>
                    <a:lnTo>
                      <a:pt x="1173257" y="823757"/>
                    </a:lnTo>
                    <a:lnTo>
                      <a:pt x="1171493" y="824374"/>
                    </a:lnTo>
                    <a:lnTo>
                      <a:pt x="1170612" y="824374"/>
                    </a:lnTo>
                    <a:lnTo>
                      <a:pt x="1170083" y="824639"/>
                    </a:lnTo>
                    <a:lnTo>
                      <a:pt x="1169465" y="824639"/>
                    </a:lnTo>
                    <a:lnTo>
                      <a:pt x="1167702" y="825785"/>
                    </a:lnTo>
                    <a:lnTo>
                      <a:pt x="1166556" y="826050"/>
                    </a:lnTo>
                    <a:lnTo>
                      <a:pt x="1166556" y="825521"/>
                    </a:lnTo>
                    <a:lnTo>
                      <a:pt x="1166820" y="824903"/>
                    </a:lnTo>
                    <a:lnTo>
                      <a:pt x="1166820" y="824639"/>
                    </a:lnTo>
                    <a:lnTo>
                      <a:pt x="1165939" y="824374"/>
                    </a:lnTo>
                    <a:lnTo>
                      <a:pt x="1165939" y="824639"/>
                    </a:lnTo>
                    <a:lnTo>
                      <a:pt x="1165057" y="825256"/>
                    </a:lnTo>
                    <a:lnTo>
                      <a:pt x="1164175" y="825256"/>
                    </a:lnTo>
                    <a:lnTo>
                      <a:pt x="1163029" y="825873"/>
                    </a:lnTo>
                    <a:lnTo>
                      <a:pt x="1162412" y="826138"/>
                    </a:lnTo>
                    <a:lnTo>
                      <a:pt x="1161001" y="826402"/>
                    </a:lnTo>
                    <a:lnTo>
                      <a:pt x="1160120" y="826402"/>
                    </a:lnTo>
                    <a:lnTo>
                      <a:pt x="1158973" y="826402"/>
                    </a:lnTo>
                    <a:lnTo>
                      <a:pt x="1158356" y="826402"/>
                    </a:lnTo>
                    <a:lnTo>
                      <a:pt x="1158092" y="826138"/>
                    </a:lnTo>
                    <a:lnTo>
                      <a:pt x="1157827" y="825873"/>
                    </a:lnTo>
                    <a:lnTo>
                      <a:pt x="1158444" y="824727"/>
                    </a:lnTo>
                    <a:lnTo>
                      <a:pt x="1158444" y="824110"/>
                    </a:lnTo>
                    <a:lnTo>
                      <a:pt x="1158180" y="823845"/>
                    </a:lnTo>
                    <a:lnTo>
                      <a:pt x="1157298" y="823845"/>
                    </a:lnTo>
                    <a:lnTo>
                      <a:pt x="1156417" y="824463"/>
                    </a:lnTo>
                    <a:lnTo>
                      <a:pt x="1155535" y="825609"/>
                    </a:lnTo>
                    <a:lnTo>
                      <a:pt x="1155535" y="825873"/>
                    </a:lnTo>
                    <a:lnTo>
                      <a:pt x="1154036" y="824992"/>
                    </a:lnTo>
                    <a:lnTo>
                      <a:pt x="1152008" y="827284"/>
                    </a:lnTo>
                    <a:lnTo>
                      <a:pt x="1152008" y="831692"/>
                    </a:lnTo>
                    <a:lnTo>
                      <a:pt x="1148481" y="822611"/>
                    </a:lnTo>
                    <a:lnTo>
                      <a:pt x="1146453" y="824374"/>
                    </a:lnTo>
                    <a:lnTo>
                      <a:pt x="1144955" y="820583"/>
                    </a:lnTo>
                    <a:lnTo>
                      <a:pt x="1146982" y="818555"/>
                    </a:lnTo>
                    <a:lnTo>
                      <a:pt x="1146365" y="815646"/>
                    </a:lnTo>
                    <a:lnTo>
                      <a:pt x="1148393" y="815029"/>
                    </a:lnTo>
                    <a:lnTo>
                      <a:pt x="1148393" y="813001"/>
                    </a:lnTo>
                    <a:lnTo>
                      <a:pt x="1145219" y="812119"/>
                    </a:lnTo>
                    <a:lnTo>
                      <a:pt x="1145219" y="812384"/>
                    </a:lnTo>
                    <a:lnTo>
                      <a:pt x="1142310" y="810885"/>
                    </a:lnTo>
                    <a:lnTo>
                      <a:pt x="1144955" y="805066"/>
                    </a:lnTo>
                    <a:lnTo>
                      <a:pt x="1154565" y="778262"/>
                    </a:lnTo>
                    <a:lnTo>
                      <a:pt x="1153683" y="776852"/>
                    </a:lnTo>
                    <a:lnTo>
                      <a:pt x="1156593" y="777469"/>
                    </a:lnTo>
                    <a:lnTo>
                      <a:pt x="1150774" y="770504"/>
                    </a:lnTo>
                    <a:lnTo>
                      <a:pt x="1148393" y="770239"/>
                    </a:lnTo>
                    <a:lnTo>
                      <a:pt x="1146894" y="772002"/>
                    </a:lnTo>
                    <a:lnTo>
                      <a:pt x="1143103" y="772267"/>
                    </a:lnTo>
                    <a:lnTo>
                      <a:pt x="1136138" y="774912"/>
                    </a:lnTo>
                    <a:lnTo>
                      <a:pt x="1133493" y="773149"/>
                    </a:lnTo>
                    <a:lnTo>
                      <a:pt x="1135256" y="768740"/>
                    </a:lnTo>
                    <a:lnTo>
                      <a:pt x="1130848" y="769622"/>
                    </a:lnTo>
                    <a:lnTo>
                      <a:pt x="1113655" y="782142"/>
                    </a:lnTo>
                    <a:lnTo>
                      <a:pt x="1106954" y="793516"/>
                    </a:lnTo>
                    <a:lnTo>
                      <a:pt x="1099989" y="799070"/>
                    </a:lnTo>
                    <a:lnTo>
                      <a:pt x="1097961" y="804360"/>
                    </a:lnTo>
                    <a:lnTo>
                      <a:pt x="1098842" y="804977"/>
                    </a:lnTo>
                    <a:lnTo>
                      <a:pt x="1098225" y="806124"/>
                    </a:lnTo>
                    <a:lnTo>
                      <a:pt x="1085705" y="815469"/>
                    </a:lnTo>
                    <a:lnTo>
                      <a:pt x="1086852" y="818643"/>
                    </a:lnTo>
                    <a:lnTo>
                      <a:pt x="1083678" y="817497"/>
                    </a:lnTo>
                    <a:lnTo>
                      <a:pt x="1081033" y="822435"/>
                    </a:lnTo>
                    <a:lnTo>
                      <a:pt x="1079886" y="821817"/>
                    </a:lnTo>
                    <a:lnTo>
                      <a:pt x="1079622" y="819790"/>
                    </a:lnTo>
                    <a:lnTo>
                      <a:pt x="1076712" y="820407"/>
                    </a:lnTo>
                    <a:lnTo>
                      <a:pt x="1073186" y="821553"/>
                    </a:lnTo>
                    <a:lnTo>
                      <a:pt x="1069394" y="822082"/>
                    </a:lnTo>
                    <a:lnTo>
                      <a:pt x="1066485" y="827637"/>
                    </a:lnTo>
                    <a:lnTo>
                      <a:pt x="1049821" y="827637"/>
                    </a:lnTo>
                    <a:lnTo>
                      <a:pt x="1024164" y="827901"/>
                    </a:lnTo>
                    <a:lnTo>
                      <a:pt x="1000799" y="827637"/>
                    </a:lnTo>
                    <a:lnTo>
                      <a:pt x="1006089" y="826138"/>
                    </a:lnTo>
                    <a:lnTo>
                      <a:pt x="1012526" y="824110"/>
                    </a:lnTo>
                    <a:lnTo>
                      <a:pt x="1016052" y="822346"/>
                    </a:lnTo>
                    <a:lnTo>
                      <a:pt x="1018697" y="822611"/>
                    </a:lnTo>
                    <a:lnTo>
                      <a:pt x="1020725" y="820583"/>
                    </a:lnTo>
                    <a:lnTo>
                      <a:pt x="1025134" y="818555"/>
                    </a:lnTo>
                    <a:lnTo>
                      <a:pt x="1029189" y="818291"/>
                    </a:lnTo>
                    <a:lnTo>
                      <a:pt x="1035009" y="810708"/>
                    </a:lnTo>
                    <a:lnTo>
                      <a:pt x="1039417" y="807799"/>
                    </a:lnTo>
                    <a:lnTo>
                      <a:pt x="1043825" y="802861"/>
                    </a:lnTo>
                    <a:lnTo>
                      <a:pt x="1064280" y="793516"/>
                    </a:lnTo>
                    <a:lnTo>
                      <a:pt x="1066308" y="791223"/>
                    </a:lnTo>
                    <a:lnTo>
                      <a:pt x="1073891" y="788313"/>
                    </a:lnTo>
                    <a:lnTo>
                      <a:pt x="1077418" y="788578"/>
                    </a:lnTo>
                    <a:lnTo>
                      <a:pt x="1087645" y="785669"/>
                    </a:lnTo>
                    <a:lnTo>
                      <a:pt x="1090026" y="783641"/>
                    </a:lnTo>
                    <a:lnTo>
                      <a:pt x="1100782" y="780114"/>
                    </a:lnTo>
                    <a:lnTo>
                      <a:pt x="1114184" y="770768"/>
                    </a:lnTo>
                    <a:lnTo>
                      <a:pt x="1117358" y="767858"/>
                    </a:lnTo>
                    <a:lnTo>
                      <a:pt x="1119650" y="766712"/>
                    </a:lnTo>
                    <a:lnTo>
                      <a:pt x="1132523" y="755074"/>
                    </a:lnTo>
                    <a:lnTo>
                      <a:pt x="1147423" y="746345"/>
                    </a:lnTo>
                    <a:lnTo>
                      <a:pt x="1149804" y="745816"/>
                    </a:lnTo>
                    <a:lnTo>
                      <a:pt x="1169906" y="736823"/>
                    </a:lnTo>
                    <a:lnTo>
                      <a:pt x="1193183" y="729241"/>
                    </a:lnTo>
                    <a:lnTo>
                      <a:pt x="1206584" y="725714"/>
                    </a:lnTo>
                    <a:lnTo>
                      <a:pt x="1222895" y="724832"/>
                    </a:lnTo>
                    <a:lnTo>
                      <a:pt x="1231095" y="725714"/>
                    </a:lnTo>
                    <a:lnTo>
                      <a:pt x="1238413" y="729770"/>
                    </a:lnTo>
                    <a:lnTo>
                      <a:pt x="1240705" y="733296"/>
                    </a:lnTo>
                    <a:lnTo>
                      <a:pt x="1241323" y="734443"/>
                    </a:lnTo>
                    <a:lnTo>
                      <a:pt x="1240176" y="735324"/>
                    </a:lnTo>
                    <a:lnTo>
                      <a:pt x="1236385" y="734178"/>
                    </a:lnTo>
                    <a:lnTo>
                      <a:pt x="1236121" y="735060"/>
                    </a:lnTo>
                    <a:lnTo>
                      <a:pt x="1238766" y="737440"/>
                    </a:lnTo>
                    <a:lnTo>
                      <a:pt x="1238766" y="739468"/>
                    </a:lnTo>
                    <a:lnTo>
                      <a:pt x="1237620" y="740614"/>
                    </a:lnTo>
                    <a:lnTo>
                      <a:pt x="1237267" y="742642"/>
                    </a:lnTo>
                    <a:lnTo>
                      <a:pt x="1235503" y="744406"/>
                    </a:lnTo>
                    <a:lnTo>
                      <a:pt x="1230213" y="745905"/>
                    </a:lnTo>
                    <a:lnTo>
                      <a:pt x="1224130" y="749960"/>
                    </a:lnTo>
                    <a:lnTo>
                      <a:pt x="1212756" y="754633"/>
                    </a:lnTo>
                    <a:lnTo>
                      <a:pt x="1203410" y="752253"/>
                    </a:lnTo>
                    <a:lnTo>
                      <a:pt x="1202529" y="749872"/>
                    </a:lnTo>
                    <a:lnTo>
                      <a:pt x="1199354" y="752253"/>
                    </a:lnTo>
                    <a:lnTo>
                      <a:pt x="1190890" y="752253"/>
                    </a:lnTo>
                    <a:lnTo>
                      <a:pt x="1186217" y="754633"/>
                    </a:lnTo>
                    <a:lnTo>
                      <a:pt x="1188245" y="754281"/>
                    </a:lnTo>
                    <a:lnTo>
                      <a:pt x="1191772" y="753134"/>
                    </a:lnTo>
                    <a:lnTo>
                      <a:pt x="1192301" y="752870"/>
                    </a:lnTo>
                    <a:lnTo>
                      <a:pt x="1192918" y="753134"/>
                    </a:lnTo>
                    <a:lnTo>
                      <a:pt x="1193183" y="753399"/>
                    </a:lnTo>
                    <a:lnTo>
                      <a:pt x="1192918" y="753663"/>
                    </a:lnTo>
                    <a:lnTo>
                      <a:pt x="1193183" y="754810"/>
                    </a:lnTo>
                    <a:lnTo>
                      <a:pt x="1194064" y="754810"/>
                    </a:lnTo>
                    <a:lnTo>
                      <a:pt x="1194593" y="754810"/>
                    </a:lnTo>
                    <a:lnTo>
                      <a:pt x="1195475" y="755427"/>
                    </a:lnTo>
                    <a:lnTo>
                      <a:pt x="1196092" y="755427"/>
                    </a:lnTo>
                    <a:lnTo>
                      <a:pt x="1196974" y="755691"/>
                    </a:lnTo>
                    <a:lnTo>
                      <a:pt x="1197591" y="756308"/>
                    </a:lnTo>
                    <a:lnTo>
                      <a:pt x="1198737" y="756661"/>
                    </a:lnTo>
                    <a:lnTo>
                      <a:pt x="1201647" y="756661"/>
                    </a:lnTo>
                    <a:lnTo>
                      <a:pt x="1202529" y="757190"/>
                    </a:lnTo>
                    <a:lnTo>
                      <a:pt x="1203146" y="758072"/>
                    </a:lnTo>
                    <a:lnTo>
                      <a:pt x="1203146" y="759218"/>
                    </a:lnTo>
                    <a:lnTo>
                      <a:pt x="1203146" y="759483"/>
                    </a:lnTo>
                    <a:lnTo>
                      <a:pt x="1202881" y="760100"/>
                    </a:lnTo>
                    <a:lnTo>
                      <a:pt x="1202881" y="760717"/>
                    </a:lnTo>
                    <a:lnTo>
                      <a:pt x="1203146" y="762128"/>
                    </a:lnTo>
                    <a:lnTo>
                      <a:pt x="1204027" y="762745"/>
                    </a:lnTo>
                    <a:lnTo>
                      <a:pt x="1204292" y="763009"/>
                    </a:lnTo>
                    <a:lnTo>
                      <a:pt x="1205174" y="762745"/>
                    </a:lnTo>
                    <a:lnTo>
                      <a:pt x="1205438" y="762745"/>
                    </a:lnTo>
                    <a:lnTo>
                      <a:pt x="1206849" y="762128"/>
                    </a:lnTo>
                    <a:lnTo>
                      <a:pt x="1207995" y="761863"/>
                    </a:lnTo>
                    <a:lnTo>
                      <a:pt x="1209494" y="760717"/>
                    </a:lnTo>
                    <a:lnTo>
                      <a:pt x="1210640" y="760364"/>
                    </a:lnTo>
                    <a:lnTo>
                      <a:pt x="1210905" y="760364"/>
                    </a:lnTo>
                    <a:lnTo>
                      <a:pt x="1212668" y="759483"/>
                    </a:lnTo>
                    <a:lnTo>
                      <a:pt x="1215313" y="758865"/>
                    </a:lnTo>
                    <a:lnTo>
                      <a:pt x="1217694" y="758601"/>
                    </a:lnTo>
                    <a:lnTo>
                      <a:pt x="1216547" y="759483"/>
                    </a:lnTo>
                    <a:lnTo>
                      <a:pt x="1215666" y="759483"/>
                    </a:lnTo>
                    <a:lnTo>
                      <a:pt x="1215930" y="760100"/>
                    </a:lnTo>
                    <a:lnTo>
                      <a:pt x="1216547" y="760100"/>
                    </a:lnTo>
                    <a:lnTo>
                      <a:pt x="1218575" y="759483"/>
                    </a:lnTo>
                    <a:lnTo>
                      <a:pt x="1219721" y="759483"/>
                    </a:lnTo>
                    <a:lnTo>
                      <a:pt x="1220691" y="759483"/>
                    </a:lnTo>
                    <a:lnTo>
                      <a:pt x="1220691" y="759747"/>
                    </a:lnTo>
                    <a:lnTo>
                      <a:pt x="1221573" y="760276"/>
                    </a:lnTo>
                    <a:lnTo>
                      <a:pt x="1222719" y="760893"/>
                    </a:lnTo>
                    <a:lnTo>
                      <a:pt x="1222455" y="760893"/>
                    </a:lnTo>
                    <a:lnTo>
                      <a:pt x="1221573" y="762039"/>
                    </a:lnTo>
                    <a:lnTo>
                      <a:pt x="1221308" y="762039"/>
                    </a:lnTo>
                    <a:lnTo>
                      <a:pt x="1219280" y="763803"/>
                    </a:lnTo>
                    <a:lnTo>
                      <a:pt x="1218134" y="764684"/>
                    </a:lnTo>
                    <a:lnTo>
                      <a:pt x="1217870" y="765302"/>
                    </a:lnTo>
                    <a:lnTo>
                      <a:pt x="1217605" y="765566"/>
                    </a:lnTo>
                    <a:lnTo>
                      <a:pt x="1217341" y="766183"/>
                    </a:lnTo>
                    <a:lnTo>
                      <a:pt x="1216459" y="768211"/>
                    </a:lnTo>
                    <a:lnTo>
                      <a:pt x="1215577" y="769710"/>
                    </a:lnTo>
                    <a:lnTo>
                      <a:pt x="1214696" y="770327"/>
                    </a:lnTo>
                    <a:lnTo>
                      <a:pt x="1213814" y="770944"/>
                    </a:lnTo>
                    <a:lnTo>
                      <a:pt x="1213814" y="771473"/>
                    </a:lnTo>
                    <a:lnTo>
                      <a:pt x="1213550" y="772091"/>
                    </a:lnTo>
                    <a:lnTo>
                      <a:pt x="1212668" y="772355"/>
                    </a:lnTo>
                    <a:lnTo>
                      <a:pt x="1211169" y="773237"/>
                    </a:lnTo>
                    <a:lnTo>
                      <a:pt x="1208877" y="775000"/>
                    </a:lnTo>
                    <a:lnTo>
                      <a:pt x="1206496" y="776146"/>
                    </a:lnTo>
                    <a:lnTo>
                      <a:pt x="1205614" y="776411"/>
                    </a:lnTo>
                    <a:lnTo>
                      <a:pt x="1204997" y="777028"/>
                    </a:lnTo>
                    <a:lnTo>
                      <a:pt x="1204733" y="777292"/>
                    </a:lnTo>
                    <a:lnTo>
                      <a:pt x="1205350" y="777292"/>
                    </a:lnTo>
                    <a:lnTo>
                      <a:pt x="1206761" y="777292"/>
                    </a:lnTo>
                    <a:lnTo>
                      <a:pt x="1206761" y="777557"/>
                    </a:lnTo>
                    <a:lnTo>
                      <a:pt x="1207907" y="777822"/>
                    </a:lnTo>
                    <a:lnTo>
                      <a:pt x="1208524" y="777822"/>
                    </a:lnTo>
                    <a:lnTo>
                      <a:pt x="1209141" y="777204"/>
                    </a:lnTo>
                    <a:lnTo>
                      <a:pt x="1209758" y="777204"/>
                    </a:lnTo>
                    <a:lnTo>
                      <a:pt x="1210640" y="776940"/>
                    </a:lnTo>
                    <a:lnTo>
                      <a:pt x="1213814" y="776940"/>
                    </a:lnTo>
                    <a:lnTo>
                      <a:pt x="1214960" y="777204"/>
                    </a:lnTo>
                    <a:lnTo>
                      <a:pt x="1214079" y="779849"/>
                    </a:lnTo>
                    <a:lnTo>
                      <a:pt x="1212580" y="781348"/>
                    </a:lnTo>
                    <a:lnTo>
                      <a:pt x="1211081" y="782847"/>
                    </a:lnTo>
                    <a:lnTo>
                      <a:pt x="1210816" y="783729"/>
                    </a:lnTo>
                    <a:lnTo>
                      <a:pt x="1210552" y="784346"/>
                    </a:lnTo>
                    <a:lnTo>
                      <a:pt x="1211169" y="784610"/>
                    </a:lnTo>
                    <a:lnTo>
                      <a:pt x="1211434" y="785492"/>
                    </a:lnTo>
                    <a:lnTo>
                      <a:pt x="1212051" y="785757"/>
                    </a:lnTo>
                    <a:lnTo>
                      <a:pt x="1212051" y="786021"/>
                    </a:lnTo>
                    <a:lnTo>
                      <a:pt x="1212932" y="786021"/>
                    </a:lnTo>
                    <a:lnTo>
                      <a:pt x="1213197" y="786286"/>
                    </a:lnTo>
                    <a:lnTo>
                      <a:pt x="1213550" y="786903"/>
                    </a:lnTo>
                    <a:lnTo>
                      <a:pt x="1213197" y="787520"/>
                    </a:lnTo>
                    <a:lnTo>
                      <a:pt x="1213197" y="788137"/>
                    </a:lnTo>
                    <a:lnTo>
                      <a:pt x="1212932" y="788754"/>
                    </a:lnTo>
                    <a:lnTo>
                      <a:pt x="1213197" y="789636"/>
                    </a:lnTo>
                    <a:lnTo>
                      <a:pt x="1212932" y="790253"/>
                    </a:lnTo>
                    <a:lnTo>
                      <a:pt x="1212932" y="790870"/>
                    </a:lnTo>
                    <a:lnTo>
                      <a:pt x="1212668" y="791752"/>
                    </a:lnTo>
                    <a:lnTo>
                      <a:pt x="1213550" y="793251"/>
                    </a:lnTo>
                    <a:lnTo>
                      <a:pt x="1213550" y="795279"/>
                    </a:lnTo>
                    <a:lnTo>
                      <a:pt x="1213814" y="795279"/>
                    </a:lnTo>
                    <a:lnTo>
                      <a:pt x="1214431" y="795279"/>
                    </a:lnTo>
                    <a:lnTo>
                      <a:pt x="1215048" y="795279"/>
                    </a:lnTo>
                    <a:lnTo>
                      <a:pt x="1215048" y="795808"/>
                    </a:lnTo>
                    <a:lnTo>
                      <a:pt x="1213902" y="796425"/>
                    </a:lnTo>
                    <a:lnTo>
                      <a:pt x="1213638" y="796690"/>
                    </a:lnTo>
                    <a:lnTo>
                      <a:pt x="1213638" y="796954"/>
                    </a:lnTo>
                    <a:lnTo>
                      <a:pt x="1213638" y="797219"/>
                    </a:lnTo>
                    <a:lnTo>
                      <a:pt x="1214167" y="797483"/>
                    </a:lnTo>
                    <a:lnTo>
                      <a:pt x="1214431" y="797483"/>
                    </a:lnTo>
                    <a:lnTo>
                      <a:pt x="1216724" y="797748"/>
                    </a:lnTo>
                    <a:lnTo>
                      <a:pt x="1218752" y="797748"/>
                    </a:lnTo>
                    <a:lnTo>
                      <a:pt x="1219369" y="797748"/>
                    </a:lnTo>
                    <a:lnTo>
                      <a:pt x="1220515" y="798629"/>
                    </a:lnTo>
                    <a:lnTo>
                      <a:pt x="1221132" y="798982"/>
                    </a:lnTo>
                    <a:lnTo>
                      <a:pt x="1222278" y="799246"/>
                    </a:lnTo>
                    <a:lnTo>
                      <a:pt x="1223160" y="798982"/>
                    </a:lnTo>
                    <a:lnTo>
                      <a:pt x="1224923" y="799246"/>
                    </a:lnTo>
                    <a:lnTo>
                      <a:pt x="1225540" y="799246"/>
                    </a:lnTo>
                    <a:lnTo>
                      <a:pt x="1225805" y="799511"/>
                    </a:lnTo>
                    <a:lnTo>
                      <a:pt x="1228097" y="800393"/>
                    </a:lnTo>
                    <a:lnTo>
                      <a:pt x="1228097" y="800657"/>
                    </a:lnTo>
                    <a:lnTo>
                      <a:pt x="1227833" y="800922"/>
                    </a:lnTo>
                    <a:lnTo>
                      <a:pt x="1227568" y="801186"/>
                    </a:lnTo>
                    <a:lnTo>
                      <a:pt x="1227304" y="801186"/>
                    </a:lnTo>
                    <a:lnTo>
                      <a:pt x="1226158" y="801186"/>
                    </a:lnTo>
                    <a:lnTo>
                      <a:pt x="1225276" y="801803"/>
                    </a:lnTo>
                    <a:lnTo>
                      <a:pt x="1224394" y="802068"/>
                    </a:lnTo>
                    <a:lnTo>
                      <a:pt x="1222366" y="802068"/>
                    </a:lnTo>
                    <a:lnTo>
                      <a:pt x="1221485" y="802597"/>
                    </a:lnTo>
                    <a:lnTo>
                      <a:pt x="1221132" y="803214"/>
                    </a:lnTo>
                    <a:lnTo>
                      <a:pt x="1221749" y="803478"/>
                    </a:lnTo>
                    <a:lnTo>
                      <a:pt x="1222278" y="803214"/>
                    </a:lnTo>
                    <a:lnTo>
                      <a:pt x="1224042" y="803478"/>
                    </a:lnTo>
                    <a:lnTo>
                      <a:pt x="1224659" y="804360"/>
                    </a:lnTo>
                    <a:lnTo>
                      <a:pt x="1226422" y="806388"/>
                    </a:lnTo>
                    <a:lnTo>
                      <a:pt x="1227304" y="806653"/>
                    </a:lnTo>
                    <a:lnTo>
                      <a:pt x="1232241" y="806388"/>
                    </a:lnTo>
                    <a:lnTo>
                      <a:pt x="1232770" y="807005"/>
                    </a:lnTo>
                    <a:lnTo>
                      <a:pt x="1231889" y="807270"/>
                    </a:lnTo>
                    <a:lnTo>
                      <a:pt x="1232506" y="807887"/>
                    </a:lnTo>
                    <a:lnTo>
                      <a:pt x="1234798" y="808151"/>
                    </a:lnTo>
                    <a:lnTo>
                      <a:pt x="1235415" y="808151"/>
                    </a:lnTo>
                    <a:lnTo>
                      <a:pt x="1234534" y="808769"/>
                    </a:lnTo>
                    <a:lnTo>
                      <a:pt x="1233387" y="809033"/>
                    </a:lnTo>
                    <a:lnTo>
                      <a:pt x="1234269" y="809915"/>
                    </a:lnTo>
                    <a:lnTo>
                      <a:pt x="1237531" y="809298"/>
                    </a:lnTo>
                    <a:lnTo>
                      <a:pt x="1238413" y="808680"/>
                    </a:lnTo>
                    <a:lnTo>
                      <a:pt x="1239030" y="808063"/>
                    </a:lnTo>
                    <a:lnTo>
                      <a:pt x="1246613" y="809827"/>
                    </a:lnTo>
                    <a:lnTo>
                      <a:pt x="1248376" y="811325"/>
                    </a:lnTo>
                    <a:lnTo>
                      <a:pt x="1249610" y="811590"/>
                    </a:lnTo>
                    <a:lnTo>
                      <a:pt x="1251638" y="810708"/>
                    </a:lnTo>
                    <a:lnTo>
                      <a:pt x="1253049" y="810708"/>
                    </a:lnTo>
                    <a:lnTo>
                      <a:pt x="1254812" y="809827"/>
                    </a:lnTo>
                    <a:lnTo>
                      <a:pt x="1255694" y="809827"/>
                    </a:lnTo>
                    <a:lnTo>
                      <a:pt x="1256311" y="809209"/>
                    </a:lnTo>
                    <a:lnTo>
                      <a:pt x="1262130" y="806035"/>
                    </a:lnTo>
                    <a:lnTo>
                      <a:pt x="1262395" y="806035"/>
                    </a:lnTo>
                    <a:lnTo>
                      <a:pt x="1260896" y="810444"/>
                    </a:lnTo>
                    <a:lnTo>
                      <a:pt x="1262395" y="811325"/>
                    </a:lnTo>
                    <a:lnTo>
                      <a:pt x="1266451" y="812207"/>
                    </a:lnTo>
                    <a:lnTo>
                      <a:pt x="1268479" y="810708"/>
                    </a:lnTo>
                    <a:lnTo>
                      <a:pt x="1269977" y="811325"/>
                    </a:lnTo>
                    <a:lnTo>
                      <a:pt x="1269977" y="811943"/>
                    </a:lnTo>
                    <a:lnTo>
                      <a:pt x="1271124" y="812560"/>
                    </a:lnTo>
                    <a:lnTo>
                      <a:pt x="1270859" y="813177"/>
                    </a:lnTo>
                    <a:lnTo>
                      <a:pt x="1273239" y="815205"/>
                    </a:lnTo>
                    <a:lnTo>
                      <a:pt x="1272975" y="816087"/>
                    </a:lnTo>
                    <a:lnTo>
                      <a:pt x="1271829" y="816616"/>
                    </a:lnTo>
                    <a:lnTo>
                      <a:pt x="1268038" y="818114"/>
                    </a:lnTo>
                    <a:lnTo>
                      <a:pt x="1267509" y="818379"/>
                    </a:lnTo>
                    <a:lnTo>
                      <a:pt x="1267773" y="818643"/>
                    </a:lnTo>
                    <a:lnTo>
                      <a:pt x="1268655" y="818908"/>
                    </a:lnTo>
                    <a:lnTo>
                      <a:pt x="1273592" y="818908"/>
                    </a:lnTo>
                    <a:lnTo>
                      <a:pt x="1276502" y="819172"/>
                    </a:lnTo>
                    <a:lnTo>
                      <a:pt x="1277031" y="819790"/>
                    </a:lnTo>
                    <a:lnTo>
                      <a:pt x="1276766" y="820407"/>
                    </a:lnTo>
                    <a:lnTo>
                      <a:pt x="1273592" y="822170"/>
                    </a:lnTo>
                    <a:lnTo>
                      <a:pt x="1272975" y="822435"/>
                    </a:lnTo>
                    <a:lnTo>
                      <a:pt x="1270330" y="821553"/>
                    </a:lnTo>
                    <a:lnTo>
                      <a:pt x="1268831" y="822082"/>
                    </a:lnTo>
                    <a:lnTo>
                      <a:pt x="1268567" y="823228"/>
                    </a:lnTo>
                    <a:lnTo>
                      <a:pt x="1262747" y="824110"/>
                    </a:lnTo>
                    <a:lnTo>
                      <a:pt x="1261337" y="825256"/>
                    </a:lnTo>
                    <a:lnTo>
                      <a:pt x="1258956" y="825521"/>
                    </a:lnTo>
                    <a:lnTo>
                      <a:pt x="1257810" y="826402"/>
                    </a:lnTo>
                    <a:lnTo>
                      <a:pt x="1255518" y="826667"/>
                    </a:lnTo>
                    <a:lnTo>
                      <a:pt x="1254636" y="827549"/>
                    </a:lnTo>
                    <a:lnTo>
                      <a:pt x="1253137" y="828166"/>
                    </a:lnTo>
                    <a:lnTo>
                      <a:pt x="1248464" y="829312"/>
                    </a:lnTo>
                    <a:lnTo>
                      <a:pt x="1244938" y="830723"/>
                    </a:lnTo>
                    <a:lnTo>
                      <a:pt x="1243174" y="830458"/>
                    </a:lnTo>
                    <a:lnTo>
                      <a:pt x="1239647" y="832486"/>
                    </a:lnTo>
                    <a:lnTo>
                      <a:pt x="1237267" y="833103"/>
                    </a:lnTo>
                    <a:lnTo>
                      <a:pt x="1235856" y="834249"/>
                    </a:lnTo>
                    <a:lnTo>
                      <a:pt x="1232682" y="834867"/>
                    </a:lnTo>
                    <a:lnTo>
                      <a:pt x="1231183" y="835484"/>
                    </a:lnTo>
                    <a:lnTo>
                      <a:pt x="1230919" y="834867"/>
                    </a:lnTo>
                    <a:lnTo>
                      <a:pt x="1227745" y="835131"/>
                    </a:lnTo>
                    <a:lnTo>
                      <a:pt x="1226599" y="836277"/>
                    </a:lnTo>
                    <a:lnTo>
                      <a:pt x="1225100" y="836277"/>
                    </a:lnTo>
                    <a:lnTo>
                      <a:pt x="1223689" y="836542"/>
                    </a:lnTo>
                    <a:lnTo>
                      <a:pt x="1222807" y="837688"/>
                    </a:lnTo>
                    <a:lnTo>
                      <a:pt x="1221044" y="836806"/>
                    </a:lnTo>
                    <a:lnTo>
                      <a:pt x="1220779" y="837688"/>
                    </a:lnTo>
                    <a:lnTo>
                      <a:pt x="1221044" y="839187"/>
                    </a:lnTo>
                    <a:lnTo>
                      <a:pt x="1219016" y="840950"/>
                    </a:lnTo>
                    <a:lnTo>
                      <a:pt x="1217605" y="840686"/>
                    </a:lnTo>
                    <a:lnTo>
                      <a:pt x="1216724" y="840950"/>
                    </a:lnTo>
                    <a:lnTo>
                      <a:pt x="1214696" y="842361"/>
                    </a:lnTo>
                    <a:lnTo>
                      <a:pt x="1213550" y="841215"/>
                    </a:lnTo>
                    <a:lnTo>
                      <a:pt x="1212403" y="839451"/>
                    </a:lnTo>
                    <a:lnTo>
                      <a:pt x="1212403" y="839187"/>
                    </a:lnTo>
                    <a:lnTo>
                      <a:pt x="1213285" y="836542"/>
                    </a:lnTo>
                    <a:lnTo>
                      <a:pt x="1213550" y="835924"/>
                    </a:lnTo>
                    <a:lnTo>
                      <a:pt x="1212932" y="835660"/>
                    </a:lnTo>
                    <a:lnTo>
                      <a:pt x="1210905" y="836542"/>
                    </a:lnTo>
                    <a:lnTo>
                      <a:pt x="1210640" y="837423"/>
                    </a:lnTo>
                    <a:lnTo>
                      <a:pt x="1211257" y="839187"/>
                    </a:lnTo>
                    <a:lnTo>
                      <a:pt x="1210640" y="839804"/>
                    </a:lnTo>
                    <a:lnTo>
                      <a:pt x="1209758" y="840421"/>
                    </a:lnTo>
                    <a:lnTo>
                      <a:pt x="1209141" y="840421"/>
                    </a:lnTo>
                    <a:lnTo>
                      <a:pt x="1208524" y="840157"/>
                    </a:lnTo>
                    <a:lnTo>
                      <a:pt x="1208788" y="839275"/>
                    </a:lnTo>
                    <a:lnTo>
                      <a:pt x="1208171" y="838393"/>
                    </a:lnTo>
                    <a:lnTo>
                      <a:pt x="1207907" y="838393"/>
                    </a:lnTo>
                    <a:lnTo>
                      <a:pt x="1206408" y="838393"/>
                    </a:lnTo>
                    <a:lnTo>
                      <a:pt x="1205262" y="839275"/>
                    </a:lnTo>
                    <a:lnTo>
                      <a:pt x="1203851" y="841567"/>
                    </a:lnTo>
                    <a:lnTo>
                      <a:pt x="1203851" y="843066"/>
                    </a:lnTo>
                    <a:lnTo>
                      <a:pt x="1204468" y="844212"/>
                    </a:lnTo>
                    <a:lnTo>
                      <a:pt x="1204468" y="845094"/>
                    </a:lnTo>
                    <a:lnTo>
                      <a:pt x="1204204" y="845711"/>
                    </a:lnTo>
                    <a:lnTo>
                      <a:pt x="1204204" y="845976"/>
                    </a:lnTo>
                    <a:lnTo>
                      <a:pt x="1203058" y="846240"/>
                    </a:lnTo>
                    <a:lnTo>
                      <a:pt x="1203058" y="845976"/>
                    </a:lnTo>
                    <a:lnTo>
                      <a:pt x="1202176" y="845711"/>
                    </a:lnTo>
                    <a:lnTo>
                      <a:pt x="1200148" y="847210"/>
                    </a:lnTo>
                    <a:lnTo>
                      <a:pt x="1197767" y="847210"/>
                    </a:lnTo>
                    <a:lnTo>
                      <a:pt x="1198032" y="847210"/>
                    </a:lnTo>
                    <a:lnTo>
                      <a:pt x="1196886" y="847827"/>
                    </a:lnTo>
                    <a:lnTo>
                      <a:pt x="1196269" y="850472"/>
                    </a:lnTo>
                    <a:lnTo>
                      <a:pt x="1195122" y="851089"/>
                    </a:lnTo>
                    <a:lnTo>
                      <a:pt x="1193976" y="851618"/>
                    </a:lnTo>
                    <a:lnTo>
                      <a:pt x="1193712" y="852147"/>
                    </a:lnTo>
                    <a:lnTo>
                      <a:pt x="1190538" y="854175"/>
                    </a:lnTo>
                    <a:lnTo>
                      <a:pt x="1190538" y="854440"/>
                    </a:lnTo>
                    <a:lnTo>
                      <a:pt x="1190538" y="855057"/>
                    </a:lnTo>
                    <a:lnTo>
                      <a:pt x="1190273" y="855939"/>
                    </a:lnTo>
                    <a:lnTo>
                      <a:pt x="1188510" y="855939"/>
                    </a:lnTo>
                    <a:lnTo>
                      <a:pt x="1187364" y="857438"/>
                    </a:lnTo>
                    <a:lnTo>
                      <a:pt x="1186482" y="857438"/>
                    </a:lnTo>
                    <a:lnTo>
                      <a:pt x="1185336" y="857702"/>
                    </a:lnTo>
                    <a:lnTo>
                      <a:pt x="1184454" y="859465"/>
                    </a:lnTo>
                    <a:lnTo>
                      <a:pt x="1182691" y="859201"/>
                    </a:lnTo>
                    <a:lnTo>
                      <a:pt x="1180927" y="859730"/>
                    </a:lnTo>
                    <a:lnTo>
                      <a:pt x="1179781" y="860612"/>
                    </a:lnTo>
                    <a:lnTo>
                      <a:pt x="1178899" y="859730"/>
                    </a:lnTo>
                    <a:lnTo>
                      <a:pt x="1178635" y="860347"/>
                    </a:lnTo>
                    <a:lnTo>
                      <a:pt x="1177753" y="861493"/>
                    </a:lnTo>
                    <a:lnTo>
                      <a:pt x="1177136" y="863257"/>
                    </a:lnTo>
                    <a:lnTo>
                      <a:pt x="1174579" y="864579"/>
                    </a:lnTo>
                    <a:close/>
                    <a:moveTo>
                      <a:pt x="1402671" y="670344"/>
                    </a:moveTo>
                    <a:lnTo>
                      <a:pt x="1402054" y="670344"/>
                    </a:lnTo>
                    <a:lnTo>
                      <a:pt x="1400643" y="671226"/>
                    </a:lnTo>
                    <a:lnTo>
                      <a:pt x="1397998" y="671490"/>
                    </a:lnTo>
                    <a:lnTo>
                      <a:pt x="1396234" y="672108"/>
                    </a:lnTo>
                    <a:lnTo>
                      <a:pt x="1395617" y="670080"/>
                    </a:lnTo>
                    <a:lnTo>
                      <a:pt x="1395000" y="669815"/>
                    </a:lnTo>
                    <a:lnTo>
                      <a:pt x="1391826" y="671314"/>
                    </a:lnTo>
                    <a:lnTo>
                      <a:pt x="1375779" y="675370"/>
                    </a:lnTo>
                    <a:lnTo>
                      <a:pt x="1371988" y="674488"/>
                    </a:lnTo>
                    <a:lnTo>
                      <a:pt x="1367580" y="676516"/>
                    </a:lnTo>
                    <a:lnTo>
                      <a:pt x="1367315" y="677927"/>
                    </a:lnTo>
                    <a:lnTo>
                      <a:pt x="1359468" y="682600"/>
                    </a:lnTo>
                    <a:lnTo>
                      <a:pt x="1356294" y="687537"/>
                    </a:lnTo>
                    <a:lnTo>
                      <a:pt x="1354266" y="687273"/>
                    </a:lnTo>
                    <a:lnTo>
                      <a:pt x="1340600" y="695472"/>
                    </a:lnTo>
                    <a:lnTo>
                      <a:pt x="1339101" y="695472"/>
                    </a:lnTo>
                    <a:lnTo>
                      <a:pt x="1337603" y="696354"/>
                    </a:lnTo>
                    <a:lnTo>
                      <a:pt x="1336104" y="698999"/>
                    </a:lnTo>
                    <a:lnTo>
                      <a:pt x="1331166" y="700762"/>
                    </a:lnTo>
                    <a:lnTo>
                      <a:pt x="1307273" y="701644"/>
                    </a:lnTo>
                    <a:lnTo>
                      <a:pt x="1299426" y="703936"/>
                    </a:lnTo>
                    <a:lnTo>
                      <a:pt x="1297927" y="701644"/>
                    </a:lnTo>
                    <a:lnTo>
                      <a:pt x="1257634" y="698999"/>
                    </a:lnTo>
                    <a:lnTo>
                      <a:pt x="1253225" y="699881"/>
                    </a:lnTo>
                    <a:lnTo>
                      <a:pt x="1248552" y="698735"/>
                    </a:lnTo>
                    <a:lnTo>
                      <a:pt x="1240970" y="699881"/>
                    </a:lnTo>
                    <a:lnTo>
                      <a:pt x="1230743" y="699263"/>
                    </a:lnTo>
                    <a:lnTo>
                      <a:pt x="1222014" y="699881"/>
                    </a:lnTo>
                    <a:lnTo>
                      <a:pt x="1220867" y="699616"/>
                    </a:lnTo>
                    <a:lnTo>
                      <a:pt x="1217076" y="701115"/>
                    </a:lnTo>
                    <a:lnTo>
                      <a:pt x="1211257" y="701732"/>
                    </a:lnTo>
                    <a:lnTo>
                      <a:pt x="1210376" y="699969"/>
                    </a:lnTo>
                    <a:lnTo>
                      <a:pt x="1207730" y="701115"/>
                    </a:lnTo>
                    <a:lnTo>
                      <a:pt x="1208348" y="702261"/>
                    </a:lnTo>
                    <a:lnTo>
                      <a:pt x="1206055" y="702878"/>
                    </a:lnTo>
                    <a:lnTo>
                      <a:pt x="1199002" y="706405"/>
                    </a:lnTo>
                    <a:lnTo>
                      <a:pt x="1194946" y="710461"/>
                    </a:lnTo>
                    <a:lnTo>
                      <a:pt x="1193800" y="710461"/>
                    </a:lnTo>
                    <a:lnTo>
                      <a:pt x="1192036" y="712224"/>
                    </a:lnTo>
                    <a:lnTo>
                      <a:pt x="1187981" y="718661"/>
                    </a:lnTo>
                    <a:lnTo>
                      <a:pt x="1183308" y="722716"/>
                    </a:lnTo>
                    <a:lnTo>
                      <a:pt x="1176872" y="723333"/>
                    </a:lnTo>
                    <a:lnTo>
                      <a:pt x="1175461" y="723951"/>
                    </a:lnTo>
                    <a:lnTo>
                      <a:pt x="1172551" y="723686"/>
                    </a:lnTo>
                    <a:lnTo>
                      <a:pt x="1169377" y="724303"/>
                    </a:lnTo>
                    <a:lnTo>
                      <a:pt x="1166203" y="725802"/>
                    </a:lnTo>
                    <a:lnTo>
                      <a:pt x="1167349" y="726948"/>
                    </a:lnTo>
                    <a:lnTo>
                      <a:pt x="1166468" y="727830"/>
                    </a:lnTo>
                    <a:lnTo>
                      <a:pt x="1161795" y="729858"/>
                    </a:lnTo>
                    <a:lnTo>
                      <a:pt x="1158268" y="729593"/>
                    </a:lnTo>
                    <a:lnTo>
                      <a:pt x="1154741" y="733120"/>
                    </a:lnTo>
                    <a:lnTo>
                      <a:pt x="1153242" y="733737"/>
                    </a:lnTo>
                    <a:lnTo>
                      <a:pt x="1146542" y="737000"/>
                    </a:lnTo>
                    <a:lnTo>
                      <a:pt x="1143015" y="741408"/>
                    </a:lnTo>
                    <a:lnTo>
                      <a:pt x="1140634" y="742290"/>
                    </a:lnTo>
                    <a:lnTo>
                      <a:pt x="1136579" y="746963"/>
                    </a:lnTo>
                    <a:lnTo>
                      <a:pt x="1128114" y="752165"/>
                    </a:lnTo>
                    <a:lnTo>
                      <a:pt x="1120796" y="760893"/>
                    </a:lnTo>
                    <a:lnTo>
                      <a:pt x="1114977" y="764420"/>
                    </a:lnTo>
                    <a:lnTo>
                      <a:pt x="1112332" y="767594"/>
                    </a:lnTo>
                    <a:lnTo>
                      <a:pt x="1107130" y="769093"/>
                    </a:lnTo>
                    <a:lnTo>
                      <a:pt x="1102457" y="774030"/>
                    </a:lnTo>
                    <a:lnTo>
                      <a:pt x="1097520" y="778439"/>
                    </a:lnTo>
                    <a:lnTo>
                      <a:pt x="1090290" y="781965"/>
                    </a:lnTo>
                    <a:lnTo>
                      <a:pt x="1086499" y="785492"/>
                    </a:lnTo>
                    <a:lnTo>
                      <a:pt x="1076271" y="787520"/>
                    </a:lnTo>
                    <a:lnTo>
                      <a:pt x="1073626" y="787255"/>
                    </a:lnTo>
                    <a:lnTo>
                      <a:pt x="1070100" y="789019"/>
                    </a:lnTo>
                    <a:lnTo>
                      <a:pt x="1066044" y="790165"/>
                    </a:lnTo>
                    <a:lnTo>
                      <a:pt x="1064016" y="792810"/>
                    </a:lnTo>
                    <a:lnTo>
                      <a:pt x="1059079" y="794573"/>
                    </a:lnTo>
                    <a:lnTo>
                      <a:pt x="1054406" y="797219"/>
                    </a:lnTo>
                    <a:lnTo>
                      <a:pt x="1050614" y="797836"/>
                    </a:lnTo>
                    <a:lnTo>
                      <a:pt x="1043914" y="801010"/>
                    </a:lnTo>
                    <a:lnTo>
                      <a:pt x="1039505" y="805947"/>
                    </a:lnTo>
                    <a:lnTo>
                      <a:pt x="1029895" y="812913"/>
                    </a:lnTo>
                    <a:lnTo>
                      <a:pt x="1028396" y="814940"/>
                    </a:lnTo>
                    <a:lnTo>
                      <a:pt x="1026368" y="815558"/>
                    </a:lnTo>
                    <a:lnTo>
                      <a:pt x="1022577" y="815822"/>
                    </a:lnTo>
                    <a:lnTo>
                      <a:pt x="1020285" y="817585"/>
                    </a:lnTo>
                    <a:lnTo>
                      <a:pt x="1022312" y="819613"/>
                    </a:lnTo>
                    <a:lnTo>
                      <a:pt x="1012085" y="823405"/>
                    </a:lnTo>
                    <a:lnTo>
                      <a:pt x="1008029" y="824551"/>
                    </a:lnTo>
                    <a:lnTo>
                      <a:pt x="1004238" y="826314"/>
                    </a:lnTo>
                    <a:lnTo>
                      <a:pt x="998948" y="827196"/>
                    </a:lnTo>
                    <a:lnTo>
                      <a:pt x="991365" y="830723"/>
                    </a:lnTo>
                    <a:lnTo>
                      <a:pt x="989602" y="830987"/>
                    </a:lnTo>
                    <a:lnTo>
                      <a:pt x="972145" y="842361"/>
                    </a:lnTo>
                    <a:lnTo>
                      <a:pt x="969235" y="842361"/>
                    </a:lnTo>
                    <a:lnTo>
                      <a:pt x="966325" y="845006"/>
                    </a:lnTo>
                    <a:lnTo>
                      <a:pt x="960506" y="847651"/>
                    </a:lnTo>
                    <a:lnTo>
                      <a:pt x="957332" y="847651"/>
                    </a:lnTo>
                    <a:lnTo>
                      <a:pt x="955569" y="848268"/>
                    </a:lnTo>
                    <a:lnTo>
                      <a:pt x="952395" y="850031"/>
                    </a:lnTo>
                    <a:lnTo>
                      <a:pt x="949750" y="852324"/>
                    </a:lnTo>
                    <a:lnTo>
                      <a:pt x="947986" y="852941"/>
                    </a:lnTo>
                    <a:lnTo>
                      <a:pt x="947369" y="854087"/>
                    </a:lnTo>
                    <a:lnTo>
                      <a:pt x="948515" y="854352"/>
                    </a:lnTo>
                    <a:lnTo>
                      <a:pt x="950014" y="854352"/>
                    </a:lnTo>
                    <a:lnTo>
                      <a:pt x="950014" y="854616"/>
                    </a:lnTo>
                    <a:lnTo>
                      <a:pt x="946487" y="855498"/>
                    </a:lnTo>
                    <a:lnTo>
                      <a:pt x="944195" y="856644"/>
                    </a:lnTo>
                    <a:lnTo>
                      <a:pt x="942167" y="856379"/>
                    </a:lnTo>
                    <a:lnTo>
                      <a:pt x="942432" y="854352"/>
                    </a:lnTo>
                    <a:lnTo>
                      <a:pt x="941815" y="854087"/>
                    </a:lnTo>
                    <a:lnTo>
                      <a:pt x="938023" y="854704"/>
                    </a:lnTo>
                    <a:lnTo>
                      <a:pt x="936525" y="853205"/>
                    </a:lnTo>
                    <a:lnTo>
                      <a:pt x="937406" y="852941"/>
                    </a:lnTo>
                    <a:lnTo>
                      <a:pt x="936525" y="852324"/>
                    </a:lnTo>
                    <a:lnTo>
                      <a:pt x="931234" y="854352"/>
                    </a:lnTo>
                    <a:lnTo>
                      <a:pt x="926826" y="855498"/>
                    </a:lnTo>
                    <a:lnTo>
                      <a:pt x="921624" y="856644"/>
                    </a:lnTo>
                    <a:lnTo>
                      <a:pt x="914042" y="857261"/>
                    </a:lnTo>
                    <a:lnTo>
                      <a:pt x="907958" y="856997"/>
                    </a:lnTo>
                    <a:lnTo>
                      <a:pt x="904784" y="857614"/>
                    </a:lnTo>
                    <a:lnTo>
                      <a:pt x="899494" y="858760"/>
                    </a:lnTo>
                    <a:lnTo>
                      <a:pt x="897201" y="862551"/>
                    </a:lnTo>
                    <a:lnTo>
                      <a:pt x="896584" y="861934"/>
                    </a:lnTo>
                    <a:lnTo>
                      <a:pt x="895967" y="861934"/>
                    </a:lnTo>
                    <a:lnTo>
                      <a:pt x="894468" y="862816"/>
                    </a:lnTo>
                    <a:lnTo>
                      <a:pt x="893586" y="862816"/>
                    </a:lnTo>
                    <a:lnTo>
                      <a:pt x="890060" y="864844"/>
                    </a:lnTo>
                    <a:lnTo>
                      <a:pt x="886269" y="869252"/>
                    </a:lnTo>
                    <a:lnTo>
                      <a:pt x="886533" y="871015"/>
                    </a:lnTo>
                    <a:lnTo>
                      <a:pt x="889443" y="874807"/>
                    </a:lnTo>
                    <a:lnTo>
                      <a:pt x="893498" y="873043"/>
                    </a:lnTo>
                    <a:lnTo>
                      <a:pt x="898171" y="870751"/>
                    </a:lnTo>
                    <a:lnTo>
                      <a:pt x="896408" y="875159"/>
                    </a:lnTo>
                    <a:lnTo>
                      <a:pt x="897290" y="880097"/>
                    </a:lnTo>
                    <a:lnTo>
                      <a:pt x="896143" y="881243"/>
                    </a:lnTo>
                    <a:lnTo>
                      <a:pt x="894116" y="880979"/>
                    </a:lnTo>
                    <a:lnTo>
                      <a:pt x="889178" y="880714"/>
                    </a:lnTo>
                    <a:lnTo>
                      <a:pt x="887679" y="880979"/>
                    </a:lnTo>
                    <a:lnTo>
                      <a:pt x="885034" y="881596"/>
                    </a:lnTo>
                    <a:lnTo>
                      <a:pt x="883006" y="880979"/>
                    </a:lnTo>
                    <a:lnTo>
                      <a:pt x="872514" y="883006"/>
                    </a:lnTo>
                    <a:lnTo>
                      <a:pt x="868988" y="885916"/>
                    </a:lnTo>
                    <a:lnTo>
                      <a:pt x="868723" y="886180"/>
                    </a:lnTo>
                    <a:lnTo>
                      <a:pt x="867841" y="885916"/>
                    </a:lnTo>
                    <a:lnTo>
                      <a:pt x="866078" y="887327"/>
                    </a:lnTo>
                    <a:lnTo>
                      <a:pt x="872514" y="888208"/>
                    </a:lnTo>
                    <a:lnTo>
                      <a:pt x="872779" y="888826"/>
                    </a:lnTo>
                    <a:lnTo>
                      <a:pt x="871015" y="889090"/>
                    </a:lnTo>
                    <a:lnTo>
                      <a:pt x="861934" y="887679"/>
                    </a:lnTo>
                    <a:lnTo>
                      <a:pt x="860788" y="887062"/>
                    </a:lnTo>
                    <a:lnTo>
                      <a:pt x="857614" y="886180"/>
                    </a:lnTo>
                    <a:lnTo>
                      <a:pt x="850913" y="885916"/>
                    </a:lnTo>
                    <a:lnTo>
                      <a:pt x="844212" y="888208"/>
                    </a:lnTo>
                    <a:lnTo>
                      <a:pt x="839275" y="891382"/>
                    </a:lnTo>
                    <a:lnTo>
                      <a:pt x="836630" y="892529"/>
                    </a:lnTo>
                    <a:lnTo>
                      <a:pt x="835484" y="895703"/>
                    </a:lnTo>
                    <a:lnTo>
                      <a:pt x="828783" y="896584"/>
                    </a:lnTo>
                    <a:lnTo>
                      <a:pt x="827284" y="897730"/>
                    </a:lnTo>
                    <a:lnTo>
                      <a:pt x="821465" y="899494"/>
                    </a:lnTo>
                    <a:lnTo>
                      <a:pt x="820583" y="901257"/>
                    </a:lnTo>
                    <a:lnTo>
                      <a:pt x="818820" y="903638"/>
                    </a:lnTo>
                    <a:lnTo>
                      <a:pt x="818203" y="901874"/>
                    </a:lnTo>
                    <a:lnTo>
                      <a:pt x="815822" y="901610"/>
                    </a:lnTo>
                    <a:lnTo>
                      <a:pt x="813177" y="902492"/>
                    </a:lnTo>
                    <a:lnTo>
                      <a:pt x="810267" y="902756"/>
                    </a:lnTo>
                    <a:lnTo>
                      <a:pt x="808504" y="901610"/>
                    </a:lnTo>
                    <a:lnTo>
                      <a:pt x="808504" y="900111"/>
                    </a:lnTo>
                    <a:lnTo>
                      <a:pt x="808769" y="899494"/>
                    </a:lnTo>
                    <a:lnTo>
                      <a:pt x="810532" y="895703"/>
                    </a:lnTo>
                    <a:lnTo>
                      <a:pt x="811678" y="894821"/>
                    </a:lnTo>
                    <a:lnTo>
                      <a:pt x="814852" y="893058"/>
                    </a:lnTo>
                    <a:lnTo>
                      <a:pt x="817762" y="894821"/>
                    </a:lnTo>
                    <a:lnTo>
                      <a:pt x="823316" y="894204"/>
                    </a:lnTo>
                    <a:lnTo>
                      <a:pt x="824462" y="893058"/>
                    </a:lnTo>
                    <a:lnTo>
                      <a:pt x="825080" y="891647"/>
                    </a:lnTo>
                    <a:lnTo>
                      <a:pt x="824815" y="890765"/>
                    </a:lnTo>
                    <a:lnTo>
                      <a:pt x="823933" y="889883"/>
                    </a:lnTo>
                    <a:lnTo>
                      <a:pt x="824198" y="889002"/>
                    </a:lnTo>
                    <a:lnTo>
                      <a:pt x="825697" y="886974"/>
                    </a:lnTo>
                    <a:lnTo>
                      <a:pt x="830899" y="878510"/>
                    </a:lnTo>
                    <a:lnTo>
                      <a:pt x="835307" y="876482"/>
                    </a:lnTo>
                    <a:lnTo>
                      <a:pt x="836718" y="874101"/>
                    </a:lnTo>
                    <a:lnTo>
                      <a:pt x="840245" y="872338"/>
                    </a:lnTo>
                    <a:lnTo>
                      <a:pt x="842890" y="870575"/>
                    </a:lnTo>
                    <a:lnTo>
                      <a:pt x="845799" y="869957"/>
                    </a:lnTo>
                    <a:lnTo>
                      <a:pt x="845799" y="866166"/>
                    </a:lnTo>
                    <a:lnTo>
                      <a:pt x="846416" y="862375"/>
                    </a:lnTo>
                    <a:lnTo>
                      <a:pt x="848709" y="858584"/>
                    </a:lnTo>
                    <a:lnTo>
                      <a:pt x="851089" y="856556"/>
                    </a:lnTo>
                    <a:lnTo>
                      <a:pt x="853117" y="852500"/>
                    </a:lnTo>
                    <a:lnTo>
                      <a:pt x="853117" y="851618"/>
                    </a:lnTo>
                    <a:lnTo>
                      <a:pt x="853999" y="850472"/>
                    </a:lnTo>
                    <a:lnTo>
                      <a:pt x="856644" y="848973"/>
                    </a:lnTo>
                    <a:lnTo>
                      <a:pt x="858143" y="846328"/>
                    </a:lnTo>
                    <a:lnTo>
                      <a:pt x="859642" y="844565"/>
                    </a:lnTo>
                    <a:lnTo>
                      <a:pt x="862022" y="842802"/>
                    </a:lnTo>
                    <a:lnTo>
                      <a:pt x="863521" y="841920"/>
                    </a:lnTo>
                    <a:lnTo>
                      <a:pt x="867930" y="836982"/>
                    </a:lnTo>
                    <a:lnTo>
                      <a:pt x="866166" y="834955"/>
                    </a:lnTo>
                    <a:lnTo>
                      <a:pt x="866166" y="832662"/>
                    </a:lnTo>
                    <a:lnTo>
                      <a:pt x="866431" y="830634"/>
                    </a:lnTo>
                    <a:lnTo>
                      <a:pt x="864403" y="828606"/>
                    </a:lnTo>
                    <a:lnTo>
                      <a:pt x="866166" y="827725"/>
                    </a:lnTo>
                    <a:lnTo>
                      <a:pt x="866431" y="824551"/>
                    </a:lnTo>
                    <a:lnTo>
                      <a:pt x="865813" y="823405"/>
                    </a:lnTo>
                    <a:lnTo>
                      <a:pt x="865813" y="822787"/>
                    </a:lnTo>
                    <a:lnTo>
                      <a:pt x="866695" y="822170"/>
                    </a:lnTo>
                    <a:lnTo>
                      <a:pt x="867577" y="822170"/>
                    </a:lnTo>
                    <a:lnTo>
                      <a:pt x="869605" y="822787"/>
                    </a:lnTo>
                    <a:lnTo>
                      <a:pt x="870486" y="823405"/>
                    </a:lnTo>
                    <a:lnTo>
                      <a:pt x="869869" y="824551"/>
                    </a:lnTo>
                    <a:lnTo>
                      <a:pt x="869869" y="826843"/>
                    </a:lnTo>
                    <a:lnTo>
                      <a:pt x="870486" y="827460"/>
                    </a:lnTo>
                    <a:lnTo>
                      <a:pt x="870751" y="825432"/>
                    </a:lnTo>
                    <a:lnTo>
                      <a:pt x="871633" y="829224"/>
                    </a:lnTo>
                    <a:lnTo>
                      <a:pt x="871633" y="829488"/>
                    </a:lnTo>
                    <a:lnTo>
                      <a:pt x="872250" y="829488"/>
                    </a:lnTo>
                    <a:lnTo>
                      <a:pt x="875159" y="829224"/>
                    </a:lnTo>
                    <a:lnTo>
                      <a:pt x="874895" y="830370"/>
                    </a:lnTo>
                    <a:lnTo>
                      <a:pt x="875512" y="830370"/>
                    </a:lnTo>
                    <a:lnTo>
                      <a:pt x="874630" y="829841"/>
                    </a:lnTo>
                    <a:lnTo>
                      <a:pt x="876658" y="829576"/>
                    </a:lnTo>
                    <a:lnTo>
                      <a:pt x="878157" y="828695"/>
                    </a:lnTo>
                    <a:lnTo>
                      <a:pt x="878421" y="828959"/>
                    </a:lnTo>
                    <a:lnTo>
                      <a:pt x="878157" y="829841"/>
                    </a:lnTo>
                    <a:lnTo>
                      <a:pt x="877275" y="830987"/>
                    </a:lnTo>
                    <a:lnTo>
                      <a:pt x="877011" y="831869"/>
                    </a:lnTo>
                    <a:lnTo>
                      <a:pt x="873484" y="833632"/>
                    </a:lnTo>
                    <a:lnTo>
                      <a:pt x="873220" y="834778"/>
                    </a:lnTo>
                    <a:lnTo>
                      <a:pt x="875865" y="833368"/>
                    </a:lnTo>
                    <a:lnTo>
                      <a:pt x="877011" y="833015"/>
                    </a:lnTo>
                    <a:lnTo>
                      <a:pt x="877628" y="833897"/>
                    </a:lnTo>
                    <a:lnTo>
                      <a:pt x="878774" y="834778"/>
                    </a:lnTo>
                    <a:lnTo>
                      <a:pt x="879391" y="835660"/>
                    </a:lnTo>
                    <a:lnTo>
                      <a:pt x="880009" y="835395"/>
                    </a:lnTo>
                    <a:lnTo>
                      <a:pt x="882036" y="835395"/>
                    </a:lnTo>
                    <a:lnTo>
                      <a:pt x="882301" y="837688"/>
                    </a:lnTo>
                    <a:lnTo>
                      <a:pt x="887238" y="839980"/>
                    </a:lnTo>
                    <a:lnTo>
                      <a:pt x="887503" y="839980"/>
                    </a:lnTo>
                    <a:lnTo>
                      <a:pt x="891030" y="841126"/>
                    </a:lnTo>
                    <a:lnTo>
                      <a:pt x="893939" y="839099"/>
                    </a:lnTo>
                    <a:lnTo>
                      <a:pt x="894821" y="836718"/>
                    </a:lnTo>
                    <a:lnTo>
                      <a:pt x="894556" y="835572"/>
                    </a:lnTo>
                    <a:lnTo>
                      <a:pt x="893057" y="834426"/>
                    </a:lnTo>
                    <a:lnTo>
                      <a:pt x="893586" y="833279"/>
                    </a:lnTo>
                    <a:lnTo>
                      <a:pt x="894733" y="832662"/>
                    </a:lnTo>
                    <a:lnTo>
                      <a:pt x="897113" y="831516"/>
                    </a:lnTo>
                    <a:lnTo>
                      <a:pt x="897995" y="831781"/>
                    </a:lnTo>
                    <a:lnTo>
                      <a:pt x="898259" y="834073"/>
                    </a:lnTo>
                    <a:lnTo>
                      <a:pt x="900287" y="834337"/>
                    </a:lnTo>
                    <a:lnTo>
                      <a:pt x="900816" y="833720"/>
                    </a:lnTo>
                    <a:lnTo>
                      <a:pt x="901081" y="833456"/>
                    </a:lnTo>
                    <a:lnTo>
                      <a:pt x="899935" y="832839"/>
                    </a:lnTo>
                    <a:lnTo>
                      <a:pt x="899935" y="829664"/>
                    </a:lnTo>
                    <a:lnTo>
                      <a:pt x="898788" y="829664"/>
                    </a:lnTo>
                    <a:lnTo>
                      <a:pt x="898171" y="827284"/>
                    </a:lnTo>
                    <a:lnTo>
                      <a:pt x="897290" y="825785"/>
                    </a:lnTo>
                    <a:lnTo>
                      <a:pt x="898436" y="823757"/>
                    </a:lnTo>
                    <a:lnTo>
                      <a:pt x="896143" y="822611"/>
                    </a:lnTo>
                    <a:lnTo>
                      <a:pt x="896761" y="820231"/>
                    </a:lnTo>
                    <a:lnTo>
                      <a:pt x="896496" y="819349"/>
                    </a:lnTo>
                    <a:lnTo>
                      <a:pt x="895614" y="818732"/>
                    </a:lnTo>
                    <a:lnTo>
                      <a:pt x="895350" y="817321"/>
                    </a:lnTo>
                    <a:lnTo>
                      <a:pt x="894733" y="817321"/>
                    </a:lnTo>
                    <a:lnTo>
                      <a:pt x="894468" y="816175"/>
                    </a:lnTo>
                    <a:lnTo>
                      <a:pt x="895085" y="814676"/>
                    </a:lnTo>
                    <a:lnTo>
                      <a:pt x="893586" y="814059"/>
                    </a:lnTo>
                    <a:lnTo>
                      <a:pt x="893322" y="812913"/>
                    </a:lnTo>
                    <a:lnTo>
                      <a:pt x="892440" y="812295"/>
                    </a:lnTo>
                    <a:lnTo>
                      <a:pt x="891823" y="810267"/>
                    </a:lnTo>
                    <a:lnTo>
                      <a:pt x="892088" y="809386"/>
                    </a:lnTo>
                    <a:lnTo>
                      <a:pt x="891471" y="807005"/>
                    </a:lnTo>
                    <a:lnTo>
                      <a:pt x="892088" y="805242"/>
                    </a:lnTo>
                    <a:lnTo>
                      <a:pt x="890324" y="804360"/>
                    </a:lnTo>
                    <a:lnTo>
                      <a:pt x="885387" y="804977"/>
                    </a:lnTo>
                    <a:lnTo>
                      <a:pt x="883888" y="805242"/>
                    </a:lnTo>
                    <a:lnTo>
                      <a:pt x="883006" y="804360"/>
                    </a:lnTo>
                    <a:lnTo>
                      <a:pt x="876923" y="804096"/>
                    </a:lnTo>
                    <a:lnTo>
                      <a:pt x="874278" y="804713"/>
                    </a:lnTo>
                    <a:lnTo>
                      <a:pt x="873660" y="804448"/>
                    </a:lnTo>
                    <a:lnTo>
                      <a:pt x="874807" y="803831"/>
                    </a:lnTo>
                    <a:lnTo>
                      <a:pt x="874807" y="803214"/>
                    </a:lnTo>
                    <a:lnTo>
                      <a:pt x="872514" y="803214"/>
                    </a:lnTo>
                    <a:lnTo>
                      <a:pt x="872779" y="802597"/>
                    </a:lnTo>
                    <a:lnTo>
                      <a:pt x="873396" y="800834"/>
                    </a:lnTo>
                    <a:lnTo>
                      <a:pt x="871104" y="799952"/>
                    </a:lnTo>
                    <a:lnTo>
                      <a:pt x="862904" y="799952"/>
                    </a:lnTo>
                    <a:lnTo>
                      <a:pt x="862904" y="799335"/>
                    </a:lnTo>
                    <a:lnTo>
                      <a:pt x="863168" y="798717"/>
                    </a:lnTo>
                    <a:lnTo>
                      <a:pt x="863697" y="798717"/>
                    </a:lnTo>
                    <a:lnTo>
                      <a:pt x="861052" y="798717"/>
                    </a:lnTo>
                    <a:lnTo>
                      <a:pt x="855762" y="799864"/>
                    </a:lnTo>
                    <a:lnTo>
                      <a:pt x="855762" y="799246"/>
                    </a:lnTo>
                    <a:lnTo>
                      <a:pt x="856027" y="798629"/>
                    </a:lnTo>
                    <a:lnTo>
                      <a:pt x="849855" y="798894"/>
                    </a:lnTo>
                    <a:lnTo>
                      <a:pt x="839363" y="796866"/>
                    </a:lnTo>
                    <a:lnTo>
                      <a:pt x="837952" y="796601"/>
                    </a:lnTo>
                    <a:lnTo>
                      <a:pt x="837335" y="796601"/>
                    </a:lnTo>
                    <a:lnTo>
                      <a:pt x="830370" y="794838"/>
                    </a:lnTo>
                    <a:lnTo>
                      <a:pt x="830105" y="793956"/>
                    </a:lnTo>
                    <a:lnTo>
                      <a:pt x="831869" y="791311"/>
                    </a:lnTo>
                    <a:lnTo>
                      <a:pt x="832750" y="789548"/>
                    </a:lnTo>
                    <a:lnTo>
                      <a:pt x="832221" y="788666"/>
                    </a:lnTo>
                    <a:lnTo>
                      <a:pt x="831957" y="789812"/>
                    </a:lnTo>
                    <a:lnTo>
                      <a:pt x="829312" y="788666"/>
                    </a:lnTo>
                    <a:lnTo>
                      <a:pt x="829576" y="789812"/>
                    </a:lnTo>
                    <a:lnTo>
                      <a:pt x="823757" y="791576"/>
                    </a:lnTo>
                    <a:lnTo>
                      <a:pt x="823140" y="789548"/>
                    </a:lnTo>
                    <a:lnTo>
                      <a:pt x="823405" y="788931"/>
                    </a:lnTo>
                    <a:lnTo>
                      <a:pt x="826931" y="786638"/>
                    </a:lnTo>
                    <a:lnTo>
                      <a:pt x="826931" y="784875"/>
                    </a:lnTo>
                    <a:lnTo>
                      <a:pt x="826667" y="784875"/>
                    </a:lnTo>
                    <a:lnTo>
                      <a:pt x="825785" y="786021"/>
                    </a:lnTo>
                    <a:lnTo>
                      <a:pt x="824903" y="785404"/>
                    </a:lnTo>
                    <a:lnTo>
                      <a:pt x="826050" y="783641"/>
                    </a:lnTo>
                    <a:lnTo>
                      <a:pt x="826314" y="782759"/>
                    </a:lnTo>
                    <a:lnTo>
                      <a:pt x="827813" y="782494"/>
                    </a:lnTo>
                    <a:lnTo>
                      <a:pt x="828959" y="782759"/>
                    </a:lnTo>
                    <a:lnTo>
                      <a:pt x="830105" y="782142"/>
                    </a:lnTo>
                    <a:lnTo>
                      <a:pt x="830987" y="781260"/>
                    </a:lnTo>
                    <a:lnTo>
                      <a:pt x="830722" y="780731"/>
                    </a:lnTo>
                    <a:lnTo>
                      <a:pt x="829576" y="780466"/>
                    </a:lnTo>
                    <a:lnTo>
                      <a:pt x="827284" y="780114"/>
                    </a:lnTo>
                    <a:lnTo>
                      <a:pt x="827019" y="780731"/>
                    </a:lnTo>
                    <a:lnTo>
                      <a:pt x="825873" y="780731"/>
                    </a:lnTo>
                    <a:lnTo>
                      <a:pt x="825609" y="779232"/>
                    </a:lnTo>
                    <a:lnTo>
                      <a:pt x="824462" y="779761"/>
                    </a:lnTo>
                    <a:lnTo>
                      <a:pt x="823581" y="778615"/>
                    </a:lnTo>
                    <a:lnTo>
                      <a:pt x="824462" y="777116"/>
                    </a:lnTo>
                    <a:lnTo>
                      <a:pt x="825609" y="776499"/>
                    </a:lnTo>
                    <a:lnTo>
                      <a:pt x="825873" y="775353"/>
                    </a:lnTo>
                    <a:lnTo>
                      <a:pt x="830282" y="771562"/>
                    </a:lnTo>
                    <a:lnTo>
                      <a:pt x="830017" y="769798"/>
                    </a:lnTo>
                    <a:lnTo>
                      <a:pt x="828871" y="769181"/>
                    </a:lnTo>
                    <a:lnTo>
                      <a:pt x="829135" y="768035"/>
                    </a:lnTo>
                    <a:lnTo>
                      <a:pt x="828254" y="766889"/>
                    </a:lnTo>
                    <a:lnTo>
                      <a:pt x="827372" y="766271"/>
                    </a:lnTo>
                    <a:lnTo>
                      <a:pt x="825344" y="763979"/>
                    </a:lnTo>
                    <a:lnTo>
                      <a:pt x="826843" y="762480"/>
                    </a:lnTo>
                    <a:lnTo>
                      <a:pt x="827108" y="761598"/>
                    </a:lnTo>
                    <a:lnTo>
                      <a:pt x="829488" y="759571"/>
                    </a:lnTo>
                    <a:lnTo>
                      <a:pt x="829224" y="758160"/>
                    </a:lnTo>
                    <a:lnTo>
                      <a:pt x="832133" y="756132"/>
                    </a:lnTo>
                    <a:lnTo>
                      <a:pt x="830634" y="754986"/>
                    </a:lnTo>
                    <a:lnTo>
                      <a:pt x="827460" y="754369"/>
                    </a:lnTo>
                    <a:lnTo>
                      <a:pt x="825961" y="754986"/>
                    </a:lnTo>
                    <a:lnTo>
                      <a:pt x="823052" y="755603"/>
                    </a:lnTo>
                    <a:lnTo>
                      <a:pt x="821288" y="756220"/>
                    </a:lnTo>
                    <a:lnTo>
                      <a:pt x="817762" y="755339"/>
                    </a:lnTo>
                    <a:lnTo>
                      <a:pt x="816615" y="756220"/>
                    </a:lnTo>
                    <a:lnTo>
                      <a:pt x="814852" y="753311"/>
                    </a:lnTo>
                    <a:lnTo>
                      <a:pt x="814588" y="755339"/>
                    </a:lnTo>
                    <a:lnTo>
                      <a:pt x="812824" y="753311"/>
                    </a:lnTo>
                    <a:lnTo>
                      <a:pt x="812824" y="751812"/>
                    </a:lnTo>
                    <a:lnTo>
                      <a:pt x="811678" y="750930"/>
                    </a:lnTo>
                    <a:lnTo>
                      <a:pt x="811061" y="748902"/>
                    </a:lnTo>
                    <a:lnTo>
                      <a:pt x="811061" y="748638"/>
                    </a:lnTo>
                    <a:lnTo>
                      <a:pt x="811061" y="743965"/>
                    </a:lnTo>
                    <a:lnTo>
                      <a:pt x="811678" y="740438"/>
                    </a:lnTo>
                    <a:lnTo>
                      <a:pt x="812295" y="738675"/>
                    </a:lnTo>
                    <a:lnTo>
                      <a:pt x="811149" y="735501"/>
                    </a:lnTo>
                    <a:lnTo>
                      <a:pt x="810003" y="735501"/>
                    </a:lnTo>
                    <a:lnTo>
                      <a:pt x="808857" y="736118"/>
                    </a:lnTo>
                    <a:lnTo>
                      <a:pt x="806829" y="736118"/>
                    </a:lnTo>
                    <a:lnTo>
                      <a:pt x="807446" y="734972"/>
                    </a:lnTo>
                    <a:lnTo>
                      <a:pt x="803038" y="735501"/>
                    </a:lnTo>
                    <a:lnTo>
                      <a:pt x="801010" y="735236"/>
                    </a:lnTo>
                    <a:lnTo>
                      <a:pt x="794926" y="735236"/>
                    </a:lnTo>
                    <a:lnTo>
                      <a:pt x="794309" y="734972"/>
                    </a:lnTo>
                    <a:lnTo>
                      <a:pt x="792281" y="734090"/>
                    </a:lnTo>
                    <a:lnTo>
                      <a:pt x="790782" y="733825"/>
                    </a:lnTo>
                    <a:lnTo>
                      <a:pt x="788754" y="733208"/>
                    </a:lnTo>
                    <a:lnTo>
                      <a:pt x="788754" y="732591"/>
                    </a:lnTo>
                    <a:lnTo>
                      <a:pt x="784346" y="731445"/>
                    </a:lnTo>
                    <a:lnTo>
                      <a:pt x="782935" y="730563"/>
                    </a:lnTo>
                    <a:lnTo>
                      <a:pt x="780907" y="729946"/>
                    </a:lnTo>
                    <a:lnTo>
                      <a:pt x="777998" y="730828"/>
                    </a:lnTo>
                    <a:lnTo>
                      <a:pt x="777116" y="733120"/>
                    </a:lnTo>
                    <a:lnTo>
                      <a:pt x="778879" y="734266"/>
                    </a:lnTo>
                    <a:lnTo>
                      <a:pt x="777733" y="737176"/>
                    </a:lnTo>
                    <a:lnTo>
                      <a:pt x="775088" y="739204"/>
                    </a:lnTo>
                    <a:lnTo>
                      <a:pt x="773589" y="739204"/>
                    </a:lnTo>
                    <a:lnTo>
                      <a:pt x="771561" y="740350"/>
                    </a:lnTo>
                    <a:lnTo>
                      <a:pt x="769534" y="740614"/>
                    </a:lnTo>
                    <a:lnTo>
                      <a:pt x="768387" y="741496"/>
                    </a:lnTo>
                    <a:lnTo>
                      <a:pt x="767506" y="743260"/>
                    </a:lnTo>
                    <a:lnTo>
                      <a:pt x="766360" y="743524"/>
                    </a:lnTo>
                    <a:lnTo>
                      <a:pt x="766360" y="743260"/>
                    </a:lnTo>
                    <a:lnTo>
                      <a:pt x="767241" y="741232"/>
                    </a:lnTo>
                    <a:lnTo>
                      <a:pt x="772531" y="737705"/>
                    </a:lnTo>
                    <a:lnTo>
                      <a:pt x="774912" y="735060"/>
                    </a:lnTo>
                    <a:lnTo>
                      <a:pt x="775176" y="734443"/>
                    </a:lnTo>
                    <a:lnTo>
                      <a:pt x="772796" y="733561"/>
                    </a:lnTo>
                    <a:lnTo>
                      <a:pt x="770768" y="735060"/>
                    </a:lnTo>
                    <a:lnTo>
                      <a:pt x="770151" y="736559"/>
                    </a:lnTo>
                    <a:lnTo>
                      <a:pt x="768652" y="738587"/>
                    </a:lnTo>
                    <a:lnTo>
                      <a:pt x="767506" y="738851"/>
                    </a:lnTo>
                    <a:lnTo>
                      <a:pt x="766007" y="741232"/>
                    </a:lnTo>
                    <a:lnTo>
                      <a:pt x="764508" y="741761"/>
                    </a:lnTo>
                    <a:lnTo>
                      <a:pt x="763097" y="744670"/>
                    </a:lnTo>
                    <a:lnTo>
                      <a:pt x="761334" y="745816"/>
                    </a:lnTo>
                    <a:lnTo>
                      <a:pt x="759042" y="745816"/>
                    </a:lnTo>
                    <a:lnTo>
                      <a:pt x="757895" y="746433"/>
                    </a:lnTo>
                    <a:lnTo>
                      <a:pt x="757895" y="746169"/>
                    </a:lnTo>
                    <a:lnTo>
                      <a:pt x="759659" y="744670"/>
                    </a:lnTo>
                    <a:lnTo>
                      <a:pt x="761687" y="742642"/>
                    </a:lnTo>
                    <a:lnTo>
                      <a:pt x="764067" y="740350"/>
                    </a:lnTo>
                    <a:lnTo>
                      <a:pt x="759394" y="741761"/>
                    </a:lnTo>
                    <a:lnTo>
                      <a:pt x="755867" y="742378"/>
                    </a:lnTo>
                    <a:lnTo>
                      <a:pt x="753840" y="743524"/>
                    </a:lnTo>
                    <a:lnTo>
                      <a:pt x="752341" y="744670"/>
                    </a:lnTo>
                    <a:lnTo>
                      <a:pt x="752341" y="746433"/>
                    </a:lnTo>
                    <a:lnTo>
                      <a:pt x="750577" y="747580"/>
                    </a:lnTo>
                    <a:lnTo>
                      <a:pt x="748550" y="750225"/>
                    </a:lnTo>
                    <a:lnTo>
                      <a:pt x="747403" y="751371"/>
                    </a:lnTo>
                    <a:lnTo>
                      <a:pt x="743348" y="754016"/>
                    </a:lnTo>
                    <a:lnTo>
                      <a:pt x="740703" y="754016"/>
                    </a:lnTo>
                    <a:lnTo>
                      <a:pt x="734002" y="754633"/>
                    </a:lnTo>
                    <a:lnTo>
                      <a:pt x="730475" y="751371"/>
                    </a:lnTo>
                    <a:lnTo>
                      <a:pt x="718220" y="751988"/>
                    </a:lnTo>
                    <a:lnTo>
                      <a:pt x="718220" y="747844"/>
                    </a:lnTo>
                    <a:lnTo>
                      <a:pt x="701556" y="753134"/>
                    </a:lnTo>
                    <a:lnTo>
                      <a:pt x="702437" y="751371"/>
                    </a:lnTo>
                    <a:lnTo>
                      <a:pt x="700057" y="751107"/>
                    </a:lnTo>
                    <a:lnTo>
                      <a:pt x="700674" y="749343"/>
                    </a:lnTo>
                    <a:lnTo>
                      <a:pt x="699175" y="749079"/>
                    </a:lnTo>
                    <a:lnTo>
                      <a:pt x="694767" y="745287"/>
                    </a:lnTo>
                    <a:lnTo>
                      <a:pt x="691593" y="745552"/>
                    </a:lnTo>
                    <a:lnTo>
                      <a:pt x="690976" y="748197"/>
                    </a:lnTo>
                    <a:lnTo>
                      <a:pt x="689212" y="748197"/>
                    </a:lnTo>
                    <a:lnTo>
                      <a:pt x="688330" y="747844"/>
                    </a:lnTo>
                    <a:lnTo>
                      <a:pt x="687713" y="744670"/>
                    </a:lnTo>
                    <a:lnTo>
                      <a:pt x="688330" y="743524"/>
                    </a:lnTo>
                    <a:lnTo>
                      <a:pt x="686567" y="742995"/>
                    </a:lnTo>
                    <a:lnTo>
                      <a:pt x="685686" y="743260"/>
                    </a:lnTo>
                    <a:lnTo>
                      <a:pt x="683040" y="739733"/>
                    </a:lnTo>
                    <a:lnTo>
                      <a:pt x="679514" y="738851"/>
                    </a:lnTo>
                    <a:lnTo>
                      <a:pt x="664084" y="741761"/>
                    </a:lnTo>
                    <a:lnTo>
                      <a:pt x="664084" y="738851"/>
                    </a:lnTo>
                    <a:lnTo>
                      <a:pt x="654738" y="737088"/>
                    </a:lnTo>
                    <a:lnTo>
                      <a:pt x="650330" y="735060"/>
                    </a:lnTo>
                    <a:lnTo>
                      <a:pt x="654121" y="721923"/>
                    </a:lnTo>
                    <a:lnTo>
                      <a:pt x="652093" y="720777"/>
                    </a:lnTo>
                    <a:lnTo>
                      <a:pt x="648567" y="720777"/>
                    </a:lnTo>
                    <a:lnTo>
                      <a:pt x="622645" y="729770"/>
                    </a:lnTo>
                    <a:lnTo>
                      <a:pt x="358669" y="729770"/>
                    </a:lnTo>
                    <a:lnTo>
                      <a:pt x="281962" y="729770"/>
                    </a:lnTo>
                    <a:lnTo>
                      <a:pt x="264152" y="729770"/>
                    </a:lnTo>
                    <a:lnTo>
                      <a:pt x="222449" y="729770"/>
                    </a:lnTo>
                    <a:lnTo>
                      <a:pt x="215131" y="729505"/>
                    </a:lnTo>
                    <a:lnTo>
                      <a:pt x="187975" y="729505"/>
                    </a:lnTo>
                    <a:lnTo>
                      <a:pt x="148916" y="729770"/>
                    </a:lnTo>
                    <a:lnTo>
                      <a:pt x="122378" y="730651"/>
                    </a:lnTo>
                    <a:lnTo>
                      <a:pt x="111004" y="731533"/>
                    </a:lnTo>
                    <a:lnTo>
                      <a:pt x="111268" y="727125"/>
                    </a:lnTo>
                    <a:lnTo>
                      <a:pt x="107477" y="728006"/>
                    </a:lnTo>
                    <a:lnTo>
                      <a:pt x="106596" y="729153"/>
                    </a:lnTo>
                    <a:lnTo>
                      <a:pt x="106596" y="729682"/>
                    </a:lnTo>
                    <a:lnTo>
                      <a:pt x="105978" y="729153"/>
                    </a:lnTo>
                    <a:lnTo>
                      <a:pt x="106596" y="728006"/>
                    </a:lnTo>
                    <a:lnTo>
                      <a:pt x="105714" y="727742"/>
                    </a:lnTo>
                    <a:lnTo>
                      <a:pt x="108006" y="726596"/>
                    </a:lnTo>
                    <a:lnTo>
                      <a:pt x="108271" y="726331"/>
                    </a:lnTo>
                    <a:lnTo>
                      <a:pt x="106507" y="726596"/>
                    </a:lnTo>
                    <a:lnTo>
                      <a:pt x="105626" y="726331"/>
                    </a:lnTo>
                    <a:lnTo>
                      <a:pt x="106507" y="725185"/>
                    </a:lnTo>
                    <a:lnTo>
                      <a:pt x="106507" y="724921"/>
                    </a:lnTo>
                    <a:lnTo>
                      <a:pt x="106772" y="724303"/>
                    </a:lnTo>
                    <a:lnTo>
                      <a:pt x="107036" y="724039"/>
                    </a:lnTo>
                    <a:lnTo>
                      <a:pt x="106772" y="722540"/>
                    </a:lnTo>
                    <a:lnTo>
                      <a:pt x="107654" y="722540"/>
                    </a:lnTo>
                    <a:lnTo>
                      <a:pt x="109681" y="722540"/>
                    </a:lnTo>
                    <a:lnTo>
                      <a:pt x="110299" y="721658"/>
                    </a:lnTo>
                    <a:lnTo>
                      <a:pt x="108800" y="721129"/>
                    </a:lnTo>
                    <a:lnTo>
                      <a:pt x="107654" y="721129"/>
                    </a:lnTo>
                    <a:lnTo>
                      <a:pt x="108271" y="720248"/>
                    </a:lnTo>
                    <a:lnTo>
                      <a:pt x="110034" y="719366"/>
                    </a:lnTo>
                    <a:lnTo>
                      <a:pt x="111180" y="717074"/>
                    </a:lnTo>
                    <a:lnTo>
                      <a:pt x="111797" y="716456"/>
                    </a:lnTo>
                    <a:lnTo>
                      <a:pt x="112679" y="715575"/>
                    </a:lnTo>
                    <a:lnTo>
                      <a:pt x="111533" y="715575"/>
                    </a:lnTo>
                    <a:lnTo>
                      <a:pt x="110387" y="716192"/>
                    </a:lnTo>
                    <a:lnTo>
                      <a:pt x="106860" y="717074"/>
                    </a:lnTo>
                    <a:lnTo>
                      <a:pt x="104832" y="719983"/>
                    </a:lnTo>
                    <a:lnTo>
                      <a:pt x="103686" y="720600"/>
                    </a:lnTo>
                    <a:lnTo>
                      <a:pt x="101041" y="718572"/>
                    </a:lnTo>
                    <a:lnTo>
                      <a:pt x="98131" y="718308"/>
                    </a:lnTo>
                    <a:lnTo>
                      <a:pt x="97514" y="717426"/>
                    </a:lnTo>
                    <a:lnTo>
                      <a:pt x="97779" y="713635"/>
                    </a:lnTo>
                    <a:lnTo>
                      <a:pt x="99189" y="712489"/>
                    </a:lnTo>
                    <a:lnTo>
                      <a:pt x="100336" y="711607"/>
                    </a:lnTo>
                    <a:lnTo>
                      <a:pt x="102099" y="710990"/>
                    </a:lnTo>
                    <a:lnTo>
                      <a:pt x="102363" y="710108"/>
                    </a:lnTo>
                    <a:lnTo>
                      <a:pt x="100865" y="709491"/>
                    </a:lnTo>
                    <a:lnTo>
                      <a:pt x="99101" y="710637"/>
                    </a:lnTo>
                    <a:lnTo>
                      <a:pt x="94164" y="711519"/>
                    </a:lnTo>
                    <a:lnTo>
                      <a:pt x="92136" y="710902"/>
                    </a:lnTo>
                    <a:lnTo>
                      <a:pt x="91254" y="710020"/>
                    </a:lnTo>
                    <a:lnTo>
                      <a:pt x="91519" y="708257"/>
                    </a:lnTo>
                    <a:lnTo>
                      <a:pt x="88874" y="706493"/>
                    </a:lnTo>
                    <a:lnTo>
                      <a:pt x="89138" y="705612"/>
                    </a:lnTo>
                    <a:lnTo>
                      <a:pt x="89138" y="704465"/>
                    </a:lnTo>
                    <a:lnTo>
                      <a:pt x="95839" y="701291"/>
                    </a:lnTo>
                    <a:lnTo>
                      <a:pt x="96721" y="699528"/>
                    </a:lnTo>
                    <a:lnTo>
                      <a:pt x="96985" y="698382"/>
                    </a:lnTo>
                    <a:lnTo>
                      <a:pt x="96456" y="697500"/>
                    </a:lnTo>
                    <a:lnTo>
                      <a:pt x="92665" y="697765"/>
                    </a:lnTo>
                    <a:lnTo>
                      <a:pt x="91166" y="697236"/>
                    </a:lnTo>
                    <a:lnTo>
                      <a:pt x="89667" y="697500"/>
                    </a:lnTo>
                    <a:lnTo>
                      <a:pt x="90549" y="696089"/>
                    </a:lnTo>
                    <a:lnTo>
                      <a:pt x="90813" y="695472"/>
                    </a:lnTo>
                    <a:lnTo>
                      <a:pt x="88521" y="695208"/>
                    </a:lnTo>
                    <a:lnTo>
                      <a:pt x="88257" y="694326"/>
                    </a:lnTo>
                    <a:lnTo>
                      <a:pt x="86846" y="694062"/>
                    </a:lnTo>
                    <a:lnTo>
                      <a:pt x="81027" y="694679"/>
                    </a:lnTo>
                    <a:lnTo>
                      <a:pt x="79263" y="695296"/>
                    </a:lnTo>
                    <a:lnTo>
                      <a:pt x="78646" y="695031"/>
                    </a:lnTo>
                    <a:lnTo>
                      <a:pt x="79263" y="693532"/>
                    </a:lnTo>
                    <a:lnTo>
                      <a:pt x="78382" y="693268"/>
                    </a:lnTo>
                    <a:lnTo>
                      <a:pt x="73444" y="693532"/>
                    </a:lnTo>
                    <a:lnTo>
                      <a:pt x="70535" y="693268"/>
                    </a:lnTo>
                    <a:lnTo>
                      <a:pt x="70535" y="693003"/>
                    </a:lnTo>
                    <a:lnTo>
                      <a:pt x="72298" y="691857"/>
                    </a:lnTo>
                    <a:lnTo>
                      <a:pt x="72298" y="691240"/>
                    </a:lnTo>
                    <a:lnTo>
                      <a:pt x="71152" y="690976"/>
                    </a:lnTo>
                    <a:lnTo>
                      <a:pt x="72034" y="690711"/>
                    </a:lnTo>
                    <a:lnTo>
                      <a:pt x="74326" y="689829"/>
                    </a:lnTo>
                    <a:lnTo>
                      <a:pt x="74943" y="688948"/>
                    </a:lnTo>
                    <a:lnTo>
                      <a:pt x="76706" y="687802"/>
                    </a:lnTo>
                    <a:lnTo>
                      <a:pt x="76706" y="685774"/>
                    </a:lnTo>
                    <a:lnTo>
                      <a:pt x="75560" y="684892"/>
                    </a:lnTo>
                    <a:lnTo>
                      <a:pt x="72298" y="685774"/>
                    </a:lnTo>
                    <a:lnTo>
                      <a:pt x="70006" y="685509"/>
                    </a:lnTo>
                    <a:lnTo>
                      <a:pt x="70006" y="685245"/>
                    </a:lnTo>
                    <a:lnTo>
                      <a:pt x="71152" y="683746"/>
                    </a:lnTo>
                    <a:lnTo>
                      <a:pt x="70006" y="684010"/>
                    </a:lnTo>
                    <a:lnTo>
                      <a:pt x="69124" y="684628"/>
                    </a:lnTo>
                    <a:lnTo>
                      <a:pt x="67713" y="684892"/>
                    </a:lnTo>
                    <a:lnTo>
                      <a:pt x="66832" y="683129"/>
                    </a:lnTo>
                    <a:lnTo>
                      <a:pt x="64804" y="684275"/>
                    </a:lnTo>
                    <a:lnTo>
                      <a:pt x="63658" y="684539"/>
                    </a:lnTo>
                    <a:lnTo>
                      <a:pt x="61013" y="686038"/>
                    </a:lnTo>
                    <a:lnTo>
                      <a:pt x="59866" y="686038"/>
                    </a:lnTo>
                    <a:lnTo>
                      <a:pt x="58985" y="684539"/>
                    </a:lnTo>
                    <a:lnTo>
                      <a:pt x="56075" y="683658"/>
                    </a:lnTo>
                    <a:lnTo>
                      <a:pt x="54929" y="681894"/>
                    </a:lnTo>
                    <a:lnTo>
                      <a:pt x="55546" y="681277"/>
                    </a:lnTo>
                    <a:lnTo>
                      <a:pt x="55811" y="679866"/>
                    </a:lnTo>
                    <a:lnTo>
                      <a:pt x="56075" y="679249"/>
                    </a:lnTo>
                    <a:lnTo>
                      <a:pt x="53783" y="679249"/>
                    </a:lnTo>
                    <a:lnTo>
                      <a:pt x="53783" y="677221"/>
                    </a:lnTo>
                    <a:lnTo>
                      <a:pt x="53166" y="676340"/>
                    </a:lnTo>
                    <a:lnTo>
                      <a:pt x="54929" y="675723"/>
                    </a:lnTo>
                    <a:lnTo>
                      <a:pt x="58456" y="674841"/>
                    </a:lnTo>
                    <a:lnTo>
                      <a:pt x="60219" y="674841"/>
                    </a:lnTo>
                    <a:lnTo>
                      <a:pt x="61630" y="674576"/>
                    </a:lnTo>
                    <a:lnTo>
                      <a:pt x="61894" y="674047"/>
                    </a:lnTo>
                    <a:lnTo>
                      <a:pt x="60395" y="673430"/>
                    </a:lnTo>
                    <a:lnTo>
                      <a:pt x="58632" y="673166"/>
                    </a:lnTo>
                    <a:lnTo>
                      <a:pt x="55105" y="673430"/>
                    </a:lnTo>
                    <a:lnTo>
                      <a:pt x="55987" y="672548"/>
                    </a:lnTo>
                    <a:lnTo>
                      <a:pt x="58896" y="672019"/>
                    </a:lnTo>
                    <a:lnTo>
                      <a:pt x="61806" y="670256"/>
                    </a:lnTo>
                    <a:lnTo>
                      <a:pt x="64716" y="667611"/>
                    </a:lnTo>
                    <a:lnTo>
                      <a:pt x="65333" y="666729"/>
                    </a:lnTo>
                    <a:lnTo>
                      <a:pt x="63834" y="666994"/>
                    </a:lnTo>
                    <a:lnTo>
                      <a:pt x="62688" y="668140"/>
                    </a:lnTo>
                    <a:lnTo>
                      <a:pt x="60924" y="669022"/>
                    </a:lnTo>
                    <a:lnTo>
                      <a:pt x="59161" y="669022"/>
                    </a:lnTo>
                    <a:lnTo>
                      <a:pt x="58896" y="668493"/>
                    </a:lnTo>
                    <a:lnTo>
                      <a:pt x="59514" y="667611"/>
                    </a:lnTo>
                    <a:lnTo>
                      <a:pt x="60395" y="667082"/>
                    </a:lnTo>
                    <a:lnTo>
                      <a:pt x="60660" y="666465"/>
                    </a:lnTo>
                    <a:lnTo>
                      <a:pt x="59778" y="666465"/>
                    </a:lnTo>
                    <a:lnTo>
                      <a:pt x="60395" y="665319"/>
                    </a:lnTo>
                    <a:lnTo>
                      <a:pt x="62423" y="661792"/>
                    </a:lnTo>
                    <a:lnTo>
                      <a:pt x="63569" y="660293"/>
                    </a:lnTo>
                    <a:lnTo>
                      <a:pt x="65950" y="659147"/>
                    </a:lnTo>
                    <a:lnTo>
                      <a:pt x="68595" y="658882"/>
                    </a:lnTo>
                    <a:lnTo>
                      <a:pt x="70006" y="657384"/>
                    </a:lnTo>
                    <a:lnTo>
                      <a:pt x="71769" y="655356"/>
                    </a:lnTo>
                    <a:lnTo>
                      <a:pt x="77059" y="653592"/>
                    </a:lnTo>
                    <a:lnTo>
                      <a:pt x="78205" y="652711"/>
                    </a:lnTo>
                    <a:lnTo>
                      <a:pt x="80850" y="652093"/>
                    </a:lnTo>
                    <a:lnTo>
                      <a:pt x="84642" y="650066"/>
                    </a:lnTo>
                    <a:lnTo>
                      <a:pt x="86669" y="649184"/>
                    </a:lnTo>
                    <a:lnTo>
                      <a:pt x="86052" y="648038"/>
                    </a:lnTo>
                    <a:lnTo>
                      <a:pt x="86934" y="646891"/>
                    </a:lnTo>
                    <a:lnTo>
                      <a:pt x="86052" y="646627"/>
                    </a:lnTo>
                    <a:lnTo>
                      <a:pt x="84024" y="646891"/>
                    </a:lnTo>
                    <a:lnTo>
                      <a:pt x="81997" y="647773"/>
                    </a:lnTo>
                    <a:lnTo>
                      <a:pt x="78205" y="649801"/>
                    </a:lnTo>
                    <a:lnTo>
                      <a:pt x="74414" y="650418"/>
                    </a:lnTo>
                    <a:lnTo>
                      <a:pt x="69741" y="652446"/>
                    </a:lnTo>
                    <a:lnTo>
                      <a:pt x="70623" y="650154"/>
                    </a:lnTo>
                    <a:lnTo>
                      <a:pt x="69477" y="649537"/>
                    </a:lnTo>
                    <a:lnTo>
                      <a:pt x="70976" y="646627"/>
                    </a:lnTo>
                    <a:lnTo>
                      <a:pt x="70094" y="646627"/>
                    </a:lnTo>
                    <a:lnTo>
                      <a:pt x="66920" y="648919"/>
                    </a:lnTo>
                    <a:lnTo>
                      <a:pt x="64539" y="650066"/>
                    </a:lnTo>
                    <a:lnTo>
                      <a:pt x="63393" y="650947"/>
                    </a:lnTo>
                    <a:lnTo>
                      <a:pt x="62511" y="651212"/>
                    </a:lnTo>
                    <a:lnTo>
                      <a:pt x="62247" y="650066"/>
                    </a:lnTo>
                    <a:lnTo>
                      <a:pt x="64892" y="648302"/>
                    </a:lnTo>
                    <a:lnTo>
                      <a:pt x="66655" y="647420"/>
                    </a:lnTo>
                    <a:lnTo>
                      <a:pt x="68154" y="646539"/>
                    </a:lnTo>
                    <a:lnTo>
                      <a:pt x="69036" y="644246"/>
                    </a:lnTo>
                    <a:lnTo>
                      <a:pt x="74590" y="640455"/>
                    </a:lnTo>
                    <a:lnTo>
                      <a:pt x="76089" y="638692"/>
                    </a:lnTo>
                    <a:lnTo>
                      <a:pt x="76354" y="637810"/>
                    </a:lnTo>
                    <a:lnTo>
                      <a:pt x="75737" y="637193"/>
                    </a:lnTo>
                    <a:lnTo>
                      <a:pt x="73709" y="638075"/>
                    </a:lnTo>
                    <a:lnTo>
                      <a:pt x="72827" y="638075"/>
                    </a:lnTo>
                    <a:lnTo>
                      <a:pt x="71064" y="636928"/>
                    </a:lnTo>
                    <a:lnTo>
                      <a:pt x="71064" y="635782"/>
                    </a:lnTo>
                    <a:lnTo>
                      <a:pt x="73973" y="632255"/>
                    </a:lnTo>
                    <a:lnTo>
                      <a:pt x="74238" y="630492"/>
                    </a:lnTo>
                    <a:lnTo>
                      <a:pt x="74238" y="628993"/>
                    </a:lnTo>
                    <a:lnTo>
                      <a:pt x="71328" y="626701"/>
                    </a:lnTo>
                    <a:lnTo>
                      <a:pt x="72210" y="625202"/>
                    </a:lnTo>
                    <a:lnTo>
                      <a:pt x="73621" y="624056"/>
                    </a:lnTo>
                    <a:lnTo>
                      <a:pt x="73621" y="622028"/>
                    </a:lnTo>
                    <a:lnTo>
                      <a:pt x="74502" y="621146"/>
                    </a:lnTo>
                    <a:lnTo>
                      <a:pt x="77412" y="620265"/>
                    </a:lnTo>
                    <a:lnTo>
                      <a:pt x="81820" y="617091"/>
                    </a:lnTo>
                    <a:lnTo>
                      <a:pt x="82966" y="614798"/>
                    </a:lnTo>
                    <a:lnTo>
                      <a:pt x="85259" y="613916"/>
                    </a:lnTo>
                    <a:lnTo>
                      <a:pt x="86140" y="613035"/>
                    </a:lnTo>
                    <a:lnTo>
                      <a:pt x="85523" y="612418"/>
                    </a:lnTo>
                    <a:lnTo>
                      <a:pt x="79969" y="614446"/>
                    </a:lnTo>
                    <a:lnTo>
                      <a:pt x="70358" y="618854"/>
                    </a:lnTo>
                    <a:lnTo>
                      <a:pt x="67184" y="623262"/>
                    </a:lnTo>
                    <a:lnTo>
                      <a:pt x="65685" y="624144"/>
                    </a:lnTo>
                    <a:lnTo>
                      <a:pt x="64539" y="624408"/>
                    </a:lnTo>
                    <a:lnTo>
                      <a:pt x="62776" y="618589"/>
                    </a:lnTo>
                    <a:lnTo>
                      <a:pt x="62247" y="615944"/>
                    </a:lnTo>
                    <a:lnTo>
                      <a:pt x="60484" y="612418"/>
                    </a:lnTo>
                    <a:lnTo>
                      <a:pt x="60748" y="611007"/>
                    </a:lnTo>
                    <a:lnTo>
                      <a:pt x="61894" y="610125"/>
                    </a:lnTo>
                    <a:lnTo>
                      <a:pt x="65421" y="606334"/>
                    </a:lnTo>
                    <a:lnTo>
                      <a:pt x="63393" y="604835"/>
                    </a:lnTo>
                    <a:lnTo>
                      <a:pt x="64010" y="603953"/>
                    </a:lnTo>
                    <a:lnTo>
                      <a:pt x="65156" y="603425"/>
                    </a:lnTo>
                    <a:lnTo>
                      <a:pt x="65774" y="602807"/>
                    </a:lnTo>
                    <a:lnTo>
                      <a:pt x="65509" y="601926"/>
                    </a:lnTo>
                    <a:lnTo>
                      <a:pt x="62600" y="601926"/>
                    </a:lnTo>
                    <a:lnTo>
                      <a:pt x="61982" y="601308"/>
                    </a:lnTo>
                    <a:lnTo>
                      <a:pt x="62864" y="600162"/>
                    </a:lnTo>
                    <a:lnTo>
                      <a:pt x="63129" y="597253"/>
                    </a:lnTo>
                    <a:lnTo>
                      <a:pt x="64627" y="594960"/>
                    </a:lnTo>
                    <a:lnTo>
                      <a:pt x="64627" y="590552"/>
                    </a:lnTo>
                    <a:lnTo>
                      <a:pt x="64892" y="588524"/>
                    </a:lnTo>
                    <a:lnTo>
                      <a:pt x="69565" y="584733"/>
                    </a:lnTo>
                    <a:lnTo>
                      <a:pt x="78911" y="581823"/>
                    </a:lnTo>
                    <a:lnTo>
                      <a:pt x="85347" y="579178"/>
                    </a:lnTo>
                    <a:lnTo>
                      <a:pt x="86493" y="574770"/>
                    </a:lnTo>
                    <a:lnTo>
                      <a:pt x="87375" y="572742"/>
                    </a:lnTo>
                    <a:lnTo>
                      <a:pt x="88874" y="571243"/>
                    </a:lnTo>
                    <a:lnTo>
                      <a:pt x="86846" y="568333"/>
                    </a:lnTo>
                    <a:lnTo>
                      <a:pt x="87728" y="564278"/>
                    </a:lnTo>
                    <a:lnTo>
                      <a:pt x="85700" y="562867"/>
                    </a:lnTo>
                    <a:lnTo>
                      <a:pt x="81644" y="561104"/>
                    </a:lnTo>
                    <a:lnTo>
                      <a:pt x="66479" y="560839"/>
                    </a:lnTo>
                    <a:lnTo>
                      <a:pt x="74679" y="558194"/>
                    </a:lnTo>
                    <a:lnTo>
                      <a:pt x="77588" y="560839"/>
                    </a:lnTo>
                    <a:lnTo>
                      <a:pt x="77588" y="557665"/>
                    </a:lnTo>
                    <a:lnTo>
                      <a:pt x="84024" y="558811"/>
                    </a:lnTo>
                    <a:lnTo>
                      <a:pt x="75560" y="552728"/>
                    </a:lnTo>
                    <a:lnTo>
                      <a:pt x="67361" y="550083"/>
                    </a:lnTo>
                    <a:lnTo>
                      <a:pt x="60660" y="550700"/>
                    </a:lnTo>
                    <a:lnTo>
                      <a:pt x="53695" y="549818"/>
                    </a:lnTo>
                    <a:lnTo>
                      <a:pt x="49022" y="547526"/>
                    </a:lnTo>
                    <a:lnTo>
                      <a:pt x="40557" y="557136"/>
                    </a:lnTo>
                    <a:lnTo>
                      <a:pt x="36766" y="557489"/>
                    </a:lnTo>
                    <a:lnTo>
                      <a:pt x="41439" y="553080"/>
                    </a:lnTo>
                    <a:lnTo>
                      <a:pt x="45848" y="549906"/>
                    </a:lnTo>
                    <a:lnTo>
                      <a:pt x="45848" y="544969"/>
                    </a:lnTo>
                    <a:lnTo>
                      <a:pt x="48228" y="543558"/>
                    </a:lnTo>
                    <a:lnTo>
                      <a:pt x="49110" y="543205"/>
                    </a:lnTo>
                    <a:lnTo>
                      <a:pt x="50256" y="545233"/>
                    </a:lnTo>
                    <a:lnTo>
                      <a:pt x="52901" y="545233"/>
                    </a:lnTo>
                    <a:lnTo>
                      <a:pt x="56075" y="544969"/>
                    </a:lnTo>
                    <a:lnTo>
                      <a:pt x="56692" y="542941"/>
                    </a:lnTo>
                    <a:lnTo>
                      <a:pt x="60748" y="540913"/>
                    </a:lnTo>
                    <a:lnTo>
                      <a:pt x="59602" y="538268"/>
                    </a:lnTo>
                    <a:lnTo>
                      <a:pt x="62776" y="539150"/>
                    </a:lnTo>
                    <a:lnTo>
                      <a:pt x="66567" y="539150"/>
                    </a:lnTo>
                    <a:lnTo>
                      <a:pt x="71769" y="536505"/>
                    </a:lnTo>
                    <a:lnTo>
                      <a:pt x="73797" y="534741"/>
                    </a:lnTo>
                    <a:lnTo>
                      <a:pt x="74150" y="531215"/>
                    </a:lnTo>
                    <a:lnTo>
                      <a:pt x="76795" y="528834"/>
                    </a:lnTo>
                    <a:lnTo>
                      <a:pt x="78558" y="528570"/>
                    </a:lnTo>
                    <a:lnTo>
                      <a:pt x="82614" y="525660"/>
                    </a:lnTo>
                    <a:lnTo>
                      <a:pt x="81732" y="521251"/>
                    </a:lnTo>
                    <a:lnTo>
                      <a:pt x="79704" y="517460"/>
                    </a:lnTo>
                    <a:lnTo>
                      <a:pt x="81732" y="517196"/>
                    </a:lnTo>
                    <a:lnTo>
                      <a:pt x="80850" y="513669"/>
                    </a:lnTo>
                    <a:lnTo>
                      <a:pt x="77588" y="509878"/>
                    </a:lnTo>
                    <a:lnTo>
                      <a:pt x="77588" y="507497"/>
                    </a:lnTo>
                    <a:lnTo>
                      <a:pt x="78734" y="502824"/>
                    </a:lnTo>
                    <a:lnTo>
                      <a:pt x="81644" y="499915"/>
                    </a:lnTo>
                    <a:lnTo>
                      <a:pt x="83672" y="499033"/>
                    </a:lnTo>
                    <a:lnTo>
                      <a:pt x="86052" y="497270"/>
                    </a:lnTo>
                    <a:lnTo>
                      <a:pt x="88080" y="498680"/>
                    </a:lnTo>
                    <a:lnTo>
                      <a:pt x="92753" y="499298"/>
                    </a:lnTo>
                    <a:lnTo>
                      <a:pt x="88080" y="496388"/>
                    </a:lnTo>
                    <a:lnTo>
                      <a:pt x="88345" y="494625"/>
                    </a:lnTo>
                    <a:lnTo>
                      <a:pt x="89226" y="493743"/>
                    </a:lnTo>
                    <a:lnTo>
                      <a:pt x="88080" y="493478"/>
                    </a:lnTo>
                    <a:lnTo>
                      <a:pt x="90108" y="491980"/>
                    </a:lnTo>
                    <a:lnTo>
                      <a:pt x="90725" y="489952"/>
                    </a:lnTo>
                    <a:lnTo>
                      <a:pt x="88697" y="489952"/>
                    </a:lnTo>
                    <a:lnTo>
                      <a:pt x="88080" y="488188"/>
                    </a:lnTo>
                    <a:lnTo>
                      <a:pt x="88962" y="487307"/>
                    </a:lnTo>
                    <a:lnTo>
                      <a:pt x="85435" y="486690"/>
                    </a:lnTo>
                    <a:lnTo>
                      <a:pt x="85171" y="486425"/>
                    </a:lnTo>
                    <a:lnTo>
                      <a:pt x="87199" y="484133"/>
                    </a:lnTo>
                    <a:lnTo>
                      <a:pt x="86317" y="482986"/>
                    </a:lnTo>
                    <a:lnTo>
                      <a:pt x="86934" y="482369"/>
                    </a:lnTo>
                    <a:lnTo>
                      <a:pt x="88080" y="482105"/>
                    </a:lnTo>
                    <a:lnTo>
                      <a:pt x="90373" y="480077"/>
                    </a:lnTo>
                    <a:lnTo>
                      <a:pt x="90373" y="478578"/>
                    </a:lnTo>
                    <a:lnTo>
                      <a:pt x="88874" y="478578"/>
                    </a:lnTo>
                    <a:lnTo>
                      <a:pt x="89491" y="476815"/>
                    </a:lnTo>
                    <a:lnTo>
                      <a:pt x="88609" y="475933"/>
                    </a:lnTo>
                    <a:lnTo>
                      <a:pt x="87728" y="474434"/>
                    </a:lnTo>
                    <a:lnTo>
                      <a:pt x="76354" y="477608"/>
                    </a:lnTo>
                    <a:lnTo>
                      <a:pt x="70799" y="478490"/>
                    </a:lnTo>
                    <a:lnTo>
                      <a:pt x="67890" y="479107"/>
                    </a:lnTo>
                    <a:lnTo>
                      <a:pt x="69036" y="479989"/>
                    </a:lnTo>
                    <a:lnTo>
                      <a:pt x="68154" y="480606"/>
                    </a:lnTo>
                    <a:lnTo>
                      <a:pt x="65245" y="480606"/>
                    </a:lnTo>
                    <a:lnTo>
                      <a:pt x="63217" y="480606"/>
                    </a:lnTo>
                    <a:lnTo>
                      <a:pt x="60572" y="482105"/>
                    </a:lnTo>
                    <a:lnTo>
                      <a:pt x="56516" y="485631"/>
                    </a:lnTo>
                    <a:lnTo>
                      <a:pt x="53606" y="486249"/>
                    </a:lnTo>
                    <a:lnTo>
                      <a:pt x="50080" y="486513"/>
                    </a:lnTo>
                    <a:lnTo>
                      <a:pt x="45671" y="484750"/>
                    </a:lnTo>
                    <a:lnTo>
                      <a:pt x="43379" y="486249"/>
                    </a:lnTo>
                    <a:lnTo>
                      <a:pt x="40469" y="486866"/>
                    </a:lnTo>
                    <a:lnTo>
                      <a:pt x="38706" y="486866"/>
                    </a:lnTo>
                    <a:lnTo>
                      <a:pt x="37295" y="487747"/>
                    </a:lnTo>
                    <a:lnTo>
                      <a:pt x="32358" y="486249"/>
                    </a:lnTo>
                    <a:lnTo>
                      <a:pt x="31212" y="475492"/>
                    </a:lnTo>
                    <a:lnTo>
                      <a:pt x="33239" y="472583"/>
                    </a:lnTo>
                    <a:lnTo>
                      <a:pt x="28302" y="469673"/>
                    </a:lnTo>
                    <a:lnTo>
                      <a:pt x="28567" y="468791"/>
                    </a:lnTo>
                    <a:lnTo>
                      <a:pt x="28831" y="468791"/>
                    </a:lnTo>
                    <a:lnTo>
                      <a:pt x="29448" y="467910"/>
                    </a:lnTo>
                    <a:lnTo>
                      <a:pt x="36149" y="463237"/>
                    </a:lnTo>
                    <a:lnTo>
                      <a:pt x="37648" y="462091"/>
                    </a:lnTo>
                    <a:lnTo>
                      <a:pt x="26274" y="462355"/>
                    </a:lnTo>
                    <a:lnTo>
                      <a:pt x="16399" y="466146"/>
                    </a:lnTo>
                    <a:lnTo>
                      <a:pt x="12344" y="462972"/>
                    </a:lnTo>
                    <a:lnTo>
                      <a:pt x="9169" y="465000"/>
                    </a:lnTo>
                    <a:lnTo>
                      <a:pt x="1322" y="465000"/>
                    </a:lnTo>
                    <a:lnTo>
                      <a:pt x="14724" y="451863"/>
                    </a:lnTo>
                    <a:lnTo>
                      <a:pt x="51490" y="416860"/>
                    </a:lnTo>
                    <a:lnTo>
                      <a:pt x="193530" y="292014"/>
                    </a:lnTo>
                    <a:lnTo>
                      <a:pt x="209224" y="278877"/>
                    </a:lnTo>
                    <a:lnTo>
                      <a:pt x="231706" y="260538"/>
                    </a:lnTo>
                    <a:lnTo>
                      <a:pt x="238672" y="260273"/>
                    </a:lnTo>
                    <a:lnTo>
                      <a:pt x="242199" y="263183"/>
                    </a:lnTo>
                    <a:lnTo>
                      <a:pt x="245990" y="262036"/>
                    </a:lnTo>
                    <a:lnTo>
                      <a:pt x="251280" y="262918"/>
                    </a:lnTo>
                    <a:lnTo>
                      <a:pt x="254454" y="260009"/>
                    </a:lnTo>
                    <a:lnTo>
                      <a:pt x="260008" y="261155"/>
                    </a:lnTo>
                    <a:lnTo>
                      <a:pt x="263183" y="259391"/>
                    </a:lnTo>
                    <a:lnTo>
                      <a:pt x="265475" y="260890"/>
                    </a:lnTo>
                    <a:lnTo>
                      <a:pt x="267767" y="259391"/>
                    </a:lnTo>
                    <a:lnTo>
                      <a:pt x="272440" y="260538"/>
                    </a:lnTo>
                    <a:lnTo>
                      <a:pt x="272705" y="261684"/>
                    </a:lnTo>
                    <a:lnTo>
                      <a:pt x="273586" y="263712"/>
                    </a:lnTo>
                    <a:lnTo>
                      <a:pt x="271823" y="266357"/>
                    </a:lnTo>
                    <a:lnTo>
                      <a:pt x="270941" y="269531"/>
                    </a:lnTo>
                    <a:lnTo>
                      <a:pt x="272969" y="269266"/>
                    </a:lnTo>
                    <a:lnTo>
                      <a:pt x="274997" y="270148"/>
                    </a:lnTo>
                    <a:lnTo>
                      <a:pt x="278259" y="271294"/>
                    </a:lnTo>
                    <a:lnTo>
                      <a:pt x="282051" y="275350"/>
                    </a:lnTo>
                    <a:lnTo>
                      <a:pt x="285577" y="274468"/>
                    </a:lnTo>
                    <a:lnTo>
                      <a:pt x="288222" y="274997"/>
                    </a:lnTo>
                    <a:lnTo>
                      <a:pt x="288487" y="277025"/>
                    </a:lnTo>
                    <a:lnTo>
                      <a:pt x="290250" y="278171"/>
                    </a:lnTo>
                    <a:lnTo>
                      <a:pt x="295452" y="277907"/>
                    </a:lnTo>
                    <a:lnTo>
                      <a:pt x="296951" y="276761"/>
                    </a:lnTo>
                    <a:lnTo>
                      <a:pt x="301888" y="277642"/>
                    </a:lnTo>
                    <a:lnTo>
                      <a:pt x="305415" y="274468"/>
                    </a:lnTo>
                    <a:lnTo>
                      <a:pt x="304798" y="277378"/>
                    </a:lnTo>
                    <a:lnTo>
                      <a:pt x="306297" y="280904"/>
                    </a:lnTo>
                    <a:lnTo>
                      <a:pt x="308060" y="283197"/>
                    </a:lnTo>
                    <a:lnTo>
                      <a:pt x="303652" y="284343"/>
                    </a:lnTo>
                    <a:lnTo>
                      <a:pt x="299596" y="286635"/>
                    </a:lnTo>
                    <a:lnTo>
                      <a:pt x="298450" y="290691"/>
                    </a:lnTo>
                    <a:lnTo>
                      <a:pt x="296422" y="291837"/>
                    </a:lnTo>
                    <a:lnTo>
                      <a:pt x="295805" y="294482"/>
                    </a:lnTo>
                    <a:lnTo>
                      <a:pt x="292631" y="295629"/>
                    </a:lnTo>
                    <a:lnTo>
                      <a:pt x="288311" y="298803"/>
                    </a:lnTo>
                    <a:lnTo>
                      <a:pt x="295893" y="304622"/>
                    </a:lnTo>
                    <a:lnTo>
                      <a:pt x="294747" y="300566"/>
                    </a:lnTo>
                    <a:lnTo>
                      <a:pt x="304357" y="287693"/>
                    </a:lnTo>
                    <a:lnTo>
                      <a:pt x="313968" y="284167"/>
                    </a:lnTo>
                    <a:lnTo>
                      <a:pt x="315114" y="280993"/>
                    </a:lnTo>
                    <a:lnTo>
                      <a:pt x="318905" y="280375"/>
                    </a:lnTo>
                    <a:lnTo>
                      <a:pt x="318905" y="275967"/>
                    </a:lnTo>
                    <a:lnTo>
                      <a:pt x="321550" y="273057"/>
                    </a:lnTo>
                    <a:lnTo>
                      <a:pt x="325606" y="270765"/>
                    </a:lnTo>
                    <a:lnTo>
                      <a:pt x="332924" y="267591"/>
                    </a:lnTo>
                    <a:lnTo>
                      <a:pt x="338743" y="267327"/>
                    </a:lnTo>
                    <a:lnTo>
                      <a:pt x="345708" y="263271"/>
                    </a:lnTo>
                    <a:lnTo>
                      <a:pt x="348089" y="262389"/>
                    </a:lnTo>
                    <a:lnTo>
                      <a:pt x="351615" y="261772"/>
                    </a:lnTo>
                    <a:lnTo>
                      <a:pt x="356906" y="261772"/>
                    </a:lnTo>
                    <a:lnTo>
                      <a:pt x="353996" y="265563"/>
                    </a:lnTo>
                    <a:lnTo>
                      <a:pt x="354613" y="266445"/>
                    </a:lnTo>
                    <a:lnTo>
                      <a:pt x="356906" y="267327"/>
                    </a:lnTo>
                    <a:lnTo>
                      <a:pt x="361314" y="267062"/>
                    </a:lnTo>
                    <a:lnTo>
                      <a:pt x="365105" y="268825"/>
                    </a:lnTo>
                    <a:lnTo>
                      <a:pt x="366251" y="263888"/>
                    </a:lnTo>
                    <a:lnTo>
                      <a:pt x="369778" y="262125"/>
                    </a:lnTo>
                    <a:lnTo>
                      <a:pt x="372071" y="261507"/>
                    </a:lnTo>
                    <a:lnTo>
                      <a:pt x="372952" y="259744"/>
                    </a:lnTo>
                    <a:lnTo>
                      <a:pt x="376743" y="262389"/>
                    </a:lnTo>
                    <a:lnTo>
                      <a:pt x="378242" y="261772"/>
                    </a:lnTo>
                    <a:lnTo>
                      <a:pt x="379389" y="259480"/>
                    </a:lnTo>
                    <a:lnTo>
                      <a:pt x="382915" y="258333"/>
                    </a:lnTo>
                    <a:lnTo>
                      <a:pt x="385560" y="259480"/>
                    </a:lnTo>
                    <a:lnTo>
                      <a:pt x="388470" y="259480"/>
                    </a:lnTo>
                    <a:lnTo>
                      <a:pt x="392261" y="257716"/>
                    </a:lnTo>
                    <a:lnTo>
                      <a:pt x="395788" y="256570"/>
                    </a:lnTo>
                    <a:lnTo>
                      <a:pt x="398168" y="258598"/>
                    </a:lnTo>
                    <a:lnTo>
                      <a:pt x="401960" y="257452"/>
                    </a:lnTo>
                    <a:lnTo>
                      <a:pt x="403723" y="255953"/>
                    </a:lnTo>
                    <a:lnTo>
                      <a:pt x="406104" y="253043"/>
                    </a:lnTo>
                    <a:lnTo>
                      <a:pt x="408749" y="251897"/>
                    </a:lnTo>
                    <a:lnTo>
                      <a:pt x="410776" y="254278"/>
                    </a:lnTo>
                    <a:lnTo>
                      <a:pt x="417742" y="252250"/>
                    </a:lnTo>
                    <a:lnTo>
                      <a:pt x="419770" y="252250"/>
                    </a:lnTo>
                    <a:lnTo>
                      <a:pt x="423561" y="248988"/>
                    </a:lnTo>
                    <a:lnTo>
                      <a:pt x="430526" y="247841"/>
                    </a:lnTo>
                    <a:lnTo>
                      <a:pt x="426999" y="249869"/>
                    </a:lnTo>
                    <a:lnTo>
                      <a:pt x="423208" y="251368"/>
                    </a:lnTo>
                    <a:lnTo>
                      <a:pt x="414215" y="254278"/>
                    </a:lnTo>
                    <a:lnTo>
                      <a:pt x="415978" y="255424"/>
                    </a:lnTo>
                    <a:lnTo>
                      <a:pt x="420651" y="254807"/>
                    </a:lnTo>
                    <a:lnTo>
                      <a:pt x="428498" y="253308"/>
                    </a:lnTo>
                    <a:lnTo>
                      <a:pt x="435199" y="251015"/>
                    </a:lnTo>
                    <a:lnTo>
                      <a:pt x="436962" y="248635"/>
                    </a:lnTo>
                    <a:lnTo>
                      <a:pt x="438109" y="250134"/>
                    </a:lnTo>
                    <a:lnTo>
                      <a:pt x="437227" y="253043"/>
                    </a:lnTo>
                    <a:lnTo>
                      <a:pt x="434582" y="255336"/>
                    </a:lnTo>
                    <a:lnTo>
                      <a:pt x="433965" y="257981"/>
                    </a:lnTo>
                    <a:lnTo>
                      <a:pt x="439519" y="255953"/>
                    </a:lnTo>
                    <a:lnTo>
                      <a:pt x="441018" y="255953"/>
                    </a:lnTo>
                    <a:lnTo>
                      <a:pt x="444192" y="256835"/>
                    </a:lnTo>
                    <a:lnTo>
                      <a:pt x="446837" y="254189"/>
                    </a:lnTo>
                    <a:lnTo>
                      <a:pt x="451246" y="253308"/>
                    </a:lnTo>
                    <a:lnTo>
                      <a:pt x="453891" y="253925"/>
                    </a:lnTo>
                    <a:lnTo>
                      <a:pt x="455654" y="251544"/>
                    </a:lnTo>
                    <a:lnTo>
                      <a:pt x="458828" y="250046"/>
                    </a:lnTo>
                    <a:lnTo>
                      <a:pt x="460592" y="247665"/>
                    </a:lnTo>
                    <a:lnTo>
                      <a:pt x="463766" y="247136"/>
                    </a:lnTo>
                    <a:lnTo>
                      <a:pt x="466411" y="243345"/>
                    </a:lnTo>
                    <a:lnTo>
                      <a:pt x="466675" y="241846"/>
                    </a:lnTo>
                    <a:lnTo>
                      <a:pt x="468174" y="239201"/>
                    </a:lnTo>
                    <a:lnTo>
                      <a:pt x="469673" y="239465"/>
                    </a:lnTo>
                    <a:lnTo>
                      <a:pt x="471436" y="238848"/>
                    </a:lnTo>
                    <a:lnTo>
                      <a:pt x="472582" y="240876"/>
                    </a:lnTo>
                    <a:lnTo>
                      <a:pt x="474346" y="239730"/>
                    </a:lnTo>
                    <a:lnTo>
                      <a:pt x="474081" y="242639"/>
                    </a:lnTo>
                    <a:lnTo>
                      <a:pt x="476991" y="244932"/>
                    </a:lnTo>
                    <a:lnTo>
                      <a:pt x="477608" y="246078"/>
                    </a:lnTo>
                    <a:lnTo>
                      <a:pt x="476726" y="247489"/>
                    </a:lnTo>
                    <a:lnTo>
                      <a:pt x="476109" y="252162"/>
                    </a:lnTo>
                    <a:lnTo>
                      <a:pt x="476109" y="255336"/>
                    </a:lnTo>
                    <a:lnTo>
                      <a:pt x="474610" y="259391"/>
                    </a:lnTo>
                    <a:lnTo>
                      <a:pt x="473200" y="261419"/>
                    </a:lnTo>
                    <a:lnTo>
                      <a:pt x="474610" y="264946"/>
                    </a:lnTo>
                    <a:lnTo>
                      <a:pt x="474610" y="266974"/>
                    </a:lnTo>
                    <a:lnTo>
                      <a:pt x="475492" y="269619"/>
                    </a:lnTo>
                    <a:lnTo>
                      <a:pt x="477520" y="267856"/>
                    </a:lnTo>
                    <a:lnTo>
                      <a:pt x="479900" y="266092"/>
                    </a:lnTo>
                    <a:lnTo>
                      <a:pt x="482193" y="263183"/>
                    </a:lnTo>
                    <a:lnTo>
                      <a:pt x="485102" y="261155"/>
                    </a:lnTo>
                    <a:lnTo>
                      <a:pt x="487395" y="261772"/>
                    </a:lnTo>
                    <a:lnTo>
                      <a:pt x="489158" y="260890"/>
                    </a:lnTo>
                    <a:lnTo>
                      <a:pt x="491186" y="258245"/>
                    </a:lnTo>
                    <a:lnTo>
                      <a:pt x="492949" y="259127"/>
                    </a:lnTo>
                    <a:lnTo>
                      <a:pt x="493831" y="258510"/>
                    </a:lnTo>
                    <a:lnTo>
                      <a:pt x="495242" y="259656"/>
                    </a:lnTo>
                    <a:lnTo>
                      <a:pt x="497270" y="256746"/>
                    </a:lnTo>
                    <a:lnTo>
                      <a:pt x="499915" y="253837"/>
                    </a:lnTo>
                    <a:lnTo>
                      <a:pt x="503177" y="252338"/>
                    </a:lnTo>
                    <a:lnTo>
                      <a:pt x="506968" y="252338"/>
                    </a:lnTo>
                    <a:lnTo>
                      <a:pt x="509613" y="250310"/>
                    </a:lnTo>
                    <a:lnTo>
                      <a:pt x="512787" y="248811"/>
                    </a:lnTo>
                    <a:lnTo>
                      <a:pt x="514815" y="248811"/>
                    </a:lnTo>
                    <a:lnTo>
                      <a:pt x="516579" y="249428"/>
                    </a:lnTo>
                    <a:lnTo>
                      <a:pt x="515697" y="251192"/>
                    </a:lnTo>
                    <a:lnTo>
                      <a:pt x="513933" y="253572"/>
                    </a:lnTo>
                    <a:lnTo>
                      <a:pt x="511906" y="254719"/>
                    </a:lnTo>
                    <a:lnTo>
                      <a:pt x="512523" y="256482"/>
                    </a:lnTo>
                    <a:lnTo>
                      <a:pt x="510495" y="257628"/>
                    </a:lnTo>
                    <a:lnTo>
                      <a:pt x="510759" y="259656"/>
                    </a:lnTo>
                    <a:lnTo>
                      <a:pt x="508996" y="262566"/>
                    </a:lnTo>
                    <a:lnTo>
                      <a:pt x="506704" y="260802"/>
                    </a:lnTo>
                    <a:lnTo>
                      <a:pt x="504676" y="262566"/>
                    </a:lnTo>
                    <a:lnTo>
                      <a:pt x="502383" y="263712"/>
                    </a:lnTo>
                    <a:lnTo>
                      <a:pt x="500003" y="267238"/>
                    </a:lnTo>
                    <a:lnTo>
                      <a:pt x="504411" y="266092"/>
                    </a:lnTo>
                    <a:lnTo>
                      <a:pt x="507938" y="267238"/>
                    </a:lnTo>
                    <a:lnTo>
                      <a:pt x="511465" y="267856"/>
                    </a:lnTo>
                    <a:lnTo>
                      <a:pt x="513757" y="266092"/>
                    </a:lnTo>
                    <a:lnTo>
                      <a:pt x="518166" y="266092"/>
                    </a:lnTo>
                    <a:lnTo>
                      <a:pt x="519312" y="264064"/>
                    </a:lnTo>
                    <a:lnTo>
                      <a:pt x="523368" y="263183"/>
                    </a:lnTo>
                    <a:lnTo>
                      <a:pt x="527423" y="262566"/>
                    </a:lnTo>
                    <a:lnTo>
                      <a:pt x="529187" y="260802"/>
                    </a:lnTo>
                    <a:lnTo>
                      <a:pt x="534124" y="260538"/>
                    </a:lnTo>
                    <a:lnTo>
                      <a:pt x="537034" y="258774"/>
                    </a:lnTo>
                    <a:lnTo>
                      <a:pt x="540560" y="258510"/>
                    </a:lnTo>
                    <a:lnTo>
                      <a:pt x="544087" y="257628"/>
                    </a:lnTo>
                    <a:lnTo>
                      <a:pt x="547614" y="255248"/>
                    </a:lnTo>
                    <a:lnTo>
                      <a:pt x="549906" y="254983"/>
                    </a:lnTo>
                    <a:lnTo>
                      <a:pt x="553962" y="255512"/>
                    </a:lnTo>
                    <a:lnTo>
                      <a:pt x="556872" y="256658"/>
                    </a:lnTo>
                    <a:lnTo>
                      <a:pt x="555990" y="260185"/>
                    </a:lnTo>
                    <a:lnTo>
                      <a:pt x="559164" y="260802"/>
                    </a:lnTo>
                    <a:lnTo>
                      <a:pt x="559428" y="263094"/>
                    </a:lnTo>
                    <a:lnTo>
                      <a:pt x="566129" y="265122"/>
                    </a:lnTo>
                    <a:lnTo>
                      <a:pt x="568774" y="267150"/>
                    </a:lnTo>
                    <a:lnTo>
                      <a:pt x="571684" y="266533"/>
                    </a:lnTo>
                    <a:lnTo>
                      <a:pt x="572565" y="264505"/>
                    </a:lnTo>
                    <a:lnTo>
                      <a:pt x="577856" y="264505"/>
                    </a:lnTo>
                    <a:lnTo>
                      <a:pt x="582264" y="266269"/>
                    </a:lnTo>
                    <a:lnTo>
                      <a:pt x="584027" y="268296"/>
                    </a:lnTo>
                    <a:lnTo>
                      <a:pt x="588083" y="270941"/>
                    </a:lnTo>
                    <a:lnTo>
                      <a:pt x="594519" y="273851"/>
                    </a:lnTo>
                    <a:lnTo>
                      <a:pt x="598046" y="271823"/>
                    </a:lnTo>
                    <a:lnTo>
                      <a:pt x="603601" y="273851"/>
                    </a:lnTo>
                    <a:lnTo>
                      <a:pt x="610919" y="274733"/>
                    </a:lnTo>
                    <a:lnTo>
                      <a:pt x="614445" y="274997"/>
                    </a:lnTo>
                    <a:lnTo>
                      <a:pt x="613035" y="272088"/>
                    </a:lnTo>
                    <a:lnTo>
                      <a:pt x="615944" y="271206"/>
                    </a:lnTo>
                    <a:lnTo>
                      <a:pt x="620000" y="272088"/>
                    </a:lnTo>
                    <a:lnTo>
                      <a:pt x="620264" y="271470"/>
                    </a:lnTo>
                    <a:lnTo>
                      <a:pt x="630139" y="272352"/>
                    </a:lnTo>
                    <a:lnTo>
                      <a:pt x="634195" y="274645"/>
                    </a:lnTo>
                    <a:lnTo>
                      <a:pt x="638604" y="281345"/>
                    </a:lnTo>
                    <a:lnTo>
                      <a:pt x="637193" y="283638"/>
                    </a:lnTo>
                    <a:lnTo>
                      <a:pt x="639573" y="283638"/>
                    </a:lnTo>
                    <a:lnTo>
                      <a:pt x="634283" y="286812"/>
                    </a:lnTo>
                    <a:lnTo>
                      <a:pt x="622028" y="286812"/>
                    </a:lnTo>
                    <a:lnTo>
                      <a:pt x="618854" y="289192"/>
                    </a:lnTo>
                    <a:lnTo>
                      <a:pt x="614181" y="288575"/>
                    </a:lnTo>
                    <a:lnTo>
                      <a:pt x="609243" y="292984"/>
                    </a:lnTo>
                    <a:lnTo>
                      <a:pt x="603424" y="293865"/>
                    </a:lnTo>
                    <a:lnTo>
                      <a:pt x="609596" y="296510"/>
                    </a:lnTo>
                    <a:lnTo>
                      <a:pt x="615151" y="299684"/>
                    </a:lnTo>
                    <a:lnTo>
                      <a:pt x="621587" y="302065"/>
                    </a:lnTo>
                    <a:lnTo>
                      <a:pt x="625643" y="298891"/>
                    </a:lnTo>
                    <a:lnTo>
                      <a:pt x="634371" y="299773"/>
                    </a:lnTo>
                    <a:lnTo>
                      <a:pt x="643717" y="300390"/>
                    </a:lnTo>
                    <a:lnTo>
                      <a:pt x="648390" y="298891"/>
                    </a:lnTo>
                    <a:lnTo>
                      <a:pt x="651564" y="302682"/>
                    </a:lnTo>
                    <a:lnTo>
                      <a:pt x="656502" y="300654"/>
                    </a:lnTo>
                    <a:lnTo>
                      <a:pt x="659147" y="304710"/>
                    </a:lnTo>
                    <a:lnTo>
                      <a:pt x="666729" y="297745"/>
                    </a:lnTo>
                    <a:lnTo>
                      <a:pt x="672548" y="295981"/>
                    </a:lnTo>
                    <a:lnTo>
                      <a:pt x="672019" y="296863"/>
                    </a:lnTo>
                    <a:lnTo>
                      <a:pt x="679602" y="295981"/>
                    </a:lnTo>
                    <a:lnTo>
                      <a:pt x="688330" y="294218"/>
                    </a:lnTo>
                    <a:lnTo>
                      <a:pt x="693621" y="291573"/>
                    </a:lnTo>
                    <a:lnTo>
                      <a:pt x="695384" y="298626"/>
                    </a:lnTo>
                    <a:lnTo>
                      <a:pt x="703848" y="297745"/>
                    </a:lnTo>
                    <a:lnTo>
                      <a:pt x="700674" y="304710"/>
                    </a:lnTo>
                    <a:lnTo>
                      <a:pt x="703319" y="305327"/>
                    </a:lnTo>
                    <a:lnTo>
                      <a:pt x="707992" y="300390"/>
                    </a:lnTo>
                    <a:lnTo>
                      <a:pt x="707375" y="305327"/>
                    </a:lnTo>
                    <a:lnTo>
                      <a:pt x="710020" y="304181"/>
                    </a:lnTo>
                    <a:lnTo>
                      <a:pt x="708874" y="306473"/>
                    </a:lnTo>
                    <a:lnTo>
                      <a:pt x="710637" y="305327"/>
                    </a:lnTo>
                    <a:lnTo>
                      <a:pt x="712930" y="307090"/>
                    </a:lnTo>
                    <a:lnTo>
                      <a:pt x="712312" y="311146"/>
                    </a:lnTo>
                    <a:lnTo>
                      <a:pt x="705347" y="312645"/>
                    </a:lnTo>
                    <a:lnTo>
                      <a:pt x="701291" y="310617"/>
                    </a:lnTo>
                    <a:lnTo>
                      <a:pt x="704465" y="314144"/>
                    </a:lnTo>
                    <a:lnTo>
                      <a:pt x="702702" y="316436"/>
                    </a:lnTo>
                    <a:lnTo>
                      <a:pt x="704730" y="317318"/>
                    </a:lnTo>
                    <a:lnTo>
                      <a:pt x="707022" y="322608"/>
                    </a:lnTo>
                    <a:lnTo>
                      <a:pt x="710813" y="314144"/>
                    </a:lnTo>
                    <a:lnTo>
                      <a:pt x="716368" y="312998"/>
                    </a:lnTo>
                    <a:lnTo>
                      <a:pt x="714340" y="314761"/>
                    </a:lnTo>
                    <a:lnTo>
                      <a:pt x="718749" y="317406"/>
                    </a:lnTo>
                    <a:lnTo>
                      <a:pt x="720777" y="308942"/>
                    </a:lnTo>
                    <a:lnTo>
                      <a:pt x="720159" y="306033"/>
                    </a:lnTo>
                    <a:lnTo>
                      <a:pt x="724215" y="302241"/>
                    </a:lnTo>
                    <a:lnTo>
                      <a:pt x="721570" y="297304"/>
                    </a:lnTo>
                    <a:lnTo>
                      <a:pt x="729417" y="297039"/>
                    </a:lnTo>
                    <a:lnTo>
                      <a:pt x="732327" y="293248"/>
                    </a:lnTo>
                    <a:lnTo>
                      <a:pt x="733473" y="291485"/>
                    </a:lnTo>
                    <a:lnTo>
                      <a:pt x="736382" y="290338"/>
                    </a:lnTo>
                    <a:lnTo>
                      <a:pt x="739027" y="291220"/>
                    </a:lnTo>
                    <a:lnTo>
                      <a:pt x="743700" y="289457"/>
                    </a:lnTo>
                    <a:lnTo>
                      <a:pt x="743965" y="290338"/>
                    </a:lnTo>
                    <a:lnTo>
                      <a:pt x="749519" y="289721"/>
                    </a:lnTo>
                    <a:lnTo>
                      <a:pt x="751547" y="287429"/>
                    </a:lnTo>
                    <a:lnTo>
                      <a:pt x="757366" y="287693"/>
                    </a:lnTo>
                    <a:lnTo>
                      <a:pt x="760011" y="284784"/>
                    </a:lnTo>
                    <a:lnTo>
                      <a:pt x="772884" y="282492"/>
                    </a:lnTo>
                    <a:lnTo>
                      <a:pt x="777821" y="278700"/>
                    </a:lnTo>
                    <a:lnTo>
                      <a:pt x="774912" y="278436"/>
                    </a:lnTo>
                    <a:lnTo>
                      <a:pt x="765037" y="281698"/>
                    </a:lnTo>
                    <a:lnTo>
                      <a:pt x="760981" y="281081"/>
                    </a:lnTo>
                    <a:lnTo>
                      <a:pt x="756925" y="285401"/>
                    </a:lnTo>
                    <a:lnTo>
                      <a:pt x="755162" y="283990"/>
                    </a:lnTo>
                    <a:lnTo>
                      <a:pt x="748197" y="285137"/>
                    </a:lnTo>
                    <a:lnTo>
                      <a:pt x="747051" y="286018"/>
                    </a:lnTo>
                    <a:lnTo>
                      <a:pt x="741849" y="284872"/>
                    </a:lnTo>
                    <a:lnTo>
                      <a:pt x="736911" y="285137"/>
                    </a:lnTo>
                    <a:lnTo>
                      <a:pt x="734883" y="286547"/>
                    </a:lnTo>
                    <a:lnTo>
                      <a:pt x="737793" y="288046"/>
                    </a:lnTo>
                    <a:lnTo>
                      <a:pt x="726155" y="288663"/>
                    </a:lnTo>
                    <a:lnTo>
                      <a:pt x="726419" y="285401"/>
                    </a:lnTo>
                    <a:lnTo>
                      <a:pt x="719718" y="286547"/>
                    </a:lnTo>
                    <a:lnTo>
                      <a:pt x="728447" y="283638"/>
                    </a:lnTo>
                    <a:lnTo>
                      <a:pt x="733737" y="279229"/>
                    </a:lnTo>
                    <a:lnTo>
                      <a:pt x="739027" y="280993"/>
                    </a:lnTo>
                    <a:lnTo>
                      <a:pt x="748902" y="277819"/>
                    </a:lnTo>
                    <a:lnTo>
                      <a:pt x="752693" y="277554"/>
                    </a:lnTo>
                    <a:lnTo>
                      <a:pt x="756220" y="276672"/>
                    </a:lnTo>
                    <a:lnTo>
                      <a:pt x="763803" y="276937"/>
                    </a:lnTo>
                    <a:lnTo>
                      <a:pt x="771121" y="273410"/>
                    </a:lnTo>
                    <a:lnTo>
                      <a:pt x="768740" y="274027"/>
                    </a:lnTo>
                    <a:lnTo>
                      <a:pt x="775441" y="272264"/>
                    </a:lnTo>
                    <a:lnTo>
                      <a:pt x="780643" y="273146"/>
                    </a:lnTo>
                    <a:lnTo>
                      <a:pt x="782671" y="276320"/>
                    </a:lnTo>
                    <a:lnTo>
                      <a:pt x="780290" y="281610"/>
                    </a:lnTo>
                    <a:lnTo>
                      <a:pt x="775617" y="282227"/>
                    </a:lnTo>
                    <a:lnTo>
                      <a:pt x="780819" y="286635"/>
                    </a:lnTo>
                    <a:lnTo>
                      <a:pt x="786374" y="287253"/>
                    </a:lnTo>
                    <a:lnTo>
                      <a:pt x="784346" y="291661"/>
                    </a:lnTo>
                    <a:lnTo>
                      <a:pt x="798365" y="293689"/>
                    </a:lnTo>
                    <a:lnTo>
                      <a:pt x="793956" y="293689"/>
                    </a:lnTo>
                    <a:lnTo>
                      <a:pt x="801274" y="290515"/>
                    </a:lnTo>
                    <a:lnTo>
                      <a:pt x="805947" y="288751"/>
                    </a:lnTo>
                    <a:lnTo>
                      <a:pt x="803919" y="291926"/>
                    </a:lnTo>
                    <a:lnTo>
                      <a:pt x="805683" y="294571"/>
                    </a:lnTo>
                    <a:lnTo>
                      <a:pt x="814147" y="297216"/>
                    </a:lnTo>
                    <a:lnTo>
                      <a:pt x="815910" y="300390"/>
                    </a:lnTo>
                    <a:lnTo>
                      <a:pt x="817938" y="297480"/>
                    </a:lnTo>
                    <a:lnTo>
                      <a:pt x="821465" y="296863"/>
                    </a:lnTo>
                    <a:lnTo>
                      <a:pt x="826755" y="298891"/>
                    </a:lnTo>
                    <a:lnTo>
                      <a:pt x="833191" y="297392"/>
                    </a:lnTo>
                    <a:lnTo>
                      <a:pt x="843683" y="295893"/>
                    </a:lnTo>
                    <a:lnTo>
                      <a:pt x="843066" y="297039"/>
                    </a:lnTo>
                    <a:lnTo>
                      <a:pt x="846857" y="295540"/>
                    </a:lnTo>
                    <a:lnTo>
                      <a:pt x="857349" y="298185"/>
                    </a:lnTo>
                    <a:lnTo>
                      <a:pt x="865813" y="299949"/>
                    </a:lnTo>
                    <a:lnTo>
                      <a:pt x="868988" y="298185"/>
                    </a:lnTo>
                    <a:lnTo>
                      <a:pt x="874807" y="296422"/>
                    </a:lnTo>
                    <a:lnTo>
                      <a:pt x="877716" y="297304"/>
                    </a:lnTo>
                    <a:lnTo>
                      <a:pt x="879480" y="294659"/>
                    </a:lnTo>
                    <a:lnTo>
                      <a:pt x="876835" y="294659"/>
                    </a:lnTo>
                    <a:lnTo>
                      <a:pt x="878862" y="290250"/>
                    </a:lnTo>
                    <a:lnTo>
                      <a:pt x="883535" y="288751"/>
                    </a:lnTo>
                    <a:lnTo>
                      <a:pt x="885828" y="289016"/>
                    </a:lnTo>
                    <a:lnTo>
                      <a:pt x="885828" y="283197"/>
                    </a:lnTo>
                    <a:lnTo>
                      <a:pt x="892528" y="284608"/>
                    </a:lnTo>
                    <a:lnTo>
                      <a:pt x="897466" y="284343"/>
                    </a:lnTo>
                    <a:lnTo>
                      <a:pt x="899494" y="280552"/>
                    </a:lnTo>
                    <a:lnTo>
                      <a:pt x="908487" y="281169"/>
                    </a:lnTo>
                    <a:lnTo>
                      <a:pt x="912278" y="285842"/>
                    </a:lnTo>
                    <a:lnTo>
                      <a:pt x="916951" y="286459"/>
                    </a:lnTo>
                    <a:lnTo>
                      <a:pt x="921624" y="285313"/>
                    </a:lnTo>
                    <a:lnTo>
                      <a:pt x="918979" y="287958"/>
                    </a:lnTo>
                    <a:lnTo>
                      <a:pt x="928325" y="285930"/>
                    </a:lnTo>
                    <a:lnTo>
                      <a:pt x="915188" y="295805"/>
                    </a:lnTo>
                    <a:lnTo>
                      <a:pt x="918097" y="295540"/>
                    </a:lnTo>
                    <a:lnTo>
                      <a:pt x="912278" y="299596"/>
                    </a:lnTo>
                    <a:lnTo>
                      <a:pt x="911397" y="298715"/>
                    </a:lnTo>
                    <a:lnTo>
                      <a:pt x="906195" y="302770"/>
                    </a:lnTo>
                    <a:lnTo>
                      <a:pt x="909986" y="303299"/>
                    </a:lnTo>
                    <a:lnTo>
                      <a:pt x="909986" y="307090"/>
                    </a:lnTo>
                    <a:lnTo>
                      <a:pt x="912631" y="306209"/>
                    </a:lnTo>
                    <a:lnTo>
                      <a:pt x="911749" y="308854"/>
                    </a:lnTo>
                    <a:lnTo>
                      <a:pt x="917833" y="309736"/>
                    </a:lnTo>
                    <a:lnTo>
                      <a:pt x="922770" y="313791"/>
                    </a:lnTo>
                    <a:lnTo>
                      <a:pt x="923035" y="307090"/>
                    </a:lnTo>
                    <a:lnTo>
                      <a:pt x="924534" y="301536"/>
                    </a:lnTo>
                    <a:lnTo>
                      <a:pt x="927443" y="298626"/>
                    </a:lnTo>
                    <a:lnTo>
                      <a:pt x="928942" y="296246"/>
                    </a:lnTo>
                    <a:lnTo>
                      <a:pt x="931234" y="290427"/>
                    </a:lnTo>
                    <a:lnTo>
                      <a:pt x="937671" y="290162"/>
                    </a:lnTo>
                    <a:lnTo>
                      <a:pt x="940845" y="291044"/>
                    </a:lnTo>
                    <a:lnTo>
                      <a:pt x="947810" y="292543"/>
                    </a:lnTo>
                    <a:lnTo>
                      <a:pt x="953629" y="289369"/>
                    </a:lnTo>
                    <a:lnTo>
                      <a:pt x="954775" y="286459"/>
                    </a:lnTo>
                    <a:lnTo>
                      <a:pt x="959713" y="287076"/>
                    </a:lnTo>
                    <a:lnTo>
                      <a:pt x="959713" y="284167"/>
                    </a:lnTo>
                    <a:lnTo>
                      <a:pt x="961212" y="282139"/>
                    </a:lnTo>
                    <a:lnTo>
                      <a:pt x="973467" y="280111"/>
                    </a:lnTo>
                    <a:lnTo>
                      <a:pt x="970293" y="278083"/>
                    </a:lnTo>
                    <a:lnTo>
                      <a:pt x="975230" y="274556"/>
                    </a:lnTo>
                    <a:lnTo>
                      <a:pt x="975495" y="271647"/>
                    </a:lnTo>
                    <a:lnTo>
                      <a:pt x="973202" y="270765"/>
                    </a:lnTo>
                    <a:lnTo>
                      <a:pt x="967383" y="274821"/>
                    </a:lnTo>
                    <a:lnTo>
                      <a:pt x="960683" y="275703"/>
                    </a:lnTo>
                    <a:lnTo>
                      <a:pt x="958038" y="275174"/>
                    </a:lnTo>
                    <a:lnTo>
                      <a:pt x="962093" y="271118"/>
                    </a:lnTo>
                    <a:lnTo>
                      <a:pt x="963504" y="271647"/>
                    </a:lnTo>
                    <a:lnTo>
                      <a:pt x="967560" y="269619"/>
                    </a:lnTo>
                    <a:lnTo>
                      <a:pt x="970469" y="269354"/>
                    </a:lnTo>
                    <a:lnTo>
                      <a:pt x="973114" y="267327"/>
                    </a:lnTo>
                    <a:lnTo>
                      <a:pt x="969940" y="267062"/>
                    </a:lnTo>
                    <a:lnTo>
                      <a:pt x="973732" y="263888"/>
                    </a:lnTo>
                    <a:lnTo>
                      <a:pt x="982813" y="262389"/>
                    </a:lnTo>
                    <a:lnTo>
                      <a:pt x="983430" y="261507"/>
                    </a:lnTo>
                    <a:lnTo>
                      <a:pt x="975230" y="260890"/>
                    </a:lnTo>
                    <a:lnTo>
                      <a:pt x="972585" y="256482"/>
                    </a:lnTo>
                    <a:lnTo>
                      <a:pt x="970293" y="256746"/>
                    </a:lnTo>
                    <a:lnTo>
                      <a:pt x="968794" y="258510"/>
                    </a:lnTo>
                    <a:lnTo>
                      <a:pt x="963240" y="257364"/>
                    </a:lnTo>
                    <a:lnTo>
                      <a:pt x="957156" y="254189"/>
                    </a:lnTo>
                    <a:lnTo>
                      <a:pt x="955128" y="255071"/>
                    </a:lnTo>
                    <a:lnTo>
                      <a:pt x="952219" y="252779"/>
                    </a:lnTo>
                    <a:lnTo>
                      <a:pt x="953982" y="250751"/>
                    </a:lnTo>
                    <a:lnTo>
                      <a:pt x="951072" y="246960"/>
                    </a:lnTo>
                    <a:lnTo>
                      <a:pt x="954864" y="241670"/>
                    </a:lnTo>
                    <a:lnTo>
                      <a:pt x="959536" y="240788"/>
                    </a:lnTo>
                    <a:lnTo>
                      <a:pt x="962181" y="238760"/>
                    </a:lnTo>
                    <a:lnTo>
                      <a:pt x="968265" y="238760"/>
                    </a:lnTo>
                    <a:lnTo>
                      <a:pt x="967648" y="236997"/>
                    </a:lnTo>
                    <a:lnTo>
                      <a:pt x="970822" y="235233"/>
                    </a:lnTo>
                    <a:lnTo>
                      <a:pt x="964121" y="236115"/>
                    </a:lnTo>
                    <a:lnTo>
                      <a:pt x="961741" y="233205"/>
                    </a:lnTo>
                    <a:lnTo>
                      <a:pt x="967824" y="231442"/>
                    </a:lnTo>
                    <a:lnTo>
                      <a:pt x="970734" y="228797"/>
                    </a:lnTo>
                    <a:lnTo>
                      <a:pt x="972762" y="223242"/>
                    </a:lnTo>
                    <a:lnTo>
                      <a:pt x="976817" y="222978"/>
                    </a:lnTo>
                    <a:lnTo>
                      <a:pt x="981226" y="220597"/>
                    </a:lnTo>
                    <a:lnTo>
                      <a:pt x="985282" y="223242"/>
                    </a:lnTo>
                    <a:lnTo>
                      <a:pt x="989337" y="221743"/>
                    </a:lnTo>
                    <a:lnTo>
                      <a:pt x="991101" y="219098"/>
                    </a:lnTo>
                    <a:lnTo>
                      <a:pt x="991982" y="226064"/>
                    </a:lnTo>
                    <a:lnTo>
                      <a:pt x="993746" y="230472"/>
                    </a:lnTo>
                    <a:lnTo>
                      <a:pt x="997537" y="227827"/>
                    </a:lnTo>
                    <a:lnTo>
                      <a:pt x="1000182" y="223771"/>
                    </a:lnTo>
                    <a:lnTo>
                      <a:pt x="997890" y="217952"/>
                    </a:lnTo>
                    <a:lnTo>
                      <a:pt x="999653" y="214161"/>
                    </a:lnTo>
                    <a:lnTo>
                      <a:pt x="1004061" y="210634"/>
                    </a:lnTo>
                    <a:lnTo>
                      <a:pt x="1015700" y="208871"/>
                    </a:lnTo>
                    <a:lnTo>
                      <a:pt x="1016846" y="210282"/>
                    </a:lnTo>
                    <a:lnTo>
                      <a:pt x="1009881" y="212662"/>
                    </a:lnTo>
                    <a:lnTo>
                      <a:pt x="1011027" y="213808"/>
                    </a:lnTo>
                    <a:lnTo>
                      <a:pt x="1013672" y="212927"/>
                    </a:lnTo>
                    <a:lnTo>
                      <a:pt x="1014289" y="214426"/>
                    </a:lnTo>
                    <a:lnTo>
                      <a:pt x="1017816" y="212927"/>
                    </a:lnTo>
                    <a:lnTo>
                      <a:pt x="1020461" y="214426"/>
                    </a:lnTo>
                    <a:lnTo>
                      <a:pt x="1029542" y="212662"/>
                    </a:lnTo>
                    <a:lnTo>
                      <a:pt x="1021960" y="215836"/>
                    </a:lnTo>
                    <a:lnTo>
                      <a:pt x="1028660" y="221391"/>
                    </a:lnTo>
                    <a:lnTo>
                      <a:pt x="1033598" y="217600"/>
                    </a:lnTo>
                    <a:lnTo>
                      <a:pt x="1033862" y="222890"/>
                    </a:lnTo>
                    <a:lnTo>
                      <a:pt x="1032981" y="226416"/>
                    </a:lnTo>
                    <a:lnTo>
                      <a:pt x="1032716" y="227915"/>
                    </a:lnTo>
                    <a:lnTo>
                      <a:pt x="1029542" y="230825"/>
                    </a:lnTo>
                    <a:lnTo>
                      <a:pt x="1022577" y="235762"/>
                    </a:lnTo>
                    <a:lnTo>
                      <a:pt x="1028131" y="235498"/>
                    </a:lnTo>
                    <a:lnTo>
                      <a:pt x="1026721" y="244491"/>
                    </a:lnTo>
                    <a:lnTo>
                      <a:pt x="1031129" y="239201"/>
                    </a:lnTo>
                    <a:lnTo>
                      <a:pt x="1030247" y="241229"/>
                    </a:lnTo>
                    <a:lnTo>
                      <a:pt x="1029366" y="242992"/>
                    </a:lnTo>
                    <a:lnTo>
                      <a:pt x="1031129" y="246519"/>
                    </a:lnTo>
                    <a:lnTo>
                      <a:pt x="1023282" y="247930"/>
                    </a:lnTo>
                    <a:lnTo>
                      <a:pt x="1018080" y="245020"/>
                    </a:lnTo>
                    <a:lnTo>
                      <a:pt x="1012790" y="249076"/>
                    </a:lnTo>
                    <a:lnTo>
                      <a:pt x="1021519" y="249076"/>
                    </a:lnTo>
                    <a:lnTo>
                      <a:pt x="1017728" y="251456"/>
                    </a:lnTo>
                    <a:lnTo>
                      <a:pt x="1015964" y="252955"/>
                    </a:lnTo>
                    <a:lnTo>
                      <a:pt x="1011027" y="254719"/>
                    </a:lnTo>
                    <a:lnTo>
                      <a:pt x="1003709" y="256482"/>
                    </a:lnTo>
                    <a:lnTo>
                      <a:pt x="1011027" y="257981"/>
                    </a:lnTo>
                    <a:lnTo>
                      <a:pt x="1010145" y="259744"/>
                    </a:lnTo>
                    <a:lnTo>
                      <a:pt x="1015082" y="260626"/>
                    </a:lnTo>
                    <a:lnTo>
                      <a:pt x="1023811" y="257452"/>
                    </a:lnTo>
                    <a:lnTo>
                      <a:pt x="1026104" y="258069"/>
                    </a:lnTo>
                    <a:lnTo>
                      <a:pt x="1020285" y="260097"/>
                    </a:lnTo>
                    <a:lnTo>
                      <a:pt x="1026368" y="259832"/>
                    </a:lnTo>
                    <a:lnTo>
                      <a:pt x="1026985" y="260714"/>
                    </a:lnTo>
                    <a:lnTo>
                      <a:pt x="1041886" y="258422"/>
                    </a:lnTo>
                    <a:lnTo>
                      <a:pt x="1043032" y="263359"/>
                    </a:lnTo>
                    <a:lnTo>
                      <a:pt x="1037477" y="263623"/>
                    </a:lnTo>
                    <a:lnTo>
                      <a:pt x="1032540" y="261596"/>
                    </a:lnTo>
                    <a:lnTo>
                      <a:pt x="1025839" y="265651"/>
                    </a:lnTo>
                    <a:lnTo>
                      <a:pt x="1025222" y="266533"/>
                    </a:lnTo>
                    <a:lnTo>
                      <a:pt x="1019932" y="265387"/>
                    </a:lnTo>
                    <a:lnTo>
                      <a:pt x="1025751" y="268296"/>
                    </a:lnTo>
                    <a:lnTo>
                      <a:pt x="1021166" y="279758"/>
                    </a:lnTo>
                    <a:lnTo>
                      <a:pt x="1017375" y="283550"/>
                    </a:lnTo>
                    <a:lnTo>
                      <a:pt x="1019403" y="284696"/>
                    </a:lnTo>
                    <a:lnTo>
                      <a:pt x="1018521" y="286459"/>
                    </a:lnTo>
                    <a:lnTo>
                      <a:pt x="1021431" y="287341"/>
                    </a:lnTo>
                    <a:lnTo>
                      <a:pt x="1022048" y="286195"/>
                    </a:lnTo>
                    <a:lnTo>
                      <a:pt x="1027867" y="287341"/>
                    </a:lnTo>
                    <a:lnTo>
                      <a:pt x="1030777" y="281522"/>
                    </a:lnTo>
                    <a:lnTo>
                      <a:pt x="1037213" y="280375"/>
                    </a:lnTo>
                    <a:lnTo>
                      <a:pt x="1040122" y="271382"/>
                    </a:lnTo>
                    <a:lnTo>
                      <a:pt x="1045677" y="269002"/>
                    </a:lnTo>
                    <a:lnTo>
                      <a:pt x="1047705" y="269619"/>
                    </a:lnTo>
                    <a:lnTo>
                      <a:pt x="1050879" y="266092"/>
                    </a:lnTo>
                    <a:lnTo>
                      <a:pt x="1055552" y="266092"/>
                    </a:lnTo>
                    <a:lnTo>
                      <a:pt x="1056433" y="269266"/>
                    </a:lnTo>
                    <a:lnTo>
                      <a:pt x="1064633" y="275350"/>
                    </a:lnTo>
                    <a:lnTo>
                      <a:pt x="1059960" y="286724"/>
                    </a:lnTo>
                    <a:lnTo>
                      <a:pt x="1055905" y="288222"/>
                    </a:lnTo>
                    <a:lnTo>
                      <a:pt x="1054141" y="286459"/>
                    </a:lnTo>
                    <a:lnTo>
                      <a:pt x="1055023" y="283814"/>
                    </a:lnTo>
                    <a:lnTo>
                      <a:pt x="1050350" y="286459"/>
                    </a:lnTo>
                    <a:lnTo>
                      <a:pt x="1050967" y="287958"/>
                    </a:lnTo>
                    <a:lnTo>
                      <a:pt x="1046030" y="291749"/>
                    </a:lnTo>
                    <a:lnTo>
                      <a:pt x="1045765" y="298450"/>
                    </a:lnTo>
                    <a:lnTo>
                      <a:pt x="1051320" y="308060"/>
                    </a:lnTo>
                    <a:lnTo>
                      <a:pt x="1050174" y="310970"/>
                    </a:lnTo>
                    <a:lnTo>
                      <a:pt x="1053348" y="308942"/>
                    </a:lnTo>
                    <a:lnTo>
                      <a:pt x="1057139" y="308413"/>
                    </a:lnTo>
                    <a:lnTo>
                      <a:pt x="1057756" y="305768"/>
                    </a:lnTo>
                    <a:lnTo>
                      <a:pt x="1064192" y="304357"/>
                    </a:lnTo>
                    <a:lnTo>
                      <a:pt x="1067366" y="305503"/>
                    </a:lnTo>
                    <a:lnTo>
                      <a:pt x="1071422" y="298803"/>
                    </a:lnTo>
                    <a:lnTo>
                      <a:pt x="1079005" y="300302"/>
                    </a:lnTo>
                    <a:lnTo>
                      <a:pt x="1082796" y="292455"/>
                    </a:lnTo>
                    <a:lnTo>
                      <a:pt x="1086587" y="291573"/>
                    </a:lnTo>
                    <a:lnTo>
                      <a:pt x="1093023" y="289281"/>
                    </a:lnTo>
                    <a:lnTo>
                      <a:pt x="1100341" y="287782"/>
                    </a:lnTo>
                    <a:lnTo>
                      <a:pt x="1102369" y="281698"/>
                    </a:lnTo>
                    <a:lnTo>
                      <a:pt x="1104750" y="275262"/>
                    </a:lnTo>
                    <a:lnTo>
                      <a:pt x="1115859" y="276408"/>
                    </a:lnTo>
                    <a:lnTo>
                      <a:pt x="1117270" y="275262"/>
                    </a:lnTo>
                    <a:lnTo>
                      <a:pt x="1112332" y="273498"/>
                    </a:lnTo>
                    <a:lnTo>
                      <a:pt x="1114977" y="272881"/>
                    </a:lnTo>
                    <a:lnTo>
                      <a:pt x="1115242" y="271118"/>
                    </a:lnTo>
                    <a:lnTo>
                      <a:pt x="1123089" y="270853"/>
                    </a:lnTo>
                    <a:lnTo>
                      <a:pt x="1120444" y="268825"/>
                    </a:lnTo>
                    <a:lnTo>
                      <a:pt x="1121590" y="267327"/>
                    </a:lnTo>
                    <a:lnTo>
                      <a:pt x="1116035" y="267591"/>
                    </a:lnTo>
                    <a:lnTo>
                      <a:pt x="1114007" y="264064"/>
                    </a:lnTo>
                    <a:lnTo>
                      <a:pt x="1120708" y="260890"/>
                    </a:lnTo>
                    <a:lnTo>
                      <a:pt x="1121854" y="257716"/>
                    </a:lnTo>
                    <a:lnTo>
                      <a:pt x="1124764" y="253925"/>
                    </a:lnTo>
                    <a:lnTo>
                      <a:pt x="1122736" y="253660"/>
                    </a:lnTo>
                    <a:lnTo>
                      <a:pt x="1123001" y="252162"/>
                    </a:lnTo>
                    <a:lnTo>
                      <a:pt x="1130848" y="253308"/>
                    </a:lnTo>
                    <a:lnTo>
                      <a:pt x="1131465" y="252426"/>
                    </a:lnTo>
                    <a:lnTo>
                      <a:pt x="1141692" y="252691"/>
                    </a:lnTo>
                    <a:lnTo>
                      <a:pt x="1148129" y="252691"/>
                    </a:lnTo>
                    <a:lnTo>
                      <a:pt x="1151920" y="256746"/>
                    </a:lnTo>
                    <a:lnTo>
                      <a:pt x="1158621" y="258245"/>
                    </a:lnTo>
                    <a:lnTo>
                      <a:pt x="1167349" y="256482"/>
                    </a:lnTo>
                    <a:lnTo>
                      <a:pt x="1162941" y="259127"/>
                    </a:lnTo>
                    <a:lnTo>
                      <a:pt x="1164969" y="260273"/>
                    </a:lnTo>
                    <a:lnTo>
                      <a:pt x="1159150" y="260009"/>
                    </a:lnTo>
                    <a:lnTo>
                      <a:pt x="1165850" y="262654"/>
                    </a:lnTo>
                    <a:lnTo>
                      <a:pt x="1167878" y="261155"/>
                    </a:lnTo>
                    <a:lnTo>
                      <a:pt x="1166997" y="264946"/>
                    </a:lnTo>
                    <a:lnTo>
                      <a:pt x="1164616" y="266092"/>
                    </a:lnTo>
                    <a:lnTo>
                      <a:pt x="1172463" y="265475"/>
                    </a:lnTo>
                    <a:lnTo>
                      <a:pt x="1178547" y="266974"/>
                    </a:lnTo>
                    <a:lnTo>
                      <a:pt x="1178811" y="269266"/>
                    </a:lnTo>
                    <a:lnTo>
                      <a:pt x="1175637" y="269531"/>
                    </a:lnTo>
                    <a:lnTo>
                      <a:pt x="1166644" y="272705"/>
                    </a:lnTo>
                    <a:lnTo>
                      <a:pt x="1172728" y="273851"/>
                    </a:lnTo>
                    <a:lnTo>
                      <a:pt x="1172463" y="278259"/>
                    </a:lnTo>
                    <a:lnTo>
                      <a:pt x="1165145" y="281169"/>
                    </a:lnTo>
                    <a:lnTo>
                      <a:pt x="1161354" y="281169"/>
                    </a:lnTo>
                    <a:lnTo>
                      <a:pt x="1156946" y="283197"/>
                    </a:lnTo>
                    <a:lnTo>
                      <a:pt x="1154565" y="280552"/>
                    </a:lnTo>
                    <a:lnTo>
                      <a:pt x="1147600" y="281434"/>
                    </a:lnTo>
                    <a:lnTo>
                      <a:pt x="1148746" y="282580"/>
                    </a:lnTo>
                    <a:lnTo>
                      <a:pt x="1146101" y="283461"/>
                    </a:lnTo>
                    <a:lnTo>
                      <a:pt x="1149892" y="284608"/>
                    </a:lnTo>
                    <a:lnTo>
                      <a:pt x="1147600" y="285489"/>
                    </a:lnTo>
                    <a:lnTo>
                      <a:pt x="1149628" y="286635"/>
                    </a:lnTo>
                    <a:lnTo>
                      <a:pt x="1146982" y="289281"/>
                    </a:lnTo>
                    <a:lnTo>
                      <a:pt x="1149892" y="290162"/>
                    </a:lnTo>
                    <a:lnTo>
                      <a:pt x="1147247" y="294218"/>
                    </a:lnTo>
                    <a:lnTo>
                      <a:pt x="1150421" y="292455"/>
                    </a:lnTo>
                    <a:lnTo>
                      <a:pt x="1152713" y="296510"/>
                    </a:lnTo>
                    <a:lnTo>
                      <a:pt x="1155623" y="303476"/>
                    </a:lnTo>
                    <a:lnTo>
                      <a:pt x="1150333" y="306738"/>
                    </a:lnTo>
                    <a:lnTo>
                      <a:pt x="1147952" y="311411"/>
                    </a:lnTo>
                    <a:lnTo>
                      <a:pt x="1142398" y="313791"/>
                    </a:lnTo>
                    <a:lnTo>
                      <a:pt x="1137989" y="313791"/>
                    </a:lnTo>
                    <a:lnTo>
                      <a:pt x="1133316" y="315290"/>
                    </a:lnTo>
                    <a:lnTo>
                      <a:pt x="1127762" y="320228"/>
                    </a:lnTo>
                    <a:lnTo>
                      <a:pt x="1124499" y="319875"/>
                    </a:lnTo>
                    <a:lnTo>
                      <a:pt x="1118416" y="323666"/>
                    </a:lnTo>
                    <a:lnTo>
                      <a:pt x="1113214" y="323666"/>
                    </a:lnTo>
                    <a:lnTo>
                      <a:pt x="1104397" y="326576"/>
                    </a:lnTo>
                    <a:lnTo>
                      <a:pt x="1100870" y="327105"/>
                    </a:lnTo>
                    <a:lnTo>
                      <a:pt x="1099989" y="323578"/>
                    </a:lnTo>
                    <a:lnTo>
                      <a:pt x="1097079" y="320404"/>
                    </a:lnTo>
                    <a:lnTo>
                      <a:pt x="1097961" y="318112"/>
                    </a:lnTo>
                    <a:lnTo>
                      <a:pt x="1094170" y="318641"/>
                    </a:lnTo>
                    <a:lnTo>
                      <a:pt x="1095051" y="313703"/>
                    </a:lnTo>
                    <a:lnTo>
                      <a:pt x="1088615" y="312204"/>
                    </a:lnTo>
                    <a:lnTo>
                      <a:pt x="1090378" y="313350"/>
                    </a:lnTo>
                    <a:lnTo>
                      <a:pt x="1082796" y="314497"/>
                    </a:lnTo>
                    <a:lnTo>
                      <a:pt x="1081650" y="316789"/>
                    </a:lnTo>
                    <a:lnTo>
                      <a:pt x="1086058" y="315026"/>
                    </a:lnTo>
                    <a:lnTo>
                      <a:pt x="1092759" y="317671"/>
                    </a:lnTo>
                    <a:lnTo>
                      <a:pt x="1090995" y="319170"/>
                    </a:lnTo>
                    <a:lnTo>
                      <a:pt x="1094170" y="320316"/>
                    </a:lnTo>
                    <a:lnTo>
                      <a:pt x="1092671" y="321197"/>
                    </a:lnTo>
                    <a:lnTo>
                      <a:pt x="1095933" y="325253"/>
                    </a:lnTo>
                    <a:lnTo>
                      <a:pt x="1093905" y="327017"/>
                    </a:lnTo>
                    <a:lnTo>
                      <a:pt x="1094787" y="331072"/>
                    </a:lnTo>
                    <a:lnTo>
                      <a:pt x="1089585" y="329309"/>
                    </a:lnTo>
                    <a:lnTo>
                      <a:pt x="1090466" y="328692"/>
                    </a:lnTo>
                    <a:lnTo>
                      <a:pt x="1087204" y="327546"/>
                    </a:lnTo>
                    <a:lnTo>
                      <a:pt x="1085176" y="329044"/>
                    </a:lnTo>
                    <a:lnTo>
                      <a:pt x="1085176" y="326135"/>
                    </a:lnTo>
                    <a:lnTo>
                      <a:pt x="1082002" y="327546"/>
                    </a:lnTo>
                    <a:lnTo>
                      <a:pt x="1084912" y="330455"/>
                    </a:lnTo>
                    <a:lnTo>
                      <a:pt x="1070629" y="328956"/>
                    </a:lnTo>
                    <a:lnTo>
                      <a:pt x="1072657" y="321991"/>
                    </a:lnTo>
                    <a:lnTo>
                      <a:pt x="1064810" y="323490"/>
                    </a:lnTo>
                    <a:lnTo>
                      <a:pt x="1056962" y="322873"/>
                    </a:lnTo>
                    <a:lnTo>
                      <a:pt x="1049645" y="325165"/>
                    </a:lnTo>
                    <a:lnTo>
                      <a:pt x="1047881" y="324283"/>
                    </a:lnTo>
                    <a:lnTo>
                      <a:pt x="1048146" y="326311"/>
                    </a:lnTo>
                    <a:lnTo>
                      <a:pt x="1046118" y="326311"/>
                    </a:lnTo>
                    <a:lnTo>
                      <a:pt x="1047881" y="329221"/>
                    </a:lnTo>
                    <a:lnTo>
                      <a:pt x="1057492" y="332130"/>
                    </a:lnTo>
                    <a:lnTo>
                      <a:pt x="1053436" y="333012"/>
                    </a:lnTo>
                    <a:lnTo>
                      <a:pt x="1053171" y="334775"/>
                    </a:lnTo>
                    <a:lnTo>
                      <a:pt x="1046735" y="337156"/>
                    </a:lnTo>
                    <a:lnTo>
                      <a:pt x="1043208" y="337685"/>
                    </a:lnTo>
                    <a:lnTo>
                      <a:pt x="1038271" y="343240"/>
                    </a:lnTo>
                    <a:lnTo>
                      <a:pt x="1025134" y="347031"/>
                    </a:lnTo>
                    <a:lnTo>
                      <a:pt x="1025134" y="348530"/>
                    </a:lnTo>
                    <a:lnTo>
                      <a:pt x="1018962" y="350293"/>
                    </a:lnTo>
                    <a:lnTo>
                      <a:pt x="1014024" y="349411"/>
                    </a:lnTo>
                    <a:lnTo>
                      <a:pt x="1005560" y="348794"/>
                    </a:lnTo>
                    <a:lnTo>
                      <a:pt x="1004414" y="345003"/>
                    </a:lnTo>
                    <a:lnTo>
                      <a:pt x="1000358" y="343857"/>
                    </a:lnTo>
                    <a:lnTo>
                      <a:pt x="1003268" y="343592"/>
                    </a:lnTo>
                    <a:lnTo>
                      <a:pt x="997449" y="342182"/>
                    </a:lnTo>
                    <a:lnTo>
                      <a:pt x="995421" y="339272"/>
                    </a:lnTo>
                    <a:lnTo>
                      <a:pt x="987574" y="336980"/>
                    </a:lnTo>
                    <a:lnTo>
                      <a:pt x="985193" y="337244"/>
                    </a:lnTo>
                    <a:lnTo>
                      <a:pt x="988367" y="338743"/>
                    </a:lnTo>
                    <a:lnTo>
                      <a:pt x="977611" y="338126"/>
                    </a:lnTo>
                    <a:lnTo>
                      <a:pt x="988367" y="343945"/>
                    </a:lnTo>
                    <a:lnTo>
                      <a:pt x="990660" y="349764"/>
                    </a:lnTo>
                    <a:lnTo>
                      <a:pt x="1006971" y="352056"/>
                    </a:lnTo>
                    <a:lnTo>
                      <a:pt x="1023899" y="352056"/>
                    </a:lnTo>
                    <a:lnTo>
                      <a:pt x="1024164" y="354701"/>
                    </a:lnTo>
                    <a:lnTo>
                      <a:pt x="1006618" y="366075"/>
                    </a:lnTo>
                    <a:lnTo>
                      <a:pt x="998154" y="368720"/>
                    </a:lnTo>
                    <a:lnTo>
                      <a:pt x="988544" y="376920"/>
                    </a:lnTo>
                    <a:lnTo>
                      <a:pt x="975142" y="380094"/>
                    </a:lnTo>
                    <a:lnTo>
                      <a:pt x="969059" y="377713"/>
                    </a:lnTo>
                    <a:lnTo>
                      <a:pt x="968441" y="380358"/>
                    </a:lnTo>
                    <a:lnTo>
                      <a:pt x="964033" y="377713"/>
                    </a:lnTo>
                    <a:lnTo>
                      <a:pt x="963151" y="379212"/>
                    </a:lnTo>
                    <a:lnTo>
                      <a:pt x="961388" y="376920"/>
                    </a:lnTo>
                    <a:lnTo>
                      <a:pt x="958478" y="375774"/>
                    </a:lnTo>
                    <a:lnTo>
                      <a:pt x="954423" y="376655"/>
                    </a:lnTo>
                    <a:lnTo>
                      <a:pt x="957597" y="378154"/>
                    </a:lnTo>
                    <a:lnTo>
                      <a:pt x="954423" y="381328"/>
                    </a:lnTo>
                    <a:lnTo>
                      <a:pt x="950896" y="379565"/>
                    </a:lnTo>
                    <a:lnTo>
                      <a:pt x="950896" y="383092"/>
                    </a:lnTo>
                    <a:lnTo>
                      <a:pt x="946223" y="388029"/>
                    </a:lnTo>
                    <a:lnTo>
                      <a:pt x="940668" y="387147"/>
                    </a:lnTo>
                    <a:lnTo>
                      <a:pt x="935114" y="388294"/>
                    </a:lnTo>
                    <a:lnTo>
                      <a:pt x="922594" y="385384"/>
                    </a:lnTo>
                    <a:lnTo>
                      <a:pt x="922594" y="384238"/>
                    </a:lnTo>
                    <a:lnTo>
                      <a:pt x="909721" y="384502"/>
                    </a:lnTo>
                    <a:lnTo>
                      <a:pt x="912631" y="385649"/>
                    </a:lnTo>
                    <a:lnTo>
                      <a:pt x="909986" y="388558"/>
                    </a:lnTo>
                    <a:lnTo>
                      <a:pt x="917568" y="385913"/>
                    </a:lnTo>
                    <a:lnTo>
                      <a:pt x="921095" y="386530"/>
                    </a:lnTo>
                    <a:lnTo>
                      <a:pt x="922241" y="390321"/>
                    </a:lnTo>
                    <a:lnTo>
                      <a:pt x="928413" y="391203"/>
                    </a:lnTo>
                    <a:lnTo>
                      <a:pt x="932204" y="393231"/>
                    </a:lnTo>
                    <a:lnTo>
                      <a:pt x="928413" y="401078"/>
                    </a:lnTo>
                    <a:lnTo>
                      <a:pt x="924005" y="403370"/>
                    </a:lnTo>
                    <a:lnTo>
                      <a:pt x="917568" y="403370"/>
                    </a:lnTo>
                    <a:lnTo>
                      <a:pt x="912014" y="406015"/>
                    </a:lnTo>
                    <a:lnTo>
                      <a:pt x="900640" y="404605"/>
                    </a:lnTo>
                    <a:lnTo>
                      <a:pt x="899758" y="405751"/>
                    </a:lnTo>
                    <a:lnTo>
                      <a:pt x="895085" y="404869"/>
                    </a:lnTo>
                    <a:lnTo>
                      <a:pt x="894204" y="408396"/>
                    </a:lnTo>
                    <a:lnTo>
                      <a:pt x="900287" y="410159"/>
                    </a:lnTo>
                    <a:lnTo>
                      <a:pt x="898524" y="411923"/>
                    </a:lnTo>
                    <a:lnTo>
                      <a:pt x="894997" y="412540"/>
                    </a:lnTo>
                    <a:lnTo>
                      <a:pt x="893234" y="411041"/>
                    </a:lnTo>
                    <a:lnTo>
                      <a:pt x="889707" y="412540"/>
                    </a:lnTo>
                    <a:lnTo>
                      <a:pt x="887327" y="411658"/>
                    </a:lnTo>
                    <a:lnTo>
                      <a:pt x="887062" y="414039"/>
                    </a:lnTo>
                    <a:lnTo>
                      <a:pt x="891471" y="415185"/>
                    </a:lnTo>
                    <a:lnTo>
                      <a:pt x="884505" y="415449"/>
                    </a:lnTo>
                    <a:lnTo>
                      <a:pt x="883624" y="413951"/>
                    </a:lnTo>
                    <a:lnTo>
                      <a:pt x="880978" y="419770"/>
                    </a:lnTo>
                    <a:lnTo>
                      <a:pt x="878069" y="418624"/>
                    </a:lnTo>
                    <a:lnTo>
                      <a:pt x="877187" y="419770"/>
                    </a:lnTo>
                    <a:lnTo>
                      <a:pt x="871985" y="419770"/>
                    </a:lnTo>
                    <a:lnTo>
                      <a:pt x="871721" y="422415"/>
                    </a:lnTo>
                    <a:lnTo>
                      <a:pt x="867930" y="424178"/>
                    </a:lnTo>
                    <a:lnTo>
                      <a:pt x="865020" y="423561"/>
                    </a:lnTo>
                    <a:lnTo>
                      <a:pt x="863874" y="426735"/>
                    </a:lnTo>
                    <a:lnTo>
                      <a:pt x="859818" y="425236"/>
                    </a:lnTo>
                    <a:lnTo>
                      <a:pt x="857790" y="428146"/>
                    </a:lnTo>
                    <a:lnTo>
                      <a:pt x="863345" y="429027"/>
                    </a:lnTo>
                    <a:lnTo>
                      <a:pt x="855498" y="431320"/>
                    </a:lnTo>
                    <a:lnTo>
                      <a:pt x="842361" y="437492"/>
                    </a:lnTo>
                    <a:lnTo>
                      <a:pt x="846152" y="438021"/>
                    </a:lnTo>
                    <a:lnTo>
                      <a:pt x="845535" y="439167"/>
                    </a:lnTo>
                    <a:lnTo>
                      <a:pt x="841126" y="440313"/>
                    </a:lnTo>
                    <a:lnTo>
                      <a:pt x="840862" y="442076"/>
                    </a:lnTo>
                    <a:lnTo>
                      <a:pt x="837688" y="444104"/>
                    </a:lnTo>
                    <a:lnTo>
                      <a:pt x="821024" y="456977"/>
                    </a:lnTo>
                    <a:lnTo>
                      <a:pt x="810532" y="457858"/>
                    </a:lnTo>
                    <a:lnTo>
                      <a:pt x="816615" y="458476"/>
                    </a:lnTo>
                    <a:lnTo>
                      <a:pt x="812824" y="464912"/>
                    </a:lnTo>
                    <a:lnTo>
                      <a:pt x="807534" y="469585"/>
                    </a:lnTo>
                    <a:lnTo>
                      <a:pt x="805154" y="474522"/>
                    </a:lnTo>
                    <a:lnTo>
                      <a:pt x="802861" y="476286"/>
                    </a:lnTo>
                    <a:lnTo>
                      <a:pt x="799687" y="484485"/>
                    </a:lnTo>
                    <a:lnTo>
                      <a:pt x="792722" y="491539"/>
                    </a:lnTo>
                    <a:lnTo>
                      <a:pt x="794221" y="492420"/>
                    </a:lnTo>
                    <a:lnTo>
                      <a:pt x="793075" y="495065"/>
                    </a:lnTo>
                    <a:lnTo>
                      <a:pt x="795102" y="497093"/>
                    </a:lnTo>
                    <a:lnTo>
                      <a:pt x="794485" y="498857"/>
                    </a:lnTo>
                    <a:lnTo>
                      <a:pt x="795102" y="499738"/>
                    </a:lnTo>
                    <a:lnTo>
                      <a:pt x="796866" y="499474"/>
                    </a:lnTo>
                    <a:lnTo>
                      <a:pt x="798012" y="498592"/>
                    </a:lnTo>
                    <a:lnTo>
                      <a:pt x="811414" y="498328"/>
                    </a:lnTo>
                    <a:lnTo>
                      <a:pt x="812560" y="499474"/>
                    </a:lnTo>
                    <a:lnTo>
                      <a:pt x="816087" y="498328"/>
                    </a:lnTo>
                    <a:lnTo>
                      <a:pt x="817585" y="499209"/>
                    </a:lnTo>
                    <a:lnTo>
                      <a:pt x="814059" y="510848"/>
                    </a:lnTo>
                    <a:lnTo>
                      <a:pt x="813177" y="517284"/>
                    </a:lnTo>
                    <a:lnTo>
                      <a:pt x="809650" y="531303"/>
                    </a:lnTo>
                    <a:lnTo>
                      <a:pt x="803831" y="537386"/>
                    </a:lnTo>
                    <a:lnTo>
                      <a:pt x="800304" y="539414"/>
                    </a:lnTo>
                    <a:lnTo>
                      <a:pt x="810267" y="538268"/>
                    </a:lnTo>
                    <a:lnTo>
                      <a:pt x="818732" y="537122"/>
                    </a:lnTo>
                    <a:lnTo>
                      <a:pt x="836542" y="533066"/>
                    </a:lnTo>
                    <a:lnTo>
                      <a:pt x="846152" y="536240"/>
                    </a:lnTo>
                    <a:lnTo>
                      <a:pt x="849943" y="539150"/>
                    </a:lnTo>
                    <a:lnTo>
                      <a:pt x="862816" y="542059"/>
                    </a:lnTo>
                    <a:lnTo>
                      <a:pt x="865725" y="542676"/>
                    </a:lnTo>
                    <a:lnTo>
                      <a:pt x="868635" y="542941"/>
                    </a:lnTo>
                    <a:lnTo>
                      <a:pt x="869781" y="546115"/>
                    </a:lnTo>
                    <a:lnTo>
                      <a:pt x="872426" y="547614"/>
                    </a:lnTo>
                    <a:lnTo>
                      <a:pt x="872426" y="548496"/>
                    </a:lnTo>
                    <a:lnTo>
                      <a:pt x="877099" y="551758"/>
                    </a:lnTo>
                    <a:lnTo>
                      <a:pt x="878245" y="551758"/>
                    </a:lnTo>
                    <a:lnTo>
                      <a:pt x="879744" y="560222"/>
                    </a:lnTo>
                    <a:lnTo>
                      <a:pt x="880890" y="561985"/>
                    </a:lnTo>
                    <a:lnTo>
                      <a:pt x="882918" y="562867"/>
                    </a:lnTo>
                    <a:lnTo>
                      <a:pt x="883447" y="563484"/>
                    </a:lnTo>
                    <a:lnTo>
                      <a:pt x="890765" y="564630"/>
                    </a:lnTo>
                    <a:lnTo>
                      <a:pt x="898083" y="567540"/>
                    </a:lnTo>
                    <a:lnTo>
                      <a:pt x="898700" y="568422"/>
                    </a:lnTo>
                    <a:lnTo>
                      <a:pt x="904255" y="569568"/>
                    </a:lnTo>
                    <a:lnTo>
                      <a:pt x="906900" y="570449"/>
                    </a:lnTo>
                    <a:lnTo>
                      <a:pt x="909810" y="572477"/>
                    </a:lnTo>
                    <a:lnTo>
                      <a:pt x="910691" y="575387"/>
                    </a:lnTo>
                    <a:lnTo>
                      <a:pt x="912454" y="576798"/>
                    </a:lnTo>
                    <a:lnTo>
                      <a:pt x="915717" y="577944"/>
                    </a:lnTo>
                    <a:lnTo>
                      <a:pt x="915981" y="578208"/>
                    </a:lnTo>
                    <a:lnTo>
                      <a:pt x="915100" y="578825"/>
                    </a:lnTo>
                    <a:lnTo>
                      <a:pt x="913601" y="579972"/>
                    </a:lnTo>
                    <a:lnTo>
                      <a:pt x="917657" y="579354"/>
                    </a:lnTo>
                    <a:lnTo>
                      <a:pt x="921183" y="580236"/>
                    </a:lnTo>
                    <a:lnTo>
                      <a:pt x="925856" y="580236"/>
                    </a:lnTo>
                    <a:lnTo>
                      <a:pt x="931146" y="579354"/>
                    </a:lnTo>
                    <a:lnTo>
                      <a:pt x="934056" y="579619"/>
                    </a:lnTo>
                    <a:lnTo>
                      <a:pt x="937583" y="578737"/>
                    </a:lnTo>
                    <a:lnTo>
                      <a:pt x="939346" y="579883"/>
                    </a:lnTo>
                    <a:lnTo>
                      <a:pt x="941991" y="579883"/>
                    </a:lnTo>
                    <a:lnTo>
                      <a:pt x="950191" y="581382"/>
                    </a:lnTo>
                    <a:lnTo>
                      <a:pt x="954246" y="580501"/>
                    </a:lnTo>
                    <a:lnTo>
                      <a:pt x="954864" y="581382"/>
                    </a:lnTo>
                    <a:lnTo>
                      <a:pt x="954599" y="582793"/>
                    </a:lnTo>
                    <a:lnTo>
                      <a:pt x="958919" y="582529"/>
                    </a:lnTo>
                    <a:lnTo>
                      <a:pt x="961212" y="582793"/>
                    </a:lnTo>
                    <a:lnTo>
                      <a:pt x="962358" y="582529"/>
                    </a:lnTo>
                    <a:lnTo>
                      <a:pt x="962887" y="583146"/>
                    </a:lnTo>
                    <a:lnTo>
                      <a:pt x="962887" y="584027"/>
                    </a:lnTo>
                    <a:lnTo>
                      <a:pt x="964386" y="583763"/>
                    </a:lnTo>
                    <a:lnTo>
                      <a:pt x="965532" y="582881"/>
                    </a:lnTo>
                    <a:lnTo>
                      <a:pt x="966061" y="584027"/>
                    </a:lnTo>
                    <a:lnTo>
                      <a:pt x="964298" y="585174"/>
                    </a:lnTo>
                    <a:lnTo>
                      <a:pt x="963416" y="588700"/>
                    </a:lnTo>
                    <a:lnTo>
                      <a:pt x="963680" y="589318"/>
                    </a:lnTo>
                    <a:lnTo>
                      <a:pt x="963416" y="589935"/>
                    </a:lnTo>
                    <a:lnTo>
                      <a:pt x="953805" y="600427"/>
                    </a:lnTo>
                    <a:lnTo>
                      <a:pt x="951160" y="604218"/>
                    </a:lnTo>
                    <a:lnTo>
                      <a:pt x="952307" y="612153"/>
                    </a:lnTo>
                    <a:lnTo>
                      <a:pt x="951425" y="615327"/>
                    </a:lnTo>
                    <a:lnTo>
                      <a:pt x="947369" y="619736"/>
                    </a:lnTo>
                    <a:lnTo>
                      <a:pt x="945341" y="627054"/>
                    </a:lnTo>
                    <a:lnTo>
                      <a:pt x="942079" y="628817"/>
                    </a:lnTo>
                    <a:lnTo>
                      <a:pt x="939787" y="631726"/>
                    </a:lnTo>
                    <a:lnTo>
                      <a:pt x="938288" y="634636"/>
                    </a:lnTo>
                    <a:lnTo>
                      <a:pt x="939434" y="636135"/>
                    </a:lnTo>
                    <a:lnTo>
                      <a:pt x="940933" y="636399"/>
                    </a:lnTo>
                    <a:lnTo>
                      <a:pt x="942079" y="641072"/>
                    </a:lnTo>
                    <a:lnTo>
                      <a:pt x="945870" y="646891"/>
                    </a:lnTo>
                    <a:lnTo>
                      <a:pt x="944372" y="650066"/>
                    </a:lnTo>
                    <a:lnTo>
                      <a:pt x="943754" y="650947"/>
                    </a:lnTo>
                    <a:lnTo>
                      <a:pt x="945253" y="652711"/>
                    </a:lnTo>
                    <a:lnTo>
                      <a:pt x="944989" y="654474"/>
                    </a:lnTo>
                    <a:lnTo>
                      <a:pt x="949044" y="657119"/>
                    </a:lnTo>
                    <a:lnTo>
                      <a:pt x="949573" y="656502"/>
                    </a:lnTo>
                    <a:lnTo>
                      <a:pt x="951337" y="657384"/>
                    </a:lnTo>
                    <a:lnTo>
                      <a:pt x="952219" y="660293"/>
                    </a:lnTo>
                    <a:lnTo>
                      <a:pt x="953100" y="660558"/>
                    </a:lnTo>
                    <a:lnTo>
                      <a:pt x="954599" y="662850"/>
                    </a:lnTo>
                    <a:lnTo>
                      <a:pt x="955216" y="664878"/>
                    </a:lnTo>
                    <a:lnTo>
                      <a:pt x="954952" y="668934"/>
                    </a:lnTo>
                    <a:lnTo>
                      <a:pt x="955216" y="670432"/>
                    </a:lnTo>
                    <a:lnTo>
                      <a:pt x="954599" y="671931"/>
                    </a:lnTo>
                    <a:lnTo>
                      <a:pt x="952307" y="673342"/>
                    </a:lnTo>
                    <a:lnTo>
                      <a:pt x="950279" y="674224"/>
                    </a:lnTo>
                    <a:lnTo>
                      <a:pt x="947105" y="676869"/>
                    </a:lnTo>
                    <a:lnTo>
                      <a:pt x="945606" y="677750"/>
                    </a:lnTo>
                    <a:lnTo>
                      <a:pt x="946223" y="677750"/>
                    </a:lnTo>
                    <a:lnTo>
                      <a:pt x="947986" y="677221"/>
                    </a:lnTo>
                    <a:lnTo>
                      <a:pt x="951160" y="675194"/>
                    </a:lnTo>
                    <a:lnTo>
                      <a:pt x="954687" y="673430"/>
                    </a:lnTo>
                    <a:lnTo>
                      <a:pt x="957068" y="673695"/>
                    </a:lnTo>
                    <a:lnTo>
                      <a:pt x="961476" y="675723"/>
                    </a:lnTo>
                    <a:lnTo>
                      <a:pt x="962975" y="677133"/>
                    </a:lnTo>
                    <a:lnTo>
                      <a:pt x="964474" y="677662"/>
                    </a:lnTo>
                    <a:lnTo>
                      <a:pt x="965356" y="679426"/>
                    </a:lnTo>
                    <a:lnTo>
                      <a:pt x="966237" y="678544"/>
                    </a:lnTo>
                    <a:lnTo>
                      <a:pt x="965973" y="676781"/>
                    </a:lnTo>
                    <a:lnTo>
                      <a:pt x="969147" y="674135"/>
                    </a:lnTo>
                    <a:lnTo>
                      <a:pt x="969147" y="671755"/>
                    </a:lnTo>
                    <a:lnTo>
                      <a:pt x="970293" y="671755"/>
                    </a:lnTo>
                    <a:lnTo>
                      <a:pt x="974084" y="668228"/>
                    </a:lnTo>
                    <a:lnTo>
                      <a:pt x="976729" y="666200"/>
                    </a:lnTo>
                    <a:lnTo>
                      <a:pt x="979639" y="666817"/>
                    </a:lnTo>
                    <a:lnTo>
                      <a:pt x="978757" y="668845"/>
                    </a:lnTo>
                    <a:lnTo>
                      <a:pt x="981931" y="669463"/>
                    </a:lnTo>
                    <a:lnTo>
                      <a:pt x="982548" y="670609"/>
                    </a:lnTo>
                    <a:lnTo>
                      <a:pt x="982284" y="673871"/>
                    </a:lnTo>
                    <a:lnTo>
                      <a:pt x="983166" y="673871"/>
                    </a:lnTo>
                    <a:lnTo>
                      <a:pt x="986428" y="670080"/>
                    </a:lnTo>
                    <a:lnTo>
                      <a:pt x="987574" y="666906"/>
                    </a:lnTo>
                    <a:lnTo>
                      <a:pt x="985811" y="666024"/>
                    </a:lnTo>
                    <a:lnTo>
                      <a:pt x="985546" y="663114"/>
                    </a:lnTo>
                    <a:lnTo>
                      <a:pt x="986428" y="662497"/>
                    </a:lnTo>
                    <a:lnTo>
                      <a:pt x="988720" y="662497"/>
                    </a:lnTo>
                    <a:lnTo>
                      <a:pt x="990748" y="658970"/>
                    </a:lnTo>
                    <a:lnTo>
                      <a:pt x="992776" y="658353"/>
                    </a:lnTo>
                    <a:lnTo>
                      <a:pt x="998860" y="653063"/>
                    </a:lnTo>
                    <a:lnTo>
                      <a:pt x="1002386" y="645481"/>
                    </a:lnTo>
                    <a:lnTo>
                      <a:pt x="1000623" y="644864"/>
                    </a:lnTo>
                    <a:lnTo>
                      <a:pt x="1000887" y="642836"/>
                    </a:lnTo>
                    <a:lnTo>
                      <a:pt x="1000006" y="639309"/>
                    </a:lnTo>
                    <a:lnTo>
                      <a:pt x="1002034" y="638692"/>
                    </a:lnTo>
                    <a:lnTo>
                      <a:pt x="1002651" y="637546"/>
                    </a:lnTo>
                    <a:lnTo>
                      <a:pt x="1000887" y="636399"/>
                    </a:lnTo>
                    <a:lnTo>
                      <a:pt x="1002651" y="634019"/>
                    </a:lnTo>
                    <a:lnTo>
                      <a:pt x="1001505" y="633137"/>
                    </a:lnTo>
                    <a:lnTo>
                      <a:pt x="1004414" y="627318"/>
                    </a:lnTo>
                    <a:lnTo>
                      <a:pt x="1005031" y="623791"/>
                    </a:lnTo>
                    <a:lnTo>
                      <a:pt x="1003268" y="622910"/>
                    </a:lnTo>
                    <a:lnTo>
                      <a:pt x="1003797" y="622028"/>
                    </a:lnTo>
                    <a:lnTo>
                      <a:pt x="1005825" y="621146"/>
                    </a:lnTo>
                    <a:lnTo>
                      <a:pt x="1009616" y="608009"/>
                    </a:lnTo>
                    <a:lnTo>
                      <a:pt x="1011379" y="607745"/>
                    </a:lnTo>
                    <a:lnTo>
                      <a:pt x="1011644" y="606863"/>
                    </a:lnTo>
                    <a:lnTo>
                      <a:pt x="1007235" y="605452"/>
                    </a:lnTo>
                    <a:lnTo>
                      <a:pt x="1008382" y="595842"/>
                    </a:lnTo>
                    <a:lnTo>
                      <a:pt x="1004855" y="594960"/>
                    </a:lnTo>
                    <a:lnTo>
                      <a:pt x="1012702" y="590023"/>
                    </a:lnTo>
                    <a:lnTo>
                      <a:pt x="1021431" y="590023"/>
                    </a:lnTo>
                    <a:lnTo>
                      <a:pt x="1026368" y="589141"/>
                    </a:lnTo>
                    <a:lnTo>
                      <a:pt x="1033686" y="585967"/>
                    </a:lnTo>
                    <a:lnTo>
                      <a:pt x="1038624" y="583058"/>
                    </a:lnTo>
                    <a:lnTo>
                      <a:pt x="1046206" y="580413"/>
                    </a:lnTo>
                    <a:lnTo>
                      <a:pt x="1052642" y="578649"/>
                    </a:lnTo>
                    <a:lnTo>
                      <a:pt x="1062517" y="572566"/>
                    </a:lnTo>
                    <a:lnTo>
                      <a:pt x="1068072" y="571067"/>
                    </a:lnTo>
                    <a:lnTo>
                      <a:pt x="1078564" y="561456"/>
                    </a:lnTo>
                    <a:lnTo>
                      <a:pt x="1085529" y="553257"/>
                    </a:lnTo>
                    <a:lnTo>
                      <a:pt x="1086940" y="548055"/>
                    </a:lnTo>
                    <a:lnTo>
                      <a:pt x="1092494" y="539855"/>
                    </a:lnTo>
                    <a:lnTo>
                      <a:pt x="1094258" y="532537"/>
                    </a:lnTo>
                    <a:lnTo>
                      <a:pt x="1094522" y="520282"/>
                    </a:lnTo>
                    <a:lnTo>
                      <a:pt x="1091877" y="514463"/>
                    </a:lnTo>
                    <a:lnTo>
                      <a:pt x="1090995" y="509525"/>
                    </a:lnTo>
                    <a:lnTo>
                      <a:pt x="1085705" y="507497"/>
                    </a:lnTo>
                    <a:lnTo>
                      <a:pt x="1081033" y="507233"/>
                    </a:lnTo>
                    <a:lnTo>
                      <a:pt x="1076624" y="502031"/>
                    </a:lnTo>
                    <a:lnTo>
                      <a:pt x="1079534" y="496741"/>
                    </a:lnTo>
                    <a:lnTo>
                      <a:pt x="1091789" y="488012"/>
                    </a:lnTo>
                    <a:lnTo>
                      <a:pt x="1096198" y="486513"/>
                    </a:lnTo>
                    <a:lnTo>
                      <a:pt x="1099372" y="485102"/>
                    </a:lnTo>
                    <a:lnTo>
                      <a:pt x="1100518" y="483604"/>
                    </a:lnTo>
                    <a:lnTo>
                      <a:pt x="1099107" y="482722"/>
                    </a:lnTo>
                    <a:lnTo>
                      <a:pt x="1100253" y="480959"/>
                    </a:lnTo>
                    <a:lnTo>
                      <a:pt x="1101752" y="480694"/>
                    </a:lnTo>
                    <a:lnTo>
                      <a:pt x="1103251" y="479812"/>
                    </a:lnTo>
                    <a:lnTo>
                      <a:pt x="1103868" y="476903"/>
                    </a:lnTo>
                    <a:lnTo>
                      <a:pt x="1107042" y="477784"/>
                    </a:lnTo>
                    <a:lnTo>
                      <a:pt x="1108188" y="477167"/>
                    </a:lnTo>
                    <a:lnTo>
                      <a:pt x="1108806" y="475668"/>
                    </a:lnTo>
                    <a:lnTo>
                      <a:pt x="1113214" y="473905"/>
                    </a:lnTo>
                    <a:lnTo>
                      <a:pt x="1113478" y="471260"/>
                    </a:lnTo>
                    <a:lnTo>
                      <a:pt x="1116124" y="470731"/>
                    </a:lnTo>
                    <a:lnTo>
                      <a:pt x="1116124" y="469232"/>
                    </a:lnTo>
                    <a:lnTo>
                      <a:pt x="1112597" y="468968"/>
                    </a:lnTo>
                    <a:lnTo>
                      <a:pt x="1111980" y="468086"/>
                    </a:lnTo>
                    <a:lnTo>
                      <a:pt x="1115154" y="464912"/>
                    </a:lnTo>
                    <a:lnTo>
                      <a:pt x="1115418" y="463413"/>
                    </a:lnTo>
                    <a:lnTo>
                      <a:pt x="1113655" y="460768"/>
                    </a:lnTo>
                    <a:lnTo>
                      <a:pt x="1116300" y="458740"/>
                    </a:lnTo>
                    <a:lnTo>
                      <a:pt x="1117799" y="458476"/>
                    </a:lnTo>
                    <a:lnTo>
                      <a:pt x="1118063" y="457594"/>
                    </a:lnTo>
                    <a:lnTo>
                      <a:pt x="1116300" y="456977"/>
                    </a:lnTo>
                    <a:lnTo>
                      <a:pt x="1116300" y="454949"/>
                    </a:lnTo>
                    <a:lnTo>
                      <a:pt x="1118328" y="453450"/>
                    </a:lnTo>
                    <a:lnTo>
                      <a:pt x="1118945" y="452568"/>
                    </a:lnTo>
                    <a:lnTo>
                      <a:pt x="1111627" y="451422"/>
                    </a:lnTo>
                    <a:lnTo>
                      <a:pt x="1120620" y="445339"/>
                    </a:lnTo>
                    <a:lnTo>
                      <a:pt x="1125293" y="440930"/>
                    </a:lnTo>
                    <a:lnTo>
                      <a:pt x="1126175" y="437403"/>
                    </a:lnTo>
                    <a:lnTo>
                      <a:pt x="1127321" y="436786"/>
                    </a:lnTo>
                    <a:lnTo>
                      <a:pt x="1129613" y="436169"/>
                    </a:lnTo>
                    <a:lnTo>
                      <a:pt x="1130495" y="433524"/>
                    </a:lnTo>
                    <a:lnTo>
                      <a:pt x="1129349" y="431761"/>
                    </a:lnTo>
                    <a:lnTo>
                      <a:pt x="1126704" y="430614"/>
                    </a:lnTo>
                    <a:lnTo>
                      <a:pt x="1127850" y="425412"/>
                    </a:lnTo>
                    <a:lnTo>
                      <a:pt x="1131641" y="417565"/>
                    </a:lnTo>
                    <a:lnTo>
                      <a:pt x="1147071" y="411394"/>
                    </a:lnTo>
                    <a:lnTo>
                      <a:pt x="1151743" y="412275"/>
                    </a:lnTo>
                    <a:lnTo>
                      <a:pt x="1154653" y="412275"/>
                    </a:lnTo>
                    <a:lnTo>
                      <a:pt x="1176872" y="418095"/>
                    </a:lnTo>
                    <a:lnTo>
                      <a:pt x="1180663" y="417477"/>
                    </a:lnTo>
                    <a:lnTo>
                      <a:pt x="1186482" y="418624"/>
                    </a:lnTo>
                    <a:lnTo>
                      <a:pt x="1189656" y="420387"/>
                    </a:lnTo>
                    <a:lnTo>
                      <a:pt x="1189391" y="418888"/>
                    </a:lnTo>
                    <a:lnTo>
                      <a:pt x="1190890" y="418359"/>
                    </a:lnTo>
                    <a:lnTo>
                      <a:pt x="1194946" y="418624"/>
                    </a:lnTo>
                    <a:lnTo>
                      <a:pt x="1200148" y="416596"/>
                    </a:lnTo>
                    <a:lnTo>
                      <a:pt x="1203410" y="415978"/>
                    </a:lnTo>
                    <a:lnTo>
                      <a:pt x="1202264" y="418006"/>
                    </a:lnTo>
                    <a:lnTo>
                      <a:pt x="1205791" y="414832"/>
                    </a:lnTo>
                    <a:lnTo>
                      <a:pt x="1210728" y="413333"/>
                    </a:lnTo>
                    <a:lnTo>
                      <a:pt x="1212492" y="415361"/>
                    </a:lnTo>
                    <a:lnTo>
                      <a:pt x="1216283" y="416507"/>
                    </a:lnTo>
                    <a:lnTo>
                      <a:pt x="1216812" y="418535"/>
                    </a:lnTo>
                    <a:lnTo>
                      <a:pt x="1222102" y="421445"/>
                    </a:lnTo>
                    <a:lnTo>
                      <a:pt x="1223248" y="420828"/>
                    </a:lnTo>
                    <a:lnTo>
                      <a:pt x="1225011" y="422591"/>
                    </a:lnTo>
                    <a:lnTo>
                      <a:pt x="1224130" y="425236"/>
                    </a:lnTo>
                    <a:lnTo>
                      <a:pt x="1229067" y="427529"/>
                    </a:lnTo>
                    <a:lnTo>
                      <a:pt x="1229067" y="429292"/>
                    </a:lnTo>
                    <a:lnTo>
                      <a:pt x="1231448" y="431937"/>
                    </a:lnTo>
                    <a:lnTo>
                      <a:pt x="1232947" y="431055"/>
                    </a:lnTo>
                    <a:lnTo>
                      <a:pt x="1237355" y="432819"/>
                    </a:lnTo>
                    <a:lnTo>
                      <a:pt x="1236473" y="433965"/>
                    </a:lnTo>
                    <a:lnTo>
                      <a:pt x="1233211" y="433965"/>
                    </a:lnTo>
                    <a:lnTo>
                      <a:pt x="1231712" y="436610"/>
                    </a:lnTo>
                    <a:lnTo>
                      <a:pt x="1233211" y="437492"/>
                    </a:lnTo>
                    <a:lnTo>
                      <a:pt x="1232065" y="438109"/>
                    </a:lnTo>
                    <a:lnTo>
                      <a:pt x="1231536" y="439872"/>
                    </a:lnTo>
                    <a:lnTo>
                      <a:pt x="1234445" y="441900"/>
                    </a:lnTo>
                    <a:lnTo>
                      <a:pt x="1242028" y="444281"/>
                    </a:lnTo>
                    <a:lnTo>
                      <a:pt x="1247230" y="446044"/>
                    </a:lnTo>
                    <a:lnTo>
                      <a:pt x="1253049" y="444898"/>
                    </a:lnTo>
                    <a:lnTo>
                      <a:pt x="1255694" y="444898"/>
                    </a:lnTo>
                    <a:lnTo>
                      <a:pt x="1256311" y="445515"/>
                    </a:lnTo>
                    <a:lnTo>
                      <a:pt x="1254812" y="449042"/>
                    </a:lnTo>
                    <a:lnTo>
                      <a:pt x="1255959" y="450805"/>
                    </a:lnTo>
                    <a:lnTo>
                      <a:pt x="1257987" y="450540"/>
                    </a:lnTo>
                    <a:lnTo>
                      <a:pt x="1259750" y="449394"/>
                    </a:lnTo>
                    <a:lnTo>
                      <a:pt x="1262395" y="448777"/>
                    </a:lnTo>
                    <a:lnTo>
                      <a:pt x="1265922" y="445250"/>
                    </a:lnTo>
                    <a:lnTo>
                      <a:pt x="1266803" y="446132"/>
                    </a:lnTo>
                    <a:lnTo>
                      <a:pt x="1266803" y="450805"/>
                    </a:lnTo>
                    <a:lnTo>
                      <a:pt x="1265922" y="451687"/>
                    </a:lnTo>
                    <a:lnTo>
                      <a:pt x="1260102" y="453450"/>
                    </a:lnTo>
                    <a:lnTo>
                      <a:pt x="1258604" y="456095"/>
                    </a:lnTo>
                    <a:lnTo>
                      <a:pt x="1256223" y="457858"/>
                    </a:lnTo>
                    <a:lnTo>
                      <a:pt x="1254460" y="461914"/>
                    </a:lnTo>
                    <a:lnTo>
                      <a:pt x="1255959" y="464559"/>
                    </a:lnTo>
                    <a:lnTo>
                      <a:pt x="1252785" y="467998"/>
                    </a:lnTo>
                    <a:lnTo>
                      <a:pt x="1250139" y="468262"/>
                    </a:lnTo>
                    <a:lnTo>
                      <a:pt x="1249875" y="471172"/>
                    </a:lnTo>
                    <a:lnTo>
                      <a:pt x="1251638" y="473552"/>
                    </a:lnTo>
                    <a:lnTo>
                      <a:pt x="1249875" y="477079"/>
                    </a:lnTo>
                    <a:lnTo>
                      <a:pt x="1250757" y="477079"/>
                    </a:lnTo>
                    <a:lnTo>
                      <a:pt x="1249610" y="478578"/>
                    </a:lnTo>
                    <a:lnTo>
                      <a:pt x="1245290" y="481223"/>
                    </a:lnTo>
                    <a:lnTo>
                      <a:pt x="1244673" y="483868"/>
                    </a:lnTo>
                    <a:lnTo>
                      <a:pt x="1243527" y="485014"/>
                    </a:lnTo>
                    <a:lnTo>
                      <a:pt x="1243262" y="485896"/>
                    </a:lnTo>
                    <a:lnTo>
                      <a:pt x="1247318" y="485014"/>
                    </a:lnTo>
                    <a:lnTo>
                      <a:pt x="1251109" y="485896"/>
                    </a:lnTo>
                    <a:lnTo>
                      <a:pt x="1249610" y="487924"/>
                    </a:lnTo>
                    <a:lnTo>
                      <a:pt x="1245819" y="487924"/>
                    </a:lnTo>
                    <a:lnTo>
                      <a:pt x="1244673" y="489687"/>
                    </a:lnTo>
                    <a:lnTo>
                      <a:pt x="1245555" y="489952"/>
                    </a:lnTo>
                    <a:lnTo>
                      <a:pt x="1249081" y="489070"/>
                    </a:lnTo>
                    <a:lnTo>
                      <a:pt x="1250228" y="489687"/>
                    </a:lnTo>
                    <a:lnTo>
                      <a:pt x="1250228" y="491186"/>
                    </a:lnTo>
                    <a:lnTo>
                      <a:pt x="1247318" y="493567"/>
                    </a:lnTo>
                    <a:lnTo>
                      <a:pt x="1245907" y="493831"/>
                    </a:lnTo>
                    <a:lnTo>
                      <a:pt x="1247935" y="491539"/>
                    </a:lnTo>
                    <a:lnTo>
                      <a:pt x="1247053" y="491274"/>
                    </a:lnTo>
                    <a:lnTo>
                      <a:pt x="1244409" y="492156"/>
                    </a:lnTo>
                    <a:lnTo>
                      <a:pt x="1241764" y="495683"/>
                    </a:lnTo>
                    <a:lnTo>
                      <a:pt x="1239471" y="497711"/>
                    </a:lnTo>
                    <a:lnTo>
                      <a:pt x="1241764" y="497446"/>
                    </a:lnTo>
                    <a:lnTo>
                      <a:pt x="1244673" y="495683"/>
                    </a:lnTo>
                    <a:lnTo>
                      <a:pt x="1256311" y="495418"/>
                    </a:lnTo>
                    <a:lnTo>
                      <a:pt x="1260367" y="497711"/>
                    </a:lnTo>
                    <a:lnTo>
                      <a:pt x="1260102" y="503265"/>
                    </a:lnTo>
                    <a:lnTo>
                      <a:pt x="1265922" y="504764"/>
                    </a:lnTo>
                    <a:lnTo>
                      <a:pt x="1264775" y="507938"/>
                    </a:lnTo>
                    <a:lnTo>
                      <a:pt x="1265657" y="507938"/>
                    </a:lnTo>
                    <a:lnTo>
                      <a:pt x="1267949" y="505293"/>
                    </a:lnTo>
                    <a:lnTo>
                      <a:pt x="1269096" y="506704"/>
                    </a:lnTo>
                    <a:lnTo>
                      <a:pt x="1267332" y="508732"/>
                    </a:lnTo>
                    <a:lnTo>
                      <a:pt x="1267949" y="509878"/>
                    </a:lnTo>
                    <a:lnTo>
                      <a:pt x="1266186" y="512787"/>
                    </a:lnTo>
                    <a:lnTo>
                      <a:pt x="1267597" y="512523"/>
                    </a:lnTo>
                    <a:lnTo>
                      <a:pt x="1270242" y="509878"/>
                    </a:lnTo>
                    <a:lnTo>
                      <a:pt x="1273152" y="509261"/>
                    </a:lnTo>
                    <a:lnTo>
                      <a:pt x="1280469" y="506351"/>
                    </a:lnTo>
                    <a:lnTo>
                      <a:pt x="1283644" y="504323"/>
                    </a:lnTo>
                    <a:lnTo>
                      <a:pt x="1284525" y="504940"/>
                    </a:lnTo>
                    <a:lnTo>
                      <a:pt x="1288316" y="504323"/>
                    </a:lnTo>
                    <a:lnTo>
                      <a:pt x="1295546" y="497358"/>
                    </a:lnTo>
                    <a:lnTo>
                      <a:pt x="1300219" y="499650"/>
                    </a:lnTo>
                    <a:lnTo>
                      <a:pt x="1301365" y="498769"/>
                    </a:lnTo>
                    <a:lnTo>
                      <a:pt x="1301365" y="497270"/>
                    </a:lnTo>
                    <a:lnTo>
                      <a:pt x="1303129" y="496124"/>
                    </a:lnTo>
                    <a:lnTo>
                      <a:pt x="1304627" y="496741"/>
                    </a:lnTo>
                    <a:lnTo>
                      <a:pt x="1306126" y="496124"/>
                    </a:lnTo>
                    <a:lnTo>
                      <a:pt x="1304627" y="494977"/>
                    </a:lnTo>
                    <a:lnTo>
                      <a:pt x="1311593" y="491803"/>
                    </a:lnTo>
                    <a:lnTo>
                      <a:pt x="1312475" y="492420"/>
                    </a:lnTo>
                    <a:lnTo>
                      <a:pt x="1313356" y="491803"/>
                    </a:lnTo>
                    <a:lnTo>
                      <a:pt x="1312210" y="488012"/>
                    </a:lnTo>
                    <a:lnTo>
                      <a:pt x="1313356" y="487130"/>
                    </a:lnTo>
                    <a:lnTo>
                      <a:pt x="1314855" y="487747"/>
                    </a:lnTo>
                    <a:lnTo>
                      <a:pt x="1316354" y="486601"/>
                    </a:lnTo>
                    <a:lnTo>
                      <a:pt x="1317236" y="484573"/>
                    </a:lnTo>
                    <a:lnTo>
                      <a:pt x="1318734" y="484573"/>
                    </a:lnTo>
                    <a:lnTo>
                      <a:pt x="1319881" y="483692"/>
                    </a:lnTo>
                    <a:lnTo>
                      <a:pt x="1319881" y="482193"/>
                    </a:lnTo>
                    <a:lnTo>
                      <a:pt x="1321644" y="482193"/>
                    </a:lnTo>
                    <a:lnTo>
                      <a:pt x="1321997" y="481928"/>
                    </a:lnTo>
                    <a:lnTo>
                      <a:pt x="1321644" y="476991"/>
                    </a:lnTo>
                    <a:lnTo>
                      <a:pt x="1324289" y="474699"/>
                    </a:lnTo>
                    <a:lnTo>
                      <a:pt x="1331254" y="471436"/>
                    </a:lnTo>
                    <a:lnTo>
                      <a:pt x="1341129" y="461562"/>
                    </a:lnTo>
                    <a:lnTo>
                      <a:pt x="1342275" y="461562"/>
                    </a:lnTo>
                    <a:lnTo>
                      <a:pt x="1341394" y="459798"/>
                    </a:lnTo>
                    <a:lnTo>
                      <a:pt x="1342275" y="458916"/>
                    </a:lnTo>
                    <a:lnTo>
                      <a:pt x="1345802" y="458652"/>
                    </a:lnTo>
                    <a:lnTo>
                      <a:pt x="1347213" y="460944"/>
                    </a:lnTo>
                    <a:lnTo>
                      <a:pt x="1347830" y="461562"/>
                    </a:lnTo>
                    <a:lnTo>
                      <a:pt x="1347213" y="462708"/>
                    </a:lnTo>
                    <a:lnTo>
                      <a:pt x="1348095" y="463325"/>
                    </a:lnTo>
                    <a:lnTo>
                      <a:pt x="1346948" y="463942"/>
                    </a:lnTo>
                    <a:lnTo>
                      <a:pt x="1347213" y="465088"/>
                    </a:lnTo>
                    <a:lnTo>
                      <a:pt x="1345185" y="467116"/>
                    </a:lnTo>
                    <a:lnTo>
                      <a:pt x="1346067" y="467381"/>
                    </a:lnTo>
                    <a:lnTo>
                      <a:pt x="1345802" y="468262"/>
                    </a:lnTo>
                    <a:lnTo>
                      <a:pt x="1348712" y="468527"/>
                    </a:lnTo>
                    <a:lnTo>
                      <a:pt x="1349329" y="469409"/>
                    </a:lnTo>
                    <a:lnTo>
                      <a:pt x="1347918" y="470907"/>
                    </a:lnTo>
                    <a:lnTo>
                      <a:pt x="1347918" y="472671"/>
                    </a:lnTo>
                    <a:lnTo>
                      <a:pt x="1348800" y="473288"/>
                    </a:lnTo>
                    <a:lnTo>
                      <a:pt x="1350299" y="474787"/>
                    </a:lnTo>
                    <a:lnTo>
                      <a:pt x="1349417" y="476197"/>
                    </a:lnTo>
                    <a:lnTo>
                      <a:pt x="1349417" y="477961"/>
                    </a:lnTo>
                    <a:lnTo>
                      <a:pt x="1351180" y="480253"/>
                    </a:lnTo>
                    <a:lnTo>
                      <a:pt x="1349153" y="483163"/>
                    </a:lnTo>
                    <a:lnTo>
                      <a:pt x="1353561" y="484926"/>
                    </a:lnTo>
                    <a:lnTo>
                      <a:pt x="1352944" y="486072"/>
                    </a:lnTo>
                    <a:lnTo>
                      <a:pt x="1353826" y="486337"/>
                    </a:lnTo>
                    <a:lnTo>
                      <a:pt x="1354707" y="488100"/>
                    </a:lnTo>
                    <a:lnTo>
                      <a:pt x="1354090" y="488982"/>
                    </a:lnTo>
                    <a:lnTo>
                      <a:pt x="1351798" y="490745"/>
                    </a:lnTo>
                    <a:lnTo>
                      <a:pt x="1354972" y="491010"/>
                    </a:lnTo>
                    <a:lnTo>
                      <a:pt x="1355853" y="492156"/>
                    </a:lnTo>
                    <a:lnTo>
                      <a:pt x="1355236" y="493655"/>
                    </a:lnTo>
                    <a:lnTo>
                      <a:pt x="1356382" y="495154"/>
                    </a:lnTo>
                    <a:lnTo>
                      <a:pt x="1358675" y="496300"/>
                    </a:lnTo>
                    <a:lnTo>
                      <a:pt x="1358057" y="498680"/>
                    </a:lnTo>
                    <a:lnTo>
                      <a:pt x="1358675" y="499827"/>
                    </a:lnTo>
                    <a:lnTo>
                      <a:pt x="1355765" y="502472"/>
                    </a:lnTo>
                    <a:lnTo>
                      <a:pt x="1353120" y="503353"/>
                    </a:lnTo>
                    <a:lnTo>
                      <a:pt x="1352239" y="504235"/>
                    </a:lnTo>
                    <a:lnTo>
                      <a:pt x="1352503" y="505117"/>
                    </a:lnTo>
                    <a:lnTo>
                      <a:pt x="1353649" y="505381"/>
                    </a:lnTo>
                    <a:lnTo>
                      <a:pt x="1357176" y="504499"/>
                    </a:lnTo>
                    <a:lnTo>
                      <a:pt x="1359556" y="504499"/>
                    </a:lnTo>
                    <a:lnTo>
                      <a:pt x="1360703" y="505117"/>
                    </a:lnTo>
                    <a:lnTo>
                      <a:pt x="1357176" y="509525"/>
                    </a:lnTo>
                    <a:lnTo>
                      <a:pt x="1357793" y="510142"/>
                    </a:lnTo>
                    <a:lnTo>
                      <a:pt x="1357528" y="511024"/>
                    </a:lnTo>
                    <a:lnTo>
                      <a:pt x="1354355" y="512435"/>
                    </a:lnTo>
                    <a:lnTo>
                      <a:pt x="1354619" y="512699"/>
                    </a:lnTo>
                    <a:lnTo>
                      <a:pt x="1359292" y="512435"/>
                    </a:lnTo>
                    <a:lnTo>
                      <a:pt x="1360174" y="513052"/>
                    </a:lnTo>
                    <a:lnTo>
                      <a:pt x="1361055" y="514815"/>
                    </a:lnTo>
                    <a:lnTo>
                      <a:pt x="1360174" y="516314"/>
                    </a:lnTo>
                    <a:lnTo>
                      <a:pt x="1360438" y="517460"/>
                    </a:lnTo>
                    <a:lnTo>
                      <a:pt x="1362201" y="517460"/>
                    </a:lnTo>
                    <a:lnTo>
                      <a:pt x="1363965" y="516843"/>
                    </a:lnTo>
                    <a:lnTo>
                      <a:pt x="1365111" y="517989"/>
                    </a:lnTo>
                    <a:lnTo>
                      <a:pt x="1367756" y="518606"/>
                    </a:lnTo>
                    <a:lnTo>
                      <a:pt x="1367756" y="519224"/>
                    </a:lnTo>
                    <a:lnTo>
                      <a:pt x="1364582" y="522133"/>
                    </a:lnTo>
                    <a:lnTo>
                      <a:pt x="1365464" y="523897"/>
                    </a:lnTo>
                    <a:lnTo>
                      <a:pt x="1364847" y="524514"/>
                    </a:lnTo>
                    <a:lnTo>
                      <a:pt x="1363083" y="525395"/>
                    </a:lnTo>
                    <a:lnTo>
                      <a:pt x="1355765" y="527688"/>
                    </a:lnTo>
                    <a:lnTo>
                      <a:pt x="1354619" y="528834"/>
                    </a:lnTo>
                    <a:lnTo>
                      <a:pt x="1355236" y="529098"/>
                    </a:lnTo>
                    <a:lnTo>
                      <a:pt x="1358498" y="528570"/>
                    </a:lnTo>
                    <a:lnTo>
                      <a:pt x="1359997" y="528570"/>
                    </a:lnTo>
                    <a:lnTo>
                      <a:pt x="1362025" y="529451"/>
                    </a:lnTo>
                    <a:lnTo>
                      <a:pt x="1363171" y="530597"/>
                    </a:lnTo>
                    <a:lnTo>
                      <a:pt x="1362907" y="531479"/>
                    </a:lnTo>
                    <a:lnTo>
                      <a:pt x="1359997" y="533771"/>
                    </a:lnTo>
                    <a:lnTo>
                      <a:pt x="1360879" y="534653"/>
                    </a:lnTo>
                    <a:lnTo>
                      <a:pt x="1365552" y="535799"/>
                    </a:lnTo>
                    <a:lnTo>
                      <a:pt x="1367315" y="535535"/>
                    </a:lnTo>
                    <a:lnTo>
                      <a:pt x="1368814" y="536152"/>
                    </a:lnTo>
                    <a:lnTo>
                      <a:pt x="1369431" y="537298"/>
                    </a:lnTo>
                    <a:lnTo>
                      <a:pt x="1369167" y="538444"/>
                    </a:lnTo>
                    <a:lnTo>
                      <a:pt x="1367404" y="540208"/>
                    </a:lnTo>
                    <a:lnTo>
                      <a:pt x="1364494" y="540825"/>
                    </a:lnTo>
                    <a:lnTo>
                      <a:pt x="1360438" y="543734"/>
                    </a:lnTo>
                    <a:lnTo>
                      <a:pt x="1358675" y="547790"/>
                    </a:lnTo>
                    <a:lnTo>
                      <a:pt x="1356647" y="548936"/>
                    </a:lnTo>
                    <a:lnTo>
                      <a:pt x="1356911" y="549554"/>
                    </a:lnTo>
                    <a:lnTo>
                      <a:pt x="1358057" y="549818"/>
                    </a:lnTo>
                    <a:lnTo>
                      <a:pt x="1357440" y="550700"/>
                    </a:lnTo>
                    <a:lnTo>
                      <a:pt x="1357440" y="550964"/>
                    </a:lnTo>
                    <a:lnTo>
                      <a:pt x="1355677" y="551317"/>
                    </a:lnTo>
                    <a:lnTo>
                      <a:pt x="1353649" y="552199"/>
                    </a:lnTo>
                    <a:lnTo>
                      <a:pt x="1353914" y="552816"/>
                    </a:lnTo>
                    <a:lnTo>
                      <a:pt x="1355324" y="555990"/>
                    </a:lnTo>
                    <a:lnTo>
                      <a:pt x="1353914" y="556607"/>
                    </a:lnTo>
                    <a:lnTo>
                      <a:pt x="1351004" y="555725"/>
                    </a:lnTo>
                    <a:lnTo>
                      <a:pt x="1350387" y="555990"/>
                    </a:lnTo>
                    <a:lnTo>
                      <a:pt x="1349241" y="557136"/>
                    </a:lnTo>
                    <a:lnTo>
                      <a:pt x="1350387" y="557489"/>
                    </a:lnTo>
                    <a:lnTo>
                      <a:pt x="1355589" y="558018"/>
                    </a:lnTo>
                    <a:lnTo>
                      <a:pt x="1357352" y="557753"/>
                    </a:lnTo>
                    <a:lnTo>
                      <a:pt x="1358498" y="558018"/>
                    </a:lnTo>
                    <a:lnTo>
                      <a:pt x="1359997" y="557753"/>
                    </a:lnTo>
                    <a:lnTo>
                      <a:pt x="1360262" y="558635"/>
                    </a:lnTo>
                    <a:lnTo>
                      <a:pt x="1359116" y="559781"/>
                    </a:lnTo>
                    <a:lnTo>
                      <a:pt x="1359733" y="560927"/>
                    </a:lnTo>
                    <a:lnTo>
                      <a:pt x="1359468" y="561809"/>
                    </a:lnTo>
                    <a:lnTo>
                      <a:pt x="1359733" y="562955"/>
                    </a:lnTo>
                    <a:lnTo>
                      <a:pt x="1362113" y="563837"/>
                    </a:lnTo>
                    <a:lnTo>
                      <a:pt x="1362642" y="564366"/>
                    </a:lnTo>
                    <a:lnTo>
                      <a:pt x="1362378" y="565512"/>
                    </a:lnTo>
                    <a:lnTo>
                      <a:pt x="1363260" y="566041"/>
                    </a:lnTo>
                    <a:lnTo>
                      <a:pt x="1365023" y="566041"/>
                    </a:lnTo>
                    <a:lnTo>
                      <a:pt x="1368549" y="566306"/>
                    </a:lnTo>
                    <a:lnTo>
                      <a:pt x="1368285" y="567187"/>
                    </a:lnTo>
                    <a:lnTo>
                      <a:pt x="1369431" y="567187"/>
                    </a:lnTo>
                    <a:lnTo>
                      <a:pt x="1369431" y="566835"/>
                    </a:lnTo>
                    <a:lnTo>
                      <a:pt x="1370048" y="566835"/>
                    </a:lnTo>
                    <a:lnTo>
                      <a:pt x="1370313" y="568862"/>
                    </a:lnTo>
                    <a:lnTo>
                      <a:pt x="1370842" y="568862"/>
                    </a:lnTo>
                    <a:lnTo>
                      <a:pt x="1372870" y="567099"/>
                    </a:lnTo>
                    <a:lnTo>
                      <a:pt x="1375162" y="567981"/>
                    </a:lnTo>
                    <a:lnTo>
                      <a:pt x="1372517" y="571772"/>
                    </a:lnTo>
                    <a:lnTo>
                      <a:pt x="1372782" y="572389"/>
                    </a:lnTo>
                    <a:lnTo>
                      <a:pt x="1373663" y="574153"/>
                    </a:lnTo>
                    <a:lnTo>
                      <a:pt x="1373399" y="575651"/>
                    </a:lnTo>
                    <a:lnTo>
                      <a:pt x="1373134" y="576269"/>
                    </a:lnTo>
                    <a:lnTo>
                      <a:pt x="1371635" y="576533"/>
                    </a:lnTo>
                    <a:lnTo>
                      <a:pt x="1371018" y="577150"/>
                    </a:lnTo>
                    <a:lnTo>
                      <a:pt x="1370401" y="578032"/>
                    </a:lnTo>
                    <a:lnTo>
                      <a:pt x="1368902" y="579531"/>
                    </a:lnTo>
                    <a:lnTo>
                      <a:pt x="1369784" y="580148"/>
                    </a:lnTo>
                    <a:lnTo>
                      <a:pt x="1369167" y="581294"/>
                    </a:lnTo>
                    <a:lnTo>
                      <a:pt x="1369431" y="581559"/>
                    </a:lnTo>
                    <a:lnTo>
                      <a:pt x="1372605" y="579795"/>
                    </a:lnTo>
                    <a:lnTo>
                      <a:pt x="1375515" y="580677"/>
                    </a:lnTo>
                    <a:lnTo>
                      <a:pt x="1376661" y="580677"/>
                    </a:lnTo>
                    <a:lnTo>
                      <a:pt x="1381070" y="578649"/>
                    </a:lnTo>
                    <a:lnTo>
                      <a:pt x="1381687" y="578914"/>
                    </a:lnTo>
                    <a:lnTo>
                      <a:pt x="1381687" y="579795"/>
                    </a:lnTo>
                    <a:lnTo>
                      <a:pt x="1381422" y="580677"/>
                    </a:lnTo>
                    <a:lnTo>
                      <a:pt x="1377631" y="582705"/>
                    </a:lnTo>
                    <a:lnTo>
                      <a:pt x="1378248" y="583322"/>
                    </a:lnTo>
                    <a:lnTo>
                      <a:pt x="1379130" y="582969"/>
                    </a:lnTo>
                    <a:lnTo>
                      <a:pt x="1380629" y="582352"/>
                    </a:lnTo>
                    <a:lnTo>
                      <a:pt x="1381246" y="582617"/>
                    </a:lnTo>
                    <a:lnTo>
                      <a:pt x="1384772" y="581118"/>
                    </a:lnTo>
                    <a:lnTo>
                      <a:pt x="1386536" y="582000"/>
                    </a:lnTo>
                    <a:lnTo>
                      <a:pt x="1385919" y="583146"/>
                    </a:lnTo>
                    <a:lnTo>
                      <a:pt x="1384155" y="583675"/>
                    </a:lnTo>
                    <a:lnTo>
                      <a:pt x="1384420" y="584292"/>
                    </a:lnTo>
                    <a:lnTo>
                      <a:pt x="1385566" y="584292"/>
                    </a:lnTo>
                    <a:lnTo>
                      <a:pt x="1387947" y="582793"/>
                    </a:lnTo>
                    <a:lnTo>
                      <a:pt x="1389093" y="581647"/>
                    </a:lnTo>
                    <a:lnTo>
                      <a:pt x="1389710" y="580765"/>
                    </a:lnTo>
                    <a:lnTo>
                      <a:pt x="1391738" y="580148"/>
                    </a:lnTo>
                    <a:lnTo>
                      <a:pt x="1392002" y="580765"/>
                    </a:lnTo>
                    <a:lnTo>
                      <a:pt x="1391121" y="582529"/>
                    </a:lnTo>
                    <a:lnTo>
                      <a:pt x="1389975" y="582793"/>
                    </a:lnTo>
                    <a:lnTo>
                      <a:pt x="1389975" y="583410"/>
                    </a:lnTo>
                    <a:lnTo>
                      <a:pt x="1390856" y="583410"/>
                    </a:lnTo>
                    <a:lnTo>
                      <a:pt x="1393149" y="582264"/>
                    </a:lnTo>
                    <a:lnTo>
                      <a:pt x="1394030" y="582881"/>
                    </a:lnTo>
                    <a:lnTo>
                      <a:pt x="1393413" y="584645"/>
                    </a:lnTo>
                    <a:lnTo>
                      <a:pt x="1393678" y="587290"/>
                    </a:lnTo>
                    <a:lnTo>
                      <a:pt x="1394295" y="589318"/>
                    </a:lnTo>
                    <a:lnTo>
                      <a:pt x="1401260" y="591345"/>
                    </a:lnTo>
                    <a:lnTo>
                      <a:pt x="1403641" y="590728"/>
                    </a:lnTo>
                    <a:lnTo>
                      <a:pt x="1405669" y="589847"/>
                    </a:lnTo>
                    <a:lnTo>
                      <a:pt x="1407079" y="588965"/>
                    </a:lnTo>
                    <a:lnTo>
                      <a:pt x="1410253" y="588083"/>
                    </a:lnTo>
                    <a:lnTo>
                      <a:pt x="1412017" y="587819"/>
                    </a:lnTo>
                    <a:lnTo>
                      <a:pt x="1412634" y="588700"/>
                    </a:lnTo>
                    <a:lnTo>
                      <a:pt x="1412634" y="589318"/>
                    </a:lnTo>
                    <a:lnTo>
                      <a:pt x="1412634" y="590816"/>
                    </a:lnTo>
                    <a:lnTo>
                      <a:pt x="1410606" y="591698"/>
                    </a:lnTo>
                    <a:lnTo>
                      <a:pt x="1413251" y="593726"/>
                    </a:lnTo>
                    <a:lnTo>
                      <a:pt x="1418806" y="594343"/>
                    </a:lnTo>
                    <a:lnTo>
                      <a:pt x="1418541" y="595489"/>
                    </a:lnTo>
                    <a:lnTo>
                      <a:pt x="1420834" y="596018"/>
                    </a:lnTo>
                    <a:lnTo>
                      <a:pt x="1420834" y="596636"/>
                    </a:lnTo>
                    <a:lnTo>
                      <a:pt x="1420569" y="597253"/>
                    </a:lnTo>
                    <a:lnTo>
                      <a:pt x="1418541" y="598399"/>
                    </a:lnTo>
                    <a:lnTo>
                      <a:pt x="1416161" y="598399"/>
                    </a:lnTo>
                    <a:lnTo>
                      <a:pt x="1415631" y="598399"/>
                    </a:lnTo>
                    <a:lnTo>
                      <a:pt x="1414485" y="599281"/>
                    </a:lnTo>
                    <a:lnTo>
                      <a:pt x="1412722" y="600427"/>
                    </a:lnTo>
                    <a:lnTo>
                      <a:pt x="1411223" y="600691"/>
                    </a:lnTo>
                    <a:lnTo>
                      <a:pt x="1407432" y="600427"/>
                    </a:lnTo>
                    <a:lnTo>
                      <a:pt x="1403641" y="601044"/>
                    </a:lnTo>
                    <a:lnTo>
                      <a:pt x="1396940" y="603953"/>
                    </a:lnTo>
                    <a:lnTo>
                      <a:pt x="1392531" y="607745"/>
                    </a:lnTo>
                    <a:lnTo>
                      <a:pt x="1391033" y="608626"/>
                    </a:lnTo>
                    <a:lnTo>
                      <a:pt x="1386095" y="608626"/>
                    </a:lnTo>
                    <a:lnTo>
                      <a:pt x="1385213" y="608979"/>
                    </a:lnTo>
                    <a:lnTo>
                      <a:pt x="1382921" y="610742"/>
                    </a:lnTo>
                    <a:lnTo>
                      <a:pt x="1378865" y="611007"/>
                    </a:lnTo>
                    <a:lnTo>
                      <a:pt x="1371900" y="614181"/>
                    </a:lnTo>
                    <a:lnTo>
                      <a:pt x="1367227" y="613916"/>
                    </a:lnTo>
                    <a:lnTo>
                      <a:pt x="1365464" y="614181"/>
                    </a:lnTo>
                    <a:lnTo>
                      <a:pt x="1361937" y="615944"/>
                    </a:lnTo>
                    <a:lnTo>
                      <a:pt x="1359909" y="618589"/>
                    </a:lnTo>
                    <a:lnTo>
                      <a:pt x="1358763" y="618589"/>
                    </a:lnTo>
                    <a:lnTo>
                      <a:pt x="1359027" y="620353"/>
                    </a:lnTo>
                    <a:lnTo>
                      <a:pt x="1358410" y="621234"/>
                    </a:lnTo>
                    <a:lnTo>
                      <a:pt x="1359556" y="622116"/>
                    </a:lnTo>
                    <a:lnTo>
                      <a:pt x="1358675" y="622998"/>
                    </a:lnTo>
                    <a:lnTo>
                      <a:pt x="1357793" y="622733"/>
                    </a:lnTo>
                    <a:lnTo>
                      <a:pt x="1356911" y="622998"/>
                    </a:lnTo>
                    <a:lnTo>
                      <a:pt x="1354884" y="623880"/>
                    </a:lnTo>
                    <a:lnTo>
                      <a:pt x="1352591" y="624497"/>
                    </a:lnTo>
                    <a:lnTo>
                      <a:pt x="1352327" y="625026"/>
                    </a:lnTo>
                    <a:lnTo>
                      <a:pt x="1352327" y="625290"/>
                    </a:lnTo>
                    <a:lnTo>
                      <a:pt x="1354355" y="625026"/>
                    </a:lnTo>
                    <a:lnTo>
                      <a:pt x="1355501" y="625643"/>
                    </a:lnTo>
                    <a:lnTo>
                      <a:pt x="1356647" y="625643"/>
                    </a:lnTo>
                    <a:lnTo>
                      <a:pt x="1358675" y="625026"/>
                    </a:lnTo>
                    <a:lnTo>
                      <a:pt x="1360174" y="623880"/>
                    </a:lnTo>
                    <a:lnTo>
                      <a:pt x="1364847" y="620705"/>
                    </a:lnTo>
                    <a:lnTo>
                      <a:pt x="1368373" y="620705"/>
                    </a:lnTo>
                    <a:lnTo>
                      <a:pt x="1369519" y="620441"/>
                    </a:lnTo>
                    <a:lnTo>
                      <a:pt x="1374810" y="617267"/>
                    </a:lnTo>
                    <a:lnTo>
                      <a:pt x="1377719" y="617267"/>
                    </a:lnTo>
                    <a:lnTo>
                      <a:pt x="1378865" y="617002"/>
                    </a:lnTo>
                    <a:lnTo>
                      <a:pt x="1380629" y="616121"/>
                    </a:lnTo>
                    <a:lnTo>
                      <a:pt x="1380893" y="614975"/>
                    </a:lnTo>
                    <a:lnTo>
                      <a:pt x="1384949" y="611448"/>
                    </a:lnTo>
                    <a:lnTo>
                      <a:pt x="1391385" y="609684"/>
                    </a:lnTo>
                    <a:lnTo>
                      <a:pt x="1398086" y="608538"/>
                    </a:lnTo>
                    <a:lnTo>
                      <a:pt x="1400378" y="607392"/>
                    </a:lnTo>
                    <a:lnTo>
                      <a:pt x="1405933" y="608274"/>
                    </a:lnTo>
                    <a:lnTo>
                      <a:pt x="1406198" y="608009"/>
                    </a:lnTo>
                    <a:lnTo>
                      <a:pt x="1406462" y="607392"/>
                    </a:lnTo>
                    <a:lnTo>
                      <a:pt x="1402054" y="606863"/>
                    </a:lnTo>
                    <a:lnTo>
                      <a:pt x="1397116" y="607392"/>
                    </a:lnTo>
                    <a:lnTo>
                      <a:pt x="1395617" y="606863"/>
                    </a:lnTo>
                    <a:lnTo>
                      <a:pt x="1397645" y="605100"/>
                    </a:lnTo>
                    <a:lnTo>
                      <a:pt x="1400026" y="604482"/>
                    </a:lnTo>
                    <a:lnTo>
                      <a:pt x="1401789" y="604218"/>
                    </a:lnTo>
                    <a:lnTo>
                      <a:pt x="1414309" y="605364"/>
                    </a:lnTo>
                    <a:lnTo>
                      <a:pt x="1414573" y="605981"/>
                    </a:lnTo>
                    <a:lnTo>
                      <a:pt x="1416337" y="615063"/>
                    </a:lnTo>
                    <a:lnTo>
                      <a:pt x="1415191" y="616209"/>
                    </a:lnTo>
                    <a:lnTo>
                      <a:pt x="1413427" y="616826"/>
                    </a:lnTo>
                    <a:lnTo>
                      <a:pt x="1411664" y="617091"/>
                    </a:lnTo>
                    <a:lnTo>
                      <a:pt x="1408754" y="618237"/>
                    </a:lnTo>
                    <a:lnTo>
                      <a:pt x="1407873" y="618854"/>
                    </a:lnTo>
                    <a:lnTo>
                      <a:pt x="1408490" y="619736"/>
                    </a:lnTo>
                    <a:lnTo>
                      <a:pt x="1409636" y="619471"/>
                    </a:lnTo>
                    <a:lnTo>
                      <a:pt x="1410518" y="619471"/>
                    </a:lnTo>
                    <a:lnTo>
                      <a:pt x="1410518" y="621763"/>
                    </a:lnTo>
                    <a:lnTo>
                      <a:pt x="1409019" y="624144"/>
                    </a:lnTo>
                    <a:lnTo>
                      <a:pt x="1409019" y="624408"/>
                    </a:lnTo>
                    <a:lnTo>
                      <a:pt x="1410165" y="623791"/>
                    </a:lnTo>
                    <a:lnTo>
                      <a:pt x="1413075" y="620617"/>
                    </a:lnTo>
                    <a:lnTo>
                      <a:pt x="1415102" y="618589"/>
                    </a:lnTo>
                    <a:lnTo>
                      <a:pt x="1419158" y="616209"/>
                    </a:lnTo>
                    <a:lnTo>
                      <a:pt x="1420922" y="616473"/>
                    </a:lnTo>
                    <a:lnTo>
                      <a:pt x="1422068" y="616209"/>
                    </a:lnTo>
                    <a:lnTo>
                      <a:pt x="1424977" y="615944"/>
                    </a:lnTo>
                    <a:lnTo>
                      <a:pt x="1428240" y="615063"/>
                    </a:lnTo>
                    <a:lnTo>
                      <a:pt x="1428240" y="615680"/>
                    </a:lnTo>
                    <a:lnTo>
                      <a:pt x="1427975" y="616297"/>
                    </a:lnTo>
                    <a:lnTo>
                      <a:pt x="1425065" y="617443"/>
                    </a:lnTo>
                    <a:lnTo>
                      <a:pt x="1425065" y="617708"/>
                    </a:lnTo>
                    <a:lnTo>
                      <a:pt x="1425947" y="618325"/>
                    </a:lnTo>
                    <a:lnTo>
                      <a:pt x="1430356" y="618942"/>
                    </a:lnTo>
                    <a:lnTo>
                      <a:pt x="1431237" y="619559"/>
                    </a:lnTo>
                    <a:lnTo>
                      <a:pt x="1435646" y="620441"/>
                    </a:lnTo>
                    <a:lnTo>
                      <a:pt x="1435646" y="620970"/>
                    </a:lnTo>
                    <a:lnTo>
                      <a:pt x="1435029" y="621587"/>
                    </a:lnTo>
                    <a:lnTo>
                      <a:pt x="1432119" y="620705"/>
                    </a:lnTo>
                    <a:lnTo>
                      <a:pt x="1430973" y="620705"/>
                    </a:lnTo>
                    <a:lnTo>
                      <a:pt x="1430708" y="620970"/>
                    </a:lnTo>
                    <a:lnTo>
                      <a:pt x="1436263" y="625378"/>
                    </a:lnTo>
                    <a:lnTo>
                      <a:pt x="1436263" y="627759"/>
                    </a:lnTo>
                    <a:lnTo>
                      <a:pt x="1436880" y="628641"/>
                    </a:lnTo>
                    <a:lnTo>
                      <a:pt x="1435999" y="629522"/>
                    </a:lnTo>
                    <a:lnTo>
                      <a:pt x="1435999" y="630404"/>
                    </a:lnTo>
                    <a:lnTo>
                      <a:pt x="1435469" y="631286"/>
                    </a:lnTo>
                    <a:lnTo>
                      <a:pt x="1434323" y="631550"/>
                    </a:lnTo>
                    <a:lnTo>
                      <a:pt x="1432560" y="633049"/>
                    </a:lnTo>
                    <a:lnTo>
                      <a:pt x="1431061" y="633666"/>
                    </a:lnTo>
                    <a:lnTo>
                      <a:pt x="1431326" y="633931"/>
                    </a:lnTo>
                    <a:lnTo>
                      <a:pt x="1432207" y="634548"/>
                    </a:lnTo>
                    <a:lnTo>
                      <a:pt x="1433353" y="637193"/>
                    </a:lnTo>
                    <a:lnTo>
                      <a:pt x="1432736" y="637810"/>
                    </a:lnTo>
                    <a:lnTo>
                      <a:pt x="1427799" y="639573"/>
                    </a:lnTo>
                    <a:lnTo>
                      <a:pt x="1427799" y="640191"/>
                    </a:lnTo>
                    <a:lnTo>
                      <a:pt x="1428063" y="641072"/>
                    </a:lnTo>
                    <a:lnTo>
                      <a:pt x="1428945" y="642219"/>
                    </a:lnTo>
                    <a:lnTo>
                      <a:pt x="1431855" y="641601"/>
                    </a:lnTo>
                    <a:lnTo>
                      <a:pt x="1432119" y="642219"/>
                    </a:lnTo>
                    <a:lnTo>
                      <a:pt x="1432119" y="643100"/>
                    </a:lnTo>
                    <a:lnTo>
                      <a:pt x="1431855" y="643717"/>
                    </a:lnTo>
                    <a:lnTo>
                      <a:pt x="1427799" y="643717"/>
                    </a:lnTo>
                    <a:lnTo>
                      <a:pt x="1426300" y="644335"/>
                    </a:lnTo>
                    <a:lnTo>
                      <a:pt x="1426035" y="645216"/>
                    </a:lnTo>
                    <a:lnTo>
                      <a:pt x="1427182" y="646098"/>
                    </a:lnTo>
                    <a:lnTo>
                      <a:pt x="1429209" y="646098"/>
                    </a:lnTo>
                    <a:lnTo>
                      <a:pt x="1432472" y="647597"/>
                    </a:lnTo>
                    <a:lnTo>
                      <a:pt x="1432207" y="649096"/>
                    </a:lnTo>
                    <a:lnTo>
                      <a:pt x="1431326" y="649713"/>
                    </a:lnTo>
                    <a:lnTo>
                      <a:pt x="1429562" y="649448"/>
                    </a:lnTo>
                    <a:lnTo>
                      <a:pt x="1428680" y="649713"/>
                    </a:lnTo>
                    <a:lnTo>
                      <a:pt x="1428416" y="650859"/>
                    </a:lnTo>
                    <a:lnTo>
                      <a:pt x="1430444" y="651388"/>
                    </a:lnTo>
                    <a:lnTo>
                      <a:pt x="1430179" y="652534"/>
                    </a:lnTo>
                    <a:lnTo>
                      <a:pt x="1429298" y="655444"/>
                    </a:lnTo>
                    <a:lnTo>
                      <a:pt x="1427534" y="656590"/>
                    </a:lnTo>
                    <a:lnTo>
                      <a:pt x="1424007" y="659500"/>
                    </a:lnTo>
                    <a:lnTo>
                      <a:pt x="1417924" y="663026"/>
                    </a:lnTo>
                    <a:lnTo>
                      <a:pt x="1416425" y="663643"/>
                    </a:lnTo>
                    <a:lnTo>
                      <a:pt x="1408225" y="666817"/>
                    </a:lnTo>
                    <a:lnTo>
                      <a:pt x="1406727" y="667699"/>
                    </a:lnTo>
                    <a:lnTo>
                      <a:pt x="1404699" y="668845"/>
                    </a:lnTo>
                    <a:lnTo>
                      <a:pt x="1402671" y="670344"/>
                    </a:lnTo>
                    <a:close/>
                    <a:moveTo>
                      <a:pt x="1204116" y="102716"/>
                    </a:moveTo>
                    <a:lnTo>
                      <a:pt x="1199707" y="103245"/>
                    </a:lnTo>
                    <a:lnTo>
                      <a:pt x="1194153" y="102363"/>
                    </a:lnTo>
                    <a:lnTo>
                      <a:pt x="1194417" y="100336"/>
                    </a:lnTo>
                    <a:lnTo>
                      <a:pt x="1190009" y="103245"/>
                    </a:lnTo>
                    <a:lnTo>
                      <a:pt x="1184719" y="102363"/>
                    </a:lnTo>
                    <a:lnTo>
                      <a:pt x="1182073" y="99718"/>
                    </a:lnTo>
                    <a:lnTo>
                      <a:pt x="1188510" y="96456"/>
                    </a:lnTo>
                    <a:lnTo>
                      <a:pt x="1193800" y="93282"/>
                    </a:lnTo>
                    <a:lnTo>
                      <a:pt x="1198473" y="95310"/>
                    </a:lnTo>
                    <a:lnTo>
                      <a:pt x="1201382" y="95927"/>
                    </a:lnTo>
                    <a:lnTo>
                      <a:pt x="1205438" y="95663"/>
                    </a:lnTo>
                    <a:lnTo>
                      <a:pt x="1210111" y="96809"/>
                    </a:lnTo>
                    <a:lnTo>
                      <a:pt x="1204116" y="102716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5" name="Freihandform: Form 1664">
                <a:extLst>
                  <a:ext uri="{FF2B5EF4-FFF2-40B4-BE49-F238E27FC236}">
                    <a16:creationId xmlns:a16="http://schemas.microsoft.com/office/drawing/2014/main" id="{A46A5894-A56B-9EC6-282E-1B2183A02E9E}"/>
                  </a:ext>
                </a:extLst>
              </p:cNvPr>
              <p:cNvSpPr/>
              <p:nvPr/>
            </p:nvSpPr>
            <p:spPr>
              <a:xfrm>
                <a:off x="1546814" y="2924412"/>
                <a:ext cx="1204909" cy="605804"/>
              </a:xfrm>
              <a:custGeom>
                <a:avLst/>
                <a:gdLst>
                  <a:gd name="connsiteX0" fmla="*/ 69124 w 1204909"/>
                  <a:gd name="connsiteY0" fmla="*/ 415009 h 605804"/>
                  <a:gd name="connsiteX1" fmla="*/ 69389 w 1204909"/>
                  <a:gd name="connsiteY1" fmla="*/ 413333 h 605804"/>
                  <a:gd name="connsiteX2" fmla="*/ 67361 w 1204909"/>
                  <a:gd name="connsiteY2" fmla="*/ 412452 h 605804"/>
                  <a:gd name="connsiteX3" fmla="*/ 69389 w 1204909"/>
                  <a:gd name="connsiteY3" fmla="*/ 408925 h 605804"/>
                  <a:gd name="connsiteX4" fmla="*/ 68595 w 1204909"/>
                  <a:gd name="connsiteY4" fmla="*/ 407779 h 605804"/>
                  <a:gd name="connsiteX5" fmla="*/ 69741 w 1204909"/>
                  <a:gd name="connsiteY5" fmla="*/ 400725 h 605804"/>
                  <a:gd name="connsiteX6" fmla="*/ 69124 w 1204909"/>
                  <a:gd name="connsiteY6" fmla="*/ 396052 h 605804"/>
                  <a:gd name="connsiteX7" fmla="*/ 66832 w 1204909"/>
                  <a:gd name="connsiteY7" fmla="*/ 394025 h 605804"/>
                  <a:gd name="connsiteX8" fmla="*/ 66214 w 1204909"/>
                  <a:gd name="connsiteY8" fmla="*/ 388470 h 605804"/>
                  <a:gd name="connsiteX9" fmla="*/ 62159 w 1204909"/>
                  <a:gd name="connsiteY9" fmla="*/ 388205 h 605804"/>
                  <a:gd name="connsiteX10" fmla="*/ 58896 w 1204909"/>
                  <a:gd name="connsiteY10" fmla="*/ 385913 h 605804"/>
                  <a:gd name="connsiteX11" fmla="*/ 55458 w 1204909"/>
                  <a:gd name="connsiteY11" fmla="*/ 386178 h 605804"/>
                  <a:gd name="connsiteX12" fmla="*/ 53077 w 1204909"/>
                  <a:gd name="connsiteY12" fmla="*/ 385913 h 605804"/>
                  <a:gd name="connsiteX13" fmla="*/ 54576 w 1204909"/>
                  <a:gd name="connsiteY13" fmla="*/ 383003 h 605804"/>
                  <a:gd name="connsiteX14" fmla="*/ 53342 w 1204909"/>
                  <a:gd name="connsiteY14" fmla="*/ 377978 h 605804"/>
                  <a:gd name="connsiteX15" fmla="*/ 45230 w 1204909"/>
                  <a:gd name="connsiteY15" fmla="*/ 377713 h 605804"/>
                  <a:gd name="connsiteX16" fmla="*/ 39940 w 1204909"/>
                  <a:gd name="connsiteY16" fmla="*/ 375421 h 605804"/>
                  <a:gd name="connsiteX17" fmla="*/ 39940 w 1204909"/>
                  <a:gd name="connsiteY17" fmla="*/ 372511 h 605804"/>
                  <a:gd name="connsiteX18" fmla="*/ 37383 w 1204909"/>
                  <a:gd name="connsiteY18" fmla="*/ 369602 h 605804"/>
                  <a:gd name="connsiteX19" fmla="*/ 31476 w 1204909"/>
                  <a:gd name="connsiteY19" fmla="*/ 366340 h 605804"/>
                  <a:gd name="connsiteX20" fmla="*/ 27685 w 1204909"/>
                  <a:gd name="connsiteY20" fmla="*/ 366957 h 605804"/>
                  <a:gd name="connsiteX21" fmla="*/ 24246 w 1204909"/>
                  <a:gd name="connsiteY21" fmla="*/ 366957 h 605804"/>
                  <a:gd name="connsiteX22" fmla="*/ 23012 w 1204909"/>
                  <a:gd name="connsiteY22" fmla="*/ 367221 h 605804"/>
                  <a:gd name="connsiteX23" fmla="*/ 17193 w 1204909"/>
                  <a:gd name="connsiteY23" fmla="*/ 367839 h 605804"/>
                  <a:gd name="connsiteX24" fmla="*/ 14548 w 1204909"/>
                  <a:gd name="connsiteY24" fmla="*/ 364576 h 605804"/>
                  <a:gd name="connsiteX25" fmla="*/ 16928 w 1204909"/>
                  <a:gd name="connsiteY25" fmla="*/ 361667 h 605804"/>
                  <a:gd name="connsiteX26" fmla="*/ 18692 w 1204909"/>
                  <a:gd name="connsiteY26" fmla="*/ 358757 h 605804"/>
                  <a:gd name="connsiteX27" fmla="*/ 18956 w 1204909"/>
                  <a:gd name="connsiteY27" fmla="*/ 354701 h 605804"/>
                  <a:gd name="connsiteX28" fmla="*/ 20720 w 1204909"/>
                  <a:gd name="connsiteY28" fmla="*/ 350557 h 605804"/>
                  <a:gd name="connsiteX29" fmla="*/ 16664 w 1204909"/>
                  <a:gd name="connsiteY29" fmla="*/ 348001 h 605804"/>
                  <a:gd name="connsiteX30" fmla="*/ 18692 w 1204909"/>
                  <a:gd name="connsiteY30" fmla="*/ 343328 h 605804"/>
                  <a:gd name="connsiteX31" fmla="*/ 14900 w 1204909"/>
                  <a:gd name="connsiteY31" fmla="*/ 340418 h 605804"/>
                  <a:gd name="connsiteX32" fmla="*/ 12255 w 1204909"/>
                  <a:gd name="connsiteY32" fmla="*/ 337509 h 605804"/>
                  <a:gd name="connsiteX33" fmla="*/ 12520 w 1204909"/>
                  <a:gd name="connsiteY33" fmla="*/ 334246 h 605804"/>
                  <a:gd name="connsiteX34" fmla="*/ 11991 w 1204909"/>
                  <a:gd name="connsiteY34" fmla="*/ 326047 h 605804"/>
                  <a:gd name="connsiteX35" fmla="*/ 8464 w 1204909"/>
                  <a:gd name="connsiteY35" fmla="*/ 324371 h 605804"/>
                  <a:gd name="connsiteX36" fmla="*/ 7318 w 1204909"/>
                  <a:gd name="connsiteY36" fmla="*/ 321462 h 605804"/>
                  <a:gd name="connsiteX37" fmla="*/ 5555 w 1204909"/>
                  <a:gd name="connsiteY37" fmla="*/ 316172 h 605804"/>
                  <a:gd name="connsiteX38" fmla="*/ 8200 w 1204909"/>
                  <a:gd name="connsiteY38" fmla="*/ 314761 h 605804"/>
                  <a:gd name="connsiteX39" fmla="*/ 11638 w 1204909"/>
                  <a:gd name="connsiteY39" fmla="*/ 313262 h 605804"/>
                  <a:gd name="connsiteX40" fmla="*/ 14548 w 1204909"/>
                  <a:gd name="connsiteY40" fmla="*/ 311234 h 605804"/>
                  <a:gd name="connsiteX41" fmla="*/ 14900 w 1204909"/>
                  <a:gd name="connsiteY41" fmla="*/ 307972 h 605804"/>
                  <a:gd name="connsiteX42" fmla="*/ 14283 w 1204909"/>
                  <a:gd name="connsiteY42" fmla="*/ 305063 h 605804"/>
                  <a:gd name="connsiteX43" fmla="*/ 9963 w 1204909"/>
                  <a:gd name="connsiteY43" fmla="*/ 305680 h 605804"/>
                  <a:gd name="connsiteX44" fmla="*/ 6701 w 1204909"/>
                  <a:gd name="connsiteY44" fmla="*/ 299244 h 605804"/>
                  <a:gd name="connsiteX45" fmla="*/ 8729 w 1204909"/>
                  <a:gd name="connsiteY45" fmla="*/ 295188 h 605804"/>
                  <a:gd name="connsiteX46" fmla="*/ 7582 w 1204909"/>
                  <a:gd name="connsiteY46" fmla="*/ 291132 h 605804"/>
                  <a:gd name="connsiteX47" fmla="*/ 9963 w 1204909"/>
                  <a:gd name="connsiteY47" fmla="*/ 286724 h 605804"/>
                  <a:gd name="connsiteX48" fmla="*/ 12255 w 1204909"/>
                  <a:gd name="connsiteY48" fmla="*/ 283550 h 605804"/>
                  <a:gd name="connsiteX49" fmla="*/ 6172 w 1204909"/>
                  <a:gd name="connsiteY49" fmla="*/ 279141 h 605804"/>
                  <a:gd name="connsiteX50" fmla="*/ 2910 w 1204909"/>
                  <a:gd name="connsiteY50" fmla="*/ 279406 h 605804"/>
                  <a:gd name="connsiteX51" fmla="*/ 6172 w 1204909"/>
                  <a:gd name="connsiteY51" fmla="*/ 275614 h 605804"/>
                  <a:gd name="connsiteX52" fmla="*/ 6436 w 1204909"/>
                  <a:gd name="connsiteY52" fmla="*/ 272176 h 605804"/>
                  <a:gd name="connsiteX53" fmla="*/ 1499 w 1204909"/>
                  <a:gd name="connsiteY53" fmla="*/ 260449 h 605804"/>
                  <a:gd name="connsiteX54" fmla="*/ 0 w 1204909"/>
                  <a:gd name="connsiteY54" fmla="*/ 255776 h 605804"/>
                  <a:gd name="connsiteX55" fmla="*/ 2028 w 1204909"/>
                  <a:gd name="connsiteY55" fmla="*/ 253484 h 605804"/>
                  <a:gd name="connsiteX56" fmla="*/ 2645 w 1204909"/>
                  <a:gd name="connsiteY56" fmla="*/ 245637 h 605804"/>
                  <a:gd name="connsiteX57" fmla="*/ 7582 w 1204909"/>
                  <a:gd name="connsiteY57" fmla="*/ 237437 h 605804"/>
                  <a:gd name="connsiteX58" fmla="*/ 6701 w 1204909"/>
                  <a:gd name="connsiteY58" fmla="*/ 229590 h 605804"/>
                  <a:gd name="connsiteX59" fmla="*/ 2910 w 1204909"/>
                  <a:gd name="connsiteY59" fmla="*/ 223683 h 605804"/>
                  <a:gd name="connsiteX60" fmla="*/ 4408 w 1204909"/>
                  <a:gd name="connsiteY60" fmla="*/ 218746 h 605804"/>
                  <a:gd name="connsiteX61" fmla="*/ 16311 w 1204909"/>
                  <a:gd name="connsiteY61" fmla="*/ 207107 h 605804"/>
                  <a:gd name="connsiteX62" fmla="*/ 18075 w 1204909"/>
                  <a:gd name="connsiteY62" fmla="*/ 204198 h 605804"/>
                  <a:gd name="connsiteX63" fmla="*/ 18075 w 1204909"/>
                  <a:gd name="connsiteY63" fmla="*/ 202170 h 605804"/>
                  <a:gd name="connsiteX64" fmla="*/ 24775 w 1204909"/>
                  <a:gd name="connsiteY64" fmla="*/ 193706 h 605804"/>
                  <a:gd name="connsiteX65" fmla="*/ 27420 w 1204909"/>
                  <a:gd name="connsiteY65" fmla="*/ 192560 h 605804"/>
                  <a:gd name="connsiteX66" fmla="*/ 27156 w 1204909"/>
                  <a:gd name="connsiteY66" fmla="*/ 187005 h 605804"/>
                  <a:gd name="connsiteX67" fmla="*/ 25128 w 1204909"/>
                  <a:gd name="connsiteY67" fmla="*/ 185242 h 605804"/>
                  <a:gd name="connsiteX68" fmla="*/ 28038 w 1204909"/>
                  <a:gd name="connsiteY68" fmla="*/ 182332 h 605804"/>
                  <a:gd name="connsiteX69" fmla="*/ 29184 w 1204909"/>
                  <a:gd name="connsiteY69" fmla="*/ 180304 h 605804"/>
                  <a:gd name="connsiteX70" fmla="*/ 31476 w 1204909"/>
                  <a:gd name="connsiteY70" fmla="*/ 178188 h 605804"/>
                  <a:gd name="connsiteX71" fmla="*/ 27420 w 1204909"/>
                  <a:gd name="connsiteY71" fmla="*/ 177659 h 605804"/>
                  <a:gd name="connsiteX72" fmla="*/ 28919 w 1204909"/>
                  <a:gd name="connsiteY72" fmla="*/ 175631 h 605804"/>
                  <a:gd name="connsiteX73" fmla="*/ 28302 w 1204909"/>
                  <a:gd name="connsiteY73" fmla="*/ 170341 h 605804"/>
                  <a:gd name="connsiteX74" fmla="*/ 30330 w 1204909"/>
                  <a:gd name="connsiteY74" fmla="*/ 169195 h 605804"/>
                  <a:gd name="connsiteX75" fmla="*/ 33857 w 1204909"/>
                  <a:gd name="connsiteY75" fmla="*/ 164522 h 605804"/>
                  <a:gd name="connsiteX76" fmla="*/ 33240 w 1204909"/>
                  <a:gd name="connsiteY76" fmla="*/ 159585 h 605804"/>
                  <a:gd name="connsiteX77" fmla="*/ 37383 w 1204909"/>
                  <a:gd name="connsiteY77" fmla="*/ 156940 h 605804"/>
                  <a:gd name="connsiteX78" fmla="*/ 43203 w 1204909"/>
                  <a:gd name="connsiteY78" fmla="*/ 148211 h 605804"/>
                  <a:gd name="connsiteX79" fmla="*/ 48404 w 1204909"/>
                  <a:gd name="connsiteY79" fmla="*/ 145301 h 605804"/>
                  <a:gd name="connsiteX80" fmla="*/ 51050 w 1204909"/>
                  <a:gd name="connsiteY80" fmla="*/ 144420 h 605804"/>
                  <a:gd name="connsiteX81" fmla="*/ 51931 w 1204909"/>
                  <a:gd name="connsiteY81" fmla="*/ 140893 h 605804"/>
                  <a:gd name="connsiteX82" fmla="*/ 56340 w 1204909"/>
                  <a:gd name="connsiteY82" fmla="*/ 139394 h 605804"/>
                  <a:gd name="connsiteX83" fmla="*/ 56869 w 1204909"/>
                  <a:gd name="connsiteY83" fmla="*/ 134457 h 605804"/>
                  <a:gd name="connsiteX84" fmla="*/ 61542 w 1204909"/>
                  <a:gd name="connsiteY84" fmla="*/ 131283 h 605804"/>
                  <a:gd name="connsiteX85" fmla="*/ 63305 w 1204909"/>
                  <a:gd name="connsiteY85" fmla="*/ 124229 h 605804"/>
                  <a:gd name="connsiteX86" fmla="*/ 67361 w 1204909"/>
                  <a:gd name="connsiteY86" fmla="*/ 121055 h 605804"/>
                  <a:gd name="connsiteX87" fmla="*/ 72298 w 1204909"/>
                  <a:gd name="connsiteY87" fmla="*/ 113208 h 605804"/>
                  <a:gd name="connsiteX88" fmla="*/ 72298 w 1204909"/>
                  <a:gd name="connsiteY88" fmla="*/ 110299 h 605804"/>
                  <a:gd name="connsiteX89" fmla="*/ 74943 w 1204909"/>
                  <a:gd name="connsiteY89" fmla="*/ 109417 h 605804"/>
                  <a:gd name="connsiteX90" fmla="*/ 76971 w 1204909"/>
                  <a:gd name="connsiteY90" fmla="*/ 105626 h 605804"/>
                  <a:gd name="connsiteX91" fmla="*/ 79881 w 1204909"/>
                  <a:gd name="connsiteY91" fmla="*/ 101482 h 605804"/>
                  <a:gd name="connsiteX92" fmla="*/ 82261 w 1204909"/>
                  <a:gd name="connsiteY92" fmla="*/ 98308 h 605804"/>
                  <a:gd name="connsiteX93" fmla="*/ 81379 w 1204909"/>
                  <a:gd name="connsiteY93" fmla="*/ 96809 h 605804"/>
                  <a:gd name="connsiteX94" fmla="*/ 86052 w 1204909"/>
                  <a:gd name="connsiteY94" fmla="*/ 95134 h 605804"/>
                  <a:gd name="connsiteX95" fmla="*/ 87199 w 1204909"/>
                  <a:gd name="connsiteY95" fmla="*/ 90196 h 605804"/>
                  <a:gd name="connsiteX96" fmla="*/ 88345 w 1204909"/>
                  <a:gd name="connsiteY96" fmla="*/ 87551 h 605804"/>
                  <a:gd name="connsiteX97" fmla="*/ 90725 w 1204909"/>
                  <a:gd name="connsiteY97" fmla="*/ 85788 h 605804"/>
                  <a:gd name="connsiteX98" fmla="*/ 90725 w 1204909"/>
                  <a:gd name="connsiteY98" fmla="*/ 83407 h 605804"/>
                  <a:gd name="connsiteX99" fmla="*/ 92753 w 1204909"/>
                  <a:gd name="connsiteY99" fmla="*/ 81997 h 605804"/>
                  <a:gd name="connsiteX100" fmla="*/ 93899 w 1204909"/>
                  <a:gd name="connsiteY100" fmla="*/ 79969 h 605804"/>
                  <a:gd name="connsiteX101" fmla="*/ 93899 w 1204909"/>
                  <a:gd name="connsiteY101" fmla="*/ 76706 h 605804"/>
                  <a:gd name="connsiteX102" fmla="*/ 95927 w 1204909"/>
                  <a:gd name="connsiteY102" fmla="*/ 78205 h 605804"/>
                  <a:gd name="connsiteX103" fmla="*/ 102099 w 1204909"/>
                  <a:gd name="connsiteY103" fmla="*/ 75825 h 605804"/>
                  <a:gd name="connsiteX104" fmla="*/ 100953 w 1204909"/>
                  <a:gd name="connsiteY104" fmla="*/ 75296 h 605804"/>
                  <a:gd name="connsiteX105" fmla="*/ 95927 w 1204909"/>
                  <a:gd name="connsiteY105" fmla="*/ 75825 h 605804"/>
                  <a:gd name="connsiteX106" fmla="*/ 94781 w 1204909"/>
                  <a:gd name="connsiteY106" fmla="*/ 75296 h 605804"/>
                  <a:gd name="connsiteX107" fmla="*/ 94517 w 1204909"/>
                  <a:gd name="connsiteY107" fmla="*/ 75560 h 605804"/>
                  <a:gd name="connsiteX108" fmla="*/ 95663 w 1204909"/>
                  <a:gd name="connsiteY108" fmla="*/ 72915 h 605804"/>
                  <a:gd name="connsiteX109" fmla="*/ 99189 w 1204909"/>
                  <a:gd name="connsiteY109" fmla="*/ 66832 h 605804"/>
                  <a:gd name="connsiteX110" fmla="*/ 97691 w 1204909"/>
                  <a:gd name="connsiteY110" fmla="*/ 70623 h 605804"/>
                  <a:gd name="connsiteX111" fmla="*/ 99189 w 1204909"/>
                  <a:gd name="connsiteY111" fmla="*/ 70623 h 605804"/>
                  <a:gd name="connsiteX112" fmla="*/ 101835 w 1204909"/>
                  <a:gd name="connsiteY112" fmla="*/ 68859 h 605804"/>
                  <a:gd name="connsiteX113" fmla="*/ 101835 w 1204909"/>
                  <a:gd name="connsiteY113" fmla="*/ 66832 h 605804"/>
                  <a:gd name="connsiteX114" fmla="*/ 105009 w 1204909"/>
                  <a:gd name="connsiteY114" fmla="*/ 64451 h 605804"/>
                  <a:gd name="connsiteX115" fmla="*/ 101482 w 1204909"/>
                  <a:gd name="connsiteY115" fmla="*/ 64804 h 605804"/>
                  <a:gd name="connsiteX116" fmla="*/ 101217 w 1204909"/>
                  <a:gd name="connsiteY116" fmla="*/ 63040 h 605804"/>
                  <a:gd name="connsiteX117" fmla="*/ 101835 w 1204909"/>
                  <a:gd name="connsiteY117" fmla="*/ 60131 h 605804"/>
                  <a:gd name="connsiteX118" fmla="*/ 102363 w 1204909"/>
                  <a:gd name="connsiteY118" fmla="*/ 61013 h 605804"/>
                  <a:gd name="connsiteX119" fmla="*/ 108535 w 1204909"/>
                  <a:gd name="connsiteY119" fmla="*/ 58632 h 605804"/>
                  <a:gd name="connsiteX120" fmla="*/ 105009 w 1204909"/>
                  <a:gd name="connsiteY120" fmla="*/ 56869 h 605804"/>
                  <a:gd name="connsiteX121" fmla="*/ 101835 w 1204909"/>
                  <a:gd name="connsiteY121" fmla="*/ 59514 h 605804"/>
                  <a:gd name="connsiteX122" fmla="*/ 104744 w 1204909"/>
                  <a:gd name="connsiteY122" fmla="*/ 54841 h 605804"/>
                  <a:gd name="connsiteX123" fmla="*/ 105890 w 1204909"/>
                  <a:gd name="connsiteY123" fmla="*/ 51402 h 605804"/>
                  <a:gd name="connsiteX124" fmla="*/ 105273 w 1204909"/>
                  <a:gd name="connsiteY124" fmla="*/ 47875 h 605804"/>
                  <a:gd name="connsiteX125" fmla="*/ 107918 w 1204909"/>
                  <a:gd name="connsiteY125" fmla="*/ 44613 h 605804"/>
                  <a:gd name="connsiteX126" fmla="*/ 109417 w 1204909"/>
                  <a:gd name="connsiteY126" fmla="*/ 38794 h 605804"/>
                  <a:gd name="connsiteX127" fmla="*/ 109681 w 1204909"/>
                  <a:gd name="connsiteY127" fmla="*/ 39411 h 605804"/>
                  <a:gd name="connsiteX128" fmla="*/ 108183 w 1204909"/>
                  <a:gd name="connsiteY128" fmla="*/ 36149 h 605804"/>
                  <a:gd name="connsiteX129" fmla="*/ 109417 w 1204909"/>
                  <a:gd name="connsiteY129" fmla="*/ 33592 h 605804"/>
                  <a:gd name="connsiteX130" fmla="*/ 109946 w 1204909"/>
                  <a:gd name="connsiteY130" fmla="*/ 29184 h 605804"/>
                  <a:gd name="connsiteX131" fmla="*/ 113737 w 1204909"/>
                  <a:gd name="connsiteY131" fmla="*/ 25657 h 605804"/>
                  <a:gd name="connsiteX132" fmla="*/ 113737 w 1204909"/>
                  <a:gd name="connsiteY132" fmla="*/ 23629 h 605804"/>
                  <a:gd name="connsiteX133" fmla="*/ 125111 w 1204909"/>
                  <a:gd name="connsiteY133" fmla="*/ 29448 h 605804"/>
                  <a:gd name="connsiteX134" fmla="*/ 136837 w 1204909"/>
                  <a:gd name="connsiteY134" fmla="*/ 30683 h 605804"/>
                  <a:gd name="connsiteX135" fmla="*/ 141775 w 1204909"/>
                  <a:gd name="connsiteY135" fmla="*/ 28919 h 605804"/>
                  <a:gd name="connsiteX136" fmla="*/ 143538 w 1204909"/>
                  <a:gd name="connsiteY136" fmla="*/ 32093 h 605804"/>
                  <a:gd name="connsiteX137" fmla="*/ 144684 w 1204909"/>
                  <a:gd name="connsiteY137" fmla="*/ 32093 h 605804"/>
                  <a:gd name="connsiteX138" fmla="*/ 146712 w 1204909"/>
                  <a:gd name="connsiteY138" fmla="*/ 30065 h 605804"/>
                  <a:gd name="connsiteX139" fmla="*/ 148211 w 1204909"/>
                  <a:gd name="connsiteY139" fmla="*/ 30065 h 605804"/>
                  <a:gd name="connsiteX140" fmla="*/ 146448 w 1204909"/>
                  <a:gd name="connsiteY140" fmla="*/ 32358 h 605804"/>
                  <a:gd name="connsiteX141" fmla="*/ 149357 w 1204909"/>
                  <a:gd name="connsiteY141" fmla="*/ 30683 h 605804"/>
                  <a:gd name="connsiteX142" fmla="*/ 146712 w 1204909"/>
                  <a:gd name="connsiteY142" fmla="*/ 33592 h 605804"/>
                  <a:gd name="connsiteX143" fmla="*/ 146977 w 1204909"/>
                  <a:gd name="connsiteY143" fmla="*/ 36149 h 605804"/>
                  <a:gd name="connsiteX144" fmla="*/ 147594 w 1204909"/>
                  <a:gd name="connsiteY144" fmla="*/ 36766 h 605804"/>
                  <a:gd name="connsiteX145" fmla="*/ 147329 w 1204909"/>
                  <a:gd name="connsiteY145" fmla="*/ 35003 h 605804"/>
                  <a:gd name="connsiteX146" fmla="*/ 149357 w 1204909"/>
                  <a:gd name="connsiteY146" fmla="*/ 35355 h 605804"/>
                  <a:gd name="connsiteX147" fmla="*/ 147858 w 1204909"/>
                  <a:gd name="connsiteY147" fmla="*/ 39411 h 605804"/>
                  <a:gd name="connsiteX148" fmla="*/ 145566 w 1204909"/>
                  <a:gd name="connsiteY148" fmla="*/ 40293 h 605804"/>
                  <a:gd name="connsiteX149" fmla="*/ 144684 w 1204909"/>
                  <a:gd name="connsiteY149" fmla="*/ 43731 h 605804"/>
                  <a:gd name="connsiteX150" fmla="*/ 142392 w 1204909"/>
                  <a:gd name="connsiteY150" fmla="*/ 44966 h 605804"/>
                  <a:gd name="connsiteX151" fmla="*/ 143803 w 1204909"/>
                  <a:gd name="connsiteY151" fmla="*/ 45230 h 605804"/>
                  <a:gd name="connsiteX152" fmla="*/ 144067 w 1204909"/>
                  <a:gd name="connsiteY152" fmla="*/ 48140 h 605804"/>
                  <a:gd name="connsiteX153" fmla="*/ 140629 w 1204909"/>
                  <a:gd name="connsiteY153" fmla="*/ 49022 h 605804"/>
                  <a:gd name="connsiteX154" fmla="*/ 139130 w 1204909"/>
                  <a:gd name="connsiteY154" fmla="*/ 49903 h 605804"/>
                  <a:gd name="connsiteX155" fmla="*/ 140893 w 1204909"/>
                  <a:gd name="connsiteY155" fmla="*/ 51402 h 605804"/>
                  <a:gd name="connsiteX156" fmla="*/ 141775 w 1204909"/>
                  <a:gd name="connsiteY156" fmla="*/ 50168 h 605804"/>
                  <a:gd name="connsiteX157" fmla="*/ 144420 w 1204909"/>
                  <a:gd name="connsiteY157" fmla="*/ 49286 h 605804"/>
                  <a:gd name="connsiteX158" fmla="*/ 146095 w 1204909"/>
                  <a:gd name="connsiteY158" fmla="*/ 43731 h 605804"/>
                  <a:gd name="connsiteX159" fmla="*/ 148211 w 1204909"/>
                  <a:gd name="connsiteY159" fmla="*/ 43202 h 605804"/>
                  <a:gd name="connsiteX160" fmla="*/ 146977 w 1204909"/>
                  <a:gd name="connsiteY160" fmla="*/ 41704 h 605804"/>
                  <a:gd name="connsiteX161" fmla="*/ 156323 w 1204909"/>
                  <a:gd name="connsiteY161" fmla="*/ 32975 h 605804"/>
                  <a:gd name="connsiteX162" fmla="*/ 156323 w 1204909"/>
                  <a:gd name="connsiteY162" fmla="*/ 28037 h 605804"/>
                  <a:gd name="connsiteX163" fmla="*/ 154295 w 1204909"/>
                  <a:gd name="connsiteY163" fmla="*/ 29184 h 605804"/>
                  <a:gd name="connsiteX164" fmla="*/ 154030 w 1204909"/>
                  <a:gd name="connsiteY164" fmla="*/ 31564 h 605804"/>
                  <a:gd name="connsiteX165" fmla="*/ 153413 w 1204909"/>
                  <a:gd name="connsiteY165" fmla="*/ 28919 h 605804"/>
                  <a:gd name="connsiteX166" fmla="*/ 154295 w 1204909"/>
                  <a:gd name="connsiteY166" fmla="*/ 27420 h 605804"/>
                  <a:gd name="connsiteX167" fmla="*/ 156940 w 1204909"/>
                  <a:gd name="connsiteY167" fmla="*/ 27420 h 605804"/>
                  <a:gd name="connsiteX168" fmla="*/ 158086 w 1204909"/>
                  <a:gd name="connsiteY168" fmla="*/ 26010 h 605804"/>
                  <a:gd name="connsiteX169" fmla="*/ 155794 w 1204909"/>
                  <a:gd name="connsiteY169" fmla="*/ 23982 h 605804"/>
                  <a:gd name="connsiteX170" fmla="*/ 155441 w 1204909"/>
                  <a:gd name="connsiteY170" fmla="*/ 26274 h 605804"/>
                  <a:gd name="connsiteX171" fmla="*/ 151385 w 1204909"/>
                  <a:gd name="connsiteY171" fmla="*/ 28037 h 605804"/>
                  <a:gd name="connsiteX172" fmla="*/ 150768 w 1204909"/>
                  <a:gd name="connsiteY172" fmla="*/ 32093 h 605804"/>
                  <a:gd name="connsiteX173" fmla="*/ 154030 w 1204909"/>
                  <a:gd name="connsiteY173" fmla="*/ 32358 h 605804"/>
                  <a:gd name="connsiteX174" fmla="*/ 153766 w 1204909"/>
                  <a:gd name="connsiteY174" fmla="*/ 34474 h 605804"/>
                  <a:gd name="connsiteX175" fmla="*/ 151121 w 1204909"/>
                  <a:gd name="connsiteY175" fmla="*/ 35355 h 605804"/>
                  <a:gd name="connsiteX176" fmla="*/ 149357 w 1204909"/>
                  <a:gd name="connsiteY176" fmla="*/ 32710 h 605804"/>
                  <a:gd name="connsiteX177" fmla="*/ 150503 w 1204909"/>
                  <a:gd name="connsiteY177" fmla="*/ 29801 h 605804"/>
                  <a:gd name="connsiteX178" fmla="*/ 149093 w 1204909"/>
                  <a:gd name="connsiteY178" fmla="*/ 28037 h 605804"/>
                  <a:gd name="connsiteX179" fmla="*/ 154030 w 1204909"/>
                  <a:gd name="connsiteY179" fmla="*/ 23629 h 605804"/>
                  <a:gd name="connsiteX180" fmla="*/ 154295 w 1204909"/>
                  <a:gd name="connsiteY180" fmla="*/ 21866 h 605804"/>
                  <a:gd name="connsiteX181" fmla="*/ 157204 w 1204909"/>
                  <a:gd name="connsiteY181" fmla="*/ 19838 h 605804"/>
                  <a:gd name="connsiteX182" fmla="*/ 155794 w 1204909"/>
                  <a:gd name="connsiteY182" fmla="*/ 19309 h 605804"/>
                  <a:gd name="connsiteX183" fmla="*/ 157557 w 1204909"/>
                  <a:gd name="connsiteY183" fmla="*/ 18427 h 605804"/>
                  <a:gd name="connsiteX184" fmla="*/ 158350 w 1204909"/>
                  <a:gd name="connsiteY184" fmla="*/ 22218 h 605804"/>
                  <a:gd name="connsiteX185" fmla="*/ 158703 w 1204909"/>
                  <a:gd name="connsiteY185" fmla="*/ 19573 h 605804"/>
                  <a:gd name="connsiteX186" fmla="*/ 161260 w 1204909"/>
                  <a:gd name="connsiteY186" fmla="*/ 19573 h 605804"/>
                  <a:gd name="connsiteX187" fmla="*/ 162494 w 1204909"/>
                  <a:gd name="connsiteY187" fmla="*/ 14900 h 605804"/>
                  <a:gd name="connsiteX188" fmla="*/ 160114 w 1204909"/>
                  <a:gd name="connsiteY188" fmla="*/ 15518 h 605804"/>
                  <a:gd name="connsiteX189" fmla="*/ 158703 w 1204909"/>
                  <a:gd name="connsiteY189" fmla="*/ 18075 h 605804"/>
                  <a:gd name="connsiteX190" fmla="*/ 157821 w 1204909"/>
                  <a:gd name="connsiteY190" fmla="*/ 16047 h 605804"/>
                  <a:gd name="connsiteX191" fmla="*/ 159585 w 1204909"/>
                  <a:gd name="connsiteY191" fmla="*/ 14900 h 605804"/>
                  <a:gd name="connsiteX192" fmla="*/ 159585 w 1204909"/>
                  <a:gd name="connsiteY192" fmla="*/ 10845 h 605804"/>
                  <a:gd name="connsiteX193" fmla="*/ 170958 w 1204909"/>
                  <a:gd name="connsiteY193" fmla="*/ 9963 h 605804"/>
                  <a:gd name="connsiteX194" fmla="*/ 197762 w 1204909"/>
                  <a:gd name="connsiteY194" fmla="*/ 9081 h 605804"/>
                  <a:gd name="connsiteX195" fmla="*/ 233029 w 1204909"/>
                  <a:gd name="connsiteY195" fmla="*/ 8729 h 605804"/>
                  <a:gd name="connsiteX196" fmla="*/ 275085 w 1204909"/>
                  <a:gd name="connsiteY196" fmla="*/ 9081 h 605804"/>
                  <a:gd name="connsiteX197" fmla="*/ 330455 w 1204909"/>
                  <a:gd name="connsiteY197" fmla="*/ 9081 h 605804"/>
                  <a:gd name="connsiteX198" fmla="*/ 407162 w 1204909"/>
                  <a:gd name="connsiteY198" fmla="*/ 9081 h 605804"/>
                  <a:gd name="connsiteX199" fmla="*/ 481311 w 1204909"/>
                  <a:gd name="connsiteY199" fmla="*/ 9081 h 605804"/>
                  <a:gd name="connsiteX200" fmla="*/ 521869 w 1204909"/>
                  <a:gd name="connsiteY200" fmla="*/ 9081 h 605804"/>
                  <a:gd name="connsiteX201" fmla="*/ 566129 w 1204909"/>
                  <a:gd name="connsiteY201" fmla="*/ 9081 h 605804"/>
                  <a:gd name="connsiteX202" fmla="*/ 628905 w 1204909"/>
                  <a:gd name="connsiteY202" fmla="*/ 9081 h 605804"/>
                  <a:gd name="connsiteX203" fmla="*/ 671138 w 1204909"/>
                  <a:gd name="connsiteY203" fmla="*/ 9081 h 605804"/>
                  <a:gd name="connsiteX204" fmla="*/ 697147 w 1204909"/>
                  <a:gd name="connsiteY204" fmla="*/ 0 h 605804"/>
                  <a:gd name="connsiteX205" fmla="*/ 700586 w 1204909"/>
                  <a:gd name="connsiteY205" fmla="*/ 0 h 605804"/>
                  <a:gd name="connsiteX206" fmla="*/ 702702 w 1204909"/>
                  <a:gd name="connsiteY206" fmla="*/ 1146 h 605804"/>
                  <a:gd name="connsiteX207" fmla="*/ 698911 w 1204909"/>
                  <a:gd name="connsiteY207" fmla="*/ 14283 h 605804"/>
                  <a:gd name="connsiteX208" fmla="*/ 703231 w 1204909"/>
                  <a:gd name="connsiteY208" fmla="*/ 16311 h 605804"/>
                  <a:gd name="connsiteX209" fmla="*/ 712577 w 1204909"/>
                  <a:gd name="connsiteY209" fmla="*/ 18075 h 605804"/>
                  <a:gd name="connsiteX210" fmla="*/ 712577 w 1204909"/>
                  <a:gd name="connsiteY210" fmla="*/ 20984 h 605804"/>
                  <a:gd name="connsiteX211" fmla="*/ 728006 w 1204909"/>
                  <a:gd name="connsiteY211" fmla="*/ 18075 h 605804"/>
                  <a:gd name="connsiteX212" fmla="*/ 731533 w 1204909"/>
                  <a:gd name="connsiteY212" fmla="*/ 18956 h 605804"/>
                  <a:gd name="connsiteX213" fmla="*/ 734178 w 1204909"/>
                  <a:gd name="connsiteY213" fmla="*/ 22483 h 605804"/>
                  <a:gd name="connsiteX214" fmla="*/ 735060 w 1204909"/>
                  <a:gd name="connsiteY214" fmla="*/ 22218 h 605804"/>
                  <a:gd name="connsiteX215" fmla="*/ 736735 w 1204909"/>
                  <a:gd name="connsiteY215" fmla="*/ 22747 h 605804"/>
                  <a:gd name="connsiteX216" fmla="*/ 736206 w 1204909"/>
                  <a:gd name="connsiteY216" fmla="*/ 23982 h 605804"/>
                  <a:gd name="connsiteX217" fmla="*/ 736735 w 1204909"/>
                  <a:gd name="connsiteY217" fmla="*/ 27156 h 605804"/>
                  <a:gd name="connsiteX218" fmla="*/ 737705 w 1204909"/>
                  <a:gd name="connsiteY218" fmla="*/ 27420 h 605804"/>
                  <a:gd name="connsiteX219" fmla="*/ 739380 w 1204909"/>
                  <a:gd name="connsiteY219" fmla="*/ 27420 h 605804"/>
                  <a:gd name="connsiteX220" fmla="*/ 739997 w 1204909"/>
                  <a:gd name="connsiteY220" fmla="*/ 24775 h 605804"/>
                  <a:gd name="connsiteX221" fmla="*/ 743171 w 1204909"/>
                  <a:gd name="connsiteY221" fmla="*/ 24511 h 605804"/>
                  <a:gd name="connsiteX222" fmla="*/ 747580 w 1204909"/>
                  <a:gd name="connsiteY222" fmla="*/ 28302 h 605804"/>
                  <a:gd name="connsiteX223" fmla="*/ 749079 w 1204909"/>
                  <a:gd name="connsiteY223" fmla="*/ 28566 h 605804"/>
                  <a:gd name="connsiteX224" fmla="*/ 748461 w 1204909"/>
                  <a:gd name="connsiteY224" fmla="*/ 30330 h 605804"/>
                  <a:gd name="connsiteX225" fmla="*/ 750842 w 1204909"/>
                  <a:gd name="connsiteY225" fmla="*/ 30683 h 605804"/>
                  <a:gd name="connsiteX226" fmla="*/ 749960 w 1204909"/>
                  <a:gd name="connsiteY226" fmla="*/ 32358 h 605804"/>
                  <a:gd name="connsiteX227" fmla="*/ 766536 w 1204909"/>
                  <a:gd name="connsiteY227" fmla="*/ 27156 h 605804"/>
                  <a:gd name="connsiteX228" fmla="*/ 766536 w 1204909"/>
                  <a:gd name="connsiteY228" fmla="*/ 31212 h 605804"/>
                  <a:gd name="connsiteX229" fmla="*/ 778791 w 1204909"/>
                  <a:gd name="connsiteY229" fmla="*/ 30683 h 605804"/>
                  <a:gd name="connsiteX230" fmla="*/ 782318 w 1204909"/>
                  <a:gd name="connsiteY230" fmla="*/ 33857 h 605804"/>
                  <a:gd name="connsiteX231" fmla="*/ 789019 w 1204909"/>
                  <a:gd name="connsiteY231" fmla="*/ 33240 h 605804"/>
                  <a:gd name="connsiteX232" fmla="*/ 781084 w 1204909"/>
                  <a:gd name="connsiteY232" fmla="*/ 35620 h 605804"/>
                  <a:gd name="connsiteX233" fmla="*/ 779409 w 1204909"/>
                  <a:gd name="connsiteY233" fmla="*/ 37031 h 605804"/>
                  <a:gd name="connsiteX234" fmla="*/ 771209 w 1204909"/>
                  <a:gd name="connsiteY234" fmla="*/ 39411 h 605804"/>
                  <a:gd name="connsiteX235" fmla="*/ 766271 w 1204909"/>
                  <a:gd name="connsiteY235" fmla="*/ 40557 h 605804"/>
                  <a:gd name="connsiteX236" fmla="*/ 761334 w 1204909"/>
                  <a:gd name="connsiteY236" fmla="*/ 41439 h 605804"/>
                  <a:gd name="connsiteX237" fmla="*/ 758424 w 1204909"/>
                  <a:gd name="connsiteY237" fmla="*/ 42585 h 605804"/>
                  <a:gd name="connsiteX238" fmla="*/ 754016 w 1204909"/>
                  <a:gd name="connsiteY238" fmla="*/ 46377 h 605804"/>
                  <a:gd name="connsiteX239" fmla="*/ 748726 w 1204909"/>
                  <a:gd name="connsiteY239" fmla="*/ 47258 h 605804"/>
                  <a:gd name="connsiteX240" fmla="*/ 746963 w 1204909"/>
                  <a:gd name="connsiteY240" fmla="*/ 48140 h 605804"/>
                  <a:gd name="connsiteX241" fmla="*/ 742642 w 1204909"/>
                  <a:gd name="connsiteY241" fmla="*/ 51667 h 605804"/>
                  <a:gd name="connsiteX242" fmla="*/ 741761 w 1204909"/>
                  <a:gd name="connsiteY242" fmla="*/ 52813 h 605804"/>
                  <a:gd name="connsiteX243" fmla="*/ 740614 w 1204909"/>
                  <a:gd name="connsiteY243" fmla="*/ 55105 h 605804"/>
                  <a:gd name="connsiteX244" fmla="*/ 735589 w 1204909"/>
                  <a:gd name="connsiteY244" fmla="*/ 58103 h 605804"/>
                  <a:gd name="connsiteX245" fmla="*/ 733296 w 1204909"/>
                  <a:gd name="connsiteY245" fmla="*/ 59514 h 605804"/>
                  <a:gd name="connsiteX246" fmla="*/ 731533 w 1204909"/>
                  <a:gd name="connsiteY246" fmla="*/ 59778 h 605804"/>
                  <a:gd name="connsiteX247" fmla="*/ 728006 w 1204909"/>
                  <a:gd name="connsiteY247" fmla="*/ 60660 h 605804"/>
                  <a:gd name="connsiteX248" fmla="*/ 725449 w 1204909"/>
                  <a:gd name="connsiteY248" fmla="*/ 63040 h 605804"/>
                  <a:gd name="connsiteX249" fmla="*/ 726596 w 1204909"/>
                  <a:gd name="connsiteY249" fmla="*/ 64804 h 605804"/>
                  <a:gd name="connsiteX250" fmla="*/ 728623 w 1204909"/>
                  <a:gd name="connsiteY250" fmla="*/ 63922 h 605804"/>
                  <a:gd name="connsiteX251" fmla="*/ 730916 w 1204909"/>
                  <a:gd name="connsiteY251" fmla="*/ 62688 h 605804"/>
                  <a:gd name="connsiteX252" fmla="*/ 735324 w 1204909"/>
                  <a:gd name="connsiteY252" fmla="*/ 63922 h 605804"/>
                  <a:gd name="connsiteX253" fmla="*/ 735324 w 1204909"/>
                  <a:gd name="connsiteY253" fmla="*/ 63305 h 605804"/>
                  <a:gd name="connsiteX254" fmla="*/ 738851 w 1204909"/>
                  <a:gd name="connsiteY254" fmla="*/ 63040 h 605804"/>
                  <a:gd name="connsiteX255" fmla="*/ 739733 w 1204909"/>
                  <a:gd name="connsiteY255" fmla="*/ 62159 h 605804"/>
                  <a:gd name="connsiteX256" fmla="*/ 743788 w 1204909"/>
                  <a:gd name="connsiteY256" fmla="*/ 61277 h 605804"/>
                  <a:gd name="connsiteX257" fmla="*/ 744670 w 1204909"/>
                  <a:gd name="connsiteY257" fmla="*/ 61277 h 605804"/>
                  <a:gd name="connsiteX258" fmla="*/ 746698 w 1204909"/>
                  <a:gd name="connsiteY258" fmla="*/ 59514 h 605804"/>
                  <a:gd name="connsiteX259" fmla="*/ 748461 w 1204909"/>
                  <a:gd name="connsiteY259" fmla="*/ 59514 h 605804"/>
                  <a:gd name="connsiteX260" fmla="*/ 751988 w 1204909"/>
                  <a:gd name="connsiteY260" fmla="*/ 58632 h 605804"/>
                  <a:gd name="connsiteX261" fmla="*/ 752870 w 1204909"/>
                  <a:gd name="connsiteY261" fmla="*/ 60395 h 605804"/>
                  <a:gd name="connsiteX262" fmla="*/ 749608 w 1204909"/>
                  <a:gd name="connsiteY262" fmla="*/ 61894 h 605804"/>
                  <a:gd name="connsiteX263" fmla="*/ 749608 w 1204909"/>
                  <a:gd name="connsiteY263" fmla="*/ 63040 h 605804"/>
                  <a:gd name="connsiteX264" fmla="*/ 747315 w 1204909"/>
                  <a:gd name="connsiteY264" fmla="*/ 64804 h 605804"/>
                  <a:gd name="connsiteX265" fmla="*/ 746081 w 1204909"/>
                  <a:gd name="connsiteY265" fmla="*/ 67713 h 605804"/>
                  <a:gd name="connsiteX266" fmla="*/ 750225 w 1204909"/>
                  <a:gd name="connsiteY266" fmla="*/ 66479 h 605804"/>
                  <a:gd name="connsiteX267" fmla="*/ 750225 w 1204909"/>
                  <a:gd name="connsiteY267" fmla="*/ 64187 h 605804"/>
                  <a:gd name="connsiteX268" fmla="*/ 753663 w 1204909"/>
                  <a:gd name="connsiteY268" fmla="*/ 67713 h 605804"/>
                  <a:gd name="connsiteX269" fmla="*/ 756044 w 1204909"/>
                  <a:gd name="connsiteY269" fmla="*/ 68242 h 605804"/>
                  <a:gd name="connsiteX270" fmla="*/ 758953 w 1204909"/>
                  <a:gd name="connsiteY270" fmla="*/ 65685 h 605804"/>
                  <a:gd name="connsiteX271" fmla="*/ 759571 w 1204909"/>
                  <a:gd name="connsiteY271" fmla="*/ 65333 h 605804"/>
                  <a:gd name="connsiteX272" fmla="*/ 762128 w 1204909"/>
                  <a:gd name="connsiteY272" fmla="*/ 64187 h 605804"/>
                  <a:gd name="connsiteX273" fmla="*/ 764244 w 1204909"/>
                  <a:gd name="connsiteY273" fmla="*/ 64451 h 605804"/>
                  <a:gd name="connsiteX274" fmla="*/ 768917 w 1204909"/>
                  <a:gd name="connsiteY274" fmla="*/ 63569 h 605804"/>
                  <a:gd name="connsiteX275" fmla="*/ 771473 w 1204909"/>
                  <a:gd name="connsiteY275" fmla="*/ 61894 h 605804"/>
                  <a:gd name="connsiteX276" fmla="*/ 773854 w 1204909"/>
                  <a:gd name="connsiteY276" fmla="*/ 62159 h 605804"/>
                  <a:gd name="connsiteX277" fmla="*/ 778174 w 1204909"/>
                  <a:gd name="connsiteY277" fmla="*/ 61541 h 605804"/>
                  <a:gd name="connsiteX278" fmla="*/ 785492 w 1204909"/>
                  <a:gd name="connsiteY278" fmla="*/ 57486 h 605804"/>
                  <a:gd name="connsiteX279" fmla="*/ 789900 w 1204909"/>
                  <a:gd name="connsiteY279" fmla="*/ 56869 h 605804"/>
                  <a:gd name="connsiteX280" fmla="*/ 792193 w 1204909"/>
                  <a:gd name="connsiteY280" fmla="*/ 55105 h 605804"/>
                  <a:gd name="connsiteX281" fmla="*/ 795103 w 1204909"/>
                  <a:gd name="connsiteY281" fmla="*/ 51402 h 605804"/>
                  <a:gd name="connsiteX282" fmla="*/ 797130 w 1204909"/>
                  <a:gd name="connsiteY282" fmla="*/ 49903 h 605804"/>
                  <a:gd name="connsiteX283" fmla="*/ 801539 w 1204909"/>
                  <a:gd name="connsiteY283" fmla="*/ 48757 h 605804"/>
                  <a:gd name="connsiteX284" fmla="*/ 803567 w 1204909"/>
                  <a:gd name="connsiteY284" fmla="*/ 47875 h 605804"/>
                  <a:gd name="connsiteX285" fmla="*/ 808240 w 1204909"/>
                  <a:gd name="connsiteY285" fmla="*/ 46641 h 605804"/>
                  <a:gd name="connsiteX286" fmla="*/ 812648 w 1204909"/>
                  <a:gd name="connsiteY286" fmla="*/ 46112 h 605804"/>
                  <a:gd name="connsiteX287" fmla="*/ 814411 w 1204909"/>
                  <a:gd name="connsiteY287" fmla="*/ 45495 h 605804"/>
                  <a:gd name="connsiteX288" fmla="*/ 817321 w 1204909"/>
                  <a:gd name="connsiteY288" fmla="*/ 46112 h 605804"/>
                  <a:gd name="connsiteX289" fmla="*/ 817585 w 1204909"/>
                  <a:gd name="connsiteY289" fmla="*/ 47875 h 605804"/>
                  <a:gd name="connsiteX290" fmla="*/ 814676 w 1204909"/>
                  <a:gd name="connsiteY290" fmla="*/ 47875 h 605804"/>
                  <a:gd name="connsiteX291" fmla="*/ 812912 w 1204909"/>
                  <a:gd name="connsiteY291" fmla="*/ 48140 h 605804"/>
                  <a:gd name="connsiteX292" fmla="*/ 810885 w 1204909"/>
                  <a:gd name="connsiteY292" fmla="*/ 50520 h 605804"/>
                  <a:gd name="connsiteX293" fmla="*/ 809386 w 1204909"/>
                  <a:gd name="connsiteY293" fmla="*/ 52196 h 605804"/>
                  <a:gd name="connsiteX294" fmla="*/ 805594 w 1204909"/>
                  <a:gd name="connsiteY294" fmla="*/ 52813 h 605804"/>
                  <a:gd name="connsiteX295" fmla="*/ 802421 w 1204909"/>
                  <a:gd name="connsiteY295" fmla="*/ 54841 h 605804"/>
                  <a:gd name="connsiteX296" fmla="*/ 800922 w 1204909"/>
                  <a:gd name="connsiteY296" fmla="*/ 55722 h 605804"/>
                  <a:gd name="connsiteX297" fmla="*/ 798365 w 1204909"/>
                  <a:gd name="connsiteY297" fmla="*/ 59249 h 605804"/>
                  <a:gd name="connsiteX298" fmla="*/ 796601 w 1204909"/>
                  <a:gd name="connsiteY298" fmla="*/ 63040 h 605804"/>
                  <a:gd name="connsiteX299" fmla="*/ 798629 w 1204909"/>
                  <a:gd name="connsiteY299" fmla="*/ 62159 h 605804"/>
                  <a:gd name="connsiteX300" fmla="*/ 800128 w 1204909"/>
                  <a:gd name="connsiteY300" fmla="*/ 60131 h 605804"/>
                  <a:gd name="connsiteX301" fmla="*/ 804713 w 1204909"/>
                  <a:gd name="connsiteY301" fmla="*/ 58367 h 605804"/>
                  <a:gd name="connsiteX302" fmla="*/ 803567 w 1204909"/>
                  <a:gd name="connsiteY302" fmla="*/ 60131 h 605804"/>
                  <a:gd name="connsiteX303" fmla="*/ 806212 w 1204909"/>
                  <a:gd name="connsiteY303" fmla="*/ 59778 h 605804"/>
                  <a:gd name="connsiteX304" fmla="*/ 809738 w 1204909"/>
                  <a:gd name="connsiteY304" fmla="*/ 59514 h 605804"/>
                  <a:gd name="connsiteX305" fmla="*/ 812383 w 1204909"/>
                  <a:gd name="connsiteY305" fmla="*/ 61277 h 605804"/>
                  <a:gd name="connsiteX306" fmla="*/ 814676 w 1204909"/>
                  <a:gd name="connsiteY306" fmla="*/ 64804 h 605804"/>
                  <a:gd name="connsiteX307" fmla="*/ 815293 w 1204909"/>
                  <a:gd name="connsiteY307" fmla="*/ 67713 h 605804"/>
                  <a:gd name="connsiteX308" fmla="*/ 814940 w 1204909"/>
                  <a:gd name="connsiteY308" fmla="*/ 69388 h 605804"/>
                  <a:gd name="connsiteX309" fmla="*/ 817585 w 1204909"/>
                  <a:gd name="connsiteY309" fmla="*/ 70623 h 605804"/>
                  <a:gd name="connsiteX310" fmla="*/ 819878 w 1204909"/>
                  <a:gd name="connsiteY310" fmla="*/ 70006 h 605804"/>
                  <a:gd name="connsiteX311" fmla="*/ 822258 w 1204909"/>
                  <a:gd name="connsiteY311" fmla="*/ 69124 h 605804"/>
                  <a:gd name="connsiteX312" fmla="*/ 824022 w 1204909"/>
                  <a:gd name="connsiteY312" fmla="*/ 71505 h 605804"/>
                  <a:gd name="connsiteX313" fmla="*/ 827460 w 1204909"/>
                  <a:gd name="connsiteY313" fmla="*/ 71505 h 605804"/>
                  <a:gd name="connsiteX314" fmla="*/ 829224 w 1204909"/>
                  <a:gd name="connsiteY314" fmla="*/ 68242 h 605804"/>
                  <a:gd name="connsiteX315" fmla="*/ 829576 w 1204909"/>
                  <a:gd name="connsiteY315" fmla="*/ 70623 h 605804"/>
                  <a:gd name="connsiteX316" fmla="*/ 840068 w 1204909"/>
                  <a:gd name="connsiteY316" fmla="*/ 65950 h 605804"/>
                  <a:gd name="connsiteX317" fmla="*/ 846416 w 1204909"/>
                  <a:gd name="connsiteY317" fmla="*/ 65068 h 605804"/>
                  <a:gd name="connsiteX318" fmla="*/ 853205 w 1204909"/>
                  <a:gd name="connsiteY318" fmla="*/ 65685 h 605804"/>
                  <a:gd name="connsiteX319" fmla="*/ 859025 w 1204909"/>
                  <a:gd name="connsiteY319" fmla="*/ 63569 h 605804"/>
                  <a:gd name="connsiteX320" fmla="*/ 865108 w 1204909"/>
                  <a:gd name="connsiteY320" fmla="*/ 63305 h 605804"/>
                  <a:gd name="connsiteX321" fmla="*/ 862816 w 1204909"/>
                  <a:gd name="connsiteY321" fmla="*/ 64804 h 605804"/>
                  <a:gd name="connsiteX322" fmla="*/ 860435 w 1204909"/>
                  <a:gd name="connsiteY322" fmla="*/ 70358 h 605804"/>
                  <a:gd name="connsiteX323" fmla="*/ 872426 w 1204909"/>
                  <a:gd name="connsiteY323" fmla="*/ 70623 h 605804"/>
                  <a:gd name="connsiteX324" fmla="*/ 878245 w 1204909"/>
                  <a:gd name="connsiteY324" fmla="*/ 68859 h 605804"/>
                  <a:gd name="connsiteX325" fmla="*/ 875600 w 1204909"/>
                  <a:gd name="connsiteY325" fmla="*/ 77588 h 605804"/>
                  <a:gd name="connsiteX326" fmla="*/ 877099 w 1204909"/>
                  <a:gd name="connsiteY326" fmla="*/ 80850 h 605804"/>
                  <a:gd name="connsiteX327" fmla="*/ 881155 w 1204909"/>
                  <a:gd name="connsiteY327" fmla="*/ 79616 h 605804"/>
                  <a:gd name="connsiteX328" fmla="*/ 884064 w 1204909"/>
                  <a:gd name="connsiteY328" fmla="*/ 79616 h 605804"/>
                  <a:gd name="connsiteX329" fmla="*/ 885828 w 1204909"/>
                  <a:gd name="connsiteY329" fmla="*/ 82878 h 605804"/>
                  <a:gd name="connsiteX330" fmla="*/ 884064 w 1204909"/>
                  <a:gd name="connsiteY330" fmla="*/ 84289 h 605804"/>
                  <a:gd name="connsiteX331" fmla="*/ 873043 w 1204909"/>
                  <a:gd name="connsiteY331" fmla="*/ 82878 h 605804"/>
                  <a:gd name="connsiteX332" fmla="*/ 867489 w 1204909"/>
                  <a:gd name="connsiteY332" fmla="*/ 83760 h 605804"/>
                  <a:gd name="connsiteX333" fmla="*/ 863698 w 1204909"/>
                  <a:gd name="connsiteY333" fmla="*/ 81115 h 605804"/>
                  <a:gd name="connsiteX334" fmla="*/ 862199 w 1204909"/>
                  <a:gd name="connsiteY334" fmla="*/ 81997 h 605804"/>
                  <a:gd name="connsiteX335" fmla="*/ 859289 w 1204909"/>
                  <a:gd name="connsiteY335" fmla="*/ 86052 h 605804"/>
                  <a:gd name="connsiteX336" fmla="*/ 855498 w 1204909"/>
                  <a:gd name="connsiteY336" fmla="*/ 81997 h 605804"/>
                  <a:gd name="connsiteX337" fmla="*/ 850560 w 1204909"/>
                  <a:gd name="connsiteY337" fmla="*/ 79969 h 605804"/>
                  <a:gd name="connsiteX338" fmla="*/ 846769 w 1204909"/>
                  <a:gd name="connsiteY338" fmla="*/ 79969 h 605804"/>
                  <a:gd name="connsiteX339" fmla="*/ 842625 w 1204909"/>
                  <a:gd name="connsiteY339" fmla="*/ 82878 h 605804"/>
                  <a:gd name="connsiteX340" fmla="*/ 838569 w 1204909"/>
                  <a:gd name="connsiteY340" fmla="*/ 82878 h 605804"/>
                  <a:gd name="connsiteX341" fmla="*/ 830458 w 1204909"/>
                  <a:gd name="connsiteY341" fmla="*/ 83407 h 605804"/>
                  <a:gd name="connsiteX342" fmla="*/ 827196 w 1204909"/>
                  <a:gd name="connsiteY342" fmla="*/ 87199 h 605804"/>
                  <a:gd name="connsiteX343" fmla="*/ 824551 w 1204909"/>
                  <a:gd name="connsiteY343" fmla="*/ 88080 h 605804"/>
                  <a:gd name="connsiteX344" fmla="*/ 821994 w 1204909"/>
                  <a:gd name="connsiteY344" fmla="*/ 89226 h 605804"/>
                  <a:gd name="connsiteX345" fmla="*/ 819878 w 1204909"/>
                  <a:gd name="connsiteY345" fmla="*/ 91871 h 605804"/>
                  <a:gd name="connsiteX346" fmla="*/ 818996 w 1204909"/>
                  <a:gd name="connsiteY346" fmla="*/ 89844 h 605804"/>
                  <a:gd name="connsiteX347" fmla="*/ 824551 w 1204909"/>
                  <a:gd name="connsiteY347" fmla="*/ 84642 h 605804"/>
                  <a:gd name="connsiteX348" fmla="*/ 819613 w 1204909"/>
                  <a:gd name="connsiteY348" fmla="*/ 85788 h 605804"/>
                  <a:gd name="connsiteX349" fmla="*/ 817321 w 1204909"/>
                  <a:gd name="connsiteY349" fmla="*/ 88080 h 605804"/>
                  <a:gd name="connsiteX350" fmla="*/ 814059 w 1204909"/>
                  <a:gd name="connsiteY350" fmla="*/ 90196 h 605804"/>
                  <a:gd name="connsiteX351" fmla="*/ 814940 w 1204909"/>
                  <a:gd name="connsiteY351" fmla="*/ 88080 h 605804"/>
                  <a:gd name="connsiteX352" fmla="*/ 814676 w 1204909"/>
                  <a:gd name="connsiteY352" fmla="*/ 86670 h 605804"/>
                  <a:gd name="connsiteX353" fmla="*/ 807358 w 1204909"/>
                  <a:gd name="connsiteY353" fmla="*/ 93018 h 605804"/>
                  <a:gd name="connsiteX354" fmla="*/ 795720 w 1204909"/>
                  <a:gd name="connsiteY354" fmla="*/ 104127 h 605804"/>
                  <a:gd name="connsiteX355" fmla="*/ 793339 w 1204909"/>
                  <a:gd name="connsiteY355" fmla="*/ 107036 h 605804"/>
                  <a:gd name="connsiteX356" fmla="*/ 791047 w 1204909"/>
                  <a:gd name="connsiteY356" fmla="*/ 107389 h 605804"/>
                  <a:gd name="connsiteX357" fmla="*/ 783464 w 1204909"/>
                  <a:gd name="connsiteY357" fmla="*/ 114354 h 605804"/>
                  <a:gd name="connsiteX358" fmla="*/ 782318 w 1204909"/>
                  <a:gd name="connsiteY358" fmla="*/ 118146 h 605804"/>
                  <a:gd name="connsiteX359" fmla="*/ 787520 w 1204909"/>
                  <a:gd name="connsiteY359" fmla="*/ 115501 h 605804"/>
                  <a:gd name="connsiteX360" fmla="*/ 792193 w 1204909"/>
                  <a:gd name="connsiteY360" fmla="*/ 110563 h 605804"/>
                  <a:gd name="connsiteX361" fmla="*/ 797483 w 1204909"/>
                  <a:gd name="connsiteY361" fmla="*/ 109681 h 605804"/>
                  <a:gd name="connsiteX362" fmla="*/ 803302 w 1204909"/>
                  <a:gd name="connsiteY362" fmla="*/ 102363 h 605804"/>
                  <a:gd name="connsiteX363" fmla="*/ 809121 w 1204909"/>
                  <a:gd name="connsiteY363" fmla="*/ 99454 h 605804"/>
                  <a:gd name="connsiteX364" fmla="*/ 809121 w 1204909"/>
                  <a:gd name="connsiteY364" fmla="*/ 101482 h 605804"/>
                  <a:gd name="connsiteX365" fmla="*/ 807358 w 1204909"/>
                  <a:gd name="connsiteY365" fmla="*/ 101482 h 605804"/>
                  <a:gd name="connsiteX366" fmla="*/ 806212 w 1204909"/>
                  <a:gd name="connsiteY366" fmla="*/ 104479 h 605804"/>
                  <a:gd name="connsiteX367" fmla="*/ 795367 w 1204909"/>
                  <a:gd name="connsiteY367" fmla="*/ 114619 h 605804"/>
                  <a:gd name="connsiteX368" fmla="*/ 788402 w 1204909"/>
                  <a:gd name="connsiteY368" fmla="*/ 123347 h 605804"/>
                  <a:gd name="connsiteX369" fmla="*/ 787785 w 1204909"/>
                  <a:gd name="connsiteY369" fmla="*/ 126345 h 605804"/>
                  <a:gd name="connsiteX370" fmla="*/ 784081 w 1204909"/>
                  <a:gd name="connsiteY370" fmla="*/ 128638 h 605804"/>
                  <a:gd name="connsiteX371" fmla="*/ 780290 w 1204909"/>
                  <a:gd name="connsiteY371" fmla="*/ 133575 h 605804"/>
                  <a:gd name="connsiteX372" fmla="*/ 778791 w 1204909"/>
                  <a:gd name="connsiteY372" fmla="*/ 138865 h 605804"/>
                  <a:gd name="connsiteX373" fmla="*/ 775265 w 1204909"/>
                  <a:gd name="connsiteY373" fmla="*/ 142656 h 605804"/>
                  <a:gd name="connsiteX374" fmla="*/ 770063 w 1204909"/>
                  <a:gd name="connsiteY374" fmla="*/ 151121 h 605804"/>
                  <a:gd name="connsiteX375" fmla="*/ 767418 w 1204909"/>
                  <a:gd name="connsiteY375" fmla="*/ 159585 h 605804"/>
                  <a:gd name="connsiteX376" fmla="*/ 768564 w 1204909"/>
                  <a:gd name="connsiteY376" fmla="*/ 160995 h 605804"/>
                  <a:gd name="connsiteX377" fmla="*/ 766536 w 1204909"/>
                  <a:gd name="connsiteY377" fmla="*/ 163640 h 605804"/>
                  <a:gd name="connsiteX378" fmla="*/ 764773 w 1204909"/>
                  <a:gd name="connsiteY378" fmla="*/ 168313 h 605804"/>
                  <a:gd name="connsiteX379" fmla="*/ 762128 w 1204909"/>
                  <a:gd name="connsiteY379" fmla="*/ 172986 h 605804"/>
                  <a:gd name="connsiteX380" fmla="*/ 762745 w 1204909"/>
                  <a:gd name="connsiteY380" fmla="*/ 187005 h 605804"/>
                  <a:gd name="connsiteX381" fmla="*/ 762745 w 1204909"/>
                  <a:gd name="connsiteY381" fmla="*/ 187270 h 605804"/>
                  <a:gd name="connsiteX382" fmla="*/ 768299 w 1204909"/>
                  <a:gd name="connsiteY382" fmla="*/ 189562 h 605804"/>
                  <a:gd name="connsiteX383" fmla="*/ 775000 w 1204909"/>
                  <a:gd name="connsiteY383" fmla="*/ 187270 h 605804"/>
                  <a:gd name="connsiteX384" fmla="*/ 777645 w 1204909"/>
                  <a:gd name="connsiteY384" fmla="*/ 186388 h 605804"/>
                  <a:gd name="connsiteX385" fmla="*/ 782847 w 1204909"/>
                  <a:gd name="connsiteY385" fmla="*/ 182597 h 605804"/>
                  <a:gd name="connsiteX386" fmla="*/ 791047 w 1204909"/>
                  <a:gd name="connsiteY386" fmla="*/ 174397 h 605804"/>
                  <a:gd name="connsiteX387" fmla="*/ 794573 w 1204909"/>
                  <a:gd name="connsiteY387" fmla="*/ 170077 h 605804"/>
                  <a:gd name="connsiteX388" fmla="*/ 799511 w 1204909"/>
                  <a:gd name="connsiteY388" fmla="*/ 161348 h 605804"/>
                  <a:gd name="connsiteX389" fmla="*/ 801539 w 1204909"/>
                  <a:gd name="connsiteY389" fmla="*/ 152531 h 605804"/>
                  <a:gd name="connsiteX390" fmla="*/ 801274 w 1204909"/>
                  <a:gd name="connsiteY390" fmla="*/ 144067 h 605804"/>
                  <a:gd name="connsiteX391" fmla="*/ 801274 w 1204909"/>
                  <a:gd name="connsiteY391" fmla="*/ 140011 h 605804"/>
                  <a:gd name="connsiteX392" fmla="*/ 805594 w 1204909"/>
                  <a:gd name="connsiteY392" fmla="*/ 135603 h 605804"/>
                  <a:gd name="connsiteX393" fmla="*/ 805947 w 1204909"/>
                  <a:gd name="connsiteY393" fmla="*/ 129784 h 605804"/>
                  <a:gd name="connsiteX394" fmla="*/ 809738 w 1204909"/>
                  <a:gd name="connsiteY394" fmla="*/ 126874 h 605804"/>
                  <a:gd name="connsiteX395" fmla="*/ 816439 w 1204909"/>
                  <a:gd name="connsiteY395" fmla="*/ 118410 h 605804"/>
                  <a:gd name="connsiteX396" fmla="*/ 817850 w 1204909"/>
                  <a:gd name="connsiteY396" fmla="*/ 114090 h 605804"/>
                  <a:gd name="connsiteX397" fmla="*/ 822258 w 1204909"/>
                  <a:gd name="connsiteY397" fmla="*/ 112062 h 605804"/>
                  <a:gd name="connsiteX398" fmla="*/ 823405 w 1204909"/>
                  <a:gd name="connsiteY398" fmla="*/ 108800 h 605804"/>
                  <a:gd name="connsiteX399" fmla="*/ 829224 w 1204909"/>
                  <a:gd name="connsiteY399" fmla="*/ 107918 h 605804"/>
                  <a:gd name="connsiteX400" fmla="*/ 836806 w 1204909"/>
                  <a:gd name="connsiteY400" fmla="*/ 101482 h 605804"/>
                  <a:gd name="connsiteX401" fmla="*/ 830722 w 1204909"/>
                  <a:gd name="connsiteY401" fmla="*/ 112062 h 605804"/>
                  <a:gd name="connsiteX402" fmla="*/ 835924 w 1204909"/>
                  <a:gd name="connsiteY402" fmla="*/ 106772 h 605804"/>
                  <a:gd name="connsiteX403" fmla="*/ 832133 w 1204909"/>
                  <a:gd name="connsiteY403" fmla="*/ 112591 h 605804"/>
                  <a:gd name="connsiteX404" fmla="*/ 835395 w 1204909"/>
                  <a:gd name="connsiteY404" fmla="*/ 109946 h 605804"/>
                  <a:gd name="connsiteX405" fmla="*/ 840068 w 1204909"/>
                  <a:gd name="connsiteY405" fmla="*/ 101482 h 605804"/>
                  <a:gd name="connsiteX406" fmla="*/ 842625 w 1204909"/>
                  <a:gd name="connsiteY406" fmla="*/ 98925 h 605804"/>
                  <a:gd name="connsiteX407" fmla="*/ 851707 w 1204909"/>
                  <a:gd name="connsiteY407" fmla="*/ 96809 h 605804"/>
                  <a:gd name="connsiteX408" fmla="*/ 849062 w 1204909"/>
                  <a:gd name="connsiteY408" fmla="*/ 94517 h 605804"/>
                  <a:gd name="connsiteX409" fmla="*/ 849414 w 1204909"/>
                  <a:gd name="connsiteY409" fmla="*/ 92224 h 605804"/>
                  <a:gd name="connsiteX410" fmla="*/ 854352 w 1204909"/>
                  <a:gd name="connsiteY410" fmla="*/ 88962 h 605804"/>
                  <a:gd name="connsiteX411" fmla="*/ 851971 w 1204909"/>
                  <a:gd name="connsiteY411" fmla="*/ 87551 h 605804"/>
                  <a:gd name="connsiteX412" fmla="*/ 859025 w 1204909"/>
                  <a:gd name="connsiteY412" fmla="*/ 87199 h 605804"/>
                  <a:gd name="connsiteX413" fmla="*/ 863080 w 1204909"/>
                  <a:gd name="connsiteY413" fmla="*/ 90461 h 605804"/>
                  <a:gd name="connsiteX414" fmla="*/ 868018 w 1204909"/>
                  <a:gd name="connsiteY414" fmla="*/ 91342 h 605804"/>
                  <a:gd name="connsiteX415" fmla="*/ 868635 w 1204909"/>
                  <a:gd name="connsiteY415" fmla="*/ 94252 h 605804"/>
                  <a:gd name="connsiteX416" fmla="*/ 879391 w 1204909"/>
                  <a:gd name="connsiteY416" fmla="*/ 97426 h 605804"/>
                  <a:gd name="connsiteX417" fmla="*/ 879656 w 1204909"/>
                  <a:gd name="connsiteY417" fmla="*/ 101835 h 605804"/>
                  <a:gd name="connsiteX418" fmla="*/ 880273 w 1204909"/>
                  <a:gd name="connsiteY418" fmla="*/ 105890 h 605804"/>
                  <a:gd name="connsiteX419" fmla="*/ 877628 w 1204909"/>
                  <a:gd name="connsiteY419" fmla="*/ 105009 h 605804"/>
                  <a:gd name="connsiteX420" fmla="*/ 875953 w 1204909"/>
                  <a:gd name="connsiteY420" fmla="*/ 106772 h 605804"/>
                  <a:gd name="connsiteX421" fmla="*/ 877099 w 1204909"/>
                  <a:gd name="connsiteY421" fmla="*/ 109946 h 605804"/>
                  <a:gd name="connsiteX422" fmla="*/ 876835 w 1204909"/>
                  <a:gd name="connsiteY422" fmla="*/ 113473 h 605804"/>
                  <a:gd name="connsiteX423" fmla="*/ 873925 w 1204909"/>
                  <a:gd name="connsiteY423" fmla="*/ 118410 h 605804"/>
                  <a:gd name="connsiteX424" fmla="*/ 872162 w 1204909"/>
                  <a:gd name="connsiteY424" fmla="*/ 122818 h 605804"/>
                  <a:gd name="connsiteX425" fmla="*/ 867136 w 1204909"/>
                  <a:gd name="connsiteY425" fmla="*/ 125111 h 605804"/>
                  <a:gd name="connsiteX426" fmla="*/ 865373 w 1204909"/>
                  <a:gd name="connsiteY426" fmla="*/ 127139 h 605804"/>
                  <a:gd name="connsiteX427" fmla="*/ 864227 w 1204909"/>
                  <a:gd name="connsiteY427" fmla="*/ 130136 h 605804"/>
                  <a:gd name="connsiteX428" fmla="*/ 857790 w 1204909"/>
                  <a:gd name="connsiteY428" fmla="*/ 132164 h 605804"/>
                  <a:gd name="connsiteX429" fmla="*/ 856380 w 1204909"/>
                  <a:gd name="connsiteY429" fmla="*/ 133311 h 605804"/>
                  <a:gd name="connsiteX430" fmla="*/ 854087 w 1204909"/>
                  <a:gd name="connsiteY430" fmla="*/ 139130 h 605804"/>
                  <a:gd name="connsiteX431" fmla="*/ 857526 w 1204909"/>
                  <a:gd name="connsiteY431" fmla="*/ 140893 h 605804"/>
                  <a:gd name="connsiteX432" fmla="*/ 863345 w 1204909"/>
                  <a:gd name="connsiteY432" fmla="*/ 137983 h 605804"/>
                  <a:gd name="connsiteX433" fmla="*/ 865373 w 1204909"/>
                  <a:gd name="connsiteY433" fmla="*/ 134457 h 605804"/>
                  <a:gd name="connsiteX434" fmla="*/ 866254 w 1204909"/>
                  <a:gd name="connsiteY434" fmla="*/ 134457 h 605804"/>
                  <a:gd name="connsiteX435" fmla="*/ 867489 w 1204909"/>
                  <a:gd name="connsiteY435" fmla="*/ 133575 h 605804"/>
                  <a:gd name="connsiteX436" fmla="*/ 866872 w 1204909"/>
                  <a:gd name="connsiteY436" fmla="*/ 133575 h 605804"/>
                  <a:gd name="connsiteX437" fmla="*/ 875953 w 1204909"/>
                  <a:gd name="connsiteY437" fmla="*/ 130136 h 605804"/>
                  <a:gd name="connsiteX438" fmla="*/ 880009 w 1204909"/>
                  <a:gd name="connsiteY438" fmla="*/ 131547 h 605804"/>
                  <a:gd name="connsiteX439" fmla="*/ 880626 w 1204909"/>
                  <a:gd name="connsiteY439" fmla="*/ 138512 h 605804"/>
                  <a:gd name="connsiteX440" fmla="*/ 877099 w 1204909"/>
                  <a:gd name="connsiteY440" fmla="*/ 151650 h 605804"/>
                  <a:gd name="connsiteX441" fmla="*/ 877628 w 1204909"/>
                  <a:gd name="connsiteY441" fmla="*/ 155441 h 605804"/>
                  <a:gd name="connsiteX442" fmla="*/ 871280 w 1204909"/>
                  <a:gd name="connsiteY442" fmla="*/ 165404 h 605804"/>
                  <a:gd name="connsiteX443" fmla="*/ 867489 w 1204909"/>
                  <a:gd name="connsiteY443" fmla="*/ 167696 h 605804"/>
                  <a:gd name="connsiteX444" fmla="*/ 868018 w 1204909"/>
                  <a:gd name="connsiteY444" fmla="*/ 165404 h 605804"/>
                  <a:gd name="connsiteX445" fmla="*/ 870398 w 1204909"/>
                  <a:gd name="connsiteY445" fmla="*/ 163640 h 605804"/>
                  <a:gd name="connsiteX446" fmla="*/ 867753 w 1204909"/>
                  <a:gd name="connsiteY446" fmla="*/ 163640 h 605804"/>
                  <a:gd name="connsiteX447" fmla="*/ 866254 w 1204909"/>
                  <a:gd name="connsiteY447" fmla="*/ 164522 h 605804"/>
                  <a:gd name="connsiteX448" fmla="*/ 866607 w 1204909"/>
                  <a:gd name="connsiteY448" fmla="*/ 165668 h 605804"/>
                  <a:gd name="connsiteX449" fmla="*/ 862463 w 1204909"/>
                  <a:gd name="connsiteY449" fmla="*/ 169460 h 605804"/>
                  <a:gd name="connsiteX450" fmla="*/ 861317 w 1204909"/>
                  <a:gd name="connsiteY450" fmla="*/ 171487 h 605804"/>
                  <a:gd name="connsiteX451" fmla="*/ 857261 w 1204909"/>
                  <a:gd name="connsiteY451" fmla="*/ 173251 h 605804"/>
                  <a:gd name="connsiteX452" fmla="*/ 854616 w 1204909"/>
                  <a:gd name="connsiteY452" fmla="*/ 178188 h 605804"/>
                  <a:gd name="connsiteX453" fmla="*/ 852853 w 1204909"/>
                  <a:gd name="connsiteY453" fmla="*/ 179423 h 605804"/>
                  <a:gd name="connsiteX454" fmla="*/ 847034 w 1204909"/>
                  <a:gd name="connsiteY454" fmla="*/ 185771 h 605804"/>
                  <a:gd name="connsiteX455" fmla="*/ 844741 w 1204909"/>
                  <a:gd name="connsiteY455" fmla="*/ 187005 h 605804"/>
                  <a:gd name="connsiteX456" fmla="*/ 849414 w 1204909"/>
                  <a:gd name="connsiteY456" fmla="*/ 189562 h 605804"/>
                  <a:gd name="connsiteX457" fmla="*/ 850560 w 1204909"/>
                  <a:gd name="connsiteY457" fmla="*/ 191061 h 605804"/>
                  <a:gd name="connsiteX458" fmla="*/ 853205 w 1204909"/>
                  <a:gd name="connsiteY458" fmla="*/ 192560 h 605804"/>
                  <a:gd name="connsiteX459" fmla="*/ 855762 w 1204909"/>
                  <a:gd name="connsiteY459" fmla="*/ 190444 h 605804"/>
                  <a:gd name="connsiteX460" fmla="*/ 860788 w 1204909"/>
                  <a:gd name="connsiteY460" fmla="*/ 195734 h 605804"/>
                  <a:gd name="connsiteX461" fmla="*/ 864227 w 1204909"/>
                  <a:gd name="connsiteY461" fmla="*/ 194235 h 605804"/>
                  <a:gd name="connsiteX462" fmla="*/ 872691 w 1204909"/>
                  <a:gd name="connsiteY462" fmla="*/ 192824 h 605804"/>
                  <a:gd name="connsiteX463" fmla="*/ 877364 w 1204909"/>
                  <a:gd name="connsiteY463" fmla="*/ 193089 h 605804"/>
                  <a:gd name="connsiteX464" fmla="*/ 883800 w 1204909"/>
                  <a:gd name="connsiteY464" fmla="*/ 189298 h 605804"/>
                  <a:gd name="connsiteX465" fmla="*/ 895438 w 1204909"/>
                  <a:gd name="connsiteY465" fmla="*/ 184360 h 605804"/>
                  <a:gd name="connsiteX466" fmla="*/ 905930 w 1204909"/>
                  <a:gd name="connsiteY466" fmla="*/ 180833 h 605804"/>
                  <a:gd name="connsiteX467" fmla="*/ 906547 w 1204909"/>
                  <a:gd name="connsiteY467" fmla="*/ 180569 h 605804"/>
                  <a:gd name="connsiteX468" fmla="*/ 923476 w 1204909"/>
                  <a:gd name="connsiteY468" fmla="*/ 173868 h 605804"/>
                  <a:gd name="connsiteX469" fmla="*/ 939170 w 1204909"/>
                  <a:gd name="connsiteY469" fmla="*/ 166286 h 605804"/>
                  <a:gd name="connsiteX470" fmla="*/ 946223 w 1204909"/>
                  <a:gd name="connsiteY470" fmla="*/ 160995 h 605804"/>
                  <a:gd name="connsiteX471" fmla="*/ 944460 w 1204909"/>
                  <a:gd name="connsiteY471" fmla="*/ 159585 h 605804"/>
                  <a:gd name="connsiteX472" fmla="*/ 945959 w 1204909"/>
                  <a:gd name="connsiteY472" fmla="*/ 158350 h 605804"/>
                  <a:gd name="connsiteX473" fmla="*/ 945077 w 1204909"/>
                  <a:gd name="connsiteY473" fmla="*/ 153413 h 605804"/>
                  <a:gd name="connsiteX474" fmla="*/ 946840 w 1204909"/>
                  <a:gd name="connsiteY474" fmla="*/ 149093 h 605804"/>
                  <a:gd name="connsiteX475" fmla="*/ 959360 w 1204909"/>
                  <a:gd name="connsiteY475" fmla="*/ 146712 h 605804"/>
                  <a:gd name="connsiteX476" fmla="*/ 968971 w 1204909"/>
                  <a:gd name="connsiteY476" fmla="*/ 146712 h 605804"/>
                  <a:gd name="connsiteX477" fmla="*/ 976288 w 1204909"/>
                  <a:gd name="connsiteY477" fmla="*/ 149974 h 605804"/>
                  <a:gd name="connsiteX478" fmla="*/ 980609 w 1204909"/>
                  <a:gd name="connsiteY478" fmla="*/ 148740 h 605804"/>
                  <a:gd name="connsiteX479" fmla="*/ 986780 w 1204909"/>
                  <a:gd name="connsiteY479" fmla="*/ 145566 h 605804"/>
                  <a:gd name="connsiteX480" fmla="*/ 993746 w 1204909"/>
                  <a:gd name="connsiteY480" fmla="*/ 147329 h 605804"/>
                  <a:gd name="connsiteX481" fmla="*/ 996655 w 1204909"/>
                  <a:gd name="connsiteY481" fmla="*/ 145566 h 605804"/>
                  <a:gd name="connsiteX482" fmla="*/ 1005472 w 1204909"/>
                  <a:gd name="connsiteY482" fmla="*/ 142656 h 605804"/>
                  <a:gd name="connsiteX483" fmla="*/ 1007765 w 1204909"/>
                  <a:gd name="connsiteY483" fmla="*/ 138865 h 605804"/>
                  <a:gd name="connsiteX484" fmla="*/ 1006883 w 1204909"/>
                  <a:gd name="connsiteY484" fmla="*/ 134809 h 605804"/>
                  <a:gd name="connsiteX485" fmla="*/ 1010939 w 1204909"/>
                  <a:gd name="connsiteY485" fmla="*/ 132164 h 605804"/>
                  <a:gd name="connsiteX486" fmla="*/ 1006618 w 1204909"/>
                  <a:gd name="connsiteY486" fmla="*/ 130136 h 605804"/>
                  <a:gd name="connsiteX487" fmla="*/ 1008382 w 1204909"/>
                  <a:gd name="connsiteY487" fmla="*/ 127756 h 605804"/>
                  <a:gd name="connsiteX488" fmla="*/ 1020902 w 1204909"/>
                  <a:gd name="connsiteY488" fmla="*/ 121672 h 605804"/>
                  <a:gd name="connsiteX489" fmla="*/ 1033686 w 1204909"/>
                  <a:gd name="connsiteY489" fmla="*/ 114090 h 605804"/>
                  <a:gd name="connsiteX490" fmla="*/ 1049204 w 1204909"/>
                  <a:gd name="connsiteY490" fmla="*/ 106507 h 605804"/>
                  <a:gd name="connsiteX491" fmla="*/ 1062341 w 1204909"/>
                  <a:gd name="connsiteY491" fmla="*/ 106507 h 605804"/>
                  <a:gd name="connsiteX492" fmla="*/ 1072480 w 1204909"/>
                  <a:gd name="connsiteY492" fmla="*/ 106772 h 605804"/>
                  <a:gd name="connsiteX493" fmla="*/ 1098225 w 1204909"/>
                  <a:gd name="connsiteY493" fmla="*/ 106507 h 605804"/>
                  <a:gd name="connsiteX494" fmla="*/ 1114801 w 1204909"/>
                  <a:gd name="connsiteY494" fmla="*/ 106507 h 605804"/>
                  <a:gd name="connsiteX495" fmla="*/ 1117711 w 1204909"/>
                  <a:gd name="connsiteY495" fmla="*/ 100953 h 605804"/>
                  <a:gd name="connsiteX496" fmla="*/ 1121502 w 1204909"/>
                  <a:gd name="connsiteY496" fmla="*/ 100336 h 605804"/>
                  <a:gd name="connsiteX497" fmla="*/ 1125029 w 1204909"/>
                  <a:gd name="connsiteY497" fmla="*/ 99189 h 605804"/>
                  <a:gd name="connsiteX498" fmla="*/ 1127938 w 1204909"/>
                  <a:gd name="connsiteY498" fmla="*/ 98572 h 605804"/>
                  <a:gd name="connsiteX499" fmla="*/ 1128203 w 1204909"/>
                  <a:gd name="connsiteY499" fmla="*/ 100600 h 605804"/>
                  <a:gd name="connsiteX500" fmla="*/ 1129349 w 1204909"/>
                  <a:gd name="connsiteY500" fmla="*/ 101217 h 605804"/>
                  <a:gd name="connsiteX501" fmla="*/ 1131994 w 1204909"/>
                  <a:gd name="connsiteY501" fmla="*/ 96280 h 605804"/>
                  <a:gd name="connsiteX502" fmla="*/ 1135168 w 1204909"/>
                  <a:gd name="connsiteY502" fmla="*/ 97426 h 605804"/>
                  <a:gd name="connsiteX503" fmla="*/ 1134022 w 1204909"/>
                  <a:gd name="connsiteY503" fmla="*/ 94252 h 605804"/>
                  <a:gd name="connsiteX504" fmla="*/ 1146630 w 1204909"/>
                  <a:gd name="connsiteY504" fmla="*/ 84906 h 605804"/>
                  <a:gd name="connsiteX505" fmla="*/ 1147159 w 1204909"/>
                  <a:gd name="connsiteY505" fmla="*/ 83760 h 605804"/>
                  <a:gd name="connsiteX506" fmla="*/ 1146277 w 1204909"/>
                  <a:gd name="connsiteY506" fmla="*/ 83143 h 605804"/>
                  <a:gd name="connsiteX507" fmla="*/ 1148393 w 1204909"/>
                  <a:gd name="connsiteY507" fmla="*/ 77853 h 605804"/>
                  <a:gd name="connsiteX508" fmla="*/ 1155359 w 1204909"/>
                  <a:gd name="connsiteY508" fmla="*/ 72386 h 605804"/>
                  <a:gd name="connsiteX509" fmla="*/ 1162059 w 1204909"/>
                  <a:gd name="connsiteY509" fmla="*/ 61013 h 605804"/>
                  <a:gd name="connsiteX510" fmla="*/ 1179252 w 1204909"/>
                  <a:gd name="connsiteY510" fmla="*/ 48404 h 605804"/>
                  <a:gd name="connsiteX511" fmla="*/ 1183661 w 1204909"/>
                  <a:gd name="connsiteY511" fmla="*/ 47611 h 605804"/>
                  <a:gd name="connsiteX512" fmla="*/ 1181897 w 1204909"/>
                  <a:gd name="connsiteY512" fmla="*/ 51931 h 605804"/>
                  <a:gd name="connsiteX513" fmla="*/ 1184542 w 1204909"/>
                  <a:gd name="connsiteY513" fmla="*/ 53695 h 605804"/>
                  <a:gd name="connsiteX514" fmla="*/ 1191508 w 1204909"/>
                  <a:gd name="connsiteY514" fmla="*/ 51049 h 605804"/>
                  <a:gd name="connsiteX515" fmla="*/ 1195299 w 1204909"/>
                  <a:gd name="connsiteY515" fmla="*/ 50785 h 605804"/>
                  <a:gd name="connsiteX516" fmla="*/ 1196798 w 1204909"/>
                  <a:gd name="connsiteY516" fmla="*/ 49022 h 605804"/>
                  <a:gd name="connsiteX517" fmla="*/ 1199090 w 1204909"/>
                  <a:gd name="connsiteY517" fmla="*/ 49286 h 605804"/>
                  <a:gd name="connsiteX518" fmla="*/ 1204909 w 1204909"/>
                  <a:gd name="connsiteY518" fmla="*/ 56340 h 605804"/>
                  <a:gd name="connsiteX519" fmla="*/ 1202000 w 1204909"/>
                  <a:gd name="connsiteY519" fmla="*/ 55722 h 605804"/>
                  <a:gd name="connsiteX520" fmla="*/ 1202881 w 1204909"/>
                  <a:gd name="connsiteY520" fmla="*/ 57221 h 605804"/>
                  <a:gd name="connsiteX521" fmla="*/ 1193271 w 1204909"/>
                  <a:gd name="connsiteY521" fmla="*/ 84024 h 605804"/>
                  <a:gd name="connsiteX522" fmla="*/ 1190626 w 1204909"/>
                  <a:gd name="connsiteY522" fmla="*/ 89844 h 605804"/>
                  <a:gd name="connsiteX523" fmla="*/ 1193535 w 1204909"/>
                  <a:gd name="connsiteY523" fmla="*/ 91342 h 605804"/>
                  <a:gd name="connsiteX524" fmla="*/ 1193535 w 1204909"/>
                  <a:gd name="connsiteY524" fmla="*/ 90990 h 605804"/>
                  <a:gd name="connsiteX525" fmla="*/ 1196798 w 1204909"/>
                  <a:gd name="connsiteY525" fmla="*/ 91871 h 605804"/>
                  <a:gd name="connsiteX526" fmla="*/ 1196798 w 1204909"/>
                  <a:gd name="connsiteY526" fmla="*/ 93988 h 605804"/>
                  <a:gd name="connsiteX527" fmla="*/ 1194682 w 1204909"/>
                  <a:gd name="connsiteY527" fmla="*/ 94517 h 605804"/>
                  <a:gd name="connsiteX528" fmla="*/ 1195299 w 1204909"/>
                  <a:gd name="connsiteY528" fmla="*/ 97426 h 605804"/>
                  <a:gd name="connsiteX529" fmla="*/ 1193271 w 1204909"/>
                  <a:gd name="connsiteY529" fmla="*/ 99454 h 605804"/>
                  <a:gd name="connsiteX530" fmla="*/ 1194682 w 1204909"/>
                  <a:gd name="connsiteY530" fmla="*/ 103245 h 605804"/>
                  <a:gd name="connsiteX531" fmla="*/ 1196798 w 1204909"/>
                  <a:gd name="connsiteY531" fmla="*/ 101482 h 605804"/>
                  <a:gd name="connsiteX532" fmla="*/ 1198208 w 1204909"/>
                  <a:gd name="connsiteY532" fmla="*/ 105273 h 605804"/>
                  <a:gd name="connsiteX533" fmla="*/ 1200236 w 1204909"/>
                  <a:gd name="connsiteY533" fmla="*/ 110563 h 605804"/>
                  <a:gd name="connsiteX534" fmla="*/ 1198208 w 1204909"/>
                  <a:gd name="connsiteY534" fmla="*/ 113473 h 605804"/>
                  <a:gd name="connsiteX535" fmla="*/ 1195916 w 1204909"/>
                  <a:gd name="connsiteY535" fmla="*/ 113473 h 605804"/>
                  <a:gd name="connsiteX536" fmla="*/ 1193271 w 1204909"/>
                  <a:gd name="connsiteY536" fmla="*/ 115853 h 605804"/>
                  <a:gd name="connsiteX537" fmla="*/ 1192389 w 1204909"/>
                  <a:gd name="connsiteY537" fmla="*/ 116118 h 605804"/>
                  <a:gd name="connsiteX538" fmla="*/ 1191772 w 1204909"/>
                  <a:gd name="connsiteY538" fmla="*/ 114619 h 605804"/>
                  <a:gd name="connsiteX539" fmla="*/ 1189215 w 1204909"/>
                  <a:gd name="connsiteY539" fmla="*/ 116999 h 605804"/>
                  <a:gd name="connsiteX540" fmla="*/ 1187716 w 1204909"/>
                  <a:gd name="connsiteY540" fmla="*/ 116382 h 605804"/>
                  <a:gd name="connsiteX541" fmla="*/ 1188862 w 1204909"/>
                  <a:gd name="connsiteY541" fmla="*/ 117264 h 605804"/>
                  <a:gd name="connsiteX542" fmla="*/ 1186217 w 1204909"/>
                  <a:gd name="connsiteY542" fmla="*/ 117264 h 605804"/>
                  <a:gd name="connsiteX543" fmla="*/ 1186835 w 1204909"/>
                  <a:gd name="connsiteY543" fmla="*/ 119027 h 605804"/>
                  <a:gd name="connsiteX544" fmla="*/ 1184190 w 1204909"/>
                  <a:gd name="connsiteY544" fmla="*/ 120438 h 605804"/>
                  <a:gd name="connsiteX545" fmla="*/ 1181897 w 1204909"/>
                  <a:gd name="connsiteY545" fmla="*/ 118410 h 605804"/>
                  <a:gd name="connsiteX546" fmla="*/ 1177224 w 1204909"/>
                  <a:gd name="connsiteY546" fmla="*/ 121055 h 605804"/>
                  <a:gd name="connsiteX547" fmla="*/ 1174932 w 1204909"/>
                  <a:gd name="connsiteY547" fmla="*/ 123083 h 605804"/>
                  <a:gd name="connsiteX548" fmla="*/ 1172816 w 1204909"/>
                  <a:gd name="connsiteY548" fmla="*/ 121055 h 605804"/>
                  <a:gd name="connsiteX549" fmla="*/ 1171141 w 1204909"/>
                  <a:gd name="connsiteY549" fmla="*/ 124582 h 605804"/>
                  <a:gd name="connsiteX550" fmla="*/ 1168231 w 1204909"/>
                  <a:gd name="connsiteY550" fmla="*/ 125728 h 605804"/>
                  <a:gd name="connsiteX551" fmla="*/ 1166732 w 1204909"/>
                  <a:gd name="connsiteY551" fmla="*/ 123700 h 605804"/>
                  <a:gd name="connsiteX552" fmla="*/ 1168231 w 1204909"/>
                  <a:gd name="connsiteY552" fmla="*/ 121672 h 605804"/>
                  <a:gd name="connsiteX553" fmla="*/ 1167614 w 1204909"/>
                  <a:gd name="connsiteY553" fmla="*/ 119292 h 605804"/>
                  <a:gd name="connsiteX554" fmla="*/ 1166468 w 1204909"/>
                  <a:gd name="connsiteY554" fmla="*/ 121055 h 605804"/>
                  <a:gd name="connsiteX555" fmla="*/ 1166115 w 1204909"/>
                  <a:gd name="connsiteY555" fmla="*/ 123347 h 605804"/>
                  <a:gd name="connsiteX556" fmla="*/ 1164087 w 1204909"/>
                  <a:gd name="connsiteY556" fmla="*/ 123083 h 605804"/>
                  <a:gd name="connsiteX557" fmla="*/ 1164352 w 1204909"/>
                  <a:gd name="connsiteY557" fmla="*/ 125728 h 605804"/>
                  <a:gd name="connsiteX558" fmla="*/ 1161442 w 1204909"/>
                  <a:gd name="connsiteY558" fmla="*/ 128373 h 605804"/>
                  <a:gd name="connsiteX559" fmla="*/ 1162059 w 1204909"/>
                  <a:gd name="connsiteY559" fmla="*/ 129784 h 605804"/>
                  <a:gd name="connsiteX560" fmla="*/ 1160031 w 1204909"/>
                  <a:gd name="connsiteY560" fmla="*/ 130930 h 605804"/>
                  <a:gd name="connsiteX561" fmla="*/ 1161178 w 1204909"/>
                  <a:gd name="connsiteY561" fmla="*/ 128902 h 605804"/>
                  <a:gd name="connsiteX562" fmla="*/ 1159679 w 1204909"/>
                  <a:gd name="connsiteY562" fmla="*/ 128373 h 605804"/>
                  <a:gd name="connsiteX563" fmla="*/ 1159150 w 1204909"/>
                  <a:gd name="connsiteY563" fmla="*/ 123347 h 605804"/>
                  <a:gd name="connsiteX564" fmla="*/ 1160913 w 1204909"/>
                  <a:gd name="connsiteY564" fmla="*/ 121055 h 605804"/>
                  <a:gd name="connsiteX565" fmla="*/ 1161178 w 1204909"/>
                  <a:gd name="connsiteY565" fmla="*/ 118410 h 605804"/>
                  <a:gd name="connsiteX566" fmla="*/ 1158268 w 1204909"/>
                  <a:gd name="connsiteY566" fmla="*/ 119292 h 605804"/>
                  <a:gd name="connsiteX567" fmla="*/ 1156769 w 1204909"/>
                  <a:gd name="connsiteY567" fmla="*/ 120438 h 605804"/>
                  <a:gd name="connsiteX568" fmla="*/ 1156505 w 1204909"/>
                  <a:gd name="connsiteY568" fmla="*/ 123083 h 605804"/>
                  <a:gd name="connsiteX569" fmla="*/ 1154477 w 1204909"/>
                  <a:gd name="connsiteY569" fmla="*/ 125111 h 605804"/>
                  <a:gd name="connsiteX570" fmla="*/ 1151303 w 1204909"/>
                  <a:gd name="connsiteY570" fmla="*/ 132164 h 605804"/>
                  <a:gd name="connsiteX571" fmla="*/ 1149187 w 1204909"/>
                  <a:gd name="connsiteY571" fmla="*/ 131547 h 605804"/>
                  <a:gd name="connsiteX572" fmla="*/ 1145748 w 1204909"/>
                  <a:gd name="connsiteY572" fmla="*/ 134809 h 605804"/>
                  <a:gd name="connsiteX573" fmla="*/ 1146277 w 1204909"/>
                  <a:gd name="connsiteY573" fmla="*/ 132693 h 605804"/>
                  <a:gd name="connsiteX574" fmla="*/ 1144249 w 1204909"/>
                  <a:gd name="connsiteY574" fmla="*/ 133575 h 605804"/>
                  <a:gd name="connsiteX575" fmla="*/ 1141340 w 1204909"/>
                  <a:gd name="connsiteY575" fmla="*/ 135074 h 605804"/>
                  <a:gd name="connsiteX576" fmla="*/ 1139047 w 1204909"/>
                  <a:gd name="connsiteY576" fmla="*/ 137102 h 605804"/>
                  <a:gd name="connsiteX577" fmla="*/ 1139576 w 1204909"/>
                  <a:gd name="connsiteY577" fmla="*/ 135956 h 605804"/>
                  <a:gd name="connsiteX578" fmla="*/ 1138166 w 1204909"/>
                  <a:gd name="connsiteY578" fmla="*/ 135338 h 605804"/>
                  <a:gd name="connsiteX579" fmla="*/ 1134022 w 1204909"/>
                  <a:gd name="connsiteY579" fmla="*/ 138512 h 605804"/>
                  <a:gd name="connsiteX580" fmla="*/ 1133493 w 1204909"/>
                  <a:gd name="connsiteY580" fmla="*/ 137102 h 605804"/>
                  <a:gd name="connsiteX581" fmla="*/ 1128203 w 1204909"/>
                  <a:gd name="connsiteY581" fmla="*/ 138512 h 605804"/>
                  <a:gd name="connsiteX582" fmla="*/ 1126175 w 1204909"/>
                  <a:gd name="connsiteY582" fmla="*/ 141775 h 605804"/>
                  <a:gd name="connsiteX583" fmla="*/ 1125029 w 1204909"/>
                  <a:gd name="connsiteY583" fmla="*/ 142392 h 605804"/>
                  <a:gd name="connsiteX584" fmla="*/ 1122384 w 1204909"/>
                  <a:gd name="connsiteY584" fmla="*/ 142392 h 605804"/>
                  <a:gd name="connsiteX585" fmla="*/ 1121766 w 1204909"/>
                  <a:gd name="connsiteY585" fmla="*/ 144949 h 605804"/>
                  <a:gd name="connsiteX586" fmla="*/ 1116564 w 1204909"/>
                  <a:gd name="connsiteY586" fmla="*/ 147858 h 605804"/>
                  <a:gd name="connsiteX587" fmla="*/ 1114537 w 1204909"/>
                  <a:gd name="connsiteY587" fmla="*/ 151650 h 605804"/>
                  <a:gd name="connsiteX588" fmla="*/ 1111274 w 1204909"/>
                  <a:gd name="connsiteY588" fmla="*/ 154295 h 605804"/>
                  <a:gd name="connsiteX589" fmla="*/ 1108717 w 1204909"/>
                  <a:gd name="connsiteY589" fmla="*/ 157821 h 605804"/>
                  <a:gd name="connsiteX590" fmla="*/ 1108100 w 1204909"/>
                  <a:gd name="connsiteY590" fmla="*/ 158703 h 605804"/>
                  <a:gd name="connsiteX591" fmla="*/ 1107219 w 1204909"/>
                  <a:gd name="connsiteY591" fmla="*/ 163376 h 605804"/>
                  <a:gd name="connsiteX592" fmla="*/ 1110481 w 1204909"/>
                  <a:gd name="connsiteY592" fmla="*/ 163376 h 605804"/>
                  <a:gd name="connsiteX593" fmla="*/ 1109864 w 1204909"/>
                  <a:gd name="connsiteY593" fmla="*/ 164787 h 605804"/>
                  <a:gd name="connsiteX594" fmla="*/ 1108717 w 1204909"/>
                  <a:gd name="connsiteY594" fmla="*/ 165933 h 605804"/>
                  <a:gd name="connsiteX595" fmla="*/ 1103163 w 1204909"/>
                  <a:gd name="connsiteY595" fmla="*/ 165933 h 605804"/>
                  <a:gd name="connsiteX596" fmla="*/ 1101928 w 1204909"/>
                  <a:gd name="connsiteY596" fmla="*/ 169195 h 605804"/>
                  <a:gd name="connsiteX597" fmla="*/ 1101399 w 1204909"/>
                  <a:gd name="connsiteY597" fmla="*/ 172722 h 605804"/>
                  <a:gd name="connsiteX598" fmla="*/ 1102898 w 1204909"/>
                  <a:gd name="connsiteY598" fmla="*/ 174133 h 605804"/>
                  <a:gd name="connsiteX599" fmla="*/ 1104044 w 1204909"/>
                  <a:gd name="connsiteY599" fmla="*/ 174133 h 605804"/>
                  <a:gd name="connsiteX600" fmla="*/ 1106072 w 1204909"/>
                  <a:gd name="connsiteY600" fmla="*/ 175896 h 605804"/>
                  <a:gd name="connsiteX601" fmla="*/ 1104926 w 1204909"/>
                  <a:gd name="connsiteY601" fmla="*/ 179070 h 605804"/>
                  <a:gd name="connsiteX602" fmla="*/ 1103163 w 1204909"/>
                  <a:gd name="connsiteY602" fmla="*/ 180833 h 605804"/>
                  <a:gd name="connsiteX603" fmla="*/ 1105191 w 1204909"/>
                  <a:gd name="connsiteY603" fmla="*/ 181451 h 605804"/>
                  <a:gd name="connsiteX604" fmla="*/ 1105191 w 1204909"/>
                  <a:gd name="connsiteY604" fmla="*/ 184977 h 605804"/>
                  <a:gd name="connsiteX605" fmla="*/ 1111627 w 1204909"/>
                  <a:gd name="connsiteY605" fmla="*/ 186652 h 605804"/>
                  <a:gd name="connsiteX606" fmla="*/ 1114537 w 1204909"/>
                  <a:gd name="connsiteY606" fmla="*/ 186388 h 605804"/>
                  <a:gd name="connsiteX607" fmla="*/ 1114537 w 1204909"/>
                  <a:gd name="connsiteY607" fmla="*/ 184095 h 605804"/>
                  <a:gd name="connsiteX608" fmla="*/ 1113302 w 1204909"/>
                  <a:gd name="connsiteY608" fmla="*/ 183478 h 605804"/>
                  <a:gd name="connsiteX609" fmla="*/ 1114537 w 1204909"/>
                  <a:gd name="connsiteY609" fmla="*/ 183478 h 605804"/>
                  <a:gd name="connsiteX610" fmla="*/ 1113302 w 1204909"/>
                  <a:gd name="connsiteY610" fmla="*/ 181186 h 605804"/>
                  <a:gd name="connsiteX611" fmla="*/ 1113655 w 1204909"/>
                  <a:gd name="connsiteY611" fmla="*/ 179952 h 605804"/>
                  <a:gd name="connsiteX612" fmla="*/ 1113302 w 1204909"/>
                  <a:gd name="connsiteY612" fmla="*/ 178541 h 605804"/>
                  <a:gd name="connsiteX613" fmla="*/ 1116212 w 1204909"/>
                  <a:gd name="connsiteY613" fmla="*/ 179070 h 605804"/>
                  <a:gd name="connsiteX614" fmla="*/ 1117182 w 1204909"/>
                  <a:gd name="connsiteY614" fmla="*/ 182597 h 605804"/>
                  <a:gd name="connsiteX615" fmla="*/ 1116212 w 1204909"/>
                  <a:gd name="connsiteY615" fmla="*/ 188151 h 605804"/>
                  <a:gd name="connsiteX616" fmla="*/ 1115418 w 1204909"/>
                  <a:gd name="connsiteY616" fmla="*/ 191061 h 605804"/>
                  <a:gd name="connsiteX617" fmla="*/ 1113919 w 1204909"/>
                  <a:gd name="connsiteY617" fmla="*/ 191325 h 605804"/>
                  <a:gd name="connsiteX618" fmla="*/ 1114184 w 1204909"/>
                  <a:gd name="connsiteY618" fmla="*/ 188416 h 605804"/>
                  <a:gd name="connsiteX619" fmla="*/ 1100518 w 1204909"/>
                  <a:gd name="connsiteY619" fmla="*/ 192207 h 605804"/>
                  <a:gd name="connsiteX620" fmla="*/ 1095580 w 1204909"/>
                  <a:gd name="connsiteY620" fmla="*/ 195117 h 605804"/>
                  <a:gd name="connsiteX621" fmla="*/ 1093464 w 1204909"/>
                  <a:gd name="connsiteY621" fmla="*/ 194852 h 605804"/>
                  <a:gd name="connsiteX622" fmla="*/ 1098490 w 1204909"/>
                  <a:gd name="connsiteY622" fmla="*/ 191943 h 605804"/>
                  <a:gd name="connsiteX623" fmla="*/ 1101399 w 1204909"/>
                  <a:gd name="connsiteY623" fmla="*/ 188151 h 605804"/>
                  <a:gd name="connsiteX624" fmla="*/ 1100782 w 1204909"/>
                  <a:gd name="connsiteY624" fmla="*/ 187005 h 605804"/>
                  <a:gd name="connsiteX625" fmla="*/ 1092318 w 1204909"/>
                  <a:gd name="connsiteY625" fmla="*/ 193353 h 605804"/>
                  <a:gd name="connsiteX626" fmla="*/ 1090907 w 1204909"/>
                  <a:gd name="connsiteY626" fmla="*/ 192560 h 605804"/>
                  <a:gd name="connsiteX627" fmla="*/ 1090026 w 1204909"/>
                  <a:gd name="connsiteY627" fmla="*/ 193706 h 605804"/>
                  <a:gd name="connsiteX628" fmla="*/ 1088880 w 1204909"/>
                  <a:gd name="connsiteY628" fmla="*/ 191943 h 605804"/>
                  <a:gd name="connsiteX629" fmla="*/ 1087116 w 1204909"/>
                  <a:gd name="connsiteY629" fmla="*/ 193706 h 605804"/>
                  <a:gd name="connsiteX630" fmla="*/ 1086234 w 1204909"/>
                  <a:gd name="connsiteY630" fmla="*/ 193970 h 605804"/>
                  <a:gd name="connsiteX631" fmla="*/ 1085353 w 1204909"/>
                  <a:gd name="connsiteY631" fmla="*/ 193089 h 605804"/>
                  <a:gd name="connsiteX632" fmla="*/ 1083854 w 1204909"/>
                  <a:gd name="connsiteY632" fmla="*/ 193970 h 605804"/>
                  <a:gd name="connsiteX633" fmla="*/ 1082708 w 1204909"/>
                  <a:gd name="connsiteY633" fmla="*/ 195998 h 605804"/>
                  <a:gd name="connsiteX634" fmla="*/ 1074244 w 1204909"/>
                  <a:gd name="connsiteY634" fmla="*/ 197497 h 605804"/>
                  <a:gd name="connsiteX635" fmla="*/ 1073979 w 1204909"/>
                  <a:gd name="connsiteY635" fmla="*/ 196880 h 605804"/>
                  <a:gd name="connsiteX636" fmla="*/ 1064369 w 1204909"/>
                  <a:gd name="connsiteY636" fmla="*/ 198379 h 605804"/>
                  <a:gd name="connsiteX637" fmla="*/ 1060578 w 1204909"/>
                  <a:gd name="connsiteY637" fmla="*/ 198908 h 605804"/>
                  <a:gd name="connsiteX638" fmla="*/ 1052642 w 1204909"/>
                  <a:gd name="connsiteY638" fmla="*/ 198379 h 605804"/>
                  <a:gd name="connsiteX639" fmla="*/ 1048587 w 1204909"/>
                  <a:gd name="connsiteY639" fmla="*/ 201288 h 605804"/>
                  <a:gd name="connsiteX640" fmla="*/ 1041269 w 1204909"/>
                  <a:gd name="connsiteY640" fmla="*/ 199525 h 605804"/>
                  <a:gd name="connsiteX641" fmla="*/ 1035449 w 1204909"/>
                  <a:gd name="connsiteY641" fmla="*/ 205344 h 605804"/>
                  <a:gd name="connsiteX642" fmla="*/ 1032804 w 1204909"/>
                  <a:gd name="connsiteY642" fmla="*/ 207989 h 605804"/>
                  <a:gd name="connsiteX643" fmla="*/ 1032540 w 1204909"/>
                  <a:gd name="connsiteY643" fmla="*/ 208871 h 605804"/>
                  <a:gd name="connsiteX644" fmla="*/ 1038095 w 1204909"/>
                  <a:gd name="connsiteY644" fmla="*/ 207107 h 605804"/>
                  <a:gd name="connsiteX645" fmla="*/ 1056169 w 1204909"/>
                  <a:gd name="connsiteY645" fmla="*/ 205344 h 605804"/>
                  <a:gd name="connsiteX646" fmla="*/ 1065250 w 1204909"/>
                  <a:gd name="connsiteY646" fmla="*/ 201288 h 605804"/>
                  <a:gd name="connsiteX647" fmla="*/ 1063752 w 1204909"/>
                  <a:gd name="connsiteY647" fmla="*/ 202699 h 605804"/>
                  <a:gd name="connsiteX648" fmla="*/ 1067014 w 1204909"/>
                  <a:gd name="connsiteY648" fmla="*/ 205344 h 605804"/>
                  <a:gd name="connsiteX649" fmla="*/ 1070452 w 1204909"/>
                  <a:gd name="connsiteY649" fmla="*/ 203316 h 605804"/>
                  <a:gd name="connsiteX650" fmla="*/ 1072216 w 1204909"/>
                  <a:gd name="connsiteY650" fmla="*/ 203845 h 605804"/>
                  <a:gd name="connsiteX651" fmla="*/ 1071599 w 1204909"/>
                  <a:gd name="connsiteY651" fmla="*/ 205609 h 605804"/>
                  <a:gd name="connsiteX652" fmla="*/ 1058550 w 1204909"/>
                  <a:gd name="connsiteY652" fmla="*/ 209135 h 605804"/>
                  <a:gd name="connsiteX653" fmla="*/ 1053260 w 1204909"/>
                  <a:gd name="connsiteY653" fmla="*/ 213544 h 605804"/>
                  <a:gd name="connsiteX654" fmla="*/ 1037830 w 1204909"/>
                  <a:gd name="connsiteY654" fmla="*/ 214425 h 605804"/>
                  <a:gd name="connsiteX655" fmla="*/ 1030512 w 1204909"/>
                  <a:gd name="connsiteY655" fmla="*/ 215219 h 605804"/>
                  <a:gd name="connsiteX656" fmla="*/ 1026456 w 1204909"/>
                  <a:gd name="connsiteY656" fmla="*/ 216453 h 605804"/>
                  <a:gd name="connsiteX657" fmla="*/ 1027338 w 1204909"/>
                  <a:gd name="connsiteY657" fmla="*/ 215836 h 605804"/>
                  <a:gd name="connsiteX658" fmla="*/ 1024957 w 1204909"/>
                  <a:gd name="connsiteY658" fmla="*/ 214425 h 605804"/>
                  <a:gd name="connsiteX659" fmla="*/ 1020020 w 1204909"/>
                  <a:gd name="connsiteY659" fmla="*/ 217335 h 605804"/>
                  <a:gd name="connsiteX660" fmla="*/ 1020285 w 1204909"/>
                  <a:gd name="connsiteY660" fmla="*/ 218746 h 605804"/>
                  <a:gd name="connsiteX661" fmla="*/ 1024076 w 1204909"/>
                  <a:gd name="connsiteY661" fmla="*/ 219627 h 605804"/>
                  <a:gd name="connsiteX662" fmla="*/ 1024693 w 1204909"/>
                  <a:gd name="connsiteY662" fmla="*/ 218217 h 605804"/>
                  <a:gd name="connsiteX663" fmla="*/ 1021783 w 1204909"/>
                  <a:gd name="connsiteY663" fmla="*/ 227210 h 605804"/>
                  <a:gd name="connsiteX664" fmla="*/ 1022048 w 1204909"/>
                  <a:gd name="connsiteY664" fmla="*/ 232764 h 605804"/>
                  <a:gd name="connsiteX665" fmla="*/ 1017375 w 1204909"/>
                  <a:gd name="connsiteY665" fmla="*/ 235674 h 605804"/>
                  <a:gd name="connsiteX666" fmla="*/ 1015347 w 1204909"/>
                  <a:gd name="connsiteY666" fmla="*/ 239465 h 605804"/>
                  <a:gd name="connsiteX667" fmla="*/ 1011556 w 1204909"/>
                  <a:gd name="connsiteY667" fmla="*/ 241758 h 605804"/>
                  <a:gd name="connsiteX668" fmla="*/ 1010674 w 1204909"/>
                  <a:gd name="connsiteY668" fmla="*/ 241758 h 605804"/>
                  <a:gd name="connsiteX669" fmla="*/ 1011556 w 1204909"/>
                  <a:gd name="connsiteY669" fmla="*/ 242639 h 605804"/>
                  <a:gd name="connsiteX670" fmla="*/ 1004855 w 1204909"/>
                  <a:gd name="connsiteY670" fmla="*/ 247312 h 605804"/>
                  <a:gd name="connsiteX671" fmla="*/ 997890 w 1204909"/>
                  <a:gd name="connsiteY671" fmla="*/ 254895 h 605804"/>
                  <a:gd name="connsiteX672" fmla="*/ 995245 w 1204909"/>
                  <a:gd name="connsiteY672" fmla="*/ 256658 h 605804"/>
                  <a:gd name="connsiteX673" fmla="*/ 993481 w 1204909"/>
                  <a:gd name="connsiteY673" fmla="*/ 256129 h 605804"/>
                  <a:gd name="connsiteX674" fmla="*/ 994627 w 1204909"/>
                  <a:gd name="connsiteY674" fmla="*/ 252602 h 605804"/>
                  <a:gd name="connsiteX675" fmla="*/ 996655 w 1204909"/>
                  <a:gd name="connsiteY675" fmla="*/ 249957 h 605804"/>
                  <a:gd name="connsiteX676" fmla="*/ 991101 w 1204909"/>
                  <a:gd name="connsiteY676" fmla="*/ 247929 h 605804"/>
                  <a:gd name="connsiteX677" fmla="*/ 987662 w 1204909"/>
                  <a:gd name="connsiteY677" fmla="*/ 243257 h 605804"/>
                  <a:gd name="connsiteX678" fmla="*/ 987398 w 1204909"/>
                  <a:gd name="connsiteY678" fmla="*/ 241493 h 605804"/>
                  <a:gd name="connsiteX679" fmla="*/ 986428 w 1204909"/>
                  <a:gd name="connsiteY679" fmla="*/ 239730 h 605804"/>
                  <a:gd name="connsiteX680" fmla="*/ 985017 w 1204909"/>
                  <a:gd name="connsiteY680" fmla="*/ 242992 h 605804"/>
                  <a:gd name="connsiteX681" fmla="*/ 985899 w 1204909"/>
                  <a:gd name="connsiteY681" fmla="*/ 245637 h 605804"/>
                  <a:gd name="connsiteX682" fmla="*/ 987662 w 1204909"/>
                  <a:gd name="connsiteY682" fmla="*/ 247929 h 605804"/>
                  <a:gd name="connsiteX683" fmla="*/ 986163 w 1204909"/>
                  <a:gd name="connsiteY683" fmla="*/ 252867 h 605804"/>
                  <a:gd name="connsiteX684" fmla="*/ 986780 w 1204909"/>
                  <a:gd name="connsiteY684" fmla="*/ 255776 h 605804"/>
                  <a:gd name="connsiteX685" fmla="*/ 988544 w 1204909"/>
                  <a:gd name="connsiteY685" fmla="*/ 259039 h 605804"/>
                  <a:gd name="connsiteX686" fmla="*/ 990572 w 1204909"/>
                  <a:gd name="connsiteY686" fmla="*/ 259568 h 605804"/>
                  <a:gd name="connsiteX687" fmla="*/ 988544 w 1204909"/>
                  <a:gd name="connsiteY687" fmla="*/ 268296 h 605804"/>
                  <a:gd name="connsiteX688" fmla="*/ 984753 w 1204909"/>
                  <a:gd name="connsiteY688" fmla="*/ 275614 h 605804"/>
                  <a:gd name="connsiteX689" fmla="*/ 981226 w 1204909"/>
                  <a:gd name="connsiteY689" fmla="*/ 278877 h 605804"/>
                  <a:gd name="connsiteX690" fmla="*/ 974525 w 1204909"/>
                  <a:gd name="connsiteY690" fmla="*/ 284343 h 605804"/>
                  <a:gd name="connsiteX691" fmla="*/ 973908 w 1204909"/>
                  <a:gd name="connsiteY691" fmla="*/ 290250 h 605804"/>
                  <a:gd name="connsiteX692" fmla="*/ 969235 w 1204909"/>
                  <a:gd name="connsiteY692" fmla="*/ 292543 h 605804"/>
                  <a:gd name="connsiteX693" fmla="*/ 964562 w 1204909"/>
                  <a:gd name="connsiteY693" fmla="*/ 299244 h 605804"/>
                  <a:gd name="connsiteX694" fmla="*/ 961388 w 1204909"/>
                  <a:gd name="connsiteY694" fmla="*/ 301624 h 605804"/>
                  <a:gd name="connsiteX695" fmla="*/ 960506 w 1204909"/>
                  <a:gd name="connsiteY695" fmla="*/ 301888 h 605804"/>
                  <a:gd name="connsiteX696" fmla="*/ 959889 w 1204909"/>
                  <a:gd name="connsiteY696" fmla="*/ 297833 h 605804"/>
                  <a:gd name="connsiteX697" fmla="*/ 963680 w 1204909"/>
                  <a:gd name="connsiteY697" fmla="*/ 290515 h 605804"/>
                  <a:gd name="connsiteX698" fmla="*/ 968353 w 1204909"/>
                  <a:gd name="connsiteY698" fmla="*/ 284343 h 605804"/>
                  <a:gd name="connsiteX699" fmla="*/ 971616 w 1204909"/>
                  <a:gd name="connsiteY699" fmla="*/ 282932 h 605804"/>
                  <a:gd name="connsiteX700" fmla="*/ 970117 w 1204909"/>
                  <a:gd name="connsiteY700" fmla="*/ 282051 h 605804"/>
                  <a:gd name="connsiteX701" fmla="*/ 972497 w 1204909"/>
                  <a:gd name="connsiteY701" fmla="*/ 280904 h 605804"/>
                  <a:gd name="connsiteX702" fmla="*/ 969588 w 1204909"/>
                  <a:gd name="connsiteY702" fmla="*/ 280023 h 605804"/>
                  <a:gd name="connsiteX703" fmla="*/ 967207 w 1204909"/>
                  <a:gd name="connsiteY703" fmla="*/ 281433 h 605804"/>
                  <a:gd name="connsiteX704" fmla="*/ 970381 w 1204909"/>
                  <a:gd name="connsiteY704" fmla="*/ 278259 h 605804"/>
                  <a:gd name="connsiteX705" fmla="*/ 970117 w 1204909"/>
                  <a:gd name="connsiteY705" fmla="*/ 273851 h 605804"/>
                  <a:gd name="connsiteX706" fmla="*/ 969235 w 1204909"/>
                  <a:gd name="connsiteY706" fmla="*/ 272705 h 605804"/>
                  <a:gd name="connsiteX707" fmla="*/ 967824 w 1204909"/>
                  <a:gd name="connsiteY707" fmla="*/ 271823 h 605804"/>
                  <a:gd name="connsiteX708" fmla="*/ 968706 w 1204909"/>
                  <a:gd name="connsiteY708" fmla="*/ 270060 h 605804"/>
                  <a:gd name="connsiteX709" fmla="*/ 962887 w 1204909"/>
                  <a:gd name="connsiteY709" fmla="*/ 271559 h 605804"/>
                  <a:gd name="connsiteX710" fmla="*/ 962887 w 1204909"/>
                  <a:gd name="connsiteY710" fmla="*/ 266268 h 605804"/>
                  <a:gd name="connsiteX711" fmla="*/ 964298 w 1204909"/>
                  <a:gd name="connsiteY711" fmla="*/ 266268 h 605804"/>
                  <a:gd name="connsiteX712" fmla="*/ 964298 w 1204909"/>
                  <a:gd name="connsiteY712" fmla="*/ 263976 h 605804"/>
                  <a:gd name="connsiteX713" fmla="*/ 967472 w 1204909"/>
                  <a:gd name="connsiteY713" fmla="*/ 263976 h 605804"/>
                  <a:gd name="connsiteX714" fmla="*/ 966326 w 1204909"/>
                  <a:gd name="connsiteY714" fmla="*/ 261067 h 605804"/>
                  <a:gd name="connsiteX715" fmla="*/ 964033 w 1204909"/>
                  <a:gd name="connsiteY715" fmla="*/ 262477 h 605804"/>
                  <a:gd name="connsiteX716" fmla="*/ 965797 w 1204909"/>
                  <a:gd name="connsiteY716" fmla="*/ 259039 h 605804"/>
                  <a:gd name="connsiteX717" fmla="*/ 968089 w 1204909"/>
                  <a:gd name="connsiteY717" fmla="*/ 258422 h 605804"/>
                  <a:gd name="connsiteX718" fmla="*/ 968089 w 1204909"/>
                  <a:gd name="connsiteY718" fmla="*/ 255776 h 605804"/>
                  <a:gd name="connsiteX719" fmla="*/ 964298 w 1204909"/>
                  <a:gd name="connsiteY719" fmla="*/ 258686 h 605804"/>
                  <a:gd name="connsiteX720" fmla="*/ 965444 w 1204909"/>
                  <a:gd name="connsiteY720" fmla="*/ 256129 h 605804"/>
                  <a:gd name="connsiteX721" fmla="*/ 967472 w 1204909"/>
                  <a:gd name="connsiteY721" fmla="*/ 253749 h 605804"/>
                  <a:gd name="connsiteX722" fmla="*/ 969235 w 1204909"/>
                  <a:gd name="connsiteY722" fmla="*/ 254895 h 605804"/>
                  <a:gd name="connsiteX723" fmla="*/ 970998 w 1204909"/>
                  <a:gd name="connsiteY723" fmla="*/ 252338 h 605804"/>
                  <a:gd name="connsiteX724" fmla="*/ 968706 w 1204909"/>
                  <a:gd name="connsiteY724" fmla="*/ 254366 h 605804"/>
                  <a:gd name="connsiteX725" fmla="*/ 968706 w 1204909"/>
                  <a:gd name="connsiteY725" fmla="*/ 250575 h 605804"/>
                  <a:gd name="connsiteX726" fmla="*/ 971880 w 1204909"/>
                  <a:gd name="connsiteY726" fmla="*/ 246519 h 605804"/>
                  <a:gd name="connsiteX727" fmla="*/ 975936 w 1204909"/>
                  <a:gd name="connsiteY727" fmla="*/ 245637 h 605804"/>
                  <a:gd name="connsiteX728" fmla="*/ 978052 w 1204909"/>
                  <a:gd name="connsiteY728" fmla="*/ 240964 h 605804"/>
                  <a:gd name="connsiteX729" fmla="*/ 975407 w 1204909"/>
                  <a:gd name="connsiteY729" fmla="*/ 241229 h 605804"/>
                  <a:gd name="connsiteX730" fmla="*/ 974790 w 1204909"/>
                  <a:gd name="connsiteY730" fmla="*/ 242375 h 605804"/>
                  <a:gd name="connsiteX731" fmla="*/ 975407 w 1204909"/>
                  <a:gd name="connsiteY731" fmla="*/ 243521 h 605804"/>
                  <a:gd name="connsiteX732" fmla="*/ 969588 w 1204909"/>
                  <a:gd name="connsiteY732" fmla="*/ 247312 h 605804"/>
                  <a:gd name="connsiteX733" fmla="*/ 968971 w 1204909"/>
                  <a:gd name="connsiteY733" fmla="*/ 245637 h 605804"/>
                  <a:gd name="connsiteX734" fmla="*/ 965797 w 1204909"/>
                  <a:gd name="connsiteY734" fmla="*/ 249693 h 605804"/>
                  <a:gd name="connsiteX735" fmla="*/ 964298 w 1204909"/>
                  <a:gd name="connsiteY735" fmla="*/ 249076 h 605804"/>
                  <a:gd name="connsiteX736" fmla="*/ 964033 w 1204909"/>
                  <a:gd name="connsiteY736" fmla="*/ 249693 h 605804"/>
                  <a:gd name="connsiteX737" fmla="*/ 964298 w 1204909"/>
                  <a:gd name="connsiteY737" fmla="*/ 252867 h 605804"/>
                  <a:gd name="connsiteX738" fmla="*/ 962887 w 1204909"/>
                  <a:gd name="connsiteY738" fmla="*/ 255247 h 605804"/>
                  <a:gd name="connsiteX739" fmla="*/ 960506 w 1204909"/>
                  <a:gd name="connsiteY739" fmla="*/ 261948 h 605804"/>
                  <a:gd name="connsiteX740" fmla="*/ 959360 w 1204909"/>
                  <a:gd name="connsiteY740" fmla="*/ 266621 h 605804"/>
                  <a:gd name="connsiteX741" fmla="*/ 960506 w 1204909"/>
                  <a:gd name="connsiteY741" fmla="*/ 270060 h 605804"/>
                  <a:gd name="connsiteX742" fmla="*/ 959360 w 1204909"/>
                  <a:gd name="connsiteY742" fmla="*/ 271559 h 605804"/>
                  <a:gd name="connsiteX743" fmla="*/ 959889 w 1204909"/>
                  <a:gd name="connsiteY743" fmla="*/ 275614 h 605804"/>
                  <a:gd name="connsiteX744" fmla="*/ 959008 w 1204909"/>
                  <a:gd name="connsiteY744" fmla="*/ 278524 h 605804"/>
                  <a:gd name="connsiteX745" fmla="*/ 950896 w 1204909"/>
                  <a:gd name="connsiteY745" fmla="*/ 271559 h 605804"/>
                  <a:gd name="connsiteX746" fmla="*/ 950543 w 1204909"/>
                  <a:gd name="connsiteY746" fmla="*/ 273057 h 605804"/>
                  <a:gd name="connsiteX747" fmla="*/ 949133 w 1204909"/>
                  <a:gd name="connsiteY747" fmla="*/ 272176 h 605804"/>
                  <a:gd name="connsiteX748" fmla="*/ 948251 w 1204909"/>
                  <a:gd name="connsiteY748" fmla="*/ 268032 h 605804"/>
                  <a:gd name="connsiteX749" fmla="*/ 943049 w 1204909"/>
                  <a:gd name="connsiteY749" fmla="*/ 270060 h 605804"/>
                  <a:gd name="connsiteX750" fmla="*/ 943843 w 1204909"/>
                  <a:gd name="connsiteY750" fmla="*/ 266621 h 605804"/>
                  <a:gd name="connsiteX751" fmla="*/ 947634 w 1204909"/>
                  <a:gd name="connsiteY751" fmla="*/ 263976 h 605804"/>
                  <a:gd name="connsiteX752" fmla="*/ 945959 w 1204909"/>
                  <a:gd name="connsiteY752" fmla="*/ 263976 h 605804"/>
                  <a:gd name="connsiteX753" fmla="*/ 945606 w 1204909"/>
                  <a:gd name="connsiteY753" fmla="*/ 263359 h 605804"/>
                  <a:gd name="connsiteX754" fmla="*/ 943314 w 1204909"/>
                  <a:gd name="connsiteY754" fmla="*/ 264241 h 605804"/>
                  <a:gd name="connsiteX755" fmla="*/ 941550 w 1204909"/>
                  <a:gd name="connsiteY755" fmla="*/ 265740 h 605804"/>
                  <a:gd name="connsiteX756" fmla="*/ 940933 w 1204909"/>
                  <a:gd name="connsiteY756" fmla="*/ 267767 h 605804"/>
                  <a:gd name="connsiteX757" fmla="*/ 941815 w 1204909"/>
                  <a:gd name="connsiteY757" fmla="*/ 270060 h 605804"/>
                  <a:gd name="connsiteX758" fmla="*/ 941815 w 1204909"/>
                  <a:gd name="connsiteY758" fmla="*/ 270677 h 605804"/>
                  <a:gd name="connsiteX759" fmla="*/ 943578 w 1204909"/>
                  <a:gd name="connsiteY759" fmla="*/ 271823 h 605804"/>
                  <a:gd name="connsiteX760" fmla="*/ 947369 w 1204909"/>
                  <a:gd name="connsiteY760" fmla="*/ 269531 h 605804"/>
                  <a:gd name="connsiteX761" fmla="*/ 947634 w 1204909"/>
                  <a:gd name="connsiteY761" fmla="*/ 274204 h 605804"/>
                  <a:gd name="connsiteX762" fmla="*/ 952042 w 1204909"/>
                  <a:gd name="connsiteY762" fmla="*/ 275085 h 605804"/>
                  <a:gd name="connsiteX763" fmla="*/ 954070 w 1204909"/>
                  <a:gd name="connsiteY763" fmla="*/ 275967 h 605804"/>
                  <a:gd name="connsiteX764" fmla="*/ 954687 w 1204909"/>
                  <a:gd name="connsiteY764" fmla="*/ 276232 h 605804"/>
                  <a:gd name="connsiteX765" fmla="*/ 955216 w 1204909"/>
                  <a:gd name="connsiteY765" fmla="*/ 278524 h 605804"/>
                  <a:gd name="connsiteX766" fmla="*/ 960242 w 1204909"/>
                  <a:gd name="connsiteY766" fmla="*/ 282315 h 605804"/>
                  <a:gd name="connsiteX767" fmla="*/ 956980 w 1204909"/>
                  <a:gd name="connsiteY767" fmla="*/ 287341 h 605804"/>
                  <a:gd name="connsiteX768" fmla="*/ 957332 w 1204909"/>
                  <a:gd name="connsiteY768" fmla="*/ 288751 h 605804"/>
                  <a:gd name="connsiteX769" fmla="*/ 952924 w 1204909"/>
                  <a:gd name="connsiteY769" fmla="*/ 288487 h 605804"/>
                  <a:gd name="connsiteX770" fmla="*/ 951513 w 1204909"/>
                  <a:gd name="connsiteY770" fmla="*/ 284343 h 605804"/>
                  <a:gd name="connsiteX771" fmla="*/ 950896 w 1204909"/>
                  <a:gd name="connsiteY771" fmla="*/ 282315 h 605804"/>
                  <a:gd name="connsiteX772" fmla="*/ 949133 w 1204909"/>
                  <a:gd name="connsiteY772" fmla="*/ 282315 h 605804"/>
                  <a:gd name="connsiteX773" fmla="*/ 950543 w 1204909"/>
                  <a:gd name="connsiteY773" fmla="*/ 284960 h 605804"/>
                  <a:gd name="connsiteX774" fmla="*/ 952042 w 1204909"/>
                  <a:gd name="connsiteY774" fmla="*/ 288751 h 605804"/>
                  <a:gd name="connsiteX775" fmla="*/ 956715 w 1204909"/>
                  <a:gd name="connsiteY775" fmla="*/ 290250 h 605804"/>
                  <a:gd name="connsiteX776" fmla="*/ 955216 w 1204909"/>
                  <a:gd name="connsiteY776" fmla="*/ 291397 h 605804"/>
                  <a:gd name="connsiteX777" fmla="*/ 956098 w 1204909"/>
                  <a:gd name="connsiteY777" fmla="*/ 291661 h 605804"/>
                  <a:gd name="connsiteX778" fmla="*/ 956451 w 1204909"/>
                  <a:gd name="connsiteY778" fmla="*/ 295188 h 605804"/>
                  <a:gd name="connsiteX779" fmla="*/ 954952 w 1204909"/>
                  <a:gd name="connsiteY779" fmla="*/ 296334 h 605804"/>
                  <a:gd name="connsiteX780" fmla="*/ 953541 w 1204909"/>
                  <a:gd name="connsiteY780" fmla="*/ 294571 h 605804"/>
                  <a:gd name="connsiteX781" fmla="*/ 953806 w 1204909"/>
                  <a:gd name="connsiteY781" fmla="*/ 297216 h 605804"/>
                  <a:gd name="connsiteX782" fmla="*/ 950014 w 1204909"/>
                  <a:gd name="connsiteY782" fmla="*/ 298097 h 605804"/>
                  <a:gd name="connsiteX783" fmla="*/ 952307 w 1204909"/>
                  <a:gd name="connsiteY783" fmla="*/ 298714 h 605804"/>
                  <a:gd name="connsiteX784" fmla="*/ 951778 w 1204909"/>
                  <a:gd name="connsiteY784" fmla="*/ 300125 h 605804"/>
                  <a:gd name="connsiteX785" fmla="*/ 953541 w 1204909"/>
                  <a:gd name="connsiteY785" fmla="*/ 301624 h 605804"/>
                  <a:gd name="connsiteX786" fmla="*/ 952659 w 1204909"/>
                  <a:gd name="connsiteY786" fmla="*/ 304798 h 605804"/>
                  <a:gd name="connsiteX787" fmla="*/ 952659 w 1204909"/>
                  <a:gd name="connsiteY787" fmla="*/ 305063 h 605804"/>
                  <a:gd name="connsiteX788" fmla="*/ 954423 w 1204909"/>
                  <a:gd name="connsiteY788" fmla="*/ 305944 h 605804"/>
                  <a:gd name="connsiteX789" fmla="*/ 958479 w 1204909"/>
                  <a:gd name="connsiteY789" fmla="*/ 305944 h 605804"/>
                  <a:gd name="connsiteX790" fmla="*/ 959625 w 1204909"/>
                  <a:gd name="connsiteY790" fmla="*/ 309735 h 605804"/>
                  <a:gd name="connsiteX791" fmla="*/ 958479 w 1204909"/>
                  <a:gd name="connsiteY791" fmla="*/ 315290 h 605804"/>
                  <a:gd name="connsiteX792" fmla="*/ 958743 w 1204909"/>
                  <a:gd name="connsiteY792" fmla="*/ 316436 h 605804"/>
                  <a:gd name="connsiteX793" fmla="*/ 958743 w 1204909"/>
                  <a:gd name="connsiteY793" fmla="*/ 321726 h 605804"/>
                  <a:gd name="connsiteX794" fmla="*/ 958214 w 1204909"/>
                  <a:gd name="connsiteY794" fmla="*/ 323490 h 605804"/>
                  <a:gd name="connsiteX795" fmla="*/ 957861 w 1204909"/>
                  <a:gd name="connsiteY795" fmla="*/ 326399 h 605804"/>
                  <a:gd name="connsiteX796" fmla="*/ 958214 w 1204909"/>
                  <a:gd name="connsiteY796" fmla="*/ 328692 h 605804"/>
                  <a:gd name="connsiteX797" fmla="*/ 956715 w 1204909"/>
                  <a:gd name="connsiteY797" fmla="*/ 331337 h 605804"/>
                  <a:gd name="connsiteX798" fmla="*/ 957332 w 1204909"/>
                  <a:gd name="connsiteY798" fmla="*/ 332836 h 605804"/>
                  <a:gd name="connsiteX799" fmla="*/ 957861 w 1204909"/>
                  <a:gd name="connsiteY799" fmla="*/ 335128 h 605804"/>
                  <a:gd name="connsiteX800" fmla="*/ 958743 w 1204909"/>
                  <a:gd name="connsiteY800" fmla="*/ 336274 h 605804"/>
                  <a:gd name="connsiteX801" fmla="*/ 960506 w 1204909"/>
                  <a:gd name="connsiteY801" fmla="*/ 337773 h 605804"/>
                  <a:gd name="connsiteX802" fmla="*/ 961388 w 1204909"/>
                  <a:gd name="connsiteY802" fmla="*/ 338655 h 605804"/>
                  <a:gd name="connsiteX803" fmla="*/ 962270 w 1204909"/>
                  <a:gd name="connsiteY803" fmla="*/ 340683 h 605804"/>
                  <a:gd name="connsiteX804" fmla="*/ 959360 w 1204909"/>
                  <a:gd name="connsiteY804" fmla="*/ 342710 h 605804"/>
                  <a:gd name="connsiteX805" fmla="*/ 958214 w 1204909"/>
                  <a:gd name="connsiteY805" fmla="*/ 343592 h 605804"/>
                  <a:gd name="connsiteX806" fmla="*/ 955833 w 1204909"/>
                  <a:gd name="connsiteY806" fmla="*/ 343857 h 605804"/>
                  <a:gd name="connsiteX807" fmla="*/ 953188 w 1204909"/>
                  <a:gd name="connsiteY807" fmla="*/ 343063 h 605804"/>
                  <a:gd name="connsiteX808" fmla="*/ 950279 w 1204909"/>
                  <a:gd name="connsiteY808" fmla="*/ 341829 h 605804"/>
                  <a:gd name="connsiteX809" fmla="*/ 947634 w 1204909"/>
                  <a:gd name="connsiteY809" fmla="*/ 341300 h 605804"/>
                  <a:gd name="connsiteX810" fmla="*/ 946223 w 1204909"/>
                  <a:gd name="connsiteY810" fmla="*/ 341829 h 605804"/>
                  <a:gd name="connsiteX811" fmla="*/ 940404 w 1204909"/>
                  <a:gd name="connsiteY811" fmla="*/ 341829 h 605804"/>
                  <a:gd name="connsiteX812" fmla="*/ 943049 w 1204909"/>
                  <a:gd name="connsiteY812" fmla="*/ 342446 h 605804"/>
                  <a:gd name="connsiteX813" fmla="*/ 941286 w 1204909"/>
                  <a:gd name="connsiteY813" fmla="*/ 344474 h 605804"/>
                  <a:gd name="connsiteX814" fmla="*/ 938641 w 1204909"/>
                  <a:gd name="connsiteY814" fmla="*/ 344209 h 605804"/>
                  <a:gd name="connsiteX815" fmla="*/ 935996 w 1204909"/>
                  <a:gd name="connsiteY815" fmla="*/ 345091 h 605804"/>
                  <a:gd name="connsiteX816" fmla="*/ 935996 w 1204909"/>
                  <a:gd name="connsiteY816" fmla="*/ 346237 h 605804"/>
                  <a:gd name="connsiteX817" fmla="*/ 934232 w 1204909"/>
                  <a:gd name="connsiteY817" fmla="*/ 347383 h 605804"/>
                  <a:gd name="connsiteX818" fmla="*/ 934232 w 1204909"/>
                  <a:gd name="connsiteY818" fmla="*/ 348882 h 605804"/>
                  <a:gd name="connsiteX819" fmla="*/ 935114 w 1204909"/>
                  <a:gd name="connsiteY819" fmla="*/ 349411 h 605804"/>
                  <a:gd name="connsiteX820" fmla="*/ 937759 w 1204909"/>
                  <a:gd name="connsiteY820" fmla="*/ 350557 h 605804"/>
                  <a:gd name="connsiteX821" fmla="*/ 938023 w 1204909"/>
                  <a:gd name="connsiteY821" fmla="*/ 351792 h 605804"/>
                  <a:gd name="connsiteX822" fmla="*/ 938023 w 1204909"/>
                  <a:gd name="connsiteY822" fmla="*/ 355230 h 605804"/>
                  <a:gd name="connsiteX823" fmla="*/ 937494 w 1204909"/>
                  <a:gd name="connsiteY823" fmla="*/ 356729 h 605804"/>
                  <a:gd name="connsiteX824" fmla="*/ 936613 w 1204909"/>
                  <a:gd name="connsiteY824" fmla="*/ 358228 h 605804"/>
                  <a:gd name="connsiteX825" fmla="*/ 934585 w 1204909"/>
                  <a:gd name="connsiteY825" fmla="*/ 357875 h 605804"/>
                  <a:gd name="connsiteX826" fmla="*/ 932204 w 1204909"/>
                  <a:gd name="connsiteY826" fmla="*/ 357875 h 605804"/>
                  <a:gd name="connsiteX827" fmla="*/ 929295 w 1204909"/>
                  <a:gd name="connsiteY827" fmla="*/ 357611 h 605804"/>
                  <a:gd name="connsiteX828" fmla="*/ 925768 w 1204909"/>
                  <a:gd name="connsiteY828" fmla="*/ 357346 h 605804"/>
                  <a:gd name="connsiteX829" fmla="*/ 925503 w 1204909"/>
                  <a:gd name="connsiteY829" fmla="*/ 358493 h 605804"/>
                  <a:gd name="connsiteX830" fmla="*/ 924622 w 1204909"/>
                  <a:gd name="connsiteY830" fmla="*/ 359374 h 605804"/>
                  <a:gd name="connsiteX831" fmla="*/ 924093 w 1204909"/>
                  <a:gd name="connsiteY831" fmla="*/ 362284 h 605804"/>
                  <a:gd name="connsiteX832" fmla="*/ 921448 w 1204909"/>
                  <a:gd name="connsiteY832" fmla="*/ 361667 h 605804"/>
                  <a:gd name="connsiteX833" fmla="*/ 916775 w 1204909"/>
                  <a:gd name="connsiteY833" fmla="*/ 363430 h 605804"/>
                  <a:gd name="connsiteX834" fmla="*/ 914130 w 1204909"/>
                  <a:gd name="connsiteY834" fmla="*/ 364576 h 605804"/>
                  <a:gd name="connsiteX835" fmla="*/ 910956 w 1204909"/>
                  <a:gd name="connsiteY835" fmla="*/ 366075 h 605804"/>
                  <a:gd name="connsiteX836" fmla="*/ 911220 w 1204909"/>
                  <a:gd name="connsiteY836" fmla="*/ 367486 h 605804"/>
                  <a:gd name="connsiteX837" fmla="*/ 905666 w 1204909"/>
                  <a:gd name="connsiteY837" fmla="*/ 371277 h 605804"/>
                  <a:gd name="connsiteX838" fmla="*/ 902492 w 1204909"/>
                  <a:gd name="connsiteY838" fmla="*/ 376832 h 605804"/>
                  <a:gd name="connsiteX839" fmla="*/ 898348 w 1204909"/>
                  <a:gd name="connsiteY839" fmla="*/ 380976 h 605804"/>
                  <a:gd name="connsiteX840" fmla="*/ 897466 w 1204909"/>
                  <a:gd name="connsiteY840" fmla="*/ 383003 h 605804"/>
                  <a:gd name="connsiteX841" fmla="*/ 896320 w 1204909"/>
                  <a:gd name="connsiteY841" fmla="*/ 381505 h 605804"/>
                  <a:gd name="connsiteX842" fmla="*/ 892528 w 1204909"/>
                  <a:gd name="connsiteY842" fmla="*/ 381240 h 605804"/>
                  <a:gd name="connsiteX843" fmla="*/ 889884 w 1204909"/>
                  <a:gd name="connsiteY843" fmla="*/ 380094 h 605804"/>
                  <a:gd name="connsiteX844" fmla="*/ 886445 w 1204909"/>
                  <a:gd name="connsiteY844" fmla="*/ 382122 h 605804"/>
                  <a:gd name="connsiteX845" fmla="*/ 884681 w 1204909"/>
                  <a:gd name="connsiteY845" fmla="*/ 382651 h 605804"/>
                  <a:gd name="connsiteX846" fmla="*/ 881419 w 1204909"/>
                  <a:gd name="connsiteY846" fmla="*/ 383532 h 605804"/>
                  <a:gd name="connsiteX847" fmla="*/ 880009 w 1204909"/>
                  <a:gd name="connsiteY847" fmla="*/ 384150 h 605804"/>
                  <a:gd name="connsiteX848" fmla="*/ 877981 w 1204909"/>
                  <a:gd name="connsiteY848" fmla="*/ 387059 h 605804"/>
                  <a:gd name="connsiteX849" fmla="*/ 873925 w 1204909"/>
                  <a:gd name="connsiteY849" fmla="*/ 389352 h 605804"/>
                  <a:gd name="connsiteX850" fmla="*/ 869252 w 1204909"/>
                  <a:gd name="connsiteY850" fmla="*/ 394377 h 605804"/>
                  <a:gd name="connsiteX851" fmla="*/ 868018 w 1204909"/>
                  <a:gd name="connsiteY851" fmla="*/ 398962 h 605804"/>
                  <a:gd name="connsiteX852" fmla="*/ 865108 w 1204909"/>
                  <a:gd name="connsiteY852" fmla="*/ 401078 h 605804"/>
                  <a:gd name="connsiteX853" fmla="*/ 862816 w 1204909"/>
                  <a:gd name="connsiteY853" fmla="*/ 403723 h 605804"/>
                  <a:gd name="connsiteX854" fmla="*/ 857790 w 1204909"/>
                  <a:gd name="connsiteY854" fmla="*/ 403723 h 605804"/>
                  <a:gd name="connsiteX855" fmla="*/ 858143 w 1204909"/>
                  <a:gd name="connsiteY855" fmla="*/ 405751 h 605804"/>
                  <a:gd name="connsiteX856" fmla="*/ 854352 w 1204909"/>
                  <a:gd name="connsiteY856" fmla="*/ 406897 h 605804"/>
                  <a:gd name="connsiteX857" fmla="*/ 851178 w 1204909"/>
                  <a:gd name="connsiteY857" fmla="*/ 409807 h 605804"/>
                  <a:gd name="connsiteX858" fmla="*/ 850296 w 1204909"/>
                  <a:gd name="connsiteY858" fmla="*/ 410424 h 605804"/>
                  <a:gd name="connsiteX859" fmla="*/ 847298 w 1204909"/>
                  <a:gd name="connsiteY859" fmla="*/ 413598 h 605804"/>
                  <a:gd name="connsiteX860" fmla="*/ 846152 w 1204909"/>
                  <a:gd name="connsiteY860" fmla="*/ 415626 h 605804"/>
                  <a:gd name="connsiteX861" fmla="*/ 839716 w 1204909"/>
                  <a:gd name="connsiteY861" fmla="*/ 415978 h 605804"/>
                  <a:gd name="connsiteX862" fmla="*/ 839187 w 1204909"/>
                  <a:gd name="connsiteY862" fmla="*/ 417125 h 605804"/>
                  <a:gd name="connsiteX863" fmla="*/ 838834 w 1204909"/>
                  <a:gd name="connsiteY863" fmla="*/ 416243 h 605804"/>
                  <a:gd name="connsiteX864" fmla="*/ 836806 w 1204909"/>
                  <a:gd name="connsiteY864" fmla="*/ 415009 h 605804"/>
                  <a:gd name="connsiteX865" fmla="*/ 835395 w 1204909"/>
                  <a:gd name="connsiteY865" fmla="*/ 415978 h 605804"/>
                  <a:gd name="connsiteX866" fmla="*/ 836806 w 1204909"/>
                  <a:gd name="connsiteY866" fmla="*/ 419152 h 605804"/>
                  <a:gd name="connsiteX867" fmla="*/ 831869 w 1204909"/>
                  <a:gd name="connsiteY867" fmla="*/ 422326 h 605804"/>
                  <a:gd name="connsiteX868" fmla="*/ 827460 w 1204909"/>
                  <a:gd name="connsiteY868" fmla="*/ 419417 h 605804"/>
                  <a:gd name="connsiteX869" fmla="*/ 830722 w 1204909"/>
                  <a:gd name="connsiteY869" fmla="*/ 423561 h 605804"/>
                  <a:gd name="connsiteX870" fmla="*/ 826931 w 1204909"/>
                  <a:gd name="connsiteY870" fmla="*/ 426118 h 605804"/>
                  <a:gd name="connsiteX871" fmla="*/ 825168 w 1204909"/>
                  <a:gd name="connsiteY871" fmla="*/ 426735 h 605804"/>
                  <a:gd name="connsiteX872" fmla="*/ 824551 w 1204909"/>
                  <a:gd name="connsiteY872" fmla="*/ 427617 h 605804"/>
                  <a:gd name="connsiteX873" fmla="*/ 825432 w 1204909"/>
                  <a:gd name="connsiteY873" fmla="*/ 428146 h 605804"/>
                  <a:gd name="connsiteX874" fmla="*/ 825168 w 1204909"/>
                  <a:gd name="connsiteY874" fmla="*/ 428763 h 605804"/>
                  <a:gd name="connsiteX875" fmla="*/ 823757 w 1204909"/>
                  <a:gd name="connsiteY875" fmla="*/ 430262 h 605804"/>
                  <a:gd name="connsiteX876" fmla="*/ 822523 w 1204909"/>
                  <a:gd name="connsiteY876" fmla="*/ 430526 h 605804"/>
                  <a:gd name="connsiteX877" fmla="*/ 823140 w 1204909"/>
                  <a:gd name="connsiteY877" fmla="*/ 431055 h 605804"/>
                  <a:gd name="connsiteX878" fmla="*/ 821377 w 1204909"/>
                  <a:gd name="connsiteY878" fmla="*/ 432554 h 605804"/>
                  <a:gd name="connsiteX879" fmla="*/ 820230 w 1204909"/>
                  <a:gd name="connsiteY879" fmla="*/ 431672 h 605804"/>
                  <a:gd name="connsiteX880" fmla="*/ 820230 w 1204909"/>
                  <a:gd name="connsiteY880" fmla="*/ 433436 h 605804"/>
                  <a:gd name="connsiteX881" fmla="*/ 817585 w 1204909"/>
                  <a:gd name="connsiteY881" fmla="*/ 435728 h 605804"/>
                  <a:gd name="connsiteX882" fmla="*/ 817585 w 1204909"/>
                  <a:gd name="connsiteY882" fmla="*/ 435464 h 605804"/>
                  <a:gd name="connsiteX883" fmla="*/ 816704 w 1204909"/>
                  <a:gd name="connsiteY883" fmla="*/ 435728 h 605804"/>
                  <a:gd name="connsiteX884" fmla="*/ 817585 w 1204909"/>
                  <a:gd name="connsiteY884" fmla="*/ 436345 h 605804"/>
                  <a:gd name="connsiteX885" fmla="*/ 815822 w 1204909"/>
                  <a:gd name="connsiteY885" fmla="*/ 439872 h 605804"/>
                  <a:gd name="connsiteX886" fmla="*/ 815558 w 1204909"/>
                  <a:gd name="connsiteY886" fmla="*/ 439519 h 605804"/>
                  <a:gd name="connsiteX887" fmla="*/ 813530 w 1204909"/>
                  <a:gd name="connsiteY887" fmla="*/ 439872 h 605804"/>
                  <a:gd name="connsiteX888" fmla="*/ 815822 w 1204909"/>
                  <a:gd name="connsiteY888" fmla="*/ 441018 h 605804"/>
                  <a:gd name="connsiteX889" fmla="*/ 812648 w 1204909"/>
                  <a:gd name="connsiteY889" fmla="*/ 444545 h 605804"/>
                  <a:gd name="connsiteX890" fmla="*/ 812031 w 1204909"/>
                  <a:gd name="connsiteY890" fmla="*/ 447102 h 605804"/>
                  <a:gd name="connsiteX891" fmla="*/ 809121 w 1204909"/>
                  <a:gd name="connsiteY891" fmla="*/ 450364 h 605804"/>
                  <a:gd name="connsiteX892" fmla="*/ 806829 w 1204909"/>
                  <a:gd name="connsiteY892" fmla="*/ 451246 h 605804"/>
                  <a:gd name="connsiteX893" fmla="*/ 808857 w 1204909"/>
                  <a:gd name="connsiteY893" fmla="*/ 450629 h 605804"/>
                  <a:gd name="connsiteX894" fmla="*/ 807711 w 1204909"/>
                  <a:gd name="connsiteY894" fmla="*/ 453538 h 605804"/>
                  <a:gd name="connsiteX895" fmla="*/ 807358 w 1204909"/>
                  <a:gd name="connsiteY895" fmla="*/ 453538 h 605804"/>
                  <a:gd name="connsiteX896" fmla="*/ 806476 w 1204909"/>
                  <a:gd name="connsiteY896" fmla="*/ 454155 h 605804"/>
                  <a:gd name="connsiteX897" fmla="*/ 807975 w 1204909"/>
                  <a:gd name="connsiteY897" fmla="*/ 454420 h 605804"/>
                  <a:gd name="connsiteX898" fmla="*/ 805947 w 1204909"/>
                  <a:gd name="connsiteY898" fmla="*/ 460856 h 605804"/>
                  <a:gd name="connsiteX899" fmla="*/ 805065 w 1204909"/>
                  <a:gd name="connsiteY899" fmla="*/ 462884 h 605804"/>
                  <a:gd name="connsiteX900" fmla="*/ 804448 w 1204909"/>
                  <a:gd name="connsiteY900" fmla="*/ 465794 h 605804"/>
                  <a:gd name="connsiteX901" fmla="*/ 804448 w 1204909"/>
                  <a:gd name="connsiteY901" fmla="*/ 466411 h 605804"/>
                  <a:gd name="connsiteX902" fmla="*/ 804184 w 1204909"/>
                  <a:gd name="connsiteY902" fmla="*/ 472230 h 605804"/>
                  <a:gd name="connsiteX903" fmla="*/ 806212 w 1204909"/>
                  <a:gd name="connsiteY903" fmla="*/ 478666 h 605804"/>
                  <a:gd name="connsiteX904" fmla="*/ 804448 w 1204909"/>
                  <a:gd name="connsiteY904" fmla="*/ 486778 h 605804"/>
                  <a:gd name="connsiteX905" fmla="*/ 805947 w 1204909"/>
                  <a:gd name="connsiteY905" fmla="*/ 492949 h 605804"/>
                  <a:gd name="connsiteX906" fmla="*/ 809121 w 1204909"/>
                  <a:gd name="connsiteY906" fmla="*/ 498151 h 605804"/>
                  <a:gd name="connsiteX907" fmla="*/ 810885 w 1204909"/>
                  <a:gd name="connsiteY907" fmla="*/ 507497 h 605804"/>
                  <a:gd name="connsiteX908" fmla="*/ 813177 w 1204909"/>
                  <a:gd name="connsiteY908" fmla="*/ 517108 h 605804"/>
                  <a:gd name="connsiteX909" fmla="*/ 810003 w 1204909"/>
                  <a:gd name="connsiteY909" fmla="*/ 522133 h 605804"/>
                  <a:gd name="connsiteX910" fmla="*/ 809386 w 1204909"/>
                  <a:gd name="connsiteY910" fmla="*/ 534653 h 605804"/>
                  <a:gd name="connsiteX911" fmla="*/ 814411 w 1204909"/>
                  <a:gd name="connsiteY911" fmla="*/ 546908 h 605804"/>
                  <a:gd name="connsiteX912" fmla="*/ 815558 w 1204909"/>
                  <a:gd name="connsiteY912" fmla="*/ 554226 h 605804"/>
                  <a:gd name="connsiteX913" fmla="*/ 815293 w 1204909"/>
                  <a:gd name="connsiteY913" fmla="*/ 564101 h 605804"/>
                  <a:gd name="connsiteX914" fmla="*/ 812912 w 1204909"/>
                  <a:gd name="connsiteY914" fmla="*/ 570538 h 605804"/>
                  <a:gd name="connsiteX915" fmla="*/ 810620 w 1204909"/>
                  <a:gd name="connsiteY915" fmla="*/ 583322 h 605804"/>
                  <a:gd name="connsiteX916" fmla="*/ 808240 w 1204909"/>
                  <a:gd name="connsiteY916" fmla="*/ 584821 h 605804"/>
                  <a:gd name="connsiteX917" fmla="*/ 804184 w 1204909"/>
                  <a:gd name="connsiteY917" fmla="*/ 590905 h 605804"/>
                  <a:gd name="connsiteX918" fmla="*/ 804448 w 1204909"/>
                  <a:gd name="connsiteY918" fmla="*/ 593285 h 605804"/>
                  <a:gd name="connsiteX919" fmla="*/ 802421 w 1204909"/>
                  <a:gd name="connsiteY919" fmla="*/ 595577 h 605804"/>
                  <a:gd name="connsiteX920" fmla="*/ 804448 w 1204909"/>
                  <a:gd name="connsiteY920" fmla="*/ 594431 h 605804"/>
                  <a:gd name="connsiteX921" fmla="*/ 807358 w 1204909"/>
                  <a:gd name="connsiteY921" fmla="*/ 590375 h 605804"/>
                  <a:gd name="connsiteX922" fmla="*/ 806476 w 1204909"/>
                  <a:gd name="connsiteY922" fmla="*/ 591786 h 605804"/>
                  <a:gd name="connsiteX923" fmla="*/ 804713 w 1204909"/>
                  <a:gd name="connsiteY923" fmla="*/ 595048 h 605804"/>
                  <a:gd name="connsiteX924" fmla="*/ 804713 w 1204909"/>
                  <a:gd name="connsiteY924" fmla="*/ 598222 h 605804"/>
                  <a:gd name="connsiteX925" fmla="*/ 800657 w 1204909"/>
                  <a:gd name="connsiteY925" fmla="*/ 600867 h 605804"/>
                  <a:gd name="connsiteX926" fmla="*/ 797747 w 1204909"/>
                  <a:gd name="connsiteY926" fmla="*/ 603424 h 605804"/>
                  <a:gd name="connsiteX927" fmla="*/ 797130 w 1204909"/>
                  <a:gd name="connsiteY927" fmla="*/ 605188 h 605804"/>
                  <a:gd name="connsiteX928" fmla="*/ 794838 w 1204909"/>
                  <a:gd name="connsiteY928" fmla="*/ 605805 h 605804"/>
                  <a:gd name="connsiteX929" fmla="*/ 799511 w 1204909"/>
                  <a:gd name="connsiteY929" fmla="*/ 601132 h 605804"/>
                  <a:gd name="connsiteX930" fmla="*/ 798894 w 1204909"/>
                  <a:gd name="connsiteY930" fmla="*/ 598222 h 605804"/>
                  <a:gd name="connsiteX931" fmla="*/ 797483 w 1204909"/>
                  <a:gd name="connsiteY931" fmla="*/ 598222 h 605804"/>
                  <a:gd name="connsiteX932" fmla="*/ 796601 w 1204909"/>
                  <a:gd name="connsiteY932" fmla="*/ 598840 h 605804"/>
                  <a:gd name="connsiteX933" fmla="*/ 795720 w 1204909"/>
                  <a:gd name="connsiteY933" fmla="*/ 599633 h 605804"/>
                  <a:gd name="connsiteX934" fmla="*/ 795103 w 1204909"/>
                  <a:gd name="connsiteY934" fmla="*/ 602895 h 605804"/>
                  <a:gd name="connsiteX935" fmla="*/ 793339 w 1204909"/>
                  <a:gd name="connsiteY935" fmla="*/ 603424 h 605804"/>
                  <a:gd name="connsiteX936" fmla="*/ 793956 w 1204909"/>
                  <a:gd name="connsiteY936" fmla="*/ 599633 h 605804"/>
                  <a:gd name="connsiteX937" fmla="*/ 793075 w 1204909"/>
                  <a:gd name="connsiteY937" fmla="*/ 599633 h 605804"/>
                  <a:gd name="connsiteX938" fmla="*/ 793339 w 1204909"/>
                  <a:gd name="connsiteY938" fmla="*/ 599986 h 605804"/>
                  <a:gd name="connsiteX939" fmla="*/ 792810 w 1204909"/>
                  <a:gd name="connsiteY939" fmla="*/ 599986 h 605804"/>
                  <a:gd name="connsiteX940" fmla="*/ 792546 w 1204909"/>
                  <a:gd name="connsiteY940" fmla="*/ 599104 h 605804"/>
                  <a:gd name="connsiteX941" fmla="*/ 791311 w 1204909"/>
                  <a:gd name="connsiteY941" fmla="*/ 598840 h 605804"/>
                  <a:gd name="connsiteX942" fmla="*/ 786109 w 1204909"/>
                  <a:gd name="connsiteY942" fmla="*/ 600603 h 605804"/>
                  <a:gd name="connsiteX943" fmla="*/ 784610 w 1204909"/>
                  <a:gd name="connsiteY943" fmla="*/ 596724 h 605804"/>
                  <a:gd name="connsiteX944" fmla="*/ 785757 w 1204909"/>
                  <a:gd name="connsiteY944" fmla="*/ 595048 h 605804"/>
                  <a:gd name="connsiteX945" fmla="*/ 786374 w 1204909"/>
                  <a:gd name="connsiteY945" fmla="*/ 593814 h 605804"/>
                  <a:gd name="connsiteX946" fmla="*/ 785757 w 1204909"/>
                  <a:gd name="connsiteY946" fmla="*/ 588877 h 605804"/>
                  <a:gd name="connsiteX947" fmla="*/ 784346 w 1204909"/>
                  <a:gd name="connsiteY947" fmla="*/ 586232 h 605804"/>
                  <a:gd name="connsiteX948" fmla="*/ 778527 w 1204909"/>
                  <a:gd name="connsiteY948" fmla="*/ 581559 h 605804"/>
                  <a:gd name="connsiteX949" fmla="*/ 776763 w 1204909"/>
                  <a:gd name="connsiteY949" fmla="*/ 582176 h 605804"/>
                  <a:gd name="connsiteX950" fmla="*/ 775000 w 1204909"/>
                  <a:gd name="connsiteY950" fmla="*/ 578120 h 605804"/>
                  <a:gd name="connsiteX951" fmla="*/ 775000 w 1204909"/>
                  <a:gd name="connsiteY951" fmla="*/ 570185 h 605804"/>
                  <a:gd name="connsiteX952" fmla="*/ 772972 w 1204909"/>
                  <a:gd name="connsiteY952" fmla="*/ 567011 h 605804"/>
                  <a:gd name="connsiteX953" fmla="*/ 771473 w 1204909"/>
                  <a:gd name="connsiteY953" fmla="*/ 567011 h 605804"/>
                  <a:gd name="connsiteX954" fmla="*/ 771826 w 1204909"/>
                  <a:gd name="connsiteY954" fmla="*/ 567011 h 605804"/>
                  <a:gd name="connsiteX955" fmla="*/ 768564 w 1204909"/>
                  <a:gd name="connsiteY955" fmla="*/ 566746 h 605804"/>
                  <a:gd name="connsiteX956" fmla="*/ 767153 w 1204909"/>
                  <a:gd name="connsiteY956" fmla="*/ 562955 h 605804"/>
                  <a:gd name="connsiteX957" fmla="*/ 768299 w 1204909"/>
                  <a:gd name="connsiteY957" fmla="*/ 558547 h 605804"/>
                  <a:gd name="connsiteX958" fmla="*/ 761334 w 1204909"/>
                  <a:gd name="connsiteY958" fmla="*/ 540208 h 605804"/>
                  <a:gd name="connsiteX959" fmla="*/ 763009 w 1204909"/>
                  <a:gd name="connsiteY959" fmla="*/ 540472 h 605804"/>
                  <a:gd name="connsiteX960" fmla="*/ 765919 w 1204909"/>
                  <a:gd name="connsiteY960" fmla="*/ 537563 h 605804"/>
                  <a:gd name="connsiteX961" fmla="*/ 770063 w 1204909"/>
                  <a:gd name="connsiteY961" fmla="*/ 531391 h 605804"/>
                  <a:gd name="connsiteX962" fmla="*/ 769181 w 1204909"/>
                  <a:gd name="connsiteY962" fmla="*/ 530597 h 605804"/>
                  <a:gd name="connsiteX963" fmla="*/ 768564 w 1204909"/>
                  <a:gd name="connsiteY963" fmla="*/ 532890 h 605804"/>
                  <a:gd name="connsiteX964" fmla="*/ 767153 w 1204909"/>
                  <a:gd name="connsiteY964" fmla="*/ 532625 h 605804"/>
                  <a:gd name="connsiteX965" fmla="*/ 767682 w 1204909"/>
                  <a:gd name="connsiteY965" fmla="*/ 529716 h 605804"/>
                  <a:gd name="connsiteX966" fmla="*/ 765654 w 1204909"/>
                  <a:gd name="connsiteY966" fmla="*/ 529363 h 605804"/>
                  <a:gd name="connsiteX967" fmla="*/ 764244 w 1204909"/>
                  <a:gd name="connsiteY967" fmla="*/ 530245 h 605804"/>
                  <a:gd name="connsiteX968" fmla="*/ 766536 w 1204909"/>
                  <a:gd name="connsiteY968" fmla="*/ 530597 h 605804"/>
                  <a:gd name="connsiteX969" fmla="*/ 765654 w 1204909"/>
                  <a:gd name="connsiteY969" fmla="*/ 533419 h 605804"/>
                  <a:gd name="connsiteX970" fmla="*/ 761863 w 1204909"/>
                  <a:gd name="connsiteY970" fmla="*/ 537563 h 605804"/>
                  <a:gd name="connsiteX971" fmla="*/ 760717 w 1204909"/>
                  <a:gd name="connsiteY971" fmla="*/ 532008 h 605804"/>
                  <a:gd name="connsiteX972" fmla="*/ 761863 w 1204909"/>
                  <a:gd name="connsiteY972" fmla="*/ 526189 h 605804"/>
                  <a:gd name="connsiteX973" fmla="*/ 763362 w 1204909"/>
                  <a:gd name="connsiteY973" fmla="*/ 526189 h 605804"/>
                  <a:gd name="connsiteX974" fmla="*/ 763009 w 1204909"/>
                  <a:gd name="connsiteY974" fmla="*/ 524161 h 605804"/>
                  <a:gd name="connsiteX975" fmla="*/ 766800 w 1204909"/>
                  <a:gd name="connsiteY975" fmla="*/ 517725 h 605804"/>
                  <a:gd name="connsiteX976" fmla="*/ 768564 w 1204909"/>
                  <a:gd name="connsiteY976" fmla="*/ 511288 h 605804"/>
                  <a:gd name="connsiteX977" fmla="*/ 767418 w 1204909"/>
                  <a:gd name="connsiteY977" fmla="*/ 509261 h 605804"/>
                  <a:gd name="connsiteX978" fmla="*/ 768917 w 1204909"/>
                  <a:gd name="connsiteY978" fmla="*/ 506351 h 605804"/>
                  <a:gd name="connsiteX979" fmla="*/ 768035 w 1204909"/>
                  <a:gd name="connsiteY979" fmla="*/ 504059 h 605804"/>
                  <a:gd name="connsiteX980" fmla="*/ 768299 w 1204909"/>
                  <a:gd name="connsiteY980" fmla="*/ 499915 h 605804"/>
                  <a:gd name="connsiteX981" fmla="*/ 766536 w 1204909"/>
                  <a:gd name="connsiteY981" fmla="*/ 499650 h 605804"/>
                  <a:gd name="connsiteX982" fmla="*/ 762128 w 1204909"/>
                  <a:gd name="connsiteY982" fmla="*/ 500796 h 605804"/>
                  <a:gd name="connsiteX983" fmla="*/ 763009 w 1204909"/>
                  <a:gd name="connsiteY983" fmla="*/ 497005 h 605804"/>
                  <a:gd name="connsiteX984" fmla="*/ 761334 w 1204909"/>
                  <a:gd name="connsiteY984" fmla="*/ 496124 h 605804"/>
                  <a:gd name="connsiteX985" fmla="*/ 760717 w 1204909"/>
                  <a:gd name="connsiteY985" fmla="*/ 492597 h 605804"/>
                  <a:gd name="connsiteX986" fmla="*/ 757543 w 1204909"/>
                  <a:gd name="connsiteY986" fmla="*/ 490921 h 605804"/>
                  <a:gd name="connsiteX987" fmla="*/ 757807 w 1204909"/>
                  <a:gd name="connsiteY987" fmla="*/ 487130 h 605804"/>
                  <a:gd name="connsiteX988" fmla="*/ 754898 w 1204909"/>
                  <a:gd name="connsiteY988" fmla="*/ 485014 h 605804"/>
                  <a:gd name="connsiteX989" fmla="*/ 755162 w 1204909"/>
                  <a:gd name="connsiteY989" fmla="*/ 484750 h 605804"/>
                  <a:gd name="connsiteX990" fmla="*/ 754545 w 1204909"/>
                  <a:gd name="connsiteY990" fmla="*/ 481576 h 605804"/>
                  <a:gd name="connsiteX991" fmla="*/ 747580 w 1204909"/>
                  <a:gd name="connsiteY991" fmla="*/ 476903 h 605804"/>
                  <a:gd name="connsiteX992" fmla="*/ 746434 w 1204909"/>
                  <a:gd name="connsiteY992" fmla="*/ 476286 h 605804"/>
                  <a:gd name="connsiteX993" fmla="*/ 742025 w 1204909"/>
                  <a:gd name="connsiteY993" fmla="*/ 476903 h 605804"/>
                  <a:gd name="connsiteX994" fmla="*/ 739997 w 1204909"/>
                  <a:gd name="connsiteY994" fmla="*/ 479548 h 605804"/>
                  <a:gd name="connsiteX995" fmla="*/ 739997 w 1204909"/>
                  <a:gd name="connsiteY995" fmla="*/ 480077 h 605804"/>
                  <a:gd name="connsiteX996" fmla="*/ 737969 w 1204909"/>
                  <a:gd name="connsiteY996" fmla="*/ 481223 h 605804"/>
                  <a:gd name="connsiteX997" fmla="*/ 727125 w 1204909"/>
                  <a:gd name="connsiteY997" fmla="*/ 485631 h 605804"/>
                  <a:gd name="connsiteX998" fmla="*/ 727125 w 1204909"/>
                  <a:gd name="connsiteY998" fmla="*/ 483868 h 605804"/>
                  <a:gd name="connsiteX999" fmla="*/ 721306 w 1204909"/>
                  <a:gd name="connsiteY999" fmla="*/ 485896 h 605804"/>
                  <a:gd name="connsiteX1000" fmla="*/ 722187 w 1204909"/>
                  <a:gd name="connsiteY1000" fmla="*/ 486778 h 605804"/>
                  <a:gd name="connsiteX1001" fmla="*/ 719542 w 1204909"/>
                  <a:gd name="connsiteY1001" fmla="*/ 486513 h 605804"/>
                  <a:gd name="connsiteX1002" fmla="*/ 716985 w 1204909"/>
                  <a:gd name="connsiteY1002" fmla="*/ 486778 h 605804"/>
                  <a:gd name="connsiteX1003" fmla="*/ 716633 w 1204909"/>
                  <a:gd name="connsiteY1003" fmla="*/ 485631 h 605804"/>
                  <a:gd name="connsiteX1004" fmla="*/ 717250 w 1204909"/>
                  <a:gd name="connsiteY1004" fmla="*/ 486249 h 605804"/>
                  <a:gd name="connsiteX1005" fmla="*/ 718396 w 1204909"/>
                  <a:gd name="connsiteY1005" fmla="*/ 483603 h 605804"/>
                  <a:gd name="connsiteX1006" fmla="*/ 717514 w 1204909"/>
                  <a:gd name="connsiteY1006" fmla="*/ 480429 h 605804"/>
                  <a:gd name="connsiteX1007" fmla="*/ 706758 w 1204909"/>
                  <a:gd name="connsiteY1007" fmla="*/ 471965 h 605804"/>
                  <a:gd name="connsiteX1008" fmla="*/ 699175 w 1204909"/>
                  <a:gd name="connsiteY1008" fmla="*/ 468968 h 605804"/>
                  <a:gd name="connsiteX1009" fmla="*/ 690711 w 1204909"/>
                  <a:gd name="connsiteY1009" fmla="*/ 468968 h 605804"/>
                  <a:gd name="connsiteX1010" fmla="*/ 677839 w 1204909"/>
                  <a:gd name="connsiteY1010" fmla="*/ 471084 h 605804"/>
                  <a:gd name="connsiteX1011" fmla="*/ 674047 w 1204909"/>
                  <a:gd name="connsiteY1011" fmla="*/ 471613 h 605804"/>
                  <a:gd name="connsiteX1012" fmla="*/ 669992 w 1204909"/>
                  <a:gd name="connsiteY1012" fmla="*/ 471613 h 605804"/>
                  <a:gd name="connsiteX1013" fmla="*/ 667699 w 1204909"/>
                  <a:gd name="connsiteY1013" fmla="*/ 468439 h 605804"/>
                  <a:gd name="connsiteX1014" fmla="*/ 668228 w 1204909"/>
                  <a:gd name="connsiteY1014" fmla="*/ 462884 h 605804"/>
                  <a:gd name="connsiteX1015" fmla="*/ 666465 w 1204909"/>
                  <a:gd name="connsiteY1015" fmla="*/ 461738 h 605804"/>
                  <a:gd name="connsiteX1016" fmla="*/ 662145 w 1204909"/>
                  <a:gd name="connsiteY1016" fmla="*/ 470202 h 605804"/>
                  <a:gd name="connsiteX1017" fmla="*/ 656854 w 1204909"/>
                  <a:gd name="connsiteY1017" fmla="*/ 470202 h 605804"/>
                  <a:gd name="connsiteX1018" fmla="*/ 648126 w 1204909"/>
                  <a:gd name="connsiteY1018" fmla="*/ 469849 h 605804"/>
                  <a:gd name="connsiteX1019" fmla="*/ 637634 w 1204909"/>
                  <a:gd name="connsiteY1019" fmla="*/ 471084 h 605804"/>
                  <a:gd name="connsiteX1020" fmla="*/ 636488 w 1204909"/>
                  <a:gd name="connsiteY1020" fmla="*/ 470466 h 605804"/>
                  <a:gd name="connsiteX1021" fmla="*/ 631462 w 1204909"/>
                  <a:gd name="connsiteY1021" fmla="*/ 474258 h 605804"/>
                  <a:gd name="connsiteX1022" fmla="*/ 629434 w 1204909"/>
                  <a:gd name="connsiteY1022" fmla="*/ 474875 h 605804"/>
                  <a:gd name="connsiteX1023" fmla="*/ 626524 w 1204909"/>
                  <a:gd name="connsiteY1023" fmla="*/ 477784 h 605804"/>
                  <a:gd name="connsiteX1024" fmla="*/ 623880 w 1204909"/>
                  <a:gd name="connsiteY1024" fmla="*/ 478313 h 605804"/>
                  <a:gd name="connsiteX1025" fmla="*/ 628023 w 1204909"/>
                  <a:gd name="connsiteY1025" fmla="*/ 481576 h 605804"/>
                  <a:gd name="connsiteX1026" fmla="*/ 632079 w 1204909"/>
                  <a:gd name="connsiteY1026" fmla="*/ 476903 h 605804"/>
                  <a:gd name="connsiteX1027" fmla="*/ 634989 w 1204909"/>
                  <a:gd name="connsiteY1027" fmla="*/ 477432 h 605804"/>
                  <a:gd name="connsiteX1028" fmla="*/ 638780 w 1204909"/>
                  <a:gd name="connsiteY1028" fmla="*/ 474522 h 605804"/>
                  <a:gd name="connsiteX1029" fmla="*/ 637017 w 1204909"/>
                  <a:gd name="connsiteY1029" fmla="*/ 480429 h 605804"/>
                  <a:gd name="connsiteX1030" fmla="*/ 634989 w 1204909"/>
                  <a:gd name="connsiteY1030" fmla="*/ 481223 h 605804"/>
                  <a:gd name="connsiteX1031" fmla="*/ 635870 w 1204909"/>
                  <a:gd name="connsiteY1031" fmla="*/ 481576 h 605804"/>
                  <a:gd name="connsiteX1032" fmla="*/ 634371 w 1204909"/>
                  <a:gd name="connsiteY1032" fmla="*/ 482722 h 605804"/>
                  <a:gd name="connsiteX1033" fmla="*/ 634371 w 1204909"/>
                  <a:gd name="connsiteY1033" fmla="*/ 484750 h 605804"/>
                  <a:gd name="connsiteX1034" fmla="*/ 632344 w 1204909"/>
                  <a:gd name="connsiteY1034" fmla="*/ 483868 h 605804"/>
                  <a:gd name="connsiteX1035" fmla="*/ 630316 w 1204909"/>
                  <a:gd name="connsiteY1035" fmla="*/ 487130 h 605804"/>
                  <a:gd name="connsiteX1036" fmla="*/ 629170 w 1204909"/>
                  <a:gd name="connsiteY1036" fmla="*/ 485896 h 605804"/>
                  <a:gd name="connsiteX1037" fmla="*/ 628552 w 1204909"/>
                  <a:gd name="connsiteY1037" fmla="*/ 487659 h 605804"/>
                  <a:gd name="connsiteX1038" fmla="*/ 626260 w 1204909"/>
                  <a:gd name="connsiteY1038" fmla="*/ 488012 h 605804"/>
                  <a:gd name="connsiteX1039" fmla="*/ 627671 w 1204909"/>
                  <a:gd name="connsiteY1039" fmla="*/ 490040 h 605804"/>
                  <a:gd name="connsiteX1040" fmla="*/ 626260 w 1204909"/>
                  <a:gd name="connsiteY1040" fmla="*/ 491186 h 605804"/>
                  <a:gd name="connsiteX1041" fmla="*/ 627406 w 1204909"/>
                  <a:gd name="connsiteY1041" fmla="*/ 493478 h 605804"/>
                  <a:gd name="connsiteX1042" fmla="*/ 633842 w 1204909"/>
                  <a:gd name="connsiteY1042" fmla="*/ 495594 h 605804"/>
                  <a:gd name="connsiteX1043" fmla="*/ 636488 w 1204909"/>
                  <a:gd name="connsiteY1043" fmla="*/ 498151 h 605804"/>
                  <a:gd name="connsiteX1044" fmla="*/ 632961 w 1204909"/>
                  <a:gd name="connsiteY1044" fmla="*/ 504323 h 605804"/>
                  <a:gd name="connsiteX1045" fmla="*/ 631462 w 1204909"/>
                  <a:gd name="connsiteY1045" fmla="*/ 501414 h 605804"/>
                  <a:gd name="connsiteX1046" fmla="*/ 628288 w 1204909"/>
                  <a:gd name="connsiteY1046" fmla="*/ 504059 h 605804"/>
                  <a:gd name="connsiteX1047" fmla="*/ 629170 w 1204909"/>
                  <a:gd name="connsiteY1047" fmla="*/ 502560 h 605804"/>
                  <a:gd name="connsiteX1048" fmla="*/ 628023 w 1204909"/>
                  <a:gd name="connsiteY1048" fmla="*/ 501414 h 605804"/>
                  <a:gd name="connsiteX1049" fmla="*/ 626260 w 1204909"/>
                  <a:gd name="connsiteY1049" fmla="*/ 497887 h 605804"/>
                  <a:gd name="connsiteX1050" fmla="*/ 618413 w 1204909"/>
                  <a:gd name="connsiteY1050" fmla="*/ 496124 h 605804"/>
                  <a:gd name="connsiteX1051" fmla="*/ 614269 w 1204909"/>
                  <a:gd name="connsiteY1051" fmla="*/ 499386 h 605804"/>
                  <a:gd name="connsiteX1052" fmla="*/ 610478 w 1204909"/>
                  <a:gd name="connsiteY1052" fmla="*/ 501061 h 605804"/>
                  <a:gd name="connsiteX1053" fmla="*/ 611095 w 1204909"/>
                  <a:gd name="connsiteY1053" fmla="*/ 500179 h 605804"/>
                  <a:gd name="connsiteX1054" fmla="*/ 609067 w 1204909"/>
                  <a:gd name="connsiteY1054" fmla="*/ 496741 h 605804"/>
                  <a:gd name="connsiteX1055" fmla="*/ 607304 w 1204909"/>
                  <a:gd name="connsiteY1055" fmla="*/ 498504 h 605804"/>
                  <a:gd name="connsiteX1056" fmla="*/ 602366 w 1204909"/>
                  <a:gd name="connsiteY1056" fmla="*/ 498151 h 605804"/>
                  <a:gd name="connsiteX1057" fmla="*/ 598223 w 1204909"/>
                  <a:gd name="connsiteY1057" fmla="*/ 502560 h 605804"/>
                  <a:gd name="connsiteX1058" fmla="*/ 597076 w 1204909"/>
                  <a:gd name="connsiteY1058" fmla="*/ 502295 h 605804"/>
                  <a:gd name="connsiteX1059" fmla="*/ 595930 w 1204909"/>
                  <a:gd name="connsiteY1059" fmla="*/ 499386 h 605804"/>
                  <a:gd name="connsiteX1060" fmla="*/ 593021 w 1204909"/>
                  <a:gd name="connsiteY1060" fmla="*/ 499033 h 605804"/>
                  <a:gd name="connsiteX1061" fmla="*/ 587466 w 1204909"/>
                  <a:gd name="connsiteY1061" fmla="*/ 495242 h 605804"/>
                  <a:gd name="connsiteX1062" fmla="*/ 590640 w 1204909"/>
                  <a:gd name="connsiteY1062" fmla="*/ 494096 h 605804"/>
                  <a:gd name="connsiteX1063" fmla="*/ 592403 w 1204909"/>
                  <a:gd name="connsiteY1063" fmla="*/ 497005 h 605804"/>
                  <a:gd name="connsiteX1064" fmla="*/ 590640 w 1204909"/>
                  <a:gd name="connsiteY1064" fmla="*/ 491803 h 605804"/>
                  <a:gd name="connsiteX1065" fmla="*/ 587730 w 1204909"/>
                  <a:gd name="connsiteY1065" fmla="*/ 490921 h 605804"/>
                  <a:gd name="connsiteX1066" fmla="*/ 585438 w 1204909"/>
                  <a:gd name="connsiteY1066" fmla="*/ 490569 h 605804"/>
                  <a:gd name="connsiteX1067" fmla="*/ 585438 w 1204909"/>
                  <a:gd name="connsiteY1067" fmla="*/ 487659 h 605804"/>
                  <a:gd name="connsiteX1068" fmla="*/ 583322 w 1204909"/>
                  <a:gd name="connsiteY1068" fmla="*/ 487659 h 605804"/>
                  <a:gd name="connsiteX1069" fmla="*/ 584556 w 1204909"/>
                  <a:gd name="connsiteY1069" fmla="*/ 485014 h 605804"/>
                  <a:gd name="connsiteX1070" fmla="*/ 579531 w 1204909"/>
                  <a:gd name="connsiteY1070" fmla="*/ 485367 h 605804"/>
                  <a:gd name="connsiteX1071" fmla="*/ 580412 w 1204909"/>
                  <a:gd name="connsiteY1071" fmla="*/ 482986 h 605804"/>
                  <a:gd name="connsiteX1072" fmla="*/ 577856 w 1204909"/>
                  <a:gd name="connsiteY1072" fmla="*/ 482986 h 605804"/>
                  <a:gd name="connsiteX1073" fmla="*/ 572830 w 1204909"/>
                  <a:gd name="connsiteY1073" fmla="*/ 485014 h 605804"/>
                  <a:gd name="connsiteX1074" fmla="*/ 574329 w 1204909"/>
                  <a:gd name="connsiteY1074" fmla="*/ 485896 h 605804"/>
                  <a:gd name="connsiteX1075" fmla="*/ 574064 w 1204909"/>
                  <a:gd name="connsiteY1075" fmla="*/ 488012 h 605804"/>
                  <a:gd name="connsiteX1076" fmla="*/ 581911 w 1204909"/>
                  <a:gd name="connsiteY1076" fmla="*/ 489423 h 605804"/>
                  <a:gd name="connsiteX1077" fmla="*/ 580148 w 1204909"/>
                  <a:gd name="connsiteY1077" fmla="*/ 491450 h 605804"/>
                  <a:gd name="connsiteX1078" fmla="*/ 574946 w 1204909"/>
                  <a:gd name="connsiteY1078" fmla="*/ 489158 h 605804"/>
                  <a:gd name="connsiteX1079" fmla="*/ 562955 w 1204909"/>
                  <a:gd name="connsiteY1079" fmla="*/ 489158 h 605804"/>
                  <a:gd name="connsiteX1080" fmla="*/ 550435 w 1204909"/>
                  <a:gd name="connsiteY1080" fmla="*/ 483868 h 605804"/>
                  <a:gd name="connsiteX1081" fmla="*/ 540472 w 1204909"/>
                  <a:gd name="connsiteY1081" fmla="*/ 485367 h 605804"/>
                  <a:gd name="connsiteX1082" fmla="*/ 537298 w 1204909"/>
                  <a:gd name="connsiteY1082" fmla="*/ 487659 h 605804"/>
                  <a:gd name="connsiteX1083" fmla="*/ 525924 w 1204909"/>
                  <a:gd name="connsiteY1083" fmla="*/ 489687 h 605804"/>
                  <a:gd name="connsiteX1084" fmla="*/ 525572 w 1204909"/>
                  <a:gd name="connsiteY1084" fmla="*/ 489687 h 605804"/>
                  <a:gd name="connsiteX1085" fmla="*/ 516843 w 1204909"/>
                  <a:gd name="connsiteY1085" fmla="*/ 494977 h 605804"/>
                  <a:gd name="connsiteX1086" fmla="*/ 515697 w 1204909"/>
                  <a:gd name="connsiteY1086" fmla="*/ 494096 h 605804"/>
                  <a:gd name="connsiteX1087" fmla="*/ 518606 w 1204909"/>
                  <a:gd name="connsiteY1087" fmla="*/ 491803 h 605804"/>
                  <a:gd name="connsiteX1088" fmla="*/ 523015 w 1204909"/>
                  <a:gd name="connsiteY1088" fmla="*/ 490040 h 605804"/>
                  <a:gd name="connsiteX1089" fmla="*/ 516579 w 1204909"/>
                  <a:gd name="connsiteY1089" fmla="*/ 490304 h 605804"/>
                  <a:gd name="connsiteX1090" fmla="*/ 519753 w 1204909"/>
                  <a:gd name="connsiteY1090" fmla="*/ 485631 h 605804"/>
                  <a:gd name="connsiteX1091" fmla="*/ 518342 w 1204909"/>
                  <a:gd name="connsiteY1091" fmla="*/ 484485 h 605804"/>
                  <a:gd name="connsiteX1092" fmla="*/ 515432 w 1204909"/>
                  <a:gd name="connsiteY1092" fmla="*/ 486778 h 605804"/>
                  <a:gd name="connsiteX1093" fmla="*/ 513669 w 1204909"/>
                  <a:gd name="connsiteY1093" fmla="*/ 486778 h 605804"/>
                  <a:gd name="connsiteX1094" fmla="*/ 513052 w 1204909"/>
                  <a:gd name="connsiteY1094" fmla="*/ 486778 h 605804"/>
                  <a:gd name="connsiteX1095" fmla="*/ 512787 w 1204909"/>
                  <a:gd name="connsiteY1095" fmla="*/ 487395 h 605804"/>
                  <a:gd name="connsiteX1096" fmla="*/ 512170 w 1204909"/>
                  <a:gd name="connsiteY1096" fmla="*/ 489687 h 605804"/>
                  <a:gd name="connsiteX1097" fmla="*/ 513669 w 1204909"/>
                  <a:gd name="connsiteY1097" fmla="*/ 493831 h 605804"/>
                  <a:gd name="connsiteX1098" fmla="*/ 516579 w 1204909"/>
                  <a:gd name="connsiteY1098" fmla="*/ 495242 h 605804"/>
                  <a:gd name="connsiteX1099" fmla="*/ 497358 w 1204909"/>
                  <a:gd name="connsiteY1099" fmla="*/ 507850 h 605804"/>
                  <a:gd name="connsiteX1100" fmla="*/ 476286 w 1204909"/>
                  <a:gd name="connsiteY1100" fmla="*/ 518871 h 605804"/>
                  <a:gd name="connsiteX1101" fmla="*/ 464030 w 1204909"/>
                  <a:gd name="connsiteY1101" fmla="*/ 526806 h 605804"/>
                  <a:gd name="connsiteX1102" fmla="*/ 459093 w 1204909"/>
                  <a:gd name="connsiteY1102" fmla="*/ 532625 h 605804"/>
                  <a:gd name="connsiteX1103" fmla="*/ 453538 w 1204909"/>
                  <a:gd name="connsiteY1103" fmla="*/ 539326 h 605804"/>
                  <a:gd name="connsiteX1104" fmla="*/ 448865 w 1204909"/>
                  <a:gd name="connsiteY1104" fmla="*/ 546556 h 605804"/>
                  <a:gd name="connsiteX1105" fmla="*/ 446837 w 1204909"/>
                  <a:gd name="connsiteY1105" fmla="*/ 555373 h 605804"/>
                  <a:gd name="connsiteX1106" fmla="*/ 446573 w 1204909"/>
                  <a:gd name="connsiteY1106" fmla="*/ 563484 h 605804"/>
                  <a:gd name="connsiteX1107" fmla="*/ 447455 w 1204909"/>
                  <a:gd name="connsiteY1107" fmla="*/ 568157 h 605804"/>
                  <a:gd name="connsiteX1108" fmla="*/ 447455 w 1204909"/>
                  <a:gd name="connsiteY1108" fmla="*/ 579266 h 605804"/>
                  <a:gd name="connsiteX1109" fmla="*/ 445074 w 1204909"/>
                  <a:gd name="connsiteY1109" fmla="*/ 580148 h 605804"/>
                  <a:gd name="connsiteX1110" fmla="*/ 442782 w 1204909"/>
                  <a:gd name="connsiteY1110" fmla="*/ 580677 h 605804"/>
                  <a:gd name="connsiteX1111" fmla="*/ 441635 w 1204909"/>
                  <a:gd name="connsiteY1111" fmla="*/ 582440 h 605804"/>
                  <a:gd name="connsiteX1112" fmla="*/ 437844 w 1204909"/>
                  <a:gd name="connsiteY1112" fmla="*/ 581559 h 605804"/>
                  <a:gd name="connsiteX1113" fmla="*/ 436962 w 1204909"/>
                  <a:gd name="connsiteY1113" fmla="*/ 577238 h 605804"/>
                  <a:gd name="connsiteX1114" fmla="*/ 431408 w 1204909"/>
                  <a:gd name="connsiteY1114" fmla="*/ 576621 h 605804"/>
                  <a:gd name="connsiteX1115" fmla="*/ 424972 w 1204909"/>
                  <a:gd name="connsiteY1115" fmla="*/ 577238 h 605804"/>
                  <a:gd name="connsiteX1116" fmla="*/ 421445 w 1204909"/>
                  <a:gd name="connsiteY1116" fmla="*/ 573094 h 605804"/>
                  <a:gd name="connsiteX1117" fmla="*/ 416772 w 1204909"/>
                  <a:gd name="connsiteY1117" fmla="*/ 571948 h 605804"/>
                  <a:gd name="connsiteX1118" fmla="*/ 413862 w 1204909"/>
                  <a:gd name="connsiteY1118" fmla="*/ 569656 h 605804"/>
                  <a:gd name="connsiteX1119" fmla="*/ 407779 w 1204909"/>
                  <a:gd name="connsiteY1119" fmla="*/ 568510 h 605804"/>
                  <a:gd name="connsiteX1120" fmla="*/ 407514 w 1204909"/>
                  <a:gd name="connsiteY1120" fmla="*/ 557048 h 605804"/>
                  <a:gd name="connsiteX1121" fmla="*/ 403370 w 1204909"/>
                  <a:gd name="connsiteY1121" fmla="*/ 552463 h 605804"/>
                  <a:gd name="connsiteX1122" fmla="*/ 406015 w 1204909"/>
                  <a:gd name="connsiteY1122" fmla="*/ 539590 h 605804"/>
                  <a:gd name="connsiteX1123" fmla="*/ 401607 w 1204909"/>
                  <a:gd name="connsiteY1123" fmla="*/ 537298 h 605804"/>
                  <a:gd name="connsiteX1124" fmla="*/ 399579 w 1204909"/>
                  <a:gd name="connsiteY1124" fmla="*/ 530862 h 605804"/>
                  <a:gd name="connsiteX1125" fmla="*/ 397551 w 1204909"/>
                  <a:gd name="connsiteY1125" fmla="*/ 524690 h 605804"/>
                  <a:gd name="connsiteX1126" fmla="*/ 393231 w 1204909"/>
                  <a:gd name="connsiteY1126" fmla="*/ 521516 h 605804"/>
                  <a:gd name="connsiteX1127" fmla="*/ 389969 w 1204909"/>
                  <a:gd name="connsiteY1127" fmla="*/ 500532 h 605804"/>
                  <a:gd name="connsiteX1128" fmla="*/ 382386 w 1204909"/>
                  <a:gd name="connsiteY1128" fmla="*/ 491803 h 605804"/>
                  <a:gd name="connsiteX1129" fmla="*/ 378860 w 1204909"/>
                  <a:gd name="connsiteY1129" fmla="*/ 484485 h 605804"/>
                  <a:gd name="connsiteX1130" fmla="*/ 364576 w 1204909"/>
                  <a:gd name="connsiteY1130" fmla="*/ 483339 h 605804"/>
                  <a:gd name="connsiteX1131" fmla="*/ 360521 w 1204909"/>
                  <a:gd name="connsiteY1131" fmla="*/ 481576 h 605804"/>
                  <a:gd name="connsiteX1132" fmla="*/ 355583 w 1204909"/>
                  <a:gd name="connsiteY1132" fmla="*/ 484221 h 605804"/>
                  <a:gd name="connsiteX1133" fmla="*/ 351792 w 1204909"/>
                  <a:gd name="connsiteY1133" fmla="*/ 484750 h 605804"/>
                  <a:gd name="connsiteX1134" fmla="*/ 344209 w 1204909"/>
                  <a:gd name="connsiteY1134" fmla="*/ 498151 h 605804"/>
                  <a:gd name="connsiteX1135" fmla="*/ 336627 w 1204909"/>
                  <a:gd name="connsiteY1135" fmla="*/ 504323 h 605804"/>
                  <a:gd name="connsiteX1136" fmla="*/ 332219 w 1204909"/>
                  <a:gd name="connsiteY1136" fmla="*/ 503177 h 605804"/>
                  <a:gd name="connsiteX1137" fmla="*/ 319963 w 1204909"/>
                  <a:gd name="connsiteY1137" fmla="*/ 496388 h 605804"/>
                  <a:gd name="connsiteX1138" fmla="*/ 312116 w 1204909"/>
                  <a:gd name="connsiteY1138" fmla="*/ 487659 h 605804"/>
                  <a:gd name="connsiteX1139" fmla="*/ 310970 w 1204909"/>
                  <a:gd name="connsiteY1139" fmla="*/ 479548 h 605804"/>
                  <a:gd name="connsiteX1140" fmla="*/ 312645 w 1204909"/>
                  <a:gd name="connsiteY1140" fmla="*/ 476286 h 605804"/>
                  <a:gd name="connsiteX1141" fmla="*/ 312645 w 1204909"/>
                  <a:gd name="connsiteY1141" fmla="*/ 472494 h 605804"/>
                  <a:gd name="connsiteX1142" fmla="*/ 310088 w 1204909"/>
                  <a:gd name="connsiteY1142" fmla="*/ 463149 h 605804"/>
                  <a:gd name="connsiteX1143" fmla="*/ 304181 w 1204909"/>
                  <a:gd name="connsiteY1143" fmla="*/ 459093 h 605804"/>
                  <a:gd name="connsiteX1144" fmla="*/ 300478 w 1204909"/>
                  <a:gd name="connsiteY1144" fmla="*/ 452392 h 605804"/>
                  <a:gd name="connsiteX1145" fmla="*/ 296334 w 1204909"/>
                  <a:gd name="connsiteY1145" fmla="*/ 449747 h 605804"/>
                  <a:gd name="connsiteX1146" fmla="*/ 296951 w 1204909"/>
                  <a:gd name="connsiteY1146" fmla="*/ 447455 h 605804"/>
                  <a:gd name="connsiteX1147" fmla="*/ 292807 w 1204909"/>
                  <a:gd name="connsiteY1147" fmla="*/ 443928 h 605804"/>
                  <a:gd name="connsiteX1148" fmla="*/ 289016 w 1204909"/>
                  <a:gd name="connsiteY1148" fmla="*/ 441900 h 605804"/>
                  <a:gd name="connsiteX1149" fmla="*/ 289016 w 1204909"/>
                  <a:gd name="connsiteY1149" fmla="*/ 435464 h 605804"/>
                  <a:gd name="connsiteX1150" fmla="*/ 286106 w 1204909"/>
                  <a:gd name="connsiteY1150" fmla="*/ 435464 h 605804"/>
                  <a:gd name="connsiteX1151" fmla="*/ 285225 w 1204909"/>
                  <a:gd name="connsiteY1151" fmla="*/ 434317 h 605804"/>
                  <a:gd name="connsiteX1152" fmla="*/ 249957 w 1204909"/>
                  <a:gd name="connsiteY1152" fmla="*/ 434317 h 605804"/>
                  <a:gd name="connsiteX1153" fmla="*/ 246519 w 1204909"/>
                  <a:gd name="connsiteY1153" fmla="*/ 445427 h 605804"/>
                  <a:gd name="connsiteX1154" fmla="*/ 186652 w 1204909"/>
                  <a:gd name="connsiteY1154" fmla="*/ 445427 h 605804"/>
                  <a:gd name="connsiteX1155" fmla="*/ 148740 w 1204909"/>
                  <a:gd name="connsiteY1155" fmla="*/ 430526 h 605804"/>
                  <a:gd name="connsiteX1156" fmla="*/ 118410 w 1204909"/>
                  <a:gd name="connsiteY1156" fmla="*/ 418535 h 605804"/>
                  <a:gd name="connsiteX1157" fmla="*/ 121320 w 1204909"/>
                  <a:gd name="connsiteY1157" fmla="*/ 410953 h 605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</a:cxnLst>
                <a:rect l="l" t="t" r="r" b="b"/>
                <a:pathLst>
                  <a:path w="1204909" h="605804">
                    <a:moveTo>
                      <a:pt x="69124" y="415009"/>
                    </a:moveTo>
                    <a:lnTo>
                      <a:pt x="69389" y="413333"/>
                    </a:lnTo>
                    <a:lnTo>
                      <a:pt x="67361" y="412452"/>
                    </a:lnTo>
                    <a:lnTo>
                      <a:pt x="69389" y="408925"/>
                    </a:lnTo>
                    <a:lnTo>
                      <a:pt x="68595" y="407779"/>
                    </a:lnTo>
                    <a:lnTo>
                      <a:pt x="69741" y="400725"/>
                    </a:lnTo>
                    <a:lnTo>
                      <a:pt x="69124" y="396052"/>
                    </a:lnTo>
                    <a:lnTo>
                      <a:pt x="66832" y="394025"/>
                    </a:lnTo>
                    <a:lnTo>
                      <a:pt x="66214" y="388470"/>
                    </a:lnTo>
                    <a:lnTo>
                      <a:pt x="62159" y="388205"/>
                    </a:lnTo>
                    <a:lnTo>
                      <a:pt x="58896" y="385913"/>
                    </a:lnTo>
                    <a:lnTo>
                      <a:pt x="55458" y="386178"/>
                    </a:lnTo>
                    <a:lnTo>
                      <a:pt x="53077" y="385913"/>
                    </a:lnTo>
                    <a:lnTo>
                      <a:pt x="54576" y="383003"/>
                    </a:lnTo>
                    <a:lnTo>
                      <a:pt x="53342" y="377978"/>
                    </a:lnTo>
                    <a:lnTo>
                      <a:pt x="45230" y="377713"/>
                    </a:lnTo>
                    <a:lnTo>
                      <a:pt x="39940" y="375421"/>
                    </a:lnTo>
                    <a:lnTo>
                      <a:pt x="39940" y="372511"/>
                    </a:lnTo>
                    <a:lnTo>
                      <a:pt x="37383" y="369602"/>
                    </a:lnTo>
                    <a:lnTo>
                      <a:pt x="31476" y="366340"/>
                    </a:lnTo>
                    <a:lnTo>
                      <a:pt x="27685" y="366957"/>
                    </a:lnTo>
                    <a:lnTo>
                      <a:pt x="24246" y="366957"/>
                    </a:lnTo>
                    <a:lnTo>
                      <a:pt x="23012" y="367221"/>
                    </a:lnTo>
                    <a:lnTo>
                      <a:pt x="17193" y="367839"/>
                    </a:lnTo>
                    <a:lnTo>
                      <a:pt x="14548" y="364576"/>
                    </a:lnTo>
                    <a:lnTo>
                      <a:pt x="16928" y="361667"/>
                    </a:lnTo>
                    <a:lnTo>
                      <a:pt x="18692" y="358757"/>
                    </a:lnTo>
                    <a:lnTo>
                      <a:pt x="18956" y="354701"/>
                    </a:lnTo>
                    <a:lnTo>
                      <a:pt x="20720" y="350557"/>
                    </a:lnTo>
                    <a:lnTo>
                      <a:pt x="16664" y="348001"/>
                    </a:lnTo>
                    <a:lnTo>
                      <a:pt x="18692" y="343328"/>
                    </a:lnTo>
                    <a:lnTo>
                      <a:pt x="14900" y="340418"/>
                    </a:lnTo>
                    <a:lnTo>
                      <a:pt x="12255" y="337509"/>
                    </a:lnTo>
                    <a:lnTo>
                      <a:pt x="12520" y="334246"/>
                    </a:lnTo>
                    <a:lnTo>
                      <a:pt x="11991" y="326047"/>
                    </a:lnTo>
                    <a:lnTo>
                      <a:pt x="8464" y="324371"/>
                    </a:lnTo>
                    <a:lnTo>
                      <a:pt x="7318" y="321462"/>
                    </a:lnTo>
                    <a:lnTo>
                      <a:pt x="5555" y="316172"/>
                    </a:lnTo>
                    <a:lnTo>
                      <a:pt x="8200" y="314761"/>
                    </a:lnTo>
                    <a:lnTo>
                      <a:pt x="11638" y="313262"/>
                    </a:lnTo>
                    <a:lnTo>
                      <a:pt x="14548" y="311234"/>
                    </a:lnTo>
                    <a:lnTo>
                      <a:pt x="14900" y="307972"/>
                    </a:lnTo>
                    <a:lnTo>
                      <a:pt x="14283" y="305063"/>
                    </a:lnTo>
                    <a:lnTo>
                      <a:pt x="9963" y="305680"/>
                    </a:lnTo>
                    <a:lnTo>
                      <a:pt x="6701" y="299244"/>
                    </a:lnTo>
                    <a:lnTo>
                      <a:pt x="8729" y="295188"/>
                    </a:lnTo>
                    <a:lnTo>
                      <a:pt x="7582" y="291132"/>
                    </a:lnTo>
                    <a:lnTo>
                      <a:pt x="9963" y="286724"/>
                    </a:lnTo>
                    <a:lnTo>
                      <a:pt x="12255" y="283550"/>
                    </a:lnTo>
                    <a:lnTo>
                      <a:pt x="6172" y="279141"/>
                    </a:lnTo>
                    <a:lnTo>
                      <a:pt x="2910" y="279406"/>
                    </a:lnTo>
                    <a:lnTo>
                      <a:pt x="6172" y="275614"/>
                    </a:lnTo>
                    <a:lnTo>
                      <a:pt x="6436" y="272176"/>
                    </a:lnTo>
                    <a:lnTo>
                      <a:pt x="1499" y="260449"/>
                    </a:lnTo>
                    <a:lnTo>
                      <a:pt x="0" y="255776"/>
                    </a:lnTo>
                    <a:lnTo>
                      <a:pt x="2028" y="253484"/>
                    </a:lnTo>
                    <a:lnTo>
                      <a:pt x="2645" y="245637"/>
                    </a:lnTo>
                    <a:lnTo>
                      <a:pt x="7582" y="237437"/>
                    </a:lnTo>
                    <a:lnTo>
                      <a:pt x="6701" y="229590"/>
                    </a:lnTo>
                    <a:lnTo>
                      <a:pt x="2910" y="223683"/>
                    </a:lnTo>
                    <a:lnTo>
                      <a:pt x="4408" y="218746"/>
                    </a:lnTo>
                    <a:lnTo>
                      <a:pt x="16311" y="207107"/>
                    </a:lnTo>
                    <a:lnTo>
                      <a:pt x="18075" y="204198"/>
                    </a:lnTo>
                    <a:lnTo>
                      <a:pt x="18075" y="202170"/>
                    </a:lnTo>
                    <a:lnTo>
                      <a:pt x="24775" y="193706"/>
                    </a:lnTo>
                    <a:lnTo>
                      <a:pt x="27420" y="192560"/>
                    </a:lnTo>
                    <a:lnTo>
                      <a:pt x="27156" y="187005"/>
                    </a:lnTo>
                    <a:lnTo>
                      <a:pt x="25128" y="185242"/>
                    </a:lnTo>
                    <a:lnTo>
                      <a:pt x="28038" y="182332"/>
                    </a:lnTo>
                    <a:lnTo>
                      <a:pt x="29184" y="180304"/>
                    </a:lnTo>
                    <a:lnTo>
                      <a:pt x="31476" y="178188"/>
                    </a:lnTo>
                    <a:lnTo>
                      <a:pt x="27420" y="177659"/>
                    </a:lnTo>
                    <a:lnTo>
                      <a:pt x="28919" y="175631"/>
                    </a:lnTo>
                    <a:lnTo>
                      <a:pt x="28302" y="170341"/>
                    </a:lnTo>
                    <a:lnTo>
                      <a:pt x="30330" y="169195"/>
                    </a:lnTo>
                    <a:lnTo>
                      <a:pt x="33857" y="164522"/>
                    </a:lnTo>
                    <a:lnTo>
                      <a:pt x="33240" y="159585"/>
                    </a:lnTo>
                    <a:lnTo>
                      <a:pt x="37383" y="156940"/>
                    </a:lnTo>
                    <a:lnTo>
                      <a:pt x="43203" y="148211"/>
                    </a:lnTo>
                    <a:lnTo>
                      <a:pt x="48404" y="145301"/>
                    </a:lnTo>
                    <a:lnTo>
                      <a:pt x="51050" y="144420"/>
                    </a:lnTo>
                    <a:lnTo>
                      <a:pt x="51931" y="140893"/>
                    </a:lnTo>
                    <a:lnTo>
                      <a:pt x="56340" y="139394"/>
                    </a:lnTo>
                    <a:lnTo>
                      <a:pt x="56869" y="134457"/>
                    </a:lnTo>
                    <a:lnTo>
                      <a:pt x="61542" y="131283"/>
                    </a:lnTo>
                    <a:lnTo>
                      <a:pt x="63305" y="124229"/>
                    </a:lnTo>
                    <a:lnTo>
                      <a:pt x="67361" y="121055"/>
                    </a:lnTo>
                    <a:lnTo>
                      <a:pt x="72298" y="113208"/>
                    </a:lnTo>
                    <a:lnTo>
                      <a:pt x="72298" y="110299"/>
                    </a:lnTo>
                    <a:lnTo>
                      <a:pt x="74943" y="109417"/>
                    </a:lnTo>
                    <a:lnTo>
                      <a:pt x="76971" y="105626"/>
                    </a:lnTo>
                    <a:lnTo>
                      <a:pt x="79881" y="101482"/>
                    </a:lnTo>
                    <a:lnTo>
                      <a:pt x="82261" y="98308"/>
                    </a:lnTo>
                    <a:lnTo>
                      <a:pt x="81379" y="96809"/>
                    </a:lnTo>
                    <a:lnTo>
                      <a:pt x="86052" y="95134"/>
                    </a:lnTo>
                    <a:lnTo>
                      <a:pt x="87199" y="90196"/>
                    </a:lnTo>
                    <a:lnTo>
                      <a:pt x="88345" y="87551"/>
                    </a:lnTo>
                    <a:lnTo>
                      <a:pt x="90725" y="85788"/>
                    </a:lnTo>
                    <a:lnTo>
                      <a:pt x="90725" y="83407"/>
                    </a:lnTo>
                    <a:lnTo>
                      <a:pt x="92753" y="81997"/>
                    </a:lnTo>
                    <a:lnTo>
                      <a:pt x="93899" y="79969"/>
                    </a:lnTo>
                    <a:lnTo>
                      <a:pt x="93899" y="76706"/>
                    </a:lnTo>
                    <a:lnTo>
                      <a:pt x="95927" y="78205"/>
                    </a:lnTo>
                    <a:lnTo>
                      <a:pt x="102099" y="75825"/>
                    </a:lnTo>
                    <a:lnTo>
                      <a:pt x="100953" y="75296"/>
                    </a:lnTo>
                    <a:lnTo>
                      <a:pt x="95927" y="75825"/>
                    </a:lnTo>
                    <a:lnTo>
                      <a:pt x="94781" y="75296"/>
                    </a:lnTo>
                    <a:lnTo>
                      <a:pt x="94517" y="75560"/>
                    </a:lnTo>
                    <a:lnTo>
                      <a:pt x="95663" y="72915"/>
                    </a:lnTo>
                    <a:lnTo>
                      <a:pt x="99189" y="66832"/>
                    </a:lnTo>
                    <a:lnTo>
                      <a:pt x="97691" y="70623"/>
                    </a:lnTo>
                    <a:lnTo>
                      <a:pt x="99189" y="70623"/>
                    </a:lnTo>
                    <a:lnTo>
                      <a:pt x="101835" y="68859"/>
                    </a:lnTo>
                    <a:lnTo>
                      <a:pt x="101835" y="66832"/>
                    </a:lnTo>
                    <a:lnTo>
                      <a:pt x="105009" y="64451"/>
                    </a:lnTo>
                    <a:lnTo>
                      <a:pt x="101482" y="64804"/>
                    </a:lnTo>
                    <a:lnTo>
                      <a:pt x="101217" y="63040"/>
                    </a:lnTo>
                    <a:lnTo>
                      <a:pt x="101835" y="60131"/>
                    </a:lnTo>
                    <a:lnTo>
                      <a:pt x="102363" y="61013"/>
                    </a:lnTo>
                    <a:lnTo>
                      <a:pt x="108535" y="58632"/>
                    </a:lnTo>
                    <a:lnTo>
                      <a:pt x="105009" y="56869"/>
                    </a:lnTo>
                    <a:lnTo>
                      <a:pt x="101835" y="59514"/>
                    </a:lnTo>
                    <a:lnTo>
                      <a:pt x="104744" y="54841"/>
                    </a:lnTo>
                    <a:lnTo>
                      <a:pt x="105890" y="51402"/>
                    </a:lnTo>
                    <a:lnTo>
                      <a:pt x="105273" y="47875"/>
                    </a:lnTo>
                    <a:lnTo>
                      <a:pt x="107918" y="44613"/>
                    </a:lnTo>
                    <a:lnTo>
                      <a:pt x="109417" y="38794"/>
                    </a:lnTo>
                    <a:lnTo>
                      <a:pt x="109681" y="39411"/>
                    </a:lnTo>
                    <a:lnTo>
                      <a:pt x="108183" y="36149"/>
                    </a:lnTo>
                    <a:lnTo>
                      <a:pt x="109417" y="33592"/>
                    </a:lnTo>
                    <a:lnTo>
                      <a:pt x="109946" y="29184"/>
                    </a:lnTo>
                    <a:lnTo>
                      <a:pt x="113737" y="25657"/>
                    </a:lnTo>
                    <a:lnTo>
                      <a:pt x="113737" y="23629"/>
                    </a:lnTo>
                    <a:lnTo>
                      <a:pt x="125111" y="29448"/>
                    </a:lnTo>
                    <a:lnTo>
                      <a:pt x="136837" y="30683"/>
                    </a:lnTo>
                    <a:lnTo>
                      <a:pt x="141775" y="28919"/>
                    </a:lnTo>
                    <a:lnTo>
                      <a:pt x="143538" y="32093"/>
                    </a:lnTo>
                    <a:lnTo>
                      <a:pt x="144684" y="32093"/>
                    </a:lnTo>
                    <a:lnTo>
                      <a:pt x="146712" y="30065"/>
                    </a:lnTo>
                    <a:lnTo>
                      <a:pt x="148211" y="30065"/>
                    </a:lnTo>
                    <a:lnTo>
                      <a:pt x="146448" y="32358"/>
                    </a:lnTo>
                    <a:lnTo>
                      <a:pt x="149357" y="30683"/>
                    </a:lnTo>
                    <a:lnTo>
                      <a:pt x="146712" y="33592"/>
                    </a:lnTo>
                    <a:lnTo>
                      <a:pt x="146977" y="36149"/>
                    </a:lnTo>
                    <a:lnTo>
                      <a:pt x="147594" y="36766"/>
                    </a:lnTo>
                    <a:lnTo>
                      <a:pt x="147329" y="35003"/>
                    </a:lnTo>
                    <a:lnTo>
                      <a:pt x="149357" y="35355"/>
                    </a:lnTo>
                    <a:lnTo>
                      <a:pt x="147858" y="39411"/>
                    </a:lnTo>
                    <a:lnTo>
                      <a:pt x="145566" y="40293"/>
                    </a:lnTo>
                    <a:lnTo>
                      <a:pt x="144684" y="43731"/>
                    </a:lnTo>
                    <a:lnTo>
                      <a:pt x="142392" y="44966"/>
                    </a:lnTo>
                    <a:lnTo>
                      <a:pt x="143803" y="45230"/>
                    </a:lnTo>
                    <a:lnTo>
                      <a:pt x="144067" y="48140"/>
                    </a:lnTo>
                    <a:lnTo>
                      <a:pt x="140629" y="49022"/>
                    </a:lnTo>
                    <a:lnTo>
                      <a:pt x="139130" y="49903"/>
                    </a:lnTo>
                    <a:lnTo>
                      <a:pt x="140893" y="51402"/>
                    </a:lnTo>
                    <a:lnTo>
                      <a:pt x="141775" y="50168"/>
                    </a:lnTo>
                    <a:lnTo>
                      <a:pt x="144420" y="49286"/>
                    </a:lnTo>
                    <a:lnTo>
                      <a:pt x="146095" y="43731"/>
                    </a:lnTo>
                    <a:lnTo>
                      <a:pt x="148211" y="43202"/>
                    </a:lnTo>
                    <a:lnTo>
                      <a:pt x="146977" y="41704"/>
                    </a:lnTo>
                    <a:lnTo>
                      <a:pt x="156323" y="32975"/>
                    </a:lnTo>
                    <a:lnTo>
                      <a:pt x="156323" y="28037"/>
                    </a:lnTo>
                    <a:lnTo>
                      <a:pt x="154295" y="29184"/>
                    </a:lnTo>
                    <a:lnTo>
                      <a:pt x="154030" y="31564"/>
                    </a:lnTo>
                    <a:lnTo>
                      <a:pt x="153413" y="28919"/>
                    </a:lnTo>
                    <a:lnTo>
                      <a:pt x="154295" y="27420"/>
                    </a:lnTo>
                    <a:lnTo>
                      <a:pt x="156940" y="27420"/>
                    </a:lnTo>
                    <a:lnTo>
                      <a:pt x="158086" y="26010"/>
                    </a:lnTo>
                    <a:lnTo>
                      <a:pt x="155794" y="23982"/>
                    </a:lnTo>
                    <a:lnTo>
                      <a:pt x="155441" y="26274"/>
                    </a:lnTo>
                    <a:lnTo>
                      <a:pt x="151385" y="28037"/>
                    </a:lnTo>
                    <a:lnTo>
                      <a:pt x="150768" y="32093"/>
                    </a:lnTo>
                    <a:lnTo>
                      <a:pt x="154030" y="32358"/>
                    </a:lnTo>
                    <a:lnTo>
                      <a:pt x="153766" y="34474"/>
                    </a:lnTo>
                    <a:lnTo>
                      <a:pt x="151121" y="35355"/>
                    </a:lnTo>
                    <a:lnTo>
                      <a:pt x="149357" y="32710"/>
                    </a:lnTo>
                    <a:lnTo>
                      <a:pt x="150503" y="29801"/>
                    </a:lnTo>
                    <a:lnTo>
                      <a:pt x="149093" y="28037"/>
                    </a:lnTo>
                    <a:lnTo>
                      <a:pt x="154030" y="23629"/>
                    </a:lnTo>
                    <a:lnTo>
                      <a:pt x="154295" y="21866"/>
                    </a:lnTo>
                    <a:lnTo>
                      <a:pt x="157204" y="19838"/>
                    </a:lnTo>
                    <a:lnTo>
                      <a:pt x="155794" y="19309"/>
                    </a:lnTo>
                    <a:lnTo>
                      <a:pt x="157557" y="18427"/>
                    </a:lnTo>
                    <a:lnTo>
                      <a:pt x="158350" y="22218"/>
                    </a:lnTo>
                    <a:lnTo>
                      <a:pt x="158703" y="19573"/>
                    </a:lnTo>
                    <a:lnTo>
                      <a:pt x="161260" y="19573"/>
                    </a:lnTo>
                    <a:lnTo>
                      <a:pt x="162494" y="14900"/>
                    </a:lnTo>
                    <a:lnTo>
                      <a:pt x="160114" y="15518"/>
                    </a:lnTo>
                    <a:lnTo>
                      <a:pt x="158703" y="18075"/>
                    </a:lnTo>
                    <a:lnTo>
                      <a:pt x="157821" y="16047"/>
                    </a:lnTo>
                    <a:lnTo>
                      <a:pt x="159585" y="14900"/>
                    </a:lnTo>
                    <a:lnTo>
                      <a:pt x="159585" y="10845"/>
                    </a:lnTo>
                    <a:lnTo>
                      <a:pt x="170958" y="9963"/>
                    </a:lnTo>
                    <a:lnTo>
                      <a:pt x="197762" y="9081"/>
                    </a:lnTo>
                    <a:lnTo>
                      <a:pt x="233029" y="8729"/>
                    </a:lnTo>
                    <a:lnTo>
                      <a:pt x="275085" y="9081"/>
                    </a:lnTo>
                    <a:lnTo>
                      <a:pt x="330455" y="9081"/>
                    </a:lnTo>
                    <a:lnTo>
                      <a:pt x="407162" y="9081"/>
                    </a:lnTo>
                    <a:lnTo>
                      <a:pt x="481311" y="9081"/>
                    </a:lnTo>
                    <a:lnTo>
                      <a:pt x="521869" y="9081"/>
                    </a:lnTo>
                    <a:lnTo>
                      <a:pt x="566129" y="9081"/>
                    </a:lnTo>
                    <a:lnTo>
                      <a:pt x="628905" y="9081"/>
                    </a:lnTo>
                    <a:lnTo>
                      <a:pt x="671138" y="9081"/>
                    </a:lnTo>
                    <a:lnTo>
                      <a:pt x="697147" y="0"/>
                    </a:lnTo>
                    <a:lnTo>
                      <a:pt x="700586" y="0"/>
                    </a:lnTo>
                    <a:lnTo>
                      <a:pt x="702702" y="1146"/>
                    </a:lnTo>
                    <a:lnTo>
                      <a:pt x="698911" y="14283"/>
                    </a:lnTo>
                    <a:lnTo>
                      <a:pt x="703231" y="16311"/>
                    </a:lnTo>
                    <a:lnTo>
                      <a:pt x="712577" y="18075"/>
                    </a:lnTo>
                    <a:lnTo>
                      <a:pt x="712577" y="20984"/>
                    </a:lnTo>
                    <a:lnTo>
                      <a:pt x="728006" y="18075"/>
                    </a:lnTo>
                    <a:lnTo>
                      <a:pt x="731533" y="18956"/>
                    </a:lnTo>
                    <a:lnTo>
                      <a:pt x="734178" y="22483"/>
                    </a:lnTo>
                    <a:lnTo>
                      <a:pt x="735060" y="22218"/>
                    </a:lnTo>
                    <a:lnTo>
                      <a:pt x="736735" y="22747"/>
                    </a:lnTo>
                    <a:lnTo>
                      <a:pt x="736206" y="23982"/>
                    </a:lnTo>
                    <a:lnTo>
                      <a:pt x="736735" y="27156"/>
                    </a:lnTo>
                    <a:lnTo>
                      <a:pt x="737705" y="27420"/>
                    </a:lnTo>
                    <a:lnTo>
                      <a:pt x="739380" y="27420"/>
                    </a:lnTo>
                    <a:lnTo>
                      <a:pt x="739997" y="24775"/>
                    </a:lnTo>
                    <a:lnTo>
                      <a:pt x="743171" y="24511"/>
                    </a:lnTo>
                    <a:lnTo>
                      <a:pt x="747580" y="28302"/>
                    </a:lnTo>
                    <a:lnTo>
                      <a:pt x="749079" y="28566"/>
                    </a:lnTo>
                    <a:lnTo>
                      <a:pt x="748461" y="30330"/>
                    </a:lnTo>
                    <a:lnTo>
                      <a:pt x="750842" y="30683"/>
                    </a:lnTo>
                    <a:lnTo>
                      <a:pt x="749960" y="32358"/>
                    </a:lnTo>
                    <a:lnTo>
                      <a:pt x="766536" y="27156"/>
                    </a:lnTo>
                    <a:lnTo>
                      <a:pt x="766536" y="31212"/>
                    </a:lnTo>
                    <a:lnTo>
                      <a:pt x="778791" y="30683"/>
                    </a:lnTo>
                    <a:lnTo>
                      <a:pt x="782318" y="33857"/>
                    </a:lnTo>
                    <a:lnTo>
                      <a:pt x="789019" y="33240"/>
                    </a:lnTo>
                    <a:lnTo>
                      <a:pt x="781084" y="35620"/>
                    </a:lnTo>
                    <a:lnTo>
                      <a:pt x="779409" y="37031"/>
                    </a:lnTo>
                    <a:lnTo>
                      <a:pt x="771209" y="39411"/>
                    </a:lnTo>
                    <a:lnTo>
                      <a:pt x="766271" y="40557"/>
                    </a:lnTo>
                    <a:lnTo>
                      <a:pt x="761334" y="41439"/>
                    </a:lnTo>
                    <a:lnTo>
                      <a:pt x="758424" y="42585"/>
                    </a:lnTo>
                    <a:lnTo>
                      <a:pt x="754016" y="46377"/>
                    </a:lnTo>
                    <a:lnTo>
                      <a:pt x="748726" y="47258"/>
                    </a:lnTo>
                    <a:lnTo>
                      <a:pt x="746963" y="48140"/>
                    </a:lnTo>
                    <a:lnTo>
                      <a:pt x="742642" y="51667"/>
                    </a:lnTo>
                    <a:lnTo>
                      <a:pt x="741761" y="52813"/>
                    </a:lnTo>
                    <a:lnTo>
                      <a:pt x="740614" y="55105"/>
                    </a:lnTo>
                    <a:lnTo>
                      <a:pt x="735589" y="58103"/>
                    </a:lnTo>
                    <a:lnTo>
                      <a:pt x="733296" y="59514"/>
                    </a:lnTo>
                    <a:lnTo>
                      <a:pt x="731533" y="59778"/>
                    </a:lnTo>
                    <a:lnTo>
                      <a:pt x="728006" y="60660"/>
                    </a:lnTo>
                    <a:lnTo>
                      <a:pt x="725449" y="63040"/>
                    </a:lnTo>
                    <a:lnTo>
                      <a:pt x="726596" y="64804"/>
                    </a:lnTo>
                    <a:lnTo>
                      <a:pt x="728623" y="63922"/>
                    </a:lnTo>
                    <a:lnTo>
                      <a:pt x="730916" y="62688"/>
                    </a:lnTo>
                    <a:lnTo>
                      <a:pt x="735324" y="63922"/>
                    </a:lnTo>
                    <a:lnTo>
                      <a:pt x="735324" y="63305"/>
                    </a:lnTo>
                    <a:lnTo>
                      <a:pt x="738851" y="63040"/>
                    </a:lnTo>
                    <a:lnTo>
                      <a:pt x="739733" y="62159"/>
                    </a:lnTo>
                    <a:lnTo>
                      <a:pt x="743788" y="61277"/>
                    </a:lnTo>
                    <a:lnTo>
                      <a:pt x="744670" y="61277"/>
                    </a:lnTo>
                    <a:lnTo>
                      <a:pt x="746698" y="59514"/>
                    </a:lnTo>
                    <a:lnTo>
                      <a:pt x="748461" y="59514"/>
                    </a:lnTo>
                    <a:lnTo>
                      <a:pt x="751988" y="58632"/>
                    </a:lnTo>
                    <a:lnTo>
                      <a:pt x="752870" y="60395"/>
                    </a:lnTo>
                    <a:lnTo>
                      <a:pt x="749608" y="61894"/>
                    </a:lnTo>
                    <a:lnTo>
                      <a:pt x="749608" y="63040"/>
                    </a:lnTo>
                    <a:lnTo>
                      <a:pt x="747315" y="64804"/>
                    </a:lnTo>
                    <a:lnTo>
                      <a:pt x="746081" y="67713"/>
                    </a:lnTo>
                    <a:lnTo>
                      <a:pt x="750225" y="66479"/>
                    </a:lnTo>
                    <a:lnTo>
                      <a:pt x="750225" y="64187"/>
                    </a:lnTo>
                    <a:lnTo>
                      <a:pt x="753663" y="67713"/>
                    </a:lnTo>
                    <a:lnTo>
                      <a:pt x="756044" y="68242"/>
                    </a:lnTo>
                    <a:lnTo>
                      <a:pt x="758953" y="65685"/>
                    </a:lnTo>
                    <a:lnTo>
                      <a:pt x="759571" y="65333"/>
                    </a:lnTo>
                    <a:lnTo>
                      <a:pt x="762128" y="64187"/>
                    </a:lnTo>
                    <a:lnTo>
                      <a:pt x="764244" y="64451"/>
                    </a:lnTo>
                    <a:lnTo>
                      <a:pt x="768917" y="63569"/>
                    </a:lnTo>
                    <a:lnTo>
                      <a:pt x="771473" y="61894"/>
                    </a:lnTo>
                    <a:lnTo>
                      <a:pt x="773854" y="62159"/>
                    </a:lnTo>
                    <a:lnTo>
                      <a:pt x="778174" y="61541"/>
                    </a:lnTo>
                    <a:lnTo>
                      <a:pt x="785492" y="57486"/>
                    </a:lnTo>
                    <a:lnTo>
                      <a:pt x="789900" y="56869"/>
                    </a:lnTo>
                    <a:lnTo>
                      <a:pt x="792193" y="55105"/>
                    </a:lnTo>
                    <a:lnTo>
                      <a:pt x="795103" y="51402"/>
                    </a:lnTo>
                    <a:lnTo>
                      <a:pt x="797130" y="49903"/>
                    </a:lnTo>
                    <a:lnTo>
                      <a:pt x="801539" y="48757"/>
                    </a:lnTo>
                    <a:lnTo>
                      <a:pt x="803567" y="47875"/>
                    </a:lnTo>
                    <a:lnTo>
                      <a:pt x="808240" y="46641"/>
                    </a:lnTo>
                    <a:lnTo>
                      <a:pt x="812648" y="46112"/>
                    </a:lnTo>
                    <a:lnTo>
                      <a:pt x="814411" y="45495"/>
                    </a:lnTo>
                    <a:lnTo>
                      <a:pt x="817321" y="46112"/>
                    </a:lnTo>
                    <a:lnTo>
                      <a:pt x="817585" y="47875"/>
                    </a:lnTo>
                    <a:lnTo>
                      <a:pt x="814676" y="47875"/>
                    </a:lnTo>
                    <a:lnTo>
                      <a:pt x="812912" y="48140"/>
                    </a:lnTo>
                    <a:lnTo>
                      <a:pt x="810885" y="50520"/>
                    </a:lnTo>
                    <a:lnTo>
                      <a:pt x="809386" y="52196"/>
                    </a:lnTo>
                    <a:lnTo>
                      <a:pt x="805594" y="52813"/>
                    </a:lnTo>
                    <a:lnTo>
                      <a:pt x="802421" y="54841"/>
                    </a:lnTo>
                    <a:lnTo>
                      <a:pt x="800922" y="55722"/>
                    </a:lnTo>
                    <a:lnTo>
                      <a:pt x="798365" y="59249"/>
                    </a:lnTo>
                    <a:lnTo>
                      <a:pt x="796601" y="63040"/>
                    </a:lnTo>
                    <a:lnTo>
                      <a:pt x="798629" y="62159"/>
                    </a:lnTo>
                    <a:lnTo>
                      <a:pt x="800128" y="60131"/>
                    </a:lnTo>
                    <a:lnTo>
                      <a:pt x="804713" y="58367"/>
                    </a:lnTo>
                    <a:lnTo>
                      <a:pt x="803567" y="60131"/>
                    </a:lnTo>
                    <a:lnTo>
                      <a:pt x="806212" y="59778"/>
                    </a:lnTo>
                    <a:lnTo>
                      <a:pt x="809738" y="59514"/>
                    </a:lnTo>
                    <a:lnTo>
                      <a:pt x="812383" y="61277"/>
                    </a:lnTo>
                    <a:lnTo>
                      <a:pt x="814676" y="64804"/>
                    </a:lnTo>
                    <a:lnTo>
                      <a:pt x="815293" y="67713"/>
                    </a:lnTo>
                    <a:lnTo>
                      <a:pt x="814940" y="69388"/>
                    </a:lnTo>
                    <a:lnTo>
                      <a:pt x="817585" y="70623"/>
                    </a:lnTo>
                    <a:lnTo>
                      <a:pt x="819878" y="70006"/>
                    </a:lnTo>
                    <a:lnTo>
                      <a:pt x="822258" y="69124"/>
                    </a:lnTo>
                    <a:lnTo>
                      <a:pt x="824022" y="71505"/>
                    </a:lnTo>
                    <a:lnTo>
                      <a:pt x="827460" y="71505"/>
                    </a:lnTo>
                    <a:lnTo>
                      <a:pt x="829224" y="68242"/>
                    </a:lnTo>
                    <a:lnTo>
                      <a:pt x="829576" y="70623"/>
                    </a:lnTo>
                    <a:lnTo>
                      <a:pt x="840068" y="65950"/>
                    </a:lnTo>
                    <a:lnTo>
                      <a:pt x="846416" y="65068"/>
                    </a:lnTo>
                    <a:lnTo>
                      <a:pt x="853205" y="65685"/>
                    </a:lnTo>
                    <a:lnTo>
                      <a:pt x="859025" y="63569"/>
                    </a:lnTo>
                    <a:lnTo>
                      <a:pt x="865108" y="63305"/>
                    </a:lnTo>
                    <a:lnTo>
                      <a:pt x="862816" y="64804"/>
                    </a:lnTo>
                    <a:lnTo>
                      <a:pt x="860435" y="70358"/>
                    </a:lnTo>
                    <a:lnTo>
                      <a:pt x="872426" y="70623"/>
                    </a:lnTo>
                    <a:lnTo>
                      <a:pt x="878245" y="68859"/>
                    </a:lnTo>
                    <a:lnTo>
                      <a:pt x="875600" y="77588"/>
                    </a:lnTo>
                    <a:lnTo>
                      <a:pt x="877099" y="80850"/>
                    </a:lnTo>
                    <a:lnTo>
                      <a:pt x="881155" y="79616"/>
                    </a:lnTo>
                    <a:lnTo>
                      <a:pt x="884064" y="79616"/>
                    </a:lnTo>
                    <a:lnTo>
                      <a:pt x="885828" y="82878"/>
                    </a:lnTo>
                    <a:lnTo>
                      <a:pt x="884064" y="84289"/>
                    </a:lnTo>
                    <a:lnTo>
                      <a:pt x="873043" y="82878"/>
                    </a:lnTo>
                    <a:lnTo>
                      <a:pt x="867489" y="83760"/>
                    </a:lnTo>
                    <a:lnTo>
                      <a:pt x="863698" y="81115"/>
                    </a:lnTo>
                    <a:lnTo>
                      <a:pt x="862199" y="81997"/>
                    </a:lnTo>
                    <a:lnTo>
                      <a:pt x="859289" y="86052"/>
                    </a:lnTo>
                    <a:lnTo>
                      <a:pt x="855498" y="81997"/>
                    </a:lnTo>
                    <a:lnTo>
                      <a:pt x="850560" y="79969"/>
                    </a:lnTo>
                    <a:lnTo>
                      <a:pt x="846769" y="79969"/>
                    </a:lnTo>
                    <a:lnTo>
                      <a:pt x="842625" y="82878"/>
                    </a:lnTo>
                    <a:lnTo>
                      <a:pt x="838569" y="82878"/>
                    </a:lnTo>
                    <a:lnTo>
                      <a:pt x="830458" y="83407"/>
                    </a:lnTo>
                    <a:lnTo>
                      <a:pt x="827196" y="87199"/>
                    </a:lnTo>
                    <a:lnTo>
                      <a:pt x="824551" y="88080"/>
                    </a:lnTo>
                    <a:lnTo>
                      <a:pt x="821994" y="89226"/>
                    </a:lnTo>
                    <a:lnTo>
                      <a:pt x="819878" y="91871"/>
                    </a:lnTo>
                    <a:lnTo>
                      <a:pt x="818996" y="89844"/>
                    </a:lnTo>
                    <a:lnTo>
                      <a:pt x="824551" y="84642"/>
                    </a:lnTo>
                    <a:lnTo>
                      <a:pt x="819613" y="85788"/>
                    </a:lnTo>
                    <a:lnTo>
                      <a:pt x="817321" y="88080"/>
                    </a:lnTo>
                    <a:lnTo>
                      <a:pt x="814059" y="90196"/>
                    </a:lnTo>
                    <a:lnTo>
                      <a:pt x="814940" y="88080"/>
                    </a:lnTo>
                    <a:lnTo>
                      <a:pt x="814676" y="86670"/>
                    </a:lnTo>
                    <a:lnTo>
                      <a:pt x="807358" y="93018"/>
                    </a:lnTo>
                    <a:lnTo>
                      <a:pt x="795720" y="104127"/>
                    </a:lnTo>
                    <a:lnTo>
                      <a:pt x="793339" y="107036"/>
                    </a:lnTo>
                    <a:lnTo>
                      <a:pt x="791047" y="107389"/>
                    </a:lnTo>
                    <a:lnTo>
                      <a:pt x="783464" y="114354"/>
                    </a:lnTo>
                    <a:lnTo>
                      <a:pt x="782318" y="118146"/>
                    </a:lnTo>
                    <a:lnTo>
                      <a:pt x="787520" y="115501"/>
                    </a:lnTo>
                    <a:lnTo>
                      <a:pt x="792193" y="110563"/>
                    </a:lnTo>
                    <a:lnTo>
                      <a:pt x="797483" y="109681"/>
                    </a:lnTo>
                    <a:lnTo>
                      <a:pt x="803302" y="102363"/>
                    </a:lnTo>
                    <a:lnTo>
                      <a:pt x="809121" y="99454"/>
                    </a:lnTo>
                    <a:lnTo>
                      <a:pt x="809121" y="101482"/>
                    </a:lnTo>
                    <a:lnTo>
                      <a:pt x="807358" y="101482"/>
                    </a:lnTo>
                    <a:lnTo>
                      <a:pt x="806212" y="104479"/>
                    </a:lnTo>
                    <a:lnTo>
                      <a:pt x="795367" y="114619"/>
                    </a:lnTo>
                    <a:lnTo>
                      <a:pt x="788402" y="123347"/>
                    </a:lnTo>
                    <a:lnTo>
                      <a:pt x="787785" y="126345"/>
                    </a:lnTo>
                    <a:lnTo>
                      <a:pt x="784081" y="128638"/>
                    </a:lnTo>
                    <a:lnTo>
                      <a:pt x="780290" y="133575"/>
                    </a:lnTo>
                    <a:lnTo>
                      <a:pt x="778791" y="138865"/>
                    </a:lnTo>
                    <a:lnTo>
                      <a:pt x="775265" y="142656"/>
                    </a:lnTo>
                    <a:lnTo>
                      <a:pt x="770063" y="151121"/>
                    </a:lnTo>
                    <a:lnTo>
                      <a:pt x="767418" y="159585"/>
                    </a:lnTo>
                    <a:lnTo>
                      <a:pt x="768564" y="160995"/>
                    </a:lnTo>
                    <a:lnTo>
                      <a:pt x="766536" y="163640"/>
                    </a:lnTo>
                    <a:lnTo>
                      <a:pt x="764773" y="168313"/>
                    </a:lnTo>
                    <a:lnTo>
                      <a:pt x="762128" y="172986"/>
                    </a:lnTo>
                    <a:lnTo>
                      <a:pt x="762745" y="187005"/>
                    </a:lnTo>
                    <a:lnTo>
                      <a:pt x="762745" y="187270"/>
                    </a:lnTo>
                    <a:lnTo>
                      <a:pt x="768299" y="189562"/>
                    </a:lnTo>
                    <a:lnTo>
                      <a:pt x="775000" y="187270"/>
                    </a:lnTo>
                    <a:lnTo>
                      <a:pt x="777645" y="186388"/>
                    </a:lnTo>
                    <a:lnTo>
                      <a:pt x="782847" y="182597"/>
                    </a:lnTo>
                    <a:lnTo>
                      <a:pt x="791047" y="174397"/>
                    </a:lnTo>
                    <a:lnTo>
                      <a:pt x="794573" y="170077"/>
                    </a:lnTo>
                    <a:lnTo>
                      <a:pt x="799511" y="161348"/>
                    </a:lnTo>
                    <a:lnTo>
                      <a:pt x="801539" y="152531"/>
                    </a:lnTo>
                    <a:lnTo>
                      <a:pt x="801274" y="144067"/>
                    </a:lnTo>
                    <a:lnTo>
                      <a:pt x="801274" y="140011"/>
                    </a:lnTo>
                    <a:lnTo>
                      <a:pt x="805594" y="135603"/>
                    </a:lnTo>
                    <a:lnTo>
                      <a:pt x="805947" y="129784"/>
                    </a:lnTo>
                    <a:lnTo>
                      <a:pt x="809738" y="126874"/>
                    </a:lnTo>
                    <a:lnTo>
                      <a:pt x="816439" y="118410"/>
                    </a:lnTo>
                    <a:lnTo>
                      <a:pt x="817850" y="114090"/>
                    </a:lnTo>
                    <a:lnTo>
                      <a:pt x="822258" y="112062"/>
                    </a:lnTo>
                    <a:lnTo>
                      <a:pt x="823405" y="108800"/>
                    </a:lnTo>
                    <a:lnTo>
                      <a:pt x="829224" y="107918"/>
                    </a:lnTo>
                    <a:lnTo>
                      <a:pt x="836806" y="101482"/>
                    </a:lnTo>
                    <a:lnTo>
                      <a:pt x="830722" y="112062"/>
                    </a:lnTo>
                    <a:lnTo>
                      <a:pt x="835924" y="106772"/>
                    </a:lnTo>
                    <a:lnTo>
                      <a:pt x="832133" y="112591"/>
                    </a:lnTo>
                    <a:lnTo>
                      <a:pt x="835395" y="109946"/>
                    </a:lnTo>
                    <a:lnTo>
                      <a:pt x="840068" y="101482"/>
                    </a:lnTo>
                    <a:lnTo>
                      <a:pt x="842625" y="98925"/>
                    </a:lnTo>
                    <a:lnTo>
                      <a:pt x="851707" y="96809"/>
                    </a:lnTo>
                    <a:lnTo>
                      <a:pt x="849062" y="94517"/>
                    </a:lnTo>
                    <a:lnTo>
                      <a:pt x="849414" y="92224"/>
                    </a:lnTo>
                    <a:lnTo>
                      <a:pt x="854352" y="88962"/>
                    </a:lnTo>
                    <a:lnTo>
                      <a:pt x="851971" y="87551"/>
                    </a:lnTo>
                    <a:lnTo>
                      <a:pt x="859025" y="87199"/>
                    </a:lnTo>
                    <a:lnTo>
                      <a:pt x="863080" y="90461"/>
                    </a:lnTo>
                    <a:lnTo>
                      <a:pt x="868018" y="91342"/>
                    </a:lnTo>
                    <a:lnTo>
                      <a:pt x="868635" y="94252"/>
                    </a:lnTo>
                    <a:lnTo>
                      <a:pt x="879391" y="97426"/>
                    </a:lnTo>
                    <a:lnTo>
                      <a:pt x="879656" y="101835"/>
                    </a:lnTo>
                    <a:lnTo>
                      <a:pt x="880273" y="105890"/>
                    </a:lnTo>
                    <a:lnTo>
                      <a:pt x="877628" y="105009"/>
                    </a:lnTo>
                    <a:lnTo>
                      <a:pt x="875953" y="106772"/>
                    </a:lnTo>
                    <a:lnTo>
                      <a:pt x="877099" y="109946"/>
                    </a:lnTo>
                    <a:lnTo>
                      <a:pt x="876835" y="113473"/>
                    </a:lnTo>
                    <a:lnTo>
                      <a:pt x="873925" y="118410"/>
                    </a:lnTo>
                    <a:lnTo>
                      <a:pt x="872162" y="122818"/>
                    </a:lnTo>
                    <a:lnTo>
                      <a:pt x="867136" y="125111"/>
                    </a:lnTo>
                    <a:lnTo>
                      <a:pt x="865373" y="127139"/>
                    </a:lnTo>
                    <a:lnTo>
                      <a:pt x="864227" y="130136"/>
                    </a:lnTo>
                    <a:lnTo>
                      <a:pt x="857790" y="132164"/>
                    </a:lnTo>
                    <a:lnTo>
                      <a:pt x="856380" y="133311"/>
                    </a:lnTo>
                    <a:lnTo>
                      <a:pt x="854087" y="139130"/>
                    </a:lnTo>
                    <a:lnTo>
                      <a:pt x="857526" y="140893"/>
                    </a:lnTo>
                    <a:lnTo>
                      <a:pt x="863345" y="137983"/>
                    </a:lnTo>
                    <a:lnTo>
                      <a:pt x="865373" y="134457"/>
                    </a:lnTo>
                    <a:lnTo>
                      <a:pt x="866254" y="134457"/>
                    </a:lnTo>
                    <a:lnTo>
                      <a:pt x="867489" y="133575"/>
                    </a:lnTo>
                    <a:lnTo>
                      <a:pt x="866872" y="133575"/>
                    </a:lnTo>
                    <a:lnTo>
                      <a:pt x="875953" y="130136"/>
                    </a:lnTo>
                    <a:lnTo>
                      <a:pt x="880009" y="131547"/>
                    </a:lnTo>
                    <a:lnTo>
                      <a:pt x="880626" y="138512"/>
                    </a:lnTo>
                    <a:lnTo>
                      <a:pt x="877099" y="151650"/>
                    </a:lnTo>
                    <a:lnTo>
                      <a:pt x="877628" y="155441"/>
                    </a:lnTo>
                    <a:lnTo>
                      <a:pt x="871280" y="165404"/>
                    </a:lnTo>
                    <a:lnTo>
                      <a:pt x="867489" y="167696"/>
                    </a:lnTo>
                    <a:lnTo>
                      <a:pt x="868018" y="165404"/>
                    </a:lnTo>
                    <a:lnTo>
                      <a:pt x="870398" y="163640"/>
                    </a:lnTo>
                    <a:lnTo>
                      <a:pt x="867753" y="163640"/>
                    </a:lnTo>
                    <a:lnTo>
                      <a:pt x="866254" y="164522"/>
                    </a:lnTo>
                    <a:lnTo>
                      <a:pt x="866607" y="165668"/>
                    </a:lnTo>
                    <a:lnTo>
                      <a:pt x="862463" y="169460"/>
                    </a:lnTo>
                    <a:lnTo>
                      <a:pt x="861317" y="171487"/>
                    </a:lnTo>
                    <a:lnTo>
                      <a:pt x="857261" y="173251"/>
                    </a:lnTo>
                    <a:lnTo>
                      <a:pt x="854616" y="178188"/>
                    </a:lnTo>
                    <a:lnTo>
                      <a:pt x="852853" y="179423"/>
                    </a:lnTo>
                    <a:lnTo>
                      <a:pt x="847034" y="185771"/>
                    </a:lnTo>
                    <a:lnTo>
                      <a:pt x="844741" y="187005"/>
                    </a:lnTo>
                    <a:lnTo>
                      <a:pt x="849414" y="189562"/>
                    </a:lnTo>
                    <a:lnTo>
                      <a:pt x="850560" y="191061"/>
                    </a:lnTo>
                    <a:lnTo>
                      <a:pt x="853205" y="192560"/>
                    </a:lnTo>
                    <a:lnTo>
                      <a:pt x="855762" y="190444"/>
                    </a:lnTo>
                    <a:lnTo>
                      <a:pt x="860788" y="195734"/>
                    </a:lnTo>
                    <a:lnTo>
                      <a:pt x="864227" y="194235"/>
                    </a:lnTo>
                    <a:lnTo>
                      <a:pt x="872691" y="192824"/>
                    </a:lnTo>
                    <a:lnTo>
                      <a:pt x="877364" y="193089"/>
                    </a:lnTo>
                    <a:lnTo>
                      <a:pt x="883800" y="189298"/>
                    </a:lnTo>
                    <a:lnTo>
                      <a:pt x="895438" y="184360"/>
                    </a:lnTo>
                    <a:lnTo>
                      <a:pt x="905930" y="180833"/>
                    </a:lnTo>
                    <a:lnTo>
                      <a:pt x="906547" y="180569"/>
                    </a:lnTo>
                    <a:lnTo>
                      <a:pt x="923476" y="173868"/>
                    </a:lnTo>
                    <a:lnTo>
                      <a:pt x="939170" y="166286"/>
                    </a:lnTo>
                    <a:lnTo>
                      <a:pt x="946223" y="160995"/>
                    </a:lnTo>
                    <a:lnTo>
                      <a:pt x="944460" y="159585"/>
                    </a:lnTo>
                    <a:lnTo>
                      <a:pt x="945959" y="158350"/>
                    </a:lnTo>
                    <a:lnTo>
                      <a:pt x="945077" y="153413"/>
                    </a:lnTo>
                    <a:lnTo>
                      <a:pt x="946840" y="149093"/>
                    </a:lnTo>
                    <a:lnTo>
                      <a:pt x="959360" y="146712"/>
                    </a:lnTo>
                    <a:lnTo>
                      <a:pt x="968971" y="146712"/>
                    </a:lnTo>
                    <a:lnTo>
                      <a:pt x="976288" y="149974"/>
                    </a:lnTo>
                    <a:lnTo>
                      <a:pt x="980609" y="148740"/>
                    </a:lnTo>
                    <a:lnTo>
                      <a:pt x="986780" y="145566"/>
                    </a:lnTo>
                    <a:lnTo>
                      <a:pt x="993746" y="147329"/>
                    </a:lnTo>
                    <a:lnTo>
                      <a:pt x="996655" y="145566"/>
                    </a:lnTo>
                    <a:lnTo>
                      <a:pt x="1005472" y="142656"/>
                    </a:lnTo>
                    <a:lnTo>
                      <a:pt x="1007765" y="138865"/>
                    </a:lnTo>
                    <a:lnTo>
                      <a:pt x="1006883" y="134809"/>
                    </a:lnTo>
                    <a:lnTo>
                      <a:pt x="1010939" y="132164"/>
                    </a:lnTo>
                    <a:lnTo>
                      <a:pt x="1006618" y="130136"/>
                    </a:lnTo>
                    <a:lnTo>
                      <a:pt x="1008382" y="127756"/>
                    </a:lnTo>
                    <a:lnTo>
                      <a:pt x="1020902" y="121672"/>
                    </a:lnTo>
                    <a:lnTo>
                      <a:pt x="1033686" y="114090"/>
                    </a:lnTo>
                    <a:lnTo>
                      <a:pt x="1049204" y="106507"/>
                    </a:lnTo>
                    <a:lnTo>
                      <a:pt x="1062341" y="106507"/>
                    </a:lnTo>
                    <a:lnTo>
                      <a:pt x="1072480" y="106772"/>
                    </a:lnTo>
                    <a:lnTo>
                      <a:pt x="1098225" y="106507"/>
                    </a:lnTo>
                    <a:lnTo>
                      <a:pt x="1114801" y="106507"/>
                    </a:lnTo>
                    <a:lnTo>
                      <a:pt x="1117711" y="100953"/>
                    </a:lnTo>
                    <a:lnTo>
                      <a:pt x="1121502" y="100336"/>
                    </a:lnTo>
                    <a:lnTo>
                      <a:pt x="1125029" y="99189"/>
                    </a:lnTo>
                    <a:lnTo>
                      <a:pt x="1127938" y="98572"/>
                    </a:lnTo>
                    <a:lnTo>
                      <a:pt x="1128203" y="100600"/>
                    </a:lnTo>
                    <a:lnTo>
                      <a:pt x="1129349" y="101217"/>
                    </a:lnTo>
                    <a:lnTo>
                      <a:pt x="1131994" y="96280"/>
                    </a:lnTo>
                    <a:lnTo>
                      <a:pt x="1135168" y="97426"/>
                    </a:lnTo>
                    <a:lnTo>
                      <a:pt x="1134022" y="94252"/>
                    </a:lnTo>
                    <a:lnTo>
                      <a:pt x="1146630" y="84906"/>
                    </a:lnTo>
                    <a:lnTo>
                      <a:pt x="1147159" y="83760"/>
                    </a:lnTo>
                    <a:lnTo>
                      <a:pt x="1146277" y="83143"/>
                    </a:lnTo>
                    <a:lnTo>
                      <a:pt x="1148393" y="77853"/>
                    </a:lnTo>
                    <a:lnTo>
                      <a:pt x="1155359" y="72386"/>
                    </a:lnTo>
                    <a:lnTo>
                      <a:pt x="1162059" y="61013"/>
                    </a:lnTo>
                    <a:lnTo>
                      <a:pt x="1179252" y="48404"/>
                    </a:lnTo>
                    <a:lnTo>
                      <a:pt x="1183661" y="47611"/>
                    </a:lnTo>
                    <a:lnTo>
                      <a:pt x="1181897" y="51931"/>
                    </a:lnTo>
                    <a:lnTo>
                      <a:pt x="1184542" y="53695"/>
                    </a:lnTo>
                    <a:lnTo>
                      <a:pt x="1191508" y="51049"/>
                    </a:lnTo>
                    <a:lnTo>
                      <a:pt x="1195299" y="50785"/>
                    </a:lnTo>
                    <a:lnTo>
                      <a:pt x="1196798" y="49022"/>
                    </a:lnTo>
                    <a:lnTo>
                      <a:pt x="1199090" y="49286"/>
                    </a:lnTo>
                    <a:lnTo>
                      <a:pt x="1204909" y="56340"/>
                    </a:lnTo>
                    <a:lnTo>
                      <a:pt x="1202000" y="55722"/>
                    </a:lnTo>
                    <a:lnTo>
                      <a:pt x="1202881" y="57221"/>
                    </a:lnTo>
                    <a:lnTo>
                      <a:pt x="1193271" y="84024"/>
                    </a:lnTo>
                    <a:lnTo>
                      <a:pt x="1190626" y="89844"/>
                    </a:lnTo>
                    <a:lnTo>
                      <a:pt x="1193535" y="91342"/>
                    </a:lnTo>
                    <a:lnTo>
                      <a:pt x="1193535" y="90990"/>
                    </a:lnTo>
                    <a:lnTo>
                      <a:pt x="1196798" y="91871"/>
                    </a:lnTo>
                    <a:lnTo>
                      <a:pt x="1196798" y="93988"/>
                    </a:lnTo>
                    <a:lnTo>
                      <a:pt x="1194682" y="94517"/>
                    </a:lnTo>
                    <a:lnTo>
                      <a:pt x="1195299" y="97426"/>
                    </a:lnTo>
                    <a:lnTo>
                      <a:pt x="1193271" y="99454"/>
                    </a:lnTo>
                    <a:lnTo>
                      <a:pt x="1194682" y="103245"/>
                    </a:lnTo>
                    <a:lnTo>
                      <a:pt x="1196798" y="101482"/>
                    </a:lnTo>
                    <a:lnTo>
                      <a:pt x="1198208" y="105273"/>
                    </a:lnTo>
                    <a:lnTo>
                      <a:pt x="1200236" y="110563"/>
                    </a:lnTo>
                    <a:lnTo>
                      <a:pt x="1198208" y="113473"/>
                    </a:lnTo>
                    <a:lnTo>
                      <a:pt x="1195916" y="113473"/>
                    </a:lnTo>
                    <a:lnTo>
                      <a:pt x="1193271" y="115853"/>
                    </a:lnTo>
                    <a:lnTo>
                      <a:pt x="1192389" y="116118"/>
                    </a:lnTo>
                    <a:lnTo>
                      <a:pt x="1191772" y="114619"/>
                    </a:lnTo>
                    <a:lnTo>
                      <a:pt x="1189215" y="116999"/>
                    </a:lnTo>
                    <a:lnTo>
                      <a:pt x="1187716" y="116382"/>
                    </a:lnTo>
                    <a:lnTo>
                      <a:pt x="1188862" y="117264"/>
                    </a:lnTo>
                    <a:lnTo>
                      <a:pt x="1186217" y="117264"/>
                    </a:lnTo>
                    <a:lnTo>
                      <a:pt x="1186835" y="119027"/>
                    </a:lnTo>
                    <a:lnTo>
                      <a:pt x="1184190" y="120438"/>
                    </a:lnTo>
                    <a:lnTo>
                      <a:pt x="1181897" y="118410"/>
                    </a:lnTo>
                    <a:lnTo>
                      <a:pt x="1177224" y="121055"/>
                    </a:lnTo>
                    <a:lnTo>
                      <a:pt x="1174932" y="123083"/>
                    </a:lnTo>
                    <a:lnTo>
                      <a:pt x="1172816" y="121055"/>
                    </a:lnTo>
                    <a:lnTo>
                      <a:pt x="1171141" y="124582"/>
                    </a:lnTo>
                    <a:lnTo>
                      <a:pt x="1168231" y="125728"/>
                    </a:lnTo>
                    <a:lnTo>
                      <a:pt x="1166732" y="123700"/>
                    </a:lnTo>
                    <a:lnTo>
                      <a:pt x="1168231" y="121672"/>
                    </a:lnTo>
                    <a:lnTo>
                      <a:pt x="1167614" y="119292"/>
                    </a:lnTo>
                    <a:lnTo>
                      <a:pt x="1166468" y="121055"/>
                    </a:lnTo>
                    <a:lnTo>
                      <a:pt x="1166115" y="123347"/>
                    </a:lnTo>
                    <a:lnTo>
                      <a:pt x="1164087" y="123083"/>
                    </a:lnTo>
                    <a:lnTo>
                      <a:pt x="1164352" y="125728"/>
                    </a:lnTo>
                    <a:lnTo>
                      <a:pt x="1161442" y="128373"/>
                    </a:lnTo>
                    <a:lnTo>
                      <a:pt x="1162059" y="129784"/>
                    </a:lnTo>
                    <a:lnTo>
                      <a:pt x="1160031" y="130930"/>
                    </a:lnTo>
                    <a:lnTo>
                      <a:pt x="1161178" y="128902"/>
                    </a:lnTo>
                    <a:lnTo>
                      <a:pt x="1159679" y="128373"/>
                    </a:lnTo>
                    <a:lnTo>
                      <a:pt x="1159150" y="123347"/>
                    </a:lnTo>
                    <a:lnTo>
                      <a:pt x="1160913" y="121055"/>
                    </a:lnTo>
                    <a:lnTo>
                      <a:pt x="1161178" y="118410"/>
                    </a:lnTo>
                    <a:lnTo>
                      <a:pt x="1158268" y="119292"/>
                    </a:lnTo>
                    <a:lnTo>
                      <a:pt x="1156769" y="120438"/>
                    </a:lnTo>
                    <a:lnTo>
                      <a:pt x="1156505" y="123083"/>
                    </a:lnTo>
                    <a:lnTo>
                      <a:pt x="1154477" y="125111"/>
                    </a:lnTo>
                    <a:lnTo>
                      <a:pt x="1151303" y="132164"/>
                    </a:lnTo>
                    <a:lnTo>
                      <a:pt x="1149187" y="131547"/>
                    </a:lnTo>
                    <a:lnTo>
                      <a:pt x="1145748" y="134809"/>
                    </a:lnTo>
                    <a:lnTo>
                      <a:pt x="1146277" y="132693"/>
                    </a:lnTo>
                    <a:lnTo>
                      <a:pt x="1144249" y="133575"/>
                    </a:lnTo>
                    <a:lnTo>
                      <a:pt x="1141340" y="135074"/>
                    </a:lnTo>
                    <a:lnTo>
                      <a:pt x="1139047" y="137102"/>
                    </a:lnTo>
                    <a:lnTo>
                      <a:pt x="1139576" y="135956"/>
                    </a:lnTo>
                    <a:lnTo>
                      <a:pt x="1138166" y="135338"/>
                    </a:lnTo>
                    <a:lnTo>
                      <a:pt x="1134022" y="138512"/>
                    </a:lnTo>
                    <a:lnTo>
                      <a:pt x="1133493" y="137102"/>
                    </a:lnTo>
                    <a:lnTo>
                      <a:pt x="1128203" y="138512"/>
                    </a:lnTo>
                    <a:lnTo>
                      <a:pt x="1126175" y="141775"/>
                    </a:lnTo>
                    <a:lnTo>
                      <a:pt x="1125029" y="142392"/>
                    </a:lnTo>
                    <a:lnTo>
                      <a:pt x="1122384" y="142392"/>
                    </a:lnTo>
                    <a:lnTo>
                      <a:pt x="1121766" y="144949"/>
                    </a:lnTo>
                    <a:lnTo>
                      <a:pt x="1116564" y="147858"/>
                    </a:lnTo>
                    <a:lnTo>
                      <a:pt x="1114537" y="151650"/>
                    </a:lnTo>
                    <a:lnTo>
                      <a:pt x="1111274" y="154295"/>
                    </a:lnTo>
                    <a:lnTo>
                      <a:pt x="1108717" y="157821"/>
                    </a:lnTo>
                    <a:lnTo>
                      <a:pt x="1108100" y="158703"/>
                    </a:lnTo>
                    <a:lnTo>
                      <a:pt x="1107219" y="163376"/>
                    </a:lnTo>
                    <a:lnTo>
                      <a:pt x="1110481" y="163376"/>
                    </a:lnTo>
                    <a:lnTo>
                      <a:pt x="1109864" y="164787"/>
                    </a:lnTo>
                    <a:lnTo>
                      <a:pt x="1108717" y="165933"/>
                    </a:lnTo>
                    <a:lnTo>
                      <a:pt x="1103163" y="165933"/>
                    </a:lnTo>
                    <a:lnTo>
                      <a:pt x="1101928" y="169195"/>
                    </a:lnTo>
                    <a:lnTo>
                      <a:pt x="1101399" y="172722"/>
                    </a:lnTo>
                    <a:lnTo>
                      <a:pt x="1102898" y="174133"/>
                    </a:lnTo>
                    <a:lnTo>
                      <a:pt x="1104044" y="174133"/>
                    </a:lnTo>
                    <a:lnTo>
                      <a:pt x="1106072" y="175896"/>
                    </a:lnTo>
                    <a:lnTo>
                      <a:pt x="1104926" y="179070"/>
                    </a:lnTo>
                    <a:lnTo>
                      <a:pt x="1103163" y="180833"/>
                    </a:lnTo>
                    <a:lnTo>
                      <a:pt x="1105191" y="181451"/>
                    </a:lnTo>
                    <a:lnTo>
                      <a:pt x="1105191" y="184977"/>
                    </a:lnTo>
                    <a:lnTo>
                      <a:pt x="1111627" y="186652"/>
                    </a:lnTo>
                    <a:lnTo>
                      <a:pt x="1114537" y="186388"/>
                    </a:lnTo>
                    <a:lnTo>
                      <a:pt x="1114537" y="184095"/>
                    </a:lnTo>
                    <a:lnTo>
                      <a:pt x="1113302" y="183478"/>
                    </a:lnTo>
                    <a:lnTo>
                      <a:pt x="1114537" y="183478"/>
                    </a:lnTo>
                    <a:lnTo>
                      <a:pt x="1113302" y="181186"/>
                    </a:lnTo>
                    <a:lnTo>
                      <a:pt x="1113655" y="179952"/>
                    </a:lnTo>
                    <a:lnTo>
                      <a:pt x="1113302" y="178541"/>
                    </a:lnTo>
                    <a:lnTo>
                      <a:pt x="1116212" y="179070"/>
                    </a:lnTo>
                    <a:lnTo>
                      <a:pt x="1117182" y="182597"/>
                    </a:lnTo>
                    <a:lnTo>
                      <a:pt x="1116212" y="188151"/>
                    </a:lnTo>
                    <a:lnTo>
                      <a:pt x="1115418" y="191061"/>
                    </a:lnTo>
                    <a:lnTo>
                      <a:pt x="1113919" y="191325"/>
                    </a:lnTo>
                    <a:lnTo>
                      <a:pt x="1114184" y="188416"/>
                    </a:lnTo>
                    <a:lnTo>
                      <a:pt x="1100518" y="192207"/>
                    </a:lnTo>
                    <a:lnTo>
                      <a:pt x="1095580" y="195117"/>
                    </a:lnTo>
                    <a:lnTo>
                      <a:pt x="1093464" y="194852"/>
                    </a:lnTo>
                    <a:lnTo>
                      <a:pt x="1098490" y="191943"/>
                    </a:lnTo>
                    <a:lnTo>
                      <a:pt x="1101399" y="188151"/>
                    </a:lnTo>
                    <a:lnTo>
                      <a:pt x="1100782" y="187005"/>
                    </a:lnTo>
                    <a:lnTo>
                      <a:pt x="1092318" y="193353"/>
                    </a:lnTo>
                    <a:lnTo>
                      <a:pt x="1090907" y="192560"/>
                    </a:lnTo>
                    <a:lnTo>
                      <a:pt x="1090026" y="193706"/>
                    </a:lnTo>
                    <a:lnTo>
                      <a:pt x="1088880" y="191943"/>
                    </a:lnTo>
                    <a:lnTo>
                      <a:pt x="1087116" y="193706"/>
                    </a:lnTo>
                    <a:lnTo>
                      <a:pt x="1086234" y="193970"/>
                    </a:lnTo>
                    <a:lnTo>
                      <a:pt x="1085353" y="193089"/>
                    </a:lnTo>
                    <a:lnTo>
                      <a:pt x="1083854" y="193970"/>
                    </a:lnTo>
                    <a:lnTo>
                      <a:pt x="1082708" y="195998"/>
                    </a:lnTo>
                    <a:lnTo>
                      <a:pt x="1074244" y="197497"/>
                    </a:lnTo>
                    <a:lnTo>
                      <a:pt x="1073979" y="196880"/>
                    </a:lnTo>
                    <a:lnTo>
                      <a:pt x="1064369" y="198379"/>
                    </a:lnTo>
                    <a:lnTo>
                      <a:pt x="1060578" y="198908"/>
                    </a:lnTo>
                    <a:lnTo>
                      <a:pt x="1052642" y="198379"/>
                    </a:lnTo>
                    <a:lnTo>
                      <a:pt x="1048587" y="201288"/>
                    </a:lnTo>
                    <a:lnTo>
                      <a:pt x="1041269" y="199525"/>
                    </a:lnTo>
                    <a:lnTo>
                      <a:pt x="1035449" y="205344"/>
                    </a:lnTo>
                    <a:lnTo>
                      <a:pt x="1032804" y="207989"/>
                    </a:lnTo>
                    <a:lnTo>
                      <a:pt x="1032540" y="208871"/>
                    </a:lnTo>
                    <a:lnTo>
                      <a:pt x="1038095" y="207107"/>
                    </a:lnTo>
                    <a:lnTo>
                      <a:pt x="1056169" y="205344"/>
                    </a:lnTo>
                    <a:lnTo>
                      <a:pt x="1065250" y="201288"/>
                    </a:lnTo>
                    <a:lnTo>
                      <a:pt x="1063752" y="202699"/>
                    </a:lnTo>
                    <a:lnTo>
                      <a:pt x="1067014" y="205344"/>
                    </a:lnTo>
                    <a:lnTo>
                      <a:pt x="1070452" y="203316"/>
                    </a:lnTo>
                    <a:lnTo>
                      <a:pt x="1072216" y="203845"/>
                    </a:lnTo>
                    <a:lnTo>
                      <a:pt x="1071599" y="205609"/>
                    </a:lnTo>
                    <a:lnTo>
                      <a:pt x="1058550" y="209135"/>
                    </a:lnTo>
                    <a:lnTo>
                      <a:pt x="1053260" y="213544"/>
                    </a:lnTo>
                    <a:lnTo>
                      <a:pt x="1037830" y="214425"/>
                    </a:lnTo>
                    <a:lnTo>
                      <a:pt x="1030512" y="215219"/>
                    </a:lnTo>
                    <a:lnTo>
                      <a:pt x="1026456" y="216453"/>
                    </a:lnTo>
                    <a:lnTo>
                      <a:pt x="1027338" y="215836"/>
                    </a:lnTo>
                    <a:lnTo>
                      <a:pt x="1024957" y="214425"/>
                    </a:lnTo>
                    <a:lnTo>
                      <a:pt x="1020020" y="217335"/>
                    </a:lnTo>
                    <a:lnTo>
                      <a:pt x="1020285" y="218746"/>
                    </a:lnTo>
                    <a:lnTo>
                      <a:pt x="1024076" y="219627"/>
                    </a:lnTo>
                    <a:lnTo>
                      <a:pt x="1024693" y="218217"/>
                    </a:lnTo>
                    <a:lnTo>
                      <a:pt x="1021783" y="227210"/>
                    </a:lnTo>
                    <a:lnTo>
                      <a:pt x="1022048" y="232764"/>
                    </a:lnTo>
                    <a:lnTo>
                      <a:pt x="1017375" y="235674"/>
                    </a:lnTo>
                    <a:lnTo>
                      <a:pt x="1015347" y="239465"/>
                    </a:lnTo>
                    <a:lnTo>
                      <a:pt x="1011556" y="241758"/>
                    </a:lnTo>
                    <a:lnTo>
                      <a:pt x="1010674" y="241758"/>
                    </a:lnTo>
                    <a:lnTo>
                      <a:pt x="1011556" y="242639"/>
                    </a:lnTo>
                    <a:lnTo>
                      <a:pt x="1004855" y="247312"/>
                    </a:lnTo>
                    <a:lnTo>
                      <a:pt x="997890" y="254895"/>
                    </a:lnTo>
                    <a:lnTo>
                      <a:pt x="995245" y="256658"/>
                    </a:lnTo>
                    <a:lnTo>
                      <a:pt x="993481" y="256129"/>
                    </a:lnTo>
                    <a:lnTo>
                      <a:pt x="994627" y="252602"/>
                    </a:lnTo>
                    <a:lnTo>
                      <a:pt x="996655" y="249957"/>
                    </a:lnTo>
                    <a:lnTo>
                      <a:pt x="991101" y="247929"/>
                    </a:lnTo>
                    <a:lnTo>
                      <a:pt x="987662" y="243257"/>
                    </a:lnTo>
                    <a:lnTo>
                      <a:pt x="987398" y="241493"/>
                    </a:lnTo>
                    <a:lnTo>
                      <a:pt x="986428" y="239730"/>
                    </a:lnTo>
                    <a:lnTo>
                      <a:pt x="985017" y="242992"/>
                    </a:lnTo>
                    <a:lnTo>
                      <a:pt x="985899" y="245637"/>
                    </a:lnTo>
                    <a:lnTo>
                      <a:pt x="987662" y="247929"/>
                    </a:lnTo>
                    <a:lnTo>
                      <a:pt x="986163" y="252867"/>
                    </a:lnTo>
                    <a:lnTo>
                      <a:pt x="986780" y="255776"/>
                    </a:lnTo>
                    <a:lnTo>
                      <a:pt x="988544" y="259039"/>
                    </a:lnTo>
                    <a:lnTo>
                      <a:pt x="990572" y="259568"/>
                    </a:lnTo>
                    <a:lnTo>
                      <a:pt x="988544" y="268296"/>
                    </a:lnTo>
                    <a:lnTo>
                      <a:pt x="984753" y="275614"/>
                    </a:lnTo>
                    <a:lnTo>
                      <a:pt x="981226" y="278877"/>
                    </a:lnTo>
                    <a:lnTo>
                      <a:pt x="974525" y="284343"/>
                    </a:lnTo>
                    <a:lnTo>
                      <a:pt x="973908" y="290250"/>
                    </a:lnTo>
                    <a:lnTo>
                      <a:pt x="969235" y="292543"/>
                    </a:lnTo>
                    <a:lnTo>
                      <a:pt x="964562" y="299244"/>
                    </a:lnTo>
                    <a:lnTo>
                      <a:pt x="961388" y="301624"/>
                    </a:lnTo>
                    <a:lnTo>
                      <a:pt x="960506" y="301888"/>
                    </a:lnTo>
                    <a:lnTo>
                      <a:pt x="959889" y="297833"/>
                    </a:lnTo>
                    <a:lnTo>
                      <a:pt x="963680" y="290515"/>
                    </a:lnTo>
                    <a:lnTo>
                      <a:pt x="968353" y="284343"/>
                    </a:lnTo>
                    <a:lnTo>
                      <a:pt x="971616" y="282932"/>
                    </a:lnTo>
                    <a:lnTo>
                      <a:pt x="970117" y="282051"/>
                    </a:lnTo>
                    <a:lnTo>
                      <a:pt x="972497" y="280904"/>
                    </a:lnTo>
                    <a:lnTo>
                      <a:pt x="969588" y="280023"/>
                    </a:lnTo>
                    <a:lnTo>
                      <a:pt x="967207" y="281433"/>
                    </a:lnTo>
                    <a:lnTo>
                      <a:pt x="970381" y="278259"/>
                    </a:lnTo>
                    <a:lnTo>
                      <a:pt x="970117" y="273851"/>
                    </a:lnTo>
                    <a:lnTo>
                      <a:pt x="969235" y="272705"/>
                    </a:lnTo>
                    <a:lnTo>
                      <a:pt x="967824" y="271823"/>
                    </a:lnTo>
                    <a:lnTo>
                      <a:pt x="968706" y="270060"/>
                    </a:lnTo>
                    <a:lnTo>
                      <a:pt x="962887" y="271559"/>
                    </a:lnTo>
                    <a:lnTo>
                      <a:pt x="962887" y="266268"/>
                    </a:lnTo>
                    <a:lnTo>
                      <a:pt x="964298" y="266268"/>
                    </a:lnTo>
                    <a:lnTo>
                      <a:pt x="964298" y="263976"/>
                    </a:lnTo>
                    <a:lnTo>
                      <a:pt x="967472" y="263976"/>
                    </a:lnTo>
                    <a:lnTo>
                      <a:pt x="966326" y="261067"/>
                    </a:lnTo>
                    <a:lnTo>
                      <a:pt x="964033" y="262477"/>
                    </a:lnTo>
                    <a:lnTo>
                      <a:pt x="965797" y="259039"/>
                    </a:lnTo>
                    <a:lnTo>
                      <a:pt x="968089" y="258422"/>
                    </a:lnTo>
                    <a:lnTo>
                      <a:pt x="968089" y="255776"/>
                    </a:lnTo>
                    <a:lnTo>
                      <a:pt x="964298" y="258686"/>
                    </a:lnTo>
                    <a:lnTo>
                      <a:pt x="965444" y="256129"/>
                    </a:lnTo>
                    <a:lnTo>
                      <a:pt x="967472" y="253749"/>
                    </a:lnTo>
                    <a:lnTo>
                      <a:pt x="969235" y="254895"/>
                    </a:lnTo>
                    <a:lnTo>
                      <a:pt x="970998" y="252338"/>
                    </a:lnTo>
                    <a:lnTo>
                      <a:pt x="968706" y="254366"/>
                    </a:lnTo>
                    <a:lnTo>
                      <a:pt x="968706" y="250575"/>
                    </a:lnTo>
                    <a:lnTo>
                      <a:pt x="971880" y="246519"/>
                    </a:lnTo>
                    <a:lnTo>
                      <a:pt x="975936" y="245637"/>
                    </a:lnTo>
                    <a:lnTo>
                      <a:pt x="978052" y="240964"/>
                    </a:lnTo>
                    <a:lnTo>
                      <a:pt x="975407" y="241229"/>
                    </a:lnTo>
                    <a:lnTo>
                      <a:pt x="974790" y="242375"/>
                    </a:lnTo>
                    <a:lnTo>
                      <a:pt x="975407" y="243521"/>
                    </a:lnTo>
                    <a:lnTo>
                      <a:pt x="969588" y="247312"/>
                    </a:lnTo>
                    <a:lnTo>
                      <a:pt x="968971" y="245637"/>
                    </a:lnTo>
                    <a:lnTo>
                      <a:pt x="965797" y="249693"/>
                    </a:lnTo>
                    <a:lnTo>
                      <a:pt x="964298" y="249076"/>
                    </a:lnTo>
                    <a:lnTo>
                      <a:pt x="964033" y="249693"/>
                    </a:lnTo>
                    <a:lnTo>
                      <a:pt x="964298" y="252867"/>
                    </a:lnTo>
                    <a:lnTo>
                      <a:pt x="962887" y="255247"/>
                    </a:lnTo>
                    <a:lnTo>
                      <a:pt x="960506" y="261948"/>
                    </a:lnTo>
                    <a:lnTo>
                      <a:pt x="959360" y="266621"/>
                    </a:lnTo>
                    <a:lnTo>
                      <a:pt x="960506" y="270060"/>
                    </a:lnTo>
                    <a:lnTo>
                      <a:pt x="959360" y="271559"/>
                    </a:lnTo>
                    <a:lnTo>
                      <a:pt x="959889" y="275614"/>
                    </a:lnTo>
                    <a:lnTo>
                      <a:pt x="959008" y="278524"/>
                    </a:lnTo>
                    <a:lnTo>
                      <a:pt x="950896" y="271559"/>
                    </a:lnTo>
                    <a:lnTo>
                      <a:pt x="950543" y="273057"/>
                    </a:lnTo>
                    <a:lnTo>
                      <a:pt x="949133" y="272176"/>
                    </a:lnTo>
                    <a:lnTo>
                      <a:pt x="948251" y="268032"/>
                    </a:lnTo>
                    <a:lnTo>
                      <a:pt x="943049" y="270060"/>
                    </a:lnTo>
                    <a:lnTo>
                      <a:pt x="943843" y="266621"/>
                    </a:lnTo>
                    <a:lnTo>
                      <a:pt x="947634" y="263976"/>
                    </a:lnTo>
                    <a:lnTo>
                      <a:pt x="945959" y="263976"/>
                    </a:lnTo>
                    <a:lnTo>
                      <a:pt x="945606" y="263359"/>
                    </a:lnTo>
                    <a:lnTo>
                      <a:pt x="943314" y="264241"/>
                    </a:lnTo>
                    <a:lnTo>
                      <a:pt x="941550" y="265740"/>
                    </a:lnTo>
                    <a:lnTo>
                      <a:pt x="940933" y="267767"/>
                    </a:lnTo>
                    <a:lnTo>
                      <a:pt x="941815" y="270060"/>
                    </a:lnTo>
                    <a:lnTo>
                      <a:pt x="941815" y="270677"/>
                    </a:lnTo>
                    <a:lnTo>
                      <a:pt x="943578" y="271823"/>
                    </a:lnTo>
                    <a:lnTo>
                      <a:pt x="947369" y="269531"/>
                    </a:lnTo>
                    <a:lnTo>
                      <a:pt x="947634" y="274204"/>
                    </a:lnTo>
                    <a:lnTo>
                      <a:pt x="952042" y="275085"/>
                    </a:lnTo>
                    <a:lnTo>
                      <a:pt x="954070" y="275967"/>
                    </a:lnTo>
                    <a:lnTo>
                      <a:pt x="954687" y="276232"/>
                    </a:lnTo>
                    <a:lnTo>
                      <a:pt x="955216" y="278524"/>
                    </a:lnTo>
                    <a:lnTo>
                      <a:pt x="960242" y="282315"/>
                    </a:lnTo>
                    <a:lnTo>
                      <a:pt x="956980" y="287341"/>
                    </a:lnTo>
                    <a:lnTo>
                      <a:pt x="957332" y="288751"/>
                    </a:lnTo>
                    <a:lnTo>
                      <a:pt x="952924" y="288487"/>
                    </a:lnTo>
                    <a:lnTo>
                      <a:pt x="951513" y="284343"/>
                    </a:lnTo>
                    <a:lnTo>
                      <a:pt x="950896" y="282315"/>
                    </a:lnTo>
                    <a:lnTo>
                      <a:pt x="949133" y="282315"/>
                    </a:lnTo>
                    <a:lnTo>
                      <a:pt x="950543" y="284960"/>
                    </a:lnTo>
                    <a:lnTo>
                      <a:pt x="952042" y="288751"/>
                    </a:lnTo>
                    <a:lnTo>
                      <a:pt x="956715" y="290250"/>
                    </a:lnTo>
                    <a:lnTo>
                      <a:pt x="955216" y="291397"/>
                    </a:lnTo>
                    <a:lnTo>
                      <a:pt x="956098" y="291661"/>
                    </a:lnTo>
                    <a:lnTo>
                      <a:pt x="956451" y="295188"/>
                    </a:lnTo>
                    <a:lnTo>
                      <a:pt x="954952" y="296334"/>
                    </a:lnTo>
                    <a:lnTo>
                      <a:pt x="953541" y="294571"/>
                    </a:lnTo>
                    <a:lnTo>
                      <a:pt x="953806" y="297216"/>
                    </a:lnTo>
                    <a:lnTo>
                      <a:pt x="950014" y="298097"/>
                    </a:lnTo>
                    <a:lnTo>
                      <a:pt x="952307" y="298714"/>
                    </a:lnTo>
                    <a:lnTo>
                      <a:pt x="951778" y="300125"/>
                    </a:lnTo>
                    <a:lnTo>
                      <a:pt x="953541" y="301624"/>
                    </a:lnTo>
                    <a:lnTo>
                      <a:pt x="952659" y="304798"/>
                    </a:lnTo>
                    <a:lnTo>
                      <a:pt x="952659" y="305063"/>
                    </a:lnTo>
                    <a:lnTo>
                      <a:pt x="954423" y="305944"/>
                    </a:lnTo>
                    <a:lnTo>
                      <a:pt x="958479" y="305944"/>
                    </a:lnTo>
                    <a:lnTo>
                      <a:pt x="959625" y="309735"/>
                    </a:lnTo>
                    <a:lnTo>
                      <a:pt x="958479" y="315290"/>
                    </a:lnTo>
                    <a:lnTo>
                      <a:pt x="958743" y="316436"/>
                    </a:lnTo>
                    <a:lnTo>
                      <a:pt x="958743" y="321726"/>
                    </a:lnTo>
                    <a:lnTo>
                      <a:pt x="958214" y="323490"/>
                    </a:lnTo>
                    <a:lnTo>
                      <a:pt x="957861" y="326399"/>
                    </a:lnTo>
                    <a:lnTo>
                      <a:pt x="958214" y="328692"/>
                    </a:lnTo>
                    <a:lnTo>
                      <a:pt x="956715" y="331337"/>
                    </a:lnTo>
                    <a:lnTo>
                      <a:pt x="957332" y="332836"/>
                    </a:lnTo>
                    <a:lnTo>
                      <a:pt x="957861" y="335128"/>
                    </a:lnTo>
                    <a:lnTo>
                      <a:pt x="958743" y="336274"/>
                    </a:lnTo>
                    <a:lnTo>
                      <a:pt x="960506" y="337773"/>
                    </a:lnTo>
                    <a:lnTo>
                      <a:pt x="961388" y="338655"/>
                    </a:lnTo>
                    <a:lnTo>
                      <a:pt x="962270" y="340683"/>
                    </a:lnTo>
                    <a:lnTo>
                      <a:pt x="959360" y="342710"/>
                    </a:lnTo>
                    <a:lnTo>
                      <a:pt x="958214" y="343592"/>
                    </a:lnTo>
                    <a:lnTo>
                      <a:pt x="955833" y="343857"/>
                    </a:lnTo>
                    <a:lnTo>
                      <a:pt x="953188" y="343063"/>
                    </a:lnTo>
                    <a:lnTo>
                      <a:pt x="950279" y="341829"/>
                    </a:lnTo>
                    <a:lnTo>
                      <a:pt x="947634" y="341300"/>
                    </a:lnTo>
                    <a:lnTo>
                      <a:pt x="946223" y="341829"/>
                    </a:lnTo>
                    <a:lnTo>
                      <a:pt x="940404" y="341829"/>
                    </a:lnTo>
                    <a:lnTo>
                      <a:pt x="943049" y="342446"/>
                    </a:lnTo>
                    <a:lnTo>
                      <a:pt x="941286" y="344474"/>
                    </a:lnTo>
                    <a:lnTo>
                      <a:pt x="938641" y="344209"/>
                    </a:lnTo>
                    <a:lnTo>
                      <a:pt x="935996" y="345091"/>
                    </a:lnTo>
                    <a:lnTo>
                      <a:pt x="935996" y="346237"/>
                    </a:lnTo>
                    <a:lnTo>
                      <a:pt x="934232" y="347383"/>
                    </a:lnTo>
                    <a:lnTo>
                      <a:pt x="934232" y="348882"/>
                    </a:lnTo>
                    <a:lnTo>
                      <a:pt x="935114" y="349411"/>
                    </a:lnTo>
                    <a:lnTo>
                      <a:pt x="937759" y="350557"/>
                    </a:lnTo>
                    <a:lnTo>
                      <a:pt x="938023" y="351792"/>
                    </a:lnTo>
                    <a:lnTo>
                      <a:pt x="938023" y="355230"/>
                    </a:lnTo>
                    <a:lnTo>
                      <a:pt x="937494" y="356729"/>
                    </a:lnTo>
                    <a:lnTo>
                      <a:pt x="936613" y="358228"/>
                    </a:lnTo>
                    <a:lnTo>
                      <a:pt x="934585" y="357875"/>
                    </a:lnTo>
                    <a:lnTo>
                      <a:pt x="932204" y="357875"/>
                    </a:lnTo>
                    <a:lnTo>
                      <a:pt x="929295" y="357611"/>
                    </a:lnTo>
                    <a:lnTo>
                      <a:pt x="925768" y="357346"/>
                    </a:lnTo>
                    <a:lnTo>
                      <a:pt x="925503" y="358493"/>
                    </a:lnTo>
                    <a:lnTo>
                      <a:pt x="924622" y="359374"/>
                    </a:lnTo>
                    <a:lnTo>
                      <a:pt x="924093" y="362284"/>
                    </a:lnTo>
                    <a:lnTo>
                      <a:pt x="921448" y="361667"/>
                    </a:lnTo>
                    <a:lnTo>
                      <a:pt x="916775" y="363430"/>
                    </a:lnTo>
                    <a:lnTo>
                      <a:pt x="914130" y="364576"/>
                    </a:lnTo>
                    <a:lnTo>
                      <a:pt x="910956" y="366075"/>
                    </a:lnTo>
                    <a:lnTo>
                      <a:pt x="911220" y="367486"/>
                    </a:lnTo>
                    <a:lnTo>
                      <a:pt x="905666" y="371277"/>
                    </a:lnTo>
                    <a:lnTo>
                      <a:pt x="902492" y="376832"/>
                    </a:lnTo>
                    <a:lnTo>
                      <a:pt x="898348" y="380976"/>
                    </a:lnTo>
                    <a:lnTo>
                      <a:pt x="897466" y="383003"/>
                    </a:lnTo>
                    <a:lnTo>
                      <a:pt x="896320" y="381505"/>
                    </a:lnTo>
                    <a:lnTo>
                      <a:pt x="892528" y="381240"/>
                    </a:lnTo>
                    <a:lnTo>
                      <a:pt x="889884" y="380094"/>
                    </a:lnTo>
                    <a:lnTo>
                      <a:pt x="886445" y="382122"/>
                    </a:lnTo>
                    <a:lnTo>
                      <a:pt x="884681" y="382651"/>
                    </a:lnTo>
                    <a:lnTo>
                      <a:pt x="881419" y="383532"/>
                    </a:lnTo>
                    <a:lnTo>
                      <a:pt x="880009" y="384150"/>
                    </a:lnTo>
                    <a:lnTo>
                      <a:pt x="877981" y="387059"/>
                    </a:lnTo>
                    <a:lnTo>
                      <a:pt x="873925" y="389352"/>
                    </a:lnTo>
                    <a:lnTo>
                      <a:pt x="869252" y="394377"/>
                    </a:lnTo>
                    <a:lnTo>
                      <a:pt x="868018" y="398962"/>
                    </a:lnTo>
                    <a:lnTo>
                      <a:pt x="865108" y="401078"/>
                    </a:lnTo>
                    <a:lnTo>
                      <a:pt x="862816" y="403723"/>
                    </a:lnTo>
                    <a:lnTo>
                      <a:pt x="857790" y="403723"/>
                    </a:lnTo>
                    <a:lnTo>
                      <a:pt x="858143" y="405751"/>
                    </a:lnTo>
                    <a:lnTo>
                      <a:pt x="854352" y="406897"/>
                    </a:lnTo>
                    <a:lnTo>
                      <a:pt x="851178" y="409807"/>
                    </a:lnTo>
                    <a:lnTo>
                      <a:pt x="850296" y="410424"/>
                    </a:lnTo>
                    <a:lnTo>
                      <a:pt x="847298" y="413598"/>
                    </a:lnTo>
                    <a:lnTo>
                      <a:pt x="846152" y="415626"/>
                    </a:lnTo>
                    <a:lnTo>
                      <a:pt x="839716" y="415978"/>
                    </a:lnTo>
                    <a:lnTo>
                      <a:pt x="839187" y="417125"/>
                    </a:lnTo>
                    <a:lnTo>
                      <a:pt x="838834" y="416243"/>
                    </a:lnTo>
                    <a:lnTo>
                      <a:pt x="836806" y="415009"/>
                    </a:lnTo>
                    <a:lnTo>
                      <a:pt x="835395" y="415978"/>
                    </a:lnTo>
                    <a:lnTo>
                      <a:pt x="836806" y="419152"/>
                    </a:lnTo>
                    <a:lnTo>
                      <a:pt x="831869" y="422326"/>
                    </a:lnTo>
                    <a:lnTo>
                      <a:pt x="827460" y="419417"/>
                    </a:lnTo>
                    <a:lnTo>
                      <a:pt x="830722" y="423561"/>
                    </a:lnTo>
                    <a:lnTo>
                      <a:pt x="826931" y="426118"/>
                    </a:lnTo>
                    <a:lnTo>
                      <a:pt x="825168" y="426735"/>
                    </a:lnTo>
                    <a:lnTo>
                      <a:pt x="824551" y="427617"/>
                    </a:lnTo>
                    <a:lnTo>
                      <a:pt x="825432" y="428146"/>
                    </a:lnTo>
                    <a:lnTo>
                      <a:pt x="825168" y="428763"/>
                    </a:lnTo>
                    <a:lnTo>
                      <a:pt x="823757" y="430262"/>
                    </a:lnTo>
                    <a:lnTo>
                      <a:pt x="822523" y="430526"/>
                    </a:lnTo>
                    <a:lnTo>
                      <a:pt x="823140" y="431055"/>
                    </a:lnTo>
                    <a:lnTo>
                      <a:pt x="821377" y="432554"/>
                    </a:lnTo>
                    <a:lnTo>
                      <a:pt x="820230" y="431672"/>
                    </a:lnTo>
                    <a:lnTo>
                      <a:pt x="820230" y="433436"/>
                    </a:lnTo>
                    <a:lnTo>
                      <a:pt x="817585" y="435728"/>
                    </a:lnTo>
                    <a:lnTo>
                      <a:pt x="817585" y="435464"/>
                    </a:lnTo>
                    <a:lnTo>
                      <a:pt x="816704" y="435728"/>
                    </a:lnTo>
                    <a:lnTo>
                      <a:pt x="817585" y="436345"/>
                    </a:lnTo>
                    <a:lnTo>
                      <a:pt x="815822" y="439872"/>
                    </a:lnTo>
                    <a:lnTo>
                      <a:pt x="815558" y="439519"/>
                    </a:lnTo>
                    <a:lnTo>
                      <a:pt x="813530" y="439872"/>
                    </a:lnTo>
                    <a:lnTo>
                      <a:pt x="815822" y="441018"/>
                    </a:lnTo>
                    <a:lnTo>
                      <a:pt x="812648" y="444545"/>
                    </a:lnTo>
                    <a:lnTo>
                      <a:pt x="812031" y="447102"/>
                    </a:lnTo>
                    <a:lnTo>
                      <a:pt x="809121" y="450364"/>
                    </a:lnTo>
                    <a:lnTo>
                      <a:pt x="806829" y="451246"/>
                    </a:lnTo>
                    <a:lnTo>
                      <a:pt x="808857" y="450629"/>
                    </a:lnTo>
                    <a:lnTo>
                      <a:pt x="807711" y="453538"/>
                    </a:lnTo>
                    <a:lnTo>
                      <a:pt x="807358" y="453538"/>
                    </a:lnTo>
                    <a:lnTo>
                      <a:pt x="806476" y="454155"/>
                    </a:lnTo>
                    <a:lnTo>
                      <a:pt x="807975" y="454420"/>
                    </a:lnTo>
                    <a:lnTo>
                      <a:pt x="805947" y="460856"/>
                    </a:lnTo>
                    <a:lnTo>
                      <a:pt x="805065" y="462884"/>
                    </a:lnTo>
                    <a:lnTo>
                      <a:pt x="804448" y="465794"/>
                    </a:lnTo>
                    <a:lnTo>
                      <a:pt x="804448" y="466411"/>
                    </a:lnTo>
                    <a:lnTo>
                      <a:pt x="804184" y="472230"/>
                    </a:lnTo>
                    <a:lnTo>
                      <a:pt x="806212" y="478666"/>
                    </a:lnTo>
                    <a:lnTo>
                      <a:pt x="804448" y="486778"/>
                    </a:lnTo>
                    <a:lnTo>
                      <a:pt x="805947" y="492949"/>
                    </a:lnTo>
                    <a:lnTo>
                      <a:pt x="809121" y="498151"/>
                    </a:lnTo>
                    <a:lnTo>
                      <a:pt x="810885" y="507497"/>
                    </a:lnTo>
                    <a:lnTo>
                      <a:pt x="813177" y="517108"/>
                    </a:lnTo>
                    <a:lnTo>
                      <a:pt x="810003" y="522133"/>
                    </a:lnTo>
                    <a:lnTo>
                      <a:pt x="809386" y="534653"/>
                    </a:lnTo>
                    <a:lnTo>
                      <a:pt x="814411" y="546908"/>
                    </a:lnTo>
                    <a:lnTo>
                      <a:pt x="815558" y="554226"/>
                    </a:lnTo>
                    <a:lnTo>
                      <a:pt x="815293" y="564101"/>
                    </a:lnTo>
                    <a:lnTo>
                      <a:pt x="812912" y="570538"/>
                    </a:lnTo>
                    <a:lnTo>
                      <a:pt x="810620" y="583322"/>
                    </a:lnTo>
                    <a:lnTo>
                      <a:pt x="808240" y="584821"/>
                    </a:lnTo>
                    <a:lnTo>
                      <a:pt x="804184" y="590905"/>
                    </a:lnTo>
                    <a:lnTo>
                      <a:pt x="804448" y="593285"/>
                    </a:lnTo>
                    <a:lnTo>
                      <a:pt x="802421" y="595577"/>
                    </a:lnTo>
                    <a:lnTo>
                      <a:pt x="804448" y="594431"/>
                    </a:lnTo>
                    <a:lnTo>
                      <a:pt x="807358" y="590375"/>
                    </a:lnTo>
                    <a:lnTo>
                      <a:pt x="806476" y="591786"/>
                    </a:lnTo>
                    <a:lnTo>
                      <a:pt x="804713" y="595048"/>
                    </a:lnTo>
                    <a:lnTo>
                      <a:pt x="804713" y="598222"/>
                    </a:lnTo>
                    <a:lnTo>
                      <a:pt x="800657" y="600867"/>
                    </a:lnTo>
                    <a:lnTo>
                      <a:pt x="797747" y="603424"/>
                    </a:lnTo>
                    <a:lnTo>
                      <a:pt x="797130" y="605188"/>
                    </a:lnTo>
                    <a:lnTo>
                      <a:pt x="794838" y="605805"/>
                    </a:lnTo>
                    <a:lnTo>
                      <a:pt x="799511" y="601132"/>
                    </a:lnTo>
                    <a:lnTo>
                      <a:pt x="798894" y="598222"/>
                    </a:lnTo>
                    <a:lnTo>
                      <a:pt x="797483" y="598222"/>
                    </a:lnTo>
                    <a:lnTo>
                      <a:pt x="796601" y="598840"/>
                    </a:lnTo>
                    <a:lnTo>
                      <a:pt x="795720" y="599633"/>
                    </a:lnTo>
                    <a:lnTo>
                      <a:pt x="795103" y="602895"/>
                    </a:lnTo>
                    <a:lnTo>
                      <a:pt x="793339" y="603424"/>
                    </a:lnTo>
                    <a:lnTo>
                      <a:pt x="793956" y="599633"/>
                    </a:lnTo>
                    <a:lnTo>
                      <a:pt x="793075" y="599633"/>
                    </a:lnTo>
                    <a:lnTo>
                      <a:pt x="793339" y="599986"/>
                    </a:lnTo>
                    <a:lnTo>
                      <a:pt x="792810" y="599986"/>
                    </a:lnTo>
                    <a:lnTo>
                      <a:pt x="792546" y="599104"/>
                    </a:lnTo>
                    <a:lnTo>
                      <a:pt x="791311" y="598840"/>
                    </a:lnTo>
                    <a:lnTo>
                      <a:pt x="786109" y="600603"/>
                    </a:lnTo>
                    <a:lnTo>
                      <a:pt x="784610" y="596724"/>
                    </a:lnTo>
                    <a:lnTo>
                      <a:pt x="785757" y="595048"/>
                    </a:lnTo>
                    <a:lnTo>
                      <a:pt x="786374" y="593814"/>
                    </a:lnTo>
                    <a:lnTo>
                      <a:pt x="785757" y="588877"/>
                    </a:lnTo>
                    <a:lnTo>
                      <a:pt x="784346" y="586232"/>
                    </a:lnTo>
                    <a:lnTo>
                      <a:pt x="778527" y="581559"/>
                    </a:lnTo>
                    <a:lnTo>
                      <a:pt x="776763" y="582176"/>
                    </a:lnTo>
                    <a:lnTo>
                      <a:pt x="775000" y="578120"/>
                    </a:lnTo>
                    <a:lnTo>
                      <a:pt x="775000" y="570185"/>
                    </a:lnTo>
                    <a:lnTo>
                      <a:pt x="772972" y="567011"/>
                    </a:lnTo>
                    <a:lnTo>
                      <a:pt x="771473" y="567011"/>
                    </a:lnTo>
                    <a:lnTo>
                      <a:pt x="771826" y="567011"/>
                    </a:lnTo>
                    <a:lnTo>
                      <a:pt x="768564" y="566746"/>
                    </a:lnTo>
                    <a:lnTo>
                      <a:pt x="767153" y="562955"/>
                    </a:lnTo>
                    <a:lnTo>
                      <a:pt x="768299" y="558547"/>
                    </a:lnTo>
                    <a:lnTo>
                      <a:pt x="761334" y="540208"/>
                    </a:lnTo>
                    <a:lnTo>
                      <a:pt x="763009" y="540472"/>
                    </a:lnTo>
                    <a:lnTo>
                      <a:pt x="765919" y="537563"/>
                    </a:lnTo>
                    <a:lnTo>
                      <a:pt x="770063" y="531391"/>
                    </a:lnTo>
                    <a:lnTo>
                      <a:pt x="769181" y="530597"/>
                    </a:lnTo>
                    <a:lnTo>
                      <a:pt x="768564" y="532890"/>
                    </a:lnTo>
                    <a:lnTo>
                      <a:pt x="767153" y="532625"/>
                    </a:lnTo>
                    <a:lnTo>
                      <a:pt x="767682" y="529716"/>
                    </a:lnTo>
                    <a:lnTo>
                      <a:pt x="765654" y="529363"/>
                    </a:lnTo>
                    <a:lnTo>
                      <a:pt x="764244" y="530245"/>
                    </a:lnTo>
                    <a:lnTo>
                      <a:pt x="766536" y="530597"/>
                    </a:lnTo>
                    <a:lnTo>
                      <a:pt x="765654" y="533419"/>
                    </a:lnTo>
                    <a:lnTo>
                      <a:pt x="761863" y="537563"/>
                    </a:lnTo>
                    <a:lnTo>
                      <a:pt x="760717" y="532008"/>
                    </a:lnTo>
                    <a:lnTo>
                      <a:pt x="761863" y="526189"/>
                    </a:lnTo>
                    <a:lnTo>
                      <a:pt x="763362" y="526189"/>
                    </a:lnTo>
                    <a:lnTo>
                      <a:pt x="763009" y="524161"/>
                    </a:lnTo>
                    <a:lnTo>
                      <a:pt x="766800" y="517725"/>
                    </a:lnTo>
                    <a:lnTo>
                      <a:pt x="768564" y="511288"/>
                    </a:lnTo>
                    <a:lnTo>
                      <a:pt x="767418" y="509261"/>
                    </a:lnTo>
                    <a:lnTo>
                      <a:pt x="768917" y="506351"/>
                    </a:lnTo>
                    <a:lnTo>
                      <a:pt x="768035" y="504059"/>
                    </a:lnTo>
                    <a:lnTo>
                      <a:pt x="768299" y="499915"/>
                    </a:lnTo>
                    <a:lnTo>
                      <a:pt x="766536" y="499650"/>
                    </a:lnTo>
                    <a:lnTo>
                      <a:pt x="762128" y="500796"/>
                    </a:lnTo>
                    <a:lnTo>
                      <a:pt x="763009" y="497005"/>
                    </a:lnTo>
                    <a:lnTo>
                      <a:pt x="761334" y="496124"/>
                    </a:lnTo>
                    <a:lnTo>
                      <a:pt x="760717" y="492597"/>
                    </a:lnTo>
                    <a:lnTo>
                      <a:pt x="757543" y="490921"/>
                    </a:lnTo>
                    <a:lnTo>
                      <a:pt x="757807" y="487130"/>
                    </a:lnTo>
                    <a:lnTo>
                      <a:pt x="754898" y="485014"/>
                    </a:lnTo>
                    <a:lnTo>
                      <a:pt x="755162" y="484750"/>
                    </a:lnTo>
                    <a:lnTo>
                      <a:pt x="754545" y="481576"/>
                    </a:lnTo>
                    <a:lnTo>
                      <a:pt x="747580" y="476903"/>
                    </a:lnTo>
                    <a:lnTo>
                      <a:pt x="746434" y="476286"/>
                    </a:lnTo>
                    <a:lnTo>
                      <a:pt x="742025" y="476903"/>
                    </a:lnTo>
                    <a:lnTo>
                      <a:pt x="739997" y="479548"/>
                    </a:lnTo>
                    <a:lnTo>
                      <a:pt x="739997" y="480077"/>
                    </a:lnTo>
                    <a:lnTo>
                      <a:pt x="737969" y="481223"/>
                    </a:lnTo>
                    <a:lnTo>
                      <a:pt x="727125" y="485631"/>
                    </a:lnTo>
                    <a:lnTo>
                      <a:pt x="727125" y="483868"/>
                    </a:lnTo>
                    <a:lnTo>
                      <a:pt x="721306" y="485896"/>
                    </a:lnTo>
                    <a:lnTo>
                      <a:pt x="722187" y="486778"/>
                    </a:lnTo>
                    <a:lnTo>
                      <a:pt x="719542" y="486513"/>
                    </a:lnTo>
                    <a:lnTo>
                      <a:pt x="716985" y="486778"/>
                    </a:lnTo>
                    <a:lnTo>
                      <a:pt x="716633" y="485631"/>
                    </a:lnTo>
                    <a:lnTo>
                      <a:pt x="717250" y="486249"/>
                    </a:lnTo>
                    <a:lnTo>
                      <a:pt x="718396" y="483603"/>
                    </a:lnTo>
                    <a:lnTo>
                      <a:pt x="717514" y="480429"/>
                    </a:lnTo>
                    <a:lnTo>
                      <a:pt x="706758" y="471965"/>
                    </a:lnTo>
                    <a:lnTo>
                      <a:pt x="699175" y="468968"/>
                    </a:lnTo>
                    <a:lnTo>
                      <a:pt x="690711" y="468968"/>
                    </a:lnTo>
                    <a:lnTo>
                      <a:pt x="677839" y="471084"/>
                    </a:lnTo>
                    <a:lnTo>
                      <a:pt x="674047" y="471613"/>
                    </a:lnTo>
                    <a:lnTo>
                      <a:pt x="669992" y="471613"/>
                    </a:lnTo>
                    <a:lnTo>
                      <a:pt x="667699" y="468439"/>
                    </a:lnTo>
                    <a:lnTo>
                      <a:pt x="668228" y="462884"/>
                    </a:lnTo>
                    <a:lnTo>
                      <a:pt x="666465" y="461738"/>
                    </a:lnTo>
                    <a:lnTo>
                      <a:pt x="662145" y="470202"/>
                    </a:lnTo>
                    <a:lnTo>
                      <a:pt x="656854" y="470202"/>
                    </a:lnTo>
                    <a:lnTo>
                      <a:pt x="648126" y="469849"/>
                    </a:lnTo>
                    <a:lnTo>
                      <a:pt x="637634" y="471084"/>
                    </a:lnTo>
                    <a:lnTo>
                      <a:pt x="636488" y="470466"/>
                    </a:lnTo>
                    <a:lnTo>
                      <a:pt x="631462" y="474258"/>
                    </a:lnTo>
                    <a:lnTo>
                      <a:pt x="629434" y="474875"/>
                    </a:lnTo>
                    <a:lnTo>
                      <a:pt x="626524" y="477784"/>
                    </a:lnTo>
                    <a:lnTo>
                      <a:pt x="623880" y="478313"/>
                    </a:lnTo>
                    <a:lnTo>
                      <a:pt x="628023" y="481576"/>
                    </a:lnTo>
                    <a:lnTo>
                      <a:pt x="632079" y="476903"/>
                    </a:lnTo>
                    <a:lnTo>
                      <a:pt x="634989" y="477432"/>
                    </a:lnTo>
                    <a:lnTo>
                      <a:pt x="638780" y="474522"/>
                    </a:lnTo>
                    <a:lnTo>
                      <a:pt x="637017" y="480429"/>
                    </a:lnTo>
                    <a:lnTo>
                      <a:pt x="634989" y="481223"/>
                    </a:lnTo>
                    <a:lnTo>
                      <a:pt x="635870" y="481576"/>
                    </a:lnTo>
                    <a:lnTo>
                      <a:pt x="634371" y="482722"/>
                    </a:lnTo>
                    <a:lnTo>
                      <a:pt x="634371" y="484750"/>
                    </a:lnTo>
                    <a:lnTo>
                      <a:pt x="632344" y="483868"/>
                    </a:lnTo>
                    <a:lnTo>
                      <a:pt x="630316" y="487130"/>
                    </a:lnTo>
                    <a:lnTo>
                      <a:pt x="629170" y="485896"/>
                    </a:lnTo>
                    <a:lnTo>
                      <a:pt x="628552" y="487659"/>
                    </a:lnTo>
                    <a:lnTo>
                      <a:pt x="626260" y="488012"/>
                    </a:lnTo>
                    <a:lnTo>
                      <a:pt x="627671" y="490040"/>
                    </a:lnTo>
                    <a:lnTo>
                      <a:pt x="626260" y="491186"/>
                    </a:lnTo>
                    <a:lnTo>
                      <a:pt x="627406" y="493478"/>
                    </a:lnTo>
                    <a:lnTo>
                      <a:pt x="633842" y="495594"/>
                    </a:lnTo>
                    <a:lnTo>
                      <a:pt x="636488" y="498151"/>
                    </a:lnTo>
                    <a:lnTo>
                      <a:pt x="632961" y="504323"/>
                    </a:lnTo>
                    <a:lnTo>
                      <a:pt x="631462" y="501414"/>
                    </a:lnTo>
                    <a:lnTo>
                      <a:pt x="628288" y="504059"/>
                    </a:lnTo>
                    <a:lnTo>
                      <a:pt x="629170" y="502560"/>
                    </a:lnTo>
                    <a:lnTo>
                      <a:pt x="628023" y="501414"/>
                    </a:lnTo>
                    <a:lnTo>
                      <a:pt x="626260" y="497887"/>
                    </a:lnTo>
                    <a:lnTo>
                      <a:pt x="618413" y="496124"/>
                    </a:lnTo>
                    <a:lnTo>
                      <a:pt x="614269" y="499386"/>
                    </a:lnTo>
                    <a:lnTo>
                      <a:pt x="610478" y="501061"/>
                    </a:lnTo>
                    <a:lnTo>
                      <a:pt x="611095" y="500179"/>
                    </a:lnTo>
                    <a:lnTo>
                      <a:pt x="609067" y="496741"/>
                    </a:lnTo>
                    <a:lnTo>
                      <a:pt x="607304" y="498504"/>
                    </a:lnTo>
                    <a:lnTo>
                      <a:pt x="602366" y="498151"/>
                    </a:lnTo>
                    <a:lnTo>
                      <a:pt x="598223" y="502560"/>
                    </a:lnTo>
                    <a:lnTo>
                      <a:pt x="597076" y="502295"/>
                    </a:lnTo>
                    <a:lnTo>
                      <a:pt x="595930" y="499386"/>
                    </a:lnTo>
                    <a:lnTo>
                      <a:pt x="593021" y="499033"/>
                    </a:lnTo>
                    <a:lnTo>
                      <a:pt x="587466" y="495242"/>
                    </a:lnTo>
                    <a:lnTo>
                      <a:pt x="590640" y="494096"/>
                    </a:lnTo>
                    <a:lnTo>
                      <a:pt x="592403" y="497005"/>
                    </a:lnTo>
                    <a:lnTo>
                      <a:pt x="590640" y="491803"/>
                    </a:lnTo>
                    <a:lnTo>
                      <a:pt x="587730" y="490921"/>
                    </a:lnTo>
                    <a:lnTo>
                      <a:pt x="585438" y="490569"/>
                    </a:lnTo>
                    <a:lnTo>
                      <a:pt x="585438" y="487659"/>
                    </a:lnTo>
                    <a:lnTo>
                      <a:pt x="583322" y="487659"/>
                    </a:lnTo>
                    <a:lnTo>
                      <a:pt x="584556" y="485014"/>
                    </a:lnTo>
                    <a:lnTo>
                      <a:pt x="579531" y="485367"/>
                    </a:lnTo>
                    <a:lnTo>
                      <a:pt x="580412" y="482986"/>
                    </a:lnTo>
                    <a:lnTo>
                      <a:pt x="577856" y="482986"/>
                    </a:lnTo>
                    <a:lnTo>
                      <a:pt x="572830" y="485014"/>
                    </a:lnTo>
                    <a:lnTo>
                      <a:pt x="574329" y="485896"/>
                    </a:lnTo>
                    <a:lnTo>
                      <a:pt x="574064" y="488012"/>
                    </a:lnTo>
                    <a:lnTo>
                      <a:pt x="581911" y="489423"/>
                    </a:lnTo>
                    <a:lnTo>
                      <a:pt x="580148" y="491450"/>
                    </a:lnTo>
                    <a:lnTo>
                      <a:pt x="574946" y="489158"/>
                    </a:lnTo>
                    <a:lnTo>
                      <a:pt x="562955" y="489158"/>
                    </a:lnTo>
                    <a:lnTo>
                      <a:pt x="550435" y="483868"/>
                    </a:lnTo>
                    <a:lnTo>
                      <a:pt x="540472" y="485367"/>
                    </a:lnTo>
                    <a:lnTo>
                      <a:pt x="537298" y="487659"/>
                    </a:lnTo>
                    <a:lnTo>
                      <a:pt x="525924" y="489687"/>
                    </a:lnTo>
                    <a:lnTo>
                      <a:pt x="525572" y="489687"/>
                    </a:lnTo>
                    <a:lnTo>
                      <a:pt x="516843" y="494977"/>
                    </a:lnTo>
                    <a:lnTo>
                      <a:pt x="515697" y="494096"/>
                    </a:lnTo>
                    <a:lnTo>
                      <a:pt x="518606" y="491803"/>
                    </a:lnTo>
                    <a:lnTo>
                      <a:pt x="523015" y="490040"/>
                    </a:lnTo>
                    <a:lnTo>
                      <a:pt x="516579" y="490304"/>
                    </a:lnTo>
                    <a:lnTo>
                      <a:pt x="519753" y="485631"/>
                    </a:lnTo>
                    <a:lnTo>
                      <a:pt x="518342" y="484485"/>
                    </a:lnTo>
                    <a:lnTo>
                      <a:pt x="515432" y="486778"/>
                    </a:lnTo>
                    <a:lnTo>
                      <a:pt x="513669" y="486778"/>
                    </a:lnTo>
                    <a:lnTo>
                      <a:pt x="513052" y="486778"/>
                    </a:lnTo>
                    <a:lnTo>
                      <a:pt x="512787" y="487395"/>
                    </a:lnTo>
                    <a:lnTo>
                      <a:pt x="512170" y="489687"/>
                    </a:lnTo>
                    <a:lnTo>
                      <a:pt x="513669" y="493831"/>
                    </a:lnTo>
                    <a:lnTo>
                      <a:pt x="516579" y="495242"/>
                    </a:lnTo>
                    <a:lnTo>
                      <a:pt x="497358" y="507850"/>
                    </a:lnTo>
                    <a:lnTo>
                      <a:pt x="476286" y="518871"/>
                    </a:lnTo>
                    <a:lnTo>
                      <a:pt x="464030" y="526806"/>
                    </a:lnTo>
                    <a:lnTo>
                      <a:pt x="459093" y="532625"/>
                    </a:lnTo>
                    <a:lnTo>
                      <a:pt x="453538" y="539326"/>
                    </a:lnTo>
                    <a:lnTo>
                      <a:pt x="448865" y="546556"/>
                    </a:lnTo>
                    <a:lnTo>
                      <a:pt x="446837" y="555373"/>
                    </a:lnTo>
                    <a:lnTo>
                      <a:pt x="446573" y="563484"/>
                    </a:lnTo>
                    <a:lnTo>
                      <a:pt x="447455" y="568157"/>
                    </a:lnTo>
                    <a:lnTo>
                      <a:pt x="447455" y="579266"/>
                    </a:lnTo>
                    <a:lnTo>
                      <a:pt x="445074" y="580148"/>
                    </a:lnTo>
                    <a:lnTo>
                      <a:pt x="442782" y="580677"/>
                    </a:lnTo>
                    <a:lnTo>
                      <a:pt x="441635" y="582440"/>
                    </a:lnTo>
                    <a:lnTo>
                      <a:pt x="437844" y="581559"/>
                    </a:lnTo>
                    <a:lnTo>
                      <a:pt x="436962" y="577238"/>
                    </a:lnTo>
                    <a:lnTo>
                      <a:pt x="431408" y="576621"/>
                    </a:lnTo>
                    <a:lnTo>
                      <a:pt x="424972" y="577238"/>
                    </a:lnTo>
                    <a:lnTo>
                      <a:pt x="421445" y="573094"/>
                    </a:lnTo>
                    <a:lnTo>
                      <a:pt x="416772" y="571948"/>
                    </a:lnTo>
                    <a:lnTo>
                      <a:pt x="413862" y="569656"/>
                    </a:lnTo>
                    <a:lnTo>
                      <a:pt x="407779" y="568510"/>
                    </a:lnTo>
                    <a:lnTo>
                      <a:pt x="407514" y="557048"/>
                    </a:lnTo>
                    <a:lnTo>
                      <a:pt x="403370" y="552463"/>
                    </a:lnTo>
                    <a:lnTo>
                      <a:pt x="406015" y="539590"/>
                    </a:lnTo>
                    <a:lnTo>
                      <a:pt x="401607" y="537298"/>
                    </a:lnTo>
                    <a:lnTo>
                      <a:pt x="399579" y="530862"/>
                    </a:lnTo>
                    <a:lnTo>
                      <a:pt x="397551" y="524690"/>
                    </a:lnTo>
                    <a:lnTo>
                      <a:pt x="393231" y="521516"/>
                    </a:lnTo>
                    <a:lnTo>
                      <a:pt x="389969" y="500532"/>
                    </a:lnTo>
                    <a:lnTo>
                      <a:pt x="382386" y="491803"/>
                    </a:lnTo>
                    <a:lnTo>
                      <a:pt x="378860" y="484485"/>
                    </a:lnTo>
                    <a:lnTo>
                      <a:pt x="364576" y="483339"/>
                    </a:lnTo>
                    <a:lnTo>
                      <a:pt x="360521" y="481576"/>
                    </a:lnTo>
                    <a:lnTo>
                      <a:pt x="355583" y="484221"/>
                    </a:lnTo>
                    <a:lnTo>
                      <a:pt x="351792" y="484750"/>
                    </a:lnTo>
                    <a:lnTo>
                      <a:pt x="344209" y="498151"/>
                    </a:lnTo>
                    <a:lnTo>
                      <a:pt x="336627" y="504323"/>
                    </a:lnTo>
                    <a:lnTo>
                      <a:pt x="332219" y="503177"/>
                    </a:lnTo>
                    <a:lnTo>
                      <a:pt x="319963" y="496388"/>
                    </a:lnTo>
                    <a:lnTo>
                      <a:pt x="312116" y="487659"/>
                    </a:lnTo>
                    <a:lnTo>
                      <a:pt x="310970" y="479548"/>
                    </a:lnTo>
                    <a:lnTo>
                      <a:pt x="312645" y="476286"/>
                    </a:lnTo>
                    <a:lnTo>
                      <a:pt x="312645" y="472494"/>
                    </a:lnTo>
                    <a:lnTo>
                      <a:pt x="310088" y="463149"/>
                    </a:lnTo>
                    <a:lnTo>
                      <a:pt x="304181" y="459093"/>
                    </a:lnTo>
                    <a:lnTo>
                      <a:pt x="300478" y="452392"/>
                    </a:lnTo>
                    <a:lnTo>
                      <a:pt x="296334" y="449747"/>
                    </a:lnTo>
                    <a:lnTo>
                      <a:pt x="296951" y="447455"/>
                    </a:lnTo>
                    <a:lnTo>
                      <a:pt x="292807" y="443928"/>
                    </a:lnTo>
                    <a:lnTo>
                      <a:pt x="289016" y="441900"/>
                    </a:lnTo>
                    <a:lnTo>
                      <a:pt x="289016" y="435464"/>
                    </a:lnTo>
                    <a:lnTo>
                      <a:pt x="286106" y="435464"/>
                    </a:lnTo>
                    <a:lnTo>
                      <a:pt x="285225" y="434317"/>
                    </a:lnTo>
                    <a:lnTo>
                      <a:pt x="249957" y="434317"/>
                    </a:lnTo>
                    <a:lnTo>
                      <a:pt x="246519" y="445427"/>
                    </a:lnTo>
                    <a:lnTo>
                      <a:pt x="186652" y="445427"/>
                    </a:lnTo>
                    <a:lnTo>
                      <a:pt x="148740" y="430526"/>
                    </a:lnTo>
                    <a:lnTo>
                      <a:pt x="118410" y="418535"/>
                    </a:lnTo>
                    <a:lnTo>
                      <a:pt x="121320" y="41095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666" name="Grafik 9">
                <a:extLst>
                  <a:ext uri="{FF2B5EF4-FFF2-40B4-BE49-F238E27FC236}">
                    <a16:creationId xmlns:a16="http://schemas.microsoft.com/office/drawing/2014/main" id="{F7B63656-B126-5414-C737-1BB092CE96CB}"/>
                  </a:ext>
                </a:extLst>
              </p:cNvPr>
              <p:cNvGrpSpPr/>
              <p:nvPr/>
            </p:nvGrpSpPr>
            <p:grpSpPr>
              <a:xfrm>
                <a:off x="855574" y="2426878"/>
                <a:ext cx="971262" cy="423472"/>
                <a:chOff x="855574" y="2426878"/>
                <a:chExt cx="971262" cy="423472"/>
              </a:xfrm>
              <a:grpFill/>
            </p:grpSpPr>
            <p:sp>
              <p:nvSpPr>
                <p:cNvPr id="1733" name="Freihandform: Form 1732">
                  <a:extLst>
                    <a:ext uri="{FF2B5EF4-FFF2-40B4-BE49-F238E27FC236}">
                      <a16:creationId xmlns:a16="http://schemas.microsoft.com/office/drawing/2014/main" id="{5D6EDA5A-FDC4-4E2B-5E3C-6EF70144B952}"/>
                    </a:ext>
                  </a:extLst>
                </p:cNvPr>
                <p:cNvSpPr/>
                <p:nvPr/>
              </p:nvSpPr>
              <p:spPr>
                <a:xfrm>
                  <a:off x="1066120" y="2426878"/>
                  <a:ext cx="760716" cy="373040"/>
                </a:xfrm>
                <a:custGeom>
                  <a:avLst/>
                  <a:gdLst>
                    <a:gd name="connsiteX0" fmla="*/ 530245 w 760716"/>
                    <a:gd name="connsiteY0" fmla="*/ 241141 h 373040"/>
                    <a:gd name="connsiteX1" fmla="*/ 538180 w 760716"/>
                    <a:gd name="connsiteY1" fmla="*/ 241493 h 373040"/>
                    <a:gd name="connsiteX2" fmla="*/ 541354 w 760716"/>
                    <a:gd name="connsiteY2" fmla="*/ 239465 h 373040"/>
                    <a:gd name="connsiteX3" fmla="*/ 545498 w 760716"/>
                    <a:gd name="connsiteY3" fmla="*/ 242639 h 373040"/>
                    <a:gd name="connsiteX4" fmla="*/ 555637 w 760716"/>
                    <a:gd name="connsiteY4" fmla="*/ 238848 h 373040"/>
                    <a:gd name="connsiteX5" fmla="*/ 566746 w 760716"/>
                    <a:gd name="connsiteY5" fmla="*/ 238584 h 373040"/>
                    <a:gd name="connsiteX6" fmla="*/ 558547 w 760716"/>
                    <a:gd name="connsiteY6" fmla="*/ 244403 h 373040"/>
                    <a:gd name="connsiteX7" fmla="*/ 558018 w 760716"/>
                    <a:gd name="connsiteY7" fmla="*/ 244932 h 373040"/>
                    <a:gd name="connsiteX8" fmla="*/ 557665 w 760716"/>
                    <a:gd name="connsiteY8" fmla="*/ 244932 h 373040"/>
                    <a:gd name="connsiteX9" fmla="*/ 557665 w 760716"/>
                    <a:gd name="connsiteY9" fmla="*/ 245902 h 373040"/>
                    <a:gd name="connsiteX10" fmla="*/ 562691 w 760716"/>
                    <a:gd name="connsiteY10" fmla="*/ 248811 h 373040"/>
                    <a:gd name="connsiteX11" fmla="*/ 560310 w 760716"/>
                    <a:gd name="connsiteY11" fmla="*/ 251985 h 373040"/>
                    <a:gd name="connsiteX12" fmla="*/ 561456 w 760716"/>
                    <a:gd name="connsiteY12" fmla="*/ 262742 h 373040"/>
                    <a:gd name="connsiteX13" fmla="*/ 566746 w 760716"/>
                    <a:gd name="connsiteY13" fmla="*/ 264241 h 373040"/>
                    <a:gd name="connsiteX14" fmla="*/ 567893 w 760716"/>
                    <a:gd name="connsiteY14" fmla="*/ 263094 h 373040"/>
                    <a:gd name="connsiteX15" fmla="*/ 569656 w 760716"/>
                    <a:gd name="connsiteY15" fmla="*/ 263359 h 373040"/>
                    <a:gd name="connsiteX16" fmla="*/ 572565 w 760716"/>
                    <a:gd name="connsiteY16" fmla="*/ 262477 h 373040"/>
                    <a:gd name="connsiteX17" fmla="*/ 575211 w 760716"/>
                    <a:gd name="connsiteY17" fmla="*/ 260978 h 373040"/>
                    <a:gd name="connsiteX18" fmla="*/ 579266 w 760716"/>
                    <a:gd name="connsiteY18" fmla="*/ 262742 h 373040"/>
                    <a:gd name="connsiteX19" fmla="*/ 582793 w 760716"/>
                    <a:gd name="connsiteY19" fmla="*/ 262742 h 373040"/>
                    <a:gd name="connsiteX20" fmla="*/ 585967 w 760716"/>
                    <a:gd name="connsiteY20" fmla="*/ 262213 h 373040"/>
                    <a:gd name="connsiteX21" fmla="*/ 590111 w 760716"/>
                    <a:gd name="connsiteY21" fmla="*/ 258422 h 373040"/>
                    <a:gd name="connsiteX22" fmla="*/ 592668 w 760716"/>
                    <a:gd name="connsiteY22" fmla="*/ 256923 h 373040"/>
                    <a:gd name="connsiteX23" fmla="*/ 594431 w 760716"/>
                    <a:gd name="connsiteY23" fmla="*/ 257187 h 373040"/>
                    <a:gd name="connsiteX24" fmla="*/ 597341 w 760716"/>
                    <a:gd name="connsiteY24" fmla="*/ 257187 h 373040"/>
                    <a:gd name="connsiteX25" fmla="*/ 598222 w 760716"/>
                    <a:gd name="connsiteY25" fmla="*/ 256394 h 373040"/>
                    <a:gd name="connsiteX26" fmla="*/ 602631 w 760716"/>
                    <a:gd name="connsiteY26" fmla="*/ 255776 h 373040"/>
                    <a:gd name="connsiteX27" fmla="*/ 602014 w 760716"/>
                    <a:gd name="connsiteY27" fmla="*/ 258950 h 373040"/>
                    <a:gd name="connsiteX28" fmla="*/ 601749 w 760716"/>
                    <a:gd name="connsiteY28" fmla="*/ 264505 h 373040"/>
                    <a:gd name="connsiteX29" fmla="*/ 599721 w 760716"/>
                    <a:gd name="connsiteY29" fmla="*/ 272088 h 373040"/>
                    <a:gd name="connsiteX30" fmla="*/ 594431 w 760716"/>
                    <a:gd name="connsiteY30" fmla="*/ 277642 h 373040"/>
                    <a:gd name="connsiteX31" fmla="*/ 591257 w 760716"/>
                    <a:gd name="connsiteY31" fmla="*/ 286106 h 373040"/>
                    <a:gd name="connsiteX32" fmla="*/ 585703 w 760716"/>
                    <a:gd name="connsiteY32" fmla="*/ 287870 h 373040"/>
                    <a:gd name="connsiteX33" fmla="*/ 588083 w 760716"/>
                    <a:gd name="connsiteY33" fmla="*/ 282580 h 373040"/>
                    <a:gd name="connsiteX34" fmla="*/ 585703 w 760716"/>
                    <a:gd name="connsiteY34" fmla="*/ 285225 h 373040"/>
                    <a:gd name="connsiteX35" fmla="*/ 578120 w 760716"/>
                    <a:gd name="connsiteY35" fmla="*/ 284960 h 373040"/>
                    <a:gd name="connsiteX36" fmla="*/ 581911 w 760716"/>
                    <a:gd name="connsiteY36" fmla="*/ 280287 h 373040"/>
                    <a:gd name="connsiteX37" fmla="*/ 585085 w 760716"/>
                    <a:gd name="connsiteY37" fmla="*/ 274997 h 373040"/>
                    <a:gd name="connsiteX38" fmla="*/ 588083 w 760716"/>
                    <a:gd name="connsiteY38" fmla="*/ 274733 h 373040"/>
                    <a:gd name="connsiteX39" fmla="*/ 586320 w 760716"/>
                    <a:gd name="connsiteY39" fmla="*/ 274115 h 373040"/>
                    <a:gd name="connsiteX40" fmla="*/ 588612 w 760716"/>
                    <a:gd name="connsiteY40" fmla="*/ 269795 h 373040"/>
                    <a:gd name="connsiteX41" fmla="*/ 580501 w 760716"/>
                    <a:gd name="connsiteY41" fmla="*/ 276496 h 373040"/>
                    <a:gd name="connsiteX42" fmla="*/ 581030 w 760716"/>
                    <a:gd name="connsiteY42" fmla="*/ 271206 h 373040"/>
                    <a:gd name="connsiteX43" fmla="*/ 578120 w 760716"/>
                    <a:gd name="connsiteY43" fmla="*/ 270324 h 373040"/>
                    <a:gd name="connsiteX44" fmla="*/ 576357 w 760716"/>
                    <a:gd name="connsiteY44" fmla="*/ 273234 h 373040"/>
                    <a:gd name="connsiteX45" fmla="*/ 573183 w 760716"/>
                    <a:gd name="connsiteY45" fmla="*/ 268914 h 373040"/>
                    <a:gd name="connsiteX46" fmla="*/ 572918 w 760716"/>
                    <a:gd name="connsiteY46" fmla="*/ 272088 h 373040"/>
                    <a:gd name="connsiteX47" fmla="*/ 569039 w 760716"/>
                    <a:gd name="connsiteY47" fmla="*/ 272969 h 373040"/>
                    <a:gd name="connsiteX48" fmla="*/ 565865 w 760716"/>
                    <a:gd name="connsiteY48" fmla="*/ 271823 h 373040"/>
                    <a:gd name="connsiteX49" fmla="*/ 566129 w 760716"/>
                    <a:gd name="connsiteY49" fmla="*/ 274997 h 373040"/>
                    <a:gd name="connsiteX50" fmla="*/ 569920 w 760716"/>
                    <a:gd name="connsiteY50" fmla="*/ 275614 h 373040"/>
                    <a:gd name="connsiteX51" fmla="*/ 576621 w 760716"/>
                    <a:gd name="connsiteY51" fmla="*/ 274468 h 373040"/>
                    <a:gd name="connsiteX52" fmla="*/ 576621 w 760716"/>
                    <a:gd name="connsiteY52" fmla="*/ 277378 h 373040"/>
                    <a:gd name="connsiteX53" fmla="*/ 575211 w 760716"/>
                    <a:gd name="connsiteY53" fmla="*/ 278788 h 373040"/>
                    <a:gd name="connsiteX54" fmla="*/ 577503 w 760716"/>
                    <a:gd name="connsiteY54" fmla="*/ 278259 h 373040"/>
                    <a:gd name="connsiteX55" fmla="*/ 578385 w 760716"/>
                    <a:gd name="connsiteY55" fmla="*/ 281698 h 373040"/>
                    <a:gd name="connsiteX56" fmla="*/ 574329 w 760716"/>
                    <a:gd name="connsiteY56" fmla="*/ 285842 h 373040"/>
                    <a:gd name="connsiteX57" fmla="*/ 569039 w 760716"/>
                    <a:gd name="connsiteY57" fmla="*/ 283461 h 373040"/>
                    <a:gd name="connsiteX58" fmla="*/ 567893 w 760716"/>
                    <a:gd name="connsiteY58" fmla="*/ 285489 h 373040"/>
                    <a:gd name="connsiteX59" fmla="*/ 565248 w 760716"/>
                    <a:gd name="connsiteY59" fmla="*/ 285225 h 373040"/>
                    <a:gd name="connsiteX60" fmla="*/ 561456 w 760716"/>
                    <a:gd name="connsiteY60" fmla="*/ 288751 h 373040"/>
                    <a:gd name="connsiteX61" fmla="*/ 558018 w 760716"/>
                    <a:gd name="connsiteY61" fmla="*/ 286371 h 373040"/>
                    <a:gd name="connsiteX62" fmla="*/ 557665 w 760716"/>
                    <a:gd name="connsiteY62" fmla="*/ 284343 h 373040"/>
                    <a:gd name="connsiteX63" fmla="*/ 556254 w 760716"/>
                    <a:gd name="connsiteY63" fmla="*/ 279053 h 373040"/>
                    <a:gd name="connsiteX64" fmla="*/ 553874 w 760716"/>
                    <a:gd name="connsiteY64" fmla="*/ 276761 h 373040"/>
                    <a:gd name="connsiteX65" fmla="*/ 552992 w 760716"/>
                    <a:gd name="connsiteY65" fmla="*/ 273586 h 373040"/>
                    <a:gd name="connsiteX66" fmla="*/ 560575 w 760716"/>
                    <a:gd name="connsiteY66" fmla="*/ 274115 h 373040"/>
                    <a:gd name="connsiteX67" fmla="*/ 560927 w 760716"/>
                    <a:gd name="connsiteY67" fmla="*/ 270941 h 373040"/>
                    <a:gd name="connsiteX68" fmla="*/ 561192 w 760716"/>
                    <a:gd name="connsiteY68" fmla="*/ 266268 h 373040"/>
                    <a:gd name="connsiteX69" fmla="*/ 557136 w 760716"/>
                    <a:gd name="connsiteY69" fmla="*/ 266004 h 373040"/>
                    <a:gd name="connsiteX70" fmla="*/ 551581 w 760716"/>
                    <a:gd name="connsiteY70" fmla="*/ 266268 h 373040"/>
                    <a:gd name="connsiteX71" fmla="*/ 548407 w 760716"/>
                    <a:gd name="connsiteY71" fmla="*/ 266268 h 373040"/>
                    <a:gd name="connsiteX72" fmla="*/ 546644 w 760716"/>
                    <a:gd name="connsiteY72" fmla="*/ 267415 h 373040"/>
                    <a:gd name="connsiteX73" fmla="*/ 541618 w 760716"/>
                    <a:gd name="connsiteY73" fmla="*/ 263623 h 373040"/>
                    <a:gd name="connsiteX74" fmla="*/ 541971 w 760716"/>
                    <a:gd name="connsiteY74" fmla="*/ 261860 h 373040"/>
                    <a:gd name="connsiteX75" fmla="*/ 539326 w 760716"/>
                    <a:gd name="connsiteY75" fmla="*/ 261860 h 373040"/>
                    <a:gd name="connsiteX76" fmla="*/ 534653 w 760716"/>
                    <a:gd name="connsiteY76" fmla="*/ 258422 h 373040"/>
                    <a:gd name="connsiteX77" fmla="*/ 538709 w 760716"/>
                    <a:gd name="connsiteY77" fmla="*/ 256658 h 373040"/>
                    <a:gd name="connsiteX78" fmla="*/ 540825 w 760716"/>
                    <a:gd name="connsiteY78" fmla="*/ 256394 h 373040"/>
                    <a:gd name="connsiteX79" fmla="*/ 545145 w 760716"/>
                    <a:gd name="connsiteY79" fmla="*/ 254630 h 373040"/>
                    <a:gd name="connsiteX80" fmla="*/ 546291 w 760716"/>
                    <a:gd name="connsiteY80" fmla="*/ 253484 h 373040"/>
                    <a:gd name="connsiteX81" fmla="*/ 545145 w 760716"/>
                    <a:gd name="connsiteY81" fmla="*/ 257540 h 373040"/>
                    <a:gd name="connsiteX82" fmla="*/ 548936 w 760716"/>
                    <a:gd name="connsiteY82" fmla="*/ 255159 h 373040"/>
                    <a:gd name="connsiteX83" fmla="*/ 551317 w 760716"/>
                    <a:gd name="connsiteY83" fmla="*/ 251368 h 373040"/>
                    <a:gd name="connsiteX84" fmla="*/ 557401 w 760716"/>
                    <a:gd name="connsiteY84" fmla="*/ 252250 h 373040"/>
                    <a:gd name="connsiteX85" fmla="*/ 556783 w 760716"/>
                    <a:gd name="connsiteY85" fmla="*/ 249076 h 373040"/>
                    <a:gd name="connsiteX86" fmla="*/ 552728 w 760716"/>
                    <a:gd name="connsiteY86" fmla="*/ 246431 h 373040"/>
                    <a:gd name="connsiteX87" fmla="*/ 549289 w 760716"/>
                    <a:gd name="connsiteY87" fmla="*/ 247929 h 373040"/>
                    <a:gd name="connsiteX88" fmla="*/ 542500 w 760716"/>
                    <a:gd name="connsiteY88" fmla="*/ 250839 h 373040"/>
                    <a:gd name="connsiteX89" fmla="*/ 535799 w 760716"/>
                    <a:gd name="connsiteY89" fmla="*/ 254278 h 373040"/>
                    <a:gd name="connsiteX90" fmla="*/ 528834 w 760716"/>
                    <a:gd name="connsiteY90" fmla="*/ 254630 h 373040"/>
                    <a:gd name="connsiteX91" fmla="*/ 525924 w 760716"/>
                    <a:gd name="connsiteY91" fmla="*/ 255159 h 373040"/>
                    <a:gd name="connsiteX92" fmla="*/ 522133 w 760716"/>
                    <a:gd name="connsiteY92" fmla="*/ 252250 h 373040"/>
                    <a:gd name="connsiteX93" fmla="*/ 514198 w 760716"/>
                    <a:gd name="connsiteY93" fmla="*/ 250222 h 373040"/>
                    <a:gd name="connsiteX94" fmla="*/ 521516 w 760716"/>
                    <a:gd name="connsiteY94" fmla="*/ 244403 h 373040"/>
                    <a:gd name="connsiteX95" fmla="*/ 511288 w 760716"/>
                    <a:gd name="connsiteY95" fmla="*/ 248811 h 373040"/>
                    <a:gd name="connsiteX96" fmla="*/ 502912 w 760716"/>
                    <a:gd name="connsiteY96" fmla="*/ 245902 h 373040"/>
                    <a:gd name="connsiteX97" fmla="*/ 497887 w 760716"/>
                    <a:gd name="connsiteY97" fmla="*/ 244932 h 373040"/>
                    <a:gd name="connsiteX98" fmla="*/ 490657 w 760716"/>
                    <a:gd name="connsiteY98" fmla="*/ 246431 h 373040"/>
                    <a:gd name="connsiteX99" fmla="*/ 487130 w 760716"/>
                    <a:gd name="connsiteY99" fmla="*/ 246166 h 373040"/>
                    <a:gd name="connsiteX100" fmla="*/ 482193 w 760716"/>
                    <a:gd name="connsiteY100" fmla="*/ 246166 h 373040"/>
                    <a:gd name="connsiteX101" fmla="*/ 473376 w 760716"/>
                    <a:gd name="connsiteY101" fmla="*/ 246695 h 373040"/>
                    <a:gd name="connsiteX102" fmla="*/ 473993 w 760716"/>
                    <a:gd name="connsiteY102" fmla="*/ 242904 h 373040"/>
                    <a:gd name="connsiteX103" fmla="*/ 469056 w 760716"/>
                    <a:gd name="connsiteY103" fmla="*/ 242022 h 373040"/>
                    <a:gd name="connsiteX104" fmla="*/ 463501 w 760716"/>
                    <a:gd name="connsiteY104" fmla="*/ 240612 h 373040"/>
                    <a:gd name="connsiteX105" fmla="*/ 461738 w 760716"/>
                    <a:gd name="connsiteY105" fmla="*/ 238231 h 373040"/>
                    <a:gd name="connsiteX106" fmla="*/ 456448 w 760716"/>
                    <a:gd name="connsiteY106" fmla="*/ 239730 h 373040"/>
                    <a:gd name="connsiteX107" fmla="*/ 450981 w 760716"/>
                    <a:gd name="connsiteY107" fmla="*/ 239465 h 373040"/>
                    <a:gd name="connsiteX108" fmla="*/ 439872 w 760716"/>
                    <a:gd name="connsiteY108" fmla="*/ 241141 h 373040"/>
                    <a:gd name="connsiteX109" fmla="*/ 434582 w 760716"/>
                    <a:gd name="connsiteY109" fmla="*/ 239465 h 373040"/>
                    <a:gd name="connsiteX110" fmla="*/ 440137 w 760716"/>
                    <a:gd name="connsiteY110" fmla="*/ 236820 h 373040"/>
                    <a:gd name="connsiteX111" fmla="*/ 444809 w 760716"/>
                    <a:gd name="connsiteY111" fmla="*/ 237966 h 373040"/>
                    <a:gd name="connsiteX112" fmla="*/ 448072 w 760716"/>
                    <a:gd name="connsiteY112" fmla="*/ 236556 h 373040"/>
                    <a:gd name="connsiteX113" fmla="*/ 452127 w 760716"/>
                    <a:gd name="connsiteY113" fmla="*/ 233911 h 373040"/>
                    <a:gd name="connsiteX114" fmla="*/ 448336 w 760716"/>
                    <a:gd name="connsiteY114" fmla="*/ 233294 h 373040"/>
                    <a:gd name="connsiteX115" fmla="*/ 456183 w 760716"/>
                    <a:gd name="connsiteY115" fmla="*/ 229238 h 373040"/>
                    <a:gd name="connsiteX116" fmla="*/ 448336 w 760716"/>
                    <a:gd name="connsiteY116" fmla="*/ 230384 h 373040"/>
                    <a:gd name="connsiteX117" fmla="*/ 456183 w 760716"/>
                    <a:gd name="connsiteY117" fmla="*/ 228621 h 373040"/>
                    <a:gd name="connsiteX118" fmla="*/ 446573 w 760716"/>
                    <a:gd name="connsiteY118" fmla="*/ 227474 h 373040"/>
                    <a:gd name="connsiteX119" fmla="*/ 454420 w 760716"/>
                    <a:gd name="connsiteY119" fmla="*/ 224829 h 373040"/>
                    <a:gd name="connsiteX120" fmla="*/ 459710 w 760716"/>
                    <a:gd name="connsiteY120" fmla="*/ 221920 h 373040"/>
                    <a:gd name="connsiteX121" fmla="*/ 443046 w 760716"/>
                    <a:gd name="connsiteY121" fmla="*/ 226328 h 373040"/>
                    <a:gd name="connsiteX122" fmla="*/ 441018 w 760716"/>
                    <a:gd name="connsiteY122" fmla="*/ 224565 h 373040"/>
                    <a:gd name="connsiteX123" fmla="*/ 439255 w 760716"/>
                    <a:gd name="connsiteY123" fmla="*/ 228092 h 373040"/>
                    <a:gd name="connsiteX124" fmla="*/ 438109 w 760716"/>
                    <a:gd name="connsiteY124" fmla="*/ 228885 h 373040"/>
                    <a:gd name="connsiteX125" fmla="*/ 431672 w 760716"/>
                    <a:gd name="connsiteY125" fmla="*/ 229502 h 373040"/>
                    <a:gd name="connsiteX126" fmla="*/ 426735 w 760716"/>
                    <a:gd name="connsiteY126" fmla="*/ 231001 h 373040"/>
                    <a:gd name="connsiteX127" fmla="*/ 423208 w 760716"/>
                    <a:gd name="connsiteY127" fmla="*/ 230648 h 373040"/>
                    <a:gd name="connsiteX128" fmla="*/ 414744 w 760716"/>
                    <a:gd name="connsiteY128" fmla="*/ 232412 h 373040"/>
                    <a:gd name="connsiteX129" fmla="*/ 422062 w 760716"/>
                    <a:gd name="connsiteY129" fmla="*/ 235057 h 373040"/>
                    <a:gd name="connsiteX130" fmla="*/ 424090 w 760716"/>
                    <a:gd name="connsiteY130" fmla="*/ 235939 h 373040"/>
                    <a:gd name="connsiteX131" fmla="*/ 430791 w 760716"/>
                    <a:gd name="connsiteY131" fmla="*/ 237437 h 373040"/>
                    <a:gd name="connsiteX132" fmla="*/ 428234 w 760716"/>
                    <a:gd name="connsiteY132" fmla="*/ 241758 h 373040"/>
                    <a:gd name="connsiteX133" fmla="*/ 428763 w 760716"/>
                    <a:gd name="connsiteY133" fmla="*/ 245549 h 373040"/>
                    <a:gd name="connsiteX134" fmla="*/ 422062 w 760716"/>
                    <a:gd name="connsiteY134" fmla="*/ 247048 h 373040"/>
                    <a:gd name="connsiteX135" fmla="*/ 418006 w 760716"/>
                    <a:gd name="connsiteY135" fmla="*/ 250222 h 373040"/>
                    <a:gd name="connsiteX136" fmla="*/ 412716 w 760716"/>
                    <a:gd name="connsiteY136" fmla="*/ 249605 h 373040"/>
                    <a:gd name="connsiteX137" fmla="*/ 412187 w 760716"/>
                    <a:gd name="connsiteY137" fmla="*/ 249076 h 373040"/>
                    <a:gd name="connsiteX138" fmla="*/ 406633 w 760716"/>
                    <a:gd name="connsiteY138" fmla="*/ 251104 h 373040"/>
                    <a:gd name="connsiteX139" fmla="*/ 403106 w 760716"/>
                    <a:gd name="connsiteY139" fmla="*/ 251368 h 373040"/>
                    <a:gd name="connsiteX140" fmla="*/ 402489 w 760716"/>
                    <a:gd name="connsiteY140" fmla="*/ 249340 h 373040"/>
                    <a:gd name="connsiteX141" fmla="*/ 399050 w 760716"/>
                    <a:gd name="connsiteY141" fmla="*/ 247048 h 373040"/>
                    <a:gd name="connsiteX142" fmla="*/ 397551 w 760716"/>
                    <a:gd name="connsiteY142" fmla="*/ 250222 h 373040"/>
                    <a:gd name="connsiteX143" fmla="*/ 393231 w 760716"/>
                    <a:gd name="connsiteY143" fmla="*/ 249076 h 373040"/>
                    <a:gd name="connsiteX144" fmla="*/ 389704 w 760716"/>
                    <a:gd name="connsiteY144" fmla="*/ 247929 h 373040"/>
                    <a:gd name="connsiteX145" fmla="*/ 385648 w 760716"/>
                    <a:gd name="connsiteY145" fmla="*/ 249957 h 373040"/>
                    <a:gd name="connsiteX146" fmla="*/ 381505 w 760716"/>
                    <a:gd name="connsiteY146" fmla="*/ 250486 h 373040"/>
                    <a:gd name="connsiteX147" fmla="*/ 376832 w 760716"/>
                    <a:gd name="connsiteY147" fmla="*/ 250486 h 373040"/>
                    <a:gd name="connsiteX148" fmla="*/ 374539 w 760716"/>
                    <a:gd name="connsiteY148" fmla="*/ 254013 h 373040"/>
                    <a:gd name="connsiteX149" fmla="*/ 368103 w 760716"/>
                    <a:gd name="connsiteY149" fmla="*/ 256923 h 373040"/>
                    <a:gd name="connsiteX150" fmla="*/ 366075 w 760716"/>
                    <a:gd name="connsiteY150" fmla="*/ 256041 h 373040"/>
                    <a:gd name="connsiteX151" fmla="*/ 360256 w 760716"/>
                    <a:gd name="connsiteY151" fmla="*/ 258422 h 373040"/>
                    <a:gd name="connsiteX152" fmla="*/ 354084 w 760716"/>
                    <a:gd name="connsiteY152" fmla="*/ 259568 h 373040"/>
                    <a:gd name="connsiteX153" fmla="*/ 351175 w 760716"/>
                    <a:gd name="connsiteY153" fmla="*/ 262742 h 373040"/>
                    <a:gd name="connsiteX154" fmla="*/ 348530 w 760716"/>
                    <a:gd name="connsiteY154" fmla="*/ 261331 h 373040"/>
                    <a:gd name="connsiteX155" fmla="*/ 342711 w 760716"/>
                    <a:gd name="connsiteY155" fmla="*/ 263359 h 373040"/>
                    <a:gd name="connsiteX156" fmla="*/ 340065 w 760716"/>
                    <a:gd name="connsiteY156" fmla="*/ 263094 h 373040"/>
                    <a:gd name="connsiteX157" fmla="*/ 335128 w 760716"/>
                    <a:gd name="connsiteY157" fmla="*/ 265122 h 373040"/>
                    <a:gd name="connsiteX158" fmla="*/ 325253 w 760716"/>
                    <a:gd name="connsiteY158" fmla="*/ 266533 h 373040"/>
                    <a:gd name="connsiteX159" fmla="*/ 321991 w 760716"/>
                    <a:gd name="connsiteY159" fmla="*/ 266004 h 373040"/>
                    <a:gd name="connsiteX160" fmla="*/ 317671 w 760716"/>
                    <a:gd name="connsiteY160" fmla="*/ 266004 h 373040"/>
                    <a:gd name="connsiteX161" fmla="*/ 321726 w 760716"/>
                    <a:gd name="connsiteY161" fmla="*/ 262742 h 373040"/>
                    <a:gd name="connsiteX162" fmla="*/ 325253 w 760716"/>
                    <a:gd name="connsiteY162" fmla="*/ 259832 h 373040"/>
                    <a:gd name="connsiteX163" fmla="*/ 330191 w 760716"/>
                    <a:gd name="connsiteY163" fmla="*/ 260185 h 373040"/>
                    <a:gd name="connsiteX164" fmla="*/ 334246 w 760716"/>
                    <a:gd name="connsiteY164" fmla="*/ 256923 h 373040"/>
                    <a:gd name="connsiteX165" fmla="*/ 336010 w 760716"/>
                    <a:gd name="connsiteY165" fmla="*/ 254013 h 373040"/>
                    <a:gd name="connsiteX166" fmla="*/ 339272 w 760716"/>
                    <a:gd name="connsiteY166" fmla="*/ 249076 h 373040"/>
                    <a:gd name="connsiteX167" fmla="*/ 347383 w 760716"/>
                    <a:gd name="connsiteY167" fmla="*/ 246431 h 373040"/>
                    <a:gd name="connsiteX168" fmla="*/ 350293 w 760716"/>
                    <a:gd name="connsiteY168" fmla="*/ 242639 h 373040"/>
                    <a:gd name="connsiteX169" fmla="*/ 351792 w 760716"/>
                    <a:gd name="connsiteY169" fmla="*/ 242022 h 373040"/>
                    <a:gd name="connsiteX170" fmla="*/ 353820 w 760716"/>
                    <a:gd name="connsiteY170" fmla="*/ 238848 h 373040"/>
                    <a:gd name="connsiteX171" fmla="*/ 359374 w 760716"/>
                    <a:gd name="connsiteY171" fmla="*/ 237085 h 373040"/>
                    <a:gd name="connsiteX172" fmla="*/ 363166 w 760716"/>
                    <a:gd name="connsiteY172" fmla="*/ 235057 h 373040"/>
                    <a:gd name="connsiteX173" fmla="*/ 365811 w 760716"/>
                    <a:gd name="connsiteY173" fmla="*/ 231266 h 373040"/>
                    <a:gd name="connsiteX174" fmla="*/ 373393 w 760716"/>
                    <a:gd name="connsiteY174" fmla="*/ 232412 h 373040"/>
                    <a:gd name="connsiteX175" fmla="*/ 377713 w 760716"/>
                    <a:gd name="connsiteY175" fmla="*/ 228621 h 373040"/>
                    <a:gd name="connsiteX176" fmla="*/ 380094 w 760716"/>
                    <a:gd name="connsiteY176" fmla="*/ 226593 h 373040"/>
                    <a:gd name="connsiteX177" fmla="*/ 384414 w 760716"/>
                    <a:gd name="connsiteY177" fmla="*/ 226857 h 373040"/>
                    <a:gd name="connsiteX178" fmla="*/ 388558 w 760716"/>
                    <a:gd name="connsiteY178" fmla="*/ 227210 h 373040"/>
                    <a:gd name="connsiteX179" fmla="*/ 394642 w 760716"/>
                    <a:gd name="connsiteY179" fmla="*/ 226593 h 373040"/>
                    <a:gd name="connsiteX180" fmla="*/ 396141 w 760716"/>
                    <a:gd name="connsiteY180" fmla="*/ 225094 h 373040"/>
                    <a:gd name="connsiteX181" fmla="*/ 396141 w 760716"/>
                    <a:gd name="connsiteY181" fmla="*/ 223066 h 373040"/>
                    <a:gd name="connsiteX182" fmla="*/ 394642 w 760716"/>
                    <a:gd name="connsiteY182" fmla="*/ 221391 h 373040"/>
                    <a:gd name="connsiteX183" fmla="*/ 398697 w 760716"/>
                    <a:gd name="connsiteY183" fmla="*/ 222184 h 373040"/>
                    <a:gd name="connsiteX184" fmla="*/ 404252 w 760716"/>
                    <a:gd name="connsiteY184" fmla="*/ 219010 h 373040"/>
                    <a:gd name="connsiteX185" fmla="*/ 408925 w 760716"/>
                    <a:gd name="connsiteY185" fmla="*/ 214337 h 373040"/>
                    <a:gd name="connsiteX186" fmla="*/ 397816 w 760716"/>
                    <a:gd name="connsiteY186" fmla="*/ 219627 h 373040"/>
                    <a:gd name="connsiteX187" fmla="*/ 389969 w 760716"/>
                    <a:gd name="connsiteY187" fmla="*/ 219275 h 373040"/>
                    <a:gd name="connsiteX188" fmla="*/ 391468 w 760716"/>
                    <a:gd name="connsiteY188" fmla="*/ 216718 h 373040"/>
                    <a:gd name="connsiteX189" fmla="*/ 382122 w 760716"/>
                    <a:gd name="connsiteY189" fmla="*/ 220509 h 373040"/>
                    <a:gd name="connsiteX190" fmla="*/ 378860 w 760716"/>
                    <a:gd name="connsiteY190" fmla="*/ 222184 h 373040"/>
                    <a:gd name="connsiteX191" fmla="*/ 368103 w 760716"/>
                    <a:gd name="connsiteY191" fmla="*/ 223683 h 373040"/>
                    <a:gd name="connsiteX192" fmla="*/ 359374 w 760716"/>
                    <a:gd name="connsiteY192" fmla="*/ 226857 h 373040"/>
                    <a:gd name="connsiteX193" fmla="*/ 358228 w 760716"/>
                    <a:gd name="connsiteY193" fmla="*/ 231001 h 373040"/>
                    <a:gd name="connsiteX194" fmla="*/ 354701 w 760716"/>
                    <a:gd name="connsiteY194" fmla="*/ 231266 h 373040"/>
                    <a:gd name="connsiteX195" fmla="*/ 347736 w 760716"/>
                    <a:gd name="connsiteY195" fmla="*/ 232412 h 373040"/>
                    <a:gd name="connsiteX196" fmla="*/ 345356 w 760716"/>
                    <a:gd name="connsiteY196" fmla="*/ 234440 h 373040"/>
                    <a:gd name="connsiteX197" fmla="*/ 343857 w 760716"/>
                    <a:gd name="connsiteY197" fmla="*/ 237085 h 373040"/>
                    <a:gd name="connsiteX198" fmla="*/ 338038 w 760716"/>
                    <a:gd name="connsiteY198" fmla="*/ 239113 h 373040"/>
                    <a:gd name="connsiteX199" fmla="*/ 331689 w 760716"/>
                    <a:gd name="connsiteY199" fmla="*/ 241141 h 373040"/>
                    <a:gd name="connsiteX200" fmla="*/ 327898 w 760716"/>
                    <a:gd name="connsiteY200" fmla="*/ 247577 h 373040"/>
                    <a:gd name="connsiteX201" fmla="*/ 323754 w 760716"/>
                    <a:gd name="connsiteY201" fmla="*/ 245902 h 373040"/>
                    <a:gd name="connsiteX202" fmla="*/ 317406 w 760716"/>
                    <a:gd name="connsiteY202" fmla="*/ 249340 h 373040"/>
                    <a:gd name="connsiteX203" fmla="*/ 316172 w 760716"/>
                    <a:gd name="connsiteY203" fmla="*/ 251721 h 373040"/>
                    <a:gd name="connsiteX204" fmla="*/ 309471 w 760716"/>
                    <a:gd name="connsiteY204" fmla="*/ 253749 h 373040"/>
                    <a:gd name="connsiteX205" fmla="*/ 301624 w 760716"/>
                    <a:gd name="connsiteY205" fmla="*/ 255512 h 373040"/>
                    <a:gd name="connsiteX206" fmla="*/ 297833 w 760716"/>
                    <a:gd name="connsiteY206" fmla="*/ 255512 h 373040"/>
                    <a:gd name="connsiteX207" fmla="*/ 300742 w 760716"/>
                    <a:gd name="connsiteY207" fmla="*/ 252602 h 373040"/>
                    <a:gd name="connsiteX208" fmla="*/ 292543 w 760716"/>
                    <a:gd name="connsiteY208" fmla="*/ 260185 h 373040"/>
                    <a:gd name="connsiteX209" fmla="*/ 287870 w 760716"/>
                    <a:gd name="connsiteY209" fmla="*/ 262742 h 373040"/>
                    <a:gd name="connsiteX210" fmla="*/ 280287 w 760716"/>
                    <a:gd name="connsiteY210" fmla="*/ 263094 h 373040"/>
                    <a:gd name="connsiteX211" fmla="*/ 274821 w 760716"/>
                    <a:gd name="connsiteY211" fmla="*/ 267767 h 373040"/>
                    <a:gd name="connsiteX212" fmla="*/ 270148 w 760716"/>
                    <a:gd name="connsiteY212" fmla="*/ 267150 h 373040"/>
                    <a:gd name="connsiteX213" fmla="*/ 270412 w 760716"/>
                    <a:gd name="connsiteY213" fmla="*/ 270060 h 373040"/>
                    <a:gd name="connsiteX214" fmla="*/ 277378 w 760716"/>
                    <a:gd name="connsiteY214" fmla="*/ 271206 h 373040"/>
                    <a:gd name="connsiteX215" fmla="*/ 280904 w 760716"/>
                    <a:gd name="connsiteY215" fmla="*/ 269443 h 373040"/>
                    <a:gd name="connsiteX216" fmla="*/ 285842 w 760716"/>
                    <a:gd name="connsiteY216" fmla="*/ 268914 h 373040"/>
                    <a:gd name="connsiteX217" fmla="*/ 289633 w 760716"/>
                    <a:gd name="connsiteY217" fmla="*/ 270677 h 373040"/>
                    <a:gd name="connsiteX218" fmla="*/ 286988 w 760716"/>
                    <a:gd name="connsiteY218" fmla="*/ 273851 h 373040"/>
                    <a:gd name="connsiteX219" fmla="*/ 279406 w 760716"/>
                    <a:gd name="connsiteY219" fmla="*/ 274468 h 373040"/>
                    <a:gd name="connsiteX220" fmla="*/ 276232 w 760716"/>
                    <a:gd name="connsiteY220" fmla="*/ 277025 h 373040"/>
                    <a:gd name="connsiteX221" fmla="*/ 273586 w 760716"/>
                    <a:gd name="connsiteY221" fmla="*/ 278524 h 373040"/>
                    <a:gd name="connsiteX222" fmla="*/ 267767 w 760716"/>
                    <a:gd name="connsiteY222" fmla="*/ 282580 h 373040"/>
                    <a:gd name="connsiteX223" fmla="*/ 259568 w 760716"/>
                    <a:gd name="connsiteY223" fmla="*/ 284078 h 373040"/>
                    <a:gd name="connsiteX224" fmla="*/ 254630 w 760716"/>
                    <a:gd name="connsiteY224" fmla="*/ 286988 h 373040"/>
                    <a:gd name="connsiteX225" fmla="*/ 253749 w 760716"/>
                    <a:gd name="connsiteY225" fmla="*/ 289016 h 373040"/>
                    <a:gd name="connsiteX226" fmla="*/ 250839 w 760716"/>
                    <a:gd name="connsiteY226" fmla="*/ 286988 h 373040"/>
                    <a:gd name="connsiteX227" fmla="*/ 245284 w 760716"/>
                    <a:gd name="connsiteY227" fmla="*/ 290515 h 373040"/>
                    <a:gd name="connsiteX228" fmla="*/ 240612 w 760716"/>
                    <a:gd name="connsiteY228" fmla="*/ 292543 h 373040"/>
                    <a:gd name="connsiteX229" fmla="*/ 235939 w 760716"/>
                    <a:gd name="connsiteY229" fmla="*/ 293072 h 373040"/>
                    <a:gd name="connsiteX230" fmla="*/ 233029 w 760716"/>
                    <a:gd name="connsiteY230" fmla="*/ 293424 h 373040"/>
                    <a:gd name="connsiteX231" fmla="*/ 227210 w 760716"/>
                    <a:gd name="connsiteY231" fmla="*/ 296863 h 373040"/>
                    <a:gd name="connsiteX232" fmla="*/ 222890 w 760716"/>
                    <a:gd name="connsiteY232" fmla="*/ 298097 h 373040"/>
                    <a:gd name="connsiteX233" fmla="*/ 222272 w 760716"/>
                    <a:gd name="connsiteY233" fmla="*/ 298891 h 373040"/>
                    <a:gd name="connsiteX234" fmla="*/ 215836 w 760716"/>
                    <a:gd name="connsiteY234" fmla="*/ 299773 h 373040"/>
                    <a:gd name="connsiteX235" fmla="*/ 211780 w 760716"/>
                    <a:gd name="connsiteY235" fmla="*/ 302770 h 373040"/>
                    <a:gd name="connsiteX236" fmla="*/ 210017 w 760716"/>
                    <a:gd name="connsiteY236" fmla="*/ 304445 h 373040"/>
                    <a:gd name="connsiteX237" fmla="*/ 203581 w 760716"/>
                    <a:gd name="connsiteY237" fmla="*/ 303916 h 373040"/>
                    <a:gd name="connsiteX238" fmla="*/ 198026 w 760716"/>
                    <a:gd name="connsiteY238" fmla="*/ 303299 h 373040"/>
                    <a:gd name="connsiteX239" fmla="*/ 198643 w 760716"/>
                    <a:gd name="connsiteY239" fmla="*/ 303564 h 373040"/>
                    <a:gd name="connsiteX240" fmla="*/ 195469 w 760716"/>
                    <a:gd name="connsiteY240" fmla="*/ 306826 h 373040"/>
                    <a:gd name="connsiteX241" fmla="*/ 191943 w 760716"/>
                    <a:gd name="connsiteY241" fmla="*/ 308854 h 373040"/>
                    <a:gd name="connsiteX242" fmla="*/ 183743 w 760716"/>
                    <a:gd name="connsiteY242" fmla="*/ 309471 h 373040"/>
                    <a:gd name="connsiteX243" fmla="*/ 183214 w 760716"/>
                    <a:gd name="connsiteY243" fmla="*/ 315290 h 373040"/>
                    <a:gd name="connsiteX244" fmla="*/ 177042 w 760716"/>
                    <a:gd name="connsiteY244" fmla="*/ 316701 h 373040"/>
                    <a:gd name="connsiteX245" fmla="*/ 174750 w 760716"/>
                    <a:gd name="connsiteY245" fmla="*/ 317318 h 373040"/>
                    <a:gd name="connsiteX246" fmla="*/ 172369 w 760716"/>
                    <a:gd name="connsiteY246" fmla="*/ 315819 h 373040"/>
                    <a:gd name="connsiteX247" fmla="*/ 166815 w 760716"/>
                    <a:gd name="connsiteY247" fmla="*/ 319081 h 373040"/>
                    <a:gd name="connsiteX248" fmla="*/ 164522 w 760716"/>
                    <a:gd name="connsiteY248" fmla="*/ 322255 h 373040"/>
                    <a:gd name="connsiteX249" fmla="*/ 161877 w 760716"/>
                    <a:gd name="connsiteY249" fmla="*/ 321374 h 373040"/>
                    <a:gd name="connsiteX250" fmla="*/ 157557 w 760716"/>
                    <a:gd name="connsiteY250" fmla="*/ 322255 h 373040"/>
                    <a:gd name="connsiteX251" fmla="*/ 155441 w 760716"/>
                    <a:gd name="connsiteY251" fmla="*/ 320492 h 373040"/>
                    <a:gd name="connsiteX252" fmla="*/ 153766 w 760716"/>
                    <a:gd name="connsiteY252" fmla="*/ 322520 h 373040"/>
                    <a:gd name="connsiteX253" fmla="*/ 149093 w 760716"/>
                    <a:gd name="connsiteY253" fmla="*/ 325782 h 373040"/>
                    <a:gd name="connsiteX254" fmla="*/ 147065 w 760716"/>
                    <a:gd name="connsiteY254" fmla="*/ 325429 h 373040"/>
                    <a:gd name="connsiteX255" fmla="*/ 144684 w 760716"/>
                    <a:gd name="connsiteY255" fmla="*/ 324283 h 373040"/>
                    <a:gd name="connsiteX256" fmla="*/ 143538 w 760716"/>
                    <a:gd name="connsiteY256" fmla="*/ 324636 h 373040"/>
                    <a:gd name="connsiteX257" fmla="*/ 140893 w 760716"/>
                    <a:gd name="connsiteY257" fmla="*/ 324900 h 373040"/>
                    <a:gd name="connsiteX258" fmla="*/ 135603 w 760716"/>
                    <a:gd name="connsiteY258" fmla="*/ 326928 h 373040"/>
                    <a:gd name="connsiteX259" fmla="*/ 137719 w 760716"/>
                    <a:gd name="connsiteY259" fmla="*/ 329309 h 373040"/>
                    <a:gd name="connsiteX260" fmla="*/ 127756 w 760716"/>
                    <a:gd name="connsiteY260" fmla="*/ 329573 h 373040"/>
                    <a:gd name="connsiteX261" fmla="*/ 119027 w 760716"/>
                    <a:gd name="connsiteY261" fmla="*/ 333982 h 373040"/>
                    <a:gd name="connsiteX262" fmla="*/ 127491 w 760716"/>
                    <a:gd name="connsiteY262" fmla="*/ 334775 h 373040"/>
                    <a:gd name="connsiteX263" fmla="*/ 120791 w 760716"/>
                    <a:gd name="connsiteY263" fmla="*/ 336274 h 373040"/>
                    <a:gd name="connsiteX264" fmla="*/ 116118 w 760716"/>
                    <a:gd name="connsiteY264" fmla="*/ 340330 h 373040"/>
                    <a:gd name="connsiteX265" fmla="*/ 116999 w 760716"/>
                    <a:gd name="connsiteY265" fmla="*/ 336010 h 373040"/>
                    <a:gd name="connsiteX266" fmla="*/ 110563 w 760716"/>
                    <a:gd name="connsiteY266" fmla="*/ 341212 h 373040"/>
                    <a:gd name="connsiteX267" fmla="*/ 109417 w 760716"/>
                    <a:gd name="connsiteY267" fmla="*/ 339801 h 373040"/>
                    <a:gd name="connsiteX268" fmla="*/ 108271 w 760716"/>
                    <a:gd name="connsiteY268" fmla="*/ 341829 h 373040"/>
                    <a:gd name="connsiteX269" fmla="*/ 103862 w 760716"/>
                    <a:gd name="connsiteY269" fmla="*/ 344121 h 373040"/>
                    <a:gd name="connsiteX270" fmla="*/ 98925 w 760716"/>
                    <a:gd name="connsiteY270" fmla="*/ 343857 h 373040"/>
                    <a:gd name="connsiteX271" fmla="*/ 94781 w 760716"/>
                    <a:gd name="connsiteY271" fmla="*/ 348794 h 373040"/>
                    <a:gd name="connsiteX272" fmla="*/ 92753 w 760716"/>
                    <a:gd name="connsiteY272" fmla="*/ 347912 h 373040"/>
                    <a:gd name="connsiteX273" fmla="*/ 91342 w 760716"/>
                    <a:gd name="connsiteY273" fmla="*/ 347031 h 373040"/>
                    <a:gd name="connsiteX274" fmla="*/ 92753 w 760716"/>
                    <a:gd name="connsiteY274" fmla="*/ 345003 h 373040"/>
                    <a:gd name="connsiteX275" fmla="*/ 93018 w 760716"/>
                    <a:gd name="connsiteY275" fmla="*/ 342711 h 373040"/>
                    <a:gd name="connsiteX276" fmla="*/ 89579 w 760716"/>
                    <a:gd name="connsiteY276" fmla="*/ 344121 h 373040"/>
                    <a:gd name="connsiteX277" fmla="*/ 86670 w 760716"/>
                    <a:gd name="connsiteY277" fmla="*/ 343592 h 373040"/>
                    <a:gd name="connsiteX278" fmla="*/ 84642 w 760716"/>
                    <a:gd name="connsiteY278" fmla="*/ 345620 h 373040"/>
                    <a:gd name="connsiteX279" fmla="*/ 82261 w 760716"/>
                    <a:gd name="connsiteY279" fmla="*/ 347648 h 373040"/>
                    <a:gd name="connsiteX280" fmla="*/ 80498 w 760716"/>
                    <a:gd name="connsiteY280" fmla="*/ 347383 h 373040"/>
                    <a:gd name="connsiteX281" fmla="*/ 78205 w 760716"/>
                    <a:gd name="connsiteY281" fmla="*/ 349940 h 373040"/>
                    <a:gd name="connsiteX282" fmla="*/ 75296 w 760716"/>
                    <a:gd name="connsiteY282" fmla="*/ 350822 h 373040"/>
                    <a:gd name="connsiteX283" fmla="*/ 70887 w 760716"/>
                    <a:gd name="connsiteY283" fmla="*/ 354084 h 373040"/>
                    <a:gd name="connsiteX284" fmla="*/ 66832 w 760716"/>
                    <a:gd name="connsiteY284" fmla="*/ 349411 h 373040"/>
                    <a:gd name="connsiteX285" fmla="*/ 69477 w 760716"/>
                    <a:gd name="connsiteY285" fmla="*/ 356112 h 373040"/>
                    <a:gd name="connsiteX286" fmla="*/ 65950 w 760716"/>
                    <a:gd name="connsiteY286" fmla="*/ 356729 h 373040"/>
                    <a:gd name="connsiteX287" fmla="*/ 63922 w 760716"/>
                    <a:gd name="connsiteY287" fmla="*/ 357876 h 373040"/>
                    <a:gd name="connsiteX288" fmla="*/ 63040 w 760716"/>
                    <a:gd name="connsiteY288" fmla="*/ 360168 h 373040"/>
                    <a:gd name="connsiteX289" fmla="*/ 61013 w 760716"/>
                    <a:gd name="connsiteY289" fmla="*/ 359286 h 373040"/>
                    <a:gd name="connsiteX290" fmla="*/ 61277 w 760716"/>
                    <a:gd name="connsiteY290" fmla="*/ 357258 h 373040"/>
                    <a:gd name="connsiteX291" fmla="*/ 61277 w 760716"/>
                    <a:gd name="connsiteY291" fmla="*/ 352850 h 373040"/>
                    <a:gd name="connsiteX292" fmla="*/ 58015 w 760716"/>
                    <a:gd name="connsiteY292" fmla="*/ 353467 h 373040"/>
                    <a:gd name="connsiteX293" fmla="*/ 55722 w 760716"/>
                    <a:gd name="connsiteY293" fmla="*/ 352850 h 373040"/>
                    <a:gd name="connsiteX294" fmla="*/ 51667 w 760716"/>
                    <a:gd name="connsiteY294" fmla="*/ 353202 h 373040"/>
                    <a:gd name="connsiteX295" fmla="*/ 48757 w 760716"/>
                    <a:gd name="connsiteY295" fmla="*/ 355495 h 373040"/>
                    <a:gd name="connsiteX296" fmla="*/ 47523 w 760716"/>
                    <a:gd name="connsiteY296" fmla="*/ 352321 h 373040"/>
                    <a:gd name="connsiteX297" fmla="*/ 55105 w 760716"/>
                    <a:gd name="connsiteY297" fmla="*/ 351175 h 373040"/>
                    <a:gd name="connsiteX298" fmla="*/ 49286 w 760716"/>
                    <a:gd name="connsiteY298" fmla="*/ 349059 h 373040"/>
                    <a:gd name="connsiteX299" fmla="*/ 44349 w 760716"/>
                    <a:gd name="connsiteY299" fmla="*/ 352850 h 373040"/>
                    <a:gd name="connsiteX300" fmla="*/ 44349 w 760716"/>
                    <a:gd name="connsiteY300" fmla="*/ 355230 h 373040"/>
                    <a:gd name="connsiteX301" fmla="*/ 42321 w 760716"/>
                    <a:gd name="connsiteY301" fmla="*/ 356112 h 373040"/>
                    <a:gd name="connsiteX302" fmla="*/ 41175 w 760716"/>
                    <a:gd name="connsiteY302" fmla="*/ 359551 h 373040"/>
                    <a:gd name="connsiteX303" fmla="*/ 40293 w 760716"/>
                    <a:gd name="connsiteY303" fmla="*/ 360785 h 373040"/>
                    <a:gd name="connsiteX304" fmla="*/ 37912 w 760716"/>
                    <a:gd name="connsiteY304" fmla="*/ 359551 h 373040"/>
                    <a:gd name="connsiteX305" fmla="*/ 35885 w 760716"/>
                    <a:gd name="connsiteY305" fmla="*/ 361931 h 373040"/>
                    <a:gd name="connsiteX306" fmla="*/ 34738 w 760716"/>
                    <a:gd name="connsiteY306" fmla="*/ 361667 h 373040"/>
                    <a:gd name="connsiteX307" fmla="*/ 29448 w 760716"/>
                    <a:gd name="connsiteY307" fmla="*/ 364576 h 373040"/>
                    <a:gd name="connsiteX308" fmla="*/ 30683 w 760716"/>
                    <a:gd name="connsiteY308" fmla="*/ 363077 h 373040"/>
                    <a:gd name="connsiteX309" fmla="*/ 29184 w 760716"/>
                    <a:gd name="connsiteY309" fmla="*/ 361314 h 373040"/>
                    <a:gd name="connsiteX310" fmla="*/ 28302 w 760716"/>
                    <a:gd name="connsiteY310" fmla="*/ 363695 h 373040"/>
                    <a:gd name="connsiteX311" fmla="*/ 26803 w 760716"/>
                    <a:gd name="connsiteY311" fmla="*/ 365105 h 373040"/>
                    <a:gd name="connsiteX312" fmla="*/ 25657 w 760716"/>
                    <a:gd name="connsiteY312" fmla="*/ 366604 h 373040"/>
                    <a:gd name="connsiteX313" fmla="*/ 24511 w 760716"/>
                    <a:gd name="connsiteY313" fmla="*/ 363695 h 373040"/>
                    <a:gd name="connsiteX314" fmla="*/ 22747 w 760716"/>
                    <a:gd name="connsiteY314" fmla="*/ 363959 h 373040"/>
                    <a:gd name="connsiteX315" fmla="*/ 18956 w 760716"/>
                    <a:gd name="connsiteY315" fmla="*/ 362813 h 373040"/>
                    <a:gd name="connsiteX316" fmla="*/ 22483 w 760716"/>
                    <a:gd name="connsiteY316" fmla="*/ 356377 h 373040"/>
                    <a:gd name="connsiteX317" fmla="*/ 14636 w 760716"/>
                    <a:gd name="connsiteY317" fmla="*/ 364576 h 373040"/>
                    <a:gd name="connsiteX318" fmla="*/ 15429 w 760716"/>
                    <a:gd name="connsiteY318" fmla="*/ 362548 h 373040"/>
                    <a:gd name="connsiteX319" fmla="*/ 8729 w 760716"/>
                    <a:gd name="connsiteY319" fmla="*/ 365105 h 373040"/>
                    <a:gd name="connsiteX320" fmla="*/ 8200 w 760716"/>
                    <a:gd name="connsiteY320" fmla="*/ 360432 h 373040"/>
                    <a:gd name="connsiteX321" fmla="*/ 5555 w 760716"/>
                    <a:gd name="connsiteY321" fmla="*/ 364576 h 373040"/>
                    <a:gd name="connsiteX322" fmla="*/ 7318 w 760716"/>
                    <a:gd name="connsiteY322" fmla="*/ 367750 h 373040"/>
                    <a:gd name="connsiteX323" fmla="*/ 6701 w 760716"/>
                    <a:gd name="connsiteY323" fmla="*/ 370395 h 373040"/>
                    <a:gd name="connsiteX324" fmla="*/ 5290 w 760716"/>
                    <a:gd name="connsiteY324" fmla="*/ 373040 h 373040"/>
                    <a:gd name="connsiteX325" fmla="*/ 4408 w 760716"/>
                    <a:gd name="connsiteY325" fmla="*/ 370660 h 373040"/>
                    <a:gd name="connsiteX326" fmla="*/ 2381 w 760716"/>
                    <a:gd name="connsiteY326" fmla="*/ 369249 h 373040"/>
                    <a:gd name="connsiteX327" fmla="*/ 264 w 760716"/>
                    <a:gd name="connsiteY327" fmla="*/ 371013 h 373040"/>
                    <a:gd name="connsiteX328" fmla="*/ 264 w 760716"/>
                    <a:gd name="connsiteY328" fmla="*/ 367750 h 373040"/>
                    <a:gd name="connsiteX329" fmla="*/ 264 w 760716"/>
                    <a:gd name="connsiteY329" fmla="*/ 365458 h 373040"/>
                    <a:gd name="connsiteX330" fmla="*/ 0 w 760716"/>
                    <a:gd name="connsiteY330" fmla="*/ 362548 h 373040"/>
                    <a:gd name="connsiteX331" fmla="*/ 1146 w 760716"/>
                    <a:gd name="connsiteY331" fmla="*/ 361050 h 373040"/>
                    <a:gd name="connsiteX332" fmla="*/ 4937 w 760716"/>
                    <a:gd name="connsiteY332" fmla="*/ 360785 h 373040"/>
                    <a:gd name="connsiteX333" fmla="*/ 9081 w 760716"/>
                    <a:gd name="connsiteY333" fmla="*/ 358757 h 373040"/>
                    <a:gd name="connsiteX334" fmla="*/ 11638 w 760716"/>
                    <a:gd name="connsiteY334" fmla="*/ 358140 h 373040"/>
                    <a:gd name="connsiteX335" fmla="*/ 16311 w 760716"/>
                    <a:gd name="connsiteY335" fmla="*/ 357523 h 373040"/>
                    <a:gd name="connsiteX336" fmla="*/ 20984 w 760716"/>
                    <a:gd name="connsiteY336" fmla="*/ 355495 h 373040"/>
                    <a:gd name="connsiteX337" fmla="*/ 26539 w 760716"/>
                    <a:gd name="connsiteY337" fmla="*/ 354966 h 373040"/>
                    <a:gd name="connsiteX338" fmla="*/ 26010 w 760716"/>
                    <a:gd name="connsiteY338" fmla="*/ 353467 h 373040"/>
                    <a:gd name="connsiteX339" fmla="*/ 29801 w 760716"/>
                    <a:gd name="connsiteY339" fmla="*/ 353732 h 373040"/>
                    <a:gd name="connsiteX340" fmla="*/ 33239 w 760716"/>
                    <a:gd name="connsiteY340" fmla="*/ 353202 h 373040"/>
                    <a:gd name="connsiteX341" fmla="*/ 35885 w 760716"/>
                    <a:gd name="connsiteY341" fmla="*/ 352321 h 373040"/>
                    <a:gd name="connsiteX342" fmla="*/ 40293 w 760716"/>
                    <a:gd name="connsiteY342" fmla="*/ 350822 h 373040"/>
                    <a:gd name="connsiteX343" fmla="*/ 44084 w 760716"/>
                    <a:gd name="connsiteY343" fmla="*/ 347648 h 373040"/>
                    <a:gd name="connsiteX344" fmla="*/ 46112 w 760716"/>
                    <a:gd name="connsiteY344" fmla="*/ 345003 h 373040"/>
                    <a:gd name="connsiteX345" fmla="*/ 49022 w 760716"/>
                    <a:gd name="connsiteY345" fmla="*/ 343240 h 373040"/>
                    <a:gd name="connsiteX346" fmla="*/ 51931 w 760716"/>
                    <a:gd name="connsiteY346" fmla="*/ 342711 h 373040"/>
                    <a:gd name="connsiteX347" fmla="*/ 58896 w 760716"/>
                    <a:gd name="connsiteY347" fmla="*/ 340947 h 373040"/>
                    <a:gd name="connsiteX348" fmla="*/ 64804 w 760716"/>
                    <a:gd name="connsiteY348" fmla="*/ 341212 h 373040"/>
                    <a:gd name="connsiteX349" fmla="*/ 71505 w 760716"/>
                    <a:gd name="connsiteY349" fmla="*/ 340330 h 373040"/>
                    <a:gd name="connsiteX350" fmla="*/ 65950 w 760716"/>
                    <a:gd name="connsiteY350" fmla="*/ 346766 h 373040"/>
                    <a:gd name="connsiteX351" fmla="*/ 70006 w 760716"/>
                    <a:gd name="connsiteY351" fmla="*/ 342711 h 373040"/>
                    <a:gd name="connsiteX352" fmla="*/ 73532 w 760716"/>
                    <a:gd name="connsiteY352" fmla="*/ 343592 h 373040"/>
                    <a:gd name="connsiteX353" fmla="*/ 75560 w 760716"/>
                    <a:gd name="connsiteY353" fmla="*/ 341829 h 373040"/>
                    <a:gd name="connsiteX354" fmla="*/ 83407 w 760716"/>
                    <a:gd name="connsiteY354" fmla="*/ 338567 h 373040"/>
                    <a:gd name="connsiteX355" fmla="*/ 88433 w 760716"/>
                    <a:gd name="connsiteY355" fmla="*/ 333629 h 373040"/>
                    <a:gd name="connsiteX356" fmla="*/ 96280 w 760716"/>
                    <a:gd name="connsiteY356" fmla="*/ 333982 h 373040"/>
                    <a:gd name="connsiteX357" fmla="*/ 105890 w 760716"/>
                    <a:gd name="connsiteY357" fmla="*/ 330720 h 373040"/>
                    <a:gd name="connsiteX358" fmla="*/ 113208 w 760716"/>
                    <a:gd name="connsiteY358" fmla="*/ 326664 h 373040"/>
                    <a:gd name="connsiteX359" fmla="*/ 118146 w 760716"/>
                    <a:gd name="connsiteY359" fmla="*/ 324019 h 373040"/>
                    <a:gd name="connsiteX360" fmla="*/ 121937 w 760716"/>
                    <a:gd name="connsiteY360" fmla="*/ 321991 h 373040"/>
                    <a:gd name="connsiteX361" fmla="*/ 123965 w 760716"/>
                    <a:gd name="connsiteY361" fmla="*/ 319346 h 373040"/>
                    <a:gd name="connsiteX362" fmla="*/ 125464 w 760716"/>
                    <a:gd name="connsiteY362" fmla="*/ 321374 h 373040"/>
                    <a:gd name="connsiteX363" fmla="*/ 131547 w 760716"/>
                    <a:gd name="connsiteY363" fmla="*/ 322255 h 373040"/>
                    <a:gd name="connsiteX364" fmla="*/ 135603 w 760716"/>
                    <a:gd name="connsiteY364" fmla="*/ 318200 h 373040"/>
                    <a:gd name="connsiteX365" fmla="*/ 138248 w 760716"/>
                    <a:gd name="connsiteY365" fmla="*/ 317935 h 373040"/>
                    <a:gd name="connsiteX366" fmla="*/ 142039 w 760716"/>
                    <a:gd name="connsiteY366" fmla="*/ 316701 h 373040"/>
                    <a:gd name="connsiteX367" fmla="*/ 148211 w 760716"/>
                    <a:gd name="connsiteY367" fmla="*/ 314144 h 373040"/>
                    <a:gd name="connsiteX368" fmla="*/ 150239 w 760716"/>
                    <a:gd name="connsiteY368" fmla="*/ 312645 h 373040"/>
                    <a:gd name="connsiteX369" fmla="*/ 151650 w 760716"/>
                    <a:gd name="connsiteY369" fmla="*/ 309471 h 373040"/>
                    <a:gd name="connsiteX370" fmla="*/ 156675 w 760716"/>
                    <a:gd name="connsiteY370" fmla="*/ 309471 h 373040"/>
                    <a:gd name="connsiteX371" fmla="*/ 160114 w 760716"/>
                    <a:gd name="connsiteY371" fmla="*/ 306826 h 373040"/>
                    <a:gd name="connsiteX372" fmla="*/ 163023 w 760716"/>
                    <a:gd name="connsiteY372" fmla="*/ 305592 h 373040"/>
                    <a:gd name="connsiteX373" fmla="*/ 168049 w 760716"/>
                    <a:gd name="connsiteY373" fmla="*/ 303564 h 373040"/>
                    <a:gd name="connsiteX374" fmla="*/ 172105 w 760716"/>
                    <a:gd name="connsiteY374" fmla="*/ 305327 h 373040"/>
                    <a:gd name="connsiteX375" fmla="*/ 170077 w 760716"/>
                    <a:gd name="connsiteY375" fmla="*/ 302418 h 373040"/>
                    <a:gd name="connsiteX376" fmla="*/ 175014 w 760716"/>
                    <a:gd name="connsiteY376" fmla="*/ 301007 h 373040"/>
                    <a:gd name="connsiteX377" fmla="*/ 178805 w 760716"/>
                    <a:gd name="connsiteY377" fmla="*/ 299243 h 373040"/>
                    <a:gd name="connsiteX378" fmla="*/ 183743 w 760716"/>
                    <a:gd name="connsiteY378" fmla="*/ 296334 h 373040"/>
                    <a:gd name="connsiteX379" fmla="*/ 183214 w 760716"/>
                    <a:gd name="connsiteY379" fmla="*/ 291661 h 373040"/>
                    <a:gd name="connsiteX380" fmla="*/ 187534 w 760716"/>
                    <a:gd name="connsiteY380" fmla="*/ 292190 h 373040"/>
                    <a:gd name="connsiteX381" fmla="*/ 193970 w 760716"/>
                    <a:gd name="connsiteY381" fmla="*/ 289898 h 373040"/>
                    <a:gd name="connsiteX382" fmla="*/ 194588 w 760716"/>
                    <a:gd name="connsiteY382" fmla="*/ 286106 h 373040"/>
                    <a:gd name="connsiteX383" fmla="*/ 191943 w 760716"/>
                    <a:gd name="connsiteY383" fmla="*/ 284960 h 373040"/>
                    <a:gd name="connsiteX384" fmla="*/ 197233 w 760716"/>
                    <a:gd name="connsiteY384" fmla="*/ 284608 h 373040"/>
                    <a:gd name="connsiteX385" fmla="*/ 201817 w 760716"/>
                    <a:gd name="connsiteY385" fmla="*/ 282844 h 373040"/>
                    <a:gd name="connsiteX386" fmla="*/ 212045 w 760716"/>
                    <a:gd name="connsiteY386" fmla="*/ 276761 h 373040"/>
                    <a:gd name="connsiteX387" fmla="*/ 225447 w 760716"/>
                    <a:gd name="connsiteY387" fmla="*/ 267150 h 373040"/>
                    <a:gd name="connsiteX388" fmla="*/ 212309 w 760716"/>
                    <a:gd name="connsiteY388" fmla="*/ 273586 h 373040"/>
                    <a:gd name="connsiteX389" fmla="*/ 186388 w 760716"/>
                    <a:gd name="connsiteY389" fmla="*/ 279670 h 373040"/>
                    <a:gd name="connsiteX390" fmla="*/ 184977 w 760716"/>
                    <a:gd name="connsiteY390" fmla="*/ 274997 h 373040"/>
                    <a:gd name="connsiteX391" fmla="*/ 191325 w 760716"/>
                    <a:gd name="connsiteY391" fmla="*/ 270324 h 373040"/>
                    <a:gd name="connsiteX392" fmla="*/ 198379 w 760716"/>
                    <a:gd name="connsiteY392" fmla="*/ 271823 h 373040"/>
                    <a:gd name="connsiteX393" fmla="*/ 195117 w 760716"/>
                    <a:gd name="connsiteY393" fmla="*/ 266533 h 373040"/>
                    <a:gd name="connsiteX394" fmla="*/ 177659 w 760716"/>
                    <a:gd name="connsiteY394" fmla="*/ 275879 h 373040"/>
                    <a:gd name="connsiteX395" fmla="*/ 174750 w 760716"/>
                    <a:gd name="connsiteY395" fmla="*/ 282051 h 373040"/>
                    <a:gd name="connsiteX396" fmla="*/ 168578 w 760716"/>
                    <a:gd name="connsiteY396" fmla="*/ 284343 h 373040"/>
                    <a:gd name="connsiteX397" fmla="*/ 169724 w 760716"/>
                    <a:gd name="connsiteY397" fmla="*/ 271823 h 373040"/>
                    <a:gd name="connsiteX398" fmla="*/ 159849 w 760716"/>
                    <a:gd name="connsiteY398" fmla="*/ 275879 h 373040"/>
                    <a:gd name="connsiteX399" fmla="*/ 160466 w 760716"/>
                    <a:gd name="connsiteY399" fmla="*/ 268914 h 373040"/>
                    <a:gd name="connsiteX400" fmla="*/ 121320 w 760716"/>
                    <a:gd name="connsiteY400" fmla="*/ 280816 h 373040"/>
                    <a:gd name="connsiteX401" fmla="*/ 124229 w 760716"/>
                    <a:gd name="connsiteY401" fmla="*/ 278788 h 373040"/>
                    <a:gd name="connsiteX402" fmla="*/ 116647 w 760716"/>
                    <a:gd name="connsiteY402" fmla="*/ 278788 h 373040"/>
                    <a:gd name="connsiteX403" fmla="*/ 130137 w 760716"/>
                    <a:gd name="connsiteY403" fmla="*/ 274997 h 373040"/>
                    <a:gd name="connsiteX404" fmla="*/ 132693 w 760716"/>
                    <a:gd name="connsiteY404" fmla="*/ 269795 h 373040"/>
                    <a:gd name="connsiteX405" fmla="*/ 139482 w 760716"/>
                    <a:gd name="connsiteY405" fmla="*/ 268032 h 373040"/>
                    <a:gd name="connsiteX406" fmla="*/ 133046 w 760716"/>
                    <a:gd name="connsiteY406" fmla="*/ 268914 h 373040"/>
                    <a:gd name="connsiteX407" fmla="*/ 135338 w 760716"/>
                    <a:gd name="connsiteY407" fmla="*/ 264505 h 373040"/>
                    <a:gd name="connsiteX408" fmla="*/ 138248 w 760716"/>
                    <a:gd name="connsiteY408" fmla="*/ 263976 h 373040"/>
                    <a:gd name="connsiteX409" fmla="*/ 140629 w 760716"/>
                    <a:gd name="connsiteY409" fmla="*/ 265387 h 373040"/>
                    <a:gd name="connsiteX410" fmla="*/ 147858 w 760716"/>
                    <a:gd name="connsiteY410" fmla="*/ 259303 h 373040"/>
                    <a:gd name="connsiteX411" fmla="*/ 153766 w 760716"/>
                    <a:gd name="connsiteY411" fmla="*/ 256394 h 373040"/>
                    <a:gd name="connsiteX412" fmla="*/ 156940 w 760716"/>
                    <a:gd name="connsiteY412" fmla="*/ 252602 h 373040"/>
                    <a:gd name="connsiteX413" fmla="*/ 153766 w 760716"/>
                    <a:gd name="connsiteY413" fmla="*/ 246166 h 373040"/>
                    <a:gd name="connsiteX414" fmla="*/ 160114 w 760716"/>
                    <a:gd name="connsiteY414" fmla="*/ 242022 h 373040"/>
                    <a:gd name="connsiteX415" fmla="*/ 154030 w 760716"/>
                    <a:gd name="connsiteY415" fmla="*/ 244403 h 373040"/>
                    <a:gd name="connsiteX416" fmla="*/ 156058 w 760716"/>
                    <a:gd name="connsiteY416" fmla="*/ 240612 h 373040"/>
                    <a:gd name="connsiteX417" fmla="*/ 176778 w 760716"/>
                    <a:gd name="connsiteY417" fmla="*/ 231883 h 373040"/>
                    <a:gd name="connsiteX418" fmla="*/ 172722 w 760716"/>
                    <a:gd name="connsiteY418" fmla="*/ 231001 h 373040"/>
                    <a:gd name="connsiteX419" fmla="*/ 150768 w 760716"/>
                    <a:gd name="connsiteY419" fmla="*/ 241493 h 373040"/>
                    <a:gd name="connsiteX420" fmla="*/ 153149 w 760716"/>
                    <a:gd name="connsiteY420" fmla="*/ 243521 h 373040"/>
                    <a:gd name="connsiteX421" fmla="*/ 147065 w 760716"/>
                    <a:gd name="connsiteY421" fmla="*/ 247577 h 373040"/>
                    <a:gd name="connsiteX422" fmla="*/ 121320 w 760716"/>
                    <a:gd name="connsiteY422" fmla="*/ 252250 h 373040"/>
                    <a:gd name="connsiteX423" fmla="*/ 122201 w 760716"/>
                    <a:gd name="connsiteY423" fmla="*/ 248459 h 373040"/>
                    <a:gd name="connsiteX424" fmla="*/ 127756 w 760716"/>
                    <a:gd name="connsiteY424" fmla="*/ 239994 h 373040"/>
                    <a:gd name="connsiteX425" fmla="*/ 112326 w 760716"/>
                    <a:gd name="connsiteY425" fmla="*/ 237966 h 373040"/>
                    <a:gd name="connsiteX426" fmla="*/ 118763 w 760716"/>
                    <a:gd name="connsiteY426" fmla="*/ 235057 h 373040"/>
                    <a:gd name="connsiteX427" fmla="*/ 110828 w 760716"/>
                    <a:gd name="connsiteY427" fmla="*/ 235057 h 373040"/>
                    <a:gd name="connsiteX428" fmla="*/ 123083 w 760716"/>
                    <a:gd name="connsiteY428" fmla="*/ 231266 h 373040"/>
                    <a:gd name="connsiteX429" fmla="*/ 129255 w 760716"/>
                    <a:gd name="connsiteY429" fmla="*/ 228885 h 373040"/>
                    <a:gd name="connsiteX430" fmla="*/ 137719 w 760716"/>
                    <a:gd name="connsiteY430" fmla="*/ 229855 h 373040"/>
                    <a:gd name="connsiteX431" fmla="*/ 128373 w 760716"/>
                    <a:gd name="connsiteY431" fmla="*/ 235057 h 373040"/>
                    <a:gd name="connsiteX432" fmla="*/ 141158 w 760716"/>
                    <a:gd name="connsiteY432" fmla="*/ 230119 h 373040"/>
                    <a:gd name="connsiteX433" fmla="*/ 144684 w 760716"/>
                    <a:gd name="connsiteY433" fmla="*/ 230648 h 373040"/>
                    <a:gd name="connsiteX434" fmla="*/ 140276 w 760716"/>
                    <a:gd name="connsiteY434" fmla="*/ 234175 h 373040"/>
                    <a:gd name="connsiteX435" fmla="*/ 152002 w 760716"/>
                    <a:gd name="connsiteY435" fmla="*/ 230119 h 373040"/>
                    <a:gd name="connsiteX436" fmla="*/ 149093 w 760716"/>
                    <a:gd name="connsiteY436" fmla="*/ 227739 h 373040"/>
                    <a:gd name="connsiteX437" fmla="*/ 152884 w 760716"/>
                    <a:gd name="connsiteY437" fmla="*/ 227474 h 373040"/>
                    <a:gd name="connsiteX438" fmla="*/ 153766 w 760716"/>
                    <a:gd name="connsiteY438" fmla="*/ 224829 h 373040"/>
                    <a:gd name="connsiteX439" fmla="*/ 145301 w 760716"/>
                    <a:gd name="connsiteY439" fmla="*/ 228356 h 373040"/>
                    <a:gd name="connsiteX440" fmla="*/ 126874 w 760716"/>
                    <a:gd name="connsiteY440" fmla="*/ 227210 h 373040"/>
                    <a:gd name="connsiteX441" fmla="*/ 126345 w 760716"/>
                    <a:gd name="connsiteY441" fmla="*/ 225711 h 373040"/>
                    <a:gd name="connsiteX442" fmla="*/ 131547 w 760716"/>
                    <a:gd name="connsiteY442" fmla="*/ 223683 h 373040"/>
                    <a:gd name="connsiteX443" fmla="*/ 135338 w 760716"/>
                    <a:gd name="connsiteY443" fmla="*/ 219275 h 373040"/>
                    <a:gd name="connsiteX444" fmla="*/ 132429 w 760716"/>
                    <a:gd name="connsiteY444" fmla="*/ 221391 h 373040"/>
                    <a:gd name="connsiteX445" fmla="*/ 130137 w 760716"/>
                    <a:gd name="connsiteY445" fmla="*/ 220509 h 373040"/>
                    <a:gd name="connsiteX446" fmla="*/ 123965 w 760716"/>
                    <a:gd name="connsiteY446" fmla="*/ 223066 h 373040"/>
                    <a:gd name="connsiteX447" fmla="*/ 125993 w 760716"/>
                    <a:gd name="connsiteY447" fmla="*/ 215836 h 373040"/>
                    <a:gd name="connsiteX448" fmla="*/ 131547 w 760716"/>
                    <a:gd name="connsiteY448" fmla="*/ 212927 h 373040"/>
                    <a:gd name="connsiteX449" fmla="*/ 125111 w 760716"/>
                    <a:gd name="connsiteY449" fmla="*/ 214073 h 373040"/>
                    <a:gd name="connsiteX450" fmla="*/ 126345 w 760716"/>
                    <a:gd name="connsiteY450" fmla="*/ 211692 h 373040"/>
                    <a:gd name="connsiteX451" fmla="*/ 130930 w 760716"/>
                    <a:gd name="connsiteY451" fmla="*/ 208783 h 373040"/>
                    <a:gd name="connsiteX452" fmla="*/ 136485 w 760716"/>
                    <a:gd name="connsiteY452" fmla="*/ 209400 h 373040"/>
                    <a:gd name="connsiteX453" fmla="*/ 134809 w 760716"/>
                    <a:gd name="connsiteY453" fmla="*/ 206490 h 373040"/>
                    <a:gd name="connsiteX454" fmla="*/ 144420 w 760716"/>
                    <a:gd name="connsiteY454" fmla="*/ 205873 h 373040"/>
                    <a:gd name="connsiteX455" fmla="*/ 150239 w 760716"/>
                    <a:gd name="connsiteY455" fmla="*/ 199790 h 373040"/>
                    <a:gd name="connsiteX456" fmla="*/ 160995 w 760716"/>
                    <a:gd name="connsiteY456" fmla="*/ 200319 h 373040"/>
                    <a:gd name="connsiteX457" fmla="*/ 161613 w 760716"/>
                    <a:gd name="connsiteY457" fmla="*/ 195646 h 373040"/>
                    <a:gd name="connsiteX458" fmla="*/ 161613 w 760716"/>
                    <a:gd name="connsiteY458" fmla="*/ 191854 h 373040"/>
                    <a:gd name="connsiteX459" fmla="*/ 170958 w 760716"/>
                    <a:gd name="connsiteY459" fmla="*/ 190708 h 373040"/>
                    <a:gd name="connsiteX460" fmla="*/ 173251 w 760716"/>
                    <a:gd name="connsiteY460" fmla="*/ 194235 h 373040"/>
                    <a:gd name="connsiteX461" fmla="*/ 178188 w 760716"/>
                    <a:gd name="connsiteY461" fmla="*/ 192736 h 373040"/>
                    <a:gd name="connsiteX462" fmla="*/ 177395 w 760716"/>
                    <a:gd name="connsiteY462" fmla="*/ 189562 h 373040"/>
                    <a:gd name="connsiteX463" fmla="*/ 179423 w 760716"/>
                    <a:gd name="connsiteY463" fmla="*/ 188680 h 373040"/>
                    <a:gd name="connsiteX464" fmla="*/ 184360 w 760716"/>
                    <a:gd name="connsiteY464" fmla="*/ 183743 h 373040"/>
                    <a:gd name="connsiteX465" fmla="*/ 193089 w 760716"/>
                    <a:gd name="connsiteY465" fmla="*/ 179687 h 373040"/>
                    <a:gd name="connsiteX466" fmla="*/ 198643 w 760716"/>
                    <a:gd name="connsiteY466" fmla="*/ 179952 h 373040"/>
                    <a:gd name="connsiteX467" fmla="*/ 198026 w 760716"/>
                    <a:gd name="connsiteY467" fmla="*/ 177042 h 373040"/>
                    <a:gd name="connsiteX468" fmla="*/ 203316 w 760716"/>
                    <a:gd name="connsiteY468" fmla="*/ 175014 h 373040"/>
                    <a:gd name="connsiteX469" fmla="*/ 214954 w 760716"/>
                    <a:gd name="connsiteY469" fmla="*/ 175014 h 373040"/>
                    <a:gd name="connsiteX470" fmla="*/ 214954 w 760716"/>
                    <a:gd name="connsiteY470" fmla="*/ 177924 h 373040"/>
                    <a:gd name="connsiteX471" fmla="*/ 215836 w 760716"/>
                    <a:gd name="connsiteY471" fmla="*/ 179687 h 373040"/>
                    <a:gd name="connsiteX472" fmla="*/ 228709 w 760716"/>
                    <a:gd name="connsiteY472" fmla="*/ 176425 h 373040"/>
                    <a:gd name="connsiteX473" fmla="*/ 231618 w 760716"/>
                    <a:gd name="connsiteY473" fmla="*/ 173251 h 373040"/>
                    <a:gd name="connsiteX474" fmla="*/ 238055 w 760716"/>
                    <a:gd name="connsiteY474" fmla="*/ 176160 h 373040"/>
                    <a:gd name="connsiteX475" fmla="*/ 243874 w 760716"/>
                    <a:gd name="connsiteY475" fmla="*/ 175014 h 373040"/>
                    <a:gd name="connsiteX476" fmla="*/ 251456 w 760716"/>
                    <a:gd name="connsiteY476" fmla="*/ 169107 h 373040"/>
                    <a:gd name="connsiteX477" fmla="*/ 247665 w 760716"/>
                    <a:gd name="connsiteY477" fmla="*/ 170341 h 373040"/>
                    <a:gd name="connsiteX478" fmla="*/ 267150 w 760716"/>
                    <a:gd name="connsiteY478" fmla="*/ 168313 h 373040"/>
                    <a:gd name="connsiteX479" fmla="*/ 271823 w 760716"/>
                    <a:gd name="connsiteY479" fmla="*/ 168578 h 373040"/>
                    <a:gd name="connsiteX480" fmla="*/ 283197 w 760716"/>
                    <a:gd name="connsiteY480" fmla="*/ 165933 h 373040"/>
                    <a:gd name="connsiteX481" fmla="*/ 287341 w 760716"/>
                    <a:gd name="connsiteY481" fmla="*/ 158968 h 373040"/>
                    <a:gd name="connsiteX482" fmla="*/ 292014 w 760716"/>
                    <a:gd name="connsiteY482" fmla="*/ 148476 h 373040"/>
                    <a:gd name="connsiteX483" fmla="*/ 285842 w 760716"/>
                    <a:gd name="connsiteY483" fmla="*/ 148476 h 373040"/>
                    <a:gd name="connsiteX484" fmla="*/ 291396 w 760716"/>
                    <a:gd name="connsiteY484" fmla="*/ 145831 h 373040"/>
                    <a:gd name="connsiteX485" fmla="*/ 297833 w 760716"/>
                    <a:gd name="connsiteY485" fmla="*/ 146360 h 373040"/>
                    <a:gd name="connsiteX486" fmla="*/ 307179 w 760716"/>
                    <a:gd name="connsiteY486" fmla="*/ 142039 h 373040"/>
                    <a:gd name="connsiteX487" fmla="*/ 310088 w 760716"/>
                    <a:gd name="connsiteY487" fmla="*/ 137102 h 373040"/>
                    <a:gd name="connsiteX488" fmla="*/ 295188 w 760716"/>
                    <a:gd name="connsiteY488" fmla="*/ 141158 h 373040"/>
                    <a:gd name="connsiteX489" fmla="*/ 292895 w 760716"/>
                    <a:gd name="connsiteY489" fmla="*/ 139659 h 373040"/>
                    <a:gd name="connsiteX490" fmla="*/ 286988 w 760716"/>
                    <a:gd name="connsiteY490" fmla="*/ 142039 h 373040"/>
                    <a:gd name="connsiteX491" fmla="*/ 281169 w 760716"/>
                    <a:gd name="connsiteY491" fmla="*/ 139394 h 373040"/>
                    <a:gd name="connsiteX492" fmla="*/ 276496 w 760716"/>
                    <a:gd name="connsiteY492" fmla="*/ 146977 h 373040"/>
                    <a:gd name="connsiteX493" fmla="*/ 273586 w 760716"/>
                    <a:gd name="connsiteY493" fmla="*/ 142921 h 373040"/>
                    <a:gd name="connsiteX494" fmla="*/ 262830 w 760716"/>
                    <a:gd name="connsiteY494" fmla="*/ 150503 h 373040"/>
                    <a:gd name="connsiteX495" fmla="*/ 265475 w 760716"/>
                    <a:gd name="connsiteY495" fmla="*/ 143185 h 373040"/>
                    <a:gd name="connsiteX496" fmla="*/ 259920 w 760716"/>
                    <a:gd name="connsiteY496" fmla="*/ 144596 h 373040"/>
                    <a:gd name="connsiteX497" fmla="*/ 263712 w 760716"/>
                    <a:gd name="connsiteY497" fmla="*/ 146360 h 373040"/>
                    <a:gd name="connsiteX498" fmla="*/ 257893 w 760716"/>
                    <a:gd name="connsiteY498" fmla="*/ 149005 h 373040"/>
                    <a:gd name="connsiteX499" fmla="*/ 252338 w 760716"/>
                    <a:gd name="connsiteY499" fmla="*/ 144949 h 373040"/>
                    <a:gd name="connsiteX500" fmla="*/ 232235 w 760716"/>
                    <a:gd name="connsiteY500" fmla="*/ 145831 h 373040"/>
                    <a:gd name="connsiteX501" fmla="*/ 230737 w 760716"/>
                    <a:gd name="connsiteY501" fmla="*/ 147858 h 373040"/>
                    <a:gd name="connsiteX502" fmla="*/ 226681 w 760716"/>
                    <a:gd name="connsiteY502" fmla="*/ 142568 h 373040"/>
                    <a:gd name="connsiteX503" fmla="*/ 233029 w 760716"/>
                    <a:gd name="connsiteY503" fmla="*/ 132429 h 373040"/>
                    <a:gd name="connsiteX504" fmla="*/ 233911 w 760716"/>
                    <a:gd name="connsiteY504" fmla="*/ 130313 h 373040"/>
                    <a:gd name="connsiteX505" fmla="*/ 223154 w 760716"/>
                    <a:gd name="connsiteY505" fmla="*/ 127491 h 373040"/>
                    <a:gd name="connsiteX506" fmla="*/ 225799 w 760716"/>
                    <a:gd name="connsiteY506" fmla="*/ 121320 h 373040"/>
                    <a:gd name="connsiteX507" fmla="*/ 231266 w 760716"/>
                    <a:gd name="connsiteY507" fmla="*/ 117793 h 373040"/>
                    <a:gd name="connsiteX508" fmla="*/ 238055 w 760716"/>
                    <a:gd name="connsiteY508" fmla="*/ 120173 h 373040"/>
                    <a:gd name="connsiteX509" fmla="*/ 240082 w 760716"/>
                    <a:gd name="connsiteY509" fmla="*/ 114266 h 373040"/>
                    <a:gd name="connsiteX510" fmla="*/ 249957 w 760716"/>
                    <a:gd name="connsiteY510" fmla="*/ 114266 h 373040"/>
                    <a:gd name="connsiteX511" fmla="*/ 258157 w 760716"/>
                    <a:gd name="connsiteY511" fmla="*/ 109946 h 373040"/>
                    <a:gd name="connsiteX512" fmla="*/ 270148 w 760716"/>
                    <a:gd name="connsiteY512" fmla="*/ 110563 h 373040"/>
                    <a:gd name="connsiteX513" fmla="*/ 265475 w 760716"/>
                    <a:gd name="connsiteY513" fmla="*/ 109064 h 373040"/>
                    <a:gd name="connsiteX514" fmla="*/ 270677 w 760716"/>
                    <a:gd name="connsiteY514" fmla="*/ 107036 h 373040"/>
                    <a:gd name="connsiteX515" fmla="*/ 279141 w 760716"/>
                    <a:gd name="connsiteY515" fmla="*/ 103510 h 373040"/>
                    <a:gd name="connsiteX516" fmla="*/ 292543 w 760716"/>
                    <a:gd name="connsiteY516" fmla="*/ 102099 h 373040"/>
                    <a:gd name="connsiteX517" fmla="*/ 303035 w 760716"/>
                    <a:gd name="connsiteY517" fmla="*/ 100865 h 373040"/>
                    <a:gd name="connsiteX518" fmla="*/ 311234 w 760716"/>
                    <a:gd name="connsiteY518" fmla="*/ 103510 h 373040"/>
                    <a:gd name="connsiteX519" fmla="*/ 313615 w 760716"/>
                    <a:gd name="connsiteY519" fmla="*/ 98572 h 373040"/>
                    <a:gd name="connsiteX520" fmla="*/ 321726 w 760716"/>
                    <a:gd name="connsiteY520" fmla="*/ 101217 h 373040"/>
                    <a:gd name="connsiteX521" fmla="*/ 310617 w 760716"/>
                    <a:gd name="connsiteY521" fmla="*/ 104656 h 373040"/>
                    <a:gd name="connsiteX522" fmla="*/ 301007 w 760716"/>
                    <a:gd name="connsiteY522" fmla="*/ 107918 h 373040"/>
                    <a:gd name="connsiteX523" fmla="*/ 286988 w 760716"/>
                    <a:gd name="connsiteY523" fmla="*/ 107301 h 373040"/>
                    <a:gd name="connsiteX524" fmla="*/ 292543 w 760716"/>
                    <a:gd name="connsiteY524" fmla="*/ 109946 h 373040"/>
                    <a:gd name="connsiteX525" fmla="*/ 296334 w 760716"/>
                    <a:gd name="connsiteY525" fmla="*/ 110563 h 373040"/>
                    <a:gd name="connsiteX526" fmla="*/ 297216 w 760716"/>
                    <a:gd name="connsiteY526" fmla="*/ 109946 h 373040"/>
                    <a:gd name="connsiteX527" fmla="*/ 298097 w 760716"/>
                    <a:gd name="connsiteY527" fmla="*/ 112238 h 373040"/>
                    <a:gd name="connsiteX528" fmla="*/ 308854 w 760716"/>
                    <a:gd name="connsiteY528" fmla="*/ 113737 h 373040"/>
                    <a:gd name="connsiteX529" fmla="*/ 322873 w 760716"/>
                    <a:gd name="connsiteY529" fmla="*/ 112238 h 373040"/>
                    <a:gd name="connsiteX530" fmla="*/ 324371 w 760716"/>
                    <a:gd name="connsiteY530" fmla="*/ 114266 h 373040"/>
                    <a:gd name="connsiteX531" fmla="*/ 339536 w 760716"/>
                    <a:gd name="connsiteY531" fmla="*/ 108183 h 373040"/>
                    <a:gd name="connsiteX532" fmla="*/ 343063 w 760716"/>
                    <a:gd name="connsiteY532" fmla="*/ 111092 h 373040"/>
                    <a:gd name="connsiteX533" fmla="*/ 347383 w 760716"/>
                    <a:gd name="connsiteY533" fmla="*/ 106772 h 373040"/>
                    <a:gd name="connsiteX534" fmla="*/ 342446 w 760716"/>
                    <a:gd name="connsiteY534" fmla="*/ 105273 h 373040"/>
                    <a:gd name="connsiteX535" fmla="*/ 332571 w 760716"/>
                    <a:gd name="connsiteY535" fmla="*/ 108183 h 373040"/>
                    <a:gd name="connsiteX536" fmla="*/ 340065 w 760716"/>
                    <a:gd name="connsiteY536" fmla="*/ 102981 h 373040"/>
                    <a:gd name="connsiteX537" fmla="*/ 336627 w 760716"/>
                    <a:gd name="connsiteY537" fmla="*/ 97955 h 373040"/>
                    <a:gd name="connsiteX538" fmla="*/ 343063 w 760716"/>
                    <a:gd name="connsiteY538" fmla="*/ 93282 h 373040"/>
                    <a:gd name="connsiteX539" fmla="*/ 343328 w 760716"/>
                    <a:gd name="connsiteY539" fmla="*/ 104127 h 373040"/>
                    <a:gd name="connsiteX540" fmla="*/ 352321 w 760716"/>
                    <a:gd name="connsiteY540" fmla="*/ 102363 h 373040"/>
                    <a:gd name="connsiteX541" fmla="*/ 357875 w 760716"/>
                    <a:gd name="connsiteY541" fmla="*/ 106155 h 373040"/>
                    <a:gd name="connsiteX542" fmla="*/ 367838 w 760716"/>
                    <a:gd name="connsiteY542" fmla="*/ 102628 h 373040"/>
                    <a:gd name="connsiteX543" fmla="*/ 371013 w 760716"/>
                    <a:gd name="connsiteY543" fmla="*/ 99983 h 373040"/>
                    <a:gd name="connsiteX544" fmla="*/ 361667 w 760716"/>
                    <a:gd name="connsiteY544" fmla="*/ 99454 h 373040"/>
                    <a:gd name="connsiteX545" fmla="*/ 347119 w 760716"/>
                    <a:gd name="connsiteY545" fmla="*/ 102363 h 373040"/>
                    <a:gd name="connsiteX546" fmla="*/ 346502 w 760716"/>
                    <a:gd name="connsiteY546" fmla="*/ 97955 h 373040"/>
                    <a:gd name="connsiteX547" fmla="*/ 360256 w 760716"/>
                    <a:gd name="connsiteY547" fmla="*/ 92753 h 373040"/>
                    <a:gd name="connsiteX548" fmla="*/ 349411 w 760716"/>
                    <a:gd name="connsiteY548" fmla="*/ 90990 h 373040"/>
                    <a:gd name="connsiteX549" fmla="*/ 344738 w 760716"/>
                    <a:gd name="connsiteY549" fmla="*/ 92753 h 373040"/>
                    <a:gd name="connsiteX550" fmla="*/ 351792 w 760716"/>
                    <a:gd name="connsiteY550" fmla="*/ 88609 h 373040"/>
                    <a:gd name="connsiteX551" fmla="*/ 338655 w 760716"/>
                    <a:gd name="connsiteY551" fmla="*/ 92136 h 373040"/>
                    <a:gd name="connsiteX552" fmla="*/ 343857 w 760716"/>
                    <a:gd name="connsiteY552" fmla="*/ 82790 h 373040"/>
                    <a:gd name="connsiteX553" fmla="*/ 343063 w 760716"/>
                    <a:gd name="connsiteY553" fmla="*/ 76089 h 373040"/>
                    <a:gd name="connsiteX554" fmla="*/ 340947 w 760716"/>
                    <a:gd name="connsiteY554" fmla="*/ 74943 h 373040"/>
                    <a:gd name="connsiteX555" fmla="*/ 342181 w 760716"/>
                    <a:gd name="connsiteY555" fmla="*/ 72915 h 373040"/>
                    <a:gd name="connsiteX556" fmla="*/ 340947 w 760716"/>
                    <a:gd name="connsiteY556" fmla="*/ 72915 h 373040"/>
                    <a:gd name="connsiteX557" fmla="*/ 338919 w 760716"/>
                    <a:gd name="connsiteY557" fmla="*/ 70887 h 373040"/>
                    <a:gd name="connsiteX558" fmla="*/ 337773 w 760716"/>
                    <a:gd name="connsiteY558" fmla="*/ 70887 h 373040"/>
                    <a:gd name="connsiteX559" fmla="*/ 334863 w 760716"/>
                    <a:gd name="connsiteY559" fmla="*/ 71769 h 373040"/>
                    <a:gd name="connsiteX560" fmla="*/ 335745 w 760716"/>
                    <a:gd name="connsiteY560" fmla="*/ 67890 h 373040"/>
                    <a:gd name="connsiteX561" fmla="*/ 333453 w 760716"/>
                    <a:gd name="connsiteY561" fmla="*/ 67625 h 373040"/>
                    <a:gd name="connsiteX562" fmla="*/ 332836 w 760716"/>
                    <a:gd name="connsiteY562" fmla="*/ 63569 h 373040"/>
                    <a:gd name="connsiteX563" fmla="*/ 331072 w 760716"/>
                    <a:gd name="connsiteY563" fmla="*/ 63569 h 373040"/>
                    <a:gd name="connsiteX564" fmla="*/ 329926 w 760716"/>
                    <a:gd name="connsiteY564" fmla="*/ 60660 h 373040"/>
                    <a:gd name="connsiteX565" fmla="*/ 331072 w 760716"/>
                    <a:gd name="connsiteY565" fmla="*/ 60043 h 373040"/>
                    <a:gd name="connsiteX566" fmla="*/ 334599 w 760716"/>
                    <a:gd name="connsiteY566" fmla="*/ 60660 h 373040"/>
                    <a:gd name="connsiteX567" fmla="*/ 337773 w 760716"/>
                    <a:gd name="connsiteY567" fmla="*/ 59514 h 373040"/>
                    <a:gd name="connsiteX568" fmla="*/ 340683 w 760716"/>
                    <a:gd name="connsiteY568" fmla="*/ 58279 h 373040"/>
                    <a:gd name="connsiteX569" fmla="*/ 343857 w 760716"/>
                    <a:gd name="connsiteY569" fmla="*/ 57398 h 373040"/>
                    <a:gd name="connsiteX570" fmla="*/ 345620 w 760716"/>
                    <a:gd name="connsiteY570" fmla="*/ 56251 h 373040"/>
                    <a:gd name="connsiteX571" fmla="*/ 345620 w 760716"/>
                    <a:gd name="connsiteY571" fmla="*/ 54488 h 373040"/>
                    <a:gd name="connsiteX572" fmla="*/ 346237 w 760716"/>
                    <a:gd name="connsiteY572" fmla="*/ 51578 h 373040"/>
                    <a:gd name="connsiteX573" fmla="*/ 348882 w 760716"/>
                    <a:gd name="connsiteY573" fmla="*/ 53342 h 373040"/>
                    <a:gd name="connsiteX574" fmla="*/ 350646 w 760716"/>
                    <a:gd name="connsiteY574" fmla="*/ 51578 h 373040"/>
                    <a:gd name="connsiteX575" fmla="*/ 352674 w 760716"/>
                    <a:gd name="connsiteY575" fmla="*/ 51050 h 373040"/>
                    <a:gd name="connsiteX576" fmla="*/ 357875 w 760716"/>
                    <a:gd name="connsiteY576" fmla="*/ 51931 h 373040"/>
                    <a:gd name="connsiteX577" fmla="*/ 359903 w 760716"/>
                    <a:gd name="connsiteY577" fmla="*/ 51931 h 373040"/>
                    <a:gd name="connsiteX578" fmla="*/ 361402 w 760716"/>
                    <a:gd name="connsiteY578" fmla="*/ 52460 h 373040"/>
                    <a:gd name="connsiteX579" fmla="*/ 364047 w 760716"/>
                    <a:gd name="connsiteY579" fmla="*/ 51931 h 373040"/>
                    <a:gd name="connsiteX580" fmla="*/ 365458 w 760716"/>
                    <a:gd name="connsiteY580" fmla="*/ 52460 h 373040"/>
                    <a:gd name="connsiteX581" fmla="*/ 372159 w 760716"/>
                    <a:gd name="connsiteY581" fmla="*/ 51314 h 373040"/>
                    <a:gd name="connsiteX582" fmla="*/ 374539 w 760716"/>
                    <a:gd name="connsiteY582" fmla="*/ 52196 h 373040"/>
                    <a:gd name="connsiteX583" fmla="*/ 380094 w 760716"/>
                    <a:gd name="connsiteY583" fmla="*/ 51578 h 373040"/>
                    <a:gd name="connsiteX584" fmla="*/ 387676 w 760716"/>
                    <a:gd name="connsiteY584" fmla="*/ 51578 h 373040"/>
                    <a:gd name="connsiteX585" fmla="*/ 387059 w 760716"/>
                    <a:gd name="connsiteY585" fmla="*/ 47787 h 373040"/>
                    <a:gd name="connsiteX586" fmla="*/ 389440 w 760716"/>
                    <a:gd name="connsiteY586" fmla="*/ 48404 h 373040"/>
                    <a:gd name="connsiteX587" fmla="*/ 390321 w 760716"/>
                    <a:gd name="connsiteY587" fmla="*/ 50168 h 373040"/>
                    <a:gd name="connsiteX588" fmla="*/ 396141 w 760716"/>
                    <a:gd name="connsiteY588" fmla="*/ 48140 h 373040"/>
                    <a:gd name="connsiteX589" fmla="*/ 398433 w 760716"/>
                    <a:gd name="connsiteY589" fmla="*/ 46024 h 373040"/>
                    <a:gd name="connsiteX590" fmla="*/ 403106 w 760716"/>
                    <a:gd name="connsiteY590" fmla="*/ 46024 h 373040"/>
                    <a:gd name="connsiteX591" fmla="*/ 406633 w 760716"/>
                    <a:gd name="connsiteY591" fmla="*/ 46377 h 373040"/>
                    <a:gd name="connsiteX592" fmla="*/ 408660 w 760716"/>
                    <a:gd name="connsiteY592" fmla="*/ 44613 h 373040"/>
                    <a:gd name="connsiteX593" fmla="*/ 411306 w 760716"/>
                    <a:gd name="connsiteY593" fmla="*/ 43996 h 373040"/>
                    <a:gd name="connsiteX594" fmla="*/ 411834 w 760716"/>
                    <a:gd name="connsiteY594" fmla="*/ 42850 h 373040"/>
                    <a:gd name="connsiteX595" fmla="*/ 415097 w 760716"/>
                    <a:gd name="connsiteY595" fmla="*/ 40557 h 373040"/>
                    <a:gd name="connsiteX596" fmla="*/ 417742 w 760716"/>
                    <a:gd name="connsiteY596" fmla="*/ 40557 h 373040"/>
                    <a:gd name="connsiteX597" fmla="*/ 419770 w 760716"/>
                    <a:gd name="connsiteY597" fmla="*/ 40205 h 373040"/>
                    <a:gd name="connsiteX598" fmla="*/ 419770 w 760716"/>
                    <a:gd name="connsiteY598" fmla="*/ 37295 h 373040"/>
                    <a:gd name="connsiteX599" fmla="*/ 422944 w 760716"/>
                    <a:gd name="connsiteY599" fmla="*/ 37912 h 373040"/>
                    <a:gd name="connsiteX600" fmla="*/ 426735 w 760716"/>
                    <a:gd name="connsiteY600" fmla="*/ 36414 h 373040"/>
                    <a:gd name="connsiteX601" fmla="*/ 430526 w 760716"/>
                    <a:gd name="connsiteY601" fmla="*/ 35532 h 373040"/>
                    <a:gd name="connsiteX602" fmla="*/ 433436 w 760716"/>
                    <a:gd name="connsiteY602" fmla="*/ 33768 h 373040"/>
                    <a:gd name="connsiteX603" fmla="*/ 435199 w 760716"/>
                    <a:gd name="connsiteY603" fmla="*/ 31476 h 373040"/>
                    <a:gd name="connsiteX604" fmla="*/ 437227 w 760716"/>
                    <a:gd name="connsiteY604" fmla="*/ 31741 h 373040"/>
                    <a:gd name="connsiteX605" fmla="*/ 443399 w 760716"/>
                    <a:gd name="connsiteY605" fmla="*/ 28831 h 373040"/>
                    <a:gd name="connsiteX606" fmla="*/ 445427 w 760716"/>
                    <a:gd name="connsiteY606" fmla="*/ 29448 h 373040"/>
                    <a:gd name="connsiteX607" fmla="*/ 447455 w 760716"/>
                    <a:gd name="connsiteY607" fmla="*/ 28567 h 373040"/>
                    <a:gd name="connsiteX608" fmla="*/ 452127 w 760716"/>
                    <a:gd name="connsiteY608" fmla="*/ 27420 h 373040"/>
                    <a:gd name="connsiteX609" fmla="*/ 454155 w 760716"/>
                    <a:gd name="connsiteY609" fmla="*/ 25921 h 373040"/>
                    <a:gd name="connsiteX610" fmla="*/ 457682 w 760716"/>
                    <a:gd name="connsiteY610" fmla="*/ 25392 h 373040"/>
                    <a:gd name="connsiteX611" fmla="*/ 460327 w 760716"/>
                    <a:gd name="connsiteY611" fmla="*/ 22747 h 373040"/>
                    <a:gd name="connsiteX612" fmla="*/ 466675 w 760716"/>
                    <a:gd name="connsiteY612" fmla="*/ 22747 h 373040"/>
                    <a:gd name="connsiteX613" fmla="*/ 473111 w 760716"/>
                    <a:gd name="connsiteY613" fmla="*/ 23276 h 373040"/>
                    <a:gd name="connsiteX614" fmla="*/ 480077 w 760716"/>
                    <a:gd name="connsiteY614" fmla="*/ 20720 h 373040"/>
                    <a:gd name="connsiteX615" fmla="*/ 483868 w 760716"/>
                    <a:gd name="connsiteY615" fmla="*/ 18956 h 373040"/>
                    <a:gd name="connsiteX616" fmla="*/ 489158 w 760716"/>
                    <a:gd name="connsiteY616" fmla="*/ 18604 h 373040"/>
                    <a:gd name="connsiteX617" fmla="*/ 480694 w 760716"/>
                    <a:gd name="connsiteY617" fmla="*/ 22130 h 373040"/>
                    <a:gd name="connsiteX618" fmla="*/ 484750 w 760716"/>
                    <a:gd name="connsiteY618" fmla="*/ 21249 h 373040"/>
                    <a:gd name="connsiteX619" fmla="*/ 483075 w 760716"/>
                    <a:gd name="connsiteY619" fmla="*/ 24511 h 373040"/>
                    <a:gd name="connsiteX620" fmla="*/ 490922 w 760716"/>
                    <a:gd name="connsiteY620" fmla="*/ 18604 h 373040"/>
                    <a:gd name="connsiteX621" fmla="*/ 500532 w 760716"/>
                    <a:gd name="connsiteY621" fmla="*/ 17810 h 373040"/>
                    <a:gd name="connsiteX622" fmla="*/ 497622 w 760716"/>
                    <a:gd name="connsiteY622" fmla="*/ 16047 h 373040"/>
                    <a:gd name="connsiteX623" fmla="*/ 502031 w 760716"/>
                    <a:gd name="connsiteY623" fmla="*/ 15694 h 373040"/>
                    <a:gd name="connsiteX624" fmla="*/ 504059 w 760716"/>
                    <a:gd name="connsiteY624" fmla="*/ 14019 h 373040"/>
                    <a:gd name="connsiteX625" fmla="*/ 505469 w 760716"/>
                    <a:gd name="connsiteY625" fmla="*/ 12784 h 373040"/>
                    <a:gd name="connsiteX626" fmla="*/ 506351 w 760716"/>
                    <a:gd name="connsiteY626" fmla="*/ 14548 h 373040"/>
                    <a:gd name="connsiteX627" fmla="*/ 512523 w 760716"/>
                    <a:gd name="connsiteY627" fmla="*/ 11903 h 373040"/>
                    <a:gd name="connsiteX628" fmla="*/ 516843 w 760716"/>
                    <a:gd name="connsiteY628" fmla="*/ 10756 h 373040"/>
                    <a:gd name="connsiteX629" fmla="*/ 520634 w 760716"/>
                    <a:gd name="connsiteY629" fmla="*/ 10756 h 373040"/>
                    <a:gd name="connsiteX630" fmla="*/ 523544 w 760716"/>
                    <a:gd name="connsiteY630" fmla="*/ 14019 h 373040"/>
                    <a:gd name="connsiteX631" fmla="*/ 526189 w 760716"/>
                    <a:gd name="connsiteY631" fmla="*/ 13402 h 373040"/>
                    <a:gd name="connsiteX632" fmla="*/ 527952 w 760716"/>
                    <a:gd name="connsiteY632" fmla="*/ 10492 h 373040"/>
                    <a:gd name="connsiteX633" fmla="*/ 532625 w 760716"/>
                    <a:gd name="connsiteY633" fmla="*/ 11021 h 373040"/>
                    <a:gd name="connsiteX634" fmla="*/ 534918 w 760716"/>
                    <a:gd name="connsiteY634" fmla="*/ 13402 h 373040"/>
                    <a:gd name="connsiteX635" fmla="*/ 537034 w 760716"/>
                    <a:gd name="connsiteY635" fmla="*/ 11021 h 373040"/>
                    <a:gd name="connsiteX636" fmla="*/ 539943 w 760716"/>
                    <a:gd name="connsiteY636" fmla="*/ 10492 h 373040"/>
                    <a:gd name="connsiteX637" fmla="*/ 547526 w 760716"/>
                    <a:gd name="connsiteY637" fmla="*/ 11638 h 373040"/>
                    <a:gd name="connsiteX638" fmla="*/ 548407 w 760716"/>
                    <a:gd name="connsiteY638" fmla="*/ 8993 h 373040"/>
                    <a:gd name="connsiteX639" fmla="*/ 551846 w 760716"/>
                    <a:gd name="connsiteY639" fmla="*/ 8729 h 373040"/>
                    <a:gd name="connsiteX640" fmla="*/ 557136 w 760716"/>
                    <a:gd name="connsiteY640" fmla="*/ 8111 h 373040"/>
                    <a:gd name="connsiteX641" fmla="*/ 560310 w 760716"/>
                    <a:gd name="connsiteY641" fmla="*/ 5555 h 373040"/>
                    <a:gd name="connsiteX642" fmla="*/ 565248 w 760716"/>
                    <a:gd name="connsiteY642" fmla="*/ 4320 h 373040"/>
                    <a:gd name="connsiteX643" fmla="*/ 567364 w 760716"/>
                    <a:gd name="connsiteY643" fmla="*/ 2645 h 373040"/>
                    <a:gd name="connsiteX644" fmla="*/ 571684 w 760716"/>
                    <a:gd name="connsiteY644" fmla="*/ 2292 h 373040"/>
                    <a:gd name="connsiteX645" fmla="*/ 576621 w 760716"/>
                    <a:gd name="connsiteY645" fmla="*/ 1146 h 373040"/>
                    <a:gd name="connsiteX646" fmla="*/ 578120 w 760716"/>
                    <a:gd name="connsiteY646" fmla="*/ 0 h 373040"/>
                    <a:gd name="connsiteX647" fmla="*/ 581911 w 760716"/>
                    <a:gd name="connsiteY647" fmla="*/ 0 h 373040"/>
                    <a:gd name="connsiteX648" fmla="*/ 584556 w 760716"/>
                    <a:gd name="connsiteY648" fmla="*/ 529 h 373040"/>
                    <a:gd name="connsiteX649" fmla="*/ 586320 w 760716"/>
                    <a:gd name="connsiteY649" fmla="*/ 1763 h 373040"/>
                    <a:gd name="connsiteX650" fmla="*/ 560927 w 760716"/>
                    <a:gd name="connsiteY650" fmla="*/ 6965 h 373040"/>
                    <a:gd name="connsiteX651" fmla="*/ 560927 w 760716"/>
                    <a:gd name="connsiteY651" fmla="*/ 9346 h 373040"/>
                    <a:gd name="connsiteX652" fmla="*/ 562691 w 760716"/>
                    <a:gd name="connsiteY652" fmla="*/ 8729 h 373040"/>
                    <a:gd name="connsiteX653" fmla="*/ 585085 w 760716"/>
                    <a:gd name="connsiteY653" fmla="*/ 4937 h 373040"/>
                    <a:gd name="connsiteX654" fmla="*/ 581030 w 760716"/>
                    <a:gd name="connsiteY654" fmla="*/ 7847 h 373040"/>
                    <a:gd name="connsiteX655" fmla="*/ 585085 w 760716"/>
                    <a:gd name="connsiteY655" fmla="*/ 5819 h 373040"/>
                    <a:gd name="connsiteX656" fmla="*/ 590111 w 760716"/>
                    <a:gd name="connsiteY656" fmla="*/ 5202 h 373040"/>
                    <a:gd name="connsiteX657" fmla="*/ 595666 w 760716"/>
                    <a:gd name="connsiteY657" fmla="*/ 5202 h 373040"/>
                    <a:gd name="connsiteX658" fmla="*/ 598840 w 760716"/>
                    <a:gd name="connsiteY658" fmla="*/ 5555 h 373040"/>
                    <a:gd name="connsiteX659" fmla="*/ 597693 w 760716"/>
                    <a:gd name="connsiteY659" fmla="*/ 6965 h 373040"/>
                    <a:gd name="connsiteX660" fmla="*/ 597958 w 760716"/>
                    <a:gd name="connsiteY660" fmla="*/ 9610 h 373040"/>
                    <a:gd name="connsiteX661" fmla="*/ 600868 w 760716"/>
                    <a:gd name="connsiteY661" fmla="*/ 8993 h 373040"/>
                    <a:gd name="connsiteX662" fmla="*/ 602895 w 760716"/>
                    <a:gd name="connsiteY662" fmla="*/ 11638 h 373040"/>
                    <a:gd name="connsiteX663" fmla="*/ 606687 w 760716"/>
                    <a:gd name="connsiteY663" fmla="*/ 11903 h 373040"/>
                    <a:gd name="connsiteX664" fmla="*/ 609067 w 760716"/>
                    <a:gd name="connsiteY664" fmla="*/ 11374 h 373040"/>
                    <a:gd name="connsiteX665" fmla="*/ 612241 w 760716"/>
                    <a:gd name="connsiteY665" fmla="*/ 11903 h 373040"/>
                    <a:gd name="connsiteX666" fmla="*/ 615768 w 760716"/>
                    <a:gd name="connsiteY666" fmla="*/ 10492 h 373040"/>
                    <a:gd name="connsiteX667" fmla="*/ 618678 w 760716"/>
                    <a:gd name="connsiteY667" fmla="*/ 10756 h 373040"/>
                    <a:gd name="connsiteX668" fmla="*/ 620970 w 760716"/>
                    <a:gd name="connsiteY668" fmla="*/ 10492 h 373040"/>
                    <a:gd name="connsiteX669" fmla="*/ 626525 w 760716"/>
                    <a:gd name="connsiteY669" fmla="*/ 11021 h 373040"/>
                    <a:gd name="connsiteX670" fmla="*/ 628905 w 760716"/>
                    <a:gd name="connsiteY670" fmla="*/ 11638 h 373040"/>
                    <a:gd name="connsiteX671" fmla="*/ 629434 w 760716"/>
                    <a:gd name="connsiteY671" fmla="*/ 13137 h 373040"/>
                    <a:gd name="connsiteX672" fmla="*/ 619824 w 760716"/>
                    <a:gd name="connsiteY672" fmla="*/ 11903 h 373040"/>
                    <a:gd name="connsiteX673" fmla="*/ 625995 w 760716"/>
                    <a:gd name="connsiteY673" fmla="*/ 14812 h 373040"/>
                    <a:gd name="connsiteX674" fmla="*/ 614886 w 760716"/>
                    <a:gd name="connsiteY674" fmla="*/ 16928 h 373040"/>
                    <a:gd name="connsiteX675" fmla="*/ 619824 w 760716"/>
                    <a:gd name="connsiteY675" fmla="*/ 17457 h 373040"/>
                    <a:gd name="connsiteX676" fmla="*/ 624761 w 760716"/>
                    <a:gd name="connsiteY676" fmla="*/ 17457 h 373040"/>
                    <a:gd name="connsiteX677" fmla="*/ 625995 w 760716"/>
                    <a:gd name="connsiteY677" fmla="*/ 19221 h 373040"/>
                    <a:gd name="connsiteX678" fmla="*/ 627671 w 760716"/>
                    <a:gd name="connsiteY678" fmla="*/ 18074 h 373040"/>
                    <a:gd name="connsiteX679" fmla="*/ 631197 w 760716"/>
                    <a:gd name="connsiteY679" fmla="*/ 19838 h 373040"/>
                    <a:gd name="connsiteX680" fmla="*/ 633225 w 760716"/>
                    <a:gd name="connsiteY680" fmla="*/ 18604 h 373040"/>
                    <a:gd name="connsiteX681" fmla="*/ 636752 w 760716"/>
                    <a:gd name="connsiteY681" fmla="*/ 20102 h 373040"/>
                    <a:gd name="connsiteX682" fmla="*/ 641160 w 760716"/>
                    <a:gd name="connsiteY682" fmla="*/ 19838 h 373040"/>
                    <a:gd name="connsiteX683" fmla="*/ 642571 w 760716"/>
                    <a:gd name="connsiteY683" fmla="*/ 18339 h 373040"/>
                    <a:gd name="connsiteX684" fmla="*/ 647861 w 760716"/>
                    <a:gd name="connsiteY684" fmla="*/ 18604 h 373040"/>
                    <a:gd name="connsiteX685" fmla="*/ 652181 w 760716"/>
                    <a:gd name="connsiteY685" fmla="*/ 20720 h 373040"/>
                    <a:gd name="connsiteX686" fmla="*/ 653680 w 760716"/>
                    <a:gd name="connsiteY686" fmla="*/ 18074 h 373040"/>
                    <a:gd name="connsiteX687" fmla="*/ 659764 w 760716"/>
                    <a:gd name="connsiteY687" fmla="*/ 20720 h 373040"/>
                    <a:gd name="connsiteX688" fmla="*/ 661792 w 760716"/>
                    <a:gd name="connsiteY688" fmla="*/ 16576 h 373040"/>
                    <a:gd name="connsiteX689" fmla="*/ 666200 w 760716"/>
                    <a:gd name="connsiteY689" fmla="*/ 18339 h 373040"/>
                    <a:gd name="connsiteX690" fmla="*/ 667964 w 760716"/>
                    <a:gd name="connsiteY690" fmla="*/ 18339 h 373040"/>
                    <a:gd name="connsiteX691" fmla="*/ 671138 w 760716"/>
                    <a:gd name="connsiteY691" fmla="*/ 21601 h 373040"/>
                    <a:gd name="connsiteX692" fmla="*/ 676957 w 760716"/>
                    <a:gd name="connsiteY692" fmla="*/ 22395 h 373040"/>
                    <a:gd name="connsiteX693" fmla="*/ 677574 w 760716"/>
                    <a:gd name="connsiteY693" fmla="*/ 25040 h 373040"/>
                    <a:gd name="connsiteX694" fmla="*/ 681101 w 760716"/>
                    <a:gd name="connsiteY694" fmla="*/ 22395 h 373040"/>
                    <a:gd name="connsiteX695" fmla="*/ 682864 w 760716"/>
                    <a:gd name="connsiteY695" fmla="*/ 27685 h 373040"/>
                    <a:gd name="connsiteX696" fmla="*/ 687537 w 760716"/>
                    <a:gd name="connsiteY696" fmla="*/ 25392 h 373040"/>
                    <a:gd name="connsiteX697" fmla="*/ 690711 w 760716"/>
                    <a:gd name="connsiteY697" fmla="*/ 26803 h 373040"/>
                    <a:gd name="connsiteX698" fmla="*/ 694767 w 760716"/>
                    <a:gd name="connsiteY698" fmla="*/ 24775 h 373040"/>
                    <a:gd name="connsiteX699" fmla="*/ 701820 w 760716"/>
                    <a:gd name="connsiteY699" fmla="*/ 25392 h 373040"/>
                    <a:gd name="connsiteX700" fmla="*/ 708786 w 760716"/>
                    <a:gd name="connsiteY700" fmla="*/ 26539 h 373040"/>
                    <a:gd name="connsiteX701" fmla="*/ 709667 w 760716"/>
                    <a:gd name="connsiteY701" fmla="*/ 29448 h 373040"/>
                    <a:gd name="connsiteX702" fmla="*/ 716721 w 760716"/>
                    <a:gd name="connsiteY702" fmla="*/ 30065 h 373040"/>
                    <a:gd name="connsiteX703" fmla="*/ 719630 w 760716"/>
                    <a:gd name="connsiteY703" fmla="*/ 31741 h 373040"/>
                    <a:gd name="connsiteX704" fmla="*/ 723951 w 760716"/>
                    <a:gd name="connsiteY704" fmla="*/ 31212 h 373040"/>
                    <a:gd name="connsiteX705" fmla="*/ 727213 w 760716"/>
                    <a:gd name="connsiteY705" fmla="*/ 28831 h 373040"/>
                    <a:gd name="connsiteX706" fmla="*/ 731533 w 760716"/>
                    <a:gd name="connsiteY706" fmla="*/ 27685 h 373040"/>
                    <a:gd name="connsiteX707" fmla="*/ 733296 w 760716"/>
                    <a:gd name="connsiteY707" fmla="*/ 30859 h 373040"/>
                    <a:gd name="connsiteX708" fmla="*/ 735677 w 760716"/>
                    <a:gd name="connsiteY708" fmla="*/ 27949 h 373040"/>
                    <a:gd name="connsiteX709" fmla="*/ 738234 w 760716"/>
                    <a:gd name="connsiteY709" fmla="*/ 29448 h 373040"/>
                    <a:gd name="connsiteX710" fmla="*/ 742378 w 760716"/>
                    <a:gd name="connsiteY710" fmla="*/ 28567 h 373040"/>
                    <a:gd name="connsiteX711" fmla="*/ 745816 w 760716"/>
                    <a:gd name="connsiteY711" fmla="*/ 27068 h 373040"/>
                    <a:gd name="connsiteX712" fmla="*/ 748197 w 760716"/>
                    <a:gd name="connsiteY712" fmla="*/ 27685 h 373040"/>
                    <a:gd name="connsiteX713" fmla="*/ 748461 w 760716"/>
                    <a:gd name="connsiteY713" fmla="*/ 30330 h 373040"/>
                    <a:gd name="connsiteX714" fmla="*/ 753399 w 760716"/>
                    <a:gd name="connsiteY714" fmla="*/ 30065 h 373040"/>
                    <a:gd name="connsiteX715" fmla="*/ 756308 w 760716"/>
                    <a:gd name="connsiteY715" fmla="*/ 29713 h 373040"/>
                    <a:gd name="connsiteX716" fmla="*/ 758072 w 760716"/>
                    <a:gd name="connsiteY716" fmla="*/ 32093 h 373040"/>
                    <a:gd name="connsiteX717" fmla="*/ 757807 w 760716"/>
                    <a:gd name="connsiteY717" fmla="*/ 36414 h 373040"/>
                    <a:gd name="connsiteX718" fmla="*/ 760717 w 760716"/>
                    <a:gd name="connsiteY718" fmla="*/ 37031 h 373040"/>
                    <a:gd name="connsiteX719" fmla="*/ 738234 w 760716"/>
                    <a:gd name="connsiteY719" fmla="*/ 55105 h 373040"/>
                    <a:gd name="connsiteX720" fmla="*/ 722540 w 760716"/>
                    <a:gd name="connsiteY720" fmla="*/ 68242 h 373040"/>
                    <a:gd name="connsiteX721" fmla="*/ 580501 w 760716"/>
                    <a:gd name="connsiteY721" fmla="*/ 193353 h 373040"/>
                    <a:gd name="connsiteX722" fmla="*/ 543734 w 760716"/>
                    <a:gd name="connsiteY722" fmla="*/ 228092 h 373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</a:cxnLst>
                  <a:rect l="l" t="t" r="r" b="b"/>
                  <a:pathLst>
                    <a:path w="760716" h="373040">
                      <a:moveTo>
                        <a:pt x="530245" y="241141"/>
                      </a:moveTo>
                      <a:lnTo>
                        <a:pt x="538180" y="241493"/>
                      </a:lnTo>
                      <a:lnTo>
                        <a:pt x="541354" y="239465"/>
                      </a:lnTo>
                      <a:lnTo>
                        <a:pt x="545498" y="242639"/>
                      </a:lnTo>
                      <a:lnTo>
                        <a:pt x="555637" y="238848"/>
                      </a:lnTo>
                      <a:lnTo>
                        <a:pt x="566746" y="238584"/>
                      </a:lnTo>
                      <a:lnTo>
                        <a:pt x="558547" y="244403"/>
                      </a:lnTo>
                      <a:lnTo>
                        <a:pt x="558018" y="244932"/>
                      </a:lnTo>
                      <a:lnTo>
                        <a:pt x="557665" y="244932"/>
                      </a:lnTo>
                      <a:lnTo>
                        <a:pt x="557665" y="245902"/>
                      </a:lnTo>
                      <a:lnTo>
                        <a:pt x="562691" y="248811"/>
                      </a:lnTo>
                      <a:lnTo>
                        <a:pt x="560310" y="251985"/>
                      </a:lnTo>
                      <a:lnTo>
                        <a:pt x="561456" y="262742"/>
                      </a:lnTo>
                      <a:lnTo>
                        <a:pt x="566746" y="264241"/>
                      </a:lnTo>
                      <a:lnTo>
                        <a:pt x="567893" y="263094"/>
                      </a:lnTo>
                      <a:lnTo>
                        <a:pt x="569656" y="263359"/>
                      </a:lnTo>
                      <a:lnTo>
                        <a:pt x="572565" y="262477"/>
                      </a:lnTo>
                      <a:lnTo>
                        <a:pt x="575211" y="260978"/>
                      </a:lnTo>
                      <a:lnTo>
                        <a:pt x="579266" y="262742"/>
                      </a:lnTo>
                      <a:lnTo>
                        <a:pt x="582793" y="262742"/>
                      </a:lnTo>
                      <a:lnTo>
                        <a:pt x="585967" y="262213"/>
                      </a:lnTo>
                      <a:lnTo>
                        <a:pt x="590111" y="258422"/>
                      </a:lnTo>
                      <a:lnTo>
                        <a:pt x="592668" y="256923"/>
                      </a:lnTo>
                      <a:lnTo>
                        <a:pt x="594431" y="257187"/>
                      </a:lnTo>
                      <a:lnTo>
                        <a:pt x="597341" y="257187"/>
                      </a:lnTo>
                      <a:lnTo>
                        <a:pt x="598222" y="256394"/>
                      </a:lnTo>
                      <a:lnTo>
                        <a:pt x="602631" y="255776"/>
                      </a:lnTo>
                      <a:lnTo>
                        <a:pt x="602014" y="258950"/>
                      </a:lnTo>
                      <a:lnTo>
                        <a:pt x="601749" y="264505"/>
                      </a:lnTo>
                      <a:lnTo>
                        <a:pt x="599721" y="272088"/>
                      </a:lnTo>
                      <a:lnTo>
                        <a:pt x="594431" y="277642"/>
                      </a:lnTo>
                      <a:lnTo>
                        <a:pt x="591257" y="286106"/>
                      </a:lnTo>
                      <a:lnTo>
                        <a:pt x="585703" y="287870"/>
                      </a:lnTo>
                      <a:lnTo>
                        <a:pt x="588083" y="282580"/>
                      </a:lnTo>
                      <a:lnTo>
                        <a:pt x="585703" y="285225"/>
                      </a:lnTo>
                      <a:lnTo>
                        <a:pt x="578120" y="284960"/>
                      </a:lnTo>
                      <a:lnTo>
                        <a:pt x="581911" y="280287"/>
                      </a:lnTo>
                      <a:lnTo>
                        <a:pt x="585085" y="274997"/>
                      </a:lnTo>
                      <a:lnTo>
                        <a:pt x="588083" y="274733"/>
                      </a:lnTo>
                      <a:lnTo>
                        <a:pt x="586320" y="274115"/>
                      </a:lnTo>
                      <a:lnTo>
                        <a:pt x="588612" y="269795"/>
                      </a:lnTo>
                      <a:lnTo>
                        <a:pt x="580501" y="276496"/>
                      </a:lnTo>
                      <a:lnTo>
                        <a:pt x="581030" y="271206"/>
                      </a:lnTo>
                      <a:lnTo>
                        <a:pt x="578120" y="270324"/>
                      </a:lnTo>
                      <a:lnTo>
                        <a:pt x="576357" y="273234"/>
                      </a:lnTo>
                      <a:lnTo>
                        <a:pt x="573183" y="268914"/>
                      </a:lnTo>
                      <a:lnTo>
                        <a:pt x="572918" y="272088"/>
                      </a:lnTo>
                      <a:lnTo>
                        <a:pt x="569039" y="272969"/>
                      </a:lnTo>
                      <a:lnTo>
                        <a:pt x="565865" y="271823"/>
                      </a:lnTo>
                      <a:lnTo>
                        <a:pt x="566129" y="274997"/>
                      </a:lnTo>
                      <a:lnTo>
                        <a:pt x="569920" y="275614"/>
                      </a:lnTo>
                      <a:lnTo>
                        <a:pt x="576621" y="274468"/>
                      </a:lnTo>
                      <a:lnTo>
                        <a:pt x="576621" y="277378"/>
                      </a:lnTo>
                      <a:lnTo>
                        <a:pt x="575211" y="278788"/>
                      </a:lnTo>
                      <a:lnTo>
                        <a:pt x="577503" y="278259"/>
                      </a:lnTo>
                      <a:lnTo>
                        <a:pt x="578385" y="281698"/>
                      </a:lnTo>
                      <a:lnTo>
                        <a:pt x="574329" y="285842"/>
                      </a:lnTo>
                      <a:lnTo>
                        <a:pt x="569039" y="283461"/>
                      </a:lnTo>
                      <a:lnTo>
                        <a:pt x="567893" y="285489"/>
                      </a:lnTo>
                      <a:lnTo>
                        <a:pt x="565248" y="285225"/>
                      </a:lnTo>
                      <a:lnTo>
                        <a:pt x="561456" y="288751"/>
                      </a:lnTo>
                      <a:lnTo>
                        <a:pt x="558018" y="286371"/>
                      </a:lnTo>
                      <a:lnTo>
                        <a:pt x="557665" y="284343"/>
                      </a:lnTo>
                      <a:lnTo>
                        <a:pt x="556254" y="279053"/>
                      </a:lnTo>
                      <a:lnTo>
                        <a:pt x="553874" y="276761"/>
                      </a:lnTo>
                      <a:lnTo>
                        <a:pt x="552992" y="273586"/>
                      </a:lnTo>
                      <a:lnTo>
                        <a:pt x="560575" y="274115"/>
                      </a:lnTo>
                      <a:lnTo>
                        <a:pt x="560927" y="270941"/>
                      </a:lnTo>
                      <a:lnTo>
                        <a:pt x="561192" y="266268"/>
                      </a:lnTo>
                      <a:lnTo>
                        <a:pt x="557136" y="266004"/>
                      </a:lnTo>
                      <a:lnTo>
                        <a:pt x="551581" y="266268"/>
                      </a:lnTo>
                      <a:lnTo>
                        <a:pt x="548407" y="266268"/>
                      </a:lnTo>
                      <a:lnTo>
                        <a:pt x="546644" y="267415"/>
                      </a:lnTo>
                      <a:lnTo>
                        <a:pt x="541618" y="263623"/>
                      </a:lnTo>
                      <a:lnTo>
                        <a:pt x="541971" y="261860"/>
                      </a:lnTo>
                      <a:lnTo>
                        <a:pt x="539326" y="261860"/>
                      </a:lnTo>
                      <a:lnTo>
                        <a:pt x="534653" y="258422"/>
                      </a:lnTo>
                      <a:lnTo>
                        <a:pt x="538709" y="256658"/>
                      </a:lnTo>
                      <a:lnTo>
                        <a:pt x="540825" y="256394"/>
                      </a:lnTo>
                      <a:lnTo>
                        <a:pt x="545145" y="254630"/>
                      </a:lnTo>
                      <a:lnTo>
                        <a:pt x="546291" y="253484"/>
                      </a:lnTo>
                      <a:lnTo>
                        <a:pt x="545145" y="257540"/>
                      </a:lnTo>
                      <a:lnTo>
                        <a:pt x="548936" y="255159"/>
                      </a:lnTo>
                      <a:lnTo>
                        <a:pt x="551317" y="251368"/>
                      </a:lnTo>
                      <a:lnTo>
                        <a:pt x="557401" y="252250"/>
                      </a:lnTo>
                      <a:lnTo>
                        <a:pt x="556783" y="249076"/>
                      </a:lnTo>
                      <a:lnTo>
                        <a:pt x="552728" y="246431"/>
                      </a:lnTo>
                      <a:lnTo>
                        <a:pt x="549289" y="247929"/>
                      </a:lnTo>
                      <a:lnTo>
                        <a:pt x="542500" y="250839"/>
                      </a:lnTo>
                      <a:lnTo>
                        <a:pt x="535799" y="254278"/>
                      </a:lnTo>
                      <a:lnTo>
                        <a:pt x="528834" y="254630"/>
                      </a:lnTo>
                      <a:lnTo>
                        <a:pt x="525924" y="255159"/>
                      </a:lnTo>
                      <a:lnTo>
                        <a:pt x="522133" y="252250"/>
                      </a:lnTo>
                      <a:lnTo>
                        <a:pt x="514198" y="250222"/>
                      </a:lnTo>
                      <a:lnTo>
                        <a:pt x="521516" y="244403"/>
                      </a:lnTo>
                      <a:lnTo>
                        <a:pt x="511288" y="248811"/>
                      </a:lnTo>
                      <a:lnTo>
                        <a:pt x="502912" y="245902"/>
                      </a:lnTo>
                      <a:lnTo>
                        <a:pt x="497887" y="244932"/>
                      </a:lnTo>
                      <a:lnTo>
                        <a:pt x="490657" y="246431"/>
                      </a:lnTo>
                      <a:lnTo>
                        <a:pt x="487130" y="246166"/>
                      </a:lnTo>
                      <a:lnTo>
                        <a:pt x="482193" y="246166"/>
                      </a:lnTo>
                      <a:lnTo>
                        <a:pt x="473376" y="246695"/>
                      </a:lnTo>
                      <a:lnTo>
                        <a:pt x="473993" y="242904"/>
                      </a:lnTo>
                      <a:lnTo>
                        <a:pt x="469056" y="242022"/>
                      </a:lnTo>
                      <a:lnTo>
                        <a:pt x="463501" y="240612"/>
                      </a:lnTo>
                      <a:lnTo>
                        <a:pt x="461738" y="238231"/>
                      </a:lnTo>
                      <a:lnTo>
                        <a:pt x="456448" y="239730"/>
                      </a:lnTo>
                      <a:lnTo>
                        <a:pt x="450981" y="239465"/>
                      </a:lnTo>
                      <a:lnTo>
                        <a:pt x="439872" y="241141"/>
                      </a:lnTo>
                      <a:lnTo>
                        <a:pt x="434582" y="239465"/>
                      </a:lnTo>
                      <a:lnTo>
                        <a:pt x="440137" y="236820"/>
                      </a:lnTo>
                      <a:lnTo>
                        <a:pt x="444809" y="237966"/>
                      </a:lnTo>
                      <a:lnTo>
                        <a:pt x="448072" y="236556"/>
                      </a:lnTo>
                      <a:lnTo>
                        <a:pt x="452127" y="233911"/>
                      </a:lnTo>
                      <a:lnTo>
                        <a:pt x="448336" y="233294"/>
                      </a:lnTo>
                      <a:lnTo>
                        <a:pt x="456183" y="229238"/>
                      </a:lnTo>
                      <a:lnTo>
                        <a:pt x="448336" y="230384"/>
                      </a:lnTo>
                      <a:lnTo>
                        <a:pt x="456183" y="228621"/>
                      </a:lnTo>
                      <a:lnTo>
                        <a:pt x="446573" y="227474"/>
                      </a:lnTo>
                      <a:lnTo>
                        <a:pt x="454420" y="224829"/>
                      </a:lnTo>
                      <a:lnTo>
                        <a:pt x="459710" y="221920"/>
                      </a:lnTo>
                      <a:lnTo>
                        <a:pt x="443046" y="226328"/>
                      </a:lnTo>
                      <a:lnTo>
                        <a:pt x="441018" y="224565"/>
                      </a:lnTo>
                      <a:lnTo>
                        <a:pt x="439255" y="228092"/>
                      </a:lnTo>
                      <a:lnTo>
                        <a:pt x="438109" y="228885"/>
                      </a:lnTo>
                      <a:lnTo>
                        <a:pt x="431672" y="229502"/>
                      </a:lnTo>
                      <a:lnTo>
                        <a:pt x="426735" y="231001"/>
                      </a:lnTo>
                      <a:lnTo>
                        <a:pt x="423208" y="230648"/>
                      </a:lnTo>
                      <a:lnTo>
                        <a:pt x="414744" y="232412"/>
                      </a:lnTo>
                      <a:lnTo>
                        <a:pt x="422062" y="235057"/>
                      </a:lnTo>
                      <a:lnTo>
                        <a:pt x="424090" y="235939"/>
                      </a:lnTo>
                      <a:lnTo>
                        <a:pt x="430791" y="237437"/>
                      </a:lnTo>
                      <a:lnTo>
                        <a:pt x="428234" y="241758"/>
                      </a:lnTo>
                      <a:lnTo>
                        <a:pt x="428763" y="245549"/>
                      </a:lnTo>
                      <a:lnTo>
                        <a:pt x="422062" y="247048"/>
                      </a:lnTo>
                      <a:lnTo>
                        <a:pt x="418006" y="250222"/>
                      </a:lnTo>
                      <a:lnTo>
                        <a:pt x="412716" y="249605"/>
                      </a:lnTo>
                      <a:lnTo>
                        <a:pt x="412187" y="249076"/>
                      </a:lnTo>
                      <a:lnTo>
                        <a:pt x="406633" y="251104"/>
                      </a:lnTo>
                      <a:lnTo>
                        <a:pt x="403106" y="251368"/>
                      </a:lnTo>
                      <a:lnTo>
                        <a:pt x="402489" y="249340"/>
                      </a:lnTo>
                      <a:lnTo>
                        <a:pt x="399050" y="247048"/>
                      </a:lnTo>
                      <a:lnTo>
                        <a:pt x="397551" y="250222"/>
                      </a:lnTo>
                      <a:lnTo>
                        <a:pt x="393231" y="249076"/>
                      </a:lnTo>
                      <a:lnTo>
                        <a:pt x="389704" y="247929"/>
                      </a:lnTo>
                      <a:lnTo>
                        <a:pt x="385648" y="249957"/>
                      </a:lnTo>
                      <a:lnTo>
                        <a:pt x="381505" y="250486"/>
                      </a:lnTo>
                      <a:lnTo>
                        <a:pt x="376832" y="250486"/>
                      </a:lnTo>
                      <a:lnTo>
                        <a:pt x="374539" y="254013"/>
                      </a:lnTo>
                      <a:lnTo>
                        <a:pt x="368103" y="256923"/>
                      </a:lnTo>
                      <a:lnTo>
                        <a:pt x="366075" y="256041"/>
                      </a:lnTo>
                      <a:lnTo>
                        <a:pt x="360256" y="258422"/>
                      </a:lnTo>
                      <a:lnTo>
                        <a:pt x="354084" y="259568"/>
                      </a:lnTo>
                      <a:lnTo>
                        <a:pt x="351175" y="262742"/>
                      </a:lnTo>
                      <a:lnTo>
                        <a:pt x="348530" y="261331"/>
                      </a:lnTo>
                      <a:lnTo>
                        <a:pt x="342711" y="263359"/>
                      </a:lnTo>
                      <a:lnTo>
                        <a:pt x="340065" y="263094"/>
                      </a:lnTo>
                      <a:lnTo>
                        <a:pt x="335128" y="265122"/>
                      </a:lnTo>
                      <a:lnTo>
                        <a:pt x="325253" y="266533"/>
                      </a:lnTo>
                      <a:lnTo>
                        <a:pt x="321991" y="266004"/>
                      </a:lnTo>
                      <a:lnTo>
                        <a:pt x="317671" y="266004"/>
                      </a:lnTo>
                      <a:lnTo>
                        <a:pt x="321726" y="262742"/>
                      </a:lnTo>
                      <a:lnTo>
                        <a:pt x="325253" y="259832"/>
                      </a:lnTo>
                      <a:lnTo>
                        <a:pt x="330191" y="260185"/>
                      </a:lnTo>
                      <a:lnTo>
                        <a:pt x="334246" y="256923"/>
                      </a:lnTo>
                      <a:lnTo>
                        <a:pt x="336010" y="254013"/>
                      </a:lnTo>
                      <a:lnTo>
                        <a:pt x="339272" y="249076"/>
                      </a:lnTo>
                      <a:lnTo>
                        <a:pt x="347383" y="246431"/>
                      </a:lnTo>
                      <a:lnTo>
                        <a:pt x="350293" y="242639"/>
                      </a:lnTo>
                      <a:lnTo>
                        <a:pt x="351792" y="242022"/>
                      </a:lnTo>
                      <a:lnTo>
                        <a:pt x="353820" y="238848"/>
                      </a:lnTo>
                      <a:lnTo>
                        <a:pt x="359374" y="237085"/>
                      </a:lnTo>
                      <a:lnTo>
                        <a:pt x="363166" y="235057"/>
                      </a:lnTo>
                      <a:lnTo>
                        <a:pt x="365811" y="231266"/>
                      </a:lnTo>
                      <a:lnTo>
                        <a:pt x="373393" y="232412"/>
                      </a:lnTo>
                      <a:lnTo>
                        <a:pt x="377713" y="228621"/>
                      </a:lnTo>
                      <a:lnTo>
                        <a:pt x="380094" y="226593"/>
                      </a:lnTo>
                      <a:lnTo>
                        <a:pt x="384414" y="226857"/>
                      </a:lnTo>
                      <a:lnTo>
                        <a:pt x="388558" y="227210"/>
                      </a:lnTo>
                      <a:lnTo>
                        <a:pt x="394642" y="226593"/>
                      </a:lnTo>
                      <a:lnTo>
                        <a:pt x="396141" y="225094"/>
                      </a:lnTo>
                      <a:lnTo>
                        <a:pt x="396141" y="223066"/>
                      </a:lnTo>
                      <a:lnTo>
                        <a:pt x="394642" y="221391"/>
                      </a:lnTo>
                      <a:lnTo>
                        <a:pt x="398697" y="222184"/>
                      </a:lnTo>
                      <a:lnTo>
                        <a:pt x="404252" y="219010"/>
                      </a:lnTo>
                      <a:lnTo>
                        <a:pt x="408925" y="214337"/>
                      </a:lnTo>
                      <a:lnTo>
                        <a:pt x="397816" y="219627"/>
                      </a:lnTo>
                      <a:lnTo>
                        <a:pt x="389969" y="219275"/>
                      </a:lnTo>
                      <a:lnTo>
                        <a:pt x="391468" y="216718"/>
                      </a:lnTo>
                      <a:lnTo>
                        <a:pt x="382122" y="220509"/>
                      </a:lnTo>
                      <a:lnTo>
                        <a:pt x="378860" y="222184"/>
                      </a:lnTo>
                      <a:lnTo>
                        <a:pt x="368103" y="223683"/>
                      </a:lnTo>
                      <a:lnTo>
                        <a:pt x="359374" y="226857"/>
                      </a:lnTo>
                      <a:lnTo>
                        <a:pt x="358228" y="231001"/>
                      </a:lnTo>
                      <a:lnTo>
                        <a:pt x="354701" y="231266"/>
                      </a:lnTo>
                      <a:lnTo>
                        <a:pt x="347736" y="232412"/>
                      </a:lnTo>
                      <a:lnTo>
                        <a:pt x="345356" y="234440"/>
                      </a:lnTo>
                      <a:lnTo>
                        <a:pt x="343857" y="237085"/>
                      </a:lnTo>
                      <a:lnTo>
                        <a:pt x="338038" y="239113"/>
                      </a:lnTo>
                      <a:lnTo>
                        <a:pt x="331689" y="241141"/>
                      </a:lnTo>
                      <a:lnTo>
                        <a:pt x="327898" y="247577"/>
                      </a:lnTo>
                      <a:lnTo>
                        <a:pt x="323754" y="245902"/>
                      </a:lnTo>
                      <a:lnTo>
                        <a:pt x="317406" y="249340"/>
                      </a:lnTo>
                      <a:lnTo>
                        <a:pt x="316172" y="251721"/>
                      </a:lnTo>
                      <a:lnTo>
                        <a:pt x="309471" y="253749"/>
                      </a:lnTo>
                      <a:lnTo>
                        <a:pt x="301624" y="255512"/>
                      </a:lnTo>
                      <a:lnTo>
                        <a:pt x="297833" y="255512"/>
                      </a:lnTo>
                      <a:lnTo>
                        <a:pt x="300742" y="252602"/>
                      </a:lnTo>
                      <a:lnTo>
                        <a:pt x="292543" y="260185"/>
                      </a:lnTo>
                      <a:lnTo>
                        <a:pt x="287870" y="262742"/>
                      </a:lnTo>
                      <a:lnTo>
                        <a:pt x="280287" y="263094"/>
                      </a:lnTo>
                      <a:lnTo>
                        <a:pt x="274821" y="267767"/>
                      </a:lnTo>
                      <a:lnTo>
                        <a:pt x="270148" y="267150"/>
                      </a:lnTo>
                      <a:lnTo>
                        <a:pt x="270412" y="270060"/>
                      </a:lnTo>
                      <a:lnTo>
                        <a:pt x="277378" y="271206"/>
                      </a:lnTo>
                      <a:lnTo>
                        <a:pt x="280904" y="269443"/>
                      </a:lnTo>
                      <a:lnTo>
                        <a:pt x="285842" y="268914"/>
                      </a:lnTo>
                      <a:lnTo>
                        <a:pt x="289633" y="270677"/>
                      </a:lnTo>
                      <a:lnTo>
                        <a:pt x="286988" y="273851"/>
                      </a:lnTo>
                      <a:lnTo>
                        <a:pt x="279406" y="274468"/>
                      </a:lnTo>
                      <a:lnTo>
                        <a:pt x="276232" y="277025"/>
                      </a:lnTo>
                      <a:lnTo>
                        <a:pt x="273586" y="278524"/>
                      </a:lnTo>
                      <a:lnTo>
                        <a:pt x="267767" y="282580"/>
                      </a:lnTo>
                      <a:lnTo>
                        <a:pt x="259568" y="284078"/>
                      </a:lnTo>
                      <a:lnTo>
                        <a:pt x="254630" y="286988"/>
                      </a:lnTo>
                      <a:lnTo>
                        <a:pt x="253749" y="289016"/>
                      </a:lnTo>
                      <a:lnTo>
                        <a:pt x="250839" y="286988"/>
                      </a:lnTo>
                      <a:lnTo>
                        <a:pt x="245284" y="290515"/>
                      </a:lnTo>
                      <a:lnTo>
                        <a:pt x="240612" y="292543"/>
                      </a:lnTo>
                      <a:lnTo>
                        <a:pt x="235939" y="293072"/>
                      </a:lnTo>
                      <a:lnTo>
                        <a:pt x="233029" y="293424"/>
                      </a:lnTo>
                      <a:lnTo>
                        <a:pt x="227210" y="296863"/>
                      </a:lnTo>
                      <a:lnTo>
                        <a:pt x="222890" y="298097"/>
                      </a:lnTo>
                      <a:lnTo>
                        <a:pt x="222272" y="298891"/>
                      </a:lnTo>
                      <a:lnTo>
                        <a:pt x="215836" y="299773"/>
                      </a:lnTo>
                      <a:lnTo>
                        <a:pt x="211780" y="302770"/>
                      </a:lnTo>
                      <a:lnTo>
                        <a:pt x="210017" y="304445"/>
                      </a:lnTo>
                      <a:lnTo>
                        <a:pt x="203581" y="303916"/>
                      </a:lnTo>
                      <a:lnTo>
                        <a:pt x="198026" y="303299"/>
                      </a:lnTo>
                      <a:lnTo>
                        <a:pt x="198643" y="303564"/>
                      </a:lnTo>
                      <a:lnTo>
                        <a:pt x="195469" y="306826"/>
                      </a:lnTo>
                      <a:lnTo>
                        <a:pt x="191943" y="308854"/>
                      </a:lnTo>
                      <a:lnTo>
                        <a:pt x="183743" y="309471"/>
                      </a:lnTo>
                      <a:lnTo>
                        <a:pt x="183214" y="315290"/>
                      </a:lnTo>
                      <a:lnTo>
                        <a:pt x="177042" y="316701"/>
                      </a:lnTo>
                      <a:lnTo>
                        <a:pt x="174750" y="317318"/>
                      </a:lnTo>
                      <a:lnTo>
                        <a:pt x="172369" y="315819"/>
                      </a:lnTo>
                      <a:lnTo>
                        <a:pt x="166815" y="319081"/>
                      </a:lnTo>
                      <a:lnTo>
                        <a:pt x="164522" y="322255"/>
                      </a:lnTo>
                      <a:lnTo>
                        <a:pt x="161877" y="321374"/>
                      </a:lnTo>
                      <a:lnTo>
                        <a:pt x="157557" y="322255"/>
                      </a:lnTo>
                      <a:lnTo>
                        <a:pt x="155441" y="320492"/>
                      </a:lnTo>
                      <a:lnTo>
                        <a:pt x="153766" y="322520"/>
                      </a:lnTo>
                      <a:lnTo>
                        <a:pt x="149093" y="325782"/>
                      </a:lnTo>
                      <a:lnTo>
                        <a:pt x="147065" y="325429"/>
                      </a:lnTo>
                      <a:lnTo>
                        <a:pt x="144684" y="324283"/>
                      </a:lnTo>
                      <a:lnTo>
                        <a:pt x="143538" y="324636"/>
                      </a:lnTo>
                      <a:lnTo>
                        <a:pt x="140893" y="324900"/>
                      </a:lnTo>
                      <a:lnTo>
                        <a:pt x="135603" y="326928"/>
                      </a:lnTo>
                      <a:lnTo>
                        <a:pt x="137719" y="329309"/>
                      </a:lnTo>
                      <a:lnTo>
                        <a:pt x="127756" y="329573"/>
                      </a:lnTo>
                      <a:lnTo>
                        <a:pt x="119027" y="333982"/>
                      </a:lnTo>
                      <a:lnTo>
                        <a:pt x="127491" y="334775"/>
                      </a:lnTo>
                      <a:lnTo>
                        <a:pt x="120791" y="336274"/>
                      </a:lnTo>
                      <a:lnTo>
                        <a:pt x="116118" y="340330"/>
                      </a:lnTo>
                      <a:lnTo>
                        <a:pt x="116999" y="336010"/>
                      </a:lnTo>
                      <a:lnTo>
                        <a:pt x="110563" y="341212"/>
                      </a:lnTo>
                      <a:lnTo>
                        <a:pt x="109417" y="339801"/>
                      </a:lnTo>
                      <a:lnTo>
                        <a:pt x="108271" y="341829"/>
                      </a:lnTo>
                      <a:lnTo>
                        <a:pt x="103862" y="344121"/>
                      </a:lnTo>
                      <a:lnTo>
                        <a:pt x="98925" y="343857"/>
                      </a:lnTo>
                      <a:lnTo>
                        <a:pt x="94781" y="348794"/>
                      </a:lnTo>
                      <a:lnTo>
                        <a:pt x="92753" y="347912"/>
                      </a:lnTo>
                      <a:lnTo>
                        <a:pt x="91342" y="347031"/>
                      </a:lnTo>
                      <a:lnTo>
                        <a:pt x="92753" y="345003"/>
                      </a:lnTo>
                      <a:lnTo>
                        <a:pt x="93018" y="342711"/>
                      </a:lnTo>
                      <a:lnTo>
                        <a:pt x="89579" y="344121"/>
                      </a:lnTo>
                      <a:lnTo>
                        <a:pt x="86670" y="343592"/>
                      </a:lnTo>
                      <a:lnTo>
                        <a:pt x="84642" y="345620"/>
                      </a:lnTo>
                      <a:lnTo>
                        <a:pt x="82261" y="347648"/>
                      </a:lnTo>
                      <a:lnTo>
                        <a:pt x="80498" y="347383"/>
                      </a:lnTo>
                      <a:lnTo>
                        <a:pt x="78205" y="349940"/>
                      </a:lnTo>
                      <a:lnTo>
                        <a:pt x="75296" y="350822"/>
                      </a:lnTo>
                      <a:lnTo>
                        <a:pt x="70887" y="354084"/>
                      </a:lnTo>
                      <a:lnTo>
                        <a:pt x="66832" y="349411"/>
                      </a:lnTo>
                      <a:lnTo>
                        <a:pt x="69477" y="356112"/>
                      </a:lnTo>
                      <a:lnTo>
                        <a:pt x="65950" y="356729"/>
                      </a:lnTo>
                      <a:lnTo>
                        <a:pt x="63922" y="357876"/>
                      </a:lnTo>
                      <a:lnTo>
                        <a:pt x="63040" y="360168"/>
                      </a:lnTo>
                      <a:lnTo>
                        <a:pt x="61013" y="359286"/>
                      </a:lnTo>
                      <a:lnTo>
                        <a:pt x="61277" y="357258"/>
                      </a:lnTo>
                      <a:lnTo>
                        <a:pt x="61277" y="352850"/>
                      </a:lnTo>
                      <a:lnTo>
                        <a:pt x="58015" y="353467"/>
                      </a:lnTo>
                      <a:lnTo>
                        <a:pt x="55722" y="352850"/>
                      </a:lnTo>
                      <a:lnTo>
                        <a:pt x="51667" y="353202"/>
                      </a:lnTo>
                      <a:lnTo>
                        <a:pt x="48757" y="355495"/>
                      </a:lnTo>
                      <a:lnTo>
                        <a:pt x="47523" y="352321"/>
                      </a:lnTo>
                      <a:lnTo>
                        <a:pt x="55105" y="351175"/>
                      </a:lnTo>
                      <a:lnTo>
                        <a:pt x="49286" y="349059"/>
                      </a:lnTo>
                      <a:lnTo>
                        <a:pt x="44349" y="352850"/>
                      </a:lnTo>
                      <a:lnTo>
                        <a:pt x="44349" y="355230"/>
                      </a:lnTo>
                      <a:lnTo>
                        <a:pt x="42321" y="356112"/>
                      </a:lnTo>
                      <a:lnTo>
                        <a:pt x="41175" y="359551"/>
                      </a:lnTo>
                      <a:lnTo>
                        <a:pt x="40293" y="360785"/>
                      </a:lnTo>
                      <a:lnTo>
                        <a:pt x="37912" y="359551"/>
                      </a:lnTo>
                      <a:lnTo>
                        <a:pt x="35885" y="361931"/>
                      </a:lnTo>
                      <a:lnTo>
                        <a:pt x="34738" y="361667"/>
                      </a:lnTo>
                      <a:lnTo>
                        <a:pt x="29448" y="364576"/>
                      </a:lnTo>
                      <a:lnTo>
                        <a:pt x="30683" y="363077"/>
                      </a:lnTo>
                      <a:lnTo>
                        <a:pt x="29184" y="361314"/>
                      </a:lnTo>
                      <a:lnTo>
                        <a:pt x="28302" y="363695"/>
                      </a:lnTo>
                      <a:lnTo>
                        <a:pt x="26803" y="365105"/>
                      </a:lnTo>
                      <a:lnTo>
                        <a:pt x="25657" y="366604"/>
                      </a:lnTo>
                      <a:lnTo>
                        <a:pt x="24511" y="363695"/>
                      </a:lnTo>
                      <a:lnTo>
                        <a:pt x="22747" y="363959"/>
                      </a:lnTo>
                      <a:lnTo>
                        <a:pt x="18956" y="362813"/>
                      </a:lnTo>
                      <a:lnTo>
                        <a:pt x="22483" y="356377"/>
                      </a:lnTo>
                      <a:lnTo>
                        <a:pt x="14636" y="364576"/>
                      </a:lnTo>
                      <a:lnTo>
                        <a:pt x="15429" y="362548"/>
                      </a:lnTo>
                      <a:lnTo>
                        <a:pt x="8729" y="365105"/>
                      </a:lnTo>
                      <a:lnTo>
                        <a:pt x="8200" y="360432"/>
                      </a:lnTo>
                      <a:lnTo>
                        <a:pt x="5555" y="364576"/>
                      </a:lnTo>
                      <a:lnTo>
                        <a:pt x="7318" y="367750"/>
                      </a:lnTo>
                      <a:lnTo>
                        <a:pt x="6701" y="370395"/>
                      </a:lnTo>
                      <a:lnTo>
                        <a:pt x="5290" y="373040"/>
                      </a:lnTo>
                      <a:lnTo>
                        <a:pt x="4408" y="370660"/>
                      </a:lnTo>
                      <a:lnTo>
                        <a:pt x="2381" y="369249"/>
                      </a:lnTo>
                      <a:lnTo>
                        <a:pt x="264" y="371013"/>
                      </a:lnTo>
                      <a:lnTo>
                        <a:pt x="264" y="367750"/>
                      </a:lnTo>
                      <a:lnTo>
                        <a:pt x="264" y="365458"/>
                      </a:lnTo>
                      <a:lnTo>
                        <a:pt x="0" y="362548"/>
                      </a:lnTo>
                      <a:lnTo>
                        <a:pt x="1146" y="361050"/>
                      </a:lnTo>
                      <a:lnTo>
                        <a:pt x="4937" y="360785"/>
                      </a:lnTo>
                      <a:lnTo>
                        <a:pt x="9081" y="358757"/>
                      </a:lnTo>
                      <a:lnTo>
                        <a:pt x="11638" y="358140"/>
                      </a:lnTo>
                      <a:lnTo>
                        <a:pt x="16311" y="357523"/>
                      </a:lnTo>
                      <a:lnTo>
                        <a:pt x="20984" y="355495"/>
                      </a:lnTo>
                      <a:lnTo>
                        <a:pt x="26539" y="354966"/>
                      </a:lnTo>
                      <a:lnTo>
                        <a:pt x="26010" y="353467"/>
                      </a:lnTo>
                      <a:lnTo>
                        <a:pt x="29801" y="353732"/>
                      </a:lnTo>
                      <a:lnTo>
                        <a:pt x="33239" y="353202"/>
                      </a:lnTo>
                      <a:lnTo>
                        <a:pt x="35885" y="352321"/>
                      </a:lnTo>
                      <a:lnTo>
                        <a:pt x="40293" y="350822"/>
                      </a:lnTo>
                      <a:lnTo>
                        <a:pt x="44084" y="347648"/>
                      </a:lnTo>
                      <a:lnTo>
                        <a:pt x="46112" y="345003"/>
                      </a:lnTo>
                      <a:lnTo>
                        <a:pt x="49022" y="343240"/>
                      </a:lnTo>
                      <a:lnTo>
                        <a:pt x="51931" y="342711"/>
                      </a:lnTo>
                      <a:lnTo>
                        <a:pt x="58896" y="340947"/>
                      </a:lnTo>
                      <a:lnTo>
                        <a:pt x="64804" y="341212"/>
                      </a:lnTo>
                      <a:lnTo>
                        <a:pt x="71505" y="340330"/>
                      </a:lnTo>
                      <a:lnTo>
                        <a:pt x="65950" y="346766"/>
                      </a:lnTo>
                      <a:lnTo>
                        <a:pt x="70006" y="342711"/>
                      </a:lnTo>
                      <a:lnTo>
                        <a:pt x="73532" y="343592"/>
                      </a:lnTo>
                      <a:lnTo>
                        <a:pt x="75560" y="341829"/>
                      </a:lnTo>
                      <a:lnTo>
                        <a:pt x="83407" y="338567"/>
                      </a:lnTo>
                      <a:lnTo>
                        <a:pt x="88433" y="333629"/>
                      </a:lnTo>
                      <a:lnTo>
                        <a:pt x="96280" y="333982"/>
                      </a:lnTo>
                      <a:lnTo>
                        <a:pt x="105890" y="330720"/>
                      </a:lnTo>
                      <a:lnTo>
                        <a:pt x="113208" y="326664"/>
                      </a:lnTo>
                      <a:lnTo>
                        <a:pt x="118146" y="324019"/>
                      </a:lnTo>
                      <a:lnTo>
                        <a:pt x="121937" y="321991"/>
                      </a:lnTo>
                      <a:lnTo>
                        <a:pt x="123965" y="319346"/>
                      </a:lnTo>
                      <a:lnTo>
                        <a:pt x="125464" y="321374"/>
                      </a:lnTo>
                      <a:lnTo>
                        <a:pt x="131547" y="322255"/>
                      </a:lnTo>
                      <a:lnTo>
                        <a:pt x="135603" y="318200"/>
                      </a:lnTo>
                      <a:lnTo>
                        <a:pt x="138248" y="317935"/>
                      </a:lnTo>
                      <a:lnTo>
                        <a:pt x="142039" y="316701"/>
                      </a:lnTo>
                      <a:lnTo>
                        <a:pt x="148211" y="314144"/>
                      </a:lnTo>
                      <a:lnTo>
                        <a:pt x="150239" y="312645"/>
                      </a:lnTo>
                      <a:lnTo>
                        <a:pt x="151650" y="309471"/>
                      </a:lnTo>
                      <a:lnTo>
                        <a:pt x="156675" y="309471"/>
                      </a:lnTo>
                      <a:lnTo>
                        <a:pt x="160114" y="306826"/>
                      </a:lnTo>
                      <a:lnTo>
                        <a:pt x="163023" y="305592"/>
                      </a:lnTo>
                      <a:lnTo>
                        <a:pt x="168049" y="303564"/>
                      </a:lnTo>
                      <a:lnTo>
                        <a:pt x="172105" y="305327"/>
                      </a:lnTo>
                      <a:lnTo>
                        <a:pt x="170077" y="302418"/>
                      </a:lnTo>
                      <a:lnTo>
                        <a:pt x="175014" y="301007"/>
                      </a:lnTo>
                      <a:lnTo>
                        <a:pt x="178805" y="299243"/>
                      </a:lnTo>
                      <a:lnTo>
                        <a:pt x="183743" y="296334"/>
                      </a:lnTo>
                      <a:lnTo>
                        <a:pt x="183214" y="291661"/>
                      </a:lnTo>
                      <a:lnTo>
                        <a:pt x="187534" y="292190"/>
                      </a:lnTo>
                      <a:lnTo>
                        <a:pt x="193970" y="289898"/>
                      </a:lnTo>
                      <a:lnTo>
                        <a:pt x="194588" y="286106"/>
                      </a:lnTo>
                      <a:lnTo>
                        <a:pt x="191943" y="284960"/>
                      </a:lnTo>
                      <a:lnTo>
                        <a:pt x="197233" y="284608"/>
                      </a:lnTo>
                      <a:lnTo>
                        <a:pt x="201817" y="282844"/>
                      </a:lnTo>
                      <a:lnTo>
                        <a:pt x="212045" y="276761"/>
                      </a:lnTo>
                      <a:lnTo>
                        <a:pt x="225447" y="267150"/>
                      </a:lnTo>
                      <a:lnTo>
                        <a:pt x="212309" y="273586"/>
                      </a:lnTo>
                      <a:lnTo>
                        <a:pt x="186388" y="279670"/>
                      </a:lnTo>
                      <a:lnTo>
                        <a:pt x="184977" y="274997"/>
                      </a:lnTo>
                      <a:lnTo>
                        <a:pt x="191325" y="270324"/>
                      </a:lnTo>
                      <a:lnTo>
                        <a:pt x="198379" y="271823"/>
                      </a:lnTo>
                      <a:lnTo>
                        <a:pt x="195117" y="266533"/>
                      </a:lnTo>
                      <a:lnTo>
                        <a:pt x="177659" y="275879"/>
                      </a:lnTo>
                      <a:lnTo>
                        <a:pt x="174750" y="282051"/>
                      </a:lnTo>
                      <a:lnTo>
                        <a:pt x="168578" y="284343"/>
                      </a:lnTo>
                      <a:lnTo>
                        <a:pt x="169724" y="271823"/>
                      </a:lnTo>
                      <a:lnTo>
                        <a:pt x="159849" y="275879"/>
                      </a:lnTo>
                      <a:lnTo>
                        <a:pt x="160466" y="268914"/>
                      </a:lnTo>
                      <a:lnTo>
                        <a:pt x="121320" y="280816"/>
                      </a:lnTo>
                      <a:lnTo>
                        <a:pt x="124229" y="278788"/>
                      </a:lnTo>
                      <a:lnTo>
                        <a:pt x="116647" y="278788"/>
                      </a:lnTo>
                      <a:lnTo>
                        <a:pt x="130137" y="274997"/>
                      </a:lnTo>
                      <a:lnTo>
                        <a:pt x="132693" y="269795"/>
                      </a:lnTo>
                      <a:lnTo>
                        <a:pt x="139482" y="268032"/>
                      </a:lnTo>
                      <a:lnTo>
                        <a:pt x="133046" y="268914"/>
                      </a:lnTo>
                      <a:lnTo>
                        <a:pt x="135338" y="264505"/>
                      </a:lnTo>
                      <a:lnTo>
                        <a:pt x="138248" y="263976"/>
                      </a:lnTo>
                      <a:lnTo>
                        <a:pt x="140629" y="265387"/>
                      </a:lnTo>
                      <a:lnTo>
                        <a:pt x="147858" y="259303"/>
                      </a:lnTo>
                      <a:lnTo>
                        <a:pt x="153766" y="256394"/>
                      </a:lnTo>
                      <a:lnTo>
                        <a:pt x="156940" y="252602"/>
                      </a:lnTo>
                      <a:lnTo>
                        <a:pt x="153766" y="246166"/>
                      </a:lnTo>
                      <a:lnTo>
                        <a:pt x="160114" y="242022"/>
                      </a:lnTo>
                      <a:lnTo>
                        <a:pt x="154030" y="244403"/>
                      </a:lnTo>
                      <a:lnTo>
                        <a:pt x="156058" y="240612"/>
                      </a:lnTo>
                      <a:lnTo>
                        <a:pt x="176778" y="231883"/>
                      </a:lnTo>
                      <a:lnTo>
                        <a:pt x="172722" y="231001"/>
                      </a:lnTo>
                      <a:lnTo>
                        <a:pt x="150768" y="241493"/>
                      </a:lnTo>
                      <a:lnTo>
                        <a:pt x="153149" y="243521"/>
                      </a:lnTo>
                      <a:lnTo>
                        <a:pt x="147065" y="247577"/>
                      </a:lnTo>
                      <a:lnTo>
                        <a:pt x="121320" y="252250"/>
                      </a:lnTo>
                      <a:lnTo>
                        <a:pt x="122201" y="248459"/>
                      </a:lnTo>
                      <a:lnTo>
                        <a:pt x="127756" y="239994"/>
                      </a:lnTo>
                      <a:lnTo>
                        <a:pt x="112326" y="237966"/>
                      </a:lnTo>
                      <a:lnTo>
                        <a:pt x="118763" y="235057"/>
                      </a:lnTo>
                      <a:lnTo>
                        <a:pt x="110828" y="235057"/>
                      </a:lnTo>
                      <a:lnTo>
                        <a:pt x="123083" y="231266"/>
                      </a:lnTo>
                      <a:lnTo>
                        <a:pt x="129255" y="228885"/>
                      </a:lnTo>
                      <a:lnTo>
                        <a:pt x="137719" y="229855"/>
                      </a:lnTo>
                      <a:lnTo>
                        <a:pt x="128373" y="235057"/>
                      </a:lnTo>
                      <a:lnTo>
                        <a:pt x="141158" y="230119"/>
                      </a:lnTo>
                      <a:lnTo>
                        <a:pt x="144684" y="230648"/>
                      </a:lnTo>
                      <a:lnTo>
                        <a:pt x="140276" y="234175"/>
                      </a:lnTo>
                      <a:lnTo>
                        <a:pt x="152002" y="230119"/>
                      </a:lnTo>
                      <a:lnTo>
                        <a:pt x="149093" y="227739"/>
                      </a:lnTo>
                      <a:lnTo>
                        <a:pt x="152884" y="227474"/>
                      </a:lnTo>
                      <a:lnTo>
                        <a:pt x="153766" y="224829"/>
                      </a:lnTo>
                      <a:lnTo>
                        <a:pt x="145301" y="228356"/>
                      </a:lnTo>
                      <a:lnTo>
                        <a:pt x="126874" y="227210"/>
                      </a:lnTo>
                      <a:lnTo>
                        <a:pt x="126345" y="225711"/>
                      </a:lnTo>
                      <a:lnTo>
                        <a:pt x="131547" y="223683"/>
                      </a:lnTo>
                      <a:lnTo>
                        <a:pt x="135338" y="219275"/>
                      </a:lnTo>
                      <a:lnTo>
                        <a:pt x="132429" y="221391"/>
                      </a:lnTo>
                      <a:lnTo>
                        <a:pt x="130137" y="220509"/>
                      </a:lnTo>
                      <a:lnTo>
                        <a:pt x="123965" y="223066"/>
                      </a:lnTo>
                      <a:lnTo>
                        <a:pt x="125993" y="215836"/>
                      </a:lnTo>
                      <a:lnTo>
                        <a:pt x="131547" y="212927"/>
                      </a:lnTo>
                      <a:lnTo>
                        <a:pt x="125111" y="214073"/>
                      </a:lnTo>
                      <a:lnTo>
                        <a:pt x="126345" y="211692"/>
                      </a:lnTo>
                      <a:lnTo>
                        <a:pt x="130930" y="208783"/>
                      </a:lnTo>
                      <a:lnTo>
                        <a:pt x="136485" y="209400"/>
                      </a:lnTo>
                      <a:lnTo>
                        <a:pt x="134809" y="206490"/>
                      </a:lnTo>
                      <a:lnTo>
                        <a:pt x="144420" y="205873"/>
                      </a:lnTo>
                      <a:lnTo>
                        <a:pt x="150239" y="199790"/>
                      </a:lnTo>
                      <a:lnTo>
                        <a:pt x="160995" y="200319"/>
                      </a:lnTo>
                      <a:lnTo>
                        <a:pt x="161613" y="195646"/>
                      </a:lnTo>
                      <a:lnTo>
                        <a:pt x="161613" y="191854"/>
                      </a:lnTo>
                      <a:lnTo>
                        <a:pt x="170958" y="190708"/>
                      </a:lnTo>
                      <a:lnTo>
                        <a:pt x="173251" y="194235"/>
                      </a:lnTo>
                      <a:lnTo>
                        <a:pt x="178188" y="192736"/>
                      </a:lnTo>
                      <a:lnTo>
                        <a:pt x="177395" y="189562"/>
                      </a:lnTo>
                      <a:lnTo>
                        <a:pt x="179423" y="188680"/>
                      </a:lnTo>
                      <a:lnTo>
                        <a:pt x="184360" y="183743"/>
                      </a:lnTo>
                      <a:lnTo>
                        <a:pt x="193089" y="179687"/>
                      </a:lnTo>
                      <a:lnTo>
                        <a:pt x="198643" y="179952"/>
                      </a:lnTo>
                      <a:lnTo>
                        <a:pt x="198026" y="177042"/>
                      </a:lnTo>
                      <a:lnTo>
                        <a:pt x="203316" y="175014"/>
                      </a:lnTo>
                      <a:lnTo>
                        <a:pt x="214954" y="175014"/>
                      </a:lnTo>
                      <a:lnTo>
                        <a:pt x="214954" y="177924"/>
                      </a:lnTo>
                      <a:lnTo>
                        <a:pt x="215836" y="179687"/>
                      </a:lnTo>
                      <a:lnTo>
                        <a:pt x="228709" y="176425"/>
                      </a:lnTo>
                      <a:lnTo>
                        <a:pt x="231618" y="173251"/>
                      </a:lnTo>
                      <a:lnTo>
                        <a:pt x="238055" y="176160"/>
                      </a:lnTo>
                      <a:lnTo>
                        <a:pt x="243874" y="175014"/>
                      </a:lnTo>
                      <a:lnTo>
                        <a:pt x="251456" y="169107"/>
                      </a:lnTo>
                      <a:lnTo>
                        <a:pt x="247665" y="170341"/>
                      </a:lnTo>
                      <a:lnTo>
                        <a:pt x="267150" y="168313"/>
                      </a:lnTo>
                      <a:lnTo>
                        <a:pt x="271823" y="168578"/>
                      </a:lnTo>
                      <a:lnTo>
                        <a:pt x="283197" y="165933"/>
                      </a:lnTo>
                      <a:lnTo>
                        <a:pt x="287341" y="158968"/>
                      </a:lnTo>
                      <a:lnTo>
                        <a:pt x="292014" y="148476"/>
                      </a:lnTo>
                      <a:lnTo>
                        <a:pt x="285842" y="148476"/>
                      </a:lnTo>
                      <a:lnTo>
                        <a:pt x="291396" y="145831"/>
                      </a:lnTo>
                      <a:lnTo>
                        <a:pt x="297833" y="146360"/>
                      </a:lnTo>
                      <a:lnTo>
                        <a:pt x="307179" y="142039"/>
                      </a:lnTo>
                      <a:lnTo>
                        <a:pt x="310088" y="137102"/>
                      </a:lnTo>
                      <a:lnTo>
                        <a:pt x="295188" y="141158"/>
                      </a:lnTo>
                      <a:lnTo>
                        <a:pt x="292895" y="139659"/>
                      </a:lnTo>
                      <a:lnTo>
                        <a:pt x="286988" y="142039"/>
                      </a:lnTo>
                      <a:lnTo>
                        <a:pt x="281169" y="139394"/>
                      </a:lnTo>
                      <a:lnTo>
                        <a:pt x="276496" y="146977"/>
                      </a:lnTo>
                      <a:lnTo>
                        <a:pt x="273586" y="142921"/>
                      </a:lnTo>
                      <a:lnTo>
                        <a:pt x="262830" y="150503"/>
                      </a:lnTo>
                      <a:lnTo>
                        <a:pt x="265475" y="143185"/>
                      </a:lnTo>
                      <a:lnTo>
                        <a:pt x="259920" y="144596"/>
                      </a:lnTo>
                      <a:lnTo>
                        <a:pt x="263712" y="146360"/>
                      </a:lnTo>
                      <a:lnTo>
                        <a:pt x="257893" y="149005"/>
                      </a:lnTo>
                      <a:lnTo>
                        <a:pt x="252338" y="144949"/>
                      </a:lnTo>
                      <a:lnTo>
                        <a:pt x="232235" y="145831"/>
                      </a:lnTo>
                      <a:lnTo>
                        <a:pt x="230737" y="147858"/>
                      </a:lnTo>
                      <a:lnTo>
                        <a:pt x="226681" y="142568"/>
                      </a:lnTo>
                      <a:lnTo>
                        <a:pt x="233029" y="132429"/>
                      </a:lnTo>
                      <a:lnTo>
                        <a:pt x="233911" y="130313"/>
                      </a:lnTo>
                      <a:lnTo>
                        <a:pt x="223154" y="127491"/>
                      </a:lnTo>
                      <a:lnTo>
                        <a:pt x="225799" y="121320"/>
                      </a:lnTo>
                      <a:lnTo>
                        <a:pt x="231266" y="117793"/>
                      </a:lnTo>
                      <a:lnTo>
                        <a:pt x="238055" y="120173"/>
                      </a:lnTo>
                      <a:lnTo>
                        <a:pt x="240082" y="114266"/>
                      </a:lnTo>
                      <a:lnTo>
                        <a:pt x="249957" y="114266"/>
                      </a:lnTo>
                      <a:lnTo>
                        <a:pt x="258157" y="109946"/>
                      </a:lnTo>
                      <a:lnTo>
                        <a:pt x="270148" y="110563"/>
                      </a:lnTo>
                      <a:lnTo>
                        <a:pt x="265475" y="109064"/>
                      </a:lnTo>
                      <a:lnTo>
                        <a:pt x="270677" y="107036"/>
                      </a:lnTo>
                      <a:lnTo>
                        <a:pt x="279141" y="103510"/>
                      </a:lnTo>
                      <a:lnTo>
                        <a:pt x="292543" y="102099"/>
                      </a:lnTo>
                      <a:lnTo>
                        <a:pt x="303035" y="100865"/>
                      </a:lnTo>
                      <a:lnTo>
                        <a:pt x="311234" y="103510"/>
                      </a:lnTo>
                      <a:lnTo>
                        <a:pt x="313615" y="98572"/>
                      </a:lnTo>
                      <a:lnTo>
                        <a:pt x="321726" y="101217"/>
                      </a:lnTo>
                      <a:lnTo>
                        <a:pt x="310617" y="104656"/>
                      </a:lnTo>
                      <a:lnTo>
                        <a:pt x="301007" y="107918"/>
                      </a:lnTo>
                      <a:lnTo>
                        <a:pt x="286988" y="107301"/>
                      </a:lnTo>
                      <a:lnTo>
                        <a:pt x="292543" y="109946"/>
                      </a:lnTo>
                      <a:lnTo>
                        <a:pt x="296334" y="110563"/>
                      </a:lnTo>
                      <a:lnTo>
                        <a:pt x="297216" y="109946"/>
                      </a:lnTo>
                      <a:lnTo>
                        <a:pt x="298097" y="112238"/>
                      </a:lnTo>
                      <a:lnTo>
                        <a:pt x="308854" y="113737"/>
                      </a:lnTo>
                      <a:lnTo>
                        <a:pt x="322873" y="112238"/>
                      </a:lnTo>
                      <a:lnTo>
                        <a:pt x="324371" y="114266"/>
                      </a:lnTo>
                      <a:lnTo>
                        <a:pt x="339536" y="108183"/>
                      </a:lnTo>
                      <a:lnTo>
                        <a:pt x="343063" y="111092"/>
                      </a:lnTo>
                      <a:lnTo>
                        <a:pt x="347383" y="106772"/>
                      </a:lnTo>
                      <a:lnTo>
                        <a:pt x="342446" y="105273"/>
                      </a:lnTo>
                      <a:lnTo>
                        <a:pt x="332571" y="108183"/>
                      </a:lnTo>
                      <a:lnTo>
                        <a:pt x="340065" y="102981"/>
                      </a:lnTo>
                      <a:lnTo>
                        <a:pt x="336627" y="97955"/>
                      </a:lnTo>
                      <a:lnTo>
                        <a:pt x="343063" y="93282"/>
                      </a:lnTo>
                      <a:lnTo>
                        <a:pt x="343328" y="104127"/>
                      </a:lnTo>
                      <a:lnTo>
                        <a:pt x="352321" y="102363"/>
                      </a:lnTo>
                      <a:lnTo>
                        <a:pt x="357875" y="106155"/>
                      </a:lnTo>
                      <a:lnTo>
                        <a:pt x="367838" y="102628"/>
                      </a:lnTo>
                      <a:lnTo>
                        <a:pt x="371013" y="99983"/>
                      </a:lnTo>
                      <a:lnTo>
                        <a:pt x="361667" y="99454"/>
                      </a:lnTo>
                      <a:lnTo>
                        <a:pt x="347119" y="102363"/>
                      </a:lnTo>
                      <a:lnTo>
                        <a:pt x="346502" y="97955"/>
                      </a:lnTo>
                      <a:lnTo>
                        <a:pt x="360256" y="92753"/>
                      </a:lnTo>
                      <a:lnTo>
                        <a:pt x="349411" y="90990"/>
                      </a:lnTo>
                      <a:lnTo>
                        <a:pt x="344738" y="92753"/>
                      </a:lnTo>
                      <a:lnTo>
                        <a:pt x="351792" y="88609"/>
                      </a:lnTo>
                      <a:lnTo>
                        <a:pt x="338655" y="92136"/>
                      </a:lnTo>
                      <a:lnTo>
                        <a:pt x="343857" y="82790"/>
                      </a:lnTo>
                      <a:lnTo>
                        <a:pt x="343063" y="76089"/>
                      </a:lnTo>
                      <a:lnTo>
                        <a:pt x="340947" y="74943"/>
                      </a:lnTo>
                      <a:lnTo>
                        <a:pt x="342181" y="72915"/>
                      </a:lnTo>
                      <a:lnTo>
                        <a:pt x="340947" y="72915"/>
                      </a:lnTo>
                      <a:lnTo>
                        <a:pt x="338919" y="70887"/>
                      </a:lnTo>
                      <a:lnTo>
                        <a:pt x="337773" y="70887"/>
                      </a:lnTo>
                      <a:lnTo>
                        <a:pt x="334863" y="71769"/>
                      </a:lnTo>
                      <a:lnTo>
                        <a:pt x="335745" y="67890"/>
                      </a:lnTo>
                      <a:lnTo>
                        <a:pt x="333453" y="67625"/>
                      </a:lnTo>
                      <a:lnTo>
                        <a:pt x="332836" y="63569"/>
                      </a:lnTo>
                      <a:lnTo>
                        <a:pt x="331072" y="63569"/>
                      </a:lnTo>
                      <a:lnTo>
                        <a:pt x="329926" y="60660"/>
                      </a:lnTo>
                      <a:lnTo>
                        <a:pt x="331072" y="60043"/>
                      </a:lnTo>
                      <a:lnTo>
                        <a:pt x="334599" y="60660"/>
                      </a:lnTo>
                      <a:lnTo>
                        <a:pt x="337773" y="59514"/>
                      </a:lnTo>
                      <a:lnTo>
                        <a:pt x="340683" y="58279"/>
                      </a:lnTo>
                      <a:lnTo>
                        <a:pt x="343857" y="57398"/>
                      </a:lnTo>
                      <a:lnTo>
                        <a:pt x="345620" y="56251"/>
                      </a:lnTo>
                      <a:lnTo>
                        <a:pt x="345620" y="54488"/>
                      </a:lnTo>
                      <a:lnTo>
                        <a:pt x="346237" y="51578"/>
                      </a:lnTo>
                      <a:lnTo>
                        <a:pt x="348882" y="53342"/>
                      </a:lnTo>
                      <a:lnTo>
                        <a:pt x="350646" y="51578"/>
                      </a:lnTo>
                      <a:lnTo>
                        <a:pt x="352674" y="51050"/>
                      </a:lnTo>
                      <a:lnTo>
                        <a:pt x="357875" y="51931"/>
                      </a:lnTo>
                      <a:lnTo>
                        <a:pt x="359903" y="51931"/>
                      </a:lnTo>
                      <a:lnTo>
                        <a:pt x="361402" y="52460"/>
                      </a:lnTo>
                      <a:lnTo>
                        <a:pt x="364047" y="51931"/>
                      </a:lnTo>
                      <a:lnTo>
                        <a:pt x="365458" y="52460"/>
                      </a:lnTo>
                      <a:lnTo>
                        <a:pt x="372159" y="51314"/>
                      </a:lnTo>
                      <a:lnTo>
                        <a:pt x="374539" y="52196"/>
                      </a:lnTo>
                      <a:lnTo>
                        <a:pt x="380094" y="51578"/>
                      </a:lnTo>
                      <a:lnTo>
                        <a:pt x="387676" y="51578"/>
                      </a:lnTo>
                      <a:lnTo>
                        <a:pt x="387059" y="47787"/>
                      </a:lnTo>
                      <a:lnTo>
                        <a:pt x="389440" y="48404"/>
                      </a:lnTo>
                      <a:lnTo>
                        <a:pt x="390321" y="50168"/>
                      </a:lnTo>
                      <a:lnTo>
                        <a:pt x="396141" y="48140"/>
                      </a:lnTo>
                      <a:lnTo>
                        <a:pt x="398433" y="46024"/>
                      </a:lnTo>
                      <a:lnTo>
                        <a:pt x="403106" y="46024"/>
                      </a:lnTo>
                      <a:lnTo>
                        <a:pt x="406633" y="46377"/>
                      </a:lnTo>
                      <a:lnTo>
                        <a:pt x="408660" y="44613"/>
                      </a:lnTo>
                      <a:lnTo>
                        <a:pt x="411306" y="43996"/>
                      </a:lnTo>
                      <a:lnTo>
                        <a:pt x="411834" y="42850"/>
                      </a:lnTo>
                      <a:lnTo>
                        <a:pt x="415097" y="40557"/>
                      </a:lnTo>
                      <a:lnTo>
                        <a:pt x="417742" y="40557"/>
                      </a:lnTo>
                      <a:lnTo>
                        <a:pt x="419770" y="40205"/>
                      </a:lnTo>
                      <a:lnTo>
                        <a:pt x="419770" y="37295"/>
                      </a:lnTo>
                      <a:lnTo>
                        <a:pt x="422944" y="37912"/>
                      </a:lnTo>
                      <a:lnTo>
                        <a:pt x="426735" y="36414"/>
                      </a:lnTo>
                      <a:lnTo>
                        <a:pt x="430526" y="35532"/>
                      </a:lnTo>
                      <a:lnTo>
                        <a:pt x="433436" y="33768"/>
                      </a:lnTo>
                      <a:lnTo>
                        <a:pt x="435199" y="31476"/>
                      </a:lnTo>
                      <a:lnTo>
                        <a:pt x="437227" y="31741"/>
                      </a:lnTo>
                      <a:lnTo>
                        <a:pt x="443399" y="28831"/>
                      </a:lnTo>
                      <a:lnTo>
                        <a:pt x="445427" y="29448"/>
                      </a:lnTo>
                      <a:lnTo>
                        <a:pt x="447455" y="28567"/>
                      </a:lnTo>
                      <a:lnTo>
                        <a:pt x="452127" y="27420"/>
                      </a:lnTo>
                      <a:lnTo>
                        <a:pt x="454155" y="25921"/>
                      </a:lnTo>
                      <a:lnTo>
                        <a:pt x="457682" y="25392"/>
                      </a:lnTo>
                      <a:lnTo>
                        <a:pt x="460327" y="22747"/>
                      </a:lnTo>
                      <a:lnTo>
                        <a:pt x="466675" y="22747"/>
                      </a:lnTo>
                      <a:lnTo>
                        <a:pt x="473111" y="23276"/>
                      </a:lnTo>
                      <a:lnTo>
                        <a:pt x="480077" y="20720"/>
                      </a:lnTo>
                      <a:lnTo>
                        <a:pt x="483868" y="18956"/>
                      </a:lnTo>
                      <a:lnTo>
                        <a:pt x="489158" y="18604"/>
                      </a:lnTo>
                      <a:lnTo>
                        <a:pt x="480694" y="22130"/>
                      </a:lnTo>
                      <a:lnTo>
                        <a:pt x="484750" y="21249"/>
                      </a:lnTo>
                      <a:lnTo>
                        <a:pt x="483075" y="24511"/>
                      </a:lnTo>
                      <a:lnTo>
                        <a:pt x="490922" y="18604"/>
                      </a:lnTo>
                      <a:lnTo>
                        <a:pt x="500532" y="17810"/>
                      </a:lnTo>
                      <a:lnTo>
                        <a:pt x="497622" y="16047"/>
                      </a:lnTo>
                      <a:lnTo>
                        <a:pt x="502031" y="15694"/>
                      </a:lnTo>
                      <a:lnTo>
                        <a:pt x="504059" y="14019"/>
                      </a:lnTo>
                      <a:lnTo>
                        <a:pt x="505469" y="12784"/>
                      </a:lnTo>
                      <a:lnTo>
                        <a:pt x="506351" y="14548"/>
                      </a:lnTo>
                      <a:lnTo>
                        <a:pt x="512523" y="11903"/>
                      </a:lnTo>
                      <a:lnTo>
                        <a:pt x="516843" y="10756"/>
                      </a:lnTo>
                      <a:lnTo>
                        <a:pt x="520634" y="10756"/>
                      </a:lnTo>
                      <a:lnTo>
                        <a:pt x="523544" y="14019"/>
                      </a:lnTo>
                      <a:lnTo>
                        <a:pt x="526189" y="13402"/>
                      </a:lnTo>
                      <a:lnTo>
                        <a:pt x="527952" y="10492"/>
                      </a:lnTo>
                      <a:lnTo>
                        <a:pt x="532625" y="11021"/>
                      </a:lnTo>
                      <a:lnTo>
                        <a:pt x="534918" y="13402"/>
                      </a:lnTo>
                      <a:lnTo>
                        <a:pt x="537034" y="11021"/>
                      </a:lnTo>
                      <a:lnTo>
                        <a:pt x="539943" y="10492"/>
                      </a:lnTo>
                      <a:lnTo>
                        <a:pt x="547526" y="11638"/>
                      </a:lnTo>
                      <a:lnTo>
                        <a:pt x="548407" y="8993"/>
                      </a:lnTo>
                      <a:lnTo>
                        <a:pt x="551846" y="8729"/>
                      </a:lnTo>
                      <a:lnTo>
                        <a:pt x="557136" y="8111"/>
                      </a:lnTo>
                      <a:lnTo>
                        <a:pt x="560310" y="5555"/>
                      </a:lnTo>
                      <a:lnTo>
                        <a:pt x="565248" y="4320"/>
                      </a:lnTo>
                      <a:lnTo>
                        <a:pt x="567364" y="2645"/>
                      </a:lnTo>
                      <a:lnTo>
                        <a:pt x="571684" y="2292"/>
                      </a:lnTo>
                      <a:lnTo>
                        <a:pt x="576621" y="1146"/>
                      </a:lnTo>
                      <a:lnTo>
                        <a:pt x="578120" y="0"/>
                      </a:lnTo>
                      <a:lnTo>
                        <a:pt x="581911" y="0"/>
                      </a:lnTo>
                      <a:lnTo>
                        <a:pt x="584556" y="529"/>
                      </a:lnTo>
                      <a:lnTo>
                        <a:pt x="586320" y="1763"/>
                      </a:lnTo>
                      <a:lnTo>
                        <a:pt x="560927" y="6965"/>
                      </a:lnTo>
                      <a:lnTo>
                        <a:pt x="560927" y="9346"/>
                      </a:lnTo>
                      <a:lnTo>
                        <a:pt x="562691" y="8729"/>
                      </a:lnTo>
                      <a:lnTo>
                        <a:pt x="585085" y="4937"/>
                      </a:lnTo>
                      <a:lnTo>
                        <a:pt x="581030" y="7847"/>
                      </a:lnTo>
                      <a:lnTo>
                        <a:pt x="585085" y="5819"/>
                      </a:lnTo>
                      <a:lnTo>
                        <a:pt x="590111" y="5202"/>
                      </a:lnTo>
                      <a:lnTo>
                        <a:pt x="595666" y="5202"/>
                      </a:lnTo>
                      <a:lnTo>
                        <a:pt x="598840" y="5555"/>
                      </a:lnTo>
                      <a:lnTo>
                        <a:pt x="597693" y="6965"/>
                      </a:lnTo>
                      <a:lnTo>
                        <a:pt x="597958" y="9610"/>
                      </a:lnTo>
                      <a:lnTo>
                        <a:pt x="600868" y="8993"/>
                      </a:lnTo>
                      <a:lnTo>
                        <a:pt x="602895" y="11638"/>
                      </a:lnTo>
                      <a:lnTo>
                        <a:pt x="606687" y="11903"/>
                      </a:lnTo>
                      <a:lnTo>
                        <a:pt x="609067" y="11374"/>
                      </a:lnTo>
                      <a:lnTo>
                        <a:pt x="612241" y="11903"/>
                      </a:lnTo>
                      <a:lnTo>
                        <a:pt x="615768" y="10492"/>
                      </a:lnTo>
                      <a:lnTo>
                        <a:pt x="618678" y="10756"/>
                      </a:lnTo>
                      <a:lnTo>
                        <a:pt x="620970" y="10492"/>
                      </a:lnTo>
                      <a:lnTo>
                        <a:pt x="626525" y="11021"/>
                      </a:lnTo>
                      <a:lnTo>
                        <a:pt x="628905" y="11638"/>
                      </a:lnTo>
                      <a:lnTo>
                        <a:pt x="629434" y="13137"/>
                      </a:lnTo>
                      <a:lnTo>
                        <a:pt x="619824" y="11903"/>
                      </a:lnTo>
                      <a:lnTo>
                        <a:pt x="625995" y="14812"/>
                      </a:lnTo>
                      <a:lnTo>
                        <a:pt x="614886" y="16928"/>
                      </a:lnTo>
                      <a:lnTo>
                        <a:pt x="619824" y="17457"/>
                      </a:lnTo>
                      <a:lnTo>
                        <a:pt x="624761" y="17457"/>
                      </a:lnTo>
                      <a:lnTo>
                        <a:pt x="625995" y="19221"/>
                      </a:lnTo>
                      <a:lnTo>
                        <a:pt x="627671" y="18074"/>
                      </a:lnTo>
                      <a:lnTo>
                        <a:pt x="631197" y="19838"/>
                      </a:lnTo>
                      <a:lnTo>
                        <a:pt x="633225" y="18604"/>
                      </a:lnTo>
                      <a:lnTo>
                        <a:pt x="636752" y="20102"/>
                      </a:lnTo>
                      <a:lnTo>
                        <a:pt x="641160" y="19838"/>
                      </a:lnTo>
                      <a:lnTo>
                        <a:pt x="642571" y="18339"/>
                      </a:lnTo>
                      <a:lnTo>
                        <a:pt x="647861" y="18604"/>
                      </a:lnTo>
                      <a:lnTo>
                        <a:pt x="652181" y="20720"/>
                      </a:lnTo>
                      <a:lnTo>
                        <a:pt x="653680" y="18074"/>
                      </a:lnTo>
                      <a:lnTo>
                        <a:pt x="659764" y="20720"/>
                      </a:lnTo>
                      <a:lnTo>
                        <a:pt x="661792" y="16576"/>
                      </a:lnTo>
                      <a:lnTo>
                        <a:pt x="666200" y="18339"/>
                      </a:lnTo>
                      <a:lnTo>
                        <a:pt x="667964" y="18339"/>
                      </a:lnTo>
                      <a:lnTo>
                        <a:pt x="671138" y="21601"/>
                      </a:lnTo>
                      <a:lnTo>
                        <a:pt x="676957" y="22395"/>
                      </a:lnTo>
                      <a:lnTo>
                        <a:pt x="677574" y="25040"/>
                      </a:lnTo>
                      <a:lnTo>
                        <a:pt x="681101" y="22395"/>
                      </a:lnTo>
                      <a:lnTo>
                        <a:pt x="682864" y="27685"/>
                      </a:lnTo>
                      <a:lnTo>
                        <a:pt x="687537" y="25392"/>
                      </a:lnTo>
                      <a:lnTo>
                        <a:pt x="690711" y="26803"/>
                      </a:lnTo>
                      <a:lnTo>
                        <a:pt x="694767" y="24775"/>
                      </a:lnTo>
                      <a:lnTo>
                        <a:pt x="701820" y="25392"/>
                      </a:lnTo>
                      <a:lnTo>
                        <a:pt x="708786" y="26539"/>
                      </a:lnTo>
                      <a:lnTo>
                        <a:pt x="709667" y="29448"/>
                      </a:lnTo>
                      <a:lnTo>
                        <a:pt x="716721" y="30065"/>
                      </a:lnTo>
                      <a:lnTo>
                        <a:pt x="719630" y="31741"/>
                      </a:lnTo>
                      <a:lnTo>
                        <a:pt x="723951" y="31212"/>
                      </a:lnTo>
                      <a:lnTo>
                        <a:pt x="727213" y="28831"/>
                      </a:lnTo>
                      <a:lnTo>
                        <a:pt x="731533" y="27685"/>
                      </a:lnTo>
                      <a:lnTo>
                        <a:pt x="733296" y="30859"/>
                      </a:lnTo>
                      <a:lnTo>
                        <a:pt x="735677" y="27949"/>
                      </a:lnTo>
                      <a:lnTo>
                        <a:pt x="738234" y="29448"/>
                      </a:lnTo>
                      <a:lnTo>
                        <a:pt x="742378" y="28567"/>
                      </a:lnTo>
                      <a:lnTo>
                        <a:pt x="745816" y="27068"/>
                      </a:lnTo>
                      <a:lnTo>
                        <a:pt x="748197" y="27685"/>
                      </a:lnTo>
                      <a:lnTo>
                        <a:pt x="748461" y="30330"/>
                      </a:lnTo>
                      <a:lnTo>
                        <a:pt x="753399" y="30065"/>
                      </a:lnTo>
                      <a:lnTo>
                        <a:pt x="756308" y="29713"/>
                      </a:lnTo>
                      <a:lnTo>
                        <a:pt x="758072" y="32093"/>
                      </a:lnTo>
                      <a:lnTo>
                        <a:pt x="757807" y="36414"/>
                      </a:lnTo>
                      <a:lnTo>
                        <a:pt x="760717" y="37031"/>
                      </a:lnTo>
                      <a:lnTo>
                        <a:pt x="738234" y="55105"/>
                      </a:lnTo>
                      <a:lnTo>
                        <a:pt x="722540" y="68242"/>
                      </a:lnTo>
                      <a:lnTo>
                        <a:pt x="580501" y="193353"/>
                      </a:lnTo>
                      <a:lnTo>
                        <a:pt x="543734" y="22809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4" name="Freihandform: Form 1733">
                  <a:extLst>
                    <a:ext uri="{FF2B5EF4-FFF2-40B4-BE49-F238E27FC236}">
                      <a16:creationId xmlns:a16="http://schemas.microsoft.com/office/drawing/2014/main" id="{3750C2EF-554E-1B56-FBAA-556068BCD575}"/>
                    </a:ext>
                  </a:extLst>
                </p:cNvPr>
                <p:cNvSpPr/>
                <p:nvPr/>
              </p:nvSpPr>
              <p:spPr>
                <a:xfrm>
                  <a:off x="1176948" y="2590783"/>
                  <a:ext cx="33239" cy="18691"/>
                </a:xfrm>
                <a:custGeom>
                  <a:avLst/>
                  <a:gdLst>
                    <a:gd name="connsiteX0" fmla="*/ 16047 w 33239"/>
                    <a:gd name="connsiteY0" fmla="*/ 6701 h 18691"/>
                    <a:gd name="connsiteX1" fmla="*/ 28038 w 33239"/>
                    <a:gd name="connsiteY1" fmla="*/ 10492 h 18691"/>
                    <a:gd name="connsiteX2" fmla="*/ 29184 w 33239"/>
                    <a:gd name="connsiteY2" fmla="*/ 10492 h 18691"/>
                    <a:gd name="connsiteX3" fmla="*/ 33239 w 33239"/>
                    <a:gd name="connsiteY3" fmla="*/ 11374 h 18691"/>
                    <a:gd name="connsiteX4" fmla="*/ 26010 w 33239"/>
                    <a:gd name="connsiteY4" fmla="*/ 14900 h 18691"/>
                    <a:gd name="connsiteX5" fmla="*/ 18692 w 33239"/>
                    <a:gd name="connsiteY5" fmla="*/ 14019 h 18691"/>
                    <a:gd name="connsiteX6" fmla="*/ 9963 w 33239"/>
                    <a:gd name="connsiteY6" fmla="*/ 18692 h 18691"/>
                    <a:gd name="connsiteX7" fmla="*/ 5819 w 33239"/>
                    <a:gd name="connsiteY7" fmla="*/ 18692 h 18691"/>
                    <a:gd name="connsiteX8" fmla="*/ 9610 w 33239"/>
                    <a:gd name="connsiteY8" fmla="*/ 14900 h 18691"/>
                    <a:gd name="connsiteX9" fmla="*/ 3791 w 33239"/>
                    <a:gd name="connsiteY9" fmla="*/ 18075 h 18691"/>
                    <a:gd name="connsiteX10" fmla="*/ 5819 w 33239"/>
                    <a:gd name="connsiteY10" fmla="*/ 10492 h 18691"/>
                    <a:gd name="connsiteX11" fmla="*/ 4144 w 33239"/>
                    <a:gd name="connsiteY11" fmla="*/ 12520 h 18691"/>
                    <a:gd name="connsiteX12" fmla="*/ 0 w 33239"/>
                    <a:gd name="connsiteY12" fmla="*/ 15429 h 18691"/>
                    <a:gd name="connsiteX13" fmla="*/ 0 w 33239"/>
                    <a:gd name="connsiteY13" fmla="*/ 10228 h 18691"/>
                    <a:gd name="connsiteX14" fmla="*/ 5290 w 33239"/>
                    <a:gd name="connsiteY14" fmla="*/ 6084 h 18691"/>
                    <a:gd name="connsiteX15" fmla="*/ 3527 w 33239"/>
                    <a:gd name="connsiteY15" fmla="*/ 3791 h 18691"/>
                    <a:gd name="connsiteX16" fmla="*/ 7582 w 33239"/>
                    <a:gd name="connsiteY16" fmla="*/ 0 h 18691"/>
                    <a:gd name="connsiteX17" fmla="*/ 17810 w 33239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3239" h="18691">
                      <a:moveTo>
                        <a:pt x="16047" y="6701"/>
                      </a:moveTo>
                      <a:lnTo>
                        <a:pt x="28038" y="10492"/>
                      </a:lnTo>
                      <a:lnTo>
                        <a:pt x="29184" y="10492"/>
                      </a:lnTo>
                      <a:lnTo>
                        <a:pt x="33239" y="11374"/>
                      </a:lnTo>
                      <a:lnTo>
                        <a:pt x="26010" y="14900"/>
                      </a:lnTo>
                      <a:lnTo>
                        <a:pt x="18692" y="14019"/>
                      </a:lnTo>
                      <a:lnTo>
                        <a:pt x="9963" y="18692"/>
                      </a:lnTo>
                      <a:lnTo>
                        <a:pt x="5819" y="18692"/>
                      </a:lnTo>
                      <a:lnTo>
                        <a:pt x="9610" y="14900"/>
                      </a:lnTo>
                      <a:lnTo>
                        <a:pt x="3791" y="18075"/>
                      </a:lnTo>
                      <a:lnTo>
                        <a:pt x="5819" y="10492"/>
                      </a:lnTo>
                      <a:lnTo>
                        <a:pt x="4144" y="12520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5290" y="6084"/>
                      </a:lnTo>
                      <a:lnTo>
                        <a:pt x="3527" y="3791"/>
                      </a:lnTo>
                      <a:lnTo>
                        <a:pt x="7582" y="0"/>
                      </a:lnTo>
                      <a:lnTo>
                        <a:pt x="17810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5" name="Freihandform: Form 1734">
                  <a:extLst>
                    <a:ext uri="{FF2B5EF4-FFF2-40B4-BE49-F238E27FC236}">
                      <a16:creationId xmlns:a16="http://schemas.microsoft.com/office/drawing/2014/main" id="{9062BED1-5614-2092-ECB0-76361796D54F}"/>
                    </a:ext>
                  </a:extLst>
                </p:cNvPr>
                <p:cNvSpPr/>
                <p:nvPr/>
              </p:nvSpPr>
              <p:spPr>
                <a:xfrm>
                  <a:off x="1138154" y="2783607"/>
                  <a:ext cx="12608" cy="5819"/>
                </a:xfrm>
                <a:custGeom>
                  <a:avLst/>
                  <a:gdLst>
                    <a:gd name="connsiteX0" fmla="*/ 0 w 12608"/>
                    <a:gd name="connsiteY0" fmla="*/ 2557 h 5819"/>
                    <a:gd name="connsiteX1" fmla="*/ 1234 w 12608"/>
                    <a:gd name="connsiteY1" fmla="*/ 529 h 5819"/>
                    <a:gd name="connsiteX2" fmla="*/ 4144 w 12608"/>
                    <a:gd name="connsiteY2" fmla="*/ 1146 h 5819"/>
                    <a:gd name="connsiteX3" fmla="*/ 6701 w 12608"/>
                    <a:gd name="connsiteY3" fmla="*/ 1411 h 5819"/>
                    <a:gd name="connsiteX4" fmla="*/ 7935 w 12608"/>
                    <a:gd name="connsiteY4" fmla="*/ 0 h 5819"/>
                    <a:gd name="connsiteX5" fmla="*/ 9610 w 12608"/>
                    <a:gd name="connsiteY5" fmla="*/ 793 h 5819"/>
                    <a:gd name="connsiteX6" fmla="*/ 11991 w 12608"/>
                    <a:gd name="connsiteY6" fmla="*/ 793 h 5819"/>
                    <a:gd name="connsiteX7" fmla="*/ 12608 w 12608"/>
                    <a:gd name="connsiteY7" fmla="*/ 3439 h 5819"/>
                    <a:gd name="connsiteX8" fmla="*/ 11374 w 12608"/>
                    <a:gd name="connsiteY8" fmla="*/ 4585 h 5819"/>
                    <a:gd name="connsiteX9" fmla="*/ 10845 w 12608"/>
                    <a:gd name="connsiteY9" fmla="*/ 5819 h 5819"/>
                    <a:gd name="connsiteX10" fmla="*/ 8464 w 12608"/>
                    <a:gd name="connsiteY10" fmla="*/ 5819 h 5819"/>
                    <a:gd name="connsiteX11" fmla="*/ 5026 w 12608"/>
                    <a:gd name="connsiteY11" fmla="*/ 4320 h 5819"/>
                    <a:gd name="connsiteX12" fmla="*/ 353 w 12608"/>
                    <a:gd name="connsiteY12" fmla="*/ 4585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608" h="5819">
                      <a:moveTo>
                        <a:pt x="0" y="2557"/>
                      </a:moveTo>
                      <a:lnTo>
                        <a:pt x="1234" y="529"/>
                      </a:lnTo>
                      <a:lnTo>
                        <a:pt x="4144" y="1146"/>
                      </a:lnTo>
                      <a:lnTo>
                        <a:pt x="6701" y="1411"/>
                      </a:lnTo>
                      <a:lnTo>
                        <a:pt x="7935" y="0"/>
                      </a:lnTo>
                      <a:lnTo>
                        <a:pt x="9610" y="793"/>
                      </a:lnTo>
                      <a:lnTo>
                        <a:pt x="11991" y="793"/>
                      </a:lnTo>
                      <a:lnTo>
                        <a:pt x="12608" y="3439"/>
                      </a:lnTo>
                      <a:lnTo>
                        <a:pt x="11374" y="4585"/>
                      </a:lnTo>
                      <a:lnTo>
                        <a:pt x="10845" y="5819"/>
                      </a:lnTo>
                      <a:lnTo>
                        <a:pt x="8464" y="5819"/>
                      </a:lnTo>
                      <a:lnTo>
                        <a:pt x="5026" y="4320"/>
                      </a:lnTo>
                      <a:lnTo>
                        <a:pt x="353" y="458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6" name="Freihandform: Form 1735">
                  <a:extLst>
                    <a:ext uri="{FF2B5EF4-FFF2-40B4-BE49-F238E27FC236}">
                      <a16:creationId xmlns:a16="http://schemas.microsoft.com/office/drawing/2014/main" id="{E506C8F3-5E20-4533-E1DE-C825FB86CD7D}"/>
                    </a:ext>
                  </a:extLst>
                </p:cNvPr>
                <p:cNvSpPr/>
                <p:nvPr/>
              </p:nvSpPr>
              <p:spPr>
                <a:xfrm>
                  <a:off x="1279929" y="2535677"/>
                  <a:ext cx="9963" cy="3438"/>
                </a:xfrm>
                <a:custGeom>
                  <a:avLst/>
                  <a:gdLst>
                    <a:gd name="connsiteX0" fmla="*/ 0 w 9963"/>
                    <a:gd name="connsiteY0" fmla="*/ 2910 h 3438"/>
                    <a:gd name="connsiteX1" fmla="*/ 9346 w 9963"/>
                    <a:gd name="connsiteY1" fmla="*/ 0 h 3438"/>
                    <a:gd name="connsiteX2" fmla="*/ 9963 w 9963"/>
                    <a:gd name="connsiteY2" fmla="*/ 0 h 3438"/>
                    <a:gd name="connsiteX3" fmla="*/ 4408 w 9963"/>
                    <a:gd name="connsiteY3" fmla="*/ 3439 h 34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63" h="3438">
                      <a:moveTo>
                        <a:pt x="0" y="2910"/>
                      </a:moveTo>
                      <a:lnTo>
                        <a:pt x="9346" y="0"/>
                      </a:lnTo>
                      <a:lnTo>
                        <a:pt x="9963" y="0"/>
                      </a:lnTo>
                      <a:lnTo>
                        <a:pt x="4408" y="343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7" name="Freihandform: Form 1736">
                  <a:extLst>
                    <a:ext uri="{FF2B5EF4-FFF2-40B4-BE49-F238E27FC236}">
                      <a16:creationId xmlns:a16="http://schemas.microsoft.com/office/drawing/2014/main" id="{E4A6E719-6F7D-D370-ABF5-81359345DB94}"/>
                    </a:ext>
                  </a:extLst>
                </p:cNvPr>
                <p:cNvSpPr/>
                <p:nvPr/>
              </p:nvSpPr>
              <p:spPr>
                <a:xfrm>
                  <a:off x="1280810" y="2538851"/>
                  <a:ext cx="10756" cy="4408"/>
                </a:xfrm>
                <a:custGeom>
                  <a:avLst/>
                  <a:gdLst>
                    <a:gd name="connsiteX0" fmla="*/ 6965 w 10756"/>
                    <a:gd name="connsiteY0" fmla="*/ 0 h 4408"/>
                    <a:gd name="connsiteX1" fmla="*/ 10757 w 10756"/>
                    <a:gd name="connsiteY1" fmla="*/ 882 h 4408"/>
                    <a:gd name="connsiteX2" fmla="*/ 2028 w 10756"/>
                    <a:gd name="connsiteY2" fmla="*/ 4408 h 4408"/>
                    <a:gd name="connsiteX3" fmla="*/ 0 w 10756"/>
                    <a:gd name="connsiteY3" fmla="*/ 3527 h 4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756" h="4408">
                      <a:moveTo>
                        <a:pt x="6965" y="0"/>
                      </a:moveTo>
                      <a:lnTo>
                        <a:pt x="10757" y="882"/>
                      </a:lnTo>
                      <a:lnTo>
                        <a:pt x="2028" y="4408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8" name="Freihandform: Form 1737">
                  <a:extLst>
                    <a:ext uri="{FF2B5EF4-FFF2-40B4-BE49-F238E27FC236}">
                      <a16:creationId xmlns:a16="http://schemas.microsoft.com/office/drawing/2014/main" id="{DE446C14-1D61-2E30-905E-3C57B8D50F1A}"/>
                    </a:ext>
                  </a:extLst>
                </p:cNvPr>
                <p:cNvSpPr/>
                <p:nvPr/>
              </p:nvSpPr>
              <p:spPr>
                <a:xfrm>
                  <a:off x="999906" y="2737230"/>
                  <a:ext cx="6700" cy="2292"/>
                </a:xfrm>
                <a:custGeom>
                  <a:avLst/>
                  <a:gdLst>
                    <a:gd name="connsiteX0" fmla="*/ 3791 w 6700"/>
                    <a:gd name="connsiteY0" fmla="*/ 0 h 2292"/>
                    <a:gd name="connsiteX1" fmla="*/ 6701 w 6700"/>
                    <a:gd name="connsiteY1" fmla="*/ 1146 h 2292"/>
                    <a:gd name="connsiteX2" fmla="*/ 882 w 6700"/>
                    <a:gd name="connsiteY2" fmla="*/ 2292 h 2292"/>
                    <a:gd name="connsiteX3" fmla="*/ 0 w 6700"/>
                    <a:gd name="connsiteY3" fmla="*/ 1411 h 2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00" h="2292">
                      <a:moveTo>
                        <a:pt x="3791" y="0"/>
                      </a:moveTo>
                      <a:lnTo>
                        <a:pt x="6701" y="1146"/>
                      </a:lnTo>
                      <a:lnTo>
                        <a:pt x="882" y="2292"/>
                      </a:lnTo>
                      <a:lnTo>
                        <a:pt x="0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9" name="Freihandform: Form 1738">
                  <a:extLst>
                    <a:ext uri="{FF2B5EF4-FFF2-40B4-BE49-F238E27FC236}">
                      <a16:creationId xmlns:a16="http://schemas.microsoft.com/office/drawing/2014/main" id="{14556D7E-DA39-0CB1-1E09-80E5A4859398}"/>
                    </a:ext>
                  </a:extLst>
                </p:cNvPr>
                <p:cNvSpPr/>
                <p:nvPr/>
              </p:nvSpPr>
              <p:spPr>
                <a:xfrm>
                  <a:off x="1031735" y="2788544"/>
                  <a:ext cx="32357" cy="15164"/>
                </a:xfrm>
                <a:custGeom>
                  <a:avLst/>
                  <a:gdLst>
                    <a:gd name="connsiteX0" fmla="*/ 32093 w 32357"/>
                    <a:gd name="connsiteY0" fmla="*/ 0 h 15164"/>
                    <a:gd name="connsiteX1" fmla="*/ 31212 w 32357"/>
                    <a:gd name="connsiteY1" fmla="*/ 6965 h 15164"/>
                    <a:gd name="connsiteX2" fmla="*/ 32358 w 32357"/>
                    <a:gd name="connsiteY2" fmla="*/ 6084 h 15164"/>
                    <a:gd name="connsiteX3" fmla="*/ 31476 w 32357"/>
                    <a:gd name="connsiteY3" fmla="*/ 9610 h 15164"/>
                    <a:gd name="connsiteX4" fmla="*/ 27949 w 32357"/>
                    <a:gd name="connsiteY4" fmla="*/ 6965 h 15164"/>
                    <a:gd name="connsiteX5" fmla="*/ 25393 w 32357"/>
                    <a:gd name="connsiteY5" fmla="*/ 9610 h 15164"/>
                    <a:gd name="connsiteX6" fmla="*/ 21601 w 32357"/>
                    <a:gd name="connsiteY6" fmla="*/ 9346 h 15164"/>
                    <a:gd name="connsiteX7" fmla="*/ 19485 w 32357"/>
                    <a:gd name="connsiteY7" fmla="*/ 11638 h 15164"/>
                    <a:gd name="connsiteX8" fmla="*/ 18339 w 32357"/>
                    <a:gd name="connsiteY8" fmla="*/ 10139 h 15164"/>
                    <a:gd name="connsiteX9" fmla="*/ 12520 w 32357"/>
                    <a:gd name="connsiteY9" fmla="*/ 12784 h 15164"/>
                    <a:gd name="connsiteX10" fmla="*/ 4056 w 32357"/>
                    <a:gd name="connsiteY10" fmla="*/ 15165 h 15164"/>
                    <a:gd name="connsiteX11" fmla="*/ 0 w 32357"/>
                    <a:gd name="connsiteY11" fmla="*/ 13931 h 15164"/>
                    <a:gd name="connsiteX12" fmla="*/ 264 w 32357"/>
                    <a:gd name="connsiteY12" fmla="*/ 11903 h 15164"/>
                    <a:gd name="connsiteX13" fmla="*/ 2028 w 32357"/>
                    <a:gd name="connsiteY13" fmla="*/ 10139 h 15164"/>
                    <a:gd name="connsiteX14" fmla="*/ 5555 w 32357"/>
                    <a:gd name="connsiteY14" fmla="*/ 7230 h 15164"/>
                    <a:gd name="connsiteX15" fmla="*/ 10757 w 32357"/>
                    <a:gd name="connsiteY15" fmla="*/ 6965 h 15164"/>
                    <a:gd name="connsiteX16" fmla="*/ 13666 w 32357"/>
                    <a:gd name="connsiteY16" fmla="*/ 2292 h 15164"/>
                    <a:gd name="connsiteX17" fmla="*/ 17810 w 32357"/>
                    <a:gd name="connsiteY17" fmla="*/ 3174 h 15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2357" h="15164">
                      <a:moveTo>
                        <a:pt x="32093" y="0"/>
                      </a:moveTo>
                      <a:lnTo>
                        <a:pt x="31212" y="6965"/>
                      </a:lnTo>
                      <a:lnTo>
                        <a:pt x="32358" y="6084"/>
                      </a:lnTo>
                      <a:lnTo>
                        <a:pt x="31476" y="9610"/>
                      </a:lnTo>
                      <a:lnTo>
                        <a:pt x="27949" y="6965"/>
                      </a:lnTo>
                      <a:lnTo>
                        <a:pt x="25393" y="9610"/>
                      </a:lnTo>
                      <a:lnTo>
                        <a:pt x="21601" y="9346"/>
                      </a:lnTo>
                      <a:lnTo>
                        <a:pt x="19485" y="11638"/>
                      </a:lnTo>
                      <a:lnTo>
                        <a:pt x="18339" y="10139"/>
                      </a:lnTo>
                      <a:lnTo>
                        <a:pt x="12520" y="12784"/>
                      </a:lnTo>
                      <a:lnTo>
                        <a:pt x="4056" y="15165"/>
                      </a:lnTo>
                      <a:lnTo>
                        <a:pt x="0" y="13931"/>
                      </a:lnTo>
                      <a:lnTo>
                        <a:pt x="264" y="11903"/>
                      </a:lnTo>
                      <a:lnTo>
                        <a:pt x="2028" y="10139"/>
                      </a:lnTo>
                      <a:lnTo>
                        <a:pt x="5555" y="7230"/>
                      </a:lnTo>
                      <a:lnTo>
                        <a:pt x="10757" y="6965"/>
                      </a:lnTo>
                      <a:lnTo>
                        <a:pt x="13666" y="2292"/>
                      </a:lnTo>
                      <a:lnTo>
                        <a:pt x="17810" y="317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0" name="Freihandform: Form 1739">
                  <a:extLst>
                    <a:ext uri="{FF2B5EF4-FFF2-40B4-BE49-F238E27FC236}">
                      <a16:creationId xmlns:a16="http://schemas.microsoft.com/office/drawing/2014/main" id="{644D082B-0D54-A9CF-4144-DD302DCFC2DE}"/>
                    </a:ext>
                  </a:extLst>
                </p:cNvPr>
                <p:cNvSpPr/>
                <p:nvPr/>
              </p:nvSpPr>
              <p:spPr>
                <a:xfrm>
                  <a:off x="939863" y="2805737"/>
                  <a:ext cx="80497" cy="26274"/>
                </a:xfrm>
                <a:custGeom>
                  <a:avLst/>
                  <a:gdLst>
                    <a:gd name="connsiteX0" fmla="*/ 41439 w 80497"/>
                    <a:gd name="connsiteY0" fmla="*/ 8111 h 26274"/>
                    <a:gd name="connsiteX1" fmla="*/ 47523 w 80497"/>
                    <a:gd name="connsiteY1" fmla="*/ 6436 h 26274"/>
                    <a:gd name="connsiteX2" fmla="*/ 57750 w 80497"/>
                    <a:gd name="connsiteY2" fmla="*/ 6436 h 26274"/>
                    <a:gd name="connsiteX3" fmla="*/ 61542 w 80497"/>
                    <a:gd name="connsiteY3" fmla="*/ 2292 h 26274"/>
                    <a:gd name="connsiteX4" fmla="*/ 65597 w 80497"/>
                    <a:gd name="connsiteY4" fmla="*/ 1146 h 26274"/>
                    <a:gd name="connsiteX5" fmla="*/ 70535 w 80497"/>
                    <a:gd name="connsiteY5" fmla="*/ 1146 h 26274"/>
                    <a:gd name="connsiteX6" fmla="*/ 75825 w 80497"/>
                    <a:gd name="connsiteY6" fmla="*/ 0 h 26274"/>
                    <a:gd name="connsiteX7" fmla="*/ 78999 w 80497"/>
                    <a:gd name="connsiteY7" fmla="*/ 1146 h 26274"/>
                    <a:gd name="connsiteX8" fmla="*/ 80498 w 80497"/>
                    <a:gd name="connsiteY8" fmla="*/ 4056 h 26274"/>
                    <a:gd name="connsiteX9" fmla="*/ 76706 w 80497"/>
                    <a:gd name="connsiteY9" fmla="*/ 4937 h 26274"/>
                    <a:gd name="connsiteX10" fmla="*/ 74943 w 80497"/>
                    <a:gd name="connsiteY10" fmla="*/ 3527 h 26274"/>
                    <a:gd name="connsiteX11" fmla="*/ 70535 w 80497"/>
                    <a:gd name="connsiteY11" fmla="*/ 5819 h 26274"/>
                    <a:gd name="connsiteX12" fmla="*/ 61806 w 80497"/>
                    <a:gd name="connsiteY12" fmla="*/ 8111 h 26274"/>
                    <a:gd name="connsiteX13" fmla="*/ 57398 w 80497"/>
                    <a:gd name="connsiteY13" fmla="*/ 11109 h 26274"/>
                    <a:gd name="connsiteX14" fmla="*/ 52196 w 80497"/>
                    <a:gd name="connsiteY14" fmla="*/ 9875 h 26274"/>
                    <a:gd name="connsiteX15" fmla="*/ 46377 w 80497"/>
                    <a:gd name="connsiteY15" fmla="*/ 13137 h 26274"/>
                    <a:gd name="connsiteX16" fmla="*/ 36414 w 80497"/>
                    <a:gd name="connsiteY16" fmla="*/ 13402 h 26274"/>
                    <a:gd name="connsiteX17" fmla="*/ 34121 w 80497"/>
                    <a:gd name="connsiteY17" fmla="*/ 15782 h 26274"/>
                    <a:gd name="connsiteX18" fmla="*/ 40205 w 80497"/>
                    <a:gd name="connsiteY18" fmla="*/ 14283 h 26274"/>
                    <a:gd name="connsiteX19" fmla="*/ 41439 w 80497"/>
                    <a:gd name="connsiteY19" fmla="*/ 14283 h 26274"/>
                    <a:gd name="connsiteX20" fmla="*/ 39059 w 80497"/>
                    <a:gd name="connsiteY20" fmla="*/ 15782 h 26274"/>
                    <a:gd name="connsiteX21" fmla="*/ 33239 w 80497"/>
                    <a:gd name="connsiteY21" fmla="*/ 20984 h 26274"/>
                    <a:gd name="connsiteX22" fmla="*/ 27685 w 80497"/>
                    <a:gd name="connsiteY22" fmla="*/ 23629 h 26274"/>
                    <a:gd name="connsiteX23" fmla="*/ 30330 w 80497"/>
                    <a:gd name="connsiteY23" fmla="*/ 23365 h 26274"/>
                    <a:gd name="connsiteX24" fmla="*/ 23012 w 80497"/>
                    <a:gd name="connsiteY24" fmla="*/ 24775 h 26274"/>
                    <a:gd name="connsiteX25" fmla="*/ 16576 w 80497"/>
                    <a:gd name="connsiteY25" fmla="*/ 23365 h 26274"/>
                    <a:gd name="connsiteX26" fmla="*/ 6701 w 80497"/>
                    <a:gd name="connsiteY26" fmla="*/ 25393 h 26274"/>
                    <a:gd name="connsiteX27" fmla="*/ 0 w 80497"/>
                    <a:gd name="connsiteY27" fmla="*/ 26274 h 26274"/>
                    <a:gd name="connsiteX28" fmla="*/ 882 w 80497"/>
                    <a:gd name="connsiteY28" fmla="*/ 24158 h 26274"/>
                    <a:gd name="connsiteX29" fmla="*/ 22747 w 80497"/>
                    <a:gd name="connsiteY29" fmla="*/ 19221 h 26274"/>
                    <a:gd name="connsiteX30" fmla="*/ 19838 w 80497"/>
                    <a:gd name="connsiteY30" fmla="*/ 18075 h 26274"/>
                    <a:gd name="connsiteX31" fmla="*/ 26539 w 80497"/>
                    <a:gd name="connsiteY31" fmla="*/ 14283 h 26274"/>
                    <a:gd name="connsiteX32" fmla="*/ 27068 w 80497"/>
                    <a:gd name="connsiteY32" fmla="*/ 17457 h 26274"/>
                    <a:gd name="connsiteX33" fmla="*/ 33239 w 80497"/>
                    <a:gd name="connsiteY33" fmla="*/ 14900 h 26274"/>
                    <a:gd name="connsiteX34" fmla="*/ 26186 w 80497"/>
                    <a:gd name="connsiteY34" fmla="*/ 12255 h 26274"/>
                    <a:gd name="connsiteX35" fmla="*/ 33239 w 80497"/>
                    <a:gd name="connsiteY35" fmla="*/ 8111 h 26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80497" h="26274">
                      <a:moveTo>
                        <a:pt x="41439" y="8111"/>
                      </a:moveTo>
                      <a:lnTo>
                        <a:pt x="47523" y="6436"/>
                      </a:lnTo>
                      <a:lnTo>
                        <a:pt x="57750" y="6436"/>
                      </a:lnTo>
                      <a:lnTo>
                        <a:pt x="61542" y="2292"/>
                      </a:lnTo>
                      <a:lnTo>
                        <a:pt x="65597" y="1146"/>
                      </a:lnTo>
                      <a:lnTo>
                        <a:pt x="70535" y="1146"/>
                      </a:lnTo>
                      <a:lnTo>
                        <a:pt x="75825" y="0"/>
                      </a:lnTo>
                      <a:lnTo>
                        <a:pt x="78999" y="1146"/>
                      </a:lnTo>
                      <a:lnTo>
                        <a:pt x="80498" y="4056"/>
                      </a:lnTo>
                      <a:lnTo>
                        <a:pt x="76706" y="4937"/>
                      </a:lnTo>
                      <a:lnTo>
                        <a:pt x="74943" y="3527"/>
                      </a:lnTo>
                      <a:lnTo>
                        <a:pt x="70535" y="5819"/>
                      </a:lnTo>
                      <a:lnTo>
                        <a:pt x="61806" y="8111"/>
                      </a:lnTo>
                      <a:lnTo>
                        <a:pt x="57398" y="11109"/>
                      </a:lnTo>
                      <a:lnTo>
                        <a:pt x="52196" y="9875"/>
                      </a:lnTo>
                      <a:lnTo>
                        <a:pt x="46377" y="13137"/>
                      </a:lnTo>
                      <a:lnTo>
                        <a:pt x="36414" y="13402"/>
                      </a:lnTo>
                      <a:lnTo>
                        <a:pt x="34121" y="15782"/>
                      </a:lnTo>
                      <a:lnTo>
                        <a:pt x="40205" y="14283"/>
                      </a:lnTo>
                      <a:lnTo>
                        <a:pt x="41439" y="14283"/>
                      </a:lnTo>
                      <a:lnTo>
                        <a:pt x="39059" y="15782"/>
                      </a:lnTo>
                      <a:lnTo>
                        <a:pt x="33239" y="20984"/>
                      </a:lnTo>
                      <a:lnTo>
                        <a:pt x="27685" y="23629"/>
                      </a:lnTo>
                      <a:lnTo>
                        <a:pt x="30330" y="23365"/>
                      </a:lnTo>
                      <a:lnTo>
                        <a:pt x="23012" y="24775"/>
                      </a:lnTo>
                      <a:lnTo>
                        <a:pt x="16576" y="23365"/>
                      </a:lnTo>
                      <a:lnTo>
                        <a:pt x="6701" y="25393"/>
                      </a:lnTo>
                      <a:lnTo>
                        <a:pt x="0" y="26274"/>
                      </a:lnTo>
                      <a:lnTo>
                        <a:pt x="882" y="24158"/>
                      </a:lnTo>
                      <a:lnTo>
                        <a:pt x="22747" y="19221"/>
                      </a:lnTo>
                      <a:lnTo>
                        <a:pt x="19838" y="18075"/>
                      </a:lnTo>
                      <a:lnTo>
                        <a:pt x="26539" y="14283"/>
                      </a:lnTo>
                      <a:lnTo>
                        <a:pt x="27068" y="17457"/>
                      </a:lnTo>
                      <a:lnTo>
                        <a:pt x="33239" y="14900"/>
                      </a:lnTo>
                      <a:lnTo>
                        <a:pt x="26186" y="12255"/>
                      </a:lnTo>
                      <a:lnTo>
                        <a:pt x="33239" y="81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1" name="Freihandform: Form 1740">
                  <a:extLst>
                    <a:ext uri="{FF2B5EF4-FFF2-40B4-BE49-F238E27FC236}">
                      <a16:creationId xmlns:a16="http://schemas.microsoft.com/office/drawing/2014/main" id="{AE58B179-1FB1-8C63-3627-1058A9898404}"/>
                    </a:ext>
                  </a:extLst>
                </p:cNvPr>
                <p:cNvSpPr/>
                <p:nvPr/>
              </p:nvSpPr>
              <p:spPr>
                <a:xfrm>
                  <a:off x="904860" y="2823812"/>
                  <a:ext cx="40204" cy="18074"/>
                </a:xfrm>
                <a:custGeom>
                  <a:avLst/>
                  <a:gdLst>
                    <a:gd name="connsiteX0" fmla="*/ 40205 w 40204"/>
                    <a:gd name="connsiteY0" fmla="*/ 0 h 18074"/>
                    <a:gd name="connsiteX1" fmla="*/ 38794 w 40204"/>
                    <a:gd name="connsiteY1" fmla="*/ 3527 h 18074"/>
                    <a:gd name="connsiteX2" fmla="*/ 26539 w 40204"/>
                    <a:gd name="connsiteY2" fmla="*/ 11991 h 18074"/>
                    <a:gd name="connsiteX3" fmla="*/ 21513 w 40204"/>
                    <a:gd name="connsiteY3" fmla="*/ 12520 h 18074"/>
                    <a:gd name="connsiteX4" fmla="*/ 14812 w 40204"/>
                    <a:gd name="connsiteY4" fmla="*/ 13666 h 18074"/>
                    <a:gd name="connsiteX5" fmla="*/ 7230 w 40204"/>
                    <a:gd name="connsiteY5" fmla="*/ 15782 h 18074"/>
                    <a:gd name="connsiteX6" fmla="*/ 2910 w 40204"/>
                    <a:gd name="connsiteY6" fmla="*/ 17193 h 18074"/>
                    <a:gd name="connsiteX7" fmla="*/ 0 w 40204"/>
                    <a:gd name="connsiteY7" fmla="*/ 18075 h 18074"/>
                    <a:gd name="connsiteX8" fmla="*/ 10492 w 40204"/>
                    <a:gd name="connsiteY8" fmla="*/ 12784 h 18074"/>
                    <a:gd name="connsiteX9" fmla="*/ 15429 w 40204"/>
                    <a:gd name="connsiteY9" fmla="*/ 11109 h 18074"/>
                    <a:gd name="connsiteX10" fmla="*/ 16576 w 40204"/>
                    <a:gd name="connsiteY10" fmla="*/ 8464 h 18074"/>
                    <a:gd name="connsiteX11" fmla="*/ 24511 w 40204"/>
                    <a:gd name="connsiteY11" fmla="*/ 8200 h 18074"/>
                    <a:gd name="connsiteX12" fmla="*/ 25304 w 40204"/>
                    <a:gd name="connsiteY12" fmla="*/ 7318 h 18074"/>
                    <a:gd name="connsiteX13" fmla="*/ 30330 w 40204"/>
                    <a:gd name="connsiteY13" fmla="*/ 3174 h 18074"/>
                    <a:gd name="connsiteX14" fmla="*/ 33504 w 40204"/>
                    <a:gd name="connsiteY14" fmla="*/ 1146 h 18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0204" h="18074">
                      <a:moveTo>
                        <a:pt x="40205" y="0"/>
                      </a:moveTo>
                      <a:lnTo>
                        <a:pt x="38794" y="3527"/>
                      </a:lnTo>
                      <a:lnTo>
                        <a:pt x="26539" y="11991"/>
                      </a:lnTo>
                      <a:lnTo>
                        <a:pt x="21513" y="12520"/>
                      </a:lnTo>
                      <a:lnTo>
                        <a:pt x="14812" y="13666"/>
                      </a:lnTo>
                      <a:lnTo>
                        <a:pt x="7230" y="15782"/>
                      </a:lnTo>
                      <a:lnTo>
                        <a:pt x="2910" y="17193"/>
                      </a:lnTo>
                      <a:lnTo>
                        <a:pt x="0" y="18075"/>
                      </a:lnTo>
                      <a:lnTo>
                        <a:pt x="10492" y="12784"/>
                      </a:lnTo>
                      <a:lnTo>
                        <a:pt x="15429" y="11109"/>
                      </a:lnTo>
                      <a:lnTo>
                        <a:pt x="16576" y="8464"/>
                      </a:lnTo>
                      <a:lnTo>
                        <a:pt x="24511" y="8200"/>
                      </a:lnTo>
                      <a:lnTo>
                        <a:pt x="25304" y="7318"/>
                      </a:lnTo>
                      <a:lnTo>
                        <a:pt x="30330" y="3174"/>
                      </a:lnTo>
                      <a:lnTo>
                        <a:pt x="3350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2" name="Freihandform: Form 1741">
                  <a:extLst>
                    <a:ext uri="{FF2B5EF4-FFF2-40B4-BE49-F238E27FC236}">
                      <a16:creationId xmlns:a16="http://schemas.microsoft.com/office/drawing/2014/main" id="{927564C7-17C0-43C0-4158-94B07530772D}"/>
                    </a:ext>
                  </a:extLst>
                </p:cNvPr>
                <p:cNvSpPr/>
                <p:nvPr/>
              </p:nvSpPr>
              <p:spPr>
                <a:xfrm>
                  <a:off x="889695" y="2841357"/>
                  <a:ext cx="4055" cy="1675"/>
                </a:xfrm>
                <a:custGeom>
                  <a:avLst/>
                  <a:gdLst>
                    <a:gd name="connsiteX0" fmla="*/ 0 w 4055"/>
                    <a:gd name="connsiteY0" fmla="*/ 0 h 1675"/>
                    <a:gd name="connsiteX1" fmla="*/ 3791 w 4055"/>
                    <a:gd name="connsiteY1" fmla="*/ 1411 h 1675"/>
                    <a:gd name="connsiteX2" fmla="*/ 4056 w 4055"/>
                    <a:gd name="connsiteY2" fmla="*/ 1411 h 1675"/>
                    <a:gd name="connsiteX3" fmla="*/ 3174 w 4055"/>
                    <a:gd name="connsiteY3" fmla="*/ 1675 h 1675"/>
                    <a:gd name="connsiteX4" fmla="*/ 265 w 4055"/>
                    <a:gd name="connsiteY4" fmla="*/ 1146 h 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55" h="1675">
                      <a:moveTo>
                        <a:pt x="0" y="0"/>
                      </a:moveTo>
                      <a:lnTo>
                        <a:pt x="3791" y="1411"/>
                      </a:lnTo>
                      <a:lnTo>
                        <a:pt x="4056" y="1411"/>
                      </a:lnTo>
                      <a:lnTo>
                        <a:pt x="3174" y="1675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3" name="Freihandform: Form 1742">
                  <a:extLst>
                    <a:ext uri="{FF2B5EF4-FFF2-40B4-BE49-F238E27FC236}">
                      <a16:creationId xmlns:a16="http://schemas.microsoft.com/office/drawing/2014/main" id="{25796862-12AC-EB8A-D4EE-63D223B5FE76}"/>
                    </a:ext>
                  </a:extLst>
                </p:cNvPr>
                <p:cNvSpPr/>
                <p:nvPr/>
              </p:nvSpPr>
              <p:spPr>
                <a:xfrm>
                  <a:off x="867477" y="2844796"/>
                  <a:ext cx="7317" cy="3791"/>
                </a:xfrm>
                <a:custGeom>
                  <a:avLst/>
                  <a:gdLst>
                    <a:gd name="connsiteX0" fmla="*/ 7318 w 7317"/>
                    <a:gd name="connsiteY0" fmla="*/ 882 h 3791"/>
                    <a:gd name="connsiteX1" fmla="*/ 5026 w 7317"/>
                    <a:gd name="connsiteY1" fmla="*/ 3262 h 3791"/>
                    <a:gd name="connsiteX2" fmla="*/ 0 w 7317"/>
                    <a:gd name="connsiteY2" fmla="*/ 3791 h 3791"/>
                    <a:gd name="connsiteX3" fmla="*/ 4673 w 7317"/>
                    <a:gd name="connsiteY3" fmla="*/ 617 h 3791"/>
                    <a:gd name="connsiteX4" fmla="*/ 6701 w 7317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17" h="3791">
                      <a:moveTo>
                        <a:pt x="7318" y="882"/>
                      </a:moveTo>
                      <a:lnTo>
                        <a:pt x="5026" y="3262"/>
                      </a:lnTo>
                      <a:lnTo>
                        <a:pt x="0" y="3791"/>
                      </a:lnTo>
                      <a:lnTo>
                        <a:pt x="4673" y="617"/>
                      </a:lnTo>
                      <a:lnTo>
                        <a:pt x="6701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4" name="Freihandform: Form 1743">
                  <a:extLst>
                    <a:ext uri="{FF2B5EF4-FFF2-40B4-BE49-F238E27FC236}">
                      <a16:creationId xmlns:a16="http://schemas.microsoft.com/office/drawing/2014/main" id="{4779FA04-1262-F88A-5D9A-D5A8AC2EFA39}"/>
                    </a:ext>
                  </a:extLst>
                </p:cNvPr>
                <p:cNvSpPr/>
                <p:nvPr/>
              </p:nvSpPr>
              <p:spPr>
                <a:xfrm>
                  <a:off x="855574" y="2848851"/>
                  <a:ext cx="3174" cy="1498"/>
                </a:xfrm>
                <a:custGeom>
                  <a:avLst/>
                  <a:gdLst>
                    <a:gd name="connsiteX0" fmla="*/ 2028 w 3174"/>
                    <a:gd name="connsiteY0" fmla="*/ 0 h 1498"/>
                    <a:gd name="connsiteX1" fmla="*/ 3174 w 3174"/>
                    <a:gd name="connsiteY1" fmla="*/ 882 h 1498"/>
                    <a:gd name="connsiteX2" fmla="*/ 0 w 3174"/>
                    <a:gd name="connsiteY2" fmla="*/ 1499 h 1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74" h="1498">
                      <a:moveTo>
                        <a:pt x="2028" y="0"/>
                      </a:moveTo>
                      <a:lnTo>
                        <a:pt x="3174" y="882"/>
                      </a:lnTo>
                      <a:lnTo>
                        <a:pt x="0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5" name="Freihandform: Form 1744">
                  <a:extLst>
                    <a:ext uri="{FF2B5EF4-FFF2-40B4-BE49-F238E27FC236}">
                      <a16:creationId xmlns:a16="http://schemas.microsoft.com/office/drawing/2014/main" id="{7B158706-9696-2505-5F4A-D4EBECE1CF6F}"/>
                    </a:ext>
                  </a:extLst>
                </p:cNvPr>
                <p:cNvSpPr/>
                <p:nvPr/>
              </p:nvSpPr>
              <p:spPr>
                <a:xfrm>
                  <a:off x="1211951" y="2756186"/>
                  <a:ext cx="14635" cy="3174"/>
                </a:xfrm>
                <a:custGeom>
                  <a:avLst/>
                  <a:gdLst>
                    <a:gd name="connsiteX0" fmla="*/ 14636 w 14635"/>
                    <a:gd name="connsiteY0" fmla="*/ 1411 h 3174"/>
                    <a:gd name="connsiteX1" fmla="*/ 9081 w 14635"/>
                    <a:gd name="connsiteY1" fmla="*/ 3174 h 3174"/>
                    <a:gd name="connsiteX2" fmla="*/ 0 w 14635"/>
                    <a:gd name="connsiteY2" fmla="*/ 2557 h 3174"/>
                    <a:gd name="connsiteX3" fmla="*/ 353 w 14635"/>
                    <a:gd name="connsiteY3" fmla="*/ 529 h 3174"/>
                    <a:gd name="connsiteX4" fmla="*/ 6701 w 14635"/>
                    <a:gd name="connsiteY4" fmla="*/ 0 h 3174"/>
                    <a:gd name="connsiteX5" fmla="*/ 10492 w 14635"/>
                    <a:gd name="connsiteY5" fmla="*/ 264 h 3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635" h="3174">
                      <a:moveTo>
                        <a:pt x="14636" y="1411"/>
                      </a:moveTo>
                      <a:lnTo>
                        <a:pt x="9081" y="3174"/>
                      </a:lnTo>
                      <a:lnTo>
                        <a:pt x="0" y="2557"/>
                      </a:lnTo>
                      <a:lnTo>
                        <a:pt x="353" y="529"/>
                      </a:lnTo>
                      <a:lnTo>
                        <a:pt x="6701" y="0"/>
                      </a:lnTo>
                      <a:lnTo>
                        <a:pt x="10492" y="26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6" name="Freihandform: Form 1745">
                  <a:extLst>
                    <a:ext uri="{FF2B5EF4-FFF2-40B4-BE49-F238E27FC236}">
                      <a16:creationId xmlns:a16="http://schemas.microsoft.com/office/drawing/2014/main" id="{BD65746A-404B-058E-C13E-F6572B212B7A}"/>
                    </a:ext>
                  </a:extLst>
                </p:cNvPr>
                <p:cNvSpPr/>
                <p:nvPr/>
              </p:nvSpPr>
              <p:spPr>
                <a:xfrm>
                  <a:off x="1277019" y="2719949"/>
                  <a:ext cx="67096" cy="28302"/>
                </a:xfrm>
                <a:custGeom>
                  <a:avLst/>
                  <a:gdLst>
                    <a:gd name="connsiteX0" fmla="*/ 24775 w 67096"/>
                    <a:gd name="connsiteY0" fmla="*/ 8464 h 28302"/>
                    <a:gd name="connsiteX1" fmla="*/ 25922 w 67096"/>
                    <a:gd name="connsiteY1" fmla="*/ 10845 h 28302"/>
                    <a:gd name="connsiteX2" fmla="*/ 27156 w 67096"/>
                    <a:gd name="connsiteY2" fmla="*/ 8464 h 28302"/>
                    <a:gd name="connsiteX3" fmla="*/ 32710 w 67096"/>
                    <a:gd name="connsiteY3" fmla="*/ 8464 h 28302"/>
                    <a:gd name="connsiteX4" fmla="*/ 31476 w 67096"/>
                    <a:gd name="connsiteY4" fmla="*/ 3262 h 28302"/>
                    <a:gd name="connsiteX5" fmla="*/ 38530 w 67096"/>
                    <a:gd name="connsiteY5" fmla="*/ 2381 h 28302"/>
                    <a:gd name="connsiteX6" fmla="*/ 34121 w 67096"/>
                    <a:gd name="connsiteY6" fmla="*/ 8464 h 28302"/>
                    <a:gd name="connsiteX7" fmla="*/ 40293 w 67096"/>
                    <a:gd name="connsiteY7" fmla="*/ 3262 h 28302"/>
                    <a:gd name="connsiteX8" fmla="*/ 41704 w 67096"/>
                    <a:gd name="connsiteY8" fmla="*/ 7053 h 28302"/>
                    <a:gd name="connsiteX9" fmla="*/ 44613 w 67096"/>
                    <a:gd name="connsiteY9" fmla="*/ 3262 h 28302"/>
                    <a:gd name="connsiteX10" fmla="*/ 44349 w 67096"/>
                    <a:gd name="connsiteY10" fmla="*/ 0 h 28302"/>
                    <a:gd name="connsiteX11" fmla="*/ 46994 w 67096"/>
                    <a:gd name="connsiteY11" fmla="*/ 0 h 28302"/>
                    <a:gd name="connsiteX12" fmla="*/ 53342 w 67096"/>
                    <a:gd name="connsiteY12" fmla="*/ 1499 h 28302"/>
                    <a:gd name="connsiteX13" fmla="*/ 47787 w 67096"/>
                    <a:gd name="connsiteY13" fmla="*/ 5819 h 28302"/>
                    <a:gd name="connsiteX14" fmla="*/ 52196 w 67096"/>
                    <a:gd name="connsiteY14" fmla="*/ 2381 h 28302"/>
                    <a:gd name="connsiteX15" fmla="*/ 61277 w 67096"/>
                    <a:gd name="connsiteY15" fmla="*/ 1763 h 28302"/>
                    <a:gd name="connsiteX16" fmla="*/ 63569 w 67096"/>
                    <a:gd name="connsiteY16" fmla="*/ 882 h 28302"/>
                    <a:gd name="connsiteX17" fmla="*/ 67096 w 67096"/>
                    <a:gd name="connsiteY17" fmla="*/ 2381 h 28302"/>
                    <a:gd name="connsiteX18" fmla="*/ 63569 w 67096"/>
                    <a:gd name="connsiteY18" fmla="*/ 5290 h 28302"/>
                    <a:gd name="connsiteX19" fmla="*/ 60660 w 67096"/>
                    <a:gd name="connsiteY19" fmla="*/ 4673 h 28302"/>
                    <a:gd name="connsiteX20" fmla="*/ 52460 w 67096"/>
                    <a:gd name="connsiteY20" fmla="*/ 7053 h 28302"/>
                    <a:gd name="connsiteX21" fmla="*/ 55722 w 67096"/>
                    <a:gd name="connsiteY21" fmla="*/ 7053 h 28302"/>
                    <a:gd name="connsiteX22" fmla="*/ 54224 w 67096"/>
                    <a:gd name="connsiteY22" fmla="*/ 8464 h 28302"/>
                    <a:gd name="connsiteX23" fmla="*/ 58632 w 67096"/>
                    <a:gd name="connsiteY23" fmla="*/ 8464 h 28302"/>
                    <a:gd name="connsiteX24" fmla="*/ 47258 w 67096"/>
                    <a:gd name="connsiteY24" fmla="*/ 13137 h 28302"/>
                    <a:gd name="connsiteX25" fmla="*/ 41968 w 67096"/>
                    <a:gd name="connsiteY25" fmla="*/ 10492 h 28302"/>
                    <a:gd name="connsiteX26" fmla="*/ 37031 w 67096"/>
                    <a:gd name="connsiteY26" fmla="*/ 13137 h 28302"/>
                    <a:gd name="connsiteX27" fmla="*/ 40822 w 67096"/>
                    <a:gd name="connsiteY27" fmla="*/ 14019 h 28302"/>
                    <a:gd name="connsiteX28" fmla="*/ 40293 w 67096"/>
                    <a:gd name="connsiteY28" fmla="*/ 17281 h 28302"/>
                    <a:gd name="connsiteX29" fmla="*/ 33240 w 67096"/>
                    <a:gd name="connsiteY29" fmla="*/ 14900 h 28302"/>
                    <a:gd name="connsiteX30" fmla="*/ 35003 w 67096"/>
                    <a:gd name="connsiteY30" fmla="*/ 16928 h 28302"/>
                    <a:gd name="connsiteX31" fmla="*/ 25657 w 67096"/>
                    <a:gd name="connsiteY31" fmla="*/ 18075 h 28302"/>
                    <a:gd name="connsiteX32" fmla="*/ 12255 w 67096"/>
                    <a:gd name="connsiteY32" fmla="*/ 26010 h 28302"/>
                    <a:gd name="connsiteX33" fmla="*/ 882 w 67096"/>
                    <a:gd name="connsiteY33" fmla="*/ 28302 h 28302"/>
                    <a:gd name="connsiteX34" fmla="*/ 17193 w 67096"/>
                    <a:gd name="connsiteY34" fmla="*/ 20455 h 28302"/>
                    <a:gd name="connsiteX35" fmla="*/ 6084 w 67096"/>
                    <a:gd name="connsiteY35" fmla="*/ 24246 h 28302"/>
                    <a:gd name="connsiteX36" fmla="*/ 13137 w 67096"/>
                    <a:gd name="connsiteY36" fmla="*/ 20455 h 28302"/>
                    <a:gd name="connsiteX37" fmla="*/ 9875 w 67096"/>
                    <a:gd name="connsiteY37" fmla="*/ 18427 h 28302"/>
                    <a:gd name="connsiteX38" fmla="*/ 10228 w 67096"/>
                    <a:gd name="connsiteY38" fmla="*/ 20455 h 28302"/>
                    <a:gd name="connsiteX39" fmla="*/ 0 w 67096"/>
                    <a:gd name="connsiteY39" fmla="*/ 26539 h 28302"/>
                    <a:gd name="connsiteX40" fmla="*/ 6436 w 67096"/>
                    <a:gd name="connsiteY40" fmla="*/ 18692 h 28302"/>
                    <a:gd name="connsiteX41" fmla="*/ 7847 w 67096"/>
                    <a:gd name="connsiteY41" fmla="*/ 14900 h 28302"/>
                    <a:gd name="connsiteX42" fmla="*/ 13402 w 67096"/>
                    <a:gd name="connsiteY42" fmla="*/ 13490 h 28302"/>
                    <a:gd name="connsiteX43" fmla="*/ 19838 w 67096"/>
                    <a:gd name="connsiteY43" fmla="*/ 12520 h 28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67096" h="28302">
                      <a:moveTo>
                        <a:pt x="24775" y="8464"/>
                      </a:moveTo>
                      <a:lnTo>
                        <a:pt x="25922" y="10845"/>
                      </a:lnTo>
                      <a:lnTo>
                        <a:pt x="27156" y="8464"/>
                      </a:lnTo>
                      <a:lnTo>
                        <a:pt x="32710" y="8464"/>
                      </a:lnTo>
                      <a:lnTo>
                        <a:pt x="31476" y="3262"/>
                      </a:lnTo>
                      <a:lnTo>
                        <a:pt x="38530" y="2381"/>
                      </a:lnTo>
                      <a:lnTo>
                        <a:pt x="34121" y="8464"/>
                      </a:lnTo>
                      <a:lnTo>
                        <a:pt x="40293" y="3262"/>
                      </a:lnTo>
                      <a:lnTo>
                        <a:pt x="41704" y="7053"/>
                      </a:lnTo>
                      <a:lnTo>
                        <a:pt x="44613" y="3262"/>
                      </a:lnTo>
                      <a:lnTo>
                        <a:pt x="44349" y="0"/>
                      </a:lnTo>
                      <a:lnTo>
                        <a:pt x="46994" y="0"/>
                      </a:lnTo>
                      <a:lnTo>
                        <a:pt x="53342" y="1499"/>
                      </a:lnTo>
                      <a:lnTo>
                        <a:pt x="47787" y="5819"/>
                      </a:lnTo>
                      <a:lnTo>
                        <a:pt x="52196" y="2381"/>
                      </a:lnTo>
                      <a:lnTo>
                        <a:pt x="61277" y="1763"/>
                      </a:lnTo>
                      <a:lnTo>
                        <a:pt x="63569" y="882"/>
                      </a:lnTo>
                      <a:lnTo>
                        <a:pt x="67096" y="2381"/>
                      </a:lnTo>
                      <a:lnTo>
                        <a:pt x="63569" y="5290"/>
                      </a:lnTo>
                      <a:lnTo>
                        <a:pt x="60660" y="4673"/>
                      </a:lnTo>
                      <a:lnTo>
                        <a:pt x="52460" y="7053"/>
                      </a:lnTo>
                      <a:lnTo>
                        <a:pt x="55722" y="7053"/>
                      </a:lnTo>
                      <a:lnTo>
                        <a:pt x="54224" y="8464"/>
                      </a:lnTo>
                      <a:lnTo>
                        <a:pt x="58632" y="8464"/>
                      </a:lnTo>
                      <a:lnTo>
                        <a:pt x="47258" y="13137"/>
                      </a:lnTo>
                      <a:lnTo>
                        <a:pt x="41968" y="10492"/>
                      </a:lnTo>
                      <a:lnTo>
                        <a:pt x="37031" y="13137"/>
                      </a:lnTo>
                      <a:lnTo>
                        <a:pt x="40822" y="14019"/>
                      </a:lnTo>
                      <a:lnTo>
                        <a:pt x="40293" y="17281"/>
                      </a:lnTo>
                      <a:lnTo>
                        <a:pt x="33240" y="14900"/>
                      </a:lnTo>
                      <a:lnTo>
                        <a:pt x="35003" y="16928"/>
                      </a:lnTo>
                      <a:lnTo>
                        <a:pt x="25657" y="18075"/>
                      </a:lnTo>
                      <a:lnTo>
                        <a:pt x="12255" y="26010"/>
                      </a:lnTo>
                      <a:lnTo>
                        <a:pt x="882" y="28302"/>
                      </a:lnTo>
                      <a:lnTo>
                        <a:pt x="17193" y="20455"/>
                      </a:lnTo>
                      <a:lnTo>
                        <a:pt x="6084" y="24246"/>
                      </a:lnTo>
                      <a:lnTo>
                        <a:pt x="13137" y="20455"/>
                      </a:lnTo>
                      <a:lnTo>
                        <a:pt x="9875" y="18427"/>
                      </a:lnTo>
                      <a:lnTo>
                        <a:pt x="10228" y="20455"/>
                      </a:lnTo>
                      <a:lnTo>
                        <a:pt x="0" y="26539"/>
                      </a:lnTo>
                      <a:lnTo>
                        <a:pt x="6436" y="18692"/>
                      </a:lnTo>
                      <a:lnTo>
                        <a:pt x="7847" y="14900"/>
                      </a:lnTo>
                      <a:lnTo>
                        <a:pt x="13402" y="13490"/>
                      </a:lnTo>
                      <a:lnTo>
                        <a:pt x="19838" y="1252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7" name="Freihandform: Form 1746">
                  <a:extLst>
                    <a:ext uri="{FF2B5EF4-FFF2-40B4-BE49-F238E27FC236}">
                      <a16:creationId xmlns:a16="http://schemas.microsoft.com/office/drawing/2014/main" id="{7D9D86E2-0353-677B-A7AF-DA9D02CE3DEA}"/>
                    </a:ext>
                  </a:extLst>
                </p:cNvPr>
                <p:cNvSpPr/>
                <p:nvPr/>
              </p:nvSpPr>
              <p:spPr>
                <a:xfrm>
                  <a:off x="1329479" y="2708311"/>
                  <a:ext cx="27420" cy="11638"/>
                </a:xfrm>
                <a:custGeom>
                  <a:avLst/>
                  <a:gdLst>
                    <a:gd name="connsiteX0" fmla="*/ 18956 w 27420"/>
                    <a:gd name="connsiteY0" fmla="*/ 0 h 11638"/>
                    <a:gd name="connsiteX1" fmla="*/ 18427 w 27420"/>
                    <a:gd name="connsiteY1" fmla="*/ 4408 h 11638"/>
                    <a:gd name="connsiteX2" fmla="*/ 26274 w 27420"/>
                    <a:gd name="connsiteY2" fmla="*/ 2028 h 11638"/>
                    <a:gd name="connsiteX3" fmla="*/ 21337 w 27420"/>
                    <a:gd name="connsiteY3" fmla="*/ 5555 h 11638"/>
                    <a:gd name="connsiteX4" fmla="*/ 27420 w 27420"/>
                    <a:gd name="connsiteY4" fmla="*/ 3527 h 11638"/>
                    <a:gd name="connsiteX5" fmla="*/ 25392 w 27420"/>
                    <a:gd name="connsiteY5" fmla="*/ 4408 h 11638"/>
                    <a:gd name="connsiteX6" fmla="*/ 26274 w 27420"/>
                    <a:gd name="connsiteY6" fmla="*/ 4408 h 11638"/>
                    <a:gd name="connsiteX7" fmla="*/ 25745 w 27420"/>
                    <a:gd name="connsiteY7" fmla="*/ 7847 h 11638"/>
                    <a:gd name="connsiteX8" fmla="*/ 19573 w 27420"/>
                    <a:gd name="connsiteY8" fmla="*/ 8200 h 11638"/>
                    <a:gd name="connsiteX9" fmla="*/ 18427 w 27420"/>
                    <a:gd name="connsiteY9" fmla="*/ 5555 h 11638"/>
                    <a:gd name="connsiteX10" fmla="*/ 13490 w 27420"/>
                    <a:gd name="connsiteY10" fmla="*/ 9346 h 11638"/>
                    <a:gd name="connsiteX11" fmla="*/ 11462 w 27420"/>
                    <a:gd name="connsiteY11" fmla="*/ 7318 h 11638"/>
                    <a:gd name="connsiteX12" fmla="*/ 3527 w 27420"/>
                    <a:gd name="connsiteY12" fmla="*/ 11638 h 11638"/>
                    <a:gd name="connsiteX13" fmla="*/ 0 w 27420"/>
                    <a:gd name="connsiteY13" fmla="*/ 7318 h 11638"/>
                    <a:gd name="connsiteX14" fmla="*/ 5555 w 27420"/>
                    <a:gd name="connsiteY14" fmla="*/ 7318 h 11638"/>
                    <a:gd name="connsiteX15" fmla="*/ 6436 w 27420"/>
                    <a:gd name="connsiteY15" fmla="*/ 4408 h 11638"/>
                    <a:gd name="connsiteX16" fmla="*/ 9963 w 27420"/>
                    <a:gd name="connsiteY16" fmla="*/ 5555 h 11638"/>
                    <a:gd name="connsiteX17" fmla="*/ 11726 w 27420"/>
                    <a:gd name="connsiteY17" fmla="*/ 2028 h 11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1638">
                      <a:moveTo>
                        <a:pt x="18956" y="0"/>
                      </a:moveTo>
                      <a:lnTo>
                        <a:pt x="18427" y="4408"/>
                      </a:lnTo>
                      <a:lnTo>
                        <a:pt x="26274" y="2028"/>
                      </a:lnTo>
                      <a:lnTo>
                        <a:pt x="21337" y="5555"/>
                      </a:lnTo>
                      <a:lnTo>
                        <a:pt x="27420" y="3527"/>
                      </a:lnTo>
                      <a:lnTo>
                        <a:pt x="25392" y="4408"/>
                      </a:lnTo>
                      <a:lnTo>
                        <a:pt x="26274" y="4408"/>
                      </a:lnTo>
                      <a:lnTo>
                        <a:pt x="25745" y="7847"/>
                      </a:lnTo>
                      <a:lnTo>
                        <a:pt x="19573" y="8200"/>
                      </a:lnTo>
                      <a:lnTo>
                        <a:pt x="18427" y="5555"/>
                      </a:lnTo>
                      <a:lnTo>
                        <a:pt x="13490" y="9346"/>
                      </a:lnTo>
                      <a:lnTo>
                        <a:pt x="11462" y="7318"/>
                      </a:lnTo>
                      <a:lnTo>
                        <a:pt x="3527" y="11638"/>
                      </a:lnTo>
                      <a:lnTo>
                        <a:pt x="0" y="7318"/>
                      </a:lnTo>
                      <a:lnTo>
                        <a:pt x="5555" y="7318"/>
                      </a:lnTo>
                      <a:lnTo>
                        <a:pt x="6436" y="4408"/>
                      </a:lnTo>
                      <a:lnTo>
                        <a:pt x="9963" y="5555"/>
                      </a:lnTo>
                      <a:lnTo>
                        <a:pt x="11726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8" name="Freihandform: Form 1747">
                  <a:extLst>
                    <a:ext uri="{FF2B5EF4-FFF2-40B4-BE49-F238E27FC236}">
                      <a16:creationId xmlns:a16="http://schemas.microsoft.com/office/drawing/2014/main" id="{5F8A6C48-AF5E-9966-0802-332A2FA21D76}"/>
                    </a:ext>
                  </a:extLst>
                </p:cNvPr>
                <p:cNvSpPr/>
                <p:nvPr/>
              </p:nvSpPr>
              <p:spPr>
                <a:xfrm>
                  <a:off x="1145207" y="2661934"/>
                  <a:ext cx="27420" cy="18691"/>
                </a:xfrm>
                <a:custGeom>
                  <a:avLst/>
                  <a:gdLst>
                    <a:gd name="connsiteX0" fmla="*/ 13402 w 27420"/>
                    <a:gd name="connsiteY0" fmla="*/ 6965 h 18691"/>
                    <a:gd name="connsiteX1" fmla="*/ 23276 w 27420"/>
                    <a:gd name="connsiteY1" fmla="*/ 10492 h 18691"/>
                    <a:gd name="connsiteX2" fmla="*/ 24158 w 27420"/>
                    <a:gd name="connsiteY2" fmla="*/ 10492 h 18691"/>
                    <a:gd name="connsiteX3" fmla="*/ 27420 w 27420"/>
                    <a:gd name="connsiteY3" fmla="*/ 11638 h 18691"/>
                    <a:gd name="connsiteX4" fmla="*/ 21513 w 27420"/>
                    <a:gd name="connsiteY4" fmla="*/ 15165 h 18691"/>
                    <a:gd name="connsiteX5" fmla="*/ 15429 w 27420"/>
                    <a:gd name="connsiteY5" fmla="*/ 14283 h 18691"/>
                    <a:gd name="connsiteX6" fmla="*/ 8111 w 27420"/>
                    <a:gd name="connsiteY6" fmla="*/ 18692 h 18691"/>
                    <a:gd name="connsiteX7" fmla="*/ 4937 w 27420"/>
                    <a:gd name="connsiteY7" fmla="*/ 18692 h 18691"/>
                    <a:gd name="connsiteX8" fmla="*/ 8111 w 27420"/>
                    <a:gd name="connsiteY8" fmla="*/ 15165 h 18691"/>
                    <a:gd name="connsiteX9" fmla="*/ 3174 w 27420"/>
                    <a:gd name="connsiteY9" fmla="*/ 18427 h 18691"/>
                    <a:gd name="connsiteX10" fmla="*/ 4937 w 27420"/>
                    <a:gd name="connsiteY10" fmla="*/ 10492 h 18691"/>
                    <a:gd name="connsiteX11" fmla="*/ 3439 w 27420"/>
                    <a:gd name="connsiteY11" fmla="*/ 12873 h 18691"/>
                    <a:gd name="connsiteX12" fmla="*/ 0 w 27420"/>
                    <a:gd name="connsiteY12" fmla="*/ 15429 h 18691"/>
                    <a:gd name="connsiteX13" fmla="*/ 0 w 27420"/>
                    <a:gd name="connsiteY13" fmla="*/ 10228 h 18691"/>
                    <a:gd name="connsiteX14" fmla="*/ 4320 w 27420"/>
                    <a:gd name="connsiteY14" fmla="*/ 6436 h 18691"/>
                    <a:gd name="connsiteX15" fmla="*/ 2910 w 27420"/>
                    <a:gd name="connsiteY15" fmla="*/ 4056 h 18691"/>
                    <a:gd name="connsiteX16" fmla="*/ 6348 w 27420"/>
                    <a:gd name="connsiteY16" fmla="*/ 0 h 18691"/>
                    <a:gd name="connsiteX17" fmla="*/ 14812 w 27420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8691">
                      <a:moveTo>
                        <a:pt x="13402" y="6965"/>
                      </a:moveTo>
                      <a:lnTo>
                        <a:pt x="23276" y="10492"/>
                      </a:lnTo>
                      <a:lnTo>
                        <a:pt x="24158" y="10492"/>
                      </a:lnTo>
                      <a:lnTo>
                        <a:pt x="27420" y="11638"/>
                      </a:lnTo>
                      <a:lnTo>
                        <a:pt x="21513" y="15165"/>
                      </a:lnTo>
                      <a:lnTo>
                        <a:pt x="15429" y="14283"/>
                      </a:lnTo>
                      <a:lnTo>
                        <a:pt x="8111" y="18692"/>
                      </a:lnTo>
                      <a:lnTo>
                        <a:pt x="4937" y="18692"/>
                      </a:lnTo>
                      <a:lnTo>
                        <a:pt x="8111" y="15165"/>
                      </a:lnTo>
                      <a:lnTo>
                        <a:pt x="3174" y="18427"/>
                      </a:lnTo>
                      <a:lnTo>
                        <a:pt x="4937" y="10492"/>
                      </a:lnTo>
                      <a:lnTo>
                        <a:pt x="3439" y="12873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4320" y="6436"/>
                      </a:lnTo>
                      <a:lnTo>
                        <a:pt x="2910" y="4056"/>
                      </a:lnTo>
                      <a:lnTo>
                        <a:pt x="6348" y="0"/>
                      </a:lnTo>
                      <a:lnTo>
                        <a:pt x="14812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667" name="Freihandform: Form 1666">
                <a:extLst>
                  <a:ext uri="{FF2B5EF4-FFF2-40B4-BE49-F238E27FC236}">
                    <a16:creationId xmlns:a16="http://schemas.microsoft.com/office/drawing/2014/main" id="{F8BD6FE7-645B-A73B-7566-5E7A61A00476}"/>
                  </a:ext>
                </a:extLst>
              </p:cNvPr>
              <p:cNvSpPr/>
              <p:nvPr/>
            </p:nvSpPr>
            <p:spPr>
              <a:xfrm>
                <a:off x="1615409" y="3335365"/>
                <a:ext cx="583057" cy="453273"/>
              </a:xfrm>
              <a:custGeom>
                <a:avLst/>
                <a:gdLst>
                  <a:gd name="connsiteX0" fmla="*/ 529 w 583057"/>
                  <a:gd name="connsiteY0" fmla="*/ 4056 h 453273"/>
                  <a:gd name="connsiteX1" fmla="*/ 52725 w 583057"/>
                  <a:gd name="connsiteY1" fmla="*/ 0 h 453273"/>
                  <a:gd name="connsiteX2" fmla="*/ 49815 w 583057"/>
                  <a:gd name="connsiteY2" fmla="*/ 7582 h 453273"/>
                  <a:gd name="connsiteX3" fmla="*/ 80145 w 583057"/>
                  <a:gd name="connsiteY3" fmla="*/ 19573 h 453273"/>
                  <a:gd name="connsiteX4" fmla="*/ 118057 w 583057"/>
                  <a:gd name="connsiteY4" fmla="*/ 34474 h 453273"/>
                  <a:gd name="connsiteX5" fmla="*/ 177924 w 583057"/>
                  <a:gd name="connsiteY5" fmla="*/ 34474 h 453273"/>
                  <a:gd name="connsiteX6" fmla="*/ 181362 w 583057"/>
                  <a:gd name="connsiteY6" fmla="*/ 23365 h 453273"/>
                  <a:gd name="connsiteX7" fmla="*/ 216630 w 583057"/>
                  <a:gd name="connsiteY7" fmla="*/ 23365 h 453273"/>
                  <a:gd name="connsiteX8" fmla="*/ 217511 w 583057"/>
                  <a:gd name="connsiteY8" fmla="*/ 24511 h 453273"/>
                  <a:gd name="connsiteX9" fmla="*/ 220421 w 583057"/>
                  <a:gd name="connsiteY9" fmla="*/ 24511 h 453273"/>
                  <a:gd name="connsiteX10" fmla="*/ 220421 w 583057"/>
                  <a:gd name="connsiteY10" fmla="*/ 30947 h 453273"/>
                  <a:gd name="connsiteX11" fmla="*/ 224212 w 583057"/>
                  <a:gd name="connsiteY11" fmla="*/ 32975 h 453273"/>
                  <a:gd name="connsiteX12" fmla="*/ 228356 w 583057"/>
                  <a:gd name="connsiteY12" fmla="*/ 36502 h 453273"/>
                  <a:gd name="connsiteX13" fmla="*/ 227739 w 583057"/>
                  <a:gd name="connsiteY13" fmla="*/ 38794 h 453273"/>
                  <a:gd name="connsiteX14" fmla="*/ 231883 w 583057"/>
                  <a:gd name="connsiteY14" fmla="*/ 41439 h 453273"/>
                  <a:gd name="connsiteX15" fmla="*/ 235586 w 583057"/>
                  <a:gd name="connsiteY15" fmla="*/ 48140 h 453273"/>
                  <a:gd name="connsiteX16" fmla="*/ 241493 w 583057"/>
                  <a:gd name="connsiteY16" fmla="*/ 52196 h 453273"/>
                  <a:gd name="connsiteX17" fmla="*/ 244050 w 583057"/>
                  <a:gd name="connsiteY17" fmla="*/ 61541 h 453273"/>
                  <a:gd name="connsiteX18" fmla="*/ 244050 w 583057"/>
                  <a:gd name="connsiteY18" fmla="*/ 65333 h 453273"/>
                  <a:gd name="connsiteX19" fmla="*/ 242375 w 583057"/>
                  <a:gd name="connsiteY19" fmla="*/ 68595 h 453273"/>
                  <a:gd name="connsiteX20" fmla="*/ 243521 w 583057"/>
                  <a:gd name="connsiteY20" fmla="*/ 76706 h 453273"/>
                  <a:gd name="connsiteX21" fmla="*/ 251368 w 583057"/>
                  <a:gd name="connsiteY21" fmla="*/ 85435 h 453273"/>
                  <a:gd name="connsiteX22" fmla="*/ 263624 w 583057"/>
                  <a:gd name="connsiteY22" fmla="*/ 92224 h 453273"/>
                  <a:gd name="connsiteX23" fmla="*/ 268032 w 583057"/>
                  <a:gd name="connsiteY23" fmla="*/ 93370 h 453273"/>
                  <a:gd name="connsiteX24" fmla="*/ 275614 w 583057"/>
                  <a:gd name="connsiteY24" fmla="*/ 87199 h 453273"/>
                  <a:gd name="connsiteX25" fmla="*/ 283197 w 583057"/>
                  <a:gd name="connsiteY25" fmla="*/ 73797 h 453273"/>
                  <a:gd name="connsiteX26" fmla="*/ 286988 w 583057"/>
                  <a:gd name="connsiteY26" fmla="*/ 73268 h 453273"/>
                  <a:gd name="connsiteX27" fmla="*/ 291926 w 583057"/>
                  <a:gd name="connsiteY27" fmla="*/ 70623 h 453273"/>
                  <a:gd name="connsiteX28" fmla="*/ 295981 w 583057"/>
                  <a:gd name="connsiteY28" fmla="*/ 72386 h 453273"/>
                  <a:gd name="connsiteX29" fmla="*/ 310265 w 583057"/>
                  <a:gd name="connsiteY29" fmla="*/ 73532 h 453273"/>
                  <a:gd name="connsiteX30" fmla="*/ 313791 w 583057"/>
                  <a:gd name="connsiteY30" fmla="*/ 80850 h 453273"/>
                  <a:gd name="connsiteX31" fmla="*/ 321374 w 583057"/>
                  <a:gd name="connsiteY31" fmla="*/ 89579 h 453273"/>
                  <a:gd name="connsiteX32" fmla="*/ 324636 w 583057"/>
                  <a:gd name="connsiteY32" fmla="*/ 110563 h 453273"/>
                  <a:gd name="connsiteX33" fmla="*/ 328956 w 583057"/>
                  <a:gd name="connsiteY33" fmla="*/ 113737 h 453273"/>
                  <a:gd name="connsiteX34" fmla="*/ 333012 w 583057"/>
                  <a:gd name="connsiteY34" fmla="*/ 126345 h 453273"/>
                  <a:gd name="connsiteX35" fmla="*/ 337420 w 583057"/>
                  <a:gd name="connsiteY35" fmla="*/ 128638 h 453273"/>
                  <a:gd name="connsiteX36" fmla="*/ 334775 w 583057"/>
                  <a:gd name="connsiteY36" fmla="*/ 141510 h 453273"/>
                  <a:gd name="connsiteX37" fmla="*/ 338919 w 583057"/>
                  <a:gd name="connsiteY37" fmla="*/ 146095 h 453273"/>
                  <a:gd name="connsiteX38" fmla="*/ 339184 w 583057"/>
                  <a:gd name="connsiteY38" fmla="*/ 157469 h 453273"/>
                  <a:gd name="connsiteX39" fmla="*/ 345267 w 583057"/>
                  <a:gd name="connsiteY39" fmla="*/ 158703 h 453273"/>
                  <a:gd name="connsiteX40" fmla="*/ 348177 w 583057"/>
                  <a:gd name="connsiteY40" fmla="*/ 160995 h 453273"/>
                  <a:gd name="connsiteX41" fmla="*/ 352850 w 583057"/>
                  <a:gd name="connsiteY41" fmla="*/ 162142 h 453273"/>
                  <a:gd name="connsiteX42" fmla="*/ 356377 w 583057"/>
                  <a:gd name="connsiteY42" fmla="*/ 166286 h 453273"/>
                  <a:gd name="connsiteX43" fmla="*/ 362813 w 583057"/>
                  <a:gd name="connsiteY43" fmla="*/ 165668 h 453273"/>
                  <a:gd name="connsiteX44" fmla="*/ 368367 w 583057"/>
                  <a:gd name="connsiteY44" fmla="*/ 166286 h 453273"/>
                  <a:gd name="connsiteX45" fmla="*/ 369249 w 583057"/>
                  <a:gd name="connsiteY45" fmla="*/ 170606 h 453273"/>
                  <a:gd name="connsiteX46" fmla="*/ 373040 w 583057"/>
                  <a:gd name="connsiteY46" fmla="*/ 171487 h 453273"/>
                  <a:gd name="connsiteX47" fmla="*/ 374187 w 583057"/>
                  <a:gd name="connsiteY47" fmla="*/ 169724 h 453273"/>
                  <a:gd name="connsiteX48" fmla="*/ 376479 w 583057"/>
                  <a:gd name="connsiteY48" fmla="*/ 169195 h 453273"/>
                  <a:gd name="connsiteX49" fmla="*/ 378860 w 583057"/>
                  <a:gd name="connsiteY49" fmla="*/ 168313 h 453273"/>
                  <a:gd name="connsiteX50" fmla="*/ 378242 w 583057"/>
                  <a:gd name="connsiteY50" fmla="*/ 172986 h 453273"/>
                  <a:gd name="connsiteX51" fmla="*/ 373922 w 583057"/>
                  <a:gd name="connsiteY51" fmla="*/ 182332 h 453273"/>
                  <a:gd name="connsiteX52" fmla="*/ 365105 w 583057"/>
                  <a:gd name="connsiteY52" fmla="*/ 189915 h 453273"/>
                  <a:gd name="connsiteX53" fmla="*/ 357875 w 583057"/>
                  <a:gd name="connsiteY53" fmla="*/ 213191 h 453273"/>
                  <a:gd name="connsiteX54" fmla="*/ 356112 w 583057"/>
                  <a:gd name="connsiteY54" fmla="*/ 223683 h 453273"/>
                  <a:gd name="connsiteX55" fmla="*/ 352585 w 583057"/>
                  <a:gd name="connsiteY55" fmla="*/ 244755 h 453273"/>
                  <a:gd name="connsiteX56" fmla="*/ 348177 w 583057"/>
                  <a:gd name="connsiteY56" fmla="*/ 251985 h 453273"/>
                  <a:gd name="connsiteX57" fmla="*/ 349411 w 583057"/>
                  <a:gd name="connsiteY57" fmla="*/ 268032 h 453273"/>
                  <a:gd name="connsiteX58" fmla="*/ 348177 w 583057"/>
                  <a:gd name="connsiteY58" fmla="*/ 271559 h 453273"/>
                  <a:gd name="connsiteX59" fmla="*/ 348177 w 583057"/>
                  <a:gd name="connsiteY59" fmla="*/ 274733 h 453273"/>
                  <a:gd name="connsiteX60" fmla="*/ 351704 w 583057"/>
                  <a:gd name="connsiteY60" fmla="*/ 281433 h 453273"/>
                  <a:gd name="connsiteX61" fmla="*/ 356994 w 583057"/>
                  <a:gd name="connsiteY61" fmla="*/ 293160 h 453273"/>
                  <a:gd name="connsiteX62" fmla="*/ 356112 w 583057"/>
                  <a:gd name="connsiteY62" fmla="*/ 298097 h 453273"/>
                  <a:gd name="connsiteX63" fmla="*/ 356112 w 583057"/>
                  <a:gd name="connsiteY63" fmla="*/ 298714 h 453273"/>
                  <a:gd name="connsiteX64" fmla="*/ 359551 w 583057"/>
                  <a:gd name="connsiteY64" fmla="*/ 301624 h 453273"/>
                  <a:gd name="connsiteX65" fmla="*/ 361314 w 583057"/>
                  <a:gd name="connsiteY65" fmla="*/ 304269 h 453273"/>
                  <a:gd name="connsiteX66" fmla="*/ 361667 w 583057"/>
                  <a:gd name="connsiteY66" fmla="*/ 307708 h 453273"/>
                  <a:gd name="connsiteX67" fmla="*/ 362548 w 583057"/>
                  <a:gd name="connsiteY67" fmla="*/ 310353 h 453273"/>
                  <a:gd name="connsiteX68" fmla="*/ 367486 w 583057"/>
                  <a:gd name="connsiteY68" fmla="*/ 314408 h 453273"/>
                  <a:gd name="connsiteX69" fmla="*/ 368632 w 583057"/>
                  <a:gd name="connsiteY69" fmla="*/ 320316 h 453273"/>
                  <a:gd name="connsiteX70" fmla="*/ 373040 w 583057"/>
                  <a:gd name="connsiteY70" fmla="*/ 322608 h 453273"/>
                  <a:gd name="connsiteX71" fmla="*/ 373570 w 583057"/>
                  <a:gd name="connsiteY71" fmla="*/ 326135 h 453273"/>
                  <a:gd name="connsiteX72" fmla="*/ 372159 w 583057"/>
                  <a:gd name="connsiteY72" fmla="*/ 331072 h 453273"/>
                  <a:gd name="connsiteX73" fmla="*/ 376479 w 583057"/>
                  <a:gd name="connsiteY73" fmla="*/ 336891 h 453273"/>
                  <a:gd name="connsiteX74" fmla="*/ 374187 w 583057"/>
                  <a:gd name="connsiteY74" fmla="*/ 340683 h 453273"/>
                  <a:gd name="connsiteX75" fmla="*/ 376214 w 583057"/>
                  <a:gd name="connsiteY75" fmla="*/ 343328 h 453273"/>
                  <a:gd name="connsiteX76" fmla="*/ 378860 w 583057"/>
                  <a:gd name="connsiteY76" fmla="*/ 346766 h 453273"/>
                  <a:gd name="connsiteX77" fmla="*/ 375597 w 583057"/>
                  <a:gd name="connsiteY77" fmla="*/ 345356 h 453273"/>
                  <a:gd name="connsiteX78" fmla="*/ 376832 w 583057"/>
                  <a:gd name="connsiteY78" fmla="*/ 347383 h 453273"/>
                  <a:gd name="connsiteX79" fmla="*/ 377096 w 583057"/>
                  <a:gd name="connsiteY79" fmla="*/ 348882 h 453273"/>
                  <a:gd name="connsiteX80" fmla="*/ 380006 w 583057"/>
                  <a:gd name="connsiteY80" fmla="*/ 350293 h 453273"/>
                  <a:gd name="connsiteX81" fmla="*/ 383268 w 583057"/>
                  <a:gd name="connsiteY81" fmla="*/ 350293 h 453273"/>
                  <a:gd name="connsiteX82" fmla="*/ 381505 w 583057"/>
                  <a:gd name="connsiteY82" fmla="*/ 347119 h 453273"/>
                  <a:gd name="connsiteX83" fmla="*/ 384679 w 583057"/>
                  <a:gd name="connsiteY83" fmla="*/ 347648 h 453273"/>
                  <a:gd name="connsiteX84" fmla="*/ 387588 w 583057"/>
                  <a:gd name="connsiteY84" fmla="*/ 349147 h 453273"/>
                  <a:gd name="connsiteX85" fmla="*/ 389352 w 583057"/>
                  <a:gd name="connsiteY85" fmla="*/ 352938 h 453273"/>
                  <a:gd name="connsiteX86" fmla="*/ 391644 w 583057"/>
                  <a:gd name="connsiteY86" fmla="*/ 349411 h 453273"/>
                  <a:gd name="connsiteX87" fmla="*/ 393760 w 583057"/>
                  <a:gd name="connsiteY87" fmla="*/ 350910 h 453273"/>
                  <a:gd name="connsiteX88" fmla="*/ 394906 w 583057"/>
                  <a:gd name="connsiteY88" fmla="*/ 352674 h 453273"/>
                  <a:gd name="connsiteX89" fmla="*/ 399844 w 583057"/>
                  <a:gd name="connsiteY89" fmla="*/ 353820 h 453273"/>
                  <a:gd name="connsiteX90" fmla="*/ 398962 w 583057"/>
                  <a:gd name="connsiteY90" fmla="*/ 356729 h 453273"/>
                  <a:gd name="connsiteX91" fmla="*/ 402489 w 583057"/>
                  <a:gd name="connsiteY91" fmla="*/ 356994 h 453273"/>
                  <a:gd name="connsiteX92" fmla="*/ 403899 w 583057"/>
                  <a:gd name="connsiteY92" fmla="*/ 363166 h 453273"/>
                  <a:gd name="connsiteX93" fmla="*/ 407426 w 583057"/>
                  <a:gd name="connsiteY93" fmla="*/ 363166 h 453273"/>
                  <a:gd name="connsiteX94" fmla="*/ 409189 w 583057"/>
                  <a:gd name="connsiteY94" fmla="*/ 362548 h 453273"/>
                  <a:gd name="connsiteX95" fmla="*/ 409454 w 583057"/>
                  <a:gd name="connsiteY95" fmla="*/ 360785 h 453273"/>
                  <a:gd name="connsiteX96" fmla="*/ 413245 w 583057"/>
                  <a:gd name="connsiteY96" fmla="*/ 361402 h 453273"/>
                  <a:gd name="connsiteX97" fmla="*/ 415890 w 583057"/>
                  <a:gd name="connsiteY97" fmla="*/ 361402 h 453273"/>
                  <a:gd name="connsiteX98" fmla="*/ 418800 w 583057"/>
                  <a:gd name="connsiteY98" fmla="*/ 363166 h 453273"/>
                  <a:gd name="connsiteX99" fmla="*/ 419946 w 583057"/>
                  <a:gd name="connsiteY99" fmla="*/ 360785 h 453273"/>
                  <a:gd name="connsiteX100" fmla="*/ 425501 w 583057"/>
                  <a:gd name="connsiteY100" fmla="*/ 358140 h 453273"/>
                  <a:gd name="connsiteX101" fmla="*/ 425501 w 583057"/>
                  <a:gd name="connsiteY101" fmla="*/ 356465 h 453273"/>
                  <a:gd name="connsiteX102" fmla="*/ 431937 w 583057"/>
                  <a:gd name="connsiteY102" fmla="*/ 356994 h 453273"/>
                  <a:gd name="connsiteX103" fmla="*/ 435111 w 583057"/>
                  <a:gd name="connsiteY103" fmla="*/ 355848 h 453273"/>
                  <a:gd name="connsiteX104" fmla="*/ 440666 w 583057"/>
                  <a:gd name="connsiteY104" fmla="*/ 356729 h 453273"/>
                  <a:gd name="connsiteX105" fmla="*/ 445339 w 583057"/>
                  <a:gd name="connsiteY105" fmla="*/ 353820 h 453273"/>
                  <a:gd name="connsiteX106" fmla="*/ 447984 w 583057"/>
                  <a:gd name="connsiteY106" fmla="*/ 351175 h 453273"/>
                  <a:gd name="connsiteX107" fmla="*/ 456448 w 583057"/>
                  <a:gd name="connsiteY107" fmla="*/ 351792 h 453273"/>
                  <a:gd name="connsiteX108" fmla="*/ 461385 w 583057"/>
                  <a:gd name="connsiteY108" fmla="*/ 348530 h 453273"/>
                  <a:gd name="connsiteX109" fmla="*/ 463677 w 583057"/>
                  <a:gd name="connsiteY109" fmla="*/ 351439 h 453273"/>
                  <a:gd name="connsiteX110" fmla="*/ 459357 w 583057"/>
                  <a:gd name="connsiteY110" fmla="*/ 352938 h 453273"/>
                  <a:gd name="connsiteX111" fmla="*/ 462267 w 583057"/>
                  <a:gd name="connsiteY111" fmla="*/ 352674 h 453273"/>
                  <a:gd name="connsiteX112" fmla="*/ 464295 w 583057"/>
                  <a:gd name="connsiteY112" fmla="*/ 354701 h 453273"/>
                  <a:gd name="connsiteX113" fmla="*/ 471348 w 583057"/>
                  <a:gd name="connsiteY113" fmla="*/ 355848 h 453273"/>
                  <a:gd name="connsiteX114" fmla="*/ 471613 w 583057"/>
                  <a:gd name="connsiteY114" fmla="*/ 353820 h 453273"/>
                  <a:gd name="connsiteX115" fmla="*/ 478313 w 583057"/>
                  <a:gd name="connsiteY115" fmla="*/ 350293 h 453273"/>
                  <a:gd name="connsiteX116" fmla="*/ 476550 w 583057"/>
                  <a:gd name="connsiteY116" fmla="*/ 347119 h 453273"/>
                  <a:gd name="connsiteX117" fmla="*/ 475139 w 583057"/>
                  <a:gd name="connsiteY117" fmla="*/ 348265 h 453273"/>
                  <a:gd name="connsiteX118" fmla="*/ 474787 w 583057"/>
                  <a:gd name="connsiteY118" fmla="*/ 346502 h 453273"/>
                  <a:gd name="connsiteX119" fmla="*/ 478049 w 583057"/>
                  <a:gd name="connsiteY119" fmla="*/ 343328 h 453273"/>
                  <a:gd name="connsiteX120" fmla="*/ 484397 w 583057"/>
                  <a:gd name="connsiteY120" fmla="*/ 341300 h 453273"/>
                  <a:gd name="connsiteX121" fmla="*/ 488806 w 583057"/>
                  <a:gd name="connsiteY121" fmla="*/ 337156 h 453273"/>
                  <a:gd name="connsiteX122" fmla="*/ 490569 w 583057"/>
                  <a:gd name="connsiteY122" fmla="*/ 333100 h 453273"/>
                  <a:gd name="connsiteX123" fmla="*/ 494977 w 583057"/>
                  <a:gd name="connsiteY123" fmla="*/ 329044 h 453273"/>
                  <a:gd name="connsiteX124" fmla="*/ 493743 w 583057"/>
                  <a:gd name="connsiteY124" fmla="*/ 329044 h 453273"/>
                  <a:gd name="connsiteX125" fmla="*/ 495242 w 583057"/>
                  <a:gd name="connsiteY125" fmla="*/ 323490 h 453273"/>
                  <a:gd name="connsiteX126" fmla="*/ 497534 w 583057"/>
                  <a:gd name="connsiteY126" fmla="*/ 321991 h 453273"/>
                  <a:gd name="connsiteX127" fmla="*/ 498769 w 583057"/>
                  <a:gd name="connsiteY127" fmla="*/ 317671 h 453273"/>
                  <a:gd name="connsiteX128" fmla="*/ 501678 w 583057"/>
                  <a:gd name="connsiteY128" fmla="*/ 313879 h 453273"/>
                  <a:gd name="connsiteX129" fmla="*/ 501678 w 583057"/>
                  <a:gd name="connsiteY129" fmla="*/ 308325 h 453273"/>
                  <a:gd name="connsiteX130" fmla="*/ 499915 w 583057"/>
                  <a:gd name="connsiteY130" fmla="*/ 303916 h 453273"/>
                  <a:gd name="connsiteX131" fmla="*/ 502207 w 583057"/>
                  <a:gd name="connsiteY131" fmla="*/ 300742 h 453273"/>
                  <a:gd name="connsiteX132" fmla="*/ 505469 w 583057"/>
                  <a:gd name="connsiteY132" fmla="*/ 294306 h 453273"/>
                  <a:gd name="connsiteX133" fmla="*/ 504852 w 583057"/>
                  <a:gd name="connsiteY133" fmla="*/ 291397 h 453273"/>
                  <a:gd name="connsiteX134" fmla="*/ 507762 w 583057"/>
                  <a:gd name="connsiteY134" fmla="*/ 289633 h 453273"/>
                  <a:gd name="connsiteX135" fmla="*/ 513052 w 583057"/>
                  <a:gd name="connsiteY135" fmla="*/ 287341 h 453273"/>
                  <a:gd name="connsiteX136" fmla="*/ 516843 w 583057"/>
                  <a:gd name="connsiteY136" fmla="*/ 285225 h 453273"/>
                  <a:gd name="connsiteX137" fmla="*/ 520634 w 583057"/>
                  <a:gd name="connsiteY137" fmla="*/ 284079 h 453273"/>
                  <a:gd name="connsiteX138" fmla="*/ 525836 w 583057"/>
                  <a:gd name="connsiteY138" fmla="*/ 284079 h 453273"/>
                  <a:gd name="connsiteX139" fmla="*/ 529980 w 583057"/>
                  <a:gd name="connsiteY139" fmla="*/ 284079 h 453273"/>
                  <a:gd name="connsiteX140" fmla="*/ 533771 w 583057"/>
                  <a:gd name="connsiteY140" fmla="*/ 284431 h 453273"/>
                  <a:gd name="connsiteX141" fmla="*/ 533419 w 583057"/>
                  <a:gd name="connsiteY141" fmla="*/ 282051 h 453273"/>
                  <a:gd name="connsiteX142" fmla="*/ 536064 w 583057"/>
                  <a:gd name="connsiteY142" fmla="*/ 281433 h 453273"/>
                  <a:gd name="connsiteX143" fmla="*/ 541618 w 583057"/>
                  <a:gd name="connsiteY143" fmla="*/ 281169 h 453273"/>
                  <a:gd name="connsiteX144" fmla="*/ 544264 w 583057"/>
                  <a:gd name="connsiteY144" fmla="*/ 278877 h 453273"/>
                  <a:gd name="connsiteX145" fmla="*/ 549818 w 583057"/>
                  <a:gd name="connsiteY145" fmla="*/ 277995 h 453273"/>
                  <a:gd name="connsiteX146" fmla="*/ 551493 w 583057"/>
                  <a:gd name="connsiteY146" fmla="*/ 275614 h 453273"/>
                  <a:gd name="connsiteX147" fmla="*/ 554755 w 583057"/>
                  <a:gd name="connsiteY147" fmla="*/ 276849 h 453273"/>
                  <a:gd name="connsiteX148" fmla="*/ 557048 w 583057"/>
                  <a:gd name="connsiteY148" fmla="*/ 275614 h 453273"/>
                  <a:gd name="connsiteX149" fmla="*/ 558811 w 583057"/>
                  <a:gd name="connsiteY149" fmla="*/ 277642 h 453273"/>
                  <a:gd name="connsiteX150" fmla="*/ 562602 w 583057"/>
                  <a:gd name="connsiteY150" fmla="*/ 280287 h 453273"/>
                  <a:gd name="connsiteX151" fmla="*/ 564101 w 583057"/>
                  <a:gd name="connsiteY151" fmla="*/ 278877 h 453273"/>
                  <a:gd name="connsiteX152" fmla="*/ 567540 w 583057"/>
                  <a:gd name="connsiteY152" fmla="*/ 283197 h 453273"/>
                  <a:gd name="connsiteX153" fmla="*/ 572830 w 583057"/>
                  <a:gd name="connsiteY153" fmla="*/ 281169 h 453273"/>
                  <a:gd name="connsiteX154" fmla="*/ 575740 w 583057"/>
                  <a:gd name="connsiteY154" fmla="*/ 278259 h 453273"/>
                  <a:gd name="connsiteX155" fmla="*/ 569920 w 583057"/>
                  <a:gd name="connsiteY155" fmla="*/ 279758 h 453273"/>
                  <a:gd name="connsiteX156" fmla="*/ 570802 w 583057"/>
                  <a:gd name="connsiteY156" fmla="*/ 277378 h 453273"/>
                  <a:gd name="connsiteX157" fmla="*/ 578649 w 583057"/>
                  <a:gd name="connsiteY157" fmla="*/ 277378 h 453273"/>
                  <a:gd name="connsiteX158" fmla="*/ 580148 w 583057"/>
                  <a:gd name="connsiteY158" fmla="*/ 281169 h 453273"/>
                  <a:gd name="connsiteX159" fmla="*/ 583058 w 583057"/>
                  <a:gd name="connsiteY159" fmla="*/ 282315 h 453273"/>
                  <a:gd name="connsiteX160" fmla="*/ 581559 w 583057"/>
                  <a:gd name="connsiteY160" fmla="*/ 286723 h 453273"/>
                  <a:gd name="connsiteX161" fmla="*/ 583058 w 583057"/>
                  <a:gd name="connsiteY161" fmla="*/ 288222 h 453273"/>
                  <a:gd name="connsiteX162" fmla="*/ 579795 w 583057"/>
                  <a:gd name="connsiteY162" fmla="*/ 292807 h 453273"/>
                  <a:gd name="connsiteX163" fmla="*/ 580677 w 583057"/>
                  <a:gd name="connsiteY163" fmla="*/ 295452 h 453273"/>
                  <a:gd name="connsiteX164" fmla="*/ 576004 w 583057"/>
                  <a:gd name="connsiteY164" fmla="*/ 301007 h 453273"/>
                  <a:gd name="connsiteX165" fmla="*/ 573976 w 583057"/>
                  <a:gd name="connsiteY165" fmla="*/ 303035 h 453273"/>
                  <a:gd name="connsiteX166" fmla="*/ 570802 w 583057"/>
                  <a:gd name="connsiteY166" fmla="*/ 304269 h 453273"/>
                  <a:gd name="connsiteX167" fmla="*/ 569303 w 583057"/>
                  <a:gd name="connsiteY167" fmla="*/ 306826 h 453273"/>
                  <a:gd name="connsiteX168" fmla="*/ 567275 w 583057"/>
                  <a:gd name="connsiteY168" fmla="*/ 310088 h 453273"/>
                  <a:gd name="connsiteX169" fmla="*/ 564630 w 583057"/>
                  <a:gd name="connsiteY169" fmla="*/ 311499 h 453273"/>
                  <a:gd name="connsiteX170" fmla="*/ 564895 w 583057"/>
                  <a:gd name="connsiteY170" fmla="*/ 315026 h 453273"/>
                  <a:gd name="connsiteX171" fmla="*/ 562867 w 583057"/>
                  <a:gd name="connsiteY171" fmla="*/ 317671 h 453273"/>
                  <a:gd name="connsiteX172" fmla="*/ 563749 w 583057"/>
                  <a:gd name="connsiteY172" fmla="*/ 319963 h 453273"/>
                  <a:gd name="connsiteX173" fmla="*/ 561456 w 583057"/>
                  <a:gd name="connsiteY173" fmla="*/ 321726 h 453273"/>
                  <a:gd name="connsiteX174" fmla="*/ 558547 w 583057"/>
                  <a:gd name="connsiteY174" fmla="*/ 324900 h 453273"/>
                  <a:gd name="connsiteX175" fmla="*/ 556166 w 583057"/>
                  <a:gd name="connsiteY175" fmla="*/ 325253 h 453273"/>
                  <a:gd name="connsiteX176" fmla="*/ 557930 w 583057"/>
                  <a:gd name="connsiteY176" fmla="*/ 329044 h 453273"/>
                  <a:gd name="connsiteX177" fmla="*/ 563220 w 583057"/>
                  <a:gd name="connsiteY177" fmla="*/ 326664 h 453273"/>
                  <a:gd name="connsiteX178" fmla="*/ 561192 w 583057"/>
                  <a:gd name="connsiteY178" fmla="*/ 331072 h 453273"/>
                  <a:gd name="connsiteX179" fmla="*/ 559693 w 583057"/>
                  <a:gd name="connsiteY179" fmla="*/ 331337 h 453273"/>
                  <a:gd name="connsiteX180" fmla="*/ 558547 w 583057"/>
                  <a:gd name="connsiteY180" fmla="*/ 332218 h 453273"/>
                  <a:gd name="connsiteX181" fmla="*/ 557312 w 583057"/>
                  <a:gd name="connsiteY181" fmla="*/ 332483 h 453273"/>
                  <a:gd name="connsiteX182" fmla="*/ 556166 w 583057"/>
                  <a:gd name="connsiteY182" fmla="*/ 336010 h 453273"/>
                  <a:gd name="connsiteX183" fmla="*/ 557048 w 583057"/>
                  <a:gd name="connsiteY183" fmla="*/ 336627 h 453273"/>
                  <a:gd name="connsiteX184" fmla="*/ 558811 w 583057"/>
                  <a:gd name="connsiteY184" fmla="*/ 334511 h 453273"/>
                  <a:gd name="connsiteX185" fmla="*/ 560839 w 583057"/>
                  <a:gd name="connsiteY185" fmla="*/ 333982 h 453273"/>
                  <a:gd name="connsiteX186" fmla="*/ 557312 w 583057"/>
                  <a:gd name="connsiteY186" fmla="*/ 340418 h 453273"/>
                  <a:gd name="connsiteX187" fmla="*/ 559428 w 583057"/>
                  <a:gd name="connsiteY187" fmla="*/ 341564 h 453273"/>
                  <a:gd name="connsiteX188" fmla="*/ 557048 w 583057"/>
                  <a:gd name="connsiteY188" fmla="*/ 344474 h 453273"/>
                  <a:gd name="connsiteX189" fmla="*/ 555285 w 583057"/>
                  <a:gd name="connsiteY189" fmla="*/ 348265 h 453273"/>
                  <a:gd name="connsiteX190" fmla="*/ 553257 w 583057"/>
                  <a:gd name="connsiteY190" fmla="*/ 350028 h 453273"/>
                  <a:gd name="connsiteX191" fmla="*/ 554755 w 583057"/>
                  <a:gd name="connsiteY191" fmla="*/ 354701 h 453273"/>
                  <a:gd name="connsiteX192" fmla="*/ 552111 w 583057"/>
                  <a:gd name="connsiteY192" fmla="*/ 356465 h 453273"/>
                  <a:gd name="connsiteX193" fmla="*/ 550083 w 583057"/>
                  <a:gd name="connsiteY193" fmla="*/ 359022 h 453273"/>
                  <a:gd name="connsiteX194" fmla="*/ 548936 w 583057"/>
                  <a:gd name="connsiteY194" fmla="*/ 362284 h 453273"/>
                  <a:gd name="connsiteX195" fmla="*/ 548055 w 583057"/>
                  <a:gd name="connsiteY195" fmla="*/ 356112 h 453273"/>
                  <a:gd name="connsiteX196" fmla="*/ 545057 w 583057"/>
                  <a:gd name="connsiteY196" fmla="*/ 353467 h 453273"/>
                  <a:gd name="connsiteX197" fmla="*/ 547702 w 583057"/>
                  <a:gd name="connsiteY197" fmla="*/ 350293 h 453273"/>
                  <a:gd name="connsiteX198" fmla="*/ 548055 w 583057"/>
                  <a:gd name="connsiteY198" fmla="*/ 347648 h 453273"/>
                  <a:gd name="connsiteX199" fmla="*/ 547173 w 583057"/>
                  <a:gd name="connsiteY199" fmla="*/ 345356 h 453273"/>
                  <a:gd name="connsiteX200" fmla="*/ 543029 w 583057"/>
                  <a:gd name="connsiteY200" fmla="*/ 349411 h 453273"/>
                  <a:gd name="connsiteX201" fmla="*/ 539855 w 583057"/>
                  <a:gd name="connsiteY201" fmla="*/ 355230 h 453273"/>
                  <a:gd name="connsiteX202" fmla="*/ 539590 w 583057"/>
                  <a:gd name="connsiteY202" fmla="*/ 354701 h 453273"/>
                  <a:gd name="connsiteX203" fmla="*/ 537827 w 583057"/>
                  <a:gd name="connsiteY203" fmla="*/ 354966 h 453273"/>
                  <a:gd name="connsiteX204" fmla="*/ 537210 w 583057"/>
                  <a:gd name="connsiteY204" fmla="*/ 354349 h 453273"/>
                  <a:gd name="connsiteX205" fmla="*/ 535447 w 583057"/>
                  <a:gd name="connsiteY205" fmla="*/ 354701 h 453273"/>
                  <a:gd name="connsiteX206" fmla="*/ 532537 w 583057"/>
                  <a:gd name="connsiteY206" fmla="*/ 359374 h 453273"/>
                  <a:gd name="connsiteX207" fmla="*/ 532273 w 583057"/>
                  <a:gd name="connsiteY207" fmla="*/ 360785 h 453273"/>
                  <a:gd name="connsiteX208" fmla="*/ 529980 w 583057"/>
                  <a:gd name="connsiteY208" fmla="*/ 361931 h 453273"/>
                  <a:gd name="connsiteX209" fmla="*/ 529363 w 583057"/>
                  <a:gd name="connsiteY209" fmla="*/ 364312 h 453273"/>
                  <a:gd name="connsiteX210" fmla="*/ 526718 w 583057"/>
                  <a:gd name="connsiteY210" fmla="*/ 368720 h 453273"/>
                  <a:gd name="connsiteX211" fmla="*/ 526189 w 583057"/>
                  <a:gd name="connsiteY211" fmla="*/ 369249 h 453273"/>
                  <a:gd name="connsiteX212" fmla="*/ 525219 w 583057"/>
                  <a:gd name="connsiteY212" fmla="*/ 368985 h 453273"/>
                  <a:gd name="connsiteX213" fmla="*/ 523191 w 583057"/>
                  <a:gd name="connsiteY213" fmla="*/ 367486 h 453273"/>
                  <a:gd name="connsiteX214" fmla="*/ 522927 w 583057"/>
                  <a:gd name="connsiteY214" fmla="*/ 366957 h 453273"/>
                  <a:gd name="connsiteX215" fmla="*/ 522045 w 583057"/>
                  <a:gd name="connsiteY215" fmla="*/ 366604 h 453273"/>
                  <a:gd name="connsiteX216" fmla="*/ 519753 w 583057"/>
                  <a:gd name="connsiteY216" fmla="*/ 367839 h 453273"/>
                  <a:gd name="connsiteX217" fmla="*/ 518871 w 583057"/>
                  <a:gd name="connsiteY217" fmla="*/ 371894 h 453273"/>
                  <a:gd name="connsiteX218" fmla="*/ 479812 w 583057"/>
                  <a:gd name="connsiteY218" fmla="*/ 371013 h 453273"/>
                  <a:gd name="connsiteX219" fmla="*/ 478931 w 583057"/>
                  <a:gd name="connsiteY219" fmla="*/ 385560 h 453273"/>
                  <a:gd name="connsiteX220" fmla="*/ 468351 w 583057"/>
                  <a:gd name="connsiteY220" fmla="*/ 385031 h 453273"/>
                  <a:gd name="connsiteX221" fmla="*/ 468703 w 583057"/>
                  <a:gd name="connsiteY221" fmla="*/ 386442 h 453273"/>
                  <a:gd name="connsiteX222" fmla="*/ 472230 w 583057"/>
                  <a:gd name="connsiteY222" fmla="*/ 387059 h 453273"/>
                  <a:gd name="connsiteX223" fmla="*/ 474787 w 583057"/>
                  <a:gd name="connsiteY223" fmla="*/ 392878 h 453273"/>
                  <a:gd name="connsiteX224" fmla="*/ 478049 w 583057"/>
                  <a:gd name="connsiteY224" fmla="*/ 394025 h 453273"/>
                  <a:gd name="connsiteX225" fmla="*/ 478931 w 583057"/>
                  <a:gd name="connsiteY225" fmla="*/ 396669 h 453273"/>
                  <a:gd name="connsiteX226" fmla="*/ 481840 w 583057"/>
                  <a:gd name="connsiteY226" fmla="*/ 395788 h 453273"/>
                  <a:gd name="connsiteX227" fmla="*/ 483868 w 583057"/>
                  <a:gd name="connsiteY227" fmla="*/ 400196 h 453273"/>
                  <a:gd name="connsiteX228" fmla="*/ 482986 w 583057"/>
                  <a:gd name="connsiteY228" fmla="*/ 403106 h 453273"/>
                  <a:gd name="connsiteX229" fmla="*/ 484750 w 583057"/>
                  <a:gd name="connsiteY229" fmla="*/ 404869 h 453273"/>
                  <a:gd name="connsiteX230" fmla="*/ 488806 w 583057"/>
                  <a:gd name="connsiteY230" fmla="*/ 405398 h 453273"/>
                  <a:gd name="connsiteX231" fmla="*/ 488541 w 583057"/>
                  <a:gd name="connsiteY231" fmla="*/ 408660 h 453273"/>
                  <a:gd name="connsiteX232" fmla="*/ 486778 w 583057"/>
                  <a:gd name="connsiteY232" fmla="*/ 410424 h 453273"/>
                  <a:gd name="connsiteX233" fmla="*/ 488541 w 583057"/>
                  <a:gd name="connsiteY233" fmla="*/ 412452 h 453273"/>
                  <a:gd name="connsiteX234" fmla="*/ 487042 w 583057"/>
                  <a:gd name="connsiteY234" fmla="*/ 415097 h 453273"/>
                  <a:gd name="connsiteX235" fmla="*/ 469585 w 583057"/>
                  <a:gd name="connsiteY235" fmla="*/ 413862 h 453273"/>
                  <a:gd name="connsiteX236" fmla="*/ 458211 w 583057"/>
                  <a:gd name="connsiteY236" fmla="*/ 414744 h 453273"/>
                  <a:gd name="connsiteX237" fmla="*/ 445339 w 583057"/>
                  <a:gd name="connsiteY237" fmla="*/ 434935 h 453273"/>
                  <a:gd name="connsiteX238" fmla="*/ 448865 w 583057"/>
                  <a:gd name="connsiteY238" fmla="*/ 439872 h 453273"/>
                  <a:gd name="connsiteX239" fmla="*/ 446837 w 583057"/>
                  <a:gd name="connsiteY239" fmla="*/ 441018 h 453273"/>
                  <a:gd name="connsiteX240" fmla="*/ 444457 w 583057"/>
                  <a:gd name="connsiteY240" fmla="*/ 445691 h 453273"/>
                  <a:gd name="connsiteX241" fmla="*/ 445956 w 583057"/>
                  <a:gd name="connsiteY241" fmla="*/ 447984 h 453273"/>
                  <a:gd name="connsiteX242" fmla="*/ 445956 w 583057"/>
                  <a:gd name="connsiteY242" fmla="*/ 450629 h 453273"/>
                  <a:gd name="connsiteX243" fmla="*/ 443311 w 583057"/>
                  <a:gd name="connsiteY243" fmla="*/ 453274 h 453273"/>
                  <a:gd name="connsiteX244" fmla="*/ 432819 w 583057"/>
                  <a:gd name="connsiteY244" fmla="*/ 439519 h 453273"/>
                  <a:gd name="connsiteX245" fmla="*/ 417654 w 583057"/>
                  <a:gd name="connsiteY245" fmla="*/ 420916 h 453273"/>
                  <a:gd name="connsiteX246" fmla="*/ 410953 w 583057"/>
                  <a:gd name="connsiteY246" fmla="*/ 414480 h 453273"/>
                  <a:gd name="connsiteX247" fmla="*/ 403018 w 583057"/>
                  <a:gd name="connsiteY247" fmla="*/ 410688 h 453273"/>
                  <a:gd name="connsiteX248" fmla="*/ 401607 w 583057"/>
                  <a:gd name="connsiteY248" fmla="*/ 408925 h 453273"/>
                  <a:gd name="connsiteX249" fmla="*/ 400461 w 583057"/>
                  <a:gd name="connsiteY249" fmla="*/ 409807 h 453273"/>
                  <a:gd name="connsiteX250" fmla="*/ 400108 w 583057"/>
                  <a:gd name="connsiteY250" fmla="*/ 411570 h 453273"/>
                  <a:gd name="connsiteX251" fmla="*/ 409454 w 583057"/>
                  <a:gd name="connsiteY251" fmla="*/ 416507 h 453273"/>
                  <a:gd name="connsiteX252" fmla="*/ 400108 w 583057"/>
                  <a:gd name="connsiteY252" fmla="*/ 412981 h 453273"/>
                  <a:gd name="connsiteX253" fmla="*/ 393407 w 583057"/>
                  <a:gd name="connsiteY253" fmla="*/ 411570 h 453273"/>
                  <a:gd name="connsiteX254" fmla="*/ 396934 w 583057"/>
                  <a:gd name="connsiteY254" fmla="*/ 408925 h 453273"/>
                  <a:gd name="connsiteX255" fmla="*/ 392526 w 583057"/>
                  <a:gd name="connsiteY255" fmla="*/ 410424 h 453273"/>
                  <a:gd name="connsiteX256" fmla="*/ 390233 w 583057"/>
                  <a:gd name="connsiteY256" fmla="*/ 408043 h 453273"/>
                  <a:gd name="connsiteX257" fmla="*/ 391115 w 583057"/>
                  <a:gd name="connsiteY257" fmla="*/ 405751 h 453273"/>
                  <a:gd name="connsiteX258" fmla="*/ 387059 w 583057"/>
                  <a:gd name="connsiteY258" fmla="*/ 406897 h 453273"/>
                  <a:gd name="connsiteX259" fmla="*/ 386089 w 583057"/>
                  <a:gd name="connsiteY259" fmla="*/ 409807 h 453273"/>
                  <a:gd name="connsiteX260" fmla="*/ 391115 w 583057"/>
                  <a:gd name="connsiteY260" fmla="*/ 411570 h 453273"/>
                  <a:gd name="connsiteX261" fmla="*/ 384679 w 583057"/>
                  <a:gd name="connsiteY261" fmla="*/ 411570 h 453273"/>
                  <a:gd name="connsiteX262" fmla="*/ 380270 w 583057"/>
                  <a:gd name="connsiteY262" fmla="*/ 414744 h 453273"/>
                  <a:gd name="connsiteX263" fmla="*/ 367133 w 583057"/>
                  <a:gd name="connsiteY263" fmla="*/ 424354 h 453273"/>
                  <a:gd name="connsiteX264" fmla="*/ 358140 w 583057"/>
                  <a:gd name="connsiteY264" fmla="*/ 424972 h 453273"/>
                  <a:gd name="connsiteX265" fmla="*/ 350558 w 583057"/>
                  <a:gd name="connsiteY265" fmla="*/ 424354 h 453273"/>
                  <a:gd name="connsiteX266" fmla="*/ 338038 w 583057"/>
                  <a:gd name="connsiteY266" fmla="*/ 420563 h 453273"/>
                  <a:gd name="connsiteX267" fmla="*/ 326311 w 583057"/>
                  <a:gd name="connsiteY267" fmla="*/ 417389 h 453273"/>
                  <a:gd name="connsiteX268" fmla="*/ 321109 w 583057"/>
                  <a:gd name="connsiteY268" fmla="*/ 411570 h 453273"/>
                  <a:gd name="connsiteX269" fmla="*/ 310882 w 583057"/>
                  <a:gd name="connsiteY269" fmla="*/ 408925 h 453273"/>
                  <a:gd name="connsiteX270" fmla="*/ 306826 w 583057"/>
                  <a:gd name="connsiteY270" fmla="*/ 402841 h 453273"/>
                  <a:gd name="connsiteX271" fmla="*/ 300125 w 583057"/>
                  <a:gd name="connsiteY271" fmla="*/ 400461 h 453273"/>
                  <a:gd name="connsiteX272" fmla="*/ 286988 w 583057"/>
                  <a:gd name="connsiteY272" fmla="*/ 399050 h 453273"/>
                  <a:gd name="connsiteX273" fmla="*/ 277907 w 583057"/>
                  <a:gd name="connsiteY273" fmla="*/ 395788 h 453273"/>
                  <a:gd name="connsiteX274" fmla="*/ 266004 w 583057"/>
                  <a:gd name="connsiteY274" fmla="*/ 386795 h 453273"/>
                  <a:gd name="connsiteX275" fmla="*/ 259568 w 583057"/>
                  <a:gd name="connsiteY275" fmla="*/ 385031 h 453273"/>
                  <a:gd name="connsiteX276" fmla="*/ 253396 w 583057"/>
                  <a:gd name="connsiteY276" fmla="*/ 382122 h 453273"/>
                  <a:gd name="connsiteX277" fmla="*/ 250839 w 583057"/>
                  <a:gd name="connsiteY277" fmla="*/ 379741 h 453273"/>
                  <a:gd name="connsiteX278" fmla="*/ 245549 w 583057"/>
                  <a:gd name="connsiteY278" fmla="*/ 377713 h 453273"/>
                  <a:gd name="connsiteX279" fmla="*/ 248459 w 583057"/>
                  <a:gd name="connsiteY279" fmla="*/ 375068 h 453273"/>
                  <a:gd name="connsiteX280" fmla="*/ 246695 w 583057"/>
                  <a:gd name="connsiteY280" fmla="*/ 368367 h 453273"/>
                  <a:gd name="connsiteX281" fmla="*/ 242639 w 583057"/>
                  <a:gd name="connsiteY281" fmla="*/ 367221 h 453273"/>
                  <a:gd name="connsiteX282" fmla="*/ 237967 w 583057"/>
                  <a:gd name="connsiteY282" fmla="*/ 368720 h 453273"/>
                  <a:gd name="connsiteX283" fmla="*/ 213191 w 583057"/>
                  <a:gd name="connsiteY283" fmla="*/ 359903 h 453273"/>
                  <a:gd name="connsiteX284" fmla="*/ 206490 w 583057"/>
                  <a:gd name="connsiteY284" fmla="*/ 353820 h 453273"/>
                  <a:gd name="connsiteX285" fmla="*/ 202082 w 583057"/>
                  <a:gd name="connsiteY285" fmla="*/ 344738 h 453273"/>
                  <a:gd name="connsiteX286" fmla="*/ 188063 w 583057"/>
                  <a:gd name="connsiteY286" fmla="*/ 339184 h 453273"/>
                  <a:gd name="connsiteX287" fmla="*/ 181362 w 583057"/>
                  <a:gd name="connsiteY287" fmla="*/ 333100 h 453273"/>
                  <a:gd name="connsiteX288" fmla="*/ 179070 w 583057"/>
                  <a:gd name="connsiteY288" fmla="*/ 333100 h 453273"/>
                  <a:gd name="connsiteX289" fmla="*/ 175279 w 583057"/>
                  <a:gd name="connsiteY289" fmla="*/ 328427 h 453273"/>
                  <a:gd name="connsiteX290" fmla="*/ 176425 w 583057"/>
                  <a:gd name="connsiteY290" fmla="*/ 322873 h 453273"/>
                  <a:gd name="connsiteX291" fmla="*/ 176690 w 583057"/>
                  <a:gd name="connsiteY291" fmla="*/ 316789 h 453273"/>
                  <a:gd name="connsiteX292" fmla="*/ 172634 w 583057"/>
                  <a:gd name="connsiteY292" fmla="*/ 313879 h 453273"/>
                  <a:gd name="connsiteX293" fmla="*/ 169724 w 583057"/>
                  <a:gd name="connsiteY293" fmla="*/ 312381 h 453273"/>
                  <a:gd name="connsiteX294" fmla="*/ 166550 w 583057"/>
                  <a:gd name="connsiteY294" fmla="*/ 308589 h 453273"/>
                  <a:gd name="connsiteX295" fmla="*/ 171135 w 583057"/>
                  <a:gd name="connsiteY295" fmla="*/ 306826 h 453273"/>
                  <a:gd name="connsiteX296" fmla="*/ 176425 w 583057"/>
                  <a:gd name="connsiteY296" fmla="*/ 305944 h 453273"/>
                  <a:gd name="connsiteX297" fmla="*/ 180216 w 583057"/>
                  <a:gd name="connsiteY297" fmla="*/ 306826 h 453273"/>
                  <a:gd name="connsiteX298" fmla="*/ 181098 w 583057"/>
                  <a:gd name="connsiteY298" fmla="*/ 302770 h 453273"/>
                  <a:gd name="connsiteX299" fmla="*/ 180216 w 583057"/>
                  <a:gd name="connsiteY299" fmla="*/ 297833 h 453273"/>
                  <a:gd name="connsiteX300" fmla="*/ 175543 w 583057"/>
                  <a:gd name="connsiteY300" fmla="*/ 297480 h 453273"/>
                  <a:gd name="connsiteX301" fmla="*/ 183743 w 583057"/>
                  <a:gd name="connsiteY301" fmla="*/ 290250 h 453273"/>
                  <a:gd name="connsiteX302" fmla="*/ 186035 w 583057"/>
                  <a:gd name="connsiteY302" fmla="*/ 280904 h 453273"/>
                  <a:gd name="connsiteX303" fmla="*/ 181362 w 583057"/>
                  <a:gd name="connsiteY303" fmla="*/ 277113 h 453273"/>
                  <a:gd name="connsiteX304" fmla="*/ 178453 w 583057"/>
                  <a:gd name="connsiteY304" fmla="*/ 267503 h 453273"/>
                  <a:gd name="connsiteX305" fmla="*/ 179334 w 583057"/>
                  <a:gd name="connsiteY305" fmla="*/ 260802 h 453273"/>
                  <a:gd name="connsiteX306" fmla="*/ 179334 w 583057"/>
                  <a:gd name="connsiteY306" fmla="*/ 253749 h 453273"/>
                  <a:gd name="connsiteX307" fmla="*/ 176690 w 583057"/>
                  <a:gd name="connsiteY307" fmla="*/ 247048 h 453273"/>
                  <a:gd name="connsiteX308" fmla="*/ 169724 w 583057"/>
                  <a:gd name="connsiteY308" fmla="*/ 242639 h 453273"/>
                  <a:gd name="connsiteX309" fmla="*/ 166815 w 583057"/>
                  <a:gd name="connsiteY309" fmla="*/ 237702 h 453273"/>
                  <a:gd name="connsiteX310" fmla="*/ 166550 w 583057"/>
                  <a:gd name="connsiteY310" fmla="*/ 232500 h 453273"/>
                  <a:gd name="connsiteX311" fmla="*/ 161260 w 583057"/>
                  <a:gd name="connsiteY311" fmla="*/ 223419 h 453273"/>
                  <a:gd name="connsiteX312" fmla="*/ 159232 w 583057"/>
                  <a:gd name="connsiteY312" fmla="*/ 220509 h 453273"/>
                  <a:gd name="connsiteX313" fmla="*/ 156587 w 583057"/>
                  <a:gd name="connsiteY313" fmla="*/ 215836 h 453273"/>
                  <a:gd name="connsiteX314" fmla="*/ 154295 w 583057"/>
                  <a:gd name="connsiteY314" fmla="*/ 212927 h 453273"/>
                  <a:gd name="connsiteX315" fmla="*/ 150151 w 583057"/>
                  <a:gd name="connsiteY315" fmla="*/ 212309 h 453273"/>
                  <a:gd name="connsiteX316" fmla="*/ 143450 w 583057"/>
                  <a:gd name="connsiteY316" fmla="*/ 206490 h 453273"/>
                  <a:gd name="connsiteX317" fmla="*/ 148740 w 583057"/>
                  <a:gd name="connsiteY317" fmla="*/ 209135 h 453273"/>
                  <a:gd name="connsiteX318" fmla="*/ 151385 w 583057"/>
                  <a:gd name="connsiteY318" fmla="*/ 207372 h 453273"/>
                  <a:gd name="connsiteX319" fmla="*/ 149269 w 583057"/>
                  <a:gd name="connsiteY319" fmla="*/ 204463 h 453273"/>
                  <a:gd name="connsiteX320" fmla="*/ 146095 w 583057"/>
                  <a:gd name="connsiteY320" fmla="*/ 205344 h 453273"/>
                  <a:gd name="connsiteX321" fmla="*/ 139659 w 583057"/>
                  <a:gd name="connsiteY321" fmla="*/ 201553 h 453273"/>
                  <a:gd name="connsiteX322" fmla="*/ 141158 w 583057"/>
                  <a:gd name="connsiteY322" fmla="*/ 197233 h 453273"/>
                  <a:gd name="connsiteX323" fmla="*/ 141422 w 583057"/>
                  <a:gd name="connsiteY323" fmla="*/ 193089 h 453273"/>
                  <a:gd name="connsiteX324" fmla="*/ 137895 w 583057"/>
                  <a:gd name="connsiteY324" fmla="*/ 196616 h 453273"/>
                  <a:gd name="connsiteX325" fmla="*/ 133840 w 583057"/>
                  <a:gd name="connsiteY325" fmla="*/ 189650 h 453273"/>
                  <a:gd name="connsiteX326" fmla="*/ 134721 w 583057"/>
                  <a:gd name="connsiteY326" fmla="*/ 187270 h 453273"/>
                  <a:gd name="connsiteX327" fmla="*/ 134986 w 583057"/>
                  <a:gd name="connsiteY327" fmla="*/ 189915 h 453273"/>
                  <a:gd name="connsiteX328" fmla="*/ 138513 w 583057"/>
                  <a:gd name="connsiteY328" fmla="*/ 193089 h 453273"/>
                  <a:gd name="connsiteX329" fmla="*/ 140805 w 583057"/>
                  <a:gd name="connsiteY329" fmla="*/ 190179 h 453273"/>
                  <a:gd name="connsiteX330" fmla="*/ 137895 w 583057"/>
                  <a:gd name="connsiteY330" fmla="*/ 187887 h 453273"/>
                  <a:gd name="connsiteX331" fmla="*/ 139130 w 583057"/>
                  <a:gd name="connsiteY331" fmla="*/ 184889 h 453273"/>
                  <a:gd name="connsiteX332" fmla="*/ 136132 w 583057"/>
                  <a:gd name="connsiteY332" fmla="*/ 182597 h 453273"/>
                  <a:gd name="connsiteX333" fmla="*/ 134457 w 583057"/>
                  <a:gd name="connsiteY333" fmla="*/ 184360 h 453273"/>
                  <a:gd name="connsiteX334" fmla="*/ 131195 w 583057"/>
                  <a:gd name="connsiteY334" fmla="*/ 185771 h 453273"/>
                  <a:gd name="connsiteX335" fmla="*/ 130930 w 583057"/>
                  <a:gd name="connsiteY335" fmla="*/ 181980 h 453273"/>
                  <a:gd name="connsiteX336" fmla="*/ 127668 w 583057"/>
                  <a:gd name="connsiteY336" fmla="*/ 183743 h 453273"/>
                  <a:gd name="connsiteX337" fmla="*/ 126874 w 583057"/>
                  <a:gd name="connsiteY337" fmla="*/ 182861 h 453273"/>
                  <a:gd name="connsiteX338" fmla="*/ 128638 w 583057"/>
                  <a:gd name="connsiteY338" fmla="*/ 180569 h 453273"/>
                  <a:gd name="connsiteX339" fmla="*/ 127668 w 583057"/>
                  <a:gd name="connsiteY339" fmla="*/ 178805 h 453273"/>
                  <a:gd name="connsiteX340" fmla="*/ 123965 w 583057"/>
                  <a:gd name="connsiteY340" fmla="*/ 181186 h 453273"/>
                  <a:gd name="connsiteX341" fmla="*/ 120438 w 583057"/>
                  <a:gd name="connsiteY341" fmla="*/ 178805 h 453273"/>
                  <a:gd name="connsiteX342" fmla="*/ 123348 w 583057"/>
                  <a:gd name="connsiteY342" fmla="*/ 178805 h 453273"/>
                  <a:gd name="connsiteX343" fmla="*/ 124229 w 583057"/>
                  <a:gd name="connsiteY343" fmla="*/ 177659 h 453273"/>
                  <a:gd name="connsiteX344" fmla="*/ 121584 w 583057"/>
                  <a:gd name="connsiteY344" fmla="*/ 177924 h 453273"/>
                  <a:gd name="connsiteX345" fmla="*/ 119821 w 583057"/>
                  <a:gd name="connsiteY345" fmla="*/ 178805 h 453273"/>
                  <a:gd name="connsiteX346" fmla="*/ 114883 w 583057"/>
                  <a:gd name="connsiteY346" fmla="*/ 176778 h 453273"/>
                  <a:gd name="connsiteX347" fmla="*/ 115148 w 583057"/>
                  <a:gd name="connsiteY347" fmla="*/ 175279 h 453273"/>
                  <a:gd name="connsiteX348" fmla="*/ 114266 w 583057"/>
                  <a:gd name="connsiteY348" fmla="*/ 169195 h 453273"/>
                  <a:gd name="connsiteX349" fmla="*/ 116647 w 583057"/>
                  <a:gd name="connsiteY349" fmla="*/ 166286 h 453273"/>
                  <a:gd name="connsiteX350" fmla="*/ 119821 w 583057"/>
                  <a:gd name="connsiteY350" fmla="*/ 163905 h 453273"/>
                  <a:gd name="connsiteX351" fmla="*/ 122201 w 583057"/>
                  <a:gd name="connsiteY351" fmla="*/ 160731 h 453273"/>
                  <a:gd name="connsiteX352" fmla="*/ 124494 w 583057"/>
                  <a:gd name="connsiteY352" fmla="*/ 162142 h 453273"/>
                  <a:gd name="connsiteX353" fmla="*/ 124494 w 583057"/>
                  <a:gd name="connsiteY353" fmla="*/ 158086 h 453273"/>
                  <a:gd name="connsiteX354" fmla="*/ 121849 w 583057"/>
                  <a:gd name="connsiteY354" fmla="*/ 158968 h 453273"/>
                  <a:gd name="connsiteX355" fmla="*/ 118939 w 583057"/>
                  <a:gd name="connsiteY355" fmla="*/ 148211 h 453273"/>
                  <a:gd name="connsiteX356" fmla="*/ 118410 w 583057"/>
                  <a:gd name="connsiteY356" fmla="*/ 150503 h 453273"/>
                  <a:gd name="connsiteX357" fmla="*/ 112503 w 583057"/>
                  <a:gd name="connsiteY357" fmla="*/ 149357 h 453273"/>
                  <a:gd name="connsiteX358" fmla="*/ 112503 w 583057"/>
                  <a:gd name="connsiteY358" fmla="*/ 142304 h 453273"/>
                  <a:gd name="connsiteX359" fmla="*/ 111357 w 583057"/>
                  <a:gd name="connsiteY359" fmla="*/ 140011 h 453273"/>
                  <a:gd name="connsiteX360" fmla="*/ 105802 w 583057"/>
                  <a:gd name="connsiteY360" fmla="*/ 135338 h 453273"/>
                  <a:gd name="connsiteX361" fmla="*/ 100865 w 583057"/>
                  <a:gd name="connsiteY361" fmla="*/ 135074 h 453273"/>
                  <a:gd name="connsiteX362" fmla="*/ 98572 w 583057"/>
                  <a:gd name="connsiteY362" fmla="*/ 130665 h 453273"/>
                  <a:gd name="connsiteX363" fmla="*/ 100600 w 583057"/>
                  <a:gd name="connsiteY363" fmla="*/ 126345 h 453273"/>
                  <a:gd name="connsiteX364" fmla="*/ 104391 w 583057"/>
                  <a:gd name="connsiteY364" fmla="*/ 121055 h 453273"/>
                  <a:gd name="connsiteX365" fmla="*/ 97338 w 583057"/>
                  <a:gd name="connsiteY365" fmla="*/ 120173 h 453273"/>
                  <a:gd name="connsiteX366" fmla="*/ 96544 w 583057"/>
                  <a:gd name="connsiteY366" fmla="*/ 121672 h 453273"/>
                  <a:gd name="connsiteX367" fmla="*/ 92401 w 583057"/>
                  <a:gd name="connsiteY367" fmla="*/ 119292 h 453273"/>
                  <a:gd name="connsiteX368" fmla="*/ 88345 w 583057"/>
                  <a:gd name="connsiteY368" fmla="*/ 107918 h 453273"/>
                  <a:gd name="connsiteX369" fmla="*/ 83055 w 583057"/>
                  <a:gd name="connsiteY369" fmla="*/ 105890 h 453273"/>
                  <a:gd name="connsiteX370" fmla="*/ 79881 w 583057"/>
                  <a:gd name="connsiteY370" fmla="*/ 98572 h 453273"/>
                  <a:gd name="connsiteX371" fmla="*/ 82173 w 583057"/>
                  <a:gd name="connsiteY371" fmla="*/ 97691 h 453273"/>
                  <a:gd name="connsiteX372" fmla="*/ 76706 w 583057"/>
                  <a:gd name="connsiteY372" fmla="*/ 93370 h 453273"/>
                  <a:gd name="connsiteX373" fmla="*/ 78382 w 583057"/>
                  <a:gd name="connsiteY373" fmla="*/ 85171 h 453273"/>
                  <a:gd name="connsiteX374" fmla="*/ 74326 w 583057"/>
                  <a:gd name="connsiteY374" fmla="*/ 83143 h 453273"/>
                  <a:gd name="connsiteX375" fmla="*/ 76706 w 583057"/>
                  <a:gd name="connsiteY375" fmla="*/ 79969 h 453273"/>
                  <a:gd name="connsiteX376" fmla="*/ 71152 w 583057"/>
                  <a:gd name="connsiteY376" fmla="*/ 68242 h 453273"/>
                  <a:gd name="connsiteX377" fmla="*/ 73797 w 583057"/>
                  <a:gd name="connsiteY377" fmla="*/ 61277 h 453273"/>
                  <a:gd name="connsiteX378" fmla="*/ 72827 w 583057"/>
                  <a:gd name="connsiteY378" fmla="*/ 53959 h 453273"/>
                  <a:gd name="connsiteX379" fmla="*/ 69918 w 583057"/>
                  <a:gd name="connsiteY379" fmla="*/ 50168 h 453273"/>
                  <a:gd name="connsiteX380" fmla="*/ 74326 w 583057"/>
                  <a:gd name="connsiteY380" fmla="*/ 44613 h 453273"/>
                  <a:gd name="connsiteX381" fmla="*/ 75472 w 583057"/>
                  <a:gd name="connsiteY381" fmla="*/ 39940 h 453273"/>
                  <a:gd name="connsiteX382" fmla="*/ 74326 w 583057"/>
                  <a:gd name="connsiteY382" fmla="*/ 37031 h 453273"/>
                  <a:gd name="connsiteX383" fmla="*/ 67008 w 583057"/>
                  <a:gd name="connsiteY383" fmla="*/ 37648 h 453273"/>
                  <a:gd name="connsiteX384" fmla="*/ 64098 w 583057"/>
                  <a:gd name="connsiteY384" fmla="*/ 34474 h 453273"/>
                  <a:gd name="connsiteX385" fmla="*/ 64980 w 583057"/>
                  <a:gd name="connsiteY385" fmla="*/ 30330 h 453273"/>
                  <a:gd name="connsiteX386" fmla="*/ 62423 w 583057"/>
                  <a:gd name="connsiteY386" fmla="*/ 27156 h 453273"/>
                  <a:gd name="connsiteX387" fmla="*/ 59426 w 583057"/>
                  <a:gd name="connsiteY387" fmla="*/ 26010 h 453273"/>
                  <a:gd name="connsiteX388" fmla="*/ 58015 w 583057"/>
                  <a:gd name="connsiteY388" fmla="*/ 30065 h 453273"/>
                  <a:gd name="connsiteX389" fmla="*/ 54224 w 583057"/>
                  <a:gd name="connsiteY389" fmla="*/ 30330 h 453273"/>
                  <a:gd name="connsiteX390" fmla="*/ 48933 w 583057"/>
                  <a:gd name="connsiteY390" fmla="*/ 23894 h 453273"/>
                  <a:gd name="connsiteX391" fmla="*/ 44613 w 583057"/>
                  <a:gd name="connsiteY391" fmla="*/ 23894 h 453273"/>
                  <a:gd name="connsiteX392" fmla="*/ 41351 w 583057"/>
                  <a:gd name="connsiteY392" fmla="*/ 18692 h 453273"/>
                  <a:gd name="connsiteX393" fmla="*/ 39323 w 583057"/>
                  <a:gd name="connsiteY393" fmla="*/ 19309 h 453273"/>
                  <a:gd name="connsiteX394" fmla="*/ 41351 w 583057"/>
                  <a:gd name="connsiteY394" fmla="*/ 22747 h 453273"/>
                  <a:gd name="connsiteX395" fmla="*/ 41968 w 583057"/>
                  <a:gd name="connsiteY395" fmla="*/ 26891 h 453273"/>
                  <a:gd name="connsiteX396" fmla="*/ 40822 w 583057"/>
                  <a:gd name="connsiteY396" fmla="*/ 31829 h 453273"/>
                  <a:gd name="connsiteX397" fmla="*/ 38177 w 583057"/>
                  <a:gd name="connsiteY397" fmla="*/ 34738 h 453273"/>
                  <a:gd name="connsiteX398" fmla="*/ 36414 w 583057"/>
                  <a:gd name="connsiteY398" fmla="*/ 36766 h 453273"/>
                  <a:gd name="connsiteX399" fmla="*/ 35796 w 583057"/>
                  <a:gd name="connsiteY399" fmla="*/ 39059 h 453273"/>
                  <a:gd name="connsiteX400" fmla="*/ 36149 w 583057"/>
                  <a:gd name="connsiteY400" fmla="*/ 41968 h 453273"/>
                  <a:gd name="connsiteX401" fmla="*/ 37912 w 583057"/>
                  <a:gd name="connsiteY401" fmla="*/ 44966 h 453273"/>
                  <a:gd name="connsiteX402" fmla="*/ 38794 w 583057"/>
                  <a:gd name="connsiteY402" fmla="*/ 49286 h 453273"/>
                  <a:gd name="connsiteX403" fmla="*/ 37031 w 583057"/>
                  <a:gd name="connsiteY403" fmla="*/ 55105 h 453273"/>
                  <a:gd name="connsiteX404" fmla="*/ 32622 w 583057"/>
                  <a:gd name="connsiteY404" fmla="*/ 62688 h 453273"/>
                  <a:gd name="connsiteX405" fmla="*/ 36149 w 583057"/>
                  <a:gd name="connsiteY405" fmla="*/ 72651 h 453273"/>
                  <a:gd name="connsiteX406" fmla="*/ 40205 w 583057"/>
                  <a:gd name="connsiteY406" fmla="*/ 73797 h 453273"/>
                  <a:gd name="connsiteX407" fmla="*/ 46024 w 583057"/>
                  <a:gd name="connsiteY407" fmla="*/ 81115 h 453273"/>
                  <a:gd name="connsiteX408" fmla="*/ 47523 w 583057"/>
                  <a:gd name="connsiteY408" fmla="*/ 86052 h 453273"/>
                  <a:gd name="connsiteX409" fmla="*/ 47787 w 583057"/>
                  <a:gd name="connsiteY409" fmla="*/ 95663 h 453273"/>
                  <a:gd name="connsiteX410" fmla="*/ 50080 w 583057"/>
                  <a:gd name="connsiteY410" fmla="*/ 93370 h 453273"/>
                  <a:gd name="connsiteX411" fmla="*/ 50432 w 583057"/>
                  <a:gd name="connsiteY411" fmla="*/ 97691 h 453273"/>
                  <a:gd name="connsiteX412" fmla="*/ 53606 w 583057"/>
                  <a:gd name="connsiteY412" fmla="*/ 97426 h 453273"/>
                  <a:gd name="connsiteX413" fmla="*/ 53342 w 583057"/>
                  <a:gd name="connsiteY413" fmla="*/ 105626 h 453273"/>
                  <a:gd name="connsiteX414" fmla="*/ 58279 w 583057"/>
                  <a:gd name="connsiteY414" fmla="*/ 106772 h 453273"/>
                  <a:gd name="connsiteX415" fmla="*/ 57398 w 583057"/>
                  <a:gd name="connsiteY415" fmla="*/ 113473 h 453273"/>
                  <a:gd name="connsiteX416" fmla="*/ 59426 w 583057"/>
                  <a:gd name="connsiteY416" fmla="*/ 117528 h 453273"/>
                  <a:gd name="connsiteX417" fmla="*/ 56869 w 583057"/>
                  <a:gd name="connsiteY417" fmla="*/ 121672 h 453273"/>
                  <a:gd name="connsiteX418" fmla="*/ 59426 w 583057"/>
                  <a:gd name="connsiteY418" fmla="*/ 127227 h 453273"/>
                  <a:gd name="connsiteX419" fmla="*/ 63569 w 583057"/>
                  <a:gd name="connsiteY419" fmla="*/ 129784 h 453273"/>
                  <a:gd name="connsiteX420" fmla="*/ 63834 w 583057"/>
                  <a:gd name="connsiteY420" fmla="*/ 137366 h 453273"/>
                  <a:gd name="connsiteX421" fmla="*/ 67008 w 583057"/>
                  <a:gd name="connsiteY421" fmla="*/ 140629 h 453273"/>
                  <a:gd name="connsiteX422" fmla="*/ 68242 w 583057"/>
                  <a:gd name="connsiteY422" fmla="*/ 145566 h 453273"/>
                  <a:gd name="connsiteX423" fmla="*/ 67361 w 583057"/>
                  <a:gd name="connsiteY423" fmla="*/ 149357 h 453273"/>
                  <a:gd name="connsiteX424" fmla="*/ 69653 w 583057"/>
                  <a:gd name="connsiteY424" fmla="*/ 153766 h 453273"/>
                  <a:gd name="connsiteX425" fmla="*/ 71681 w 583057"/>
                  <a:gd name="connsiteY425" fmla="*/ 152531 h 453273"/>
                  <a:gd name="connsiteX426" fmla="*/ 69918 w 583057"/>
                  <a:gd name="connsiteY426" fmla="*/ 144949 h 453273"/>
                  <a:gd name="connsiteX427" fmla="*/ 71681 w 583057"/>
                  <a:gd name="connsiteY427" fmla="*/ 145566 h 453273"/>
                  <a:gd name="connsiteX428" fmla="*/ 74591 w 583057"/>
                  <a:gd name="connsiteY428" fmla="*/ 149622 h 453273"/>
                  <a:gd name="connsiteX429" fmla="*/ 74326 w 583057"/>
                  <a:gd name="connsiteY429" fmla="*/ 153413 h 453273"/>
                  <a:gd name="connsiteX430" fmla="*/ 77236 w 583057"/>
                  <a:gd name="connsiteY430" fmla="*/ 159849 h 453273"/>
                  <a:gd name="connsiteX431" fmla="*/ 75208 w 583057"/>
                  <a:gd name="connsiteY431" fmla="*/ 172634 h 453273"/>
                  <a:gd name="connsiteX432" fmla="*/ 77500 w 583057"/>
                  <a:gd name="connsiteY432" fmla="*/ 178188 h 453273"/>
                  <a:gd name="connsiteX433" fmla="*/ 80762 w 583057"/>
                  <a:gd name="connsiteY433" fmla="*/ 180304 h 453273"/>
                  <a:gd name="connsiteX434" fmla="*/ 79616 w 583057"/>
                  <a:gd name="connsiteY434" fmla="*/ 189298 h 453273"/>
                  <a:gd name="connsiteX435" fmla="*/ 81909 w 583057"/>
                  <a:gd name="connsiteY435" fmla="*/ 191325 h 453273"/>
                  <a:gd name="connsiteX436" fmla="*/ 83672 w 583057"/>
                  <a:gd name="connsiteY436" fmla="*/ 198379 h 453273"/>
                  <a:gd name="connsiteX437" fmla="*/ 80498 w 583057"/>
                  <a:gd name="connsiteY437" fmla="*/ 203581 h 453273"/>
                  <a:gd name="connsiteX438" fmla="*/ 81909 w 583057"/>
                  <a:gd name="connsiteY438" fmla="*/ 206490 h 453273"/>
                  <a:gd name="connsiteX439" fmla="*/ 81909 w 583057"/>
                  <a:gd name="connsiteY439" fmla="*/ 210017 h 453273"/>
                  <a:gd name="connsiteX440" fmla="*/ 85083 w 583057"/>
                  <a:gd name="connsiteY440" fmla="*/ 212662 h 453273"/>
                  <a:gd name="connsiteX441" fmla="*/ 88345 w 583057"/>
                  <a:gd name="connsiteY441" fmla="*/ 212662 h 453273"/>
                  <a:gd name="connsiteX442" fmla="*/ 90637 w 583057"/>
                  <a:gd name="connsiteY442" fmla="*/ 208518 h 453273"/>
                  <a:gd name="connsiteX443" fmla="*/ 94164 w 583057"/>
                  <a:gd name="connsiteY443" fmla="*/ 210899 h 453273"/>
                  <a:gd name="connsiteX444" fmla="*/ 97955 w 583057"/>
                  <a:gd name="connsiteY444" fmla="*/ 217335 h 453273"/>
                  <a:gd name="connsiteX445" fmla="*/ 97955 w 583057"/>
                  <a:gd name="connsiteY445" fmla="*/ 218746 h 453273"/>
                  <a:gd name="connsiteX446" fmla="*/ 100600 w 583057"/>
                  <a:gd name="connsiteY446" fmla="*/ 220509 h 453273"/>
                  <a:gd name="connsiteX447" fmla="*/ 98572 w 583057"/>
                  <a:gd name="connsiteY447" fmla="*/ 225182 h 453273"/>
                  <a:gd name="connsiteX448" fmla="*/ 102892 w 583057"/>
                  <a:gd name="connsiteY448" fmla="*/ 227827 h 453273"/>
                  <a:gd name="connsiteX449" fmla="*/ 104920 w 583057"/>
                  <a:gd name="connsiteY449" fmla="*/ 231618 h 453273"/>
                  <a:gd name="connsiteX450" fmla="*/ 102363 w 583057"/>
                  <a:gd name="connsiteY450" fmla="*/ 236291 h 453273"/>
                  <a:gd name="connsiteX451" fmla="*/ 100865 w 583057"/>
                  <a:gd name="connsiteY451" fmla="*/ 240347 h 453273"/>
                  <a:gd name="connsiteX452" fmla="*/ 96809 w 583057"/>
                  <a:gd name="connsiteY452" fmla="*/ 241493 h 453273"/>
                  <a:gd name="connsiteX453" fmla="*/ 96809 w 583057"/>
                  <a:gd name="connsiteY453" fmla="*/ 243874 h 453273"/>
                  <a:gd name="connsiteX454" fmla="*/ 91254 w 583057"/>
                  <a:gd name="connsiteY454" fmla="*/ 245284 h 453273"/>
                  <a:gd name="connsiteX455" fmla="*/ 88345 w 583057"/>
                  <a:gd name="connsiteY455" fmla="*/ 244755 h 453273"/>
                  <a:gd name="connsiteX456" fmla="*/ 87199 w 583057"/>
                  <a:gd name="connsiteY456" fmla="*/ 235057 h 453273"/>
                  <a:gd name="connsiteX457" fmla="*/ 85083 w 583057"/>
                  <a:gd name="connsiteY457" fmla="*/ 228092 h 453273"/>
                  <a:gd name="connsiteX458" fmla="*/ 78734 w 583057"/>
                  <a:gd name="connsiteY458" fmla="*/ 225446 h 453273"/>
                  <a:gd name="connsiteX459" fmla="*/ 73444 w 583057"/>
                  <a:gd name="connsiteY459" fmla="*/ 214954 h 453273"/>
                  <a:gd name="connsiteX460" fmla="*/ 64451 w 583057"/>
                  <a:gd name="connsiteY460" fmla="*/ 213808 h 453273"/>
                  <a:gd name="connsiteX461" fmla="*/ 62952 w 583057"/>
                  <a:gd name="connsiteY461" fmla="*/ 211780 h 453273"/>
                  <a:gd name="connsiteX462" fmla="*/ 60307 w 583057"/>
                  <a:gd name="connsiteY462" fmla="*/ 209753 h 453273"/>
                  <a:gd name="connsiteX463" fmla="*/ 58544 w 583057"/>
                  <a:gd name="connsiteY463" fmla="*/ 205344 h 453273"/>
                  <a:gd name="connsiteX464" fmla="*/ 55987 w 583057"/>
                  <a:gd name="connsiteY464" fmla="*/ 205344 h 453273"/>
                  <a:gd name="connsiteX465" fmla="*/ 55105 w 583057"/>
                  <a:gd name="connsiteY465" fmla="*/ 204198 h 453273"/>
                  <a:gd name="connsiteX466" fmla="*/ 58279 w 583057"/>
                  <a:gd name="connsiteY466" fmla="*/ 203581 h 453273"/>
                  <a:gd name="connsiteX467" fmla="*/ 60924 w 583057"/>
                  <a:gd name="connsiteY467" fmla="*/ 204463 h 453273"/>
                  <a:gd name="connsiteX468" fmla="*/ 62688 w 583057"/>
                  <a:gd name="connsiteY468" fmla="*/ 206843 h 453273"/>
                  <a:gd name="connsiteX469" fmla="*/ 66214 w 583057"/>
                  <a:gd name="connsiteY469" fmla="*/ 206843 h 453273"/>
                  <a:gd name="connsiteX470" fmla="*/ 64716 w 583057"/>
                  <a:gd name="connsiteY470" fmla="*/ 204727 h 453273"/>
                  <a:gd name="connsiteX471" fmla="*/ 59426 w 583057"/>
                  <a:gd name="connsiteY471" fmla="*/ 201553 h 453273"/>
                  <a:gd name="connsiteX472" fmla="*/ 58279 w 583057"/>
                  <a:gd name="connsiteY472" fmla="*/ 200407 h 453273"/>
                  <a:gd name="connsiteX473" fmla="*/ 55987 w 583057"/>
                  <a:gd name="connsiteY473" fmla="*/ 200671 h 453273"/>
                  <a:gd name="connsiteX474" fmla="*/ 51843 w 583057"/>
                  <a:gd name="connsiteY474" fmla="*/ 198908 h 453273"/>
                  <a:gd name="connsiteX475" fmla="*/ 52460 w 583057"/>
                  <a:gd name="connsiteY475" fmla="*/ 196880 h 453273"/>
                  <a:gd name="connsiteX476" fmla="*/ 54224 w 583057"/>
                  <a:gd name="connsiteY476" fmla="*/ 198026 h 453273"/>
                  <a:gd name="connsiteX477" fmla="*/ 54753 w 583057"/>
                  <a:gd name="connsiteY477" fmla="*/ 195469 h 453273"/>
                  <a:gd name="connsiteX478" fmla="*/ 56251 w 583057"/>
                  <a:gd name="connsiteY478" fmla="*/ 191325 h 453273"/>
                  <a:gd name="connsiteX479" fmla="*/ 55634 w 583057"/>
                  <a:gd name="connsiteY479" fmla="*/ 188151 h 453273"/>
                  <a:gd name="connsiteX480" fmla="*/ 58015 w 583057"/>
                  <a:gd name="connsiteY480" fmla="*/ 181980 h 453273"/>
                  <a:gd name="connsiteX481" fmla="*/ 58279 w 583057"/>
                  <a:gd name="connsiteY481" fmla="*/ 174397 h 453273"/>
                  <a:gd name="connsiteX482" fmla="*/ 57750 w 583057"/>
                  <a:gd name="connsiteY482" fmla="*/ 167167 h 453273"/>
                  <a:gd name="connsiteX483" fmla="*/ 54224 w 583057"/>
                  <a:gd name="connsiteY483" fmla="*/ 160731 h 453273"/>
                  <a:gd name="connsiteX484" fmla="*/ 48933 w 583057"/>
                  <a:gd name="connsiteY484" fmla="*/ 159585 h 453273"/>
                  <a:gd name="connsiteX485" fmla="*/ 44261 w 583057"/>
                  <a:gd name="connsiteY485" fmla="*/ 153413 h 453273"/>
                  <a:gd name="connsiteX486" fmla="*/ 39323 w 583057"/>
                  <a:gd name="connsiteY486" fmla="*/ 153148 h 453273"/>
                  <a:gd name="connsiteX487" fmla="*/ 39323 w 583057"/>
                  <a:gd name="connsiteY487" fmla="*/ 149622 h 453273"/>
                  <a:gd name="connsiteX488" fmla="*/ 42850 w 583057"/>
                  <a:gd name="connsiteY488" fmla="*/ 146448 h 453273"/>
                  <a:gd name="connsiteX489" fmla="*/ 42585 w 583057"/>
                  <a:gd name="connsiteY489" fmla="*/ 143803 h 453273"/>
                  <a:gd name="connsiteX490" fmla="*/ 38441 w 583057"/>
                  <a:gd name="connsiteY490" fmla="*/ 146095 h 453273"/>
                  <a:gd name="connsiteX491" fmla="*/ 35796 w 583057"/>
                  <a:gd name="connsiteY491" fmla="*/ 146448 h 453273"/>
                  <a:gd name="connsiteX492" fmla="*/ 31476 w 583057"/>
                  <a:gd name="connsiteY492" fmla="*/ 148740 h 453273"/>
                  <a:gd name="connsiteX493" fmla="*/ 29096 w 583057"/>
                  <a:gd name="connsiteY493" fmla="*/ 146095 h 453273"/>
                  <a:gd name="connsiteX494" fmla="*/ 27685 w 583057"/>
                  <a:gd name="connsiteY494" fmla="*/ 142921 h 453273"/>
                  <a:gd name="connsiteX495" fmla="*/ 24775 w 583057"/>
                  <a:gd name="connsiteY495" fmla="*/ 142304 h 453273"/>
                  <a:gd name="connsiteX496" fmla="*/ 21866 w 583057"/>
                  <a:gd name="connsiteY496" fmla="*/ 141775 h 453273"/>
                  <a:gd name="connsiteX497" fmla="*/ 16840 w 583057"/>
                  <a:gd name="connsiteY497" fmla="*/ 137983 h 453273"/>
                  <a:gd name="connsiteX498" fmla="*/ 16840 w 583057"/>
                  <a:gd name="connsiteY498" fmla="*/ 135603 h 453273"/>
                  <a:gd name="connsiteX499" fmla="*/ 16311 w 583057"/>
                  <a:gd name="connsiteY499" fmla="*/ 132164 h 453273"/>
                  <a:gd name="connsiteX500" fmla="*/ 11021 w 583057"/>
                  <a:gd name="connsiteY500" fmla="*/ 128020 h 453273"/>
                  <a:gd name="connsiteX501" fmla="*/ 7847 w 583057"/>
                  <a:gd name="connsiteY501" fmla="*/ 124229 h 453273"/>
                  <a:gd name="connsiteX502" fmla="*/ 7230 w 583057"/>
                  <a:gd name="connsiteY502" fmla="*/ 122466 h 453273"/>
                  <a:gd name="connsiteX503" fmla="*/ 8112 w 583057"/>
                  <a:gd name="connsiteY503" fmla="*/ 121055 h 453273"/>
                  <a:gd name="connsiteX504" fmla="*/ 11286 w 583057"/>
                  <a:gd name="connsiteY504" fmla="*/ 120791 h 453273"/>
                  <a:gd name="connsiteX505" fmla="*/ 17193 w 583057"/>
                  <a:gd name="connsiteY505" fmla="*/ 123436 h 453273"/>
                  <a:gd name="connsiteX506" fmla="*/ 19485 w 583057"/>
                  <a:gd name="connsiteY506" fmla="*/ 123436 h 453273"/>
                  <a:gd name="connsiteX507" fmla="*/ 20367 w 583057"/>
                  <a:gd name="connsiteY507" fmla="*/ 122818 h 453273"/>
                  <a:gd name="connsiteX508" fmla="*/ 21866 w 583057"/>
                  <a:gd name="connsiteY508" fmla="*/ 120173 h 453273"/>
                  <a:gd name="connsiteX509" fmla="*/ 23012 w 583057"/>
                  <a:gd name="connsiteY509" fmla="*/ 120438 h 453273"/>
                  <a:gd name="connsiteX510" fmla="*/ 22659 w 583057"/>
                  <a:gd name="connsiteY510" fmla="*/ 121055 h 453273"/>
                  <a:gd name="connsiteX511" fmla="*/ 23012 w 583057"/>
                  <a:gd name="connsiteY511" fmla="*/ 122466 h 453273"/>
                  <a:gd name="connsiteX512" fmla="*/ 23277 w 583057"/>
                  <a:gd name="connsiteY512" fmla="*/ 122818 h 453273"/>
                  <a:gd name="connsiteX513" fmla="*/ 23629 w 583057"/>
                  <a:gd name="connsiteY513" fmla="*/ 123700 h 453273"/>
                  <a:gd name="connsiteX514" fmla="*/ 23277 w 583057"/>
                  <a:gd name="connsiteY514" fmla="*/ 124229 h 453273"/>
                  <a:gd name="connsiteX515" fmla="*/ 24423 w 583057"/>
                  <a:gd name="connsiteY515" fmla="*/ 123436 h 453273"/>
                  <a:gd name="connsiteX516" fmla="*/ 27685 w 583057"/>
                  <a:gd name="connsiteY516" fmla="*/ 124582 h 453273"/>
                  <a:gd name="connsiteX517" fmla="*/ 29977 w 583057"/>
                  <a:gd name="connsiteY517" fmla="*/ 124846 h 453273"/>
                  <a:gd name="connsiteX518" fmla="*/ 29096 w 583057"/>
                  <a:gd name="connsiteY518" fmla="*/ 123700 h 453273"/>
                  <a:gd name="connsiteX519" fmla="*/ 25304 w 583057"/>
                  <a:gd name="connsiteY519" fmla="*/ 121937 h 453273"/>
                  <a:gd name="connsiteX520" fmla="*/ 23629 w 583057"/>
                  <a:gd name="connsiteY520" fmla="*/ 121055 h 453273"/>
                  <a:gd name="connsiteX521" fmla="*/ 25040 w 583057"/>
                  <a:gd name="connsiteY521" fmla="*/ 119027 h 453273"/>
                  <a:gd name="connsiteX522" fmla="*/ 28567 w 583057"/>
                  <a:gd name="connsiteY522" fmla="*/ 117264 h 453273"/>
                  <a:gd name="connsiteX523" fmla="*/ 32622 w 583057"/>
                  <a:gd name="connsiteY523" fmla="*/ 109064 h 453273"/>
                  <a:gd name="connsiteX524" fmla="*/ 33240 w 583057"/>
                  <a:gd name="connsiteY524" fmla="*/ 104744 h 453273"/>
                  <a:gd name="connsiteX525" fmla="*/ 32622 w 583057"/>
                  <a:gd name="connsiteY525" fmla="*/ 100336 h 453273"/>
                  <a:gd name="connsiteX526" fmla="*/ 30594 w 583057"/>
                  <a:gd name="connsiteY526" fmla="*/ 95398 h 453273"/>
                  <a:gd name="connsiteX527" fmla="*/ 27332 w 583057"/>
                  <a:gd name="connsiteY527" fmla="*/ 89579 h 453273"/>
                  <a:gd name="connsiteX528" fmla="*/ 21249 w 583057"/>
                  <a:gd name="connsiteY528" fmla="*/ 85171 h 453273"/>
                  <a:gd name="connsiteX529" fmla="*/ 20631 w 583057"/>
                  <a:gd name="connsiteY529" fmla="*/ 83143 h 453273"/>
                  <a:gd name="connsiteX530" fmla="*/ 17722 w 583057"/>
                  <a:gd name="connsiteY530" fmla="*/ 79616 h 453273"/>
                  <a:gd name="connsiteX531" fmla="*/ 15165 w 583057"/>
                  <a:gd name="connsiteY531" fmla="*/ 76706 h 453273"/>
                  <a:gd name="connsiteX532" fmla="*/ 7847 w 583057"/>
                  <a:gd name="connsiteY532" fmla="*/ 73532 h 453273"/>
                  <a:gd name="connsiteX533" fmla="*/ 5819 w 583057"/>
                  <a:gd name="connsiteY533" fmla="*/ 68859 h 453273"/>
                  <a:gd name="connsiteX534" fmla="*/ 9258 w 583057"/>
                  <a:gd name="connsiteY534" fmla="*/ 63569 h 453273"/>
                  <a:gd name="connsiteX535" fmla="*/ 8993 w 583057"/>
                  <a:gd name="connsiteY535" fmla="*/ 59514 h 453273"/>
                  <a:gd name="connsiteX536" fmla="*/ 7230 w 583057"/>
                  <a:gd name="connsiteY536" fmla="*/ 55105 h 453273"/>
                  <a:gd name="connsiteX537" fmla="*/ 6084 w 583057"/>
                  <a:gd name="connsiteY537" fmla="*/ 52548 h 453273"/>
                  <a:gd name="connsiteX538" fmla="*/ 6084 w 583057"/>
                  <a:gd name="connsiteY538" fmla="*/ 49639 h 453273"/>
                  <a:gd name="connsiteX539" fmla="*/ 8376 w 583057"/>
                  <a:gd name="connsiteY539" fmla="*/ 47523 h 453273"/>
                  <a:gd name="connsiteX540" fmla="*/ 6084 w 583057"/>
                  <a:gd name="connsiteY540" fmla="*/ 47258 h 453273"/>
                  <a:gd name="connsiteX541" fmla="*/ 4585 w 583057"/>
                  <a:gd name="connsiteY541" fmla="*/ 45495 h 453273"/>
                  <a:gd name="connsiteX542" fmla="*/ 4056 w 583057"/>
                  <a:gd name="connsiteY542" fmla="*/ 43467 h 453273"/>
                  <a:gd name="connsiteX543" fmla="*/ 5819 w 583057"/>
                  <a:gd name="connsiteY543" fmla="*/ 40822 h 453273"/>
                  <a:gd name="connsiteX544" fmla="*/ 6084 w 583057"/>
                  <a:gd name="connsiteY544" fmla="*/ 37383 h 453273"/>
                  <a:gd name="connsiteX545" fmla="*/ 5466 w 583057"/>
                  <a:gd name="connsiteY545" fmla="*/ 35003 h 453273"/>
                  <a:gd name="connsiteX546" fmla="*/ 3439 w 583057"/>
                  <a:gd name="connsiteY546" fmla="*/ 30330 h 453273"/>
                  <a:gd name="connsiteX547" fmla="*/ 1411 w 583057"/>
                  <a:gd name="connsiteY547" fmla="*/ 28919 h 453273"/>
                  <a:gd name="connsiteX548" fmla="*/ 4320 w 583057"/>
                  <a:gd name="connsiteY548" fmla="*/ 26010 h 453273"/>
                  <a:gd name="connsiteX549" fmla="*/ 5466 w 583057"/>
                  <a:gd name="connsiteY549" fmla="*/ 22218 h 453273"/>
                  <a:gd name="connsiteX550" fmla="*/ 2910 w 583057"/>
                  <a:gd name="connsiteY550" fmla="*/ 20984 h 453273"/>
                  <a:gd name="connsiteX551" fmla="*/ 1675 w 583057"/>
                  <a:gd name="connsiteY551" fmla="*/ 17810 h 453273"/>
                  <a:gd name="connsiteX552" fmla="*/ 0 w 583057"/>
                  <a:gd name="connsiteY552" fmla="*/ 12608 h 453273"/>
                  <a:gd name="connsiteX553" fmla="*/ 794 w 583057"/>
                  <a:gd name="connsiteY553" fmla="*/ 7318 h 45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</a:cxnLst>
                <a:rect l="l" t="t" r="r" b="b"/>
                <a:pathLst>
                  <a:path w="583057" h="453273">
                    <a:moveTo>
                      <a:pt x="529" y="4056"/>
                    </a:moveTo>
                    <a:lnTo>
                      <a:pt x="52725" y="0"/>
                    </a:lnTo>
                    <a:lnTo>
                      <a:pt x="49815" y="7582"/>
                    </a:lnTo>
                    <a:lnTo>
                      <a:pt x="80145" y="19573"/>
                    </a:lnTo>
                    <a:lnTo>
                      <a:pt x="118057" y="34474"/>
                    </a:lnTo>
                    <a:lnTo>
                      <a:pt x="177924" y="34474"/>
                    </a:lnTo>
                    <a:lnTo>
                      <a:pt x="181362" y="23365"/>
                    </a:lnTo>
                    <a:lnTo>
                      <a:pt x="216630" y="23365"/>
                    </a:lnTo>
                    <a:lnTo>
                      <a:pt x="217511" y="24511"/>
                    </a:lnTo>
                    <a:lnTo>
                      <a:pt x="220421" y="24511"/>
                    </a:lnTo>
                    <a:lnTo>
                      <a:pt x="220421" y="30947"/>
                    </a:lnTo>
                    <a:lnTo>
                      <a:pt x="224212" y="32975"/>
                    </a:lnTo>
                    <a:lnTo>
                      <a:pt x="228356" y="36502"/>
                    </a:lnTo>
                    <a:lnTo>
                      <a:pt x="227739" y="38794"/>
                    </a:lnTo>
                    <a:lnTo>
                      <a:pt x="231883" y="41439"/>
                    </a:lnTo>
                    <a:lnTo>
                      <a:pt x="235586" y="48140"/>
                    </a:lnTo>
                    <a:lnTo>
                      <a:pt x="241493" y="52196"/>
                    </a:lnTo>
                    <a:lnTo>
                      <a:pt x="244050" y="61541"/>
                    </a:lnTo>
                    <a:lnTo>
                      <a:pt x="244050" y="65333"/>
                    </a:lnTo>
                    <a:lnTo>
                      <a:pt x="242375" y="68595"/>
                    </a:lnTo>
                    <a:lnTo>
                      <a:pt x="243521" y="76706"/>
                    </a:lnTo>
                    <a:lnTo>
                      <a:pt x="251368" y="85435"/>
                    </a:lnTo>
                    <a:lnTo>
                      <a:pt x="263624" y="92224"/>
                    </a:lnTo>
                    <a:lnTo>
                      <a:pt x="268032" y="93370"/>
                    </a:lnTo>
                    <a:lnTo>
                      <a:pt x="275614" y="87199"/>
                    </a:lnTo>
                    <a:lnTo>
                      <a:pt x="283197" y="73797"/>
                    </a:lnTo>
                    <a:lnTo>
                      <a:pt x="286988" y="73268"/>
                    </a:lnTo>
                    <a:lnTo>
                      <a:pt x="291926" y="70623"/>
                    </a:lnTo>
                    <a:lnTo>
                      <a:pt x="295981" y="72386"/>
                    </a:lnTo>
                    <a:lnTo>
                      <a:pt x="310265" y="73532"/>
                    </a:lnTo>
                    <a:lnTo>
                      <a:pt x="313791" y="80850"/>
                    </a:lnTo>
                    <a:lnTo>
                      <a:pt x="321374" y="89579"/>
                    </a:lnTo>
                    <a:lnTo>
                      <a:pt x="324636" y="110563"/>
                    </a:lnTo>
                    <a:lnTo>
                      <a:pt x="328956" y="113737"/>
                    </a:lnTo>
                    <a:lnTo>
                      <a:pt x="333012" y="126345"/>
                    </a:lnTo>
                    <a:lnTo>
                      <a:pt x="337420" y="128638"/>
                    </a:lnTo>
                    <a:lnTo>
                      <a:pt x="334775" y="141510"/>
                    </a:lnTo>
                    <a:lnTo>
                      <a:pt x="338919" y="146095"/>
                    </a:lnTo>
                    <a:lnTo>
                      <a:pt x="339184" y="157469"/>
                    </a:lnTo>
                    <a:lnTo>
                      <a:pt x="345267" y="158703"/>
                    </a:lnTo>
                    <a:lnTo>
                      <a:pt x="348177" y="160995"/>
                    </a:lnTo>
                    <a:lnTo>
                      <a:pt x="352850" y="162142"/>
                    </a:lnTo>
                    <a:lnTo>
                      <a:pt x="356377" y="166286"/>
                    </a:lnTo>
                    <a:lnTo>
                      <a:pt x="362813" y="165668"/>
                    </a:lnTo>
                    <a:lnTo>
                      <a:pt x="368367" y="166286"/>
                    </a:lnTo>
                    <a:lnTo>
                      <a:pt x="369249" y="170606"/>
                    </a:lnTo>
                    <a:lnTo>
                      <a:pt x="373040" y="171487"/>
                    </a:lnTo>
                    <a:lnTo>
                      <a:pt x="374187" y="169724"/>
                    </a:lnTo>
                    <a:lnTo>
                      <a:pt x="376479" y="169195"/>
                    </a:lnTo>
                    <a:lnTo>
                      <a:pt x="378860" y="168313"/>
                    </a:lnTo>
                    <a:lnTo>
                      <a:pt x="378242" y="172986"/>
                    </a:lnTo>
                    <a:lnTo>
                      <a:pt x="373922" y="182332"/>
                    </a:lnTo>
                    <a:lnTo>
                      <a:pt x="365105" y="189915"/>
                    </a:lnTo>
                    <a:lnTo>
                      <a:pt x="357875" y="213191"/>
                    </a:lnTo>
                    <a:lnTo>
                      <a:pt x="356112" y="223683"/>
                    </a:lnTo>
                    <a:lnTo>
                      <a:pt x="352585" y="244755"/>
                    </a:lnTo>
                    <a:lnTo>
                      <a:pt x="348177" y="251985"/>
                    </a:lnTo>
                    <a:lnTo>
                      <a:pt x="349411" y="268032"/>
                    </a:lnTo>
                    <a:lnTo>
                      <a:pt x="348177" y="271559"/>
                    </a:lnTo>
                    <a:lnTo>
                      <a:pt x="348177" y="274733"/>
                    </a:lnTo>
                    <a:lnTo>
                      <a:pt x="351704" y="281433"/>
                    </a:lnTo>
                    <a:lnTo>
                      <a:pt x="356994" y="293160"/>
                    </a:lnTo>
                    <a:lnTo>
                      <a:pt x="356112" y="298097"/>
                    </a:lnTo>
                    <a:lnTo>
                      <a:pt x="356112" y="298714"/>
                    </a:lnTo>
                    <a:lnTo>
                      <a:pt x="359551" y="301624"/>
                    </a:lnTo>
                    <a:lnTo>
                      <a:pt x="361314" y="304269"/>
                    </a:lnTo>
                    <a:lnTo>
                      <a:pt x="361667" y="307708"/>
                    </a:lnTo>
                    <a:lnTo>
                      <a:pt x="362548" y="310353"/>
                    </a:lnTo>
                    <a:lnTo>
                      <a:pt x="367486" y="314408"/>
                    </a:lnTo>
                    <a:lnTo>
                      <a:pt x="368632" y="320316"/>
                    </a:lnTo>
                    <a:lnTo>
                      <a:pt x="373040" y="322608"/>
                    </a:lnTo>
                    <a:lnTo>
                      <a:pt x="373570" y="326135"/>
                    </a:lnTo>
                    <a:lnTo>
                      <a:pt x="372159" y="331072"/>
                    </a:lnTo>
                    <a:lnTo>
                      <a:pt x="376479" y="336891"/>
                    </a:lnTo>
                    <a:lnTo>
                      <a:pt x="374187" y="340683"/>
                    </a:lnTo>
                    <a:lnTo>
                      <a:pt x="376214" y="343328"/>
                    </a:lnTo>
                    <a:lnTo>
                      <a:pt x="378860" y="346766"/>
                    </a:lnTo>
                    <a:lnTo>
                      <a:pt x="375597" y="345356"/>
                    </a:lnTo>
                    <a:lnTo>
                      <a:pt x="376832" y="347383"/>
                    </a:lnTo>
                    <a:lnTo>
                      <a:pt x="377096" y="348882"/>
                    </a:lnTo>
                    <a:lnTo>
                      <a:pt x="380006" y="350293"/>
                    </a:lnTo>
                    <a:lnTo>
                      <a:pt x="383268" y="350293"/>
                    </a:lnTo>
                    <a:lnTo>
                      <a:pt x="381505" y="347119"/>
                    </a:lnTo>
                    <a:lnTo>
                      <a:pt x="384679" y="347648"/>
                    </a:lnTo>
                    <a:lnTo>
                      <a:pt x="387588" y="349147"/>
                    </a:lnTo>
                    <a:lnTo>
                      <a:pt x="389352" y="352938"/>
                    </a:lnTo>
                    <a:lnTo>
                      <a:pt x="391644" y="349411"/>
                    </a:lnTo>
                    <a:lnTo>
                      <a:pt x="393760" y="350910"/>
                    </a:lnTo>
                    <a:lnTo>
                      <a:pt x="394906" y="352674"/>
                    </a:lnTo>
                    <a:lnTo>
                      <a:pt x="399844" y="353820"/>
                    </a:lnTo>
                    <a:lnTo>
                      <a:pt x="398962" y="356729"/>
                    </a:lnTo>
                    <a:lnTo>
                      <a:pt x="402489" y="356994"/>
                    </a:lnTo>
                    <a:lnTo>
                      <a:pt x="403899" y="363166"/>
                    </a:lnTo>
                    <a:lnTo>
                      <a:pt x="407426" y="363166"/>
                    </a:lnTo>
                    <a:lnTo>
                      <a:pt x="409189" y="362548"/>
                    </a:lnTo>
                    <a:lnTo>
                      <a:pt x="409454" y="360785"/>
                    </a:lnTo>
                    <a:lnTo>
                      <a:pt x="413245" y="361402"/>
                    </a:lnTo>
                    <a:lnTo>
                      <a:pt x="415890" y="361402"/>
                    </a:lnTo>
                    <a:lnTo>
                      <a:pt x="418800" y="363166"/>
                    </a:lnTo>
                    <a:lnTo>
                      <a:pt x="419946" y="360785"/>
                    </a:lnTo>
                    <a:lnTo>
                      <a:pt x="425501" y="358140"/>
                    </a:lnTo>
                    <a:lnTo>
                      <a:pt x="425501" y="356465"/>
                    </a:lnTo>
                    <a:lnTo>
                      <a:pt x="431937" y="356994"/>
                    </a:lnTo>
                    <a:lnTo>
                      <a:pt x="435111" y="355848"/>
                    </a:lnTo>
                    <a:lnTo>
                      <a:pt x="440666" y="356729"/>
                    </a:lnTo>
                    <a:lnTo>
                      <a:pt x="445339" y="353820"/>
                    </a:lnTo>
                    <a:lnTo>
                      <a:pt x="447984" y="351175"/>
                    </a:lnTo>
                    <a:lnTo>
                      <a:pt x="456448" y="351792"/>
                    </a:lnTo>
                    <a:lnTo>
                      <a:pt x="461385" y="348530"/>
                    </a:lnTo>
                    <a:lnTo>
                      <a:pt x="463677" y="351439"/>
                    </a:lnTo>
                    <a:lnTo>
                      <a:pt x="459357" y="352938"/>
                    </a:lnTo>
                    <a:lnTo>
                      <a:pt x="462267" y="352674"/>
                    </a:lnTo>
                    <a:lnTo>
                      <a:pt x="464295" y="354701"/>
                    </a:lnTo>
                    <a:lnTo>
                      <a:pt x="471348" y="355848"/>
                    </a:lnTo>
                    <a:lnTo>
                      <a:pt x="471613" y="353820"/>
                    </a:lnTo>
                    <a:lnTo>
                      <a:pt x="478313" y="350293"/>
                    </a:lnTo>
                    <a:lnTo>
                      <a:pt x="476550" y="347119"/>
                    </a:lnTo>
                    <a:lnTo>
                      <a:pt x="475139" y="348265"/>
                    </a:lnTo>
                    <a:lnTo>
                      <a:pt x="474787" y="346502"/>
                    </a:lnTo>
                    <a:lnTo>
                      <a:pt x="478049" y="343328"/>
                    </a:lnTo>
                    <a:lnTo>
                      <a:pt x="484397" y="341300"/>
                    </a:lnTo>
                    <a:lnTo>
                      <a:pt x="488806" y="337156"/>
                    </a:lnTo>
                    <a:lnTo>
                      <a:pt x="490569" y="333100"/>
                    </a:lnTo>
                    <a:lnTo>
                      <a:pt x="494977" y="329044"/>
                    </a:lnTo>
                    <a:lnTo>
                      <a:pt x="493743" y="329044"/>
                    </a:lnTo>
                    <a:lnTo>
                      <a:pt x="495242" y="323490"/>
                    </a:lnTo>
                    <a:lnTo>
                      <a:pt x="497534" y="321991"/>
                    </a:lnTo>
                    <a:lnTo>
                      <a:pt x="498769" y="317671"/>
                    </a:lnTo>
                    <a:lnTo>
                      <a:pt x="501678" y="313879"/>
                    </a:lnTo>
                    <a:lnTo>
                      <a:pt x="501678" y="308325"/>
                    </a:lnTo>
                    <a:lnTo>
                      <a:pt x="499915" y="303916"/>
                    </a:lnTo>
                    <a:lnTo>
                      <a:pt x="502207" y="300742"/>
                    </a:lnTo>
                    <a:lnTo>
                      <a:pt x="505469" y="294306"/>
                    </a:lnTo>
                    <a:lnTo>
                      <a:pt x="504852" y="291397"/>
                    </a:lnTo>
                    <a:lnTo>
                      <a:pt x="507762" y="289633"/>
                    </a:lnTo>
                    <a:lnTo>
                      <a:pt x="513052" y="287341"/>
                    </a:lnTo>
                    <a:lnTo>
                      <a:pt x="516843" y="285225"/>
                    </a:lnTo>
                    <a:lnTo>
                      <a:pt x="520634" y="284079"/>
                    </a:lnTo>
                    <a:lnTo>
                      <a:pt x="525836" y="284079"/>
                    </a:lnTo>
                    <a:lnTo>
                      <a:pt x="529980" y="284079"/>
                    </a:lnTo>
                    <a:lnTo>
                      <a:pt x="533771" y="284431"/>
                    </a:lnTo>
                    <a:lnTo>
                      <a:pt x="533419" y="282051"/>
                    </a:lnTo>
                    <a:lnTo>
                      <a:pt x="536064" y="281433"/>
                    </a:lnTo>
                    <a:lnTo>
                      <a:pt x="541618" y="281169"/>
                    </a:lnTo>
                    <a:lnTo>
                      <a:pt x="544264" y="278877"/>
                    </a:lnTo>
                    <a:lnTo>
                      <a:pt x="549818" y="277995"/>
                    </a:lnTo>
                    <a:lnTo>
                      <a:pt x="551493" y="275614"/>
                    </a:lnTo>
                    <a:lnTo>
                      <a:pt x="554755" y="276849"/>
                    </a:lnTo>
                    <a:lnTo>
                      <a:pt x="557048" y="275614"/>
                    </a:lnTo>
                    <a:lnTo>
                      <a:pt x="558811" y="277642"/>
                    </a:lnTo>
                    <a:lnTo>
                      <a:pt x="562602" y="280287"/>
                    </a:lnTo>
                    <a:lnTo>
                      <a:pt x="564101" y="278877"/>
                    </a:lnTo>
                    <a:lnTo>
                      <a:pt x="567540" y="283197"/>
                    </a:lnTo>
                    <a:lnTo>
                      <a:pt x="572830" y="281169"/>
                    </a:lnTo>
                    <a:lnTo>
                      <a:pt x="575740" y="278259"/>
                    </a:lnTo>
                    <a:lnTo>
                      <a:pt x="569920" y="279758"/>
                    </a:lnTo>
                    <a:lnTo>
                      <a:pt x="570802" y="277378"/>
                    </a:lnTo>
                    <a:lnTo>
                      <a:pt x="578649" y="277378"/>
                    </a:lnTo>
                    <a:lnTo>
                      <a:pt x="580148" y="281169"/>
                    </a:lnTo>
                    <a:lnTo>
                      <a:pt x="583058" y="282315"/>
                    </a:lnTo>
                    <a:lnTo>
                      <a:pt x="581559" y="286723"/>
                    </a:lnTo>
                    <a:lnTo>
                      <a:pt x="583058" y="288222"/>
                    </a:lnTo>
                    <a:lnTo>
                      <a:pt x="579795" y="292807"/>
                    </a:lnTo>
                    <a:lnTo>
                      <a:pt x="580677" y="295452"/>
                    </a:lnTo>
                    <a:lnTo>
                      <a:pt x="576004" y="301007"/>
                    </a:lnTo>
                    <a:lnTo>
                      <a:pt x="573976" y="303035"/>
                    </a:lnTo>
                    <a:lnTo>
                      <a:pt x="570802" y="304269"/>
                    </a:lnTo>
                    <a:lnTo>
                      <a:pt x="569303" y="306826"/>
                    </a:lnTo>
                    <a:lnTo>
                      <a:pt x="567275" y="310088"/>
                    </a:lnTo>
                    <a:lnTo>
                      <a:pt x="564630" y="311499"/>
                    </a:lnTo>
                    <a:lnTo>
                      <a:pt x="564895" y="315026"/>
                    </a:lnTo>
                    <a:lnTo>
                      <a:pt x="562867" y="317671"/>
                    </a:lnTo>
                    <a:lnTo>
                      <a:pt x="563749" y="319963"/>
                    </a:lnTo>
                    <a:lnTo>
                      <a:pt x="561456" y="321726"/>
                    </a:lnTo>
                    <a:lnTo>
                      <a:pt x="558547" y="324900"/>
                    </a:lnTo>
                    <a:lnTo>
                      <a:pt x="556166" y="325253"/>
                    </a:lnTo>
                    <a:lnTo>
                      <a:pt x="557930" y="329044"/>
                    </a:lnTo>
                    <a:lnTo>
                      <a:pt x="563220" y="326664"/>
                    </a:lnTo>
                    <a:lnTo>
                      <a:pt x="561192" y="331072"/>
                    </a:lnTo>
                    <a:lnTo>
                      <a:pt x="559693" y="331337"/>
                    </a:lnTo>
                    <a:lnTo>
                      <a:pt x="558547" y="332218"/>
                    </a:lnTo>
                    <a:lnTo>
                      <a:pt x="557312" y="332483"/>
                    </a:lnTo>
                    <a:lnTo>
                      <a:pt x="556166" y="336010"/>
                    </a:lnTo>
                    <a:lnTo>
                      <a:pt x="557048" y="336627"/>
                    </a:lnTo>
                    <a:lnTo>
                      <a:pt x="558811" y="334511"/>
                    </a:lnTo>
                    <a:lnTo>
                      <a:pt x="560839" y="333982"/>
                    </a:lnTo>
                    <a:lnTo>
                      <a:pt x="557312" y="340418"/>
                    </a:lnTo>
                    <a:lnTo>
                      <a:pt x="559428" y="341564"/>
                    </a:lnTo>
                    <a:lnTo>
                      <a:pt x="557048" y="344474"/>
                    </a:lnTo>
                    <a:lnTo>
                      <a:pt x="555285" y="348265"/>
                    </a:lnTo>
                    <a:lnTo>
                      <a:pt x="553257" y="350028"/>
                    </a:lnTo>
                    <a:lnTo>
                      <a:pt x="554755" y="354701"/>
                    </a:lnTo>
                    <a:lnTo>
                      <a:pt x="552111" y="356465"/>
                    </a:lnTo>
                    <a:lnTo>
                      <a:pt x="550083" y="359022"/>
                    </a:lnTo>
                    <a:lnTo>
                      <a:pt x="548936" y="362284"/>
                    </a:lnTo>
                    <a:lnTo>
                      <a:pt x="548055" y="356112"/>
                    </a:lnTo>
                    <a:lnTo>
                      <a:pt x="545057" y="353467"/>
                    </a:lnTo>
                    <a:lnTo>
                      <a:pt x="547702" y="350293"/>
                    </a:lnTo>
                    <a:lnTo>
                      <a:pt x="548055" y="347648"/>
                    </a:lnTo>
                    <a:lnTo>
                      <a:pt x="547173" y="345356"/>
                    </a:lnTo>
                    <a:lnTo>
                      <a:pt x="543029" y="349411"/>
                    </a:lnTo>
                    <a:lnTo>
                      <a:pt x="539855" y="355230"/>
                    </a:lnTo>
                    <a:lnTo>
                      <a:pt x="539590" y="354701"/>
                    </a:lnTo>
                    <a:lnTo>
                      <a:pt x="537827" y="354966"/>
                    </a:lnTo>
                    <a:lnTo>
                      <a:pt x="537210" y="354349"/>
                    </a:lnTo>
                    <a:lnTo>
                      <a:pt x="535447" y="354701"/>
                    </a:lnTo>
                    <a:lnTo>
                      <a:pt x="532537" y="359374"/>
                    </a:lnTo>
                    <a:lnTo>
                      <a:pt x="532273" y="360785"/>
                    </a:lnTo>
                    <a:lnTo>
                      <a:pt x="529980" y="361931"/>
                    </a:lnTo>
                    <a:lnTo>
                      <a:pt x="529363" y="364312"/>
                    </a:lnTo>
                    <a:lnTo>
                      <a:pt x="526718" y="368720"/>
                    </a:lnTo>
                    <a:lnTo>
                      <a:pt x="526189" y="369249"/>
                    </a:lnTo>
                    <a:lnTo>
                      <a:pt x="525219" y="368985"/>
                    </a:lnTo>
                    <a:lnTo>
                      <a:pt x="523191" y="367486"/>
                    </a:lnTo>
                    <a:lnTo>
                      <a:pt x="522927" y="366957"/>
                    </a:lnTo>
                    <a:lnTo>
                      <a:pt x="522045" y="366604"/>
                    </a:lnTo>
                    <a:lnTo>
                      <a:pt x="519753" y="367839"/>
                    </a:lnTo>
                    <a:lnTo>
                      <a:pt x="518871" y="371894"/>
                    </a:lnTo>
                    <a:lnTo>
                      <a:pt x="479812" y="371013"/>
                    </a:lnTo>
                    <a:lnTo>
                      <a:pt x="478931" y="385560"/>
                    </a:lnTo>
                    <a:lnTo>
                      <a:pt x="468351" y="385031"/>
                    </a:lnTo>
                    <a:lnTo>
                      <a:pt x="468703" y="386442"/>
                    </a:lnTo>
                    <a:lnTo>
                      <a:pt x="472230" y="387059"/>
                    </a:lnTo>
                    <a:lnTo>
                      <a:pt x="474787" y="392878"/>
                    </a:lnTo>
                    <a:lnTo>
                      <a:pt x="478049" y="394025"/>
                    </a:lnTo>
                    <a:lnTo>
                      <a:pt x="478931" y="396669"/>
                    </a:lnTo>
                    <a:lnTo>
                      <a:pt x="481840" y="395788"/>
                    </a:lnTo>
                    <a:lnTo>
                      <a:pt x="483868" y="400196"/>
                    </a:lnTo>
                    <a:lnTo>
                      <a:pt x="482986" y="403106"/>
                    </a:lnTo>
                    <a:lnTo>
                      <a:pt x="484750" y="404869"/>
                    </a:lnTo>
                    <a:lnTo>
                      <a:pt x="488806" y="405398"/>
                    </a:lnTo>
                    <a:lnTo>
                      <a:pt x="488541" y="408660"/>
                    </a:lnTo>
                    <a:lnTo>
                      <a:pt x="486778" y="410424"/>
                    </a:lnTo>
                    <a:lnTo>
                      <a:pt x="488541" y="412452"/>
                    </a:lnTo>
                    <a:lnTo>
                      <a:pt x="487042" y="415097"/>
                    </a:lnTo>
                    <a:lnTo>
                      <a:pt x="469585" y="413862"/>
                    </a:lnTo>
                    <a:lnTo>
                      <a:pt x="458211" y="414744"/>
                    </a:lnTo>
                    <a:lnTo>
                      <a:pt x="445339" y="434935"/>
                    </a:lnTo>
                    <a:lnTo>
                      <a:pt x="448865" y="439872"/>
                    </a:lnTo>
                    <a:lnTo>
                      <a:pt x="446837" y="441018"/>
                    </a:lnTo>
                    <a:lnTo>
                      <a:pt x="444457" y="445691"/>
                    </a:lnTo>
                    <a:lnTo>
                      <a:pt x="445956" y="447984"/>
                    </a:lnTo>
                    <a:lnTo>
                      <a:pt x="445956" y="450629"/>
                    </a:lnTo>
                    <a:lnTo>
                      <a:pt x="443311" y="453274"/>
                    </a:lnTo>
                    <a:lnTo>
                      <a:pt x="432819" y="439519"/>
                    </a:lnTo>
                    <a:lnTo>
                      <a:pt x="417654" y="420916"/>
                    </a:lnTo>
                    <a:lnTo>
                      <a:pt x="410953" y="414480"/>
                    </a:lnTo>
                    <a:lnTo>
                      <a:pt x="403018" y="410688"/>
                    </a:lnTo>
                    <a:lnTo>
                      <a:pt x="401607" y="408925"/>
                    </a:lnTo>
                    <a:lnTo>
                      <a:pt x="400461" y="409807"/>
                    </a:lnTo>
                    <a:lnTo>
                      <a:pt x="400108" y="411570"/>
                    </a:lnTo>
                    <a:lnTo>
                      <a:pt x="409454" y="416507"/>
                    </a:lnTo>
                    <a:lnTo>
                      <a:pt x="400108" y="412981"/>
                    </a:lnTo>
                    <a:lnTo>
                      <a:pt x="393407" y="411570"/>
                    </a:lnTo>
                    <a:lnTo>
                      <a:pt x="396934" y="408925"/>
                    </a:lnTo>
                    <a:lnTo>
                      <a:pt x="392526" y="410424"/>
                    </a:lnTo>
                    <a:lnTo>
                      <a:pt x="390233" y="408043"/>
                    </a:lnTo>
                    <a:lnTo>
                      <a:pt x="391115" y="405751"/>
                    </a:lnTo>
                    <a:lnTo>
                      <a:pt x="387059" y="406897"/>
                    </a:lnTo>
                    <a:lnTo>
                      <a:pt x="386089" y="409807"/>
                    </a:lnTo>
                    <a:lnTo>
                      <a:pt x="391115" y="411570"/>
                    </a:lnTo>
                    <a:lnTo>
                      <a:pt x="384679" y="411570"/>
                    </a:lnTo>
                    <a:lnTo>
                      <a:pt x="380270" y="414744"/>
                    </a:lnTo>
                    <a:lnTo>
                      <a:pt x="367133" y="424354"/>
                    </a:lnTo>
                    <a:lnTo>
                      <a:pt x="358140" y="424972"/>
                    </a:lnTo>
                    <a:lnTo>
                      <a:pt x="350558" y="424354"/>
                    </a:lnTo>
                    <a:lnTo>
                      <a:pt x="338038" y="420563"/>
                    </a:lnTo>
                    <a:lnTo>
                      <a:pt x="326311" y="417389"/>
                    </a:lnTo>
                    <a:lnTo>
                      <a:pt x="321109" y="411570"/>
                    </a:lnTo>
                    <a:lnTo>
                      <a:pt x="310882" y="408925"/>
                    </a:lnTo>
                    <a:lnTo>
                      <a:pt x="306826" y="402841"/>
                    </a:lnTo>
                    <a:lnTo>
                      <a:pt x="300125" y="400461"/>
                    </a:lnTo>
                    <a:lnTo>
                      <a:pt x="286988" y="399050"/>
                    </a:lnTo>
                    <a:lnTo>
                      <a:pt x="277907" y="395788"/>
                    </a:lnTo>
                    <a:lnTo>
                      <a:pt x="266004" y="386795"/>
                    </a:lnTo>
                    <a:lnTo>
                      <a:pt x="259568" y="385031"/>
                    </a:lnTo>
                    <a:lnTo>
                      <a:pt x="253396" y="382122"/>
                    </a:lnTo>
                    <a:lnTo>
                      <a:pt x="250839" y="379741"/>
                    </a:lnTo>
                    <a:lnTo>
                      <a:pt x="245549" y="377713"/>
                    </a:lnTo>
                    <a:lnTo>
                      <a:pt x="248459" y="375068"/>
                    </a:lnTo>
                    <a:lnTo>
                      <a:pt x="246695" y="368367"/>
                    </a:lnTo>
                    <a:lnTo>
                      <a:pt x="242639" y="367221"/>
                    </a:lnTo>
                    <a:lnTo>
                      <a:pt x="237967" y="368720"/>
                    </a:lnTo>
                    <a:lnTo>
                      <a:pt x="213191" y="359903"/>
                    </a:lnTo>
                    <a:lnTo>
                      <a:pt x="206490" y="353820"/>
                    </a:lnTo>
                    <a:lnTo>
                      <a:pt x="202082" y="344738"/>
                    </a:lnTo>
                    <a:lnTo>
                      <a:pt x="188063" y="339184"/>
                    </a:lnTo>
                    <a:lnTo>
                      <a:pt x="181362" y="333100"/>
                    </a:lnTo>
                    <a:lnTo>
                      <a:pt x="179070" y="333100"/>
                    </a:lnTo>
                    <a:lnTo>
                      <a:pt x="175279" y="328427"/>
                    </a:lnTo>
                    <a:lnTo>
                      <a:pt x="176425" y="322873"/>
                    </a:lnTo>
                    <a:lnTo>
                      <a:pt x="176690" y="316789"/>
                    </a:lnTo>
                    <a:lnTo>
                      <a:pt x="172634" y="313879"/>
                    </a:lnTo>
                    <a:lnTo>
                      <a:pt x="169724" y="312381"/>
                    </a:lnTo>
                    <a:lnTo>
                      <a:pt x="166550" y="308589"/>
                    </a:lnTo>
                    <a:lnTo>
                      <a:pt x="171135" y="306826"/>
                    </a:lnTo>
                    <a:lnTo>
                      <a:pt x="176425" y="305944"/>
                    </a:lnTo>
                    <a:lnTo>
                      <a:pt x="180216" y="306826"/>
                    </a:lnTo>
                    <a:lnTo>
                      <a:pt x="181098" y="302770"/>
                    </a:lnTo>
                    <a:lnTo>
                      <a:pt x="180216" y="297833"/>
                    </a:lnTo>
                    <a:lnTo>
                      <a:pt x="175543" y="297480"/>
                    </a:lnTo>
                    <a:lnTo>
                      <a:pt x="183743" y="290250"/>
                    </a:lnTo>
                    <a:lnTo>
                      <a:pt x="186035" y="280904"/>
                    </a:lnTo>
                    <a:lnTo>
                      <a:pt x="181362" y="277113"/>
                    </a:lnTo>
                    <a:lnTo>
                      <a:pt x="178453" y="267503"/>
                    </a:lnTo>
                    <a:lnTo>
                      <a:pt x="179334" y="260802"/>
                    </a:lnTo>
                    <a:lnTo>
                      <a:pt x="179334" y="253749"/>
                    </a:lnTo>
                    <a:lnTo>
                      <a:pt x="176690" y="247048"/>
                    </a:lnTo>
                    <a:lnTo>
                      <a:pt x="169724" y="242639"/>
                    </a:lnTo>
                    <a:lnTo>
                      <a:pt x="166815" y="237702"/>
                    </a:lnTo>
                    <a:lnTo>
                      <a:pt x="166550" y="232500"/>
                    </a:lnTo>
                    <a:lnTo>
                      <a:pt x="161260" y="223419"/>
                    </a:lnTo>
                    <a:lnTo>
                      <a:pt x="159232" y="220509"/>
                    </a:lnTo>
                    <a:lnTo>
                      <a:pt x="156587" y="215836"/>
                    </a:lnTo>
                    <a:lnTo>
                      <a:pt x="154295" y="212927"/>
                    </a:lnTo>
                    <a:lnTo>
                      <a:pt x="150151" y="212309"/>
                    </a:lnTo>
                    <a:lnTo>
                      <a:pt x="143450" y="206490"/>
                    </a:lnTo>
                    <a:lnTo>
                      <a:pt x="148740" y="209135"/>
                    </a:lnTo>
                    <a:lnTo>
                      <a:pt x="151385" y="207372"/>
                    </a:lnTo>
                    <a:lnTo>
                      <a:pt x="149269" y="204463"/>
                    </a:lnTo>
                    <a:lnTo>
                      <a:pt x="146095" y="205344"/>
                    </a:lnTo>
                    <a:lnTo>
                      <a:pt x="139659" y="201553"/>
                    </a:lnTo>
                    <a:lnTo>
                      <a:pt x="141158" y="197233"/>
                    </a:lnTo>
                    <a:lnTo>
                      <a:pt x="141422" y="193089"/>
                    </a:lnTo>
                    <a:lnTo>
                      <a:pt x="137895" y="196616"/>
                    </a:lnTo>
                    <a:lnTo>
                      <a:pt x="133840" y="189650"/>
                    </a:lnTo>
                    <a:lnTo>
                      <a:pt x="134721" y="187270"/>
                    </a:lnTo>
                    <a:lnTo>
                      <a:pt x="134986" y="189915"/>
                    </a:lnTo>
                    <a:lnTo>
                      <a:pt x="138513" y="193089"/>
                    </a:lnTo>
                    <a:lnTo>
                      <a:pt x="140805" y="190179"/>
                    </a:lnTo>
                    <a:lnTo>
                      <a:pt x="137895" y="187887"/>
                    </a:lnTo>
                    <a:lnTo>
                      <a:pt x="139130" y="184889"/>
                    </a:lnTo>
                    <a:lnTo>
                      <a:pt x="136132" y="182597"/>
                    </a:lnTo>
                    <a:lnTo>
                      <a:pt x="134457" y="184360"/>
                    </a:lnTo>
                    <a:lnTo>
                      <a:pt x="131195" y="185771"/>
                    </a:lnTo>
                    <a:lnTo>
                      <a:pt x="130930" y="181980"/>
                    </a:lnTo>
                    <a:lnTo>
                      <a:pt x="127668" y="183743"/>
                    </a:lnTo>
                    <a:lnTo>
                      <a:pt x="126874" y="182861"/>
                    </a:lnTo>
                    <a:lnTo>
                      <a:pt x="128638" y="180569"/>
                    </a:lnTo>
                    <a:lnTo>
                      <a:pt x="127668" y="178805"/>
                    </a:lnTo>
                    <a:lnTo>
                      <a:pt x="123965" y="181186"/>
                    </a:lnTo>
                    <a:lnTo>
                      <a:pt x="120438" y="178805"/>
                    </a:lnTo>
                    <a:lnTo>
                      <a:pt x="123348" y="178805"/>
                    </a:lnTo>
                    <a:lnTo>
                      <a:pt x="124229" y="177659"/>
                    </a:lnTo>
                    <a:lnTo>
                      <a:pt x="121584" y="177924"/>
                    </a:lnTo>
                    <a:lnTo>
                      <a:pt x="119821" y="178805"/>
                    </a:lnTo>
                    <a:lnTo>
                      <a:pt x="114883" y="176778"/>
                    </a:lnTo>
                    <a:lnTo>
                      <a:pt x="115148" y="175279"/>
                    </a:lnTo>
                    <a:lnTo>
                      <a:pt x="114266" y="169195"/>
                    </a:lnTo>
                    <a:lnTo>
                      <a:pt x="116647" y="166286"/>
                    </a:lnTo>
                    <a:lnTo>
                      <a:pt x="119821" y="163905"/>
                    </a:lnTo>
                    <a:lnTo>
                      <a:pt x="122201" y="160731"/>
                    </a:lnTo>
                    <a:lnTo>
                      <a:pt x="124494" y="162142"/>
                    </a:lnTo>
                    <a:lnTo>
                      <a:pt x="124494" y="158086"/>
                    </a:lnTo>
                    <a:lnTo>
                      <a:pt x="121849" y="158968"/>
                    </a:lnTo>
                    <a:lnTo>
                      <a:pt x="118939" y="148211"/>
                    </a:lnTo>
                    <a:lnTo>
                      <a:pt x="118410" y="150503"/>
                    </a:lnTo>
                    <a:lnTo>
                      <a:pt x="112503" y="149357"/>
                    </a:lnTo>
                    <a:lnTo>
                      <a:pt x="112503" y="142304"/>
                    </a:lnTo>
                    <a:lnTo>
                      <a:pt x="111357" y="140011"/>
                    </a:lnTo>
                    <a:lnTo>
                      <a:pt x="105802" y="135338"/>
                    </a:lnTo>
                    <a:lnTo>
                      <a:pt x="100865" y="135074"/>
                    </a:lnTo>
                    <a:lnTo>
                      <a:pt x="98572" y="130665"/>
                    </a:lnTo>
                    <a:lnTo>
                      <a:pt x="100600" y="126345"/>
                    </a:lnTo>
                    <a:lnTo>
                      <a:pt x="104391" y="121055"/>
                    </a:lnTo>
                    <a:lnTo>
                      <a:pt x="97338" y="120173"/>
                    </a:lnTo>
                    <a:lnTo>
                      <a:pt x="96544" y="121672"/>
                    </a:lnTo>
                    <a:lnTo>
                      <a:pt x="92401" y="119292"/>
                    </a:lnTo>
                    <a:lnTo>
                      <a:pt x="88345" y="107918"/>
                    </a:lnTo>
                    <a:lnTo>
                      <a:pt x="83055" y="105890"/>
                    </a:lnTo>
                    <a:lnTo>
                      <a:pt x="79881" y="98572"/>
                    </a:lnTo>
                    <a:lnTo>
                      <a:pt x="82173" y="97691"/>
                    </a:lnTo>
                    <a:lnTo>
                      <a:pt x="76706" y="93370"/>
                    </a:lnTo>
                    <a:lnTo>
                      <a:pt x="78382" y="85171"/>
                    </a:lnTo>
                    <a:lnTo>
                      <a:pt x="74326" y="83143"/>
                    </a:lnTo>
                    <a:lnTo>
                      <a:pt x="76706" y="79969"/>
                    </a:lnTo>
                    <a:lnTo>
                      <a:pt x="71152" y="68242"/>
                    </a:lnTo>
                    <a:lnTo>
                      <a:pt x="73797" y="61277"/>
                    </a:lnTo>
                    <a:lnTo>
                      <a:pt x="72827" y="53959"/>
                    </a:lnTo>
                    <a:lnTo>
                      <a:pt x="69918" y="50168"/>
                    </a:lnTo>
                    <a:lnTo>
                      <a:pt x="74326" y="44613"/>
                    </a:lnTo>
                    <a:lnTo>
                      <a:pt x="75472" y="39940"/>
                    </a:lnTo>
                    <a:lnTo>
                      <a:pt x="74326" y="37031"/>
                    </a:lnTo>
                    <a:lnTo>
                      <a:pt x="67008" y="37648"/>
                    </a:lnTo>
                    <a:lnTo>
                      <a:pt x="64098" y="34474"/>
                    </a:lnTo>
                    <a:lnTo>
                      <a:pt x="64980" y="30330"/>
                    </a:lnTo>
                    <a:lnTo>
                      <a:pt x="62423" y="27156"/>
                    </a:lnTo>
                    <a:lnTo>
                      <a:pt x="59426" y="26010"/>
                    </a:lnTo>
                    <a:lnTo>
                      <a:pt x="58015" y="30065"/>
                    </a:lnTo>
                    <a:lnTo>
                      <a:pt x="54224" y="30330"/>
                    </a:lnTo>
                    <a:lnTo>
                      <a:pt x="48933" y="23894"/>
                    </a:lnTo>
                    <a:lnTo>
                      <a:pt x="44613" y="23894"/>
                    </a:lnTo>
                    <a:lnTo>
                      <a:pt x="41351" y="18692"/>
                    </a:lnTo>
                    <a:lnTo>
                      <a:pt x="39323" y="19309"/>
                    </a:lnTo>
                    <a:lnTo>
                      <a:pt x="41351" y="22747"/>
                    </a:lnTo>
                    <a:lnTo>
                      <a:pt x="41968" y="26891"/>
                    </a:lnTo>
                    <a:lnTo>
                      <a:pt x="40822" y="31829"/>
                    </a:lnTo>
                    <a:lnTo>
                      <a:pt x="38177" y="34738"/>
                    </a:lnTo>
                    <a:lnTo>
                      <a:pt x="36414" y="36766"/>
                    </a:lnTo>
                    <a:lnTo>
                      <a:pt x="35796" y="39059"/>
                    </a:lnTo>
                    <a:lnTo>
                      <a:pt x="36149" y="41968"/>
                    </a:lnTo>
                    <a:lnTo>
                      <a:pt x="37912" y="44966"/>
                    </a:lnTo>
                    <a:lnTo>
                      <a:pt x="38794" y="49286"/>
                    </a:lnTo>
                    <a:lnTo>
                      <a:pt x="37031" y="55105"/>
                    </a:lnTo>
                    <a:lnTo>
                      <a:pt x="32622" y="62688"/>
                    </a:lnTo>
                    <a:lnTo>
                      <a:pt x="36149" y="72651"/>
                    </a:lnTo>
                    <a:lnTo>
                      <a:pt x="40205" y="73797"/>
                    </a:lnTo>
                    <a:lnTo>
                      <a:pt x="46024" y="81115"/>
                    </a:lnTo>
                    <a:lnTo>
                      <a:pt x="47523" y="86052"/>
                    </a:lnTo>
                    <a:lnTo>
                      <a:pt x="47787" y="95663"/>
                    </a:lnTo>
                    <a:lnTo>
                      <a:pt x="50080" y="93370"/>
                    </a:lnTo>
                    <a:lnTo>
                      <a:pt x="50432" y="97691"/>
                    </a:lnTo>
                    <a:lnTo>
                      <a:pt x="53606" y="97426"/>
                    </a:lnTo>
                    <a:lnTo>
                      <a:pt x="53342" y="105626"/>
                    </a:lnTo>
                    <a:lnTo>
                      <a:pt x="58279" y="106772"/>
                    </a:lnTo>
                    <a:lnTo>
                      <a:pt x="57398" y="113473"/>
                    </a:lnTo>
                    <a:lnTo>
                      <a:pt x="59426" y="117528"/>
                    </a:lnTo>
                    <a:lnTo>
                      <a:pt x="56869" y="121672"/>
                    </a:lnTo>
                    <a:lnTo>
                      <a:pt x="59426" y="127227"/>
                    </a:lnTo>
                    <a:lnTo>
                      <a:pt x="63569" y="129784"/>
                    </a:lnTo>
                    <a:lnTo>
                      <a:pt x="63834" y="137366"/>
                    </a:lnTo>
                    <a:lnTo>
                      <a:pt x="67008" y="140629"/>
                    </a:lnTo>
                    <a:lnTo>
                      <a:pt x="68242" y="145566"/>
                    </a:lnTo>
                    <a:lnTo>
                      <a:pt x="67361" y="149357"/>
                    </a:lnTo>
                    <a:lnTo>
                      <a:pt x="69653" y="153766"/>
                    </a:lnTo>
                    <a:lnTo>
                      <a:pt x="71681" y="152531"/>
                    </a:lnTo>
                    <a:lnTo>
                      <a:pt x="69918" y="144949"/>
                    </a:lnTo>
                    <a:lnTo>
                      <a:pt x="71681" y="145566"/>
                    </a:lnTo>
                    <a:lnTo>
                      <a:pt x="74591" y="149622"/>
                    </a:lnTo>
                    <a:lnTo>
                      <a:pt x="74326" y="153413"/>
                    </a:lnTo>
                    <a:lnTo>
                      <a:pt x="77236" y="159849"/>
                    </a:lnTo>
                    <a:lnTo>
                      <a:pt x="75208" y="172634"/>
                    </a:lnTo>
                    <a:lnTo>
                      <a:pt x="77500" y="178188"/>
                    </a:lnTo>
                    <a:lnTo>
                      <a:pt x="80762" y="180304"/>
                    </a:lnTo>
                    <a:lnTo>
                      <a:pt x="79616" y="189298"/>
                    </a:lnTo>
                    <a:lnTo>
                      <a:pt x="81909" y="191325"/>
                    </a:lnTo>
                    <a:lnTo>
                      <a:pt x="83672" y="198379"/>
                    </a:lnTo>
                    <a:lnTo>
                      <a:pt x="80498" y="203581"/>
                    </a:lnTo>
                    <a:lnTo>
                      <a:pt x="81909" y="206490"/>
                    </a:lnTo>
                    <a:lnTo>
                      <a:pt x="81909" y="210017"/>
                    </a:lnTo>
                    <a:lnTo>
                      <a:pt x="85083" y="212662"/>
                    </a:lnTo>
                    <a:lnTo>
                      <a:pt x="88345" y="212662"/>
                    </a:lnTo>
                    <a:lnTo>
                      <a:pt x="90637" y="208518"/>
                    </a:lnTo>
                    <a:lnTo>
                      <a:pt x="94164" y="210899"/>
                    </a:lnTo>
                    <a:lnTo>
                      <a:pt x="97955" y="217335"/>
                    </a:lnTo>
                    <a:lnTo>
                      <a:pt x="97955" y="218746"/>
                    </a:lnTo>
                    <a:lnTo>
                      <a:pt x="100600" y="220509"/>
                    </a:lnTo>
                    <a:lnTo>
                      <a:pt x="98572" y="225182"/>
                    </a:lnTo>
                    <a:lnTo>
                      <a:pt x="102892" y="227827"/>
                    </a:lnTo>
                    <a:lnTo>
                      <a:pt x="104920" y="231618"/>
                    </a:lnTo>
                    <a:lnTo>
                      <a:pt x="102363" y="236291"/>
                    </a:lnTo>
                    <a:lnTo>
                      <a:pt x="100865" y="240347"/>
                    </a:lnTo>
                    <a:lnTo>
                      <a:pt x="96809" y="241493"/>
                    </a:lnTo>
                    <a:lnTo>
                      <a:pt x="96809" y="243874"/>
                    </a:lnTo>
                    <a:lnTo>
                      <a:pt x="91254" y="245284"/>
                    </a:lnTo>
                    <a:lnTo>
                      <a:pt x="88345" y="244755"/>
                    </a:lnTo>
                    <a:lnTo>
                      <a:pt x="87199" y="235057"/>
                    </a:lnTo>
                    <a:lnTo>
                      <a:pt x="85083" y="228092"/>
                    </a:lnTo>
                    <a:lnTo>
                      <a:pt x="78734" y="225446"/>
                    </a:lnTo>
                    <a:lnTo>
                      <a:pt x="73444" y="214954"/>
                    </a:lnTo>
                    <a:lnTo>
                      <a:pt x="64451" y="213808"/>
                    </a:lnTo>
                    <a:lnTo>
                      <a:pt x="62952" y="211780"/>
                    </a:lnTo>
                    <a:lnTo>
                      <a:pt x="60307" y="209753"/>
                    </a:lnTo>
                    <a:lnTo>
                      <a:pt x="58544" y="205344"/>
                    </a:lnTo>
                    <a:lnTo>
                      <a:pt x="55987" y="205344"/>
                    </a:lnTo>
                    <a:lnTo>
                      <a:pt x="55105" y="204198"/>
                    </a:lnTo>
                    <a:lnTo>
                      <a:pt x="58279" y="203581"/>
                    </a:lnTo>
                    <a:lnTo>
                      <a:pt x="60924" y="204463"/>
                    </a:lnTo>
                    <a:lnTo>
                      <a:pt x="62688" y="206843"/>
                    </a:lnTo>
                    <a:lnTo>
                      <a:pt x="66214" y="206843"/>
                    </a:lnTo>
                    <a:lnTo>
                      <a:pt x="64716" y="204727"/>
                    </a:lnTo>
                    <a:lnTo>
                      <a:pt x="59426" y="201553"/>
                    </a:lnTo>
                    <a:lnTo>
                      <a:pt x="58279" y="200407"/>
                    </a:lnTo>
                    <a:lnTo>
                      <a:pt x="55987" y="200671"/>
                    </a:lnTo>
                    <a:lnTo>
                      <a:pt x="51843" y="198908"/>
                    </a:lnTo>
                    <a:lnTo>
                      <a:pt x="52460" y="196880"/>
                    </a:lnTo>
                    <a:lnTo>
                      <a:pt x="54224" y="198026"/>
                    </a:lnTo>
                    <a:lnTo>
                      <a:pt x="54753" y="195469"/>
                    </a:lnTo>
                    <a:lnTo>
                      <a:pt x="56251" y="191325"/>
                    </a:lnTo>
                    <a:lnTo>
                      <a:pt x="55634" y="188151"/>
                    </a:lnTo>
                    <a:lnTo>
                      <a:pt x="58015" y="181980"/>
                    </a:lnTo>
                    <a:lnTo>
                      <a:pt x="58279" y="174397"/>
                    </a:lnTo>
                    <a:lnTo>
                      <a:pt x="57750" y="167167"/>
                    </a:lnTo>
                    <a:lnTo>
                      <a:pt x="54224" y="160731"/>
                    </a:lnTo>
                    <a:lnTo>
                      <a:pt x="48933" y="159585"/>
                    </a:lnTo>
                    <a:lnTo>
                      <a:pt x="44261" y="153413"/>
                    </a:lnTo>
                    <a:lnTo>
                      <a:pt x="39323" y="153148"/>
                    </a:lnTo>
                    <a:lnTo>
                      <a:pt x="39323" y="149622"/>
                    </a:lnTo>
                    <a:lnTo>
                      <a:pt x="42850" y="146448"/>
                    </a:lnTo>
                    <a:lnTo>
                      <a:pt x="42585" y="143803"/>
                    </a:lnTo>
                    <a:lnTo>
                      <a:pt x="38441" y="146095"/>
                    </a:lnTo>
                    <a:lnTo>
                      <a:pt x="35796" y="146448"/>
                    </a:lnTo>
                    <a:lnTo>
                      <a:pt x="31476" y="148740"/>
                    </a:lnTo>
                    <a:lnTo>
                      <a:pt x="29096" y="146095"/>
                    </a:lnTo>
                    <a:lnTo>
                      <a:pt x="27685" y="142921"/>
                    </a:lnTo>
                    <a:lnTo>
                      <a:pt x="24775" y="142304"/>
                    </a:lnTo>
                    <a:lnTo>
                      <a:pt x="21866" y="141775"/>
                    </a:lnTo>
                    <a:lnTo>
                      <a:pt x="16840" y="137983"/>
                    </a:lnTo>
                    <a:lnTo>
                      <a:pt x="16840" y="135603"/>
                    </a:lnTo>
                    <a:lnTo>
                      <a:pt x="16311" y="132164"/>
                    </a:lnTo>
                    <a:lnTo>
                      <a:pt x="11021" y="128020"/>
                    </a:lnTo>
                    <a:lnTo>
                      <a:pt x="7847" y="124229"/>
                    </a:lnTo>
                    <a:lnTo>
                      <a:pt x="7230" y="122466"/>
                    </a:lnTo>
                    <a:lnTo>
                      <a:pt x="8112" y="121055"/>
                    </a:lnTo>
                    <a:lnTo>
                      <a:pt x="11286" y="120791"/>
                    </a:lnTo>
                    <a:lnTo>
                      <a:pt x="17193" y="123436"/>
                    </a:lnTo>
                    <a:lnTo>
                      <a:pt x="19485" y="123436"/>
                    </a:lnTo>
                    <a:lnTo>
                      <a:pt x="20367" y="122818"/>
                    </a:lnTo>
                    <a:lnTo>
                      <a:pt x="21866" y="120173"/>
                    </a:lnTo>
                    <a:lnTo>
                      <a:pt x="23012" y="120438"/>
                    </a:lnTo>
                    <a:lnTo>
                      <a:pt x="22659" y="121055"/>
                    </a:lnTo>
                    <a:lnTo>
                      <a:pt x="23012" y="122466"/>
                    </a:lnTo>
                    <a:lnTo>
                      <a:pt x="23277" y="122818"/>
                    </a:lnTo>
                    <a:lnTo>
                      <a:pt x="23629" y="123700"/>
                    </a:lnTo>
                    <a:lnTo>
                      <a:pt x="23277" y="124229"/>
                    </a:lnTo>
                    <a:lnTo>
                      <a:pt x="24423" y="123436"/>
                    </a:lnTo>
                    <a:lnTo>
                      <a:pt x="27685" y="124582"/>
                    </a:lnTo>
                    <a:lnTo>
                      <a:pt x="29977" y="124846"/>
                    </a:lnTo>
                    <a:lnTo>
                      <a:pt x="29096" y="123700"/>
                    </a:lnTo>
                    <a:lnTo>
                      <a:pt x="25304" y="121937"/>
                    </a:lnTo>
                    <a:lnTo>
                      <a:pt x="23629" y="121055"/>
                    </a:lnTo>
                    <a:lnTo>
                      <a:pt x="25040" y="119027"/>
                    </a:lnTo>
                    <a:lnTo>
                      <a:pt x="28567" y="117264"/>
                    </a:lnTo>
                    <a:lnTo>
                      <a:pt x="32622" y="109064"/>
                    </a:lnTo>
                    <a:lnTo>
                      <a:pt x="33240" y="104744"/>
                    </a:lnTo>
                    <a:lnTo>
                      <a:pt x="32622" y="100336"/>
                    </a:lnTo>
                    <a:lnTo>
                      <a:pt x="30594" y="95398"/>
                    </a:lnTo>
                    <a:lnTo>
                      <a:pt x="27332" y="89579"/>
                    </a:lnTo>
                    <a:lnTo>
                      <a:pt x="21249" y="85171"/>
                    </a:lnTo>
                    <a:lnTo>
                      <a:pt x="20631" y="83143"/>
                    </a:lnTo>
                    <a:lnTo>
                      <a:pt x="17722" y="79616"/>
                    </a:lnTo>
                    <a:lnTo>
                      <a:pt x="15165" y="76706"/>
                    </a:lnTo>
                    <a:lnTo>
                      <a:pt x="7847" y="73532"/>
                    </a:lnTo>
                    <a:lnTo>
                      <a:pt x="5819" y="68859"/>
                    </a:lnTo>
                    <a:lnTo>
                      <a:pt x="9258" y="63569"/>
                    </a:lnTo>
                    <a:lnTo>
                      <a:pt x="8993" y="59514"/>
                    </a:lnTo>
                    <a:lnTo>
                      <a:pt x="7230" y="55105"/>
                    </a:lnTo>
                    <a:lnTo>
                      <a:pt x="6084" y="52548"/>
                    </a:lnTo>
                    <a:lnTo>
                      <a:pt x="6084" y="49639"/>
                    </a:lnTo>
                    <a:lnTo>
                      <a:pt x="8376" y="47523"/>
                    </a:lnTo>
                    <a:lnTo>
                      <a:pt x="6084" y="47258"/>
                    </a:lnTo>
                    <a:lnTo>
                      <a:pt x="4585" y="45495"/>
                    </a:lnTo>
                    <a:lnTo>
                      <a:pt x="4056" y="43467"/>
                    </a:lnTo>
                    <a:lnTo>
                      <a:pt x="5819" y="40822"/>
                    </a:lnTo>
                    <a:lnTo>
                      <a:pt x="6084" y="37383"/>
                    </a:lnTo>
                    <a:lnTo>
                      <a:pt x="5466" y="35003"/>
                    </a:lnTo>
                    <a:lnTo>
                      <a:pt x="3439" y="30330"/>
                    </a:lnTo>
                    <a:lnTo>
                      <a:pt x="1411" y="28919"/>
                    </a:lnTo>
                    <a:lnTo>
                      <a:pt x="4320" y="26010"/>
                    </a:lnTo>
                    <a:lnTo>
                      <a:pt x="5466" y="22218"/>
                    </a:lnTo>
                    <a:lnTo>
                      <a:pt x="2910" y="20984"/>
                    </a:lnTo>
                    <a:lnTo>
                      <a:pt x="1675" y="17810"/>
                    </a:lnTo>
                    <a:lnTo>
                      <a:pt x="0" y="12608"/>
                    </a:lnTo>
                    <a:lnTo>
                      <a:pt x="794" y="731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8" name="Freihandform: Form 1667">
                <a:extLst>
                  <a:ext uri="{FF2B5EF4-FFF2-40B4-BE49-F238E27FC236}">
                    <a16:creationId xmlns:a16="http://schemas.microsoft.com/office/drawing/2014/main" id="{AA94A0D2-1752-08CE-2672-D9273EF2237F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9" name="Freihandform: Form 1668">
                <a:extLst>
                  <a:ext uri="{FF2B5EF4-FFF2-40B4-BE49-F238E27FC236}">
                    <a16:creationId xmlns:a16="http://schemas.microsoft.com/office/drawing/2014/main" id="{FA56137C-B870-A383-D044-6C9FCD86FFF6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0" name="Freihandform: Form 1669">
                <a:extLst>
                  <a:ext uri="{FF2B5EF4-FFF2-40B4-BE49-F238E27FC236}">
                    <a16:creationId xmlns:a16="http://schemas.microsoft.com/office/drawing/2014/main" id="{D7B70476-ACBE-5202-3033-06AE363436B6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1" name="Freihandform: Form 1670">
                <a:extLst>
                  <a:ext uri="{FF2B5EF4-FFF2-40B4-BE49-F238E27FC236}">
                    <a16:creationId xmlns:a16="http://schemas.microsoft.com/office/drawing/2014/main" id="{5E4B34E8-6C87-8796-6BD0-FEED16637D28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2" name="Freihandform: Form 1671">
                <a:extLst>
                  <a:ext uri="{FF2B5EF4-FFF2-40B4-BE49-F238E27FC236}">
                    <a16:creationId xmlns:a16="http://schemas.microsoft.com/office/drawing/2014/main" id="{853C61D3-ED5E-E2E0-62C7-ED4650CC7B59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3" name="Freihandform: Form 1672">
                <a:extLst>
                  <a:ext uri="{FF2B5EF4-FFF2-40B4-BE49-F238E27FC236}">
                    <a16:creationId xmlns:a16="http://schemas.microsoft.com/office/drawing/2014/main" id="{8161B84F-A8A2-C47A-4132-DD0BEE3D8108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4" name="Freihandform: Form 1673">
                <a:extLst>
                  <a:ext uri="{FF2B5EF4-FFF2-40B4-BE49-F238E27FC236}">
                    <a16:creationId xmlns:a16="http://schemas.microsoft.com/office/drawing/2014/main" id="{714CB7C3-F0C5-6009-61DF-43243108F906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5" name="Freihandform: Form 1674">
                <a:extLst>
                  <a:ext uri="{FF2B5EF4-FFF2-40B4-BE49-F238E27FC236}">
                    <a16:creationId xmlns:a16="http://schemas.microsoft.com/office/drawing/2014/main" id="{6508FE79-2E6F-42E3-9872-F5D0B8A385BF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6" name="Freihandform: Form 1675">
                <a:extLst>
                  <a:ext uri="{FF2B5EF4-FFF2-40B4-BE49-F238E27FC236}">
                    <a16:creationId xmlns:a16="http://schemas.microsoft.com/office/drawing/2014/main" id="{885D0E4B-B11E-FF99-A5AA-D04D446DB5AB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7" name="Freihandform: Form 1676">
                <a:extLst>
                  <a:ext uri="{FF2B5EF4-FFF2-40B4-BE49-F238E27FC236}">
                    <a16:creationId xmlns:a16="http://schemas.microsoft.com/office/drawing/2014/main" id="{680BC39A-DB3C-76F5-D774-0F119E0EF0EF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8" name="Freihandform: Form 1677">
                <a:extLst>
                  <a:ext uri="{FF2B5EF4-FFF2-40B4-BE49-F238E27FC236}">
                    <a16:creationId xmlns:a16="http://schemas.microsoft.com/office/drawing/2014/main" id="{84DA1964-0EA0-513C-93BD-3C7FF9D2C8F4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9" name="Freihandform: Form 1678">
                <a:extLst>
                  <a:ext uri="{FF2B5EF4-FFF2-40B4-BE49-F238E27FC236}">
                    <a16:creationId xmlns:a16="http://schemas.microsoft.com/office/drawing/2014/main" id="{2297BA09-B668-2039-2D63-77E5AC6212E8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0" name="Freihandform: Form 1679">
                <a:extLst>
                  <a:ext uri="{FF2B5EF4-FFF2-40B4-BE49-F238E27FC236}">
                    <a16:creationId xmlns:a16="http://schemas.microsoft.com/office/drawing/2014/main" id="{1E31AF94-FFA6-550A-A425-086EC94DA155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1" name="Freihandform: Form 1680">
                <a:extLst>
                  <a:ext uri="{FF2B5EF4-FFF2-40B4-BE49-F238E27FC236}">
                    <a16:creationId xmlns:a16="http://schemas.microsoft.com/office/drawing/2014/main" id="{43821F46-7E43-DBEA-17CF-B9ED5B832612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2" name="Freihandform: Form 1681">
                <a:extLst>
                  <a:ext uri="{FF2B5EF4-FFF2-40B4-BE49-F238E27FC236}">
                    <a16:creationId xmlns:a16="http://schemas.microsoft.com/office/drawing/2014/main" id="{0B181CA7-FD06-CECB-77AE-5ACD87FB6835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3" name="Freihandform: Form 1682">
                <a:extLst>
                  <a:ext uri="{FF2B5EF4-FFF2-40B4-BE49-F238E27FC236}">
                    <a16:creationId xmlns:a16="http://schemas.microsoft.com/office/drawing/2014/main" id="{51A06A6B-AC3B-7FAD-33C4-C054E28BEF29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4" name="Freihandform: Form 1683">
                <a:extLst>
                  <a:ext uri="{FF2B5EF4-FFF2-40B4-BE49-F238E27FC236}">
                    <a16:creationId xmlns:a16="http://schemas.microsoft.com/office/drawing/2014/main" id="{A132B162-272B-DA8B-CEA3-29764360B2B0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5" name="Freihandform: Form 1684">
                <a:extLst>
                  <a:ext uri="{FF2B5EF4-FFF2-40B4-BE49-F238E27FC236}">
                    <a16:creationId xmlns:a16="http://schemas.microsoft.com/office/drawing/2014/main" id="{2BFA784C-7BEC-BBC1-5875-BBCCF92C290C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6" name="Freihandform: Form 1685">
                <a:extLst>
                  <a:ext uri="{FF2B5EF4-FFF2-40B4-BE49-F238E27FC236}">
                    <a16:creationId xmlns:a16="http://schemas.microsoft.com/office/drawing/2014/main" id="{46C368A0-C17A-1677-1C27-7299F454249F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7" name="Freihandform: Form 1686">
                <a:extLst>
                  <a:ext uri="{FF2B5EF4-FFF2-40B4-BE49-F238E27FC236}">
                    <a16:creationId xmlns:a16="http://schemas.microsoft.com/office/drawing/2014/main" id="{8833FF80-BFF8-680D-0CF0-447220AAB1AD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8" name="Freihandform: Form 1687">
                <a:extLst>
                  <a:ext uri="{FF2B5EF4-FFF2-40B4-BE49-F238E27FC236}">
                    <a16:creationId xmlns:a16="http://schemas.microsoft.com/office/drawing/2014/main" id="{77B7C90C-1C52-DF6A-33A7-26E3CC14E627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9" name="Freihandform: Form 1688">
                <a:extLst>
                  <a:ext uri="{FF2B5EF4-FFF2-40B4-BE49-F238E27FC236}">
                    <a16:creationId xmlns:a16="http://schemas.microsoft.com/office/drawing/2014/main" id="{BB184CDF-29AD-C5C4-ACD8-39309375D4D0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0" name="Freihandform: Form 1689">
                <a:extLst>
                  <a:ext uri="{FF2B5EF4-FFF2-40B4-BE49-F238E27FC236}">
                    <a16:creationId xmlns:a16="http://schemas.microsoft.com/office/drawing/2014/main" id="{3AF442BA-AF1F-2FBC-F345-2A06D9BB5E83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1" name="Freihandform: Form 1690">
                <a:extLst>
                  <a:ext uri="{FF2B5EF4-FFF2-40B4-BE49-F238E27FC236}">
                    <a16:creationId xmlns:a16="http://schemas.microsoft.com/office/drawing/2014/main" id="{FC11169C-0455-2345-5B2B-BAB065ACCC00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2" name="Freihandform: Form 1691">
                <a:extLst>
                  <a:ext uri="{FF2B5EF4-FFF2-40B4-BE49-F238E27FC236}">
                    <a16:creationId xmlns:a16="http://schemas.microsoft.com/office/drawing/2014/main" id="{FF576574-0A16-7C55-A5AB-B7C4D39F9415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3" name="Freihandform: Form 1692">
                <a:extLst>
                  <a:ext uri="{FF2B5EF4-FFF2-40B4-BE49-F238E27FC236}">
                    <a16:creationId xmlns:a16="http://schemas.microsoft.com/office/drawing/2014/main" id="{6E2DE015-C55B-F254-C283-A6F71F635B3B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4" name="Freihandform: Form 1693">
                <a:extLst>
                  <a:ext uri="{FF2B5EF4-FFF2-40B4-BE49-F238E27FC236}">
                    <a16:creationId xmlns:a16="http://schemas.microsoft.com/office/drawing/2014/main" id="{03C6B1BE-8C95-9338-DD11-4BFD0437E52F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5" name="Freihandform: Form 1694">
                <a:extLst>
                  <a:ext uri="{FF2B5EF4-FFF2-40B4-BE49-F238E27FC236}">
                    <a16:creationId xmlns:a16="http://schemas.microsoft.com/office/drawing/2014/main" id="{FE51F381-AA3D-2910-B201-17105E63B5BF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6" name="Freihandform: Form 1695">
                <a:extLst>
                  <a:ext uri="{FF2B5EF4-FFF2-40B4-BE49-F238E27FC236}">
                    <a16:creationId xmlns:a16="http://schemas.microsoft.com/office/drawing/2014/main" id="{40CC1D02-96DE-266A-FD7B-37872D3614EC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7" name="Freihandform: Form 1696">
                <a:extLst>
                  <a:ext uri="{FF2B5EF4-FFF2-40B4-BE49-F238E27FC236}">
                    <a16:creationId xmlns:a16="http://schemas.microsoft.com/office/drawing/2014/main" id="{05728011-FF0A-A5F9-9143-17B0756018A5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8" name="Freihandform: Form 1697">
                <a:extLst>
                  <a:ext uri="{FF2B5EF4-FFF2-40B4-BE49-F238E27FC236}">
                    <a16:creationId xmlns:a16="http://schemas.microsoft.com/office/drawing/2014/main" id="{454E585B-CF22-92A6-2079-789C45AE99D7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9" name="Freihandform: Form 1698">
                <a:extLst>
                  <a:ext uri="{FF2B5EF4-FFF2-40B4-BE49-F238E27FC236}">
                    <a16:creationId xmlns:a16="http://schemas.microsoft.com/office/drawing/2014/main" id="{53C11D85-1480-F0B7-8CE5-8C549929DA57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0" name="Freihandform: Form 1699">
                <a:extLst>
                  <a:ext uri="{FF2B5EF4-FFF2-40B4-BE49-F238E27FC236}">
                    <a16:creationId xmlns:a16="http://schemas.microsoft.com/office/drawing/2014/main" id="{0FB9832D-1731-612C-9008-3EDCBA52739D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1" name="Freihandform: Form 1700">
                <a:extLst>
                  <a:ext uri="{FF2B5EF4-FFF2-40B4-BE49-F238E27FC236}">
                    <a16:creationId xmlns:a16="http://schemas.microsoft.com/office/drawing/2014/main" id="{0C7AE287-126A-4AE6-BB67-AF7C5F81D6D4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2" name="Freihandform: Form 1701">
                <a:extLst>
                  <a:ext uri="{FF2B5EF4-FFF2-40B4-BE49-F238E27FC236}">
                    <a16:creationId xmlns:a16="http://schemas.microsoft.com/office/drawing/2014/main" id="{927F53C0-9E0D-2072-1486-DC94E4729938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3" name="Freihandform: Form 1702">
                <a:extLst>
                  <a:ext uri="{FF2B5EF4-FFF2-40B4-BE49-F238E27FC236}">
                    <a16:creationId xmlns:a16="http://schemas.microsoft.com/office/drawing/2014/main" id="{C7A6A237-8294-F4A2-1357-B1A7FB37B9CA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4" name="Freihandform: Form 1703">
                <a:extLst>
                  <a:ext uri="{FF2B5EF4-FFF2-40B4-BE49-F238E27FC236}">
                    <a16:creationId xmlns:a16="http://schemas.microsoft.com/office/drawing/2014/main" id="{A8F44F77-09D0-0E67-F97A-BC7E0280C117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5" name="Freihandform: Form 1704">
                <a:extLst>
                  <a:ext uri="{FF2B5EF4-FFF2-40B4-BE49-F238E27FC236}">
                    <a16:creationId xmlns:a16="http://schemas.microsoft.com/office/drawing/2014/main" id="{37125843-356D-982E-DF9D-90489FEAE60B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6" name="Freihandform: Form 1705">
                <a:extLst>
                  <a:ext uri="{FF2B5EF4-FFF2-40B4-BE49-F238E27FC236}">
                    <a16:creationId xmlns:a16="http://schemas.microsoft.com/office/drawing/2014/main" id="{F65E3133-393A-2A9E-D85F-5C62B095CDCA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7" name="Freihandform: Form 1706">
                <a:extLst>
                  <a:ext uri="{FF2B5EF4-FFF2-40B4-BE49-F238E27FC236}">
                    <a16:creationId xmlns:a16="http://schemas.microsoft.com/office/drawing/2014/main" id="{93AC2485-F903-5F7B-9AA0-E37DD8B541C5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8" name="Freihandform: Form 1707">
                <a:extLst>
                  <a:ext uri="{FF2B5EF4-FFF2-40B4-BE49-F238E27FC236}">
                    <a16:creationId xmlns:a16="http://schemas.microsoft.com/office/drawing/2014/main" id="{443F6AE6-65CA-8C7D-7ED4-6068EAAC9616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9" name="Freihandform: Form 1708">
                <a:extLst>
                  <a:ext uri="{FF2B5EF4-FFF2-40B4-BE49-F238E27FC236}">
                    <a16:creationId xmlns:a16="http://schemas.microsoft.com/office/drawing/2014/main" id="{EC45540D-9D39-B3AD-1359-C221899D23B7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0" name="Freihandform: Form 1709">
                <a:extLst>
                  <a:ext uri="{FF2B5EF4-FFF2-40B4-BE49-F238E27FC236}">
                    <a16:creationId xmlns:a16="http://schemas.microsoft.com/office/drawing/2014/main" id="{160A9238-E167-BAD9-987C-0B20AA4129D5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1" name="Freihandform: Form 1710">
                <a:extLst>
                  <a:ext uri="{FF2B5EF4-FFF2-40B4-BE49-F238E27FC236}">
                    <a16:creationId xmlns:a16="http://schemas.microsoft.com/office/drawing/2014/main" id="{B014BAE6-A9A6-AF32-766D-E526B7059C1A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2" name="Freihandform: Form 1711">
                <a:extLst>
                  <a:ext uri="{FF2B5EF4-FFF2-40B4-BE49-F238E27FC236}">
                    <a16:creationId xmlns:a16="http://schemas.microsoft.com/office/drawing/2014/main" id="{32FFA4D8-BD5C-AC70-74F3-33835D3914FB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3" name="Freihandform: Form 1712">
                <a:extLst>
                  <a:ext uri="{FF2B5EF4-FFF2-40B4-BE49-F238E27FC236}">
                    <a16:creationId xmlns:a16="http://schemas.microsoft.com/office/drawing/2014/main" id="{5EF054D9-D92B-0DCE-4159-B76011DC4147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4" name="Freihandform: Form 1713">
                <a:extLst>
                  <a:ext uri="{FF2B5EF4-FFF2-40B4-BE49-F238E27FC236}">
                    <a16:creationId xmlns:a16="http://schemas.microsoft.com/office/drawing/2014/main" id="{8B9CB624-F4C8-561E-6BAD-5B61DABF6C95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5" name="Freihandform: Form 1714">
                <a:extLst>
                  <a:ext uri="{FF2B5EF4-FFF2-40B4-BE49-F238E27FC236}">
                    <a16:creationId xmlns:a16="http://schemas.microsoft.com/office/drawing/2014/main" id="{52E71D1C-1D40-A4B7-CB13-3A4ADCCAAC68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6" name="Freihandform: Form 1715">
                <a:extLst>
                  <a:ext uri="{FF2B5EF4-FFF2-40B4-BE49-F238E27FC236}">
                    <a16:creationId xmlns:a16="http://schemas.microsoft.com/office/drawing/2014/main" id="{BFD4F9A7-286A-C17C-A91A-BCB07D2FF2D4}"/>
                  </a:ext>
                </a:extLst>
              </p:cNvPr>
              <p:cNvSpPr/>
              <p:nvPr/>
            </p:nvSpPr>
            <p:spPr>
              <a:xfrm>
                <a:off x="2921183" y="2869924"/>
                <a:ext cx="130401" cy="121584"/>
              </a:xfrm>
              <a:custGeom>
                <a:avLst/>
                <a:gdLst>
                  <a:gd name="connsiteX0" fmla="*/ 90725 w 130401"/>
                  <a:gd name="connsiteY0" fmla="*/ 39059 h 121584"/>
                  <a:gd name="connsiteX1" fmla="*/ 91342 w 130401"/>
                  <a:gd name="connsiteY1" fmla="*/ 39940 h 121584"/>
                  <a:gd name="connsiteX2" fmla="*/ 91342 w 130401"/>
                  <a:gd name="connsiteY2" fmla="*/ 40469 h 121584"/>
                  <a:gd name="connsiteX3" fmla="*/ 82614 w 130401"/>
                  <a:gd name="connsiteY3" fmla="*/ 44613 h 121584"/>
                  <a:gd name="connsiteX4" fmla="*/ 78205 w 130401"/>
                  <a:gd name="connsiteY4" fmla="*/ 46377 h 121584"/>
                  <a:gd name="connsiteX5" fmla="*/ 78823 w 130401"/>
                  <a:gd name="connsiteY5" fmla="*/ 46641 h 121584"/>
                  <a:gd name="connsiteX6" fmla="*/ 80586 w 130401"/>
                  <a:gd name="connsiteY6" fmla="*/ 46377 h 121584"/>
                  <a:gd name="connsiteX7" fmla="*/ 81732 w 130401"/>
                  <a:gd name="connsiteY7" fmla="*/ 47170 h 121584"/>
                  <a:gd name="connsiteX8" fmla="*/ 81115 w 130401"/>
                  <a:gd name="connsiteY8" fmla="*/ 48052 h 121584"/>
                  <a:gd name="connsiteX9" fmla="*/ 81732 w 130401"/>
                  <a:gd name="connsiteY9" fmla="*/ 48933 h 121584"/>
                  <a:gd name="connsiteX10" fmla="*/ 81380 w 130401"/>
                  <a:gd name="connsiteY10" fmla="*/ 48933 h 121584"/>
                  <a:gd name="connsiteX11" fmla="*/ 77941 w 130401"/>
                  <a:gd name="connsiteY11" fmla="*/ 50697 h 121584"/>
                  <a:gd name="connsiteX12" fmla="*/ 75296 w 130401"/>
                  <a:gd name="connsiteY12" fmla="*/ 52460 h 121584"/>
                  <a:gd name="connsiteX13" fmla="*/ 75825 w 130401"/>
                  <a:gd name="connsiteY13" fmla="*/ 53077 h 121584"/>
                  <a:gd name="connsiteX14" fmla="*/ 77324 w 130401"/>
                  <a:gd name="connsiteY14" fmla="*/ 52196 h 121584"/>
                  <a:gd name="connsiteX15" fmla="*/ 81996 w 130401"/>
                  <a:gd name="connsiteY15" fmla="*/ 49815 h 121584"/>
                  <a:gd name="connsiteX16" fmla="*/ 83143 w 130401"/>
                  <a:gd name="connsiteY16" fmla="*/ 50168 h 121584"/>
                  <a:gd name="connsiteX17" fmla="*/ 82261 w 130401"/>
                  <a:gd name="connsiteY17" fmla="*/ 51314 h 121584"/>
                  <a:gd name="connsiteX18" fmla="*/ 83760 w 130401"/>
                  <a:gd name="connsiteY18" fmla="*/ 53342 h 121584"/>
                  <a:gd name="connsiteX19" fmla="*/ 85523 w 130401"/>
                  <a:gd name="connsiteY19" fmla="*/ 52196 h 121584"/>
                  <a:gd name="connsiteX20" fmla="*/ 86052 w 130401"/>
                  <a:gd name="connsiteY20" fmla="*/ 51843 h 121584"/>
                  <a:gd name="connsiteX21" fmla="*/ 86669 w 130401"/>
                  <a:gd name="connsiteY21" fmla="*/ 51843 h 121584"/>
                  <a:gd name="connsiteX22" fmla="*/ 89315 w 130401"/>
                  <a:gd name="connsiteY22" fmla="*/ 51579 h 121584"/>
                  <a:gd name="connsiteX23" fmla="*/ 90196 w 130401"/>
                  <a:gd name="connsiteY23" fmla="*/ 51579 h 121584"/>
                  <a:gd name="connsiteX24" fmla="*/ 89844 w 130401"/>
                  <a:gd name="connsiteY24" fmla="*/ 52460 h 121584"/>
                  <a:gd name="connsiteX25" fmla="*/ 88433 w 130401"/>
                  <a:gd name="connsiteY25" fmla="*/ 53959 h 121584"/>
                  <a:gd name="connsiteX26" fmla="*/ 89579 w 130401"/>
                  <a:gd name="connsiteY26" fmla="*/ 54224 h 121584"/>
                  <a:gd name="connsiteX27" fmla="*/ 91342 w 130401"/>
                  <a:gd name="connsiteY27" fmla="*/ 54224 h 121584"/>
                  <a:gd name="connsiteX28" fmla="*/ 91078 w 130401"/>
                  <a:gd name="connsiteY28" fmla="*/ 51314 h 121584"/>
                  <a:gd name="connsiteX29" fmla="*/ 91342 w 130401"/>
                  <a:gd name="connsiteY29" fmla="*/ 50168 h 121584"/>
                  <a:gd name="connsiteX30" fmla="*/ 93106 w 130401"/>
                  <a:gd name="connsiteY30" fmla="*/ 50432 h 121584"/>
                  <a:gd name="connsiteX31" fmla="*/ 93635 w 130401"/>
                  <a:gd name="connsiteY31" fmla="*/ 50168 h 121584"/>
                  <a:gd name="connsiteX32" fmla="*/ 94517 w 130401"/>
                  <a:gd name="connsiteY32" fmla="*/ 50697 h 121584"/>
                  <a:gd name="connsiteX33" fmla="*/ 93988 w 130401"/>
                  <a:gd name="connsiteY33" fmla="*/ 51843 h 121584"/>
                  <a:gd name="connsiteX34" fmla="*/ 90461 w 130401"/>
                  <a:gd name="connsiteY34" fmla="*/ 56869 h 121584"/>
                  <a:gd name="connsiteX35" fmla="*/ 88962 w 130401"/>
                  <a:gd name="connsiteY35" fmla="*/ 57750 h 121584"/>
                  <a:gd name="connsiteX36" fmla="*/ 90196 w 130401"/>
                  <a:gd name="connsiteY36" fmla="*/ 58632 h 121584"/>
                  <a:gd name="connsiteX37" fmla="*/ 91342 w 130401"/>
                  <a:gd name="connsiteY37" fmla="*/ 57398 h 121584"/>
                  <a:gd name="connsiteX38" fmla="*/ 94252 w 130401"/>
                  <a:gd name="connsiteY38" fmla="*/ 56516 h 121584"/>
                  <a:gd name="connsiteX39" fmla="*/ 94869 w 130401"/>
                  <a:gd name="connsiteY39" fmla="*/ 56251 h 121584"/>
                  <a:gd name="connsiteX40" fmla="*/ 94517 w 130401"/>
                  <a:gd name="connsiteY40" fmla="*/ 55634 h 121584"/>
                  <a:gd name="connsiteX41" fmla="*/ 95134 w 130401"/>
                  <a:gd name="connsiteY41" fmla="*/ 54841 h 121584"/>
                  <a:gd name="connsiteX42" fmla="*/ 95398 w 130401"/>
                  <a:gd name="connsiteY42" fmla="*/ 56516 h 121584"/>
                  <a:gd name="connsiteX43" fmla="*/ 96544 w 130401"/>
                  <a:gd name="connsiteY43" fmla="*/ 55987 h 121584"/>
                  <a:gd name="connsiteX44" fmla="*/ 98043 w 130401"/>
                  <a:gd name="connsiteY44" fmla="*/ 55987 h 121584"/>
                  <a:gd name="connsiteX45" fmla="*/ 99189 w 130401"/>
                  <a:gd name="connsiteY45" fmla="*/ 53606 h 121584"/>
                  <a:gd name="connsiteX46" fmla="*/ 99454 w 130401"/>
                  <a:gd name="connsiteY46" fmla="*/ 53959 h 121584"/>
                  <a:gd name="connsiteX47" fmla="*/ 99189 w 130401"/>
                  <a:gd name="connsiteY47" fmla="*/ 55105 h 121584"/>
                  <a:gd name="connsiteX48" fmla="*/ 99189 w 130401"/>
                  <a:gd name="connsiteY48" fmla="*/ 55634 h 121584"/>
                  <a:gd name="connsiteX49" fmla="*/ 99807 w 130401"/>
                  <a:gd name="connsiteY49" fmla="*/ 55634 h 121584"/>
                  <a:gd name="connsiteX50" fmla="*/ 100953 w 130401"/>
                  <a:gd name="connsiteY50" fmla="*/ 54841 h 121584"/>
                  <a:gd name="connsiteX51" fmla="*/ 106243 w 130401"/>
                  <a:gd name="connsiteY51" fmla="*/ 50168 h 121584"/>
                  <a:gd name="connsiteX52" fmla="*/ 107654 w 130401"/>
                  <a:gd name="connsiteY52" fmla="*/ 49815 h 121584"/>
                  <a:gd name="connsiteX53" fmla="*/ 107918 w 130401"/>
                  <a:gd name="connsiteY53" fmla="*/ 50168 h 121584"/>
                  <a:gd name="connsiteX54" fmla="*/ 107654 w 130401"/>
                  <a:gd name="connsiteY54" fmla="*/ 50697 h 121584"/>
                  <a:gd name="connsiteX55" fmla="*/ 106507 w 130401"/>
                  <a:gd name="connsiteY55" fmla="*/ 51579 h 121584"/>
                  <a:gd name="connsiteX56" fmla="*/ 107654 w 130401"/>
                  <a:gd name="connsiteY56" fmla="*/ 52460 h 121584"/>
                  <a:gd name="connsiteX57" fmla="*/ 106243 w 130401"/>
                  <a:gd name="connsiteY57" fmla="*/ 54488 h 121584"/>
                  <a:gd name="connsiteX58" fmla="*/ 107036 w 130401"/>
                  <a:gd name="connsiteY58" fmla="*/ 55370 h 121584"/>
                  <a:gd name="connsiteX59" fmla="*/ 109417 w 130401"/>
                  <a:gd name="connsiteY59" fmla="*/ 52460 h 121584"/>
                  <a:gd name="connsiteX60" fmla="*/ 112326 w 130401"/>
                  <a:gd name="connsiteY60" fmla="*/ 53342 h 121584"/>
                  <a:gd name="connsiteX61" fmla="*/ 113208 w 130401"/>
                  <a:gd name="connsiteY61" fmla="*/ 52460 h 121584"/>
                  <a:gd name="connsiteX62" fmla="*/ 115853 w 130401"/>
                  <a:gd name="connsiteY62" fmla="*/ 51843 h 121584"/>
                  <a:gd name="connsiteX63" fmla="*/ 118763 w 130401"/>
                  <a:gd name="connsiteY63" fmla="*/ 53342 h 121584"/>
                  <a:gd name="connsiteX64" fmla="*/ 120526 w 130401"/>
                  <a:gd name="connsiteY64" fmla="*/ 53959 h 121584"/>
                  <a:gd name="connsiteX65" fmla="*/ 120791 w 130401"/>
                  <a:gd name="connsiteY65" fmla="*/ 55105 h 121584"/>
                  <a:gd name="connsiteX66" fmla="*/ 122818 w 130401"/>
                  <a:gd name="connsiteY66" fmla="*/ 55634 h 121584"/>
                  <a:gd name="connsiteX67" fmla="*/ 124317 w 130401"/>
                  <a:gd name="connsiteY67" fmla="*/ 56869 h 121584"/>
                  <a:gd name="connsiteX68" fmla="*/ 124846 w 130401"/>
                  <a:gd name="connsiteY68" fmla="*/ 57398 h 121584"/>
                  <a:gd name="connsiteX69" fmla="*/ 120526 w 130401"/>
                  <a:gd name="connsiteY69" fmla="*/ 62071 h 121584"/>
                  <a:gd name="connsiteX70" fmla="*/ 118763 w 130401"/>
                  <a:gd name="connsiteY70" fmla="*/ 62688 h 121584"/>
                  <a:gd name="connsiteX71" fmla="*/ 114972 w 130401"/>
                  <a:gd name="connsiteY71" fmla="*/ 65333 h 121584"/>
                  <a:gd name="connsiteX72" fmla="*/ 114090 w 130401"/>
                  <a:gd name="connsiteY72" fmla="*/ 65333 h 121584"/>
                  <a:gd name="connsiteX73" fmla="*/ 112062 w 130401"/>
                  <a:gd name="connsiteY73" fmla="*/ 66744 h 121584"/>
                  <a:gd name="connsiteX74" fmla="*/ 114354 w 130401"/>
                  <a:gd name="connsiteY74" fmla="*/ 67361 h 121584"/>
                  <a:gd name="connsiteX75" fmla="*/ 114707 w 130401"/>
                  <a:gd name="connsiteY75" fmla="*/ 67890 h 121584"/>
                  <a:gd name="connsiteX76" fmla="*/ 112326 w 130401"/>
                  <a:gd name="connsiteY76" fmla="*/ 70006 h 121584"/>
                  <a:gd name="connsiteX77" fmla="*/ 112326 w 130401"/>
                  <a:gd name="connsiteY77" fmla="*/ 70799 h 121584"/>
                  <a:gd name="connsiteX78" fmla="*/ 113473 w 130401"/>
                  <a:gd name="connsiteY78" fmla="*/ 70006 h 121584"/>
                  <a:gd name="connsiteX79" fmla="*/ 114707 w 130401"/>
                  <a:gd name="connsiteY79" fmla="*/ 70006 h 121584"/>
                  <a:gd name="connsiteX80" fmla="*/ 115501 w 130401"/>
                  <a:gd name="connsiteY80" fmla="*/ 70535 h 121584"/>
                  <a:gd name="connsiteX81" fmla="*/ 116999 w 130401"/>
                  <a:gd name="connsiteY81" fmla="*/ 71152 h 121584"/>
                  <a:gd name="connsiteX82" fmla="*/ 117881 w 130401"/>
                  <a:gd name="connsiteY82" fmla="*/ 71681 h 121584"/>
                  <a:gd name="connsiteX83" fmla="*/ 115501 w 130401"/>
                  <a:gd name="connsiteY83" fmla="*/ 72034 h 121584"/>
                  <a:gd name="connsiteX84" fmla="*/ 113208 w 130401"/>
                  <a:gd name="connsiteY84" fmla="*/ 72915 h 121584"/>
                  <a:gd name="connsiteX85" fmla="*/ 114707 w 130401"/>
                  <a:gd name="connsiteY85" fmla="*/ 74062 h 121584"/>
                  <a:gd name="connsiteX86" fmla="*/ 112326 w 130401"/>
                  <a:gd name="connsiteY86" fmla="*/ 76089 h 121584"/>
                  <a:gd name="connsiteX87" fmla="*/ 113473 w 130401"/>
                  <a:gd name="connsiteY87" fmla="*/ 76707 h 121584"/>
                  <a:gd name="connsiteX88" fmla="*/ 116382 w 130401"/>
                  <a:gd name="connsiteY88" fmla="*/ 74591 h 121584"/>
                  <a:gd name="connsiteX89" fmla="*/ 116735 w 130401"/>
                  <a:gd name="connsiteY89" fmla="*/ 75472 h 121584"/>
                  <a:gd name="connsiteX90" fmla="*/ 117264 w 130401"/>
                  <a:gd name="connsiteY90" fmla="*/ 75472 h 121584"/>
                  <a:gd name="connsiteX91" fmla="*/ 117617 w 130401"/>
                  <a:gd name="connsiteY91" fmla="*/ 76707 h 121584"/>
                  <a:gd name="connsiteX92" fmla="*/ 119027 w 130401"/>
                  <a:gd name="connsiteY92" fmla="*/ 75208 h 121584"/>
                  <a:gd name="connsiteX93" fmla="*/ 120174 w 130401"/>
                  <a:gd name="connsiteY93" fmla="*/ 73444 h 121584"/>
                  <a:gd name="connsiteX94" fmla="*/ 120791 w 130401"/>
                  <a:gd name="connsiteY94" fmla="*/ 72915 h 121584"/>
                  <a:gd name="connsiteX95" fmla="*/ 122290 w 130401"/>
                  <a:gd name="connsiteY95" fmla="*/ 72915 h 121584"/>
                  <a:gd name="connsiteX96" fmla="*/ 123965 w 130401"/>
                  <a:gd name="connsiteY96" fmla="*/ 74591 h 121584"/>
                  <a:gd name="connsiteX97" fmla="*/ 126345 w 130401"/>
                  <a:gd name="connsiteY97" fmla="*/ 72915 h 121584"/>
                  <a:gd name="connsiteX98" fmla="*/ 128373 w 130401"/>
                  <a:gd name="connsiteY98" fmla="*/ 71152 h 121584"/>
                  <a:gd name="connsiteX99" fmla="*/ 128990 w 130401"/>
                  <a:gd name="connsiteY99" fmla="*/ 71416 h 121584"/>
                  <a:gd name="connsiteX100" fmla="*/ 129519 w 130401"/>
                  <a:gd name="connsiteY100" fmla="*/ 72563 h 121584"/>
                  <a:gd name="connsiteX101" fmla="*/ 126610 w 130401"/>
                  <a:gd name="connsiteY101" fmla="*/ 76971 h 121584"/>
                  <a:gd name="connsiteX102" fmla="*/ 123965 w 130401"/>
                  <a:gd name="connsiteY102" fmla="*/ 78999 h 121584"/>
                  <a:gd name="connsiteX103" fmla="*/ 121937 w 130401"/>
                  <a:gd name="connsiteY103" fmla="*/ 78470 h 121584"/>
                  <a:gd name="connsiteX104" fmla="*/ 119292 w 130401"/>
                  <a:gd name="connsiteY104" fmla="*/ 80498 h 121584"/>
                  <a:gd name="connsiteX105" fmla="*/ 115236 w 130401"/>
                  <a:gd name="connsiteY105" fmla="*/ 82526 h 121584"/>
                  <a:gd name="connsiteX106" fmla="*/ 113208 w 130401"/>
                  <a:gd name="connsiteY106" fmla="*/ 83055 h 121584"/>
                  <a:gd name="connsiteX107" fmla="*/ 108800 w 130401"/>
                  <a:gd name="connsiteY107" fmla="*/ 82261 h 121584"/>
                  <a:gd name="connsiteX108" fmla="*/ 107654 w 130401"/>
                  <a:gd name="connsiteY108" fmla="*/ 83936 h 121584"/>
                  <a:gd name="connsiteX109" fmla="*/ 107918 w 130401"/>
                  <a:gd name="connsiteY109" fmla="*/ 85435 h 121584"/>
                  <a:gd name="connsiteX110" fmla="*/ 111445 w 130401"/>
                  <a:gd name="connsiteY110" fmla="*/ 86052 h 121584"/>
                  <a:gd name="connsiteX111" fmla="*/ 112944 w 130401"/>
                  <a:gd name="connsiteY111" fmla="*/ 86846 h 121584"/>
                  <a:gd name="connsiteX112" fmla="*/ 113208 w 130401"/>
                  <a:gd name="connsiteY112" fmla="*/ 88345 h 121584"/>
                  <a:gd name="connsiteX113" fmla="*/ 109152 w 130401"/>
                  <a:gd name="connsiteY113" fmla="*/ 92753 h 121584"/>
                  <a:gd name="connsiteX114" fmla="*/ 108535 w 130401"/>
                  <a:gd name="connsiteY114" fmla="*/ 92401 h 121584"/>
                  <a:gd name="connsiteX115" fmla="*/ 107654 w 130401"/>
                  <a:gd name="connsiteY115" fmla="*/ 92401 h 121584"/>
                  <a:gd name="connsiteX116" fmla="*/ 107389 w 130401"/>
                  <a:gd name="connsiteY116" fmla="*/ 93018 h 121584"/>
                  <a:gd name="connsiteX117" fmla="*/ 107654 w 130401"/>
                  <a:gd name="connsiteY117" fmla="*/ 93282 h 121584"/>
                  <a:gd name="connsiteX118" fmla="*/ 107389 w 130401"/>
                  <a:gd name="connsiteY118" fmla="*/ 94781 h 121584"/>
                  <a:gd name="connsiteX119" fmla="*/ 107918 w 130401"/>
                  <a:gd name="connsiteY119" fmla="*/ 96192 h 121584"/>
                  <a:gd name="connsiteX120" fmla="*/ 108800 w 130401"/>
                  <a:gd name="connsiteY120" fmla="*/ 96192 h 121584"/>
                  <a:gd name="connsiteX121" fmla="*/ 110034 w 130401"/>
                  <a:gd name="connsiteY121" fmla="*/ 95310 h 121584"/>
                  <a:gd name="connsiteX122" fmla="*/ 109417 w 130401"/>
                  <a:gd name="connsiteY122" fmla="*/ 97073 h 121584"/>
                  <a:gd name="connsiteX123" fmla="*/ 110299 w 130401"/>
                  <a:gd name="connsiteY123" fmla="*/ 98220 h 121584"/>
                  <a:gd name="connsiteX124" fmla="*/ 111445 w 130401"/>
                  <a:gd name="connsiteY124" fmla="*/ 99101 h 121584"/>
                  <a:gd name="connsiteX125" fmla="*/ 112326 w 130401"/>
                  <a:gd name="connsiteY125" fmla="*/ 98220 h 121584"/>
                  <a:gd name="connsiteX126" fmla="*/ 112591 w 130401"/>
                  <a:gd name="connsiteY126" fmla="*/ 96809 h 121584"/>
                  <a:gd name="connsiteX127" fmla="*/ 114090 w 130401"/>
                  <a:gd name="connsiteY127" fmla="*/ 95310 h 121584"/>
                  <a:gd name="connsiteX128" fmla="*/ 114354 w 130401"/>
                  <a:gd name="connsiteY128" fmla="*/ 94428 h 121584"/>
                  <a:gd name="connsiteX129" fmla="*/ 119909 w 130401"/>
                  <a:gd name="connsiteY129" fmla="*/ 87463 h 121584"/>
                  <a:gd name="connsiteX130" fmla="*/ 122818 w 130401"/>
                  <a:gd name="connsiteY130" fmla="*/ 86052 h 121584"/>
                  <a:gd name="connsiteX131" fmla="*/ 124582 w 130401"/>
                  <a:gd name="connsiteY131" fmla="*/ 86052 h 121584"/>
                  <a:gd name="connsiteX132" fmla="*/ 127491 w 130401"/>
                  <a:gd name="connsiteY132" fmla="*/ 83407 h 121584"/>
                  <a:gd name="connsiteX133" fmla="*/ 128638 w 130401"/>
                  <a:gd name="connsiteY133" fmla="*/ 84554 h 121584"/>
                  <a:gd name="connsiteX134" fmla="*/ 125993 w 130401"/>
                  <a:gd name="connsiteY134" fmla="*/ 87463 h 121584"/>
                  <a:gd name="connsiteX135" fmla="*/ 124317 w 130401"/>
                  <a:gd name="connsiteY135" fmla="*/ 88962 h 121584"/>
                  <a:gd name="connsiteX136" fmla="*/ 123436 w 130401"/>
                  <a:gd name="connsiteY136" fmla="*/ 90637 h 121584"/>
                  <a:gd name="connsiteX137" fmla="*/ 120526 w 130401"/>
                  <a:gd name="connsiteY137" fmla="*/ 93899 h 121584"/>
                  <a:gd name="connsiteX138" fmla="*/ 119292 w 130401"/>
                  <a:gd name="connsiteY138" fmla="*/ 96544 h 121584"/>
                  <a:gd name="connsiteX139" fmla="*/ 118763 w 130401"/>
                  <a:gd name="connsiteY139" fmla="*/ 97955 h 121584"/>
                  <a:gd name="connsiteX140" fmla="*/ 118498 w 130401"/>
                  <a:gd name="connsiteY140" fmla="*/ 99101 h 121584"/>
                  <a:gd name="connsiteX141" fmla="*/ 118146 w 130401"/>
                  <a:gd name="connsiteY141" fmla="*/ 99983 h 121584"/>
                  <a:gd name="connsiteX142" fmla="*/ 119292 w 130401"/>
                  <a:gd name="connsiteY142" fmla="*/ 101482 h 121584"/>
                  <a:gd name="connsiteX143" fmla="*/ 124582 w 130401"/>
                  <a:gd name="connsiteY143" fmla="*/ 98220 h 121584"/>
                  <a:gd name="connsiteX144" fmla="*/ 128109 w 130401"/>
                  <a:gd name="connsiteY144" fmla="*/ 92401 h 121584"/>
                  <a:gd name="connsiteX145" fmla="*/ 129255 w 130401"/>
                  <a:gd name="connsiteY145" fmla="*/ 93282 h 121584"/>
                  <a:gd name="connsiteX146" fmla="*/ 130401 w 130401"/>
                  <a:gd name="connsiteY146" fmla="*/ 96192 h 121584"/>
                  <a:gd name="connsiteX147" fmla="*/ 128990 w 130401"/>
                  <a:gd name="connsiteY147" fmla="*/ 98572 h 121584"/>
                  <a:gd name="connsiteX148" fmla="*/ 129519 w 130401"/>
                  <a:gd name="connsiteY148" fmla="*/ 99101 h 121584"/>
                  <a:gd name="connsiteX149" fmla="*/ 123700 w 130401"/>
                  <a:gd name="connsiteY149" fmla="*/ 106419 h 121584"/>
                  <a:gd name="connsiteX150" fmla="*/ 118498 w 130401"/>
                  <a:gd name="connsiteY150" fmla="*/ 116911 h 121584"/>
                  <a:gd name="connsiteX151" fmla="*/ 117617 w 130401"/>
                  <a:gd name="connsiteY151" fmla="*/ 118057 h 121584"/>
                  <a:gd name="connsiteX152" fmla="*/ 115853 w 130401"/>
                  <a:gd name="connsiteY152" fmla="*/ 119556 h 121584"/>
                  <a:gd name="connsiteX153" fmla="*/ 113825 w 130401"/>
                  <a:gd name="connsiteY153" fmla="*/ 120967 h 121584"/>
                  <a:gd name="connsiteX154" fmla="*/ 112591 w 130401"/>
                  <a:gd name="connsiteY154" fmla="*/ 120703 h 121584"/>
                  <a:gd name="connsiteX155" fmla="*/ 111445 w 130401"/>
                  <a:gd name="connsiteY155" fmla="*/ 118939 h 121584"/>
                  <a:gd name="connsiteX156" fmla="*/ 108800 w 130401"/>
                  <a:gd name="connsiteY156" fmla="*/ 119556 h 121584"/>
                  <a:gd name="connsiteX157" fmla="*/ 105890 w 130401"/>
                  <a:gd name="connsiteY157" fmla="*/ 121584 h 121584"/>
                  <a:gd name="connsiteX158" fmla="*/ 105009 w 130401"/>
                  <a:gd name="connsiteY158" fmla="*/ 120967 h 121584"/>
                  <a:gd name="connsiteX159" fmla="*/ 104480 w 130401"/>
                  <a:gd name="connsiteY159" fmla="*/ 120174 h 121584"/>
                  <a:gd name="connsiteX160" fmla="*/ 105361 w 130401"/>
                  <a:gd name="connsiteY160" fmla="*/ 118410 h 121584"/>
                  <a:gd name="connsiteX161" fmla="*/ 105361 w 130401"/>
                  <a:gd name="connsiteY161" fmla="*/ 116382 h 121584"/>
                  <a:gd name="connsiteX162" fmla="*/ 106507 w 130401"/>
                  <a:gd name="connsiteY162" fmla="*/ 114002 h 121584"/>
                  <a:gd name="connsiteX163" fmla="*/ 106772 w 130401"/>
                  <a:gd name="connsiteY163" fmla="*/ 111974 h 121584"/>
                  <a:gd name="connsiteX164" fmla="*/ 109152 w 130401"/>
                  <a:gd name="connsiteY164" fmla="*/ 109329 h 121584"/>
                  <a:gd name="connsiteX165" fmla="*/ 109417 w 130401"/>
                  <a:gd name="connsiteY165" fmla="*/ 108447 h 121584"/>
                  <a:gd name="connsiteX166" fmla="*/ 107918 w 130401"/>
                  <a:gd name="connsiteY166" fmla="*/ 108447 h 121584"/>
                  <a:gd name="connsiteX167" fmla="*/ 102099 w 130401"/>
                  <a:gd name="connsiteY167" fmla="*/ 113120 h 121584"/>
                  <a:gd name="connsiteX168" fmla="*/ 96280 w 130401"/>
                  <a:gd name="connsiteY168" fmla="*/ 116911 h 121584"/>
                  <a:gd name="connsiteX169" fmla="*/ 94869 w 130401"/>
                  <a:gd name="connsiteY169" fmla="*/ 115765 h 121584"/>
                  <a:gd name="connsiteX170" fmla="*/ 96015 w 130401"/>
                  <a:gd name="connsiteY170" fmla="*/ 113385 h 121584"/>
                  <a:gd name="connsiteX171" fmla="*/ 101570 w 130401"/>
                  <a:gd name="connsiteY171" fmla="*/ 104656 h 121584"/>
                  <a:gd name="connsiteX172" fmla="*/ 102716 w 130401"/>
                  <a:gd name="connsiteY172" fmla="*/ 104127 h 121584"/>
                  <a:gd name="connsiteX173" fmla="*/ 103862 w 130401"/>
                  <a:gd name="connsiteY173" fmla="*/ 102099 h 121584"/>
                  <a:gd name="connsiteX174" fmla="*/ 103862 w 130401"/>
                  <a:gd name="connsiteY174" fmla="*/ 100865 h 121584"/>
                  <a:gd name="connsiteX175" fmla="*/ 105626 w 130401"/>
                  <a:gd name="connsiteY175" fmla="*/ 97691 h 121584"/>
                  <a:gd name="connsiteX176" fmla="*/ 105009 w 130401"/>
                  <a:gd name="connsiteY176" fmla="*/ 96192 h 121584"/>
                  <a:gd name="connsiteX177" fmla="*/ 105361 w 130401"/>
                  <a:gd name="connsiteY177" fmla="*/ 95046 h 121584"/>
                  <a:gd name="connsiteX178" fmla="*/ 104127 w 130401"/>
                  <a:gd name="connsiteY178" fmla="*/ 92401 h 121584"/>
                  <a:gd name="connsiteX179" fmla="*/ 101834 w 130401"/>
                  <a:gd name="connsiteY179" fmla="*/ 90990 h 121584"/>
                  <a:gd name="connsiteX180" fmla="*/ 98043 w 130401"/>
                  <a:gd name="connsiteY180" fmla="*/ 95310 h 121584"/>
                  <a:gd name="connsiteX181" fmla="*/ 94517 w 130401"/>
                  <a:gd name="connsiteY181" fmla="*/ 99718 h 121584"/>
                  <a:gd name="connsiteX182" fmla="*/ 94517 w 130401"/>
                  <a:gd name="connsiteY182" fmla="*/ 100600 h 121584"/>
                  <a:gd name="connsiteX183" fmla="*/ 93635 w 130401"/>
                  <a:gd name="connsiteY183" fmla="*/ 101746 h 121584"/>
                  <a:gd name="connsiteX184" fmla="*/ 90461 w 130401"/>
                  <a:gd name="connsiteY184" fmla="*/ 102628 h 121584"/>
                  <a:gd name="connsiteX185" fmla="*/ 90461 w 130401"/>
                  <a:gd name="connsiteY185" fmla="*/ 102099 h 121584"/>
                  <a:gd name="connsiteX186" fmla="*/ 88697 w 130401"/>
                  <a:gd name="connsiteY186" fmla="*/ 102363 h 121584"/>
                  <a:gd name="connsiteX187" fmla="*/ 85788 w 130401"/>
                  <a:gd name="connsiteY187" fmla="*/ 102628 h 121584"/>
                  <a:gd name="connsiteX188" fmla="*/ 81996 w 130401"/>
                  <a:gd name="connsiteY188" fmla="*/ 105009 h 121584"/>
                  <a:gd name="connsiteX189" fmla="*/ 80586 w 130401"/>
                  <a:gd name="connsiteY189" fmla="*/ 106419 h 121584"/>
                  <a:gd name="connsiteX190" fmla="*/ 80850 w 130401"/>
                  <a:gd name="connsiteY190" fmla="*/ 107566 h 121584"/>
                  <a:gd name="connsiteX191" fmla="*/ 79704 w 130401"/>
                  <a:gd name="connsiteY191" fmla="*/ 109329 h 121584"/>
                  <a:gd name="connsiteX192" fmla="*/ 73268 w 130401"/>
                  <a:gd name="connsiteY192" fmla="*/ 114266 h 121584"/>
                  <a:gd name="connsiteX193" fmla="*/ 72386 w 130401"/>
                  <a:gd name="connsiteY193" fmla="*/ 114266 h 121584"/>
                  <a:gd name="connsiteX194" fmla="*/ 70887 w 130401"/>
                  <a:gd name="connsiteY194" fmla="*/ 114883 h 121584"/>
                  <a:gd name="connsiteX195" fmla="*/ 68859 w 130401"/>
                  <a:gd name="connsiteY195" fmla="*/ 114002 h 121584"/>
                  <a:gd name="connsiteX196" fmla="*/ 67713 w 130401"/>
                  <a:gd name="connsiteY196" fmla="*/ 114619 h 121584"/>
                  <a:gd name="connsiteX197" fmla="*/ 63922 w 130401"/>
                  <a:gd name="connsiteY197" fmla="*/ 115501 h 121584"/>
                  <a:gd name="connsiteX198" fmla="*/ 61277 w 130401"/>
                  <a:gd name="connsiteY198" fmla="*/ 114619 h 121584"/>
                  <a:gd name="connsiteX199" fmla="*/ 60395 w 130401"/>
                  <a:gd name="connsiteY199" fmla="*/ 114002 h 121584"/>
                  <a:gd name="connsiteX200" fmla="*/ 60748 w 130401"/>
                  <a:gd name="connsiteY200" fmla="*/ 112856 h 121584"/>
                  <a:gd name="connsiteX201" fmla="*/ 61277 w 130401"/>
                  <a:gd name="connsiteY201" fmla="*/ 111974 h 121584"/>
                  <a:gd name="connsiteX202" fmla="*/ 65068 w 130401"/>
                  <a:gd name="connsiteY202" fmla="*/ 109593 h 121584"/>
                  <a:gd name="connsiteX203" fmla="*/ 66215 w 130401"/>
                  <a:gd name="connsiteY203" fmla="*/ 109593 h 121584"/>
                  <a:gd name="connsiteX204" fmla="*/ 71240 w 130401"/>
                  <a:gd name="connsiteY204" fmla="*/ 108447 h 121584"/>
                  <a:gd name="connsiteX205" fmla="*/ 75825 w 130401"/>
                  <a:gd name="connsiteY205" fmla="*/ 105273 h 121584"/>
                  <a:gd name="connsiteX206" fmla="*/ 77324 w 130401"/>
                  <a:gd name="connsiteY206" fmla="*/ 102628 h 121584"/>
                  <a:gd name="connsiteX207" fmla="*/ 79704 w 130401"/>
                  <a:gd name="connsiteY207" fmla="*/ 100600 h 121584"/>
                  <a:gd name="connsiteX208" fmla="*/ 84024 w 130401"/>
                  <a:gd name="connsiteY208" fmla="*/ 99718 h 121584"/>
                  <a:gd name="connsiteX209" fmla="*/ 85788 w 130401"/>
                  <a:gd name="connsiteY209" fmla="*/ 98572 h 121584"/>
                  <a:gd name="connsiteX210" fmla="*/ 87816 w 130401"/>
                  <a:gd name="connsiteY210" fmla="*/ 96809 h 121584"/>
                  <a:gd name="connsiteX211" fmla="*/ 87551 w 130401"/>
                  <a:gd name="connsiteY211" fmla="*/ 96192 h 121584"/>
                  <a:gd name="connsiteX212" fmla="*/ 85523 w 130401"/>
                  <a:gd name="connsiteY212" fmla="*/ 97073 h 121584"/>
                  <a:gd name="connsiteX213" fmla="*/ 83760 w 130401"/>
                  <a:gd name="connsiteY213" fmla="*/ 96809 h 121584"/>
                  <a:gd name="connsiteX214" fmla="*/ 82261 w 130401"/>
                  <a:gd name="connsiteY214" fmla="*/ 97691 h 121584"/>
                  <a:gd name="connsiteX215" fmla="*/ 81732 w 130401"/>
                  <a:gd name="connsiteY215" fmla="*/ 97691 h 121584"/>
                  <a:gd name="connsiteX216" fmla="*/ 81996 w 130401"/>
                  <a:gd name="connsiteY216" fmla="*/ 96809 h 121584"/>
                  <a:gd name="connsiteX217" fmla="*/ 77941 w 130401"/>
                  <a:gd name="connsiteY217" fmla="*/ 96192 h 121584"/>
                  <a:gd name="connsiteX218" fmla="*/ 77588 w 130401"/>
                  <a:gd name="connsiteY218" fmla="*/ 94781 h 121584"/>
                  <a:gd name="connsiteX219" fmla="*/ 76442 w 130401"/>
                  <a:gd name="connsiteY219" fmla="*/ 94781 h 121584"/>
                  <a:gd name="connsiteX220" fmla="*/ 76442 w 130401"/>
                  <a:gd name="connsiteY220" fmla="*/ 95310 h 121584"/>
                  <a:gd name="connsiteX221" fmla="*/ 76177 w 130401"/>
                  <a:gd name="connsiteY221" fmla="*/ 97691 h 121584"/>
                  <a:gd name="connsiteX222" fmla="*/ 75296 w 130401"/>
                  <a:gd name="connsiteY222" fmla="*/ 99718 h 121584"/>
                  <a:gd name="connsiteX223" fmla="*/ 71504 w 130401"/>
                  <a:gd name="connsiteY223" fmla="*/ 101746 h 121584"/>
                  <a:gd name="connsiteX224" fmla="*/ 70623 w 130401"/>
                  <a:gd name="connsiteY224" fmla="*/ 100600 h 121584"/>
                  <a:gd name="connsiteX225" fmla="*/ 69741 w 130401"/>
                  <a:gd name="connsiteY225" fmla="*/ 99983 h 121584"/>
                  <a:gd name="connsiteX226" fmla="*/ 68595 w 130401"/>
                  <a:gd name="connsiteY226" fmla="*/ 100600 h 121584"/>
                  <a:gd name="connsiteX227" fmla="*/ 67713 w 130401"/>
                  <a:gd name="connsiteY227" fmla="*/ 100336 h 121584"/>
                  <a:gd name="connsiteX228" fmla="*/ 65686 w 130401"/>
                  <a:gd name="connsiteY228" fmla="*/ 100865 h 121584"/>
                  <a:gd name="connsiteX229" fmla="*/ 65686 w 130401"/>
                  <a:gd name="connsiteY229" fmla="*/ 100336 h 121584"/>
                  <a:gd name="connsiteX230" fmla="*/ 67096 w 130401"/>
                  <a:gd name="connsiteY230" fmla="*/ 99718 h 121584"/>
                  <a:gd name="connsiteX231" fmla="*/ 67713 w 130401"/>
                  <a:gd name="connsiteY231" fmla="*/ 98572 h 121584"/>
                  <a:gd name="connsiteX232" fmla="*/ 67449 w 130401"/>
                  <a:gd name="connsiteY232" fmla="*/ 98220 h 121584"/>
                  <a:gd name="connsiteX233" fmla="*/ 61542 w 130401"/>
                  <a:gd name="connsiteY233" fmla="*/ 100600 h 121584"/>
                  <a:gd name="connsiteX234" fmla="*/ 60748 w 130401"/>
                  <a:gd name="connsiteY234" fmla="*/ 99983 h 121584"/>
                  <a:gd name="connsiteX235" fmla="*/ 60748 w 130401"/>
                  <a:gd name="connsiteY235" fmla="*/ 99718 h 121584"/>
                  <a:gd name="connsiteX236" fmla="*/ 61277 w 130401"/>
                  <a:gd name="connsiteY236" fmla="*/ 99454 h 121584"/>
                  <a:gd name="connsiteX237" fmla="*/ 63922 w 130401"/>
                  <a:gd name="connsiteY237" fmla="*/ 98572 h 121584"/>
                  <a:gd name="connsiteX238" fmla="*/ 67978 w 130401"/>
                  <a:gd name="connsiteY238" fmla="*/ 97073 h 121584"/>
                  <a:gd name="connsiteX239" fmla="*/ 67096 w 130401"/>
                  <a:gd name="connsiteY239" fmla="*/ 95927 h 121584"/>
                  <a:gd name="connsiteX240" fmla="*/ 67449 w 130401"/>
                  <a:gd name="connsiteY240" fmla="*/ 95310 h 121584"/>
                  <a:gd name="connsiteX241" fmla="*/ 68595 w 130401"/>
                  <a:gd name="connsiteY241" fmla="*/ 94164 h 121584"/>
                  <a:gd name="connsiteX242" fmla="*/ 69741 w 130401"/>
                  <a:gd name="connsiteY242" fmla="*/ 92401 h 121584"/>
                  <a:gd name="connsiteX243" fmla="*/ 69124 w 130401"/>
                  <a:gd name="connsiteY243" fmla="*/ 92401 h 121584"/>
                  <a:gd name="connsiteX244" fmla="*/ 64539 w 130401"/>
                  <a:gd name="connsiteY244" fmla="*/ 94781 h 121584"/>
                  <a:gd name="connsiteX245" fmla="*/ 63658 w 130401"/>
                  <a:gd name="connsiteY245" fmla="*/ 94781 h 121584"/>
                  <a:gd name="connsiteX246" fmla="*/ 63658 w 130401"/>
                  <a:gd name="connsiteY246" fmla="*/ 93899 h 121584"/>
                  <a:gd name="connsiteX247" fmla="*/ 63305 w 130401"/>
                  <a:gd name="connsiteY247" fmla="*/ 93018 h 121584"/>
                  <a:gd name="connsiteX248" fmla="*/ 63040 w 130401"/>
                  <a:gd name="connsiteY248" fmla="*/ 93282 h 121584"/>
                  <a:gd name="connsiteX249" fmla="*/ 61894 w 130401"/>
                  <a:gd name="connsiteY249" fmla="*/ 95927 h 121584"/>
                  <a:gd name="connsiteX250" fmla="*/ 60395 w 130401"/>
                  <a:gd name="connsiteY250" fmla="*/ 96544 h 121584"/>
                  <a:gd name="connsiteX251" fmla="*/ 58632 w 130401"/>
                  <a:gd name="connsiteY251" fmla="*/ 96544 h 121584"/>
                  <a:gd name="connsiteX252" fmla="*/ 57750 w 130401"/>
                  <a:gd name="connsiteY252" fmla="*/ 97073 h 121584"/>
                  <a:gd name="connsiteX253" fmla="*/ 52284 w 130401"/>
                  <a:gd name="connsiteY253" fmla="*/ 96809 h 121584"/>
                  <a:gd name="connsiteX254" fmla="*/ 48140 w 130401"/>
                  <a:gd name="connsiteY254" fmla="*/ 99101 h 121584"/>
                  <a:gd name="connsiteX255" fmla="*/ 45495 w 130401"/>
                  <a:gd name="connsiteY255" fmla="*/ 97691 h 121584"/>
                  <a:gd name="connsiteX256" fmla="*/ 42585 w 130401"/>
                  <a:gd name="connsiteY256" fmla="*/ 97691 h 121584"/>
                  <a:gd name="connsiteX257" fmla="*/ 42056 w 130401"/>
                  <a:gd name="connsiteY257" fmla="*/ 97691 h 121584"/>
                  <a:gd name="connsiteX258" fmla="*/ 39411 w 130401"/>
                  <a:gd name="connsiteY258" fmla="*/ 97691 h 121584"/>
                  <a:gd name="connsiteX259" fmla="*/ 39147 w 130401"/>
                  <a:gd name="connsiteY259" fmla="*/ 97691 h 121584"/>
                  <a:gd name="connsiteX260" fmla="*/ 38794 w 130401"/>
                  <a:gd name="connsiteY260" fmla="*/ 96809 h 121584"/>
                  <a:gd name="connsiteX261" fmla="*/ 32446 w 130401"/>
                  <a:gd name="connsiteY261" fmla="*/ 96192 h 121584"/>
                  <a:gd name="connsiteX262" fmla="*/ 29801 w 130401"/>
                  <a:gd name="connsiteY262" fmla="*/ 96544 h 121584"/>
                  <a:gd name="connsiteX263" fmla="*/ 29184 w 130401"/>
                  <a:gd name="connsiteY263" fmla="*/ 96192 h 121584"/>
                  <a:gd name="connsiteX264" fmla="*/ 18956 w 130401"/>
                  <a:gd name="connsiteY264" fmla="*/ 95310 h 121584"/>
                  <a:gd name="connsiteX265" fmla="*/ 15782 w 130401"/>
                  <a:gd name="connsiteY265" fmla="*/ 95927 h 121584"/>
                  <a:gd name="connsiteX266" fmla="*/ 12255 w 130401"/>
                  <a:gd name="connsiteY266" fmla="*/ 96809 h 121584"/>
                  <a:gd name="connsiteX267" fmla="*/ 10228 w 130401"/>
                  <a:gd name="connsiteY267" fmla="*/ 96809 h 121584"/>
                  <a:gd name="connsiteX268" fmla="*/ 2645 w 130401"/>
                  <a:gd name="connsiteY268" fmla="*/ 97691 h 121584"/>
                  <a:gd name="connsiteX269" fmla="*/ 353 w 130401"/>
                  <a:gd name="connsiteY269" fmla="*/ 96544 h 121584"/>
                  <a:gd name="connsiteX270" fmla="*/ 617 w 130401"/>
                  <a:gd name="connsiteY270" fmla="*/ 95663 h 121584"/>
                  <a:gd name="connsiteX271" fmla="*/ 1499 w 130401"/>
                  <a:gd name="connsiteY271" fmla="*/ 91871 h 121584"/>
                  <a:gd name="connsiteX272" fmla="*/ 617 w 130401"/>
                  <a:gd name="connsiteY272" fmla="*/ 91519 h 121584"/>
                  <a:gd name="connsiteX273" fmla="*/ 0 w 130401"/>
                  <a:gd name="connsiteY273" fmla="*/ 89844 h 121584"/>
                  <a:gd name="connsiteX274" fmla="*/ 17810 w 130401"/>
                  <a:gd name="connsiteY274" fmla="*/ 78470 h 121584"/>
                  <a:gd name="connsiteX275" fmla="*/ 23365 w 130401"/>
                  <a:gd name="connsiteY275" fmla="*/ 76089 h 121584"/>
                  <a:gd name="connsiteX276" fmla="*/ 23629 w 130401"/>
                  <a:gd name="connsiteY276" fmla="*/ 75208 h 121584"/>
                  <a:gd name="connsiteX277" fmla="*/ 21601 w 130401"/>
                  <a:gd name="connsiteY277" fmla="*/ 75472 h 121584"/>
                  <a:gd name="connsiteX278" fmla="*/ 19838 w 130401"/>
                  <a:gd name="connsiteY278" fmla="*/ 74062 h 121584"/>
                  <a:gd name="connsiteX279" fmla="*/ 17810 w 130401"/>
                  <a:gd name="connsiteY279" fmla="*/ 74591 h 121584"/>
                  <a:gd name="connsiteX280" fmla="*/ 12255 w 130401"/>
                  <a:gd name="connsiteY280" fmla="*/ 75208 h 121584"/>
                  <a:gd name="connsiteX281" fmla="*/ 7582 w 130401"/>
                  <a:gd name="connsiteY281" fmla="*/ 76707 h 121584"/>
                  <a:gd name="connsiteX282" fmla="*/ 7935 w 130401"/>
                  <a:gd name="connsiteY282" fmla="*/ 76089 h 121584"/>
                  <a:gd name="connsiteX283" fmla="*/ 9081 w 130401"/>
                  <a:gd name="connsiteY283" fmla="*/ 74326 h 121584"/>
                  <a:gd name="connsiteX284" fmla="*/ 16928 w 130401"/>
                  <a:gd name="connsiteY284" fmla="*/ 70270 h 121584"/>
                  <a:gd name="connsiteX285" fmla="*/ 14900 w 130401"/>
                  <a:gd name="connsiteY285" fmla="*/ 72298 h 121584"/>
                  <a:gd name="connsiteX286" fmla="*/ 15782 w 130401"/>
                  <a:gd name="connsiteY286" fmla="*/ 73444 h 121584"/>
                  <a:gd name="connsiteX287" fmla="*/ 16664 w 130401"/>
                  <a:gd name="connsiteY287" fmla="*/ 72915 h 121584"/>
                  <a:gd name="connsiteX288" fmla="*/ 16928 w 130401"/>
                  <a:gd name="connsiteY288" fmla="*/ 73444 h 121584"/>
                  <a:gd name="connsiteX289" fmla="*/ 19309 w 130401"/>
                  <a:gd name="connsiteY289" fmla="*/ 73797 h 121584"/>
                  <a:gd name="connsiteX290" fmla="*/ 22747 w 130401"/>
                  <a:gd name="connsiteY290" fmla="*/ 67890 h 121584"/>
                  <a:gd name="connsiteX291" fmla="*/ 26274 w 130401"/>
                  <a:gd name="connsiteY291" fmla="*/ 64716 h 121584"/>
                  <a:gd name="connsiteX292" fmla="*/ 26010 w 130401"/>
                  <a:gd name="connsiteY292" fmla="*/ 63834 h 121584"/>
                  <a:gd name="connsiteX293" fmla="*/ 29448 w 130401"/>
                  <a:gd name="connsiteY293" fmla="*/ 60043 h 121584"/>
                  <a:gd name="connsiteX294" fmla="*/ 30065 w 130401"/>
                  <a:gd name="connsiteY294" fmla="*/ 60043 h 121584"/>
                  <a:gd name="connsiteX295" fmla="*/ 29184 w 130401"/>
                  <a:gd name="connsiteY295" fmla="*/ 61189 h 121584"/>
                  <a:gd name="connsiteX296" fmla="*/ 30065 w 130401"/>
                  <a:gd name="connsiteY296" fmla="*/ 61806 h 121584"/>
                  <a:gd name="connsiteX297" fmla="*/ 32446 w 130401"/>
                  <a:gd name="connsiteY297" fmla="*/ 61806 h 121584"/>
                  <a:gd name="connsiteX298" fmla="*/ 33857 w 130401"/>
                  <a:gd name="connsiteY298" fmla="*/ 62952 h 121584"/>
                  <a:gd name="connsiteX299" fmla="*/ 34474 w 130401"/>
                  <a:gd name="connsiteY299" fmla="*/ 62952 h 121584"/>
                  <a:gd name="connsiteX300" fmla="*/ 34121 w 130401"/>
                  <a:gd name="connsiteY300" fmla="*/ 61189 h 121584"/>
                  <a:gd name="connsiteX301" fmla="*/ 34738 w 130401"/>
                  <a:gd name="connsiteY301" fmla="*/ 60043 h 121584"/>
                  <a:gd name="connsiteX302" fmla="*/ 36149 w 130401"/>
                  <a:gd name="connsiteY302" fmla="*/ 60307 h 121584"/>
                  <a:gd name="connsiteX303" fmla="*/ 36502 w 130401"/>
                  <a:gd name="connsiteY303" fmla="*/ 60307 h 121584"/>
                  <a:gd name="connsiteX304" fmla="*/ 35885 w 130401"/>
                  <a:gd name="connsiteY304" fmla="*/ 59161 h 121584"/>
                  <a:gd name="connsiteX305" fmla="*/ 36149 w 130401"/>
                  <a:gd name="connsiteY305" fmla="*/ 58897 h 121584"/>
                  <a:gd name="connsiteX306" fmla="*/ 37031 w 130401"/>
                  <a:gd name="connsiteY306" fmla="*/ 58897 h 121584"/>
                  <a:gd name="connsiteX307" fmla="*/ 37031 w 130401"/>
                  <a:gd name="connsiteY307" fmla="*/ 58632 h 121584"/>
                  <a:gd name="connsiteX308" fmla="*/ 33857 w 130401"/>
                  <a:gd name="connsiteY308" fmla="*/ 57750 h 121584"/>
                  <a:gd name="connsiteX309" fmla="*/ 33592 w 130401"/>
                  <a:gd name="connsiteY309" fmla="*/ 56251 h 121584"/>
                  <a:gd name="connsiteX310" fmla="*/ 34121 w 130401"/>
                  <a:gd name="connsiteY310" fmla="*/ 54841 h 121584"/>
                  <a:gd name="connsiteX311" fmla="*/ 35003 w 130401"/>
                  <a:gd name="connsiteY311" fmla="*/ 53342 h 121584"/>
                  <a:gd name="connsiteX312" fmla="*/ 38265 w 130401"/>
                  <a:gd name="connsiteY312" fmla="*/ 50697 h 121584"/>
                  <a:gd name="connsiteX313" fmla="*/ 39676 w 130401"/>
                  <a:gd name="connsiteY313" fmla="*/ 50168 h 121584"/>
                  <a:gd name="connsiteX314" fmla="*/ 41439 w 130401"/>
                  <a:gd name="connsiteY314" fmla="*/ 50168 h 121584"/>
                  <a:gd name="connsiteX315" fmla="*/ 41439 w 130401"/>
                  <a:gd name="connsiteY315" fmla="*/ 50697 h 121584"/>
                  <a:gd name="connsiteX316" fmla="*/ 42938 w 130401"/>
                  <a:gd name="connsiteY316" fmla="*/ 51050 h 121584"/>
                  <a:gd name="connsiteX317" fmla="*/ 43202 w 130401"/>
                  <a:gd name="connsiteY317" fmla="*/ 50697 h 121584"/>
                  <a:gd name="connsiteX318" fmla="*/ 42056 w 130401"/>
                  <a:gd name="connsiteY318" fmla="*/ 50168 h 121584"/>
                  <a:gd name="connsiteX319" fmla="*/ 41439 w 130401"/>
                  <a:gd name="connsiteY319" fmla="*/ 47170 h 121584"/>
                  <a:gd name="connsiteX320" fmla="*/ 46377 w 130401"/>
                  <a:gd name="connsiteY320" fmla="*/ 42233 h 121584"/>
                  <a:gd name="connsiteX321" fmla="*/ 45848 w 130401"/>
                  <a:gd name="connsiteY321" fmla="*/ 41968 h 121584"/>
                  <a:gd name="connsiteX322" fmla="*/ 47611 w 130401"/>
                  <a:gd name="connsiteY322" fmla="*/ 39940 h 121584"/>
                  <a:gd name="connsiteX323" fmla="*/ 58367 w 130401"/>
                  <a:gd name="connsiteY323" fmla="*/ 26803 h 121584"/>
                  <a:gd name="connsiteX324" fmla="*/ 60395 w 130401"/>
                  <a:gd name="connsiteY324" fmla="*/ 24775 h 121584"/>
                  <a:gd name="connsiteX325" fmla="*/ 62423 w 130401"/>
                  <a:gd name="connsiteY325" fmla="*/ 23894 h 121584"/>
                  <a:gd name="connsiteX326" fmla="*/ 61277 w 130401"/>
                  <a:gd name="connsiteY326" fmla="*/ 21866 h 121584"/>
                  <a:gd name="connsiteX327" fmla="*/ 68859 w 130401"/>
                  <a:gd name="connsiteY327" fmla="*/ 18956 h 121584"/>
                  <a:gd name="connsiteX328" fmla="*/ 70623 w 130401"/>
                  <a:gd name="connsiteY328" fmla="*/ 16311 h 121584"/>
                  <a:gd name="connsiteX329" fmla="*/ 69741 w 130401"/>
                  <a:gd name="connsiteY329" fmla="*/ 15694 h 121584"/>
                  <a:gd name="connsiteX330" fmla="*/ 69477 w 130401"/>
                  <a:gd name="connsiteY330" fmla="*/ 14283 h 121584"/>
                  <a:gd name="connsiteX331" fmla="*/ 71240 w 130401"/>
                  <a:gd name="connsiteY331" fmla="*/ 14812 h 121584"/>
                  <a:gd name="connsiteX332" fmla="*/ 71504 w 130401"/>
                  <a:gd name="connsiteY332" fmla="*/ 13931 h 121584"/>
                  <a:gd name="connsiteX333" fmla="*/ 75296 w 130401"/>
                  <a:gd name="connsiteY333" fmla="*/ 11638 h 121584"/>
                  <a:gd name="connsiteX334" fmla="*/ 76442 w 130401"/>
                  <a:gd name="connsiteY334" fmla="*/ 9346 h 121584"/>
                  <a:gd name="connsiteX335" fmla="*/ 79087 w 130401"/>
                  <a:gd name="connsiteY335" fmla="*/ 6965 h 121584"/>
                  <a:gd name="connsiteX336" fmla="*/ 81115 w 130401"/>
                  <a:gd name="connsiteY336" fmla="*/ 6084 h 121584"/>
                  <a:gd name="connsiteX337" fmla="*/ 81732 w 130401"/>
                  <a:gd name="connsiteY337" fmla="*/ 5555 h 121584"/>
                  <a:gd name="connsiteX338" fmla="*/ 95398 w 130401"/>
                  <a:gd name="connsiteY338" fmla="*/ 0 h 121584"/>
                  <a:gd name="connsiteX339" fmla="*/ 96897 w 130401"/>
                  <a:gd name="connsiteY339" fmla="*/ 264 h 121584"/>
                  <a:gd name="connsiteX340" fmla="*/ 95663 w 130401"/>
                  <a:gd name="connsiteY340" fmla="*/ 2910 h 121584"/>
                  <a:gd name="connsiteX341" fmla="*/ 98043 w 130401"/>
                  <a:gd name="connsiteY341" fmla="*/ 3439 h 121584"/>
                  <a:gd name="connsiteX342" fmla="*/ 98925 w 130401"/>
                  <a:gd name="connsiteY342" fmla="*/ 2910 h 121584"/>
                  <a:gd name="connsiteX343" fmla="*/ 98308 w 130401"/>
                  <a:gd name="connsiteY343" fmla="*/ 1411 h 121584"/>
                  <a:gd name="connsiteX344" fmla="*/ 100071 w 130401"/>
                  <a:gd name="connsiteY344" fmla="*/ 529 h 121584"/>
                  <a:gd name="connsiteX345" fmla="*/ 102099 w 130401"/>
                  <a:gd name="connsiteY345" fmla="*/ 529 h 121584"/>
                  <a:gd name="connsiteX346" fmla="*/ 102981 w 130401"/>
                  <a:gd name="connsiteY346" fmla="*/ 529 h 121584"/>
                  <a:gd name="connsiteX347" fmla="*/ 105009 w 130401"/>
                  <a:gd name="connsiteY347" fmla="*/ 882 h 121584"/>
                  <a:gd name="connsiteX348" fmla="*/ 101834 w 130401"/>
                  <a:gd name="connsiteY348" fmla="*/ 6348 h 121584"/>
                  <a:gd name="connsiteX349" fmla="*/ 100688 w 130401"/>
                  <a:gd name="connsiteY349" fmla="*/ 6348 h 121584"/>
                  <a:gd name="connsiteX350" fmla="*/ 99189 w 130401"/>
                  <a:gd name="connsiteY350" fmla="*/ 7582 h 121584"/>
                  <a:gd name="connsiteX351" fmla="*/ 98572 w 130401"/>
                  <a:gd name="connsiteY351" fmla="*/ 7847 h 121584"/>
                  <a:gd name="connsiteX352" fmla="*/ 91078 w 130401"/>
                  <a:gd name="connsiteY352" fmla="*/ 6348 h 121584"/>
                  <a:gd name="connsiteX353" fmla="*/ 89844 w 130401"/>
                  <a:gd name="connsiteY353" fmla="*/ 7230 h 121584"/>
                  <a:gd name="connsiteX354" fmla="*/ 91078 w 130401"/>
                  <a:gd name="connsiteY354" fmla="*/ 7847 h 121584"/>
                  <a:gd name="connsiteX355" fmla="*/ 89844 w 130401"/>
                  <a:gd name="connsiteY355" fmla="*/ 9346 h 121584"/>
                  <a:gd name="connsiteX356" fmla="*/ 90461 w 130401"/>
                  <a:gd name="connsiteY356" fmla="*/ 9875 h 121584"/>
                  <a:gd name="connsiteX357" fmla="*/ 92753 w 130401"/>
                  <a:gd name="connsiteY357" fmla="*/ 9875 h 121584"/>
                  <a:gd name="connsiteX358" fmla="*/ 93370 w 130401"/>
                  <a:gd name="connsiteY358" fmla="*/ 9610 h 121584"/>
                  <a:gd name="connsiteX359" fmla="*/ 94517 w 130401"/>
                  <a:gd name="connsiteY359" fmla="*/ 9610 h 121584"/>
                  <a:gd name="connsiteX360" fmla="*/ 96015 w 130401"/>
                  <a:gd name="connsiteY360" fmla="*/ 10757 h 121584"/>
                  <a:gd name="connsiteX361" fmla="*/ 95663 w 130401"/>
                  <a:gd name="connsiteY361" fmla="*/ 11638 h 121584"/>
                  <a:gd name="connsiteX362" fmla="*/ 91078 w 130401"/>
                  <a:gd name="connsiteY362" fmla="*/ 17193 h 121584"/>
                  <a:gd name="connsiteX363" fmla="*/ 86669 w 130401"/>
                  <a:gd name="connsiteY363" fmla="*/ 20632 h 121584"/>
                  <a:gd name="connsiteX364" fmla="*/ 85523 w 130401"/>
                  <a:gd name="connsiteY364" fmla="*/ 20984 h 121584"/>
                  <a:gd name="connsiteX365" fmla="*/ 83760 w 130401"/>
                  <a:gd name="connsiteY365" fmla="*/ 21601 h 121584"/>
                  <a:gd name="connsiteX366" fmla="*/ 84906 w 130401"/>
                  <a:gd name="connsiteY366" fmla="*/ 22747 h 121584"/>
                  <a:gd name="connsiteX367" fmla="*/ 84024 w 130401"/>
                  <a:gd name="connsiteY367" fmla="*/ 23629 h 121584"/>
                  <a:gd name="connsiteX368" fmla="*/ 79969 w 130401"/>
                  <a:gd name="connsiteY368" fmla="*/ 27068 h 121584"/>
                  <a:gd name="connsiteX369" fmla="*/ 76707 w 130401"/>
                  <a:gd name="connsiteY369" fmla="*/ 30330 h 121584"/>
                  <a:gd name="connsiteX370" fmla="*/ 70887 w 130401"/>
                  <a:gd name="connsiteY370" fmla="*/ 36149 h 121584"/>
                  <a:gd name="connsiteX371" fmla="*/ 66567 w 130401"/>
                  <a:gd name="connsiteY371" fmla="*/ 39940 h 121584"/>
                  <a:gd name="connsiteX372" fmla="*/ 67096 w 130401"/>
                  <a:gd name="connsiteY372" fmla="*/ 40205 h 121584"/>
                  <a:gd name="connsiteX373" fmla="*/ 66567 w 130401"/>
                  <a:gd name="connsiteY373" fmla="*/ 42233 h 121584"/>
                  <a:gd name="connsiteX374" fmla="*/ 63305 w 130401"/>
                  <a:gd name="connsiteY374" fmla="*/ 44613 h 121584"/>
                  <a:gd name="connsiteX375" fmla="*/ 63305 w 130401"/>
                  <a:gd name="connsiteY375" fmla="*/ 44878 h 121584"/>
                  <a:gd name="connsiteX376" fmla="*/ 64187 w 130401"/>
                  <a:gd name="connsiteY376" fmla="*/ 45495 h 121584"/>
                  <a:gd name="connsiteX377" fmla="*/ 62776 w 130401"/>
                  <a:gd name="connsiteY377" fmla="*/ 48052 h 121584"/>
                  <a:gd name="connsiteX378" fmla="*/ 64187 w 130401"/>
                  <a:gd name="connsiteY378" fmla="*/ 48404 h 121584"/>
                  <a:gd name="connsiteX379" fmla="*/ 72122 w 130401"/>
                  <a:gd name="connsiteY379" fmla="*/ 41704 h 121584"/>
                  <a:gd name="connsiteX380" fmla="*/ 73268 w 130401"/>
                  <a:gd name="connsiteY380" fmla="*/ 41351 h 121584"/>
                  <a:gd name="connsiteX381" fmla="*/ 74414 w 130401"/>
                  <a:gd name="connsiteY381" fmla="*/ 39940 h 121584"/>
                  <a:gd name="connsiteX382" fmla="*/ 79969 w 130401"/>
                  <a:gd name="connsiteY382" fmla="*/ 35532 h 121584"/>
                  <a:gd name="connsiteX383" fmla="*/ 80233 w 130401"/>
                  <a:gd name="connsiteY383" fmla="*/ 35885 h 121584"/>
                  <a:gd name="connsiteX384" fmla="*/ 80850 w 130401"/>
                  <a:gd name="connsiteY384" fmla="*/ 36678 h 121584"/>
                  <a:gd name="connsiteX385" fmla="*/ 79087 w 130401"/>
                  <a:gd name="connsiteY385" fmla="*/ 38794 h 121584"/>
                  <a:gd name="connsiteX386" fmla="*/ 82261 w 130401"/>
                  <a:gd name="connsiteY386" fmla="*/ 38441 h 121584"/>
                  <a:gd name="connsiteX387" fmla="*/ 83760 w 130401"/>
                  <a:gd name="connsiteY387" fmla="*/ 38177 h 121584"/>
                  <a:gd name="connsiteX388" fmla="*/ 84289 w 130401"/>
                  <a:gd name="connsiteY388" fmla="*/ 39323 h 121584"/>
                  <a:gd name="connsiteX389" fmla="*/ 86405 w 130401"/>
                  <a:gd name="connsiteY389" fmla="*/ 40822 h 121584"/>
                  <a:gd name="connsiteX390" fmla="*/ 87551 w 130401"/>
                  <a:gd name="connsiteY390" fmla="*/ 39940 h 121584"/>
                  <a:gd name="connsiteX391" fmla="*/ 90725 w 130401"/>
                  <a:gd name="connsiteY391" fmla="*/ 39059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</a:cxnLst>
                <a:rect l="l" t="t" r="r" b="b"/>
                <a:pathLst>
                  <a:path w="130401" h="121584">
                    <a:moveTo>
                      <a:pt x="90725" y="39059"/>
                    </a:moveTo>
                    <a:lnTo>
                      <a:pt x="91342" y="39940"/>
                    </a:lnTo>
                    <a:lnTo>
                      <a:pt x="91342" y="40469"/>
                    </a:lnTo>
                    <a:lnTo>
                      <a:pt x="82614" y="44613"/>
                    </a:lnTo>
                    <a:lnTo>
                      <a:pt x="78205" y="46377"/>
                    </a:lnTo>
                    <a:lnTo>
                      <a:pt x="78823" y="46641"/>
                    </a:lnTo>
                    <a:lnTo>
                      <a:pt x="80586" y="46377"/>
                    </a:lnTo>
                    <a:lnTo>
                      <a:pt x="81732" y="47170"/>
                    </a:lnTo>
                    <a:lnTo>
                      <a:pt x="81115" y="48052"/>
                    </a:lnTo>
                    <a:lnTo>
                      <a:pt x="81732" y="48933"/>
                    </a:lnTo>
                    <a:lnTo>
                      <a:pt x="81380" y="48933"/>
                    </a:lnTo>
                    <a:lnTo>
                      <a:pt x="77941" y="50697"/>
                    </a:lnTo>
                    <a:lnTo>
                      <a:pt x="75296" y="52460"/>
                    </a:lnTo>
                    <a:lnTo>
                      <a:pt x="75825" y="53077"/>
                    </a:lnTo>
                    <a:lnTo>
                      <a:pt x="77324" y="52196"/>
                    </a:lnTo>
                    <a:lnTo>
                      <a:pt x="81996" y="49815"/>
                    </a:lnTo>
                    <a:lnTo>
                      <a:pt x="83143" y="50168"/>
                    </a:lnTo>
                    <a:lnTo>
                      <a:pt x="82261" y="51314"/>
                    </a:lnTo>
                    <a:lnTo>
                      <a:pt x="83760" y="53342"/>
                    </a:lnTo>
                    <a:lnTo>
                      <a:pt x="85523" y="52196"/>
                    </a:lnTo>
                    <a:lnTo>
                      <a:pt x="86052" y="51843"/>
                    </a:lnTo>
                    <a:lnTo>
                      <a:pt x="86669" y="51843"/>
                    </a:lnTo>
                    <a:lnTo>
                      <a:pt x="89315" y="51579"/>
                    </a:lnTo>
                    <a:lnTo>
                      <a:pt x="90196" y="51579"/>
                    </a:lnTo>
                    <a:lnTo>
                      <a:pt x="89844" y="52460"/>
                    </a:lnTo>
                    <a:lnTo>
                      <a:pt x="88433" y="53959"/>
                    </a:lnTo>
                    <a:lnTo>
                      <a:pt x="89579" y="54224"/>
                    </a:lnTo>
                    <a:lnTo>
                      <a:pt x="91342" y="54224"/>
                    </a:lnTo>
                    <a:lnTo>
                      <a:pt x="91078" y="51314"/>
                    </a:lnTo>
                    <a:lnTo>
                      <a:pt x="91342" y="50168"/>
                    </a:lnTo>
                    <a:lnTo>
                      <a:pt x="93106" y="50432"/>
                    </a:lnTo>
                    <a:lnTo>
                      <a:pt x="93635" y="50168"/>
                    </a:lnTo>
                    <a:lnTo>
                      <a:pt x="94517" y="50697"/>
                    </a:lnTo>
                    <a:lnTo>
                      <a:pt x="93988" y="51843"/>
                    </a:lnTo>
                    <a:lnTo>
                      <a:pt x="90461" y="56869"/>
                    </a:lnTo>
                    <a:lnTo>
                      <a:pt x="88962" y="57750"/>
                    </a:lnTo>
                    <a:lnTo>
                      <a:pt x="90196" y="58632"/>
                    </a:lnTo>
                    <a:lnTo>
                      <a:pt x="91342" y="57398"/>
                    </a:lnTo>
                    <a:lnTo>
                      <a:pt x="94252" y="56516"/>
                    </a:lnTo>
                    <a:lnTo>
                      <a:pt x="94869" y="56251"/>
                    </a:lnTo>
                    <a:lnTo>
                      <a:pt x="94517" y="55634"/>
                    </a:lnTo>
                    <a:lnTo>
                      <a:pt x="95134" y="54841"/>
                    </a:lnTo>
                    <a:lnTo>
                      <a:pt x="95398" y="56516"/>
                    </a:lnTo>
                    <a:lnTo>
                      <a:pt x="96544" y="55987"/>
                    </a:lnTo>
                    <a:lnTo>
                      <a:pt x="98043" y="55987"/>
                    </a:lnTo>
                    <a:lnTo>
                      <a:pt x="99189" y="53606"/>
                    </a:lnTo>
                    <a:lnTo>
                      <a:pt x="99454" y="53959"/>
                    </a:lnTo>
                    <a:lnTo>
                      <a:pt x="99189" y="55105"/>
                    </a:lnTo>
                    <a:lnTo>
                      <a:pt x="99189" y="55634"/>
                    </a:lnTo>
                    <a:lnTo>
                      <a:pt x="99807" y="55634"/>
                    </a:lnTo>
                    <a:lnTo>
                      <a:pt x="100953" y="54841"/>
                    </a:lnTo>
                    <a:lnTo>
                      <a:pt x="106243" y="50168"/>
                    </a:lnTo>
                    <a:lnTo>
                      <a:pt x="107654" y="49815"/>
                    </a:lnTo>
                    <a:lnTo>
                      <a:pt x="107918" y="50168"/>
                    </a:lnTo>
                    <a:lnTo>
                      <a:pt x="107654" y="50697"/>
                    </a:lnTo>
                    <a:lnTo>
                      <a:pt x="106507" y="51579"/>
                    </a:lnTo>
                    <a:lnTo>
                      <a:pt x="107654" y="52460"/>
                    </a:lnTo>
                    <a:lnTo>
                      <a:pt x="106243" y="54488"/>
                    </a:lnTo>
                    <a:lnTo>
                      <a:pt x="107036" y="55370"/>
                    </a:lnTo>
                    <a:lnTo>
                      <a:pt x="109417" y="52460"/>
                    </a:lnTo>
                    <a:lnTo>
                      <a:pt x="112326" y="53342"/>
                    </a:lnTo>
                    <a:lnTo>
                      <a:pt x="113208" y="52460"/>
                    </a:lnTo>
                    <a:lnTo>
                      <a:pt x="115853" y="51843"/>
                    </a:lnTo>
                    <a:lnTo>
                      <a:pt x="118763" y="53342"/>
                    </a:lnTo>
                    <a:lnTo>
                      <a:pt x="120526" y="53959"/>
                    </a:lnTo>
                    <a:lnTo>
                      <a:pt x="120791" y="55105"/>
                    </a:lnTo>
                    <a:lnTo>
                      <a:pt x="122818" y="55634"/>
                    </a:lnTo>
                    <a:lnTo>
                      <a:pt x="124317" y="56869"/>
                    </a:lnTo>
                    <a:lnTo>
                      <a:pt x="124846" y="57398"/>
                    </a:lnTo>
                    <a:lnTo>
                      <a:pt x="120526" y="62071"/>
                    </a:lnTo>
                    <a:lnTo>
                      <a:pt x="118763" y="62688"/>
                    </a:lnTo>
                    <a:lnTo>
                      <a:pt x="114972" y="65333"/>
                    </a:lnTo>
                    <a:lnTo>
                      <a:pt x="114090" y="65333"/>
                    </a:lnTo>
                    <a:lnTo>
                      <a:pt x="112062" y="66744"/>
                    </a:lnTo>
                    <a:lnTo>
                      <a:pt x="114354" y="67361"/>
                    </a:lnTo>
                    <a:lnTo>
                      <a:pt x="114707" y="67890"/>
                    </a:lnTo>
                    <a:lnTo>
                      <a:pt x="112326" y="70006"/>
                    </a:lnTo>
                    <a:lnTo>
                      <a:pt x="112326" y="70799"/>
                    </a:lnTo>
                    <a:lnTo>
                      <a:pt x="113473" y="70006"/>
                    </a:lnTo>
                    <a:lnTo>
                      <a:pt x="114707" y="70006"/>
                    </a:lnTo>
                    <a:lnTo>
                      <a:pt x="115501" y="70535"/>
                    </a:lnTo>
                    <a:lnTo>
                      <a:pt x="116999" y="71152"/>
                    </a:lnTo>
                    <a:lnTo>
                      <a:pt x="117881" y="71681"/>
                    </a:lnTo>
                    <a:lnTo>
                      <a:pt x="115501" y="72034"/>
                    </a:lnTo>
                    <a:lnTo>
                      <a:pt x="113208" y="72915"/>
                    </a:lnTo>
                    <a:lnTo>
                      <a:pt x="114707" y="74062"/>
                    </a:lnTo>
                    <a:lnTo>
                      <a:pt x="112326" y="76089"/>
                    </a:lnTo>
                    <a:lnTo>
                      <a:pt x="113473" y="76707"/>
                    </a:lnTo>
                    <a:lnTo>
                      <a:pt x="116382" y="74591"/>
                    </a:lnTo>
                    <a:lnTo>
                      <a:pt x="116735" y="75472"/>
                    </a:lnTo>
                    <a:lnTo>
                      <a:pt x="117264" y="75472"/>
                    </a:lnTo>
                    <a:lnTo>
                      <a:pt x="117617" y="76707"/>
                    </a:lnTo>
                    <a:lnTo>
                      <a:pt x="119027" y="75208"/>
                    </a:lnTo>
                    <a:lnTo>
                      <a:pt x="120174" y="73444"/>
                    </a:lnTo>
                    <a:lnTo>
                      <a:pt x="120791" y="72915"/>
                    </a:lnTo>
                    <a:lnTo>
                      <a:pt x="122290" y="72915"/>
                    </a:lnTo>
                    <a:lnTo>
                      <a:pt x="123965" y="74591"/>
                    </a:lnTo>
                    <a:lnTo>
                      <a:pt x="126345" y="72915"/>
                    </a:lnTo>
                    <a:lnTo>
                      <a:pt x="128373" y="71152"/>
                    </a:lnTo>
                    <a:lnTo>
                      <a:pt x="128990" y="71416"/>
                    </a:lnTo>
                    <a:lnTo>
                      <a:pt x="129519" y="72563"/>
                    </a:lnTo>
                    <a:lnTo>
                      <a:pt x="126610" y="76971"/>
                    </a:lnTo>
                    <a:lnTo>
                      <a:pt x="123965" y="78999"/>
                    </a:lnTo>
                    <a:lnTo>
                      <a:pt x="121937" y="78470"/>
                    </a:lnTo>
                    <a:lnTo>
                      <a:pt x="119292" y="80498"/>
                    </a:lnTo>
                    <a:lnTo>
                      <a:pt x="115236" y="82526"/>
                    </a:lnTo>
                    <a:lnTo>
                      <a:pt x="113208" y="83055"/>
                    </a:lnTo>
                    <a:lnTo>
                      <a:pt x="108800" y="82261"/>
                    </a:lnTo>
                    <a:lnTo>
                      <a:pt x="107654" y="83936"/>
                    </a:lnTo>
                    <a:lnTo>
                      <a:pt x="107918" y="85435"/>
                    </a:lnTo>
                    <a:lnTo>
                      <a:pt x="111445" y="86052"/>
                    </a:lnTo>
                    <a:lnTo>
                      <a:pt x="112944" y="86846"/>
                    </a:lnTo>
                    <a:lnTo>
                      <a:pt x="113208" y="88345"/>
                    </a:lnTo>
                    <a:lnTo>
                      <a:pt x="109152" y="92753"/>
                    </a:lnTo>
                    <a:lnTo>
                      <a:pt x="108535" y="92401"/>
                    </a:lnTo>
                    <a:lnTo>
                      <a:pt x="107654" y="92401"/>
                    </a:lnTo>
                    <a:lnTo>
                      <a:pt x="107389" y="93018"/>
                    </a:lnTo>
                    <a:lnTo>
                      <a:pt x="107654" y="93282"/>
                    </a:lnTo>
                    <a:lnTo>
                      <a:pt x="107389" y="94781"/>
                    </a:lnTo>
                    <a:lnTo>
                      <a:pt x="107918" y="96192"/>
                    </a:lnTo>
                    <a:lnTo>
                      <a:pt x="108800" y="96192"/>
                    </a:lnTo>
                    <a:lnTo>
                      <a:pt x="110034" y="95310"/>
                    </a:lnTo>
                    <a:lnTo>
                      <a:pt x="109417" y="97073"/>
                    </a:lnTo>
                    <a:lnTo>
                      <a:pt x="110299" y="98220"/>
                    </a:lnTo>
                    <a:lnTo>
                      <a:pt x="111445" y="99101"/>
                    </a:lnTo>
                    <a:lnTo>
                      <a:pt x="112326" y="98220"/>
                    </a:lnTo>
                    <a:lnTo>
                      <a:pt x="112591" y="96809"/>
                    </a:lnTo>
                    <a:lnTo>
                      <a:pt x="114090" y="95310"/>
                    </a:lnTo>
                    <a:lnTo>
                      <a:pt x="114354" y="94428"/>
                    </a:lnTo>
                    <a:lnTo>
                      <a:pt x="119909" y="87463"/>
                    </a:lnTo>
                    <a:lnTo>
                      <a:pt x="122818" y="86052"/>
                    </a:lnTo>
                    <a:lnTo>
                      <a:pt x="124582" y="86052"/>
                    </a:lnTo>
                    <a:lnTo>
                      <a:pt x="127491" y="83407"/>
                    </a:lnTo>
                    <a:lnTo>
                      <a:pt x="128638" y="84554"/>
                    </a:lnTo>
                    <a:lnTo>
                      <a:pt x="125993" y="87463"/>
                    </a:lnTo>
                    <a:lnTo>
                      <a:pt x="124317" y="88962"/>
                    </a:lnTo>
                    <a:lnTo>
                      <a:pt x="123436" y="90637"/>
                    </a:lnTo>
                    <a:lnTo>
                      <a:pt x="120526" y="93899"/>
                    </a:lnTo>
                    <a:lnTo>
                      <a:pt x="119292" y="96544"/>
                    </a:lnTo>
                    <a:lnTo>
                      <a:pt x="118763" y="97955"/>
                    </a:lnTo>
                    <a:lnTo>
                      <a:pt x="118498" y="99101"/>
                    </a:lnTo>
                    <a:lnTo>
                      <a:pt x="118146" y="99983"/>
                    </a:lnTo>
                    <a:lnTo>
                      <a:pt x="119292" y="101482"/>
                    </a:lnTo>
                    <a:lnTo>
                      <a:pt x="124582" y="98220"/>
                    </a:lnTo>
                    <a:lnTo>
                      <a:pt x="128109" y="92401"/>
                    </a:lnTo>
                    <a:lnTo>
                      <a:pt x="129255" y="93282"/>
                    </a:lnTo>
                    <a:lnTo>
                      <a:pt x="130401" y="96192"/>
                    </a:lnTo>
                    <a:lnTo>
                      <a:pt x="128990" y="98572"/>
                    </a:lnTo>
                    <a:lnTo>
                      <a:pt x="129519" y="99101"/>
                    </a:lnTo>
                    <a:lnTo>
                      <a:pt x="123700" y="106419"/>
                    </a:lnTo>
                    <a:lnTo>
                      <a:pt x="118498" y="116911"/>
                    </a:lnTo>
                    <a:lnTo>
                      <a:pt x="117617" y="118057"/>
                    </a:lnTo>
                    <a:lnTo>
                      <a:pt x="115853" y="119556"/>
                    </a:lnTo>
                    <a:lnTo>
                      <a:pt x="113825" y="120967"/>
                    </a:lnTo>
                    <a:lnTo>
                      <a:pt x="112591" y="120703"/>
                    </a:lnTo>
                    <a:lnTo>
                      <a:pt x="111445" y="118939"/>
                    </a:lnTo>
                    <a:lnTo>
                      <a:pt x="108800" y="119556"/>
                    </a:lnTo>
                    <a:lnTo>
                      <a:pt x="105890" y="121584"/>
                    </a:lnTo>
                    <a:lnTo>
                      <a:pt x="105009" y="120967"/>
                    </a:lnTo>
                    <a:lnTo>
                      <a:pt x="104480" y="120174"/>
                    </a:lnTo>
                    <a:lnTo>
                      <a:pt x="105361" y="118410"/>
                    </a:lnTo>
                    <a:lnTo>
                      <a:pt x="105361" y="116382"/>
                    </a:lnTo>
                    <a:lnTo>
                      <a:pt x="106507" y="114002"/>
                    </a:lnTo>
                    <a:lnTo>
                      <a:pt x="106772" y="111974"/>
                    </a:lnTo>
                    <a:lnTo>
                      <a:pt x="109152" y="109329"/>
                    </a:lnTo>
                    <a:lnTo>
                      <a:pt x="109417" y="108447"/>
                    </a:lnTo>
                    <a:lnTo>
                      <a:pt x="107918" y="108447"/>
                    </a:lnTo>
                    <a:lnTo>
                      <a:pt x="102099" y="113120"/>
                    </a:lnTo>
                    <a:lnTo>
                      <a:pt x="96280" y="116911"/>
                    </a:lnTo>
                    <a:lnTo>
                      <a:pt x="94869" y="115765"/>
                    </a:lnTo>
                    <a:lnTo>
                      <a:pt x="96015" y="113385"/>
                    </a:lnTo>
                    <a:lnTo>
                      <a:pt x="101570" y="104656"/>
                    </a:lnTo>
                    <a:lnTo>
                      <a:pt x="102716" y="104127"/>
                    </a:lnTo>
                    <a:lnTo>
                      <a:pt x="103862" y="102099"/>
                    </a:lnTo>
                    <a:lnTo>
                      <a:pt x="103862" y="100865"/>
                    </a:lnTo>
                    <a:lnTo>
                      <a:pt x="105626" y="97691"/>
                    </a:lnTo>
                    <a:lnTo>
                      <a:pt x="105009" y="96192"/>
                    </a:lnTo>
                    <a:lnTo>
                      <a:pt x="105361" y="95046"/>
                    </a:lnTo>
                    <a:lnTo>
                      <a:pt x="104127" y="92401"/>
                    </a:lnTo>
                    <a:lnTo>
                      <a:pt x="101834" y="90990"/>
                    </a:lnTo>
                    <a:lnTo>
                      <a:pt x="98043" y="95310"/>
                    </a:lnTo>
                    <a:lnTo>
                      <a:pt x="94517" y="99718"/>
                    </a:lnTo>
                    <a:lnTo>
                      <a:pt x="94517" y="100600"/>
                    </a:lnTo>
                    <a:lnTo>
                      <a:pt x="93635" y="101746"/>
                    </a:lnTo>
                    <a:lnTo>
                      <a:pt x="90461" y="102628"/>
                    </a:lnTo>
                    <a:lnTo>
                      <a:pt x="90461" y="102099"/>
                    </a:lnTo>
                    <a:lnTo>
                      <a:pt x="88697" y="102363"/>
                    </a:lnTo>
                    <a:lnTo>
                      <a:pt x="85788" y="102628"/>
                    </a:lnTo>
                    <a:lnTo>
                      <a:pt x="81996" y="105009"/>
                    </a:lnTo>
                    <a:lnTo>
                      <a:pt x="80586" y="106419"/>
                    </a:lnTo>
                    <a:lnTo>
                      <a:pt x="80850" y="107566"/>
                    </a:lnTo>
                    <a:lnTo>
                      <a:pt x="79704" y="109329"/>
                    </a:lnTo>
                    <a:lnTo>
                      <a:pt x="73268" y="114266"/>
                    </a:lnTo>
                    <a:lnTo>
                      <a:pt x="72386" y="114266"/>
                    </a:lnTo>
                    <a:lnTo>
                      <a:pt x="70887" y="114883"/>
                    </a:lnTo>
                    <a:lnTo>
                      <a:pt x="68859" y="114002"/>
                    </a:lnTo>
                    <a:lnTo>
                      <a:pt x="67713" y="114619"/>
                    </a:lnTo>
                    <a:lnTo>
                      <a:pt x="63922" y="115501"/>
                    </a:lnTo>
                    <a:lnTo>
                      <a:pt x="61277" y="114619"/>
                    </a:lnTo>
                    <a:lnTo>
                      <a:pt x="60395" y="114002"/>
                    </a:lnTo>
                    <a:lnTo>
                      <a:pt x="60748" y="112856"/>
                    </a:lnTo>
                    <a:lnTo>
                      <a:pt x="61277" y="111974"/>
                    </a:lnTo>
                    <a:lnTo>
                      <a:pt x="65068" y="109593"/>
                    </a:lnTo>
                    <a:lnTo>
                      <a:pt x="66215" y="109593"/>
                    </a:lnTo>
                    <a:lnTo>
                      <a:pt x="71240" y="108447"/>
                    </a:lnTo>
                    <a:lnTo>
                      <a:pt x="75825" y="105273"/>
                    </a:lnTo>
                    <a:lnTo>
                      <a:pt x="77324" y="102628"/>
                    </a:lnTo>
                    <a:lnTo>
                      <a:pt x="79704" y="100600"/>
                    </a:lnTo>
                    <a:lnTo>
                      <a:pt x="84024" y="99718"/>
                    </a:lnTo>
                    <a:lnTo>
                      <a:pt x="85788" y="98572"/>
                    </a:lnTo>
                    <a:lnTo>
                      <a:pt x="87816" y="96809"/>
                    </a:lnTo>
                    <a:lnTo>
                      <a:pt x="87551" y="96192"/>
                    </a:lnTo>
                    <a:lnTo>
                      <a:pt x="85523" y="97073"/>
                    </a:lnTo>
                    <a:lnTo>
                      <a:pt x="83760" y="96809"/>
                    </a:lnTo>
                    <a:lnTo>
                      <a:pt x="82261" y="97691"/>
                    </a:lnTo>
                    <a:lnTo>
                      <a:pt x="81732" y="97691"/>
                    </a:lnTo>
                    <a:lnTo>
                      <a:pt x="81996" y="96809"/>
                    </a:lnTo>
                    <a:lnTo>
                      <a:pt x="77941" y="96192"/>
                    </a:lnTo>
                    <a:lnTo>
                      <a:pt x="77588" y="94781"/>
                    </a:lnTo>
                    <a:lnTo>
                      <a:pt x="76442" y="94781"/>
                    </a:lnTo>
                    <a:lnTo>
                      <a:pt x="76442" y="95310"/>
                    </a:lnTo>
                    <a:lnTo>
                      <a:pt x="76177" y="97691"/>
                    </a:lnTo>
                    <a:lnTo>
                      <a:pt x="75296" y="99718"/>
                    </a:lnTo>
                    <a:lnTo>
                      <a:pt x="71504" y="101746"/>
                    </a:lnTo>
                    <a:lnTo>
                      <a:pt x="70623" y="100600"/>
                    </a:lnTo>
                    <a:lnTo>
                      <a:pt x="69741" y="99983"/>
                    </a:lnTo>
                    <a:lnTo>
                      <a:pt x="68595" y="100600"/>
                    </a:lnTo>
                    <a:lnTo>
                      <a:pt x="67713" y="100336"/>
                    </a:lnTo>
                    <a:lnTo>
                      <a:pt x="65686" y="100865"/>
                    </a:lnTo>
                    <a:lnTo>
                      <a:pt x="65686" y="100336"/>
                    </a:lnTo>
                    <a:lnTo>
                      <a:pt x="67096" y="99718"/>
                    </a:lnTo>
                    <a:lnTo>
                      <a:pt x="67713" y="98572"/>
                    </a:lnTo>
                    <a:lnTo>
                      <a:pt x="67449" y="98220"/>
                    </a:lnTo>
                    <a:lnTo>
                      <a:pt x="61542" y="100600"/>
                    </a:lnTo>
                    <a:lnTo>
                      <a:pt x="60748" y="99983"/>
                    </a:lnTo>
                    <a:lnTo>
                      <a:pt x="60748" y="99718"/>
                    </a:lnTo>
                    <a:lnTo>
                      <a:pt x="61277" y="99454"/>
                    </a:lnTo>
                    <a:lnTo>
                      <a:pt x="63922" y="98572"/>
                    </a:lnTo>
                    <a:lnTo>
                      <a:pt x="67978" y="97073"/>
                    </a:lnTo>
                    <a:lnTo>
                      <a:pt x="67096" y="95927"/>
                    </a:lnTo>
                    <a:lnTo>
                      <a:pt x="67449" y="95310"/>
                    </a:lnTo>
                    <a:lnTo>
                      <a:pt x="68595" y="94164"/>
                    </a:lnTo>
                    <a:lnTo>
                      <a:pt x="69741" y="92401"/>
                    </a:lnTo>
                    <a:lnTo>
                      <a:pt x="69124" y="92401"/>
                    </a:lnTo>
                    <a:lnTo>
                      <a:pt x="64539" y="94781"/>
                    </a:lnTo>
                    <a:lnTo>
                      <a:pt x="63658" y="94781"/>
                    </a:lnTo>
                    <a:lnTo>
                      <a:pt x="63658" y="93899"/>
                    </a:lnTo>
                    <a:lnTo>
                      <a:pt x="63305" y="93018"/>
                    </a:lnTo>
                    <a:lnTo>
                      <a:pt x="63040" y="93282"/>
                    </a:lnTo>
                    <a:lnTo>
                      <a:pt x="61894" y="95927"/>
                    </a:lnTo>
                    <a:lnTo>
                      <a:pt x="60395" y="96544"/>
                    </a:lnTo>
                    <a:lnTo>
                      <a:pt x="58632" y="96544"/>
                    </a:lnTo>
                    <a:lnTo>
                      <a:pt x="57750" y="97073"/>
                    </a:lnTo>
                    <a:lnTo>
                      <a:pt x="52284" y="96809"/>
                    </a:lnTo>
                    <a:lnTo>
                      <a:pt x="48140" y="99101"/>
                    </a:lnTo>
                    <a:lnTo>
                      <a:pt x="45495" y="97691"/>
                    </a:lnTo>
                    <a:lnTo>
                      <a:pt x="42585" y="97691"/>
                    </a:lnTo>
                    <a:lnTo>
                      <a:pt x="42056" y="97691"/>
                    </a:lnTo>
                    <a:lnTo>
                      <a:pt x="39411" y="97691"/>
                    </a:lnTo>
                    <a:lnTo>
                      <a:pt x="39147" y="97691"/>
                    </a:lnTo>
                    <a:lnTo>
                      <a:pt x="38794" y="96809"/>
                    </a:lnTo>
                    <a:lnTo>
                      <a:pt x="32446" y="96192"/>
                    </a:lnTo>
                    <a:lnTo>
                      <a:pt x="29801" y="96544"/>
                    </a:lnTo>
                    <a:lnTo>
                      <a:pt x="29184" y="96192"/>
                    </a:lnTo>
                    <a:lnTo>
                      <a:pt x="18956" y="95310"/>
                    </a:lnTo>
                    <a:lnTo>
                      <a:pt x="15782" y="95927"/>
                    </a:lnTo>
                    <a:lnTo>
                      <a:pt x="12255" y="96809"/>
                    </a:lnTo>
                    <a:lnTo>
                      <a:pt x="10228" y="96809"/>
                    </a:lnTo>
                    <a:lnTo>
                      <a:pt x="2645" y="97691"/>
                    </a:lnTo>
                    <a:lnTo>
                      <a:pt x="353" y="96544"/>
                    </a:lnTo>
                    <a:lnTo>
                      <a:pt x="617" y="95663"/>
                    </a:lnTo>
                    <a:lnTo>
                      <a:pt x="1499" y="91871"/>
                    </a:lnTo>
                    <a:lnTo>
                      <a:pt x="617" y="91519"/>
                    </a:lnTo>
                    <a:lnTo>
                      <a:pt x="0" y="89844"/>
                    </a:lnTo>
                    <a:lnTo>
                      <a:pt x="17810" y="78470"/>
                    </a:lnTo>
                    <a:lnTo>
                      <a:pt x="23365" y="76089"/>
                    </a:lnTo>
                    <a:lnTo>
                      <a:pt x="23629" y="75208"/>
                    </a:lnTo>
                    <a:lnTo>
                      <a:pt x="21601" y="75472"/>
                    </a:lnTo>
                    <a:lnTo>
                      <a:pt x="19838" y="74062"/>
                    </a:lnTo>
                    <a:lnTo>
                      <a:pt x="17810" y="74591"/>
                    </a:lnTo>
                    <a:lnTo>
                      <a:pt x="12255" y="75208"/>
                    </a:lnTo>
                    <a:lnTo>
                      <a:pt x="7582" y="76707"/>
                    </a:lnTo>
                    <a:lnTo>
                      <a:pt x="7935" y="76089"/>
                    </a:lnTo>
                    <a:lnTo>
                      <a:pt x="9081" y="74326"/>
                    </a:lnTo>
                    <a:lnTo>
                      <a:pt x="16928" y="70270"/>
                    </a:lnTo>
                    <a:lnTo>
                      <a:pt x="14900" y="72298"/>
                    </a:lnTo>
                    <a:lnTo>
                      <a:pt x="15782" y="73444"/>
                    </a:lnTo>
                    <a:lnTo>
                      <a:pt x="16664" y="72915"/>
                    </a:lnTo>
                    <a:lnTo>
                      <a:pt x="16928" y="73444"/>
                    </a:lnTo>
                    <a:lnTo>
                      <a:pt x="19309" y="73797"/>
                    </a:lnTo>
                    <a:lnTo>
                      <a:pt x="22747" y="67890"/>
                    </a:lnTo>
                    <a:lnTo>
                      <a:pt x="26274" y="64716"/>
                    </a:lnTo>
                    <a:lnTo>
                      <a:pt x="26010" y="63834"/>
                    </a:lnTo>
                    <a:lnTo>
                      <a:pt x="29448" y="60043"/>
                    </a:lnTo>
                    <a:lnTo>
                      <a:pt x="30065" y="60043"/>
                    </a:lnTo>
                    <a:lnTo>
                      <a:pt x="29184" y="61189"/>
                    </a:lnTo>
                    <a:lnTo>
                      <a:pt x="30065" y="61806"/>
                    </a:lnTo>
                    <a:lnTo>
                      <a:pt x="32446" y="61806"/>
                    </a:lnTo>
                    <a:lnTo>
                      <a:pt x="33857" y="62952"/>
                    </a:lnTo>
                    <a:lnTo>
                      <a:pt x="34474" y="62952"/>
                    </a:lnTo>
                    <a:lnTo>
                      <a:pt x="34121" y="61189"/>
                    </a:lnTo>
                    <a:lnTo>
                      <a:pt x="34738" y="60043"/>
                    </a:lnTo>
                    <a:lnTo>
                      <a:pt x="36149" y="60307"/>
                    </a:lnTo>
                    <a:lnTo>
                      <a:pt x="36502" y="60307"/>
                    </a:lnTo>
                    <a:lnTo>
                      <a:pt x="35885" y="59161"/>
                    </a:lnTo>
                    <a:lnTo>
                      <a:pt x="36149" y="58897"/>
                    </a:lnTo>
                    <a:lnTo>
                      <a:pt x="37031" y="58897"/>
                    </a:lnTo>
                    <a:lnTo>
                      <a:pt x="37031" y="58632"/>
                    </a:lnTo>
                    <a:lnTo>
                      <a:pt x="33857" y="57750"/>
                    </a:lnTo>
                    <a:lnTo>
                      <a:pt x="33592" y="56251"/>
                    </a:lnTo>
                    <a:lnTo>
                      <a:pt x="34121" y="54841"/>
                    </a:lnTo>
                    <a:lnTo>
                      <a:pt x="35003" y="53342"/>
                    </a:lnTo>
                    <a:lnTo>
                      <a:pt x="38265" y="50697"/>
                    </a:lnTo>
                    <a:lnTo>
                      <a:pt x="39676" y="50168"/>
                    </a:lnTo>
                    <a:lnTo>
                      <a:pt x="41439" y="50168"/>
                    </a:lnTo>
                    <a:lnTo>
                      <a:pt x="41439" y="50697"/>
                    </a:lnTo>
                    <a:lnTo>
                      <a:pt x="42938" y="51050"/>
                    </a:lnTo>
                    <a:lnTo>
                      <a:pt x="43202" y="50697"/>
                    </a:lnTo>
                    <a:lnTo>
                      <a:pt x="42056" y="50168"/>
                    </a:lnTo>
                    <a:lnTo>
                      <a:pt x="41439" y="47170"/>
                    </a:lnTo>
                    <a:lnTo>
                      <a:pt x="46377" y="42233"/>
                    </a:lnTo>
                    <a:lnTo>
                      <a:pt x="45848" y="41968"/>
                    </a:lnTo>
                    <a:lnTo>
                      <a:pt x="47611" y="39940"/>
                    </a:lnTo>
                    <a:lnTo>
                      <a:pt x="58367" y="26803"/>
                    </a:lnTo>
                    <a:lnTo>
                      <a:pt x="60395" y="24775"/>
                    </a:lnTo>
                    <a:lnTo>
                      <a:pt x="62423" y="23894"/>
                    </a:lnTo>
                    <a:lnTo>
                      <a:pt x="61277" y="21866"/>
                    </a:lnTo>
                    <a:lnTo>
                      <a:pt x="68859" y="18956"/>
                    </a:lnTo>
                    <a:lnTo>
                      <a:pt x="70623" y="16311"/>
                    </a:lnTo>
                    <a:lnTo>
                      <a:pt x="69741" y="15694"/>
                    </a:lnTo>
                    <a:lnTo>
                      <a:pt x="69477" y="14283"/>
                    </a:lnTo>
                    <a:lnTo>
                      <a:pt x="71240" y="14812"/>
                    </a:lnTo>
                    <a:lnTo>
                      <a:pt x="71504" y="13931"/>
                    </a:lnTo>
                    <a:lnTo>
                      <a:pt x="75296" y="11638"/>
                    </a:lnTo>
                    <a:lnTo>
                      <a:pt x="76442" y="9346"/>
                    </a:lnTo>
                    <a:lnTo>
                      <a:pt x="79087" y="6965"/>
                    </a:lnTo>
                    <a:lnTo>
                      <a:pt x="81115" y="6084"/>
                    </a:lnTo>
                    <a:lnTo>
                      <a:pt x="81732" y="5555"/>
                    </a:lnTo>
                    <a:lnTo>
                      <a:pt x="95398" y="0"/>
                    </a:lnTo>
                    <a:lnTo>
                      <a:pt x="96897" y="264"/>
                    </a:lnTo>
                    <a:lnTo>
                      <a:pt x="95663" y="2910"/>
                    </a:lnTo>
                    <a:lnTo>
                      <a:pt x="98043" y="3439"/>
                    </a:lnTo>
                    <a:lnTo>
                      <a:pt x="98925" y="2910"/>
                    </a:lnTo>
                    <a:lnTo>
                      <a:pt x="98308" y="1411"/>
                    </a:lnTo>
                    <a:lnTo>
                      <a:pt x="100071" y="529"/>
                    </a:lnTo>
                    <a:lnTo>
                      <a:pt x="102099" y="529"/>
                    </a:lnTo>
                    <a:lnTo>
                      <a:pt x="102981" y="529"/>
                    </a:lnTo>
                    <a:lnTo>
                      <a:pt x="105009" y="882"/>
                    </a:lnTo>
                    <a:lnTo>
                      <a:pt x="101834" y="6348"/>
                    </a:lnTo>
                    <a:lnTo>
                      <a:pt x="100688" y="6348"/>
                    </a:lnTo>
                    <a:lnTo>
                      <a:pt x="99189" y="7582"/>
                    </a:lnTo>
                    <a:lnTo>
                      <a:pt x="98572" y="7847"/>
                    </a:lnTo>
                    <a:lnTo>
                      <a:pt x="91078" y="6348"/>
                    </a:lnTo>
                    <a:lnTo>
                      <a:pt x="89844" y="7230"/>
                    </a:lnTo>
                    <a:lnTo>
                      <a:pt x="91078" y="7847"/>
                    </a:lnTo>
                    <a:lnTo>
                      <a:pt x="89844" y="9346"/>
                    </a:lnTo>
                    <a:lnTo>
                      <a:pt x="90461" y="9875"/>
                    </a:lnTo>
                    <a:lnTo>
                      <a:pt x="92753" y="9875"/>
                    </a:lnTo>
                    <a:lnTo>
                      <a:pt x="93370" y="9610"/>
                    </a:lnTo>
                    <a:lnTo>
                      <a:pt x="94517" y="9610"/>
                    </a:lnTo>
                    <a:lnTo>
                      <a:pt x="96015" y="10757"/>
                    </a:lnTo>
                    <a:lnTo>
                      <a:pt x="95663" y="11638"/>
                    </a:lnTo>
                    <a:lnTo>
                      <a:pt x="91078" y="17193"/>
                    </a:lnTo>
                    <a:lnTo>
                      <a:pt x="86669" y="20632"/>
                    </a:lnTo>
                    <a:lnTo>
                      <a:pt x="85523" y="20984"/>
                    </a:lnTo>
                    <a:lnTo>
                      <a:pt x="83760" y="21601"/>
                    </a:lnTo>
                    <a:lnTo>
                      <a:pt x="84906" y="22747"/>
                    </a:lnTo>
                    <a:lnTo>
                      <a:pt x="84024" y="23629"/>
                    </a:lnTo>
                    <a:lnTo>
                      <a:pt x="79969" y="27068"/>
                    </a:lnTo>
                    <a:lnTo>
                      <a:pt x="76707" y="30330"/>
                    </a:lnTo>
                    <a:lnTo>
                      <a:pt x="70887" y="36149"/>
                    </a:lnTo>
                    <a:lnTo>
                      <a:pt x="66567" y="39940"/>
                    </a:lnTo>
                    <a:lnTo>
                      <a:pt x="67096" y="40205"/>
                    </a:lnTo>
                    <a:lnTo>
                      <a:pt x="66567" y="42233"/>
                    </a:lnTo>
                    <a:lnTo>
                      <a:pt x="63305" y="44613"/>
                    </a:lnTo>
                    <a:lnTo>
                      <a:pt x="63305" y="44878"/>
                    </a:lnTo>
                    <a:lnTo>
                      <a:pt x="64187" y="45495"/>
                    </a:lnTo>
                    <a:lnTo>
                      <a:pt x="62776" y="48052"/>
                    </a:lnTo>
                    <a:lnTo>
                      <a:pt x="64187" y="48404"/>
                    </a:lnTo>
                    <a:lnTo>
                      <a:pt x="72122" y="41704"/>
                    </a:lnTo>
                    <a:lnTo>
                      <a:pt x="73268" y="41351"/>
                    </a:lnTo>
                    <a:lnTo>
                      <a:pt x="74414" y="39940"/>
                    </a:lnTo>
                    <a:lnTo>
                      <a:pt x="79969" y="35532"/>
                    </a:lnTo>
                    <a:lnTo>
                      <a:pt x="80233" y="35885"/>
                    </a:lnTo>
                    <a:lnTo>
                      <a:pt x="80850" y="36678"/>
                    </a:lnTo>
                    <a:lnTo>
                      <a:pt x="79087" y="38794"/>
                    </a:lnTo>
                    <a:lnTo>
                      <a:pt x="82261" y="38441"/>
                    </a:lnTo>
                    <a:lnTo>
                      <a:pt x="83760" y="38177"/>
                    </a:lnTo>
                    <a:lnTo>
                      <a:pt x="84289" y="39323"/>
                    </a:lnTo>
                    <a:lnTo>
                      <a:pt x="86405" y="40822"/>
                    </a:lnTo>
                    <a:lnTo>
                      <a:pt x="87551" y="39940"/>
                    </a:lnTo>
                    <a:lnTo>
                      <a:pt x="90725" y="39059"/>
                    </a:lnTo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7" name="Freihandform: Form 1716">
                <a:extLst>
                  <a:ext uri="{FF2B5EF4-FFF2-40B4-BE49-F238E27FC236}">
                    <a16:creationId xmlns:a16="http://schemas.microsoft.com/office/drawing/2014/main" id="{60FC1F9B-9EFD-13FC-3268-A5D9608C765F}"/>
                  </a:ext>
                </a:extLst>
              </p:cNvPr>
              <p:cNvSpPr/>
              <p:nvPr/>
            </p:nvSpPr>
            <p:spPr>
              <a:xfrm>
                <a:off x="2977522" y="2984366"/>
                <a:ext cx="1675" cy="3262"/>
              </a:xfrm>
              <a:custGeom>
                <a:avLst/>
                <a:gdLst>
                  <a:gd name="connsiteX0" fmla="*/ 1234 w 1675"/>
                  <a:gd name="connsiteY0" fmla="*/ 882 h 3262"/>
                  <a:gd name="connsiteX1" fmla="*/ 970 w 1675"/>
                  <a:gd name="connsiteY1" fmla="*/ 1587 h 3262"/>
                  <a:gd name="connsiteX2" fmla="*/ 1675 w 1675"/>
                  <a:gd name="connsiteY2" fmla="*/ 2557 h 3262"/>
                  <a:gd name="connsiteX3" fmla="*/ 1411 w 1675"/>
                  <a:gd name="connsiteY3" fmla="*/ 3262 h 3262"/>
                  <a:gd name="connsiteX4" fmla="*/ 529 w 1675"/>
                  <a:gd name="connsiteY4" fmla="*/ 3174 h 3262"/>
                  <a:gd name="connsiteX5" fmla="*/ 353 w 1675"/>
                  <a:gd name="connsiteY5" fmla="*/ 2469 h 3262"/>
                  <a:gd name="connsiteX6" fmla="*/ 529 w 1675"/>
                  <a:gd name="connsiteY6" fmla="*/ 1675 h 3262"/>
                  <a:gd name="connsiteX7" fmla="*/ 0 w 1675"/>
                  <a:gd name="connsiteY7" fmla="*/ 617 h 3262"/>
                  <a:gd name="connsiteX8" fmla="*/ 529 w 1675"/>
                  <a:gd name="connsiteY8" fmla="*/ 0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3262">
                    <a:moveTo>
                      <a:pt x="1234" y="882"/>
                    </a:moveTo>
                    <a:lnTo>
                      <a:pt x="970" y="1587"/>
                    </a:lnTo>
                    <a:lnTo>
                      <a:pt x="1675" y="2557"/>
                    </a:lnTo>
                    <a:lnTo>
                      <a:pt x="1411" y="3262"/>
                    </a:lnTo>
                    <a:lnTo>
                      <a:pt x="529" y="3174"/>
                    </a:lnTo>
                    <a:lnTo>
                      <a:pt x="353" y="2469"/>
                    </a:lnTo>
                    <a:lnTo>
                      <a:pt x="529" y="1675"/>
                    </a:lnTo>
                    <a:lnTo>
                      <a:pt x="0" y="617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8" name="Freihandform: Form 1717">
                <a:extLst>
                  <a:ext uri="{FF2B5EF4-FFF2-40B4-BE49-F238E27FC236}">
                    <a16:creationId xmlns:a16="http://schemas.microsoft.com/office/drawing/2014/main" id="{1362EB82-D488-65C9-D518-CAE94C04E7C6}"/>
                  </a:ext>
                </a:extLst>
              </p:cNvPr>
              <p:cNvSpPr/>
              <p:nvPr/>
            </p:nvSpPr>
            <p:spPr>
              <a:xfrm>
                <a:off x="2979462" y="2988069"/>
                <a:ext cx="352" cy="617"/>
              </a:xfrm>
              <a:custGeom>
                <a:avLst/>
                <a:gdLst>
                  <a:gd name="connsiteX0" fmla="*/ 0 w 352"/>
                  <a:gd name="connsiteY0" fmla="*/ 264 h 617"/>
                  <a:gd name="connsiteX1" fmla="*/ 353 w 352"/>
                  <a:gd name="connsiteY1" fmla="*/ 0 h 617"/>
                  <a:gd name="connsiteX2" fmla="*/ 353 w 352"/>
                  <a:gd name="connsiteY2" fmla="*/ 441 h 617"/>
                  <a:gd name="connsiteX3" fmla="*/ 353 w 352"/>
                  <a:gd name="connsiteY3" fmla="*/ 617 h 617"/>
                  <a:gd name="connsiteX4" fmla="*/ 0 w 352"/>
                  <a:gd name="connsiteY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" h="617">
                    <a:moveTo>
                      <a:pt x="0" y="264"/>
                    </a:moveTo>
                    <a:lnTo>
                      <a:pt x="353" y="0"/>
                    </a:lnTo>
                    <a:lnTo>
                      <a:pt x="353" y="441"/>
                    </a:lnTo>
                    <a:lnTo>
                      <a:pt x="353" y="617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9" name="Freihandform: Form 1718">
                <a:extLst>
                  <a:ext uri="{FF2B5EF4-FFF2-40B4-BE49-F238E27FC236}">
                    <a16:creationId xmlns:a16="http://schemas.microsoft.com/office/drawing/2014/main" id="{E614BB2C-55C1-3D95-ABAE-3E71C5A7947C}"/>
                  </a:ext>
                </a:extLst>
              </p:cNvPr>
              <p:cNvSpPr/>
              <p:nvPr/>
            </p:nvSpPr>
            <p:spPr>
              <a:xfrm>
                <a:off x="1544786" y="3796044"/>
                <a:ext cx="7406" cy="4055"/>
              </a:xfrm>
              <a:custGeom>
                <a:avLst/>
                <a:gdLst>
                  <a:gd name="connsiteX0" fmla="*/ 529 w 7406"/>
                  <a:gd name="connsiteY0" fmla="*/ 4056 h 4055"/>
                  <a:gd name="connsiteX1" fmla="*/ 0 w 7406"/>
                  <a:gd name="connsiteY1" fmla="*/ 2557 h 4055"/>
                  <a:gd name="connsiteX2" fmla="*/ 529 w 7406"/>
                  <a:gd name="connsiteY2" fmla="*/ 2380 h 4055"/>
                  <a:gd name="connsiteX3" fmla="*/ 529 w 7406"/>
                  <a:gd name="connsiteY3" fmla="*/ 1851 h 4055"/>
                  <a:gd name="connsiteX4" fmla="*/ 1146 w 7406"/>
                  <a:gd name="connsiteY4" fmla="*/ 1234 h 4055"/>
                  <a:gd name="connsiteX5" fmla="*/ 3262 w 7406"/>
                  <a:gd name="connsiteY5" fmla="*/ 0 h 4055"/>
                  <a:gd name="connsiteX6" fmla="*/ 5202 w 7406"/>
                  <a:gd name="connsiteY6" fmla="*/ 176 h 4055"/>
                  <a:gd name="connsiteX7" fmla="*/ 6965 w 7406"/>
                  <a:gd name="connsiteY7" fmla="*/ 353 h 4055"/>
                  <a:gd name="connsiteX8" fmla="*/ 7406 w 7406"/>
                  <a:gd name="connsiteY8" fmla="*/ 1675 h 4055"/>
                  <a:gd name="connsiteX9" fmla="*/ 6789 w 7406"/>
                  <a:gd name="connsiteY9" fmla="*/ 3174 h 4055"/>
                  <a:gd name="connsiteX10" fmla="*/ 3174 w 7406"/>
                  <a:gd name="connsiteY10" fmla="*/ 3879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406" h="4055">
                    <a:moveTo>
                      <a:pt x="529" y="4056"/>
                    </a:moveTo>
                    <a:lnTo>
                      <a:pt x="0" y="2557"/>
                    </a:lnTo>
                    <a:lnTo>
                      <a:pt x="529" y="2380"/>
                    </a:lnTo>
                    <a:lnTo>
                      <a:pt x="529" y="1851"/>
                    </a:lnTo>
                    <a:lnTo>
                      <a:pt x="1146" y="1234"/>
                    </a:lnTo>
                    <a:lnTo>
                      <a:pt x="3262" y="0"/>
                    </a:lnTo>
                    <a:lnTo>
                      <a:pt x="5202" y="176"/>
                    </a:lnTo>
                    <a:lnTo>
                      <a:pt x="6965" y="353"/>
                    </a:lnTo>
                    <a:lnTo>
                      <a:pt x="7406" y="1675"/>
                    </a:lnTo>
                    <a:lnTo>
                      <a:pt x="6789" y="3174"/>
                    </a:lnTo>
                    <a:lnTo>
                      <a:pt x="3174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0" name="Freihandform: Form 1719">
                <a:extLst>
                  <a:ext uri="{FF2B5EF4-FFF2-40B4-BE49-F238E27FC236}">
                    <a16:creationId xmlns:a16="http://schemas.microsoft.com/office/drawing/2014/main" id="{A1FF84EE-890C-7182-F0D5-17994FD6BB13}"/>
                  </a:ext>
                </a:extLst>
              </p:cNvPr>
              <p:cNvSpPr/>
              <p:nvPr/>
            </p:nvSpPr>
            <p:spPr>
              <a:xfrm>
                <a:off x="2510230" y="3654446"/>
                <a:ext cx="80233" cy="56604"/>
              </a:xfrm>
              <a:custGeom>
                <a:avLst/>
                <a:gdLst>
                  <a:gd name="connsiteX0" fmla="*/ 6965 w 80233"/>
                  <a:gd name="connsiteY0" fmla="*/ 20102 h 56604"/>
                  <a:gd name="connsiteX1" fmla="*/ 7847 w 80233"/>
                  <a:gd name="connsiteY1" fmla="*/ 17193 h 56604"/>
                  <a:gd name="connsiteX2" fmla="*/ 6436 w 80233"/>
                  <a:gd name="connsiteY2" fmla="*/ 16664 h 56604"/>
                  <a:gd name="connsiteX3" fmla="*/ 4937 w 80233"/>
                  <a:gd name="connsiteY3" fmla="*/ 14636 h 56604"/>
                  <a:gd name="connsiteX4" fmla="*/ 5555 w 80233"/>
                  <a:gd name="connsiteY4" fmla="*/ 14283 h 56604"/>
                  <a:gd name="connsiteX5" fmla="*/ 6701 w 80233"/>
                  <a:gd name="connsiteY5" fmla="*/ 10492 h 56604"/>
                  <a:gd name="connsiteX6" fmla="*/ 5290 w 80233"/>
                  <a:gd name="connsiteY6" fmla="*/ 5555 h 56604"/>
                  <a:gd name="connsiteX7" fmla="*/ 6172 w 80233"/>
                  <a:gd name="connsiteY7" fmla="*/ 5555 h 56604"/>
                  <a:gd name="connsiteX8" fmla="*/ 5555 w 80233"/>
                  <a:gd name="connsiteY8" fmla="*/ 3791 h 56604"/>
                  <a:gd name="connsiteX9" fmla="*/ 4673 w 80233"/>
                  <a:gd name="connsiteY9" fmla="*/ 3791 h 56604"/>
                  <a:gd name="connsiteX10" fmla="*/ 8464 w 80233"/>
                  <a:gd name="connsiteY10" fmla="*/ 617 h 56604"/>
                  <a:gd name="connsiteX11" fmla="*/ 11109 w 80233"/>
                  <a:gd name="connsiteY11" fmla="*/ 617 h 56604"/>
                  <a:gd name="connsiteX12" fmla="*/ 16047 w 80233"/>
                  <a:gd name="connsiteY12" fmla="*/ 2645 h 56604"/>
                  <a:gd name="connsiteX13" fmla="*/ 20984 w 80233"/>
                  <a:gd name="connsiteY13" fmla="*/ 0 h 56604"/>
                  <a:gd name="connsiteX14" fmla="*/ 22483 w 80233"/>
                  <a:gd name="connsiteY14" fmla="*/ 617 h 56604"/>
                  <a:gd name="connsiteX15" fmla="*/ 25128 w 80233"/>
                  <a:gd name="connsiteY15" fmla="*/ 617 h 56604"/>
                  <a:gd name="connsiteX16" fmla="*/ 29801 w 80233"/>
                  <a:gd name="connsiteY16" fmla="*/ 4056 h 56604"/>
                  <a:gd name="connsiteX17" fmla="*/ 33592 w 80233"/>
                  <a:gd name="connsiteY17" fmla="*/ 3527 h 56604"/>
                  <a:gd name="connsiteX18" fmla="*/ 37031 w 80233"/>
                  <a:gd name="connsiteY18" fmla="*/ 6701 h 56604"/>
                  <a:gd name="connsiteX19" fmla="*/ 40822 w 80233"/>
                  <a:gd name="connsiteY19" fmla="*/ 7582 h 56604"/>
                  <a:gd name="connsiteX20" fmla="*/ 44084 w 80233"/>
                  <a:gd name="connsiteY20" fmla="*/ 6172 h 56604"/>
                  <a:gd name="connsiteX21" fmla="*/ 45848 w 80233"/>
                  <a:gd name="connsiteY21" fmla="*/ 7053 h 56604"/>
                  <a:gd name="connsiteX22" fmla="*/ 46112 w 80233"/>
                  <a:gd name="connsiteY22" fmla="*/ 7847 h 56604"/>
                  <a:gd name="connsiteX23" fmla="*/ 46377 w 80233"/>
                  <a:gd name="connsiteY23" fmla="*/ 11726 h 56604"/>
                  <a:gd name="connsiteX24" fmla="*/ 48669 w 80233"/>
                  <a:gd name="connsiteY24" fmla="*/ 15429 h 56604"/>
                  <a:gd name="connsiteX25" fmla="*/ 59514 w 80233"/>
                  <a:gd name="connsiteY25" fmla="*/ 14019 h 56604"/>
                  <a:gd name="connsiteX26" fmla="*/ 60395 w 80233"/>
                  <a:gd name="connsiteY26" fmla="*/ 13754 h 56604"/>
                  <a:gd name="connsiteX27" fmla="*/ 60131 w 80233"/>
                  <a:gd name="connsiteY27" fmla="*/ 15429 h 56604"/>
                  <a:gd name="connsiteX28" fmla="*/ 61894 w 80233"/>
                  <a:gd name="connsiteY28" fmla="*/ 15165 h 56604"/>
                  <a:gd name="connsiteX29" fmla="*/ 60660 w 80233"/>
                  <a:gd name="connsiteY29" fmla="*/ 18074 h 56604"/>
                  <a:gd name="connsiteX30" fmla="*/ 52196 w 80233"/>
                  <a:gd name="connsiteY30" fmla="*/ 17193 h 56604"/>
                  <a:gd name="connsiteX31" fmla="*/ 51667 w 80233"/>
                  <a:gd name="connsiteY31" fmla="*/ 19838 h 56604"/>
                  <a:gd name="connsiteX32" fmla="*/ 51931 w 80233"/>
                  <a:gd name="connsiteY32" fmla="*/ 20455 h 56604"/>
                  <a:gd name="connsiteX33" fmla="*/ 56340 w 80233"/>
                  <a:gd name="connsiteY33" fmla="*/ 20102 h 56604"/>
                  <a:gd name="connsiteX34" fmla="*/ 61013 w 80233"/>
                  <a:gd name="connsiteY34" fmla="*/ 22483 h 56604"/>
                  <a:gd name="connsiteX35" fmla="*/ 62423 w 80233"/>
                  <a:gd name="connsiteY35" fmla="*/ 22483 h 56604"/>
                  <a:gd name="connsiteX36" fmla="*/ 65333 w 80233"/>
                  <a:gd name="connsiteY36" fmla="*/ 22218 h 56604"/>
                  <a:gd name="connsiteX37" fmla="*/ 67096 w 80233"/>
                  <a:gd name="connsiteY37" fmla="*/ 21866 h 56604"/>
                  <a:gd name="connsiteX38" fmla="*/ 73180 w 80233"/>
                  <a:gd name="connsiteY38" fmla="*/ 25657 h 56604"/>
                  <a:gd name="connsiteX39" fmla="*/ 79616 w 80233"/>
                  <a:gd name="connsiteY39" fmla="*/ 31476 h 56604"/>
                  <a:gd name="connsiteX40" fmla="*/ 80233 w 80233"/>
                  <a:gd name="connsiteY40" fmla="*/ 32358 h 56604"/>
                  <a:gd name="connsiteX41" fmla="*/ 77588 w 80233"/>
                  <a:gd name="connsiteY41" fmla="*/ 38530 h 56604"/>
                  <a:gd name="connsiteX42" fmla="*/ 75825 w 80233"/>
                  <a:gd name="connsiteY42" fmla="*/ 38794 h 56604"/>
                  <a:gd name="connsiteX43" fmla="*/ 74414 w 80233"/>
                  <a:gd name="connsiteY43" fmla="*/ 37912 h 56604"/>
                  <a:gd name="connsiteX44" fmla="*/ 73180 w 80233"/>
                  <a:gd name="connsiteY44" fmla="*/ 41968 h 56604"/>
                  <a:gd name="connsiteX45" fmla="*/ 70887 w 80233"/>
                  <a:gd name="connsiteY45" fmla="*/ 42321 h 56604"/>
                  <a:gd name="connsiteX46" fmla="*/ 69124 w 80233"/>
                  <a:gd name="connsiteY46" fmla="*/ 38530 h 56604"/>
                  <a:gd name="connsiteX47" fmla="*/ 66479 w 80233"/>
                  <a:gd name="connsiteY47" fmla="*/ 37031 h 56604"/>
                  <a:gd name="connsiteX48" fmla="*/ 64187 w 80233"/>
                  <a:gd name="connsiteY48" fmla="*/ 37648 h 56604"/>
                  <a:gd name="connsiteX49" fmla="*/ 58632 w 80233"/>
                  <a:gd name="connsiteY49" fmla="*/ 36149 h 56604"/>
                  <a:gd name="connsiteX50" fmla="*/ 58367 w 80233"/>
                  <a:gd name="connsiteY50" fmla="*/ 36766 h 56604"/>
                  <a:gd name="connsiteX51" fmla="*/ 51667 w 80233"/>
                  <a:gd name="connsiteY51" fmla="*/ 37383 h 56604"/>
                  <a:gd name="connsiteX52" fmla="*/ 50432 w 80233"/>
                  <a:gd name="connsiteY52" fmla="*/ 35884 h 56604"/>
                  <a:gd name="connsiteX53" fmla="*/ 46112 w 80233"/>
                  <a:gd name="connsiteY53" fmla="*/ 35620 h 56604"/>
                  <a:gd name="connsiteX54" fmla="*/ 43202 w 80233"/>
                  <a:gd name="connsiteY54" fmla="*/ 37031 h 56604"/>
                  <a:gd name="connsiteX55" fmla="*/ 40293 w 80233"/>
                  <a:gd name="connsiteY55" fmla="*/ 41439 h 56604"/>
                  <a:gd name="connsiteX56" fmla="*/ 31476 w 80233"/>
                  <a:gd name="connsiteY56" fmla="*/ 41968 h 56604"/>
                  <a:gd name="connsiteX57" fmla="*/ 30594 w 80233"/>
                  <a:gd name="connsiteY57" fmla="*/ 37383 h 56604"/>
                  <a:gd name="connsiteX58" fmla="*/ 29184 w 80233"/>
                  <a:gd name="connsiteY58" fmla="*/ 36502 h 56604"/>
                  <a:gd name="connsiteX59" fmla="*/ 28037 w 80233"/>
                  <a:gd name="connsiteY59" fmla="*/ 37031 h 56604"/>
                  <a:gd name="connsiteX60" fmla="*/ 28037 w 80233"/>
                  <a:gd name="connsiteY60" fmla="*/ 37912 h 56604"/>
                  <a:gd name="connsiteX61" fmla="*/ 27156 w 80233"/>
                  <a:gd name="connsiteY61" fmla="*/ 38794 h 56604"/>
                  <a:gd name="connsiteX62" fmla="*/ 25128 w 80233"/>
                  <a:gd name="connsiteY62" fmla="*/ 38794 h 56604"/>
                  <a:gd name="connsiteX63" fmla="*/ 23629 w 80233"/>
                  <a:gd name="connsiteY63" fmla="*/ 40557 h 56604"/>
                  <a:gd name="connsiteX64" fmla="*/ 22747 w 80233"/>
                  <a:gd name="connsiteY64" fmla="*/ 41175 h 56604"/>
                  <a:gd name="connsiteX65" fmla="*/ 20984 w 80233"/>
                  <a:gd name="connsiteY65" fmla="*/ 39676 h 56604"/>
                  <a:gd name="connsiteX66" fmla="*/ 20102 w 80233"/>
                  <a:gd name="connsiteY66" fmla="*/ 39676 h 56604"/>
                  <a:gd name="connsiteX67" fmla="*/ 19573 w 80233"/>
                  <a:gd name="connsiteY67" fmla="*/ 41175 h 56604"/>
                  <a:gd name="connsiteX68" fmla="*/ 20455 w 80233"/>
                  <a:gd name="connsiteY68" fmla="*/ 43467 h 56604"/>
                  <a:gd name="connsiteX69" fmla="*/ 15782 w 80233"/>
                  <a:gd name="connsiteY69" fmla="*/ 51049 h 56604"/>
                  <a:gd name="connsiteX70" fmla="*/ 13137 w 80233"/>
                  <a:gd name="connsiteY70" fmla="*/ 56604 h 56604"/>
                  <a:gd name="connsiteX71" fmla="*/ 11991 w 80233"/>
                  <a:gd name="connsiteY71" fmla="*/ 56340 h 56604"/>
                  <a:gd name="connsiteX72" fmla="*/ 10492 w 80233"/>
                  <a:gd name="connsiteY72" fmla="*/ 53695 h 56604"/>
                  <a:gd name="connsiteX73" fmla="*/ 6965 w 80233"/>
                  <a:gd name="connsiteY73" fmla="*/ 53077 h 56604"/>
                  <a:gd name="connsiteX74" fmla="*/ 7847 w 80233"/>
                  <a:gd name="connsiteY74" fmla="*/ 51667 h 56604"/>
                  <a:gd name="connsiteX75" fmla="*/ 7318 w 80233"/>
                  <a:gd name="connsiteY75" fmla="*/ 48140 h 56604"/>
                  <a:gd name="connsiteX76" fmla="*/ 4937 w 80233"/>
                  <a:gd name="connsiteY76" fmla="*/ 45848 h 56604"/>
                  <a:gd name="connsiteX77" fmla="*/ 5290 w 80233"/>
                  <a:gd name="connsiteY77" fmla="*/ 44966 h 56604"/>
                  <a:gd name="connsiteX78" fmla="*/ 4937 w 80233"/>
                  <a:gd name="connsiteY78" fmla="*/ 42321 h 56604"/>
                  <a:gd name="connsiteX79" fmla="*/ 6436 w 80233"/>
                  <a:gd name="connsiteY79" fmla="*/ 39411 h 56604"/>
                  <a:gd name="connsiteX80" fmla="*/ 1763 w 80233"/>
                  <a:gd name="connsiteY80" fmla="*/ 36502 h 56604"/>
                  <a:gd name="connsiteX81" fmla="*/ 2381 w 80233"/>
                  <a:gd name="connsiteY81" fmla="*/ 35620 h 56604"/>
                  <a:gd name="connsiteX82" fmla="*/ 1146 w 80233"/>
                  <a:gd name="connsiteY82" fmla="*/ 33857 h 56604"/>
                  <a:gd name="connsiteX83" fmla="*/ 0 w 80233"/>
                  <a:gd name="connsiteY83" fmla="*/ 32358 h 56604"/>
                  <a:gd name="connsiteX84" fmla="*/ 617 w 80233"/>
                  <a:gd name="connsiteY84" fmla="*/ 31829 h 56604"/>
                  <a:gd name="connsiteX85" fmla="*/ 2381 w 80233"/>
                  <a:gd name="connsiteY85" fmla="*/ 32093 h 56604"/>
                  <a:gd name="connsiteX86" fmla="*/ 5819 w 80233"/>
                  <a:gd name="connsiteY86" fmla="*/ 29801 h 56604"/>
                  <a:gd name="connsiteX87" fmla="*/ 6172 w 80233"/>
                  <a:gd name="connsiteY87" fmla="*/ 27685 h 56604"/>
                  <a:gd name="connsiteX88" fmla="*/ 4673 w 80233"/>
                  <a:gd name="connsiteY88" fmla="*/ 23629 h 56604"/>
                  <a:gd name="connsiteX89" fmla="*/ 2910 w 80233"/>
                  <a:gd name="connsiteY89" fmla="*/ 23365 h 56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80233" h="56604">
                    <a:moveTo>
                      <a:pt x="6965" y="20102"/>
                    </a:moveTo>
                    <a:lnTo>
                      <a:pt x="7847" y="17193"/>
                    </a:lnTo>
                    <a:lnTo>
                      <a:pt x="6436" y="16664"/>
                    </a:lnTo>
                    <a:lnTo>
                      <a:pt x="4937" y="14636"/>
                    </a:lnTo>
                    <a:lnTo>
                      <a:pt x="5555" y="14283"/>
                    </a:lnTo>
                    <a:lnTo>
                      <a:pt x="6701" y="10492"/>
                    </a:lnTo>
                    <a:lnTo>
                      <a:pt x="5290" y="5555"/>
                    </a:lnTo>
                    <a:lnTo>
                      <a:pt x="6172" y="5555"/>
                    </a:lnTo>
                    <a:lnTo>
                      <a:pt x="5555" y="3791"/>
                    </a:lnTo>
                    <a:lnTo>
                      <a:pt x="4673" y="3791"/>
                    </a:lnTo>
                    <a:lnTo>
                      <a:pt x="8464" y="617"/>
                    </a:lnTo>
                    <a:lnTo>
                      <a:pt x="11109" y="617"/>
                    </a:lnTo>
                    <a:lnTo>
                      <a:pt x="16047" y="2645"/>
                    </a:lnTo>
                    <a:lnTo>
                      <a:pt x="20984" y="0"/>
                    </a:lnTo>
                    <a:lnTo>
                      <a:pt x="22483" y="617"/>
                    </a:lnTo>
                    <a:lnTo>
                      <a:pt x="25128" y="617"/>
                    </a:lnTo>
                    <a:lnTo>
                      <a:pt x="29801" y="4056"/>
                    </a:lnTo>
                    <a:lnTo>
                      <a:pt x="33592" y="3527"/>
                    </a:lnTo>
                    <a:lnTo>
                      <a:pt x="37031" y="6701"/>
                    </a:lnTo>
                    <a:lnTo>
                      <a:pt x="40822" y="7582"/>
                    </a:lnTo>
                    <a:lnTo>
                      <a:pt x="44084" y="6172"/>
                    </a:lnTo>
                    <a:lnTo>
                      <a:pt x="45848" y="7053"/>
                    </a:lnTo>
                    <a:lnTo>
                      <a:pt x="46112" y="7847"/>
                    </a:lnTo>
                    <a:lnTo>
                      <a:pt x="46377" y="11726"/>
                    </a:lnTo>
                    <a:lnTo>
                      <a:pt x="48669" y="15429"/>
                    </a:lnTo>
                    <a:lnTo>
                      <a:pt x="59514" y="14019"/>
                    </a:lnTo>
                    <a:lnTo>
                      <a:pt x="60395" y="13754"/>
                    </a:lnTo>
                    <a:lnTo>
                      <a:pt x="60131" y="15429"/>
                    </a:lnTo>
                    <a:lnTo>
                      <a:pt x="61894" y="15165"/>
                    </a:lnTo>
                    <a:lnTo>
                      <a:pt x="60660" y="18074"/>
                    </a:lnTo>
                    <a:lnTo>
                      <a:pt x="52196" y="17193"/>
                    </a:lnTo>
                    <a:lnTo>
                      <a:pt x="51667" y="19838"/>
                    </a:lnTo>
                    <a:lnTo>
                      <a:pt x="51931" y="20455"/>
                    </a:lnTo>
                    <a:lnTo>
                      <a:pt x="56340" y="20102"/>
                    </a:lnTo>
                    <a:lnTo>
                      <a:pt x="61013" y="22483"/>
                    </a:lnTo>
                    <a:lnTo>
                      <a:pt x="62423" y="22483"/>
                    </a:lnTo>
                    <a:lnTo>
                      <a:pt x="65333" y="22218"/>
                    </a:lnTo>
                    <a:lnTo>
                      <a:pt x="67096" y="21866"/>
                    </a:lnTo>
                    <a:lnTo>
                      <a:pt x="73180" y="25657"/>
                    </a:lnTo>
                    <a:lnTo>
                      <a:pt x="79616" y="31476"/>
                    </a:lnTo>
                    <a:lnTo>
                      <a:pt x="80233" y="32358"/>
                    </a:lnTo>
                    <a:lnTo>
                      <a:pt x="77588" y="38530"/>
                    </a:lnTo>
                    <a:lnTo>
                      <a:pt x="75825" y="38794"/>
                    </a:lnTo>
                    <a:lnTo>
                      <a:pt x="74414" y="37912"/>
                    </a:lnTo>
                    <a:lnTo>
                      <a:pt x="73180" y="41968"/>
                    </a:lnTo>
                    <a:lnTo>
                      <a:pt x="70887" y="42321"/>
                    </a:lnTo>
                    <a:lnTo>
                      <a:pt x="69124" y="38530"/>
                    </a:lnTo>
                    <a:lnTo>
                      <a:pt x="66479" y="37031"/>
                    </a:lnTo>
                    <a:lnTo>
                      <a:pt x="64187" y="37648"/>
                    </a:lnTo>
                    <a:lnTo>
                      <a:pt x="58632" y="36149"/>
                    </a:lnTo>
                    <a:lnTo>
                      <a:pt x="58367" y="36766"/>
                    </a:lnTo>
                    <a:lnTo>
                      <a:pt x="51667" y="37383"/>
                    </a:lnTo>
                    <a:lnTo>
                      <a:pt x="50432" y="35884"/>
                    </a:lnTo>
                    <a:lnTo>
                      <a:pt x="46112" y="35620"/>
                    </a:lnTo>
                    <a:lnTo>
                      <a:pt x="43202" y="37031"/>
                    </a:lnTo>
                    <a:lnTo>
                      <a:pt x="40293" y="41439"/>
                    </a:lnTo>
                    <a:lnTo>
                      <a:pt x="31476" y="41968"/>
                    </a:lnTo>
                    <a:lnTo>
                      <a:pt x="30594" y="37383"/>
                    </a:lnTo>
                    <a:lnTo>
                      <a:pt x="29184" y="36502"/>
                    </a:lnTo>
                    <a:lnTo>
                      <a:pt x="28037" y="37031"/>
                    </a:lnTo>
                    <a:lnTo>
                      <a:pt x="28037" y="37912"/>
                    </a:lnTo>
                    <a:lnTo>
                      <a:pt x="27156" y="38794"/>
                    </a:lnTo>
                    <a:lnTo>
                      <a:pt x="25128" y="38794"/>
                    </a:lnTo>
                    <a:lnTo>
                      <a:pt x="23629" y="40557"/>
                    </a:lnTo>
                    <a:lnTo>
                      <a:pt x="22747" y="41175"/>
                    </a:lnTo>
                    <a:lnTo>
                      <a:pt x="20984" y="39676"/>
                    </a:lnTo>
                    <a:lnTo>
                      <a:pt x="20102" y="39676"/>
                    </a:lnTo>
                    <a:lnTo>
                      <a:pt x="19573" y="41175"/>
                    </a:lnTo>
                    <a:lnTo>
                      <a:pt x="20455" y="43467"/>
                    </a:lnTo>
                    <a:lnTo>
                      <a:pt x="15782" y="51049"/>
                    </a:lnTo>
                    <a:lnTo>
                      <a:pt x="13137" y="56604"/>
                    </a:lnTo>
                    <a:lnTo>
                      <a:pt x="11991" y="56340"/>
                    </a:lnTo>
                    <a:lnTo>
                      <a:pt x="10492" y="53695"/>
                    </a:lnTo>
                    <a:lnTo>
                      <a:pt x="6965" y="53077"/>
                    </a:lnTo>
                    <a:lnTo>
                      <a:pt x="7847" y="51667"/>
                    </a:lnTo>
                    <a:lnTo>
                      <a:pt x="7318" y="48140"/>
                    </a:lnTo>
                    <a:lnTo>
                      <a:pt x="4937" y="45848"/>
                    </a:lnTo>
                    <a:lnTo>
                      <a:pt x="5290" y="44966"/>
                    </a:lnTo>
                    <a:lnTo>
                      <a:pt x="4937" y="42321"/>
                    </a:lnTo>
                    <a:lnTo>
                      <a:pt x="6436" y="39411"/>
                    </a:lnTo>
                    <a:lnTo>
                      <a:pt x="1763" y="36502"/>
                    </a:lnTo>
                    <a:lnTo>
                      <a:pt x="2381" y="35620"/>
                    </a:lnTo>
                    <a:lnTo>
                      <a:pt x="1146" y="33857"/>
                    </a:lnTo>
                    <a:lnTo>
                      <a:pt x="0" y="32358"/>
                    </a:lnTo>
                    <a:lnTo>
                      <a:pt x="617" y="31829"/>
                    </a:lnTo>
                    <a:lnTo>
                      <a:pt x="2381" y="32093"/>
                    </a:lnTo>
                    <a:lnTo>
                      <a:pt x="5819" y="29801"/>
                    </a:lnTo>
                    <a:lnTo>
                      <a:pt x="6172" y="27685"/>
                    </a:lnTo>
                    <a:lnTo>
                      <a:pt x="4673" y="23629"/>
                    </a:lnTo>
                    <a:lnTo>
                      <a:pt x="2910" y="233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1" name="Freihandform: Form 1720">
                <a:extLst>
                  <a:ext uri="{FF2B5EF4-FFF2-40B4-BE49-F238E27FC236}">
                    <a16:creationId xmlns:a16="http://schemas.microsoft.com/office/drawing/2014/main" id="{6FFFA9A0-1D49-F92E-7071-C4A7E9EBDD5C}"/>
                  </a:ext>
                </a:extLst>
              </p:cNvPr>
              <p:cNvSpPr/>
              <p:nvPr/>
            </p:nvSpPr>
            <p:spPr>
              <a:xfrm>
                <a:off x="2523984" y="3606923"/>
                <a:ext cx="15076" cy="10227"/>
              </a:xfrm>
              <a:custGeom>
                <a:avLst/>
                <a:gdLst>
                  <a:gd name="connsiteX0" fmla="*/ 882 w 15076"/>
                  <a:gd name="connsiteY0" fmla="*/ 10227 h 10227"/>
                  <a:gd name="connsiteX1" fmla="*/ 0 w 15076"/>
                  <a:gd name="connsiteY1" fmla="*/ 7582 h 10227"/>
                  <a:gd name="connsiteX2" fmla="*/ 882 w 15076"/>
                  <a:gd name="connsiteY2" fmla="*/ 7318 h 10227"/>
                  <a:gd name="connsiteX3" fmla="*/ 882 w 15076"/>
                  <a:gd name="connsiteY3" fmla="*/ 6436 h 10227"/>
                  <a:gd name="connsiteX4" fmla="*/ 2028 w 15076"/>
                  <a:gd name="connsiteY4" fmla="*/ 5290 h 10227"/>
                  <a:gd name="connsiteX5" fmla="*/ 6701 w 15076"/>
                  <a:gd name="connsiteY5" fmla="*/ 2645 h 10227"/>
                  <a:gd name="connsiteX6" fmla="*/ 9258 w 15076"/>
                  <a:gd name="connsiteY6" fmla="*/ 4673 h 10227"/>
                  <a:gd name="connsiteX7" fmla="*/ 12255 w 15076"/>
                  <a:gd name="connsiteY7" fmla="*/ 3791 h 10227"/>
                  <a:gd name="connsiteX8" fmla="*/ 13666 w 15076"/>
                  <a:gd name="connsiteY8" fmla="*/ 264 h 10227"/>
                  <a:gd name="connsiteX9" fmla="*/ 14812 w 15076"/>
                  <a:gd name="connsiteY9" fmla="*/ 0 h 10227"/>
                  <a:gd name="connsiteX10" fmla="*/ 15077 w 15076"/>
                  <a:gd name="connsiteY10" fmla="*/ 617 h 10227"/>
                  <a:gd name="connsiteX11" fmla="*/ 14548 w 15076"/>
                  <a:gd name="connsiteY11" fmla="*/ 4673 h 10227"/>
                  <a:gd name="connsiteX12" fmla="*/ 11903 w 15076"/>
                  <a:gd name="connsiteY12" fmla="*/ 8729 h 10227"/>
                  <a:gd name="connsiteX13" fmla="*/ 5555 w 15076"/>
                  <a:gd name="connsiteY13" fmla="*/ 9875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076" h="10227">
                    <a:moveTo>
                      <a:pt x="882" y="10227"/>
                    </a:moveTo>
                    <a:lnTo>
                      <a:pt x="0" y="7582"/>
                    </a:lnTo>
                    <a:lnTo>
                      <a:pt x="882" y="7318"/>
                    </a:lnTo>
                    <a:lnTo>
                      <a:pt x="882" y="6436"/>
                    </a:lnTo>
                    <a:lnTo>
                      <a:pt x="2028" y="5290"/>
                    </a:lnTo>
                    <a:lnTo>
                      <a:pt x="6701" y="2645"/>
                    </a:lnTo>
                    <a:lnTo>
                      <a:pt x="9258" y="4673"/>
                    </a:lnTo>
                    <a:lnTo>
                      <a:pt x="12255" y="3791"/>
                    </a:lnTo>
                    <a:lnTo>
                      <a:pt x="13666" y="264"/>
                    </a:lnTo>
                    <a:lnTo>
                      <a:pt x="14812" y="0"/>
                    </a:lnTo>
                    <a:lnTo>
                      <a:pt x="15077" y="617"/>
                    </a:lnTo>
                    <a:lnTo>
                      <a:pt x="14548" y="4673"/>
                    </a:lnTo>
                    <a:lnTo>
                      <a:pt x="11903" y="8729"/>
                    </a:lnTo>
                    <a:lnTo>
                      <a:pt x="5555" y="987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2" name="Freihandform: Form 1721">
                <a:extLst>
                  <a:ext uri="{FF2B5EF4-FFF2-40B4-BE49-F238E27FC236}">
                    <a16:creationId xmlns:a16="http://schemas.microsoft.com/office/drawing/2014/main" id="{517B894F-EE7B-1C14-EB36-24D8D0C52A59}"/>
                  </a:ext>
                </a:extLst>
              </p:cNvPr>
              <p:cNvSpPr/>
              <p:nvPr/>
            </p:nvSpPr>
            <p:spPr>
              <a:xfrm>
                <a:off x="2308148" y="3668465"/>
                <a:ext cx="9610" cy="5819"/>
              </a:xfrm>
              <a:custGeom>
                <a:avLst/>
                <a:gdLst>
                  <a:gd name="connsiteX0" fmla="*/ 0 w 9610"/>
                  <a:gd name="connsiteY0" fmla="*/ 4673 h 5819"/>
                  <a:gd name="connsiteX1" fmla="*/ 617 w 9610"/>
                  <a:gd name="connsiteY1" fmla="*/ 5819 h 5819"/>
                  <a:gd name="connsiteX2" fmla="*/ 5290 w 9610"/>
                  <a:gd name="connsiteY2" fmla="*/ 3791 h 5819"/>
                  <a:gd name="connsiteX3" fmla="*/ 1499 w 9610"/>
                  <a:gd name="connsiteY3" fmla="*/ 3791 h 5819"/>
                  <a:gd name="connsiteX4" fmla="*/ 882 w 9610"/>
                  <a:gd name="connsiteY4" fmla="*/ 2645 h 5819"/>
                  <a:gd name="connsiteX5" fmla="*/ 0 w 9610"/>
                  <a:gd name="connsiteY5" fmla="*/ 4673 h 5819"/>
                  <a:gd name="connsiteX6" fmla="*/ 9610 w 9610"/>
                  <a:gd name="connsiteY6" fmla="*/ 0 h 5819"/>
                  <a:gd name="connsiteX7" fmla="*/ 8993 w 9610"/>
                  <a:gd name="connsiteY7" fmla="*/ 0 h 5819"/>
                  <a:gd name="connsiteX8" fmla="*/ 8729 w 9610"/>
                  <a:gd name="connsiteY8" fmla="*/ 882 h 5819"/>
                  <a:gd name="connsiteX9" fmla="*/ 9610 w 9610"/>
                  <a:gd name="connsiteY9" fmla="*/ 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610" h="5819">
                    <a:moveTo>
                      <a:pt x="0" y="4673"/>
                    </a:moveTo>
                    <a:lnTo>
                      <a:pt x="617" y="5819"/>
                    </a:lnTo>
                    <a:lnTo>
                      <a:pt x="5290" y="3791"/>
                    </a:lnTo>
                    <a:lnTo>
                      <a:pt x="1499" y="3791"/>
                    </a:lnTo>
                    <a:lnTo>
                      <a:pt x="882" y="2645"/>
                    </a:lnTo>
                    <a:lnTo>
                      <a:pt x="0" y="4673"/>
                    </a:lnTo>
                    <a:close/>
                    <a:moveTo>
                      <a:pt x="9610" y="0"/>
                    </a:moveTo>
                    <a:lnTo>
                      <a:pt x="8993" y="0"/>
                    </a:lnTo>
                    <a:lnTo>
                      <a:pt x="8729" y="882"/>
                    </a:lnTo>
                    <a:lnTo>
                      <a:pt x="9610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3" name="Freihandform: Form 1722">
                <a:extLst>
                  <a:ext uri="{FF2B5EF4-FFF2-40B4-BE49-F238E27FC236}">
                    <a16:creationId xmlns:a16="http://schemas.microsoft.com/office/drawing/2014/main" id="{40A05F09-74A5-604E-6B9B-9A612084E745}"/>
                  </a:ext>
                </a:extLst>
              </p:cNvPr>
              <p:cNvSpPr/>
              <p:nvPr/>
            </p:nvSpPr>
            <p:spPr>
              <a:xfrm>
                <a:off x="2365810" y="3688832"/>
                <a:ext cx="47611" cy="20190"/>
              </a:xfrm>
              <a:custGeom>
                <a:avLst/>
                <a:gdLst>
                  <a:gd name="connsiteX0" fmla="*/ 26274 w 47611"/>
                  <a:gd name="connsiteY0" fmla="*/ 20191 h 20190"/>
                  <a:gd name="connsiteX1" fmla="*/ 23365 w 47611"/>
                  <a:gd name="connsiteY1" fmla="*/ 17810 h 20190"/>
                  <a:gd name="connsiteX2" fmla="*/ 21072 w 47611"/>
                  <a:gd name="connsiteY2" fmla="*/ 16047 h 20190"/>
                  <a:gd name="connsiteX3" fmla="*/ 14371 w 47611"/>
                  <a:gd name="connsiteY3" fmla="*/ 16664 h 20190"/>
                  <a:gd name="connsiteX4" fmla="*/ 11726 w 47611"/>
                  <a:gd name="connsiteY4" fmla="*/ 14019 h 20190"/>
                  <a:gd name="connsiteX5" fmla="*/ 11726 w 47611"/>
                  <a:gd name="connsiteY5" fmla="*/ 12608 h 20190"/>
                  <a:gd name="connsiteX6" fmla="*/ 7582 w 47611"/>
                  <a:gd name="connsiteY6" fmla="*/ 10228 h 20190"/>
                  <a:gd name="connsiteX7" fmla="*/ 7053 w 47611"/>
                  <a:gd name="connsiteY7" fmla="*/ 8200 h 20190"/>
                  <a:gd name="connsiteX8" fmla="*/ 4144 w 47611"/>
                  <a:gd name="connsiteY8" fmla="*/ 7935 h 20190"/>
                  <a:gd name="connsiteX9" fmla="*/ 882 w 47611"/>
                  <a:gd name="connsiteY9" fmla="*/ 7582 h 20190"/>
                  <a:gd name="connsiteX10" fmla="*/ 0 w 47611"/>
                  <a:gd name="connsiteY10" fmla="*/ 6436 h 20190"/>
                  <a:gd name="connsiteX11" fmla="*/ 3262 w 47611"/>
                  <a:gd name="connsiteY11" fmla="*/ 1763 h 20190"/>
                  <a:gd name="connsiteX12" fmla="*/ 9081 w 47611"/>
                  <a:gd name="connsiteY12" fmla="*/ 2116 h 20190"/>
                  <a:gd name="connsiteX13" fmla="*/ 9346 w 47611"/>
                  <a:gd name="connsiteY13" fmla="*/ 617 h 20190"/>
                  <a:gd name="connsiteX14" fmla="*/ 10845 w 47611"/>
                  <a:gd name="connsiteY14" fmla="*/ 0 h 20190"/>
                  <a:gd name="connsiteX15" fmla="*/ 22836 w 47611"/>
                  <a:gd name="connsiteY15" fmla="*/ 1499 h 20190"/>
                  <a:gd name="connsiteX16" fmla="*/ 33592 w 47611"/>
                  <a:gd name="connsiteY16" fmla="*/ 4673 h 20190"/>
                  <a:gd name="connsiteX17" fmla="*/ 38001 w 47611"/>
                  <a:gd name="connsiteY17" fmla="*/ 7318 h 20190"/>
                  <a:gd name="connsiteX18" fmla="*/ 44349 w 47611"/>
                  <a:gd name="connsiteY18" fmla="*/ 9081 h 20190"/>
                  <a:gd name="connsiteX19" fmla="*/ 47611 w 47611"/>
                  <a:gd name="connsiteY19" fmla="*/ 14900 h 20190"/>
                  <a:gd name="connsiteX20" fmla="*/ 45230 w 47611"/>
                  <a:gd name="connsiteY20" fmla="*/ 16047 h 20190"/>
                  <a:gd name="connsiteX21" fmla="*/ 38794 w 47611"/>
                  <a:gd name="connsiteY21" fmla="*/ 16047 h 20190"/>
                  <a:gd name="connsiteX22" fmla="*/ 36766 w 47611"/>
                  <a:gd name="connsiteY22" fmla="*/ 14371 h 20190"/>
                  <a:gd name="connsiteX23" fmla="*/ 33592 w 47611"/>
                  <a:gd name="connsiteY23" fmla="*/ 13137 h 20190"/>
                  <a:gd name="connsiteX24" fmla="*/ 32446 w 47611"/>
                  <a:gd name="connsiteY24" fmla="*/ 15253 h 20190"/>
                  <a:gd name="connsiteX25" fmla="*/ 31829 w 47611"/>
                  <a:gd name="connsiteY25" fmla="*/ 16664 h 20190"/>
                  <a:gd name="connsiteX26" fmla="*/ 29184 w 47611"/>
                  <a:gd name="connsiteY26" fmla="*/ 16664 h 20190"/>
                  <a:gd name="connsiteX27" fmla="*/ 28302 w 47611"/>
                  <a:gd name="connsiteY27" fmla="*/ 15253 h 20190"/>
                  <a:gd name="connsiteX28" fmla="*/ 26891 w 47611"/>
                  <a:gd name="connsiteY28" fmla="*/ 15782 h 20190"/>
                  <a:gd name="connsiteX29" fmla="*/ 25393 w 47611"/>
                  <a:gd name="connsiteY29" fmla="*/ 18427 h 20190"/>
                  <a:gd name="connsiteX30" fmla="*/ 27156 w 47611"/>
                  <a:gd name="connsiteY30" fmla="*/ 19309 h 20190"/>
                  <a:gd name="connsiteX31" fmla="*/ 27156 w 47611"/>
                  <a:gd name="connsiteY31" fmla="*/ 19573 h 20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7611" h="20190">
                    <a:moveTo>
                      <a:pt x="26274" y="20191"/>
                    </a:moveTo>
                    <a:lnTo>
                      <a:pt x="23365" y="17810"/>
                    </a:lnTo>
                    <a:lnTo>
                      <a:pt x="21072" y="16047"/>
                    </a:lnTo>
                    <a:lnTo>
                      <a:pt x="14371" y="16664"/>
                    </a:lnTo>
                    <a:lnTo>
                      <a:pt x="11726" y="14019"/>
                    </a:lnTo>
                    <a:lnTo>
                      <a:pt x="11726" y="12608"/>
                    </a:lnTo>
                    <a:lnTo>
                      <a:pt x="7582" y="10228"/>
                    </a:lnTo>
                    <a:lnTo>
                      <a:pt x="7053" y="8200"/>
                    </a:lnTo>
                    <a:lnTo>
                      <a:pt x="4144" y="7935"/>
                    </a:lnTo>
                    <a:lnTo>
                      <a:pt x="882" y="7582"/>
                    </a:lnTo>
                    <a:lnTo>
                      <a:pt x="0" y="6436"/>
                    </a:lnTo>
                    <a:lnTo>
                      <a:pt x="3262" y="1763"/>
                    </a:lnTo>
                    <a:lnTo>
                      <a:pt x="9081" y="2116"/>
                    </a:lnTo>
                    <a:lnTo>
                      <a:pt x="9346" y="617"/>
                    </a:lnTo>
                    <a:lnTo>
                      <a:pt x="10845" y="0"/>
                    </a:lnTo>
                    <a:lnTo>
                      <a:pt x="22836" y="1499"/>
                    </a:lnTo>
                    <a:lnTo>
                      <a:pt x="33592" y="4673"/>
                    </a:lnTo>
                    <a:lnTo>
                      <a:pt x="38001" y="7318"/>
                    </a:lnTo>
                    <a:lnTo>
                      <a:pt x="44349" y="9081"/>
                    </a:lnTo>
                    <a:lnTo>
                      <a:pt x="47611" y="14900"/>
                    </a:lnTo>
                    <a:lnTo>
                      <a:pt x="45230" y="16047"/>
                    </a:lnTo>
                    <a:lnTo>
                      <a:pt x="38794" y="16047"/>
                    </a:lnTo>
                    <a:lnTo>
                      <a:pt x="36766" y="14371"/>
                    </a:lnTo>
                    <a:lnTo>
                      <a:pt x="33592" y="13137"/>
                    </a:lnTo>
                    <a:lnTo>
                      <a:pt x="32446" y="15253"/>
                    </a:lnTo>
                    <a:lnTo>
                      <a:pt x="31829" y="16664"/>
                    </a:lnTo>
                    <a:lnTo>
                      <a:pt x="29184" y="16664"/>
                    </a:lnTo>
                    <a:lnTo>
                      <a:pt x="28302" y="15253"/>
                    </a:lnTo>
                    <a:lnTo>
                      <a:pt x="26891" y="15782"/>
                    </a:lnTo>
                    <a:lnTo>
                      <a:pt x="25393" y="18427"/>
                    </a:lnTo>
                    <a:lnTo>
                      <a:pt x="27156" y="19309"/>
                    </a:lnTo>
                    <a:lnTo>
                      <a:pt x="27156" y="195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4" name="Freihandform: Form 1723">
                <a:extLst>
                  <a:ext uri="{FF2B5EF4-FFF2-40B4-BE49-F238E27FC236}">
                    <a16:creationId xmlns:a16="http://schemas.microsoft.com/office/drawing/2014/main" id="{41A6AAEE-C87A-FC02-6254-E64C101E46E5}"/>
                  </a:ext>
                </a:extLst>
              </p:cNvPr>
              <p:cNvSpPr/>
              <p:nvPr/>
            </p:nvSpPr>
            <p:spPr>
              <a:xfrm>
                <a:off x="2455830" y="3653917"/>
                <a:ext cx="62334" cy="47170"/>
              </a:xfrm>
              <a:custGeom>
                <a:avLst/>
                <a:gdLst>
                  <a:gd name="connsiteX0" fmla="*/ 59690 w 62334"/>
                  <a:gd name="connsiteY0" fmla="*/ 6084 h 47170"/>
                  <a:gd name="connsiteX1" fmla="*/ 61189 w 62334"/>
                  <a:gd name="connsiteY1" fmla="*/ 11021 h 47170"/>
                  <a:gd name="connsiteX2" fmla="*/ 60043 w 62334"/>
                  <a:gd name="connsiteY2" fmla="*/ 14812 h 47170"/>
                  <a:gd name="connsiteX3" fmla="*/ 59425 w 62334"/>
                  <a:gd name="connsiteY3" fmla="*/ 15077 h 47170"/>
                  <a:gd name="connsiteX4" fmla="*/ 60924 w 62334"/>
                  <a:gd name="connsiteY4" fmla="*/ 17105 h 47170"/>
                  <a:gd name="connsiteX5" fmla="*/ 62335 w 62334"/>
                  <a:gd name="connsiteY5" fmla="*/ 17722 h 47170"/>
                  <a:gd name="connsiteX6" fmla="*/ 61453 w 62334"/>
                  <a:gd name="connsiteY6" fmla="*/ 20632 h 47170"/>
                  <a:gd name="connsiteX7" fmla="*/ 57398 w 62334"/>
                  <a:gd name="connsiteY7" fmla="*/ 23806 h 47170"/>
                  <a:gd name="connsiteX8" fmla="*/ 59161 w 62334"/>
                  <a:gd name="connsiteY8" fmla="*/ 24070 h 47170"/>
                  <a:gd name="connsiteX9" fmla="*/ 60572 w 62334"/>
                  <a:gd name="connsiteY9" fmla="*/ 28126 h 47170"/>
                  <a:gd name="connsiteX10" fmla="*/ 60307 w 62334"/>
                  <a:gd name="connsiteY10" fmla="*/ 30154 h 47170"/>
                  <a:gd name="connsiteX11" fmla="*/ 56780 w 62334"/>
                  <a:gd name="connsiteY11" fmla="*/ 32446 h 47170"/>
                  <a:gd name="connsiteX12" fmla="*/ 55017 w 62334"/>
                  <a:gd name="connsiteY12" fmla="*/ 32182 h 47170"/>
                  <a:gd name="connsiteX13" fmla="*/ 54400 w 62334"/>
                  <a:gd name="connsiteY13" fmla="*/ 32799 h 47170"/>
                  <a:gd name="connsiteX14" fmla="*/ 55546 w 62334"/>
                  <a:gd name="connsiteY14" fmla="*/ 34209 h 47170"/>
                  <a:gd name="connsiteX15" fmla="*/ 56692 w 62334"/>
                  <a:gd name="connsiteY15" fmla="*/ 35973 h 47170"/>
                  <a:gd name="connsiteX16" fmla="*/ 56075 w 62334"/>
                  <a:gd name="connsiteY16" fmla="*/ 36854 h 47170"/>
                  <a:gd name="connsiteX17" fmla="*/ 60748 w 62334"/>
                  <a:gd name="connsiteY17" fmla="*/ 39764 h 47170"/>
                  <a:gd name="connsiteX18" fmla="*/ 59249 w 62334"/>
                  <a:gd name="connsiteY18" fmla="*/ 42674 h 47170"/>
                  <a:gd name="connsiteX19" fmla="*/ 59514 w 62334"/>
                  <a:gd name="connsiteY19" fmla="*/ 45319 h 47170"/>
                  <a:gd name="connsiteX20" fmla="*/ 59249 w 62334"/>
                  <a:gd name="connsiteY20" fmla="*/ 46200 h 47170"/>
                  <a:gd name="connsiteX21" fmla="*/ 56075 w 62334"/>
                  <a:gd name="connsiteY21" fmla="*/ 43291 h 47170"/>
                  <a:gd name="connsiteX22" fmla="*/ 52548 w 62334"/>
                  <a:gd name="connsiteY22" fmla="*/ 41880 h 47170"/>
                  <a:gd name="connsiteX23" fmla="*/ 41175 w 62334"/>
                  <a:gd name="connsiteY23" fmla="*/ 43291 h 47170"/>
                  <a:gd name="connsiteX24" fmla="*/ 37648 w 62334"/>
                  <a:gd name="connsiteY24" fmla="*/ 43291 h 47170"/>
                  <a:gd name="connsiteX25" fmla="*/ 36502 w 62334"/>
                  <a:gd name="connsiteY25" fmla="*/ 44172 h 47170"/>
                  <a:gd name="connsiteX26" fmla="*/ 24863 w 62334"/>
                  <a:gd name="connsiteY26" fmla="*/ 41527 h 47170"/>
                  <a:gd name="connsiteX27" fmla="*/ 22483 w 62334"/>
                  <a:gd name="connsiteY27" fmla="*/ 41263 h 47170"/>
                  <a:gd name="connsiteX28" fmla="*/ 18956 w 62334"/>
                  <a:gd name="connsiteY28" fmla="*/ 42409 h 47170"/>
                  <a:gd name="connsiteX29" fmla="*/ 17193 w 62334"/>
                  <a:gd name="connsiteY29" fmla="*/ 41880 h 47170"/>
                  <a:gd name="connsiteX30" fmla="*/ 16576 w 62334"/>
                  <a:gd name="connsiteY30" fmla="*/ 42762 h 47170"/>
                  <a:gd name="connsiteX31" fmla="*/ 14283 w 62334"/>
                  <a:gd name="connsiteY31" fmla="*/ 43908 h 47170"/>
                  <a:gd name="connsiteX32" fmla="*/ 14019 w 62334"/>
                  <a:gd name="connsiteY32" fmla="*/ 44790 h 47170"/>
                  <a:gd name="connsiteX33" fmla="*/ 14900 w 62334"/>
                  <a:gd name="connsiteY33" fmla="*/ 46553 h 47170"/>
                  <a:gd name="connsiteX34" fmla="*/ 14636 w 62334"/>
                  <a:gd name="connsiteY34" fmla="*/ 47170 h 47170"/>
                  <a:gd name="connsiteX35" fmla="*/ 13137 w 62334"/>
                  <a:gd name="connsiteY35" fmla="*/ 47170 h 47170"/>
                  <a:gd name="connsiteX36" fmla="*/ 8200 w 62334"/>
                  <a:gd name="connsiteY36" fmla="*/ 41615 h 47170"/>
                  <a:gd name="connsiteX37" fmla="*/ 5290 w 62334"/>
                  <a:gd name="connsiteY37" fmla="*/ 40117 h 47170"/>
                  <a:gd name="connsiteX38" fmla="*/ 2645 w 62334"/>
                  <a:gd name="connsiteY38" fmla="*/ 40381 h 47170"/>
                  <a:gd name="connsiteX39" fmla="*/ 0 w 62334"/>
                  <a:gd name="connsiteY39" fmla="*/ 37472 h 47170"/>
                  <a:gd name="connsiteX40" fmla="*/ 1146 w 62334"/>
                  <a:gd name="connsiteY40" fmla="*/ 32799 h 47170"/>
                  <a:gd name="connsiteX41" fmla="*/ 4937 w 62334"/>
                  <a:gd name="connsiteY41" fmla="*/ 31300 h 47170"/>
                  <a:gd name="connsiteX42" fmla="*/ 7406 w 62334"/>
                  <a:gd name="connsiteY42" fmla="*/ 31300 h 47170"/>
                  <a:gd name="connsiteX43" fmla="*/ 15870 w 62334"/>
                  <a:gd name="connsiteY43" fmla="*/ 34209 h 47170"/>
                  <a:gd name="connsiteX44" fmla="*/ 19044 w 62334"/>
                  <a:gd name="connsiteY44" fmla="*/ 33328 h 47170"/>
                  <a:gd name="connsiteX45" fmla="*/ 19926 w 62334"/>
                  <a:gd name="connsiteY45" fmla="*/ 33328 h 47170"/>
                  <a:gd name="connsiteX46" fmla="*/ 19309 w 62334"/>
                  <a:gd name="connsiteY46" fmla="*/ 34209 h 47170"/>
                  <a:gd name="connsiteX47" fmla="*/ 16928 w 62334"/>
                  <a:gd name="connsiteY47" fmla="*/ 34209 h 47170"/>
                  <a:gd name="connsiteX48" fmla="*/ 17810 w 62334"/>
                  <a:gd name="connsiteY48" fmla="*/ 35356 h 47170"/>
                  <a:gd name="connsiteX49" fmla="*/ 23012 w 62334"/>
                  <a:gd name="connsiteY49" fmla="*/ 34738 h 47170"/>
                  <a:gd name="connsiteX50" fmla="*/ 34386 w 62334"/>
                  <a:gd name="connsiteY50" fmla="*/ 37031 h 47170"/>
                  <a:gd name="connsiteX51" fmla="*/ 37031 w 62334"/>
                  <a:gd name="connsiteY51" fmla="*/ 36766 h 47170"/>
                  <a:gd name="connsiteX52" fmla="*/ 38177 w 62334"/>
                  <a:gd name="connsiteY52" fmla="*/ 37031 h 47170"/>
                  <a:gd name="connsiteX53" fmla="*/ 40205 w 62334"/>
                  <a:gd name="connsiteY53" fmla="*/ 33857 h 47170"/>
                  <a:gd name="connsiteX54" fmla="*/ 45142 w 62334"/>
                  <a:gd name="connsiteY54" fmla="*/ 33857 h 47170"/>
                  <a:gd name="connsiteX55" fmla="*/ 46024 w 62334"/>
                  <a:gd name="connsiteY55" fmla="*/ 34738 h 47170"/>
                  <a:gd name="connsiteX56" fmla="*/ 46641 w 62334"/>
                  <a:gd name="connsiteY56" fmla="*/ 34121 h 47170"/>
                  <a:gd name="connsiteX57" fmla="*/ 46906 w 62334"/>
                  <a:gd name="connsiteY57" fmla="*/ 31212 h 47170"/>
                  <a:gd name="connsiteX58" fmla="*/ 42233 w 62334"/>
                  <a:gd name="connsiteY58" fmla="*/ 28302 h 47170"/>
                  <a:gd name="connsiteX59" fmla="*/ 36149 w 62334"/>
                  <a:gd name="connsiteY59" fmla="*/ 21866 h 47170"/>
                  <a:gd name="connsiteX60" fmla="*/ 36766 w 62334"/>
                  <a:gd name="connsiteY60" fmla="*/ 20720 h 47170"/>
                  <a:gd name="connsiteX61" fmla="*/ 38265 w 62334"/>
                  <a:gd name="connsiteY61" fmla="*/ 20720 h 47170"/>
                  <a:gd name="connsiteX62" fmla="*/ 38530 w 62334"/>
                  <a:gd name="connsiteY62" fmla="*/ 19838 h 47170"/>
                  <a:gd name="connsiteX63" fmla="*/ 36766 w 62334"/>
                  <a:gd name="connsiteY63" fmla="*/ 17810 h 47170"/>
                  <a:gd name="connsiteX64" fmla="*/ 37031 w 62334"/>
                  <a:gd name="connsiteY64" fmla="*/ 16047 h 47170"/>
                  <a:gd name="connsiteX65" fmla="*/ 38530 w 62334"/>
                  <a:gd name="connsiteY65" fmla="*/ 15782 h 47170"/>
                  <a:gd name="connsiteX66" fmla="*/ 37383 w 62334"/>
                  <a:gd name="connsiteY66" fmla="*/ 14900 h 47170"/>
                  <a:gd name="connsiteX67" fmla="*/ 38001 w 62334"/>
                  <a:gd name="connsiteY67" fmla="*/ 13754 h 47170"/>
                  <a:gd name="connsiteX68" fmla="*/ 39499 w 62334"/>
                  <a:gd name="connsiteY68" fmla="*/ 12873 h 47170"/>
                  <a:gd name="connsiteX69" fmla="*/ 38882 w 62334"/>
                  <a:gd name="connsiteY69" fmla="*/ 11991 h 47170"/>
                  <a:gd name="connsiteX70" fmla="*/ 37383 w 62334"/>
                  <a:gd name="connsiteY70" fmla="*/ 11991 h 47170"/>
                  <a:gd name="connsiteX71" fmla="*/ 32446 w 62334"/>
                  <a:gd name="connsiteY71" fmla="*/ 8200 h 47170"/>
                  <a:gd name="connsiteX72" fmla="*/ 23365 w 62334"/>
                  <a:gd name="connsiteY72" fmla="*/ 7318 h 47170"/>
                  <a:gd name="connsiteX73" fmla="*/ 22218 w 62334"/>
                  <a:gd name="connsiteY73" fmla="*/ 6436 h 47170"/>
                  <a:gd name="connsiteX74" fmla="*/ 22218 w 62334"/>
                  <a:gd name="connsiteY74" fmla="*/ 5290 h 47170"/>
                  <a:gd name="connsiteX75" fmla="*/ 23365 w 62334"/>
                  <a:gd name="connsiteY75" fmla="*/ 2645 h 47170"/>
                  <a:gd name="connsiteX76" fmla="*/ 27773 w 62334"/>
                  <a:gd name="connsiteY76" fmla="*/ 882 h 47170"/>
                  <a:gd name="connsiteX77" fmla="*/ 29801 w 62334"/>
                  <a:gd name="connsiteY77" fmla="*/ 265 h 47170"/>
                  <a:gd name="connsiteX78" fmla="*/ 35620 w 62334"/>
                  <a:gd name="connsiteY78" fmla="*/ 0 h 47170"/>
                  <a:gd name="connsiteX79" fmla="*/ 38794 w 62334"/>
                  <a:gd name="connsiteY79" fmla="*/ 265 h 47170"/>
                  <a:gd name="connsiteX80" fmla="*/ 45495 w 62334"/>
                  <a:gd name="connsiteY80" fmla="*/ 2910 h 47170"/>
                  <a:gd name="connsiteX81" fmla="*/ 47258 w 62334"/>
                  <a:gd name="connsiteY81" fmla="*/ 4408 h 47170"/>
                  <a:gd name="connsiteX82" fmla="*/ 49551 w 62334"/>
                  <a:gd name="connsiteY82" fmla="*/ 3791 h 47170"/>
                  <a:gd name="connsiteX83" fmla="*/ 49551 w 62334"/>
                  <a:gd name="connsiteY83" fmla="*/ 4673 h 47170"/>
                  <a:gd name="connsiteX84" fmla="*/ 54224 w 62334"/>
                  <a:gd name="connsiteY84" fmla="*/ 5290 h 47170"/>
                  <a:gd name="connsiteX85" fmla="*/ 57133 w 62334"/>
                  <a:gd name="connsiteY85" fmla="*/ 5555 h 47170"/>
                  <a:gd name="connsiteX86" fmla="*/ 55987 w 62334"/>
                  <a:gd name="connsiteY86" fmla="*/ 6436 h 47170"/>
                  <a:gd name="connsiteX87" fmla="*/ 58015 w 62334"/>
                  <a:gd name="connsiteY87" fmla="*/ 7053 h 47170"/>
                  <a:gd name="connsiteX88" fmla="*/ 57398 w 62334"/>
                  <a:gd name="connsiteY88" fmla="*/ 5907 h 47170"/>
                  <a:gd name="connsiteX89" fmla="*/ 59690 w 62334"/>
                  <a:gd name="connsiteY89" fmla="*/ 5907 h 47170"/>
                  <a:gd name="connsiteX90" fmla="*/ 36325 w 62334"/>
                  <a:gd name="connsiteY90" fmla="*/ 30594 h 47170"/>
                  <a:gd name="connsiteX91" fmla="*/ 27597 w 62334"/>
                  <a:gd name="connsiteY91" fmla="*/ 27420 h 47170"/>
                  <a:gd name="connsiteX92" fmla="*/ 25833 w 62334"/>
                  <a:gd name="connsiteY92" fmla="*/ 24775 h 47170"/>
                  <a:gd name="connsiteX93" fmla="*/ 27597 w 62334"/>
                  <a:gd name="connsiteY93" fmla="*/ 23894 h 47170"/>
                  <a:gd name="connsiteX94" fmla="*/ 35444 w 62334"/>
                  <a:gd name="connsiteY94" fmla="*/ 27420 h 47170"/>
                  <a:gd name="connsiteX95" fmla="*/ 36590 w 62334"/>
                  <a:gd name="connsiteY95" fmla="*/ 29801 h 47170"/>
                  <a:gd name="connsiteX96" fmla="*/ 36325 w 62334"/>
                  <a:gd name="connsiteY96" fmla="*/ 30594 h 47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62334" h="47170">
                    <a:moveTo>
                      <a:pt x="59690" y="6084"/>
                    </a:moveTo>
                    <a:lnTo>
                      <a:pt x="61189" y="11021"/>
                    </a:lnTo>
                    <a:lnTo>
                      <a:pt x="60043" y="14812"/>
                    </a:lnTo>
                    <a:lnTo>
                      <a:pt x="59425" y="15077"/>
                    </a:lnTo>
                    <a:lnTo>
                      <a:pt x="60924" y="17105"/>
                    </a:lnTo>
                    <a:lnTo>
                      <a:pt x="62335" y="17722"/>
                    </a:lnTo>
                    <a:lnTo>
                      <a:pt x="61453" y="20632"/>
                    </a:lnTo>
                    <a:lnTo>
                      <a:pt x="57398" y="23806"/>
                    </a:lnTo>
                    <a:lnTo>
                      <a:pt x="59161" y="24070"/>
                    </a:lnTo>
                    <a:lnTo>
                      <a:pt x="60572" y="28126"/>
                    </a:lnTo>
                    <a:lnTo>
                      <a:pt x="60307" y="30154"/>
                    </a:lnTo>
                    <a:lnTo>
                      <a:pt x="56780" y="32446"/>
                    </a:lnTo>
                    <a:lnTo>
                      <a:pt x="55017" y="32182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5973"/>
                    </a:lnTo>
                    <a:lnTo>
                      <a:pt x="56075" y="36854"/>
                    </a:lnTo>
                    <a:lnTo>
                      <a:pt x="60748" y="39764"/>
                    </a:lnTo>
                    <a:lnTo>
                      <a:pt x="59249" y="42674"/>
                    </a:lnTo>
                    <a:lnTo>
                      <a:pt x="59514" y="45319"/>
                    </a:lnTo>
                    <a:lnTo>
                      <a:pt x="59249" y="46200"/>
                    </a:lnTo>
                    <a:lnTo>
                      <a:pt x="56075" y="43291"/>
                    </a:lnTo>
                    <a:lnTo>
                      <a:pt x="52548" y="41880"/>
                    </a:lnTo>
                    <a:lnTo>
                      <a:pt x="41175" y="43291"/>
                    </a:lnTo>
                    <a:lnTo>
                      <a:pt x="37648" y="43291"/>
                    </a:lnTo>
                    <a:lnTo>
                      <a:pt x="36502" y="44172"/>
                    </a:lnTo>
                    <a:lnTo>
                      <a:pt x="24863" y="41527"/>
                    </a:lnTo>
                    <a:lnTo>
                      <a:pt x="22483" y="41263"/>
                    </a:lnTo>
                    <a:lnTo>
                      <a:pt x="18956" y="42409"/>
                    </a:lnTo>
                    <a:lnTo>
                      <a:pt x="17193" y="41880"/>
                    </a:lnTo>
                    <a:lnTo>
                      <a:pt x="16576" y="42762"/>
                    </a:lnTo>
                    <a:lnTo>
                      <a:pt x="14283" y="43908"/>
                    </a:lnTo>
                    <a:lnTo>
                      <a:pt x="14019" y="44790"/>
                    </a:lnTo>
                    <a:lnTo>
                      <a:pt x="14900" y="46553"/>
                    </a:lnTo>
                    <a:lnTo>
                      <a:pt x="14636" y="47170"/>
                    </a:lnTo>
                    <a:lnTo>
                      <a:pt x="13137" y="47170"/>
                    </a:lnTo>
                    <a:lnTo>
                      <a:pt x="8200" y="41615"/>
                    </a:lnTo>
                    <a:lnTo>
                      <a:pt x="5290" y="40117"/>
                    </a:lnTo>
                    <a:lnTo>
                      <a:pt x="2645" y="40381"/>
                    </a:lnTo>
                    <a:lnTo>
                      <a:pt x="0" y="37472"/>
                    </a:lnTo>
                    <a:lnTo>
                      <a:pt x="1146" y="32799"/>
                    </a:lnTo>
                    <a:lnTo>
                      <a:pt x="4937" y="31300"/>
                    </a:lnTo>
                    <a:lnTo>
                      <a:pt x="7406" y="31300"/>
                    </a:lnTo>
                    <a:lnTo>
                      <a:pt x="15870" y="34209"/>
                    </a:lnTo>
                    <a:lnTo>
                      <a:pt x="19044" y="33328"/>
                    </a:lnTo>
                    <a:lnTo>
                      <a:pt x="19926" y="33328"/>
                    </a:lnTo>
                    <a:lnTo>
                      <a:pt x="19309" y="34209"/>
                    </a:lnTo>
                    <a:lnTo>
                      <a:pt x="16928" y="34209"/>
                    </a:lnTo>
                    <a:lnTo>
                      <a:pt x="17810" y="35356"/>
                    </a:lnTo>
                    <a:lnTo>
                      <a:pt x="23012" y="34738"/>
                    </a:lnTo>
                    <a:lnTo>
                      <a:pt x="34386" y="37031"/>
                    </a:lnTo>
                    <a:lnTo>
                      <a:pt x="37031" y="36766"/>
                    </a:lnTo>
                    <a:lnTo>
                      <a:pt x="38177" y="37031"/>
                    </a:lnTo>
                    <a:lnTo>
                      <a:pt x="40205" y="33857"/>
                    </a:lnTo>
                    <a:lnTo>
                      <a:pt x="45142" y="33857"/>
                    </a:lnTo>
                    <a:lnTo>
                      <a:pt x="46024" y="34738"/>
                    </a:lnTo>
                    <a:lnTo>
                      <a:pt x="46641" y="34121"/>
                    </a:lnTo>
                    <a:lnTo>
                      <a:pt x="46906" y="31212"/>
                    </a:lnTo>
                    <a:lnTo>
                      <a:pt x="42233" y="28302"/>
                    </a:lnTo>
                    <a:lnTo>
                      <a:pt x="36149" y="21866"/>
                    </a:lnTo>
                    <a:lnTo>
                      <a:pt x="36766" y="20720"/>
                    </a:lnTo>
                    <a:lnTo>
                      <a:pt x="38265" y="20720"/>
                    </a:lnTo>
                    <a:lnTo>
                      <a:pt x="38530" y="19838"/>
                    </a:lnTo>
                    <a:lnTo>
                      <a:pt x="36766" y="17810"/>
                    </a:lnTo>
                    <a:lnTo>
                      <a:pt x="37031" y="16047"/>
                    </a:lnTo>
                    <a:lnTo>
                      <a:pt x="38530" y="15782"/>
                    </a:lnTo>
                    <a:lnTo>
                      <a:pt x="37383" y="14900"/>
                    </a:lnTo>
                    <a:lnTo>
                      <a:pt x="38001" y="13754"/>
                    </a:lnTo>
                    <a:lnTo>
                      <a:pt x="39499" y="12873"/>
                    </a:lnTo>
                    <a:lnTo>
                      <a:pt x="38882" y="11991"/>
                    </a:lnTo>
                    <a:lnTo>
                      <a:pt x="37383" y="11991"/>
                    </a:lnTo>
                    <a:lnTo>
                      <a:pt x="32446" y="8200"/>
                    </a:lnTo>
                    <a:lnTo>
                      <a:pt x="23365" y="7318"/>
                    </a:lnTo>
                    <a:lnTo>
                      <a:pt x="22218" y="6436"/>
                    </a:lnTo>
                    <a:lnTo>
                      <a:pt x="22218" y="5290"/>
                    </a:lnTo>
                    <a:lnTo>
                      <a:pt x="23365" y="2645"/>
                    </a:lnTo>
                    <a:lnTo>
                      <a:pt x="27773" y="882"/>
                    </a:lnTo>
                    <a:lnTo>
                      <a:pt x="29801" y="265"/>
                    </a:lnTo>
                    <a:lnTo>
                      <a:pt x="35620" y="0"/>
                    </a:lnTo>
                    <a:lnTo>
                      <a:pt x="38794" y="265"/>
                    </a:lnTo>
                    <a:lnTo>
                      <a:pt x="45495" y="2910"/>
                    </a:lnTo>
                    <a:lnTo>
                      <a:pt x="47258" y="4408"/>
                    </a:lnTo>
                    <a:lnTo>
                      <a:pt x="49551" y="3791"/>
                    </a:lnTo>
                    <a:lnTo>
                      <a:pt x="49551" y="4673"/>
                    </a:lnTo>
                    <a:lnTo>
                      <a:pt x="54224" y="5290"/>
                    </a:lnTo>
                    <a:lnTo>
                      <a:pt x="57133" y="5555"/>
                    </a:lnTo>
                    <a:lnTo>
                      <a:pt x="55987" y="6436"/>
                    </a:lnTo>
                    <a:lnTo>
                      <a:pt x="58015" y="7053"/>
                    </a:lnTo>
                    <a:lnTo>
                      <a:pt x="57398" y="5907"/>
                    </a:lnTo>
                    <a:lnTo>
                      <a:pt x="59690" y="5907"/>
                    </a:lnTo>
                    <a:close/>
                    <a:moveTo>
                      <a:pt x="36325" y="30594"/>
                    </a:moveTo>
                    <a:lnTo>
                      <a:pt x="27597" y="27420"/>
                    </a:lnTo>
                    <a:lnTo>
                      <a:pt x="25833" y="24775"/>
                    </a:lnTo>
                    <a:lnTo>
                      <a:pt x="27597" y="23894"/>
                    </a:lnTo>
                    <a:lnTo>
                      <a:pt x="35444" y="27420"/>
                    </a:lnTo>
                    <a:lnTo>
                      <a:pt x="36590" y="29801"/>
                    </a:lnTo>
                    <a:lnTo>
                      <a:pt x="36325" y="305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5" name="Freihandform: Form 1724">
                <a:extLst>
                  <a:ext uri="{FF2B5EF4-FFF2-40B4-BE49-F238E27FC236}">
                    <a16:creationId xmlns:a16="http://schemas.microsoft.com/office/drawing/2014/main" id="{90DAC234-6626-7792-6722-4A674B30B414}"/>
                  </a:ext>
                </a:extLst>
              </p:cNvPr>
              <p:cNvSpPr/>
              <p:nvPr/>
            </p:nvSpPr>
            <p:spPr>
              <a:xfrm>
                <a:off x="2235057" y="3573860"/>
                <a:ext cx="235938" cy="82790"/>
              </a:xfrm>
              <a:custGeom>
                <a:avLst/>
                <a:gdLst>
                  <a:gd name="connsiteX0" fmla="*/ 705 w 235938"/>
                  <a:gd name="connsiteY0" fmla="*/ 30771 h 82790"/>
                  <a:gd name="connsiteX1" fmla="*/ 1323 w 235938"/>
                  <a:gd name="connsiteY1" fmla="*/ 31652 h 82790"/>
                  <a:gd name="connsiteX2" fmla="*/ 2469 w 235938"/>
                  <a:gd name="connsiteY2" fmla="*/ 31388 h 82790"/>
                  <a:gd name="connsiteX3" fmla="*/ 10051 w 235938"/>
                  <a:gd name="connsiteY3" fmla="*/ 27861 h 82790"/>
                  <a:gd name="connsiteX4" fmla="*/ 10933 w 235938"/>
                  <a:gd name="connsiteY4" fmla="*/ 28743 h 82790"/>
                  <a:gd name="connsiteX5" fmla="*/ 12432 w 235938"/>
                  <a:gd name="connsiteY5" fmla="*/ 27861 h 82790"/>
                  <a:gd name="connsiteX6" fmla="*/ 14724 w 235938"/>
                  <a:gd name="connsiteY6" fmla="*/ 28478 h 82790"/>
                  <a:gd name="connsiteX7" fmla="*/ 14107 w 235938"/>
                  <a:gd name="connsiteY7" fmla="*/ 25304 h 82790"/>
                  <a:gd name="connsiteX8" fmla="*/ 15870 w 235938"/>
                  <a:gd name="connsiteY8" fmla="*/ 22395 h 82790"/>
                  <a:gd name="connsiteX9" fmla="*/ 18780 w 235938"/>
                  <a:gd name="connsiteY9" fmla="*/ 21777 h 82790"/>
                  <a:gd name="connsiteX10" fmla="*/ 19926 w 235938"/>
                  <a:gd name="connsiteY10" fmla="*/ 19397 h 82790"/>
                  <a:gd name="connsiteX11" fmla="*/ 23100 w 235938"/>
                  <a:gd name="connsiteY11" fmla="*/ 18868 h 82790"/>
                  <a:gd name="connsiteX12" fmla="*/ 23100 w 235938"/>
                  <a:gd name="connsiteY12" fmla="*/ 13930 h 82790"/>
                  <a:gd name="connsiteX13" fmla="*/ 27509 w 235938"/>
                  <a:gd name="connsiteY13" fmla="*/ 12167 h 82790"/>
                  <a:gd name="connsiteX14" fmla="*/ 35091 w 235938"/>
                  <a:gd name="connsiteY14" fmla="*/ 11286 h 82790"/>
                  <a:gd name="connsiteX15" fmla="*/ 36237 w 235938"/>
                  <a:gd name="connsiteY15" fmla="*/ 8111 h 82790"/>
                  <a:gd name="connsiteX16" fmla="*/ 38882 w 235938"/>
                  <a:gd name="connsiteY16" fmla="*/ 5202 h 82790"/>
                  <a:gd name="connsiteX17" fmla="*/ 42409 w 235938"/>
                  <a:gd name="connsiteY17" fmla="*/ 4320 h 82790"/>
                  <a:gd name="connsiteX18" fmla="*/ 43026 w 235938"/>
                  <a:gd name="connsiteY18" fmla="*/ 5202 h 82790"/>
                  <a:gd name="connsiteX19" fmla="*/ 44172 w 235938"/>
                  <a:gd name="connsiteY19" fmla="*/ 4937 h 82790"/>
                  <a:gd name="connsiteX20" fmla="*/ 44172 w 235938"/>
                  <a:gd name="connsiteY20" fmla="*/ 4056 h 82790"/>
                  <a:gd name="connsiteX21" fmla="*/ 51490 w 235938"/>
                  <a:gd name="connsiteY21" fmla="*/ 3527 h 82790"/>
                  <a:gd name="connsiteX22" fmla="*/ 57309 w 235938"/>
                  <a:gd name="connsiteY22" fmla="*/ 2909 h 82790"/>
                  <a:gd name="connsiteX23" fmla="*/ 59337 w 235938"/>
                  <a:gd name="connsiteY23" fmla="*/ 0 h 82790"/>
                  <a:gd name="connsiteX24" fmla="*/ 63746 w 235938"/>
                  <a:gd name="connsiteY24" fmla="*/ 1411 h 82790"/>
                  <a:gd name="connsiteX25" fmla="*/ 72827 w 235938"/>
                  <a:gd name="connsiteY25" fmla="*/ 793 h 82790"/>
                  <a:gd name="connsiteX26" fmla="*/ 74326 w 235938"/>
                  <a:gd name="connsiteY26" fmla="*/ 1058 h 82790"/>
                  <a:gd name="connsiteX27" fmla="*/ 74855 w 235938"/>
                  <a:gd name="connsiteY27" fmla="*/ 1940 h 82790"/>
                  <a:gd name="connsiteX28" fmla="*/ 74326 w 235938"/>
                  <a:gd name="connsiteY28" fmla="*/ 3439 h 82790"/>
                  <a:gd name="connsiteX29" fmla="*/ 75208 w 235938"/>
                  <a:gd name="connsiteY29" fmla="*/ 3439 h 82790"/>
                  <a:gd name="connsiteX30" fmla="*/ 75737 w 235938"/>
                  <a:gd name="connsiteY30" fmla="*/ 2292 h 82790"/>
                  <a:gd name="connsiteX31" fmla="*/ 81820 w 235938"/>
                  <a:gd name="connsiteY31" fmla="*/ 264 h 82790"/>
                  <a:gd name="connsiteX32" fmla="*/ 80057 w 235938"/>
                  <a:gd name="connsiteY32" fmla="*/ 1675 h 82790"/>
                  <a:gd name="connsiteX33" fmla="*/ 81203 w 235938"/>
                  <a:gd name="connsiteY33" fmla="*/ 2292 h 82790"/>
                  <a:gd name="connsiteX34" fmla="*/ 82349 w 235938"/>
                  <a:gd name="connsiteY34" fmla="*/ 3791 h 82790"/>
                  <a:gd name="connsiteX35" fmla="*/ 83495 w 235938"/>
                  <a:gd name="connsiteY35" fmla="*/ 4056 h 82790"/>
                  <a:gd name="connsiteX36" fmla="*/ 84377 w 235938"/>
                  <a:gd name="connsiteY36" fmla="*/ 2292 h 82790"/>
                  <a:gd name="connsiteX37" fmla="*/ 86141 w 235938"/>
                  <a:gd name="connsiteY37" fmla="*/ 2028 h 82790"/>
                  <a:gd name="connsiteX38" fmla="*/ 86758 w 235938"/>
                  <a:gd name="connsiteY38" fmla="*/ 3174 h 82790"/>
                  <a:gd name="connsiteX39" fmla="*/ 93194 w 235938"/>
                  <a:gd name="connsiteY39" fmla="*/ 2557 h 82790"/>
                  <a:gd name="connsiteX40" fmla="*/ 94340 w 235938"/>
                  <a:gd name="connsiteY40" fmla="*/ 1940 h 82790"/>
                  <a:gd name="connsiteX41" fmla="*/ 94076 w 235938"/>
                  <a:gd name="connsiteY41" fmla="*/ 793 h 82790"/>
                  <a:gd name="connsiteX42" fmla="*/ 94957 w 235938"/>
                  <a:gd name="connsiteY42" fmla="*/ 1058 h 82790"/>
                  <a:gd name="connsiteX43" fmla="*/ 94340 w 235938"/>
                  <a:gd name="connsiteY43" fmla="*/ 2204 h 82790"/>
                  <a:gd name="connsiteX44" fmla="*/ 96104 w 235938"/>
                  <a:gd name="connsiteY44" fmla="*/ 4849 h 82790"/>
                  <a:gd name="connsiteX45" fmla="*/ 101923 w 235938"/>
                  <a:gd name="connsiteY45" fmla="*/ 6877 h 82790"/>
                  <a:gd name="connsiteX46" fmla="*/ 104568 w 235938"/>
                  <a:gd name="connsiteY46" fmla="*/ 5995 h 82790"/>
                  <a:gd name="connsiteX47" fmla="*/ 104832 w 235938"/>
                  <a:gd name="connsiteY47" fmla="*/ 5378 h 82790"/>
                  <a:gd name="connsiteX48" fmla="*/ 106331 w 235938"/>
                  <a:gd name="connsiteY48" fmla="*/ 6260 h 82790"/>
                  <a:gd name="connsiteX49" fmla="*/ 110122 w 235938"/>
                  <a:gd name="connsiteY49" fmla="*/ 7142 h 82790"/>
                  <a:gd name="connsiteX50" fmla="*/ 115413 w 235938"/>
                  <a:gd name="connsiteY50" fmla="*/ 6877 h 82790"/>
                  <a:gd name="connsiteX51" fmla="*/ 114531 w 235938"/>
                  <a:gd name="connsiteY51" fmla="*/ 9258 h 82790"/>
                  <a:gd name="connsiteX52" fmla="*/ 118322 w 235938"/>
                  <a:gd name="connsiteY52" fmla="*/ 8640 h 82790"/>
                  <a:gd name="connsiteX53" fmla="*/ 120703 w 235938"/>
                  <a:gd name="connsiteY53" fmla="*/ 8993 h 82790"/>
                  <a:gd name="connsiteX54" fmla="*/ 123348 w 235938"/>
                  <a:gd name="connsiteY54" fmla="*/ 10404 h 82790"/>
                  <a:gd name="connsiteX55" fmla="*/ 123348 w 235938"/>
                  <a:gd name="connsiteY55" fmla="*/ 11903 h 82790"/>
                  <a:gd name="connsiteX56" fmla="*/ 123083 w 235938"/>
                  <a:gd name="connsiteY56" fmla="*/ 14548 h 82790"/>
                  <a:gd name="connsiteX57" fmla="*/ 125111 w 235938"/>
                  <a:gd name="connsiteY57" fmla="*/ 16311 h 82790"/>
                  <a:gd name="connsiteX58" fmla="*/ 129519 w 235938"/>
                  <a:gd name="connsiteY58" fmla="*/ 18074 h 82790"/>
                  <a:gd name="connsiteX59" fmla="*/ 132429 w 235938"/>
                  <a:gd name="connsiteY59" fmla="*/ 17810 h 82790"/>
                  <a:gd name="connsiteX60" fmla="*/ 138865 w 235938"/>
                  <a:gd name="connsiteY60" fmla="*/ 18692 h 82790"/>
                  <a:gd name="connsiteX61" fmla="*/ 148476 w 235938"/>
                  <a:gd name="connsiteY61" fmla="*/ 14019 h 82790"/>
                  <a:gd name="connsiteX62" fmla="*/ 146183 w 235938"/>
                  <a:gd name="connsiteY62" fmla="*/ 14900 h 82790"/>
                  <a:gd name="connsiteX63" fmla="*/ 144420 w 235938"/>
                  <a:gd name="connsiteY63" fmla="*/ 17281 h 82790"/>
                  <a:gd name="connsiteX64" fmla="*/ 148828 w 235938"/>
                  <a:gd name="connsiteY64" fmla="*/ 18427 h 82790"/>
                  <a:gd name="connsiteX65" fmla="*/ 147329 w 235938"/>
                  <a:gd name="connsiteY65" fmla="*/ 21689 h 82790"/>
                  <a:gd name="connsiteX66" fmla="*/ 147329 w 235938"/>
                  <a:gd name="connsiteY66" fmla="*/ 24863 h 82790"/>
                  <a:gd name="connsiteX67" fmla="*/ 150239 w 235938"/>
                  <a:gd name="connsiteY67" fmla="*/ 25481 h 82790"/>
                  <a:gd name="connsiteX68" fmla="*/ 152619 w 235938"/>
                  <a:gd name="connsiteY68" fmla="*/ 26362 h 82790"/>
                  <a:gd name="connsiteX69" fmla="*/ 154118 w 235938"/>
                  <a:gd name="connsiteY69" fmla="*/ 32446 h 82790"/>
                  <a:gd name="connsiteX70" fmla="*/ 154383 w 235938"/>
                  <a:gd name="connsiteY70" fmla="*/ 32181 h 82790"/>
                  <a:gd name="connsiteX71" fmla="*/ 154647 w 235938"/>
                  <a:gd name="connsiteY71" fmla="*/ 29801 h 82790"/>
                  <a:gd name="connsiteX72" fmla="*/ 157028 w 235938"/>
                  <a:gd name="connsiteY72" fmla="*/ 33857 h 82790"/>
                  <a:gd name="connsiteX73" fmla="*/ 162847 w 235938"/>
                  <a:gd name="connsiteY73" fmla="*/ 34738 h 82790"/>
                  <a:gd name="connsiteX74" fmla="*/ 163729 w 235938"/>
                  <a:gd name="connsiteY74" fmla="*/ 35003 h 82790"/>
                  <a:gd name="connsiteX75" fmla="*/ 163464 w 235938"/>
                  <a:gd name="connsiteY75" fmla="*/ 36149 h 82790"/>
                  <a:gd name="connsiteX76" fmla="*/ 164081 w 235938"/>
                  <a:gd name="connsiteY76" fmla="*/ 37295 h 82790"/>
                  <a:gd name="connsiteX77" fmla="*/ 165845 w 235938"/>
                  <a:gd name="connsiteY77" fmla="*/ 37912 h 82790"/>
                  <a:gd name="connsiteX78" fmla="*/ 166109 w 235938"/>
                  <a:gd name="connsiteY78" fmla="*/ 37295 h 82790"/>
                  <a:gd name="connsiteX79" fmla="*/ 163464 w 235938"/>
                  <a:gd name="connsiteY79" fmla="*/ 33768 h 82790"/>
                  <a:gd name="connsiteX80" fmla="*/ 159673 w 235938"/>
                  <a:gd name="connsiteY80" fmla="*/ 25921 h 82790"/>
                  <a:gd name="connsiteX81" fmla="*/ 156146 w 235938"/>
                  <a:gd name="connsiteY81" fmla="*/ 22130 h 82790"/>
                  <a:gd name="connsiteX82" fmla="*/ 159937 w 235938"/>
                  <a:gd name="connsiteY82" fmla="*/ 31741 h 82790"/>
                  <a:gd name="connsiteX83" fmla="*/ 160819 w 235938"/>
                  <a:gd name="connsiteY83" fmla="*/ 30859 h 82790"/>
                  <a:gd name="connsiteX84" fmla="*/ 161965 w 235938"/>
                  <a:gd name="connsiteY84" fmla="*/ 31123 h 82790"/>
                  <a:gd name="connsiteX85" fmla="*/ 162583 w 235938"/>
                  <a:gd name="connsiteY85" fmla="*/ 32622 h 82790"/>
                  <a:gd name="connsiteX86" fmla="*/ 170429 w 235938"/>
                  <a:gd name="connsiteY86" fmla="*/ 38177 h 82790"/>
                  <a:gd name="connsiteX87" fmla="*/ 170694 w 235938"/>
                  <a:gd name="connsiteY87" fmla="*/ 39059 h 82790"/>
                  <a:gd name="connsiteX88" fmla="*/ 169812 w 235938"/>
                  <a:gd name="connsiteY88" fmla="*/ 39940 h 82790"/>
                  <a:gd name="connsiteX89" fmla="*/ 167520 w 235938"/>
                  <a:gd name="connsiteY89" fmla="*/ 38530 h 82790"/>
                  <a:gd name="connsiteX90" fmla="*/ 165492 w 235938"/>
                  <a:gd name="connsiteY90" fmla="*/ 38265 h 82790"/>
                  <a:gd name="connsiteX91" fmla="*/ 166374 w 235938"/>
                  <a:gd name="connsiteY91" fmla="*/ 39411 h 82790"/>
                  <a:gd name="connsiteX92" fmla="*/ 167873 w 235938"/>
                  <a:gd name="connsiteY92" fmla="*/ 39676 h 82790"/>
                  <a:gd name="connsiteX93" fmla="*/ 167608 w 235938"/>
                  <a:gd name="connsiteY93" fmla="*/ 41439 h 82790"/>
                  <a:gd name="connsiteX94" fmla="*/ 168754 w 235938"/>
                  <a:gd name="connsiteY94" fmla="*/ 42321 h 82790"/>
                  <a:gd name="connsiteX95" fmla="*/ 169901 w 235938"/>
                  <a:gd name="connsiteY95" fmla="*/ 41792 h 82790"/>
                  <a:gd name="connsiteX96" fmla="*/ 171047 w 235938"/>
                  <a:gd name="connsiteY96" fmla="*/ 38882 h 82790"/>
                  <a:gd name="connsiteX97" fmla="*/ 171664 w 235938"/>
                  <a:gd name="connsiteY97" fmla="*/ 38882 h 82790"/>
                  <a:gd name="connsiteX98" fmla="*/ 175191 w 235938"/>
                  <a:gd name="connsiteY98" fmla="*/ 42938 h 82790"/>
                  <a:gd name="connsiteX99" fmla="*/ 177483 w 235938"/>
                  <a:gd name="connsiteY99" fmla="*/ 43820 h 82790"/>
                  <a:gd name="connsiteX100" fmla="*/ 176866 w 235938"/>
                  <a:gd name="connsiteY100" fmla="*/ 44701 h 82790"/>
                  <a:gd name="connsiteX101" fmla="*/ 175984 w 235938"/>
                  <a:gd name="connsiteY101" fmla="*/ 44701 h 82790"/>
                  <a:gd name="connsiteX102" fmla="*/ 175367 w 235938"/>
                  <a:gd name="connsiteY102" fmla="*/ 45936 h 82790"/>
                  <a:gd name="connsiteX103" fmla="*/ 175984 w 235938"/>
                  <a:gd name="connsiteY103" fmla="*/ 46200 h 82790"/>
                  <a:gd name="connsiteX104" fmla="*/ 177130 w 235938"/>
                  <a:gd name="connsiteY104" fmla="*/ 45054 h 82790"/>
                  <a:gd name="connsiteX105" fmla="*/ 177747 w 235938"/>
                  <a:gd name="connsiteY105" fmla="*/ 44172 h 82790"/>
                  <a:gd name="connsiteX106" fmla="*/ 180657 w 235938"/>
                  <a:gd name="connsiteY106" fmla="*/ 45054 h 82790"/>
                  <a:gd name="connsiteX107" fmla="*/ 181274 w 235938"/>
                  <a:gd name="connsiteY107" fmla="*/ 45671 h 82790"/>
                  <a:gd name="connsiteX108" fmla="*/ 179511 w 235938"/>
                  <a:gd name="connsiteY108" fmla="*/ 46553 h 82790"/>
                  <a:gd name="connsiteX109" fmla="*/ 181274 w 235938"/>
                  <a:gd name="connsiteY109" fmla="*/ 47434 h 82790"/>
                  <a:gd name="connsiteX110" fmla="*/ 181010 w 235938"/>
                  <a:gd name="connsiteY110" fmla="*/ 46553 h 82790"/>
                  <a:gd name="connsiteX111" fmla="*/ 181891 w 235938"/>
                  <a:gd name="connsiteY111" fmla="*/ 46288 h 82790"/>
                  <a:gd name="connsiteX112" fmla="*/ 183390 w 235938"/>
                  <a:gd name="connsiteY112" fmla="*/ 46553 h 82790"/>
                  <a:gd name="connsiteX113" fmla="*/ 183126 w 235938"/>
                  <a:gd name="connsiteY113" fmla="*/ 47963 h 82790"/>
                  <a:gd name="connsiteX114" fmla="*/ 181980 w 235938"/>
                  <a:gd name="connsiteY114" fmla="*/ 48228 h 82790"/>
                  <a:gd name="connsiteX115" fmla="*/ 184360 w 235938"/>
                  <a:gd name="connsiteY115" fmla="*/ 48493 h 82790"/>
                  <a:gd name="connsiteX116" fmla="*/ 185242 w 235938"/>
                  <a:gd name="connsiteY116" fmla="*/ 48228 h 82790"/>
                  <a:gd name="connsiteX117" fmla="*/ 183743 w 235938"/>
                  <a:gd name="connsiteY117" fmla="*/ 47699 h 82790"/>
                  <a:gd name="connsiteX118" fmla="*/ 184096 w 235938"/>
                  <a:gd name="connsiteY118" fmla="*/ 46817 h 82790"/>
                  <a:gd name="connsiteX119" fmla="*/ 188151 w 235938"/>
                  <a:gd name="connsiteY119" fmla="*/ 47434 h 82790"/>
                  <a:gd name="connsiteX120" fmla="*/ 192560 w 235938"/>
                  <a:gd name="connsiteY120" fmla="*/ 49815 h 82790"/>
                  <a:gd name="connsiteX121" fmla="*/ 192560 w 235938"/>
                  <a:gd name="connsiteY121" fmla="*/ 51226 h 82790"/>
                  <a:gd name="connsiteX122" fmla="*/ 195734 w 235938"/>
                  <a:gd name="connsiteY122" fmla="*/ 51578 h 82790"/>
                  <a:gd name="connsiteX123" fmla="*/ 201553 w 235938"/>
                  <a:gd name="connsiteY123" fmla="*/ 50697 h 82790"/>
                  <a:gd name="connsiteX124" fmla="*/ 203845 w 235938"/>
                  <a:gd name="connsiteY124" fmla="*/ 52196 h 82790"/>
                  <a:gd name="connsiteX125" fmla="*/ 204462 w 235938"/>
                  <a:gd name="connsiteY125" fmla="*/ 53695 h 82790"/>
                  <a:gd name="connsiteX126" fmla="*/ 202082 w 235938"/>
                  <a:gd name="connsiteY126" fmla="*/ 56340 h 82790"/>
                  <a:gd name="connsiteX127" fmla="*/ 201200 w 235938"/>
                  <a:gd name="connsiteY127" fmla="*/ 55810 h 82790"/>
                  <a:gd name="connsiteX128" fmla="*/ 201200 w 235938"/>
                  <a:gd name="connsiteY128" fmla="*/ 57221 h 82790"/>
                  <a:gd name="connsiteX129" fmla="*/ 202964 w 235938"/>
                  <a:gd name="connsiteY129" fmla="*/ 56604 h 82790"/>
                  <a:gd name="connsiteX130" fmla="*/ 204991 w 235938"/>
                  <a:gd name="connsiteY130" fmla="*/ 58103 h 82790"/>
                  <a:gd name="connsiteX131" fmla="*/ 204727 w 235938"/>
                  <a:gd name="connsiteY131" fmla="*/ 58985 h 82790"/>
                  <a:gd name="connsiteX132" fmla="*/ 200936 w 235938"/>
                  <a:gd name="connsiteY132" fmla="*/ 57838 h 82790"/>
                  <a:gd name="connsiteX133" fmla="*/ 200054 w 235938"/>
                  <a:gd name="connsiteY133" fmla="*/ 59866 h 82790"/>
                  <a:gd name="connsiteX134" fmla="*/ 200936 w 235938"/>
                  <a:gd name="connsiteY134" fmla="*/ 61013 h 82790"/>
                  <a:gd name="connsiteX135" fmla="*/ 202082 w 235938"/>
                  <a:gd name="connsiteY135" fmla="*/ 60395 h 82790"/>
                  <a:gd name="connsiteX136" fmla="*/ 203228 w 235938"/>
                  <a:gd name="connsiteY136" fmla="*/ 59249 h 82790"/>
                  <a:gd name="connsiteX137" fmla="*/ 205256 w 235938"/>
                  <a:gd name="connsiteY137" fmla="*/ 61013 h 82790"/>
                  <a:gd name="connsiteX138" fmla="*/ 207019 w 235938"/>
                  <a:gd name="connsiteY138" fmla="*/ 61277 h 82790"/>
                  <a:gd name="connsiteX139" fmla="*/ 206755 w 235938"/>
                  <a:gd name="connsiteY139" fmla="*/ 60395 h 82790"/>
                  <a:gd name="connsiteX140" fmla="*/ 208254 w 235938"/>
                  <a:gd name="connsiteY140" fmla="*/ 60131 h 82790"/>
                  <a:gd name="connsiteX141" fmla="*/ 209400 w 235938"/>
                  <a:gd name="connsiteY141" fmla="*/ 60748 h 82790"/>
                  <a:gd name="connsiteX142" fmla="*/ 209664 w 235938"/>
                  <a:gd name="connsiteY142" fmla="*/ 61894 h 82790"/>
                  <a:gd name="connsiteX143" fmla="*/ 213456 w 235938"/>
                  <a:gd name="connsiteY143" fmla="*/ 65068 h 82790"/>
                  <a:gd name="connsiteX144" fmla="*/ 212309 w 235938"/>
                  <a:gd name="connsiteY144" fmla="*/ 65068 h 82790"/>
                  <a:gd name="connsiteX145" fmla="*/ 211428 w 235938"/>
                  <a:gd name="connsiteY145" fmla="*/ 61894 h 82790"/>
                  <a:gd name="connsiteX146" fmla="*/ 209664 w 235938"/>
                  <a:gd name="connsiteY146" fmla="*/ 61013 h 82790"/>
                  <a:gd name="connsiteX147" fmla="*/ 211692 w 235938"/>
                  <a:gd name="connsiteY147" fmla="*/ 60395 h 82790"/>
                  <a:gd name="connsiteX148" fmla="*/ 215484 w 235938"/>
                  <a:gd name="connsiteY148" fmla="*/ 61277 h 82790"/>
                  <a:gd name="connsiteX149" fmla="*/ 219010 w 235938"/>
                  <a:gd name="connsiteY149" fmla="*/ 61894 h 82790"/>
                  <a:gd name="connsiteX150" fmla="*/ 219892 w 235938"/>
                  <a:gd name="connsiteY150" fmla="*/ 62776 h 82790"/>
                  <a:gd name="connsiteX151" fmla="*/ 222273 w 235938"/>
                  <a:gd name="connsiteY151" fmla="*/ 63040 h 82790"/>
                  <a:gd name="connsiteX152" fmla="*/ 224300 w 235938"/>
                  <a:gd name="connsiteY152" fmla="*/ 65685 h 82790"/>
                  <a:gd name="connsiteX153" fmla="*/ 226064 w 235938"/>
                  <a:gd name="connsiteY153" fmla="*/ 66832 h 82790"/>
                  <a:gd name="connsiteX154" fmla="*/ 227827 w 235938"/>
                  <a:gd name="connsiteY154" fmla="*/ 69477 h 82790"/>
                  <a:gd name="connsiteX155" fmla="*/ 231001 w 235938"/>
                  <a:gd name="connsiteY155" fmla="*/ 70975 h 82790"/>
                  <a:gd name="connsiteX156" fmla="*/ 233646 w 235938"/>
                  <a:gd name="connsiteY156" fmla="*/ 70446 h 82790"/>
                  <a:gd name="connsiteX157" fmla="*/ 235939 w 235938"/>
                  <a:gd name="connsiteY157" fmla="*/ 72739 h 82790"/>
                  <a:gd name="connsiteX158" fmla="*/ 235939 w 235938"/>
                  <a:gd name="connsiteY158" fmla="*/ 73356 h 82790"/>
                  <a:gd name="connsiteX159" fmla="*/ 233029 w 235938"/>
                  <a:gd name="connsiteY159" fmla="*/ 76618 h 82790"/>
                  <a:gd name="connsiteX160" fmla="*/ 227827 w 235938"/>
                  <a:gd name="connsiteY160" fmla="*/ 76618 h 82790"/>
                  <a:gd name="connsiteX161" fmla="*/ 224300 w 235938"/>
                  <a:gd name="connsiteY161" fmla="*/ 78911 h 82790"/>
                  <a:gd name="connsiteX162" fmla="*/ 221126 w 235938"/>
                  <a:gd name="connsiteY162" fmla="*/ 77412 h 82790"/>
                  <a:gd name="connsiteX163" fmla="*/ 215307 w 235938"/>
                  <a:gd name="connsiteY163" fmla="*/ 80586 h 82790"/>
                  <a:gd name="connsiteX164" fmla="*/ 213544 w 235938"/>
                  <a:gd name="connsiteY164" fmla="*/ 80850 h 82790"/>
                  <a:gd name="connsiteX165" fmla="*/ 214161 w 235938"/>
                  <a:gd name="connsiteY165" fmla="*/ 79704 h 82790"/>
                  <a:gd name="connsiteX166" fmla="*/ 213808 w 235938"/>
                  <a:gd name="connsiteY166" fmla="*/ 78822 h 82790"/>
                  <a:gd name="connsiteX167" fmla="*/ 215307 w 235938"/>
                  <a:gd name="connsiteY167" fmla="*/ 77941 h 82790"/>
                  <a:gd name="connsiteX168" fmla="*/ 215043 w 235938"/>
                  <a:gd name="connsiteY168" fmla="*/ 76795 h 82790"/>
                  <a:gd name="connsiteX169" fmla="*/ 213544 w 235938"/>
                  <a:gd name="connsiteY169" fmla="*/ 78822 h 82790"/>
                  <a:gd name="connsiteX170" fmla="*/ 212927 w 235938"/>
                  <a:gd name="connsiteY170" fmla="*/ 80321 h 82790"/>
                  <a:gd name="connsiteX171" fmla="*/ 209400 w 235938"/>
                  <a:gd name="connsiteY171" fmla="*/ 81203 h 82790"/>
                  <a:gd name="connsiteX172" fmla="*/ 204110 w 235938"/>
                  <a:gd name="connsiteY172" fmla="*/ 80939 h 82790"/>
                  <a:gd name="connsiteX173" fmla="*/ 197409 w 235938"/>
                  <a:gd name="connsiteY173" fmla="*/ 79175 h 82790"/>
                  <a:gd name="connsiteX174" fmla="*/ 193001 w 235938"/>
                  <a:gd name="connsiteY174" fmla="*/ 78911 h 82790"/>
                  <a:gd name="connsiteX175" fmla="*/ 189738 w 235938"/>
                  <a:gd name="connsiteY175" fmla="*/ 78646 h 82790"/>
                  <a:gd name="connsiteX176" fmla="*/ 182773 w 235938"/>
                  <a:gd name="connsiteY176" fmla="*/ 79792 h 82790"/>
                  <a:gd name="connsiteX177" fmla="*/ 176337 w 235938"/>
                  <a:gd name="connsiteY177" fmla="*/ 79792 h 82790"/>
                  <a:gd name="connsiteX178" fmla="*/ 173163 w 235938"/>
                  <a:gd name="connsiteY178" fmla="*/ 81291 h 82790"/>
                  <a:gd name="connsiteX179" fmla="*/ 171399 w 235938"/>
                  <a:gd name="connsiteY179" fmla="*/ 76089 h 82790"/>
                  <a:gd name="connsiteX180" fmla="*/ 167344 w 235938"/>
                  <a:gd name="connsiteY180" fmla="*/ 80762 h 82790"/>
                  <a:gd name="connsiteX181" fmla="*/ 166197 w 235938"/>
                  <a:gd name="connsiteY181" fmla="*/ 81027 h 82790"/>
                  <a:gd name="connsiteX182" fmla="*/ 165051 w 235938"/>
                  <a:gd name="connsiteY182" fmla="*/ 81908 h 82790"/>
                  <a:gd name="connsiteX183" fmla="*/ 158615 w 235938"/>
                  <a:gd name="connsiteY183" fmla="*/ 82790 h 82790"/>
                  <a:gd name="connsiteX184" fmla="*/ 157469 w 235938"/>
                  <a:gd name="connsiteY184" fmla="*/ 82261 h 82790"/>
                  <a:gd name="connsiteX185" fmla="*/ 157998 w 235938"/>
                  <a:gd name="connsiteY185" fmla="*/ 80498 h 82790"/>
                  <a:gd name="connsiteX186" fmla="*/ 160907 w 235938"/>
                  <a:gd name="connsiteY186" fmla="*/ 76971 h 82790"/>
                  <a:gd name="connsiteX187" fmla="*/ 166197 w 235938"/>
                  <a:gd name="connsiteY187" fmla="*/ 76089 h 82790"/>
                  <a:gd name="connsiteX188" fmla="*/ 168225 w 235938"/>
                  <a:gd name="connsiteY188" fmla="*/ 71152 h 82790"/>
                  <a:gd name="connsiteX189" fmla="*/ 168843 w 235938"/>
                  <a:gd name="connsiteY189" fmla="*/ 71769 h 82790"/>
                  <a:gd name="connsiteX190" fmla="*/ 170870 w 235938"/>
                  <a:gd name="connsiteY190" fmla="*/ 69388 h 82790"/>
                  <a:gd name="connsiteX191" fmla="*/ 171752 w 235938"/>
                  <a:gd name="connsiteY191" fmla="*/ 66743 h 82790"/>
                  <a:gd name="connsiteX192" fmla="*/ 168225 w 235938"/>
                  <a:gd name="connsiteY192" fmla="*/ 64716 h 82790"/>
                  <a:gd name="connsiteX193" fmla="*/ 169107 w 235938"/>
                  <a:gd name="connsiteY193" fmla="*/ 62952 h 82790"/>
                  <a:gd name="connsiteX194" fmla="*/ 166462 w 235938"/>
                  <a:gd name="connsiteY194" fmla="*/ 60924 h 82790"/>
                  <a:gd name="connsiteX195" fmla="*/ 162671 w 235938"/>
                  <a:gd name="connsiteY195" fmla="*/ 61806 h 82790"/>
                  <a:gd name="connsiteX196" fmla="*/ 156852 w 235938"/>
                  <a:gd name="connsiteY196" fmla="*/ 61541 h 82790"/>
                  <a:gd name="connsiteX197" fmla="*/ 154824 w 235938"/>
                  <a:gd name="connsiteY197" fmla="*/ 60660 h 82790"/>
                  <a:gd name="connsiteX198" fmla="*/ 151032 w 235938"/>
                  <a:gd name="connsiteY198" fmla="*/ 61277 h 82790"/>
                  <a:gd name="connsiteX199" fmla="*/ 146360 w 235938"/>
                  <a:gd name="connsiteY199" fmla="*/ 57486 h 82790"/>
                  <a:gd name="connsiteX200" fmla="*/ 144596 w 235938"/>
                  <a:gd name="connsiteY200" fmla="*/ 55458 h 82790"/>
                  <a:gd name="connsiteX201" fmla="*/ 141687 w 235938"/>
                  <a:gd name="connsiteY201" fmla="*/ 53695 h 82790"/>
                  <a:gd name="connsiteX202" fmla="*/ 140805 w 235938"/>
                  <a:gd name="connsiteY202" fmla="*/ 53077 h 82790"/>
                  <a:gd name="connsiteX203" fmla="*/ 141422 w 235938"/>
                  <a:gd name="connsiteY203" fmla="*/ 48404 h 82790"/>
                  <a:gd name="connsiteX204" fmla="*/ 139659 w 235938"/>
                  <a:gd name="connsiteY204" fmla="*/ 45230 h 82790"/>
                  <a:gd name="connsiteX205" fmla="*/ 138513 w 235938"/>
                  <a:gd name="connsiteY205" fmla="*/ 42321 h 82790"/>
                  <a:gd name="connsiteX206" fmla="*/ 137366 w 235938"/>
                  <a:gd name="connsiteY206" fmla="*/ 40557 h 82790"/>
                  <a:gd name="connsiteX207" fmla="*/ 135603 w 235938"/>
                  <a:gd name="connsiteY207" fmla="*/ 40293 h 82790"/>
                  <a:gd name="connsiteX208" fmla="*/ 136749 w 235938"/>
                  <a:gd name="connsiteY208" fmla="*/ 40028 h 82790"/>
                  <a:gd name="connsiteX209" fmla="*/ 135603 w 235938"/>
                  <a:gd name="connsiteY209" fmla="*/ 38618 h 82790"/>
                  <a:gd name="connsiteX210" fmla="*/ 129519 w 235938"/>
                  <a:gd name="connsiteY210" fmla="*/ 41792 h 82790"/>
                  <a:gd name="connsiteX211" fmla="*/ 123348 w 235938"/>
                  <a:gd name="connsiteY211" fmla="*/ 40381 h 82790"/>
                  <a:gd name="connsiteX212" fmla="*/ 113473 w 235938"/>
                  <a:gd name="connsiteY212" fmla="*/ 36854 h 82790"/>
                  <a:gd name="connsiteX213" fmla="*/ 112327 w 235938"/>
                  <a:gd name="connsiteY213" fmla="*/ 36854 h 82790"/>
                  <a:gd name="connsiteX214" fmla="*/ 111709 w 235938"/>
                  <a:gd name="connsiteY214" fmla="*/ 37736 h 82790"/>
                  <a:gd name="connsiteX215" fmla="*/ 110563 w 235938"/>
                  <a:gd name="connsiteY215" fmla="*/ 35708 h 82790"/>
                  <a:gd name="connsiteX216" fmla="*/ 108271 w 235938"/>
                  <a:gd name="connsiteY216" fmla="*/ 36590 h 82790"/>
                  <a:gd name="connsiteX217" fmla="*/ 107125 w 235938"/>
                  <a:gd name="connsiteY217" fmla="*/ 34562 h 82790"/>
                  <a:gd name="connsiteX218" fmla="*/ 105626 w 235938"/>
                  <a:gd name="connsiteY218" fmla="*/ 28126 h 82790"/>
                  <a:gd name="connsiteX219" fmla="*/ 102099 w 235938"/>
                  <a:gd name="connsiteY219" fmla="*/ 32181 h 82790"/>
                  <a:gd name="connsiteX220" fmla="*/ 98572 w 235938"/>
                  <a:gd name="connsiteY220" fmla="*/ 28655 h 82790"/>
                  <a:gd name="connsiteX221" fmla="*/ 98572 w 235938"/>
                  <a:gd name="connsiteY221" fmla="*/ 28037 h 82790"/>
                  <a:gd name="connsiteX222" fmla="*/ 99454 w 235938"/>
                  <a:gd name="connsiteY222" fmla="*/ 27420 h 82790"/>
                  <a:gd name="connsiteX223" fmla="*/ 97691 w 235938"/>
                  <a:gd name="connsiteY223" fmla="*/ 25128 h 82790"/>
                  <a:gd name="connsiteX224" fmla="*/ 96544 w 235938"/>
                  <a:gd name="connsiteY224" fmla="*/ 25392 h 82790"/>
                  <a:gd name="connsiteX225" fmla="*/ 98308 w 235938"/>
                  <a:gd name="connsiteY225" fmla="*/ 27685 h 82790"/>
                  <a:gd name="connsiteX226" fmla="*/ 97691 w 235938"/>
                  <a:gd name="connsiteY226" fmla="*/ 28302 h 82790"/>
                  <a:gd name="connsiteX227" fmla="*/ 84554 w 235938"/>
                  <a:gd name="connsiteY227" fmla="*/ 27420 h 82790"/>
                  <a:gd name="connsiteX228" fmla="*/ 83407 w 235938"/>
                  <a:gd name="connsiteY228" fmla="*/ 25657 h 82790"/>
                  <a:gd name="connsiteX229" fmla="*/ 83143 w 235938"/>
                  <a:gd name="connsiteY229" fmla="*/ 23365 h 82790"/>
                  <a:gd name="connsiteX230" fmla="*/ 82526 w 235938"/>
                  <a:gd name="connsiteY230" fmla="*/ 22747 h 82790"/>
                  <a:gd name="connsiteX231" fmla="*/ 81909 w 235938"/>
                  <a:gd name="connsiteY231" fmla="*/ 23012 h 82790"/>
                  <a:gd name="connsiteX232" fmla="*/ 82173 w 235938"/>
                  <a:gd name="connsiteY232" fmla="*/ 27420 h 82790"/>
                  <a:gd name="connsiteX233" fmla="*/ 81909 w 235938"/>
                  <a:gd name="connsiteY233" fmla="*/ 27156 h 82790"/>
                  <a:gd name="connsiteX234" fmla="*/ 81291 w 235938"/>
                  <a:gd name="connsiteY234" fmla="*/ 26010 h 82790"/>
                  <a:gd name="connsiteX235" fmla="*/ 79528 w 235938"/>
                  <a:gd name="connsiteY235" fmla="*/ 27420 h 82790"/>
                  <a:gd name="connsiteX236" fmla="*/ 78029 w 235938"/>
                  <a:gd name="connsiteY236" fmla="*/ 26803 h 82790"/>
                  <a:gd name="connsiteX237" fmla="*/ 78029 w 235938"/>
                  <a:gd name="connsiteY237" fmla="*/ 25921 h 82790"/>
                  <a:gd name="connsiteX238" fmla="*/ 77765 w 235938"/>
                  <a:gd name="connsiteY238" fmla="*/ 25304 h 82790"/>
                  <a:gd name="connsiteX239" fmla="*/ 67890 w 235938"/>
                  <a:gd name="connsiteY239" fmla="*/ 24423 h 82790"/>
                  <a:gd name="connsiteX240" fmla="*/ 67625 w 235938"/>
                  <a:gd name="connsiteY240" fmla="*/ 23276 h 82790"/>
                  <a:gd name="connsiteX241" fmla="*/ 61806 w 235938"/>
                  <a:gd name="connsiteY241" fmla="*/ 20631 h 82790"/>
                  <a:gd name="connsiteX242" fmla="*/ 61189 w 235938"/>
                  <a:gd name="connsiteY242" fmla="*/ 19750 h 82790"/>
                  <a:gd name="connsiteX243" fmla="*/ 62071 w 235938"/>
                  <a:gd name="connsiteY243" fmla="*/ 18868 h 82790"/>
                  <a:gd name="connsiteX244" fmla="*/ 65862 w 235938"/>
                  <a:gd name="connsiteY244" fmla="*/ 19221 h 82790"/>
                  <a:gd name="connsiteX245" fmla="*/ 71152 w 235938"/>
                  <a:gd name="connsiteY245" fmla="*/ 18604 h 82790"/>
                  <a:gd name="connsiteX246" fmla="*/ 72298 w 235938"/>
                  <a:gd name="connsiteY246" fmla="*/ 17457 h 82790"/>
                  <a:gd name="connsiteX247" fmla="*/ 72651 w 235938"/>
                  <a:gd name="connsiteY247" fmla="*/ 15429 h 82790"/>
                  <a:gd name="connsiteX248" fmla="*/ 67361 w 235938"/>
                  <a:gd name="connsiteY248" fmla="*/ 13137 h 82790"/>
                  <a:gd name="connsiteX249" fmla="*/ 62423 w 235938"/>
                  <a:gd name="connsiteY249" fmla="*/ 12520 h 82790"/>
                  <a:gd name="connsiteX250" fmla="*/ 60395 w 235938"/>
                  <a:gd name="connsiteY250" fmla="*/ 14548 h 82790"/>
                  <a:gd name="connsiteX251" fmla="*/ 53695 w 235938"/>
                  <a:gd name="connsiteY251" fmla="*/ 12784 h 82790"/>
                  <a:gd name="connsiteX252" fmla="*/ 48140 w 235938"/>
                  <a:gd name="connsiteY252" fmla="*/ 12520 h 82790"/>
                  <a:gd name="connsiteX253" fmla="*/ 44966 w 235938"/>
                  <a:gd name="connsiteY253" fmla="*/ 16047 h 82790"/>
                  <a:gd name="connsiteX254" fmla="*/ 41439 w 235938"/>
                  <a:gd name="connsiteY254" fmla="*/ 17810 h 82790"/>
                  <a:gd name="connsiteX255" fmla="*/ 39500 w 235938"/>
                  <a:gd name="connsiteY255" fmla="*/ 20191 h 82790"/>
                  <a:gd name="connsiteX256" fmla="*/ 38618 w 235938"/>
                  <a:gd name="connsiteY256" fmla="*/ 20808 h 82790"/>
                  <a:gd name="connsiteX257" fmla="*/ 36590 w 235938"/>
                  <a:gd name="connsiteY257" fmla="*/ 21072 h 82790"/>
                  <a:gd name="connsiteX258" fmla="*/ 33945 w 235938"/>
                  <a:gd name="connsiteY258" fmla="*/ 23982 h 82790"/>
                  <a:gd name="connsiteX259" fmla="*/ 32182 w 235938"/>
                  <a:gd name="connsiteY259" fmla="*/ 24599 h 82790"/>
                  <a:gd name="connsiteX260" fmla="*/ 30154 w 235938"/>
                  <a:gd name="connsiteY260" fmla="*/ 22836 h 82790"/>
                  <a:gd name="connsiteX261" fmla="*/ 28390 w 235938"/>
                  <a:gd name="connsiteY261" fmla="*/ 24599 h 82790"/>
                  <a:gd name="connsiteX262" fmla="*/ 22836 w 235938"/>
                  <a:gd name="connsiteY262" fmla="*/ 24599 h 82790"/>
                  <a:gd name="connsiteX263" fmla="*/ 21689 w 235938"/>
                  <a:gd name="connsiteY263" fmla="*/ 25745 h 82790"/>
                  <a:gd name="connsiteX264" fmla="*/ 20808 w 235938"/>
                  <a:gd name="connsiteY264" fmla="*/ 27508 h 82790"/>
                  <a:gd name="connsiteX265" fmla="*/ 21425 w 235938"/>
                  <a:gd name="connsiteY265" fmla="*/ 28390 h 82790"/>
                  <a:gd name="connsiteX266" fmla="*/ 21160 w 235938"/>
                  <a:gd name="connsiteY266" fmla="*/ 30154 h 82790"/>
                  <a:gd name="connsiteX267" fmla="*/ 20279 w 235938"/>
                  <a:gd name="connsiteY267" fmla="*/ 31035 h 82790"/>
                  <a:gd name="connsiteX268" fmla="*/ 18515 w 235938"/>
                  <a:gd name="connsiteY268" fmla="*/ 30418 h 82790"/>
                  <a:gd name="connsiteX269" fmla="*/ 14107 w 235938"/>
                  <a:gd name="connsiteY269" fmla="*/ 31917 h 82790"/>
                  <a:gd name="connsiteX270" fmla="*/ 11462 w 235938"/>
                  <a:gd name="connsiteY270" fmla="*/ 34297 h 82790"/>
                  <a:gd name="connsiteX271" fmla="*/ 9699 w 235938"/>
                  <a:gd name="connsiteY271" fmla="*/ 34562 h 82790"/>
                  <a:gd name="connsiteX272" fmla="*/ 9699 w 235938"/>
                  <a:gd name="connsiteY272" fmla="*/ 33680 h 82790"/>
                  <a:gd name="connsiteX273" fmla="*/ 10580 w 235938"/>
                  <a:gd name="connsiteY273" fmla="*/ 31917 h 82790"/>
                  <a:gd name="connsiteX274" fmla="*/ 10580 w 235938"/>
                  <a:gd name="connsiteY274" fmla="*/ 30771 h 82790"/>
                  <a:gd name="connsiteX275" fmla="*/ 9963 w 235938"/>
                  <a:gd name="connsiteY275" fmla="*/ 30506 h 82790"/>
                  <a:gd name="connsiteX276" fmla="*/ 5555 w 235938"/>
                  <a:gd name="connsiteY276" fmla="*/ 31388 h 82790"/>
                  <a:gd name="connsiteX277" fmla="*/ 2910 w 235938"/>
                  <a:gd name="connsiteY277" fmla="*/ 33416 h 82790"/>
                  <a:gd name="connsiteX278" fmla="*/ 264 w 235938"/>
                  <a:gd name="connsiteY278" fmla="*/ 32799 h 82790"/>
                  <a:gd name="connsiteX279" fmla="*/ 0 w 235938"/>
                  <a:gd name="connsiteY279" fmla="*/ 32181 h 82790"/>
                  <a:gd name="connsiteX280" fmla="*/ 705 w 235938"/>
                  <a:gd name="connsiteY280" fmla="*/ 30771 h 82790"/>
                  <a:gd name="connsiteX281" fmla="*/ 45936 w 235938"/>
                  <a:gd name="connsiteY281" fmla="*/ 42673 h 82790"/>
                  <a:gd name="connsiteX282" fmla="*/ 41263 w 235938"/>
                  <a:gd name="connsiteY282" fmla="*/ 42056 h 82790"/>
                  <a:gd name="connsiteX283" fmla="*/ 40381 w 235938"/>
                  <a:gd name="connsiteY283" fmla="*/ 38882 h 82790"/>
                  <a:gd name="connsiteX284" fmla="*/ 43026 w 235938"/>
                  <a:gd name="connsiteY284" fmla="*/ 39147 h 82790"/>
                  <a:gd name="connsiteX285" fmla="*/ 43643 w 235938"/>
                  <a:gd name="connsiteY285" fmla="*/ 39411 h 82790"/>
                  <a:gd name="connsiteX286" fmla="*/ 44261 w 235938"/>
                  <a:gd name="connsiteY286" fmla="*/ 38794 h 82790"/>
                  <a:gd name="connsiteX287" fmla="*/ 44525 w 235938"/>
                  <a:gd name="connsiteY287" fmla="*/ 35620 h 82790"/>
                  <a:gd name="connsiteX288" fmla="*/ 43908 w 235938"/>
                  <a:gd name="connsiteY288" fmla="*/ 33857 h 82790"/>
                  <a:gd name="connsiteX289" fmla="*/ 45407 w 235938"/>
                  <a:gd name="connsiteY289" fmla="*/ 32358 h 82790"/>
                  <a:gd name="connsiteX290" fmla="*/ 43643 w 235938"/>
                  <a:gd name="connsiteY290" fmla="*/ 30594 h 82790"/>
                  <a:gd name="connsiteX291" fmla="*/ 46288 w 235938"/>
                  <a:gd name="connsiteY291" fmla="*/ 30330 h 82790"/>
                  <a:gd name="connsiteX292" fmla="*/ 49198 w 235938"/>
                  <a:gd name="connsiteY292" fmla="*/ 31476 h 82790"/>
                  <a:gd name="connsiteX293" fmla="*/ 50697 w 235938"/>
                  <a:gd name="connsiteY293" fmla="*/ 34386 h 82790"/>
                  <a:gd name="connsiteX294" fmla="*/ 51314 w 235938"/>
                  <a:gd name="connsiteY294" fmla="*/ 34386 h 82790"/>
                  <a:gd name="connsiteX295" fmla="*/ 52725 w 235938"/>
                  <a:gd name="connsiteY295" fmla="*/ 38794 h 82790"/>
                  <a:gd name="connsiteX296" fmla="*/ 50697 w 235938"/>
                  <a:gd name="connsiteY296" fmla="*/ 40557 h 82790"/>
                  <a:gd name="connsiteX297" fmla="*/ 45936 w 235938"/>
                  <a:gd name="connsiteY297" fmla="*/ 42673 h 82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</a:cxnLst>
                <a:rect l="l" t="t" r="r" b="b"/>
                <a:pathLst>
                  <a:path w="235938" h="82790">
                    <a:moveTo>
                      <a:pt x="705" y="30771"/>
                    </a:moveTo>
                    <a:lnTo>
                      <a:pt x="1323" y="31652"/>
                    </a:lnTo>
                    <a:lnTo>
                      <a:pt x="2469" y="31388"/>
                    </a:lnTo>
                    <a:lnTo>
                      <a:pt x="10051" y="27861"/>
                    </a:lnTo>
                    <a:lnTo>
                      <a:pt x="10933" y="28743"/>
                    </a:lnTo>
                    <a:lnTo>
                      <a:pt x="12432" y="27861"/>
                    </a:lnTo>
                    <a:lnTo>
                      <a:pt x="14724" y="28478"/>
                    </a:lnTo>
                    <a:lnTo>
                      <a:pt x="14107" y="25304"/>
                    </a:lnTo>
                    <a:lnTo>
                      <a:pt x="15870" y="22395"/>
                    </a:lnTo>
                    <a:lnTo>
                      <a:pt x="18780" y="21777"/>
                    </a:lnTo>
                    <a:lnTo>
                      <a:pt x="19926" y="19397"/>
                    </a:lnTo>
                    <a:lnTo>
                      <a:pt x="23100" y="18868"/>
                    </a:lnTo>
                    <a:lnTo>
                      <a:pt x="23100" y="13930"/>
                    </a:lnTo>
                    <a:lnTo>
                      <a:pt x="27509" y="12167"/>
                    </a:lnTo>
                    <a:lnTo>
                      <a:pt x="35091" y="11286"/>
                    </a:lnTo>
                    <a:lnTo>
                      <a:pt x="36237" y="8111"/>
                    </a:lnTo>
                    <a:lnTo>
                      <a:pt x="38882" y="5202"/>
                    </a:lnTo>
                    <a:lnTo>
                      <a:pt x="42409" y="4320"/>
                    </a:lnTo>
                    <a:lnTo>
                      <a:pt x="43026" y="5202"/>
                    </a:lnTo>
                    <a:lnTo>
                      <a:pt x="44172" y="4937"/>
                    </a:lnTo>
                    <a:lnTo>
                      <a:pt x="44172" y="4056"/>
                    </a:lnTo>
                    <a:lnTo>
                      <a:pt x="51490" y="3527"/>
                    </a:lnTo>
                    <a:lnTo>
                      <a:pt x="57309" y="2909"/>
                    </a:lnTo>
                    <a:lnTo>
                      <a:pt x="59337" y="0"/>
                    </a:lnTo>
                    <a:lnTo>
                      <a:pt x="63746" y="1411"/>
                    </a:lnTo>
                    <a:lnTo>
                      <a:pt x="72827" y="793"/>
                    </a:lnTo>
                    <a:lnTo>
                      <a:pt x="74326" y="1058"/>
                    </a:lnTo>
                    <a:lnTo>
                      <a:pt x="74855" y="1940"/>
                    </a:lnTo>
                    <a:lnTo>
                      <a:pt x="74326" y="3439"/>
                    </a:lnTo>
                    <a:lnTo>
                      <a:pt x="75208" y="3439"/>
                    </a:lnTo>
                    <a:lnTo>
                      <a:pt x="75737" y="2292"/>
                    </a:lnTo>
                    <a:lnTo>
                      <a:pt x="81820" y="264"/>
                    </a:lnTo>
                    <a:lnTo>
                      <a:pt x="80057" y="1675"/>
                    </a:lnTo>
                    <a:lnTo>
                      <a:pt x="81203" y="2292"/>
                    </a:lnTo>
                    <a:lnTo>
                      <a:pt x="82349" y="3791"/>
                    </a:lnTo>
                    <a:lnTo>
                      <a:pt x="83495" y="4056"/>
                    </a:lnTo>
                    <a:lnTo>
                      <a:pt x="84377" y="2292"/>
                    </a:lnTo>
                    <a:lnTo>
                      <a:pt x="86141" y="2028"/>
                    </a:lnTo>
                    <a:lnTo>
                      <a:pt x="86758" y="3174"/>
                    </a:lnTo>
                    <a:lnTo>
                      <a:pt x="93194" y="2557"/>
                    </a:lnTo>
                    <a:lnTo>
                      <a:pt x="94340" y="1940"/>
                    </a:lnTo>
                    <a:lnTo>
                      <a:pt x="94076" y="793"/>
                    </a:lnTo>
                    <a:lnTo>
                      <a:pt x="94957" y="1058"/>
                    </a:lnTo>
                    <a:lnTo>
                      <a:pt x="94340" y="2204"/>
                    </a:lnTo>
                    <a:lnTo>
                      <a:pt x="96104" y="4849"/>
                    </a:lnTo>
                    <a:lnTo>
                      <a:pt x="101923" y="6877"/>
                    </a:lnTo>
                    <a:lnTo>
                      <a:pt x="104568" y="5995"/>
                    </a:lnTo>
                    <a:lnTo>
                      <a:pt x="104832" y="5378"/>
                    </a:lnTo>
                    <a:lnTo>
                      <a:pt x="106331" y="6260"/>
                    </a:lnTo>
                    <a:lnTo>
                      <a:pt x="110122" y="7142"/>
                    </a:lnTo>
                    <a:lnTo>
                      <a:pt x="115413" y="6877"/>
                    </a:lnTo>
                    <a:lnTo>
                      <a:pt x="114531" y="9258"/>
                    </a:lnTo>
                    <a:lnTo>
                      <a:pt x="118322" y="8640"/>
                    </a:lnTo>
                    <a:lnTo>
                      <a:pt x="120703" y="8993"/>
                    </a:lnTo>
                    <a:lnTo>
                      <a:pt x="123348" y="10404"/>
                    </a:lnTo>
                    <a:lnTo>
                      <a:pt x="123348" y="11903"/>
                    </a:lnTo>
                    <a:lnTo>
                      <a:pt x="123083" y="14548"/>
                    </a:lnTo>
                    <a:lnTo>
                      <a:pt x="125111" y="16311"/>
                    </a:lnTo>
                    <a:lnTo>
                      <a:pt x="129519" y="18074"/>
                    </a:lnTo>
                    <a:lnTo>
                      <a:pt x="132429" y="17810"/>
                    </a:lnTo>
                    <a:lnTo>
                      <a:pt x="138865" y="18692"/>
                    </a:lnTo>
                    <a:lnTo>
                      <a:pt x="148476" y="14019"/>
                    </a:lnTo>
                    <a:lnTo>
                      <a:pt x="146183" y="14900"/>
                    </a:lnTo>
                    <a:lnTo>
                      <a:pt x="144420" y="17281"/>
                    </a:lnTo>
                    <a:lnTo>
                      <a:pt x="148828" y="18427"/>
                    </a:lnTo>
                    <a:lnTo>
                      <a:pt x="147329" y="21689"/>
                    </a:lnTo>
                    <a:lnTo>
                      <a:pt x="147329" y="24863"/>
                    </a:lnTo>
                    <a:lnTo>
                      <a:pt x="150239" y="25481"/>
                    </a:lnTo>
                    <a:lnTo>
                      <a:pt x="152619" y="26362"/>
                    </a:lnTo>
                    <a:lnTo>
                      <a:pt x="154118" y="32446"/>
                    </a:lnTo>
                    <a:lnTo>
                      <a:pt x="154383" y="32181"/>
                    </a:lnTo>
                    <a:lnTo>
                      <a:pt x="154647" y="29801"/>
                    </a:lnTo>
                    <a:lnTo>
                      <a:pt x="157028" y="33857"/>
                    </a:lnTo>
                    <a:lnTo>
                      <a:pt x="162847" y="34738"/>
                    </a:lnTo>
                    <a:lnTo>
                      <a:pt x="163729" y="35003"/>
                    </a:lnTo>
                    <a:lnTo>
                      <a:pt x="163464" y="36149"/>
                    </a:lnTo>
                    <a:lnTo>
                      <a:pt x="164081" y="37295"/>
                    </a:lnTo>
                    <a:lnTo>
                      <a:pt x="165845" y="37912"/>
                    </a:lnTo>
                    <a:lnTo>
                      <a:pt x="166109" y="37295"/>
                    </a:lnTo>
                    <a:lnTo>
                      <a:pt x="163464" y="33768"/>
                    </a:lnTo>
                    <a:lnTo>
                      <a:pt x="159673" y="25921"/>
                    </a:lnTo>
                    <a:lnTo>
                      <a:pt x="156146" y="22130"/>
                    </a:lnTo>
                    <a:lnTo>
                      <a:pt x="159937" y="31741"/>
                    </a:lnTo>
                    <a:lnTo>
                      <a:pt x="160819" y="30859"/>
                    </a:lnTo>
                    <a:lnTo>
                      <a:pt x="161965" y="31123"/>
                    </a:lnTo>
                    <a:lnTo>
                      <a:pt x="162583" y="32622"/>
                    </a:lnTo>
                    <a:lnTo>
                      <a:pt x="170429" y="38177"/>
                    </a:lnTo>
                    <a:lnTo>
                      <a:pt x="170694" y="39059"/>
                    </a:lnTo>
                    <a:lnTo>
                      <a:pt x="169812" y="39940"/>
                    </a:lnTo>
                    <a:lnTo>
                      <a:pt x="167520" y="38530"/>
                    </a:lnTo>
                    <a:lnTo>
                      <a:pt x="165492" y="38265"/>
                    </a:lnTo>
                    <a:lnTo>
                      <a:pt x="166374" y="39411"/>
                    </a:lnTo>
                    <a:lnTo>
                      <a:pt x="167873" y="39676"/>
                    </a:lnTo>
                    <a:lnTo>
                      <a:pt x="167608" y="41439"/>
                    </a:lnTo>
                    <a:lnTo>
                      <a:pt x="168754" y="42321"/>
                    </a:lnTo>
                    <a:lnTo>
                      <a:pt x="169901" y="41792"/>
                    </a:lnTo>
                    <a:lnTo>
                      <a:pt x="171047" y="38882"/>
                    </a:lnTo>
                    <a:lnTo>
                      <a:pt x="171664" y="38882"/>
                    </a:lnTo>
                    <a:lnTo>
                      <a:pt x="175191" y="42938"/>
                    </a:lnTo>
                    <a:lnTo>
                      <a:pt x="177483" y="43820"/>
                    </a:lnTo>
                    <a:lnTo>
                      <a:pt x="176866" y="44701"/>
                    </a:lnTo>
                    <a:lnTo>
                      <a:pt x="175984" y="44701"/>
                    </a:lnTo>
                    <a:lnTo>
                      <a:pt x="175367" y="45936"/>
                    </a:lnTo>
                    <a:lnTo>
                      <a:pt x="175984" y="46200"/>
                    </a:lnTo>
                    <a:lnTo>
                      <a:pt x="177130" y="45054"/>
                    </a:lnTo>
                    <a:lnTo>
                      <a:pt x="177747" y="44172"/>
                    </a:lnTo>
                    <a:lnTo>
                      <a:pt x="180657" y="45054"/>
                    </a:lnTo>
                    <a:lnTo>
                      <a:pt x="181274" y="45671"/>
                    </a:lnTo>
                    <a:lnTo>
                      <a:pt x="179511" y="46553"/>
                    </a:lnTo>
                    <a:lnTo>
                      <a:pt x="181274" y="47434"/>
                    </a:lnTo>
                    <a:lnTo>
                      <a:pt x="181010" y="46553"/>
                    </a:lnTo>
                    <a:lnTo>
                      <a:pt x="181891" y="46288"/>
                    </a:lnTo>
                    <a:lnTo>
                      <a:pt x="183390" y="46553"/>
                    </a:lnTo>
                    <a:lnTo>
                      <a:pt x="183126" y="47963"/>
                    </a:lnTo>
                    <a:lnTo>
                      <a:pt x="181980" y="48228"/>
                    </a:lnTo>
                    <a:lnTo>
                      <a:pt x="184360" y="48493"/>
                    </a:lnTo>
                    <a:lnTo>
                      <a:pt x="185242" y="48228"/>
                    </a:lnTo>
                    <a:lnTo>
                      <a:pt x="183743" y="47699"/>
                    </a:lnTo>
                    <a:lnTo>
                      <a:pt x="184096" y="46817"/>
                    </a:lnTo>
                    <a:lnTo>
                      <a:pt x="188151" y="47434"/>
                    </a:lnTo>
                    <a:lnTo>
                      <a:pt x="192560" y="49815"/>
                    </a:lnTo>
                    <a:lnTo>
                      <a:pt x="192560" y="51226"/>
                    </a:lnTo>
                    <a:lnTo>
                      <a:pt x="195734" y="51578"/>
                    </a:lnTo>
                    <a:lnTo>
                      <a:pt x="201553" y="50697"/>
                    </a:lnTo>
                    <a:lnTo>
                      <a:pt x="203845" y="52196"/>
                    </a:lnTo>
                    <a:lnTo>
                      <a:pt x="204462" y="53695"/>
                    </a:lnTo>
                    <a:lnTo>
                      <a:pt x="202082" y="56340"/>
                    </a:lnTo>
                    <a:lnTo>
                      <a:pt x="201200" y="55810"/>
                    </a:lnTo>
                    <a:lnTo>
                      <a:pt x="201200" y="57221"/>
                    </a:lnTo>
                    <a:lnTo>
                      <a:pt x="202964" y="56604"/>
                    </a:lnTo>
                    <a:lnTo>
                      <a:pt x="204991" y="58103"/>
                    </a:lnTo>
                    <a:lnTo>
                      <a:pt x="204727" y="58985"/>
                    </a:lnTo>
                    <a:lnTo>
                      <a:pt x="200936" y="57838"/>
                    </a:lnTo>
                    <a:lnTo>
                      <a:pt x="200054" y="59866"/>
                    </a:lnTo>
                    <a:lnTo>
                      <a:pt x="200936" y="61013"/>
                    </a:lnTo>
                    <a:lnTo>
                      <a:pt x="202082" y="60395"/>
                    </a:lnTo>
                    <a:lnTo>
                      <a:pt x="203228" y="59249"/>
                    </a:lnTo>
                    <a:lnTo>
                      <a:pt x="205256" y="61013"/>
                    </a:lnTo>
                    <a:lnTo>
                      <a:pt x="207019" y="61277"/>
                    </a:lnTo>
                    <a:lnTo>
                      <a:pt x="206755" y="60395"/>
                    </a:lnTo>
                    <a:lnTo>
                      <a:pt x="208254" y="60131"/>
                    </a:lnTo>
                    <a:lnTo>
                      <a:pt x="209400" y="60748"/>
                    </a:lnTo>
                    <a:lnTo>
                      <a:pt x="209664" y="61894"/>
                    </a:lnTo>
                    <a:lnTo>
                      <a:pt x="213456" y="65068"/>
                    </a:lnTo>
                    <a:lnTo>
                      <a:pt x="212309" y="65068"/>
                    </a:lnTo>
                    <a:lnTo>
                      <a:pt x="211428" y="61894"/>
                    </a:lnTo>
                    <a:lnTo>
                      <a:pt x="209664" y="61013"/>
                    </a:lnTo>
                    <a:lnTo>
                      <a:pt x="211692" y="60395"/>
                    </a:lnTo>
                    <a:lnTo>
                      <a:pt x="215484" y="61277"/>
                    </a:lnTo>
                    <a:lnTo>
                      <a:pt x="219010" y="61894"/>
                    </a:lnTo>
                    <a:lnTo>
                      <a:pt x="219892" y="62776"/>
                    </a:lnTo>
                    <a:lnTo>
                      <a:pt x="222273" y="63040"/>
                    </a:lnTo>
                    <a:lnTo>
                      <a:pt x="224300" y="65685"/>
                    </a:lnTo>
                    <a:lnTo>
                      <a:pt x="226064" y="66832"/>
                    </a:lnTo>
                    <a:lnTo>
                      <a:pt x="227827" y="69477"/>
                    </a:lnTo>
                    <a:lnTo>
                      <a:pt x="231001" y="70975"/>
                    </a:lnTo>
                    <a:lnTo>
                      <a:pt x="233646" y="70446"/>
                    </a:lnTo>
                    <a:lnTo>
                      <a:pt x="235939" y="72739"/>
                    </a:lnTo>
                    <a:lnTo>
                      <a:pt x="235939" y="73356"/>
                    </a:lnTo>
                    <a:lnTo>
                      <a:pt x="233029" y="76618"/>
                    </a:lnTo>
                    <a:lnTo>
                      <a:pt x="227827" y="76618"/>
                    </a:lnTo>
                    <a:lnTo>
                      <a:pt x="224300" y="78911"/>
                    </a:lnTo>
                    <a:lnTo>
                      <a:pt x="221126" y="77412"/>
                    </a:lnTo>
                    <a:lnTo>
                      <a:pt x="215307" y="80586"/>
                    </a:lnTo>
                    <a:lnTo>
                      <a:pt x="213544" y="80850"/>
                    </a:lnTo>
                    <a:lnTo>
                      <a:pt x="214161" y="79704"/>
                    </a:lnTo>
                    <a:lnTo>
                      <a:pt x="213808" y="78822"/>
                    </a:lnTo>
                    <a:lnTo>
                      <a:pt x="215307" y="77941"/>
                    </a:lnTo>
                    <a:lnTo>
                      <a:pt x="215043" y="76795"/>
                    </a:lnTo>
                    <a:lnTo>
                      <a:pt x="213544" y="78822"/>
                    </a:lnTo>
                    <a:lnTo>
                      <a:pt x="212927" y="80321"/>
                    </a:lnTo>
                    <a:lnTo>
                      <a:pt x="209400" y="81203"/>
                    </a:lnTo>
                    <a:lnTo>
                      <a:pt x="204110" y="80939"/>
                    </a:lnTo>
                    <a:lnTo>
                      <a:pt x="197409" y="79175"/>
                    </a:lnTo>
                    <a:lnTo>
                      <a:pt x="193001" y="78911"/>
                    </a:lnTo>
                    <a:lnTo>
                      <a:pt x="189738" y="78646"/>
                    </a:lnTo>
                    <a:lnTo>
                      <a:pt x="182773" y="79792"/>
                    </a:lnTo>
                    <a:lnTo>
                      <a:pt x="176337" y="79792"/>
                    </a:lnTo>
                    <a:lnTo>
                      <a:pt x="173163" y="81291"/>
                    </a:lnTo>
                    <a:lnTo>
                      <a:pt x="171399" y="76089"/>
                    </a:lnTo>
                    <a:lnTo>
                      <a:pt x="167344" y="80762"/>
                    </a:lnTo>
                    <a:lnTo>
                      <a:pt x="166197" y="81027"/>
                    </a:lnTo>
                    <a:lnTo>
                      <a:pt x="165051" y="81908"/>
                    </a:lnTo>
                    <a:lnTo>
                      <a:pt x="158615" y="82790"/>
                    </a:lnTo>
                    <a:lnTo>
                      <a:pt x="157469" y="82261"/>
                    </a:lnTo>
                    <a:lnTo>
                      <a:pt x="157998" y="80498"/>
                    </a:lnTo>
                    <a:lnTo>
                      <a:pt x="160907" y="76971"/>
                    </a:lnTo>
                    <a:lnTo>
                      <a:pt x="166197" y="76089"/>
                    </a:lnTo>
                    <a:lnTo>
                      <a:pt x="168225" y="71152"/>
                    </a:lnTo>
                    <a:lnTo>
                      <a:pt x="168843" y="71769"/>
                    </a:lnTo>
                    <a:lnTo>
                      <a:pt x="170870" y="69388"/>
                    </a:lnTo>
                    <a:lnTo>
                      <a:pt x="171752" y="66743"/>
                    </a:lnTo>
                    <a:lnTo>
                      <a:pt x="168225" y="64716"/>
                    </a:lnTo>
                    <a:lnTo>
                      <a:pt x="169107" y="62952"/>
                    </a:lnTo>
                    <a:lnTo>
                      <a:pt x="166462" y="60924"/>
                    </a:lnTo>
                    <a:lnTo>
                      <a:pt x="162671" y="61806"/>
                    </a:lnTo>
                    <a:lnTo>
                      <a:pt x="156852" y="61541"/>
                    </a:lnTo>
                    <a:lnTo>
                      <a:pt x="154824" y="60660"/>
                    </a:lnTo>
                    <a:lnTo>
                      <a:pt x="151032" y="61277"/>
                    </a:lnTo>
                    <a:lnTo>
                      <a:pt x="146360" y="57486"/>
                    </a:lnTo>
                    <a:lnTo>
                      <a:pt x="144596" y="55458"/>
                    </a:lnTo>
                    <a:lnTo>
                      <a:pt x="141687" y="53695"/>
                    </a:lnTo>
                    <a:lnTo>
                      <a:pt x="140805" y="53077"/>
                    </a:lnTo>
                    <a:lnTo>
                      <a:pt x="141422" y="48404"/>
                    </a:lnTo>
                    <a:lnTo>
                      <a:pt x="139659" y="45230"/>
                    </a:lnTo>
                    <a:lnTo>
                      <a:pt x="138513" y="42321"/>
                    </a:lnTo>
                    <a:lnTo>
                      <a:pt x="137366" y="40557"/>
                    </a:lnTo>
                    <a:lnTo>
                      <a:pt x="135603" y="40293"/>
                    </a:lnTo>
                    <a:lnTo>
                      <a:pt x="136749" y="40028"/>
                    </a:lnTo>
                    <a:lnTo>
                      <a:pt x="135603" y="38618"/>
                    </a:lnTo>
                    <a:lnTo>
                      <a:pt x="129519" y="41792"/>
                    </a:lnTo>
                    <a:lnTo>
                      <a:pt x="123348" y="40381"/>
                    </a:lnTo>
                    <a:lnTo>
                      <a:pt x="113473" y="36854"/>
                    </a:lnTo>
                    <a:lnTo>
                      <a:pt x="112327" y="36854"/>
                    </a:lnTo>
                    <a:lnTo>
                      <a:pt x="111709" y="37736"/>
                    </a:lnTo>
                    <a:lnTo>
                      <a:pt x="110563" y="35708"/>
                    </a:lnTo>
                    <a:lnTo>
                      <a:pt x="108271" y="36590"/>
                    </a:lnTo>
                    <a:lnTo>
                      <a:pt x="107125" y="34562"/>
                    </a:lnTo>
                    <a:lnTo>
                      <a:pt x="105626" y="28126"/>
                    </a:lnTo>
                    <a:lnTo>
                      <a:pt x="102099" y="32181"/>
                    </a:lnTo>
                    <a:lnTo>
                      <a:pt x="98572" y="28655"/>
                    </a:lnTo>
                    <a:lnTo>
                      <a:pt x="98572" y="28037"/>
                    </a:lnTo>
                    <a:lnTo>
                      <a:pt x="99454" y="27420"/>
                    </a:lnTo>
                    <a:lnTo>
                      <a:pt x="97691" y="25128"/>
                    </a:lnTo>
                    <a:lnTo>
                      <a:pt x="96544" y="25392"/>
                    </a:lnTo>
                    <a:lnTo>
                      <a:pt x="98308" y="27685"/>
                    </a:lnTo>
                    <a:lnTo>
                      <a:pt x="97691" y="28302"/>
                    </a:lnTo>
                    <a:lnTo>
                      <a:pt x="84554" y="27420"/>
                    </a:lnTo>
                    <a:lnTo>
                      <a:pt x="83407" y="25657"/>
                    </a:lnTo>
                    <a:lnTo>
                      <a:pt x="83143" y="23365"/>
                    </a:lnTo>
                    <a:lnTo>
                      <a:pt x="82526" y="22747"/>
                    </a:lnTo>
                    <a:lnTo>
                      <a:pt x="81909" y="23012"/>
                    </a:lnTo>
                    <a:lnTo>
                      <a:pt x="82173" y="27420"/>
                    </a:lnTo>
                    <a:lnTo>
                      <a:pt x="81909" y="27156"/>
                    </a:lnTo>
                    <a:lnTo>
                      <a:pt x="81291" y="26010"/>
                    </a:lnTo>
                    <a:lnTo>
                      <a:pt x="79528" y="27420"/>
                    </a:lnTo>
                    <a:lnTo>
                      <a:pt x="78029" y="26803"/>
                    </a:lnTo>
                    <a:lnTo>
                      <a:pt x="78029" y="25921"/>
                    </a:lnTo>
                    <a:lnTo>
                      <a:pt x="77765" y="25304"/>
                    </a:lnTo>
                    <a:lnTo>
                      <a:pt x="67890" y="24423"/>
                    </a:lnTo>
                    <a:lnTo>
                      <a:pt x="67625" y="23276"/>
                    </a:lnTo>
                    <a:lnTo>
                      <a:pt x="61806" y="20631"/>
                    </a:lnTo>
                    <a:lnTo>
                      <a:pt x="61189" y="19750"/>
                    </a:lnTo>
                    <a:lnTo>
                      <a:pt x="62071" y="18868"/>
                    </a:lnTo>
                    <a:lnTo>
                      <a:pt x="65862" y="19221"/>
                    </a:lnTo>
                    <a:lnTo>
                      <a:pt x="71152" y="18604"/>
                    </a:lnTo>
                    <a:lnTo>
                      <a:pt x="72298" y="17457"/>
                    </a:lnTo>
                    <a:lnTo>
                      <a:pt x="72651" y="15429"/>
                    </a:lnTo>
                    <a:lnTo>
                      <a:pt x="67361" y="13137"/>
                    </a:lnTo>
                    <a:lnTo>
                      <a:pt x="62423" y="12520"/>
                    </a:lnTo>
                    <a:lnTo>
                      <a:pt x="60395" y="14548"/>
                    </a:lnTo>
                    <a:lnTo>
                      <a:pt x="53695" y="12784"/>
                    </a:lnTo>
                    <a:lnTo>
                      <a:pt x="48140" y="12520"/>
                    </a:lnTo>
                    <a:lnTo>
                      <a:pt x="44966" y="16047"/>
                    </a:lnTo>
                    <a:lnTo>
                      <a:pt x="41439" y="17810"/>
                    </a:lnTo>
                    <a:lnTo>
                      <a:pt x="39500" y="20191"/>
                    </a:lnTo>
                    <a:lnTo>
                      <a:pt x="38618" y="20808"/>
                    </a:lnTo>
                    <a:lnTo>
                      <a:pt x="36590" y="21072"/>
                    </a:lnTo>
                    <a:lnTo>
                      <a:pt x="33945" y="23982"/>
                    </a:lnTo>
                    <a:lnTo>
                      <a:pt x="32182" y="24599"/>
                    </a:lnTo>
                    <a:lnTo>
                      <a:pt x="30154" y="22836"/>
                    </a:lnTo>
                    <a:lnTo>
                      <a:pt x="28390" y="24599"/>
                    </a:lnTo>
                    <a:lnTo>
                      <a:pt x="22836" y="24599"/>
                    </a:lnTo>
                    <a:lnTo>
                      <a:pt x="21689" y="25745"/>
                    </a:lnTo>
                    <a:lnTo>
                      <a:pt x="20808" y="27508"/>
                    </a:lnTo>
                    <a:lnTo>
                      <a:pt x="21425" y="28390"/>
                    </a:lnTo>
                    <a:lnTo>
                      <a:pt x="21160" y="30154"/>
                    </a:lnTo>
                    <a:lnTo>
                      <a:pt x="20279" y="31035"/>
                    </a:lnTo>
                    <a:lnTo>
                      <a:pt x="18515" y="30418"/>
                    </a:lnTo>
                    <a:lnTo>
                      <a:pt x="14107" y="31917"/>
                    </a:lnTo>
                    <a:lnTo>
                      <a:pt x="11462" y="34297"/>
                    </a:lnTo>
                    <a:lnTo>
                      <a:pt x="9699" y="34562"/>
                    </a:lnTo>
                    <a:lnTo>
                      <a:pt x="9699" y="33680"/>
                    </a:lnTo>
                    <a:lnTo>
                      <a:pt x="10580" y="31917"/>
                    </a:lnTo>
                    <a:lnTo>
                      <a:pt x="10580" y="30771"/>
                    </a:lnTo>
                    <a:lnTo>
                      <a:pt x="9963" y="30506"/>
                    </a:lnTo>
                    <a:lnTo>
                      <a:pt x="5555" y="31388"/>
                    </a:lnTo>
                    <a:lnTo>
                      <a:pt x="2910" y="33416"/>
                    </a:lnTo>
                    <a:lnTo>
                      <a:pt x="264" y="32799"/>
                    </a:lnTo>
                    <a:lnTo>
                      <a:pt x="0" y="32181"/>
                    </a:lnTo>
                    <a:lnTo>
                      <a:pt x="705" y="30771"/>
                    </a:lnTo>
                    <a:close/>
                    <a:moveTo>
                      <a:pt x="45936" y="42673"/>
                    </a:moveTo>
                    <a:lnTo>
                      <a:pt x="41263" y="42056"/>
                    </a:lnTo>
                    <a:lnTo>
                      <a:pt x="40381" y="38882"/>
                    </a:lnTo>
                    <a:lnTo>
                      <a:pt x="43026" y="39147"/>
                    </a:lnTo>
                    <a:lnTo>
                      <a:pt x="43643" y="39411"/>
                    </a:lnTo>
                    <a:lnTo>
                      <a:pt x="44261" y="38794"/>
                    </a:lnTo>
                    <a:lnTo>
                      <a:pt x="44525" y="35620"/>
                    </a:lnTo>
                    <a:lnTo>
                      <a:pt x="43908" y="33857"/>
                    </a:lnTo>
                    <a:lnTo>
                      <a:pt x="45407" y="32358"/>
                    </a:lnTo>
                    <a:lnTo>
                      <a:pt x="43643" y="30594"/>
                    </a:lnTo>
                    <a:lnTo>
                      <a:pt x="46288" y="30330"/>
                    </a:lnTo>
                    <a:lnTo>
                      <a:pt x="49198" y="31476"/>
                    </a:lnTo>
                    <a:lnTo>
                      <a:pt x="50697" y="34386"/>
                    </a:lnTo>
                    <a:lnTo>
                      <a:pt x="51314" y="34386"/>
                    </a:lnTo>
                    <a:lnTo>
                      <a:pt x="52725" y="38794"/>
                    </a:lnTo>
                    <a:lnTo>
                      <a:pt x="50697" y="40557"/>
                    </a:lnTo>
                    <a:lnTo>
                      <a:pt x="45936" y="4267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6" name="Freihandform: Form 1725">
                <a:extLst>
                  <a:ext uri="{FF2B5EF4-FFF2-40B4-BE49-F238E27FC236}">
                    <a16:creationId xmlns:a16="http://schemas.microsoft.com/office/drawing/2014/main" id="{FA4874E5-F121-C5F5-C68D-DE9FAA2DAD86}"/>
                  </a:ext>
                </a:extLst>
              </p:cNvPr>
              <p:cNvSpPr/>
              <p:nvPr/>
            </p:nvSpPr>
            <p:spPr>
              <a:xfrm>
                <a:off x="2378330" y="3476522"/>
                <a:ext cx="108976" cy="114618"/>
              </a:xfrm>
              <a:custGeom>
                <a:avLst/>
                <a:gdLst>
                  <a:gd name="connsiteX0" fmla="*/ 40029 w 108976"/>
                  <a:gd name="connsiteY0" fmla="*/ 51050 h 114618"/>
                  <a:gd name="connsiteX1" fmla="*/ 35091 w 108976"/>
                  <a:gd name="connsiteY1" fmla="*/ 49551 h 114618"/>
                  <a:gd name="connsiteX2" fmla="*/ 33592 w 108976"/>
                  <a:gd name="connsiteY2" fmla="*/ 48669 h 114618"/>
                  <a:gd name="connsiteX3" fmla="*/ 34474 w 108976"/>
                  <a:gd name="connsiteY3" fmla="*/ 48052 h 114618"/>
                  <a:gd name="connsiteX4" fmla="*/ 34474 w 108976"/>
                  <a:gd name="connsiteY4" fmla="*/ 45759 h 114618"/>
                  <a:gd name="connsiteX5" fmla="*/ 35620 w 108976"/>
                  <a:gd name="connsiteY5" fmla="*/ 46024 h 114618"/>
                  <a:gd name="connsiteX6" fmla="*/ 38265 w 108976"/>
                  <a:gd name="connsiteY6" fmla="*/ 46288 h 114618"/>
                  <a:gd name="connsiteX7" fmla="*/ 39411 w 108976"/>
                  <a:gd name="connsiteY7" fmla="*/ 47170 h 114618"/>
                  <a:gd name="connsiteX8" fmla="*/ 40029 w 108976"/>
                  <a:gd name="connsiteY8" fmla="*/ 47435 h 114618"/>
                  <a:gd name="connsiteX9" fmla="*/ 40910 w 108976"/>
                  <a:gd name="connsiteY9" fmla="*/ 48052 h 114618"/>
                  <a:gd name="connsiteX10" fmla="*/ 42938 w 108976"/>
                  <a:gd name="connsiteY10" fmla="*/ 50432 h 114618"/>
                  <a:gd name="connsiteX11" fmla="*/ 41175 w 108976"/>
                  <a:gd name="connsiteY11" fmla="*/ 50697 h 114618"/>
                  <a:gd name="connsiteX12" fmla="*/ 40029 w 108976"/>
                  <a:gd name="connsiteY12" fmla="*/ 51050 h 114618"/>
                  <a:gd name="connsiteX13" fmla="*/ 101306 w 108976"/>
                  <a:gd name="connsiteY13" fmla="*/ 114619 h 114618"/>
                  <a:gd name="connsiteX14" fmla="*/ 102187 w 108976"/>
                  <a:gd name="connsiteY14" fmla="*/ 112856 h 114618"/>
                  <a:gd name="connsiteX15" fmla="*/ 103333 w 108976"/>
                  <a:gd name="connsiteY15" fmla="*/ 112591 h 114618"/>
                  <a:gd name="connsiteX16" fmla="*/ 104744 w 108976"/>
                  <a:gd name="connsiteY16" fmla="*/ 111092 h 114618"/>
                  <a:gd name="connsiteX17" fmla="*/ 105361 w 108976"/>
                  <a:gd name="connsiteY17" fmla="*/ 109593 h 114618"/>
                  <a:gd name="connsiteX18" fmla="*/ 107125 w 108976"/>
                  <a:gd name="connsiteY18" fmla="*/ 109329 h 114618"/>
                  <a:gd name="connsiteX19" fmla="*/ 108006 w 108976"/>
                  <a:gd name="connsiteY19" fmla="*/ 108447 h 114618"/>
                  <a:gd name="connsiteX20" fmla="*/ 107742 w 108976"/>
                  <a:gd name="connsiteY20" fmla="*/ 106948 h 114618"/>
                  <a:gd name="connsiteX21" fmla="*/ 106860 w 108976"/>
                  <a:gd name="connsiteY21" fmla="*/ 106067 h 114618"/>
                  <a:gd name="connsiteX22" fmla="*/ 104832 w 108976"/>
                  <a:gd name="connsiteY22" fmla="*/ 106067 h 114618"/>
                  <a:gd name="connsiteX23" fmla="*/ 104832 w 108976"/>
                  <a:gd name="connsiteY23" fmla="*/ 104303 h 114618"/>
                  <a:gd name="connsiteX24" fmla="*/ 106596 w 108976"/>
                  <a:gd name="connsiteY24" fmla="*/ 103686 h 114618"/>
                  <a:gd name="connsiteX25" fmla="*/ 108359 w 108976"/>
                  <a:gd name="connsiteY25" fmla="*/ 102804 h 114618"/>
                  <a:gd name="connsiteX26" fmla="*/ 108095 w 108976"/>
                  <a:gd name="connsiteY26" fmla="*/ 104303 h 114618"/>
                  <a:gd name="connsiteX27" fmla="*/ 108976 w 108976"/>
                  <a:gd name="connsiteY27" fmla="*/ 107477 h 114618"/>
                  <a:gd name="connsiteX28" fmla="*/ 105802 w 108976"/>
                  <a:gd name="connsiteY28" fmla="*/ 112415 h 114618"/>
                  <a:gd name="connsiteX29" fmla="*/ 101306 w 108976"/>
                  <a:gd name="connsiteY29" fmla="*/ 114619 h 114618"/>
                  <a:gd name="connsiteX30" fmla="*/ 34474 w 108976"/>
                  <a:gd name="connsiteY30" fmla="*/ 25657 h 114618"/>
                  <a:gd name="connsiteX31" fmla="*/ 30683 w 108976"/>
                  <a:gd name="connsiteY31" fmla="*/ 22483 h 114618"/>
                  <a:gd name="connsiteX32" fmla="*/ 34738 w 108976"/>
                  <a:gd name="connsiteY32" fmla="*/ 19221 h 114618"/>
                  <a:gd name="connsiteX33" fmla="*/ 33857 w 108976"/>
                  <a:gd name="connsiteY33" fmla="*/ 18075 h 114618"/>
                  <a:gd name="connsiteX34" fmla="*/ 34738 w 108976"/>
                  <a:gd name="connsiteY34" fmla="*/ 16047 h 114618"/>
                  <a:gd name="connsiteX35" fmla="*/ 34738 w 108976"/>
                  <a:gd name="connsiteY35" fmla="*/ 11991 h 114618"/>
                  <a:gd name="connsiteX36" fmla="*/ 36237 w 108976"/>
                  <a:gd name="connsiteY36" fmla="*/ 10228 h 114618"/>
                  <a:gd name="connsiteX37" fmla="*/ 36237 w 108976"/>
                  <a:gd name="connsiteY37" fmla="*/ 9346 h 114618"/>
                  <a:gd name="connsiteX38" fmla="*/ 32182 w 108976"/>
                  <a:gd name="connsiteY38" fmla="*/ 8200 h 114618"/>
                  <a:gd name="connsiteX39" fmla="*/ 31564 w 108976"/>
                  <a:gd name="connsiteY39" fmla="*/ 5907 h 114618"/>
                  <a:gd name="connsiteX40" fmla="*/ 30418 w 108976"/>
                  <a:gd name="connsiteY40" fmla="*/ 6172 h 114618"/>
                  <a:gd name="connsiteX41" fmla="*/ 28390 w 108976"/>
                  <a:gd name="connsiteY41" fmla="*/ 2116 h 114618"/>
                  <a:gd name="connsiteX42" fmla="*/ 19926 w 108976"/>
                  <a:gd name="connsiteY42" fmla="*/ 617 h 114618"/>
                  <a:gd name="connsiteX43" fmla="*/ 18780 w 108976"/>
                  <a:gd name="connsiteY43" fmla="*/ 882 h 114618"/>
                  <a:gd name="connsiteX44" fmla="*/ 21072 w 108976"/>
                  <a:gd name="connsiteY44" fmla="*/ 0 h 114618"/>
                  <a:gd name="connsiteX45" fmla="*/ 26627 w 108976"/>
                  <a:gd name="connsiteY45" fmla="*/ 264 h 114618"/>
                  <a:gd name="connsiteX46" fmla="*/ 31035 w 108976"/>
                  <a:gd name="connsiteY46" fmla="*/ 3791 h 114618"/>
                  <a:gd name="connsiteX47" fmla="*/ 35973 w 108976"/>
                  <a:gd name="connsiteY47" fmla="*/ 8464 h 114618"/>
                  <a:gd name="connsiteX48" fmla="*/ 38618 w 108976"/>
                  <a:gd name="connsiteY48" fmla="*/ 10228 h 114618"/>
                  <a:gd name="connsiteX49" fmla="*/ 39500 w 108976"/>
                  <a:gd name="connsiteY49" fmla="*/ 15165 h 114618"/>
                  <a:gd name="connsiteX50" fmla="*/ 36590 w 108976"/>
                  <a:gd name="connsiteY50" fmla="*/ 16311 h 114618"/>
                  <a:gd name="connsiteX51" fmla="*/ 35708 w 108976"/>
                  <a:gd name="connsiteY51" fmla="*/ 19485 h 114618"/>
                  <a:gd name="connsiteX52" fmla="*/ 35444 w 108976"/>
                  <a:gd name="connsiteY52" fmla="*/ 25304 h 114618"/>
                  <a:gd name="connsiteX53" fmla="*/ 34474 w 108976"/>
                  <a:gd name="connsiteY53" fmla="*/ 25657 h 114618"/>
                  <a:gd name="connsiteX54" fmla="*/ 25128 w 108976"/>
                  <a:gd name="connsiteY54" fmla="*/ 78734 h 114618"/>
                  <a:gd name="connsiteX55" fmla="*/ 23629 w 108976"/>
                  <a:gd name="connsiteY55" fmla="*/ 77588 h 114618"/>
                  <a:gd name="connsiteX56" fmla="*/ 24775 w 108976"/>
                  <a:gd name="connsiteY56" fmla="*/ 77853 h 114618"/>
                  <a:gd name="connsiteX57" fmla="*/ 26803 w 108976"/>
                  <a:gd name="connsiteY57" fmla="*/ 75825 h 114618"/>
                  <a:gd name="connsiteX58" fmla="*/ 25922 w 108976"/>
                  <a:gd name="connsiteY58" fmla="*/ 76177 h 114618"/>
                  <a:gd name="connsiteX59" fmla="*/ 24158 w 108976"/>
                  <a:gd name="connsiteY59" fmla="*/ 77324 h 114618"/>
                  <a:gd name="connsiteX60" fmla="*/ 22659 w 108976"/>
                  <a:gd name="connsiteY60" fmla="*/ 76442 h 114618"/>
                  <a:gd name="connsiteX61" fmla="*/ 24687 w 108976"/>
                  <a:gd name="connsiteY61" fmla="*/ 75296 h 114618"/>
                  <a:gd name="connsiteX62" fmla="*/ 22395 w 108976"/>
                  <a:gd name="connsiteY62" fmla="*/ 75560 h 114618"/>
                  <a:gd name="connsiteX63" fmla="*/ 21249 w 108976"/>
                  <a:gd name="connsiteY63" fmla="*/ 73532 h 114618"/>
                  <a:gd name="connsiteX64" fmla="*/ 21249 w 108976"/>
                  <a:gd name="connsiteY64" fmla="*/ 71505 h 114618"/>
                  <a:gd name="connsiteX65" fmla="*/ 19485 w 108976"/>
                  <a:gd name="connsiteY65" fmla="*/ 68859 h 114618"/>
                  <a:gd name="connsiteX66" fmla="*/ 24158 w 108976"/>
                  <a:gd name="connsiteY66" fmla="*/ 65068 h 114618"/>
                  <a:gd name="connsiteX67" fmla="*/ 25657 w 108976"/>
                  <a:gd name="connsiteY67" fmla="*/ 65685 h 114618"/>
                  <a:gd name="connsiteX68" fmla="*/ 23012 w 108976"/>
                  <a:gd name="connsiteY68" fmla="*/ 68595 h 114618"/>
                  <a:gd name="connsiteX69" fmla="*/ 24158 w 108976"/>
                  <a:gd name="connsiteY69" fmla="*/ 69212 h 114618"/>
                  <a:gd name="connsiteX70" fmla="*/ 23276 w 108976"/>
                  <a:gd name="connsiteY70" fmla="*/ 71240 h 114618"/>
                  <a:gd name="connsiteX71" fmla="*/ 24423 w 108976"/>
                  <a:gd name="connsiteY71" fmla="*/ 70094 h 114618"/>
                  <a:gd name="connsiteX72" fmla="*/ 25569 w 108976"/>
                  <a:gd name="connsiteY72" fmla="*/ 66920 h 114618"/>
                  <a:gd name="connsiteX73" fmla="*/ 26186 w 108976"/>
                  <a:gd name="connsiteY73" fmla="*/ 66920 h 114618"/>
                  <a:gd name="connsiteX74" fmla="*/ 27949 w 108976"/>
                  <a:gd name="connsiteY74" fmla="*/ 71328 h 114618"/>
                  <a:gd name="connsiteX75" fmla="*/ 27949 w 108976"/>
                  <a:gd name="connsiteY75" fmla="*/ 73356 h 114618"/>
                  <a:gd name="connsiteX76" fmla="*/ 27949 w 108976"/>
                  <a:gd name="connsiteY76" fmla="*/ 76266 h 114618"/>
                  <a:gd name="connsiteX77" fmla="*/ 27068 w 108976"/>
                  <a:gd name="connsiteY77" fmla="*/ 78294 h 114618"/>
                  <a:gd name="connsiteX78" fmla="*/ 26186 w 108976"/>
                  <a:gd name="connsiteY78" fmla="*/ 78558 h 114618"/>
                  <a:gd name="connsiteX79" fmla="*/ 25040 w 108976"/>
                  <a:gd name="connsiteY79" fmla="*/ 77941 h 114618"/>
                  <a:gd name="connsiteX80" fmla="*/ 25040 w 108976"/>
                  <a:gd name="connsiteY80" fmla="*/ 78734 h 114618"/>
                  <a:gd name="connsiteX81" fmla="*/ 73268 w 108976"/>
                  <a:gd name="connsiteY81" fmla="*/ 68859 h 114618"/>
                  <a:gd name="connsiteX82" fmla="*/ 71769 w 108976"/>
                  <a:gd name="connsiteY82" fmla="*/ 67978 h 114618"/>
                  <a:gd name="connsiteX83" fmla="*/ 74414 w 108976"/>
                  <a:gd name="connsiteY83" fmla="*/ 66567 h 114618"/>
                  <a:gd name="connsiteX84" fmla="*/ 74150 w 108976"/>
                  <a:gd name="connsiteY84" fmla="*/ 65156 h 114618"/>
                  <a:gd name="connsiteX85" fmla="*/ 73003 w 108976"/>
                  <a:gd name="connsiteY85" fmla="*/ 64892 h 114618"/>
                  <a:gd name="connsiteX86" fmla="*/ 70358 w 108976"/>
                  <a:gd name="connsiteY86" fmla="*/ 59337 h 114618"/>
                  <a:gd name="connsiteX87" fmla="*/ 69212 w 108976"/>
                  <a:gd name="connsiteY87" fmla="*/ 59073 h 114618"/>
                  <a:gd name="connsiteX88" fmla="*/ 69212 w 108976"/>
                  <a:gd name="connsiteY88" fmla="*/ 57574 h 114618"/>
                  <a:gd name="connsiteX89" fmla="*/ 66567 w 108976"/>
                  <a:gd name="connsiteY89" fmla="*/ 55811 h 114618"/>
                  <a:gd name="connsiteX90" fmla="*/ 67713 w 108976"/>
                  <a:gd name="connsiteY90" fmla="*/ 54929 h 114618"/>
                  <a:gd name="connsiteX91" fmla="*/ 69477 w 108976"/>
                  <a:gd name="connsiteY91" fmla="*/ 56075 h 114618"/>
                  <a:gd name="connsiteX92" fmla="*/ 70976 w 108976"/>
                  <a:gd name="connsiteY92" fmla="*/ 59602 h 114618"/>
                  <a:gd name="connsiteX93" fmla="*/ 74767 w 108976"/>
                  <a:gd name="connsiteY93" fmla="*/ 64275 h 114618"/>
                  <a:gd name="connsiteX94" fmla="*/ 77059 w 108976"/>
                  <a:gd name="connsiteY94" fmla="*/ 68330 h 114618"/>
                  <a:gd name="connsiteX95" fmla="*/ 75296 w 108976"/>
                  <a:gd name="connsiteY95" fmla="*/ 68066 h 114618"/>
                  <a:gd name="connsiteX96" fmla="*/ 73268 w 108976"/>
                  <a:gd name="connsiteY96" fmla="*/ 68859 h 114618"/>
                  <a:gd name="connsiteX97" fmla="*/ 17281 w 108976"/>
                  <a:gd name="connsiteY97" fmla="*/ 65333 h 114618"/>
                  <a:gd name="connsiteX98" fmla="*/ 16664 w 108976"/>
                  <a:gd name="connsiteY98" fmla="*/ 65068 h 114618"/>
                  <a:gd name="connsiteX99" fmla="*/ 16047 w 108976"/>
                  <a:gd name="connsiteY99" fmla="*/ 62688 h 114618"/>
                  <a:gd name="connsiteX100" fmla="*/ 14548 w 108976"/>
                  <a:gd name="connsiteY100" fmla="*/ 61806 h 114618"/>
                  <a:gd name="connsiteX101" fmla="*/ 14812 w 108976"/>
                  <a:gd name="connsiteY101" fmla="*/ 59778 h 114618"/>
                  <a:gd name="connsiteX102" fmla="*/ 13666 w 108976"/>
                  <a:gd name="connsiteY102" fmla="*/ 60660 h 114618"/>
                  <a:gd name="connsiteX103" fmla="*/ 10139 w 108976"/>
                  <a:gd name="connsiteY103" fmla="*/ 59161 h 114618"/>
                  <a:gd name="connsiteX104" fmla="*/ 8111 w 108976"/>
                  <a:gd name="connsiteY104" fmla="*/ 56780 h 114618"/>
                  <a:gd name="connsiteX105" fmla="*/ 10492 w 108976"/>
                  <a:gd name="connsiteY105" fmla="*/ 54488 h 114618"/>
                  <a:gd name="connsiteX106" fmla="*/ 11374 w 108976"/>
                  <a:gd name="connsiteY106" fmla="*/ 55105 h 114618"/>
                  <a:gd name="connsiteX107" fmla="*/ 10492 w 108976"/>
                  <a:gd name="connsiteY107" fmla="*/ 57486 h 114618"/>
                  <a:gd name="connsiteX108" fmla="*/ 11638 w 108976"/>
                  <a:gd name="connsiteY108" fmla="*/ 57221 h 114618"/>
                  <a:gd name="connsiteX109" fmla="*/ 12255 w 108976"/>
                  <a:gd name="connsiteY109" fmla="*/ 58103 h 114618"/>
                  <a:gd name="connsiteX110" fmla="*/ 12873 w 108976"/>
                  <a:gd name="connsiteY110" fmla="*/ 58103 h 114618"/>
                  <a:gd name="connsiteX111" fmla="*/ 12873 w 108976"/>
                  <a:gd name="connsiteY111" fmla="*/ 55722 h 114618"/>
                  <a:gd name="connsiteX112" fmla="*/ 11991 w 108976"/>
                  <a:gd name="connsiteY112" fmla="*/ 53959 h 114618"/>
                  <a:gd name="connsiteX113" fmla="*/ 11991 w 108976"/>
                  <a:gd name="connsiteY113" fmla="*/ 55370 h 114618"/>
                  <a:gd name="connsiteX114" fmla="*/ 11109 w 108976"/>
                  <a:gd name="connsiteY114" fmla="*/ 54224 h 114618"/>
                  <a:gd name="connsiteX115" fmla="*/ 14019 w 108976"/>
                  <a:gd name="connsiteY115" fmla="*/ 47787 h 114618"/>
                  <a:gd name="connsiteX116" fmla="*/ 13402 w 108976"/>
                  <a:gd name="connsiteY116" fmla="*/ 44613 h 114618"/>
                  <a:gd name="connsiteX117" fmla="*/ 13137 w 108976"/>
                  <a:gd name="connsiteY117" fmla="*/ 42321 h 114618"/>
                  <a:gd name="connsiteX118" fmla="*/ 17810 w 108976"/>
                  <a:gd name="connsiteY118" fmla="*/ 43467 h 114618"/>
                  <a:gd name="connsiteX119" fmla="*/ 20191 w 108976"/>
                  <a:gd name="connsiteY119" fmla="*/ 51050 h 114618"/>
                  <a:gd name="connsiteX120" fmla="*/ 23365 w 108976"/>
                  <a:gd name="connsiteY120" fmla="*/ 54576 h 114618"/>
                  <a:gd name="connsiteX121" fmla="*/ 23982 w 108976"/>
                  <a:gd name="connsiteY121" fmla="*/ 59514 h 114618"/>
                  <a:gd name="connsiteX122" fmla="*/ 22483 w 108976"/>
                  <a:gd name="connsiteY122" fmla="*/ 61013 h 114618"/>
                  <a:gd name="connsiteX123" fmla="*/ 20720 w 108976"/>
                  <a:gd name="connsiteY123" fmla="*/ 61630 h 114618"/>
                  <a:gd name="connsiteX124" fmla="*/ 20455 w 108976"/>
                  <a:gd name="connsiteY124" fmla="*/ 63129 h 114618"/>
                  <a:gd name="connsiteX125" fmla="*/ 17281 w 108976"/>
                  <a:gd name="connsiteY125" fmla="*/ 65333 h 114618"/>
                  <a:gd name="connsiteX126" fmla="*/ 57838 w 108976"/>
                  <a:gd name="connsiteY126" fmla="*/ 56075 h 114618"/>
                  <a:gd name="connsiteX127" fmla="*/ 56957 w 108976"/>
                  <a:gd name="connsiteY127" fmla="*/ 55458 h 114618"/>
                  <a:gd name="connsiteX128" fmla="*/ 56340 w 108976"/>
                  <a:gd name="connsiteY128" fmla="*/ 53430 h 114618"/>
                  <a:gd name="connsiteX129" fmla="*/ 54312 w 108976"/>
                  <a:gd name="connsiteY129" fmla="*/ 52548 h 114618"/>
                  <a:gd name="connsiteX130" fmla="*/ 54576 w 108976"/>
                  <a:gd name="connsiteY130" fmla="*/ 51667 h 114618"/>
                  <a:gd name="connsiteX131" fmla="*/ 56957 w 108976"/>
                  <a:gd name="connsiteY131" fmla="*/ 52284 h 114618"/>
                  <a:gd name="connsiteX132" fmla="*/ 57221 w 108976"/>
                  <a:gd name="connsiteY132" fmla="*/ 50520 h 114618"/>
                  <a:gd name="connsiteX133" fmla="*/ 56957 w 108976"/>
                  <a:gd name="connsiteY133" fmla="*/ 50520 h 114618"/>
                  <a:gd name="connsiteX134" fmla="*/ 57221 w 108976"/>
                  <a:gd name="connsiteY134" fmla="*/ 48493 h 114618"/>
                  <a:gd name="connsiteX135" fmla="*/ 58368 w 108976"/>
                  <a:gd name="connsiteY135" fmla="*/ 47346 h 114618"/>
                  <a:gd name="connsiteX136" fmla="*/ 58103 w 108976"/>
                  <a:gd name="connsiteY136" fmla="*/ 45054 h 114618"/>
                  <a:gd name="connsiteX137" fmla="*/ 57574 w 108976"/>
                  <a:gd name="connsiteY137" fmla="*/ 43908 h 114618"/>
                  <a:gd name="connsiteX138" fmla="*/ 54929 w 108976"/>
                  <a:gd name="connsiteY138" fmla="*/ 41615 h 114618"/>
                  <a:gd name="connsiteX139" fmla="*/ 50256 w 108976"/>
                  <a:gd name="connsiteY139" fmla="*/ 38970 h 114618"/>
                  <a:gd name="connsiteX140" fmla="*/ 45936 w 108976"/>
                  <a:gd name="connsiteY140" fmla="*/ 36678 h 114618"/>
                  <a:gd name="connsiteX141" fmla="*/ 44437 w 108976"/>
                  <a:gd name="connsiteY141" fmla="*/ 37295 h 114618"/>
                  <a:gd name="connsiteX142" fmla="*/ 45319 w 108976"/>
                  <a:gd name="connsiteY142" fmla="*/ 33769 h 114618"/>
                  <a:gd name="connsiteX143" fmla="*/ 46465 w 108976"/>
                  <a:gd name="connsiteY143" fmla="*/ 34033 h 114618"/>
                  <a:gd name="connsiteX144" fmla="*/ 47082 w 108976"/>
                  <a:gd name="connsiteY144" fmla="*/ 35796 h 114618"/>
                  <a:gd name="connsiteX145" fmla="*/ 50873 w 108976"/>
                  <a:gd name="connsiteY145" fmla="*/ 38706 h 114618"/>
                  <a:gd name="connsiteX146" fmla="*/ 54929 w 108976"/>
                  <a:gd name="connsiteY146" fmla="*/ 40734 h 114618"/>
                  <a:gd name="connsiteX147" fmla="*/ 58720 w 108976"/>
                  <a:gd name="connsiteY147" fmla="*/ 44261 h 114618"/>
                  <a:gd name="connsiteX148" fmla="*/ 58985 w 108976"/>
                  <a:gd name="connsiteY148" fmla="*/ 46024 h 114618"/>
                  <a:gd name="connsiteX149" fmla="*/ 57486 w 108976"/>
                  <a:gd name="connsiteY149" fmla="*/ 53606 h 114618"/>
                  <a:gd name="connsiteX150" fmla="*/ 57838 w 108976"/>
                  <a:gd name="connsiteY150" fmla="*/ 56075 h 114618"/>
                  <a:gd name="connsiteX151" fmla="*/ 617 w 108976"/>
                  <a:gd name="connsiteY151" fmla="*/ 10228 h 114618"/>
                  <a:gd name="connsiteX152" fmla="*/ 0 w 108976"/>
                  <a:gd name="connsiteY152" fmla="*/ 8729 h 114618"/>
                  <a:gd name="connsiteX153" fmla="*/ 2645 w 108976"/>
                  <a:gd name="connsiteY153" fmla="*/ 8464 h 114618"/>
                  <a:gd name="connsiteX154" fmla="*/ 4408 w 108976"/>
                  <a:gd name="connsiteY154" fmla="*/ 6172 h 114618"/>
                  <a:gd name="connsiteX155" fmla="*/ 4408 w 108976"/>
                  <a:gd name="connsiteY155" fmla="*/ 3791 h 114618"/>
                  <a:gd name="connsiteX156" fmla="*/ 5026 w 108976"/>
                  <a:gd name="connsiteY156" fmla="*/ 3174 h 114618"/>
                  <a:gd name="connsiteX157" fmla="*/ 5907 w 108976"/>
                  <a:gd name="connsiteY157" fmla="*/ 4937 h 114618"/>
                  <a:gd name="connsiteX158" fmla="*/ 15253 w 108976"/>
                  <a:gd name="connsiteY158" fmla="*/ 5555 h 114618"/>
                  <a:gd name="connsiteX159" fmla="*/ 19309 w 108976"/>
                  <a:gd name="connsiteY159" fmla="*/ 3791 h 114618"/>
                  <a:gd name="connsiteX160" fmla="*/ 19926 w 108976"/>
                  <a:gd name="connsiteY160" fmla="*/ 6436 h 114618"/>
                  <a:gd name="connsiteX161" fmla="*/ 19662 w 108976"/>
                  <a:gd name="connsiteY161" fmla="*/ 7318 h 114618"/>
                  <a:gd name="connsiteX162" fmla="*/ 12696 w 108976"/>
                  <a:gd name="connsiteY162" fmla="*/ 7318 h 114618"/>
                  <a:gd name="connsiteX163" fmla="*/ 617 w 108976"/>
                  <a:gd name="connsiteY163" fmla="*/ 10228 h 114618"/>
                  <a:gd name="connsiteX164" fmla="*/ 86405 w 108976"/>
                  <a:gd name="connsiteY164" fmla="*/ 100071 h 114618"/>
                  <a:gd name="connsiteX165" fmla="*/ 84113 w 108976"/>
                  <a:gd name="connsiteY165" fmla="*/ 94869 h 114618"/>
                  <a:gd name="connsiteX166" fmla="*/ 78294 w 108976"/>
                  <a:gd name="connsiteY166" fmla="*/ 92224 h 114618"/>
                  <a:gd name="connsiteX167" fmla="*/ 79175 w 108976"/>
                  <a:gd name="connsiteY167" fmla="*/ 91607 h 114618"/>
                  <a:gd name="connsiteX168" fmla="*/ 81203 w 108976"/>
                  <a:gd name="connsiteY168" fmla="*/ 93106 h 114618"/>
                  <a:gd name="connsiteX169" fmla="*/ 80321 w 108976"/>
                  <a:gd name="connsiteY169" fmla="*/ 91607 h 114618"/>
                  <a:gd name="connsiteX170" fmla="*/ 80586 w 108976"/>
                  <a:gd name="connsiteY170" fmla="*/ 90461 h 114618"/>
                  <a:gd name="connsiteX171" fmla="*/ 80321 w 108976"/>
                  <a:gd name="connsiteY171" fmla="*/ 87551 h 114618"/>
                  <a:gd name="connsiteX172" fmla="*/ 78294 w 108976"/>
                  <a:gd name="connsiteY172" fmla="*/ 85788 h 114618"/>
                  <a:gd name="connsiteX173" fmla="*/ 76795 w 108976"/>
                  <a:gd name="connsiteY173" fmla="*/ 81115 h 114618"/>
                  <a:gd name="connsiteX174" fmla="*/ 76177 w 108976"/>
                  <a:gd name="connsiteY174" fmla="*/ 81115 h 114618"/>
                  <a:gd name="connsiteX175" fmla="*/ 76442 w 108976"/>
                  <a:gd name="connsiteY175" fmla="*/ 79969 h 114618"/>
                  <a:gd name="connsiteX176" fmla="*/ 81115 w 108976"/>
                  <a:gd name="connsiteY176" fmla="*/ 88433 h 114618"/>
                  <a:gd name="connsiteX177" fmla="*/ 81380 w 108976"/>
                  <a:gd name="connsiteY177" fmla="*/ 92224 h 114618"/>
                  <a:gd name="connsiteX178" fmla="*/ 82261 w 108976"/>
                  <a:gd name="connsiteY178" fmla="*/ 93370 h 114618"/>
                  <a:gd name="connsiteX179" fmla="*/ 84024 w 108976"/>
                  <a:gd name="connsiteY179" fmla="*/ 93988 h 114618"/>
                  <a:gd name="connsiteX180" fmla="*/ 85523 w 108976"/>
                  <a:gd name="connsiteY180" fmla="*/ 95134 h 114618"/>
                  <a:gd name="connsiteX181" fmla="*/ 87022 w 108976"/>
                  <a:gd name="connsiteY181" fmla="*/ 98925 h 114618"/>
                  <a:gd name="connsiteX182" fmla="*/ 86405 w 108976"/>
                  <a:gd name="connsiteY182" fmla="*/ 100071 h 114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</a:cxnLst>
                <a:rect l="l" t="t" r="r" b="b"/>
                <a:pathLst>
                  <a:path w="108976" h="114618">
                    <a:moveTo>
                      <a:pt x="40029" y="51050"/>
                    </a:moveTo>
                    <a:lnTo>
                      <a:pt x="35091" y="49551"/>
                    </a:lnTo>
                    <a:lnTo>
                      <a:pt x="33592" y="48669"/>
                    </a:lnTo>
                    <a:lnTo>
                      <a:pt x="34474" y="48052"/>
                    </a:lnTo>
                    <a:lnTo>
                      <a:pt x="34474" y="45759"/>
                    </a:lnTo>
                    <a:lnTo>
                      <a:pt x="35620" y="46024"/>
                    </a:lnTo>
                    <a:lnTo>
                      <a:pt x="38265" y="46288"/>
                    </a:lnTo>
                    <a:lnTo>
                      <a:pt x="39411" y="47170"/>
                    </a:lnTo>
                    <a:lnTo>
                      <a:pt x="40029" y="47435"/>
                    </a:lnTo>
                    <a:lnTo>
                      <a:pt x="40910" y="48052"/>
                    </a:lnTo>
                    <a:lnTo>
                      <a:pt x="42938" y="50432"/>
                    </a:lnTo>
                    <a:lnTo>
                      <a:pt x="41175" y="50697"/>
                    </a:lnTo>
                    <a:lnTo>
                      <a:pt x="40029" y="51050"/>
                    </a:lnTo>
                    <a:close/>
                    <a:moveTo>
                      <a:pt x="101306" y="114619"/>
                    </a:moveTo>
                    <a:lnTo>
                      <a:pt x="102187" y="112856"/>
                    </a:lnTo>
                    <a:lnTo>
                      <a:pt x="103333" y="112591"/>
                    </a:lnTo>
                    <a:lnTo>
                      <a:pt x="104744" y="111092"/>
                    </a:lnTo>
                    <a:lnTo>
                      <a:pt x="105361" y="109593"/>
                    </a:lnTo>
                    <a:lnTo>
                      <a:pt x="107125" y="109329"/>
                    </a:lnTo>
                    <a:lnTo>
                      <a:pt x="108006" y="108447"/>
                    </a:lnTo>
                    <a:lnTo>
                      <a:pt x="107742" y="106948"/>
                    </a:lnTo>
                    <a:lnTo>
                      <a:pt x="106860" y="106067"/>
                    </a:lnTo>
                    <a:lnTo>
                      <a:pt x="104832" y="106067"/>
                    </a:lnTo>
                    <a:lnTo>
                      <a:pt x="104832" y="104303"/>
                    </a:lnTo>
                    <a:lnTo>
                      <a:pt x="106596" y="103686"/>
                    </a:lnTo>
                    <a:lnTo>
                      <a:pt x="108359" y="102804"/>
                    </a:lnTo>
                    <a:lnTo>
                      <a:pt x="108095" y="104303"/>
                    </a:lnTo>
                    <a:lnTo>
                      <a:pt x="108976" y="107477"/>
                    </a:lnTo>
                    <a:lnTo>
                      <a:pt x="105802" y="112415"/>
                    </a:lnTo>
                    <a:lnTo>
                      <a:pt x="101306" y="114619"/>
                    </a:lnTo>
                    <a:close/>
                    <a:moveTo>
                      <a:pt x="34474" y="25657"/>
                    </a:moveTo>
                    <a:lnTo>
                      <a:pt x="30683" y="22483"/>
                    </a:lnTo>
                    <a:lnTo>
                      <a:pt x="34738" y="19221"/>
                    </a:lnTo>
                    <a:lnTo>
                      <a:pt x="33857" y="18075"/>
                    </a:lnTo>
                    <a:lnTo>
                      <a:pt x="34738" y="16047"/>
                    </a:lnTo>
                    <a:lnTo>
                      <a:pt x="34738" y="11991"/>
                    </a:lnTo>
                    <a:lnTo>
                      <a:pt x="36237" y="10228"/>
                    </a:lnTo>
                    <a:lnTo>
                      <a:pt x="36237" y="9346"/>
                    </a:lnTo>
                    <a:lnTo>
                      <a:pt x="32182" y="8200"/>
                    </a:lnTo>
                    <a:lnTo>
                      <a:pt x="31564" y="5907"/>
                    </a:lnTo>
                    <a:lnTo>
                      <a:pt x="30418" y="6172"/>
                    </a:lnTo>
                    <a:lnTo>
                      <a:pt x="28390" y="2116"/>
                    </a:lnTo>
                    <a:lnTo>
                      <a:pt x="19926" y="617"/>
                    </a:lnTo>
                    <a:lnTo>
                      <a:pt x="18780" y="882"/>
                    </a:lnTo>
                    <a:lnTo>
                      <a:pt x="21072" y="0"/>
                    </a:lnTo>
                    <a:lnTo>
                      <a:pt x="26627" y="264"/>
                    </a:lnTo>
                    <a:lnTo>
                      <a:pt x="31035" y="3791"/>
                    </a:lnTo>
                    <a:lnTo>
                      <a:pt x="35973" y="8464"/>
                    </a:lnTo>
                    <a:lnTo>
                      <a:pt x="38618" y="10228"/>
                    </a:lnTo>
                    <a:lnTo>
                      <a:pt x="39500" y="15165"/>
                    </a:lnTo>
                    <a:lnTo>
                      <a:pt x="36590" y="16311"/>
                    </a:lnTo>
                    <a:lnTo>
                      <a:pt x="35708" y="19485"/>
                    </a:lnTo>
                    <a:lnTo>
                      <a:pt x="35444" y="25304"/>
                    </a:lnTo>
                    <a:lnTo>
                      <a:pt x="34474" y="25657"/>
                    </a:lnTo>
                    <a:close/>
                    <a:moveTo>
                      <a:pt x="25128" y="78734"/>
                    </a:moveTo>
                    <a:lnTo>
                      <a:pt x="23629" y="77588"/>
                    </a:lnTo>
                    <a:lnTo>
                      <a:pt x="24775" y="77853"/>
                    </a:lnTo>
                    <a:lnTo>
                      <a:pt x="26803" y="75825"/>
                    </a:lnTo>
                    <a:lnTo>
                      <a:pt x="25922" y="76177"/>
                    </a:lnTo>
                    <a:lnTo>
                      <a:pt x="24158" y="77324"/>
                    </a:lnTo>
                    <a:lnTo>
                      <a:pt x="22659" y="76442"/>
                    </a:lnTo>
                    <a:lnTo>
                      <a:pt x="24687" y="75296"/>
                    </a:lnTo>
                    <a:lnTo>
                      <a:pt x="22395" y="75560"/>
                    </a:lnTo>
                    <a:lnTo>
                      <a:pt x="21249" y="73532"/>
                    </a:lnTo>
                    <a:lnTo>
                      <a:pt x="21249" y="71505"/>
                    </a:lnTo>
                    <a:lnTo>
                      <a:pt x="19485" y="68859"/>
                    </a:lnTo>
                    <a:lnTo>
                      <a:pt x="24158" y="65068"/>
                    </a:lnTo>
                    <a:lnTo>
                      <a:pt x="25657" y="65685"/>
                    </a:lnTo>
                    <a:lnTo>
                      <a:pt x="23012" y="68595"/>
                    </a:lnTo>
                    <a:lnTo>
                      <a:pt x="24158" y="69212"/>
                    </a:lnTo>
                    <a:lnTo>
                      <a:pt x="23276" y="71240"/>
                    </a:lnTo>
                    <a:lnTo>
                      <a:pt x="24423" y="70094"/>
                    </a:lnTo>
                    <a:lnTo>
                      <a:pt x="25569" y="66920"/>
                    </a:lnTo>
                    <a:lnTo>
                      <a:pt x="26186" y="66920"/>
                    </a:lnTo>
                    <a:lnTo>
                      <a:pt x="27949" y="71328"/>
                    </a:lnTo>
                    <a:lnTo>
                      <a:pt x="27949" y="73356"/>
                    </a:lnTo>
                    <a:lnTo>
                      <a:pt x="27949" y="76266"/>
                    </a:lnTo>
                    <a:lnTo>
                      <a:pt x="27068" y="78294"/>
                    </a:lnTo>
                    <a:lnTo>
                      <a:pt x="26186" y="78558"/>
                    </a:lnTo>
                    <a:lnTo>
                      <a:pt x="25040" y="77941"/>
                    </a:lnTo>
                    <a:lnTo>
                      <a:pt x="25040" y="78734"/>
                    </a:lnTo>
                    <a:close/>
                    <a:moveTo>
                      <a:pt x="73268" y="68859"/>
                    </a:moveTo>
                    <a:lnTo>
                      <a:pt x="71769" y="67978"/>
                    </a:lnTo>
                    <a:lnTo>
                      <a:pt x="74414" y="66567"/>
                    </a:lnTo>
                    <a:lnTo>
                      <a:pt x="74150" y="65156"/>
                    </a:lnTo>
                    <a:lnTo>
                      <a:pt x="73003" y="64892"/>
                    </a:lnTo>
                    <a:lnTo>
                      <a:pt x="70358" y="59337"/>
                    </a:lnTo>
                    <a:lnTo>
                      <a:pt x="69212" y="59073"/>
                    </a:lnTo>
                    <a:lnTo>
                      <a:pt x="69212" y="57574"/>
                    </a:lnTo>
                    <a:lnTo>
                      <a:pt x="66567" y="55811"/>
                    </a:lnTo>
                    <a:lnTo>
                      <a:pt x="67713" y="54929"/>
                    </a:lnTo>
                    <a:lnTo>
                      <a:pt x="69477" y="56075"/>
                    </a:lnTo>
                    <a:lnTo>
                      <a:pt x="70976" y="59602"/>
                    </a:lnTo>
                    <a:lnTo>
                      <a:pt x="74767" y="64275"/>
                    </a:lnTo>
                    <a:lnTo>
                      <a:pt x="77059" y="68330"/>
                    </a:lnTo>
                    <a:lnTo>
                      <a:pt x="75296" y="68066"/>
                    </a:lnTo>
                    <a:lnTo>
                      <a:pt x="73268" y="68859"/>
                    </a:lnTo>
                    <a:close/>
                    <a:moveTo>
                      <a:pt x="17281" y="65333"/>
                    </a:moveTo>
                    <a:lnTo>
                      <a:pt x="16664" y="65068"/>
                    </a:lnTo>
                    <a:lnTo>
                      <a:pt x="16047" y="62688"/>
                    </a:lnTo>
                    <a:lnTo>
                      <a:pt x="14548" y="61806"/>
                    </a:lnTo>
                    <a:lnTo>
                      <a:pt x="14812" y="59778"/>
                    </a:lnTo>
                    <a:lnTo>
                      <a:pt x="13666" y="60660"/>
                    </a:lnTo>
                    <a:lnTo>
                      <a:pt x="10139" y="59161"/>
                    </a:lnTo>
                    <a:lnTo>
                      <a:pt x="8111" y="56780"/>
                    </a:lnTo>
                    <a:lnTo>
                      <a:pt x="10492" y="54488"/>
                    </a:lnTo>
                    <a:lnTo>
                      <a:pt x="11374" y="55105"/>
                    </a:lnTo>
                    <a:lnTo>
                      <a:pt x="10492" y="57486"/>
                    </a:lnTo>
                    <a:lnTo>
                      <a:pt x="11638" y="57221"/>
                    </a:lnTo>
                    <a:lnTo>
                      <a:pt x="12255" y="58103"/>
                    </a:lnTo>
                    <a:lnTo>
                      <a:pt x="12873" y="58103"/>
                    </a:lnTo>
                    <a:lnTo>
                      <a:pt x="12873" y="55722"/>
                    </a:lnTo>
                    <a:lnTo>
                      <a:pt x="11991" y="53959"/>
                    </a:lnTo>
                    <a:lnTo>
                      <a:pt x="11991" y="55370"/>
                    </a:lnTo>
                    <a:lnTo>
                      <a:pt x="11109" y="54224"/>
                    </a:lnTo>
                    <a:lnTo>
                      <a:pt x="14019" y="47787"/>
                    </a:lnTo>
                    <a:lnTo>
                      <a:pt x="13402" y="44613"/>
                    </a:lnTo>
                    <a:lnTo>
                      <a:pt x="13137" y="42321"/>
                    </a:lnTo>
                    <a:lnTo>
                      <a:pt x="17810" y="43467"/>
                    </a:lnTo>
                    <a:lnTo>
                      <a:pt x="20191" y="51050"/>
                    </a:lnTo>
                    <a:lnTo>
                      <a:pt x="23365" y="54576"/>
                    </a:lnTo>
                    <a:lnTo>
                      <a:pt x="23982" y="59514"/>
                    </a:lnTo>
                    <a:lnTo>
                      <a:pt x="22483" y="61013"/>
                    </a:lnTo>
                    <a:lnTo>
                      <a:pt x="20720" y="61630"/>
                    </a:lnTo>
                    <a:lnTo>
                      <a:pt x="20455" y="63129"/>
                    </a:lnTo>
                    <a:lnTo>
                      <a:pt x="17281" y="65333"/>
                    </a:lnTo>
                    <a:close/>
                    <a:moveTo>
                      <a:pt x="57838" y="56075"/>
                    </a:moveTo>
                    <a:lnTo>
                      <a:pt x="56957" y="55458"/>
                    </a:lnTo>
                    <a:lnTo>
                      <a:pt x="56340" y="53430"/>
                    </a:lnTo>
                    <a:lnTo>
                      <a:pt x="54312" y="52548"/>
                    </a:lnTo>
                    <a:lnTo>
                      <a:pt x="54576" y="51667"/>
                    </a:lnTo>
                    <a:lnTo>
                      <a:pt x="56957" y="52284"/>
                    </a:lnTo>
                    <a:lnTo>
                      <a:pt x="57221" y="50520"/>
                    </a:lnTo>
                    <a:lnTo>
                      <a:pt x="56957" y="50520"/>
                    </a:lnTo>
                    <a:lnTo>
                      <a:pt x="57221" y="48493"/>
                    </a:lnTo>
                    <a:lnTo>
                      <a:pt x="58368" y="47346"/>
                    </a:lnTo>
                    <a:lnTo>
                      <a:pt x="58103" y="45054"/>
                    </a:lnTo>
                    <a:lnTo>
                      <a:pt x="57574" y="43908"/>
                    </a:lnTo>
                    <a:lnTo>
                      <a:pt x="54929" y="41615"/>
                    </a:lnTo>
                    <a:lnTo>
                      <a:pt x="50256" y="38970"/>
                    </a:lnTo>
                    <a:lnTo>
                      <a:pt x="45936" y="36678"/>
                    </a:lnTo>
                    <a:lnTo>
                      <a:pt x="44437" y="37295"/>
                    </a:lnTo>
                    <a:lnTo>
                      <a:pt x="45319" y="33769"/>
                    </a:lnTo>
                    <a:lnTo>
                      <a:pt x="46465" y="34033"/>
                    </a:lnTo>
                    <a:lnTo>
                      <a:pt x="47082" y="35796"/>
                    </a:lnTo>
                    <a:lnTo>
                      <a:pt x="50873" y="38706"/>
                    </a:lnTo>
                    <a:lnTo>
                      <a:pt x="54929" y="40734"/>
                    </a:lnTo>
                    <a:lnTo>
                      <a:pt x="58720" y="44261"/>
                    </a:lnTo>
                    <a:lnTo>
                      <a:pt x="58985" y="46024"/>
                    </a:lnTo>
                    <a:lnTo>
                      <a:pt x="57486" y="53606"/>
                    </a:lnTo>
                    <a:lnTo>
                      <a:pt x="57838" y="56075"/>
                    </a:lnTo>
                    <a:close/>
                    <a:moveTo>
                      <a:pt x="617" y="10228"/>
                    </a:moveTo>
                    <a:lnTo>
                      <a:pt x="0" y="8729"/>
                    </a:lnTo>
                    <a:lnTo>
                      <a:pt x="2645" y="8464"/>
                    </a:lnTo>
                    <a:lnTo>
                      <a:pt x="4408" y="6172"/>
                    </a:lnTo>
                    <a:lnTo>
                      <a:pt x="4408" y="3791"/>
                    </a:lnTo>
                    <a:lnTo>
                      <a:pt x="5026" y="3174"/>
                    </a:lnTo>
                    <a:lnTo>
                      <a:pt x="5907" y="4937"/>
                    </a:lnTo>
                    <a:lnTo>
                      <a:pt x="15253" y="5555"/>
                    </a:lnTo>
                    <a:lnTo>
                      <a:pt x="19309" y="3791"/>
                    </a:lnTo>
                    <a:lnTo>
                      <a:pt x="19926" y="6436"/>
                    </a:lnTo>
                    <a:lnTo>
                      <a:pt x="19662" y="7318"/>
                    </a:lnTo>
                    <a:lnTo>
                      <a:pt x="12696" y="7318"/>
                    </a:lnTo>
                    <a:lnTo>
                      <a:pt x="617" y="10228"/>
                    </a:lnTo>
                    <a:close/>
                    <a:moveTo>
                      <a:pt x="86405" y="100071"/>
                    </a:moveTo>
                    <a:lnTo>
                      <a:pt x="84113" y="94869"/>
                    </a:lnTo>
                    <a:lnTo>
                      <a:pt x="78294" y="92224"/>
                    </a:lnTo>
                    <a:lnTo>
                      <a:pt x="79175" y="91607"/>
                    </a:lnTo>
                    <a:lnTo>
                      <a:pt x="81203" y="93106"/>
                    </a:lnTo>
                    <a:lnTo>
                      <a:pt x="80321" y="91607"/>
                    </a:lnTo>
                    <a:lnTo>
                      <a:pt x="80586" y="90461"/>
                    </a:lnTo>
                    <a:lnTo>
                      <a:pt x="80321" y="87551"/>
                    </a:lnTo>
                    <a:lnTo>
                      <a:pt x="78294" y="85788"/>
                    </a:lnTo>
                    <a:lnTo>
                      <a:pt x="76795" y="81115"/>
                    </a:lnTo>
                    <a:lnTo>
                      <a:pt x="76177" y="81115"/>
                    </a:lnTo>
                    <a:lnTo>
                      <a:pt x="76442" y="79969"/>
                    </a:lnTo>
                    <a:lnTo>
                      <a:pt x="81115" y="88433"/>
                    </a:lnTo>
                    <a:lnTo>
                      <a:pt x="81380" y="92224"/>
                    </a:lnTo>
                    <a:lnTo>
                      <a:pt x="82261" y="93370"/>
                    </a:lnTo>
                    <a:lnTo>
                      <a:pt x="84024" y="93988"/>
                    </a:lnTo>
                    <a:lnTo>
                      <a:pt x="85523" y="95134"/>
                    </a:lnTo>
                    <a:lnTo>
                      <a:pt x="87022" y="98925"/>
                    </a:lnTo>
                    <a:lnTo>
                      <a:pt x="86405" y="10007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7" name="Freihandform: Form 1726">
                <a:extLst>
                  <a:ext uri="{FF2B5EF4-FFF2-40B4-BE49-F238E27FC236}">
                    <a16:creationId xmlns:a16="http://schemas.microsoft.com/office/drawing/2014/main" id="{1D59A463-D7BE-B5BC-320A-5361786D3232}"/>
                  </a:ext>
                </a:extLst>
              </p:cNvPr>
              <p:cNvSpPr/>
              <p:nvPr/>
            </p:nvSpPr>
            <p:spPr>
              <a:xfrm>
                <a:off x="2315290" y="3532862"/>
                <a:ext cx="12079" cy="6348"/>
              </a:xfrm>
              <a:custGeom>
                <a:avLst/>
                <a:gdLst>
                  <a:gd name="connsiteX0" fmla="*/ 11815 w 12079"/>
                  <a:gd name="connsiteY0" fmla="*/ 3174 h 6348"/>
                  <a:gd name="connsiteX1" fmla="*/ 8288 w 12079"/>
                  <a:gd name="connsiteY1" fmla="*/ 0 h 6348"/>
                  <a:gd name="connsiteX2" fmla="*/ 9699 w 12079"/>
                  <a:gd name="connsiteY2" fmla="*/ 882 h 6348"/>
                  <a:gd name="connsiteX3" fmla="*/ 10316 w 12079"/>
                  <a:gd name="connsiteY3" fmla="*/ 0 h 6348"/>
                  <a:gd name="connsiteX4" fmla="*/ 12079 w 12079"/>
                  <a:gd name="connsiteY4" fmla="*/ 3174 h 6348"/>
                  <a:gd name="connsiteX5" fmla="*/ 11815 w 12079"/>
                  <a:gd name="connsiteY5" fmla="*/ 3174 h 6348"/>
                  <a:gd name="connsiteX6" fmla="*/ 7935 w 12079"/>
                  <a:gd name="connsiteY6" fmla="*/ 0 h 6348"/>
                  <a:gd name="connsiteX7" fmla="*/ 11726 w 12079"/>
                  <a:gd name="connsiteY7" fmla="*/ 3174 h 6348"/>
                  <a:gd name="connsiteX8" fmla="*/ 9699 w 12079"/>
                  <a:gd name="connsiteY8" fmla="*/ 4320 h 6348"/>
                  <a:gd name="connsiteX9" fmla="*/ 6172 w 12079"/>
                  <a:gd name="connsiteY9" fmla="*/ 4320 h 6348"/>
                  <a:gd name="connsiteX10" fmla="*/ 0 w 12079"/>
                  <a:gd name="connsiteY10" fmla="*/ 6348 h 6348"/>
                  <a:gd name="connsiteX11" fmla="*/ 2028 w 12079"/>
                  <a:gd name="connsiteY11" fmla="*/ 5202 h 6348"/>
                  <a:gd name="connsiteX12" fmla="*/ 2292 w 12079"/>
                  <a:gd name="connsiteY12" fmla="*/ 3174 h 6348"/>
                  <a:gd name="connsiteX13" fmla="*/ 3174 w 12079"/>
                  <a:gd name="connsiteY13" fmla="*/ 2292 h 6348"/>
                  <a:gd name="connsiteX14" fmla="*/ 6348 w 12079"/>
                  <a:gd name="connsiteY14" fmla="*/ 2292 h 6348"/>
                  <a:gd name="connsiteX15" fmla="*/ 7935 w 12079"/>
                  <a:gd name="connsiteY15" fmla="*/ 0 h 6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079" h="6348">
                    <a:moveTo>
                      <a:pt x="11815" y="3174"/>
                    </a:moveTo>
                    <a:lnTo>
                      <a:pt x="8288" y="0"/>
                    </a:lnTo>
                    <a:lnTo>
                      <a:pt x="9699" y="882"/>
                    </a:lnTo>
                    <a:lnTo>
                      <a:pt x="10316" y="0"/>
                    </a:lnTo>
                    <a:lnTo>
                      <a:pt x="12079" y="3174"/>
                    </a:lnTo>
                    <a:lnTo>
                      <a:pt x="11815" y="3174"/>
                    </a:lnTo>
                    <a:close/>
                    <a:moveTo>
                      <a:pt x="7935" y="0"/>
                    </a:moveTo>
                    <a:lnTo>
                      <a:pt x="11726" y="3174"/>
                    </a:lnTo>
                    <a:lnTo>
                      <a:pt x="9699" y="4320"/>
                    </a:lnTo>
                    <a:lnTo>
                      <a:pt x="6172" y="4320"/>
                    </a:lnTo>
                    <a:lnTo>
                      <a:pt x="0" y="6348"/>
                    </a:lnTo>
                    <a:lnTo>
                      <a:pt x="2028" y="5202"/>
                    </a:lnTo>
                    <a:lnTo>
                      <a:pt x="2292" y="3174"/>
                    </a:lnTo>
                    <a:lnTo>
                      <a:pt x="3174" y="2292"/>
                    </a:lnTo>
                    <a:lnTo>
                      <a:pt x="6348" y="2292"/>
                    </a:lnTo>
                    <a:lnTo>
                      <a:pt x="7935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8" name="Freihandform: Form 1727">
                <a:extLst>
                  <a:ext uri="{FF2B5EF4-FFF2-40B4-BE49-F238E27FC236}">
                    <a16:creationId xmlns:a16="http://schemas.microsoft.com/office/drawing/2014/main" id="{61B6F60B-6F29-D112-1956-FBE37E193448}"/>
                  </a:ext>
                </a:extLst>
              </p:cNvPr>
              <p:cNvSpPr/>
              <p:nvPr/>
            </p:nvSpPr>
            <p:spPr>
              <a:xfrm>
                <a:off x="2611712" y="3689184"/>
                <a:ext cx="35620" cy="14283"/>
              </a:xfrm>
              <a:custGeom>
                <a:avLst/>
                <a:gdLst>
                  <a:gd name="connsiteX0" fmla="*/ 7053 w 35620"/>
                  <a:gd name="connsiteY0" fmla="*/ 14283 h 14283"/>
                  <a:gd name="connsiteX1" fmla="*/ 3791 w 35620"/>
                  <a:gd name="connsiteY1" fmla="*/ 13666 h 14283"/>
                  <a:gd name="connsiteX2" fmla="*/ 1499 w 35620"/>
                  <a:gd name="connsiteY2" fmla="*/ 14283 h 14283"/>
                  <a:gd name="connsiteX3" fmla="*/ 1234 w 35620"/>
                  <a:gd name="connsiteY3" fmla="*/ 13137 h 14283"/>
                  <a:gd name="connsiteX4" fmla="*/ 2381 w 35620"/>
                  <a:gd name="connsiteY4" fmla="*/ 7847 h 14283"/>
                  <a:gd name="connsiteX5" fmla="*/ 0 w 35620"/>
                  <a:gd name="connsiteY5" fmla="*/ 3439 h 14283"/>
                  <a:gd name="connsiteX6" fmla="*/ 1763 w 35620"/>
                  <a:gd name="connsiteY6" fmla="*/ 2910 h 14283"/>
                  <a:gd name="connsiteX7" fmla="*/ 1763 w 35620"/>
                  <a:gd name="connsiteY7" fmla="*/ 882 h 14283"/>
                  <a:gd name="connsiteX8" fmla="*/ 2645 w 35620"/>
                  <a:gd name="connsiteY8" fmla="*/ 0 h 14283"/>
                  <a:gd name="connsiteX9" fmla="*/ 15518 w 35620"/>
                  <a:gd name="connsiteY9" fmla="*/ 882 h 14283"/>
                  <a:gd name="connsiteX10" fmla="*/ 24511 w 35620"/>
                  <a:gd name="connsiteY10" fmla="*/ 882 h 14283"/>
                  <a:gd name="connsiteX11" fmla="*/ 25128 w 35620"/>
                  <a:gd name="connsiteY11" fmla="*/ 2292 h 14283"/>
                  <a:gd name="connsiteX12" fmla="*/ 26274 w 35620"/>
                  <a:gd name="connsiteY12" fmla="*/ 2028 h 14283"/>
                  <a:gd name="connsiteX13" fmla="*/ 25128 w 35620"/>
                  <a:gd name="connsiteY13" fmla="*/ 1146 h 14283"/>
                  <a:gd name="connsiteX14" fmla="*/ 30683 w 35620"/>
                  <a:gd name="connsiteY14" fmla="*/ 1763 h 14283"/>
                  <a:gd name="connsiteX15" fmla="*/ 35620 w 35620"/>
                  <a:gd name="connsiteY15" fmla="*/ 3174 h 14283"/>
                  <a:gd name="connsiteX16" fmla="*/ 35356 w 35620"/>
                  <a:gd name="connsiteY16" fmla="*/ 7582 h 14283"/>
                  <a:gd name="connsiteX17" fmla="*/ 32975 w 35620"/>
                  <a:gd name="connsiteY17" fmla="*/ 8729 h 14283"/>
                  <a:gd name="connsiteX18" fmla="*/ 29184 w 35620"/>
                  <a:gd name="connsiteY18" fmla="*/ 13402 h 14283"/>
                  <a:gd name="connsiteX19" fmla="*/ 22483 w 35620"/>
                  <a:gd name="connsiteY19" fmla="*/ 14283 h 14283"/>
                  <a:gd name="connsiteX20" fmla="*/ 20191 w 35620"/>
                  <a:gd name="connsiteY20" fmla="*/ 13137 h 14283"/>
                  <a:gd name="connsiteX21" fmla="*/ 18956 w 35620"/>
                  <a:gd name="connsiteY21" fmla="*/ 14019 h 14283"/>
                  <a:gd name="connsiteX22" fmla="*/ 17281 w 35620"/>
                  <a:gd name="connsiteY22" fmla="*/ 13137 h 14283"/>
                  <a:gd name="connsiteX23" fmla="*/ 10845 w 35620"/>
                  <a:gd name="connsiteY23" fmla="*/ 13137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5620" h="14283">
                    <a:moveTo>
                      <a:pt x="7053" y="14283"/>
                    </a:moveTo>
                    <a:lnTo>
                      <a:pt x="3791" y="13666"/>
                    </a:lnTo>
                    <a:lnTo>
                      <a:pt x="1499" y="14283"/>
                    </a:lnTo>
                    <a:lnTo>
                      <a:pt x="1234" y="13137"/>
                    </a:lnTo>
                    <a:lnTo>
                      <a:pt x="2381" y="7847"/>
                    </a:lnTo>
                    <a:lnTo>
                      <a:pt x="0" y="3439"/>
                    </a:lnTo>
                    <a:lnTo>
                      <a:pt x="1763" y="2910"/>
                    </a:lnTo>
                    <a:lnTo>
                      <a:pt x="1763" y="882"/>
                    </a:lnTo>
                    <a:lnTo>
                      <a:pt x="2645" y="0"/>
                    </a:lnTo>
                    <a:lnTo>
                      <a:pt x="15518" y="882"/>
                    </a:lnTo>
                    <a:lnTo>
                      <a:pt x="24511" y="882"/>
                    </a:lnTo>
                    <a:lnTo>
                      <a:pt x="25128" y="2292"/>
                    </a:lnTo>
                    <a:lnTo>
                      <a:pt x="26274" y="2028"/>
                    </a:lnTo>
                    <a:lnTo>
                      <a:pt x="25128" y="1146"/>
                    </a:lnTo>
                    <a:lnTo>
                      <a:pt x="30683" y="1763"/>
                    </a:lnTo>
                    <a:lnTo>
                      <a:pt x="35620" y="3174"/>
                    </a:lnTo>
                    <a:lnTo>
                      <a:pt x="35356" y="7582"/>
                    </a:lnTo>
                    <a:lnTo>
                      <a:pt x="32975" y="8729"/>
                    </a:lnTo>
                    <a:lnTo>
                      <a:pt x="29184" y="13402"/>
                    </a:lnTo>
                    <a:lnTo>
                      <a:pt x="22483" y="14283"/>
                    </a:lnTo>
                    <a:lnTo>
                      <a:pt x="20191" y="13137"/>
                    </a:lnTo>
                    <a:lnTo>
                      <a:pt x="18956" y="14019"/>
                    </a:lnTo>
                    <a:lnTo>
                      <a:pt x="17281" y="13137"/>
                    </a:lnTo>
                    <a:lnTo>
                      <a:pt x="10845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9" name="Freihandform: Form 1728">
                <a:extLst>
                  <a:ext uri="{FF2B5EF4-FFF2-40B4-BE49-F238E27FC236}">
                    <a16:creationId xmlns:a16="http://schemas.microsoft.com/office/drawing/2014/main" id="{65DC0901-A7DA-B8FB-FAE4-CAE9B2999530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0" name="Freihandform: Form 1729">
                <a:extLst>
                  <a:ext uri="{FF2B5EF4-FFF2-40B4-BE49-F238E27FC236}">
                    <a16:creationId xmlns:a16="http://schemas.microsoft.com/office/drawing/2014/main" id="{0D1FD9A6-23FB-A2D0-7D48-587710DC0F50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1" name="Freihandform: Form 1730">
                <a:extLst>
                  <a:ext uri="{FF2B5EF4-FFF2-40B4-BE49-F238E27FC236}">
                    <a16:creationId xmlns:a16="http://schemas.microsoft.com/office/drawing/2014/main" id="{58271A75-9B78-28E0-C0EF-976BD999647C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2" name="Freihandform: Form 1731">
                <a:extLst>
                  <a:ext uri="{FF2B5EF4-FFF2-40B4-BE49-F238E27FC236}">
                    <a16:creationId xmlns:a16="http://schemas.microsoft.com/office/drawing/2014/main" id="{B4CFB5F9-6F29-E986-51B8-A042DE4245DA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4" name="Grafik 9">
              <a:extLst>
                <a:ext uri="{FF2B5EF4-FFF2-40B4-BE49-F238E27FC236}">
                  <a16:creationId xmlns:a16="http://schemas.microsoft.com/office/drawing/2014/main" id="{B188655E-8EA6-2D0E-A63C-D945DDBA3EE0}"/>
                </a:ext>
              </a:extLst>
            </p:cNvPr>
            <p:cNvGrpSpPr/>
            <p:nvPr/>
          </p:nvGrpSpPr>
          <p:grpSpPr>
            <a:xfrm>
              <a:off x="3869787" y="2429082"/>
              <a:ext cx="914129" cy="859641"/>
              <a:chOff x="3869787" y="2429082"/>
              <a:chExt cx="914129" cy="859641"/>
            </a:xfrm>
            <a:solidFill>
              <a:schemeClr val="accent6"/>
            </a:solidFill>
          </p:grpSpPr>
          <p:sp>
            <p:nvSpPr>
              <p:cNvPr id="1555" name="Freihandform: Form 1554">
                <a:extLst>
                  <a:ext uri="{FF2B5EF4-FFF2-40B4-BE49-F238E27FC236}">
                    <a16:creationId xmlns:a16="http://schemas.microsoft.com/office/drawing/2014/main" id="{2E49E6BF-2E0A-ACC3-BFA1-CDCFDD2A1595}"/>
                  </a:ext>
                </a:extLst>
              </p:cNvPr>
              <p:cNvSpPr/>
              <p:nvPr/>
            </p:nvSpPr>
            <p:spPr>
              <a:xfrm>
                <a:off x="4132705" y="2823900"/>
                <a:ext cx="70975" cy="66302"/>
              </a:xfrm>
              <a:custGeom>
                <a:avLst/>
                <a:gdLst>
                  <a:gd name="connsiteX0" fmla="*/ 50873 w 70975"/>
                  <a:gd name="connsiteY0" fmla="*/ 1058 h 66302"/>
                  <a:gd name="connsiteX1" fmla="*/ 50609 w 70975"/>
                  <a:gd name="connsiteY1" fmla="*/ 1323 h 66302"/>
                  <a:gd name="connsiteX2" fmla="*/ 50344 w 70975"/>
                  <a:gd name="connsiteY2" fmla="*/ 1323 h 66302"/>
                  <a:gd name="connsiteX3" fmla="*/ 50344 w 70975"/>
                  <a:gd name="connsiteY3" fmla="*/ 1058 h 66302"/>
                  <a:gd name="connsiteX4" fmla="*/ 50344 w 70975"/>
                  <a:gd name="connsiteY4" fmla="*/ 794 h 66302"/>
                  <a:gd name="connsiteX5" fmla="*/ 50609 w 70975"/>
                  <a:gd name="connsiteY5" fmla="*/ 529 h 66302"/>
                  <a:gd name="connsiteX6" fmla="*/ 50609 w 70975"/>
                  <a:gd name="connsiteY6" fmla="*/ 264 h 66302"/>
                  <a:gd name="connsiteX7" fmla="*/ 50873 w 70975"/>
                  <a:gd name="connsiteY7" fmla="*/ 264 h 66302"/>
                  <a:gd name="connsiteX8" fmla="*/ 51755 w 70975"/>
                  <a:gd name="connsiteY8" fmla="*/ 264 h 66302"/>
                  <a:gd name="connsiteX9" fmla="*/ 53254 w 70975"/>
                  <a:gd name="connsiteY9" fmla="*/ 264 h 66302"/>
                  <a:gd name="connsiteX10" fmla="*/ 53606 w 70975"/>
                  <a:gd name="connsiteY10" fmla="*/ 0 h 66302"/>
                  <a:gd name="connsiteX11" fmla="*/ 53871 w 70975"/>
                  <a:gd name="connsiteY11" fmla="*/ 0 h 66302"/>
                  <a:gd name="connsiteX12" fmla="*/ 54135 w 70975"/>
                  <a:gd name="connsiteY12" fmla="*/ 0 h 66302"/>
                  <a:gd name="connsiteX13" fmla="*/ 54400 w 70975"/>
                  <a:gd name="connsiteY13" fmla="*/ 0 h 66302"/>
                  <a:gd name="connsiteX14" fmla="*/ 54400 w 70975"/>
                  <a:gd name="connsiteY14" fmla="*/ 264 h 66302"/>
                  <a:gd name="connsiteX15" fmla="*/ 52901 w 70975"/>
                  <a:gd name="connsiteY15" fmla="*/ 529 h 66302"/>
                  <a:gd name="connsiteX16" fmla="*/ 52284 w 70975"/>
                  <a:gd name="connsiteY16" fmla="*/ 794 h 66302"/>
                  <a:gd name="connsiteX17" fmla="*/ 52019 w 70975"/>
                  <a:gd name="connsiteY17" fmla="*/ 794 h 66302"/>
                  <a:gd name="connsiteX18" fmla="*/ 50873 w 70975"/>
                  <a:gd name="connsiteY18" fmla="*/ 794 h 66302"/>
                  <a:gd name="connsiteX19" fmla="*/ 50873 w 70975"/>
                  <a:gd name="connsiteY19" fmla="*/ 1058 h 66302"/>
                  <a:gd name="connsiteX20" fmla="*/ 43291 w 70975"/>
                  <a:gd name="connsiteY20" fmla="*/ 1411 h 66302"/>
                  <a:gd name="connsiteX21" fmla="*/ 42144 w 70975"/>
                  <a:gd name="connsiteY21" fmla="*/ 1675 h 66302"/>
                  <a:gd name="connsiteX22" fmla="*/ 41880 w 70975"/>
                  <a:gd name="connsiteY22" fmla="*/ 1675 h 66302"/>
                  <a:gd name="connsiteX23" fmla="*/ 41615 w 70975"/>
                  <a:gd name="connsiteY23" fmla="*/ 1675 h 66302"/>
                  <a:gd name="connsiteX24" fmla="*/ 41351 w 70975"/>
                  <a:gd name="connsiteY24" fmla="*/ 1411 h 66302"/>
                  <a:gd name="connsiteX25" fmla="*/ 41351 w 70975"/>
                  <a:gd name="connsiteY25" fmla="*/ 1146 h 66302"/>
                  <a:gd name="connsiteX26" fmla="*/ 41615 w 70975"/>
                  <a:gd name="connsiteY26" fmla="*/ 882 h 66302"/>
                  <a:gd name="connsiteX27" fmla="*/ 41615 w 70975"/>
                  <a:gd name="connsiteY27" fmla="*/ 617 h 66302"/>
                  <a:gd name="connsiteX28" fmla="*/ 41880 w 70975"/>
                  <a:gd name="connsiteY28" fmla="*/ 617 h 66302"/>
                  <a:gd name="connsiteX29" fmla="*/ 42144 w 70975"/>
                  <a:gd name="connsiteY29" fmla="*/ 882 h 66302"/>
                  <a:gd name="connsiteX30" fmla="*/ 42409 w 70975"/>
                  <a:gd name="connsiteY30" fmla="*/ 882 h 66302"/>
                  <a:gd name="connsiteX31" fmla="*/ 42673 w 70975"/>
                  <a:gd name="connsiteY31" fmla="*/ 882 h 66302"/>
                  <a:gd name="connsiteX32" fmla="*/ 44437 w 70975"/>
                  <a:gd name="connsiteY32" fmla="*/ 882 h 66302"/>
                  <a:gd name="connsiteX33" fmla="*/ 45318 w 70975"/>
                  <a:gd name="connsiteY33" fmla="*/ 882 h 66302"/>
                  <a:gd name="connsiteX34" fmla="*/ 46200 w 70975"/>
                  <a:gd name="connsiteY34" fmla="*/ 882 h 66302"/>
                  <a:gd name="connsiteX35" fmla="*/ 46817 w 70975"/>
                  <a:gd name="connsiteY35" fmla="*/ 882 h 66302"/>
                  <a:gd name="connsiteX36" fmla="*/ 47082 w 70975"/>
                  <a:gd name="connsiteY36" fmla="*/ 882 h 66302"/>
                  <a:gd name="connsiteX37" fmla="*/ 47346 w 70975"/>
                  <a:gd name="connsiteY37" fmla="*/ 882 h 66302"/>
                  <a:gd name="connsiteX38" fmla="*/ 47082 w 70975"/>
                  <a:gd name="connsiteY38" fmla="*/ 1146 h 66302"/>
                  <a:gd name="connsiteX39" fmla="*/ 46200 w 70975"/>
                  <a:gd name="connsiteY39" fmla="*/ 1411 h 66302"/>
                  <a:gd name="connsiteX40" fmla="*/ 44437 w 70975"/>
                  <a:gd name="connsiteY40" fmla="*/ 1411 h 66302"/>
                  <a:gd name="connsiteX41" fmla="*/ 43908 w 70975"/>
                  <a:gd name="connsiteY41" fmla="*/ 1411 h 66302"/>
                  <a:gd name="connsiteX42" fmla="*/ 43291 w 70975"/>
                  <a:gd name="connsiteY42" fmla="*/ 1411 h 66302"/>
                  <a:gd name="connsiteX43" fmla="*/ 32799 w 70975"/>
                  <a:gd name="connsiteY43" fmla="*/ 3703 h 66302"/>
                  <a:gd name="connsiteX44" fmla="*/ 32534 w 70975"/>
                  <a:gd name="connsiteY44" fmla="*/ 3703 h 66302"/>
                  <a:gd name="connsiteX45" fmla="*/ 32270 w 70975"/>
                  <a:gd name="connsiteY45" fmla="*/ 3439 h 66302"/>
                  <a:gd name="connsiteX46" fmla="*/ 32005 w 70975"/>
                  <a:gd name="connsiteY46" fmla="*/ 3439 h 66302"/>
                  <a:gd name="connsiteX47" fmla="*/ 32005 w 70975"/>
                  <a:gd name="connsiteY47" fmla="*/ 3086 h 66302"/>
                  <a:gd name="connsiteX48" fmla="*/ 32005 w 70975"/>
                  <a:gd name="connsiteY48" fmla="*/ 2821 h 66302"/>
                  <a:gd name="connsiteX49" fmla="*/ 32270 w 70975"/>
                  <a:gd name="connsiteY49" fmla="*/ 2821 h 66302"/>
                  <a:gd name="connsiteX50" fmla="*/ 32887 w 70975"/>
                  <a:gd name="connsiteY50" fmla="*/ 2557 h 66302"/>
                  <a:gd name="connsiteX51" fmla="*/ 33151 w 70975"/>
                  <a:gd name="connsiteY51" fmla="*/ 2557 h 66302"/>
                  <a:gd name="connsiteX52" fmla="*/ 34033 w 70975"/>
                  <a:gd name="connsiteY52" fmla="*/ 1940 h 66302"/>
                  <a:gd name="connsiteX53" fmla="*/ 35444 w 70975"/>
                  <a:gd name="connsiteY53" fmla="*/ 1323 h 66302"/>
                  <a:gd name="connsiteX54" fmla="*/ 36590 w 70975"/>
                  <a:gd name="connsiteY54" fmla="*/ 705 h 66302"/>
                  <a:gd name="connsiteX55" fmla="*/ 38970 w 70975"/>
                  <a:gd name="connsiteY55" fmla="*/ 1323 h 66302"/>
                  <a:gd name="connsiteX56" fmla="*/ 39235 w 70975"/>
                  <a:gd name="connsiteY56" fmla="*/ 1058 h 66302"/>
                  <a:gd name="connsiteX57" fmla="*/ 39499 w 70975"/>
                  <a:gd name="connsiteY57" fmla="*/ 1058 h 66302"/>
                  <a:gd name="connsiteX58" fmla="*/ 39499 w 70975"/>
                  <a:gd name="connsiteY58" fmla="*/ 1323 h 66302"/>
                  <a:gd name="connsiteX59" fmla="*/ 39499 w 70975"/>
                  <a:gd name="connsiteY59" fmla="*/ 1587 h 66302"/>
                  <a:gd name="connsiteX60" fmla="*/ 39235 w 70975"/>
                  <a:gd name="connsiteY60" fmla="*/ 1587 h 66302"/>
                  <a:gd name="connsiteX61" fmla="*/ 36854 w 70975"/>
                  <a:gd name="connsiteY61" fmla="*/ 2204 h 66302"/>
                  <a:gd name="connsiteX62" fmla="*/ 35973 w 70975"/>
                  <a:gd name="connsiteY62" fmla="*/ 2204 h 66302"/>
                  <a:gd name="connsiteX63" fmla="*/ 35355 w 70975"/>
                  <a:gd name="connsiteY63" fmla="*/ 2821 h 66302"/>
                  <a:gd name="connsiteX64" fmla="*/ 34474 w 70975"/>
                  <a:gd name="connsiteY64" fmla="*/ 3086 h 66302"/>
                  <a:gd name="connsiteX65" fmla="*/ 33592 w 70975"/>
                  <a:gd name="connsiteY65" fmla="*/ 3350 h 66302"/>
                  <a:gd name="connsiteX66" fmla="*/ 32799 w 70975"/>
                  <a:gd name="connsiteY66" fmla="*/ 3703 h 66302"/>
                  <a:gd name="connsiteX67" fmla="*/ 27861 w 70975"/>
                  <a:gd name="connsiteY67" fmla="*/ 6877 h 66302"/>
                  <a:gd name="connsiteX68" fmla="*/ 26451 w 70975"/>
                  <a:gd name="connsiteY68" fmla="*/ 7759 h 66302"/>
                  <a:gd name="connsiteX69" fmla="*/ 26451 w 70975"/>
                  <a:gd name="connsiteY69" fmla="*/ 7494 h 66302"/>
                  <a:gd name="connsiteX70" fmla="*/ 26715 w 70975"/>
                  <a:gd name="connsiteY70" fmla="*/ 7230 h 66302"/>
                  <a:gd name="connsiteX71" fmla="*/ 26980 w 70975"/>
                  <a:gd name="connsiteY71" fmla="*/ 6965 h 66302"/>
                  <a:gd name="connsiteX72" fmla="*/ 27861 w 70975"/>
                  <a:gd name="connsiteY72" fmla="*/ 6348 h 66302"/>
                  <a:gd name="connsiteX73" fmla="*/ 28478 w 70975"/>
                  <a:gd name="connsiteY73" fmla="*/ 6084 h 66302"/>
                  <a:gd name="connsiteX74" fmla="*/ 28478 w 70975"/>
                  <a:gd name="connsiteY74" fmla="*/ 5819 h 66302"/>
                  <a:gd name="connsiteX75" fmla="*/ 28743 w 70975"/>
                  <a:gd name="connsiteY75" fmla="*/ 5819 h 66302"/>
                  <a:gd name="connsiteX76" fmla="*/ 29624 w 70975"/>
                  <a:gd name="connsiteY76" fmla="*/ 5555 h 66302"/>
                  <a:gd name="connsiteX77" fmla="*/ 29889 w 70975"/>
                  <a:gd name="connsiteY77" fmla="*/ 5290 h 66302"/>
                  <a:gd name="connsiteX78" fmla="*/ 30153 w 70975"/>
                  <a:gd name="connsiteY78" fmla="*/ 5290 h 66302"/>
                  <a:gd name="connsiteX79" fmla="*/ 30418 w 70975"/>
                  <a:gd name="connsiteY79" fmla="*/ 5555 h 66302"/>
                  <a:gd name="connsiteX80" fmla="*/ 28919 w 70975"/>
                  <a:gd name="connsiteY80" fmla="*/ 6701 h 66302"/>
                  <a:gd name="connsiteX81" fmla="*/ 27861 w 70975"/>
                  <a:gd name="connsiteY81" fmla="*/ 6877 h 66302"/>
                  <a:gd name="connsiteX82" fmla="*/ 22924 w 70975"/>
                  <a:gd name="connsiteY82" fmla="*/ 12432 h 66302"/>
                  <a:gd name="connsiteX83" fmla="*/ 22924 w 70975"/>
                  <a:gd name="connsiteY83" fmla="*/ 12696 h 66302"/>
                  <a:gd name="connsiteX84" fmla="*/ 22659 w 70975"/>
                  <a:gd name="connsiteY84" fmla="*/ 12432 h 66302"/>
                  <a:gd name="connsiteX85" fmla="*/ 22395 w 70975"/>
                  <a:gd name="connsiteY85" fmla="*/ 12432 h 66302"/>
                  <a:gd name="connsiteX86" fmla="*/ 22130 w 70975"/>
                  <a:gd name="connsiteY86" fmla="*/ 12167 h 66302"/>
                  <a:gd name="connsiteX87" fmla="*/ 22130 w 70975"/>
                  <a:gd name="connsiteY87" fmla="*/ 11903 h 66302"/>
                  <a:gd name="connsiteX88" fmla="*/ 22130 w 70975"/>
                  <a:gd name="connsiteY88" fmla="*/ 11638 h 66302"/>
                  <a:gd name="connsiteX89" fmla="*/ 22130 w 70975"/>
                  <a:gd name="connsiteY89" fmla="*/ 11374 h 66302"/>
                  <a:gd name="connsiteX90" fmla="*/ 22130 w 70975"/>
                  <a:gd name="connsiteY90" fmla="*/ 11021 h 66302"/>
                  <a:gd name="connsiteX91" fmla="*/ 22395 w 70975"/>
                  <a:gd name="connsiteY91" fmla="*/ 10757 h 66302"/>
                  <a:gd name="connsiteX92" fmla="*/ 22659 w 70975"/>
                  <a:gd name="connsiteY92" fmla="*/ 10492 h 66302"/>
                  <a:gd name="connsiteX93" fmla="*/ 23276 w 70975"/>
                  <a:gd name="connsiteY93" fmla="*/ 9610 h 66302"/>
                  <a:gd name="connsiteX94" fmla="*/ 23894 w 70975"/>
                  <a:gd name="connsiteY94" fmla="*/ 9346 h 66302"/>
                  <a:gd name="connsiteX95" fmla="*/ 23894 w 70975"/>
                  <a:gd name="connsiteY95" fmla="*/ 8729 h 66302"/>
                  <a:gd name="connsiteX96" fmla="*/ 24775 w 70975"/>
                  <a:gd name="connsiteY96" fmla="*/ 8112 h 66302"/>
                  <a:gd name="connsiteX97" fmla="*/ 25040 w 70975"/>
                  <a:gd name="connsiteY97" fmla="*/ 7847 h 66302"/>
                  <a:gd name="connsiteX98" fmla="*/ 25304 w 70975"/>
                  <a:gd name="connsiteY98" fmla="*/ 8112 h 66302"/>
                  <a:gd name="connsiteX99" fmla="*/ 25922 w 70975"/>
                  <a:gd name="connsiteY99" fmla="*/ 8993 h 66302"/>
                  <a:gd name="connsiteX100" fmla="*/ 25922 w 70975"/>
                  <a:gd name="connsiteY100" fmla="*/ 10139 h 66302"/>
                  <a:gd name="connsiteX101" fmla="*/ 25569 w 70975"/>
                  <a:gd name="connsiteY101" fmla="*/ 10139 h 66302"/>
                  <a:gd name="connsiteX102" fmla="*/ 25569 w 70975"/>
                  <a:gd name="connsiteY102" fmla="*/ 10404 h 66302"/>
                  <a:gd name="connsiteX103" fmla="*/ 24952 w 70975"/>
                  <a:gd name="connsiteY103" fmla="*/ 11021 h 66302"/>
                  <a:gd name="connsiteX104" fmla="*/ 24687 w 70975"/>
                  <a:gd name="connsiteY104" fmla="*/ 11374 h 66302"/>
                  <a:gd name="connsiteX105" fmla="*/ 23805 w 70975"/>
                  <a:gd name="connsiteY105" fmla="*/ 12255 h 66302"/>
                  <a:gd name="connsiteX106" fmla="*/ 23541 w 70975"/>
                  <a:gd name="connsiteY106" fmla="*/ 12520 h 66302"/>
                  <a:gd name="connsiteX107" fmla="*/ 22924 w 70975"/>
                  <a:gd name="connsiteY107" fmla="*/ 12520 h 66302"/>
                  <a:gd name="connsiteX108" fmla="*/ 51226 w 70975"/>
                  <a:gd name="connsiteY108" fmla="*/ 66126 h 66302"/>
                  <a:gd name="connsiteX109" fmla="*/ 50609 w 70975"/>
                  <a:gd name="connsiteY109" fmla="*/ 65245 h 66302"/>
                  <a:gd name="connsiteX110" fmla="*/ 51755 w 70975"/>
                  <a:gd name="connsiteY110" fmla="*/ 64363 h 66302"/>
                  <a:gd name="connsiteX111" fmla="*/ 51755 w 70975"/>
                  <a:gd name="connsiteY111" fmla="*/ 63481 h 66302"/>
                  <a:gd name="connsiteX112" fmla="*/ 51755 w 70975"/>
                  <a:gd name="connsiteY112" fmla="*/ 62071 h 66302"/>
                  <a:gd name="connsiteX113" fmla="*/ 50873 w 70975"/>
                  <a:gd name="connsiteY113" fmla="*/ 60572 h 66302"/>
                  <a:gd name="connsiteX114" fmla="*/ 49110 w 70975"/>
                  <a:gd name="connsiteY114" fmla="*/ 60307 h 66302"/>
                  <a:gd name="connsiteX115" fmla="*/ 48228 w 70975"/>
                  <a:gd name="connsiteY115" fmla="*/ 60572 h 66302"/>
                  <a:gd name="connsiteX116" fmla="*/ 47611 w 70975"/>
                  <a:gd name="connsiteY116" fmla="*/ 59073 h 66302"/>
                  <a:gd name="connsiteX117" fmla="*/ 48228 w 70975"/>
                  <a:gd name="connsiteY117" fmla="*/ 58544 h 66302"/>
                  <a:gd name="connsiteX118" fmla="*/ 50256 w 70975"/>
                  <a:gd name="connsiteY118" fmla="*/ 57927 h 66302"/>
                  <a:gd name="connsiteX119" fmla="*/ 51755 w 70975"/>
                  <a:gd name="connsiteY119" fmla="*/ 55899 h 66302"/>
                  <a:gd name="connsiteX120" fmla="*/ 51402 w 70975"/>
                  <a:gd name="connsiteY120" fmla="*/ 55282 h 66302"/>
                  <a:gd name="connsiteX121" fmla="*/ 51402 w 70975"/>
                  <a:gd name="connsiteY121" fmla="*/ 54665 h 66302"/>
                  <a:gd name="connsiteX122" fmla="*/ 52548 w 70975"/>
                  <a:gd name="connsiteY122" fmla="*/ 52901 h 66302"/>
                  <a:gd name="connsiteX123" fmla="*/ 52813 w 70975"/>
                  <a:gd name="connsiteY123" fmla="*/ 52372 h 66302"/>
                  <a:gd name="connsiteX124" fmla="*/ 52813 w 70975"/>
                  <a:gd name="connsiteY124" fmla="*/ 51755 h 66302"/>
                  <a:gd name="connsiteX125" fmla="*/ 53695 w 70975"/>
                  <a:gd name="connsiteY125" fmla="*/ 48845 h 66302"/>
                  <a:gd name="connsiteX126" fmla="*/ 53430 w 70975"/>
                  <a:gd name="connsiteY126" fmla="*/ 47699 h 66302"/>
                  <a:gd name="connsiteX127" fmla="*/ 51931 w 70975"/>
                  <a:gd name="connsiteY127" fmla="*/ 45936 h 66302"/>
                  <a:gd name="connsiteX128" fmla="*/ 51314 w 70975"/>
                  <a:gd name="connsiteY128" fmla="*/ 45054 h 66302"/>
                  <a:gd name="connsiteX129" fmla="*/ 50785 w 70975"/>
                  <a:gd name="connsiteY129" fmla="*/ 44172 h 66302"/>
                  <a:gd name="connsiteX130" fmla="*/ 49022 w 70975"/>
                  <a:gd name="connsiteY130" fmla="*/ 41527 h 66302"/>
                  <a:gd name="connsiteX131" fmla="*/ 49022 w 70975"/>
                  <a:gd name="connsiteY131" fmla="*/ 41263 h 66302"/>
                  <a:gd name="connsiteX132" fmla="*/ 49286 w 70975"/>
                  <a:gd name="connsiteY132" fmla="*/ 40117 h 66302"/>
                  <a:gd name="connsiteX133" fmla="*/ 51667 w 70975"/>
                  <a:gd name="connsiteY133" fmla="*/ 39852 h 66302"/>
                  <a:gd name="connsiteX134" fmla="*/ 52284 w 70975"/>
                  <a:gd name="connsiteY134" fmla="*/ 39852 h 66302"/>
                  <a:gd name="connsiteX135" fmla="*/ 52548 w 70975"/>
                  <a:gd name="connsiteY135" fmla="*/ 39852 h 66302"/>
                  <a:gd name="connsiteX136" fmla="*/ 54576 w 70975"/>
                  <a:gd name="connsiteY136" fmla="*/ 39852 h 66302"/>
                  <a:gd name="connsiteX137" fmla="*/ 55722 w 70975"/>
                  <a:gd name="connsiteY137" fmla="*/ 40117 h 66302"/>
                  <a:gd name="connsiteX138" fmla="*/ 56339 w 70975"/>
                  <a:gd name="connsiteY138" fmla="*/ 40117 h 66302"/>
                  <a:gd name="connsiteX139" fmla="*/ 58985 w 70975"/>
                  <a:gd name="connsiteY139" fmla="*/ 40734 h 66302"/>
                  <a:gd name="connsiteX140" fmla="*/ 60748 w 70975"/>
                  <a:gd name="connsiteY140" fmla="*/ 40117 h 66302"/>
                  <a:gd name="connsiteX141" fmla="*/ 62247 w 70975"/>
                  <a:gd name="connsiteY141" fmla="*/ 38089 h 66302"/>
                  <a:gd name="connsiteX142" fmla="*/ 62864 w 70975"/>
                  <a:gd name="connsiteY142" fmla="*/ 38353 h 66302"/>
                  <a:gd name="connsiteX143" fmla="*/ 63393 w 70975"/>
                  <a:gd name="connsiteY143" fmla="*/ 38089 h 66302"/>
                  <a:gd name="connsiteX144" fmla="*/ 64275 w 70975"/>
                  <a:gd name="connsiteY144" fmla="*/ 36943 h 66302"/>
                  <a:gd name="connsiteX145" fmla="*/ 63658 w 70975"/>
                  <a:gd name="connsiteY145" fmla="*/ 35796 h 66302"/>
                  <a:gd name="connsiteX146" fmla="*/ 62511 w 70975"/>
                  <a:gd name="connsiteY146" fmla="*/ 35796 h 66302"/>
                  <a:gd name="connsiteX147" fmla="*/ 62511 w 70975"/>
                  <a:gd name="connsiteY147" fmla="*/ 35532 h 66302"/>
                  <a:gd name="connsiteX148" fmla="*/ 62776 w 70975"/>
                  <a:gd name="connsiteY148" fmla="*/ 34386 h 66302"/>
                  <a:gd name="connsiteX149" fmla="*/ 64275 w 70975"/>
                  <a:gd name="connsiteY149" fmla="*/ 34386 h 66302"/>
                  <a:gd name="connsiteX150" fmla="*/ 65421 w 70975"/>
                  <a:gd name="connsiteY150" fmla="*/ 33240 h 66302"/>
                  <a:gd name="connsiteX151" fmla="*/ 65421 w 70975"/>
                  <a:gd name="connsiteY151" fmla="*/ 32975 h 66302"/>
                  <a:gd name="connsiteX152" fmla="*/ 65685 w 70975"/>
                  <a:gd name="connsiteY152" fmla="*/ 32975 h 66302"/>
                  <a:gd name="connsiteX153" fmla="*/ 65685 w 70975"/>
                  <a:gd name="connsiteY153" fmla="*/ 32711 h 66302"/>
                  <a:gd name="connsiteX154" fmla="*/ 67449 w 70975"/>
                  <a:gd name="connsiteY154" fmla="*/ 31564 h 66302"/>
                  <a:gd name="connsiteX155" fmla="*/ 68595 w 70975"/>
                  <a:gd name="connsiteY155" fmla="*/ 29801 h 66302"/>
                  <a:gd name="connsiteX156" fmla="*/ 68330 w 70975"/>
                  <a:gd name="connsiteY156" fmla="*/ 29536 h 66302"/>
                  <a:gd name="connsiteX157" fmla="*/ 68948 w 70975"/>
                  <a:gd name="connsiteY157" fmla="*/ 28038 h 66302"/>
                  <a:gd name="connsiteX158" fmla="*/ 68948 w 70975"/>
                  <a:gd name="connsiteY158" fmla="*/ 27156 h 66302"/>
                  <a:gd name="connsiteX159" fmla="*/ 67449 w 70975"/>
                  <a:gd name="connsiteY159" fmla="*/ 25128 h 66302"/>
                  <a:gd name="connsiteX160" fmla="*/ 67184 w 70975"/>
                  <a:gd name="connsiteY160" fmla="*/ 25481 h 66302"/>
                  <a:gd name="connsiteX161" fmla="*/ 66920 w 70975"/>
                  <a:gd name="connsiteY161" fmla="*/ 25745 h 66302"/>
                  <a:gd name="connsiteX162" fmla="*/ 63129 w 70975"/>
                  <a:gd name="connsiteY162" fmla="*/ 25128 h 66302"/>
                  <a:gd name="connsiteX163" fmla="*/ 61982 w 70975"/>
                  <a:gd name="connsiteY163" fmla="*/ 23100 h 66302"/>
                  <a:gd name="connsiteX164" fmla="*/ 63129 w 70975"/>
                  <a:gd name="connsiteY164" fmla="*/ 22836 h 66302"/>
                  <a:gd name="connsiteX165" fmla="*/ 62600 w 70975"/>
                  <a:gd name="connsiteY165" fmla="*/ 21689 h 66302"/>
                  <a:gd name="connsiteX166" fmla="*/ 62335 w 70975"/>
                  <a:gd name="connsiteY166" fmla="*/ 21425 h 66302"/>
                  <a:gd name="connsiteX167" fmla="*/ 63481 w 70975"/>
                  <a:gd name="connsiteY167" fmla="*/ 20808 h 66302"/>
                  <a:gd name="connsiteX168" fmla="*/ 65862 w 70975"/>
                  <a:gd name="connsiteY168" fmla="*/ 20808 h 66302"/>
                  <a:gd name="connsiteX169" fmla="*/ 66126 w 70975"/>
                  <a:gd name="connsiteY169" fmla="*/ 21072 h 66302"/>
                  <a:gd name="connsiteX170" fmla="*/ 68418 w 70975"/>
                  <a:gd name="connsiteY170" fmla="*/ 21072 h 66302"/>
                  <a:gd name="connsiteX171" fmla="*/ 68683 w 70975"/>
                  <a:gd name="connsiteY171" fmla="*/ 20808 h 66302"/>
                  <a:gd name="connsiteX172" fmla="*/ 68683 w 70975"/>
                  <a:gd name="connsiteY172" fmla="*/ 19044 h 66302"/>
                  <a:gd name="connsiteX173" fmla="*/ 68683 w 70975"/>
                  <a:gd name="connsiteY173" fmla="*/ 17634 h 66302"/>
                  <a:gd name="connsiteX174" fmla="*/ 68948 w 70975"/>
                  <a:gd name="connsiteY174" fmla="*/ 16752 h 66302"/>
                  <a:gd name="connsiteX175" fmla="*/ 70711 w 70975"/>
                  <a:gd name="connsiteY175" fmla="*/ 14107 h 66302"/>
                  <a:gd name="connsiteX176" fmla="*/ 70975 w 70975"/>
                  <a:gd name="connsiteY176" fmla="*/ 13225 h 66302"/>
                  <a:gd name="connsiteX177" fmla="*/ 70975 w 70975"/>
                  <a:gd name="connsiteY177" fmla="*/ 8288 h 66302"/>
                  <a:gd name="connsiteX178" fmla="*/ 70711 w 70975"/>
                  <a:gd name="connsiteY178" fmla="*/ 6789 h 66302"/>
                  <a:gd name="connsiteX179" fmla="*/ 68683 w 70975"/>
                  <a:gd name="connsiteY179" fmla="*/ 6172 h 66302"/>
                  <a:gd name="connsiteX180" fmla="*/ 65774 w 70975"/>
                  <a:gd name="connsiteY180" fmla="*/ 4673 h 66302"/>
                  <a:gd name="connsiteX181" fmla="*/ 64275 w 70975"/>
                  <a:gd name="connsiteY181" fmla="*/ 2381 h 66302"/>
                  <a:gd name="connsiteX182" fmla="*/ 64275 w 70975"/>
                  <a:gd name="connsiteY182" fmla="*/ 2116 h 66302"/>
                  <a:gd name="connsiteX183" fmla="*/ 61982 w 70975"/>
                  <a:gd name="connsiteY183" fmla="*/ 1234 h 66302"/>
                  <a:gd name="connsiteX184" fmla="*/ 56692 w 70975"/>
                  <a:gd name="connsiteY184" fmla="*/ 2381 h 66302"/>
                  <a:gd name="connsiteX185" fmla="*/ 51755 w 70975"/>
                  <a:gd name="connsiteY185" fmla="*/ 2645 h 66302"/>
                  <a:gd name="connsiteX186" fmla="*/ 49991 w 70975"/>
                  <a:gd name="connsiteY186" fmla="*/ 2645 h 66302"/>
                  <a:gd name="connsiteX187" fmla="*/ 40645 w 70975"/>
                  <a:gd name="connsiteY187" fmla="*/ 5290 h 66302"/>
                  <a:gd name="connsiteX188" fmla="*/ 38353 w 70975"/>
                  <a:gd name="connsiteY188" fmla="*/ 7053 h 66302"/>
                  <a:gd name="connsiteX189" fmla="*/ 37472 w 70975"/>
                  <a:gd name="connsiteY189" fmla="*/ 8200 h 66302"/>
                  <a:gd name="connsiteX190" fmla="*/ 37472 w 70975"/>
                  <a:gd name="connsiteY190" fmla="*/ 9081 h 66302"/>
                  <a:gd name="connsiteX191" fmla="*/ 36854 w 70975"/>
                  <a:gd name="connsiteY191" fmla="*/ 9963 h 66302"/>
                  <a:gd name="connsiteX192" fmla="*/ 35973 w 70975"/>
                  <a:gd name="connsiteY192" fmla="*/ 10580 h 66302"/>
                  <a:gd name="connsiteX193" fmla="*/ 34474 w 70975"/>
                  <a:gd name="connsiteY193" fmla="*/ 11462 h 66302"/>
                  <a:gd name="connsiteX194" fmla="*/ 32975 w 70975"/>
                  <a:gd name="connsiteY194" fmla="*/ 12344 h 66302"/>
                  <a:gd name="connsiteX195" fmla="*/ 31212 w 70975"/>
                  <a:gd name="connsiteY195" fmla="*/ 13225 h 66302"/>
                  <a:gd name="connsiteX196" fmla="*/ 30330 w 70975"/>
                  <a:gd name="connsiteY196" fmla="*/ 14107 h 66302"/>
                  <a:gd name="connsiteX197" fmla="*/ 29713 w 70975"/>
                  <a:gd name="connsiteY197" fmla="*/ 14371 h 66302"/>
                  <a:gd name="connsiteX198" fmla="*/ 28566 w 70975"/>
                  <a:gd name="connsiteY198" fmla="*/ 14636 h 66302"/>
                  <a:gd name="connsiteX199" fmla="*/ 27685 w 70975"/>
                  <a:gd name="connsiteY199" fmla="*/ 14900 h 66302"/>
                  <a:gd name="connsiteX200" fmla="*/ 26803 w 70975"/>
                  <a:gd name="connsiteY200" fmla="*/ 14636 h 66302"/>
                  <a:gd name="connsiteX201" fmla="*/ 26186 w 70975"/>
                  <a:gd name="connsiteY201" fmla="*/ 14371 h 66302"/>
                  <a:gd name="connsiteX202" fmla="*/ 26186 w 70975"/>
                  <a:gd name="connsiteY202" fmla="*/ 13754 h 66302"/>
                  <a:gd name="connsiteX203" fmla="*/ 25922 w 70975"/>
                  <a:gd name="connsiteY203" fmla="*/ 13137 h 66302"/>
                  <a:gd name="connsiteX204" fmla="*/ 25040 w 70975"/>
                  <a:gd name="connsiteY204" fmla="*/ 13137 h 66302"/>
                  <a:gd name="connsiteX205" fmla="*/ 24511 w 70975"/>
                  <a:gd name="connsiteY205" fmla="*/ 14019 h 66302"/>
                  <a:gd name="connsiteX206" fmla="*/ 23365 w 70975"/>
                  <a:gd name="connsiteY206" fmla="*/ 14019 h 66302"/>
                  <a:gd name="connsiteX207" fmla="*/ 22218 w 70975"/>
                  <a:gd name="connsiteY207" fmla="*/ 14019 h 66302"/>
                  <a:gd name="connsiteX208" fmla="*/ 21954 w 70975"/>
                  <a:gd name="connsiteY208" fmla="*/ 14900 h 66302"/>
                  <a:gd name="connsiteX209" fmla="*/ 21337 w 70975"/>
                  <a:gd name="connsiteY209" fmla="*/ 15518 h 66302"/>
                  <a:gd name="connsiteX210" fmla="*/ 21072 w 70975"/>
                  <a:gd name="connsiteY210" fmla="*/ 16928 h 66302"/>
                  <a:gd name="connsiteX211" fmla="*/ 20191 w 70975"/>
                  <a:gd name="connsiteY211" fmla="*/ 18075 h 66302"/>
                  <a:gd name="connsiteX212" fmla="*/ 20808 w 70975"/>
                  <a:gd name="connsiteY212" fmla="*/ 19485 h 66302"/>
                  <a:gd name="connsiteX213" fmla="*/ 21072 w 70975"/>
                  <a:gd name="connsiteY213" fmla="*/ 20896 h 66302"/>
                  <a:gd name="connsiteX214" fmla="*/ 21072 w 70975"/>
                  <a:gd name="connsiteY214" fmla="*/ 21778 h 66302"/>
                  <a:gd name="connsiteX215" fmla="*/ 21337 w 70975"/>
                  <a:gd name="connsiteY215" fmla="*/ 22924 h 66302"/>
                  <a:gd name="connsiteX216" fmla="*/ 22483 w 70975"/>
                  <a:gd name="connsiteY216" fmla="*/ 23806 h 66302"/>
                  <a:gd name="connsiteX217" fmla="*/ 22218 w 70975"/>
                  <a:gd name="connsiteY217" fmla="*/ 24687 h 66302"/>
                  <a:gd name="connsiteX218" fmla="*/ 26891 w 70975"/>
                  <a:gd name="connsiteY218" fmla="*/ 25833 h 66302"/>
                  <a:gd name="connsiteX219" fmla="*/ 28655 w 70975"/>
                  <a:gd name="connsiteY219" fmla="*/ 26715 h 66302"/>
                  <a:gd name="connsiteX220" fmla="*/ 30682 w 70975"/>
                  <a:gd name="connsiteY220" fmla="*/ 26980 h 66302"/>
                  <a:gd name="connsiteX221" fmla="*/ 29801 w 70975"/>
                  <a:gd name="connsiteY221" fmla="*/ 26098 h 66302"/>
                  <a:gd name="connsiteX222" fmla="*/ 30065 w 70975"/>
                  <a:gd name="connsiteY222" fmla="*/ 24952 h 66302"/>
                  <a:gd name="connsiteX223" fmla="*/ 29184 w 70975"/>
                  <a:gd name="connsiteY223" fmla="*/ 24070 h 66302"/>
                  <a:gd name="connsiteX224" fmla="*/ 29448 w 70975"/>
                  <a:gd name="connsiteY224" fmla="*/ 23188 h 66302"/>
                  <a:gd name="connsiteX225" fmla="*/ 29977 w 70975"/>
                  <a:gd name="connsiteY225" fmla="*/ 22307 h 66302"/>
                  <a:gd name="connsiteX226" fmla="*/ 30859 w 70975"/>
                  <a:gd name="connsiteY226" fmla="*/ 22307 h 66302"/>
                  <a:gd name="connsiteX227" fmla="*/ 30594 w 70975"/>
                  <a:gd name="connsiteY227" fmla="*/ 21160 h 66302"/>
                  <a:gd name="connsiteX228" fmla="*/ 30859 w 70975"/>
                  <a:gd name="connsiteY228" fmla="*/ 20896 h 66302"/>
                  <a:gd name="connsiteX229" fmla="*/ 32005 w 70975"/>
                  <a:gd name="connsiteY229" fmla="*/ 20896 h 66302"/>
                  <a:gd name="connsiteX230" fmla="*/ 32622 w 70975"/>
                  <a:gd name="connsiteY230" fmla="*/ 20014 h 66302"/>
                  <a:gd name="connsiteX231" fmla="*/ 33504 w 70975"/>
                  <a:gd name="connsiteY231" fmla="*/ 19750 h 66302"/>
                  <a:gd name="connsiteX232" fmla="*/ 34121 w 70975"/>
                  <a:gd name="connsiteY232" fmla="*/ 19750 h 66302"/>
                  <a:gd name="connsiteX233" fmla="*/ 35620 w 70975"/>
                  <a:gd name="connsiteY233" fmla="*/ 18604 h 66302"/>
                  <a:gd name="connsiteX234" fmla="*/ 35267 w 70975"/>
                  <a:gd name="connsiteY234" fmla="*/ 18339 h 66302"/>
                  <a:gd name="connsiteX235" fmla="*/ 34738 w 70975"/>
                  <a:gd name="connsiteY235" fmla="*/ 18604 h 66302"/>
                  <a:gd name="connsiteX236" fmla="*/ 34738 w 70975"/>
                  <a:gd name="connsiteY236" fmla="*/ 17457 h 66302"/>
                  <a:gd name="connsiteX237" fmla="*/ 34474 w 70975"/>
                  <a:gd name="connsiteY237" fmla="*/ 16840 h 66302"/>
                  <a:gd name="connsiteX238" fmla="*/ 34209 w 70975"/>
                  <a:gd name="connsiteY238" fmla="*/ 17105 h 66302"/>
                  <a:gd name="connsiteX239" fmla="*/ 33592 w 70975"/>
                  <a:gd name="connsiteY239" fmla="*/ 17986 h 66302"/>
                  <a:gd name="connsiteX240" fmla="*/ 32358 w 70975"/>
                  <a:gd name="connsiteY240" fmla="*/ 17369 h 66302"/>
                  <a:gd name="connsiteX241" fmla="*/ 31829 w 70975"/>
                  <a:gd name="connsiteY241" fmla="*/ 16488 h 66302"/>
                  <a:gd name="connsiteX242" fmla="*/ 31829 w 70975"/>
                  <a:gd name="connsiteY242" fmla="*/ 15959 h 66302"/>
                  <a:gd name="connsiteX243" fmla="*/ 30947 w 70975"/>
                  <a:gd name="connsiteY243" fmla="*/ 15077 h 66302"/>
                  <a:gd name="connsiteX244" fmla="*/ 30947 w 70975"/>
                  <a:gd name="connsiteY244" fmla="*/ 14195 h 66302"/>
                  <a:gd name="connsiteX245" fmla="*/ 31564 w 70975"/>
                  <a:gd name="connsiteY245" fmla="*/ 13578 h 66302"/>
                  <a:gd name="connsiteX246" fmla="*/ 35091 w 70975"/>
                  <a:gd name="connsiteY246" fmla="*/ 11286 h 66302"/>
                  <a:gd name="connsiteX247" fmla="*/ 36502 w 70975"/>
                  <a:gd name="connsiteY247" fmla="*/ 10668 h 66302"/>
                  <a:gd name="connsiteX248" fmla="*/ 35885 w 70975"/>
                  <a:gd name="connsiteY248" fmla="*/ 12167 h 66302"/>
                  <a:gd name="connsiteX249" fmla="*/ 36766 w 70975"/>
                  <a:gd name="connsiteY249" fmla="*/ 12167 h 66302"/>
                  <a:gd name="connsiteX250" fmla="*/ 36149 w 70975"/>
                  <a:gd name="connsiteY250" fmla="*/ 13314 h 66302"/>
                  <a:gd name="connsiteX251" fmla="*/ 36766 w 70975"/>
                  <a:gd name="connsiteY251" fmla="*/ 14195 h 66302"/>
                  <a:gd name="connsiteX252" fmla="*/ 36502 w 70975"/>
                  <a:gd name="connsiteY252" fmla="*/ 15077 h 66302"/>
                  <a:gd name="connsiteX253" fmla="*/ 37383 w 70975"/>
                  <a:gd name="connsiteY253" fmla="*/ 15694 h 66302"/>
                  <a:gd name="connsiteX254" fmla="*/ 38265 w 70975"/>
                  <a:gd name="connsiteY254" fmla="*/ 15429 h 66302"/>
                  <a:gd name="connsiteX255" fmla="*/ 39147 w 70975"/>
                  <a:gd name="connsiteY255" fmla="*/ 15429 h 66302"/>
                  <a:gd name="connsiteX256" fmla="*/ 40293 w 70975"/>
                  <a:gd name="connsiteY256" fmla="*/ 16311 h 66302"/>
                  <a:gd name="connsiteX257" fmla="*/ 40998 w 70975"/>
                  <a:gd name="connsiteY257" fmla="*/ 16311 h 66302"/>
                  <a:gd name="connsiteX258" fmla="*/ 42144 w 70975"/>
                  <a:gd name="connsiteY258" fmla="*/ 15694 h 66302"/>
                  <a:gd name="connsiteX259" fmla="*/ 43291 w 70975"/>
                  <a:gd name="connsiteY259" fmla="*/ 16311 h 66302"/>
                  <a:gd name="connsiteX260" fmla="*/ 42409 w 70975"/>
                  <a:gd name="connsiteY260" fmla="*/ 16576 h 66302"/>
                  <a:gd name="connsiteX261" fmla="*/ 41527 w 70975"/>
                  <a:gd name="connsiteY261" fmla="*/ 17457 h 66302"/>
                  <a:gd name="connsiteX262" fmla="*/ 40645 w 70975"/>
                  <a:gd name="connsiteY262" fmla="*/ 17722 h 66302"/>
                  <a:gd name="connsiteX263" fmla="*/ 40645 w 70975"/>
                  <a:gd name="connsiteY263" fmla="*/ 18604 h 66302"/>
                  <a:gd name="connsiteX264" fmla="*/ 40645 w 70975"/>
                  <a:gd name="connsiteY264" fmla="*/ 19485 h 66302"/>
                  <a:gd name="connsiteX265" fmla="*/ 41263 w 70975"/>
                  <a:gd name="connsiteY265" fmla="*/ 20367 h 66302"/>
                  <a:gd name="connsiteX266" fmla="*/ 41880 w 70975"/>
                  <a:gd name="connsiteY266" fmla="*/ 20984 h 66302"/>
                  <a:gd name="connsiteX267" fmla="*/ 42497 w 70975"/>
                  <a:gd name="connsiteY267" fmla="*/ 21249 h 66302"/>
                  <a:gd name="connsiteX268" fmla="*/ 43379 w 70975"/>
                  <a:gd name="connsiteY268" fmla="*/ 21513 h 66302"/>
                  <a:gd name="connsiteX269" fmla="*/ 43379 w 70975"/>
                  <a:gd name="connsiteY269" fmla="*/ 22659 h 66302"/>
                  <a:gd name="connsiteX270" fmla="*/ 43643 w 70975"/>
                  <a:gd name="connsiteY270" fmla="*/ 23276 h 66302"/>
                  <a:gd name="connsiteX271" fmla="*/ 43026 w 70975"/>
                  <a:gd name="connsiteY271" fmla="*/ 23276 h 66302"/>
                  <a:gd name="connsiteX272" fmla="*/ 42409 w 70975"/>
                  <a:gd name="connsiteY272" fmla="*/ 23541 h 66302"/>
                  <a:gd name="connsiteX273" fmla="*/ 42409 w 70975"/>
                  <a:gd name="connsiteY273" fmla="*/ 24158 h 66302"/>
                  <a:gd name="connsiteX274" fmla="*/ 42409 w 70975"/>
                  <a:gd name="connsiteY274" fmla="*/ 24687 h 66302"/>
                  <a:gd name="connsiteX275" fmla="*/ 42144 w 70975"/>
                  <a:gd name="connsiteY275" fmla="*/ 25569 h 66302"/>
                  <a:gd name="connsiteX276" fmla="*/ 40645 w 70975"/>
                  <a:gd name="connsiteY276" fmla="*/ 25833 h 66302"/>
                  <a:gd name="connsiteX277" fmla="*/ 39147 w 70975"/>
                  <a:gd name="connsiteY277" fmla="*/ 27332 h 66302"/>
                  <a:gd name="connsiteX278" fmla="*/ 38530 w 70975"/>
                  <a:gd name="connsiteY278" fmla="*/ 28214 h 66302"/>
                  <a:gd name="connsiteX279" fmla="*/ 37119 w 70975"/>
                  <a:gd name="connsiteY279" fmla="*/ 28831 h 66302"/>
                  <a:gd name="connsiteX280" fmla="*/ 35620 w 70975"/>
                  <a:gd name="connsiteY280" fmla="*/ 28567 h 66302"/>
                  <a:gd name="connsiteX281" fmla="*/ 34474 w 70975"/>
                  <a:gd name="connsiteY281" fmla="*/ 27949 h 66302"/>
                  <a:gd name="connsiteX282" fmla="*/ 32446 w 70975"/>
                  <a:gd name="connsiteY282" fmla="*/ 28567 h 66302"/>
                  <a:gd name="connsiteX283" fmla="*/ 31564 w 70975"/>
                  <a:gd name="connsiteY283" fmla="*/ 28302 h 66302"/>
                  <a:gd name="connsiteX284" fmla="*/ 30065 w 70975"/>
                  <a:gd name="connsiteY284" fmla="*/ 27685 h 66302"/>
                  <a:gd name="connsiteX285" fmla="*/ 28037 w 70975"/>
                  <a:gd name="connsiteY285" fmla="*/ 26803 h 66302"/>
                  <a:gd name="connsiteX286" fmla="*/ 23365 w 70975"/>
                  <a:gd name="connsiteY286" fmla="*/ 25657 h 66302"/>
                  <a:gd name="connsiteX287" fmla="*/ 21954 w 70975"/>
                  <a:gd name="connsiteY287" fmla="*/ 25393 h 66302"/>
                  <a:gd name="connsiteX288" fmla="*/ 20191 w 70975"/>
                  <a:gd name="connsiteY288" fmla="*/ 25657 h 66302"/>
                  <a:gd name="connsiteX289" fmla="*/ 19573 w 70975"/>
                  <a:gd name="connsiteY289" fmla="*/ 27068 h 66302"/>
                  <a:gd name="connsiteX290" fmla="*/ 18074 w 70975"/>
                  <a:gd name="connsiteY290" fmla="*/ 29713 h 66302"/>
                  <a:gd name="connsiteX291" fmla="*/ 17457 w 70975"/>
                  <a:gd name="connsiteY291" fmla="*/ 29977 h 66302"/>
                  <a:gd name="connsiteX292" fmla="*/ 15077 w 70975"/>
                  <a:gd name="connsiteY292" fmla="*/ 31123 h 66302"/>
                  <a:gd name="connsiteX293" fmla="*/ 13930 w 70975"/>
                  <a:gd name="connsiteY293" fmla="*/ 32270 h 66302"/>
                  <a:gd name="connsiteX294" fmla="*/ 12432 w 70975"/>
                  <a:gd name="connsiteY294" fmla="*/ 34033 h 66302"/>
                  <a:gd name="connsiteX295" fmla="*/ 14459 w 70975"/>
                  <a:gd name="connsiteY295" fmla="*/ 35179 h 66302"/>
                  <a:gd name="connsiteX296" fmla="*/ 12961 w 70975"/>
                  <a:gd name="connsiteY296" fmla="*/ 36325 h 66302"/>
                  <a:gd name="connsiteX297" fmla="*/ 12079 w 70975"/>
                  <a:gd name="connsiteY297" fmla="*/ 36325 h 66302"/>
                  <a:gd name="connsiteX298" fmla="*/ 11815 w 70975"/>
                  <a:gd name="connsiteY298" fmla="*/ 36590 h 66302"/>
                  <a:gd name="connsiteX299" fmla="*/ 12696 w 70975"/>
                  <a:gd name="connsiteY299" fmla="*/ 39500 h 66302"/>
                  <a:gd name="connsiteX300" fmla="*/ 11815 w 70975"/>
                  <a:gd name="connsiteY300" fmla="*/ 39764 h 66302"/>
                  <a:gd name="connsiteX301" fmla="*/ 9170 w 70975"/>
                  <a:gd name="connsiteY301" fmla="*/ 40029 h 66302"/>
                  <a:gd name="connsiteX302" fmla="*/ 8905 w 70975"/>
                  <a:gd name="connsiteY302" fmla="*/ 40646 h 66302"/>
                  <a:gd name="connsiteX303" fmla="*/ 10668 w 70975"/>
                  <a:gd name="connsiteY303" fmla="*/ 40646 h 66302"/>
                  <a:gd name="connsiteX304" fmla="*/ 11815 w 70975"/>
                  <a:gd name="connsiteY304" fmla="*/ 40910 h 66302"/>
                  <a:gd name="connsiteX305" fmla="*/ 12079 w 70975"/>
                  <a:gd name="connsiteY305" fmla="*/ 41175 h 66302"/>
                  <a:gd name="connsiteX306" fmla="*/ 14107 w 70975"/>
                  <a:gd name="connsiteY306" fmla="*/ 42938 h 66302"/>
                  <a:gd name="connsiteX307" fmla="*/ 13843 w 70975"/>
                  <a:gd name="connsiteY307" fmla="*/ 43820 h 66302"/>
                  <a:gd name="connsiteX308" fmla="*/ 13578 w 70975"/>
                  <a:gd name="connsiteY308" fmla="*/ 44084 h 66302"/>
                  <a:gd name="connsiteX309" fmla="*/ 11197 w 70975"/>
                  <a:gd name="connsiteY309" fmla="*/ 42321 h 66302"/>
                  <a:gd name="connsiteX310" fmla="*/ 9434 w 70975"/>
                  <a:gd name="connsiteY310" fmla="*/ 42056 h 66302"/>
                  <a:gd name="connsiteX311" fmla="*/ 7935 w 70975"/>
                  <a:gd name="connsiteY311" fmla="*/ 42056 h 66302"/>
                  <a:gd name="connsiteX312" fmla="*/ 6172 w 70975"/>
                  <a:gd name="connsiteY312" fmla="*/ 42321 h 66302"/>
                  <a:gd name="connsiteX313" fmla="*/ 5907 w 70975"/>
                  <a:gd name="connsiteY313" fmla="*/ 42585 h 66302"/>
                  <a:gd name="connsiteX314" fmla="*/ 5643 w 70975"/>
                  <a:gd name="connsiteY314" fmla="*/ 43203 h 66302"/>
                  <a:gd name="connsiteX315" fmla="*/ 5907 w 70975"/>
                  <a:gd name="connsiteY315" fmla="*/ 43467 h 66302"/>
                  <a:gd name="connsiteX316" fmla="*/ 7053 w 70975"/>
                  <a:gd name="connsiteY316" fmla="*/ 43732 h 66302"/>
                  <a:gd name="connsiteX317" fmla="*/ 10845 w 70975"/>
                  <a:gd name="connsiteY317" fmla="*/ 45230 h 66302"/>
                  <a:gd name="connsiteX318" fmla="*/ 11991 w 70975"/>
                  <a:gd name="connsiteY318" fmla="*/ 44878 h 66302"/>
                  <a:gd name="connsiteX319" fmla="*/ 13137 w 70975"/>
                  <a:gd name="connsiteY319" fmla="*/ 44613 h 66302"/>
                  <a:gd name="connsiteX320" fmla="*/ 13490 w 70975"/>
                  <a:gd name="connsiteY320" fmla="*/ 44349 h 66302"/>
                  <a:gd name="connsiteX321" fmla="*/ 14107 w 70975"/>
                  <a:gd name="connsiteY321" fmla="*/ 45230 h 66302"/>
                  <a:gd name="connsiteX322" fmla="*/ 14724 w 70975"/>
                  <a:gd name="connsiteY322" fmla="*/ 45230 h 66302"/>
                  <a:gd name="connsiteX323" fmla="*/ 15606 w 70975"/>
                  <a:gd name="connsiteY323" fmla="*/ 45230 h 66302"/>
                  <a:gd name="connsiteX324" fmla="*/ 15606 w 70975"/>
                  <a:gd name="connsiteY324" fmla="*/ 45759 h 66302"/>
                  <a:gd name="connsiteX325" fmla="*/ 15341 w 70975"/>
                  <a:gd name="connsiteY325" fmla="*/ 45495 h 66302"/>
                  <a:gd name="connsiteX326" fmla="*/ 13049 w 70975"/>
                  <a:gd name="connsiteY326" fmla="*/ 45230 h 66302"/>
                  <a:gd name="connsiteX327" fmla="*/ 11550 w 70975"/>
                  <a:gd name="connsiteY327" fmla="*/ 45759 h 66302"/>
                  <a:gd name="connsiteX328" fmla="*/ 11550 w 70975"/>
                  <a:gd name="connsiteY328" fmla="*/ 46024 h 66302"/>
                  <a:gd name="connsiteX329" fmla="*/ 15958 w 70975"/>
                  <a:gd name="connsiteY329" fmla="*/ 47523 h 66302"/>
                  <a:gd name="connsiteX330" fmla="*/ 16840 w 70975"/>
                  <a:gd name="connsiteY330" fmla="*/ 47523 h 66302"/>
                  <a:gd name="connsiteX331" fmla="*/ 17457 w 70975"/>
                  <a:gd name="connsiteY331" fmla="*/ 48404 h 66302"/>
                  <a:gd name="connsiteX332" fmla="*/ 17457 w 70975"/>
                  <a:gd name="connsiteY332" fmla="*/ 49022 h 66302"/>
                  <a:gd name="connsiteX333" fmla="*/ 17105 w 70975"/>
                  <a:gd name="connsiteY333" fmla="*/ 49286 h 66302"/>
                  <a:gd name="connsiteX334" fmla="*/ 16487 w 70975"/>
                  <a:gd name="connsiteY334" fmla="*/ 49286 h 66302"/>
                  <a:gd name="connsiteX335" fmla="*/ 14459 w 70975"/>
                  <a:gd name="connsiteY335" fmla="*/ 49286 h 66302"/>
                  <a:gd name="connsiteX336" fmla="*/ 13578 w 70975"/>
                  <a:gd name="connsiteY336" fmla="*/ 49022 h 66302"/>
                  <a:gd name="connsiteX337" fmla="*/ 12961 w 70975"/>
                  <a:gd name="connsiteY337" fmla="*/ 47876 h 66302"/>
                  <a:gd name="connsiteX338" fmla="*/ 11815 w 70975"/>
                  <a:gd name="connsiteY338" fmla="*/ 47258 h 66302"/>
                  <a:gd name="connsiteX339" fmla="*/ 10404 w 70975"/>
                  <a:gd name="connsiteY339" fmla="*/ 46641 h 66302"/>
                  <a:gd name="connsiteX340" fmla="*/ 8376 w 70975"/>
                  <a:gd name="connsiteY340" fmla="*/ 46641 h 66302"/>
                  <a:gd name="connsiteX341" fmla="*/ 9875 w 70975"/>
                  <a:gd name="connsiteY341" fmla="*/ 46377 h 66302"/>
                  <a:gd name="connsiteX342" fmla="*/ 9875 w 70975"/>
                  <a:gd name="connsiteY342" fmla="*/ 46112 h 66302"/>
                  <a:gd name="connsiteX343" fmla="*/ 9258 w 70975"/>
                  <a:gd name="connsiteY343" fmla="*/ 45583 h 66302"/>
                  <a:gd name="connsiteX344" fmla="*/ 6084 w 70975"/>
                  <a:gd name="connsiteY344" fmla="*/ 45583 h 66302"/>
                  <a:gd name="connsiteX345" fmla="*/ 3438 w 70975"/>
                  <a:gd name="connsiteY345" fmla="*/ 45583 h 66302"/>
                  <a:gd name="connsiteX346" fmla="*/ 2028 w 70975"/>
                  <a:gd name="connsiteY346" fmla="*/ 46465 h 66302"/>
                  <a:gd name="connsiteX347" fmla="*/ 1411 w 70975"/>
                  <a:gd name="connsiteY347" fmla="*/ 46994 h 66302"/>
                  <a:gd name="connsiteX348" fmla="*/ 1411 w 70975"/>
                  <a:gd name="connsiteY348" fmla="*/ 47347 h 66302"/>
                  <a:gd name="connsiteX349" fmla="*/ 3174 w 70975"/>
                  <a:gd name="connsiteY349" fmla="*/ 49110 h 66302"/>
                  <a:gd name="connsiteX350" fmla="*/ 0 w 70975"/>
                  <a:gd name="connsiteY350" fmla="*/ 50609 h 66302"/>
                  <a:gd name="connsiteX351" fmla="*/ 882 w 70975"/>
                  <a:gd name="connsiteY351" fmla="*/ 52019 h 66302"/>
                  <a:gd name="connsiteX352" fmla="*/ 2028 w 70975"/>
                  <a:gd name="connsiteY352" fmla="*/ 52901 h 66302"/>
                  <a:gd name="connsiteX353" fmla="*/ 4056 w 70975"/>
                  <a:gd name="connsiteY353" fmla="*/ 51755 h 66302"/>
                  <a:gd name="connsiteX354" fmla="*/ 5819 w 70975"/>
                  <a:gd name="connsiteY354" fmla="*/ 52372 h 66302"/>
                  <a:gd name="connsiteX355" fmla="*/ 7582 w 70975"/>
                  <a:gd name="connsiteY355" fmla="*/ 52637 h 66302"/>
                  <a:gd name="connsiteX356" fmla="*/ 7847 w 70975"/>
                  <a:gd name="connsiteY356" fmla="*/ 53518 h 66302"/>
                  <a:gd name="connsiteX357" fmla="*/ 9610 w 70975"/>
                  <a:gd name="connsiteY357" fmla="*/ 54047 h 66302"/>
                  <a:gd name="connsiteX358" fmla="*/ 12784 w 70975"/>
                  <a:gd name="connsiteY358" fmla="*/ 52901 h 66302"/>
                  <a:gd name="connsiteX359" fmla="*/ 13930 w 70975"/>
                  <a:gd name="connsiteY359" fmla="*/ 52372 h 66302"/>
                  <a:gd name="connsiteX360" fmla="*/ 14548 w 70975"/>
                  <a:gd name="connsiteY360" fmla="*/ 51755 h 66302"/>
                  <a:gd name="connsiteX361" fmla="*/ 15694 w 70975"/>
                  <a:gd name="connsiteY361" fmla="*/ 50873 h 66302"/>
                  <a:gd name="connsiteX362" fmla="*/ 17105 w 70975"/>
                  <a:gd name="connsiteY362" fmla="*/ 50873 h 66302"/>
                  <a:gd name="connsiteX363" fmla="*/ 17457 w 70975"/>
                  <a:gd name="connsiteY363" fmla="*/ 51490 h 66302"/>
                  <a:gd name="connsiteX364" fmla="*/ 19485 w 70975"/>
                  <a:gd name="connsiteY364" fmla="*/ 52019 h 66302"/>
                  <a:gd name="connsiteX365" fmla="*/ 19485 w 70975"/>
                  <a:gd name="connsiteY365" fmla="*/ 51490 h 66302"/>
                  <a:gd name="connsiteX366" fmla="*/ 18603 w 70975"/>
                  <a:gd name="connsiteY366" fmla="*/ 51226 h 66302"/>
                  <a:gd name="connsiteX367" fmla="*/ 19485 w 70975"/>
                  <a:gd name="connsiteY367" fmla="*/ 50961 h 66302"/>
                  <a:gd name="connsiteX368" fmla="*/ 18339 w 70975"/>
                  <a:gd name="connsiteY368" fmla="*/ 50080 h 66302"/>
                  <a:gd name="connsiteX369" fmla="*/ 19838 w 70975"/>
                  <a:gd name="connsiteY369" fmla="*/ 48581 h 66302"/>
                  <a:gd name="connsiteX370" fmla="*/ 21249 w 70975"/>
                  <a:gd name="connsiteY370" fmla="*/ 48581 h 66302"/>
                  <a:gd name="connsiteX371" fmla="*/ 21866 w 70975"/>
                  <a:gd name="connsiteY371" fmla="*/ 49462 h 66302"/>
                  <a:gd name="connsiteX372" fmla="*/ 21866 w 70975"/>
                  <a:gd name="connsiteY372" fmla="*/ 50080 h 66302"/>
                  <a:gd name="connsiteX373" fmla="*/ 21866 w 70975"/>
                  <a:gd name="connsiteY373" fmla="*/ 50344 h 66302"/>
                  <a:gd name="connsiteX374" fmla="*/ 22747 w 70975"/>
                  <a:gd name="connsiteY374" fmla="*/ 50344 h 66302"/>
                  <a:gd name="connsiteX375" fmla="*/ 22747 w 70975"/>
                  <a:gd name="connsiteY375" fmla="*/ 50080 h 66302"/>
                  <a:gd name="connsiteX376" fmla="*/ 23894 w 70975"/>
                  <a:gd name="connsiteY376" fmla="*/ 49198 h 66302"/>
                  <a:gd name="connsiteX377" fmla="*/ 24775 w 70975"/>
                  <a:gd name="connsiteY377" fmla="*/ 48581 h 66302"/>
                  <a:gd name="connsiteX378" fmla="*/ 25922 w 70975"/>
                  <a:gd name="connsiteY378" fmla="*/ 48316 h 66302"/>
                  <a:gd name="connsiteX379" fmla="*/ 26186 w 70975"/>
                  <a:gd name="connsiteY379" fmla="*/ 50080 h 66302"/>
                  <a:gd name="connsiteX380" fmla="*/ 26451 w 70975"/>
                  <a:gd name="connsiteY380" fmla="*/ 50344 h 66302"/>
                  <a:gd name="connsiteX381" fmla="*/ 26715 w 70975"/>
                  <a:gd name="connsiteY381" fmla="*/ 50609 h 66302"/>
                  <a:gd name="connsiteX382" fmla="*/ 28743 w 70975"/>
                  <a:gd name="connsiteY382" fmla="*/ 50609 h 66302"/>
                  <a:gd name="connsiteX383" fmla="*/ 29360 w 70975"/>
                  <a:gd name="connsiteY383" fmla="*/ 49992 h 66302"/>
                  <a:gd name="connsiteX384" fmla="*/ 29624 w 70975"/>
                  <a:gd name="connsiteY384" fmla="*/ 49110 h 66302"/>
                  <a:gd name="connsiteX385" fmla="*/ 30506 w 70975"/>
                  <a:gd name="connsiteY385" fmla="*/ 48493 h 66302"/>
                  <a:gd name="connsiteX386" fmla="*/ 31388 w 70975"/>
                  <a:gd name="connsiteY386" fmla="*/ 48757 h 66302"/>
                  <a:gd name="connsiteX387" fmla="*/ 32270 w 70975"/>
                  <a:gd name="connsiteY387" fmla="*/ 49639 h 66302"/>
                  <a:gd name="connsiteX388" fmla="*/ 31741 w 70975"/>
                  <a:gd name="connsiteY388" fmla="*/ 50521 h 66302"/>
                  <a:gd name="connsiteX389" fmla="*/ 32270 w 70975"/>
                  <a:gd name="connsiteY389" fmla="*/ 51402 h 66302"/>
                  <a:gd name="connsiteX390" fmla="*/ 32534 w 70975"/>
                  <a:gd name="connsiteY390" fmla="*/ 51667 h 66302"/>
                  <a:gd name="connsiteX391" fmla="*/ 33416 w 70975"/>
                  <a:gd name="connsiteY391" fmla="*/ 52548 h 66302"/>
                  <a:gd name="connsiteX392" fmla="*/ 33680 w 70975"/>
                  <a:gd name="connsiteY392" fmla="*/ 53077 h 66302"/>
                  <a:gd name="connsiteX393" fmla="*/ 33945 w 70975"/>
                  <a:gd name="connsiteY393" fmla="*/ 53959 h 66302"/>
                  <a:gd name="connsiteX394" fmla="*/ 37119 w 70975"/>
                  <a:gd name="connsiteY394" fmla="*/ 54224 h 66302"/>
                  <a:gd name="connsiteX395" fmla="*/ 38265 w 70975"/>
                  <a:gd name="connsiteY395" fmla="*/ 53959 h 66302"/>
                  <a:gd name="connsiteX396" fmla="*/ 39411 w 70975"/>
                  <a:gd name="connsiteY396" fmla="*/ 53430 h 66302"/>
                  <a:gd name="connsiteX397" fmla="*/ 40558 w 70975"/>
                  <a:gd name="connsiteY397" fmla="*/ 54576 h 66302"/>
                  <a:gd name="connsiteX398" fmla="*/ 40558 w 70975"/>
                  <a:gd name="connsiteY398" fmla="*/ 55193 h 66302"/>
                  <a:gd name="connsiteX399" fmla="*/ 42321 w 70975"/>
                  <a:gd name="connsiteY399" fmla="*/ 55811 h 66302"/>
                  <a:gd name="connsiteX400" fmla="*/ 44084 w 70975"/>
                  <a:gd name="connsiteY400" fmla="*/ 55193 h 66302"/>
                  <a:gd name="connsiteX401" fmla="*/ 45583 w 70975"/>
                  <a:gd name="connsiteY401" fmla="*/ 56340 h 66302"/>
                  <a:gd name="connsiteX402" fmla="*/ 45318 w 70975"/>
                  <a:gd name="connsiteY402" fmla="*/ 57486 h 66302"/>
                  <a:gd name="connsiteX403" fmla="*/ 45318 w 70975"/>
                  <a:gd name="connsiteY403" fmla="*/ 58897 h 66302"/>
                  <a:gd name="connsiteX404" fmla="*/ 44437 w 70975"/>
                  <a:gd name="connsiteY404" fmla="*/ 60395 h 66302"/>
                  <a:gd name="connsiteX405" fmla="*/ 44437 w 70975"/>
                  <a:gd name="connsiteY405" fmla="*/ 61277 h 66302"/>
                  <a:gd name="connsiteX406" fmla="*/ 42673 w 70975"/>
                  <a:gd name="connsiteY406" fmla="*/ 63040 h 66302"/>
                  <a:gd name="connsiteX407" fmla="*/ 42673 w 70975"/>
                  <a:gd name="connsiteY407" fmla="*/ 64804 h 66302"/>
                  <a:gd name="connsiteX408" fmla="*/ 43555 w 70975"/>
                  <a:gd name="connsiteY408" fmla="*/ 65068 h 66302"/>
                  <a:gd name="connsiteX409" fmla="*/ 43555 w 70975"/>
                  <a:gd name="connsiteY409" fmla="*/ 65950 h 66302"/>
                  <a:gd name="connsiteX410" fmla="*/ 44437 w 70975"/>
                  <a:gd name="connsiteY410" fmla="*/ 65686 h 66302"/>
                  <a:gd name="connsiteX411" fmla="*/ 45583 w 70975"/>
                  <a:gd name="connsiteY411" fmla="*/ 66303 h 66302"/>
                  <a:gd name="connsiteX412" fmla="*/ 51226 w 70975"/>
                  <a:gd name="connsiteY412" fmla="*/ 66126 h 66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</a:cxnLst>
                <a:rect l="l" t="t" r="r" b="b"/>
                <a:pathLst>
                  <a:path w="70975" h="66302">
                    <a:moveTo>
                      <a:pt x="50873" y="1058"/>
                    </a:moveTo>
                    <a:lnTo>
                      <a:pt x="50609" y="1323"/>
                    </a:lnTo>
                    <a:lnTo>
                      <a:pt x="50344" y="1323"/>
                    </a:lnTo>
                    <a:lnTo>
                      <a:pt x="50344" y="1058"/>
                    </a:lnTo>
                    <a:lnTo>
                      <a:pt x="50344" y="794"/>
                    </a:lnTo>
                    <a:lnTo>
                      <a:pt x="50609" y="529"/>
                    </a:lnTo>
                    <a:lnTo>
                      <a:pt x="50609" y="264"/>
                    </a:lnTo>
                    <a:lnTo>
                      <a:pt x="50873" y="264"/>
                    </a:lnTo>
                    <a:lnTo>
                      <a:pt x="51755" y="264"/>
                    </a:lnTo>
                    <a:lnTo>
                      <a:pt x="53254" y="264"/>
                    </a:lnTo>
                    <a:lnTo>
                      <a:pt x="53606" y="0"/>
                    </a:lnTo>
                    <a:lnTo>
                      <a:pt x="53871" y="0"/>
                    </a:lnTo>
                    <a:lnTo>
                      <a:pt x="54135" y="0"/>
                    </a:lnTo>
                    <a:lnTo>
                      <a:pt x="54400" y="0"/>
                    </a:lnTo>
                    <a:lnTo>
                      <a:pt x="54400" y="264"/>
                    </a:lnTo>
                    <a:lnTo>
                      <a:pt x="52901" y="529"/>
                    </a:lnTo>
                    <a:lnTo>
                      <a:pt x="52284" y="794"/>
                    </a:lnTo>
                    <a:lnTo>
                      <a:pt x="52019" y="794"/>
                    </a:lnTo>
                    <a:lnTo>
                      <a:pt x="50873" y="794"/>
                    </a:lnTo>
                    <a:lnTo>
                      <a:pt x="50873" y="1058"/>
                    </a:lnTo>
                    <a:close/>
                    <a:moveTo>
                      <a:pt x="43291" y="1411"/>
                    </a:moveTo>
                    <a:lnTo>
                      <a:pt x="42144" y="1675"/>
                    </a:lnTo>
                    <a:lnTo>
                      <a:pt x="41880" y="1675"/>
                    </a:lnTo>
                    <a:lnTo>
                      <a:pt x="41615" y="1675"/>
                    </a:lnTo>
                    <a:lnTo>
                      <a:pt x="41351" y="1411"/>
                    </a:lnTo>
                    <a:lnTo>
                      <a:pt x="41351" y="1146"/>
                    </a:lnTo>
                    <a:lnTo>
                      <a:pt x="41615" y="882"/>
                    </a:lnTo>
                    <a:lnTo>
                      <a:pt x="41615" y="617"/>
                    </a:lnTo>
                    <a:lnTo>
                      <a:pt x="41880" y="617"/>
                    </a:lnTo>
                    <a:lnTo>
                      <a:pt x="42144" y="882"/>
                    </a:lnTo>
                    <a:lnTo>
                      <a:pt x="42409" y="882"/>
                    </a:lnTo>
                    <a:lnTo>
                      <a:pt x="42673" y="882"/>
                    </a:lnTo>
                    <a:lnTo>
                      <a:pt x="44437" y="882"/>
                    </a:lnTo>
                    <a:lnTo>
                      <a:pt x="45318" y="882"/>
                    </a:lnTo>
                    <a:lnTo>
                      <a:pt x="46200" y="882"/>
                    </a:lnTo>
                    <a:lnTo>
                      <a:pt x="46817" y="882"/>
                    </a:lnTo>
                    <a:lnTo>
                      <a:pt x="47082" y="882"/>
                    </a:lnTo>
                    <a:lnTo>
                      <a:pt x="47346" y="882"/>
                    </a:lnTo>
                    <a:lnTo>
                      <a:pt x="47082" y="1146"/>
                    </a:lnTo>
                    <a:lnTo>
                      <a:pt x="46200" y="1411"/>
                    </a:lnTo>
                    <a:lnTo>
                      <a:pt x="44437" y="1411"/>
                    </a:lnTo>
                    <a:lnTo>
                      <a:pt x="43908" y="1411"/>
                    </a:lnTo>
                    <a:lnTo>
                      <a:pt x="43291" y="1411"/>
                    </a:lnTo>
                    <a:close/>
                    <a:moveTo>
                      <a:pt x="32799" y="3703"/>
                    </a:moveTo>
                    <a:lnTo>
                      <a:pt x="32534" y="3703"/>
                    </a:lnTo>
                    <a:lnTo>
                      <a:pt x="32270" y="3439"/>
                    </a:lnTo>
                    <a:lnTo>
                      <a:pt x="32005" y="3439"/>
                    </a:lnTo>
                    <a:lnTo>
                      <a:pt x="32005" y="3086"/>
                    </a:lnTo>
                    <a:lnTo>
                      <a:pt x="32005" y="2821"/>
                    </a:lnTo>
                    <a:lnTo>
                      <a:pt x="32270" y="2821"/>
                    </a:lnTo>
                    <a:lnTo>
                      <a:pt x="32887" y="2557"/>
                    </a:lnTo>
                    <a:lnTo>
                      <a:pt x="33151" y="2557"/>
                    </a:lnTo>
                    <a:lnTo>
                      <a:pt x="34033" y="1940"/>
                    </a:lnTo>
                    <a:lnTo>
                      <a:pt x="35444" y="1323"/>
                    </a:lnTo>
                    <a:lnTo>
                      <a:pt x="36590" y="705"/>
                    </a:lnTo>
                    <a:lnTo>
                      <a:pt x="38970" y="1323"/>
                    </a:lnTo>
                    <a:lnTo>
                      <a:pt x="39235" y="1058"/>
                    </a:lnTo>
                    <a:lnTo>
                      <a:pt x="39499" y="1058"/>
                    </a:lnTo>
                    <a:lnTo>
                      <a:pt x="39499" y="1323"/>
                    </a:lnTo>
                    <a:lnTo>
                      <a:pt x="39499" y="1587"/>
                    </a:lnTo>
                    <a:lnTo>
                      <a:pt x="39235" y="1587"/>
                    </a:lnTo>
                    <a:lnTo>
                      <a:pt x="36854" y="2204"/>
                    </a:lnTo>
                    <a:lnTo>
                      <a:pt x="35973" y="2204"/>
                    </a:lnTo>
                    <a:lnTo>
                      <a:pt x="35355" y="2821"/>
                    </a:lnTo>
                    <a:lnTo>
                      <a:pt x="34474" y="3086"/>
                    </a:lnTo>
                    <a:lnTo>
                      <a:pt x="33592" y="3350"/>
                    </a:lnTo>
                    <a:lnTo>
                      <a:pt x="32799" y="3703"/>
                    </a:lnTo>
                    <a:close/>
                    <a:moveTo>
                      <a:pt x="27861" y="6877"/>
                    </a:moveTo>
                    <a:lnTo>
                      <a:pt x="26451" y="7759"/>
                    </a:lnTo>
                    <a:lnTo>
                      <a:pt x="26451" y="7494"/>
                    </a:lnTo>
                    <a:lnTo>
                      <a:pt x="26715" y="7230"/>
                    </a:lnTo>
                    <a:lnTo>
                      <a:pt x="26980" y="6965"/>
                    </a:lnTo>
                    <a:lnTo>
                      <a:pt x="27861" y="6348"/>
                    </a:lnTo>
                    <a:lnTo>
                      <a:pt x="28478" y="6084"/>
                    </a:lnTo>
                    <a:lnTo>
                      <a:pt x="28478" y="5819"/>
                    </a:lnTo>
                    <a:lnTo>
                      <a:pt x="28743" y="5819"/>
                    </a:lnTo>
                    <a:lnTo>
                      <a:pt x="29624" y="5555"/>
                    </a:lnTo>
                    <a:lnTo>
                      <a:pt x="29889" y="5290"/>
                    </a:lnTo>
                    <a:lnTo>
                      <a:pt x="30153" y="5290"/>
                    </a:lnTo>
                    <a:lnTo>
                      <a:pt x="30418" y="5555"/>
                    </a:lnTo>
                    <a:lnTo>
                      <a:pt x="28919" y="6701"/>
                    </a:lnTo>
                    <a:lnTo>
                      <a:pt x="27861" y="6877"/>
                    </a:lnTo>
                    <a:close/>
                    <a:moveTo>
                      <a:pt x="22924" y="12432"/>
                    </a:moveTo>
                    <a:lnTo>
                      <a:pt x="22924" y="12696"/>
                    </a:lnTo>
                    <a:lnTo>
                      <a:pt x="22659" y="12432"/>
                    </a:lnTo>
                    <a:lnTo>
                      <a:pt x="22395" y="12432"/>
                    </a:lnTo>
                    <a:lnTo>
                      <a:pt x="22130" y="12167"/>
                    </a:lnTo>
                    <a:lnTo>
                      <a:pt x="22130" y="11903"/>
                    </a:lnTo>
                    <a:lnTo>
                      <a:pt x="22130" y="11638"/>
                    </a:lnTo>
                    <a:lnTo>
                      <a:pt x="22130" y="11374"/>
                    </a:lnTo>
                    <a:lnTo>
                      <a:pt x="22130" y="11021"/>
                    </a:lnTo>
                    <a:lnTo>
                      <a:pt x="22395" y="10757"/>
                    </a:lnTo>
                    <a:lnTo>
                      <a:pt x="22659" y="10492"/>
                    </a:lnTo>
                    <a:lnTo>
                      <a:pt x="23276" y="9610"/>
                    </a:lnTo>
                    <a:lnTo>
                      <a:pt x="23894" y="9346"/>
                    </a:lnTo>
                    <a:lnTo>
                      <a:pt x="23894" y="8729"/>
                    </a:lnTo>
                    <a:lnTo>
                      <a:pt x="24775" y="8112"/>
                    </a:lnTo>
                    <a:lnTo>
                      <a:pt x="25040" y="7847"/>
                    </a:lnTo>
                    <a:lnTo>
                      <a:pt x="25304" y="8112"/>
                    </a:lnTo>
                    <a:lnTo>
                      <a:pt x="25922" y="8993"/>
                    </a:lnTo>
                    <a:lnTo>
                      <a:pt x="25922" y="10139"/>
                    </a:lnTo>
                    <a:lnTo>
                      <a:pt x="25569" y="10139"/>
                    </a:lnTo>
                    <a:lnTo>
                      <a:pt x="25569" y="10404"/>
                    </a:lnTo>
                    <a:lnTo>
                      <a:pt x="24952" y="11021"/>
                    </a:lnTo>
                    <a:lnTo>
                      <a:pt x="24687" y="11374"/>
                    </a:lnTo>
                    <a:lnTo>
                      <a:pt x="23805" y="12255"/>
                    </a:lnTo>
                    <a:lnTo>
                      <a:pt x="23541" y="12520"/>
                    </a:lnTo>
                    <a:lnTo>
                      <a:pt x="22924" y="12520"/>
                    </a:lnTo>
                    <a:close/>
                    <a:moveTo>
                      <a:pt x="51226" y="66126"/>
                    </a:moveTo>
                    <a:lnTo>
                      <a:pt x="50609" y="65245"/>
                    </a:lnTo>
                    <a:lnTo>
                      <a:pt x="51755" y="64363"/>
                    </a:lnTo>
                    <a:lnTo>
                      <a:pt x="51755" y="63481"/>
                    </a:lnTo>
                    <a:lnTo>
                      <a:pt x="51755" y="62071"/>
                    </a:lnTo>
                    <a:lnTo>
                      <a:pt x="50873" y="60572"/>
                    </a:lnTo>
                    <a:lnTo>
                      <a:pt x="49110" y="60307"/>
                    </a:lnTo>
                    <a:lnTo>
                      <a:pt x="48228" y="60572"/>
                    </a:lnTo>
                    <a:lnTo>
                      <a:pt x="47611" y="59073"/>
                    </a:lnTo>
                    <a:lnTo>
                      <a:pt x="48228" y="58544"/>
                    </a:lnTo>
                    <a:lnTo>
                      <a:pt x="50256" y="57927"/>
                    </a:lnTo>
                    <a:lnTo>
                      <a:pt x="51755" y="55899"/>
                    </a:lnTo>
                    <a:lnTo>
                      <a:pt x="51402" y="55282"/>
                    </a:lnTo>
                    <a:lnTo>
                      <a:pt x="51402" y="54665"/>
                    </a:lnTo>
                    <a:lnTo>
                      <a:pt x="52548" y="52901"/>
                    </a:lnTo>
                    <a:lnTo>
                      <a:pt x="52813" y="52372"/>
                    </a:lnTo>
                    <a:lnTo>
                      <a:pt x="52813" y="51755"/>
                    </a:lnTo>
                    <a:lnTo>
                      <a:pt x="53695" y="48845"/>
                    </a:lnTo>
                    <a:lnTo>
                      <a:pt x="53430" y="47699"/>
                    </a:lnTo>
                    <a:lnTo>
                      <a:pt x="51931" y="45936"/>
                    </a:lnTo>
                    <a:lnTo>
                      <a:pt x="51314" y="45054"/>
                    </a:lnTo>
                    <a:lnTo>
                      <a:pt x="50785" y="44172"/>
                    </a:lnTo>
                    <a:lnTo>
                      <a:pt x="49022" y="41527"/>
                    </a:lnTo>
                    <a:lnTo>
                      <a:pt x="49022" y="41263"/>
                    </a:lnTo>
                    <a:lnTo>
                      <a:pt x="49286" y="40117"/>
                    </a:lnTo>
                    <a:lnTo>
                      <a:pt x="51667" y="39852"/>
                    </a:lnTo>
                    <a:lnTo>
                      <a:pt x="52284" y="39852"/>
                    </a:lnTo>
                    <a:lnTo>
                      <a:pt x="52548" y="39852"/>
                    </a:lnTo>
                    <a:lnTo>
                      <a:pt x="54576" y="39852"/>
                    </a:lnTo>
                    <a:lnTo>
                      <a:pt x="55722" y="40117"/>
                    </a:lnTo>
                    <a:lnTo>
                      <a:pt x="56339" y="40117"/>
                    </a:lnTo>
                    <a:lnTo>
                      <a:pt x="58985" y="40734"/>
                    </a:lnTo>
                    <a:lnTo>
                      <a:pt x="60748" y="40117"/>
                    </a:lnTo>
                    <a:lnTo>
                      <a:pt x="62247" y="38089"/>
                    </a:lnTo>
                    <a:lnTo>
                      <a:pt x="62864" y="38353"/>
                    </a:lnTo>
                    <a:lnTo>
                      <a:pt x="63393" y="38089"/>
                    </a:lnTo>
                    <a:lnTo>
                      <a:pt x="64275" y="36943"/>
                    </a:lnTo>
                    <a:lnTo>
                      <a:pt x="63658" y="35796"/>
                    </a:lnTo>
                    <a:lnTo>
                      <a:pt x="62511" y="35796"/>
                    </a:lnTo>
                    <a:lnTo>
                      <a:pt x="62511" y="35532"/>
                    </a:lnTo>
                    <a:lnTo>
                      <a:pt x="62776" y="34386"/>
                    </a:lnTo>
                    <a:lnTo>
                      <a:pt x="64275" y="34386"/>
                    </a:lnTo>
                    <a:lnTo>
                      <a:pt x="65421" y="33240"/>
                    </a:lnTo>
                    <a:lnTo>
                      <a:pt x="65421" y="32975"/>
                    </a:lnTo>
                    <a:lnTo>
                      <a:pt x="65685" y="32975"/>
                    </a:lnTo>
                    <a:lnTo>
                      <a:pt x="65685" y="32711"/>
                    </a:lnTo>
                    <a:lnTo>
                      <a:pt x="67449" y="31564"/>
                    </a:lnTo>
                    <a:lnTo>
                      <a:pt x="68595" y="29801"/>
                    </a:lnTo>
                    <a:lnTo>
                      <a:pt x="68330" y="29536"/>
                    </a:lnTo>
                    <a:lnTo>
                      <a:pt x="68948" y="28038"/>
                    </a:lnTo>
                    <a:lnTo>
                      <a:pt x="68948" y="27156"/>
                    </a:lnTo>
                    <a:lnTo>
                      <a:pt x="67449" y="25128"/>
                    </a:lnTo>
                    <a:lnTo>
                      <a:pt x="67184" y="25481"/>
                    </a:lnTo>
                    <a:lnTo>
                      <a:pt x="66920" y="25745"/>
                    </a:lnTo>
                    <a:lnTo>
                      <a:pt x="63129" y="25128"/>
                    </a:lnTo>
                    <a:lnTo>
                      <a:pt x="61982" y="23100"/>
                    </a:lnTo>
                    <a:lnTo>
                      <a:pt x="63129" y="22836"/>
                    </a:lnTo>
                    <a:lnTo>
                      <a:pt x="62600" y="21689"/>
                    </a:lnTo>
                    <a:lnTo>
                      <a:pt x="62335" y="21425"/>
                    </a:lnTo>
                    <a:lnTo>
                      <a:pt x="63481" y="20808"/>
                    </a:lnTo>
                    <a:lnTo>
                      <a:pt x="65862" y="20808"/>
                    </a:lnTo>
                    <a:lnTo>
                      <a:pt x="66126" y="21072"/>
                    </a:lnTo>
                    <a:lnTo>
                      <a:pt x="68418" y="21072"/>
                    </a:lnTo>
                    <a:lnTo>
                      <a:pt x="68683" y="20808"/>
                    </a:lnTo>
                    <a:lnTo>
                      <a:pt x="68683" y="19044"/>
                    </a:lnTo>
                    <a:lnTo>
                      <a:pt x="68683" y="17634"/>
                    </a:lnTo>
                    <a:lnTo>
                      <a:pt x="68948" y="16752"/>
                    </a:lnTo>
                    <a:lnTo>
                      <a:pt x="70711" y="14107"/>
                    </a:lnTo>
                    <a:lnTo>
                      <a:pt x="70975" y="13225"/>
                    </a:lnTo>
                    <a:lnTo>
                      <a:pt x="70975" y="8288"/>
                    </a:lnTo>
                    <a:lnTo>
                      <a:pt x="70711" y="6789"/>
                    </a:lnTo>
                    <a:lnTo>
                      <a:pt x="68683" y="6172"/>
                    </a:lnTo>
                    <a:lnTo>
                      <a:pt x="65774" y="4673"/>
                    </a:lnTo>
                    <a:lnTo>
                      <a:pt x="64275" y="2381"/>
                    </a:lnTo>
                    <a:lnTo>
                      <a:pt x="64275" y="2116"/>
                    </a:lnTo>
                    <a:lnTo>
                      <a:pt x="61982" y="1234"/>
                    </a:lnTo>
                    <a:lnTo>
                      <a:pt x="56692" y="2381"/>
                    </a:lnTo>
                    <a:lnTo>
                      <a:pt x="51755" y="2645"/>
                    </a:lnTo>
                    <a:lnTo>
                      <a:pt x="49991" y="2645"/>
                    </a:lnTo>
                    <a:lnTo>
                      <a:pt x="40645" y="5290"/>
                    </a:lnTo>
                    <a:lnTo>
                      <a:pt x="38353" y="7053"/>
                    </a:lnTo>
                    <a:lnTo>
                      <a:pt x="37472" y="8200"/>
                    </a:lnTo>
                    <a:lnTo>
                      <a:pt x="37472" y="9081"/>
                    </a:lnTo>
                    <a:lnTo>
                      <a:pt x="36854" y="9963"/>
                    </a:lnTo>
                    <a:lnTo>
                      <a:pt x="35973" y="10580"/>
                    </a:lnTo>
                    <a:lnTo>
                      <a:pt x="34474" y="11462"/>
                    </a:lnTo>
                    <a:lnTo>
                      <a:pt x="32975" y="12344"/>
                    </a:lnTo>
                    <a:lnTo>
                      <a:pt x="31212" y="13225"/>
                    </a:lnTo>
                    <a:lnTo>
                      <a:pt x="30330" y="14107"/>
                    </a:lnTo>
                    <a:lnTo>
                      <a:pt x="29713" y="14371"/>
                    </a:lnTo>
                    <a:lnTo>
                      <a:pt x="28566" y="14636"/>
                    </a:lnTo>
                    <a:lnTo>
                      <a:pt x="27685" y="14900"/>
                    </a:lnTo>
                    <a:lnTo>
                      <a:pt x="26803" y="14636"/>
                    </a:lnTo>
                    <a:lnTo>
                      <a:pt x="26186" y="14371"/>
                    </a:lnTo>
                    <a:lnTo>
                      <a:pt x="26186" y="13754"/>
                    </a:lnTo>
                    <a:lnTo>
                      <a:pt x="25922" y="13137"/>
                    </a:lnTo>
                    <a:lnTo>
                      <a:pt x="25040" y="13137"/>
                    </a:lnTo>
                    <a:lnTo>
                      <a:pt x="24511" y="14019"/>
                    </a:lnTo>
                    <a:lnTo>
                      <a:pt x="23365" y="14019"/>
                    </a:lnTo>
                    <a:lnTo>
                      <a:pt x="22218" y="14019"/>
                    </a:lnTo>
                    <a:lnTo>
                      <a:pt x="21954" y="14900"/>
                    </a:lnTo>
                    <a:lnTo>
                      <a:pt x="21337" y="15518"/>
                    </a:lnTo>
                    <a:lnTo>
                      <a:pt x="21072" y="16928"/>
                    </a:lnTo>
                    <a:lnTo>
                      <a:pt x="20191" y="18075"/>
                    </a:lnTo>
                    <a:lnTo>
                      <a:pt x="20808" y="19485"/>
                    </a:lnTo>
                    <a:lnTo>
                      <a:pt x="21072" y="20896"/>
                    </a:lnTo>
                    <a:lnTo>
                      <a:pt x="21072" y="21778"/>
                    </a:lnTo>
                    <a:lnTo>
                      <a:pt x="21337" y="22924"/>
                    </a:lnTo>
                    <a:lnTo>
                      <a:pt x="22483" y="23806"/>
                    </a:lnTo>
                    <a:lnTo>
                      <a:pt x="22218" y="24687"/>
                    </a:lnTo>
                    <a:lnTo>
                      <a:pt x="26891" y="25833"/>
                    </a:lnTo>
                    <a:lnTo>
                      <a:pt x="28655" y="26715"/>
                    </a:lnTo>
                    <a:lnTo>
                      <a:pt x="30682" y="26980"/>
                    </a:lnTo>
                    <a:lnTo>
                      <a:pt x="29801" y="26098"/>
                    </a:lnTo>
                    <a:lnTo>
                      <a:pt x="30065" y="24952"/>
                    </a:lnTo>
                    <a:lnTo>
                      <a:pt x="29184" y="24070"/>
                    </a:lnTo>
                    <a:lnTo>
                      <a:pt x="29448" y="23188"/>
                    </a:lnTo>
                    <a:lnTo>
                      <a:pt x="29977" y="22307"/>
                    </a:lnTo>
                    <a:lnTo>
                      <a:pt x="30859" y="22307"/>
                    </a:lnTo>
                    <a:lnTo>
                      <a:pt x="30594" y="21160"/>
                    </a:lnTo>
                    <a:lnTo>
                      <a:pt x="30859" y="20896"/>
                    </a:lnTo>
                    <a:lnTo>
                      <a:pt x="32005" y="20896"/>
                    </a:lnTo>
                    <a:lnTo>
                      <a:pt x="32622" y="20014"/>
                    </a:lnTo>
                    <a:lnTo>
                      <a:pt x="33504" y="19750"/>
                    </a:lnTo>
                    <a:lnTo>
                      <a:pt x="34121" y="19750"/>
                    </a:lnTo>
                    <a:lnTo>
                      <a:pt x="35620" y="18604"/>
                    </a:lnTo>
                    <a:lnTo>
                      <a:pt x="35267" y="18339"/>
                    </a:lnTo>
                    <a:lnTo>
                      <a:pt x="34738" y="18604"/>
                    </a:lnTo>
                    <a:lnTo>
                      <a:pt x="34738" y="17457"/>
                    </a:lnTo>
                    <a:lnTo>
                      <a:pt x="34474" y="16840"/>
                    </a:lnTo>
                    <a:lnTo>
                      <a:pt x="34209" y="17105"/>
                    </a:lnTo>
                    <a:lnTo>
                      <a:pt x="33592" y="17986"/>
                    </a:lnTo>
                    <a:lnTo>
                      <a:pt x="32358" y="17369"/>
                    </a:lnTo>
                    <a:lnTo>
                      <a:pt x="31829" y="16488"/>
                    </a:lnTo>
                    <a:lnTo>
                      <a:pt x="31829" y="15959"/>
                    </a:lnTo>
                    <a:lnTo>
                      <a:pt x="30947" y="15077"/>
                    </a:lnTo>
                    <a:lnTo>
                      <a:pt x="30947" y="14195"/>
                    </a:lnTo>
                    <a:lnTo>
                      <a:pt x="31564" y="13578"/>
                    </a:lnTo>
                    <a:lnTo>
                      <a:pt x="35091" y="11286"/>
                    </a:lnTo>
                    <a:lnTo>
                      <a:pt x="36502" y="10668"/>
                    </a:lnTo>
                    <a:lnTo>
                      <a:pt x="35885" y="12167"/>
                    </a:lnTo>
                    <a:lnTo>
                      <a:pt x="36766" y="12167"/>
                    </a:lnTo>
                    <a:lnTo>
                      <a:pt x="36149" y="13314"/>
                    </a:lnTo>
                    <a:lnTo>
                      <a:pt x="36766" y="14195"/>
                    </a:lnTo>
                    <a:lnTo>
                      <a:pt x="36502" y="15077"/>
                    </a:lnTo>
                    <a:lnTo>
                      <a:pt x="37383" y="15694"/>
                    </a:lnTo>
                    <a:lnTo>
                      <a:pt x="38265" y="15429"/>
                    </a:lnTo>
                    <a:lnTo>
                      <a:pt x="39147" y="15429"/>
                    </a:lnTo>
                    <a:lnTo>
                      <a:pt x="40293" y="16311"/>
                    </a:lnTo>
                    <a:lnTo>
                      <a:pt x="40998" y="16311"/>
                    </a:lnTo>
                    <a:lnTo>
                      <a:pt x="42144" y="15694"/>
                    </a:lnTo>
                    <a:lnTo>
                      <a:pt x="43291" y="16311"/>
                    </a:lnTo>
                    <a:lnTo>
                      <a:pt x="42409" y="16576"/>
                    </a:lnTo>
                    <a:lnTo>
                      <a:pt x="41527" y="17457"/>
                    </a:lnTo>
                    <a:lnTo>
                      <a:pt x="40645" y="17722"/>
                    </a:lnTo>
                    <a:lnTo>
                      <a:pt x="40645" y="18604"/>
                    </a:lnTo>
                    <a:lnTo>
                      <a:pt x="40645" y="19485"/>
                    </a:lnTo>
                    <a:lnTo>
                      <a:pt x="41263" y="20367"/>
                    </a:lnTo>
                    <a:lnTo>
                      <a:pt x="41880" y="20984"/>
                    </a:lnTo>
                    <a:lnTo>
                      <a:pt x="42497" y="21249"/>
                    </a:lnTo>
                    <a:lnTo>
                      <a:pt x="43379" y="21513"/>
                    </a:lnTo>
                    <a:lnTo>
                      <a:pt x="43379" y="22659"/>
                    </a:lnTo>
                    <a:lnTo>
                      <a:pt x="43643" y="23276"/>
                    </a:lnTo>
                    <a:lnTo>
                      <a:pt x="43026" y="23276"/>
                    </a:lnTo>
                    <a:lnTo>
                      <a:pt x="42409" y="23541"/>
                    </a:lnTo>
                    <a:lnTo>
                      <a:pt x="42409" y="24158"/>
                    </a:lnTo>
                    <a:lnTo>
                      <a:pt x="42409" y="24687"/>
                    </a:lnTo>
                    <a:lnTo>
                      <a:pt x="42144" y="25569"/>
                    </a:lnTo>
                    <a:lnTo>
                      <a:pt x="40645" y="25833"/>
                    </a:lnTo>
                    <a:lnTo>
                      <a:pt x="39147" y="27332"/>
                    </a:lnTo>
                    <a:lnTo>
                      <a:pt x="38530" y="28214"/>
                    </a:lnTo>
                    <a:lnTo>
                      <a:pt x="37119" y="28831"/>
                    </a:lnTo>
                    <a:lnTo>
                      <a:pt x="35620" y="28567"/>
                    </a:lnTo>
                    <a:lnTo>
                      <a:pt x="34474" y="27949"/>
                    </a:lnTo>
                    <a:lnTo>
                      <a:pt x="32446" y="28567"/>
                    </a:lnTo>
                    <a:lnTo>
                      <a:pt x="31564" y="28302"/>
                    </a:lnTo>
                    <a:lnTo>
                      <a:pt x="30065" y="27685"/>
                    </a:lnTo>
                    <a:lnTo>
                      <a:pt x="28037" y="26803"/>
                    </a:lnTo>
                    <a:lnTo>
                      <a:pt x="23365" y="25657"/>
                    </a:lnTo>
                    <a:lnTo>
                      <a:pt x="21954" y="25393"/>
                    </a:lnTo>
                    <a:lnTo>
                      <a:pt x="20191" y="25657"/>
                    </a:lnTo>
                    <a:lnTo>
                      <a:pt x="19573" y="27068"/>
                    </a:lnTo>
                    <a:lnTo>
                      <a:pt x="18074" y="29713"/>
                    </a:lnTo>
                    <a:lnTo>
                      <a:pt x="17457" y="29977"/>
                    </a:lnTo>
                    <a:lnTo>
                      <a:pt x="15077" y="31123"/>
                    </a:lnTo>
                    <a:lnTo>
                      <a:pt x="13930" y="32270"/>
                    </a:lnTo>
                    <a:lnTo>
                      <a:pt x="12432" y="34033"/>
                    </a:lnTo>
                    <a:lnTo>
                      <a:pt x="14459" y="35179"/>
                    </a:lnTo>
                    <a:lnTo>
                      <a:pt x="12961" y="36325"/>
                    </a:lnTo>
                    <a:lnTo>
                      <a:pt x="12079" y="36325"/>
                    </a:lnTo>
                    <a:lnTo>
                      <a:pt x="11815" y="36590"/>
                    </a:lnTo>
                    <a:lnTo>
                      <a:pt x="12696" y="39500"/>
                    </a:lnTo>
                    <a:lnTo>
                      <a:pt x="11815" y="39764"/>
                    </a:lnTo>
                    <a:lnTo>
                      <a:pt x="9170" y="40029"/>
                    </a:lnTo>
                    <a:lnTo>
                      <a:pt x="8905" y="40646"/>
                    </a:lnTo>
                    <a:lnTo>
                      <a:pt x="10668" y="40646"/>
                    </a:lnTo>
                    <a:lnTo>
                      <a:pt x="11815" y="40910"/>
                    </a:lnTo>
                    <a:lnTo>
                      <a:pt x="12079" y="41175"/>
                    </a:lnTo>
                    <a:lnTo>
                      <a:pt x="14107" y="42938"/>
                    </a:lnTo>
                    <a:lnTo>
                      <a:pt x="13843" y="43820"/>
                    </a:lnTo>
                    <a:lnTo>
                      <a:pt x="13578" y="44084"/>
                    </a:lnTo>
                    <a:lnTo>
                      <a:pt x="11197" y="42321"/>
                    </a:lnTo>
                    <a:lnTo>
                      <a:pt x="9434" y="42056"/>
                    </a:lnTo>
                    <a:lnTo>
                      <a:pt x="7935" y="42056"/>
                    </a:lnTo>
                    <a:lnTo>
                      <a:pt x="6172" y="42321"/>
                    </a:lnTo>
                    <a:lnTo>
                      <a:pt x="5907" y="42585"/>
                    </a:lnTo>
                    <a:lnTo>
                      <a:pt x="5643" y="43203"/>
                    </a:lnTo>
                    <a:lnTo>
                      <a:pt x="5907" y="43467"/>
                    </a:lnTo>
                    <a:lnTo>
                      <a:pt x="7053" y="43732"/>
                    </a:lnTo>
                    <a:lnTo>
                      <a:pt x="10845" y="45230"/>
                    </a:lnTo>
                    <a:lnTo>
                      <a:pt x="11991" y="44878"/>
                    </a:lnTo>
                    <a:lnTo>
                      <a:pt x="13137" y="44613"/>
                    </a:lnTo>
                    <a:lnTo>
                      <a:pt x="13490" y="44349"/>
                    </a:lnTo>
                    <a:lnTo>
                      <a:pt x="14107" y="45230"/>
                    </a:lnTo>
                    <a:lnTo>
                      <a:pt x="14724" y="45230"/>
                    </a:lnTo>
                    <a:lnTo>
                      <a:pt x="15606" y="45230"/>
                    </a:lnTo>
                    <a:lnTo>
                      <a:pt x="15606" y="45759"/>
                    </a:lnTo>
                    <a:lnTo>
                      <a:pt x="15341" y="45495"/>
                    </a:lnTo>
                    <a:lnTo>
                      <a:pt x="13049" y="45230"/>
                    </a:lnTo>
                    <a:lnTo>
                      <a:pt x="11550" y="45759"/>
                    </a:lnTo>
                    <a:lnTo>
                      <a:pt x="11550" y="46024"/>
                    </a:lnTo>
                    <a:lnTo>
                      <a:pt x="15958" y="47523"/>
                    </a:lnTo>
                    <a:lnTo>
                      <a:pt x="16840" y="47523"/>
                    </a:lnTo>
                    <a:lnTo>
                      <a:pt x="17457" y="48404"/>
                    </a:lnTo>
                    <a:lnTo>
                      <a:pt x="17457" y="49022"/>
                    </a:lnTo>
                    <a:lnTo>
                      <a:pt x="17105" y="49286"/>
                    </a:lnTo>
                    <a:lnTo>
                      <a:pt x="16487" y="49286"/>
                    </a:lnTo>
                    <a:lnTo>
                      <a:pt x="14459" y="49286"/>
                    </a:lnTo>
                    <a:lnTo>
                      <a:pt x="13578" y="49022"/>
                    </a:lnTo>
                    <a:lnTo>
                      <a:pt x="12961" y="47876"/>
                    </a:lnTo>
                    <a:lnTo>
                      <a:pt x="11815" y="47258"/>
                    </a:lnTo>
                    <a:lnTo>
                      <a:pt x="10404" y="46641"/>
                    </a:lnTo>
                    <a:lnTo>
                      <a:pt x="8376" y="46641"/>
                    </a:lnTo>
                    <a:lnTo>
                      <a:pt x="9875" y="46377"/>
                    </a:lnTo>
                    <a:lnTo>
                      <a:pt x="9875" y="46112"/>
                    </a:lnTo>
                    <a:lnTo>
                      <a:pt x="9258" y="45583"/>
                    </a:lnTo>
                    <a:lnTo>
                      <a:pt x="6084" y="45583"/>
                    </a:lnTo>
                    <a:lnTo>
                      <a:pt x="3438" y="45583"/>
                    </a:lnTo>
                    <a:lnTo>
                      <a:pt x="2028" y="46465"/>
                    </a:lnTo>
                    <a:lnTo>
                      <a:pt x="1411" y="46994"/>
                    </a:lnTo>
                    <a:lnTo>
                      <a:pt x="1411" y="47347"/>
                    </a:lnTo>
                    <a:lnTo>
                      <a:pt x="3174" y="49110"/>
                    </a:lnTo>
                    <a:lnTo>
                      <a:pt x="0" y="50609"/>
                    </a:lnTo>
                    <a:lnTo>
                      <a:pt x="882" y="52019"/>
                    </a:lnTo>
                    <a:lnTo>
                      <a:pt x="2028" y="52901"/>
                    </a:lnTo>
                    <a:lnTo>
                      <a:pt x="4056" y="51755"/>
                    </a:lnTo>
                    <a:lnTo>
                      <a:pt x="5819" y="52372"/>
                    </a:lnTo>
                    <a:lnTo>
                      <a:pt x="7582" y="52637"/>
                    </a:lnTo>
                    <a:lnTo>
                      <a:pt x="7847" y="53518"/>
                    </a:lnTo>
                    <a:lnTo>
                      <a:pt x="9610" y="54047"/>
                    </a:lnTo>
                    <a:lnTo>
                      <a:pt x="12784" y="52901"/>
                    </a:lnTo>
                    <a:lnTo>
                      <a:pt x="13930" y="52372"/>
                    </a:lnTo>
                    <a:lnTo>
                      <a:pt x="14548" y="51755"/>
                    </a:lnTo>
                    <a:lnTo>
                      <a:pt x="15694" y="50873"/>
                    </a:lnTo>
                    <a:lnTo>
                      <a:pt x="17105" y="50873"/>
                    </a:lnTo>
                    <a:lnTo>
                      <a:pt x="17457" y="51490"/>
                    </a:lnTo>
                    <a:lnTo>
                      <a:pt x="19485" y="52019"/>
                    </a:lnTo>
                    <a:lnTo>
                      <a:pt x="19485" y="51490"/>
                    </a:lnTo>
                    <a:lnTo>
                      <a:pt x="18603" y="51226"/>
                    </a:lnTo>
                    <a:lnTo>
                      <a:pt x="19485" y="50961"/>
                    </a:lnTo>
                    <a:lnTo>
                      <a:pt x="18339" y="50080"/>
                    </a:lnTo>
                    <a:lnTo>
                      <a:pt x="19838" y="48581"/>
                    </a:lnTo>
                    <a:lnTo>
                      <a:pt x="21249" y="48581"/>
                    </a:lnTo>
                    <a:lnTo>
                      <a:pt x="21866" y="49462"/>
                    </a:lnTo>
                    <a:lnTo>
                      <a:pt x="21866" y="50080"/>
                    </a:lnTo>
                    <a:lnTo>
                      <a:pt x="21866" y="50344"/>
                    </a:lnTo>
                    <a:lnTo>
                      <a:pt x="22747" y="50344"/>
                    </a:lnTo>
                    <a:lnTo>
                      <a:pt x="22747" y="50080"/>
                    </a:lnTo>
                    <a:lnTo>
                      <a:pt x="23894" y="49198"/>
                    </a:lnTo>
                    <a:lnTo>
                      <a:pt x="24775" y="48581"/>
                    </a:lnTo>
                    <a:lnTo>
                      <a:pt x="25922" y="48316"/>
                    </a:lnTo>
                    <a:lnTo>
                      <a:pt x="26186" y="50080"/>
                    </a:lnTo>
                    <a:lnTo>
                      <a:pt x="26451" y="50344"/>
                    </a:lnTo>
                    <a:lnTo>
                      <a:pt x="26715" y="50609"/>
                    </a:lnTo>
                    <a:lnTo>
                      <a:pt x="28743" y="50609"/>
                    </a:lnTo>
                    <a:lnTo>
                      <a:pt x="29360" y="49992"/>
                    </a:lnTo>
                    <a:lnTo>
                      <a:pt x="29624" y="49110"/>
                    </a:lnTo>
                    <a:lnTo>
                      <a:pt x="30506" y="48493"/>
                    </a:lnTo>
                    <a:lnTo>
                      <a:pt x="31388" y="48757"/>
                    </a:lnTo>
                    <a:lnTo>
                      <a:pt x="32270" y="49639"/>
                    </a:lnTo>
                    <a:lnTo>
                      <a:pt x="31741" y="50521"/>
                    </a:lnTo>
                    <a:lnTo>
                      <a:pt x="32270" y="51402"/>
                    </a:lnTo>
                    <a:lnTo>
                      <a:pt x="32534" y="51667"/>
                    </a:lnTo>
                    <a:lnTo>
                      <a:pt x="33416" y="52548"/>
                    </a:lnTo>
                    <a:lnTo>
                      <a:pt x="33680" y="53077"/>
                    </a:lnTo>
                    <a:lnTo>
                      <a:pt x="33945" y="53959"/>
                    </a:lnTo>
                    <a:lnTo>
                      <a:pt x="37119" y="54224"/>
                    </a:lnTo>
                    <a:lnTo>
                      <a:pt x="38265" y="53959"/>
                    </a:lnTo>
                    <a:lnTo>
                      <a:pt x="39411" y="53430"/>
                    </a:lnTo>
                    <a:lnTo>
                      <a:pt x="40558" y="54576"/>
                    </a:lnTo>
                    <a:lnTo>
                      <a:pt x="40558" y="55193"/>
                    </a:lnTo>
                    <a:lnTo>
                      <a:pt x="42321" y="55811"/>
                    </a:lnTo>
                    <a:lnTo>
                      <a:pt x="44084" y="55193"/>
                    </a:lnTo>
                    <a:lnTo>
                      <a:pt x="45583" y="56340"/>
                    </a:lnTo>
                    <a:lnTo>
                      <a:pt x="45318" y="57486"/>
                    </a:lnTo>
                    <a:lnTo>
                      <a:pt x="45318" y="58897"/>
                    </a:lnTo>
                    <a:lnTo>
                      <a:pt x="44437" y="60395"/>
                    </a:lnTo>
                    <a:lnTo>
                      <a:pt x="44437" y="61277"/>
                    </a:lnTo>
                    <a:lnTo>
                      <a:pt x="42673" y="63040"/>
                    </a:lnTo>
                    <a:lnTo>
                      <a:pt x="42673" y="64804"/>
                    </a:lnTo>
                    <a:lnTo>
                      <a:pt x="43555" y="65068"/>
                    </a:lnTo>
                    <a:lnTo>
                      <a:pt x="43555" y="65950"/>
                    </a:lnTo>
                    <a:lnTo>
                      <a:pt x="44437" y="65686"/>
                    </a:lnTo>
                    <a:lnTo>
                      <a:pt x="45583" y="66303"/>
                    </a:lnTo>
                    <a:lnTo>
                      <a:pt x="51226" y="6612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6" name="Freihandform: Form 1555">
                <a:extLst>
                  <a:ext uri="{FF2B5EF4-FFF2-40B4-BE49-F238E27FC236}">
                    <a16:creationId xmlns:a16="http://schemas.microsoft.com/office/drawing/2014/main" id="{8A40A50A-8AA6-FFBB-B8E1-A519833AB9A6}"/>
                  </a:ext>
                </a:extLst>
              </p:cNvPr>
              <p:cNvSpPr/>
              <p:nvPr/>
            </p:nvSpPr>
            <p:spPr>
              <a:xfrm>
                <a:off x="4474974" y="3109918"/>
                <a:ext cx="129519" cy="133310"/>
              </a:xfrm>
              <a:custGeom>
                <a:avLst/>
                <a:gdLst>
                  <a:gd name="connsiteX0" fmla="*/ 45847 w 129519"/>
                  <a:gd name="connsiteY0" fmla="*/ 86934 h 133310"/>
                  <a:gd name="connsiteX1" fmla="*/ 44349 w 129519"/>
                  <a:gd name="connsiteY1" fmla="*/ 87199 h 133310"/>
                  <a:gd name="connsiteX2" fmla="*/ 43820 w 129519"/>
                  <a:gd name="connsiteY2" fmla="*/ 86934 h 133310"/>
                  <a:gd name="connsiteX3" fmla="*/ 44084 w 129519"/>
                  <a:gd name="connsiteY3" fmla="*/ 86052 h 133310"/>
                  <a:gd name="connsiteX4" fmla="*/ 43820 w 129519"/>
                  <a:gd name="connsiteY4" fmla="*/ 85171 h 133310"/>
                  <a:gd name="connsiteX5" fmla="*/ 43467 w 129519"/>
                  <a:gd name="connsiteY5" fmla="*/ 85788 h 133310"/>
                  <a:gd name="connsiteX6" fmla="*/ 41703 w 129519"/>
                  <a:gd name="connsiteY6" fmla="*/ 84906 h 133310"/>
                  <a:gd name="connsiteX7" fmla="*/ 40293 w 129519"/>
                  <a:gd name="connsiteY7" fmla="*/ 84906 h 133310"/>
                  <a:gd name="connsiteX8" fmla="*/ 39676 w 129519"/>
                  <a:gd name="connsiteY8" fmla="*/ 84553 h 133310"/>
                  <a:gd name="connsiteX9" fmla="*/ 39059 w 129519"/>
                  <a:gd name="connsiteY9" fmla="*/ 85171 h 133310"/>
                  <a:gd name="connsiteX10" fmla="*/ 38794 w 129519"/>
                  <a:gd name="connsiteY10" fmla="*/ 85435 h 133310"/>
                  <a:gd name="connsiteX11" fmla="*/ 38794 w 129519"/>
                  <a:gd name="connsiteY11" fmla="*/ 85788 h 133310"/>
                  <a:gd name="connsiteX12" fmla="*/ 38530 w 129519"/>
                  <a:gd name="connsiteY12" fmla="*/ 86934 h 133310"/>
                  <a:gd name="connsiteX13" fmla="*/ 37912 w 129519"/>
                  <a:gd name="connsiteY13" fmla="*/ 87816 h 133310"/>
                  <a:gd name="connsiteX14" fmla="*/ 36766 w 129519"/>
                  <a:gd name="connsiteY14" fmla="*/ 89579 h 133310"/>
                  <a:gd name="connsiteX15" fmla="*/ 36149 w 129519"/>
                  <a:gd name="connsiteY15" fmla="*/ 89226 h 133310"/>
                  <a:gd name="connsiteX16" fmla="*/ 34474 w 129519"/>
                  <a:gd name="connsiteY16" fmla="*/ 89844 h 133310"/>
                  <a:gd name="connsiteX17" fmla="*/ 33857 w 129519"/>
                  <a:gd name="connsiteY17" fmla="*/ 89579 h 133310"/>
                  <a:gd name="connsiteX18" fmla="*/ 33239 w 129519"/>
                  <a:gd name="connsiteY18" fmla="*/ 89226 h 133310"/>
                  <a:gd name="connsiteX19" fmla="*/ 32975 w 129519"/>
                  <a:gd name="connsiteY19" fmla="*/ 88345 h 133310"/>
                  <a:gd name="connsiteX20" fmla="*/ 32358 w 129519"/>
                  <a:gd name="connsiteY20" fmla="*/ 88080 h 133310"/>
                  <a:gd name="connsiteX21" fmla="*/ 32093 w 129519"/>
                  <a:gd name="connsiteY21" fmla="*/ 87551 h 133310"/>
                  <a:gd name="connsiteX22" fmla="*/ 31476 w 129519"/>
                  <a:gd name="connsiteY22" fmla="*/ 87199 h 133310"/>
                  <a:gd name="connsiteX23" fmla="*/ 30947 w 129519"/>
                  <a:gd name="connsiteY23" fmla="*/ 87816 h 133310"/>
                  <a:gd name="connsiteX24" fmla="*/ 31476 w 129519"/>
                  <a:gd name="connsiteY24" fmla="*/ 90108 h 133310"/>
                  <a:gd name="connsiteX25" fmla="*/ 30330 w 129519"/>
                  <a:gd name="connsiteY25" fmla="*/ 92489 h 133310"/>
                  <a:gd name="connsiteX26" fmla="*/ 30330 w 129519"/>
                  <a:gd name="connsiteY26" fmla="*/ 93370 h 133310"/>
                  <a:gd name="connsiteX27" fmla="*/ 29801 w 129519"/>
                  <a:gd name="connsiteY27" fmla="*/ 93635 h 133310"/>
                  <a:gd name="connsiteX28" fmla="*/ 28037 w 129519"/>
                  <a:gd name="connsiteY28" fmla="*/ 93899 h 133310"/>
                  <a:gd name="connsiteX29" fmla="*/ 27420 w 129519"/>
                  <a:gd name="connsiteY29" fmla="*/ 93635 h 133310"/>
                  <a:gd name="connsiteX30" fmla="*/ 26891 w 129519"/>
                  <a:gd name="connsiteY30" fmla="*/ 93899 h 133310"/>
                  <a:gd name="connsiteX31" fmla="*/ 26274 w 129519"/>
                  <a:gd name="connsiteY31" fmla="*/ 93635 h 133310"/>
                  <a:gd name="connsiteX32" fmla="*/ 25657 w 129519"/>
                  <a:gd name="connsiteY32" fmla="*/ 93899 h 133310"/>
                  <a:gd name="connsiteX33" fmla="*/ 26010 w 129519"/>
                  <a:gd name="connsiteY33" fmla="*/ 94517 h 133310"/>
                  <a:gd name="connsiteX34" fmla="*/ 25392 w 129519"/>
                  <a:gd name="connsiteY34" fmla="*/ 95663 h 133310"/>
                  <a:gd name="connsiteX35" fmla="*/ 26010 w 129519"/>
                  <a:gd name="connsiteY35" fmla="*/ 96280 h 133310"/>
                  <a:gd name="connsiteX36" fmla="*/ 28302 w 129519"/>
                  <a:gd name="connsiteY36" fmla="*/ 96809 h 133310"/>
                  <a:gd name="connsiteX37" fmla="*/ 30594 w 129519"/>
                  <a:gd name="connsiteY37" fmla="*/ 98043 h 133310"/>
                  <a:gd name="connsiteX38" fmla="*/ 30947 w 129519"/>
                  <a:gd name="connsiteY38" fmla="*/ 99718 h 133310"/>
                  <a:gd name="connsiteX39" fmla="*/ 31211 w 129519"/>
                  <a:gd name="connsiteY39" fmla="*/ 100953 h 133310"/>
                  <a:gd name="connsiteX40" fmla="*/ 31476 w 129519"/>
                  <a:gd name="connsiteY40" fmla="*/ 101217 h 133310"/>
                  <a:gd name="connsiteX41" fmla="*/ 32358 w 129519"/>
                  <a:gd name="connsiteY41" fmla="*/ 100953 h 133310"/>
                  <a:gd name="connsiteX42" fmla="*/ 32975 w 129519"/>
                  <a:gd name="connsiteY42" fmla="*/ 101482 h 133310"/>
                  <a:gd name="connsiteX43" fmla="*/ 34474 w 129519"/>
                  <a:gd name="connsiteY43" fmla="*/ 102099 h 133310"/>
                  <a:gd name="connsiteX44" fmla="*/ 35003 w 129519"/>
                  <a:gd name="connsiteY44" fmla="*/ 103862 h 133310"/>
                  <a:gd name="connsiteX45" fmla="*/ 38265 w 129519"/>
                  <a:gd name="connsiteY45" fmla="*/ 107389 h 133310"/>
                  <a:gd name="connsiteX46" fmla="*/ 39059 w 129519"/>
                  <a:gd name="connsiteY46" fmla="*/ 109946 h 133310"/>
                  <a:gd name="connsiteX47" fmla="*/ 39411 w 129519"/>
                  <a:gd name="connsiteY47" fmla="*/ 109946 h 133310"/>
                  <a:gd name="connsiteX48" fmla="*/ 39940 w 129519"/>
                  <a:gd name="connsiteY48" fmla="*/ 111180 h 133310"/>
                  <a:gd name="connsiteX49" fmla="*/ 39411 w 129519"/>
                  <a:gd name="connsiteY49" fmla="*/ 111445 h 133310"/>
                  <a:gd name="connsiteX50" fmla="*/ 38530 w 129519"/>
                  <a:gd name="connsiteY50" fmla="*/ 111180 h 133310"/>
                  <a:gd name="connsiteX51" fmla="*/ 38265 w 129519"/>
                  <a:gd name="connsiteY51" fmla="*/ 112327 h 133310"/>
                  <a:gd name="connsiteX52" fmla="*/ 37648 w 129519"/>
                  <a:gd name="connsiteY52" fmla="*/ 112856 h 133310"/>
                  <a:gd name="connsiteX53" fmla="*/ 36149 w 129519"/>
                  <a:gd name="connsiteY53" fmla="*/ 113737 h 133310"/>
                  <a:gd name="connsiteX54" fmla="*/ 35884 w 129519"/>
                  <a:gd name="connsiteY54" fmla="*/ 114090 h 133310"/>
                  <a:gd name="connsiteX55" fmla="*/ 36149 w 129519"/>
                  <a:gd name="connsiteY55" fmla="*/ 114619 h 133310"/>
                  <a:gd name="connsiteX56" fmla="*/ 37912 w 129519"/>
                  <a:gd name="connsiteY56" fmla="*/ 116118 h 133310"/>
                  <a:gd name="connsiteX57" fmla="*/ 39059 w 129519"/>
                  <a:gd name="connsiteY57" fmla="*/ 117264 h 133310"/>
                  <a:gd name="connsiteX58" fmla="*/ 39411 w 129519"/>
                  <a:gd name="connsiteY58" fmla="*/ 119027 h 133310"/>
                  <a:gd name="connsiteX59" fmla="*/ 39059 w 129519"/>
                  <a:gd name="connsiteY59" fmla="*/ 117881 h 133310"/>
                  <a:gd name="connsiteX60" fmla="*/ 39411 w 129519"/>
                  <a:gd name="connsiteY60" fmla="*/ 119027 h 133310"/>
                  <a:gd name="connsiteX61" fmla="*/ 39940 w 129519"/>
                  <a:gd name="connsiteY61" fmla="*/ 119292 h 133310"/>
                  <a:gd name="connsiteX62" fmla="*/ 39411 w 129519"/>
                  <a:gd name="connsiteY62" fmla="*/ 120791 h 133310"/>
                  <a:gd name="connsiteX63" fmla="*/ 39940 w 129519"/>
                  <a:gd name="connsiteY63" fmla="*/ 120791 h 133310"/>
                  <a:gd name="connsiteX64" fmla="*/ 40557 w 129519"/>
                  <a:gd name="connsiteY64" fmla="*/ 121937 h 133310"/>
                  <a:gd name="connsiteX65" fmla="*/ 41439 w 129519"/>
                  <a:gd name="connsiteY65" fmla="*/ 123083 h 133310"/>
                  <a:gd name="connsiteX66" fmla="*/ 42585 w 129519"/>
                  <a:gd name="connsiteY66" fmla="*/ 122466 h 133310"/>
                  <a:gd name="connsiteX67" fmla="*/ 43467 w 129519"/>
                  <a:gd name="connsiteY67" fmla="*/ 123083 h 133310"/>
                  <a:gd name="connsiteX68" fmla="*/ 44613 w 129519"/>
                  <a:gd name="connsiteY68" fmla="*/ 124582 h 133310"/>
                  <a:gd name="connsiteX69" fmla="*/ 44966 w 129519"/>
                  <a:gd name="connsiteY69" fmla="*/ 123965 h 133310"/>
                  <a:gd name="connsiteX70" fmla="*/ 45495 w 129519"/>
                  <a:gd name="connsiteY70" fmla="*/ 122466 h 133310"/>
                  <a:gd name="connsiteX71" fmla="*/ 45495 w 129519"/>
                  <a:gd name="connsiteY71" fmla="*/ 121937 h 133310"/>
                  <a:gd name="connsiteX72" fmla="*/ 44349 w 129519"/>
                  <a:gd name="connsiteY72" fmla="*/ 120791 h 133310"/>
                  <a:gd name="connsiteX73" fmla="*/ 44966 w 129519"/>
                  <a:gd name="connsiteY73" fmla="*/ 119556 h 133310"/>
                  <a:gd name="connsiteX74" fmla="*/ 45230 w 129519"/>
                  <a:gd name="connsiteY74" fmla="*/ 117881 h 133310"/>
                  <a:gd name="connsiteX75" fmla="*/ 46376 w 129519"/>
                  <a:gd name="connsiteY75" fmla="*/ 116647 h 133310"/>
                  <a:gd name="connsiteX76" fmla="*/ 48404 w 129519"/>
                  <a:gd name="connsiteY76" fmla="*/ 117264 h 133310"/>
                  <a:gd name="connsiteX77" fmla="*/ 49551 w 129519"/>
                  <a:gd name="connsiteY77" fmla="*/ 117264 h 133310"/>
                  <a:gd name="connsiteX78" fmla="*/ 50168 w 129519"/>
                  <a:gd name="connsiteY78" fmla="*/ 119027 h 133310"/>
                  <a:gd name="connsiteX79" fmla="*/ 48404 w 129519"/>
                  <a:gd name="connsiteY79" fmla="*/ 119909 h 133310"/>
                  <a:gd name="connsiteX80" fmla="*/ 49903 w 129519"/>
                  <a:gd name="connsiteY80" fmla="*/ 120791 h 133310"/>
                  <a:gd name="connsiteX81" fmla="*/ 50785 w 129519"/>
                  <a:gd name="connsiteY81" fmla="*/ 120438 h 133310"/>
                  <a:gd name="connsiteX82" fmla="*/ 52196 w 129519"/>
                  <a:gd name="connsiteY82" fmla="*/ 120791 h 133310"/>
                  <a:gd name="connsiteX83" fmla="*/ 53430 w 129519"/>
                  <a:gd name="connsiteY83" fmla="*/ 121937 h 133310"/>
                  <a:gd name="connsiteX84" fmla="*/ 53695 w 129519"/>
                  <a:gd name="connsiteY84" fmla="*/ 124582 h 133310"/>
                  <a:gd name="connsiteX85" fmla="*/ 53695 w 129519"/>
                  <a:gd name="connsiteY85" fmla="*/ 124846 h 133310"/>
                  <a:gd name="connsiteX86" fmla="*/ 54576 w 129519"/>
                  <a:gd name="connsiteY86" fmla="*/ 124846 h 133310"/>
                  <a:gd name="connsiteX87" fmla="*/ 54841 w 129519"/>
                  <a:gd name="connsiteY87" fmla="*/ 125728 h 133310"/>
                  <a:gd name="connsiteX88" fmla="*/ 55105 w 129519"/>
                  <a:gd name="connsiteY88" fmla="*/ 127492 h 133310"/>
                  <a:gd name="connsiteX89" fmla="*/ 54841 w 129519"/>
                  <a:gd name="connsiteY89" fmla="*/ 128021 h 133310"/>
                  <a:gd name="connsiteX90" fmla="*/ 55105 w 129519"/>
                  <a:gd name="connsiteY90" fmla="*/ 128638 h 133310"/>
                  <a:gd name="connsiteX91" fmla="*/ 55458 w 129519"/>
                  <a:gd name="connsiteY91" fmla="*/ 130048 h 133310"/>
                  <a:gd name="connsiteX92" fmla="*/ 54576 w 129519"/>
                  <a:gd name="connsiteY92" fmla="*/ 129519 h 133310"/>
                  <a:gd name="connsiteX93" fmla="*/ 53959 w 129519"/>
                  <a:gd name="connsiteY93" fmla="*/ 130048 h 133310"/>
                  <a:gd name="connsiteX94" fmla="*/ 54311 w 129519"/>
                  <a:gd name="connsiteY94" fmla="*/ 130666 h 133310"/>
                  <a:gd name="connsiteX95" fmla="*/ 55458 w 129519"/>
                  <a:gd name="connsiteY95" fmla="*/ 131283 h 133310"/>
                  <a:gd name="connsiteX96" fmla="*/ 56339 w 129519"/>
                  <a:gd name="connsiteY96" fmla="*/ 131812 h 133310"/>
                  <a:gd name="connsiteX97" fmla="*/ 56868 w 129519"/>
                  <a:gd name="connsiteY97" fmla="*/ 133311 h 133310"/>
                  <a:gd name="connsiteX98" fmla="*/ 57486 w 129519"/>
                  <a:gd name="connsiteY98" fmla="*/ 133311 h 133310"/>
                  <a:gd name="connsiteX99" fmla="*/ 57221 w 129519"/>
                  <a:gd name="connsiteY99" fmla="*/ 131812 h 133310"/>
                  <a:gd name="connsiteX100" fmla="*/ 58015 w 129519"/>
                  <a:gd name="connsiteY100" fmla="*/ 131283 h 133310"/>
                  <a:gd name="connsiteX101" fmla="*/ 57750 w 129519"/>
                  <a:gd name="connsiteY101" fmla="*/ 130401 h 133310"/>
                  <a:gd name="connsiteX102" fmla="*/ 56604 w 129519"/>
                  <a:gd name="connsiteY102" fmla="*/ 130048 h 133310"/>
                  <a:gd name="connsiteX103" fmla="*/ 56339 w 129519"/>
                  <a:gd name="connsiteY103" fmla="*/ 128373 h 133310"/>
                  <a:gd name="connsiteX104" fmla="*/ 56868 w 129519"/>
                  <a:gd name="connsiteY104" fmla="*/ 127756 h 133310"/>
                  <a:gd name="connsiteX105" fmla="*/ 57750 w 129519"/>
                  <a:gd name="connsiteY105" fmla="*/ 128373 h 133310"/>
                  <a:gd name="connsiteX106" fmla="*/ 58015 w 129519"/>
                  <a:gd name="connsiteY106" fmla="*/ 127139 h 133310"/>
                  <a:gd name="connsiteX107" fmla="*/ 57750 w 129519"/>
                  <a:gd name="connsiteY107" fmla="*/ 125728 h 133310"/>
                  <a:gd name="connsiteX108" fmla="*/ 57486 w 129519"/>
                  <a:gd name="connsiteY108" fmla="*/ 124582 h 133310"/>
                  <a:gd name="connsiteX109" fmla="*/ 58015 w 129519"/>
                  <a:gd name="connsiteY109" fmla="*/ 123965 h 133310"/>
                  <a:gd name="connsiteX110" fmla="*/ 57486 w 129519"/>
                  <a:gd name="connsiteY110" fmla="*/ 123083 h 133310"/>
                  <a:gd name="connsiteX111" fmla="*/ 58632 w 129519"/>
                  <a:gd name="connsiteY111" fmla="*/ 123083 h 133310"/>
                  <a:gd name="connsiteX112" fmla="*/ 58896 w 129519"/>
                  <a:gd name="connsiteY112" fmla="*/ 122466 h 133310"/>
                  <a:gd name="connsiteX113" fmla="*/ 61277 w 129519"/>
                  <a:gd name="connsiteY113" fmla="*/ 122466 h 133310"/>
                  <a:gd name="connsiteX114" fmla="*/ 61806 w 129519"/>
                  <a:gd name="connsiteY114" fmla="*/ 122466 h 133310"/>
                  <a:gd name="connsiteX115" fmla="*/ 63305 w 129519"/>
                  <a:gd name="connsiteY115" fmla="*/ 124582 h 133310"/>
                  <a:gd name="connsiteX116" fmla="*/ 63305 w 129519"/>
                  <a:gd name="connsiteY116" fmla="*/ 125728 h 133310"/>
                  <a:gd name="connsiteX117" fmla="*/ 64451 w 129519"/>
                  <a:gd name="connsiteY117" fmla="*/ 126345 h 133310"/>
                  <a:gd name="connsiteX118" fmla="*/ 64804 w 129519"/>
                  <a:gd name="connsiteY118" fmla="*/ 127492 h 133310"/>
                  <a:gd name="connsiteX119" fmla="*/ 66832 w 129519"/>
                  <a:gd name="connsiteY119" fmla="*/ 128638 h 133310"/>
                  <a:gd name="connsiteX120" fmla="*/ 67096 w 129519"/>
                  <a:gd name="connsiteY120" fmla="*/ 130666 h 133310"/>
                  <a:gd name="connsiteX121" fmla="*/ 68242 w 129519"/>
                  <a:gd name="connsiteY121" fmla="*/ 130401 h 133310"/>
                  <a:gd name="connsiteX122" fmla="*/ 69388 w 129519"/>
                  <a:gd name="connsiteY122" fmla="*/ 132429 h 133310"/>
                  <a:gd name="connsiteX123" fmla="*/ 73268 w 129519"/>
                  <a:gd name="connsiteY123" fmla="*/ 132164 h 133310"/>
                  <a:gd name="connsiteX124" fmla="*/ 72386 w 129519"/>
                  <a:gd name="connsiteY124" fmla="*/ 130930 h 133310"/>
                  <a:gd name="connsiteX125" fmla="*/ 69741 w 129519"/>
                  <a:gd name="connsiteY125" fmla="*/ 130666 h 133310"/>
                  <a:gd name="connsiteX126" fmla="*/ 70270 w 129519"/>
                  <a:gd name="connsiteY126" fmla="*/ 129519 h 133310"/>
                  <a:gd name="connsiteX127" fmla="*/ 69388 w 129519"/>
                  <a:gd name="connsiteY127" fmla="*/ 128373 h 133310"/>
                  <a:gd name="connsiteX128" fmla="*/ 67978 w 129519"/>
                  <a:gd name="connsiteY128" fmla="*/ 128638 h 133310"/>
                  <a:gd name="connsiteX129" fmla="*/ 67978 w 129519"/>
                  <a:gd name="connsiteY129" fmla="*/ 127492 h 133310"/>
                  <a:gd name="connsiteX130" fmla="*/ 68242 w 129519"/>
                  <a:gd name="connsiteY130" fmla="*/ 125464 h 133310"/>
                  <a:gd name="connsiteX131" fmla="*/ 67361 w 129519"/>
                  <a:gd name="connsiteY131" fmla="*/ 124846 h 133310"/>
                  <a:gd name="connsiteX132" fmla="*/ 67713 w 129519"/>
                  <a:gd name="connsiteY132" fmla="*/ 123700 h 133310"/>
                  <a:gd name="connsiteX133" fmla="*/ 69124 w 129519"/>
                  <a:gd name="connsiteY133" fmla="*/ 123083 h 133310"/>
                  <a:gd name="connsiteX134" fmla="*/ 67713 w 129519"/>
                  <a:gd name="connsiteY134" fmla="*/ 123083 h 133310"/>
                  <a:gd name="connsiteX135" fmla="*/ 67713 w 129519"/>
                  <a:gd name="connsiteY135" fmla="*/ 121937 h 133310"/>
                  <a:gd name="connsiteX136" fmla="*/ 67361 w 129519"/>
                  <a:gd name="connsiteY136" fmla="*/ 121055 h 133310"/>
                  <a:gd name="connsiteX137" fmla="*/ 67713 w 129519"/>
                  <a:gd name="connsiteY137" fmla="*/ 120438 h 133310"/>
                  <a:gd name="connsiteX138" fmla="*/ 67096 w 129519"/>
                  <a:gd name="connsiteY138" fmla="*/ 119909 h 133310"/>
                  <a:gd name="connsiteX139" fmla="*/ 67096 w 129519"/>
                  <a:gd name="connsiteY139" fmla="*/ 119027 h 133310"/>
                  <a:gd name="connsiteX140" fmla="*/ 67096 w 129519"/>
                  <a:gd name="connsiteY140" fmla="*/ 117881 h 133310"/>
                  <a:gd name="connsiteX141" fmla="*/ 67096 w 129519"/>
                  <a:gd name="connsiteY141" fmla="*/ 116647 h 133310"/>
                  <a:gd name="connsiteX142" fmla="*/ 65950 w 129519"/>
                  <a:gd name="connsiteY142" fmla="*/ 114883 h 133310"/>
                  <a:gd name="connsiteX143" fmla="*/ 65685 w 129519"/>
                  <a:gd name="connsiteY143" fmla="*/ 114090 h 133310"/>
                  <a:gd name="connsiteX144" fmla="*/ 64187 w 129519"/>
                  <a:gd name="connsiteY144" fmla="*/ 113737 h 133310"/>
                  <a:gd name="connsiteX145" fmla="*/ 63569 w 129519"/>
                  <a:gd name="connsiteY145" fmla="*/ 112856 h 133310"/>
                  <a:gd name="connsiteX146" fmla="*/ 63305 w 129519"/>
                  <a:gd name="connsiteY146" fmla="*/ 111445 h 133310"/>
                  <a:gd name="connsiteX147" fmla="*/ 62159 w 129519"/>
                  <a:gd name="connsiteY147" fmla="*/ 109681 h 133310"/>
                  <a:gd name="connsiteX148" fmla="*/ 60660 w 129519"/>
                  <a:gd name="connsiteY148" fmla="*/ 108535 h 133310"/>
                  <a:gd name="connsiteX149" fmla="*/ 60660 w 129519"/>
                  <a:gd name="connsiteY149" fmla="*/ 107654 h 133310"/>
                  <a:gd name="connsiteX150" fmla="*/ 59778 w 129519"/>
                  <a:gd name="connsiteY150" fmla="*/ 105273 h 133310"/>
                  <a:gd name="connsiteX151" fmla="*/ 59778 w 129519"/>
                  <a:gd name="connsiteY151" fmla="*/ 104744 h 133310"/>
                  <a:gd name="connsiteX152" fmla="*/ 59514 w 129519"/>
                  <a:gd name="connsiteY152" fmla="*/ 103598 h 133310"/>
                  <a:gd name="connsiteX153" fmla="*/ 60395 w 129519"/>
                  <a:gd name="connsiteY153" fmla="*/ 102628 h 133310"/>
                  <a:gd name="connsiteX154" fmla="*/ 60924 w 129519"/>
                  <a:gd name="connsiteY154" fmla="*/ 102981 h 133310"/>
                  <a:gd name="connsiteX155" fmla="*/ 61541 w 129519"/>
                  <a:gd name="connsiteY155" fmla="*/ 103862 h 133310"/>
                  <a:gd name="connsiteX156" fmla="*/ 61541 w 129519"/>
                  <a:gd name="connsiteY156" fmla="*/ 104744 h 133310"/>
                  <a:gd name="connsiteX157" fmla="*/ 62159 w 129519"/>
                  <a:gd name="connsiteY157" fmla="*/ 105009 h 133310"/>
                  <a:gd name="connsiteX158" fmla="*/ 62776 w 129519"/>
                  <a:gd name="connsiteY158" fmla="*/ 104744 h 133310"/>
                  <a:gd name="connsiteX159" fmla="*/ 62776 w 129519"/>
                  <a:gd name="connsiteY159" fmla="*/ 103862 h 133310"/>
                  <a:gd name="connsiteX160" fmla="*/ 63040 w 129519"/>
                  <a:gd name="connsiteY160" fmla="*/ 103598 h 133310"/>
                  <a:gd name="connsiteX161" fmla="*/ 64451 w 129519"/>
                  <a:gd name="connsiteY161" fmla="*/ 103598 h 133310"/>
                  <a:gd name="connsiteX162" fmla="*/ 64804 w 129519"/>
                  <a:gd name="connsiteY162" fmla="*/ 103862 h 133310"/>
                  <a:gd name="connsiteX163" fmla="*/ 64804 w 129519"/>
                  <a:gd name="connsiteY163" fmla="*/ 104744 h 133310"/>
                  <a:gd name="connsiteX164" fmla="*/ 65333 w 129519"/>
                  <a:gd name="connsiteY164" fmla="*/ 105009 h 133310"/>
                  <a:gd name="connsiteX165" fmla="*/ 65950 w 129519"/>
                  <a:gd name="connsiteY165" fmla="*/ 106507 h 133310"/>
                  <a:gd name="connsiteX166" fmla="*/ 66214 w 129519"/>
                  <a:gd name="connsiteY166" fmla="*/ 107389 h 133310"/>
                  <a:gd name="connsiteX167" fmla="*/ 67096 w 129519"/>
                  <a:gd name="connsiteY167" fmla="*/ 107654 h 133310"/>
                  <a:gd name="connsiteX168" fmla="*/ 67978 w 129519"/>
                  <a:gd name="connsiteY168" fmla="*/ 107389 h 133310"/>
                  <a:gd name="connsiteX169" fmla="*/ 67978 w 129519"/>
                  <a:gd name="connsiteY169" fmla="*/ 107654 h 133310"/>
                  <a:gd name="connsiteX170" fmla="*/ 68242 w 129519"/>
                  <a:gd name="connsiteY170" fmla="*/ 108183 h 133310"/>
                  <a:gd name="connsiteX171" fmla="*/ 67978 w 129519"/>
                  <a:gd name="connsiteY171" fmla="*/ 108535 h 133310"/>
                  <a:gd name="connsiteX172" fmla="*/ 67713 w 129519"/>
                  <a:gd name="connsiteY172" fmla="*/ 108800 h 133310"/>
                  <a:gd name="connsiteX173" fmla="*/ 66832 w 129519"/>
                  <a:gd name="connsiteY173" fmla="*/ 108183 h 133310"/>
                  <a:gd name="connsiteX174" fmla="*/ 66214 w 129519"/>
                  <a:gd name="connsiteY174" fmla="*/ 108535 h 133310"/>
                  <a:gd name="connsiteX175" fmla="*/ 66214 w 129519"/>
                  <a:gd name="connsiteY175" fmla="*/ 109064 h 133310"/>
                  <a:gd name="connsiteX176" fmla="*/ 66832 w 129519"/>
                  <a:gd name="connsiteY176" fmla="*/ 109417 h 133310"/>
                  <a:gd name="connsiteX177" fmla="*/ 67978 w 129519"/>
                  <a:gd name="connsiteY177" fmla="*/ 109681 h 133310"/>
                  <a:gd name="connsiteX178" fmla="*/ 68242 w 129519"/>
                  <a:gd name="connsiteY178" fmla="*/ 110299 h 133310"/>
                  <a:gd name="connsiteX179" fmla="*/ 67978 w 129519"/>
                  <a:gd name="connsiteY179" fmla="*/ 109681 h 133310"/>
                  <a:gd name="connsiteX180" fmla="*/ 68242 w 129519"/>
                  <a:gd name="connsiteY180" fmla="*/ 111180 h 133310"/>
                  <a:gd name="connsiteX181" fmla="*/ 68859 w 129519"/>
                  <a:gd name="connsiteY181" fmla="*/ 111445 h 133310"/>
                  <a:gd name="connsiteX182" fmla="*/ 70005 w 129519"/>
                  <a:gd name="connsiteY182" fmla="*/ 111180 h 133310"/>
                  <a:gd name="connsiteX183" fmla="*/ 71152 w 129519"/>
                  <a:gd name="connsiteY183" fmla="*/ 111445 h 133310"/>
                  <a:gd name="connsiteX184" fmla="*/ 71152 w 129519"/>
                  <a:gd name="connsiteY184" fmla="*/ 111180 h 133310"/>
                  <a:gd name="connsiteX185" fmla="*/ 71152 w 129519"/>
                  <a:gd name="connsiteY185" fmla="*/ 110299 h 133310"/>
                  <a:gd name="connsiteX186" fmla="*/ 70005 w 129519"/>
                  <a:gd name="connsiteY186" fmla="*/ 109681 h 133310"/>
                  <a:gd name="connsiteX187" fmla="*/ 70270 w 129519"/>
                  <a:gd name="connsiteY187" fmla="*/ 109417 h 133310"/>
                  <a:gd name="connsiteX188" fmla="*/ 72033 w 129519"/>
                  <a:gd name="connsiteY188" fmla="*/ 109681 h 133310"/>
                  <a:gd name="connsiteX189" fmla="*/ 72386 w 129519"/>
                  <a:gd name="connsiteY189" fmla="*/ 109417 h 133310"/>
                  <a:gd name="connsiteX190" fmla="*/ 71769 w 129519"/>
                  <a:gd name="connsiteY190" fmla="*/ 109064 h 133310"/>
                  <a:gd name="connsiteX191" fmla="*/ 71769 w 129519"/>
                  <a:gd name="connsiteY191" fmla="*/ 108535 h 133310"/>
                  <a:gd name="connsiteX192" fmla="*/ 72033 w 129519"/>
                  <a:gd name="connsiteY192" fmla="*/ 108183 h 133310"/>
                  <a:gd name="connsiteX193" fmla="*/ 72915 w 129519"/>
                  <a:gd name="connsiteY193" fmla="*/ 108535 h 133310"/>
                  <a:gd name="connsiteX194" fmla="*/ 74149 w 129519"/>
                  <a:gd name="connsiteY194" fmla="*/ 108535 h 133310"/>
                  <a:gd name="connsiteX195" fmla="*/ 74149 w 129519"/>
                  <a:gd name="connsiteY195" fmla="*/ 107654 h 133310"/>
                  <a:gd name="connsiteX196" fmla="*/ 76177 w 129519"/>
                  <a:gd name="connsiteY196" fmla="*/ 107654 h 133310"/>
                  <a:gd name="connsiteX197" fmla="*/ 76442 w 129519"/>
                  <a:gd name="connsiteY197" fmla="*/ 107389 h 133310"/>
                  <a:gd name="connsiteX198" fmla="*/ 76706 w 129519"/>
                  <a:gd name="connsiteY198" fmla="*/ 106155 h 133310"/>
                  <a:gd name="connsiteX199" fmla="*/ 76442 w 129519"/>
                  <a:gd name="connsiteY199" fmla="*/ 105890 h 133310"/>
                  <a:gd name="connsiteX200" fmla="*/ 75560 w 129519"/>
                  <a:gd name="connsiteY200" fmla="*/ 105273 h 133310"/>
                  <a:gd name="connsiteX201" fmla="*/ 75296 w 129519"/>
                  <a:gd name="connsiteY201" fmla="*/ 105273 h 133310"/>
                  <a:gd name="connsiteX202" fmla="*/ 73797 w 129519"/>
                  <a:gd name="connsiteY202" fmla="*/ 104744 h 133310"/>
                  <a:gd name="connsiteX203" fmla="*/ 74414 w 129519"/>
                  <a:gd name="connsiteY203" fmla="*/ 103862 h 133310"/>
                  <a:gd name="connsiteX204" fmla="*/ 74414 w 129519"/>
                  <a:gd name="connsiteY204" fmla="*/ 102981 h 133310"/>
                  <a:gd name="connsiteX205" fmla="*/ 74149 w 129519"/>
                  <a:gd name="connsiteY205" fmla="*/ 102099 h 133310"/>
                  <a:gd name="connsiteX206" fmla="*/ 73532 w 129519"/>
                  <a:gd name="connsiteY206" fmla="*/ 101482 h 133310"/>
                  <a:gd name="connsiteX207" fmla="*/ 72651 w 129519"/>
                  <a:gd name="connsiteY207" fmla="*/ 101482 h 133310"/>
                  <a:gd name="connsiteX208" fmla="*/ 72386 w 129519"/>
                  <a:gd name="connsiteY208" fmla="*/ 102099 h 133310"/>
                  <a:gd name="connsiteX209" fmla="*/ 73797 w 129519"/>
                  <a:gd name="connsiteY209" fmla="*/ 103862 h 133310"/>
                  <a:gd name="connsiteX210" fmla="*/ 73532 w 129519"/>
                  <a:gd name="connsiteY210" fmla="*/ 104127 h 133310"/>
                  <a:gd name="connsiteX211" fmla="*/ 72651 w 129519"/>
                  <a:gd name="connsiteY211" fmla="*/ 103862 h 133310"/>
                  <a:gd name="connsiteX212" fmla="*/ 69388 w 129519"/>
                  <a:gd name="connsiteY212" fmla="*/ 102981 h 133310"/>
                  <a:gd name="connsiteX213" fmla="*/ 69388 w 129519"/>
                  <a:gd name="connsiteY213" fmla="*/ 102099 h 133310"/>
                  <a:gd name="connsiteX214" fmla="*/ 69388 w 129519"/>
                  <a:gd name="connsiteY214" fmla="*/ 101482 h 133310"/>
                  <a:gd name="connsiteX215" fmla="*/ 67361 w 129519"/>
                  <a:gd name="connsiteY215" fmla="*/ 100071 h 133310"/>
                  <a:gd name="connsiteX216" fmla="*/ 67713 w 129519"/>
                  <a:gd name="connsiteY216" fmla="*/ 99454 h 133310"/>
                  <a:gd name="connsiteX217" fmla="*/ 67096 w 129519"/>
                  <a:gd name="connsiteY217" fmla="*/ 98837 h 133310"/>
                  <a:gd name="connsiteX218" fmla="*/ 67096 w 129519"/>
                  <a:gd name="connsiteY218" fmla="*/ 98308 h 133310"/>
                  <a:gd name="connsiteX219" fmla="*/ 68242 w 129519"/>
                  <a:gd name="connsiteY219" fmla="*/ 98572 h 133310"/>
                  <a:gd name="connsiteX220" fmla="*/ 68859 w 129519"/>
                  <a:gd name="connsiteY220" fmla="*/ 97691 h 133310"/>
                  <a:gd name="connsiteX221" fmla="*/ 68595 w 129519"/>
                  <a:gd name="connsiteY221" fmla="*/ 96544 h 133310"/>
                  <a:gd name="connsiteX222" fmla="*/ 66832 w 129519"/>
                  <a:gd name="connsiteY222" fmla="*/ 96280 h 133310"/>
                  <a:gd name="connsiteX223" fmla="*/ 65333 w 129519"/>
                  <a:gd name="connsiteY223" fmla="*/ 96280 h 133310"/>
                  <a:gd name="connsiteX224" fmla="*/ 64451 w 129519"/>
                  <a:gd name="connsiteY224" fmla="*/ 95927 h 133310"/>
                  <a:gd name="connsiteX225" fmla="*/ 63922 w 129519"/>
                  <a:gd name="connsiteY225" fmla="*/ 95134 h 133310"/>
                  <a:gd name="connsiteX226" fmla="*/ 64804 w 129519"/>
                  <a:gd name="connsiteY226" fmla="*/ 94781 h 133310"/>
                  <a:gd name="connsiteX227" fmla="*/ 65068 w 129519"/>
                  <a:gd name="connsiteY227" fmla="*/ 95134 h 133310"/>
                  <a:gd name="connsiteX228" fmla="*/ 65068 w 129519"/>
                  <a:gd name="connsiteY228" fmla="*/ 94517 h 133310"/>
                  <a:gd name="connsiteX229" fmla="*/ 65685 w 129519"/>
                  <a:gd name="connsiteY229" fmla="*/ 93899 h 133310"/>
                  <a:gd name="connsiteX230" fmla="*/ 66832 w 129519"/>
                  <a:gd name="connsiteY230" fmla="*/ 94517 h 133310"/>
                  <a:gd name="connsiteX231" fmla="*/ 67713 w 129519"/>
                  <a:gd name="connsiteY231" fmla="*/ 94517 h 133310"/>
                  <a:gd name="connsiteX232" fmla="*/ 69741 w 129519"/>
                  <a:gd name="connsiteY232" fmla="*/ 93899 h 133310"/>
                  <a:gd name="connsiteX233" fmla="*/ 70887 w 129519"/>
                  <a:gd name="connsiteY233" fmla="*/ 93899 h 133310"/>
                  <a:gd name="connsiteX234" fmla="*/ 72915 w 129519"/>
                  <a:gd name="connsiteY234" fmla="*/ 93899 h 133310"/>
                  <a:gd name="connsiteX235" fmla="*/ 73797 w 129519"/>
                  <a:gd name="connsiteY235" fmla="*/ 93370 h 133310"/>
                  <a:gd name="connsiteX236" fmla="*/ 72915 w 129519"/>
                  <a:gd name="connsiteY236" fmla="*/ 93018 h 133310"/>
                  <a:gd name="connsiteX237" fmla="*/ 74149 w 129519"/>
                  <a:gd name="connsiteY237" fmla="*/ 92489 h 133310"/>
                  <a:gd name="connsiteX238" fmla="*/ 75825 w 129519"/>
                  <a:gd name="connsiteY238" fmla="*/ 91607 h 133310"/>
                  <a:gd name="connsiteX239" fmla="*/ 76442 w 129519"/>
                  <a:gd name="connsiteY239" fmla="*/ 91871 h 133310"/>
                  <a:gd name="connsiteX240" fmla="*/ 76971 w 129519"/>
                  <a:gd name="connsiteY240" fmla="*/ 92136 h 133310"/>
                  <a:gd name="connsiteX241" fmla="*/ 76706 w 129519"/>
                  <a:gd name="connsiteY241" fmla="*/ 92753 h 133310"/>
                  <a:gd name="connsiteX242" fmla="*/ 75296 w 129519"/>
                  <a:gd name="connsiteY242" fmla="*/ 93018 h 133310"/>
                  <a:gd name="connsiteX243" fmla="*/ 76177 w 129519"/>
                  <a:gd name="connsiteY243" fmla="*/ 93370 h 133310"/>
                  <a:gd name="connsiteX244" fmla="*/ 76442 w 129519"/>
                  <a:gd name="connsiteY244" fmla="*/ 93899 h 133310"/>
                  <a:gd name="connsiteX245" fmla="*/ 76971 w 129519"/>
                  <a:gd name="connsiteY245" fmla="*/ 94252 h 133310"/>
                  <a:gd name="connsiteX246" fmla="*/ 76971 w 129519"/>
                  <a:gd name="connsiteY246" fmla="*/ 93899 h 133310"/>
                  <a:gd name="connsiteX247" fmla="*/ 78734 w 129519"/>
                  <a:gd name="connsiteY247" fmla="*/ 94252 h 133310"/>
                  <a:gd name="connsiteX248" fmla="*/ 76971 w 129519"/>
                  <a:gd name="connsiteY248" fmla="*/ 93899 h 133310"/>
                  <a:gd name="connsiteX249" fmla="*/ 78470 w 129519"/>
                  <a:gd name="connsiteY249" fmla="*/ 94252 h 133310"/>
                  <a:gd name="connsiteX250" fmla="*/ 80233 w 129519"/>
                  <a:gd name="connsiteY250" fmla="*/ 96280 h 133310"/>
                  <a:gd name="connsiteX251" fmla="*/ 80498 w 129519"/>
                  <a:gd name="connsiteY251" fmla="*/ 96809 h 133310"/>
                  <a:gd name="connsiteX252" fmla="*/ 81732 w 129519"/>
                  <a:gd name="connsiteY252" fmla="*/ 97691 h 133310"/>
                  <a:gd name="connsiteX253" fmla="*/ 82261 w 129519"/>
                  <a:gd name="connsiteY253" fmla="*/ 96809 h 133310"/>
                  <a:gd name="connsiteX254" fmla="*/ 82878 w 129519"/>
                  <a:gd name="connsiteY254" fmla="*/ 98308 h 133310"/>
                  <a:gd name="connsiteX255" fmla="*/ 82878 w 129519"/>
                  <a:gd name="connsiteY255" fmla="*/ 98837 h 133310"/>
                  <a:gd name="connsiteX256" fmla="*/ 84641 w 129519"/>
                  <a:gd name="connsiteY256" fmla="*/ 99718 h 133310"/>
                  <a:gd name="connsiteX257" fmla="*/ 85170 w 129519"/>
                  <a:gd name="connsiteY257" fmla="*/ 100953 h 133310"/>
                  <a:gd name="connsiteX258" fmla="*/ 86317 w 129519"/>
                  <a:gd name="connsiteY258" fmla="*/ 101482 h 133310"/>
                  <a:gd name="connsiteX259" fmla="*/ 87551 w 129519"/>
                  <a:gd name="connsiteY259" fmla="*/ 100071 h 133310"/>
                  <a:gd name="connsiteX260" fmla="*/ 87198 w 129519"/>
                  <a:gd name="connsiteY260" fmla="*/ 98837 h 133310"/>
                  <a:gd name="connsiteX261" fmla="*/ 87198 w 129519"/>
                  <a:gd name="connsiteY261" fmla="*/ 97691 h 133310"/>
                  <a:gd name="connsiteX262" fmla="*/ 87198 w 129519"/>
                  <a:gd name="connsiteY262" fmla="*/ 96809 h 133310"/>
                  <a:gd name="connsiteX263" fmla="*/ 86934 w 129519"/>
                  <a:gd name="connsiteY263" fmla="*/ 96280 h 133310"/>
                  <a:gd name="connsiteX264" fmla="*/ 86052 w 129519"/>
                  <a:gd name="connsiteY264" fmla="*/ 95663 h 133310"/>
                  <a:gd name="connsiteX265" fmla="*/ 86934 w 129519"/>
                  <a:gd name="connsiteY265" fmla="*/ 95134 h 133310"/>
                  <a:gd name="connsiteX266" fmla="*/ 85788 w 129519"/>
                  <a:gd name="connsiteY266" fmla="*/ 93899 h 133310"/>
                  <a:gd name="connsiteX267" fmla="*/ 85435 w 129519"/>
                  <a:gd name="connsiteY267" fmla="*/ 93018 h 133310"/>
                  <a:gd name="connsiteX268" fmla="*/ 84024 w 129519"/>
                  <a:gd name="connsiteY268" fmla="*/ 90725 h 133310"/>
                  <a:gd name="connsiteX269" fmla="*/ 85170 w 129519"/>
                  <a:gd name="connsiteY269" fmla="*/ 90461 h 133310"/>
                  <a:gd name="connsiteX270" fmla="*/ 86052 w 129519"/>
                  <a:gd name="connsiteY270" fmla="*/ 89844 h 133310"/>
                  <a:gd name="connsiteX271" fmla="*/ 86669 w 129519"/>
                  <a:gd name="connsiteY271" fmla="*/ 90725 h 133310"/>
                  <a:gd name="connsiteX272" fmla="*/ 86317 w 129519"/>
                  <a:gd name="connsiteY272" fmla="*/ 88345 h 133310"/>
                  <a:gd name="connsiteX273" fmla="*/ 83407 w 129519"/>
                  <a:gd name="connsiteY273" fmla="*/ 86670 h 133310"/>
                  <a:gd name="connsiteX274" fmla="*/ 81732 w 129519"/>
                  <a:gd name="connsiteY274" fmla="*/ 85171 h 133310"/>
                  <a:gd name="connsiteX275" fmla="*/ 80498 w 129519"/>
                  <a:gd name="connsiteY275" fmla="*/ 85171 h 133310"/>
                  <a:gd name="connsiteX276" fmla="*/ 79352 w 129519"/>
                  <a:gd name="connsiteY276" fmla="*/ 84553 h 133310"/>
                  <a:gd name="connsiteX277" fmla="*/ 77588 w 129519"/>
                  <a:gd name="connsiteY277" fmla="*/ 84553 h 133310"/>
                  <a:gd name="connsiteX278" fmla="*/ 77588 w 129519"/>
                  <a:gd name="connsiteY278" fmla="*/ 84024 h 133310"/>
                  <a:gd name="connsiteX279" fmla="*/ 76177 w 129519"/>
                  <a:gd name="connsiteY279" fmla="*/ 82790 h 133310"/>
                  <a:gd name="connsiteX280" fmla="*/ 75825 w 129519"/>
                  <a:gd name="connsiteY280" fmla="*/ 81644 h 133310"/>
                  <a:gd name="connsiteX281" fmla="*/ 75560 w 129519"/>
                  <a:gd name="connsiteY281" fmla="*/ 81380 h 133310"/>
                  <a:gd name="connsiteX282" fmla="*/ 75825 w 129519"/>
                  <a:gd name="connsiteY282" fmla="*/ 80762 h 133310"/>
                  <a:gd name="connsiteX283" fmla="*/ 75296 w 129519"/>
                  <a:gd name="connsiteY283" fmla="*/ 80498 h 133310"/>
                  <a:gd name="connsiteX284" fmla="*/ 74149 w 129519"/>
                  <a:gd name="connsiteY284" fmla="*/ 80233 h 133310"/>
                  <a:gd name="connsiteX285" fmla="*/ 73797 w 129519"/>
                  <a:gd name="connsiteY285" fmla="*/ 80762 h 133310"/>
                  <a:gd name="connsiteX286" fmla="*/ 72915 w 129519"/>
                  <a:gd name="connsiteY286" fmla="*/ 80233 h 133310"/>
                  <a:gd name="connsiteX287" fmla="*/ 72386 w 129519"/>
                  <a:gd name="connsiteY287" fmla="*/ 80762 h 133310"/>
                  <a:gd name="connsiteX288" fmla="*/ 71769 w 129519"/>
                  <a:gd name="connsiteY288" fmla="*/ 80233 h 133310"/>
                  <a:gd name="connsiteX289" fmla="*/ 70623 w 129519"/>
                  <a:gd name="connsiteY289" fmla="*/ 80233 h 133310"/>
                  <a:gd name="connsiteX290" fmla="*/ 69741 w 129519"/>
                  <a:gd name="connsiteY290" fmla="*/ 79969 h 133310"/>
                  <a:gd name="connsiteX291" fmla="*/ 70623 w 129519"/>
                  <a:gd name="connsiteY291" fmla="*/ 79352 h 133310"/>
                  <a:gd name="connsiteX292" fmla="*/ 71769 w 129519"/>
                  <a:gd name="connsiteY292" fmla="*/ 79352 h 133310"/>
                  <a:gd name="connsiteX293" fmla="*/ 71152 w 129519"/>
                  <a:gd name="connsiteY293" fmla="*/ 78734 h 133310"/>
                  <a:gd name="connsiteX294" fmla="*/ 69124 w 129519"/>
                  <a:gd name="connsiteY294" fmla="*/ 79087 h 133310"/>
                  <a:gd name="connsiteX295" fmla="*/ 69124 w 129519"/>
                  <a:gd name="connsiteY295" fmla="*/ 78470 h 133310"/>
                  <a:gd name="connsiteX296" fmla="*/ 70270 w 129519"/>
                  <a:gd name="connsiteY296" fmla="*/ 78205 h 133310"/>
                  <a:gd name="connsiteX297" fmla="*/ 70005 w 129519"/>
                  <a:gd name="connsiteY297" fmla="*/ 77588 h 133310"/>
                  <a:gd name="connsiteX298" fmla="*/ 70005 w 129519"/>
                  <a:gd name="connsiteY298" fmla="*/ 76089 h 133310"/>
                  <a:gd name="connsiteX299" fmla="*/ 68859 w 129519"/>
                  <a:gd name="connsiteY299" fmla="*/ 76706 h 133310"/>
                  <a:gd name="connsiteX300" fmla="*/ 68242 w 129519"/>
                  <a:gd name="connsiteY300" fmla="*/ 75825 h 133310"/>
                  <a:gd name="connsiteX301" fmla="*/ 67096 w 129519"/>
                  <a:gd name="connsiteY301" fmla="*/ 75825 h 133310"/>
                  <a:gd name="connsiteX302" fmla="*/ 67096 w 129519"/>
                  <a:gd name="connsiteY302" fmla="*/ 76089 h 133310"/>
                  <a:gd name="connsiteX303" fmla="*/ 65333 w 129519"/>
                  <a:gd name="connsiteY303" fmla="*/ 76971 h 133310"/>
                  <a:gd name="connsiteX304" fmla="*/ 64451 w 129519"/>
                  <a:gd name="connsiteY304" fmla="*/ 77324 h 133310"/>
                  <a:gd name="connsiteX305" fmla="*/ 63569 w 129519"/>
                  <a:gd name="connsiteY305" fmla="*/ 76971 h 133310"/>
                  <a:gd name="connsiteX306" fmla="*/ 63040 w 129519"/>
                  <a:gd name="connsiteY306" fmla="*/ 76442 h 133310"/>
                  <a:gd name="connsiteX307" fmla="*/ 63569 w 129519"/>
                  <a:gd name="connsiteY307" fmla="*/ 74679 h 133310"/>
                  <a:gd name="connsiteX308" fmla="*/ 63305 w 129519"/>
                  <a:gd name="connsiteY308" fmla="*/ 73797 h 133310"/>
                  <a:gd name="connsiteX309" fmla="*/ 62159 w 129519"/>
                  <a:gd name="connsiteY309" fmla="*/ 73797 h 133310"/>
                  <a:gd name="connsiteX310" fmla="*/ 60660 w 129519"/>
                  <a:gd name="connsiteY310" fmla="*/ 73180 h 133310"/>
                  <a:gd name="connsiteX311" fmla="*/ 60131 w 129519"/>
                  <a:gd name="connsiteY311" fmla="*/ 73797 h 133310"/>
                  <a:gd name="connsiteX312" fmla="*/ 58896 w 129519"/>
                  <a:gd name="connsiteY312" fmla="*/ 73180 h 133310"/>
                  <a:gd name="connsiteX313" fmla="*/ 57750 w 129519"/>
                  <a:gd name="connsiteY313" fmla="*/ 73180 h 133310"/>
                  <a:gd name="connsiteX314" fmla="*/ 56868 w 129519"/>
                  <a:gd name="connsiteY314" fmla="*/ 72034 h 133310"/>
                  <a:gd name="connsiteX315" fmla="*/ 54576 w 129519"/>
                  <a:gd name="connsiteY315" fmla="*/ 73180 h 133310"/>
                  <a:gd name="connsiteX316" fmla="*/ 53077 w 129519"/>
                  <a:gd name="connsiteY316" fmla="*/ 72298 h 133310"/>
                  <a:gd name="connsiteX317" fmla="*/ 52548 w 129519"/>
                  <a:gd name="connsiteY317" fmla="*/ 71769 h 133310"/>
                  <a:gd name="connsiteX318" fmla="*/ 53077 w 129519"/>
                  <a:gd name="connsiteY318" fmla="*/ 71152 h 133310"/>
                  <a:gd name="connsiteX319" fmla="*/ 54311 w 129519"/>
                  <a:gd name="connsiteY319" fmla="*/ 71505 h 133310"/>
                  <a:gd name="connsiteX320" fmla="*/ 55722 w 129519"/>
                  <a:gd name="connsiteY320" fmla="*/ 70623 h 133310"/>
                  <a:gd name="connsiteX321" fmla="*/ 56868 w 129519"/>
                  <a:gd name="connsiteY321" fmla="*/ 71152 h 133310"/>
                  <a:gd name="connsiteX322" fmla="*/ 57486 w 129519"/>
                  <a:gd name="connsiteY322" fmla="*/ 72034 h 133310"/>
                  <a:gd name="connsiteX323" fmla="*/ 58632 w 129519"/>
                  <a:gd name="connsiteY323" fmla="*/ 71152 h 133310"/>
                  <a:gd name="connsiteX324" fmla="*/ 58632 w 129519"/>
                  <a:gd name="connsiteY324" fmla="*/ 70006 h 133310"/>
                  <a:gd name="connsiteX325" fmla="*/ 60395 w 129519"/>
                  <a:gd name="connsiteY325" fmla="*/ 70006 h 133310"/>
                  <a:gd name="connsiteX326" fmla="*/ 61806 w 129519"/>
                  <a:gd name="connsiteY326" fmla="*/ 70006 h 133310"/>
                  <a:gd name="connsiteX327" fmla="*/ 61541 w 129519"/>
                  <a:gd name="connsiteY327" fmla="*/ 69124 h 133310"/>
                  <a:gd name="connsiteX328" fmla="*/ 62776 w 129519"/>
                  <a:gd name="connsiteY328" fmla="*/ 69389 h 133310"/>
                  <a:gd name="connsiteX329" fmla="*/ 63040 w 129519"/>
                  <a:gd name="connsiteY329" fmla="*/ 68859 h 133310"/>
                  <a:gd name="connsiteX330" fmla="*/ 62776 w 129519"/>
                  <a:gd name="connsiteY330" fmla="*/ 68242 h 133310"/>
                  <a:gd name="connsiteX331" fmla="*/ 61541 w 129519"/>
                  <a:gd name="connsiteY331" fmla="*/ 68507 h 133310"/>
                  <a:gd name="connsiteX332" fmla="*/ 61541 w 129519"/>
                  <a:gd name="connsiteY332" fmla="*/ 67713 h 133310"/>
                  <a:gd name="connsiteX333" fmla="*/ 62776 w 129519"/>
                  <a:gd name="connsiteY333" fmla="*/ 67361 h 133310"/>
                  <a:gd name="connsiteX334" fmla="*/ 61277 w 129519"/>
                  <a:gd name="connsiteY334" fmla="*/ 66215 h 133310"/>
                  <a:gd name="connsiteX335" fmla="*/ 59249 w 129519"/>
                  <a:gd name="connsiteY335" fmla="*/ 64716 h 133310"/>
                  <a:gd name="connsiteX336" fmla="*/ 58896 w 129519"/>
                  <a:gd name="connsiteY336" fmla="*/ 64187 h 133310"/>
                  <a:gd name="connsiteX337" fmla="*/ 59249 w 129519"/>
                  <a:gd name="connsiteY337" fmla="*/ 63569 h 133310"/>
                  <a:gd name="connsiteX338" fmla="*/ 58015 w 129519"/>
                  <a:gd name="connsiteY338" fmla="*/ 64451 h 133310"/>
                  <a:gd name="connsiteX339" fmla="*/ 58015 w 129519"/>
                  <a:gd name="connsiteY339" fmla="*/ 63569 h 133310"/>
                  <a:gd name="connsiteX340" fmla="*/ 57221 w 129519"/>
                  <a:gd name="connsiteY340" fmla="*/ 62159 h 133310"/>
                  <a:gd name="connsiteX341" fmla="*/ 57750 w 129519"/>
                  <a:gd name="connsiteY341" fmla="*/ 61013 h 133310"/>
                  <a:gd name="connsiteX342" fmla="*/ 57750 w 129519"/>
                  <a:gd name="connsiteY342" fmla="*/ 60660 h 133310"/>
                  <a:gd name="connsiteX343" fmla="*/ 59249 w 129519"/>
                  <a:gd name="connsiteY343" fmla="*/ 59249 h 133310"/>
                  <a:gd name="connsiteX344" fmla="*/ 60924 w 129519"/>
                  <a:gd name="connsiteY344" fmla="*/ 60660 h 133310"/>
                  <a:gd name="connsiteX345" fmla="*/ 61277 w 129519"/>
                  <a:gd name="connsiteY345" fmla="*/ 59778 h 133310"/>
                  <a:gd name="connsiteX346" fmla="*/ 60660 w 129519"/>
                  <a:gd name="connsiteY346" fmla="*/ 58632 h 133310"/>
                  <a:gd name="connsiteX347" fmla="*/ 61277 w 129519"/>
                  <a:gd name="connsiteY347" fmla="*/ 58368 h 133310"/>
                  <a:gd name="connsiteX348" fmla="*/ 61806 w 129519"/>
                  <a:gd name="connsiteY348" fmla="*/ 59249 h 133310"/>
                  <a:gd name="connsiteX349" fmla="*/ 62423 w 129519"/>
                  <a:gd name="connsiteY349" fmla="*/ 60131 h 133310"/>
                  <a:gd name="connsiteX350" fmla="*/ 63569 w 129519"/>
                  <a:gd name="connsiteY350" fmla="*/ 60660 h 133310"/>
                  <a:gd name="connsiteX351" fmla="*/ 65685 w 129519"/>
                  <a:gd name="connsiteY351" fmla="*/ 61806 h 133310"/>
                  <a:gd name="connsiteX352" fmla="*/ 65950 w 129519"/>
                  <a:gd name="connsiteY352" fmla="*/ 62423 h 133310"/>
                  <a:gd name="connsiteX353" fmla="*/ 67096 w 129519"/>
                  <a:gd name="connsiteY353" fmla="*/ 63569 h 133310"/>
                  <a:gd name="connsiteX354" fmla="*/ 66832 w 129519"/>
                  <a:gd name="connsiteY354" fmla="*/ 64451 h 133310"/>
                  <a:gd name="connsiteX355" fmla="*/ 65333 w 129519"/>
                  <a:gd name="connsiteY355" fmla="*/ 63569 h 133310"/>
                  <a:gd name="connsiteX356" fmla="*/ 65950 w 129519"/>
                  <a:gd name="connsiteY356" fmla="*/ 64451 h 133310"/>
                  <a:gd name="connsiteX357" fmla="*/ 63922 w 129519"/>
                  <a:gd name="connsiteY357" fmla="*/ 65597 h 133310"/>
                  <a:gd name="connsiteX358" fmla="*/ 63040 w 129519"/>
                  <a:gd name="connsiteY358" fmla="*/ 65597 h 133310"/>
                  <a:gd name="connsiteX359" fmla="*/ 62423 w 129519"/>
                  <a:gd name="connsiteY359" fmla="*/ 66215 h 133310"/>
                  <a:gd name="connsiteX360" fmla="*/ 63922 w 129519"/>
                  <a:gd name="connsiteY360" fmla="*/ 66215 h 133310"/>
                  <a:gd name="connsiteX361" fmla="*/ 64187 w 129519"/>
                  <a:gd name="connsiteY361" fmla="*/ 66215 h 133310"/>
                  <a:gd name="connsiteX362" fmla="*/ 64804 w 129519"/>
                  <a:gd name="connsiteY362" fmla="*/ 66215 h 133310"/>
                  <a:gd name="connsiteX363" fmla="*/ 66567 w 129519"/>
                  <a:gd name="connsiteY363" fmla="*/ 66215 h 133310"/>
                  <a:gd name="connsiteX364" fmla="*/ 67361 w 129519"/>
                  <a:gd name="connsiteY364" fmla="*/ 66215 h 133310"/>
                  <a:gd name="connsiteX365" fmla="*/ 68595 w 129519"/>
                  <a:gd name="connsiteY365" fmla="*/ 65950 h 133310"/>
                  <a:gd name="connsiteX366" fmla="*/ 67978 w 129519"/>
                  <a:gd name="connsiteY366" fmla="*/ 64716 h 133310"/>
                  <a:gd name="connsiteX367" fmla="*/ 67096 w 129519"/>
                  <a:gd name="connsiteY367" fmla="*/ 64451 h 133310"/>
                  <a:gd name="connsiteX368" fmla="*/ 67978 w 129519"/>
                  <a:gd name="connsiteY368" fmla="*/ 64451 h 133310"/>
                  <a:gd name="connsiteX369" fmla="*/ 69124 w 129519"/>
                  <a:gd name="connsiteY369" fmla="*/ 64451 h 133310"/>
                  <a:gd name="connsiteX370" fmla="*/ 70270 w 129519"/>
                  <a:gd name="connsiteY370" fmla="*/ 63569 h 133310"/>
                  <a:gd name="connsiteX371" fmla="*/ 70270 w 129519"/>
                  <a:gd name="connsiteY371" fmla="*/ 62423 h 133310"/>
                  <a:gd name="connsiteX372" fmla="*/ 67361 w 129519"/>
                  <a:gd name="connsiteY372" fmla="*/ 59778 h 133310"/>
                  <a:gd name="connsiteX373" fmla="*/ 67096 w 129519"/>
                  <a:gd name="connsiteY373" fmla="*/ 58368 h 133310"/>
                  <a:gd name="connsiteX374" fmla="*/ 64804 w 129519"/>
                  <a:gd name="connsiteY374" fmla="*/ 56251 h 133310"/>
                  <a:gd name="connsiteX375" fmla="*/ 63305 w 129519"/>
                  <a:gd name="connsiteY375" fmla="*/ 55987 h 133310"/>
                  <a:gd name="connsiteX376" fmla="*/ 61541 w 129519"/>
                  <a:gd name="connsiteY376" fmla="*/ 55458 h 133310"/>
                  <a:gd name="connsiteX377" fmla="*/ 61541 w 129519"/>
                  <a:gd name="connsiteY377" fmla="*/ 54841 h 133310"/>
                  <a:gd name="connsiteX378" fmla="*/ 60131 w 129519"/>
                  <a:gd name="connsiteY378" fmla="*/ 53430 h 133310"/>
                  <a:gd name="connsiteX379" fmla="*/ 56604 w 129519"/>
                  <a:gd name="connsiteY379" fmla="*/ 48404 h 133310"/>
                  <a:gd name="connsiteX380" fmla="*/ 54576 w 129519"/>
                  <a:gd name="connsiteY380" fmla="*/ 47258 h 133310"/>
                  <a:gd name="connsiteX381" fmla="*/ 54311 w 129519"/>
                  <a:gd name="connsiteY381" fmla="*/ 44613 h 133310"/>
                  <a:gd name="connsiteX382" fmla="*/ 51931 w 129519"/>
                  <a:gd name="connsiteY382" fmla="*/ 42585 h 133310"/>
                  <a:gd name="connsiteX383" fmla="*/ 50168 w 129519"/>
                  <a:gd name="connsiteY383" fmla="*/ 41439 h 133310"/>
                  <a:gd name="connsiteX384" fmla="*/ 50168 w 129519"/>
                  <a:gd name="connsiteY384" fmla="*/ 40293 h 133310"/>
                  <a:gd name="connsiteX385" fmla="*/ 50168 w 129519"/>
                  <a:gd name="connsiteY385" fmla="*/ 38794 h 133310"/>
                  <a:gd name="connsiteX386" fmla="*/ 50432 w 129519"/>
                  <a:gd name="connsiteY386" fmla="*/ 37648 h 133310"/>
                  <a:gd name="connsiteX387" fmla="*/ 51931 w 129519"/>
                  <a:gd name="connsiteY387" fmla="*/ 35620 h 133310"/>
                  <a:gd name="connsiteX388" fmla="*/ 52196 w 129519"/>
                  <a:gd name="connsiteY388" fmla="*/ 33857 h 133310"/>
                  <a:gd name="connsiteX389" fmla="*/ 51049 w 129519"/>
                  <a:gd name="connsiteY389" fmla="*/ 32975 h 133310"/>
                  <a:gd name="connsiteX390" fmla="*/ 50785 w 129519"/>
                  <a:gd name="connsiteY390" fmla="*/ 32093 h 133310"/>
                  <a:gd name="connsiteX391" fmla="*/ 51402 w 129519"/>
                  <a:gd name="connsiteY391" fmla="*/ 30947 h 133310"/>
                  <a:gd name="connsiteX392" fmla="*/ 51931 w 129519"/>
                  <a:gd name="connsiteY392" fmla="*/ 30330 h 133310"/>
                  <a:gd name="connsiteX393" fmla="*/ 52813 w 129519"/>
                  <a:gd name="connsiteY393" fmla="*/ 31212 h 133310"/>
                  <a:gd name="connsiteX394" fmla="*/ 53695 w 129519"/>
                  <a:gd name="connsiteY394" fmla="*/ 30947 h 133310"/>
                  <a:gd name="connsiteX395" fmla="*/ 54311 w 129519"/>
                  <a:gd name="connsiteY395" fmla="*/ 30330 h 133310"/>
                  <a:gd name="connsiteX396" fmla="*/ 53695 w 129519"/>
                  <a:gd name="connsiteY396" fmla="*/ 29448 h 133310"/>
                  <a:gd name="connsiteX397" fmla="*/ 54841 w 129519"/>
                  <a:gd name="connsiteY397" fmla="*/ 29448 h 133310"/>
                  <a:gd name="connsiteX398" fmla="*/ 54576 w 129519"/>
                  <a:gd name="connsiteY398" fmla="*/ 29448 h 133310"/>
                  <a:gd name="connsiteX399" fmla="*/ 54841 w 129519"/>
                  <a:gd name="connsiteY399" fmla="*/ 28302 h 133310"/>
                  <a:gd name="connsiteX400" fmla="*/ 54576 w 129519"/>
                  <a:gd name="connsiteY400" fmla="*/ 27685 h 133310"/>
                  <a:gd name="connsiteX401" fmla="*/ 55105 w 129519"/>
                  <a:gd name="connsiteY401" fmla="*/ 27685 h 133310"/>
                  <a:gd name="connsiteX402" fmla="*/ 55987 w 129519"/>
                  <a:gd name="connsiteY402" fmla="*/ 27685 h 133310"/>
                  <a:gd name="connsiteX403" fmla="*/ 56868 w 129519"/>
                  <a:gd name="connsiteY403" fmla="*/ 27156 h 133310"/>
                  <a:gd name="connsiteX404" fmla="*/ 57750 w 129519"/>
                  <a:gd name="connsiteY404" fmla="*/ 27685 h 133310"/>
                  <a:gd name="connsiteX405" fmla="*/ 57221 w 129519"/>
                  <a:gd name="connsiteY405" fmla="*/ 28567 h 133310"/>
                  <a:gd name="connsiteX406" fmla="*/ 57750 w 129519"/>
                  <a:gd name="connsiteY406" fmla="*/ 29184 h 133310"/>
                  <a:gd name="connsiteX407" fmla="*/ 58367 w 129519"/>
                  <a:gd name="connsiteY407" fmla="*/ 29713 h 133310"/>
                  <a:gd name="connsiteX408" fmla="*/ 58015 w 129519"/>
                  <a:gd name="connsiteY408" fmla="*/ 30947 h 133310"/>
                  <a:gd name="connsiteX409" fmla="*/ 57486 w 129519"/>
                  <a:gd name="connsiteY409" fmla="*/ 30330 h 133310"/>
                  <a:gd name="connsiteX410" fmla="*/ 56339 w 129519"/>
                  <a:gd name="connsiteY410" fmla="*/ 30947 h 133310"/>
                  <a:gd name="connsiteX411" fmla="*/ 55458 w 129519"/>
                  <a:gd name="connsiteY411" fmla="*/ 30683 h 133310"/>
                  <a:gd name="connsiteX412" fmla="*/ 54841 w 129519"/>
                  <a:gd name="connsiteY412" fmla="*/ 30947 h 133310"/>
                  <a:gd name="connsiteX413" fmla="*/ 54841 w 129519"/>
                  <a:gd name="connsiteY413" fmla="*/ 31829 h 133310"/>
                  <a:gd name="connsiteX414" fmla="*/ 55722 w 129519"/>
                  <a:gd name="connsiteY414" fmla="*/ 32093 h 133310"/>
                  <a:gd name="connsiteX415" fmla="*/ 56339 w 129519"/>
                  <a:gd name="connsiteY415" fmla="*/ 32975 h 133310"/>
                  <a:gd name="connsiteX416" fmla="*/ 56604 w 129519"/>
                  <a:gd name="connsiteY416" fmla="*/ 33857 h 133310"/>
                  <a:gd name="connsiteX417" fmla="*/ 58367 w 129519"/>
                  <a:gd name="connsiteY417" fmla="*/ 33857 h 133310"/>
                  <a:gd name="connsiteX418" fmla="*/ 59514 w 129519"/>
                  <a:gd name="connsiteY418" fmla="*/ 34738 h 133310"/>
                  <a:gd name="connsiteX419" fmla="*/ 59778 w 129519"/>
                  <a:gd name="connsiteY419" fmla="*/ 35003 h 133310"/>
                  <a:gd name="connsiteX420" fmla="*/ 65068 w 129519"/>
                  <a:gd name="connsiteY420" fmla="*/ 37383 h 133310"/>
                  <a:gd name="connsiteX421" fmla="*/ 66567 w 129519"/>
                  <a:gd name="connsiteY421" fmla="*/ 38530 h 133310"/>
                  <a:gd name="connsiteX422" fmla="*/ 66214 w 129519"/>
                  <a:gd name="connsiteY422" fmla="*/ 40293 h 133310"/>
                  <a:gd name="connsiteX423" fmla="*/ 66832 w 129519"/>
                  <a:gd name="connsiteY423" fmla="*/ 41439 h 133310"/>
                  <a:gd name="connsiteX424" fmla="*/ 68242 w 129519"/>
                  <a:gd name="connsiteY424" fmla="*/ 42585 h 133310"/>
                  <a:gd name="connsiteX425" fmla="*/ 68242 w 129519"/>
                  <a:gd name="connsiteY425" fmla="*/ 43732 h 133310"/>
                  <a:gd name="connsiteX426" fmla="*/ 69388 w 129519"/>
                  <a:gd name="connsiteY426" fmla="*/ 44084 h 133310"/>
                  <a:gd name="connsiteX427" fmla="*/ 71504 w 129519"/>
                  <a:gd name="connsiteY427" fmla="*/ 45230 h 133310"/>
                  <a:gd name="connsiteX428" fmla="*/ 72651 w 129519"/>
                  <a:gd name="connsiteY428" fmla="*/ 45759 h 133310"/>
                  <a:gd name="connsiteX429" fmla="*/ 74679 w 129519"/>
                  <a:gd name="connsiteY429" fmla="*/ 46377 h 133310"/>
                  <a:gd name="connsiteX430" fmla="*/ 75296 w 129519"/>
                  <a:gd name="connsiteY430" fmla="*/ 45759 h 133310"/>
                  <a:gd name="connsiteX431" fmla="*/ 75560 w 129519"/>
                  <a:gd name="connsiteY431" fmla="*/ 44613 h 133310"/>
                  <a:gd name="connsiteX432" fmla="*/ 74679 w 129519"/>
                  <a:gd name="connsiteY432" fmla="*/ 44349 h 133310"/>
                  <a:gd name="connsiteX433" fmla="*/ 74149 w 129519"/>
                  <a:gd name="connsiteY433" fmla="*/ 44084 h 133310"/>
                  <a:gd name="connsiteX434" fmla="*/ 73797 w 129519"/>
                  <a:gd name="connsiteY434" fmla="*/ 43467 h 133310"/>
                  <a:gd name="connsiteX435" fmla="*/ 73268 w 129519"/>
                  <a:gd name="connsiteY435" fmla="*/ 43467 h 133310"/>
                  <a:gd name="connsiteX436" fmla="*/ 69388 w 129519"/>
                  <a:gd name="connsiteY436" fmla="*/ 42321 h 133310"/>
                  <a:gd name="connsiteX437" fmla="*/ 67978 w 129519"/>
                  <a:gd name="connsiteY437" fmla="*/ 39676 h 133310"/>
                  <a:gd name="connsiteX438" fmla="*/ 67978 w 129519"/>
                  <a:gd name="connsiteY438" fmla="*/ 38794 h 133310"/>
                  <a:gd name="connsiteX439" fmla="*/ 66567 w 129519"/>
                  <a:gd name="connsiteY439" fmla="*/ 37648 h 133310"/>
                  <a:gd name="connsiteX440" fmla="*/ 66567 w 129519"/>
                  <a:gd name="connsiteY440" fmla="*/ 37031 h 133310"/>
                  <a:gd name="connsiteX441" fmla="*/ 67713 w 129519"/>
                  <a:gd name="connsiteY441" fmla="*/ 35885 h 133310"/>
                  <a:gd name="connsiteX442" fmla="*/ 70005 w 129519"/>
                  <a:gd name="connsiteY442" fmla="*/ 35885 h 133310"/>
                  <a:gd name="connsiteX443" fmla="*/ 73268 w 129519"/>
                  <a:gd name="connsiteY443" fmla="*/ 37031 h 133310"/>
                  <a:gd name="connsiteX444" fmla="*/ 73797 w 129519"/>
                  <a:gd name="connsiteY444" fmla="*/ 38794 h 133310"/>
                  <a:gd name="connsiteX445" fmla="*/ 75031 w 129519"/>
                  <a:gd name="connsiteY445" fmla="*/ 40293 h 133310"/>
                  <a:gd name="connsiteX446" fmla="*/ 76177 w 129519"/>
                  <a:gd name="connsiteY446" fmla="*/ 41175 h 133310"/>
                  <a:gd name="connsiteX447" fmla="*/ 76442 w 129519"/>
                  <a:gd name="connsiteY447" fmla="*/ 42585 h 133310"/>
                  <a:gd name="connsiteX448" fmla="*/ 77941 w 129519"/>
                  <a:gd name="connsiteY448" fmla="*/ 44084 h 133310"/>
                  <a:gd name="connsiteX449" fmla="*/ 77941 w 129519"/>
                  <a:gd name="connsiteY449" fmla="*/ 44613 h 133310"/>
                  <a:gd name="connsiteX450" fmla="*/ 78734 w 129519"/>
                  <a:gd name="connsiteY450" fmla="*/ 44966 h 133310"/>
                  <a:gd name="connsiteX451" fmla="*/ 79969 w 129519"/>
                  <a:gd name="connsiteY451" fmla="*/ 44613 h 133310"/>
                  <a:gd name="connsiteX452" fmla="*/ 79969 w 129519"/>
                  <a:gd name="connsiteY452" fmla="*/ 44084 h 133310"/>
                  <a:gd name="connsiteX453" fmla="*/ 80498 w 129519"/>
                  <a:gd name="connsiteY453" fmla="*/ 44349 h 133310"/>
                  <a:gd name="connsiteX454" fmla="*/ 80762 w 129519"/>
                  <a:gd name="connsiteY454" fmla="*/ 44084 h 133310"/>
                  <a:gd name="connsiteX455" fmla="*/ 79616 w 129519"/>
                  <a:gd name="connsiteY455" fmla="*/ 43467 h 133310"/>
                  <a:gd name="connsiteX456" fmla="*/ 80498 w 129519"/>
                  <a:gd name="connsiteY456" fmla="*/ 43203 h 133310"/>
                  <a:gd name="connsiteX457" fmla="*/ 80762 w 129519"/>
                  <a:gd name="connsiteY457" fmla="*/ 42585 h 133310"/>
                  <a:gd name="connsiteX458" fmla="*/ 80762 w 129519"/>
                  <a:gd name="connsiteY458" fmla="*/ 42321 h 133310"/>
                  <a:gd name="connsiteX459" fmla="*/ 80233 w 129519"/>
                  <a:gd name="connsiteY459" fmla="*/ 41704 h 133310"/>
                  <a:gd name="connsiteX460" fmla="*/ 79969 w 129519"/>
                  <a:gd name="connsiteY460" fmla="*/ 41439 h 133310"/>
                  <a:gd name="connsiteX461" fmla="*/ 79352 w 129519"/>
                  <a:gd name="connsiteY461" fmla="*/ 40822 h 133310"/>
                  <a:gd name="connsiteX462" fmla="*/ 79352 w 129519"/>
                  <a:gd name="connsiteY462" fmla="*/ 40293 h 133310"/>
                  <a:gd name="connsiteX463" fmla="*/ 77588 w 129519"/>
                  <a:gd name="connsiteY463" fmla="*/ 38530 h 133310"/>
                  <a:gd name="connsiteX464" fmla="*/ 75031 w 129519"/>
                  <a:gd name="connsiteY464" fmla="*/ 37648 h 133310"/>
                  <a:gd name="connsiteX465" fmla="*/ 72651 w 129519"/>
                  <a:gd name="connsiteY465" fmla="*/ 35885 h 133310"/>
                  <a:gd name="connsiteX466" fmla="*/ 72915 w 129519"/>
                  <a:gd name="connsiteY466" fmla="*/ 35003 h 133310"/>
                  <a:gd name="connsiteX467" fmla="*/ 74149 w 129519"/>
                  <a:gd name="connsiteY467" fmla="*/ 34738 h 133310"/>
                  <a:gd name="connsiteX468" fmla="*/ 74679 w 129519"/>
                  <a:gd name="connsiteY468" fmla="*/ 35003 h 133310"/>
                  <a:gd name="connsiteX469" fmla="*/ 75560 w 129519"/>
                  <a:gd name="connsiteY469" fmla="*/ 33857 h 133310"/>
                  <a:gd name="connsiteX470" fmla="*/ 76706 w 129519"/>
                  <a:gd name="connsiteY470" fmla="*/ 33857 h 133310"/>
                  <a:gd name="connsiteX471" fmla="*/ 81115 w 129519"/>
                  <a:gd name="connsiteY471" fmla="*/ 35003 h 133310"/>
                  <a:gd name="connsiteX472" fmla="*/ 83760 w 129519"/>
                  <a:gd name="connsiteY472" fmla="*/ 35885 h 133310"/>
                  <a:gd name="connsiteX473" fmla="*/ 84906 w 129519"/>
                  <a:gd name="connsiteY473" fmla="*/ 37648 h 133310"/>
                  <a:gd name="connsiteX474" fmla="*/ 85788 w 129519"/>
                  <a:gd name="connsiteY474" fmla="*/ 38794 h 133310"/>
                  <a:gd name="connsiteX475" fmla="*/ 86934 w 129519"/>
                  <a:gd name="connsiteY475" fmla="*/ 38794 h 133310"/>
                  <a:gd name="connsiteX476" fmla="*/ 87198 w 129519"/>
                  <a:gd name="connsiteY476" fmla="*/ 40293 h 133310"/>
                  <a:gd name="connsiteX477" fmla="*/ 87551 w 129519"/>
                  <a:gd name="connsiteY477" fmla="*/ 39676 h 133310"/>
                  <a:gd name="connsiteX478" fmla="*/ 87198 w 129519"/>
                  <a:gd name="connsiteY478" fmla="*/ 38794 h 133310"/>
                  <a:gd name="connsiteX479" fmla="*/ 87551 w 129519"/>
                  <a:gd name="connsiteY479" fmla="*/ 36766 h 133310"/>
                  <a:gd name="connsiteX480" fmla="*/ 86934 w 129519"/>
                  <a:gd name="connsiteY480" fmla="*/ 36502 h 133310"/>
                  <a:gd name="connsiteX481" fmla="*/ 85435 w 129519"/>
                  <a:gd name="connsiteY481" fmla="*/ 35003 h 133310"/>
                  <a:gd name="connsiteX482" fmla="*/ 83760 w 129519"/>
                  <a:gd name="connsiteY482" fmla="*/ 35003 h 133310"/>
                  <a:gd name="connsiteX483" fmla="*/ 83407 w 129519"/>
                  <a:gd name="connsiteY483" fmla="*/ 34738 h 133310"/>
                  <a:gd name="connsiteX484" fmla="*/ 81115 w 129519"/>
                  <a:gd name="connsiteY484" fmla="*/ 33857 h 133310"/>
                  <a:gd name="connsiteX485" fmla="*/ 80233 w 129519"/>
                  <a:gd name="connsiteY485" fmla="*/ 32711 h 133310"/>
                  <a:gd name="connsiteX486" fmla="*/ 79969 w 129519"/>
                  <a:gd name="connsiteY486" fmla="*/ 33857 h 133310"/>
                  <a:gd name="connsiteX487" fmla="*/ 78734 w 129519"/>
                  <a:gd name="connsiteY487" fmla="*/ 33857 h 133310"/>
                  <a:gd name="connsiteX488" fmla="*/ 76706 w 129519"/>
                  <a:gd name="connsiteY488" fmla="*/ 32975 h 133310"/>
                  <a:gd name="connsiteX489" fmla="*/ 75560 w 129519"/>
                  <a:gd name="connsiteY489" fmla="*/ 32093 h 133310"/>
                  <a:gd name="connsiteX490" fmla="*/ 75296 w 129519"/>
                  <a:gd name="connsiteY490" fmla="*/ 30947 h 133310"/>
                  <a:gd name="connsiteX491" fmla="*/ 76442 w 129519"/>
                  <a:gd name="connsiteY491" fmla="*/ 30330 h 133310"/>
                  <a:gd name="connsiteX492" fmla="*/ 76442 w 129519"/>
                  <a:gd name="connsiteY492" fmla="*/ 29713 h 133310"/>
                  <a:gd name="connsiteX493" fmla="*/ 75296 w 129519"/>
                  <a:gd name="connsiteY493" fmla="*/ 29184 h 133310"/>
                  <a:gd name="connsiteX494" fmla="*/ 73797 w 129519"/>
                  <a:gd name="connsiteY494" fmla="*/ 27685 h 133310"/>
                  <a:gd name="connsiteX495" fmla="*/ 72033 w 129519"/>
                  <a:gd name="connsiteY495" fmla="*/ 27156 h 133310"/>
                  <a:gd name="connsiteX496" fmla="*/ 72033 w 129519"/>
                  <a:gd name="connsiteY496" fmla="*/ 26539 h 133310"/>
                  <a:gd name="connsiteX497" fmla="*/ 72915 w 129519"/>
                  <a:gd name="connsiteY497" fmla="*/ 26274 h 133310"/>
                  <a:gd name="connsiteX498" fmla="*/ 73268 w 129519"/>
                  <a:gd name="connsiteY498" fmla="*/ 25393 h 133310"/>
                  <a:gd name="connsiteX499" fmla="*/ 74414 w 129519"/>
                  <a:gd name="connsiteY499" fmla="*/ 24775 h 133310"/>
                  <a:gd name="connsiteX500" fmla="*/ 74679 w 129519"/>
                  <a:gd name="connsiteY500" fmla="*/ 23894 h 133310"/>
                  <a:gd name="connsiteX501" fmla="*/ 75296 w 129519"/>
                  <a:gd name="connsiteY501" fmla="*/ 23894 h 133310"/>
                  <a:gd name="connsiteX502" fmla="*/ 77941 w 129519"/>
                  <a:gd name="connsiteY502" fmla="*/ 26010 h 133310"/>
                  <a:gd name="connsiteX503" fmla="*/ 78734 w 129519"/>
                  <a:gd name="connsiteY503" fmla="*/ 26274 h 133310"/>
                  <a:gd name="connsiteX504" fmla="*/ 79969 w 129519"/>
                  <a:gd name="connsiteY504" fmla="*/ 26274 h 133310"/>
                  <a:gd name="connsiteX505" fmla="*/ 80762 w 129519"/>
                  <a:gd name="connsiteY505" fmla="*/ 25128 h 133310"/>
                  <a:gd name="connsiteX506" fmla="*/ 82878 w 129519"/>
                  <a:gd name="connsiteY506" fmla="*/ 25128 h 133310"/>
                  <a:gd name="connsiteX507" fmla="*/ 84641 w 129519"/>
                  <a:gd name="connsiteY507" fmla="*/ 24511 h 133310"/>
                  <a:gd name="connsiteX508" fmla="*/ 85170 w 129519"/>
                  <a:gd name="connsiteY508" fmla="*/ 23629 h 133310"/>
                  <a:gd name="connsiteX509" fmla="*/ 85435 w 129519"/>
                  <a:gd name="connsiteY509" fmla="*/ 22747 h 133310"/>
                  <a:gd name="connsiteX510" fmla="*/ 85170 w 129519"/>
                  <a:gd name="connsiteY510" fmla="*/ 22130 h 133310"/>
                  <a:gd name="connsiteX511" fmla="*/ 85170 w 129519"/>
                  <a:gd name="connsiteY511" fmla="*/ 20720 h 133310"/>
                  <a:gd name="connsiteX512" fmla="*/ 85435 w 129519"/>
                  <a:gd name="connsiteY512" fmla="*/ 20455 h 133310"/>
                  <a:gd name="connsiteX513" fmla="*/ 86934 w 129519"/>
                  <a:gd name="connsiteY513" fmla="*/ 20455 h 133310"/>
                  <a:gd name="connsiteX514" fmla="*/ 88433 w 129519"/>
                  <a:gd name="connsiteY514" fmla="*/ 19221 h 133310"/>
                  <a:gd name="connsiteX515" fmla="*/ 89579 w 129519"/>
                  <a:gd name="connsiteY515" fmla="*/ 19573 h 133310"/>
                  <a:gd name="connsiteX516" fmla="*/ 90461 w 129519"/>
                  <a:gd name="connsiteY516" fmla="*/ 20720 h 133310"/>
                  <a:gd name="connsiteX517" fmla="*/ 90461 w 129519"/>
                  <a:gd name="connsiteY517" fmla="*/ 22130 h 133310"/>
                  <a:gd name="connsiteX518" fmla="*/ 91607 w 129519"/>
                  <a:gd name="connsiteY518" fmla="*/ 21601 h 133310"/>
                  <a:gd name="connsiteX519" fmla="*/ 92753 w 129519"/>
                  <a:gd name="connsiteY519" fmla="*/ 22130 h 133310"/>
                  <a:gd name="connsiteX520" fmla="*/ 93370 w 129519"/>
                  <a:gd name="connsiteY520" fmla="*/ 22130 h 133310"/>
                  <a:gd name="connsiteX521" fmla="*/ 95662 w 129519"/>
                  <a:gd name="connsiteY521" fmla="*/ 20455 h 133310"/>
                  <a:gd name="connsiteX522" fmla="*/ 97426 w 129519"/>
                  <a:gd name="connsiteY522" fmla="*/ 20455 h 133310"/>
                  <a:gd name="connsiteX523" fmla="*/ 98572 w 129519"/>
                  <a:gd name="connsiteY523" fmla="*/ 18956 h 133310"/>
                  <a:gd name="connsiteX524" fmla="*/ 98308 w 129519"/>
                  <a:gd name="connsiteY524" fmla="*/ 18339 h 133310"/>
                  <a:gd name="connsiteX525" fmla="*/ 100600 w 129519"/>
                  <a:gd name="connsiteY525" fmla="*/ 17810 h 133310"/>
                  <a:gd name="connsiteX526" fmla="*/ 102099 w 129519"/>
                  <a:gd name="connsiteY526" fmla="*/ 18956 h 133310"/>
                  <a:gd name="connsiteX527" fmla="*/ 100953 w 129519"/>
                  <a:gd name="connsiteY527" fmla="*/ 18956 h 133310"/>
                  <a:gd name="connsiteX528" fmla="*/ 100953 w 129519"/>
                  <a:gd name="connsiteY528" fmla="*/ 19573 h 133310"/>
                  <a:gd name="connsiteX529" fmla="*/ 101834 w 129519"/>
                  <a:gd name="connsiteY529" fmla="*/ 20102 h 133310"/>
                  <a:gd name="connsiteX530" fmla="*/ 103598 w 129519"/>
                  <a:gd name="connsiteY530" fmla="*/ 20455 h 133310"/>
                  <a:gd name="connsiteX531" fmla="*/ 105008 w 129519"/>
                  <a:gd name="connsiteY531" fmla="*/ 20720 h 133310"/>
                  <a:gd name="connsiteX532" fmla="*/ 105890 w 129519"/>
                  <a:gd name="connsiteY532" fmla="*/ 20455 h 133310"/>
                  <a:gd name="connsiteX533" fmla="*/ 108800 w 129519"/>
                  <a:gd name="connsiteY533" fmla="*/ 21601 h 133310"/>
                  <a:gd name="connsiteX534" fmla="*/ 111445 w 129519"/>
                  <a:gd name="connsiteY534" fmla="*/ 21337 h 133310"/>
                  <a:gd name="connsiteX535" fmla="*/ 113208 w 129519"/>
                  <a:gd name="connsiteY535" fmla="*/ 22130 h 133310"/>
                  <a:gd name="connsiteX536" fmla="*/ 116382 w 129519"/>
                  <a:gd name="connsiteY536" fmla="*/ 22130 h 133310"/>
                  <a:gd name="connsiteX537" fmla="*/ 118146 w 129519"/>
                  <a:gd name="connsiteY537" fmla="*/ 22747 h 133310"/>
                  <a:gd name="connsiteX538" fmla="*/ 119644 w 129519"/>
                  <a:gd name="connsiteY538" fmla="*/ 22130 h 133310"/>
                  <a:gd name="connsiteX539" fmla="*/ 120438 w 129519"/>
                  <a:gd name="connsiteY539" fmla="*/ 23100 h 133310"/>
                  <a:gd name="connsiteX540" fmla="*/ 120173 w 129519"/>
                  <a:gd name="connsiteY540" fmla="*/ 23894 h 133310"/>
                  <a:gd name="connsiteX541" fmla="*/ 120791 w 129519"/>
                  <a:gd name="connsiteY541" fmla="*/ 23894 h 133310"/>
                  <a:gd name="connsiteX542" fmla="*/ 121055 w 129519"/>
                  <a:gd name="connsiteY542" fmla="*/ 21866 h 133310"/>
                  <a:gd name="connsiteX543" fmla="*/ 121320 w 129519"/>
                  <a:gd name="connsiteY543" fmla="*/ 21337 h 133310"/>
                  <a:gd name="connsiteX544" fmla="*/ 121937 w 129519"/>
                  <a:gd name="connsiteY544" fmla="*/ 22130 h 133310"/>
                  <a:gd name="connsiteX545" fmla="*/ 122818 w 129519"/>
                  <a:gd name="connsiteY545" fmla="*/ 22747 h 133310"/>
                  <a:gd name="connsiteX546" fmla="*/ 122554 w 129519"/>
                  <a:gd name="connsiteY546" fmla="*/ 22130 h 133310"/>
                  <a:gd name="connsiteX547" fmla="*/ 122554 w 129519"/>
                  <a:gd name="connsiteY547" fmla="*/ 20720 h 133310"/>
                  <a:gd name="connsiteX548" fmla="*/ 123436 w 129519"/>
                  <a:gd name="connsiteY548" fmla="*/ 20455 h 133310"/>
                  <a:gd name="connsiteX549" fmla="*/ 123700 w 129519"/>
                  <a:gd name="connsiteY549" fmla="*/ 20455 h 133310"/>
                  <a:gd name="connsiteX550" fmla="*/ 124317 w 129519"/>
                  <a:gd name="connsiteY550" fmla="*/ 20102 h 133310"/>
                  <a:gd name="connsiteX551" fmla="*/ 124846 w 129519"/>
                  <a:gd name="connsiteY551" fmla="*/ 20102 h 133310"/>
                  <a:gd name="connsiteX552" fmla="*/ 125992 w 129519"/>
                  <a:gd name="connsiteY552" fmla="*/ 19573 h 133310"/>
                  <a:gd name="connsiteX553" fmla="*/ 124582 w 129519"/>
                  <a:gd name="connsiteY553" fmla="*/ 18956 h 133310"/>
                  <a:gd name="connsiteX554" fmla="*/ 125728 w 129519"/>
                  <a:gd name="connsiteY554" fmla="*/ 18339 h 133310"/>
                  <a:gd name="connsiteX555" fmla="*/ 125728 w 129519"/>
                  <a:gd name="connsiteY555" fmla="*/ 17810 h 133310"/>
                  <a:gd name="connsiteX556" fmla="*/ 124582 w 129519"/>
                  <a:gd name="connsiteY556" fmla="*/ 16928 h 133310"/>
                  <a:gd name="connsiteX557" fmla="*/ 124317 w 129519"/>
                  <a:gd name="connsiteY557" fmla="*/ 16664 h 133310"/>
                  <a:gd name="connsiteX558" fmla="*/ 123083 w 129519"/>
                  <a:gd name="connsiteY558" fmla="*/ 15782 h 133310"/>
                  <a:gd name="connsiteX559" fmla="*/ 123700 w 129519"/>
                  <a:gd name="connsiteY559" fmla="*/ 15165 h 133310"/>
                  <a:gd name="connsiteX560" fmla="*/ 123083 w 129519"/>
                  <a:gd name="connsiteY560" fmla="*/ 14900 h 133310"/>
                  <a:gd name="connsiteX561" fmla="*/ 123700 w 129519"/>
                  <a:gd name="connsiteY561" fmla="*/ 14019 h 133310"/>
                  <a:gd name="connsiteX562" fmla="*/ 122818 w 129519"/>
                  <a:gd name="connsiteY562" fmla="*/ 13137 h 133310"/>
                  <a:gd name="connsiteX563" fmla="*/ 123436 w 129519"/>
                  <a:gd name="connsiteY563" fmla="*/ 12873 h 133310"/>
                  <a:gd name="connsiteX564" fmla="*/ 123436 w 129519"/>
                  <a:gd name="connsiteY564" fmla="*/ 11374 h 133310"/>
                  <a:gd name="connsiteX565" fmla="*/ 127756 w 129519"/>
                  <a:gd name="connsiteY565" fmla="*/ 9963 h 133310"/>
                  <a:gd name="connsiteX566" fmla="*/ 129255 w 129519"/>
                  <a:gd name="connsiteY566" fmla="*/ 10845 h 133310"/>
                  <a:gd name="connsiteX567" fmla="*/ 129519 w 129519"/>
                  <a:gd name="connsiteY567" fmla="*/ 9963 h 133310"/>
                  <a:gd name="connsiteX568" fmla="*/ 128902 w 129519"/>
                  <a:gd name="connsiteY568" fmla="*/ 7318 h 133310"/>
                  <a:gd name="connsiteX569" fmla="*/ 129255 w 129519"/>
                  <a:gd name="connsiteY569" fmla="*/ 4937 h 133310"/>
                  <a:gd name="connsiteX570" fmla="*/ 128902 w 129519"/>
                  <a:gd name="connsiteY570" fmla="*/ 3791 h 133310"/>
                  <a:gd name="connsiteX571" fmla="*/ 125728 w 129519"/>
                  <a:gd name="connsiteY571" fmla="*/ 2028 h 133310"/>
                  <a:gd name="connsiteX572" fmla="*/ 122554 w 129519"/>
                  <a:gd name="connsiteY572" fmla="*/ 617 h 133310"/>
                  <a:gd name="connsiteX573" fmla="*/ 121320 w 129519"/>
                  <a:gd name="connsiteY573" fmla="*/ 617 h 133310"/>
                  <a:gd name="connsiteX574" fmla="*/ 121055 w 129519"/>
                  <a:gd name="connsiteY574" fmla="*/ 0 h 133310"/>
                  <a:gd name="connsiteX575" fmla="*/ 120173 w 129519"/>
                  <a:gd name="connsiteY575" fmla="*/ 0 h 133310"/>
                  <a:gd name="connsiteX576" fmla="*/ 118763 w 129519"/>
                  <a:gd name="connsiteY576" fmla="*/ 617 h 133310"/>
                  <a:gd name="connsiteX577" fmla="*/ 118763 w 129519"/>
                  <a:gd name="connsiteY577" fmla="*/ 2028 h 133310"/>
                  <a:gd name="connsiteX578" fmla="*/ 119027 w 129519"/>
                  <a:gd name="connsiteY578" fmla="*/ 2292 h 133310"/>
                  <a:gd name="connsiteX579" fmla="*/ 119292 w 129519"/>
                  <a:gd name="connsiteY579" fmla="*/ 2292 h 133310"/>
                  <a:gd name="connsiteX580" fmla="*/ 119644 w 129519"/>
                  <a:gd name="connsiteY580" fmla="*/ 4937 h 133310"/>
                  <a:gd name="connsiteX581" fmla="*/ 120791 w 129519"/>
                  <a:gd name="connsiteY581" fmla="*/ 5819 h 133310"/>
                  <a:gd name="connsiteX582" fmla="*/ 121055 w 129519"/>
                  <a:gd name="connsiteY582" fmla="*/ 7582 h 133310"/>
                  <a:gd name="connsiteX583" fmla="*/ 121055 w 129519"/>
                  <a:gd name="connsiteY583" fmla="*/ 8200 h 133310"/>
                  <a:gd name="connsiteX584" fmla="*/ 120173 w 129519"/>
                  <a:gd name="connsiteY584" fmla="*/ 9963 h 133310"/>
                  <a:gd name="connsiteX585" fmla="*/ 118410 w 129519"/>
                  <a:gd name="connsiteY585" fmla="*/ 9963 h 133310"/>
                  <a:gd name="connsiteX586" fmla="*/ 116647 w 129519"/>
                  <a:gd name="connsiteY586" fmla="*/ 11109 h 133310"/>
                  <a:gd name="connsiteX587" fmla="*/ 115236 w 129519"/>
                  <a:gd name="connsiteY587" fmla="*/ 11374 h 133310"/>
                  <a:gd name="connsiteX588" fmla="*/ 114090 w 129519"/>
                  <a:gd name="connsiteY588" fmla="*/ 10492 h 133310"/>
                  <a:gd name="connsiteX589" fmla="*/ 112062 w 129519"/>
                  <a:gd name="connsiteY589" fmla="*/ 11374 h 133310"/>
                  <a:gd name="connsiteX590" fmla="*/ 110563 w 129519"/>
                  <a:gd name="connsiteY590" fmla="*/ 11109 h 133310"/>
                  <a:gd name="connsiteX591" fmla="*/ 107918 w 129519"/>
                  <a:gd name="connsiteY591" fmla="*/ 11374 h 133310"/>
                  <a:gd name="connsiteX592" fmla="*/ 106507 w 129519"/>
                  <a:gd name="connsiteY592" fmla="*/ 11374 h 133310"/>
                  <a:gd name="connsiteX593" fmla="*/ 102716 w 129519"/>
                  <a:gd name="connsiteY593" fmla="*/ 11991 h 133310"/>
                  <a:gd name="connsiteX594" fmla="*/ 101217 w 129519"/>
                  <a:gd name="connsiteY594" fmla="*/ 11374 h 133310"/>
                  <a:gd name="connsiteX595" fmla="*/ 99806 w 129519"/>
                  <a:gd name="connsiteY595" fmla="*/ 9963 h 133310"/>
                  <a:gd name="connsiteX596" fmla="*/ 99189 w 129519"/>
                  <a:gd name="connsiteY596" fmla="*/ 10492 h 133310"/>
                  <a:gd name="connsiteX597" fmla="*/ 99189 w 129519"/>
                  <a:gd name="connsiteY597" fmla="*/ 9610 h 133310"/>
                  <a:gd name="connsiteX598" fmla="*/ 96280 w 129519"/>
                  <a:gd name="connsiteY598" fmla="*/ 9081 h 133310"/>
                  <a:gd name="connsiteX599" fmla="*/ 94517 w 129519"/>
                  <a:gd name="connsiteY599" fmla="*/ 8200 h 133310"/>
                  <a:gd name="connsiteX600" fmla="*/ 93106 w 129519"/>
                  <a:gd name="connsiteY600" fmla="*/ 8729 h 133310"/>
                  <a:gd name="connsiteX601" fmla="*/ 93370 w 129519"/>
                  <a:gd name="connsiteY601" fmla="*/ 9610 h 133310"/>
                  <a:gd name="connsiteX602" fmla="*/ 91871 w 129519"/>
                  <a:gd name="connsiteY602" fmla="*/ 9610 h 133310"/>
                  <a:gd name="connsiteX603" fmla="*/ 90990 w 129519"/>
                  <a:gd name="connsiteY603" fmla="*/ 8464 h 133310"/>
                  <a:gd name="connsiteX604" fmla="*/ 89579 w 129519"/>
                  <a:gd name="connsiteY604" fmla="*/ 8200 h 133310"/>
                  <a:gd name="connsiteX605" fmla="*/ 88962 w 129519"/>
                  <a:gd name="connsiteY605" fmla="*/ 7582 h 133310"/>
                  <a:gd name="connsiteX606" fmla="*/ 88080 w 129519"/>
                  <a:gd name="connsiteY606" fmla="*/ 7053 h 133310"/>
                  <a:gd name="connsiteX607" fmla="*/ 86934 w 129519"/>
                  <a:gd name="connsiteY607" fmla="*/ 5819 h 133310"/>
                  <a:gd name="connsiteX608" fmla="*/ 86669 w 129519"/>
                  <a:gd name="connsiteY608" fmla="*/ 5555 h 133310"/>
                  <a:gd name="connsiteX609" fmla="*/ 85788 w 129519"/>
                  <a:gd name="connsiteY609" fmla="*/ 5819 h 133310"/>
                  <a:gd name="connsiteX610" fmla="*/ 84024 w 129519"/>
                  <a:gd name="connsiteY610" fmla="*/ 5819 h 133310"/>
                  <a:gd name="connsiteX611" fmla="*/ 83760 w 129519"/>
                  <a:gd name="connsiteY611" fmla="*/ 6172 h 133310"/>
                  <a:gd name="connsiteX612" fmla="*/ 83143 w 129519"/>
                  <a:gd name="connsiteY612" fmla="*/ 5555 h 133310"/>
                  <a:gd name="connsiteX613" fmla="*/ 82261 w 129519"/>
                  <a:gd name="connsiteY613" fmla="*/ 4937 h 133310"/>
                  <a:gd name="connsiteX614" fmla="*/ 80498 w 129519"/>
                  <a:gd name="connsiteY614" fmla="*/ 5819 h 133310"/>
                  <a:gd name="connsiteX615" fmla="*/ 80233 w 129519"/>
                  <a:gd name="connsiteY615" fmla="*/ 6172 h 133310"/>
                  <a:gd name="connsiteX616" fmla="*/ 78734 w 129519"/>
                  <a:gd name="connsiteY616" fmla="*/ 5819 h 133310"/>
                  <a:gd name="connsiteX617" fmla="*/ 78205 w 129519"/>
                  <a:gd name="connsiteY617" fmla="*/ 5819 h 133310"/>
                  <a:gd name="connsiteX618" fmla="*/ 77941 w 129519"/>
                  <a:gd name="connsiteY618" fmla="*/ 6436 h 133310"/>
                  <a:gd name="connsiteX619" fmla="*/ 78470 w 129519"/>
                  <a:gd name="connsiteY619" fmla="*/ 7582 h 133310"/>
                  <a:gd name="connsiteX620" fmla="*/ 77324 w 129519"/>
                  <a:gd name="connsiteY620" fmla="*/ 7582 h 133310"/>
                  <a:gd name="connsiteX621" fmla="*/ 76177 w 129519"/>
                  <a:gd name="connsiteY621" fmla="*/ 8200 h 133310"/>
                  <a:gd name="connsiteX622" fmla="*/ 75560 w 129519"/>
                  <a:gd name="connsiteY622" fmla="*/ 7582 h 133310"/>
                  <a:gd name="connsiteX623" fmla="*/ 74149 w 129519"/>
                  <a:gd name="connsiteY623" fmla="*/ 7582 h 133310"/>
                  <a:gd name="connsiteX624" fmla="*/ 72915 w 129519"/>
                  <a:gd name="connsiteY624" fmla="*/ 8200 h 133310"/>
                  <a:gd name="connsiteX625" fmla="*/ 72033 w 129519"/>
                  <a:gd name="connsiteY625" fmla="*/ 8729 h 133310"/>
                  <a:gd name="connsiteX626" fmla="*/ 70270 w 129519"/>
                  <a:gd name="connsiteY626" fmla="*/ 8200 h 133310"/>
                  <a:gd name="connsiteX627" fmla="*/ 68859 w 129519"/>
                  <a:gd name="connsiteY627" fmla="*/ 9610 h 133310"/>
                  <a:gd name="connsiteX628" fmla="*/ 67096 w 129519"/>
                  <a:gd name="connsiteY628" fmla="*/ 9081 h 133310"/>
                  <a:gd name="connsiteX629" fmla="*/ 65950 w 129519"/>
                  <a:gd name="connsiteY629" fmla="*/ 8200 h 133310"/>
                  <a:gd name="connsiteX630" fmla="*/ 64804 w 129519"/>
                  <a:gd name="connsiteY630" fmla="*/ 8729 h 133310"/>
                  <a:gd name="connsiteX631" fmla="*/ 64451 w 129519"/>
                  <a:gd name="connsiteY631" fmla="*/ 9081 h 133310"/>
                  <a:gd name="connsiteX632" fmla="*/ 63569 w 129519"/>
                  <a:gd name="connsiteY632" fmla="*/ 8729 h 133310"/>
                  <a:gd name="connsiteX633" fmla="*/ 62423 w 129519"/>
                  <a:gd name="connsiteY633" fmla="*/ 9610 h 133310"/>
                  <a:gd name="connsiteX634" fmla="*/ 61806 w 129519"/>
                  <a:gd name="connsiteY634" fmla="*/ 10845 h 133310"/>
                  <a:gd name="connsiteX635" fmla="*/ 60924 w 129519"/>
                  <a:gd name="connsiteY635" fmla="*/ 11374 h 133310"/>
                  <a:gd name="connsiteX636" fmla="*/ 57486 w 129519"/>
                  <a:gd name="connsiteY636" fmla="*/ 11374 h 133310"/>
                  <a:gd name="connsiteX637" fmla="*/ 55987 w 129519"/>
                  <a:gd name="connsiteY637" fmla="*/ 9963 h 133310"/>
                  <a:gd name="connsiteX638" fmla="*/ 53077 w 129519"/>
                  <a:gd name="connsiteY638" fmla="*/ 10845 h 133310"/>
                  <a:gd name="connsiteX639" fmla="*/ 51931 w 129519"/>
                  <a:gd name="connsiteY639" fmla="*/ 11374 h 133310"/>
                  <a:gd name="connsiteX640" fmla="*/ 52196 w 129519"/>
                  <a:gd name="connsiteY640" fmla="*/ 14636 h 133310"/>
                  <a:gd name="connsiteX641" fmla="*/ 51667 w 129519"/>
                  <a:gd name="connsiteY641" fmla="*/ 15165 h 133310"/>
                  <a:gd name="connsiteX642" fmla="*/ 50168 w 129519"/>
                  <a:gd name="connsiteY642" fmla="*/ 14019 h 133310"/>
                  <a:gd name="connsiteX643" fmla="*/ 49551 w 129519"/>
                  <a:gd name="connsiteY643" fmla="*/ 14636 h 133310"/>
                  <a:gd name="connsiteX644" fmla="*/ 49286 w 129519"/>
                  <a:gd name="connsiteY644" fmla="*/ 15165 h 133310"/>
                  <a:gd name="connsiteX645" fmla="*/ 49022 w 129519"/>
                  <a:gd name="connsiteY645" fmla="*/ 15782 h 133310"/>
                  <a:gd name="connsiteX646" fmla="*/ 47875 w 129519"/>
                  <a:gd name="connsiteY646" fmla="*/ 15165 h 133310"/>
                  <a:gd name="connsiteX647" fmla="*/ 45230 w 129519"/>
                  <a:gd name="connsiteY647" fmla="*/ 15782 h 133310"/>
                  <a:gd name="connsiteX648" fmla="*/ 44966 w 129519"/>
                  <a:gd name="connsiteY648" fmla="*/ 15165 h 133310"/>
                  <a:gd name="connsiteX649" fmla="*/ 44084 w 129519"/>
                  <a:gd name="connsiteY649" fmla="*/ 15165 h 133310"/>
                  <a:gd name="connsiteX650" fmla="*/ 42850 w 129519"/>
                  <a:gd name="connsiteY650" fmla="*/ 14636 h 133310"/>
                  <a:gd name="connsiteX651" fmla="*/ 40557 w 129519"/>
                  <a:gd name="connsiteY651" fmla="*/ 15165 h 133310"/>
                  <a:gd name="connsiteX652" fmla="*/ 39411 w 129519"/>
                  <a:gd name="connsiteY652" fmla="*/ 15782 h 133310"/>
                  <a:gd name="connsiteX653" fmla="*/ 37383 w 129519"/>
                  <a:gd name="connsiteY653" fmla="*/ 15165 h 133310"/>
                  <a:gd name="connsiteX654" fmla="*/ 35884 w 129519"/>
                  <a:gd name="connsiteY654" fmla="*/ 16311 h 133310"/>
                  <a:gd name="connsiteX655" fmla="*/ 35267 w 129519"/>
                  <a:gd name="connsiteY655" fmla="*/ 16928 h 133310"/>
                  <a:gd name="connsiteX656" fmla="*/ 33857 w 129519"/>
                  <a:gd name="connsiteY656" fmla="*/ 18956 h 133310"/>
                  <a:gd name="connsiteX657" fmla="*/ 32710 w 129519"/>
                  <a:gd name="connsiteY657" fmla="*/ 19838 h 133310"/>
                  <a:gd name="connsiteX658" fmla="*/ 31211 w 129519"/>
                  <a:gd name="connsiteY658" fmla="*/ 20102 h 133310"/>
                  <a:gd name="connsiteX659" fmla="*/ 30947 w 129519"/>
                  <a:gd name="connsiteY659" fmla="*/ 20720 h 133310"/>
                  <a:gd name="connsiteX660" fmla="*/ 29448 w 129519"/>
                  <a:gd name="connsiteY660" fmla="*/ 21866 h 133310"/>
                  <a:gd name="connsiteX661" fmla="*/ 27685 w 129519"/>
                  <a:gd name="connsiteY661" fmla="*/ 21601 h 133310"/>
                  <a:gd name="connsiteX662" fmla="*/ 27420 w 129519"/>
                  <a:gd name="connsiteY662" fmla="*/ 20455 h 133310"/>
                  <a:gd name="connsiteX663" fmla="*/ 26010 w 129519"/>
                  <a:gd name="connsiteY663" fmla="*/ 20455 h 133310"/>
                  <a:gd name="connsiteX664" fmla="*/ 25392 w 129519"/>
                  <a:gd name="connsiteY664" fmla="*/ 21601 h 133310"/>
                  <a:gd name="connsiteX665" fmla="*/ 16664 w 129519"/>
                  <a:gd name="connsiteY665" fmla="*/ 22130 h 133310"/>
                  <a:gd name="connsiteX666" fmla="*/ 16664 w 129519"/>
                  <a:gd name="connsiteY666" fmla="*/ 23365 h 133310"/>
                  <a:gd name="connsiteX667" fmla="*/ 16664 w 129519"/>
                  <a:gd name="connsiteY667" fmla="*/ 23894 h 133310"/>
                  <a:gd name="connsiteX668" fmla="*/ 18074 w 129519"/>
                  <a:gd name="connsiteY668" fmla="*/ 27156 h 133310"/>
                  <a:gd name="connsiteX669" fmla="*/ 18427 w 129519"/>
                  <a:gd name="connsiteY669" fmla="*/ 29448 h 133310"/>
                  <a:gd name="connsiteX670" fmla="*/ 17193 w 129519"/>
                  <a:gd name="connsiteY670" fmla="*/ 30947 h 133310"/>
                  <a:gd name="connsiteX671" fmla="*/ 17193 w 129519"/>
                  <a:gd name="connsiteY671" fmla="*/ 31829 h 133310"/>
                  <a:gd name="connsiteX672" fmla="*/ 16311 w 129519"/>
                  <a:gd name="connsiteY672" fmla="*/ 32093 h 133310"/>
                  <a:gd name="connsiteX673" fmla="*/ 15429 w 129519"/>
                  <a:gd name="connsiteY673" fmla="*/ 31476 h 133310"/>
                  <a:gd name="connsiteX674" fmla="*/ 14636 w 129519"/>
                  <a:gd name="connsiteY674" fmla="*/ 32093 h 133310"/>
                  <a:gd name="connsiteX675" fmla="*/ 13401 w 129519"/>
                  <a:gd name="connsiteY675" fmla="*/ 32711 h 133310"/>
                  <a:gd name="connsiteX676" fmla="*/ 13137 w 129519"/>
                  <a:gd name="connsiteY676" fmla="*/ 33857 h 133310"/>
                  <a:gd name="connsiteX677" fmla="*/ 13754 w 129519"/>
                  <a:gd name="connsiteY677" fmla="*/ 35003 h 133310"/>
                  <a:gd name="connsiteX678" fmla="*/ 12608 w 129519"/>
                  <a:gd name="connsiteY678" fmla="*/ 36149 h 133310"/>
                  <a:gd name="connsiteX679" fmla="*/ 12255 w 129519"/>
                  <a:gd name="connsiteY679" fmla="*/ 37648 h 133310"/>
                  <a:gd name="connsiteX680" fmla="*/ 12608 w 129519"/>
                  <a:gd name="connsiteY680" fmla="*/ 38177 h 133310"/>
                  <a:gd name="connsiteX681" fmla="*/ 12255 w 129519"/>
                  <a:gd name="connsiteY681" fmla="*/ 38794 h 133310"/>
                  <a:gd name="connsiteX682" fmla="*/ 12608 w 129519"/>
                  <a:gd name="connsiteY682" fmla="*/ 40293 h 133310"/>
                  <a:gd name="connsiteX683" fmla="*/ 11991 w 129519"/>
                  <a:gd name="connsiteY683" fmla="*/ 40822 h 133310"/>
                  <a:gd name="connsiteX684" fmla="*/ 10227 w 129519"/>
                  <a:gd name="connsiteY684" fmla="*/ 41439 h 133310"/>
                  <a:gd name="connsiteX685" fmla="*/ 9610 w 129519"/>
                  <a:gd name="connsiteY685" fmla="*/ 40822 h 133310"/>
                  <a:gd name="connsiteX686" fmla="*/ 8817 w 129519"/>
                  <a:gd name="connsiteY686" fmla="*/ 41439 h 133310"/>
                  <a:gd name="connsiteX687" fmla="*/ 7582 w 129519"/>
                  <a:gd name="connsiteY687" fmla="*/ 41439 h 133310"/>
                  <a:gd name="connsiteX688" fmla="*/ 7318 w 129519"/>
                  <a:gd name="connsiteY688" fmla="*/ 42321 h 133310"/>
                  <a:gd name="connsiteX689" fmla="*/ 6172 w 129519"/>
                  <a:gd name="connsiteY689" fmla="*/ 42585 h 133310"/>
                  <a:gd name="connsiteX690" fmla="*/ 5819 w 129519"/>
                  <a:gd name="connsiteY690" fmla="*/ 44613 h 133310"/>
                  <a:gd name="connsiteX691" fmla="*/ 6701 w 129519"/>
                  <a:gd name="connsiteY691" fmla="*/ 45495 h 133310"/>
                  <a:gd name="connsiteX692" fmla="*/ 7582 w 129519"/>
                  <a:gd name="connsiteY692" fmla="*/ 46112 h 133310"/>
                  <a:gd name="connsiteX693" fmla="*/ 8200 w 129519"/>
                  <a:gd name="connsiteY693" fmla="*/ 48404 h 133310"/>
                  <a:gd name="connsiteX694" fmla="*/ 8200 w 129519"/>
                  <a:gd name="connsiteY694" fmla="*/ 49022 h 133310"/>
                  <a:gd name="connsiteX695" fmla="*/ 7582 w 129519"/>
                  <a:gd name="connsiteY695" fmla="*/ 48404 h 133310"/>
                  <a:gd name="connsiteX696" fmla="*/ 7053 w 129519"/>
                  <a:gd name="connsiteY696" fmla="*/ 49022 h 133310"/>
                  <a:gd name="connsiteX697" fmla="*/ 6701 w 129519"/>
                  <a:gd name="connsiteY697" fmla="*/ 49639 h 133310"/>
                  <a:gd name="connsiteX698" fmla="*/ 5290 w 129519"/>
                  <a:gd name="connsiteY698" fmla="*/ 50432 h 133310"/>
                  <a:gd name="connsiteX699" fmla="*/ 5025 w 129519"/>
                  <a:gd name="connsiteY699" fmla="*/ 51314 h 133310"/>
                  <a:gd name="connsiteX700" fmla="*/ 3262 w 129519"/>
                  <a:gd name="connsiteY700" fmla="*/ 52196 h 133310"/>
                  <a:gd name="connsiteX701" fmla="*/ 1763 w 129519"/>
                  <a:gd name="connsiteY701" fmla="*/ 52196 h 133310"/>
                  <a:gd name="connsiteX702" fmla="*/ 0 w 129519"/>
                  <a:gd name="connsiteY702" fmla="*/ 51314 h 133310"/>
                  <a:gd name="connsiteX703" fmla="*/ 1763 w 129519"/>
                  <a:gd name="connsiteY703" fmla="*/ 52196 h 133310"/>
                  <a:gd name="connsiteX704" fmla="*/ 3262 w 129519"/>
                  <a:gd name="connsiteY704" fmla="*/ 52813 h 133310"/>
                  <a:gd name="connsiteX705" fmla="*/ 3791 w 129519"/>
                  <a:gd name="connsiteY705" fmla="*/ 53695 h 133310"/>
                  <a:gd name="connsiteX706" fmla="*/ 3527 w 129519"/>
                  <a:gd name="connsiteY706" fmla="*/ 53959 h 133310"/>
                  <a:gd name="connsiteX707" fmla="*/ 2645 w 129519"/>
                  <a:gd name="connsiteY707" fmla="*/ 53695 h 133310"/>
                  <a:gd name="connsiteX708" fmla="*/ 2028 w 129519"/>
                  <a:gd name="connsiteY708" fmla="*/ 53959 h 133310"/>
                  <a:gd name="connsiteX709" fmla="*/ 2909 w 129519"/>
                  <a:gd name="connsiteY709" fmla="*/ 54224 h 133310"/>
                  <a:gd name="connsiteX710" fmla="*/ 3527 w 129519"/>
                  <a:gd name="connsiteY710" fmla="*/ 54841 h 133310"/>
                  <a:gd name="connsiteX711" fmla="*/ 3527 w 129519"/>
                  <a:gd name="connsiteY711" fmla="*/ 55458 h 133310"/>
                  <a:gd name="connsiteX712" fmla="*/ 4144 w 129519"/>
                  <a:gd name="connsiteY712" fmla="*/ 55458 h 133310"/>
                  <a:gd name="connsiteX713" fmla="*/ 4408 w 129519"/>
                  <a:gd name="connsiteY713" fmla="*/ 55987 h 133310"/>
                  <a:gd name="connsiteX714" fmla="*/ 3527 w 129519"/>
                  <a:gd name="connsiteY714" fmla="*/ 55987 h 133310"/>
                  <a:gd name="connsiteX715" fmla="*/ 4408 w 129519"/>
                  <a:gd name="connsiteY715" fmla="*/ 56604 h 133310"/>
                  <a:gd name="connsiteX716" fmla="*/ 3791 w 129519"/>
                  <a:gd name="connsiteY716" fmla="*/ 57133 h 133310"/>
                  <a:gd name="connsiteX717" fmla="*/ 4144 w 129519"/>
                  <a:gd name="connsiteY717" fmla="*/ 57750 h 133310"/>
                  <a:gd name="connsiteX718" fmla="*/ 5290 w 129519"/>
                  <a:gd name="connsiteY718" fmla="*/ 58015 h 133310"/>
                  <a:gd name="connsiteX719" fmla="*/ 6701 w 129519"/>
                  <a:gd name="connsiteY719" fmla="*/ 58632 h 133310"/>
                  <a:gd name="connsiteX720" fmla="*/ 7318 w 129519"/>
                  <a:gd name="connsiteY720" fmla="*/ 58632 h 133310"/>
                  <a:gd name="connsiteX721" fmla="*/ 7582 w 129519"/>
                  <a:gd name="connsiteY721" fmla="*/ 59778 h 133310"/>
                  <a:gd name="connsiteX722" fmla="*/ 8817 w 129519"/>
                  <a:gd name="connsiteY722" fmla="*/ 60660 h 133310"/>
                  <a:gd name="connsiteX723" fmla="*/ 9081 w 129519"/>
                  <a:gd name="connsiteY723" fmla="*/ 60660 h 133310"/>
                  <a:gd name="connsiteX724" fmla="*/ 10757 w 129519"/>
                  <a:gd name="connsiteY724" fmla="*/ 60131 h 133310"/>
                  <a:gd name="connsiteX725" fmla="*/ 11638 w 129519"/>
                  <a:gd name="connsiteY725" fmla="*/ 60660 h 133310"/>
                  <a:gd name="connsiteX726" fmla="*/ 12255 w 129519"/>
                  <a:gd name="connsiteY726" fmla="*/ 61542 h 133310"/>
                  <a:gd name="connsiteX727" fmla="*/ 11991 w 129519"/>
                  <a:gd name="connsiteY727" fmla="*/ 62423 h 133310"/>
                  <a:gd name="connsiteX728" fmla="*/ 11991 w 129519"/>
                  <a:gd name="connsiteY728" fmla="*/ 63569 h 133310"/>
                  <a:gd name="connsiteX729" fmla="*/ 13401 w 129519"/>
                  <a:gd name="connsiteY729" fmla="*/ 64716 h 133310"/>
                  <a:gd name="connsiteX730" fmla="*/ 14636 w 129519"/>
                  <a:gd name="connsiteY730" fmla="*/ 66832 h 133310"/>
                  <a:gd name="connsiteX731" fmla="*/ 14900 w 129519"/>
                  <a:gd name="connsiteY731" fmla="*/ 68242 h 133310"/>
                  <a:gd name="connsiteX732" fmla="*/ 14900 w 129519"/>
                  <a:gd name="connsiteY732" fmla="*/ 68507 h 133310"/>
                  <a:gd name="connsiteX733" fmla="*/ 14636 w 129519"/>
                  <a:gd name="connsiteY733" fmla="*/ 69124 h 133310"/>
                  <a:gd name="connsiteX734" fmla="*/ 14636 w 129519"/>
                  <a:gd name="connsiteY734" fmla="*/ 70006 h 133310"/>
                  <a:gd name="connsiteX735" fmla="*/ 15429 w 129519"/>
                  <a:gd name="connsiteY735" fmla="*/ 70270 h 133310"/>
                  <a:gd name="connsiteX736" fmla="*/ 16046 w 129519"/>
                  <a:gd name="connsiteY736" fmla="*/ 70006 h 133310"/>
                  <a:gd name="connsiteX737" fmla="*/ 17810 w 129519"/>
                  <a:gd name="connsiteY737" fmla="*/ 69389 h 133310"/>
                  <a:gd name="connsiteX738" fmla="*/ 17545 w 129519"/>
                  <a:gd name="connsiteY738" fmla="*/ 68859 h 133310"/>
                  <a:gd name="connsiteX739" fmla="*/ 16311 w 129519"/>
                  <a:gd name="connsiteY739" fmla="*/ 68242 h 133310"/>
                  <a:gd name="connsiteX740" fmla="*/ 17545 w 129519"/>
                  <a:gd name="connsiteY740" fmla="*/ 66215 h 133310"/>
                  <a:gd name="connsiteX741" fmla="*/ 16311 w 129519"/>
                  <a:gd name="connsiteY741" fmla="*/ 66215 h 133310"/>
                  <a:gd name="connsiteX742" fmla="*/ 16046 w 129519"/>
                  <a:gd name="connsiteY742" fmla="*/ 65597 h 133310"/>
                  <a:gd name="connsiteX743" fmla="*/ 17545 w 129519"/>
                  <a:gd name="connsiteY743" fmla="*/ 64716 h 133310"/>
                  <a:gd name="connsiteX744" fmla="*/ 18427 w 129519"/>
                  <a:gd name="connsiteY744" fmla="*/ 65950 h 133310"/>
                  <a:gd name="connsiteX745" fmla="*/ 18427 w 129519"/>
                  <a:gd name="connsiteY745" fmla="*/ 66215 h 133310"/>
                  <a:gd name="connsiteX746" fmla="*/ 17545 w 129519"/>
                  <a:gd name="connsiteY746" fmla="*/ 66832 h 133310"/>
                  <a:gd name="connsiteX747" fmla="*/ 18074 w 129519"/>
                  <a:gd name="connsiteY747" fmla="*/ 67096 h 133310"/>
                  <a:gd name="connsiteX748" fmla="*/ 19221 w 129519"/>
                  <a:gd name="connsiteY748" fmla="*/ 66832 h 133310"/>
                  <a:gd name="connsiteX749" fmla="*/ 20455 w 129519"/>
                  <a:gd name="connsiteY749" fmla="*/ 66832 h 133310"/>
                  <a:gd name="connsiteX750" fmla="*/ 20455 w 129519"/>
                  <a:gd name="connsiteY750" fmla="*/ 67361 h 133310"/>
                  <a:gd name="connsiteX751" fmla="*/ 20102 w 129519"/>
                  <a:gd name="connsiteY751" fmla="*/ 67978 h 133310"/>
                  <a:gd name="connsiteX752" fmla="*/ 20719 w 129519"/>
                  <a:gd name="connsiteY752" fmla="*/ 67978 h 133310"/>
                  <a:gd name="connsiteX753" fmla="*/ 21337 w 129519"/>
                  <a:gd name="connsiteY753" fmla="*/ 68242 h 133310"/>
                  <a:gd name="connsiteX754" fmla="*/ 21601 w 129519"/>
                  <a:gd name="connsiteY754" fmla="*/ 68242 h 133310"/>
                  <a:gd name="connsiteX755" fmla="*/ 21601 w 129519"/>
                  <a:gd name="connsiteY755" fmla="*/ 67361 h 133310"/>
                  <a:gd name="connsiteX756" fmla="*/ 23982 w 129519"/>
                  <a:gd name="connsiteY756" fmla="*/ 67713 h 133310"/>
                  <a:gd name="connsiteX757" fmla="*/ 24511 w 129519"/>
                  <a:gd name="connsiteY757" fmla="*/ 67978 h 133310"/>
                  <a:gd name="connsiteX758" fmla="*/ 24775 w 129519"/>
                  <a:gd name="connsiteY758" fmla="*/ 68507 h 133310"/>
                  <a:gd name="connsiteX759" fmla="*/ 23982 w 129519"/>
                  <a:gd name="connsiteY759" fmla="*/ 68507 h 133310"/>
                  <a:gd name="connsiteX760" fmla="*/ 23629 w 129519"/>
                  <a:gd name="connsiteY760" fmla="*/ 69389 h 133310"/>
                  <a:gd name="connsiteX761" fmla="*/ 23629 w 129519"/>
                  <a:gd name="connsiteY761" fmla="*/ 70006 h 133310"/>
                  <a:gd name="connsiteX762" fmla="*/ 23365 w 129519"/>
                  <a:gd name="connsiteY762" fmla="*/ 70887 h 133310"/>
                  <a:gd name="connsiteX763" fmla="*/ 22483 w 129519"/>
                  <a:gd name="connsiteY763" fmla="*/ 71769 h 133310"/>
                  <a:gd name="connsiteX764" fmla="*/ 22218 w 129519"/>
                  <a:gd name="connsiteY764" fmla="*/ 72034 h 133310"/>
                  <a:gd name="connsiteX765" fmla="*/ 21866 w 129519"/>
                  <a:gd name="connsiteY765" fmla="*/ 71152 h 133310"/>
                  <a:gd name="connsiteX766" fmla="*/ 21866 w 129519"/>
                  <a:gd name="connsiteY766" fmla="*/ 70006 h 133310"/>
                  <a:gd name="connsiteX767" fmla="*/ 20719 w 129519"/>
                  <a:gd name="connsiteY767" fmla="*/ 69389 h 133310"/>
                  <a:gd name="connsiteX768" fmla="*/ 20719 w 129519"/>
                  <a:gd name="connsiteY768" fmla="*/ 70270 h 133310"/>
                  <a:gd name="connsiteX769" fmla="*/ 19573 w 129519"/>
                  <a:gd name="connsiteY769" fmla="*/ 69389 h 133310"/>
                  <a:gd name="connsiteX770" fmla="*/ 18692 w 129519"/>
                  <a:gd name="connsiteY770" fmla="*/ 70006 h 133310"/>
                  <a:gd name="connsiteX771" fmla="*/ 17810 w 129519"/>
                  <a:gd name="connsiteY771" fmla="*/ 70006 h 133310"/>
                  <a:gd name="connsiteX772" fmla="*/ 16046 w 129519"/>
                  <a:gd name="connsiteY772" fmla="*/ 70623 h 133310"/>
                  <a:gd name="connsiteX773" fmla="*/ 16311 w 129519"/>
                  <a:gd name="connsiteY773" fmla="*/ 71152 h 133310"/>
                  <a:gd name="connsiteX774" fmla="*/ 16928 w 129519"/>
                  <a:gd name="connsiteY774" fmla="*/ 71505 h 133310"/>
                  <a:gd name="connsiteX775" fmla="*/ 17545 w 129519"/>
                  <a:gd name="connsiteY775" fmla="*/ 71152 h 133310"/>
                  <a:gd name="connsiteX776" fmla="*/ 18074 w 129519"/>
                  <a:gd name="connsiteY776" fmla="*/ 72034 h 133310"/>
                  <a:gd name="connsiteX777" fmla="*/ 17193 w 129519"/>
                  <a:gd name="connsiteY777" fmla="*/ 72034 h 133310"/>
                  <a:gd name="connsiteX778" fmla="*/ 16664 w 129519"/>
                  <a:gd name="connsiteY778" fmla="*/ 72034 h 133310"/>
                  <a:gd name="connsiteX779" fmla="*/ 16664 w 129519"/>
                  <a:gd name="connsiteY779" fmla="*/ 72651 h 133310"/>
                  <a:gd name="connsiteX780" fmla="*/ 16928 w 129519"/>
                  <a:gd name="connsiteY780" fmla="*/ 73180 h 133310"/>
                  <a:gd name="connsiteX781" fmla="*/ 16928 w 129519"/>
                  <a:gd name="connsiteY781" fmla="*/ 73797 h 133310"/>
                  <a:gd name="connsiteX782" fmla="*/ 17545 w 129519"/>
                  <a:gd name="connsiteY782" fmla="*/ 73797 h 133310"/>
                  <a:gd name="connsiteX783" fmla="*/ 18074 w 129519"/>
                  <a:gd name="connsiteY783" fmla="*/ 73180 h 133310"/>
                  <a:gd name="connsiteX784" fmla="*/ 19221 w 129519"/>
                  <a:gd name="connsiteY784" fmla="*/ 73180 h 133310"/>
                  <a:gd name="connsiteX785" fmla="*/ 19838 w 129519"/>
                  <a:gd name="connsiteY785" fmla="*/ 73180 h 133310"/>
                  <a:gd name="connsiteX786" fmla="*/ 19838 w 129519"/>
                  <a:gd name="connsiteY786" fmla="*/ 74062 h 133310"/>
                  <a:gd name="connsiteX787" fmla="*/ 19221 w 129519"/>
                  <a:gd name="connsiteY787" fmla="*/ 75296 h 133310"/>
                  <a:gd name="connsiteX788" fmla="*/ 20102 w 129519"/>
                  <a:gd name="connsiteY788" fmla="*/ 76089 h 133310"/>
                  <a:gd name="connsiteX789" fmla="*/ 21337 w 129519"/>
                  <a:gd name="connsiteY789" fmla="*/ 76089 h 133310"/>
                  <a:gd name="connsiteX790" fmla="*/ 22483 w 129519"/>
                  <a:gd name="connsiteY790" fmla="*/ 77588 h 133310"/>
                  <a:gd name="connsiteX791" fmla="*/ 22747 w 129519"/>
                  <a:gd name="connsiteY791" fmla="*/ 79352 h 133310"/>
                  <a:gd name="connsiteX792" fmla="*/ 23012 w 129519"/>
                  <a:gd name="connsiteY792" fmla="*/ 79969 h 133310"/>
                  <a:gd name="connsiteX793" fmla="*/ 24246 w 129519"/>
                  <a:gd name="connsiteY793" fmla="*/ 79616 h 133310"/>
                  <a:gd name="connsiteX794" fmla="*/ 24246 w 129519"/>
                  <a:gd name="connsiteY794" fmla="*/ 80233 h 133310"/>
                  <a:gd name="connsiteX795" fmla="*/ 24775 w 129519"/>
                  <a:gd name="connsiteY795" fmla="*/ 80762 h 133310"/>
                  <a:gd name="connsiteX796" fmla="*/ 24246 w 129519"/>
                  <a:gd name="connsiteY796" fmla="*/ 80498 h 133310"/>
                  <a:gd name="connsiteX797" fmla="*/ 24246 w 129519"/>
                  <a:gd name="connsiteY797" fmla="*/ 81115 h 133310"/>
                  <a:gd name="connsiteX798" fmla="*/ 24775 w 129519"/>
                  <a:gd name="connsiteY798" fmla="*/ 81997 h 133310"/>
                  <a:gd name="connsiteX799" fmla="*/ 24775 w 129519"/>
                  <a:gd name="connsiteY799" fmla="*/ 82790 h 133310"/>
                  <a:gd name="connsiteX800" fmla="*/ 24775 w 129519"/>
                  <a:gd name="connsiteY800" fmla="*/ 83143 h 133310"/>
                  <a:gd name="connsiteX801" fmla="*/ 24775 w 129519"/>
                  <a:gd name="connsiteY801" fmla="*/ 84024 h 133310"/>
                  <a:gd name="connsiteX802" fmla="*/ 25128 w 129519"/>
                  <a:gd name="connsiteY802" fmla="*/ 84553 h 133310"/>
                  <a:gd name="connsiteX803" fmla="*/ 24775 w 129519"/>
                  <a:gd name="connsiteY803" fmla="*/ 84906 h 133310"/>
                  <a:gd name="connsiteX804" fmla="*/ 25128 w 129519"/>
                  <a:gd name="connsiteY804" fmla="*/ 85171 h 133310"/>
                  <a:gd name="connsiteX805" fmla="*/ 25392 w 129519"/>
                  <a:gd name="connsiteY805" fmla="*/ 85435 h 133310"/>
                  <a:gd name="connsiteX806" fmla="*/ 25392 w 129519"/>
                  <a:gd name="connsiteY806" fmla="*/ 85171 h 133310"/>
                  <a:gd name="connsiteX807" fmla="*/ 26274 w 129519"/>
                  <a:gd name="connsiteY807" fmla="*/ 85171 h 133310"/>
                  <a:gd name="connsiteX808" fmla="*/ 26538 w 129519"/>
                  <a:gd name="connsiteY808" fmla="*/ 85171 h 133310"/>
                  <a:gd name="connsiteX809" fmla="*/ 27156 w 129519"/>
                  <a:gd name="connsiteY809" fmla="*/ 85171 h 133310"/>
                  <a:gd name="connsiteX810" fmla="*/ 27685 w 129519"/>
                  <a:gd name="connsiteY810" fmla="*/ 85171 h 133310"/>
                  <a:gd name="connsiteX811" fmla="*/ 28037 w 129519"/>
                  <a:gd name="connsiteY811" fmla="*/ 84906 h 133310"/>
                  <a:gd name="connsiteX812" fmla="*/ 27685 w 129519"/>
                  <a:gd name="connsiteY812" fmla="*/ 84553 h 133310"/>
                  <a:gd name="connsiteX813" fmla="*/ 28037 w 129519"/>
                  <a:gd name="connsiteY813" fmla="*/ 83760 h 133310"/>
                  <a:gd name="connsiteX814" fmla="*/ 27685 w 129519"/>
                  <a:gd name="connsiteY814" fmla="*/ 83143 h 133310"/>
                  <a:gd name="connsiteX815" fmla="*/ 28302 w 129519"/>
                  <a:gd name="connsiteY815" fmla="*/ 83143 h 133310"/>
                  <a:gd name="connsiteX816" fmla="*/ 29801 w 129519"/>
                  <a:gd name="connsiteY816" fmla="*/ 83143 h 133310"/>
                  <a:gd name="connsiteX817" fmla="*/ 30947 w 129519"/>
                  <a:gd name="connsiteY817" fmla="*/ 83143 h 133310"/>
                  <a:gd name="connsiteX818" fmla="*/ 32093 w 129519"/>
                  <a:gd name="connsiteY818" fmla="*/ 83143 h 133310"/>
                  <a:gd name="connsiteX819" fmla="*/ 32358 w 129519"/>
                  <a:gd name="connsiteY819" fmla="*/ 83407 h 133310"/>
                  <a:gd name="connsiteX820" fmla="*/ 32710 w 129519"/>
                  <a:gd name="connsiteY820" fmla="*/ 83143 h 133310"/>
                  <a:gd name="connsiteX821" fmla="*/ 32975 w 129519"/>
                  <a:gd name="connsiteY821" fmla="*/ 84024 h 133310"/>
                  <a:gd name="connsiteX822" fmla="*/ 32975 w 129519"/>
                  <a:gd name="connsiteY822" fmla="*/ 84553 h 133310"/>
                  <a:gd name="connsiteX823" fmla="*/ 32358 w 129519"/>
                  <a:gd name="connsiteY823" fmla="*/ 84553 h 133310"/>
                  <a:gd name="connsiteX824" fmla="*/ 32975 w 129519"/>
                  <a:gd name="connsiteY824" fmla="*/ 85171 h 133310"/>
                  <a:gd name="connsiteX825" fmla="*/ 33592 w 129519"/>
                  <a:gd name="connsiteY825" fmla="*/ 85171 h 133310"/>
                  <a:gd name="connsiteX826" fmla="*/ 33239 w 129519"/>
                  <a:gd name="connsiteY826" fmla="*/ 84906 h 133310"/>
                  <a:gd name="connsiteX827" fmla="*/ 33239 w 129519"/>
                  <a:gd name="connsiteY827" fmla="*/ 84553 h 133310"/>
                  <a:gd name="connsiteX828" fmla="*/ 36502 w 129519"/>
                  <a:gd name="connsiteY828" fmla="*/ 84024 h 133310"/>
                  <a:gd name="connsiteX829" fmla="*/ 37648 w 129519"/>
                  <a:gd name="connsiteY829" fmla="*/ 84024 h 133310"/>
                  <a:gd name="connsiteX830" fmla="*/ 38530 w 129519"/>
                  <a:gd name="connsiteY830" fmla="*/ 84553 h 133310"/>
                  <a:gd name="connsiteX831" fmla="*/ 38530 w 129519"/>
                  <a:gd name="connsiteY831" fmla="*/ 84289 h 133310"/>
                  <a:gd name="connsiteX832" fmla="*/ 38265 w 129519"/>
                  <a:gd name="connsiteY832" fmla="*/ 83760 h 133310"/>
                  <a:gd name="connsiteX833" fmla="*/ 38265 w 129519"/>
                  <a:gd name="connsiteY833" fmla="*/ 83143 h 133310"/>
                  <a:gd name="connsiteX834" fmla="*/ 39411 w 129519"/>
                  <a:gd name="connsiteY834" fmla="*/ 82790 h 133310"/>
                  <a:gd name="connsiteX835" fmla="*/ 41174 w 129519"/>
                  <a:gd name="connsiteY835" fmla="*/ 83143 h 133310"/>
                  <a:gd name="connsiteX836" fmla="*/ 42321 w 129519"/>
                  <a:gd name="connsiteY836" fmla="*/ 82790 h 133310"/>
                  <a:gd name="connsiteX837" fmla="*/ 43467 w 129519"/>
                  <a:gd name="connsiteY837" fmla="*/ 82790 h 133310"/>
                  <a:gd name="connsiteX838" fmla="*/ 45495 w 129519"/>
                  <a:gd name="connsiteY838" fmla="*/ 83143 h 133310"/>
                  <a:gd name="connsiteX839" fmla="*/ 46729 w 129519"/>
                  <a:gd name="connsiteY839" fmla="*/ 84553 h 133310"/>
                  <a:gd name="connsiteX840" fmla="*/ 46729 w 129519"/>
                  <a:gd name="connsiteY840" fmla="*/ 85171 h 133310"/>
                  <a:gd name="connsiteX841" fmla="*/ 47258 w 129519"/>
                  <a:gd name="connsiteY841" fmla="*/ 85435 h 133310"/>
                  <a:gd name="connsiteX842" fmla="*/ 48757 w 129519"/>
                  <a:gd name="connsiteY842" fmla="*/ 84553 h 133310"/>
                  <a:gd name="connsiteX843" fmla="*/ 48757 w 129519"/>
                  <a:gd name="connsiteY843" fmla="*/ 83760 h 133310"/>
                  <a:gd name="connsiteX844" fmla="*/ 49022 w 129519"/>
                  <a:gd name="connsiteY844" fmla="*/ 83143 h 133310"/>
                  <a:gd name="connsiteX845" fmla="*/ 49551 w 129519"/>
                  <a:gd name="connsiteY845" fmla="*/ 83407 h 133310"/>
                  <a:gd name="connsiteX846" fmla="*/ 50168 w 129519"/>
                  <a:gd name="connsiteY846" fmla="*/ 84289 h 133310"/>
                  <a:gd name="connsiteX847" fmla="*/ 50432 w 129519"/>
                  <a:gd name="connsiteY847" fmla="*/ 84553 h 133310"/>
                  <a:gd name="connsiteX848" fmla="*/ 50168 w 129519"/>
                  <a:gd name="connsiteY848" fmla="*/ 84024 h 133310"/>
                  <a:gd name="connsiteX849" fmla="*/ 51667 w 129519"/>
                  <a:gd name="connsiteY849" fmla="*/ 84553 h 133310"/>
                  <a:gd name="connsiteX850" fmla="*/ 51402 w 129519"/>
                  <a:gd name="connsiteY850" fmla="*/ 83143 h 133310"/>
                  <a:gd name="connsiteX851" fmla="*/ 51402 w 129519"/>
                  <a:gd name="connsiteY851" fmla="*/ 82790 h 133310"/>
                  <a:gd name="connsiteX852" fmla="*/ 51049 w 129519"/>
                  <a:gd name="connsiteY852" fmla="*/ 81644 h 133310"/>
                  <a:gd name="connsiteX853" fmla="*/ 52548 w 129519"/>
                  <a:gd name="connsiteY853" fmla="*/ 82790 h 133310"/>
                  <a:gd name="connsiteX854" fmla="*/ 54311 w 129519"/>
                  <a:gd name="connsiteY854" fmla="*/ 84024 h 133310"/>
                  <a:gd name="connsiteX855" fmla="*/ 54311 w 129519"/>
                  <a:gd name="connsiteY855" fmla="*/ 84553 h 133310"/>
                  <a:gd name="connsiteX856" fmla="*/ 54311 w 129519"/>
                  <a:gd name="connsiteY856" fmla="*/ 86670 h 133310"/>
                  <a:gd name="connsiteX857" fmla="*/ 55458 w 129519"/>
                  <a:gd name="connsiteY857" fmla="*/ 86934 h 133310"/>
                  <a:gd name="connsiteX858" fmla="*/ 55722 w 129519"/>
                  <a:gd name="connsiteY858" fmla="*/ 85171 h 133310"/>
                  <a:gd name="connsiteX859" fmla="*/ 55722 w 129519"/>
                  <a:gd name="connsiteY859" fmla="*/ 84553 h 133310"/>
                  <a:gd name="connsiteX860" fmla="*/ 55458 w 129519"/>
                  <a:gd name="connsiteY860" fmla="*/ 84024 h 133310"/>
                  <a:gd name="connsiteX861" fmla="*/ 55458 w 129519"/>
                  <a:gd name="connsiteY861" fmla="*/ 83143 h 133310"/>
                  <a:gd name="connsiteX862" fmla="*/ 56604 w 129519"/>
                  <a:gd name="connsiteY862" fmla="*/ 83143 h 133310"/>
                  <a:gd name="connsiteX863" fmla="*/ 58015 w 129519"/>
                  <a:gd name="connsiteY863" fmla="*/ 85171 h 133310"/>
                  <a:gd name="connsiteX864" fmla="*/ 60131 w 129519"/>
                  <a:gd name="connsiteY864" fmla="*/ 86670 h 133310"/>
                  <a:gd name="connsiteX865" fmla="*/ 58896 w 129519"/>
                  <a:gd name="connsiteY865" fmla="*/ 86670 h 133310"/>
                  <a:gd name="connsiteX866" fmla="*/ 58896 w 129519"/>
                  <a:gd name="connsiteY866" fmla="*/ 87816 h 133310"/>
                  <a:gd name="connsiteX867" fmla="*/ 60660 w 129519"/>
                  <a:gd name="connsiteY867" fmla="*/ 87551 h 133310"/>
                  <a:gd name="connsiteX868" fmla="*/ 60660 w 129519"/>
                  <a:gd name="connsiteY868" fmla="*/ 88962 h 133310"/>
                  <a:gd name="connsiteX869" fmla="*/ 62776 w 129519"/>
                  <a:gd name="connsiteY869" fmla="*/ 89579 h 133310"/>
                  <a:gd name="connsiteX870" fmla="*/ 63040 w 129519"/>
                  <a:gd name="connsiteY870" fmla="*/ 88345 h 133310"/>
                  <a:gd name="connsiteX871" fmla="*/ 61541 w 129519"/>
                  <a:gd name="connsiteY871" fmla="*/ 88345 h 133310"/>
                  <a:gd name="connsiteX872" fmla="*/ 63305 w 129519"/>
                  <a:gd name="connsiteY872" fmla="*/ 87551 h 133310"/>
                  <a:gd name="connsiteX873" fmla="*/ 64451 w 129519"/>
                  <a:gd name="connsiteY873" fmla="*/ 87816 h 133310"/>
                  <a:gd name="connsiteX874" fmla="*/ 64451 w 129519"/>
                  <a:gd name="connsiteY874" fmla="*/ 88345 h 133310"/>
                  <a:gd name="connsiteX875" fmla="*/ 64451 w 129519"/>
                  <a:gd name="connsiteY875" fmla="*/ 88697 h 133310"/>
                  <a:gd name="connsiteX876" fmla="*/ 64804 w 129519"/>
                  <a:gd name="connsiteY876" fmla="*/ 89579 h 133310"/>
                  <a:gd name="connsiteX877" fmla="*/ 66214 w 129519"/>
                  <a:gd name="connsiteY877" fmla="*/ 87816 h 133310"/>
                  <a:gd name="connsiteX878" fmla="*/ 66214 w 129519"/>
                  <a:gd name="connsiteY878" fmla="*/ 88697 h 133310"/>
                  <a:gd name="connsiteX879" fmla="*/ 66214 w 129519"/>
                  <a:gd name="connsiteY879" fmla="*/ 89579 h 133310"/>
                  <a:gd name="connsiteX880" fmla="*/ 68242 w 129519"/>
                  <a:gd name="connsiteY880" fmla="*/ 89579 h 133310"/>
                  <a:gd name="connsiteX881" fmla="*/ 69388 w 129519"/>
                  <a:gd name="connsiteY881" fmla="*/ 90725 h 133310"/>
                  <a:gd name="connsiteX882" fmla="*/ 68242 w 129519"/>
                  <a:gd name="connsiteY882" fmla="*/ 91342 h 133310"/>
                  <a:gd name="connsiteX883" fmla="*/ 64804 w 129519"/>
                  <a:gd name="connsiteY883" fmla="*/ 91871 h 133310"/>
                  <a:gd name="connsiteX884" fmla="*/ 63569 w 129519"/>
                  <a:gd name="connsiteY884" fmla="*/ 91342 h 133310"/>
                  <a:gd name="connsiteX885" fmla="*/ 60660 w 129519"/>
                  <a:gd name="connsiteY885" fmla="*/ 91871 h 133310"/>
                  <a:gd name="connsiteX886" fmla="*/ 61806 w 129519"/>
                  <a:gd name="connsiteY886" fmla="*/ 92136 h 133310"/>
                  <a:gd name="connsiteX887" fmla="*/ 63922 w 129519"/>
                  <a:gd name="connsiteY887" fmla="*/ 93018 h 133310"/>
                  <a:gd name="connsiteX888" fmla="*/ 63040 w 129519"/>
                  <a:gd name="connsiteY888" fmla="*/ 93899 h 133310"/>
                  <a:gd name="connsiteX889" fmla="*/ 62159 w 129519"/>
                  <a:gd name="connsiteY889" fmla="*/ 94252 h 133310"/>
                  <a:gd name="connsiteX890" fmla="*/ 60660 w 129519"/>
                  <a:gd name="connsiteY890" fmla="*/ 93899 h 133310"/>
                  <a:gd name="connsiteX891" fmla="*/ 58632 w 129519"/>
                  <a:gd name="connsiteY891" fmla="*/ 91871 h 133310"/>
                  <a:gd name="connsiteX892" fmla="*/ 56339 w 129519"/>
                  <a:gd name="connsiteY892" fmla="*/ 91342 h 133310"/>
                  <a:gd name="connsiteX893" fmla="*/ 54576 w 129519"/>
                  <a:gd name="connsiteY893" fmla="*/ 90108 h 133310"/>
                  <a:gd name="connsiteX894" fmla="*/ 51931 w 129519"/>
                  <a:gd name="connsiteY894" fmla="*/ 90108 h 133310"/>
                  <a:gd name="connsiteX895" fmla="*/ 50785 w 129519"/>
                  <a:gd name="connsiteY895" fmla="*/ 89579 h 133310"/>
                  <a:gd name="connsiteX896" fmla="*/ 49022 w 129519"/>
                  <a:gd name="connsiteY896" fmla="*/ 88962 h 133310"/>
                  <a:gd name="connsiteX897" fmla="*/ 46112 w 129519"/>
                  <a:gd name="connsiteY897" fmla="*/ 87551 h 133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</a:cxnLst>
                <a:rect l="l" t="t" r="r" b="b"/>
                <a:pathLst>
                  <a:path w="129519" h="133310">
                    <a:moveTo>
                      <a:pt x="45847" y="86934"/>
                    </a:moveTo>
                    <a:lnTo>
                      <a:pt x="44349" y="87199"/>
                    </a:lnTo>
                    <a:lnTo>
                      <a:pt x="43820" y="86934"/>
                    </a:lnTo>
                    <a:lnTo>
                      <a:pt x="44084" y="86052"/>
                    </a:lnTo>
                    <a:lnTo>
                      <a:pt x="43820" y="85171"/>
                    </a:lnTo>
                    <a:lnTo>
                      <a:pt x="43467" y="85788"/>
                    </a:lnTo>
                    <a:lnTo>
                      <a:pt x="41703" y="84906"/>
                    </a:lnTo>
                    <a:lnTo>
                      <a:pt x="40293" y="84906"/>
                    </a:lnTo>
                    <a:lnTo>
                      <a:pt x="39676" y="84553"/>
                    </a:lnTo>
                    <a:lnTo>
                      <a:pt x="39059" y="85171"/>
                    </a:lnTo>
                    <a:lnTo>
                      <a:pt x="38794" y="85435"/>
                    </a:lnTo>
                    <a:lnTo>
                      <a:pt x="38794" y="85788"/>
                    </a:lnTo>
                    <a:lnTo>
                      <a:pt x="38530" y="86934"/>
                    </a:lnTo>
                    <a:lnTo>
                      <a:pt x="37912" y="87816"/>
                    </a:lnTo>
                    <a:lnTo>
                      <a:pt x="36766" y="89579"/>
                    </a:lnTo>
                    <a:lnTo>
                      <a:pt x="36149" y="89226"/>
                    </a:lnTo>
                    <a:lnTo>
                      <a:pt x="34474" y="89844"/>
                    </a:lnTo>
                    <a:lnTo>
                      <a:pt x="33857" y="89579"/>
                    </a:lnTo>
                    <a:lnTo>
                      <a:pt x="33239" y="89226"/>
                    </a:lnTo>
                    <a:lnTo>
                      <a:pt x="32975" y="88345"/>
                    </a:lnTo>
                    <a:lnTo>
                      <a:pt x="32358" y="88080"/>
                    </a:lnTo>
                    <a:lnTo>
                      <a:pt x="32093" y="87551"/>
                    </a:lnTo>
                    <a:lnTo>
                      <a:pt x="31476" y="87199"/>
                    </a:lnTo>
                    <a:lnTo>
                      <a:pt x="30947" y="87816"/>
                    </a:lnTo>
                    <a:lnTo>
                      <a:pt x="31476" y="90108"/>
                    </a:lnTo>
                    <a:lnTo>
                      <a:pt x="30330" y="92489"/>
                    </a:lnTo>
                    <a:lnTo>
                      <a:pt x="30330" y="93370"/>
                    </a:lnTo>
                    <a:lnTo>
                      <a:pt x="29801" y="93635"/>
                    </a:lnTo>
                    <a:lnTo>
                      <a:pt x="28037" y="93899"/>
                    </a:lnTo>
                    <a:lnTo>
                      <a:pt x="27420" y="93635"/>
                    </a:lnTo>
                    <a:lnTo>
                      <a:pt x="26891" y="93899"/>
                    </a:lnTo>
                    <a:lnTo>
                      <a:pt x="26274" y="93635"/>
                    </a:lnTo>
                    <a:lnTo>
                      <a:pt x="25657" y="93899"/>
                    </a:lnTo>
                    <a:lnTo>
                      <a:pt x="26010" y="94517"/>
                    </a:lnTo>
                    <a:lnTo>
                      <a:pt x="25392" y="95663"/>
                    </a:lnTo>
                    <a:lnTo>
                      <a:pt x="26010" y="96280"/>
                    </a:lnTo>
                    <a:lnTo>
                      <a:pt x="28302" y="96809"/>
                    </a:lnTo>
                    <a:lnTo>
                      <a:pt x="30594" y="98043"/>
                    </a:lnTo>
                    <a:lnTo>
                      <a:pt x="30947" y="99718"/>
                    </a:lnTo>
                    <a:lnTo>
                      <a:pt x="31211" y="100953"/>
                    </a:lnTo>
                    <a:lnTo>
                      <a:pt x="31476" y="101217"/>
                    </a:lnTo>
                    <a:lnTo>
                      <a:pt x="32358" y="100953"/>
                    </a:lnTo>
                    <a:lnTo>
                      <a:pt x="32975" y="101482"/>
                    </a:lnTo>
                    <a:lnTo>
                      <a:pt x="34474" y="102099"/>
                    </a:lnTo>
                    <a:lnTo>
                      <a:pt x="35003" y="103862"/>
                    </a:lnTo>
                    <a:lnTo>
                      <a:pt x="38265" y="107389"/>
                    </a:lnTo>
                    <a:lnTo>
                      <a:pt x="39059" y="109946"/>
                    </a:lnTo>
                    <a:lnTo>
                      <a:pt x="39411" y="109946"/>
                    </a:lnTo>
                    <a:lnTo>
                      <a:pt x="39940" y="111180"/>
                    </a:lnTo>
                    <a:lnTo>
                      <a:pt x="39411" y="111445"/>
                    </a:lnTo>
                    <a:lnTo>
                      <a:pt x="38530" y="111180"/>
                    </a:lnTo>
                    <a:lnTo>
                      <a:pt x="38265" y="112327"/>
                    </a:lnTo>
                    <a:lnTo>
                      <a:pt x="37648" y="112856"/>
                    </a:lnTo>
                    <a:lnTo>
                      <a:pt x="36149" y="113737"/>
                    </a:lnTo>
                    <a:lnTo>
                      <a:pt x="35884" y="114090"/>
                    </a:lnTo>
                    <a:lnTo>
                      <a:pt x="36149" y="114619"/>
                    </a:lnTo>
                    <a:lnTo>
                      <a:pt x="37912" y="116118"/>
                    </a:lnTo>
                    <a:lnTo>
                      <a:pt x="39059" y="117264"/>
                    </a:lnTo>
                    <a:lnTo>
                      <a:pt x="39411" y="119027"/>
                    </a:lnTo>
                    <a:lnTo>
                      <a:pt x="39059" y="117881"/>
                    </a:lnTo>
                    <a:lnTo>
                      <a:pt x="39411" y="119027"/>
                    </a:lnTo>
                    <a:lnTo>
                      <a:pt x="39940" y="119292"/>
                    </a:lnTo>
                    <a:lnTo>
                      <a:pt x="39411" y="120791"/>
                    </a:lnTo>
                    <a:lnTo>
                      <a:pt x="39940" y="120791"/>
                    </a:lnTo>
                    <a:lnTo>
                      <a:pt x="40557" y="121937"/>
                    </a:lnTo>
                    <a:lnTo>
                      <a:pt x="41439" y="123083"/>
                    </a:lnTo>
                    <a:lnTo>
                      <a:pt x="42585" y="122466"/>
                    </a:lnTo>
                    <a:lnTo>
                      <a:pt x="43467" y="123083"/>
                    </a:lnTo>
                    <a:lnTo>
                      <a:pt x="44613" y="124582"/>
                    </a:lnTo>
                    <a:lnTo>
                      <a:pt x="44966" y="123965"/>
                    </a:lnTo>
                    <a:lnTo>
                      <a:pt x="45495" y="122466"/>
                    </a:lnTo>
                    <a:lnTo>
                      <a:pt x="45495" y="121937"/>
                    </a:lnTo>
                    <a:lnTo>
                      <a:pt x="44349" y="120791"/>
                    </a:lnTo>
                    <a:lnTo>
                      <a:pt x="44966" y="119556"/>
                    </a:lnTo>
                    <a:lnTo>
                      <a:pt x="45230" y="117881"/>
                    </a:lnTo>
                    <a:lnTo>
                      <a:pt x="46376" y="116647"/>
                    </a:lnTo>
                    <a:lnTo>
                      <a:pt x="48404" y="117264"/>
                    </a:lnTo>
                    <a:lnTo>
                      <a:pt x="49551" y="117264"/>
                    </a:lnTo>
                    <a:lnTo>
                      <a:pt x="50168" y="119027"/>
                    </a:lnTo>
                    <a:lnTo>
                      <a:pt x="48404" y="119909"/>
                    </a:lnTo>
                    <a:lnTo>
                      <a:pt x="49903" y="120791"/>
                    </a:lnTo>
                    <a:lnTo>
                      <a:pt x="50785" y="120438"/>
                    </a:lnTo>
                    <a:lnTo>
                      <a:pt x="52196" y="120791"/>
                    </a:lnTo>
                    <a:lnTo>
                      <a:pt x="53430" y="121937"/>
                    </a:lnTo>
                    <a:lnTo>
                      <a:pt x="53695" y="124582"/>
                    </a:lnTo>
                    <a:lnTo>
                      <a:pt x="53695" y="124846"/>
                    </a:lnTo>
                    <a:lnTo>
                      <a:pt x="54576" y="124846"/>
                    </a:lnTo>
                    <a:lnTo>
                      <a:pt x="54841" y="125728"/>
                    </a:lnTo>
                    <a:lnTo>
                      <a:pt x="55105" y="127492"/>
                    </a:lnTo>
                    <a:lnTo>
                      <a:pt x="54841" y="128021"/>
                    </a:lnTo>
                    <a:lnTo>
                      <a:pt x="55105" y="128638"/>
                    </a:lnTo>
                    <a:lnTo>
                      <a:pt x="55458" y="130048"/>
                    </a:lnTo>
                    <a:lnTo>
                      <a:pt x="54576" y="129519"/>
                    </a:lnTo>
                    <a:lnTo>
                      <a:pt x="53959" y="130048"/>
                    </a:lnTo>
                    <a:lnTo>
                      <a:pt x="54311" y="130666"/>
                    </a:lnTo>
                    <a:lnTo>
                      <a:pt x="55458" y="131283"/>
                    </a:lnTo>
                    <a:lnTo>
                      <a:pt x="56339" y="131812"/>
                    </a:lnTo>
                    <a:lnTo>
                      <a:pt x="56868" y="133311"/>
                    </a:lnTo>
                    <a:lnTo>
                      <a:pt x="57486" y="133311"/>
                    </a:lnTo>
                    <a:lnTo>
                      <a:pt x="57221" y="131812"/>
                    </a:lnTo>
                    <a:lnTo>
                      <a:pt x="58015" y="131283"/>
                    </a:lnTo>
                    <a:lnTo>
                      <a:pt x="57750" y="130401"/>
                    </a:lnTo>
                    <a:lnTo>
                      <a:pt x="56604" y="130048"/>
                    </a:lnTo>
                    <a:lnTo>
                      <a:pt x="56339" y="128373"/>
                    </a:lnTo>
                    <a:lnTo>
                      <a:pt x="56868" y="127756"/>
                    </a:lnTo>
                    <a:lnTo>
                      <a:pt x="57750" y="128373"/>
                    </a:lnTo>
                    <a:lnTo>
                      <a:pt x="58015" y="127139"/>
                    </a:lnTo>
                    <a:lnTo>
                      <a:pt x="57750" y="125728"/>
                    </a:lnTo>
                    <a:lnTo>
                      <a:pt x="57486" y="124582"/>
                    </a:lnTo>
                    <a:lnTo>
                      <a:pt x="58015" y="123965"/>
                    </a:lnTo>
                    <a:lnTo>
                      <a:pt x="57486" y="123083"/>
                    </a:lnTo>
                    <a:lnTo>
                      <a:pt x="58632" y="123083"/>
                    </a:lnTo>
                    <a:lnTo>
                      <a:pt x="58896" y="122466"/>
                    </a:lnTo>
                    <a:lnTo>
                      <a:pt x="61277" y="122466"/>
                    </a:lnTo>
                    <a:lnTo>
                      <a:pt x="61806" y="122466"/>
                    </a:lnTo>
                    <a:lnTo>
                      <a:pt x="63305" y="124582"/>
                    </a:lnTo>
                    <a:lnTo>
                      <a:pt x="63305" y="125728"/>
                    </a:lnTo>
                    <a:lnTo>
                      <a:pt x="64451" y="126345"/>
                    </a:lnTo>
                    <a:lnTo>
                      <a:pt x="64804" y="127492"/>
                    </a:lnTo>
                    <a:lnTo>
                      <a:pt x="66832" y="128638"/>
                    </a:lnTo>
                    <a:lnTo>
                      <a:pt x="67096" y="130666"/>
                    </a:lnTo>
                    <a:lnTo>
                      <a:pt x="68242" y="130401"/>
                    </a:lnTo>
                    <a:lnTo>
                      <a:pt x="69388" y="132429"/>
                    </a:lnTo>
                    <a:lnTo>
                      <a:pt x="73268" y="132164"/>
                    </a:lnTo>
                    <a:lnTo>
                      <a:pt x="72386" y="130930"/>
                    </a:lnTo>
                    <a:lnTo>
                      <a:pt x="69741" y="130666"/>
                    </a:lnTo>
                    <a:lnTo>
                      <a:pt x="70270" y="129519"/>
                    </a:lnTo>
                    <a:lnTo>
                      <a:pt x="69388" y="128373"/>
                    </a:lnTo>
                    <a:lnTo>
                      <a:pt x="67978" y="128638"/>
                    </a:lnTo>
                    <a:lnTo>
                      <a:pt x="67978" y="127492"/>
                    </a:lnTo>
                    <a:lnTo>
                      <a:pt x="68242" y="125464"/>
                    </a:lnTo>
                    <a:lnTo>
                      <a:pt x="67361" y="124846"/>
                    </a:lnTo>
                    <a:lnTo>
                      <a:pt x="67713" y="123700"/>
                    </a:lnTo>
                    <a:lnTo>
                      <a:pt x="69124" y="123083"/>
                    </a:lnTo>
                    <a:lnTo>
                      <a:pt x="67713" y="123083"/>
                    </a:lnTo>
                    <a:lnTo>
                      <a:pt x="67713" y="121937"/>
                    </a:lnTo>
                    <a:lnTo>
                      <a:pt x="67361" y="121055"/>
                    </a:lnTo>
                    <a:lnTo>
                      <a:pt x="67713" y="120438"/>
                    </a:lnTo>
                    <a:lnTo>
                      <a:pt x="67096" y="119909"/>
                    </a:lnTo>
                    <a:lnTo>
                      <a:pt x="67096" y="119027"/>
                    </a:lnTo>
                    <a:lnTo>
                      <a:pt x="67096" y="117881"/>
                    </a:lnTo>
                    <a:lnTo>
                      <a:pt x="67096" y="116647"/>
                    </a:lnTo>
                    <a:lnTo>
                      <a:pt x="65950" y="114883"/>
                    </a:lnTo>
                    <a:lnTo>
                      <a:pt x="65685" y="114090"/>
                    </a:lnTo>
                    <a:lnTo>
                      <a:pt x="64187" y="113737"/>
                    </a:lnTo>
                    <a:lnTo>
                      <a:pt x="63569" y="112856"/>
                    </a:lnTo>
                    <a:lnTo>
                      <a:pt x="63305" y="111445"/>
                    </a:lnTo>
                    <a:lnTo>
                      <a:pt x="62159" y="109681"/>
                    </a:lnTo>
                    <a:lnTo>
                      <a:pt x="60660" y="108535"/>
                    </a:lnTo>
                    <a:lnTo>
                      <a:pt x="60660" y="107654"/>
                    </a:lnTo>
                    <a:lnTo>
                      <a:pt x="59778" y="105273"/>
                    </a:lnTo>
                    <a:lnTo>
                      <a:pt x="59778" y="104744"/>
                    </a:lnTo>
                    <a:lnTo>
                      <a:pt x="59514" y="103598"/>
                    </a:lnTo>
                    <a:lnTo>
                      <a:pt x="60395" y="102628"/>
                    </a:lnTo>
                    <a:lnTo>
                      <a:pt x="60924" y="102981"/>
                    </a:lnTo>
                    <a:lnTo>
                      <a:pt x="61541" y="103862"/>
                    </a:lnTo>
                    <a:lnTo>
                      <a:pt x="61541" y="104744"/>
                    </a:lnTo>
                    <a:lnTo>
                      <a:pt x="62159" y="105009"/>
                    </a:lnTo>
                    <a:lnTo>
                      <a:pt x="62776" y="104744"/>
                    </a:lnTo>
                    <a:lnTo>
                      <a:pt x="62776" y="103862"/>
                    </a:lnTo>
                    <a:lnTo>
                      <a:pt x="63040" y="103598"/>
                    </a:lnTo>
                    <a:lnTo>
                      <a:pt x="64451" y="103598"/>
                    </a:lnTo>
                    <a:lnTo>
                      <a:pt x="64804" y="103862"/>
                    </a:lnTo>
                    <a:lnTo>
                      <a:pt x="64804" y="104744"/>
                    </a:lnTo>
                    <a:lnTo>
                      <a:pt x="65333" y="105009"/>
                    </a:lnTo>
                    <a:lnTo>
                      <a:pt x="65950" y="106507"/>
                    </a:lnTo>
                    <a:lnTo>
                      <a:pt x="66214" y="107389"/>
                    </a:lnTo>
                    <a:lnTo>
                      <a:pt x="67096" y="107654"/>
                    </a:lnTo>
                    <a:lnTo>
                      <a:pt x="67978" y="107389"/>
                    </a:lnTo>
                    <a:lnTo>
                      <a:pt x="67978" y="107654"/>
                    </a:lnTo>
                    <a:lnTo>
                      <a:pt x="68242" y="108183"/>
                    </a:lnTo>
                    <a:lnTo>
                      <a:pt x="67978" y="108535"/>
                    </a:lnTo>
                    <a:lnTo>
                      <a:pt x="67713" y="108800"/>
                    </a:lnTo>
                    <a:lnTo>
                      <a:pt x="66832" y="108183"/>
                    </a:lnTo>
                    <a:lnTo>
                      <a:pt x="66214" y="108535"/>
                    </a:lnTo>
                    <a:lnTo>
                      <a:pt x="66214" y="109064"/>
                    </a:lnTo>
                    <a:lnTo>
                      <a:pt x="66832" y="109417"/>
                    </a:lnTo>
                    <a:lnTo>
                      <a:pt x="67978" y="109681"/>
                    </a:lnTo>
                    <a:lnTo>
                      <a:pt x="68242" y="110299"/>
                    </a:lnTo>
                    <a:lnTo>
                      <a:pt x="67978" y="109681"/>
                    </a:lnTo>
                    <a:lnTo>
                      <a:pt x="68242" y="111180"/>
                    </a:lnTo>
                    <a:lnTo>
                      <a:pt x="68859" y="111445"/>
                    </a:lnTo>
                    <a:lnTo>
                      <a:pt x="70005" y="111180"/>
                    </a:lnTo>
                    <a:lnTo>
                      <a:pt x="71152" y="111445"/>
                    </a:lnTo>
                    <a:lnTo>
                      <a:pt x="71152" y="111180"/>
                    </a:lnTo>
                    <a:lnTo>
                      <a:pt x="71152" y="110299"/>
                    </a:lnTo>
                    <a:lnTo>
                      <a:pt x="70005" y="109681"/>
                    </a:lnTo>
                    <a:lnTo>
                      <a:pt x="70270" y="109417"/>
                    </a:lnTo>
                    <a:lnTo>
                      <a:pt x="72033" y="109681"/>
                    </a:lnTo>
                    <a:lnTo>
                      <a:pt x="72386" y="109417"/>
                    </a:lnTo>
                    <a:lnTo>
                      <a:pt x="71769" y="109064"/>
                    </a:lnTo>
                    <a:lnTo>
                      <a:pt x="71769" y="108535"/>
                    </a:lnTo>
                    <a:lnTo>
                      <a:pt x="72033" y="108183"/>
                    </a:lnTo>
                    <a:lnTo>
                      <a:pt x="72915" y="108535"/>
                    </a:lnTo>
                    <a:lnTo>
                      <a:pt x="74149" y="108535"/>
                    </a:lnTo>
                    <a:lnTo>
                      <a:pt x="74149" y="107654"/>
                    </a:lnTo>
                    <a:lnTo>
                      <a:pt x="76177" y="107654"/>
                    </a:lnTo>
                    <a:lnTo>
                      <a:pt x="76442" y="107389"/>
                    </a:lnTo>
                    <a:lnTo>
                      <a:pt x="76706" y="106155"/>
                    </a:lnTo>
                    <a:lnTo>
                      <a:pt x="76442" y="105890"/>
                    </a:lnTo>
                    <a:lnTo>
                      <a:pt x="75560" y="105273"/>
                    </a:lnTo>
                    <a:lnTo>
                      <a:pt x="75296" y="105273"/>
                    </a:lnTo>
                    <a:lnTo>
                      <a:pt x="73797" y="104744"/>
                    </a:lnTo>
                    <a:lnTo>
                      <a:pt x="74414" y="103862"/>
                    </a:lnTo>
                    <a:lnTo>
                      <a:pt x="74414" y="102981"/>
                    </a:lnTo>
                    <a:lnTo>
                      <a:pt x="74149" y="102099"/>
                    </a:lnTo>
                    <a:lnTo>
                      <a:pt x="73532" y="101482"/>
                    </a:lnTo>
                    <a:lnTo>
                      <a:pt x="72651" y="101482"/>
                    </a:lnTo>
                    <a:lnTo>
                      <a:pt x="72386" y="102099"/>
                    </a:lnTo>
                    <a:lnTo>
                      <a:pt x="73797" y="103862"/>
                    </a:lnTo>
                    <a:lnTo>
                      <a:pt x="73532" y="104127"/>
                    </a:lnTo>
                    <a:lnTo>
                      <a:pt x="72651" y="103862"/>
                    </a:lnTo>
                    <a:lnTo>
                      <a:pt x="69388" y="102981"/>
                    </a:lnTo>
                    <a:lnTo>
                      <a:pt x="69388" y="102099"/>
                    </a:lnTo>
                    <a:lnTo>
                      <a:pt x="69388" y="101482"/>
                    </a:lnTo>
                    <a:lnTo>
                      <a:pt x="67361" y="100071"/>
                    </a:lnTo>
                    <a:lnTo>
                      <a:pt x="67713" y="99454"/>
                    </a:lnTo>
                    <a:lnTo>
                      <a:pt x="67096" y="98837"/>
                    </a:lnTo>
                    <a:lnTo>
                      <a:pt x="67096" y="98308"/>
                    </a:lnTo>
                    <a:lnTo>
                      <a:pt x="68242" y="98572"/>
                    </a:lnTo>
                    <a:lnTo>
                      <a:pt x="68859" y="97691"/>
                    </a:lnTo>
                    <a:lnTo>
                      <a:pt x="68595" y="96544"/>
                    </a:lnTo>
                    <a:lnTo>
                      <a:pt x="66832" y="96280"/>
                    </a:lnTo>
                    <a:lnTo>
                      <a:pt x="65333" y="96280"/>
                    </a:lnTo>
                    <a:lnTo>
                      <a:pt x="64451" y="95927"/>
                    </a:lnTo>
                    <a:lnTo>
                      <a:pt x="63922" y="95134"/>
                    </a:lnTo>
                    <a:lnTo>
                      <a:pt x="64804" y="94781"/>
                    </a:lnTo>
                    <a:lnTo>
                      <a:pt x="65068" y="95134"/>
                    </a:lnTo>
                    <a:lnTo>
                      <a:pt x="65068" y="94517"/>
                    </a:lnTo>
                    <a:lnTo>
                      <a:pt x="65685" y="93899"/>
                    </a:lnTo>
                    <a:lnTo>
                      <a:pt x="66832" y="94517"/>
                    </a:lnTo>
                    <a:lnTo>
                      <a:pt x="67713" y="94517"/>
                    </a:lnTo>
                    <a:lnTo>
                      <a:pt x="69741" y="93899"/>
                    </a:lnTo>
                    <a:lnTo>
                      <a:pt x="70887" y="93899"/>
                    </a:lnTo>
                    <a:lnTo>
                      <a:pt x="72915" y="93899"/>
                    </a:lnTo>
                    <a:lnTo>
                      <a:pt x="73797" y="93370"/>
                    </a:lnTo>
                    <a:lnTo>
                      <a:pt x="72915" y="93018"/>
                    </a:lnTo>
                    <a:lnTo>
                      <a:pt x="74149" y="92489"/>
                    </a:lnTo>
                    <a:lnTo>
                      <a:pt x="75825" y="91607"/>
                    </a:lnTo>
                    <a:lnTo>
                      <a:pt x="76442" y="91871"/>
                    </a:lnTo>
                    <a:lnTo>
                      <a:pt x="76971" y="92136"/>
                    </a:lnTo>
                    <a:lnTo>
                      <a:pt x="76706" y="92753"/>
                    </a:lnTo>
                    <a:lnTo>
                      <a:pt x="75296" y="93018"/>
                    </a:lnTo>
                    <a:lnTo>
                      <a:pt x="76177" y="93370"/>
                    </a:lnTo>
                    <a:lnTo>
                      <a:pt x="76442" y="93899"/>
                    </a:lnTo>
                    <a:lnTo>
                      <a:pt x="76971" y="94252"/>
                    </a:lnTo>
                    <a:lnTo>
                      <a:pt x="76971" y="93899"/>
                    </a:lnTo>
                    <a:lnTo>
                      <a:pt x="78734" y="94252"/>
                    </a:lnTo>
                    <a:lnTo>
                      <a:pt x="76971" y="93899"/>
                    </a:lnTo>
                    <a:lnTo>
                      <a:pt x="78470" y="94252"/>
                    </a:lnTo>
                    <a:lnTo>
                      <a:pt x="80233" y="96280"/>
                    </a:lnTo>
                    <a:lnTo>
                      <a:pt x="80498" y="96809"/>
                    </a:lnTo>
                    <a:lnTo>
                      <a:pt x="81732" y="97691"/>
                    </a:lnTo>
                    <a:lnTo>
                      <a:pt x="82261" y="96809"/>
                    </a:lnTo>
                    <a:lnTo>
                      <a:pt x="82878" y="98308"/>
                    </a:lnTo>
                    <a:lnTo>
                      <a:pt x="82878" y="98837"/>
                    </a:lnTo>
                    <a:lnTo>
                      <a:pt x="84641" y="99718"/>
                    </a:lnTo>
                    <a:lnTo>
                      <a:pt x="85170" y="100953"/>
                    </a:lnTo>
                    <a:lnTo>
                      <a:pt x="86317" y="101482"/>
                    </a:lnTo>
                    <a:lnTo>
                      <a:pt x="87551" y="100071"/>
                    </a:lnTo>
                    <a:lnTo>
                      <a:pt x="87198" y="98837"/>
                    </a:lnTo>
                    <a:lnTo>
                      <a:pt x="87198" y="97691"/>
                    </a:lnTo>
                    <a:lnTo>
                      <a:pt x="87198" y="96809"/>
                    </a:lnTo>
                    <a:lnTo>
                      <a:pt x="86934" y="96280"/>
                    </a:lnTo>
                    <a:lnTo>
                      <a:pt x="86052" y="95663"/>
                    </a:lnTo>
                    <a:lnTo>
                      <a:pt x="86934" y="95134"/>
                    </a:lnTo>
                    <a:lnTo>
                      <a:pt x="85788" y="93899"/>
                    </a:lnTo>
                    <a:lnTo>
                      <a:pt x="85435" y="93018"/>
                    </a:lnTo>
                    <a:lnTo>
                      <a:pt x="84024" y="90725"/>
                    </a:lnTo>
                    <a:lnTo>
                      <a:pt x="85170" y="90461"/>
                    </a:lnTo>
                    <a:lnTo>
                      <a:pt x="86052" y="89844"/>
                    </a:lnTo>
                    <a:lnTo>
                      <a:pt x="86669" y="90725"/>
                    </a:lnTo>
                    <a:lnTo>
                      <a:pt x="86317" y="88345"/>
                    </a:lnTo>
                    <a:lnTo>
                      <a:pt x="83407" y="86670"/>
                    </a:lnTo>
                    <a:lnTo>
                      <a:pt x="81732" y="85171"/>
                    </a:lnTo>
                    <a:lnTo>
                      <a:pt x="80498" y="85171"/>
                    </a:lnTo>
                    <a:lnTo>
                      <a:pt x="79352" y="84553"/>
                    </a:lnTo>
                    <a:lnTo>
                      <a:pt x="77588" y="84553"/>
                    </a:lnTo>
                    <a:lnTo>
                      <a:pt x="77588" y="84024"/>
                    </a:lnTo>
                    <a:lnTo>
                      <a:pt x="76177" y="82790"/>
                    </a:lnTo>
                    <a:lnTo>
                      <a:pt x="75825" y="81644"/>
                    </a:lnTo>
                    <a:lnTo>
                      <a:pt x="75560" y="81380"/>
                    </a:lnTo>
                    <a:lnTo>
                      <a:pt x="75825" y="80762"/>
                    </a:lnTo>
                    <a:lnTo>
                      <a:pt x="75296" y="80498"/>
                    </a:lnTo>
                    <a:lnTo>
                      <a:pt x="74149" y="80233"/>
                    </a:lnTo>
                    <a:lnTo>
                      <a:pt x="73797" y="80762"/>
                    </a:lnTo>
                    <a:lnTo>
                      <a:pt x="72915" y="80233"/>
                    </a:lnTo>
                    <a:lnTo>
                      <a:pt x="72386" y="80762"/>
                    </a:lnTo>
                    <a:lnTo>
                      <a:pt x="71769" y="80233"/>
                    </a:lnTo>
                    <a:lnTo>
                      <a:pt x="70623" y="80233"/>
                    </a:lnTo>
                    <a:lnTo>
                      <a:pt x="69741" y="79969"/>
                    </a:lnTo>
                    <a:lnTo>
                      <a:pt x="70623" y="79352"/>
                    </a:lnTo>
                    <a:lnTo>
                      <a:pt x="71769" y="79352"/>
                    </a:lnTo>
                    <a:lnTo>
                      <a:pt x="71152" y="78734"/>
                    </a:lnTo>
                    <a:lnTo>
                      <a:pt x="69124" y="79087"/>
                    </a:lnTo>
                    <a:lnTo>
                      <a:pt x="69124" y="78470"/>
                    </a:lnTo>
                    <a:lnTo>
                      <a:pt x="70270" y="78205"/>
                    </a:lnTo>
                    <a:lnTo>
                      <a:pt x="70005" y="77588"/>
                    </a:lnTo>
                    <a:lnTo>
                      <a:pt x="70005" y="76089"/>
                    </a:lnTo>
                    <a:lnTo>
                      <a:pt x="68859" y="76706"/>
                    </a:lnTo>
                    <a:lnTo>
                      <a:pt x="68242" y="75825"/>
                    </a:lnTo>
                    <a:lnTo>
                      <a:pt x="67096" y="75825"/>
                    </a:lnTo>
                    <a:lnTo>
                      <a:pt x="67096" y="76089"/>
                    </a:lnTo>
                    <a:lnTo>
                      <a:pt x="65333" y="76971"/>
                    </a:lnTo>
                    <a:lnTo>
                      <a:pt x="64451" y="77324"/>
                    </a:lnTo>
                    <a:lnTo>
                      <a:pt x="63569" y="76971"/>
                    </a:lnTo>
                    <a:lnTo>
                      <a:pt x="63040" y="76442"/>
                    </a:lnTo>
                    <a:lnTo>
                      <a:pt x="63569" y="74679"/>
                    </a:lnTo>
                    <a:lnTo>
                      <a:pt x="63305" y="73797"/>
                    </a:lnTo>
                    <a:lnTo>
                      <a:pt x="62159" y="73797"/>
                    </a:lnTo>
                    <a:lnTo>
                      <a:pt x="60660" y="73180"/>
                    </a:lnTo>
                    <a:lnTo>
                      <a:pt x="60131" y="73797"/>
                    </a:lnTo>
                    <a:lnTo>
                      <a:pt x="58896" y="73180"/>
                    </a:lnTo>
                    <a:lnTo>
                      <a:pt x="57750" y="73180"/>
                    </a:lnTo>
                    <a:lnTo>
                      <a:pt x="56868" y="72034"/>
                    </a:lnTo>
                    <a:lnTo>
                      <a:pt x="54576" y="73180"/>
                    </a:lnTo>
                    <a:lnTo>
                      <a:pt x="53077" y="72298"/>
                    </a:lnTo>
                    <a:lnTo>
                      <a:pt x="52548" y="71769"/>
                    </a:lnTo>
                    <a:lnTo>
                      <a:pt x="53077" y="71152"/>
                    </a:lnTo>
                    <a:lnTo>
                      <a:pt x="54311" y="71505"/>
                    </a:lnTo>
                    <a:lnTo>
                      <a:pt x="55722" y="70623"/>
                    </a:lnTo>
                    <a:lnTo>
                      <a:pt x="56868" y="71152"/>
                    </a:lnTo>
                    <a:lnTo>
                      <a:pt x="57486" y="72034"/>
                    </a:lnTo>
                    <a:lnTo>
                      <a:pt x="58632" y="71152"/>
                    </a:lnTo>
                    <a:lnTo>
                      <a:pt x="58632" y="70006"/>
                    </a:lnTo>
                    <a:lnTo>
                      <a:pt x="60395" y="70006"/>
                    </a:lnTo>
                    <a:lnTo>
                      <a:pt x="61806" y="70006"/>
                    </a:lnTo>
                    <a:lnTo>
                      <a:pt x="61541" y="69124"/>
                    </a:lnTo>
                    <a:lnTo>
                      <a:pt x="62776" y="69389"/>
                    </a:lnTo>
                    <a:lnTo>
                      <a:pt x="63040" y="68859"/>
                    </a:lnTo>
                    <a:lnTo>
                      <a:pt x="62776" y="68242"/>
                    </a:lnTo>
                    <a:lnTo>
                      <a:pt x="61541" y="68507"/>
                    </a:lnTo>
                    <a:lnTo>
                      <a:pt x="61541" y="67713"/>
                    </a:lnTo>
                    <a:lnTo>
                      <a:pt x="62776" y="67361"/>
                    </a:lnTo>
                    <a:lnTo>
                      <a:pt x="61277" y="66215"/>
                    </a:lnTo>
                    <a:lnTo>
                      <a:pt x="59249" y="64716"/>
                    </a:lnTo>
                    <a:lnTo>
                      <a:pt x="58896" y="64187"/>
                    </a:lnTo>
                    <a:lnTo>
                      <a:pt x="59249" y="63569"/>
                    </a:lnTo>
                    <a:lnTo>
                      <a:pt x="58015" y="64451"/>
                    </a:lnTo>
                    <a:lnTo>
                      <a:pt x="58015" y="63569"/>
                    </a:lnTo>
                    <a:lnTo>
                      <a:pt x="57221" y="62159"/>
                    </a:lnTo>
                    <a:lnTo>
                      <a:pt x="57750" y="61013"/>
                    </a:lnTo>
                    <a:lnTo>
                      <a:pt x="57750" y="60660"/>
                    </a:lnTo>
                    <a:lnTo>
                      <a:pt x="59249" y="59249"/>
                    </a:lnTo>
                    <a:lnTo>
                      <a:pt x="60924" y="60660"/>
                    </a:lnTo>
                    <a:lnTo>
                      <a:pt x="61277" y="59778"/>
                    </a:lnTo>
                    <a:lnTo>
                      <a:pt x="60660" y="58632"/>
                    </a:lnTo>
                    <a:lnTo>
                      <a:pt x="61277" y="58368"/>
                    </a:lnTo>
                    <a:lnTo>
                      <a:pt x="61806" y="59249"/>
                    </a:lnTo>
                    <a:lnTo>
                      <a:pt x="62423" y="60131"/>
                    </a:lnTo>
                    <a:lnTo>
                      <a:pt x="63569" y="60660"/>
                    </a:lnTo>
                    <a:lnTo>
                      <a:pt x="65685" y="61806"/>
                    </a:lnTo>
                    <a:lnTo>
                      <a:pt x="65950" y="62423"/>
                    </a:lnTo>
                    <a:lnTo>
                      <a:pt x="67096" y="63569"/>
                    </a:lnTo>
                    <a:lnTo>
                      <a:pt x="66832" y="64451"/>
                    </a:lnTo>
                    <a:lnTo>
                      <a:pt x="65333" y="63569"/>
                    </a:lnTo>
                    <a:lnTo>
                      <a:pt x="65950" y="64451"/>
                    </a:lnTo>
                    <a:lnTo>
                      <a:pt x="63922" y="65597"/>
                    </a:lnTo>
                    <a:lnTo>
                      <a:pt x="63040" y="65597"/>
                    </a:lnTo>
                    <a:lnTo>
                      <a:pt x="62423" y="66215"/>
                    </a:lnTo>
                    <a:lnTo>
                      <a:pt x="63922" y="66215"/>
                    </a:lnTo>
                    <a:lnTo>
                      <a:pt x="64187" y="66215"/>
                    </a:lnTo>
                    <a:lnTo>
                      <a:pt x="64804" y="66215"/>
                    </a:lnTo>
                    <a:lnTo>
                      <a:pt x="66567" y="66215"/>
                    </a:lnTo>
                    <a:lnTo>
                      <a:pt x="67361" y="66215"/>
                    </a:lnTo>
                    <a:lnTo>
                      <a:pt x="68595" y="65950"/>
                    </a:lnTo>
                    <a:lnTo>
                      <a:pt x="67978" y="64716"/>
                    </a:lnTo>
                    <a:lnTo>
                      <a:pt x="67096" y="64451"/>
                    </a:lnTo>
                    <a:lnTo>
                      <a:pt x="67978" y="64451"/>
                    </a:lnTo>
                    <a:lnTo>
                      <a:pt x="69124" y="64451"/>
                    </a:lnTo>
                    <a:lnTo>
                      <a:pt x="70270" y="63569"/>
                    </a:lnTo>
                    <a:lnTo>
                      <a:pt x="70270" y="62423"/>
                    </a:lnTo>
                    <a:lnTo>
                      <a:pt x="67361" y="59778"/>
                    </a:lnTo>
                    <a:lnTo>
                      <a:pt x="67096" y="58368"/>
                    </a:lnTo>
                    <a:lnTo>
                      <a:pt x="64804" y="56251"/>
                    </a:lnTo>
                    <a:lnTo>
                      <a:pt x="63305" y="55987"/>
                    </a:lnTo>
                    <a:lnTo>
                      <a:pt x="61541" y="55458"/>
                    </a:lnTo>
                    <a:lnTo>
                      <a:pt x="61541" y="54841"/>
                    </a:lnTo>
                    <a:lnTo>
                      <a:pt x="60131" y="53430"/>
                    </a:lnTo>
                    <a:lnTo>
                      <a:pt x="56604" y="48404"/>
                    </a:lnTo>
                    <a:lnTo>
                      <a:pt x="54576" y="47258"/>
                    </a:lnTo>
                    <a:lnTo>
                      <a:pt x="54311" y="44613"/>
                    </a:lnTo>
                    <a:lnTo>
                      <a:pt x="51931" y="42585"/>
                    </a:lnTo>
                    <a:lnTo>
                      <a:pt x="50168" y="41439"/>
                    </a:lnTo>
                    <a:lnTo>
                      <a:pt x="50168" y="40293"/>
                    </a:lnTo>
                    <a:lnTo>
                      <a:pt x="50168" y="38794"/>
                    </a:lnTo>
                    <a:lnTo>
                      <a:pt x="50432" y="37648"/>
                    </a:lnTo>
                    <a:lnTo>
                      <a:pt x="51931" y="35620"/>
                    </a:lnTo>
                    <a:lnTo>
                      <a:pt x="52196" y="33857"/>
                    </a:lnTo>
                    <a:lnTo>
                      <a:pt x="51049" y="32975"/>
                    </a:lnTo>
                    <a:lnTo>
                      <a:pt x="50785" y="32093"/>
                    </a:lnTo>
                    <a:lnTo>
                      <a:pt x="51402" y="30947"/>
                    </a:lnTo>
                    <a:lnTo>
                      <a:pt x="51931" y="30330"/>
                    </a:lnTo>
                    <a:lnTo>
                      <a:pt x="52813" y="31212"/>
                    </a:lnTo>
                    <a:lnTo>
                      <a:pt x="53695" y="30947"/>
                    </a:lnTo>
                    <a:lnTo>
                      <a:pt x="54311" y="30330"/>
                    </a:lnTo>
                    <a:lnTo>
                      <a:pt x="53695" y="29448"/>
                    </a:lnTo>
                    <a:lnTo>
                      <a:pt x="54841" y="29448"/>
                    </a:lnTo>
                    <a:lnTo>
                      <a:pt x="54576" y="29448"/>
                    </a:lnTo>
                    <a:lnTo>
                      <a:pt x="54841" y="28302"/>
                    </a:lnTo>
                    <a:lnTo>
                      <a:pt x="54576" y="27685"/>
                    </a:lnTo>
                    <a:lnTo>
                      <a:pt x="55105" y="27685"/>
                    </a:lnTo>
                    <a:lnTo>
                      <a:pt x="55987" y="27685"/>
                    </a:lnTo>
                    <a:lnTo>
                      <a:pt x="56868" y="27156"/>
                    </a:lnTo>
                    <a:lnTo>
                      <a:pt x="57750" y="27685"/>
                    </a:lnTo>
                    <a:lnTo>
                      <a:pt x="57221" y="28567"/>
                    </a:lnTo>
                    <a:lnTo>
                      <a:pt x="57750" y="29184"/>
                    </a:lnTo>
                    <a:lnTo>
                      <a:pt x="58367" y="29713"/>
                    </a:lnTo>
                    <a:lnTo>
                      <a:pt x="58015" y="30947"/>
                    </a:lnTo>
                    <a:lnTo>
                      <a:pt x="57486" y="30330"/>
                    </a:lnTo>
                    <a:lnTo>
                      <a:pt x="56339" y="30947"/>
                    </a:lnTo>
                    <a:lnTo>
                      <a:pt x="55458" y="30683"/>
                    </a:lnTo>
                    <a:lnTo>
                      <a:pt x="54841" y="30947"/>
                    </a:lnTo>
                    <a:lnTo>
                      <a:pt x="54841" y="31829"/>
                    </a:lnTo>
                    <a:lnTo>
                      <a:pt x="55722" y="32093"/>
                    </a:lnTo>
                    <a:lnTo>
                      <a:pt x="56339" y="32975"/>
                    </a:lnTo>
                    <a:lnTo>
                      <a:pt x="56604" y="33857"/>
                    </a:lnTo>
                    <a:lnTo>
                      <a:pt x="58367" y="33857"/>
                    </a:lnTo>
                    <a:lnTo>
                      <a:pt x="59514" y="34738"/>
                    </a:lnTo>
                    <a:lnTo>
                      <a:pt x="59778" y="35003"/>
                    </a:lnTo>
                    <a:lnTo>
                      <a:pt x="65068" y="37383"/>
                    </a:lnTo>
                    <a:lnTo>
                      <a:pt x="66567" y="38530"/>
                    </a:lnTo>
                    <a:lnTo>
                      <a:pt x="66214" y="40293"/>
                    </a:lnTo>
                    <a:lnTo>
                      <a:pt x="66832" y="41439"/>
                    </a:lnTo>
                    <a:lnTo>
                      <a:pt x="68242" y="42585"/>
                    </a:lnTo>
                    <a:lnTo>
                      <a:pt x="68242" y="43732"/>
                    </a:lnTo>
                    <a:lnTo>
                      <a:pt x="69388" y="44084"/>
                    </a:lnTo>
                    <a:lnTo>
                      <a:pt x="71504" y="45230"/>
                    </a:lnTo>
                    <a:lnTo>
                      <a:pt x="72651" y="45759"/>
                    </a:lnTo>
                    <a:lnTo>
                      <a:pt x="74679" y="46377"/>
                    </a:lnTo>
                    <a:lnTo>
                      <a:pt x="75296" y="45759"/>
                    </a:lnTo>
                    <a:lnTo>
                      <a:pt x="75560" y="44613"/>
                    </a:lnTo>
                    <a:lnTo>
                      <a:pt x="74679" y="44349"/>
                    </a:lnTo>
                    <a:lnTo>
                      <a:pt x="74149" y="44084"/>
                    </a:lnTo>
                    <a:lnTo>
                      <a:pt x="73797" y="43467"/>
                    </a:lnTo>
                    <a:lnTo>
                      <a:pt x="73268" y="43467"/>
                    </a:lnTo>
                    <a:lnTo>
                      <a:pt x="69388" y="42321"/>
                    </a:lnTo>
                    <a:lnTo>
                      <a:pt x="67978" y="39676"/>
                    </a:lnTo>
                    <a:lnTo>
                      <a:pt x="67978" y="38794"/>
                    </a:lnTo>
                    <a:lnTo>
                      <a:pt x="66567" y="37648"/>
                    </a:lnTo>
                    <a:lnTo>
                      <a:pt x="66567" y="37031"/>
                    </a:lnTo>
                    <a:lnTo>
                      <a:pt x="67713" y="35885"/>
                    </a:lnTo>
                    <a:lnTo>
                      <a:pt x="70005" y="35885"/>
                    </a:lnTo>
                    <a:lnTo>
                      <a:pt x="73268" y="37031"/>
                    </a:lnTo>
                    <a:lnTo>
                      <a:pt x="73797" y="38794"/>
                    </a:lnTo>
                    <a:lnTo>
                      <a:pt x="75031" y="40293"/>
                    </a:lnTo>
                    <a:lnTo>
                      <a:pt x="76177" y="41175"/>
                    </a:lnTo>
                    <a:lnTo>
                      <a:pt x="76442" y="42585"/>
                    </a:lnTo>
                    <a:lnTo>
                      <a:pt x="77941" y="44084"/>
                    </a:lnTo>
                    <a:lnTo>
                      <a:pt x="77941" y="44613"/>
                    </a:lnTo>
                    <a:lnTo>
                      <a:pt x="78734" y="44966"/>
                    </a:lnTo>
                    <a:lnTo>
                      <a:pt x="79969" y="44613"/>
                    </a:lnTo>
                    <a:lnTo>
                      <a:pt x="79969" y="44084"/>
                    </a:lnTo>
                    <a:lnTo>
                      <a:pt x="80498" y="44349"/>
                    </a:lnTo>
                    <a:lnTo>
                      <a:pt x="80762" y="44084"/>
                    </a:lnTo>
                    <a:lnTo>
                      <a:pt x="79616" y="43467"/>
                    </a:lnTo>
                    <a:lnTo>
                      <a:pt x="80498" y="43203"/>
                    </a:lnTo>
                    <a:lnTo>
                      <a:pt x="80762" y="42585"/>
                    </a:lnTo>
                    <a:lnTo>
                      <a:pt x="80762" y="42321"/>
                    </a:lnTo>
                    <a:lnTo>
                      <a:pt x="80233" y="41704"/>
                    </a:lnTo>
                    <a:lnTo>
                      <a:pt x="79969" y="41439"/>
                    </a:lnTo>
                    <a:lnTo>
                      <a:pt x="79352" y="40822"/>
                    </a:lnTo>
                    <a:lnTo>
                      <a:pt x="79352" y="40293"/>
                    </a:lnTo>
                    <a:lnTo>
                      <a:pt x="77588" y="38530"/>
                    </a:lnTo>
                    <a:lnTo>
                      <a:pt x="75031" y="37648"/>
                    </a:lnTo>
                    <a:lnTo>
                      <a:pt x="72651" y="35885"/>
                    </a:lnTo>
                    <a:lnTo>
                      <a:pt x="72915" y="35003"/>
                    </a:lnTo>
                    <a:lnTo>
                      <a:pt x="74149" y="34738"/>
                    </a:lnTo>
                    <a:lnTo>
                      <a:pt x="74679" y="35003"/>
                    </a:lnTo>
                    <a:lnTo>
                      <a:pt x="75560" y="33857"/>
                    </a:lnTo>
                    <a:lnTo>
                      <a:pt x="76706" y="33857"/>
                    </a:lnTo>
                    <a:lnTo>
                      <a:pt x="81115" y="35003"/>
                    </a:lnTo>
                    <a:lnTo>
                      <a:pt x="83760" y="35885"/>
                    </a:lnTo>
                    <a:lnTo>
                      <a:pt x="84906" y="37648"/>
                    </a:lnTo>
                    <a:lnTo>
                      <a:pt x="85788" y="38794"/>
                    </a:lnTo>
                    <a:lnTo>
                      <a:pt x="86934" y="38794"/>
                    </a:lnTo>
                    <a:lnTo>
                      <a:pt x="87198" y="40293"/>
                    </a:lnTo>
                    <a:lnTo>
                      <a:pt x="87551" y="39676"/>
                    </a:lnTo>
                    <a:lnTo>
                      <a:pt x="87198" y="38794"/>
                    </a:lnTo>
                    <a:lnTo>
                      <a:pt x="87551" y="36766"/>
                    </a:lnTo>
                    <a:lnTo>
                      <a:pt x="86934" y="36502"/>
                    </a:lnTo>
                    <a:lnTo>
                      <a:pt x="85435" y="35003"/>
                    </a:lnTo>
                    <a:lnTo>
                      <a:pt x="83760" y="35003"/>
                    </a:lnTo>
                    <a:lnTo>
                      <a:pt x="83407" y="34738"/>
                    </a:lnTo>
                    <a:lnTo>
                      <a:pt x="81115" y="33857"/>
                    </a:lnTo>
                    <a:lnTo>
                      <a:pt x="80233" y="32711"/>
                    </a:lnTo>
                    <a:lnTo>
                      <a:pt x="79969" y="33857"/>
                    </a:lnTo>
                    <a:lnTo>
                      <a:pt x="78734" y="33857"/>
                    </a:lnTo>
                    <a:lnTo>
                      <a:pt x="76706" y="32975"/>
                    </a:lnTo>
                    <a:lnTo>
                      <a:pt x="75560" y="32093"/>
                    </a:lnTo>
                    <a:lnTo>
                      <a:pt x="75296" y="30947"/>
                    </a:lnTo>
                    <a:lnTo>
                      <a:pt x="76442" y="30330"/>
                    </a:lnTo>
                    <a:lnTo>
                      <a:pt x="76442" y="29713"/>
                    </a:lnTo>
                    <a:lnTo>
                      <a:pt x="75296" y="29184"/>
                    </a:lnTo>
                    <a:lnTo>
                      <a:pt x="73797" y="27685"/>
                    </a:lnTo>
                    <a:lnTo>
                      <a:pt x="72033" y="27156"/>
                    </a:lnTo>
                    <a:lnTo>
                      <a:pt x="72033" y="26539"/>
                    </a:lnTo>
                    <a:lnTo>
                      <a:pt x="72915" y="26274"/>
                    </a:lnTo>
                    <a:lnTo>
                      <a:pt x="73268" y="25393"/>
                    </a:lnTo>
                    <a:lnTo>
                      <a:pt x="74414" y="24775"/>
                    </a:lnTo>
                    <a:lnTo>
                      <a:pt x="74679" y="23894"/>
                    </a:lnTo>
                    <a:lnTo>
                      <a:pt x="75296" y="23894"/>
                    </a:lnTo>
                    <a:lnTo>
                      <a:pt x="77941" y="26010"/>
                    </a:lnTo>
                    <a:lnTo>
                      <a:pt x="78734" y="26274"/>
                    </a:lnTo>
                    <a:lnTo>
                      <a:pt x="79969" y="26274"/>
                    </a:lnTo>
                    <a:lnTo>
                      <a:pt x="80762" y="25128"/>
                    </a:lnTo>
                    <a:lnTo>
                      <a:pt x="82878" y="25128"/>
                    </a:lnTo>
                    <a:lnTo>
                      <a:pt x="84641" y="24511"/>
                    </a:lnTo>
                    <a:lnTo>
                      <a:pt x="85170" y="23629"/>
                    </a:lnTo>
                    <a:lnTo>
                      <a:pt x="85435" y="22747"/>
                    </a:lnTo>
                    <a:lnTo>
                      <a:pt x="85170" y="22130"/>
                    </a:lnTo>
                    <a:lnTo>
                      <a:pt x="85170" y="20720"/>
                    </a:lnTo>
                    <a:lnTo>
                      <a:pt x="85435" y="20455"/>
                    </a:lnTo>
                    <a:lnTo>
                      <a:pt x="86934" y="20455"/>
                    </a:lnTo>
                    <a:lnTo>
                      <a:pt x="88433" y="19221"/>
                    </a:lnTo>
                    <a:lnTo>
                      <a:pt x="89579" y="19573"/>
                    </a:lnTo>
                    <a:lnTo>
                      <a:pt x="90461" y="20720"/>
                    </a:lnTo>
                    <a:lnTo>
                      <a:pt x="90461" y="22130"/>
                    </a:lnTo>
                    <a:lnTo>
                      <a:pt x="91607" y="21601"/>
                    </a:lnTo>
                    <a:lnTo>
                      <a:pt x="92753" y="22130"/>
                    </a:lnTo>
                    <a:lnTo>
                      <a:pt x="93370" y="22130"/>
                    </a:lnTo>
                    <a:lnTo>
                      <a:pt x="95662" y="20455"/>
                    </a:lnTo>
                    <a:lnTo>
                      <a:pt x="97426" y="20455"/>
                    </a:lnTo>
                    <a:lnTo>
                      <a:pt x="98572" y="18956"/>
                    </a:lnTo>
                    <a:lnTo>
                      <a:pt x="98308" y="18339"/>
                    </a:lnTo>
                    <a:lnTo>
                      <a:pt x="100600" y="17810"/>
                    </a:lnTo>
                    <a:lnTo>
                      <a:pt x="102099" y="18956"/>
                    </a:lnTo>
                    <a:lnTo>
                      <a:pt x="100953" y="18956"/>
                    </a:lnTo>
                    <a:lnTo>
                      <a:pt x="100953" y="19573"/>
                    </a:lnTo>
                    <a:lnTo>
                      <a:pt x="101834" y="20102"/>
                    </a:lnTo>
                    <a:lnTo>
                      <a:pt x="103598" y="20455"/>
                    </a:lnTo>
                    <a:lnTo>
                      <a:pt x="105008" y="20720"/>
                    </a:lnTo>
                    <a:lnTo>
                      <a:pt x="105890" y="20455"/>
                    </a:lnTo>
                    <a:lnTo>
                      <a:pt x="108800" y="21601"/>
                    </a:lnTo>
                    <a:lnTo>
                      <a:pt x="111445" y="21337"/>
                    </a:lnTo>
                    <a:lnTo>
                      <a:pt x="113208" y="22130"/>
                    </a:lnTo>
                    <a:lnTo>
                      <a:pt x="116382" y="22130"/>
                    </a:lnTo>
                    <a:lnTo>
                      <a:pt x="118146" y="22747"/>
                    </a:lnTo>
                    <a:lnTo>
                      <a:pt x="119644" y="22130"/>
                    </a:lnTo>
                    <a:lnTo>
                      <a:pt x="120438" y="23100"/>
                    </a:lnTo>
                    <a:lnTo>
                      <a:pt x="120173" y="23894"/>
                    </a:lnTo>
                    <a:lnTo>
                      <a:pt x="120791" y="23894"/>
                    </a:lnTo>
                    <a:lnTo>
                      <a:pt x="121055" y="21866"/>
                    </a:lnTo>
                    <a:lnTo>
                      <a:pt x="121320" y="21337"/>
                    </a:lnTo>
                    <a:lnTo>
                      <a:pt x="121937" y="22130"/>
                    </a:lnTo>
                    <a:lnTo>
                      <a:pt x="122818" y="22747"/>
                    </a:lnTo>
                    <a:lnTo>
                      <a:pt x="122554" y="22130"/>
                    </a:lnTo>
                    <a:lnTo>
                      <a:pt x="122554" y="20720"/>
                    </a:lnTo>
                    <a:lnTo>
                      <a:pt x="123436" y="20455"/>
                    </a:lnTo>
                    <a:lnTo>
                      <a:pt x="123700" y="20455"/>
                    </a:lnTo>
                    <a:lnTo>
                      <a:pt x="124317" y="20102"/>
                    </a:lnTo>
                    <a:lnTo>
                      <a:pt x="124846" y="20102"/>
                    </a:lnTo>
                    <a:lnTo>
                      <a:pt x="125992" y="19573"/>
                    </a:lnTo>
                    <a:lnTo>
                      <a:pt x="124582" y="18956"/>
                    </a:lnTo>
                    <a:lnTo>
                      <a:pt x="125728" y="18339"/>
                    </a:lnTo>
                    <a:lnTo>
                      <a:pt x="125728" y="17810"/>
                    </a:lnTo>
                    <a:lnTo>
                      <a:pt x="124582" y="16928"/>
                    </a:lnTo>
                    <a:lnTo>
                      <a:pt x="124317" y="16664"/>
                    </a:lnTo>
                    <a:lnTo>
                      <a:pt x="123083" y="15782"/>
                    </a:lnTo>
                    <a:lnTo>
                      <a:pt x="123700" y="15165"/>
                    </a:lnTo>
                    <a:lnTo>
                      <a:pt x="123083" y="14900"/>
                    </a:lnTo>
                    <a:lnTo>
                      <a:pt x="123700" y="14019"/>
                    </a:lnTo>
                    <a:lnTo>
                      <a:pt x="122818" y="13137"/>
                    </a:lnTo>
                    <a:lnTo>
                      <a:pt x="123436" y="12873"/>
                    </a:lnTo>
                    <a:lnTo>
                      <a:pt x="123436" y="11374"/>
                    </a:lnTo>
                    <a:lnTo>
                      <a:pt x="127756" y="9963"/>
                    </a:lnTo>
                    <a:lnTo>
                      <a:pt x="129255" y="10845"/>
                    </a:lnTo>
                    <a:lnTo>
                      <a:pt x="129519" y="9963"/>
                    </a:lnTo>
                    <a:lnTo>
                      <a:pt x="128902" y="7318"/>
                    </a:lnTo>
                    <a:lnTo>
                      <a:pt x="129255" y="4937"/>
                    </a:lnTo>
                    <a:lnTo>
                      <a:pt x="128902" y="3791"/>
                    </a:lnTo>
                    <a:lnTo>
                      <a:pt x="125728" y="2028"/>
                    </a:lnTo>
                    <a:lnTo>
                      <a:pt x="122554" y="617"/>
                    </a:lnTo>
                    <a:lnTo>
                      <a:pt x="121320" y="617"/>
                    </a:lnTo>
                    <a:lnTo>
                      <a:pt x="121055" y="0"/>
                    </a:lnTo>
                    <a:lnTo>
                      <a:pt x="120173" y="0"/>
                    </a:lnTo>
                    <a:lnTo>
                      <a:pt x="118763" y="617"/>
                    </a:lnTo>
                    <a:lnTo>
                      <a:pt x="118763" y="2028"/>
                    </a:lnTo>
                    <a:lnTo>
                      <a:pt x="119027" y="2292"/>
                    </a:lnTo>
                    <a:lnTo>
                      <a:pt x="119292" y="2292"/>
                    </a:lnTo>
                    <a:lnTo>
                      <a:pt x="119644" y="4937"/>
                    </a:lnTo>
                    <a:lnTo>
                      <a:pt x="120791" y="5819"/>
                    </a:lnTo>
                    <a:lnTo>
                      <a:pt x="121055" y="7582"/>
                    </a:lnTo>
                    <a:lnTo>
                      <a:pt x="121055" y="8200"/>
                    </a:lnTo>
                    <a:lnTo>
                      <a:pt x="120173" y="9963"/>
                    </a:lnTo>
                    <a:lnTo>
                      <a:pt x="118410" y="9963"/>
                    </a:lnTo>
                    <a:lnTo>
                      <a:pt x="116647" y="11109"/>
                    </a:lnTo>
                    <a:lnTo>
                      <a:pt x="115236" y="11374"/>
                    </a:lnTo>
                    <a:lnTo>
                      <a:pt x="114090" y="10492"/>
                    </a:lnTo>
                    <a:lnTo>
                      <a:pt x="112062" y="11374"/>
                    </a:lnTo>
                    <a:lnTo>
                      <a:pt x="110563" y="11109"/>
                    </a:lnTo>
                    <a:lnTo>
                      <a:pt x="107918" y="11374"/>
                    </a:lnTo>
                    <a:lnTo>
                      <a:pt x="106507" y="11374"/>
                    </a:lnTo>
                    <a:lnTo>
                      <a:pt x="102716" y="11991"/>
                    </a:lnTo>
                    <a:lnTo>
                      <a:pt x="101217" y="11374"/>
                    </a:lnTo>
                    <a:lnTo>
                      <a:pt x="99806" y="9963"/>
                    </a:lnTo>
                    <a:lnTo>
                      <a:pt x="99189" y="10492"/>
                    </a:lnTo>
                    <a:lnTo>
                      <a:pt x="99189" y="9610"/>
                    </a:lnTo>
                    <a:lnTo>
                      <a:pt x="96280" y="9081"/>
                    </a:lnTo>
                    <a:lnTo>
                      <a:pt x="94517" y="8200"/>
                    </a:lnTo>
                    <a:lnTo>
                      <a:pt x="93106" y="8729"/>
                    </a:lnTo>
                    <a:lnTo>
                      <a:pt x="93370" y="9610"/>
                    </a:lnTo>
                    <a:lnTo>
                      <a:pt x="91871" y="9610"/>
                    </a:lnTo>
                    <a:lnTo>
                      <a:pt x="90990" y="8464"/>
                    </a:lnTo>
                    <a:lnTo>
                      <a:pt x="89579" y="8200"/>
                    </a:lnTo>
                    <a:lnTo>
                      <a:pt x="88962" y="7582"/>
                    </a:lnTo>
                    <a:lnTo>
                      <a:pt x="88080" y="7053"/>
                    </a:lnTo>
                    <a:lnTo>
                      <a:pt x="86934" y="5819"/>
                    </a:lnTo>
                    <a:lnTo>
                      <a:pt x="86669" y="5555"/>
                    </a:lnTo>
                    <a:lnTo>
                      <a:pt x="85788" y="5819"/>
                    </a:lnTo>
                    <a:lnTo>
                      <a:pt x="84024" y="5819"/>
                    </a:lnTo>
                    <a:lnTo>
                      <a:pt x="83760" y="6172"/>
                    </a:lnTo>
                    <a:lnTo>
                      <a:pt x="83143" y="5555"/>
                    </a:lnTo>
                    <a:lnTo>
                      <a:pt x="82261" y="4937"/>
                    </a:lnTo>
                    <a:lnTo>
                      <a:pt x="80498" y="5819"/>
                    </a:lnTo>
                    <a:lnTo>
                      <a:pt x="80233" y="6172"/>
                    </a:lnTo>
                    <a:lnTo>
                      <a:pt x="78734" y="5819"/>
                    </a:lnTo>
                    <a:lnTo>
                      <a:pt x="78205" y="5819"/>
                    </a:lnTo>
                    <a:lnTo>
                      <a:pt x="77941" y="6436"/>
                    </a:lnTo>
                    <a:lnTo>
                      <a:pt x="78470" y="7582"/>
                    </a:lnTo>
                    <a:lnTo>
                      <a:pt x="77324" y="7582"/>
                    </a:lnTo>
                    <a:lnTo>
                      <a:pt x="76177" y="8200"/>
                    </a:lnTo>
                    <a:lnTo>
                      <a:pt x="75560" y="7582"/>
                    </a:lnTo>
                    <a:lnTo>
                      <a:pt x="74149" y="7582"/>
                    </a:lnTo>
                    <a:lnTo>
                      <a:pt x="72915" y="8200"/>
                    </a:lnTo>
                    <a:lnTo>
                      <a:pt x="72033" y="8729"/>
                    </a:lnTo>
                    <a:lnTo>
                      <a:pt x="70270" y="8200"/>
                    </a:lnTo>
                    <a:lnTo>
                      <a:pt x="68859" y="9610"/>
                    </a:lnTo>
                    <a:lnTo>
                      <a:pt x="67096" y="9081"/>
                    </a:lnTo>
                    <a:lnTo>
                      <a:pt x="65950" y="8200"/>
                    </a:lnTo>
                    <a:lnTo>
                      <a:pt x="64804" y="8729"/>
                    </a:lnTo>
                    <a:lnTo>
                      <a:pt x="64451" y="9081"/>
                    </a:lnTo>
                    <a:lnTo>
                      <a:pt x="63569" y="8729"/>
                    </a:lnTo>
                    <a:lnTo>
                      <a:pt x="62423" y="9610"/>
                    </a:lnTo>
                    <a:lnTo>
                      <a:pt x="61806" y="10845"/>
                    </a:lnTo>
                    <a:lnTo>
                      <a:pt x="60924" y="11374"/>
                    </a:lnTo>
                    <a:lnTo>
                      <a:pt x="57486" y="11374"/>
                    </a:lnTo>
                    <a:lnTo>
                      <a:pt x="55987" y="9963"/>
                    </a:lnTo>
                    <a:lnTo>
                      <a:pt x="53077" y="10845"/>
                    </a:lnTo>
                    <a:lnTo>
                      <a:pt x="51931" y="11374"/>
                    </a:lnTo>
                    <a:lnTo>
                      <a:pt x="52196" y="14636"/>
                    </a:lnTo>
                    <a:lnTo>
                      <a:pt x="51667" y="15165"/>
                    </a:lnTo>
                    <a:lnTo>
                      <a:pt x="50168" y="14019"/>
                    </a:lnTo>
                    <a:lnTo>
                      <a:pt x="49551" y="14636"/>
                    </a:lnTo>
                    <a:lnTo>
                      <a:pt x="49286" y="15165"/>
                    </a:lnTo>
                    <a:lnTo>
                      <a:pt x="49022" y="15782"/>
                    </a:lnTo>
                    <a:lnTo>
                      <a:pt x="47875" y="15165"/>
                    </a:lnTo>
                    <a:lnTo>
                      <a:pt x="45230" y="15782"/>
                    </a:lnTo>
                    <a:lnTo>
                      <a:pt x="44966" y="15165"/>
                    </a:lnTo>
                    <a:lnTo>
                      <a:pt x="44084" y="15165"/>
                    </a:lnTo>
                    <a:lnTo>
                      <a:pt x="42850" y="14636"/>
                    </a:lnTo>
                    <a:lnTo>
                      <a:pt x="40557" y="15165"/>
                    </a:lnTo>
                    <a:lnTo>
                      <a:pt x="39411" y="15782"/>
                    </a:lnTo>
                    <a:lnTo>
                      <a:pt x="37383" y="15165"/>
                    </a:lnTo>
                    <a:lnTo>
                      <a:pt x="35884" y="16311"/>
                    </a:lnTo>
                    <a:lnTo>
                      <a:pt x="35267" y="16928"/>
                    </a:lnTo>
                    <a:lnTo>
                      <a:pt x="33857" y="18956"/>
                    </a:lnTo>
                    <a:lnTo>
                      <a:pt x="32710" y="19838"/>
                    </a:lnTo>
                    <a:lnTo>
                      <a:pt x="31211" y="20102"/>
                    </a:lnTo>
                    <a:lnTo>
                      <a:pt x="30947" y="20720"/>
                    </a:lnTo>
                    <a:lnTo>
                      <a:pt x="29448" y="21866"/>
                    </a:lnTo>
                    <a:lnTo>
                      <a:pt x="27685" y="21601"/>
                    </a:lnTo>
                    <a:lnTo>
                      <a:pt x="27420" y="20455"/>
                    </a:lnTo>
                    <a:lnTo>
                      <a:pt x="26010" y="20455"/>
                    </a:lnTo>
                    <a:lnTo>
                      <a:pt x="25392" y="21601"/>
                    </a:lnTo>
                    <a:lnTo>
                      <a:pt x="16664" y="22130"/>
                    </a:lnTo>
                    <a:lnTo>
                      <a:pt x="16664" y="23365"/>
                    </a:lnTo>
                    <a:lnTo>
                      <a:pt x="16664" y="23894"/>
                    </a:lnTo>
                    <a:lnTo>
                      <a:pt x="18074" y="27156"/>
                    </a:lnTo>
                    <a:lnTo>
                      <a:pt x="18427" y="29448"/>
                    </a:lnTo>
                    <a:lnTo>
                      <a:pt x="17193" y="30947"/>
                    </a:lnTo>
                    <a:lnTo>
                      <a:pt x="17193" y="31829"/>
                    </a:lnTo>
                    <a:lnTo>
                      <a:pt x="16311" y="32093"/>
                    </a:lnTo>
                    <a:lnTo>
                      <a:pt x="15429" y="31476"/>
                    </a:lnTo>
                    <a:lnTo>
                      <a:pt x="14636" y="32093"/>
                    </a:lnTo>
                    <a:lnTo>
                      <a:pt x="13401" y="32711"/>
                    </a:lnTo>
                    <a:lnTo>
                      <a:pt x="13137" y="33857"/>
                    </a:lnTo>
                    <a:lnTo>
                      <a:pt x="13754" y="35003"/>
                    </a:lnTo>
                    <a:lnTo>
                      <a:pt x="12608" y="36149"/>
                    </a:lnTo>
                    <a:lnTo>
                      <a:pt x="12255" y="37648"/>
                    </a:lnTo>
                    <a:lnTo>
                      <a:pt x="12608" y="38177"/>
                    </a:lnTo>
                    <a:lnTo>
                      <a:pt x="12255" y="38794"/>
                    </a:lnTo>
                    <a:lnTo>
                      <a:pt x="12608" y="40293"/>
                    </a:lnTo>
                    <a:lnTo>
                      <a:pt x="11991" y="40822"/>
                    </a:lnTo>
                    <a:lnTo>
                      <a:pt x="10227" y="41439"/>
                    </a:lnTo>
                    <a:lnTo>
                      <a:pt x="9610" y="40822"/>
                    </a:lnTo>
                    <a:lnTo>
                      <a:pt x="8817" y="41439"/>
                    </a:lnTo>
                    <a:lnTo>
                      <a:pt x="7582" y="41439"/>
                    </a:lnTo>
                    <a:lnTo>
                      <a:pt x="7318" y="42321"/>
                    </a:lnTo>
                    <a:lnTo>
                      <a:pt x="6172" y="42585"/>
                    </a:lnTo>
                    <a:lnTo>
                      <a:pt x="5819" y="44613"/>
                    </a:lnTo>
                    <a:lnTo>
                      <a:pt x="6701" y="45495"/>
                    </a:lnTo>
                    <a:lnTo>
                      <a:pt x="7582" y="46112"/>
                    </a:lnTo>
                    <a:lnTo>
                      <a:pt x="8200" y="48404"/>
                    </a:lnTo>
                    <a:lnTo>
                      <a:pt x="8200" y="49022"/>
                    </a:lnTo>
                    <a:lnTo>
                      <a:pt x="7582" y="48404"/>
                    </a:lnTo>
                    <a:lnTo>
                      <a:pt x="7053" y="49022"/>
                    </a:lnTo>
                    <a:lnTo>
                      <a:pt x="6701" y="49639"/>
                    </a:lnTo>
                    <a:lnTo>
                      <a:pt x="5290" y="50432"/>
                    </a:lnTo>
                    <a:lnTo>
                      <a:pt x="5025" y="51314"/>
                    </a:lnTo>
                    <a:lnTo>
                      <a:pt x="3262" y="52196"/>
                    </a:lnTo>
                    <a:lnTo>
                      <a:pt x="1763" y="52196"/>
                    </a:lnTo>
                    <a:lnTo>
                      <a:pt x="0" y="51314"/>
                    </a:lnTo>
                    <a:lnTo>
                      <a:pt x="1763" y="52196"/>
                    </a:lnTo>
                    <a:lnTo>
                      <a:pt x="3262" y="52813"/>
                    </a:lnTo>
                    <a:lnTo>
                      <a:pt x="3791" y="53695"/>
                    </a:lnTo>
                    <a:lnTo>
                      <a:pt x="3527" y="53959"/>
                    </a:lnTo>
                    <a:lnTo>
                      <a:pt x="2645" y="53695"/>
                    </a:lnTo>
                    <a:lnTo>
                      <a:pt x="2028" y="53959"/>
                    </a:lnTo>
                    <a:lnTo>
                      <a:pt x="2909" y="54224"/>
                    </a:lnTo>
                    <a:lnTo>
                      <a:pt x="3527" y="54841"/>
                    </a:lnTo>
                    <a:lnTo>
                      <a:pt x="3527" y="55458"/>
                    </a:lnTo>
                    <a:lnTo>
                      <a:pt x="4144" y="55458"/>
                    </a:lnTo>
                    <a:lnTo>
                      <a:pt x="4408" y="55987"/>
                    </a:lnTo>
                    <a:lnTo>
                      <a:pt x="3527" y="55987"/>
                    </a:lnTo>
                    <a:lnTo>
                      <a:pt x="4408" y="56604"/>
                    </a:lnTo>
                    <a:lnTo>
                      <a:pt x="3791" y="57133"/>
                    </a:lnTo>
                    <a:lnTo>
                      <a:pt x="4144" y="57750"/>
                    </a:lnTo>
                    <a:lnTo>
                      <a:pt x="5290" y="58015"/>
                    </a:lnTo>
                    <a:lnTo>
                      <a:pt x="6701" y="58632"/>
                    </a:lnTo>
                    <a:lnTo>
                      <a:pt x="7318" y="58632"/>
                    </a:lnTo>
                    <a:lnTo>
                      <a:pt x="7582" y="59778"/>
                    </a:lnTo>
                    <a:lnTo>
                      <a:pt x="8817" y="60660"/>
                    </a:lnTo>
                    <a:lnTo>
                      <a:pt x="9081" y="60660"/>
                    </a:lnTo>
                    <a:lnTo>
                      <a:pt x="10757" y="60131"/>
                    </a:lnTo>
                    <a:lnTo>
                      <a:pt x="11638" y="60660"/>
                    </a:lnTo>
                    <a:lnTo>
                      <a:pt x="12255" y="61542"/>
                    </a:lnTo>
                    <a:lnTo>
                      <a:pt x="11991" y="62423"/>
                    </a:lnTo>
                    <a:lnTo>
                      <a:pt x="11991" y="63569"/>
                    </a:lnTo>
                    <a:lnTo>
                      <a:pt x="13401" y="64716"/>
                    </a:lnTo>
                    <a:lnTo>
                      <a:pt x="14636" y="66832"/>
                    </a:lnTo>
                    <a:lnTo>
                      <a:pt x="14900" y="68242"/>
                    </a:lnTo>
                    <a:lnTo>
                      <a:pt x="14900" y="68507"/>
                    </a:lnTo>
                    <a:lnTo>
                      <a:pt x="14636" y="69124"/>
                    </a:lnTo>
                    <a:lnTo>
                      <a:pt x="14636" y="70006"/>
                    </a:lnTo>
                    <a:lnTo>
                      <a:pt x="15429" y="70270"/>
                    </a:lnTo>
                    <a:lnTo>
                      <a:pt x="16046" y="70006"/>
                    </a:lnTo>
                    <a:lnTo>
                      <a:pt x="17810" y="69389"/>
                    </a:lnTo>
                    <a:lnTo>
                      <a:pt x="17545" y="68859"/>
                    </a:lnTo>
                    <a:lnTo>
                      <a:pt x="16311" y="68242"/>
                    </a:lnTo>
                    <a:lnTo>
                      <a:pt x="17545" y="66215"/>
                    </a:lnTo>
                    <a:lnTo>
                      <a:pt x="16311" y="66215"/>
                    </a:lnTo>
                    <a:lnTo>
                      <a:pt x="16046" y="65597"/>
                    </a:lnTo>
                    <a:lnTo>
                      <a:pt x="17545" y="64716"/>
                    </a:lnTo>
                    <a:lnTo>
                      <a:pt x="18427" y="65950"/>
                    </a:lnTo>
                    <a:lnTo>
                      <a:pt x="18427" y="66215"/>
                    </a:lnTo>
                    <a:lnTo>
                      <a:pt x="17545" y="66832"/>
                    </a:lnTo>
                    <a:lnTo>
                      <a:pt x="18074" y="67096"/>
                    </a:lnTo>
                    <a:lnTo>
                      <a:pt x="19221" y="66832"/>
                    </a:lnTo>
                    <a:lnTo>
                      <a:pt x="20455" y="66832"/>
                    </a:lnTo>
                    <a:lnTo>
                      <a:pt x="20455" y="67361"/>
                    </a:lnTo>
                    <a:lnTo>
                      <a:pt x="20102" y="67978"/>
                    </a:lnTo>
                    <a:lnTo>
                      <a:pt x="20719" y="67978"/>
                    </a:lnTo>
                    <a:lnTo>
                      <a:pt x="21337" y="68242"/>
                    </a:lnTo>
                    <a:lnTo>
                      <a:pt x="21601" y="68242"/>
                    </a:lnTo>
                    <a:lnTo>
                      <a:pt x="21601" y="67361"/>
                    </a:lnTo>
                    <a:lnTo>
                      <a:pt x="23982" y="67713"/>
                    </a:lnTo>
                    <a:lnTo>
                      <a:pt x="24511" y="67978"/>
                    </a:lnTo>
                    <a:lnTo>
                      <a:pt x="24775" y="68507"/>
                    </a:lnTo>
                    <a:lnTo>
                      <a:pt x="23982" y="68507"/>
                    </a:lnTo>
                    <a:lnTo>
                      <a:pt x="23629" y="69389"/>
                    </a:lnTo>
                    <a:lnTo>
                      <a:pt x="23629" y="70006"/>
                    </a:lnTo>
                    <a:lnTo>
                      <a:pt x="23365" y="70887"/>
                    </a:lnTo>
                    <a:lnTo>
                      <a:pt x="22483" y="71769"/>
                    </a:lnTo>
                    <a:lnTo>
                      <a:pt x="22218" y="72034"/>
                    </a:lnTo>
                    <a:lnTo>
                      <a:pt x="21866" y="71152"/>
                    </a:lnTo>
                    <a:lnTo>
                      <a:pt x="21866" y="70006"/>
                    </a:lnTo>
                    <a:lnTo>
                      <a:pt x="20719" y="69389"/>
                    </a:lnTo>
                    <a:lnTo>
                      <a:pt x="20719" y="70270"/>
                    </a:lnTo>
                    <a:lnTo>
                      <a:pt x="19573" y="69389"/>
                    </a:lnTo>
                    <a:lnTo>
                      <a:pt x="18692" y="70006"/>
                    </a:lnTo>
                    <a:lnTo>
                      <a:pt x="17810" y="70006"/>
                    </a:lnTo>
                    <a:lnTo>
                      <a:pt x="16046" y="70623"/>
                    </a:lnTo>
                    <a:lnTo>
                      <a:pt x="16311" y="71152"/>
                    </a:lnTo>
                    <a:lnTo>
                      <a:pt x="16928" y="71505"/>
                    </a:lnTo>
                    <a:lnTo>
                      <a:pt x="17545" y="71152"/>
                    </a:lnTo>
                    <a:lnTo>
                      <a:pt x="18074" y="72034"/>
                    </a:lnTo>
                    <a:lnTo>
                      <a:pt x="17193" y="72034"/>
                    </a:lnTo>
                    <a:lnTo>
                      <a:pt x="16664" y="72034"/>
                    </a:lnTo>
                    <a:lnTo>
                      <a:pt x="16664" y="72651"/>
                    </a:lnTo>
                    <a:lnTo>
                      <a:pt x="16928" y="73180"/>
                    </a:lnTo>
                    <a:lnTo>
                      <a:pt x="16928" y="73797"/>
                    </a:lnTo>
                    <a:lnTo>
                      <a:pt x="17545" y="73797"/>
                    </a:lnTo>
                    <a:lnTo>
                      <a:pt x="18074" y="73180"/>
                    </a:lnTo>
                    <a:lnTo>
                      <a:pt x="19221" y="73180"/>
                    </a:lnTo>
                    <a:lnTo>
                      <a:pt x="19838" y="73180"/>
                    </a:lnTo>
                    <a:lnTo>
                      <a:pt x="19838" y="74062"/>
                    </a:lnTo>
                    <a:lnTo>
                      <a:pt x="19221" y="75296"/>
                    </a:lnTo>
                    <a:lnTo>
                      <a:pt x="20102" y="76089"/>
                    </a:lnTo>
                    <a:lnTo>
                      <a:pt x="21337" y="76089"/>
                    </a:lnTo>
                    <a:lnTo>
                      <a:pt x="22483" y="77588"/>
                    </a:lnTo>
                    <a:lnTo>
                      <a:pt x="22747" y="79352"/>
                    </a:lnTo>
                    <a:lnTo>
                      <a:pt x="23012" y="79969"/>
                    </a:lnTo>
                    <a:lnTo>
                      <a:pt x="24246" y="79616"/>
                    </a:lnTo>
                    <a:lnTo>
                      <a:pt x="24246" y="80233"/>
                    </a:lnTo>
                    <a:lnTo>
                      <a:pt x="24775" y="80762"/>
                    </a:lnTo>
                    <a:lnTo>
                      <a:pt x="24246" y="80498"/>
                    </a:lnTo>
                    <a:lnTo>
                      <a:pt x="24246" y="81115"/>
                    </a:lnTo>
                    <a:lnTo>
                      <a:pt x="24775" y="81997"/>
                    </a:lnTo>
                    <a:lnTo>
                      <a:pt x="24775" y="82790"/>
                    </a:lnTo>
                    <a:lnTo>
                      <a:pt x="24775" y="83143"/>
                    </a:lnTo>
                    <a:lnTo>
                      <a:pt x="24775" y="84024"/>
                    </a:lnTo>
                    <a:lnTo>
                      <a:pt x="25128" y="84553"/>
                    </a:lnTo>
                    <a:lnTo>
                      <a:pt x="24775" y="84906"/>
                    </a:lnTo>
                    <a:lnTo>
                      <a:pt x="25128" y="85171"/>
                    </a:lnTo>
                    <a:lnTo>
                      <a:pt x="25392" y="85435"/>
                    </a:lnTo>
                    <a:lnTo>
                      <a:pt x="25392" y="85171"/>
                    </a:lnTo>
                    <a:lnTo>
                      <a:pt x="26274" y="85171"/>
                    </a:lnTo>
                    <a:lnTo>
                      <a:pt x="26538" y="85171"/>
                    </a:lnTo>
                    <a:lnTo>
                      <a:pt x="27156" y="85171"/>
                    </a:lnTo>
                    <a:lnTo>
                      <a:pt x="27685" y="85171"/>
                    </a:lnTo>
                    <a:lnTo>
                      <a:pt x="28037" y="84906"/>
                    </a:lnTo>
                    <a:lnTo>
                      <a:pt x="27685" y="84553"/>
                    </a:lnTo>
                    <a:lnTo>
                      <a:pt x="28037" y="83760"/>
                    </a:lnTo>
                    <a:lnTo>
                      <a:pt x="27685" y="83143"/>
                    </a:lnTo>
                    <a:lnTo>
                      <a:pt x="28302" y="83143"/>
                    </a:lnTo>
                    <a:lnTo>
                      <a:pt x="29801" y="83143"/>
                    </a:lnTo>
                    <a:lnTo>
                      <a:pt x="30947" y="83143"/>
                    </a:lnTo>
                    <a:lnTo>
                      <a:pt x="32093" y="83143"/>
                    </a:lnTo>
                    <a:lnTo>
                      <a:pt x="32358" y="83407"/>
                    </a:lnTo>
                    <a:lnTo>
                      <a:pt x="32710" y="83143"/>
                    </a:lnTo>
                    <a:lnTo>
                      <a:pt x="32975" y="84024"/>
                    </a:lnTo>
                    <a:lnTo>
                      <a:pt x="32975" y="84553"/>
                    </a:lnTo>
                    <a:lnTo>
                      <a:pt x="32358" y="84553"/>
                    </a:lnTo>
                    <a:lnTo>
                      <a:pt x="32975" y="85171"/>
                    </a:lnTo>
                    <a:lnTo>
                      <a:pt x="33592" y="85171"/>
                    </a:lnTo>
                    <a:lnTo>
                      <a:pt x="33239" y="84906"/>
                    </a:lnTo>
                    <a:lnTo>
                      <a:pt x="33239" y="84553"/>
                    </a:lnTo>
                    <a:lnTo>
                      <a:pt x="36502" y="84024"/>
                    </a:lnTo>
                    <a:lnTo>
                      <a:pt x="37648" y="84024"/>
                    </a:lnTo>
                    <a:lnTo>
                      <a:pt x="38530" y="84553"/>
                    </a:lnTo>
                    <a:lnTo>
                      <a:pt x="38530" y="84289"/>
                    </a:lnTo>
                    <a:lnTo>
                      <a:pt x="38265" y="83760"/>
                    </a:lnTo>
                    <a:lnTo>
                      <a:pt x="38265" y="83143"/>
                    </a:lnTo>
                    <a:lnTo>
                      <a:pt x="39411" y="82790"/>
                    </a:lnTo>
                    <a:lnTo>
                      <a:pt x="41174" y="83143"/>
                    </a:lnTo>
                    <a:lnTo>
                      <a:pt x="42321" y="82790"/>
                    </a:lnTo>
                    <a:lnTo>
                      <a:pt x="43467" y="82790"/>
                    </a:lnTo>
                    <a:lnTo>
                      <a:pt x="45495" y="83143"/>
                    </a:lnTo>
                    <a:lnTo>
                      <a:pt x="46729" y="84553"/>
                    </a:lnTo>
                    <a:lnTo>
                      <a:pt x="46729" y="85171"/>
                    </a:lnTo>
                    <a:lnTo>
                      <a:pt x="47258" y="85435"/>
                    </a:lnTo>
                    <a:lnTo>
                      <a:pt x="48757" y="84553"/>
                    </a:lnTo>
                    <a:lnTo>
                      <a:pt x="48757" y="83760"/>
                    </a:lnTo>
                    <a:lnTo>
                      <a:pt x="49022" y="83143"/>
                    </a:lnTo>
                    <a:lnTo>
                      <a:pt x="49551" y="83407"/>
                    </a:lnTo>
                    <a:lnTo>
                      <a:pt x="50168" y="84289"/>
                    </a:lnTo>
                    <a:lnTo>
                      <a:pt x="50432" y="84553"/>
                    </a:lnTo>
                    <a:lnTo>
                      <a:pt x="50168" y="84024"/>
                    </a:lnTo>
                    <a:lnTo>
                      <a:pt x="51667" y="84553"/>
                    </a:lnTo>
                    <a:lnTo>
                      <a:pt x="51402" y="83143"/>
                    </a:lnTo>
                    <a:lnTo>
                      <a:pt x="51402" y="82790"/>
                    </a:lnTo>
                    <a:lnTo>
                      <a:pt x="51049" y="81644"/>
                    </a:lnTo>
                    <a:lnTo>
                      <a:pt x="52548" y="82790"/>
                    </a:lnTo>
                    <a:lnTo>
                      <a:pt x="54311" y="84024"/>
                    </a:lnTo>
                    <a:lnTo>
                      <a:pt x="54311" y="84553"/>
                    </a:lnTo>
                    <a:lnTo>
                      <a:pt x="54311" y="86670"/>
                    </a:lnTo>
                    <a:lnTo>
                      <a:pt x="55458" y="86934"/>
                    </a:lnTo>
                    <a:lnTo>
                      <a:pt x="55722" y="85171"/>
                    </a:lnTo>
                    <a:lnTo>
                      <a:pt x="55722" y="84553"/>
                    </a:lnTo>
                    <a:lnTo>
                      <a:pt x="55458" y="84024"/>
                    </a:lnTo>
                    <a:lnTo>
                      <a:pt x="55458" y="83143"/>
                    </a:lnTo>
                    <a:lnTo>
                      <a:pt x="56604" y="83143"/>
                    </a:lnTo>
                    <a:lnTo>
                      <a:pt x="58015" y="85171"/>
                    </a:lnTo>
                    <a:lnTo>
                      <a:pt x="60131" y="86670"/>
                    </a:lnTo>
                    <a:lnTo>
                      <a:pt x="58896" y="86670"/>
                    </a:lnTo>
                    <a:lnTo>
                      <a:pt x="58896" y="87816"/>
                    </a:lnTo>
                    <a:lnTo>
                      <a:pt x="60660" y="87551"/>
                    </a:lnTo>
                    <a:lnTo>
                      <a:pt x="60660" y="88962"/>
                    </a:lnTo>
                    <a:lnTo>
                      <a:pt x="62776" y="89579"/>
                    </a:lnTo>
                    <a:lnTo>
                      <a:pt x="63040" y="88345"/>
                    </a:lnTo>
                    <a:lnTo>
                      <a:pt x="61541" y="88345"/>
                    </a:lnTo>
                    <a:lnTo>
                      <a:pt x="63305" y="87551"/>
                    </a:lnTo>
                    <a:lnTo>
                      <a:pt x="64451" y="87816"/>
                    </a:lnTo>
                    <a:lnTo>
                      <a:pt x="64451" y="88345"/>
                    </a:lnTo>
                    <a:lnTo>
                      <a:pt x="64451" y="88697"/>
                    </a:lnTo>
                    <a:lnTo>
                      <a:pt x="64804" y="89579"/>
                    </a:lnTo>
                    <a:lnTo>
                      <a:pt x="66214" y="87816"/>
                    </a:lnTo>
                    <a:lnTo>
                      <a:pt x="66214" y="88697"/>
                    </a:lnTo>
                    <a:lnTo>
                      <a:pt x="66214" y="89579"/>
                    </a:lnTo>
                    <a:lnTo>
                      <a:pt x="68242" y="89579"/>
                    </a:lnTo>
                    <a:lnTo>
                      <a:pt x="69388" y="90725"/>
                    </a:lnTo>
                    <a:lnTo>
                      <a:pt x="68242" y="91342"/>
                    </a:lnTo>
                    <a:lnTo>
                      <a:pt x="64804" y="91871"/>
                    </a:lnTo>
                    <a:lnTo>
                      <a:pt x="63569" y="91342"/>
                    </a:lnTo>
                    <a:lnTo>
                      <a:pt x="60660" y="91871"/>
                    </a:lnTo>
                    <a:lnTo>
                      <a:pt x="61806" y="92136"/>
                    </a:lnTo>
                    <a:lnTo>
                      <a:pt x="63922" y="93018"/>
                    </a:lnTo>
                    <a:lnTo>
                      <a:pt x="63040" y="93899"/>
                    </a:lnTo>
                    <a:lnTo>
                      <a:pt x="62159" y="94252"/>
                    </a:lnTo>
                    <a:lnTo>
                      <a:pt x="60660" y="93899"/>
                    </a:lnTo>
                    <a:lnTo>
                      <a:pt x="58632" y="91871"/>
                    </a:lnTo>
                    <a:lnTo>
                      <a:pt x="56339" y="91342"/>
                    </a:lnTo>
                    <a:lnTo>
                      <a:pt x="54576" y="90108"/>
                    </a:lnTo>
                    <a:lnTo>
                      <a:pt x="51931" y="90108"/>
                    </a:lnTo>
                    <a:lnTo>
                      <a:pt x="50785" y="89579"/>
                    </a:lnTo>
                    <a:lnTo>
                      <a:pt x="49022" y="88962"/>
                    </a:lnTo>
                    <a:lnTo>
                      <a:pt x="46112" y="875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7" name="Freihandform: Form 1556">
                <a:extLst>
                  <a:ext uri="{FF2B5EF4-FFF2-40B4-BE49-F238E27FC236}">
                    <a16:creationId xmlns:a16="http://schemas.microsoft.com/office/drawing/2014/main" id="{BA918AE7-540E-0355-CA97-E735AF204521}"/>
                  </a:ext>
                </a:extLst>
              </p:cNvPr>
              <p:cNvSpPr/>
              <p:nvPr/>
            </p:nvSpPr>
            <p:spPr>
              <a:xfrm>
                <a:off x="4640114" y="3242347"/>
                <a:ext cx="13137" cy="11109"/>
              </a:xfrm>
              <a:custGeom>
                <a:avLst/>
                <a:gdLst>
                  <a:gd name="connsiteX0" fmla="*/ 10139 w 13137"/>
                  <a:gd name="connsiteY0" fmla="*/ 8111 h 11109"/>
                  <a:gd name="connsiteX1" fmla="*/ 9258 w 13137"/>
                  <a:gd name="connsiteY1" fmla="*/ 7847 h 11109"/>
                  <a:gd name="connsiteX2" fmla="*/ 6701 w 13137"/>
                  <a:gd name="connsiteY2" fmla="*/ 7582 h 11109"/>
                  <a:gd name="connsiteX3" fmla="*/ 5819 w 13137"/>
                  <a:gd name="connsiteY3" fmla="*/ 8729 h 11109"/>
                  <a:gd name="connsiteX4" fmla="*/ 3791 w 13137"/>
                  <a:gd name="connsiteY4" fmla="*/ 9875 h 11109"/>
                  <a:gd name="connsiteX5" fmla="*/ 3174 w 13137"/>
                  <a:gd name="connsiteY5" fmla="*/ 10492 h 11109"/>
                  <a:gd name="connsiteX6" fmla="*/ 1763 w 13137"/>
                  <a:gd name="connsiteY6" fmla="*/ 11109 h 11109"/>
                  <a:gd name="connsiteX7" fmla="*/ 529 w 13137"/>
                  <a:gd name="connsiteY7" fmla="*/ 11109 h 11109"/>
                  <a:gd name="connsiteX8" fmla="*/ 264 w 13137"/>
                  <a:gd name="connsiteY8" fmla="*/ 9875 h 11109"/>
                  <a:gd name="connsiteX9" fmla="*/ 529 w 13137"/>
                  <a:gd name="connsiteY9" fmla="*/ 8111 h 11109"/>
                  <a:gd name="connsiteX10" fmla="*/ 529 w 13137"/>
                  <a:gd name="connsiteY10" fmla="*/ 6701 h 11109"/>
                  <a:gd name="connsiteX11" fmla="*/ 0 w 13137"/>
                  <a:gd name="connsiteY11" fmla="*/ 5819 h 11109"/>
                  <a:gd name="connsiteX12" fmla="*/ 529 w 13137"/>
                  <a:gd name="connsiteY12" fmla="*/ 5290 h 11109"/>
                  <a:gd name="connsiteX13" fmla="*/ 1411 w 13137"/>
                  <a:gd name="connsiteY13" fmla="*/ 5819 h 11109"/>
                  <a:gd name="connsiteX14" fmla="*/ 2910 w 13137"/>
                  <a:gd name="connsiteY14" fmla="*/ 3791 h 11109"/>
                  <a:gd name="connsiteX15" fmla="*/ 4056 w 13137"/>
                  <a:gd name="connsiteY15" fmla="*/ 3527 h 11109"/>
                  <a:gd name="connsiteX16" fmla="*/ 6084 w 13137"/>
                  <a:gd name="connsiteY16" fmla="*/ 2028 h 11109"/>
                  <a:gd name="connsiteX17" fmla="*/ 8993 w 13137"/>
                  <a:gd name="connsiteY17" fmla="*/ 1763 h 11109"/>
                  <a:gd name="connsiteX18" fmla="*/ 10139 w 13137"/>
                  <a:gd name="connsiteY18" fmla="*/ 882 h 11109"/>
                  <a:gd name="connsiteX19" fmla="*/ 12256 w 13137"/>
                  <a:gd name="connsiteY19" fmla="*/ 264 h 11109"/>
                  <a:gd name="connsiteX20" fmla="*/ 12785 w 13137"/>
                  <a:gd name="connsiteY20" fmla="*/ 0 h 11109"/>
                  <a:gd name="connsiteX21" fmla="*/ 13137 w 13137"/>
                  <a:gd name="connsiteY21" fmla="*/ 529 h 11109"/>
                  <a:gd name="connsiteX22" fmla="*/ 12520 w 13137"/>
                  <a:gd name="connsiteY22" fmla="*/ 1499 h 11109"/>
                  <a:gd name="connsiteX23" fmla="*/ 11903 w 13137"/>
                  <a:gd name="connsiteY23" fmla="*/ 2645 h 11109"/>
                  <a:gd name="connsiteX24" fmla="*/ 12520 w 13137"/>
                  <a:gd name="connsiteY24" fmla="*/ 3527 h 11109"/>
                  <a:gd name="connsiteX25" fmla="*/ 11638 w 13137"/>
                  <a:gd name="connsiteY25" fmla="*/ 5555 h 11109"/>
                  <a:gd name="connsiteX26" fmla="*/ 11021 w 13137"/>
                  <a:gd name="connsiteY26" fmla="*/ 6965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137" h="11109">
                    <a:moveTo>
                      <a:pt x="10139" y="8111"/>
                    </a:moveTo>
                    <a:lnTo>
                      <a:pt x="9258" y="7847"/>
                    </a:lnTo>
                    <a:lnTo>
                      <a:pt x="6701" y="7582"/>
                    </a:lnTo>
                    <a:lnTo>
                      <a:pt x="5819" y="8729"/>
                    </a:lnTo>
                    <a:lnTo>
                      <a:pt x="3791" y="9875"/>
                    </a:lnTo>
                    <a:lnTo>
                      <a:pt x="3174" y="10492"/>
                    </a:lnTo>
                    <a:lnTo>
                      <a:pt x="1763" y="11109"/>
                    </a:lnTo>
                    <a:lnTo>
                      <a:pt x="529" y="11109"/>
                    </a:lnTo>
                    <a:lnTo>
                      <a:pt x="264" y="9875"/>
                    </a:lnTo>
                    <a:lnTo>
                      <a:pt x="529" y="8111"/>
                    </a:lnTo>
                    <a:lnTo>
                      <a:pt x="529" y="6701"/>
                    </a:lnTo>
                    <a:lnTo>
                      <a:pt x="0" y="5819"/>
                    </a:lnTo>
                    <a:lnTo>
                      <a:pt x="529" y="5290"/>
                    </a:lnTo>
                    <a:lnTo>
                      <a:pt x="1411" y="5819"/>
                    </a:lnTo>
                    <a:lnTo>
                      <a:pt x="2910" y="3791"/>
                    </a:lnTo>
                    <a:lnTo>
                      <a:pt x="4056" y="3527"/>
                    </a:lnTo>
                    <a:lnTo>
                      <a:pt x="6084" y="2028"/>
                    </a:lnTo>
                    <a:lnTo>
                      <a:pt x="8993" y="1763"/>
                    </a:lnTo>
                    <a:lnTo>
                      <a:pt x="10139" y="882"/>
                    </a:lnTo>
                    <a:lnTo>
                      <a:pt x="12256" y="264"/>
                    </a:lnTo>
                    <a:lnTo>
                      <a:pt x="12785" y="0"/>
                    </a:lnTo>
                    <a:lnTo>
                      <a:pt x="13137" y="529"/>
                    </a:lnTo>
                    <a:lnTo>
                      <a:pt x="12520" y="1499"/>
                    </a:lnTo>
                    <a:lnTo>
                      <a:pt x="11903" y="2645"/>
                    </a:lnTo>
                    <a:lnTo>
                      <a:pt x="12520" y="3527"/>
                    </a:lnTo>
                    <a:lnTo>
                      <a:pt x="11638" y="5555"/>
                    </a:lnTo>
                    <a:lnTo>
                      <a:pt x="11021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8" name="Freihandform: Form 1557">
                <a:extLst>
                  <a:ext uri="{FF2B5EF4-FFF2-40B4-BE49-F238E27FC236}">
                    <a16:creationId xmlns:a16="http://schemas.microsoft.com/office/drawing/2014/main" id="{03D92695-1F34-C002-E475-29DA4F62380E}"/>
                  </a:ext>
                </a:extLst>
              </p:cNvPr>
              <p:cNvSpPr/>
              <p:nvPr/>
            </p:nvSpPr>
            <p:spPr>
              <a:xfrm>
                <a:off x="4591974" y="3166786"/>
                <a:ext cx="18956" cy="10844"/>
              </a:xfrm>
              <a:custGeom>
                <a:avLst/>
                <a:gdLst>
                  <a:gd name="connsiteX0" fmla="*/ 18956 w 18956"/>
                  <a:gd name="connsiteY0" fmla="*/ 10845 h 10844"/>
                  <a:gd name="connsiteX1" fmla="*/ 16047 w 18956"/>
                  <a:gd name="connsiteY1" fmla="*/ 10845 h 10844"/>
                  <a:gd name="connsiteX2" fmla="*/ 15429 w 18956"/>
                  <a:gd name="connsiteY2" fmla="*/ 10845 h 10844"/>
                  <a:gd name="connsiteX3" fmla="*/ 13666 w 18956"/>
                  <a:gd name="connsiteY3" fmla="*/ 9610 h 10844"/>
                  <a:gd name="connsiteX4" fmla="*/ 12520 w 18956"/>
                  <a:gd name="connsiteY4" fmla="*/ 9963 h 10844"/>
                  <a:gd name="connsiteX5" fmla="*/ 11638 w 18956"/>
                  <a:gd name="connsiteY5" fmla="*/ 10845 h 10844"/>
                  <a:gd name="connsiteX6" fmla="*/ 10492 w 18956"/>
                  <a:gd name="connsiteY6" fmla="*/ 10228 h 10844"/>
                  <a:gd name="connsiteX7" fmla="*/ 9875 w 18956"/>
                  <a:gd name="connsiteY7" fmla="*/ 9081 h 10844"/>
                  <a:gd name="connsiteX8" fmla="*/ 9875 w 18956"/>
                  <a:gd name="connsiteY8" fmla="*/ 6436 h 10844"/>
                  <a:gd name="connsiteX9" fmla="*/ 8993 w 18956"/>
                  <a:gd name="connsiteY9" fmla="*/ 6436 h 10844"/>
                  <a:gd name="connsiteX10" fmla="*/ 8111 w 18956"/>
                  <a:gd name="connsiteY10" fmla="*/ 7847 h 10844"/>
                  <a:gd name="connsiteX11" fmla="*/ 6701 w 18956"/>
                  <a:gd name="connsiteY11" fmla="*/ 8200 h 10844"/>
                  <a:gd name="connsiteX12" fmla="*/ 5555 w 18956"/>
                  <a:gd name="connsiteY12" fmla="*/ 7582 h 10844"/>
                  <a:gd name="connsiteX13" fmla="*/ 2292 w 18956"/>
                  <a:gd name="connsiteY13" fmla="*/ 7847 h 10844"/>
                  <a:gd name="connsiteX14" fmla="*/ 617 w 18956"/>
                  <a:gd name="connsiteY14" fmla="*/ 7582 h 10844"/>
                  <a:gd name="connsiteX15" fmla="*/ 0 w 18956"/>
                  <a:gd name="connsiteY15" fmla="*/ 6172 h 10844"/>
                  <a:gd name="connsiteX16" fmla="*/ 264 w 18956"/>
                  <a:gd name="connsiteY16" fmla="*/ 4673 h 10844"/>
                  <a:gd name="connsiteX17" fmla="*/ 1763 w 18956"/>
                  <a:gd name="connsiteY17" fmla="*/ 3791 h 10844"/>
                  <a:gd name="connsiteX18" fmla="*/ 2645 w 18956"/>
                  <a:gd name="connsiteY18" fmla="*/ 4673 h 10844"/>
                  <a:gd name="connsiteX19" fmla="*/ 4056 w 18956"/>
                  <a:gd name="connsiteY19" fmla="*/ 4938 h 10844"/>
                  <a:gd name="connsiteX20" fmla="*/ 7847 w 18956"/>
                  <a:gd name="connsiteY20" fmla="*/ 3527 h 10844"/>
                  <a:gd name="connsiteX21" fmla="*/ 9610 w 18956"/>
                  <a:gd name="connsiteY21" fmla="*/ 2381 h 10844"/>
                  <a:gd name="connsiteX22" fmla="*/ 11109 w 18956"/>
                  <a:gd name="connsiteY22" fmla="*/ 2028 h 10844"/>
                  <a:gd name="connsiteX23" fmla="*/ 10757 w 18956"/>
                  <a:gd name="connsiteY23" fmla="*/ 1146 h 10844"/>
                  <a:gd name="connsiteX24" fmla="*/ 11638 w 18956"/>
                  <a:gd name="connsiteY24" fmla="*/ 0 h 10844"/>
                  <a:gd name="connsiteX25" fmla="*/ 12255 w 18956"/>
                  <a:gd name="connsiteY25" fmla="*/ 882 h 10844"/>
                  <a:gd name="connsiteX26" fmla="*/ 13137 w 18956"/>
                  <a:gd name="connsiteY26" fmla="*/ 882 h 10844"/>
                  <a:gd name="connsiteX27" fmla="*/ 13137 w 18956"/>
                  <a:gd name="connsiteY27" fmla="*/ 2645 h 10844"/>
                  <a:gd name="connsiteX28" fmla="*/ 14548 w 18956"/>
                  <a:gd name="connsiteY28" fmla="*/ 5819 h 10844"/>
                  <a:gd name="connsiteX29" fmla="*/ 15165 w 18956"/>
                  <a:gd name="connsiteY29" fmla="*/ 7053 h 10844"/>
                  <a:gd name="connsiteX30" fmla="*/ 15165 w 18956"/>
                  <a:gd name="connsiteY30" fmla="*/ 8729 h 10844"/>
                  <a:gd name="connsiteX31" fmla="*/ 16047 w 18956"/>
                  <a:gd name="connsiteY31" fmla="*/ 9081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8956" h="10844">
                    <a:moveTo>
                      <a:pt x="18956" y="10845"/>
                    </a:moveTo>
                    <a:lnTo>
                      <a:pt x="16047" y="10845"/>
                    </a:lnTo>
                    <a:lnTo>
                      <a:pt x="15429" y="10845"/>
                    </a:lnTo>
                    <a:lnTo>
                      <a:pt x="13666" y="9610"/>
                    </a:lnTo>
                    <a:lnTo>
                      <a:pt x="12520" y="9963"/>
                    </a:lnTo>
                    <a:lnTo>
                      <a:pt x="11638" y="10845"/>
                    </a:lnTo>
                    <a:lnTo>
                      <a:pt x="10492" y="10228"/>
                    </a:lnTo>
                    <a:lnTo>
                      <a:pt x="9875" y="9081"/>
                    </a:lnTo>
                    <a:lnTo>
                      <a:pt x="9875" y="6436"/>
                    </a:lnTo>
                    <a:lnTo>
                      <a:pt x="8993" y="6436"/>
                    </a:lnTo>
                    <a:lnTo>
                      <a:pt x="8111" y="7847"/>
                    </a:lnTo>
                    <a:lnTo>
                      <a:pt x="6701" y="8200"/>
                    </a:lnTo>
                    <a:lnTo>
                      <a:pt x="5555" y="7582"/>
                    </a:lnTo>
                    <a:lnTo>
                      <a:pt x="2292" y="7847"/>
                    </a:lnTo>
                    <a:lnTo>
                      <a:pt x="617" y="7582"/>
                    </a:lnTo>
                    <a:lnTo>
                      <a:pt x="0" y="6172"/>
                    </a:lnTo>
                    <a:lnTo>
                      <a:pt x="264" y="4673"/>
                    </a:lnTo>
                    <a:lnTo>
                      <a:pt x="1763" y="3791"/>
                    </a:lnTo>
                    <a:lnTo>
                      <a:pt x="2645" y="4673"/>
                    </a:lnTo>
                    <a:lnTo>
                      <a:pt x="4056" y="4938"/>
                    </a:lnTo>
                    <a:lnTo>
                      <a:pt x="7847" y="3527"/>
                    </a:lnTo>
                    <a:lnTo>
                      <a:pt x="9610" y="2381"/>
                    </a:lnTo>
                    <a:lnTo>
                      <a:pt x="11109" y="2028"/>
                    </a:lnTo>
                    <a:lnTo>
                      <a:pt x="10757" y="1146"/>
                    </a:lnTo>
                    <a:lnTo>
                      <a:pt x="11638" y="0"/>
                    </a:lnTo>
                    <a:lnTo>
                      <a:pt x="12255" y="882"/>
                    </a:lnTo>
                    <a:lnTo>
                      <a:pt x="13137" y="882"/>
                    </a:lnTo>
                    <a:lnTo>
                      <a:pt x="13137" y="2645"/>
                    </a:lnTo>
                    <a:lnTo>
                      <a:pt x="14548" y="5819"/>
                    </a:lnTo>
                    <a:lnTo>
                      <a:pt x="15165" y="7053"/>
                    </a:lnTo>
                    <a:lnTo>
                      <a:pt x="15165" y="8729"/>
                    </a:lnTo>
                    <a:lnTo>
                      <a:pt x="16047" y="908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9" name="Freihandform: Form 1558">
                <a:extLst>
                  <a:ext uri="{FF2B5EF4-FFF2-40B4-BE49-F238E27FC236}">
                    <a16:creationId xmlns:a16="http://schemas.microsoft.com/office/drawing/2014/main" id="{FA494998-7E8F-C63E-E40B-4B7C3E5D8597}"/>
                  </a:ext>
                </a:extLst>
              </p:cNvPr>
              <p:cNvSpPr/>
              <p:nvPr/>
            </p:nvSpPr>
            <p:spPr>
              <a:xfrm>
                <a:off x="4594002" y="3188476"/>
                <a:ext cx="7582" cy="10227"/>
              </a:xfrm>
              <a:custGeom>
                <a:avLst/>
                <a:gdLst>
                  <a:gd name="connsiteX0" fmla="*/ 6701 w 7582"/>
                  <a:gd name="connsiteY0" fmla="*/ 882 h 10227"/>
                  <a:gd name="connsiteX1" fmla="*/ 5290 w 7582"/>
                  <a:gd name="connsiteY1" fmla="*/ 0 h 10227"/>
                  <a:gd name="connsiteX2" fmla="*/ 2645 w 7582"/>
                  <a:gd name="connsiteY2" fmla="*/ 1411 h 10227"/>
                  <a:gd name="connsiteX3" fmla="*/ 0 w 7582"/>
                  <a:gd name="connsiteY3" fmla="*/ 264 h 10227"/>
                  <a:gd name="connsiteX4" fmla="*/ 264 w 7582"/>
                  <a:gd name="connsiteY4" fmla="*/ 2910 h 10227"/>
                  <a:gd name="connsiteX5" fmla="*/ 3527 w 7582"/>
                  <a:gd name="connsiteY5" fmla="*/ 3527 h 10227"/>
                  <a:gd name="connsiteX6" fmla="*/ 2645 w 7582"/>
                  <a:gd name="connsiteY6" fmla="*/ 6436 h 10227"/>
                  <a:gd name="connsiteX7" fmla="*/ 4056 w 7582"/>
                  <a:gd name="connsiteY7" fmla="*/ 9346 h 10227"/>
                  <a:gd name="connsiteX8" fmla="*/ 6436 w 7582"/>
                  <a:gd name="connsiteY8" fmla="*/ 10228 h 10227"/>
                  <a:gd name="connsiteX9" fmla="*/ 7582 w 7582"/>
                  <a:gd name="connsiteY9" fmla="*/ 9346 h 10227"/>
                  <a:gd name="connsiteX10" fmla="*/ 6965 w 7582"/>
                  <a:gd name="connsiteY10" fmla="*/ 6436 h 10227"/>
                  <a:gd name="connsiteX11" fmla="*/ 7582 w 7582"/>
                  <a:gd name="connsiteY11" fmla="*/ 3791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582" h="10227">
                    <a:moveTo>
                      <a:pt x="6701" y="882"/>
                    </a:moveTo>
                    <a:lnTo>
                      <a:pt x="5290" y="0"/>
                    </a:lnTo>
                    <a:lnTo>
                      <a:pt x="2645" y="1411"/>
                    </a:lnTo>
                    <a:lnTo>
                      <a:pt x="0" y="264"/>
                    </a:lnTo>
                    <a:lnTo>
                      <a:pt x="264" y="2910"/>
                    </a:lnTo>
                    <a:lnTo>
                      <a:pt x="3527" y="3527"/>
                    </a:lnTo>
                    <a:lnTo>
                      <a:pt x="2645" y="6436"/>
                    </a:lnTo>
                    <a:lnTo>
                      <a:pt x="4056" y="9346"/>
                    </a:lnTo>
                    <a:lnTo>
                      <a:pt x="6436" y="10228"/>
                    </a:lnTo>
                    <a:lnTo>
                      <a:pt x="7582" y="9346"/>
                    </a:lnTo>
                    <a:lnTo>
                      <a:pt x="6965" y="6436"/>
                    </a:lnTo>
                    <a:lnTo>
                      <a:pt x="7582" y="37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0" name="Freihandform: Form 1559">
                <a:extLst>
                  <a:ext uri="{FF2B5EF4-FFF2-40B4-BE49-F238E27FC236}">
                    <a16:creationId xmlns:a16="http://schemas.microsoft.com/office/drawing/2014/main" id="{DDB2558A-E185-BA57-14D7-A15732F71BE6}"/>
                  </a:ext>
                </a:extLst>
              </p:cNvPr>
              <p:cNvSpPr/>
              <p:nvPr/>
            </p:nvSpPr>
            <p:spPr>
              <a:xfrm>
                <a:off x="3875341" y="3100925"/>
                <a:ext cx="67801" cy="126874"/>
              </a:xfrm>
              <a:custGeom>
                <a:avLst/>
                <a:gdLst>
                  <a:gd name="connsiteX0" fmla="*/ 40469 w 67801"/>
                  <a:gd name="connsiteY0" fmla="*/ 122466 h 126874"/>
                  <a:gd name="connsiteX1" fmla="*/ 39323 w 67801"/>
                  <a:gd name="connsiteY1" fmla="*/ 116382 h 126874"/>
                  <a:gd name="connsiteX2" fmla="*/ 39059 w 67801"/>
                  <a:gd name="connsiteY2" fmla="*/ 114883 h 126874"/>
                  <a:gd name="connsiteX3" fmla="*/ 38441 w 67801"/>
                  <a:gd name="connsiteY3" fmla="*/ 113737 h 126874"/>
                  <a:gd name="connsiteX4" fmla="*/ 39323 w 67801"/>
                  <a:gd name="connsiteY4" fmla="*/ 112326 h 126874"/>
                  <a:gd name="connsiteX5" fmla="*/ 39323 w 67801"/>
                  <a:gd name="connsiteY5" fmla="*/ 110563 h 126874"/>
                  <a:gd name="connsiteX6" fmla="*/ 41086 w 67801"/>
                  <a:gd name="connsiteY6" fmla="*/ 107918 h 126874"/>
                  <a:gd name="connsiteX7" fmla="*/ 43731 w 67801"/>
                  <a:gd name="connsiteY7" fmla="*/ 105890 h 126874"/>
                  <a:gd name="connsiteX8" fmla="*/ 43114 w 67801"/>
                  <a:gd name="connsiteY8" fmla="*/ 104391 h 126874"/>
                  <a:gd name="connsiteX9" fmla="*/ 43379 w 67801"/>
                  <a:gd name="connsiteY9" fmla="*/ 102981 h 126874"/>
                  <a:gd name="connsiteX10" fmla="*/ 43643 w 67801"/>
                  <a:gd name="connsiteY10" fmla="*/ 102099 h 126874"/>
                  <a:gd name="connsiteX11" fmla="*/ 44789 w 67801"/>
                  <a:gd name="connsiteY11" fmla="*/ 101482 h 126874"/>
                  <a:gd name="connsiteX12" fmla="*/ 46817 w 67801"/>
                  <a:gd name="connsiteY12" fmla="*/ 101482 h 126874"/>
                  <a:gd name="connsiteX13" fmla="*/ 47082 w 67801"/>
                  <a:gd name="connsiteY13" fmla="*/ 100865 h 126874"/>
                  <a:gd name="connsiteX14" fmla="*/ 48228 w 67801"/>
                  <a:gd name="connsiteY14" fmla="*/ 100600 h 126874"/>
                  <a:gd name="connsiteX15" fmla="*/ 49991 w 67801"/>
                  <a:gd name="connsiteY15" fmla="*/ 98837 h 126874"/>
                  <a:gd name="connsiteX16" fmla="*/ 49639 w 67801"/>
                  <a:gd name="connsiteY16" fmla="*/ 97426 h 126874"/>
                  <a:gd name="connsiteX17" fmla="*/ 48493 w 67801"/>
                  <a:gd name="connsiteY17" fmla="*/ 98308 h 126874"/>
                  <a:gd name="connsiteX18" fmla="*/ 47875 w 67801"/>
                  <a:gd name="connsiteY18" fmla="*/ 98043 h 126874"/>
                  <a:gd name="connsiteX19" fmla="*/ 46729 w 67801"/>
                  <a:gd name="connsiteY19" fmla="*/ 96897 h 126874"/>
                  <a:gd name="connsiteX20" fmla="*/ 43820 w 67801"/>
                  <a:gd name="connsiteY20" fmla="*/ 91078 h 126874"/>
                  <a:gd name="connsiteX21" fmla="*/ 42938 w 67801"/>
                  <a:gd name="connsiteY21" fmla="*/ 90461 h 126874"/>
                  <a:gd name="connsiteX22" fmla="*/ 43202 w 67801"/>
                  <a:gd name="connsiteY22" fmla="*/ 89314 h 126874"/>
                  <a:gd name="connsiteX23" fmla="*/ 42938 w 67801"/>
                  <a:gd name="connsiteY23" fmla="*/ 88433 h 126874"/>
                  <a:gd name="connsiteX24" fmla="*/ 43820 w 67801"/>
                  <a:gd name="connsiteY24" fmla="*/ 88168 h 126874"/>
                  <a:gd name="connsiteX25" fmla="*/ 44437 w 67801"/>
                  <a:gd name="connsiteY25" fmla="*/ 86669 h 126874"/>
                  <a:gd name="connsiteX26" fmla="*/ 43820 w 67801"/>
                  <a:gd name="connsiteY26" fmla="*/ 86052 h 126874"/>
                  <a:gd name="connsiteX27" fmla="*/ 44437 w 67801"/>
                  <a:gd name="connsiteY27" fmla="*/ 84289 h 126874"/>
                  <a:gd name="connsiteX28" fmla="*/ 47082 w 67801"/>
                  <a:gd name="connsiteY28" fmla="*/ 82261 h 126874"/>
                  <a:gd name="connsiteX29" fmla="*/ 48581 w 67801"/>
                  <a:gd name="connsiteY29" fmla="*/ 81379 h 126874"/>
                  <a:gd name="connsiteX30" fmla="*/ 48845 w 67801"/>
                  <a:gd name="connsiteY30" fmla="*/ 81115 h 126874"/>
                  <a:gd name="connsiteX31" fmla="*/ 49462 w 67801"/>
                  <a:gd name="connsiteY31" fmla="*/ 79969 h 126874"/>
                  <a:gd name="connsiteX32" fmla="*/ 48845 w 67801"/>
                  <a:gd name="connsiteY32" fmla="*/ 78558 h 126874"/>
                  <a:gd name="connsiteX33" fmla="*/ 49991 w 67801"/>
                  <a:gd name="connsiteY33" fmla="*/ 77676 h 126874"/>
                  <a:gd name="connsiteX34" fmla="*/ 50873 w 67801"/>
                  <a:gd name="connsiteY34" fmla="*/ 76530 h 126874"/>
                  <a:gd name="connsiteX35" fmla="*/ 50256 w 67801"/>
                  <a:gd name="connsiteY35" fmla="*/ 75384 h 126874"/>
                  <a:gd name="connsiteX36" fmla="*/ 49374 w 67801"/>
                  <a:gd name="connsiteY36" fmla="*/ 74767 h 126874"/>
                  <a:gd name="connsiteX37" fmla="*/ 49110 w 67801"/>
                  <a:gd name="connsiteY37" fmla="*/ 73885 h 126874"/>
                  <a:gd name="connsiteX38" fmla="*/ 47611 w 67801"/>
                  <a:gd name="connsiteY38" fmla="*/ 74150 h 126874"/>
                  <a:gd name="connsiteX39" fmla="*/ 47346 w 67801"/>
                  <a:gd name="connsiteY39" fmla="*/ 72651 h 126874"/>
                  <a:gd name="connsiteX40" fmla="*/ 45583 w 67801"/>
                  <a:gd name="connsiteY40" fmla="*/ 72034 h 126874"/>
                  <a:gd name="connsiteX41" fmla="*/ 44437 w 67801"/>
                  <a:gd name="connsiteY41" fmla="*/ 70887 h 126874"/>
                  <a:gd name="connsiteX42" fmla="*/ 44701 w 67801"/>
                  <a:gd name="connsiteY42" fmla="*/ 69388 h 126874"/>
                  <a:gd name="connsiteX43" fmla="*/ 44437 w 67801"/>
                  <a:gd name="connsiteY43" fmla="*/ 68242 h 126874"/>
                  <a:gd name="connsiteX44" fmla="*/ 42673 w 67801"/>
                  <a:gd name="connsiteY44" fmla="*/ 66743 h 126874"/>
                  <a:gd name="connsiteX45" fmla="*/ 44437 w 67801"/>
                  <a:gd name="connsiteY45" fmla="*/ 66126 h 126874"/>
                  <a:gd name="connsiteX46" fmla="*/ 44172 w 67801"/>
                  <a:gd name="connsiteY46" fmla="*/ 64980 h 126874"/>
                  <a:gd name="connsiteX47" fmla="*/ 40645 w 67801"/>
                  <a:gd name="connsiteY47" fmla="*/ 61806 h 126874"/>
                  <a:gd name="connsiteX48" fmla="*/ 39500 w 67801"/>
                  <a:gd name="connsiteY48" fmla="*/ 60043 h 126874"/>
                  <a:gd name="connsiteX49" fmla="*/ 42409 w 67801"/>
                  <a:gd name="connsiteY49" fmla="*/ 60307 h 126874"/>
                  <a:gd name="connsiteX50" fmla="*/ 44701 w 67801"/>
                  <a:gd name="connsiteY50" fmla="*/ 60043 h 126874"/>
                  <a:gd name="connsiteX51" fmla="*/ 46994 w 67801"/>
                  <a:gd name="connsiteY51" fmla="*/ 60307 h 126874"/>
                  <a:gd name="connsiteX52" fmla="*/ 50521 w 67801"/>
                  <a:gd name="connsiteY52" fmla="*/ 59778 h 126874"/>
                  <a:gd name="connsiteX53" fmla="*/ 51402 w 67801"/>
                  <a:gd name="connsiteY53" fmla="*/ 57750 h 126874"/>
                  <a:gd name="connsiteX54" fmla="*/ 52548 w 67801"/>
                  <a:gd name="connsiteY54" fmla="*/ 56340 h 126874"/>
                  <a:gd name="connsiteX55" fmla="*/ 52813 w 67801"/>
                  <a:gd name="connsiteY55" fmla="*/ 51667 h 126874"/>
                  <a:gd name="connsiteX56" fmla="*/ 52196 w 67801"/>
                  <a:gd name="connsiteY56" fmla="*/ 49639 h 126874"/>
                  <a:gd name="connsiteX57" fmla="*/ 51050 w 67801"/>
                  <a:gd name="connsiteY57" fmla="*/ 48757 h 126874"/>
                  <a:gd name="connsiteX58" fmla="*/ 51667 w 67801"/>
                  <a:gd name="connsiteY58" fmla="*/ 46465 h 126874"/>
                  <a:gd name="connsiteX59" fmla="*/ 53166 w 67801"/>
                  <a:gd name="connsiteY59" fmla="*/ 45319 h 126874"/>
                  <a:gd name="connsiteX60" fmla="*/ 53166 w 67801"/>
                  <a:gd name="connsiteY60" fmla="*/ 44172 h 126874"/>
                  <a:gd name="connsiteX61" fmla="*/ 54929 w 67801"/>
                  <a:gd name="connsiteY61" fmla="*/ 43908 h 126874"/>
                  <a:gd name="connsiteX62" fmla="*/ 54664 w 67801"/>
                  <a:gd name="connsiteY62" fmla="*/ 42762 h 126874"/>
                  <a:gd name="connsiteX63" fmla="*/ 54929 w 67801"/>
                  <a:gd name="connsiteY63" fmla="*/ 42144 h 126874"/>
                  <a:gd name="connsiteX64" fmla="*/ 54047 w 67801"/>
                  <a:gd name="connsiteY64" fmla="*/ 40645 h 126874"/>
                  <a:gd name="connsiteX65" fmla="*/ 54929 w 67801"/>
                  <a:gd name="connsiteY65" fmla="*/ 40117 h 126874"/>
                  <a:gd name="connsiteX66" fmla="*/ 55810 w 67801"/>
                  <a:gd name="connsiteY66" fmla="*/ 38089 h 126874"/>
                  <a:gd name="connsiteX67" fmla="*/ 55193 w 67801"/>
                  <a:gd name="connsiteY67" fmla="*/ 36325 h 126874"/>
                  <a:gd name="connsiteX68" fmla="*/ 54664 w 67801"/>
                  <a:gd name="connsiteY68" fmla="*/ 34033 h 126874"/>
                  <a:gd name="connsiteX69" fmla="*/ 55193 w 67801"/>
                  <a:gd name="connsiteY69" fmla="*/ 30859 h 126874"/>
                  <a:gd name="connsiteX70" fmla="*/ 55193 w 67801"/>
                  <a:gd name="connsiteY70" fmla="*/ 29977 h 126874"/>
                  <a:gd name="connsiteX71" fmla="*/ 53430 w 67801"/>
                  <a:gd name="connsiteY71" fmla="*/ 26186 h 126874"/>
                  <a:gd name="connsiteX72" fmla="*/ 55458 w 67801"/>
                  <a:gd name="connsiteY72" fmla="*/ 26803 h 126874"/>
                  <a:gd name="connsiteX73" fmla="*/ 57221 w 67801"/>
                  <a:gd name="connsiteY73" fmla="*/ 25657 h 126874"/>
                  <a:gd name="connsiteX74" fmla="*/ 57486 w 67801"/>
                  <a:gd name="connsiteY74" fmla="*/ 23012 h 126874"/>
                  <a:gd name="connsiteX75" fmla="*/ 58985 w 67801"/>
                  <a:gd name="connsiteY75" fmla="*/ 21248 h 126874"/>
                  <a:gd name="connsiteX76" fmla="*/ 60748 w 67801"/>
                  <a:gd name="connsiteY76" fmla="*/ 21248 h 126874"/>
                  <a:gd name="connsiteX77" fmla="*/ 61894 w 67801"/>
                  <a:gd name="connsiteY77" fmla="*/ 20631 h 126874"/>
                  <a:gd name="connsiteX78" fmla="*/ 65068 w 67801"/>
                  <a:gd name="connsiteY78" fmla="*/ 19221 h 126874"/>
                  <a:gd name="connsiteX79" fmla="*/ 65068 w 67801"/>
                  <a:gd name="connsiteY79" fmla="*/ 18956 h 126874"/>
                  <a:gd name="connsiteX80" fmla="*/ 65068 w 67801"/>
                  <a:gd name="connsiteY80" fmla="*/ 18074 h 126874"/>
                  <a:gd name="connsiteX81" fmla="*/ 65685 w 67801"/>
                  <a:gd name="connsiteY81" fmla="*/ 17457 h 126874"/>
                  <a:gd name="connsiteX82" fmla="*/ 66303 w 67801"/>
                  <a:gd name="connsiteY82" fmla="*/ 16311 h 126874"/>
                  <a:gd name="connsiteX83" fmla="*/ 67802 w 67801"/>
                  <a:gd name="connsiteY83" fmla="*/ 13137 h 126874"/>
                  <a:gd name="connsiteX84" fmla="*/ 67802 w 67801"/>
                  <a:gd name="connsiteY84" fmla="*/ 11638 h 126874"/>
                  <a:gd name="connsiteX85" fmla="*/ 66920 w 67801"/>
                  <a:gd name="connsiteY85" fmla="*/ 11374 h 126874"/>
                  <a:gd name="connsiteX86" fmla="*/ 66655 w 67801"/>
                  <a:gd name="connsiteY86" fmla="*/ 10492 h 126874"/>
                  <a:gd name="connsiteX87" fmla="*/ 63481 w 67801"/>
                  <a:gd name="connsiteY87" fmla="*/ 10492 h 126874"/>
                  <a:gd name="connsiteX88" fmla="*/ 62335 w 67801"/>
                  <a:gd name="connsiteY88" fmla="*/ 11374 h 126874"/>
                  <a:gd name="connsiteX89" fmla="*/ 61189 w 67801"/>
                  <a:gd name="connsiteY89" fmla="*/ 10492 h 126874"/>
                  <a:gd name="connsiteX90" fmla="*/ 61189 w 67801"/>
                  <a:gd name="connsiteY90" fmla="*/ 9346 h 126874"/>
                  <a:gd name="connsiteX91" fmla="*/ 62688 w 67801"/>
                  <a:gd name="connsiteY91" fmla="*/ 6436 h 126874"/>
                  <a:gd name="connsiteX92" fmla="*/ 62423 w 67801"/>
                  <a:gd name="connsiteY92" fmla="*/ 5555 h 126874"/>
                  <a:gd name="connsiteX93" fmla="*/ 61806 w 67801"/>
                  <a:gd name="connsiteY93" fmla="*/ 5290 h 126874"/>
                  <a:gd name="connsiteX94" fmla="*/ 61542 w 67801"/>
                  <a:gd name="connsiteY94" fmla="*/ 4408 h 126874"/>
                  <a:gd name="connsiteX95" fmla="*/ 61542 w 67801"/>
                  <a:gd name="connsiteY95" fmla="*/ 3791 h 126874"/>
                  <a:gd name="connsiteX96" fmla="*/ 59778 w 67801"/>
                  <a:gd name="connsiteY96" fmla="*/ 4408 h 126874"/>
                  <a:gd name="connsiteX97" fmla="*/ 58015 w 67801"/>
                  <a:gd name="connsiteY97" fmla="*/ 4408 h 126874"/>
                  <a:gd name="connsiteX98" fmla="*/ 56251 w 67801"/>
                  <a:gd name="connsiteY98" fmla="*/ 2909 h 126874"/>
                  <a:gd name="connsiteX99" fmla="*/ 55634 w 67801"/>
                  <a:gd name="connsiteY99" fmla="*/ 4056 h 126874"/>
                  <a:gd name="connsiteX100" fmla="*/ 54488 w 67801"/>
                  <a:gd name="connsiteY100" fmla="*/ 4320 h 126874"/>
                  <a:gd name="connsiteX101" fmla="*/ 53342 w 67801"/>
                  <a:gd name="connsiteY101" fmla="*/ 2821 h 126874"/>
                  <a:gd name="connsiteX102" fmla="*/ 52196 w 67801"/>
                  <a:gd name="connsiteY102" fmla="*/ 3439 h 126874"/>
                  <a:gd name="connsiteX103" fmla="*/ 51314 w 67801"/>
                  <a:gd name="connsiteY103" fmla="*/ 3703 h 126874"/>
                  <a:gd name="connsiteX104" fmla="*/ 51050 w 67801"/>
                  <a:gd name="connsiteY104" fmla="*/ 2821 h 126874"/>
                  <a:gd name="connsiteX105" fmla="*/ 49551 w 67801"/>
                  <a:gd name="connsiteY105" fmla="*/ 3439 h 126874"/>
                  <a:gd name="connsiteX106" fmla="*/ 49815 w 67801"/>
                  <a:gd name="connsiteY106" fmla="*/ 4937 h 126874"/>
                  <a:gd name="connsiteX107" fmla="*/ 46641 w 67801"/>
                  <a:gd name="connsiteY107" fmla="*/ 6436 h 126874"/>
                  <a:gd name="connsiteX108" fmla="*/ 44349 w 67801"/>
                  <a:gd name="connsiteY108" fmla="*/ 6701 h 126874"/>
                  <a:gd name="connsiteX109" fmla="*/ 42585 w 67801"/>
                  <a:gd name="connsiteY109" fmla="*/ 5819 h 126874"/>
                  <a:gd name="connsiteX110" fmla="*/ 41439 w 67801"/>
                  <a:gd name="connsiteY110" fmla="*/ 6084 h 126874"/>
                  <a:gd name="connsiteX111" fmla="*/ 39676 w 67801"/>
                  <a:gd name="connsiteY111" fmla="*/ 6701 h 126874"/>
                  <a:gd name="connsiteX112" fmla="*/ 40293 w 67801"/>
                  <a:gd name="connsiteY112" fmla="*/ 5555 h 126874"/>
                  <a:gd name="connsiteX113" fmla="*/ 39147 w 67801"/>
                  <a:gd name="connsiteY113" fmla="*/ 5555 h 126874"/>
                  <a:gd name="connsiteX114" fmla="*/ 38001 w 67801"/>
                  <a:gd name="connsiteY114" fmla="*/ 4937 h 126874"/>
                  <a:gd name="connsiteX115" fmla="*/ 36237 w 67801"/>
                  <a:gd name="connsiteY115" fmla="*/ 5555 h 126874"/>
                  <a:gd name="connsiteX116" fmla="*/ 34738 w 67801"/>
                  <a:gd name="connsiteY116" fmla="*/ 6172 h 126874"/>
                  <a:gd name="connsiteX117" fmla="*/ 34474 w 67801"/>
                  <a:gd name="connsiteY117" fmla="*/ 4408 h 126874"/>
                  <a:gd name="connsiteX118" fmla="*/ 33328 w 67801"/>
                  <a:gd name="connsiteY118" fmla="*/ 5555 h 126874"/>
                  <a:gd name="connsiteX119" fmla="*/ 30683 w 67801"/>
                  <a:gd name="connsiteY119" fmla="*/ 6701 h 126874"/>
                  <a:gd name="connsiteX120" fmla="*/ 28919 w 67801"/>
                  <a:gd name="connsiteY120" fmla="*/ 6701 h 126874"/>
                  <a:gd name="connsiteX121" fmla="*/ 28302 w 67801"/>
                  <a:gd name="connsiteY121" fmla="*/ 5555 h 126874"/>
                  <a:gd name="connsiteX122" fmla="*/ 28037 w 67801"/>
                  <a:gd name="connsiteY122" fmla="*/ 4408 h 126874"/>
                  <a:gd name="connsiteX123" fmla="*/ 28655 w 67801"/>
                  <a:gd name="connsiteY123" fmla="*/ 2645 h 126874"/>
                  <a:gd name="connsiteX124" fmla="*/ 30947 w 67801"/>
                  <a:gd name="connsiteY124" fmla="*/ 1763 h 126874"/>
                  <a:gd name="connsiteX125" fmla="*/ 29801 w 67801"/>
                  <a:gd name="connsiteY125" fmla="*/ 882 h 126874"/>
                  <a:gd name="connsiteX126" fmla="*/ 28037 w 67801"/>
                  <a:gd name="connsiteY126" fmla="*/ 617 h 126874"/>
                  <a:gd name="connsiteX127" fmla="*/ 27420 w 67801"/>
                  <a:gd name="connsiteY127" fmla="*/ 0 h 126874"/>
                  <a:gd name="connsiteX128" fmla="*/ 25040 w 67801"/>
                  <a:gd name="connsiteY128" fmla="*/ 264 h 126874"/>
                  <a:gd name="connsiteX129" fmla="*/ 23894 w 67801"/>
                  <a:gd name="connsiteY129" fmla="*/ 264 h 126874"/>
                  <a:gd name="connsiteX130" fmla="*/ 20102 w 67801"/>
                  <a:gd name="connsiteY130" fmla="*/ 2028 h 126874"/>
                  <a:gd name="connsiteX131" fmla="*/ 19221 w 67801"/>
                  <a:gd name="connsiteY131" fmla="*/ 2909 h 126874"/>
                  <a:gd name="connsiteX132" fmla="*/ 17810 w 67801"/>
                  <a:gd name="connsiteY132" fmla="*/ 3527 h 126874"/>
                  <a:gd name="connsiteX133" fmla="*/ 18074 w 67801"/>
                  <a:gd name="connsiteY133" fmla="*/ 3791 h 126874"/>
                  <a:gd name="connsiteX134" fmla="*/ 17810 w 67801"/>
                  <a:gd name="connsiteY134" fmla="*/ 4408 h 126874"/>
                  <a:gd name="connsiteX135" fmla="*/ 17545 w 67801"/>
                  <a:gd name="connsiteY135" fmla="*/ 4673 h 126874"/>
                  <a:gd name="connsiteX136" fmla="*/ 17281 w 67801"/>
                  <a:gd name="connsiteY136" fmla="*/ 4937 h 126874"/>
                  <a:gd name="connsiteX137" fmla="*/ 16664 w 67801"/>
                  <a:gd name="connsiteY137" fmla="*/ 4673 h 126874"/>
                  <a:gd name="connsiteX138" fmla="*/ 16399 w 67801"/>
                  <a:gd name="connsiteY138" fmla="*/ 4673 h 126874"/>
                  <a:gd name="connsiteX139" fmla="*/ 16135 w 67801"/>
                  <a:gd name="connsiteY139" fmla="*/ 5290 h 126874"/>
                  <a:gd name="connsiteX140" fmla="*/ 15870 w 67801"/>
                  <a:gd name="connsiteY140" fmla="*/ 5555 h 126874"/>
                  <a:gd name="connsiteX141" fmla="*/ 15253 w 67801"/>
                  <a:gd name="connsiteY141" fmla="*/ 6172 h 126874"/>
                  <a:gd name="connsiteX142" fmla="*/ 14988 w 67801"/>
                  <a:gd name="connsiteY142" fmla="*/ 6436 h 126874"/>
                  <a:gd name="connsiteX143" fmla="*/ 14107 w 67801"/>
                  <a:gd name="connsiteY143" fmla="*/ 6436 h 126874"/>
                  <a:gd name="connsiteX144" fmla="*/ 13843 w 67801"/>
                  <a:gd name="connsiteY144" fmla="*/ 7053 h 126874"/>
                  <a:gd name="connsiteX145" fmla="*/ 14107 w 67801"/>
                  <a:gd name="connsiteY145" fmla="*/ 7671 h 126874"/>
                  <a:gd name="connsiteX146" fmla="*/ 13843 w 67801"/>
                  <a:gd name="connsiteY146" fmla="*/ 7935 h 126874"/>
                  <a:gd name="connsiteX147" fmla="*/ 13578 w 67801"/>
                  <a:gd name="connsiteY147" fmla="*/ 8200 h 126874"/>
                  <a:gd name="connsiteX148" fmla="*/ 14195 w 67801"/>
                  <a:gd name="connsiteY148" fmla="*/ 9081 h 126874"/>
                  <a:gd name="connsiteX149" fmla="*/ 13930 w 67801"/>
                  <a:gd name="connsiteY149" fmla="*/ 9698 h 126874"/>
                  <a:gd name="connsiteX150" fmla="*/ 14812 w 67801"/>
                  <a:gd name="connsiteY150" fmla="*/ 10316 h 126874"/>
                  <a:gd name="connsiteX151" fmla="*/ 15341 w 67801"/>
                  <a:gd name="connsiteY151" fmla="*/ 10316 h 126874"/>
                  <a:gd name="connsiteX152" fmla="*/ 15958 w 67801"/>
                  <a:gd name="connsiteY152" fmla="*/ 10051 h 126874"/>
                  <a:gd name="connsiteX153" fmla="*/ 16576 w 67801"/>
                  <a:gd name="connsiteY153" fmla="*/ 10316 h 126874"/>
                  <a:gd name="connsiteX154" fmla="*/ 17193 w 67801"/>
                  <a:gd name="connsiteY154" fmla="*/ 10051 h 126874"/>
                  <a:gd name="connsiteX155" fmla="*/ 17810 w 67801"/>
                  <a:gd name="connsiteY155" fmla="*/ 9787 h 126874"/>
                  <a:gd name="connsiteX156" fmla="*/ 18074 w 67801"/>
                  <a:gd name="connsiteY156" fmla="*/ 9787 h 126874"/>
                  <a:gd name="connsiteX157" fmla="*/ 17810 w 67801"/>
                  <a:gd name="connsiteY157" fmla="*/ 10404 h 126874"/>
                  <a:gd name="connsiteX158" fmla="*/ 17193 w 67801"/>
                  <a:gd name="connsiteY158" fmla="*/ 11286 h 126874"/>
                  <a:gd name="connsiteX159" fmla="*/ 16576 w 67801"/>
                  <a:gd name="connsiteY159" fmla="*/ 11550 h 126874"/>
                  <a:gd name="connsiteX160" fmla="*/ 15958 w 67801"/>
                  <a:gd name="connsiteY160" fmla="*/ 11550 h 126874"/>
                  <a:gd name="connsiteX161" fmla="*/ 15341 w 67801"/>
                  <a:gd name="connsiteY161" fmla="*/ 11286 h 126874"/>
                  <a:gd name="connsiteX162" fmla="*/ 14812 w 67801"/>
                  <a:gd name="connsiteY162" fmla="*/ 11286 h 126874"/>
                  <a:gd name="connsiteX163" fmla="*/ 14812 w 67801"/>
                  <a:gd name="connsiteY163" fmla="*/ 11903 h 126874"/>
                  <a:gd name="connsiteX164" fmla="*/ 15077 w 67801"/>
                  <a:gd name="connsiteY164" fmla="*/ 12784 h 126874"/>
                  <a:gd name="connsiteX165" fmla="*/ 15958 w 67801"/>
                  <a:gd name="connsiteY165" fmla="*/ 13401 h 126874"/>
                  <a:gd name="connsiteX166" fmla="*/ 16840 w 67801"/>
                  <a:gd name="connsiteY166" fmla="*/ 14283 h 126874"/>
                  <a:gd name="connsiteX167" fmla="*/ 16840 w 67801"/>
                  <a:gd name="connsiteY167" fmla="*/ 15429 h 126874"/>
                  <a:gd name="connsiteX168" fmla="*/ 16576 w 67801"/>
                  <a:gd name="connsiteY168" fmla="*/ 16928 h 126874"/>
                  <a:gd name="connsiteX169" fmla="*/ 16840 w 67801"/>
                  <a:gd name="connsiteY169" fmla="*/ 18074 h 126874"/>
                  <a:gd name="connsiteX170" fmla="*/ 17457 w 67801"/>
                  <a:gd name="connsiteY170" fmla="*/ 18956 h 126874"/>
                  <a:gd name="connsiteX171" fmla="*/ 17457 w 67801"/>
                  <a:gd name="connsiteY171" fmla="*/ 20102 h 126874"/>
                  <a:gd name="connsiteX172" fmla="*/ 17193 w 67801"/>
                  <a:gd name="connsiteY172" fmla="*/ 21248 h 126874"/>
                  <a:gd name="connsiteX173" fmla="*/ 16928 w 67801"/>
                  <a:gd name="connsiteY173" fmla="*/ 21866 h 126874"/>
                  <a:gd name="connsiteX174" fmla="*/ 17545 w 67801"/>
                  <a:gd name="connsiteY174" fmla="*/ 22483 h 126874"/>
                  <a:gd name="connsiteX175" fmla="*/ 17545 w 67801"/>
                  <a:gd name="connsiteY175" fmla="*/ 23365 h 126874"/>
                  <a:gd name="connsiteX176" fmla="*/ 19309 w 67801"/>
                  <a:gd name="connsiteY176" fmla="*/ 23629 h 126874"/>
                  <a:gd name="connsiteX177" fmla="*/ 20191 w 67801"/>
                  <a:gd name="connsiteY177" fmla="*/ 24246 h 126874"/>
                  <a:gd name="connsiteX178" fmla="*/ 19044 w 67801"/>
                  <a:gd name="connsiteY178" fmla="*/ 24511 h 126874"/>
                  <a:gd name="connsiteX179" fmla="*/ 18780 w 67801"/>
                  <a:gd name="connsiteY179" fmla="*/ 25128 h 126874"/>
                  <a:gd name="connsiteX180" fmla="*/ 19397 w 67801"/>
                  <a:gd name="connsiteY180" fmla="*/ 26891 h 126874"/>
                  <a:gd name="connsiteX181" fmla="*/ 19662 w 67801"/>
                  <a:gd name="connsiteY181" fmla="*/ 28390 h 126874"/>
                  <a:gd name="connsiteX182" fmla="*/ 18780 w 67801"/>
                  <a:gd name="connsiteY182" fmla="*/ 28655 h 126874"/>
                  <a:gd name="connsiteX183" fmla="*/ 19044 w 67801"/>
                  <a:gd name="connsiteY183" fmla="*/ 29536 h 126874"/>
                  <a:gd name="connsiteX184" fmla="*/ 18427 w 67801"/>
                  <a:gd name="connsiteY184" fmla="*/ 30154 h 126874"/>
                  <a:gd name="connsiteX185" fmla="*/ 18163 w 67801"/>
                  <a:gd name="connsiteY185" fmla="*/ 31300 h 126874"/>
                  <a:gd name="connsiteX186" fmla="*/ 17545 w 67801"/>
                  <a:gd name="connsiteY186" fmla="*/ 32181 h 126874"/>
                  <a:gd name="connsiteX187" fmla="*/ 16928 w 67801"/>
                  <a:gd name="connsiteY187" fmla="*/ 33592 h 126874"/>
                  <a:gd name="connsiteX188" fmla="*/ 16664 w 67801"/>
                  <a:gd name="connsiteY188" fmla="*/ 35091 h 126874"/>
                  <a:gd name="connsiteX189" fmla="*/ 16928 w 67801"/>
                  <a:gd name="connsiteY189" fmla="*/ 36502 h 126874"/>
                  <a:gd name="connsiteX190" fmla="*/ 18074 w 67801"/>
                  <a:gd name="connsiteY190" fmla="*/ 34738 h 126874"/>
                  <a:gd name="connsiteX191" fmla="*/ 18692 w 67801"/>
                  <a:gd name="connsiteY191" fmla="*/ 32975 h 126874"/>
                  <a:gd name="connsiteX192" fmla="*/ 18692 w 67801"/>
                  <a:gd name="connsiteY192" fmla="*/ 32710 h 126874"/>
                  <a:gd name="connsiteX193" fmla="*/ 19309 w 67801"/>
                  <a:gd name="connsiteY193" fmla="*/ 32181 h 126874"/>
                  <a:gd name="connsiteX194" fmla="*/ 20191 w 67801"/>
                  <a:gd name="connsiteY194" fmla="*/ 32446 h 126874"/>
                  <a:gd name="connsiteX195" fmla="*/ 19926 w 67801"/>
                  <a:gd name="connsiteY195" fmla="*/ 33592 h 126874"/>
                  <a:gd name="connsiteX196" fmla="*/ 19044 w 67801"/>
                  <a:gd name="connsiteY196" fmla="*/ 33592 h 126874"/>
                  <a:gd name="connsiteX197" fmla="*/ 18780 w 67801"/>
                  <a:gd name="connsiteY197" fmla="*/ 34738 h 126874"/>
                  <a:gd name="connsiteX198" fmla="*/ 18780 w 67801"/>
                  <a:gd name="connsiteY198" fmla="*/ 34650 h 126874"/>
                  <a:gd name="connsiteX199" fmla="*/ 19397 w 67801"/>
                  <a:gd name="connsiteY199" fmla="*/ 34915 h 126874"/>
                  <a:gd name="connsiteX200" fmla="*/ 18780 w 67801"/>
                  <a:gd name="connsiteY200" fmla="*/ 35444 h 126874"/>
                  <a:gd name="connsiteX201" fmla="*/ 18515 w 67801"/>
                  <a:gd name="connsiteY201" fmla="*/ 36590 h 126874"/>
                  <a:gd name="connsiteX202" fmla="*/ 17986 w 67801"/>
                  <a:gd name="connsiteY202" fmla="*/ 37207 h 126874"/>
                  <a:gd name="connsiteX203" fmla="*/ 17105 w 67801"/>
                  <a:gd name="connsiteY203" fmla="*/ 36590 h 126874"/>
                  <a:gd name="connsiteX204" fmla="*/ 17105 w 67801"/>
                  <a:gd name="connsiteY204" fmla="*/ 37207 h 126874"/>
                  <a:gd name="connsiteX205" fmla="*/ 17105 w 67801"/>
                  <a:gd name="connsiteY205" fmla="*/ 36590 h 126874"/>
                  <a:gd name="connsiteX206" fmla="*/ 17105 w 67801"/>
                  <a:gd name="connsiteY206" fmla="*/ 37207 h 126874"/>
                  <a:gd name="connsiteX207" fmla="*/ 17369 w 67801"/>
                  <a:gd name="connsiteY207" fmla="*/ 37472 h 126874"/>
                  <a:gd name="connsiteX208" fmla="*/ 16487 w 67801"/>
                  <a:gd name="connsiteY208" fmla="*/ 40998 h 126874"/>
                  <a:gd name="connsiteX209" fmla="*/ 15606 w 67801"/>
                  <a:gd name="connsiteY209" fmla="*/ 41880 h 126874"/>
                  <a:gd name="connsiteX210" fmla="*/ 14107 w 67801"/>
                  <a:gd name="connsiteY210" fmla="*/ 42762 h 126874"/>
                  <a:gd name="connsiteX211" fmla="*/ 12696 w 67801"/>
                  <a:gd name="connsiteY211" fmla="*/ 44525 h 126874"/>
                  <a:gd name="connsiteX212" fmla="*/ 12079 w 67801"/>
                  <a:gd name="connsiteY212" fmla="*/ 46288 h 126874"/>
                  <a:gd name="connsiteX213" fmla="*/ 12696 w 67801"/>
                  <a:gd name="connsiteY213" fmla="*/ 47434 h 126874"/>
                  <a:gd name="connsiteX214" fmla="*/ 12696 w 67801"/>
                  <a:gd name="connsiteY214" fmla="*/ 47699 h 126874"/>
                  <a:gd name="connsiteX215" fmla="*/ 13578 w 67801"/>
                  <a:gd name="connsiteY215" fmla="*/ 47082 h 126874"/>
                  <a:gd name="connsiteX216" fmla="*/ 15341 w 67801"/>
                  <a:gd name="connsiteY216" fmla="*/ 47699 h 126874"/>
                  <a:gd name="connsiteX217" fmla="*/ 15958 w 67801"/>
                  <a:gd name="connsiteY217" fmla="*/ 48581 h 126874"/>
                  <a:gd name="connsiteX218" fmla="*/ 15341 w 67801"/>
                  <a:gd name="connsiteY218" fmla="*/ 48581 h 126874"/>
                  <a:gd name="connsiteX219" fmla="*/ 13843 w 67801"/>
                  <a:gd name="connsiteY219" fmla="*/ 48845 h 126874"/>
                  <a:gd name="connsiteX220" fmla="*/ 12696 w 67801"/>
                  <a:gd name="connsiteY220" fmla="*/ 48581 h 126874"/>
                  <a:gd name="connsiteX221" fmla="*/ 12079 w 67801"/>
                  <a:gd name="connsiteY221" fmla="*/ 48845 h 126874"/>
                  <a:gd name="connsiteX222" fmla="*/ 11815 w 67801"/>
                  <a:gd name="connsiteY222" fmla="*/ 50344 h 126874"/>
                  <a:gd name="connsiteX223" fmla="*/ 12079 w 67801"/>
                  <a:gd name="connsiteY223" fmla="*/ 52372 h 126874"/>
                  <a:gd name="connsiteX224" fmla="*/ 12344 w 67801"/>
                  <a:gd name="connsiteY224" fmla="*/ 55017 h 126874"/>
                  <a:gd name="connsiteX225" fmla="*/ 11197 w 67801"/>
                  <a:gd name="connsiteY225" fmla="*/ 56780 h 126874"/>
                  <a:gd name="connsiteX226" fmla="*/ 10316 w 67801"/>
                  <a:gd name="connsiteY226" fmla="*/ 57398 h 126874"/>
                  <a:gd name="connsiteX227" fmla="*/ 9699 w 67801"/>
                  <a:gd name="connsiteY227" fmla="*/ 58544 h 126874"/>
                  <a:gd name="connsiteX228" fmla="*/ 8817 w 67801"/>
                  <a:gd name="connsiteY228" fmla="*/ 59161 h 126874"/>
                  <a:gd name="connsiteX229" fmla="*/ 8552 w 67801"/>
                  <a:gd name="connsiteY229" fmla="*/ 60572 h 126874"/>
                  <a:gd name="connsiteX230" fmla="*/ 8288 w 67801"/>
                  <a:gd name="connsiteY230" fmla="*/ 61718 h 126874"/>
                  <a:gd name="connsiteX231" fmla="*/ 8288 w 67801"/>
                  <a:gd name="connsiteY231" fmla="*/ 62864 h 126874"/>
                  <a:gd name="connsiteX232" fmla="*/ 7406 w 67801"/>
                  <a:gd name="connsiteY232" fmla="*/ 64627 h 126874"/>
                  <a:gd name="connsiteX233" fmla="*/ 6524 w 67801"/>
                  <a:gd name="connsiteY233" fmla="*/ 65774 h 126874"/>
                  <a:gd name="connsiteX234" fmla="*/ 6260 w 67801"/>
                  <a:gd name="connsiteY234" fmla="*/ 66038 h 126874"/>
                  <a:gd name="connsiteX235" fmla="*/ 5643 w 67801"/>
                  <a:gd name="connsiteY235" fmla="*/ 66655 h 126874"/>
                  <a:gd name="connsiteX236" fmla="*/ 4497 w 67801"/>
                  <a:gd name="connsiteY236" fmla="*/ 66655 h 126874"/>
                  <a:gd name="connsiteX237" fmla="*/ 3615 w 67801"/>
                  <a:gd name="connsiteY237" fmla="*/ 66920 h 126874"/>
                  <a:gd name="connsiteX238" fmla="*/ 2733 w 67801"/>
                  <a:gd name="connsiteY238" fmla="*/ 67537 h 126874"/>
                  <a:gd name="connsiteX239" fmla="*/ 2116 w 67801"/>
                  <a:gd name="connsiteY239" fmla="*/ 67272 h 126874"/>
                  <a:gd name="connsiteX240" fmla="*/ 2116 w 67801"/>
                  <a:gd name="connsiteY240" fmla="*/ 67890 h 126874"/>
                  <a:gd name="connsiteX241" fmla="*/ 2733 w 67801"/>
                  <a:gd name="connsiteY241" fmla="*/ 68771 h 126874"/>
                  <a:gd name="connsiteX242" fmla="*/ 2733 w 67801"/>
                  <a:gd name="connsiteY242" fmla="*/ 69917 h 126874"/>
                  <a:gd name="connsiteX243" fmla="*/ 2733 w 67801"/>
                  <a:gd name="connsiteY243" fmla="*/ 70799 h 126874"/>
                  <a:gd name="connsiteX244" fmla="*/ 2733 w 67801"/>
                  <a:gd name="connsiteY244" fmla="*/ 71945 h 126874"/>
                  <a:gd name="connsiteX245" fmla="*/ 2116 w 67801"/>
                  <a:gd name="connsiteY245" fmla="*/ 72210 h 126874"/>
                  <a:gd name="connsiteX246" fmla="*/ 1851 w 67801"/>
                  <a:gd name="connsiteY246" fmla="*/ 75119 h 126874"/>
                  <a:gd name="connsiteX247" fmla="*/ 2116 w 67801"/>
                  <a:gd name="connsiteY247" fmla="*/ 76266 h 126874"/>
                  <a:gd name="connsiteX248" fmla="*/ 1499 w 67801"/>
                  <a:gd name="connsiteY248" fmla="*/ 78911 h 126874"/>
                  <a:gd name="connsiteX249" fmla="*/ 1234 w 67801"/>
                  <a:gd name="connsiteY249" fmla="*/ 80057 h 126874"/>
                  <a:gd name="connsiteX250" fmla="*/ 970 w 67801"/>
                  <a:gd name="connsiteY250" fmla="*/ 80674 h 126874"/>
                  <a:gd name="connsiteX251" fmla="*/ 353 w 67801"/>
                  <a:gd name="connsiteY251" fmla="*/ 82173 h 126874"/>
                  <a:gd name="connsiteX252" fmla="*/ 617 w 67801"/>
                  <a:gd name="connsiteY252" fmla="*/ 83055 h 126874"/>
                  <a:gd name="connsiteX253" fmla="*/ 0 w 67801"/>
                  <a:gd name="connsiteY253" fmla="*/ 83936 h 126874"/>
                  <a:gd name="connsiteX254" fmla="*/ 1763 w 67801"/>
                  <a:gd name="connsiteY254" fmla="*/ 84818 h 126874"/>
                  <a:gd name="connsiteX255" fmla="*/ 3527 w 67801"/>
                  <a:gd name="connsiteY255" fmla="*/ 87463 h 126874"/>
                  <a:gd name="connsiteX256" fmla="*/ 4673 w 67801"/>
                  <a:gd name="connsiteY256" fmla="*/ 88080 h 126874"/>
                  <a:gd name="connsiteX257" fmla="*/ 5555 w 67801"/>
                  <a:gd name="connsiteY257" fmla="*/ 89843 h 126874"/>
                  <a:gd name="connsiteX258" fmla="*/ 5555 w 67801"/>
                  <a:gd name="connsiteY258" fmla="*/ 90725 h 126874"/>
                  <a:gd name="connsiteX259" fmla="*/ 5026 w 67801"/>
                  <a:gd name="connsiteY259" fmla="*/ 90990 h 126874"/>
                  <a:gd name="connsiteX260" fmla="*/ 5290 w 67801"/>
                  <a:gd name="connsiteY260" fmla="*/ 91871 h 126874"/>
                  <a:gd name="connsiteX261" fmla="*/ 6436 w 67801"/>
                  <a:gd name="connsiteY261" fmla="*/ 91607 h 126874"/>
                  <a:gd name="connsiteX262" fmla="*/ 7582 w 67801"/>
                  <a:gd name="connsiteY262" fmla="*/ 90461 h 126874"/>
                  <a:gd name="connsiteX263" fmla="*/ 9963 w 67801"/>
                  <a:gd name="connsiteY263" fmla="*/ 89843 h 126874"/>
                  <a:gd name="connsiteX264" fmla="*/ 11109 w 67801"/>
                  <a:gd name="connsiteY264" fmla="*/ 88433 h 126874"/>
                  <a:gd name="connsiteX265" fmla="*/ 11991 w 67801"/>
                  <a:gd name="connsiteY265" fmla="*/ 88697 h 126874"/>
                  <a:gd name="connsiteX266" fmla="*/ 11991 w 67801"/>
                  <a:gd name="connsiteY266" fmla="*/ 89843 h 126874"/>
                  <a:gd name="connsiteX267" fmla="*/ 13754 w 67801"/>
                  <a:gd name="connsiteY267" fmla="*/ 89579 h 126874"/>
                  <a:gd name="connsiteX268" fmla="*/ 14371 w 67801"/>
                  <a:gd name="connsiteY268" fmla="*/ 88433 h 126874"/>
                  <a:gd name="connsiteX269" fmla="*/ 14371 w 67801"/>
                  <a:gd name="connsiteY269" fmla="*/ 88697 h 126874"/>
                  <a:gd name="connsiteX270" fmla="*/ 14371 w 67801"/>
                  <a:gd name="connsiteY270" fmla="*/ 88433 h 126874"/>
                  <a:gd name="connsiteX271" fmla="*/ 15253 w 67801"/>
                  <a:gd name="connsiteY271" fmla="*/ 88168 h 126874"/>
                  <a:gd name="connsiteX272" fmla="*/ 15518 w 67801"/>
                  <a:gd name="connsiteY272" fmla="*/ 88785 h 126874"/>
                  <a:gd name="connsiteX273" fmla="*/ 14988 w 67801"/>
                  <a:gd name="connsiteY273" fmla="*/ 89403 h 126874"/>
                  <a:gd name="connsiteX274" fmla="*/ 15518 w 67801"/>
                  <a:gd name="connsiteY274" fmla="*/ 90549 h 126874"/>
                  <a:gd name="connsiteX275" fmla="*/ 16399 w 67801"/>
                  <a:gd name="connsiteY275" fmla="*/ 90813 h 126874"/>
                  <a:gd name="connsiteX276" fmla="*/ 17016 w 67801"/>
                  <a:gd name="connsiteY276" fmla="*/ 91960 h 126874"/>
                  <a:gd name="connsiteX277" fmla="*/ 16752 w 67801"/>
                  <a:gd name="connsiteY277" fmla="*/ 92312 h 126874"/>
                  <a:gd name="connsiteX278" fmla="*/ 14988 w 67801"/>
                  <a:gd name="connsiteY278" fmla="*/ 91960 h 126874"/>
                  <a:gd name="connsiteX279" fmla="*/ 14724 w 67801"/>
                  <a:gd name="connsiteY279" fmla="*/ 91078 h 126874"/>
                  <a:gd name="connsiteX280" fmla="*/ 14459 w 67801"/>
                  <a:gd name="connsiteY280" fmla="*/ 91960 h 126874"/>
                  <a:gd name="connsiteX281" fmla="*/ 14195 w 67801"/>
                  <a:gd name="connsiteY281" fmla="*/ 91695 h 126874"/>
                  <a:gd name="connsiteX282" fmla="*/ 14459 w 67801"/>
                  <a:gd name="connsiteY282" fmla="*/ 91078 h 126874"/>
                  <a:gd name="connsiteX283" fmla="*/ 12079 w 67801"/>
                  <a:gd name="connsiteY283" fmla="*/ 90461 h 126874"/>
                  <a:gd name="connsiteX284" fmla="*/ 11197 w 67801"/>
                  <a:gd name="connsiteY284" fmla="*/ 89843 h 126874"/>
                  <a:gd name="connsiteX285" fmla="*/ 10580 w 67801"/>
                  <a:gd name="connsiteY285" fmla="*/ 89843 h 126874"/>
                  <a:gd name="connsiteX286" fmla="*/ 11462 w 67801"/>
                  <a:gd name="connsiteY286" fmla="*/ 90990 h 126874"/>
                  <a:gd name="connsiteX287" fmla="*/ 11726 w 67801"/>
                  <a:gd name="connsiteY287" fmla="*/ 91871 h 126874"/>
                  <a:gd name="connsiteX288" fmla="*/ 12344 w 67801"/>
                  <a:gd name="connsiteY288" fmla="*/ 93018 h 126874"/>
                  <a:gd name="connsiteX289" fmla="*/ 12961 w 67801"/>
                  <a:gd name="connsiteY289" fmla="*/ 93282 h 126874"/>
                  <a:gd name="connsiteX290" fmla="*/ 14107 w 67801"/>
                  <a:gd name="connsiteY290" fmla="*/ 95046 h 126874"/>
                  <a:gd name="connsiteX291" fmla="*/ 12344 w 67801"/>
                  <a:gd name="connsiteY291" fmla="*/ 96192 h 126874"/>
                  <a:gd name="connsiteX292" fmla="*/ 12344 w 67801"/>
                  <a:gd name="connsiteY292" fmla="*/ 97338 h 126874"/>
                  <a:gd name="connsiteX293" fmla="*/ 12079 w 67801"/>
                  <a:gd name="connsiteY293" fmla="*/ 98220 h 126874"/>
                  <a:gd name="connsiteX294" fmla="*/ 11197 w 67801"/>
                  <a:gd name="connsiteY294" fmla="*/ 99366 h 126874"/>
                  <a:gd name="connsiteX295" fmla="*/ 11197 w 67801"/>
                  <a:gd name="connsiteY295" fmla="*/ 100247 h 126874"/>
                  <a:gd name="connsiteX296" fmla="*/ 11197 w 67801"/>
                  <a:gd name="connsiteY296" fmla="*/ 102011 h 126874"/>
                  <a:gd name="connsiteX297" fmla="*/ 10316 w 67801"/>
                  <a:gd name="connsiteY297" fmla="*/ 103421 h 126874"/>
                  <a:gd name="connsiteX298" fmla="*/ 10316 w 67801"/>
                  <a:gd name="connsiteY298" fmla="*/ 105449 h 126874"/>
                  <a:gd name="connsiteX299" fmla="*/ 10933 w 67801"/>
                  <a:gd name="connsiteY299" fmla="*/ 107477 h 126874"/>
                  <a:gd name="connsiteX300" fmla="*/ 11197 w 67801"/>
                  <a:gd name="connsiteY300" fmla="*/ 109241 h 126874"/>
                  <a:gd name="connsiteX301" fmla="*/ 11197 w 67801"/>
                  <a:gd name="connsiteY301" fmla="*/ 110387 h 126874"/>
                  <a:gd name="connsiteX302" fmla="*/ 10933 w 67801"/>
                  <a:gd name="connsiteY302" fmla="*/ 113032 h 126874"/>
                  <a:gd name="connsiteX303" fmla="*/ 10316 w 67801"/>
                  <a:gd name="connsiteY303" fmla="*/ 114795 h 126874"/>
                  <a:gd name="connsiteX304" fmla="*/ 10316 w 67801"/>
                  <a:gd name="connsiteY304" fmla="*/ 115677 h 126874"/>
                  <a:gd name="connsiteX305" fmla="*/ 10316 w 67801"/>
                  <a:gd name="connsiteY305" fmla="*/ 117705 h 126874"/>
                  <a:gd name="connsiteX306" fmla="*/ 10051 w 67801"/>
                  <a:gd name="connsiteY306" fmla="*/ 118322 h 126874"/>
                  <a:gd name="connsiteX307" fmla="*/ 9787 w 67801"/>
                  <a:gd name="connsiteY307" fmla="*/ 118586 h 126874"/>
                  <a:gd name="connsiteX308" fmla="*/ 9522 w 67801"/>
                  <a:gd name="connsiteY308" fmla="*/ 119733 h 126874"/>
                  <a:gd name="connsiteX309" fmla="*/ 9787 w 67801"/>
                  <a:gd name="connsiteY309" fmla="*/ 120879 h 126874"/>
                  <a:gd name="connsiteX310" fmla="*/ 10051 w 67801"/>
                  <a:gd name="connsiteY310" fmla="*/ 122378 h 126874"/>
                  <a:gd name="connsiteX311" fmla="*/ 10051 w 67801"/>
                  <a:gd name="connsiteY311" fmla="*/ 122995 h 126874"/>
                  <a:gd name="connsiteX312" fmla="*/ 9787 w 67801"/>
                  <a:gd name="connsiteY312" fmla="*/ 123876 h 126874"/>
                  <a:gd name="connsiteX313" fmla="*/ 9522 w 67801"/>
                  <a:gd name="connsiteY313" fmla="*/ 124494 h 126874"/>
                  <a:gd name="connsiteX314" fmla="*/ 9258 w 67801"/>
                  <a:gd name="connsiteY314" fmla="*/ 125023 h 126874"/>
                  <a:gd name="connsiteX315" fmla="*/ 8641 w 67801"/>
                  <a:gd name="connsiteY315" fmla="*/ 125287 h 126874"/>
                  <a:gd name="connsiteX316" fmla="*/ 8905 w 67801"/>
                  <a:gd name="connsiteY316" fmla="*/ 125904 h 126874"/>
                  <a:gd name="connsiteX317" fmla="*/ 9434 w 67801"/>
                  <a:gd name="connsiteY317" fmla="*/ 126169 h 126874"/>
                  <a:gd name="connsiteX318" fmla="*/ 9699 w 67801"/>
                  <a:gd name="connsiteY318" fmla="*/ 126169 h 126874"/>
                  <a:gd name="connsiteX319" fmla="*/ 9963 w 67801"/>
                  <a:gd name="connsiteY319" fmla="*/ 125552 h 126874"/>
                  <a:gd name="connsiteX320" fmla="*/ 10845 w 67801"/>
                  <a:gd name="connsiteY320" fmla="*/ 124935 h 126874"/>
                  <a:gd name="connsiteX321" fmla="*/ 11462 w 67801"/>
                  <a:gd name="connsiteY321" fmla="*/ 124670 h 126874"/>
                  <a:gd name="connsiteX322" fmla="*/ 11726 w 67801"/>
                  <a:gd name="connsiteY322" fmla="*/ 124670 h 126874"/>
                  <a:gd name="connsiteX323" fmla="*/ 11991 w 67801"/>
                  <a:gd name="connsiteY323" fmla="*/ 124670 h 126874"/>
                  <a:gd name="connsiteX324" fmla="*/ 12608 w 67801"/>
                  <a:gd name="connsiteY324" fmla="*/ 124405 h 126874"/>
                  <a:gd name="connsiteX325" fmla="*/ 13225 w 67801"/>
                  <a:gd name="connsiteY325" fmla="*/ 124670 h 126874"/>
                  <a:gd name="connsiteX326" fmla="*/ 13754 w 67801"/>
                  <a:gd name="connsiteY326" fmla="*/ 124405 h 126874"/>
                  <a:gd name="connsiteX327" fmla="*/ 14636 w 67801"/>
                  <a:gd name="connsiteY327" fmla="*/ 123259 h 126874"/>
                  <a:gd name="connsiteX328" fmla="*/ 14900 w 67801"/>
                  <a:gd name="connsiteY328" fmla="*/ 124141 h 126874"/>
                  <a:gd name="connsiteX329" fmla="*/ 15429 w 67801"/>
                  <a:gd name="connsiteY329" fmla="*/ 124141 h 126874"/>
                  <a:gd name="connsiteX330" fmla="*/ 16047 w 67801"/>
                  <a:gd name="connsiteY330" fmla="*/ 123524 h 126874"/>
                  <a:gd name="connsiteX331" fmla="*/ 16311 w 67801"/>
                  <a:gd name="connsiteY331" fmla="*/ 122907 h 126874"/>
                  <a:gd name="connsiteX332" fmla="*/ 16928 w 67801"/>
                  <a:gd name="connsiteY332" fmla="*/ 122642 h 126874"/>
                  <a:gd name="connsiteX333" fmla="*/ 16928 w 67801"/>
                  <a:gd name="connsiteY333" fmla="*/ 122907 h 126874"/>
                  <a:gd name="connsiteX334" fmla="*/ 17545 w 67801"/>
                  <a:gd name="connsiteY334" fmla="*/ 122907 h 126874"/>
                  <a:gd name="connsiteX335" fmla="*/ 18427 w 67801"/>
                  <a:gd name="connsiteY335" fmla="*/ 123171 h 126874"/>
                  <a:gd name="connsiteX336" fmla="*/ 19044 w 67801"/>
                  <a:gd name="connsiteY336" fmla="*/ 123788 h 126874"/>
                  <a:gd name="connsiteX337" fmla="*/ 19926 w 67801"/>
                  <a:gd name="connsiteY337" fmla="*/ 124141 h 126874"/>
                  <a:gd name="connsiteX338" fmla="*/ 20808 w 67801"/>
                  <a:gd name="connsiteY338" fmla="*/ 123788 h 126874"/>
                  <a:gd name="connsiteX339" fmla="*/ 21072 w 67801"/>
                  <a:gd name="connsiteY339" fmla="*/ 123524 h 126874"/>
                  <a:gd name="connsiteX340" fmla="*/ 21954 w 67801"/>
                  <a:gd name="connsiteY340" fmla="*/ 124141 h 126874"/>
                  <a:gd name="connsiteX341" fmla="*/ 22218 w 67801"/>
                  <a:gd name="connsiteY341" fmla="*/ 124405 h 126874"/>
                  <a:gd name="connsiteX342" fmla="*/ 22483 w 67801"/>
                  <a:gd name="connsiteY342" fmla="*/ 124141 h 126874"/>
                  <a:gd name="connsiteX343" fmla="*/ 22747 w 67801"/>
                  <a:gd name="connsiteY343" fmla="*/ 123788 h 126874"/>
                  <a:gd name="connsiteX344" fmla="*/ 23629 w 67801"/>
                  <a:gd name="connsiteY344" fmla="*/ 124141 h 126874"/>
                  <a:gd name="connsiteX345" fmla="*/ 24246 w 67801"/>
                  <a:gd name="connsiteY345" fmla="*/ 125023 h 126874"/>
                  <a:gd name="connsiteX346" fmla="*/ 25128 w 67801"/>
                  <a:gd name="connsiteY346" fmla="*/ 125023 h 126874"/>
                  <a:gd name="connsiteX347" fmla="*/ 25745 w 67801"/>
                  <a:gd name="connsiteY347" fmla="*/ 124758 h 126874"/>
                  <a:gd name="connsiteX348" fmla="*/ 26362 w 67801"/>
                  <a:gd name="connsiteY348" fmla="*/ 124758 h 126874"/>
                  <a:gd name="connsiteX349" fmla="*/ 27244 w 67801"/>
                  <a:gd name="connsiteY349" fmla="*/ 125023 h 126874"/>
                  <a:gd name="connsiteX350" fmla="*/ 27861 w 67801"/>
                  <a:gd name="connsiteY350" fmla="*/ 124758 h 126874"/>
                  <a:gd name="connsiteX351" fmla="*/ 28126 w 67801"/>
                  <a:gd name="connsiteY351" fmla="*/ 125640 h 126874"/>
                  <a:gd name="connsiteX352" fmla="*/ 28126 w 67801"/>
                  <a:gd name="connsiteY352" fmla="*/ 125375 h 126874"/>
                  <a:gd name="connsiteX353" fmla="*/ 28743 w 67801"/>
                  <a:gd name="connsiteY353" fmla="*/ 125993 h 126874"/>
                  <a:gd name="connsiteX354" fmla="*/ 28478 w 67801"/>
                  <a:gd name="connsiteY354" fmla="*/ 125993 h 126874"/>
                  <a:gd name="connsiteX355" fmla="*/ 29095 w 67801"/>
                  <a:gd name="connsiteY355" fmla="*/ 126257 h 126874"/>
                  <a:gd name="connsiteX356" fmla="*/ 29360 w 67801"/>
                  <a:gd name="connsiteY356" fmla="*/ 126874 h 126874"/>
                  <a:gd name="connsiteX357" fmla="*/ 29977 w 67801"/>
                  <a:gd name="connsiteY357" fmla="*/ 126257 h 126874"/>
                  <a:gd name="connsiteX358" fmla="*/ 30859 w 67801"/>
                  <a:gd name="connsiteY358" fmla="*/ 125993 h 126874"/>
                  <a:gd name="connsiteX359" fmla="*/ 31123 w 67801"/>
                  <a:gd name="connsiteY359" fmla="*/ 125728 h 126874"/>
                  <a:gd name="connsiteX360" fmla="*/ 32005 w 67801"/>
                  <a:gd name="connsiteY360" fmla="*/ 125993 h 126874"/>
                  <a:gd name="connsiteX361" fmla="*/ 32270 w 67801"/>
                  <a:gd name="connsiteY361" fmla="*/ 126257 h 126874"/>
                  <a:gd name="connsiteX362" fmla="*/ 32534 w 67801"/>
                  <a:gd name="connsiteY362" fmla="*/ 126874 h 126874"/>
                  <a:gd name="connsiteX363" fmla="*/ 33416 w 67801"/>
                  <a:gd name="connsiteY363" fmla="*/ 126257 h 126874"/>
                  <a:gd name="connsiteX364" fmla="*/ 33680 w 67801"/>
                  <a:gd name="connsiteY364" fmla="*/ 126257 h 126874"/>
                  <a:gd name="connsiteX365" fmla="*/ 34297 w 67801"/>
                  <a:gd name="connsiteY365" fmla="*/ 125993 h 126874"/>
                  <a:gd name="connsiteX366" fmla="*/ 34297 w 67801"/>
                  <a:gd name="connsiteY366" fmla="*/ 125375 h 126874"/>
                  <a:gd name="connsiteX367" fmla="*/ 35179 w 67801"/>
                  <a:gd name="connsiteY367" fmla="*/ 125111 h 126874"/>
                  <a:gd name="connsiteX368" fmla="*/ 35444 w 67801"/>
                  <a:gd name="connsiteY368" fmla="*/ 124846 h 126874"/>
                  <a:gd name="connsiteX369" fmla="*/ 36325 w 67801"/>
                  <a:gd name="connsiteY369" fmla="*/ 124229 h 126874"/>
                  <a:gd name="connsiteX370" fmla="*/ 36943 w 67801"/>
                  <a:gd name="connsiteY370" fmla="*/ 124229 h 126874"/>
                  <a:gd name="connsiteX371" fmla="*/ 37207 w 67801"/>
                  <a:gd name="connsiteY371" fmla="*/ 123876 h 126874"/>
                  <a:gd name="connsiteX372" fmla="*/ 37472 w 67801"/>
                  <a:gd name="connsiteY372" fmla="*/ 123612 h 126874"/>
                  <a:gd name="connsiteX373" fmla="*/ 37736 w 67801"/>
                  <a:gd name="connsiteY373" fmla="*/ 122730 h 126874"/>
                  <a:gd name="connsiteX374" fmla="*/ 38265 w 67801"/>
                  <a:gd name="connsiteY374" fmla="*/ 122466 h 126874"/>
                  <a:gd name="connsiteX375" fmla="*/ 38530 w 67801"/>
                  <a:gd name="connsiteY375" fmla="*/ 122466 h 126874"/>
                  <a:gd name="connsiteX376" fmla="*/ 39411 w 67801"/>
                  <a:gd name="connsiteY376" fmla="*/ 122466 h 126874"/>
                  <a:gd name="connsiteX377" fmla="*/ 40293 w 67801"/>
                  <a:gd name="connsiteY377" fmla="*/ 123083 h 126874"/>
                  <a:gd name="connsiteX378" fmla="*/ 40910 w 67801"/>
                  <a:gd name="connsiteY378" fmla="*/ 122818 h 126874"/>
                  <a:gd name="connsiteX379" fmla="*/ 40910 w 67801"/>
                  <a:gd name="connsiteY379" fmla="*/ 122466 h 126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</a:cxnLst>
                <a:rect l="l" t="t" r="r" b="b"/>
                <a:pathLst>
                  <a:path w="67801" h="126874">
                    <a:moveTo>
                      <a:pt x="40469" y="122466"/>
                    </a:moveTo>
                    <a:lnTo>
                      <a:pt x="39323" y="116382"/>
                    </a:lnTo>
                    <a:lnTo>
                      <a:pt x="39059" y="114883"/>
                    </a:lnTo>
                    <a:lnTo>
                      <a:pt x="38441" y="113737"/>
                    </a:lnTo>
                    <a:lnTo>
                      <a:pt x="39323" y="112326"/>
                    </a:lnTo>
                    <a:lnTo>
                      <a:pt x="39323" y="110563"/>
                    </a:lnTo>
                    <a:lnTo>
                      <a:pt x="41086" y="107918"/>
                    </a:lnTo>
                    <a:lnTo>
                      <a:pt x="43731" y="105890"/>
                    </a:lnTo>
                    <a:lnTo>
                      <a:pt x="43114" y="104391"/>
                    </a:lnTo>
                    <a:lnTo>
                      <a:pt x="43379" y="102981"/>
                    </a:lnTo>
                    <a:lnTo>
                      <a:pt x="43643" y="102099"/>
                    </a:lnTo>
                    <a:lnTo>
                      <a:pt x="44789" y="101482"/>
                    </a:lnTo>
                    <a:lnTo>
                      <a:pt x="46817" y="101482"/>
                    </a:lnTo>
                    <a:lnTo>
                      <a:pt x="47082" y="100865"/>
                    </a:lnTo>
                    <a:lnTo>
                      <a:pt x="48228" y="100600"/>
                    </a:lnTo>
                    <a:lnTo>
                      <a:pt x="49991" y="98837"/>
                    </a:lnTo>
                    <a:lnTo>
                      <a:pt x="49639" y="97426"/>
                    </a:lnTo>
                    <a:lnTo>
                      <a:pt x="48493" y="98308"/>
                    </a:lnTo>
                    <a:lnTo>
                      <a:pt x="47875" y="98043"/>
                    </a:lnTo>
                    <a:lnTo>
                      <a:pt x="46729" y="96897"/>
                    </a:lnTo>
                    <a:lnTo>
                      <a:pt x="43820" y="91078"/>
                    </a:lnTo>
                    <a:lnTo>
                      <a:pt x="42938" y="90461"/>
                    </a:lnTo>
                    <a:lnTo>
                      <a:pt x="43202" y="89314"/>
                    </a:lnTo>
                    <a:lnTo>
                      <a:pt x="42938" y="88433"/>
                    </a:lnTo>
                    <a:lnTo>
                      <a:pt x="43820" y="88168"/>
                    </a:lnTo>
                    <a:lnTo>
                      <a:pt x="44437" y="86669"/>
                    </a:lnTo>
                    <a:lnTo>
                      <a:pt x="43820" y="86052"/>
                    </a:lnTo>
                    <a:lnTo>
                      <a:pt x="44437" y="84289"/>
                    </a:lnTo>
                    <a:lnTo>
                      <a:pt x="47082" y="82261"/>
                    </a:lnTo>
                    <a:lnTo>
                      <a:pt x="48581" y="81379"/>
                    </a:lnTo>
                    <a:lnTo>
                      <a:pt x="48845" y="81115"/>
                    </a:lnTo>
                    <a:lnTo>
                      <a:pt x="49462" y="79969"/>
                    </a:lnTo>
                    <a:lnTo>
                      <a:pt x="48845" y="78558"/>
                    </a:lnTo>
                    <a:lnTo>
                      <a:pt x="49991" y="77676"/>
                    </a:lnTo>
                    <a:lnTo>
                      <a:pt x="50873" y="76530"/>
                    </a:lnTo>
                    <a:lnTo>
                      <a:pt x="50256" y="75384"/>
                    </a:lnTo>
                    <a:lnTo>
                      <a:pt x="49374" y="74767"/>
                    </a:lnTo>
                    <a:lnTo>
                      <a:pt x="49110" y="73885"/>
                    </a:lnTo>
                    <a:lnTo>
                      <a:pt x="47611" y="74150"/>
                    </a:lnTo>
                    <a:lnTo>
                      <a:pt x="47346" y="72651"/>
                    </a:lnTo>
                    <a:lnTo>
                      <a:pt x="45583" y="72034"/>
                    </a:lnTo>
                    <a:lnTo>
                      <a:pt x="44437" y="70887"/>
                    </a:lnTo>
                    <a:lnTo>
                      <a:pt x="44701" y="69388"/>
                    </a:lnTo>
                    <a:lnTo>
                      <a:pt x="44437" y="68242"/>
                    </a:lnTo>
                    <a:lnTo>
                      <a:pt x="42673" y="66743"/>
                    </a:lnTo>
                    <a:lnTo>
                      <a:pt x="44437" y="66126"/>
                    </a:lnTo>
                    <a:lnTo>
                      <a:pt x="44172" y="64980"/>
                    </a:lnTo>
                    <a:lnTo>
                      <a:pt x="40645" y="61806"/>
                    </a:lnTo>
                    <a:lnTo>
                      <a:pt x="39500" y="60043"/>
                    </a:lnTo>
                    <a:lnTo>
                      <a:pt x="42409" y="60307"/>
                    </a:lnTo>
                    <a:lnTo>
                      <a:pt x="44701" y="60043"/>
                    </a:lnTo>
                    <a:lnTo>
                      <a:pt x="46994" y="60307"/>
                    </a:lnTo>
                    <a:lnTo>
                      <a:pt x="50521" y="59778"/>
                    </a:lnTo>
                    <a:lnTo>
                      <a:pt x="51402" y="57750"/>
                    </a:lnTo>
                    <a:lnTo>
                      <a:pt x="52548" y="56340"/>
                    </a:lnTo>
                    <a:lnTo>
                      <a:pt x="52813" y="51667"/>
                    </a:lnTo>
                    <a:lnTo>
                      <a:pt x="52196" y="49639"/>
                    </a:lnTo>
                    <a:lnTo>
                      <a:pt x="51050" y="48757"/>
                    </a:lnTo>
                    <a:lnTo>
                      <a:pt x="51667" y="46465"/>
                    </a:lnTo>
                    <a:lnTo>
                      <a:pt x="53166" y="45319"/>
                    </a:lnTo>
                    <a:lnTo>
                      <a:pt x="53166" y="44172"/>
                    </a:lnTo>
                    <a:lnTo>
                      <a:pt x="54929" y="43908"/>
                    </a:lnTo>
                    <a:lnTo>
                      <a:pt x="54664" y="42762"/>
                    </a:lnTo>
                    <a:lnTo>
                      <a:pt x="54929" y="42144"/>
                    </a:lnTo>
                    <a:lnTo>
                      <a:pt x="54047" y="40645"/>
                    </a:lnTo>
                    <a:lnTo>
                      <a:pt x="54929" y="40117"/>
                    </a:lnTo>
                    <a:lnTo>
                      <a:pt x="55810" y="38089"/>
                    </a:lnTo>
                    <a:lnTo>
                      <a:pt x="55193" y="36325"/>
                    </a:lnTo>
                    <a:lnTo>
                      <a:pt x="54664" y="34033"/>
                    </a:lnTo>
                    <a:lnTo>
                      <a:pt x="55193" y="30859"/>
                    </a:lnTo>
                    <a:lnTo>
                      <a:pt x="55193" y="29977"/>
                    </a:lnTo>
                    <a:lnTo>
                      <a:pt x="53430" y="26186"/>
                    </a:lnTo>
                    <a:lnTo>
                      <a:pt x="55458" y="26803"/>
                    </a:lnTo>
                    <a:lnTo>
                      <a:pt x="57221" y="25657"/>
                    </a:lnTo>
                    <a:lnTo>
                      <a:pt x="57486" y="23012"/>
                    </a:lnTo>
                    <a:lnTo>
                      <a:pt x="58985" y="21248"/>
                    </a:lnTo>
                    <a:lnTo>
                      <a:pt x="60748" y="21248"/>
                    </a:lnTo>
                    <a:lnTo>
                      <a:pt x="61894" y="20631"/>
                    </a:lnTo>
                    <a:lnTo>
                      <a:pt x="65068" y="19221"/>
                    </a:lnTo>
                    <a:lnTo>
                      <a:pt x="65068" y="18956"/>
                    </a:lnTo>
                    <a:lnTo>
                      <a:pt x="65068" y="18074"/>
                    </a:lnTo>
                    <a:lnTo>
                      <a:pt x="65685" y="17457"/>
                    </a:lnTo>
                    <a:lnTo>
                      <a:pt x="66303" y="16311"/>
                    </a:lnTo>
                    <a:lnTo>
                      <a:pt x="67802" y="13137"/>
                    </a:lnTo>
                    <a:lnTo>
                      <a:pt x="67802" y="11638"/>
                    </a:lnTo>
                    <a:lnTo>
                      <a:pt x="66920" y="11374"/>
                    </a:lnTo>
                    <a:lnTo>
                      <a:pt x="66655" y="10492"/>
                    </a:lnTo>
                    <a:lnTo>
                      <a:pt x="63481" y="10492"/>
                    </a:lnTo>
                    <a:lnTo>
                      <a:pt x="62335" y="11374"/>
                    </a:lnTo>
                    <a:lnTo>
                      <a:pt x="61189" y="10492"/>
                    </a:lnTo>
                    <a:lnTo>
                      <a:pt x="61189" y="9346"/>
                    </a:lnTo>
                    <a:lnTo>
                      <a:pt x="62688" y="6436"/>
                    </a:lnTo>
                    <a:lnTo>
                      <a:pt x="62423" y="5555"/>
                    </a:lnTo>
                    <a:lnTo>
                      <a:pt x="61806" y="5290"/>
                    </a:lnTo>
                    <a:lnTo>
                      <a:pt x="61542" y="4408"/>
                    </a:lnTo>
                    <a:lnTo>
                      <a:pt x="61542" y="3791"/>
                    </a:lnTo>
                    <a:lnTo>
                      <a:pt x="59778" y="4408"/>
                    </a:lnTo>
                    <a:lnTo>
                      <a:pt x="58015" y="4408"/>
                    </a:lnTo>
                    <a:lnTo>
                      <a:pt x="56251" y="2909"/>
                    </a:lnTo>
                    <a:lnTo>
                      <a:pt x="55634" y="4056"/>
                    </a:lnTo>
                    <a:lnTo>
                      <a:pt x="54488" y="4320"/>
                    </a:lnTo>
                    <a:lnTo>
                      <a:pt x="53342" y="2821"/>
                    </a:lnTo>
                    <a:lnTo>
                      <a:pt x="52196" y="3439"/>
                    </a:lnTo>
                    <a:lnTo>
                      <a:pt x="51314" y="3703"/>
                    </a:lnTo>
                    <a:lnTo>
                      <a:pt x="51050" y="2821"/>
                    </a:lnTo>
                    <a:lnTo>
                      <a:pt x="49551" y="3439"/>
                    </a:lnTo>
                    <a:lnTo>
                      <a:pt x="49815" y="4937"/>
                    </a:lnTo>
                    <a:lnTo>
                      <a:pt x="46641" y="6436"/>
                    </a:lnTo>
                    <a:lnTo>
                      <a:pt x="44349" y="6701"/>
                    </a:lnTo>
                    <a:lnTo>
                      <a:pt x="42585" y="5819"/>
                    </a:lnTo>
                    <a:lnTo>
                      <a:pt x="41439" y="6084"/>
                    </a:lnTo>
                    <a:lnTo>
                      <a:pt x="39676" y="6701"/>
                    </a:lnTo>
                    <a:lnTo>
                      <a:pt x="40293" y="5555"/>
                    </a:lnTo>
                    <a:lnTo>
                      <a:pt x="39147" y="5555"/>
                    </a:lnTo>
                    <a:lnTo>
                      <a:pt x="38001" y="4937"/>
                    </a:lnTo>
                    <a:lnTo>
                      <a:pt x="36237" y="5555"/>
                    </a:lnTo>
                    <a:lnTo>
                      <a:pt x="34738" y="6172"/>
                    </a:lnTo>
                    <a:lnTo>
                      <a:pt x="34474" y="4408"/>
                    </a:lnTo>
                    <a:lnTo>
                      <a:pt x="33328" y="5555"/>
                    </a:lnTo>
                    <a:lnTo>
                      <a:pt x="30683" y="6701"/>
                    </a:lnTo>
                    <a:lnTo>
                      <a:pt x="28919" y="6701"/>
                    </a:lnTo>
                    <a:lnTo>
                      <a:pt x="28302" y="5555"/>
                    </a:lnTo>
                    <a:lnTo>
                      <a:pt x="28037" y="4408"/>
                    </a:lnTo>
                    <a:lnTo>
                      <a:pt x="28655" y="2645"/>
                    </a:lnTo>
                    <a:lnTo>
                      <a:pt x="30947" y="1763"/>
                    </a:lnTo>
                    <a:lnTo>
                      <a:pt x="29801" y="882"/>
                    </a:lnTo>
                    <a:lnTo>
                      <a:pt x="28037" y="617"/>
                    </a:lnTo>
                    <a:lnTo>
                      <a:pt x="27420" y="0"/>
                    </a:lnTo>
                    <a:lnTo>
                      <a:pt x="25040" y="264"/>
                    </a:lnTo>
                    <a:lnTo>
                      <a:pt x="23894" y="264"/>
                    </a:lnTo>
                    <a:lnTo>
                      <a:pt x="20102" y="2028"/>
                    </a:lnTo>
                    <a:lnTo>
                      <a:pt x="19221" y="2909"/>
                    </a:lnTo>
                    <a:lnTo>
                      <a:pt x="17810" y="3527"/>
                    </a:lnTo>
                    <a:lnTo>
                      <a:pt x="18074" y="3791"/>
                    </a:lnTo>
                    <a:lnTo>
                      <a:pt x="17810" y="4408"/>
                    </a:lnTo>
                    <a:lnTo>
                      <a:pt x="17545" y="4673"/>
                    </a:lnTo>
                    <a:lnTo>
                      <a:pt x="17281" y="4937"/>
                    </a:lnTo>
                    <a:lnTo>
                      <a:pt x="16664" y="4673"/>
                    </a:lnTo>
                    <a:lnTo>
                      <a:pt x="16399" y="4673"/>
                    </a:lnTo>
                    <a:lnTo>
                      <a:pt x="16135" y="5290"/>
                    </a:lnTo>
                    <a:lnTo>
                      <a:pt x="15870" y="5555"/>
                    </a:lnTo>
                    <a:lnTo>
                      <a:pt x="15253" y="6172"/>
                    </a:lnTo>
                    <a:lnTo>
                      <a:pt x="14988" y="6436"/>
                    </a:lnTo>
                    <a:lnTo>
                      <a:pt x="14107" y="6436"/>
                    </a:lnTo>
                    <a:lnTo>
                      <a:pt x="13843" y="7053"/>
                    </a:lnTo>
                    <a:lnTo>
                      <a:pt x="14107" y="7671"/>
                    </a:lnTo>
                    <a:lnTo>
                      <a:pt x="13843" y="7935"/>
                    </a:lnTo>
                    <a:lnTo>
                      <a:pt x="13578" y="8200"/>
                    </a:lnTo>
                    <a:lnTo>
                      <a:pt x="14195" y="9081"/>
                    </a:lnTo>
                    <a:lnTo>
                      <a:pt x="13930" y="9698"/>
                    </a:lnTo>
                    <a:lnTo>
                      <a:pt x="14812" y="10316"/>
                    </a:lnTo>
                    <a:lnTo>
                      <a:pt x="15341" y="10316"/>
                    </a:lnTo>
                    <a:lnTo>
                      <a:pt x="15958" y="10051"/>
                    </a:lnTo>
                    <a:lnTo>
                      <a:pt x="16576" y="10316"/>
                    </a:lnTo>
                    <a:lnTo>
                      <a:pt x="17193" y="10051"/>
                    </a:lnTo>
                    <a:lnTo>
                      <a:pt x="17810" y="9787"/>
                    </a:lnTo>
                    <a:lnTo>
                      <a:pt x="18074" y="9787"/>
                    </a:lnTo>
                    <a:lnTo>
                      <a:pt x="17810" y="10404"/>
                    </a:lnTo>
                    <a:lnTo>
                      <a:pt x="17193" y="11286"/>
                    </a:lnTo>
                    <a:lnTo>
                      <a:pt x="16576" y="11550"/>
                    </a:lnTo>
                    <a:lnTo>
                      <a:pt x="15958" y="11550"/>
                    </a:lnTo>
                    <a:lnTo>
                      <a:pt x="15341" y="11286"/>
                    </a:lnTo>
                    <a:lnTo>
                      <a:pt x="14812" y="11286"/>
                    </a:lnTo>
                    <a:lnTo>
                      <a:pt x="14812" y="11903"/>
                    </a:lnTo>
                    <a:lnTo>
                      <a:pt x="15077" y="12784"/>
                    </a:lnTo>
                    <a:lnTo>
                      <a:pt x="15958" y="13401"/>
                    </a:lnTo>
                    <a:lnTo>
                      <a:pt x="16840" y="14283"/>
                    </a:lnTo>
                    <a:lnTo>
                      <a:pt x="16840" y="15429"/>
                    </a:lnTo>
                    <a:lnTo>
                      <a:pt x="16576" y="16928"/>
                    </a:lnTo>
                    <a:lnTo>
                      <a:pt x="16840" y="18074"/>
                    </a:lnTo>
                    <a:lnTo>
                      <a:pt x="17457" y="18956"/>
                    </a:lnTo>
                    <a:lnTo>
                      <a:pt x="17457" y="20102"/>
                    </a:lnTo>
                    <a:lnTo>
                      <a:pt x="17193" y="21248"/>
                    </a:lnTo>
                    <a:lnTo>
                      <a:pt x="16928" y="21866"/>
                    </a:lnTo>
                    <a:lnTo>
                      <a:pt x="17545" y="22483"/>
                    </a:lnTo>
                    <a:lnTo>
                      <a:pt x="17545" y="23365"/>
                    </a:lnTo>
                    <a:lnTo>
                      <a:pt x="19309" y="23629"/>
                    </a:lnTo>
                    <a:lnTo>
                      <a:pt x="20191" y="24246"/>
                    </a:lnTo>
                    <a:lnTo>
                      <a:pt x="19044" y="24511"/>
                    </a:lnTo>
                    <a:lnTo>
                      <a:pt x="18780" y="25128"/>
                    </a:lnTo>
                    <a:lnTo>
                      <a:pt x="19397" y="26891"/>
                    </a:lnTo>
                    <a:lnTo>
                      <a:pt x="19662" y="28390"/>
                    </a:lnTo>
                    <a:lnTo>
                      <a:pt x="18780" y="28655"/>
                    </a:lnTo>
                    <a:lnTo>
                      <a:pt x="19044" y="29536"/>
                    </a:lnTo>
                    <a:lnTo>
                      <a:pt x="18427" y="30154"/>
                    </a:lnTo>
                    <a:lnTo>
                      <a:pt x="18163" y="31300"/>
                    </a:lnTo>
                    <a:lnTo>
                      <a:pt x="17545" y="32181"/>
                    </a:lnTo>
                    <a:lnTo>
                      <a:pt x="16928" y="33592"/>
                    </a:lnTo>
                    <a:lnTo>
                      <a:pt x="16664" y="35091"/>
                    </a:lnTo>
                    <a:lnTo>
                      <a:pt x="16928" y="36502"/>
                    </a:lnTo>
                    <a:lnTo>
                      <a:pt x="18074" y="34738"/>
                    </a:lnTo>
                    <a:lnTo>
                      <a:pt x="18692" y="32975"/>
                    </a:lnTo>
                    <a:lnTo>
                      <a:pt x="18692" y="32710"/>
                    </a:lnTo>
                    <a:lnTo>
                      <a:pt x="19309" y="32181"/>
                    </a:lnTo>
                    <a:lnTo>
                      <a:pt x="20191" y="32446"/>
                    </a:lnTo>
                    <a:lnTo>
                      <a:pt x="19926" y="33592"/>
                    </a:lnTo>
                    <a:lnTo>
                      <a:pt x="19044" y="33592"/>
                    </a:lnTo>
                    <a:lnTo>
                      <a:pt x="18780" y="34738"/>
                    </a:lnTo>
                    <a:lnTo>
                      <a:pt x="18780" y="34650"/>
                    </a:lnTo>
                    <a:lnTo>
                      <a:pt x="19397" y="34915"/>
                    </a:lnTo>
                    <a:lnTo>
                      <a:pt x="18780" y="35444"/>
                    </a:lnTo>
                    <a:lnTo>
                      <a:pt x="18515" y="36590"/>
                    </a:lnTo>
                    <a:lnTo>
                      <a:pt x="17986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369" y="37472"/>
                    </a:lnTo>
                    <a:lnTo>
                      <a:pt x="16487" y="40998"/>
                    </a:lnTo>
                    <a:lnTo>
                      <a:pt x="15606" y="41880"/>
                    </a:lnTo>
                    <a:lnTo>
                      <a:pt x="14107" y="42762"/>
                    </a:lnTo>
                    <a:lnTo>
                      <a:pt x="12696" y="44525"/>
                    </a:lnTo>
                    <a:lnTo>
                      <a:pt x="12079" y="46288"/>
                    </a:lnTo>
                    <a:lnTo>
                      <a:pt x="12696" y="47434"/>
                    </a:lnTo>
                    <a:lnTo>
                      <a:pt x="12696" y="47699"/>
                    </a:lnTo>
                    <a:lnTo>
                      <a:pt x="13578" y="47082"/>
                    </a:lnTo>
                    <a:lnTo>
                      <a:pt x="15341" y="47699"/>
                    </a:lnTo>
                    <a:lnTo>
                      <a:pt x="15958" y="48581"/>
                    </a:lnTo>
                    <a:lnTo>
                      <a:pt x="15341" y="48581"/>
                    </a:lnTo>
                    <a:lnTo>
                      <a:pt x="13843" y="48845"/>
                    </a:lnTo>
                    <a:lnTo>
                      <a:pt x="12696" y="48581"/>
                    </a:lnTo>
                    <a:lnTo>
                      <a:pt x="12079" y="48845"/>
                    </a:lnTo>
                    <a:lnTo>
                      <a:pt x="11815" y="50344"/>
                    </a:lnTo>
                    <a:lnTo>
                      <a:pt x="12079" y="52372"/>
                    </a:lnTo>
                    <a:lnTo>
                      <a:pt x="12344" y="55017"/>
                    </a:lnTo>
                    <a:lnTo>
                      <a:pt x="11197" y="56780"/>
                    </a:lnTo>
                    <a:lnTo>
                      <a:pt x="10316" y="57398"/>
                    </a:lnTo>
                    <a:lnTo>
                      <a:pt x="9699" y="58544"/>
                    </a:lnTo>
                    <a:lnTo>
                      <a:pt x="8817" y="59161"/>
                    </a:lnTo>
                    <a:lnTo>
                      <a:pt x="8552" y="60572"/>
                    </a:lnTo>
                    <a:lnTo>
                      <a:pt x="8288" y="61718"/>
                    </a:lnTo>
                    <a:lnTo>
                      <a:pt x="8288" y="62864"/>
                    </a:lnTo>
                    <a:lnTo>
                      <a:pt x="7406" y="64627"/>
                    </a:lnTo>
                    <a:lnTo>
                      <a:pt x="6524" y="65774"/>
                    </a:lnTo>
                    <a:lnTo>
                      <a:pt x="6260" y="66038"/>
                    </a:lnTo>
                    <a:lnTo>
                      <a:pt x="5643" y="66655"/>
                    </a:lnTo>
                    <a:lnTo>
                      <a:pt x="4497" y="66655"/>
                    </a:lnTo>
                    <a:lnTo>
                      <a:pt x="3615" y="66920"/>
                    </a:lnTo>
                    <a:lnTo>
                      <a:pt x="2733" y="67537"/>
                    </a:lnTo>
                    <a:lnTo>
                      <a:pt x="2116" y="67272"/>
                    </a:lnTo>
                    <a:lnTo>
                      <a:pt x="2116" y="67890"/>
                    </a:lnTo>
                    <a:lnTo>
                      <a:pt x="2733" y="68771"/>
                    </a:lnTo>
                    <a:lnTo>
                      <a:pt x="2733" y="69917"/>
                    </a:lnTo>
                    <a:lnTo>
                      <a:pt x="2733" y="70799"/>
                    </a:lnTo>
                    <a:lnTo>
                      <a:pt x="2733" y="71945"/>
                    </a:lnTo>
                    <a:lnTo>
                      <a:pt x="2116" y="72210"/>
                    </a:lnTo>
                    <a:lnTo>
                      <a:pt x="1851" y="75119"/>
                    </a:lnTo>
                    <a:lnTo>
                      <a:pt x="2116" y="76266"/>
                    </a:lnTo>
                    <a:lnTo>
                      <a:pt x="1499" y="78911"/>
                    </a:lnTo>
                    <a:lnTo>
                      <a:pt x="1234" y="80057"/>
                    </a:lnTo>
                    <a:lnTo>
                      <a:pt x="970" y="80674"/>
                    </a:lnTo>
                    <a:lnTo>
                      <a:pt x="353" y="82173"/>
                    </a:lnTo>
                    <a:lnTo>
                      <a:pt x="617" y="83055"/>
                    </a:lnTo>
                    <a:lnTo>
                      <a:pt x="0" y="83936"/>
                    </a:lnTo>
                    <a:lnTo>
                      <a:pt x="1763" y="84818"/>
                    </a:lnTo>
                    <a:lnTo>
                      <a:pt x="3527" y="87463"/>
                    </a:lnTo>
                    <a:lnTo>
                      <a:pt x="4673" y="88080"/>
                    </a:lnTo>
                    <a:lnTo>
                      <a:pt x="5555" y="89843"/>
                    </a:lnTo>
                    <a:lnTo>
                      <a:pt x="5555" y="90725"/>
                    </a:lnTo>
                    <a:lnTo>
                      <a:pt x="5026" y="90990"/>
                    </a:lnTo>
                    <a:lnTo>
                      <a:pt x="5290" y="91871"/>
                    </a:lnTo>
                    <a:lnTo>
                      <a:pt x="6436" y="91607"/>
                    </a:lnTo>
                    <a:lnTo>
                      <a:pt x="7582" y="90461"/>
                    </a:lnTo>
                    <a:lnTo>
                      <a:pt x="9963" y="89843"/>
                    </a:lnTo>
                    <a:lnTo>
                      <a:pt x="11109" y="88433"/>
                    </a:lnTo>
                    <a:lnTo>
                      <a:pt x="11991" y="88697"/>
                    </a:lnTo>
                    <a:lnTo>
                      <a:pt x="11991" y="89843"/>
                    </a:lnTo>
                    <a:lnTo>
                      <a:pt x="13754" y="89579"/>
                    </a:lnTo>
                    <a:lnTo>
                      <a:pt x="14371" y="88433"/>
                    </a:lnTo>
                    <a:lnTo>
                      <a:pt x="14371" y="88697"/>
                    </a:lnTo>
                    <a:lnTo>
                      <a:pt x="14371" y="88433"/>
                    </a:lnTo>
                    <a:lnTo>
                      <a:pt x="15253" y="88168"/>
                    </a:lnTo>
                    <a:lnTo>
                      <a:pt x="15518" y="88785"/>
                    </a:lnTo>
                    <a:lnTo>
                      <a:pt x="14988" y="89403"/>
                    </a:lnTo>
                    <a:lnTo>
                      <a:pt x="15518" y="90549"/>
                    </a:lnTo>
                    <a:lnTo>
                      <a:pt x="16399" y="90813"/>
                    </a:lnTo>
                    <a:lnTo>
                      <a:pt x="17016" y="91960"/>
                    </a:lnTo>
                    <a:lnTo>
                      <a:pt x="16752" y="92312"/>
                    </a:lnTo>
                    <a:lnTo>
                      <a:pt x="14988" y="91960"/>
                    </a:lnTo>
                    <a:lnTo>
                      <a:pt x="14724" y="91078"/>
                    </a:lnTo>
                    <a:lnTo>
                      <a:pt x="14459" y="91960"/>
                    </a:lnTo>
                    <a:lnTo>
                      <a:pt x="14195" y="91695"/>
                    </a:lnTo>
                    <a:lnTo>
                      <a:pt x="14459" y="91078"/>
                    </a:lnTo>
                    <a:lnTo>
                      <a:pt x="12079" y="90461"/>
                    </a:lnTo>
                    <a:lnTo>
                      <a:pt x="11197" y="89843"/>
                    </a:lnTo>
                    <a:lnTo>
                      <a:pt x="10580" y="89843"/>
                    </a:lnTo>
                    <a:lnTo>
                      <a:pt x="11462" y="90990"/>
                    </a:lnTo>
                    <a:lnTo>
                      <a:pt x="11726" y="91871"/>
                    </a:lnTo>
                    <a:lnTo>
                      <a:pt x="12344" y="93018"/>
                    </a:lnTo>
                    <a:lnTo>
                      <a:pt x="12961" y="93282"/>
                    </a:lnTo>
                    <a:lnTo>
                      <a:pt x="14107" y="95046"/>
                    </a:lnTo>
                    <a:lnTo>
                      <a:pt x="12344" y="96192"/>
                    </a:lnTo>
                    <a:lnTo>
                      <a:pt x="12344" y="97338"/>
                    </a:lnTo>
                    <a:lnTo>
                      <a:pt x="12079" y="98220"/>
                    </a:lnTo>
                    <a:lnTo>
                      <a:pt x="11197" y="99366"/>
                    </a:lnTo>
                    <a:lnTo>
                      <a:pt x="11197" y="100247"/>
                    </a:lnTo>
                    <a:lnTo>
                      <a:pt x="11197" y="102011"/>
                    </a:lnTo>
                    <a:lnTo>
                      <a:pt x="10316" y="103421"/>
                    </a:lnTo>
                    <a:lnTo>
                      <a:pt x="10316" y="105449"/>
                    </a:lnTo>
                    <a:lnTo>
                      <a:pt x="10933" y="107477"/>
                    </a:lnTo>
                    <a:lnTo>
                      <a:pt x="11197" y="109241"/>
                    </a:lnTo>
                    <a:lnTo>
                      <a:pt x="11197" y="110387"/>
                    </a:lnTo>
                    <a:lnTo>
                      <a:pt x="10933" y="113032"/>
                    </a:lnTo>
                    <a:lnTo>
                      <a:pt x="10316" y="114795"/>
                    </a:lnTo>
                    <a:lnTo>
                      <a:pt x="10316" y="115677"/>
                    </a:lnTo>
                    <a:lnTo>
                      <a:pt x="10316" y="117705"/>
                    </a:lnTo>
                    <a:lnTo>
                      <a:pt x="10051" y="118322"/>
                    </a:lnTo>
                    <a:lnTo>
                      <a:pt x="9787" y="118586"/>
                    </a:lnTo>
                    <a:lnTo>
                      <a:pt x="9522" y="119733"/>
                    </a:lnTo>
                    <a:lnTo>
                      <a:pt x="9787" y="120879"/>
                    </a:lnTo>
                    <a:lnTo>
                      <a:pt x="10051" y="122378"/>
                    </a:lnTo>
                    <a:lnTo>
                      <a:pt x="10051" y="122995"/>
                    </a:lnTo>
                    <a:lnTo>
                      <a:pt x="9787" y="123876"/>
                    </a:lnTo>
                    <a:lnTo>
                      <a:pt x="9522" y="124494"/>
                    </a:lnTo>
                    <a:lnTo>
                      <a:pt x="9258" y="125023"/>
                    </a:lnTo>
                    <a:lnTo>
                      <a:pt x="8641" y="125287"/>
                    </a:lnTo>
                    <a:lnTo>
                      <a:pt x="8905" y="125904"/>
                    </a:lnTo>
                    <a:lnTo>
                      <a:pt x="9434" y="126169"/>
                    </a:lnTo>
                    <a:lnTo>
                      <a:pt x="9699" y="126169"/>
                    </a:lnTo>
                    <a:lnTo>
                      <a:pt x="9963" y="125552"/>
                    </a:lnTo>
                    <a:lnTo>
                      <a:pt x="10845" y="124935"/>
                    </a:lnTo>
                    <a:lnTo>
                      <a:pt x="11462" y="124670"/>
                    </a:lnTo>
                    <a:lnTo>
                      <a:pt x="11726" y="124670"/>
                    </a:lnTo>
                    <a:lnTo>
                      <a:pt x="11991" y="124670"/>
                    </a:lnTo>
                    <a:lnTo>
                      <a:pt x="12608" y="124405"/>
                    </a:lnTo>
                    <a:lnTo>
                      <a:pt x="13225" y="124670"/>
                    </a:lnTo>
                    <a:lnTo>
                      <a:pt x="13754" y="124405"/>
                    </a:lnTo>
                    <a:lnTo>
                      <a:pt x="14636" y="123259"/>
                    </a:lnTo>
                    <a:lnTo>
                      <a:pt x="14900" y="124141"/>
                    </a:lnTo>
                    <a:lnTo>
                      <a:pt x="15429" y="124141"/>
                    </a:lnTo>
                    <a:lnTo>
                      <a:pt x="16047" y="123524"/>
                    </a:lnTo>
                    <a:lnTo>
                      <a:pt x="16311" y="122907"/>
                    </a:lnTo>
                    <a:lnTo>
                      <a:pt x="16928" y="122642"/>
                    </a:lnTo>
                    <a:lnTo>
                      <a:pt x="16928" y="122907"/>
                    </a:lnTo>
                    <a:lnTo>
                      <a:pt x="17545" y="122907"/>
                    </a:lnTo>
                    <a:lnTo>
                      <a:pt x="18427" y="123171"/>
                    </a:lnTo>
                    <a:lnTo>
                      <a:pt x="19044" y="123788"/>
                    </a:lnTo>
                    <a:lnTo>
                      <a:pt x="19926" y="124141"/>
                    </a:lnTo>
                    <a:lnTo>
                      <a:pt x="20808" y="123788"/>
                    </a:lnTo>
                    <a:lnTo>
                      <a:pt x="21072" y="123524"/>
                    </a:lnTo>
                    <a:lnTo>
                      <a:pt x="21954" y="124141"/>
                    </a:lnTo>
                    <a:lnTo>
                      <a:pt x="22218" y="124405"/>
                    </a:lnTo>
                    <a:lnTo>
                      <a:pt x="22483" y="124141"/>
                    </a:lnTo>
                    <a:lnTo>
                      <a:pt x="22747" y="123788"/>
                    </a:lnTo>
                    <a:lnTo>
                      <a:pt x="23629" y="124141"/>
                    </a:lnTo>
                    <a:lnTo>
                      <a:pt x="24246" y="125023"/>
                    </a:lnTo>
                    <a:lnTo>
                      <a:pt x="25128" y="125023"/>
                    </a:lnTo>
                    <a:lnTo>
                      <a:pt x="25745" y="124758"/>
                    </a:lnTo>
                    <a:lnTo>
                      <a:pt x="26362" y="124758"/>
                    </a:lnTo>
                    <a:lnTo>
                      <a:pt x="27244" y="125023"/>
                    </a:lnTo>
                    <a:lnTo>
                      <a:pt x="27861" y="124758"/>
                    </a:lnTo>
                    <a:lnTo>
                      <a:pt x="28126" y="125640"/>
                    </a:lnTo>
                    <a:lnTo>
                      <a:pt x="28126" y="125375"/>
                    </a:lnTo>
                    <a:lnTo>
                      <a:pt x="28743" y="125993"/>
                    </a:lnTo>
                    <a:lnTo>
                      <a:pt x="28478" y="125993"/>
                    </a:lnTo>
                    <a:lnTo>
                      <a:pt x="29095" y="126257"/>
                    </a:lnTo>
                    <a:lnTo>
                      <a:pt x="29360" y="126874"/>
                    </a:lnTo>
                    <a:lnTo>
                      <a:pt x="29977" y="126257"/>
                    </a:lnTo>
                    <a:lnTo>
                      <a:pt x="30859" y="125993"/>
                    </a:lnTo>
                    <a:lnTo>
                      <a:pt x="31123" y="125728"/>
                    </a:lnTo>
                    <a:lnTo>
                      <a:pt x="32005" y="125993"/>
                    </a:lnTo>
                    <a:lnTo>
                      <a:pt x="32270" y="126257"/>
                    </a:lnTo>
                    <a:lnTo>
                      <a:pt x="32534" y="126874"/>
                    </a:lnTo>
                    <a:lnTo>
                      <a:pt x="33416" y="126257"/>
                    </a:lnTo>
                    <a:lnTo>
                      <a:pt x="33680" y="126257"/>
                    </a:lnTo>
                    <a:lnTo>
                      <a:pt x="34297" y="125993"/>
                    </a:lnTo>
                    <a:lnTo>
                      <a:pt x="34297" y="125375"/>
                    </a:lnTo>
                    <a:lnTo>
                      <a:pt x="35179" y="125111"/>
                    </a:lnTo>
                    <a:lnTo>
                      <a:pt x="35444" y="124846"/>
                    </a:lnTo>
                    <a:lnTo>
                      <a:pt x="36325" y="124229"/>
                    </a:lnTo>
                    <a:lnTo>
                      <a:pt x="36943" y="124229"/>
                    </a:lnTo>
                    <a:lnTo>
                      <a:pt x="37207" y="123876"/>
                    </a:lnTo>
                    <a:lnTo>
                      <a:pt x="37472" y="123612"/>
                    </a:lnTo>
                    <a:lnTo>
                      <a:pt x="37736" y="122730"/>
                    </a:lnTo>
                    <a:lnTo>
                      <a:pt x="38265" y="122466"/>
                    </a:lnTo>
                    <a:lnTo>
                      <a:pt x="38530" y="122466"/>
                    </a:lnTo>
                    <a:lnTo>
                      <a:pt x="39411" y="122466"/>
                    </a:lnTo>
                    <a:lnTo>
                      <a:pt x="40293" y="123083"/>
                    </a:lnTo>
                    <a:lnTo>
                      <a:pt x="40910" y="122818"/>
                    </a:lnTo>
                    <a:lnTo>
                      <a:pt x="40910" y="12246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1" name="Freihandform: Form 1560">
                <a:extLst>
                  <a:ext uri="{FF2B5EF4-FFF2-40B4-BE49-F238E27FC236}">
                    <a16:creationId xmlns:a16="http://schemas.microsoft.com/office/drawing/2014/main" id="{BA29B166-C4BD-5347-D4FB-0FBAC1526029}"/>
                  </a:ext>
                </a:extLst>
              </p:cNvPr>
              <p:cNvSpPr/>
              <p:nvPr/>
            </p:nvSpPr>
            <p:spPr>
              <a:xfrm>
                <a:off x="4199360" y="2978547"/>
                <a:ext cx="245460" cy="259743"/>
              </a:xfrm>
              <a:custGeom>
                <a:avLst/>
                <a:gdLst>
                  <a:gd name="connsiteX0" fmla="*/ 199525 w 245460"/>
                  <a:gd name="connsiteY0" fmla="*/ 224741 h 259743"/>
                  <a:gd name="connsiteX1" fmla="*/ 199525 w 245460"/>
                  <a:gd name="connsiteY1" fmla="*/ 223595 h 259743"/>
                  <a:gd name="connsiteX2" fmla="*/ 199790 w 245460"/>
                  <a:gd name="connsiteY2" fmla="*/ 222713 h 259743"/>
                  <a:gd name="connsiteX3" fmla="*/ 200054 w 245460"/>
                  <a:gd name="connsiteY3" fmla="*/ 221567 h 259743"/>
                  <a:gd name="connsiteX4" fmla="*/ 201553 w 245460"/>
                  <a:gd name="connsiteY4" fmla="*/ 220068 h 259743"/>
                  <a:gd name="connsiteX5" fmla="*/ 203052 w 245460"/>
                  <a:gd name="connsiteY5" fmla="*/ 219451 h 259743"/>
                  <a:gd name="connsiteX6" fmla="*/ 203669 w 245460"/>
                  <a:gd name="connsiteY6" fmla="*/ 217952 h 259743"/>
                  <a:gd name="connsiteX7" fmla="*/ 205168 w 245460"/>
                  <a:gd name="connsiteY7" fmla="*/ 217335 h 259743"/>
                  <a:gd name="connsiteX8" fmla="*/ 206314 w 245460"/>
                  <a:gd name="connsiteY8" fmla="*/ 217071 h 259743"/>
                  <a:gd name="connsiteX9" fmla="*/ 207725 w 245460"/>
                  <a:gd name="connsiteY9" fmla="*/ 214425 h 259743"/>
                  <a:gd name="connsiteX10" fmla="*/ 208342 w 245460"/>
                  <a:gd name="connsiteY10" fmla="*/ 212398 h 259743"/>
                  <a:gd name="connsiteX11" fmla="*/ 207460 w 245460"/>
                  <a:gd name="connsiteY11" fmla="*/ 210370 h 259743"/>
                  <a:gd name="connsiteX12" fmla="*/ 208077 w 245460"/>
                  <a:gd name="connsiteY12" fmla="*/ 207989 h 259743"/>
                  <a:gd name="connsiteX13" fmla="*/ 207460 w 245460"/>
                  <a:gd name="connsiteY13" fmla="*/ 208254 h 259743"/>
                  <a:gd name="connsiteX14" fmla="*/ 206843 w 245460"/>
                  <a:gd name="connsiteY14" fmla="*/ 207637 h 259743"/>
                  <a:gd name="connsiteX15" fmla="*/ 207107 w 245460"/>
                  <a:gd name="connsiteY15" fmla="*/ 206226 h 259743"/>
                  <a:gd name="connsiteX16" fmla="*/ 207372 w 245460"/>
                  <a:gd name="connsiteY16" fmla="*/ 205609 h 259743"/>
                  <a:gd name="connsiteX17" fmla="*/ 208254 w 245460"/>
                  <a:gd name="connsiteY17" fmla="*/ 204463 h 259743"/>
                  <a:gd name="connsiteX18" fmla="*/ 211428 w 245460"/>
                  <a:gd name="connsiteY18" fmla="*/ 202699 h 259743"/>
                  <a:gd name="connsiteX19" fmla="*/ 211692 w 245460"/>
                  <a:gd name="connsiteY19" fmla="*/ 201817 h 259743"/>
                  <a:gd name="connsiteX20" fmla="*/ 212309 w 245460"/>
                  <a:gd name="connsiteY20" fmla="*/ 200936 h 259743"/>
                  <a:gd name="connsiteX21" fmla="*/ 213808 w 245460"/>
                  <a:gd name="connsiteY21" fmla="*/ 200936 h 259743"/>
                  <a:gd name="connsiteX22" fmla="*/ 214073 w 245460"/>
                  <a:gd name="connsiteY22" fmla="*/ 200936 h 259743"/>
                  <a:gd name="connsiteX23" fmla="*/ 215219 w 245460"/>
                  <a:gd name="connsiteY23" fmla="*/ 200936 h 259743"/>
                  <a:gd name="connsiteX24" fmla="*/ 215836 w 245460"/>
                  <a:gd name="connsiteY24" fmla="*/ 201817 h 259743"/>
                  <a:gd name="connsiteX25" fmla="*/ 216718 w 245460"/>
                  <a:gd name="connsiteY25" fmla="*/ 202082 h 259743"/>
                  <a:gd name="connsiteX26" fmla="*/ 217864 w 245460"/>
                  <a:gd name="connsiteY26" fmla="*/ 201200 h 259743"/>
                  <a:gd name="connsiteX27" fmla="*/ 217864 w 245460"/>
                  <a:gd name="connsiteY27" fmla="*/ 201817 h 259743"/>
                  <a:gd name="connsiteX28" fmla="*/ 219010 w 245460"/>
                  <a:gd name="connsiteY28" fmla="*/ 200671 h 259743"/>
                  <a:gd name="connsiteX29" fmla="*/ 219010 w 245460"/>
                  <a:gd name="connsiteY29" fmla="*/ 199790 h 259743"/>
                  <a:gd name="connsiteX30" fmla="*/ 218746 w 245460"/>
                  <a:gd name="connsiteY30" fmla="*/ 199525 h 259743"/>
                  <a:gd name="connsiteX31" fmla="*/ 218746 w 245460"/>
                  <a:gd name="connsiteY31" fmla="*/ 198643 h 259743"/>
                  <a:gd name="connsiteX32" fmla="*/ 218746 w 245460"/>
                  <a:gd name="connsiteY32" fmla="*/ 197497 h 259743"/>
                  <a:gd name="connsiteX33" fmla="*/ 219627 w 245460"/>
                  <a:gd name="connsiteY33" fmla="*/ 196351 h 259743"/>
                  <a:gd name="connsiteX34" fmla="*/ 218217 w 245460"/>
                  <a:gd name="connsiteY34" fmla="*/ 195469 h 259743"/>
                  <a:gd name="connsiteX35" fmla="*/ 218481 w 245460"/>
                  <a:gd name="connsiteY35" fmla="*/ 194323 h 259743"/>
                  <a:gd name="connsiteX36" fmla="*/ 217864 w 245460"/>
                  <a:gd name="connsiteY36" fmla="*/ 193441 h 259743"/>
                  <a:gd name="connsiteX37" fmla="*/ 218481 w 245460"/>
                  <a:gd name="connsiteY37" fmla="*/ 192295 h 259743"/>
                  <a:gd name="connsiteX38" fmla="*/ 218217 w 245460"/>
                  <a:gd name="connsiteY38" fmla="*/ 191149 h 259743"/>
                  <a:gd name="connsiteX39" fmla="*/ 218217 w 245460"/>
                  <a:gd name="connsiteY39" fmla="*/ 189386 h 259743"/>
                  <a:gd name="connsiteX40" fmla="*/ 217071 w 245460"/>
                  <a:gd name="connsiteY40" fmla="*/ 188239 h 259743"/>
                  <a:gd name="connsiteX41" fmla="*/ 215924 w 245460"/>
                  <a:gd name="connsiteY41" fmla="*/ 188504 h 259743"/>
                  <a:gd name="connsiteX42" fmla="*/ 215043 w 245460"/>
                  <a:gd name="connsiteY42" fmla="*/ 187358 h 259743"/>
                  <a:gd name="connsiteX43" fmla="*/ 213897 w 245460"/>
                  <a:gd name="connsiteY43" fmla="*/ 186741 h 259743"/>
                  <a:gd name="connsiteX44" fmla="*/ 212750 w 245460"/>
                  <a:gd name="connsiteY44" fmla="*/ 186123 h 259743"/>
                  <a:gd name="connsiteX45" fmla="*/ 209224 w 245460"/>
                  <a:gd name="connsiteY45" fmla="*/ 184096 h 259743"/>
                  <a:gd name="connsiteX46" fmla="*/ 208077 w 245460"/>
                  <a:gd name="connsiteY46" fmla="*/ 184096 h 259743"/>
                  <a:gd name="connsiteX47" fmla="*/ 205697 w 245460"/>
                  <a:gd name="connsiteY47" fmla="*/ 183478 h 259743"/>
                  <a:gd name="connsiteX48" fmla="*/ 205697 w 245460"/>
                  <a:gd name="connsiteY48" fmla="*/ 181451 h 259743"/>
                  <a:gd name="connsiteX49" fmla="*/ 204815 w 245460"/>
                  <a:gd name="connsiteY49" fmla="*/ 180833 h 259743"/>
                  <a:gd name="connsiteX50" fmla="*/ 204198 w 245460"/>
                  <a:gd name="connsiteY50" fmla="*/ 179070 h 259743"/>
                  <a:gd name="connsiteX51" fmla="*/ 205344 w 245460"/>
                  <a:gd name="connsiteY51" fmla="*/ 178453 h 259743"/>
                  <a:gd name="connsiteX52" fmla="*/ 207372 w 245460"/>
                  <a:gd name="connsiteY52" fmla="*/ 175279 h 259743"/>
                  <a:gd name="connsiteX53" fmla="*/ 206226 w 245460"/>
                  <a:gd name="connsiteY53" fmla="*/ 172634 h 259743"/>
                  <a:gd name="connsiteX54" fmla="*/ 207107 w 245460"/>
                  <a:gd name="connsiteY54" fmla="*/ 170870 h 259743"/>
                  <a:gd name="connsiteX55" fmla="*/ 208871 w 245460"/>
                  <a:gd name="connsiteY55" fmla="*/ 170606 h 259743"/>
                  <a:gd name="connsiteX56" fmla="*/ 209488 w 245460"/>
                  <a:gd name="connsiteY56" fmla="*/ 169989 h 259743"/>
                  <a:gd name="connsiteX57" fmla="*/ 211251 w 245460"/>
                  <a:gd name="connsiteY57" fmla="*/ 169724 h 259743"/>
                  <a:gd name="connsiteX58" fmla="*/ 211251 w 245460"/>
                  <a:gd name="connsiteY58" fmla="*/ 168313 h 259743"/>
                  <a:gd name="connsiteX59" fmla="*/ 211251 w 245460"/>
                  <a:gd name="connsiteY59" fmla="*/ 167696 h 259743"/>
                  <a:gd name="connsiteX60" fmla="*/ 213279 w 245460"/>
                  <a:gd name="connsiteY60" fmla="*/ 166815 h 259743"/>
                  <a:gd name="connsiteX61" fmla="*/ 211780 w 245460"/>
                  <a:gd name="connsiteY61" fmla="*/ 164787 h 259743"/>
                  <a:gd name="connsiteX62" fmla="*/ 212927 w 245460"/>
                  <a:gd name="connsiteY62" fmla="*/ 162494 h 259743"/>
                  <a:gd name="connsiteX63" fmla="*/ 215836 w 245460"/>
                  <a:gd name="connsiteY63" fmla="*/ 161877 h 259743"/>
                  <a:gd name="connsiteX64" fmla="*/ 218217 w 245460"/>
                  <a:gd name="connsiteY64" fmla="*/ 164258 h 259743"/>
                  <a:gd name="connsiteX65" fmla="*/ 219363 w 245460"/>
                  <a:gd name="connsiteY65" fmla="*/ 165139 h 259743"/>
                  <a:gd name="connsiteX66" fmla="*/ 220245 w 245460"/>
                  <a:gd name="connsiteY66" fmla="*/ 165139 h 259743"/>
                  <a:gd name="connsiteX67" fmla="*/ 221126 w 245460"/>
                  <a:gd name="connsiteY67" fmla="*/ 166021 h 259743"/>
                  <a:gd name="connsiteX68" fmla="*/ 223154 w 245460"/>
                  <a:gd name="connsiteY68" fmla="*/ 167167 h 259743"/>
                  <a:gd name="connsiteX69" fmla="*/ 224300 w 245460"/>
                  <a:gd name="connsiteY69" fmla="*/ 167167 h 259743"/>
                  <a:gd name="connsiteX70" fmla="*/ 225799 w 245460"/>
                  <a:gd name="connsiteY70" fmla="*/ 167696 h 259743"/>
                  <a:gd name="connsiteX71" fmla="*/ 226945 w 245460"/>
                  <a:gd name="connsiteY71" fmla="*/ 168049 h 259743"/>
                  <a:gd name="connsiteX72" fmla="*/ 227827 w 245460"/>
                  <a:gd name="connsiteY72" fmla="*/ 167432 h 259743"/>
                  <a:gd name="connsiteX73" fmla="*/ 227827 w 245460"/>
                  <a:gd name="connsiteY73" fmla="*/ 168313 h 259743"/>
                  <a:gd name="connsiteX74" fmla="*/ 228444 w 245460"/>
                  <a:gd name="connsiteY74" fmla="*/ 169724 h 259743"/>
                  <a:gd name="connsiteX75" fmla="*/ 229591 w 245460"/>
                  <a:gd name="connsiteY75" fmla="*/ 170341 h 259743"/>
                  <a:gd name="connsiteX76" fmla="*/ 230737 w 245460"/>
                  <a:gd name="connsiteY76" fmla="*/ 171223 h 259743"/>
                  <a:gd name="connsiteX77" fmla="*/ 231354 w 245460"/>
                  <a:gd name="connsiteY77" fmla="*/ 171840 h 259743"/>
                  <a:gd name="connsiteX78" fmla="*/ 232235 w 245460"/>
                  <a:gd name="connsiteY78" fmla="*/ 172457 h 259743"/>
                  <a:gd name="connsiteX79" fmla="*/ 232235 w 245460"/>
                  <a:gd name="connsiteY79" fmla="*/ 173604 h 259743"/>
                  <a:gd name="connsiteX80" fmla="*/ 232500 w 245460"/>
                  <a:gd name="connsiteY80" fmla="*/ 175014 h 259743"/>
                  <a:gd name="connsiteX81" fmla="*/ 232764 w 245460"/>
                  <a:gd name="connsiteY81" fmla="*/ 175279 h 259743"/>
                  <a:gd name="connsiteX82" fmla="*/ 233029 w 245460"/>
                  <a:gd name="connsiteY82" fmla="*/ 177042 h 259743"/>
                  <a:gd name="connsiteX83" fmla="*/ 233293 w 245460"/>
                  <a:gd name="connsiteY83" fmla="*/ 177924 h 259743"/>
                  <a:gd name="connsiteX84" fmla="*/ 235321 w 245460"/>
                  <a:gd name="connsiteY84" fmla="*/ 178805 h 259743"/>
                  <a:gd name="connsiteX85" fmla="*/ 236820 w 245460"/>
                  <a:gd name="connsiteY85" fmla="*/ 179070 h 259743"/>
                  <a:gd name="connsiteX86" fmla="*/ 239113 w 245460"/>
                  <a:gd name="connsiteY86" fmla="*/ 180216 h 259743"/>
                  <a:gd name="connsiteX87" fmla="*/ 240876 w 245460"/>
                  <a:gd name="connsiteY87" fmla="*/ 180481 h 259743"/>
                  <a:gd name="connsiteX88" fmla="*/ 242287 w 245460"/>
                  <a:gd name="connsiteY88" fmla="*/ 178717 h 259743"/>
                  <a:gd name="connsiteX89" fmla="*/ 243168 w 245460"/>
                  <a:gd name="connsiteY89" fmla="*/ 178717 h 259743"/>
                  <a:gd name="connsiteX90" fmla="*/ 244050 w 245460"/>
                  <a:gd name="connsiteY90" fmla="*/ 178100 h 259743"/>
                  <a:gd name="connsiteX91" fmla="*/ 245461 w 245460"/>
                  <a:gd name="connsiteY91" fmla="*/ 176954 h 259743"/>
                  <a:gd name="connsiteX92" fmla="*/ 245196 w 245460"/>
                  <a:gd name="connsiteY92" fmla="*/ 175191 h 259743"/>
                  <a:gd name="connsiteX93" fmla="*/ 244932 w 245460"/>
                  <a:gd name="connsiteY93" fmla="*/ 174926 h 259743"/>
                  <a:gd name="connsiteX94" fmla="*/ 244667 w 245460"/>
                  <a:gd name="connsiteY94" fmla="*/ 173780 h 259743"/>
                  <a:gd name="connsiteX95" fmla="*/ 245284 w 245460"/>
                  <a:gd name="connsiteY95" fmla="*/ 172898 h 259743"/>
                  <a:gd name="connsiteX96" fmla="*/ 245020 w 245460"/>
                  <a:gd name="connsiteY96" fmla="*/ 171399 h 259743"/>
                  <a:gd name="connsiteX97" fmla="*/ 244756 w 245460"/>
                  <a:gd name="connsiteY97" fmla="*/ 170253 h 259743"/>
                  <a:gd name="connsiteX98" fmla="*/ 244226 w 245460"/>
                  <a:gd name="connsiteY98" fmla="*/ 167961 h 259743"/>
                  <a:gd name="connsiteX99" fmla="*/ 241846 w 245460"/>
                  <a:gd name="connsiteY99" fmla="*/ 167079 h 259743"/>
                  <a:gd name="connsiteX100" fmla="*/ 242728 w 245460"/>
                  <a:gd name="connsiteY100" fmla="*/ 165580 h 259743"/>
                  <a:gd name="connsiteX101" fmla="*/ 240964 w 245460"/>
                  <a:gd name="connsiteY101" fmla="*/ 164169 h 259743"/>
                  <a:gd name="connsiteX102" fmla="*/ 238584 w 245460"/>
                  <a:gd name="connsiteY102" fmla="*/ 163905 h 259743"/>
                  <a:gd name="connsiteX103" fmla="*/ 236820 w 245460"/>
                  <a:gd name="connsiteY103" fmla="*/ 162759 h 259743"/>
                  <a:gd name="connsiteX104" fmla="*/ 234792 w 245460"/>
                  <a:gd name="connsiteY104" fmla="*/ 159849 h 259743"/>
                  <a:gd name="connsiteX105" fmla="*/ 233911 w 245460"/>
                  <a:gd name="connsiteY105" fmla="*/ 158086 h 259743"/>
                  <a:gd name="connsiteX106" fmla="*/ 234792 w 245460"/>
                  <a:gd name="connsiteY106" fmla="*/ 157204 h 259743"/>
                  <a:gd name="connsiteX107" fmla="*/ 234792 w 245460"/>
                  <a:gd name="connsiteY107" fmla="*/ 156058 h 259743"/>
                  <a:gd name="connsiteX108" fmla="*/ 232764 w 245460"/>
                  <a:gd name="connsiteY108" fmla="*/ 155794 h 259743"/>
                  <a:gd name="connsiteX109" fmla="*/ 231266 w 245460"/>
                  <a:gd name="connsiteY109" fmla="*/ 156058 h 259743"/>
                  <a:gd name="connsiteX110" fmla="*/ 230384 w 245460"/>
                  <a:gd name="connsiteY110" fmla="*/ 156058 h 259743"/>
                  <a:gd name="connsiteX111" fmla="*/ 228973 w 245460"/>
                  <a:gd name="connsiteY111" fmla="*/ 154912 h 259743"/>
                  <a:gd name="connsiteX112" fmla="*/ 226945 w 245460"/>
                  <a:gd name="connsiteY112" fmla="*/ 154030 h 259743"/>
                  <a:gd name="connsiteX113" fmla="*/ 225535 w 245460"/>
                  <a:gd name="connsiteY113" fmla="*/ 153148 h 259743"/>
                  <a:gd name="connsiteX114" fmla="*/ 224388 w 245460"/>
                  <a:gd name="connsiteY114" fmla="*/ 152002 h 259743"/>
                  <a:gd name="connsiteX115" fmla="*/ 221479 w 245460"/>
                  <a:gd name="connsiteY115" fmla="*/ 150239 h 259743"/>
                  <a:gd name="connsiteX116" fmla="*/ 219980 w 245460"/>
                  <a:gd name="connsiteY116" fmla="*/ 150239 h 259743"/>
                  <a:gd name="connsiteX117" fmla="*/ 217335 w 245460"/>
                  <a:gd name="connsiteY117" fmla="*/ 148740 h 259743"/>
                  <a:gd name="connsiteX118" fmla="*/ 215572 w 245460"/>
                  <a:gd name="connsiteY118" fmla="*/ 147241 h 259743"/>
                  <a:gd name="connsiteX119" fmla="*/ 213808 w 245460"/>
                  <a:gd name="connsiteY119" fmla="*/ 146359 h 259743"/>
                  <a:gd name="connsiteX120" fmla="*/ 212045 w 245460"/>
                  <a:gd name="connsiteY120" fmla="*/ 146095 h 259743"/>
                  <a:gd name="connsiteX121" fmla="*/ 210899 w 245460"/>
                  <a:gd name="connsiteY121" fmla="*/ 144949 h 259743"/>
                  <a:gd name="connsiteX122" fmla="*/ 208871 w 245460"/>
                  <a:gd name="connsiteY122" fmla="*/ 145213 h 259743"/>
                  <a:gd name="connsiteX123" fmla="*/ 207372 w 245460"/>
                  <a:gd name="connsiteY123" fmla="*/ 143714 h 259743"/>
                  <a:gd name="connsiteX124" fmla="*/ 206490 w 245460"/>
                  <a:gd name="connsiteY124" fmla="*/ 142833 h 259743"/>
                  <a:gd name="connsiteX125" fmla="*/ 204727 w 245460"/>
                  <a:gd name="connsiteY125" fmla="*/ 143097 h 259743"/>
                  <a:gd name="connsiteX126" fmla="*/ 203228 w 245460"/>
                  <a:gd name="connsiteY126" fmla="*/ 141951 h 259743"/>
                  <a:gd name="connsiteX127" fmla="*/ 202082 w 245460"/>
                  <a:gd name="connsiteY127" fmla="*/ 142480 h 259743"/>
                  <a:gd name="connsiteX128" fmla="*/ 199701 w 245460"/>
                  <a:gd name="connsiteY128" fmla="*/ 141598 h 259743"/>
                  <a:gd name="connsiteX129" fmla="*/ 198291 w 245460"/>
                  <a:gd name="connsiteY129" fmla="*/ 141246 h 259743"/>
                  <a:gd name="connsiteX130" fmla="*/ 195646 w 245460"/>
                  <a:gd name="connsiteY130" fmla="*/ 140981 h 259743"/>
                  <a:gd name="connsiteX131" fmla="*/ 193000 w 245460"/>
                  <a:gd name="connsiteY131" fmla="*/ 139218 h 259743"/>
                  <a:gd name="connsiteX132" fmla="*/ 190973 w 245460"/>
                  <a:gd name="connsiteY132" fmla="*/ 137190 h 259743"/>
                  <a:gd name="connsiteX133" fmla="*/ 190091 w 245460"/>
                  <a:gd name="connsiteY133" fmla="*/ 135427 h 259743"/>
                  <a:gd name="connsiteX134" fmla="*/ 192119 w 245460"/>
                  <a:gd name="connsiteY134" fmla="*/ 133663 h 259743"/>
                  <a:gd name="connsiteX135" fmla="*/ 192736 w 245460"/>
                  <a:gd name="connsiteY135" fmla="*/ 131018 h 259743"/>
                  <a:gd name="connsiteX136" fmla="*/ 195381 w 245460"/>
                  <a:gd name="connsiteY136" fmla="*/ 130489 h 259743"/>
                  <a:gd name="connsiteX137" fmla="*/ 194764 w 245460"/>
                  <a:gd name="connsiteY137" fmla="*/ 128109 h 259743"/>
                  <a:gd name="connsiteX138" fmla="*/ 195028 w 245460"/>
                  <a:gd name="connsiteY138" fmla="*/ 126345 h 259743"/>
                  <a:gd name="connsiteX139" fmla="*/ 194764 w 245460"/>
                  <a:gd name="connsiteY139" fmla="*/ 125464 h 259743"/>
                  <a:gd name="connsiteX140" fmla="*/ 192383 w 245460"/>
                  <a:gd name="connsiteY140" fmla="*/ 126345 h 259743"/>
                  <a:gd name="connsiteX141" fmla="*/ 190620 w 245460"/>
                  <a:gd name="connsiteY141" fmla="*/ 126345 h 259743"/>
                  <a:gd name="connsiteX142" fmla="*/ 188328 w 245460"/>
                  <a:gd name="connsiteY142" fmla="*/ 126962 h 259743"/>
                  <a:gd name="connsiteX143" fmla="*/ 185418 w 245460"/>
                  <a:gd name="connsiteY143" fmla="*/ 126962 h 259743"/>
                  <a:gd name="connsiteX144" fmla="*/ 182508 w 245460"/>
                  <a:gd name="connsiteY144" fmla="*/ 126698 h 259743"/>
                  <a:gd name="connsiteX145" fmla="*/ 180216 w 245460"/>
                  <a:gd name="connsiteY145" fmla="*/ 126962 h 259743"/>
                  <a:gd name="connsiteX146" fmla="*/ 178188 w 245460"/>
                  <a:gd name="connsiteY146" fmla="*/ 126345 h 259743"/>
                  <a:gd name="connsiteX147" fmla="*/ 175279 w 245460"/>
                  <a:gd name="connsiteY147" fmla="*/ 125464 h 259743"/>
                  <a:gd name="connsiteX148" fmla="*/ 173251 w 245460"/>
                  <a:gd name="connsiteY148" fmla="*/ 125464 h 259743"/>
                  <a:gd name="connsiteX149" fmla="*/ 170341 w 245460"/>
                  <a:gd name="connsiteY149" fmla="*/ 124317 h 259743"/>
                  <a:gd name="connsiteX150" fmla="*/ 167961 w 245460"/>
                  <a:gd name="connsiteY150" fmla="*/ 121672 h 259743"/>
                  <a:gd name="connsiteX151" fmla="*/ 164787 w 245460"/>
                  <a:gd name="connsiteY151" fmla="*/ 119909 h 259743"/>
                  <a:gd name="connsiteX152" fmla="*/ 160378 w 245460"/>
                  <a:gd name="connsiteY152" fmla="*/ 119027 h 259743"/>
                  <a:gd name="connsiteX153" fmla="*/ 163552 w 245460"/>
                  <a:gd name="connsiteY153" fmla="*/ 118146 h 259743"/>
                  <a:gd name="connsiteX154" fmla="*/ 160026 w 245460"/>
                  <a:gd name="connsiteY154" fmla="*/ 116118 h 259743"/>
                  <a:gd name="connsiteX155" fmla="*/ 157998 w 245460"/>
                  <a:gd name="connsiteY155" fmla="*/ 114354 h 259743"/>
                  <a:gd name="connsiteX156" fmla="*/ 158527 w 245460"/>
                  <a:gd name="connsiteY156" fmla="*/ 114883 h 259743"/>
                  <a:gd name="connsiteX157" fmla="*/ 157998 w 245460"/>
                  <a:gd name="connsiteY157" fmla="*/ 113120 h 259743"/>
                  <a:gd name="connsiteX158" fmla="*/ 156852 w 245460"/>
                  <a:gd name="connsiteY158" fmla="*/ 112503 h 259743"/>
                  <a:gd name="connsiteX159" fmla="*/ 155705 w 245460"/>
                  <a:gd name="connsiteY159" fmla="*/ 111974 h 259743"/>
                  <a:gd name="connsiteX160" fmla="*/ 155441 w 245460"/>
                  <a:gd name="connsiteY160" fmla="*/ 111974 h 259743"/>
                  <a:gd name="connsiteX161" fmla="*/ 154824 w 245460"/>
                  <a:gd name="connsiteY161" fmla="*/ 111357 h 259743"/>
                  <a:gd name="connsiteX162" fmla="*/ 153060 w 245460"/>
                  <a:gd name="connsiteY162" fmla="*/ 111092 h 259743"/>
                  <a:gd name="connsiteX163" fmla="*/ 152443 w 245460"/>
                  <a:gd name="connsiteY163" fmla="*/ 109329 h 259743"/>
                  <a:gd name="connsiteX164" fmla="*/ 152708 w 245460"/>
                  <a:gd name="connsiteY164" fmla="*/ 108447 h 259743"/>
                  <a:gd name="connsiteX165" fmla="*/ 152090 w 245460"/>
                  <a:gd name="connsiteY165" fmla="*/ 107918 h 259743"/>
                  <a:gd name="connsiteX166" fmla="*/ 150944 w 245460"/>
                  <a:gd name="connsiteY166" fmla="*/ 106772 h 259743"/>
                  <a:gd name="connsiteX167" fmla="*/ 150944 w 245460"/>
                  <a:gd name="connsiteY167" fmla="*/ 105626 h 259743"/>
                  <a:gd name="connsiteX168" fmla="*/ 149710 w 245460"/>
                  <a:gd name="connsiteY168" fmla="*/ 104479 h 259743"/>
                  <a:gd name="connsiteX169" fmla="*/ 149710 w 245460"/>
                  <a:gd name="connsiteY169" fmla="*/ 103333 h 259743"/>
                  <a:gd name="connsiteX170" fmla="*/ 148828 w 245460"/>
                  <a:gd name="connsiteY170" fmla="*/ 102452 h 259743"/>
                  <a:gd name="connsiteX171" fmla="*/ 148828 w 245460"/>
                  <a:gd name="connsiteY171" fmla="*/ 101305 h 259743"/>
                  <a:gd name="connsiteX172" fmla="*/ 148564 w 245460"/>
                  <a:gd name="connsiteY172" fmla="*/ 100424 h 259743"/>
                  <a:gd name="connsiteX173" fmla="*/ 148299 w 245460"/>
                  <a:gd name="connsiteY173" fmla="*/ 99895 h 259743"/>
                  <a:gd name="connsiteX174" fmla="*/ 147418 w 245460"/>
                  <a:gd name="connsiteY174" fmla="*/ 99630 h 259743"/>
                  <a:gd name="connsiteX175" fmla="*/ 146536 w 245460"/>
                  <a:gd name="connsiteY175" fmla="*/ 98131 h 259743"/>
                  <a:gd name="connsiteX176" fmla="*/ 145654 w 245460"/>
                  <a:gd name="connsiteY176" fmla="*/ 97250 h 259743"/>
                  <a:gd name="connsiteX177" fmla="*/ 145654 w 245460"/>
                  <a:gd name="connsiteY177" fmla="*/ 96103 h 259743"/>
                  <a:gd name="connsiteX178" fmla="*/ 144508 w 245460"/>
                  <a:gd name="connsiteY178" fmla="*/ 94340 h 259743"/>
                  <a:gd name="connsiteX179" fmla="*/ 145125 w 245460"/>
                  <a:gd name="connsiteY179" fmla="*/ 93458 h 259743"/>
                  <a:gd name="connsiteX180" fmla="*/ 144243 w 245460"/>
                  <a:gd name="connsiteY180" fmla="*/ 91960 h 259743"/>
                  <a:gd name="connsiteX181" fmla="*/ 143979 w 245460"/>
                  <a:gd name="connsiteY181" fmla="*/ 91078 h 259743"/>
                  <a:gd name="connsiteX182" fmla="*/ 143362 w 245460"/>
                  <a:gd name="connsiteY182" fmla="*/ 90196 h 259743"/>
                  <a:gd name="connsiteX183" fmla="*/ 142833 w 245460"/>
                  <a:gd name="connsiteY183" fmla="*/ 89315 h 259743"/>
                  <a:gd name="connsiteX184" fmla="*/ 143362 w 245460"/>
                  <a:gd name="connsiteY184" fmla="*/ 88433 h 259743"/>
                  <a:gd name="connsiteX185" fmla="*/ 142480 w 245460"/>
                  <a:gd name="connsiteY185" fmla="*/ 87287 h 259743"/>
                  <a:gd name="connsiteX186" fmla="*/ 141598 w 245460"/>
                  <a:gd name="connsiteY186" fmla="*/ 87022 h 259743"/>
                  <a:gd name="connsiteX187" fmla="*/ 141598 w 245460"/>
                  <a:gd name="connsiteY187" fmla="*/ 86405 h 259743"/>
                  <a:gd name="connsiteX188" fmla="*/ 141334 w 245460"/>
                  <a:gd name="connsiteY188" fmla="*/ 85523 h 259743"/>
                  <a:gd name="connsiteX189" fmla="*/ 140717 w 245460"/>
                  <a:gd name="connsiteY189" fmla="*/ 85259 h 259743"/>
                  <a:gd name="connsiteX190" fmla="*/ 140452 w 245460"/>
                  <a:gd name="connsiteY190" fmla="*/ 84377 h 259743"/>
                  <a:gd name="connsiteX191" fmla="*/ 139835 w 245460"/>
                  <a:gd name="connsiteY191" fmla="*/ 83231 h 259743"/>
                  <a:gd name="connsiteX192" fmla="*/ 138424 w 245460"/>
                  <a:gd name="connsiteY192" fmla="*/ 82966 h 259743"/>
                  <a:gd name="connsiteX193" fmla="*/ 136925 w 245460"/>
                  <a:gd name="connsiteY193" fmla="*/ 82349 h 259743"/>
                  <a:gd name="connsiteX194" fmla="*/ 135779 w 245460"/>
                  <a:gd name="connsiteY194" fmla="*/ 81732 h 259743"/>
                  <a:gd name="connsiteX195" fmla="*/ 134369 w 245460"/>
                  <a:gd name="connsiteY195" fmla="*/ 81468 h 259743"/>
                  <a:gd name="connsiteX196" fmla="*/ 132870 w 245460"/>
                  <a:gd name="connsiteY196" fmla="*/ 80321 h 259743"/>
                  <a:gd name="connsiteX197" fmla="*/ 131988 w 245460"/>
                  <a:gd name="connsiteY197" fmla="*/ 79440 h 259743"/>
                  <a:gd name="connsiteX198" fmla="*/ 131106 w 245460"/>
                  <a:gd name="connsiteY198" fmla="*/ 78823 h 259743"/>
                  <a:gd name="connsiteX199" fmla="*/ 130842 w 245460"/>
                  <a:gd name="connsiteY199" fmla="*/ 78558 h 259743"/>
                  <a:gd name="connsiteX200" fmla="*/ 129960 w 245460"/>
                  <a:gd name="connsiteY200" fmla="*/ 77412 h 259743"/>
                  <a:gd name="connsiteX201" fmla="*/ 129343 w 245460"/>
                  <a:gd name="connsiteY201" fmla="*/ 77676 h 259743"/>
                  <a:gd name="connsiteX202" fmla="*/ 128197 w 245460"/>
                  <a:gd name="connsiteY202" fmla="*/ 77412 h 259743"/>
                  <a:gd name="connsiteX203" fmla="*/ 128197 w 245460"/>
                  <a:gd name="connsiteY203" fmla="*/ 76795 h 259743"/>
                  <a:gd name="connsiteX204" fmla="*/ 126169 w 245460"/>
                  <a:gd name="connsiteY204" fmla="*/ 76177 h 259743"/>
                  <a:gd name="connsiteX205" fmla="*/ 125023 w 245460"/>
                  <a:gd name="connsiteY205" fmla="*/ 75296 h 259743"/>
                  <a:gd name="connsiteX206" fmla="*/ 124141 w 245460"/>
                  <a:gd name="connsiteY206" fmla="*/ 74414 h 259743"/>
                  <a:gd name="connsiteX207" fmla="*/ 123259 w 245460"/>
                  <a:gd name="connsiteY207" fmla="*/ 73532 h 259743"/>
                  <a:gd name="connsiteX208" fmla="*/ 122995 w 245460"/>
                  <a:gd name="connsiteY208" fmla="*/ 72915 h 259743"/>
                  <a:gd name="connsiteX209" fmla="*/ 121849 w 245460"/>
                  <a:gd name="connsiteY209" fmla="*/ 73180 h 259743"/>
                  <a:gd name="connsiteX210" fmla="*/ 121584 w 245460"/>
                  <a:gd name="connsiteY210" fmla="*/ 72298 h 259743"/>
                  <a:gd name="connsiteX211" fmla="*/ 120703 w 245460"/>
                  <a:gd name="connsiteY211" fmla="*/ 72034 h 259743"/>
                  <a:gd name="connsiteX212" fmla="*/ 120438 w 245460"/>
                  <a:gd name="connsiteY212" fmla="*/ 71769 h 259743"/>
                  <a:gd name="connsiteX213" fmla="*/ 119821 w 245460"/>
                  <a:gd name="connsiteY213" fmla="*/ 71769 h 259743"/>
                  <a:gd name="connsiteX214" fmla="*/ 119821 w 245460"/>
                  <a:gd name="connsiteY214" fmla="*/ 70887 h 259743"/>
                  <a:gd name="connsiteX215" fmla="*/ 119204 w 245460"/>
                  <a:gd name="connsiteY215" fmla="*/ 69741 h 259743"/>
                  <a:gd name="connsiteX216" fmla="*/ 118586 w 245460"/>
                  <a:gd name="connsiteY216" fmla="*/ 70006 h 259743"/>
                  <a:gd name="connsiteX217" fmla="*/ 117705 w 245460"/>
                  <a:gd name="connsiteY217" fmla="*/ 69388 h 259743"/>
                  <a:gd name="connsiteX218" fmla="*/ 118586 w 245460"/>
                  <a:gd name="connsiteY218" fmla="*/ 68771 h 259743"/>
                  <a:gd name="connsiteX219" fmla="*/ 116823 w 245460"/>
                  <a:gd name="connsiteY219" fmla="*/ 68771 h 259743"/>
                  <a:gd name="connsiteX220" fmla="*/ 115941 w 245460"/>
                  <a:gd name="connsiteY220" fmla="*/ 68154 h 259743"/>
                  <a:gd name="connsiteX221" fmla="*/ 115060 w 245460"/>
                  <a:gd name="connsiteY221" fmla="*/ 67273 h 259743"/>
                  <a:gd name="connsiteX222" fmla="*/ 114178 w 245460"/>
                  <a:gd name="connsiteY222" fmla="*/ 66126 h 259743"/>
                  <a:gd name="connsiteX223" fmla="*/ 113913 w 245460"/>
                  <a:gd name="connsiteY223" fmla="*/ 65245 h 259743"/>
                  <a:gd name="connsiteX224" fmla="*/ 113913 w 245460"/>
                  <a:gd name="connsiteY224" fmla="*/ 63746 h 259743"/>
                  <a:gd name="connsiteX225" fmla="*/ 113296 w 245460"/>
                  <a:gd name="connsiteY225" fmla="*/ 62864 h 259743"/>
                  <a:gd name="connsiteX226" fmla="*/ 112679 w 245460"/>
                  <a:gd name="connsiteY226" fmla="*/ 61982 h 259743"/>
                  <a:gd name="connsiteX227" fmla="*/ 113296 w 245460"/>
                  <a:gd name="connsiteY227" fmla="*/ 60836 h 259743"/>
                  <a:gd name="connsiteX228" fmla="*/ 112415 w 245460"/>
                  <a:gd name="connsiteY228" fmla="*/ 59955 h 259743"/>
                  <a:gd name="connsiteX229" fmla="*/ 112415 w 245460"/>
                  <a:gd name="connsiteY229" fmla="*/ 59073 h 259743"/>
                  <a:gd name="connsiteX230" fmla="*/ 111797 w 245460"/>
                  <a:gd name="connsiteY230" fmla="*/ 57574 h 259743"/>
                  <a:gd name="connsiteX231" fmla="*/ 112415 w 245460"/>
                  <a:gd name="connsiteY231" fmla="*/ 56428 h 259743"/>
                  <a:gd name="connsiteX232" fmla="*/ 111533 w 245460"/>
                  <a:gd name="connsiteY232" fmla="*/ 55017 h 259743"/>
                  <a:gd name="connsiteX233" fmla="*/ 113296 w 245460"/>
                  <a:gd name="connsiteY233" fmla="*/ 55017 h 259743"/>
                  <a:gd name="connsiteX234" fmla="*/ 113032 w 245460"/>
                  <a:gd name="connsiteY234" fmla="*/ 54400 h 259743"/>
                  <a:gd name="connsiteX235" fmla="*/ 113913 w 245460"/>
                  <a:gd name="connsiteY235" fmla="*/ 53518 h 259743"/>
                  <a:gd name="connsiteX236" fmla="*/ 113649 w 245460"/>
                  <a:gd name="connsiteY236" fmla="*/ 52901 h 259743"/>
                  <a:gd name="connsiteX237" fmla="*/ 113649 w 245460"/>
                  <a:gd name="connsiteY237" fmla="*/ 51755 h 259743"/>
                  <a:gd name="connsiteX238" fmla="*/ 114266 w 245460"/>
                  <a:gd name="connsiteY238" fmla="*/ 51490 h 259743"/>
                  <a:gd name="connsiteX239" fmla="*/ 114883 w 245460"/>
                  <a:gd name="connsiteY239" fmla="*/ 52108 h 259743"/>
                  <a:gd name="connsiteX240" fmla="*/ 115765 w 245460"/>
                  <a:gd name="connsiteY240" fmla="*/ 51490 h 259743"/>
                  <a:gd name="connsiteX241" fmla="*/ 116382 w 245460"/>
                  <a:gd name="connsiteY241" fmla="*/ 51226 h 259743"/>
                  <a:gd name="connsiteX242" fmla="*/ 117264 w 245460"/>
                  <a:gd name="connsiteY242" fmla="*/ 50609 h 259743"/>
                  <a:gd name="connsiteX243" fmla="*/ 117264 w 245460"/>
                  <a:gd name="connsiteY243" fmla="*/ 51490 h 259743"/>
                  <a:gd name="connsiteX244" fmla="*/ 117528 w 245460"/>
                  <a:gd name="connsiteY244" fmla="*/ 51755 h 259743"/>
                  <a:gd name="connsiteX245" fmla="*/ 118146 w 245460"/>
                  <a:gd name="connsiteY245" fmla="*/ 50609 h 259743"/>
                  <a:gd name="connsiteX246" fmla="*/ 117881 w 245460"/>
                  <a:gd name="connsiteY246" fmla="*/ 49727 h 259743"/>
                  <a:gd name="connsiteX247" fmla="*/ 116999 w 245460"/>
                  <a:gd name="connsiteY247" fmla="*/ 48581 h 259743"/>
                  <a:gd name="connsiteX248" fmla="*/ 117617 w 245460"/>
                  <a:gd name="connsiteY248" fmla="*/ 46817 h 259743"/>
                  <a:gd name="connsiteX249" fmla="*/ 116999 w 245460"/>
                  <a:gd name="connsiteY249" fmla="*/ 46553 h 259743"/>
                  <a:gd name="connsiteX250" fmla="*/ 116382 w 245460"/>
                  <a:gd name="connsiteY250" fmla="*/ 45936 h 259743"/>
                  <a:gd name="connsiteX251" fmla="*/ 116030 w 245460"/>
                  <a:gd name="connsiteY251" fmla="*/ 45671 h 259743"/>
                  <a:gd name="connsiteX252" fmla="*/ 114002 w 245460"/>
                  <a:gd name="connsiteY252" fmla="*/ 44790 h 259743"/>
                  <a:gd name="connsiteX253" fmla="*/ 112591 w 245460"/>
                  <a:gd name="connsiteY253" fmla="*/ 43291 h 259743"/>
                  <a:gd name="connsiteX254" fmla="*/ 111445 w 245460"/>
                  <a:gd name="connsiteY254" fmla="*/ 42409 h 259743"/>
                  <a:gd name="connsiteX255" fmla="*/ 110299 w 245460"/>
                  <a:gd name="connsiteY255" fmla="*/ 43026 h 259743"/>
                  <a:gd name="connsiteX256" fmla="*/ 109417 w 245460"/>
                  <a:gd name="connsiteY256" fmla="*/ 43026 h 259743"/>
                  <a:gd name="connsiteX257" fmla="*/ 109417 w 245460"/>
                  <a:gd name="connsiteY257" fmla="*/ 42144 h 259743"/>
                  <a:gd name="connsiteX258" fmla="*/ 109417 w 245460"/>
                  <a:gd name="connsiteY258" fmla="*/ 42409 h 259743"/>
                  <a:gd name="connsiteX259" fmla="*/ 109681 w 245460"/>
                  <a:gd name="connsiteY259" fmla="*/ 41527 h 259743"/>
                  <a:gd name="connsiteX260" fmla="*/ 110563 w 245460"/>
                  <a:gd name="connsiteY260" fmla="*/ 40646 h 259743"/>
                  <a:gd name="connsiteX261" fmla="*/ 110299 w 245460"/>
                  <a:gd name="connsiteY261" fmla="*/ 39764 h 259743"/>
                  <a:gd name="connsiteX262" fmla="*/ 112062 w 245460"/>
                  <a:gd name="connsiteY262" fmla="*/ 40381 h 259743"/>
                  <a:gd name="connsiteX263" fmla="*/ 114090 w 245460"/>
                  <a:gd name="connsiteY263" fmla="*/ 38089 h 259743"/>
                  <a:gd name="connsiteX264" fmla="*/ 116470 w 245460"/>
                  <a:gd name="connsiteY264" fmla="*/ 38618 h 259743"/>
                  <a:gd name="connsiteX265" fmla="*/ 120526 w 245460"/>
                  <a:gd name="connsiteY265" fmla="*/ 38353 h 259743"/>
                  <a:gd name="connsiteX266" fmla="*/ 120791 w 245460"/>
                  <a:gd name="connsiteY266" fmla="*/ 38089 h 259743"/>
                  <a:gd name="connsiteX267" fmla="*/ 122554 w 245460"/>
                  <a:gd name="connsiteY267" fmla="*/ 36325 h 259743"/>
                  <a:gd name="connsiteX268" fmla="*/ 125199 w 245460"/>
                  <a:gd name="connsiteY268" fmla="*/ 36061 h 259743"/>
                  <a:gd name="connsiteX269" fmla="*/ 126081 w 245460"/>
                  <a:gd name="connsiteY269" fmla="*/ 36325 h 259743"/>
                  <a:gd name="connsiteX270" fmla="*/ 127227 w 245460"/>
                  <a:gd name="connsiteY270" fmla="*/ 36061 h 259743"/>
                  <a:gd name="connsiteX271" fmla="*/ 128109 w 245460"/>
                  <a:gd name="connsiteY271" fmla="*/ 34033 h 259743"/>
                  <a:gd name="connsiteX272" fmla="*/ 126698 w 245460"/>
                  <a:gd name="connsiteY272" fmla="*/ 34562 h 259743"/>
                  <a:gd name="connsiteX273" fmla="*/ 126698 w 245460"/>
                  <a:gd name="connsiteY273" fmla="*/ 34297 h 259743"/>
                  <a:gd name="connsiteX274" fmla="*/ 126081 w 245460"/>
                  <a:gd name="connsiteY274" fmla="*/ 34033 h 259743"/>
                  <a:gd name="connsiteX275" fmla="*/ 126698 w 245460"/>
                  <a:gd name="connsiteY275" fmla="*/ 33151 h 259743"/>
                  <a:gd name="connsiteX276" fmla="*/ 127580 w 245460"/>
                  <a:gd name="connsiteY276" fmla="*/ 33151 h 259743"/>
                  <a:gd name="connsiteX277" fmla="*/ 127844 w 245460"/>
                  <a:gd name="connsiteY277" fmla="*/ 32622 h 259743"/>
                  <a:gd name="connsiteX278" fmla="*/ 127844 w 245460"/>
                  <a:gd name="connsiteY278" fmla="*/ 32358 h 259743"/>
                  <a:gd name="connsiteX279" fmla="*/ 128990 w 245460"/>
                  <a:gd name="connsiteY279" fmla="*/ 32093 h 259743"/>
                  <a:gd name="connsiteX280" fmla="*/ 129255 w 245460"/>
                  <a:gd name="connsiteY280" fmla="*/ 32358 h 259743"/>
                  <a:gd name="connsiteX281" fmla="*/ 129519 w 245460"/>
                  <a:gd name="connsiteY281" fmla="*/ 33240 h 259743"/>
                  <a:gd name="connsiteX282" fmla="*/ 130137 w 245460"/>
                  <a:gd name="connsiteY282" fmla="*/ 33504 h 259743"/>
                  <a:gd name="connsiteX283" fmla="*/ 132517 w 245460"/>
                  <a:gd name="connsiteY283" fmla="*/ 33240 h 259743"/>
                  <a:gd name="connsiteX284" fmla="*/ 133134 w 245460"/>
                  <a:gd name="connsiteY284" fmla="*/ 34121 h 259743"/>
                  <a:gd name="connsiteX285" fmla="*/ 132517 w 245460"/>
                  <a:gd name="connsiteY285" fmla="*/ 34650 h 259743"/>
                  <a:gd name="connsiteX286" fmla="*/ 132253 w 245460"/>
                  <a:gd name="connsiteY286" fmla="*/ 35532 h 259743"/>
                  <a:gd name="connsiteX287" fmla="*/ 132517 w 245460"/>
                  <a:gd name="connsiteY287" fmla="*/ 36149 h 259743"/>
                  <a:gd name="connsiteX288" fmla="*/ 132782 w 245460"/>
                  <a:gd name="connsiteY288" fmla="*/ 35532 h 259743"/>
                  <a:gd name="connsiteX289" fmla="*/ 133046 w 245460"/>
                  <a:gd name="connsiteY289" fmla="*/ 35796 h 259743"/>
                  <a:gd name="connsiteX290" fmla="*/ 133928 w 245460"/>
                  <a:gd name="connsiteY290" fmla="*/ 34033 h 259743"/>
                  <a:gd name="connsiteX291" fmla="*/ 134192 w 245460"/>
                  <a:gd name="connsiteY291" fmla="*/ 33151 h 259743"/>
                  <a:gd name="connsiteX292" fmla="*/ 133928 w 245460"/>
                  <a:gd name="connsiteY292" fmla="*/ 33416 h 259743"/>
                  <a:gd name="connsiteX293" fmla="*/ 133663 w 245460"/>
                  <a:gd name="connsiteY293" fmla="*/ 33151 h 259743"/>
                  <a:gd name="connsiteX294" fmla="*/ 133399 w 245460"/>
                  <a:gd name="connsiteY294" fmla="*/ 32887 h 259743"/>
                  <a:gd name="connsiteX295" fmla="*/ 134016 w 245460"/>
                  <a:gd name="connsiteY295" fmla="*/ 32622 h 259743"/>
                  <a:gd name="connsiteX296" fmla="*/ 134281 w 245460"/>
                  <a:gd name="connsiteY296" fmla="*/ 32005 h 259743"/>
                  <a:gd name="connsiteX297" fmla="*/ 136573 w 245460"/>
                  <a:gd name="connsiteY297" fmla="*/ 32887 h 259743"/>
                  <a:gd name="connsiteX298" fmla="*/ 137719 w 245460"/>
                  <a:gd name="connsiteY298" fmla="*/ 32887 h 259743"/>
                  <a:gd name="connsiteX299" fmla="*/ 138336 w 245460"/>
                  <a:gd name="connsiteY299" fmla="*/ 33151 h 259743"/>
                  <a:gd name="connsiteX300" fmla="*/ 138336 w 245460"/>
                  <a:gd name="connsiteY300" fmla="*/ 34033 h 259743"/>
                  <a:gd name="connsiteX301" fmla="*/ 138601 w 245460"/>
                  <a:gd name="connsiteY301" fmla="*/ 34562 h 259743"/>
                  <a:gd name="connsiteX302" fmla="*/ 139218 w 245460"/>
                  <a:gd name="connsiteY302" fmla="*/ 35179 h 259743"/>
                  <a:gd name="connsiteX303" fmla="*/ 139482 w 245460"/>
                  <a:gd name="connsiteY303" fmla="*/ 35444 h 259743"/>
                  <a:gd name="connsiteX304" fmla="*/ 139218 w 245460"/>
                  <a:gd name="connsiteY304" fmla="*/ 36061 h 259743"/>
                  <a:gd name="connsiteX305" fmla="*/ 140099 w 245460"/>
                  <a:gd name="connsiteY305" fmla="*/ 36325 h 259743"/>
                  <a:gd name="connsiteX306" fmla="*/ 140981 w 245460"/>
                  <a:gd name="connsiteY306" fmla="*/ 36061 h 259743"/>
                  <a:gd name="connsiteX307" fmla="*/ 140981 w 245460"/>
                  <a:gd name="connsiteY307" fmla="*/ 35179 h 259743"/>
                  <a:gd name="connsiteX308" fmla="*/ 140364 w 245460"/>
                  <a:gd name="connsiteY308" fmla="*/ 33151 h 259743"/>
                  <a:gd name="connsiteX309" fmla="*/ 139218 w 245460"/>
                  <a:gd name="connsiteY309" fmla="*/ 32622 h 259743"/>
                  <a:gd name="connsiteX310" fmla="*/ 138336 w 245460"/>
                  <a:gd name="connsiteY310" fmla="*/ 32005 h 259743"/>
                  <a:gd name="connsiteX311" fmla="*/ 137454 w 245460"/>
                  <a:gd name="connsiteY311" fmla="*/ 32005 h 259743"/>
                  <a:gd name="connsiteX312" fmla="*/ 136308 w 245460"/>
                  <a:gd name="connsiteY312" fmla="*/ 31388 h 259743"/>
                  <a:gd name="connsiteX313" fmla="*/ 136044 w 245460"/>
                  <a:gd name="connsiteY313" fmla="*/ 30771 h 259743"/>
                  <a:gd name="connsiteX314" fmla="*/ 137543 w 245460"/>
                  <a:gd name="connsiteY314" fmla="*/ 28126 h 259743"/>
                  <a:gd name="connsiteX315" fmla="*/ 136925 w 245460"/>
                  <a:gd name="connsiteY315" fmla="*/ 26980 h 259743"/>
                  <a:gd name="connsiteX316" fmla="*/ 135779 w 245460"/>
                  <a:gd name="connsiteY316" fmla="*/ 26980 h 259743"/>
                  <a:gd name="connsiteX317" fmla="*/ 134016 w 245460"/>
                  <a:gd name="connsiteY317" fmla="*/ 27861 h 259743"/>
                  <a:gd name="connsiteX318" fmla="*/ 132870 w 245460"/>
                  <a:gd name="connsiteY318" fmla="*/ 25833 h 259743"/>
                  <a:gd name="connsiteX319" fmla="*/ 133134 w 245460"/>
                  <a:gd name="connsiteY319" fmla="*/ 25216 h 259743"/>
                  <a:gd name="connsiteX320" fmla="*/ 136044 w 245460"/>
                  <a:gd name="connsiteY320" fmla="*/ 24334 h 259743"/>
                  <a:gd name="connsiteX321" fmla="*/ 136925 w 245460"/>
                  <a:gd name="connsiteY321" fmla="*/ 21954 h 259743"/>
                  <a:gd name="connsiteX322" fmla="*/ 135427 w 245460"/>
                  <a:gd name="connsiteY322" fmla="*/ 21954 h 259743"/>
                  <a:gd name="connsiteX323" fmla="*/ 133663 w 245460"/>
                  <a:gd name="connsiteY323" fmla="*/ 21689 h 259743"/>
                  <a:gd name="connsiteX324" fmla="*/ 132517 w 245460"/>
                  <a:gd name="connsiteY324" fmla="*/ 20808 h 259743"/>
                  <a:gd name="connsiteX325" fmla="*/ 132253 w 245460"/>
                  <a:gd name="connsiteY325" fmla="*/ 20808 h 259743"/>
                  <a:gd name="connsiteX326" fmla="*/ 132517 w 245460"/>
                  <a:gd name="connsiteY326" fmla="*/ 21425 h 259743"/>
                  <a:gd name="connsiteX327" fmla="*/ 132253 w 245460"/>
                  <a:gd name="connsiteY327" fmla="*/ 21425 h 259743"/>
                  <a:gd name="connsiteX328" fmla="*/ 131988 w 245460"/>
                  <a:gd name="connsiteY328" fmla="*/ 21072 h 259743"/>
                  <a:gd name="connsiteX329" fmla="*/ 131724 w 245460"/>
                  <a:gd name="connsiteY329" fmla="*/ 20455 h 259743"/>
                  <a:gd name="connsiteX330" fmla="*/ 131724 w 245460"/>
                  <a:gd name="connsiteY330" fmla="*/ 20191 h 259743"/>
                  <a:gd name="connsiteX331" fmla="*/ 132605 w 245460"/>
                  <a:gd name="connsiteY331" fmla="*/ 19309 h 259743"/>
                  <a:gd name="connsiteX332" fmla="*/ 132605 w 245460"/>
                  <a:gd name="connsiteY332" fmla="*/ 18163 h 259743"/>
                  <a:gd name="connsiteX333" fmla="*/ 135250 w 245460"/>
                  <a:gd name="connsiteY333" fmla="*/ 17898 h 259743"/>
                  <a:gd name="connsiteX334" fmla="*/ 135515 w 245460"/>
                  <a:gd name="connsiteY334" fmla="*/ 17016 h 259743"/>
                  <a:gd name="connsiteX335" fmla="*/ 136661 w 245460"/>
                  <a:gd name="connsiteY335" fmla="*/ 16399 h 259743"/>
                  <a:gd name="connsiteX336" fmla="*/ 137278 w 245460"/>
                  <a:gd name="connsiteY336" fmla="*/ 14019 h 259743"/>
                  <a:gd name="connsiteX337" fmla="*/ 132870 w 245460"/>
                  <a:gd name="connsiteY337" fmla="*/ 13137 h 259743"/>
                  <a:gd name="connsiteX338" fmla="*/ 131724 w 245460"/>
                  <a:gd name="connsiteY338" fmla="*/ 13137 h 259743"/>
                  <a:gd name="connsiteX339" fmla="*/ 131106 w 245460"/>
                  <a:gd name="connsiteY339" fmla="*/ 11991 h 259743"/>
                  <a:gd name="connsiteX340" fmla="*/ 128814 w 245460"/>
                  <a:gd name="connsiteY340" fmla="*/ 13137 h 259743"/>
                  <a:gd name="connsiteX341" fmla="*/ 128549 w 245460"/>
                  <a:gd name="connsiteY341" fmla="*/ 13137 h 259743"/>
                  <a:gd name="connsiteX342" fmla="*/ 126169 w 245460"/>
                  <a:gd name="connsiteY342" fmla="*/ 11991 h 259743"/>
                  <a:gd name="connsiteX343" fmla="*/ 119468 w 245460"/>
                  <a:gd name="connsiteY343" fmla="*/ 11109 h 259743"/>
                  <a:gd name="connsiteX344" fmla="*/ 118851 w 245460"/>
                  <a:gd name="connsiteY344" fmla="*/ 10845 h 259743"/>
                  <a:gd name="connsiteX345" fmla="*/ 118586 w 245460"/>
                  <a:gd name="connsiteY345" fmla="*/ 11109 h 259743"/>
                  <a:gd name="connsiteX346" fmla="*/ 115941 w 245460"/>
                  <a:gd name="connsiteY346" fmla="*/ 10845 h 259743"/>
                  <a:gd name="connsiteX347" fmla="*/ 114795 w 245460"/>
                  <a:gd name="connsiteY347" fmla="*/ 10845 h 259743"/>
                  <a:gd name="connsiteX348" fmla="*/ 111268 w 245460"/>
                  <a:gd name="connsiteY348" fmla="*/ 9346 h 259743"/>
                  <a:gd name="connsiteX349" fmla="*/ 109240 w 245460"/>
                  <a:gd name="connsiteY349" fmla="*/ 6965 h 259743"/>
                  <a:gd name="connsiteX350" fmla="*/ 108711 w 245460"/>
                  <a:gd name="connsiteY350" fmla="*/ 5819 h 259743"/>
                  <a:gd name="connsiteX351" fmla="*/ 108095 w 245460"/>
                  <a:gd name="connsiteY351" fmla="*/ 5290 h 259743"/>
                  <a:gd name="connsiteX352" fmla="*/ 107565 w 245460"/>
                  <a:gd name="connsiteY352" fmla="*/ 5026 h 259743"/>
                  <a:gd name="connsiteX353" fmla="*/ 106067 w 245460"/>
                  <a:gd name="connsiteY353" fmla="*/ 4761 h 259743"/>
                  <a:gd name="connsiteX354" fmla="*/ 105185 w 245460"/>
                  <a:gd name="connsiteY354" fmla="*/ 4497 h 259743"/>
                  <a:gd name="connsiteX355" fmla="*/ 105802 w 245460"/>
                  <a:gd name="connsiteY355" fmla="*/ 3879 h 259743"/>
                  <a:gd name="connsiteX356" fmla="*/ 105185 w 245460"/>
                  <a:gd name="connsiteY356" fmla="*/ 3262 h 259743"/>
                  <a:gd name="connsiteX357" fmla="*/ 105449 w 245460"/>
                  <a:gd name="connsiteY357" fmla="*/ 1763 h 259743"/>
                  <a:gd name="connsiteX358" fmla="*/ 107213 w 245460"/>
                  <a:gd name="connsiteY358" fmla="*/ 882 h 259743"/>
                  <a:gd name="connsiteX359" fmla="*/ 105449 w 245460"/>
                  <a:gd name="connsiteY359" fmla="*/ 0 h 259743"/>
                  <a:gd name="connsiteX360" fmla="*/ 105185 w 245460"/>
                  <a:gd name="connsiteY360" fmla="*/ 882 h 259743"/>
                  <a:gd name="connsiteX361" fmla="*/ 104039 w 245460"/>
                  <a:gd name="connsiteY361" fmla="*/ 617 h 259743"/>
                  <a:gd name="connsiteX362" fmla="*/ 102011 w 245460"/>
                  <a:gd name="connsiteY362" fmla="*/ 882 h 259743"/>
                  <a:gd name="connsiteX363" fmla="*/ 99101 w 245460"/>
                  <a:gd name="connsiteY363" fmla="*/ 2645 h 259743"/>
                  <a:gd name="connsiteX364" fmla="*/ 95574 w 245460"/>
                  <a:gd name="connsiteY364" fmla="*/ 2028 h 259743"/>
                  <a:gd name="connsiteX365" fmla="*/ 92665 w 245460"/>
                  <a:gd name="connsiteY365" fmla="*/ 2028 h 259743"/>
                  <a:gd name="connsiteX366" fmla="*/ 92048 w 245460"/>
                  <a:gd name="connsiteY366" fmla="*/ 3174 h 259743"/>
                  <a:gd name="connsiteX367" fmla="*/ 89667 w 245460"/>
                  <a:gd name="connsiteY367" fmla="*/ 2028 h 259743"/>
                  <a:gd name="connsiteX368" fmla="*/ 86140 w 245460"/>
                  <a:gd name="connsiteY368" fmla="*/ 3174 h 259743"/>
                  <a:gd name="connsiteX369" fmla="*/ 85523 w 245460"/>
                  <a:gd name="connsiteY369" fmla="*/ 4585 h 259743"/>
                  <a:gd name="connsiteX370" fmla="*/ 85259 w 245460"/>
                  <a:gd name="connsiteY370" fmla="*/ 6965 h 259743"/>
                  <a:gd name="connsiteX371" fmla="*/ 82878 w 245460"/>
                  <a:gd name="connsiteY371" fmla="*/ 7582 h 259743"/>
                  <a:gd name="connsiteX372" fmla="*/ 82614 w 245460"/>
                  <a:gd name="connsiteY372" fmla="*/ 7318 h 259743"/>
                  <a:gd name="connsiteX373" fmla="*/ 82349 w 245460"/>
                  <a:gd name="connsiteY373" fmla="*/ 7582 h 259743"/>
                  <a:gd name="connsiteX374" fmla="*/ 80586 w 245460"/>
                  <a:gd name="connsiteY374" fmla="*/ 7318 h 259743"/>
                  <a:gd name="connsiteX375" fmla="*/ 79704 w 245460"/>
                  <a:gd name="connsiteY375" fmla="*/ 6701 h 259743"/>
                  <a:gd name="connsiteX376" fmla="*/ 79969 w 245460"/>
                  <a:gd name="connsiteY376" fmla="*/ 6084 h 259743"/>
                  <a:gd name="connsiteX377" fmla="*/ 76442 w 245460"/>
                  <a:gd name="connsiteY377" fmla="*/ 5819 h 259743"/>
                  <a:gd name="connsiteX378" fmla="*/ 72386 w 245460"/>
                  <a:gd name="connsiteY378" fmla="*/ 5819 h 259743"/>
                  <a:gd name="connsiteX379" fmla="*/ 72386 w 245460"/>
                  <a:gd name="connsiteY379" fmla="*/ 4937 h 259743"/>
                  <a:gd name="connsiteX380" fmla="*/ 72386 w 245460"/>
                  <a:gd name="connsiteY380" fmla="*/ 7142 h 259743"/>
                  <a:gd name="connsiteX381" fmla="*/ 72386 w 245460"/>
                  <a:gd name="connsiteY381" fmla="*/ 7759 h 259743"/>
                  <a:gd name="connsiteX382" fmla="*/ 72386 w 245460"/>
                  <a:gd name="connsiteY382" fmla="*/ 8376 h 259743"/>
                  <a:gd name="connsiteX383" fmla="*/ 72651 w 245460"/>
                  <a:gd name="connsiteY383" fmla="*/ 9875 h 259743"/>
                  <a:gd name="connsiteX384" fmla="*/ 72033 w 245460"/>
                  <a:gd name="connsiteY384" fmla="*/ 10139 h 259743"/>
                  <a:gd name="connsiteX385" fmla="*/ 72033 w 245460"/>
                  <a:gd name="connsiteY385" fmla="*/ 11021 h 259743"/>
                  <a:gd name="connsiteX386" fmla="*/ 72651 w 245460"/>
                  <a:gd name="connsiteY386" fmla="*/ 11286 h 259743"/>
                  <a:gd name="connsiteX387" fmla="*/ 73532 w 245460"/>
                  <a:gd name="connsiteY387" fmla="*/ 11903 h 259743"/>
                  <a:gd name="connsiteX388" fmla="*/ 73797 w 245460"/>
                  <a:gd name="connsiteY388" fmla="*/ 13049 h 259743"/>
                  <a:gd name="connsiteX389" fmla="*/ 73532 w 245460"/>
                  <a:gd name="connsiteY389" fmla="*/ 13931 h 259743"/>
                  <a:gd name="connsiteX390" fmla="*/ 72651 w 245460"/>
                  <a:gd name="connsiteY390" fmla="*/ 14195 h 259743"/>
                  <a:gd name="connsiteX391" fmla="*/ 72033 w 245460"/>
                  <a:gd name="connsiteY391" fmla="*/ 13931 h 259743"/>
                  <a:gd name="connsiteX392" fmla="*/ 70623 w 245460"/>
                  <a:gd name="connsiteY392" fmla="*/ 13666 h 259743"/>
                  <a:gd name="connsiteX393" fmla="*/ 69477 w 245460"/>
                  <a:gd name="connsiteY393" fmla="*/ 12784 h 259743"/>
                  <a:gd name="connsiteX394" fmla="*/ 69212 w 245460"/>
                  <a:gd name="connsiteY394" fmla="*/ 12167 h 259743"/>
                  <a:gd name="connsiteX395" fmla="*/ 69212 w 245460"/>
                  <a:gd name="connsiteY395" fmla="*/ 11550 h 259743"/>
                  <a:gd name="connsiteX396" fmla="*/ 67449 w 245460"/>
                  <a:gd name="connsiteY396" fmla="*/ 12167 h 259743"/>
                  <a:gd name="connsiteX397" fmla="*/ 66567 w 245460"/>
                  <a:gd name="connsiteY397" fmla="*/ 13313 h 259743"/>
                  <a:gd name="connsiteX398" fmla="*/ 66303 w 245460"/>
                  <a:gd name="connsiteY398" fmla="*/ 14195 h 259743"/>
                  <a:gd name="connsiteX399" fmla="*/ 65774 w 245460"/>
                  <a:gd name="connsiteY399" fmla="*/ 15341 h 259743"/>
                  <a:gd name="connsiteX400" fmla="*/ 66303 w 245460"/>
                  <a:gd name="connsiteY400" fmla="*/ 16487 h 259743"/>
                  <a:gd name="connsiteX401" fmla="*/ 66920 w 245460"/>
                  <a:gd name="connsiteY401" fmla="*/ 17105 h 259743"/>
                  <a:gd name="connsiteX402" fmla="*/ 68330 w 245460"/>
                  <a:gd name="connsiteY402" fmla="*/ 18251 h 259743"/>
                  <a:gd name="connsiteX403" fmla="*/ 68330 w 245460"/>
                  <a:gd name="connsiteY403" fmla="*/ 20896 h 259743"/>
                  <a:gd name="connsiteX404" fmla="*/ 67449 w 245460"/>
                  <a:gd name="connsiteY404" fmla="*/ 21513 h 259743"/>
                  <a:gd name="connsiteX405" fmla="*/ 66567 w 245460"/>
                  <a:gd name="connsiteY405" fmla="*/ 21778 h 259743"/>
                  <a:gd name="connsiteX406" fmla="*/ 65685 w 245460"/>
                  <a:gd name="connsiteY406" fmla="*/ 21513 h 259743"/>
                  <a:gd name="connsiteX407" fmla="*/ 64804 w 245460"/>
                  <a:gd name="connsiteY407" fmla="*/ 20014 h 259743"/>
                  <a:gd name="connsiteX408" fmla="*/ 64451 w 245460"/>
                  <a:gd name="connsiteY408" fmla="*/ 19133 h 259743"/>
                  <a:gd name="connsiteX409" fmla="*/ 63922 w 245460"/>
                  <a:gd name="connsiteY409" fmla="*/ 17986 h 259743"/>
                  <a:gd name="connsiteX410" fmla="*/ 60395 w 245460"/>
                  <a:gd name="connsiteY410" fmla="*/ 18251 h 259743"/>
                  <a:gd name="connsiteX411" fmla="*/ 60131 w 245460"/>
                  <a:gd name="connsiteY411" fmla="*/ 19133 h 259743"/>
                  <a:gd name="connsiteX412" fmla="*/ 59514 w 245460"/>
                  <a:gd name="connsiteY412" fmla="*/ 18515 h 259743"/>
                  <a:gd name="connsiteX413" fmla="*/ 59249 w 245460"/>
                  <a:gd name="connsiteY413" fmla="*/ 19662 h 259743"/>
                  <a:gd name="connsiteX414" fmla="*/ 57221 w 245460"/>
                  <a:gd name="connsiteY414" fmla="*/ 20191 h 259743"/>
                  <a:gd name="connsiteX415" fmla="*/ 54929 w 245460"/>
                  <a:gd name="connsiteY415" fmla="*/ 19044 h 259743"/>
                  <a:gd name="connsiteX416" fmla="*/ 54047 w 245460"/>
                  <a:gd name="connsiteY416" fmla="*/ 18163 h 259743"/>
                  <a:gd name="connsiteX417" fmla="*/ 53783 w 245460"/>
                  <a:gd name="connsiteY417" fmla="*/ 17016 h 259743"/>
                  <a:gd name="connsiteX418" fmla="*/ 54400 w 245460"/>
                  <a:gd name="connsiteY418" fmla="*/ 15518 h 259743"/>
                  <a:gd name="connsiteX419" fmla="*/ 52989 w 245460"/>
                  <a:gd name="connsiteY419" fmla="*/ 14900 h 259743"/>
                  <a:gd name="connsiteX420" fmla="*/ 52108 w 245460"/>
                  <a:gd name="connsiteY420" fmla="*/ 14900 h 259743"/>
                  <a:gd name="connsiteX421" fmla="*/ 50609 w 245460"/>
                  <a:gd name="connsiteY421" fmla="*/ 15518 h 259743"/>
                  <a:gd name="connsiteX422" fmla="*/ 50344 w 245460"/>
                  <a:gd name="connsiteY422" fmla="*/ 17016 h 259743"/>
                  <a:gd name="connsiteX423" fmla="*/ 50961 w 245460"/>
                  <a:gd name="connsiteY423" fmla="*/ 17898 h 259743"/>
                  <a:gd name="connsiteX424" fmla="*/ 50961 w 245460"/>
                  <a:gd name="connsiteY424" fmla="*/ 19397 h 259743"/>
                  <a:gd name="connsiteX425" fmla="*/ 50344 w 245460"/>
                  <a:gd name="connsiteY425" fmla="*/ 20896 h 259743"/>
                  <a:gd name="connsiteX426" fmla="*/ 48316 w 245460"/>
                  <a:gd name="connsiteY426" fmla="*/ 22659 h 259743"/>
                  <a:gd name="connsiteX427" fmla="*/ 46906 w 245460"/>
                  <a:gd name="connsiteY427" fmla="*/ 24158 h 259743"/>
                  <a:gd name="connsiteX428" fmla="*/ 46906 w 245460"/>
                  <a:gd name="connsiteY428" fmla="*/ 25304 h 259743"/>
                  <a:gd name="connsiteX429" fmla="*/ 46024 w 245460"/>
                  <a:gd name="connsiteY429" fmla="*/ 25569 h 259743"/>
                  <a:gd name="connsiteX430" fmla="*/ 46553 w 245460"/>
                  <a:gd name="connsiteY430" fmla="*/ 27068 h 259743"/>
                  <a:gd name="connsiteX431" fmla="*/ 46024 w 245460"/>
                  <a:gd name="connsiteY431" fmla="*/ 27949 h 259743"/>
                  <a:gd name="connsiteX432" fmla="*/ 46553 w 245460"/>
                  <a:gd name="connsiteY432" fmla="*/ 28214 h 259743"/>
                  <a:gd name="connsiteX433" fmla="*/ 47170 w 245460"/>
                  <a:gd name="connsiteY433" fmla="*/ 29096 h 259743"/>
                  <a:gd name="connsiteX434" fmla="*/ 46553 w 245460"/>
                  <a:gd name="connsiteY434" fmla="*/ 30859 h 259743"/>
                  <a:gd name="connsiteX435" fmla="*/ 46024 w 245460"/>
                  <a:gd name="connsiteY435" fmla="*/ 31476 h 259743"/>
                  <a:gd name="connsiteX436" fmla="*/ 45759 w 245460"/>
                  <a:gd name="connsiteY436" fmla="*/ 30859 h 259743"/>
                  <a:gd name="connsiteX437" fmla="*/ 44878 w 245460"/>
                  <a:gd name="connsiteY437" fmla="*/ 30242 h 259743"/>
                  <a:gd name="connsiteX438" fmla="*/ 44878 w 245460"/>
                  <a:gd name="connsiteY438" fmla="*/ 29713 h 259743"/>
                  <a:gd name="connsiteX439" fmla="*/ 43996 w 245460"/>
                  <a:gd name="connsiteY439" fmla="*/ 27949 h 259743"/>
                  <a:gd name="connsiteX440" fmla="*/ 41968 w 245460"/>
                  <a:gd name="connsiteY440" fmla="*/ 27332 h 259743"/>
                  <a:gd name="connsiteX441" fmla="*/ 42233 w 245460"/>
                  <a:gd name="connsiteY441" fmla="*/ 26186 h 259743"/>
                  <a:gd name="connsiteX442" fmla="*/ 42850 w 245460"/>
                  <a:gd name="connsiteY442" fmla="*/ 25569 h 259743"/>
                  <a:gd name="connsiteX443" fmla="*/ 42585 w 245460"/>
                  <a:gd name="connsiteY443" fmla="*/ 24952 h 259743"/>
                  <a:gd name="connsiteX444" fmla="*/ 41086 w 245460"/>
                  <a:gd name="connsiteY444" fmla="*/ 24423 h 259743"/>
                  <a:gd name="connsiteX445" fmla="*/ 40822 w 245460"/>
                  <a:gd name="connsiteY445" fmla="*/ 24423 h 259743"/>
                  <a:gd name="connsiteX446" fmla="*/ 40558 w 245460"/>
                  <a:gd name="connsiteY446" fmla="*/ 24158 h 259743"/>
                  <a:gd name="connsiteX447" fmla="*/ 40293 w 245460"/>
                  <a:gd name="connsiteY447" fmla="*/ 24423 h 259743"/>
                  <a:gd name="connsiteX448" fmla="*/ 37383 w 245460"/>
                  <a:gd name="connsiteY448" fmla="*/ 23805 h 259743"/>
                  <a:gd name="connsiteX449" fmla="*/ 36502 w 245460"/>
                  <a:gd name="connsiteY449" fmla="*/ 22659 h 259743"/>
                  <a:gd name="connsiteX450" fmla="*/ 35620 w 245460"/>
                  <a:gd name="connsiteY450" fmla="*/ 21513 h 259743"/>
                  <a:gd name="connsiteX451" fmla="*/ 34474 w 245460"/>
                  <a:gd name="connsiteY451" fmla="*/ 19750 h 259743"/>
                  <a:gd name="connsiteX452" fmla="*/ 35356 w 245460"/>
                  <a:gd name="connsiteY452" fmla="*/ 17986 h 259743"/>
                  <a:gd name="connsiteX453" fmla="*/ 35091 w 245460"/>
                  <a:gd name="connsiteY453" fmla="*/ 16840 h 259743"/>
                  <a:gd name="connsiteX454" fmla="*/ 34826 w 245460"/>
                  <a:gd name="connsiteY454" fmla="*/ 15694 h 259743"/>
                  <a:gd name="connsiteX455" fmla="*/ 33063 w 245460"/>
                  <a:gd name="connsiteY455" fmla="*/ 15958 h 259743"/>
                  <a:gd name="connsiteX456" fmla="*/ 31035 w 245460"/>
                  <a:gd name="connsiteY456" fmla="*/ 17105 h 259743"/>
                  <a:gd name="connsiteX457" fmla="*/ 31035 w 245460"/>
                  <a:gd name="connsiteY457" fmla="*/ 18251 h 259743"/>
                  <a:gd name="connsiteX458" fmla="*/ 30771 w 245460"/>
                  <a:gd name="connsiteY458" fmla="*/ 19750 h 259743"/>
                  <a:gd name="connsiteX459" fmla="*/ 29889 w 245460"/>
                  <a:gd name="connsiteY459" fmla="*/ 20014 h 259743"/>
                  <a:gd name="connsiteX460" fmla="*/ 29272 w 245460"/>
                  <a:gd name="connsiteY460" fmla="*/ 20896 h 259743"/>
                  <a:gd name="connsiteX461" fmla="*/ 28919 w 245460"/>
                  <a:gd name="connsiteY461" fmla="*/ 21778 h 259743"/>
                  <a:gd name="connsiteX462" fmla="*/ 29536 w 245460"/>
                  <a:gd name="connsiteY462" fmla="*/ 23188 h 259743"/>
                  <a:gd name="connsiteX463" fmla="*/ 28655 w 245460"/>
                  <a:gd name="connsiteY463" fmla="*/ 23805 h 259743"/>
                  <a:gd name="connsiteX464" fmla="*/ 28390 w 245460"/>
                  <a:gd name="connsiteY464" fmla="*/ 24423 h 259743"/>
                  <a:gd name="connsiteX465" fmla="*/ 27508 w 245460"/>
                  <a:gd name="connsiteY465" fmla="*/ 25304 h 259743"/>
                  <a:gd name="connsiteX466" fmla="*/ 27508 w 245460"/>
                  <a:gd name="connsiteY466" fmla="*/ 26186 h 259743"/>
                  <a:gd name="connsiteX467" fmla="*/ 26627 w 245460"/>
                  <a:gd name="connsiteY467" fmla="*/ 26803 h 259743"/>
                  <a:gd name="connsiteX468" fmla="*/ 25481 w 245460"/>
                  <a:gd name="connsiteY468" fmla="*/ 27068 h 259743"/>
                  <a:gd name="connsiteX469" fmla="*/ 24246 w 245460"/>
                  <a:gd name="connsiteY469" fmla="*/ 27068 h 259743"/>
                  <a:gd name="connsiteX470" fmla="*/ 23365 w 245460"/>
                  <a:gd name="connsiteY470" fmla="*/ 28214 h 259743"/>
                  <a:gd name="connsiteX471" fmla="*/ 23365 w 245460"/>
                  <a:gd name="connsiteY471" fmla="*/ 29096 h 259743"/>
                  <a:gd name="connsiteX472" fmla="*/ 22483 w 245460"/>
                  <a:gd name="connsiteY472" fmla="*/ 29096 h 259743"/>
                  <a:gd name="connsiteX473" fmla="*/ 21337 w 245460"/>
                  <a:gd name="connsiteY473" fmla="*/ 28831 h 259743"/>
                  <a:gd name="connsiteX474" fmla="*/ 19838 w 245460"/>
                  <a:gd name="connsiteY474" fmla="*/ 28214 h 259743"/>
                  <a:gd name="connsiteX475" fmla="*/ 19309 w 245460"/>
                  <a:gd name="connsiteY475" fmla="*/ 27597 h 259743"/>
                  <a:gd name="connsiteX476" fmla="*/ 17545 w 245460"/>
                  <a:gd name="connsiteY476" fmla="*/ 27332 h 259743"/>
                  <a:gd name="connsiteX477" fmla="*/ 16047 w 245460"/>
                  <a:gd name="connsiteY477" fmla="*/ 28478 h 259743"/>
                  <a:gd name="connsiteX478" fmla="*/ 14548 w 245460"/>
                  <a:gd name="connsiteY478" fmla="*/ 29096 h 259743"/>
                  <a:gd name="connsiteX479" fmla="*/ 12520 w 245460"/>
                  <a:gd name="connsiteY479" fmla="*/ 29096 h 259743"/>
                  <a:gd name="connsiteX480" fmla="*/ 9610 w 245460"/>
                  <a:gd name="connsiteY480" fmla="*/ 29713 h 259743"/>
                  <a:gd name="connsiteX481" fmla="*/ 8464 w 245460"/>
                  <a:gd name="connsiteY481" fmla="*/ 29713 h 259743"/>
                  <a:gd name="connsiteX482" fmla="*/ 7847 w 245460"/>
                  <a:gd name="connsiteY482" fmla="*/ 28214 h 259743"/>
                  <a:gd name="connsiteX483" fmla="*/ 6701 w 245460"/>
                  <a:gd name="connsiteY483" fmla="*/ 30242 h 259743"/>
                  <a:gd name="connsiteX484" fmla="*/ 3527 w 245460"/>
                  <a:gd name="connsiteY484" fmla="*/ 30242 h 259743"/>
                  <a:gd name="connsiteX485" fmla="*/ 2909 w 245460"/>
                  <a:gd name="connsiteY485" fmla="*/ 32005 h 259743"/>
                  <a:gd name="connsiteX486" fmla="*/ 3174 w 245460"/>
                  <a:gd name="connsiteY486" fmla="*/ 34033 h 259743"/>
                  <a:gd name="connsiteX487" fmla="*/ 4585 w 245460"/>
                  <a:gd name="connsiteY487" fmla="*/ 34562 h 259743"/>
                  <a:gd name="connsiteX488" fmla="*/ 4585 w 245460"/>
                  <a:gd name="connsiteY488" fmla="*/ 36061 h 259743"/>
                  <a:gd name="connsiteX489" fmla="*/ 6965 w 245460"/>
                  <a:gd name="connsiteY489" fmla="*/ 36325 h 259743"/>
                  <a:gd name="connsiteX490" fmla="*/ 7230 w 245460"/>
                  <a:gd name="connsiteY490" fmla="*/ 37207 h 259743"/>
                  <a:gd name="connsiteX491" fmla="*/ 6965 w 245460"/>
                  <a:gd name="connsiteY491" fmla="*/ 38970 h 259743"/>
                  <a:gd name="connsiteX492" fmla="*/ 8729 w 245460"/>
                  <a:gd name="connsiteY492" fmla="*/ 40117 h 259743"/>
                  <a:gd name="connsiteX493" fmla="*/ 8729 w 245460"/>
                  <a:gd name="connsiteY493" fmla="*/ 41263 h 259743"/>
                  <a:gd name="connsiteX494" fmla="*/ 9610 w 245460"/>
                  <a:gd name="connsiteY494" fmla="*/ 41527 h 259743"/>
                  <a:gd name="connsiteX495" fmla="*/ 8993 w 245460"/>
                  <a:gd name="connsiteY495" fmla="*/ 43291 h 259743"/>
                  <a:gd name="connsiteX496" fmla="*/ 8641 w 245460"/>
                  <a:gd name="connsiteY496" fmla="*/ 44790 h 259743"/>
                  <a:gd name="connsiteX497" fmla="*/ 8993 w 245460"/>
                  <a:gd name="connsiteY497" fmla="*/ 45936 h 259743"/>
                  <a:gd name="connsiteX498" fmla="*/ 7230 w 245460"/>
                  <a:gd name="connsiteY498" fmla="*/ 45936 h 259743"/>
                  <a:gd name="connsiteX499" fmla="*/ 5202 w 245460"/>
                  <a:gd name="connsiteY499" fmla="*/ 47082 h 259743"/>
                  <a:gd name="connsiteX500" fmla="*/ 5202 w 245460"/>
                  <a:gd name="connsiteY500" fmla="*/ 47699 h 259743"/>
                  <a:gd name="connsiteX501" fmla="*/ 5202 w 245460"/>
                  <a:gd name="connsiteY501" fmla="*/ 48316 h 259743"/>
                  <a:gd name="connsiteX502" fmla="*/ 4056 w 245460"/>
                  <a:gd name="connsiteY502" fmla="*/ 48316 h 259743"/>
                  <a:gd name="connsiteX503" fmla="*/ 2028 w 245460"/>
                  <a:gd name="connsiteY503" fmla="*/ 47435 h 259743"/>
                  <a:gd name="connsiteX504" fmla="*/ 0 w 245460"/>
                  <a:gd name="connsiteY504" fmla="*/ 48052 h 259743"/>
                  <a:gd name="connsiteX505" fmla="*/ 617 w 245460"/>
                  <a:gd name="connsiteY505" fmla="*/ 49198 h 259743"/>
                  <a:gd name="connsiteX506" fmla="*/ 617 w 245460"/>
                  <a:gd name="connsiteY506" fmla="*/ 50961 h 259743"/>
                  <a:gd name="connsiteX507" fmla="*/ 1499 w 245460"/>
                  <a:gd name="connsiteY507" fmla="*/ 51226 h 259743"/>
                  <a:gd name="connsiteX508" fmla="*/ 2380 w 245460"/>
                  <a:gd name="connsiteY508" fmla="*/ 53606 h 259743"/>
                  <a:gd name="connsiteX509" fmla="*/ 5907 w 245460"/>
                  <a:gd name="connsiteY509" fmla="*/ 53254 h 259743"/>
                  <a:gd name="connsiteX510" fmla="*/ 7935 w 245460"/>
                  <a:gd name="connsiteY510" fmla="*/ 53606 h 259743"/>
                  <a:gd name="connsiteX511" fmla="*/ 9699 w 245460"/>
                  <a:gd name="connsiteY511" fmla="*/ 54752 h 259743"/>
                  <a:gd name="connsiteX512" fmla="*/ 10316 w 245460"/>
                  <a:gd name="connsiteY512" fmla="*/ 55899 h 259743"/>
                  <a:gd name="connsiteX513" fmla="*/ 11462 w 245460"/>
                  <a:gd name="connsiteY513" fmla="*/ 56780 h 259743"/>
                  <a:gd name="connsiteX514" fmla="*/ 10845 w 245460"/>
                  <a:gd name="connsiteY514" fmla="*/ 57927 h 259743"/>
                  <a:gd name="connsiteX515" fmla="*/ 10580 w 245460"/>
                  <a:gd name="connsiteY515" fmla="*/ 59073 h 259743"/>
                  <a:gd name="connsiteX516" fmla="*/ 9963 w 245460"/>
                  <a:gd name="connsiteY516" fmla="*/ 59690 h 259743"/>
                  <a:gd name="connsiteX517" fmla="*/ 9346 w 245460"/>
                  <a:gd name="connsiteY517" fmla="*/ 60219 h 259743"/>
                  <a:gd name="connsiteX518" fmla="*/ 9346 w 245460"/>
                  <a:gd name="connsiteY518" fmla="*/ 61101 h 259743"/>
                  <a:gd name="connsiteX519" fmla="*/ 8729 w 245460"/>
                  <a:gd name="connsiteY519" fmla="*/ 62247 h 259743"/>
                  <a:gd name="connsiteX520" fmla="*/ 8729 w 245460"/>
                  <a:gd name="connsiteY520" fmla="*/ 63393 h 259743"/>
                  <a:gd name="connsiteX521" fmla="*/ 9346 w 245460"/>
                  <a:gd name="connsiteY521" fmla="*/ 64275 h 259743"/>
                  <a:gd name="connsiteX522" fmla="*/ 9346 w 245460"/>
                  <a:gd name="connsiteY522" fmla="*/ 65156 h 259743"/>
                  <a:gd name="connsiteX523" fmla="*/ 9610 w 245460"/>
                  <a:gd name="connsiteY523" fmla="*/ 66303 h 259743"/>
                  <a:gd name="connsiteX524" fmla="*/ 8464 w 245460"/>
                  <a:gd name="connsiteY524" fmla="*/ 66567 h 259743"/>
                  <a:gd name="connsiteX525" fmla="*/ 7582 w 245460"/>
                  <a:gd name="connsiteY525" fmla="*/ 67449 h 259743"/>
                  <a:gd name="connsiteX526" fmla="*/ 9610 w 245460"/>
                  <a:gd name="connsiteY526" fmla="*/ 67449 h 259743"/>
                  <a:gd name="connsiteX527" fmla="*/ 10228 w 245460"/>
                  <a:gd name="connsiteY527" fmla="*/ 67713 h 259743"/>
                  <a:gd name="connsiteX528" fmla="*/ 10845 w 245460"/>
                  <a:gd name="connsiteY528" fmla="*/ 67978 h 259743"/>
                  <a:gd name="connsiteX529" fmla="*/ 11462 w 245460"/>
                  <a:gd name="connsiteY529" fmla="*/ 68859 h 259743"/>
                  <a:gd name="connsiteX530" fmla="*/ 12961 w 245460"/>
                  <a:gd name="connsiteY530" fmla="*/ 69741 h 259743"/>
                  <a:gd name="connsiteX531" fmla="*/ 13843 w 245460"/>
                  <a:gd name="connsiteY531" fmla="*/ 70358 h 259743"/>
                  <a:gd name="connsiteX532" fmla="*/ 13578 w 245460"/>
                  <a:gd name="connsiteY532" fmla="*/ 71240 h 259743"/>
                  <a:gd name="connsiteX533" fmla="*/ 15077 w 245460"/>
                  <a:gd name="connsiteY533" fmla="*/ 70976 h 259743"/>
                  <a:gd name="connsiteX534" fmla="*/ 16487 w 245460"/>
                  <a:gd name="connsiteY534" fmla="*/ 71240 h 259743"/>
                  <a:gd name="connsiteX535" fmla="*/ 18515 w 245460"/>
                  <a:gd name="connsiteY535" fmla="*/ 71857 h 259743"/>
                  <a:gd name="connsiteX536" fmla="*/ 20014 w 245460"/>
                  <a:gd name="connsiteY536" fmla="*/ 72474 h 259743"/>
                  <a:gd name="connsiteX537" fmla="*/ 21778 w 245460"/>
                  <a:gd name="connsiteY537" fmla="*/ 73356 h 259743"/>
                  <a:gd name="connsiteX538" fmla="*/ 22924 w 245460"/>
                  <a:gd name="connsiteY538" fmla="*/ 71945 h 259743"/>
                  <a:gd name="connsiteX539" fmla="*/ 24335 w 245460"/>
                  <a:gd name="connsiteY539" fmla="*/ 71945 h 259743"/>
                  <a:gd name="connsiteX540" fmla="*/ 24952 w 245460"/>
                  <a:gd name="connsiteY540" fmla="*/ 72563 h 259743"/>
                  <a:gd name="connsiteX541" fmla="*/ 24599 w 245460"/>
                  <a:gd name="connsiteY541" fmla="*/ 72827 h 259743"/>
                  <a:gd name="connsiteX542" fmla="*/ 25216 w 245460"/>
                  <a:gd name="connsiteY542" fmla="*/ 73709 h 259743"/>
                  <a:gd name="connsiteX543" fmla="*/ 25216 w 245460"/>
                  <a:gd name="connsiteY543" fmla="*/ 74855 h 259743"/>
                  <a:gd name="connsiteX544" fmla="*/ 22307 w 245460"/>
                  <a:gd name="connsiteY544" fmla="*/ 78029 h 259743"/>
                  <a:gd name="connsiteX545" fmla="*/ 21689 w 245460"/>
                  <a:gd name="connsiteY545" fmla="*/ 79175 h 259743"/>
                  <a:gd name="connsiteX546" fmla="*/ 21954 w 245460"/>
                  <a:gd name="connsiteY546" fmla="*/ 81203 h 259743"/>
                  <a:gd name="connsiteX547" fmla="*/ 23100 w 245460"/>
                  <a:gd name="connsiteY547" fmla="*/ 81468 h 259743"/>
                  <a:gd name="connsiteX548" fmla="*/ 21954 w 245460"/>
                  <a:gd name="connsiteY548" fmla="*/ 81203 h 259743"/>
                  <a:gd name="connsiteX549" fmla="*/ 27244 w 245460"/>
                  <a:gd name="connsiteY549" fmla="*/ 80057 h 259743"/>
                  <a:gd name="connsiteX550" fmla="*/ 27508 w 245460"/>
                  <a:gd name="connsiteY550" fmla="*/ 80057 h 259743"/>
                  <a:gd name="connsiteX551" fmla="*/ 29272 w 245460"/>
                  <a:gd name="connsiteY551" fmla="*/ 78911 h 259743"/>
                  <a:gd name="connsiteX552" fmla="*/ 30153 w 245460"/>
                  <a:gd name="connsiteY552" fmla="*/ 78911 h 259743"/>
                  <a:gd name="connsiteX553" fmla="*/ 31035 w 245460"/>
                  <a:gd name="connsiteY553" fmla="*/ 78029 h 259743"/>
                  <a:gd name="connsiteX554" fmla="*/ 30418 w 245460"/>
                  <a:gd name="connsiteY554" fmla="*/ 77412 h 259743"/>
                  <a:gd name="connsiteX555" fmla="*/ 30683 w 245460"/>
                  <a:gd name="connsiteY555" fmla="*/ 76530 h 259743"/>
                  <a:gd name="connsiteX556" fmla="*/ 30947 w 245460"/>
                  <a:gd name="connsiteY556" fmla="*/ 76530 h 259743"/>
                  <a:gd name="connsiteX557" fmla="*/ 31212 w 245460"/>
                  <a:gd name="connsiteY557" fmla="*/ 76001 h 259743"/>
                  <a:gd name="connsiteX558" fmla="*/ 32710 w 245460"/>
                  <a:gd name="connsiteY558" fmla="*/ 74238 h 259743"/>
                  <a:gd name="connsiteX559" fmla="*/ 32710 w 245460"/>
                  <a:gd name="connsiteY559" fmla="*/ 73092 h 259743"/>
                  <a:gd name="connsiteX560" fmla="*/ 33592 w 245460"/>
                  <a:gd name="connsiteY560" fmla="*/ 72474 h 259743"/>
                  <a:gd name="connsiteX561" fmla="*/ 34474 w 245460"/>
                  <a:gd name="connsiteY561" fmla="*/ 72474 h 259743"/>
                  <a:gd name="connsiteX562" fmla="*/ 34738 w 245460"/>
                  <a:gd name="connsiteY562" fmla="*/ 72210 h 259743"/>
                  <a:gd name="connsiteX563" fmla="*/ 35356 w 245460"/>
                  <a:gd name="connsiteY563" fmla="*/ 71945 h 259743"/>
                  <a:gd name="connsiteX564" fmla="*/ 36237 w 245460"/>
                  <a:gd name="connsiteY564" fmla="*/ 71328 h 259743"/>
                  <a:gd name="connsiteX565" fmla="*/ 36502 w 245460"/>
                  <a:gd name="connsiteY565" fmla="*/ 70446 h 259743"/>
                  <a:gd name="connsiteX566" fmla="*/ 36237 w 245460"/>
                  <a:gd name="connsiteY566" fmla="*/ 69300 h 259743"/>
                  <a:gd name="connsiteX567" fmla="*/ 36237 w 245460"/>
                  <a:gd name="connsiteY567" fmla="*/ 68683 h 259743"/>
                  <a:gd name="connsiteX568" fmla="*/ 36502 w 245460"/>
                  <a:gd name="connsiteY568" fmla="*/ 68066 h 259743"/>
                  <a:gd name="connsiteX569" fmla="*/ 38001 w 245460"/>
                  <a:gd name="connsiteY569" fmla="*/ 66920 h 259743"/>
                  <a:gd name="connsiteX570" fmla="*/ 39764 w 245460"/>
                  <a:gd name="connsiteY570" fmla="*/ 66655 h 259743"/>
                  <a:gd name="connsiteX571" fmla="*/ 41263 w 245460"/>
                  <a:gd name="connsiteY571" fmla="*/ 66391 h 259743"/>
                  <a:gd name="connsiteX572" fmla="*/ 41880 w 245460"/>
                  <a:gd name="connsiteY572" fmla="*/ 66126 h 259743"/>
                  <a:gd name="connsiteX573" fmla="*/ 42144 w 245460"/>
                  <a:gd name="connsiteY573" fmla="*/ 65862 h 259743"/>
                  <a:gd name="connsiteX574" fmla="*/ 42762 w 245460"/>
                  <a:gd name="connsiteY574" fmla="*/ 66126 h 259743"/>
                  <a:gd name="connsiteX575" fmla="*/ 43643 w 245460"/>
                  <a:gd name="connsiteY575" fmla="*/ 65862 h 259743"/>
                  <a:gd name="connsiteX576" fmla="*/ 44525 w 245460"/>
                  <a:gd name="connsiteY576" fmla="*/ 66126 h 259743"/>
                  <a:gd name="connsiteX577" fmla="*/ 45671 w 245460"/>
                  <a:gd name="connsiteY577" fmla="*/ 65862 h 259743"/>
                  <a:gd name="connsiteX578" fmla="*/ 46288 w 245460"/>
                  <a:gd name="connsiteY578" fmla="*/ 66479 h 259743"/>
                  <a:gd name="connsiteX579" fmla="*/ 47435 w 245460"/>
                  <a:gd name="connsiteY579" fmla="*/ 66214 h 259743"/>
                  <a:gd name="connsiteX580" fmla="*/ 49462 w 245460"/>
                  <a:gd name="connsiteY580" fmla="*/ 67096 h 259743"/>
                  <a:gd name="connsiteX581" fmla="*/ 49727 w 245460"/>
                  <a:gd name="connsiteY581" fmla="*/ 67713 h 259743"/>
                  <a:gd name="connsiteX582" fmla="*/ 50873 w 245460"/>
                  <a:gd name="connsiteY582" fmla="*/ 68330 h 259743"/>
                  <a:gd name="connsiteX583" fmla="*/ 52284 w 245460"/>
                  <a:gd name="connsiteY583" fmla="*/ 68330 h 259743"/>
                  <a:gd name="connsiteX584" fmla="*/ 52548 w 245460"/>
                  <a:gd name="connsiteY584" fmla="*/ 67713 h 259743"/>
                  <a:gd name="connsiteX585" fmla="*/ 52813 w 245460"/>
                  <a:gd name="connsiteY585" fmla="*/ 68330 h 259743"/>
                  <a:gd name="connsiteX586" fmla="*/ 55105 w 245460"/>
                  <a:gd name="connsiteY586" fmla="*/ 69477 h 259743"/>
                  <a:gd name="connsiteX587" fmla="*/ 55634 w 245460"/>
                  <a:gd name="connsiteY587" fmla="*/ 69741 h 259743"/>
                  <a:gd name="connsiteX588" fmla="*/ 55899 w 245460"/>
                  <a:gd name="connsiteY588" fmla="*/ 70358 h 259743"/>
                  <a:gd name="connsiteX589" fmla="*/ 56163 w 245460"/>
                  <a:gd name="connsiteY589" fmla="*/ 70623 h 259743"/>
                  <a:gd name="connsiteX590" fmla="*/ 59337 w 245460"/>
                  <a:gd name="connsiteY590" fmla="*/ 72122 h 259743"/>
                  <a:gd name="connsiteX591" fmla="*/ 59337 w 245460"/>
                  <a:gd name="connsiteY591" fmla="*/ 72739 h 259743"/>
                  <a:gd name="connsiteX592" fmla="*/ 59954 w 245460"/>
                  <a:gd name="connsiteY592" fmla="*/ 72739 h 259743"/>
                  <a:gd name="connsiteX593" fmla="*/ 61453 w 245460"/>
                  <a:gd name="connsiteY593" fmla="*/ 73621 h 259743"/>
                  <a:gd name="connsiteX594" fmla="*/ 61982 w 245460"/>
                  <a:gd name="connsiteY594" fmla="*/ 73885 h 259743"/>
                  <a:gd name="connsiteX595" fmla="*/ 62600 w 245460"/>
                  <a:gd name="connsiteY595" fmla="*/ 74767 h 259743"/>
                  <a:gd name="connsiteX596" fmla="*/ 63481 w 245460"/>
                  <a:gd name="connsiteY596" fmla="*/ 74150 h 259743"/>
                  <a:gd name="connsiteX597" fmla="*/ 64363 w 245460"/>
                  <a:gd name="connsiteY597" fmla="*/ 74767 h 259743"/>
                  <a:gd name="connsiteX598" fmla="*/ 65245 w 245460"/>
                  <a:gd name="connsiteY598" fmla="*/ 74767 h 259743"/>
                  <a:gd name="connsiteX599" fmla="*/ 65862 w 245460"/>
                  <a:gd name="connsiteY599" fmla="*/ 75648 h 259743"/>
                  <a:gd name="connsiteX600" fmla="*/ 66479 w 245460"/>
                  <a:gd name="connsiteY600" fmla="*/ 75648 h 259743"/>
                  <a:gd name="connsiteX601" fmla="*/ 67625 w 245460"/>
                  <a:gd name="connsiteY601" fmla="*/ 75031 h 259743"/>
                  <a:gd name="connsiteX602" fmla="*/ 69653 w 245460"/>
                  <a:gd name="connsiteY602" fmla="*/ 75648 h 259743"/>
                  <a:gd name="connsiteX603" fmla="*/ 70799 w 245460"/>
                  <a:gd name="connsiteY603" fmla="*/ 77676 h 259743"/>
                  <a:gd name="connsiteX604" fmla="*/ 70799 w 245460"/>
                  <a:gd name="connsiteY604" fmla="*/ 78294 h 259743"/>
                  <a:gd name="connsiteX605" fmla="*/ 71945 w 245460"/>
                  <a:gd name="connsiteY605" fmla="*/ 79175 h 259743"/>
                  <a:gd name="connsiteX606" fmla="*/ 72563 w 245460"/>
                  <a:gd name="connsiteY606" fmla="*/ 80939 h 259743"/>
                  <a:gd name="connsiteX607" fmla="*/ 73444 w 245460"/>
                  <a:gd name="connsiteY607" fmla="*/ 82085 h 259743"/>
                  <a:gd name="connsiteX608" fmla="*/ 73709 w 245460"/>
                  <a:gd name="connsiteY608" fmla="*/ 82966 h 259743"/>
                  <a:gd name="connsiteX609" fmla="*/ 73444 w 245460"/>
                  <a:gd name="connsiteY609" fmla="*/ 87375 h 259743"/>
                  <a:gd name="connsiteX610" fmla="*/ 74061 w 245460"/>
                  <a:gd name="connsiteY610" fmla="*/ 87639 h 259743"/>
                  <a:gd name="connsiteX611" fmla="*/ 74326 w 245460"/>
                  <a:gd name="connsiteY611" fmla="*/ 89403 h 259743"/>
                  <a:gd name="connsiteX612" fmla="*/ 75208 w 245460"/>
                  <a:gd name="connsiteY612" fmla="*/ 89667 h 259743"/>
                  <a:gd name="connsiteX613" fmla="*/ 76706 w 245460"/>
                  <a:gd name="connsiteY613" fmla="*/ 91078 h 259743"/>
                  <a:gd name="connsiteX614" fmla="*/ 77236 w 245460"/>
                  <a:gd name="connsiteY614" fmla="*/ 91342 h 259743"/>
                  <a:gd name="connsiteX615" fmla="*/ 78999 w 245460"/>
                  <a:gd name="connsiteY615" fmla="*/ 95134 h 259743"/>
                  <a:gd name="connsiteX616" fmla="*/ 79616 w 245460"/>
                  <a:gd name="connsiteY616" fmla="*/ 96544 h 259743"/>
                  <a:gd name="connsiteX617" fmla="*/ 79352 w 245460"/>
                  <a:gd name="connsiteY617" fmla="*/ 97162 h 259743"/>
                  <a:gd name="connsiteX618" fmla="*/ 79352 w 245460"/>
                  <a:gd name="connsiteY618" fmla="*/ 99807 h 259743"/>
                  <a:gd name="connsiteX619" fmla="*/ 77853 w 245460"/>
                  <a:gd name="connsiteY619" fmla="*/ 100953 h 259743"/>
                  <a:gd name="connsiteX620" fmla="*/ 78117 w 245460"/>
                  <a:gd name="connsiteY620" fmla="*/ 101570 h 259743"/>
                  <a:gd name="connsiteX621" fmla="*/ 77853 w 245460"/>
                  <a:gd name="connsiteY621" fmla="*/ 102187 h 259743"/>
                  <a:gd name="connsiteX622" fmla="*/ 79616 w 245460"/>
                  <a:gd name="connsiteY622" fmla="*/ 103069 h 259743"/>
                  <a:gd name="connsiteX623" fmla="*/ 79616 w 245460"/>
                  <a:gd name="connsiteY623" fmla="*/ 102452 h 259743"/>
                  <a:gd name="connsiteX624" fmla="*/ 80762 w 245460"/>
                  <a:gd name="connsiteY624" fmla="*/ 102187 h 259743"/>
                  <a:gd name="connsiteX625" fmla="*/ 81380 w 245460"/>
                  <a:gd name="connsiteY625" fmla="*/ 102804 h 259743"/>
                  <a:gd name="connsiteX626" fmla="*/ 83672 w 245460"/>
                  <a:gd name="connsiteY626" fmla="*/ 103069 h 259743"/>
                  <a:gd name="connsiteX627" fmla="*/ 84818 w 245460"/>
                  <a:gd name="connsiteY627" fmla="*/ 103686 h 259743"/>
                  <a:gd name="connsiteX628" fmla="*/ 84553 w 245460"/>
                  <a:gd name="connsiteY628" fmla="*/ 105449 h 259743"/>
                  <a:gd name="connsiteX629" fmla="*/ 83936 w 245460"/>
                  <a:gd name="connsiteY629" fmla="*/ 105714 h 259743"/>
                  <a:gd name="connsiteX630" fmla="*/ 85082 w 245460"/>
                  <a:gd name="connsiteY630" fmla="*/ 105978 h 259743"/>
                  <a:gd name="connsiteX631" fmla="*/ 86493 w 245460"/>
                  <a:gd name="connsiteY631" fmla="*/ 106860 h 259743"/>
                  <a:gd name="connsiteX632" fmla="*/ 87639 w 245460"/>
                  <a:gd name="connsiteY632" fmla="*/ 107125 h 259743"/>
                  <a:gd name="connsiteX633" fmla="*/ 87904 w 245460"/>
                  <a:gd name="connsiteY633" fmla="*/ 108006 h 259743"/>
                  <a:gd name="connsiteX634" fmla="*/ 88168 w 245460"/>
                  <a:gd name="connsiteY634" fmla="*/ 109153 h 259743"/>
                  <a:gd name="connsiteX635" fmla="*/ 89050 w 245460"/>
                  <a:gd name="connsiteY635" fmla="*/ 109417 h 259743"/>
                  <a:gd name="connsiteX636" fmla="*/ 90549 w 245460"/>
                  <a:gd name="connsiteY636" fmla="*/ 109681 h 259743"/>
                  <a:gd name="connsiteX637" fmla="*/ 90813 w 245460"/>
                  <a:gd name="connsiteY637" fmla="*/ 110828 h 259743"/>
                  <a:gd name="connsiteX638" fmla="*/ 91695 w 245460"/>
                  <a:gd name="connsiteY638" fmla="*/ 112591 h 259743"/>
                  <a:gd name="connsiteX639" fmla="*/ 91695 w 245460"/>
                  <a:gd name="connsiteY639" fmla="*/ 113737 h 259743"/>
                  <a:gd name="connsiteX640" fmla="*/ 91078 w 245460"/>
                  <a:gd name="connsiteY640" fmla="*/ 114002 h 259743"/>
                  <a:gd name="connsiteX641" fmla="*/ 91078 w 245460"/>
                  <a:gd name="connsiteY641" fmla="*/ 114266 h 259743"/>
                  <a:gd name="connsiteX642" fmla="*/ 91078 w 245460"/>
                  <a:gd name="connsiteY642" fmla="*/ 115148 h 259743"/>
                  <a:gd name="connsiteX643" fmla="*/ 90813 w 245460"/>
                  <a:gd name="connsiteY643" fmla="*/ 116294 h 259743"/>
                  <a:gd name="connsiteX644" fmla="*/ 91431 w 245460"/>
                  <a:gd name="connsiteY644" fmla="*/ 116911 h 259743"/>
                  <a:gd name="connsiteX645" fmla="*/ 92048 w 245460"/>
                  <a:gd name="connsiteY645" fmla="*/ 116911 h 259743"/>
                  <a:gd name="connsiteX646" fmla="*/ 92312 w 245460"/>
                  <a:gd name="connsiteY646" fmla="*/ 116030 h 259743"/>
                  <a:gd name="connsiteX647" fmla="*/ 92048 w 245460"/>
                  <a:gd name="connsiteY647" fmla="*/ 115148 h 259743"/>
                  <a:gd name="connsiteX648" fmla="*/ 92930 w 245460"/>
                  <a:gd name="connsiteY648" fmla="*/ 115148 h 259743"/>
                  <a:gd name="connsiteX649" fmla="*/ 94693 w 245460"/>
                  <a:gd name="connsiteY649" fmla="*/ 114883 h 259743"/>
                  <a:gd name="connsiteX650" fmla="*/ 94957 w 245460"/>
                  <a:gd name="connsiteY650" fmla="*/ 114266 h 259743"/>
                  <a:gd name="connsiteX651" fmla="*/ 95839 w 245460"/>
                  <a:gd name="connsiteY651" fmla="*/ 114883 h 259743"/>
                  <a:gd name="connsiteX652" fmla="*/ 96103 w 245460"/>
                  <a:gd name="connsiteY652" fmla="*/ 115148 h 259743"/>
                  <a:gd name="connsiteX653" fmla="*/ 97250 w 245460"/>
                  <a:gd name="connsiteY653" fmla="*/ 115148 h 259743"/>
                  <a:gd name="connsiteX654" fmla="*/ 98396 w 245460"/>
                  <a:gd name="connsiteY654" fmla="*/ 115412 h 259743"/>
                  <a:gd name="connsiteX655" fmla="*/ 99013 w 245460"/>
                  <a:gd name="connsiteY655" fmla="*/ 116030 h 259743"/>
                  <a:gd name="connsiteX656" fmla="*/ 100512 w 245460"/>
                  <a:gd name="connsiteY656" fmla="*/ 118057 h 259743"/>
                  <a:gd name="connsiteX657" fmla="*/ 101658 w 245460"/>
                  <a:gd name="connsiteY657" fmla="*/ 118057 h 259743"/>
                  <a:gd name="connsiteX658" fmla="*/ 101923 w 245460"/>
                  <a:gd name="connsiteY658" fmla="*/ 118322 h 259743"/>
                  <a:gd name="connsiteX659" fmla="*/ 103686 w 245460"/>
                  <a:gd name="connsiteY659" fmla="*/ 120085 h 259743"/>
                  <a:gd name="connsiteX660" fmla="*/ 104568 w 245460"/>
                  <a:gd name="connsiteY660" fmla="*/ 120350 h 259743"/>
                  <a:gd name="connsiteX661" fmla="*/ 105449 w 245460"/>
                  <a:gd name="connsiteY661" fmla="*/ 121232 h 259743"/>
                  <a:gd name="connsiteX662" fmla="*/ 105449 w 245460"/>
                  <a:gd name="connsiteY662" fmla="*/ 122113 h 259743"/>
                  <a:gd name="connsiteX663" fmla="*/ 105714 w 245460"/>
                  <a:gd name="connsiteY663" fmla="*/ 123524 h 259743"/>
                  <a:gd name="connsiteX664" fmla="*/ 105978 w 245460"/>
                  <a:gd name="connsiteY664" fmla="*/ 123788 h 259743"/>
                  <a:gd name="connsiteX665" fmla="*/ 106860 w 245460"/>
                  <a:gd name="connsiteY665" fmla="*/ 123788 h 259743"/>
                  <a:gd name="connsiteX666" fmla="*/ 107125 w 245460"/>
                  <a:gd name="connsiteY666" fmla="*/ 123171 h 259743"/>
                  <a:gd name="connsiteX667" fmla="*/ 108624 w 245460"/>
                  <a:gd name="connsiteY667" fmla="*/ 123788 h 259743"/>
                  <a:gd name="connsiteX668" fmla="*/ 109240 w 245460"/>
                  <a:gd name="connsiteY668" fmla="*/ 124935 h 259743"/>
                  <a:gd name="connsiteX669" fmla="*/ 109505 w 245460"/>
                  <a:gd name="connsiteY669" fmla="*/ 126433 h 259743"/>
                  <a:gd name="connsiteX670" fmla="*/ 110122 w 245460"/>
                  <a:gd name="connsiteY670" fmla="*/ 126433 h 259743"/>
                  <a:gd name="connsiteX671" fmla="*/ 111268 w 245460"/>
                  <a:gd name="connsiteY671" fmla="*/ 126698 h 259743"/>
                  <a:gd name="connsiteX672" fmla="*/ 111886 w 245460"/>
                  <a:gd name="connsiteY672" fmla="*/ 126433 h 259743"/>
                  <a:gd name="connsiteX673" fmla="*/ 112503 w 245460"/>
                  <a:gd name="connsiteY673" fmla="*/ 126698 h 259743"/>
                  <a:gd name="connsiteX674" fmla="*/ 112503 w 245460"/>
                  <a:gd name="connsiteY674" fmla="*/ 128461 h 259743"/>
                  <a:gd name="connsiteX675" fmla="*/ 113120 w 245460"/>
                  <a:gd name="connsiteY675" fmla="*/ 129607 h 259743"/>
                  <a:gd name="connsiteX676" fmla="*/ 114002 w 245460"/>
                  <a:gd name="connsiteY676" fmla="*/ 131106 h 259743"/>
                  <a:gd name="connsiteX677" fmla="*/ 114619 w 245460"/>
                  <a:gd name="connsiteY677" fmla="*/ 131371 h 259743"/>
                  <a:gd name="connsiteX678" fmla="*/ 115501 w 245460"/>
                  <a:gd name="connsiteY678" fmla="*/ 131635 h 259743"/>
                  <a:gd name="connsiteX679" fmla="*/ 116118 w 245460"/>
                  <a:gd name="connsiteY679" fmla="*/ 132517 h 259743"/>
                  <a:gd name="connsiteX680" fmla="*/ 116735 w 245460"/>
                  <a:gd name="connsiteY680" fmla="*/ 132253 h 259743"/>
                  <a:gd name="connsiteX681" fmla="*/ 119645 w 245460"/>
                  <a:gd name="connsiteY681" fmla="*/ 133663 h 259743"/>
                  <a:gd name="connsiteX682" fmla="*/ 120526 w 245460"/>
                  <a:gd name="connsiteY682" fmla="*/ 135162 h 259743"/>
                  <a:gd name="connsiteX683" fmla="*/ 121408 w 245460"/>
                  <a:gd name="connsiteY683" fmla="*/ 135779 h 259743"/>
                  <a:gd name="connsiteX684" fmla="*/ 123788 w 245460"/>
                  <a:gd name="connsiteY684" fmla="*/ 138160 h 259743"/>
                  <a:gd name="connsiteX685" fmla="*/ 123524 w 245460"/>
                  <a:gd name="connsiteY685" fmla="*/ 139042 h 259743"/>
                  <a:gd name="connsiteX686" fmla="*/ 125816 w 245460"/>
                  <a:gd name="connsiteY686" fmla="*/ 140540 h 259743"/>
                  <a:gd name="connsiteX687" fmla="*/ 126698 w 245460"/>
                  <a:gd name="connsiteY687" fmla="*/ 140276 h 259743"/>
                  <a:gd name="connsiteX688" fmla="*/ 127315 w 245460"/>
                  <a:gd name="connsiteY688" fmla="*/ 139659 h 259743"/>
                  <a:gd name="connsiteX689" fmla="*/ 129607 w 245460"/>
                  <a:gd name="connsiteY689" fmla="*/ 140540 h 259743"/>
                  <a:gd name="connsiteX690" fmla="*/ 129607 w 245460"/>
                  <a:gd name="connsiteY690" fmla="*/ 141158 h 259743"/>
                  <a:gd name="connsiteX691" fmla="*/ 130225 w 245460"/>
                  <a:gd name="connsiteY691" fmla="*/ 142921 h 259743"/>
                  <a:gd name="connsiteX692" fmla="*/ 131106 w 245460"/>
                  <a:gd name="connsiteY692" fmla="*/ 144420 h 259743"/>
                  <a:gd name="connsiteX693" fmla="*/ 132605 w 245460"/>
                  <a:gd name="connsiteY693" fmla="*/ 144155 h 259743"/>
                  <a:gd name="connsiteX694" fmla="*/ 133487 w 245460"/>
                  <a:gd name="connsiteY694" fmla="*/ 144420 h 259743"/>
                  <a:gd name="connsiteX695" fmla="*/ 134104 w 245460"/>
                  <a:gd name="connsiteY695" fmla="*/ 142921 h 259743"/>
                  <a:gd name="connsiteX696" fmla="*/ 135603 w 245460"/>
                  <a:gd name="connsiteY696" fmla="*/ 142921 h 259743"/>
                  <a:gd name="connsiteX697" fmla="*/ 137631 w 245460"/>
                  <a:gd name="connsiteY697" fmla="*/ 142392 h 259743"/>
                  <a:gd name="connsiteX698" fmla="*/ 139130 w 245460"/>
                  <a:gd name="connsiteY698" fmla="*/ 142921 h 259743"/>
                  <a:gd name="connsiteX699" fmla="*/ 141422 w 245460"/>
                  <a:gd name="connsiteY699" fmla="*/ 143803 h 259743"/>
                  <a:gd name="connsiteX700" fmla="*/ 143185 w 245460"/>
                  <a:gd name="connsiteY700" fmla="*/ 144684 h 259743"/>
                  <a:gd name="connsiteX701" fmla="*/ 143185 w 245460"/>
                  <a:gd name="connsiteY701" fmla="*/ 144420 h 259743"/>
                  <a:gd name="connsiteX702" fmla="*/ 143714 w 245460"/>
                  <a:gd name="connsiteY702" fmla="*/ 143538 h 259743"/>
                  <a:gd name="connsiteX703" fmla="*/ 144861 w 245460"/>
                  <a:gd name="connsiteY703" fmla="*/ 143274 h 259743"/>
                  <a:gd name="connsiteX704" fmla="*/ 145478 w 245460"/>
                  <a:gd name="connsiteY704" fmla="*/ 143538 h 259743"/>
                  <a:gd name="connsiteX705" fmla="*/ 146360 w 245460"/>
                  <a:gd name="connsiteY705" fmla="*/ 143538 h 259743"/>
                  <a:gd name="connsiteX706" fmla="*/ 147506 w 245460"/>
                  <a:gd name="connsiteY706" fmla="*/ 144684 h 259743"/>
                  <a:gd name="connsiteX707" fmla="*/ 147770 w 245460"/>
                  <a:gd name="connsiteY707" fmla="*/ 145566 h 259743"/>
                  <a:gd name="connsiteX708" fmla="*/ 148035 w 245460"/>
                  <a:gd name="connsiteY708" fmla="*/ 146448 h 259743"/>
                  <a:gd name="connsiteX709" fmla="*/ 149181 w 245460"/>
                  <a:gd name="connsiteY709" fmla="*/ 146183 h 259743"/>
                  <a:gd name="connsiteX710" fmla="*/ 149798 w 245460"/>
                  <a:gd name="connsiteY710" fmla="*/ 148211 h 259743"/>
                  <a:gd name="connsiteX711" fmla="*/ 150680 w 245460"/>
                  <a:gd name="connsiteY711" fmla="*/ 148828 h 259743"/>
                  <a:gd name="connsiteX712" fmla="*/ 150415 w 245460"/>
                  <a:gd name="connsiteY712" fmla="*/ 149357 h 259743"/>
                  <a:gd name="connsiteX713" fmla="*/ 151297 w 245460"/>
                  <a:gd name="connsiteY713" fmla="*/ 150503 h 259743"/>
                  <a:gd name="connsiteX714" fmla="*/ 151561 w 245460"/>
                  <a:gd name="connsiteY714" fmla="*/ 151385 h 259743"/>
                  <a:gd name="connsiteX715" fmla="*/ 151826 w 245460"/>
                  <a:gd name="connsiteY715" fmla="*/ 152002 h 259743"/>
                  <a:gd name="connsiteX716" fmla="*/ 151826 w 245460"/>
                  <a:gd name="connsiteY716" fmla="*/ 153148 h 259743"/>
                  <a:gd name="connsiteX717" fmla="*/ 151826 w 245460"/>
                  <a:gd name="connsiteY717" fmla="*/ 154912 h 259743"/>
                  <a:gd name="connsiteX718" fmla="*/ 153325 w 245460"/>
                  <a:gd name="connsiteY718" fmla="*/ 155794 h 259743"/>
                  <a:gd name="connsiteX719" fmla="*/ 153942 w 245460"/>
                  <a:gd name="connsiteY719" fmla="*/ 155529 h 259743"/>
                  <a:gd name="connsiteX720" fmla="*/ 153942 w 245460"/>
                  <a:gd name="connsiteY720" fmla="*/ 155265 h 259743"/>
                  <a:gd name="connsiteX721" fmla="*/ 153677 w 245460"/>
                  <a:gd name="connsiteY721" fmla="*/ 154383 h 259743"/>
                  <a:gd name="connsiteX722" fmla="*/ 154295 w 245460"/>
                  <a:gd name="connsiteY722" fmla="*/ 154383 h 259743"/>
                  <a:gd name="connsiteX723" fmla="*/ 155176 w 245460"/>
                  <a:gd name="connsiteY723" fmla="*/ 154912 h 259743"/>
                  <a:gd name="connsiteX724" fmla="*/ 155441 w 245460"/>
                  <a:gd name="connsiteY724" fmla="*/ 154647 h 259743"/>
                  <a:gd name="connsiteX725" fmla="*/ 155441 w 245460"/>
                  <a:gd name="connsiteY725" fmla="*/ 154383 h 259743"/>
                  <a:gd name="connsiteX726" fmla="*/ 157204 w 245460"/>
                  <a:gd name="connsiteY726" fmla="*/ 154647 h 259743"/>
                  <a:gd name="connsiteX727" fmla="*/ 158703 w 245460"/>
                  <a:gd name="connsiteY727" fmla="*/ 154383 h 259743"/>
                  <a:gd name="connsiteX728" fmla="*/ 159320 w 245460"/>
                  <a:gd name="connsiteY728" fmla="*/ 155265 h 259743"/>
                  <a:gd name="connsiteX729" fmla="*/ 160466 w 245460"/>
                  <a:gd name="connsiteY729" fmla="*/ 155529 h 259743"/>
                  <a:gd name="connsiteX730" fmla="*/ 161877 w 245460"/>
                  <a:gd name="connsiteY730" fmla="*/ 156940 h 259743"/>
                  <a:gd name="connsiteX731" fmla="*/ 161877 w 245460"/>
                  <a:gd name="connsiteY731" fmla="*/ 157557 h 259743"/>
                  <a:gd name="connsiteX732" fmla="*/ 161877 w 245460"/>
                  <a:gd name="connsiteY732" fmla="*/ 158086 h 259743"/>
                  <a:gd name="connsiteX733" fmla="*/ 161260 w 245460"/>
                  <a:gd name="connsiteY733" fmla="*/ 158703 h 259743"/>
                  <a:gd name="connsiteX734" fmla="*/ 160378 w 245460"/>
                  <a:gd name="connsiteY734" fmla="*/ 158439 h 259743"/>
                  <a:gd name="connsiteX735" fmla="*/ 158879 w 245460"/>
                  <a:gd name="connsiteY735" fmla="*/ 159320 h 259743"/>
                  <a:gd name="connsiteX736" fmla="*/ 158879 w 245460"/>
                  <a:gd name="connsiteY736" fmla="*/ 159937 h 259743"/>
                  <a:gd name="connsiteX737" fmla="*/ 157998 w 245460"/>
                  <a:gd name="connsiteY737" fmla="*/ 160819 h 259743"/>
                  <a:gd name="connsiteX738" fmla="*/ 158879 w 245460"/>
                  <a:gd name="connsiteY738" fmla="*/ 161084 h 259743"/>
                  <a:gd name="connsiteX739" fmla="*/ 160378 w 245460"/>
                  <a:gd name="connsiteY739" fmla="*/ 160819 h 259743"/>
                  <a:gd name="connsiteX740" fmla="*/ 161260 w 245460"/>
                  <a:gd name="connsiteY740" fmla="*/ 160202 h 259743"/>
                  <a:gd name="connsiteX741" fmla="*/ 161877 w 245460"/>
                  <a:gd name="connsiteY741" fmla="*/ 159937 h 259743"/>
                  <a:gd name="connsiteX742" fmla="*/ 162494 w 245460"/>
                  <a:gd name="connsiteY742" fmla="*/ 160202 h 259743"/>
                  <a:gd name="connsiteX743" fmla="*/ 163640 w 245460"/>
                  <a:gd name="connsiteY743" fmla="*/ 159937 h 259743"/>
                  <a:gd name="connsiteX744" fmla="*/ 164787 w 245460"/>
                  <a:gd name="connsiteY744" fmla="*/ 159937 h 259743"/>
                  <a:gd name="connsiteX745" fmla="*/ 166197 w 245460"/>
                  <a:gd name="connsiteY745" fmla="*/ 159320 h 259743"/>
                  <a:gd name="connsiteX746" fmla="*/ 166550 w 245460"/>
                  <a:gd name="connsiteY746" fmla="*/ 158703 h 259743"/>
                  <a:gd name="connsiteX747" fmla="*/ 167079 w 245460"/>
                  <a:gd name="connsiteY747" fmla="*/ 158703 h 259743"/>
                  <a:gd name="connsiteX748" fmla="*/ 167344 w 245460"/>
                  <a:gd name="connsiteY748" fmla="*/ 158968 h 259743"/>
                  <a:gd name="connsiteX749" fmla="*/ 168490 w 245460"/>
                  <a:gd name="connsiteY749" fmla="*/ 158703 h 259743"/>
                  <a:gd name="connsiteX750" fmla="*/ 169371 w 245460"/>
                  <a:gd name="connsiteY750" fmla="*/ 159849 h 259743"/>
                  <a:gd name="connsiteX751" fmla="*/ 169636 w 245460"/>
                  <a:gd name="connsiteY751" fmla="*/ 160466 h 259743"/>
                  <a:gd name="connsiteX752" fmla="*/ 169636 w 245460"/>
                  <a:gd name="connsiteY752" fmla="*/ 161084 h 259743"/>
                  <a:gd name="connsiteX753" fmla="*/ 170253 w 245460"/>
                  <a:gd name="connsiteY753" fmla="*/ 162230 h 259743"/>
                  <a:gd name="connsiteX754" fmla="*/ 170870 w 245460"/>
                  <a:gd name="connsiteY754" fmla="*/ 162847 h 259743"/>
                  <a:gd name="connsiteX755" fmla="*/ 171752 w 245460"/>
                  <a:gd name="connsiteY755" fmla="*/ 163112 h 259743"/>
                  <a:gd name="connsiteX756" fmla="*/ 172369 w 245460"/>
                  <a:gd name="connsiteY756" fmla="*/ 164610 h 259743"/>
                  <a:gd name="connsiteX757" fmla="*/ 172634 w 245460"/>
                  <a:gd name="connsiteY757" fmla="*/ 166374 h 259743"/>
                  <a:gd name="connsiteX758" fmla="*/ 172017 w 245460"/>
                  <a:gd name="connsiteY758" fmla="*/ 166638 h 259743"/>
                  <a:gd name="connsiteX759" fmla="*/ 171752 w 245460"/>
                  <a:gd name="connsiteY759" fmla="*/ 167520 h 259743"/>
                  <a:gd name="connsiteX760" fmla="*/ 170341 w 245460"/>
                  <a:gd name="connsiteY760" fmla="*/ 168049 h 259743"/>
                  <a:gd name="connsiteX761" fmla="*/ 172369 w 245460"/>
                  <a:gd name="connsiteY761" fmla="*/ 168931 h 259743"/>
                  <a:gd name="connsiteX762" fmla="*/ 172634 w 245460"/>
                  <a:gd name="connsiteY762" fmla="*/ 169195 h 259743"/>
                  <a:gd name="connsiteX763" fmla="*/ 173251 w 245460"/>
                  <a:gd name="connsiteY763" fmla="*/ 170341 h 259743"/>
                  <a:gd name="connsiteX764" fmla="*/ 175631 w 245460"/>
                  <a:gd name="connsiteY764" fmla="*/ 170341 h 259743"/>
                  <a:gd name="connsiteX765" fmla="*/ 175014 w 245460"/>
                  <a:gd name="connsiteY765" fmla="*/ 170341 h 259743"/>
                  <a:gd name="connsiteX766" fmla="*/ 176161 w 245460"/>
                  <a:gd name="connsiteY766" fmla="*/ 170606 h 259743"/>
                  <a:gd name="connsiteX767" fmla="*/ 178188 w 245460"/>
                  <a:gd name="connsiteY767" fmla="*/ 171223 h 259743"/>
                  <a:gd name="connsiteX768" fmla="*/ 178453 w 245460"/>
                  <a:gd name="connsiteY768" fmla="*/ 172105 h 259743"/>
                  <a:gd name="connsiteX769" fmla="*/ 178717 w 245460"/>
                  <a:gd name="connsiteY769" fmla="*/ 172986 h 259743"/>
                  <a:gd name="connsiteX770" fmla="*/ 179599 w 245460"/>
                  <a:gd name="connsiteY770" fmla="*/ 172986 h 259743"/>
                  <a:gd name="connsiteX771" fmla="*/ 178717 w 245460"/>
                  <a:gd name="connsiteY771" fmla="*/ 173515 h 259743"/>
                  <a:gd name="connsiteX772" fmla="*/ 179863 w 245460"/>
                  <a:gd name="connsiteY772" fmla="*/ 173780 h 259743"/>
                  <a:gd name="connsiteX773" fmla="*/ 180128 w 245460"/>
                  <a:gd name="connsiteY773" fmla="*/ 174044 h 259743"/>
                  <a:gd name="connsiteX774" fmla="*/ 182773 w 245460"/>
                  <a:gd name="connsiteY774" fmla="*/ 174926 h 259743"/>
                  <a:gd name="connsiteX775" fmla="*/ 183038 w 245460"/>
                  <a:gd name="connsiteY775" fmla="*/ 173427 h 259743"/>
                  <a:gd name="connsiteX776" fmla="*/ 183655 w 245460"/>
                  <a:gd name="connsiteY776" fmla="*/ 172898 h 259743"/>
                  <a:gd name="connsiteX777" fmla="*/ 185947 w 245460"/>
                  <a:gd name="connsiteY777" fmla="*/ 172281 h 259743"/>
                  <a:gd name="connsiteX778" fmla="*/ 187093 w 245460"/>
                  <a:gd name="connsiteY778" fmla="*/ 172898 h 259743"/>
                  <a:gd name="connsiteX779" fmla="*/ 187093 w 245460"/>
                  <a:gd name="connsiteY779" fmla="*/ 173427 h 259743"/>
                  <a:gd name="connsiteX780" fmla="*/ 187711 w 245460"/>
                  <a:gd name="connsiteY780" fmla="*/ 175191 h 259743"/>
                  <a:gd name="connsiteX781" fmla="*/ 188328 w 245460"/>
                  <a:gd name="connsiteY781" fmla="*/ 175455 h 259743"/>
                  <a:gd name="connsiteX782" fmla="*/ 188592 w 245460"/>
                  <a:gd name="connsiteY782" fmla="*/ 176601 h 259743"/>
                  <a:gd name="connsiteX783" fmla="*/ 189738 w 245460"/>
                  <a:gd name="connsiteY783" fmla="*/ 178629 h 259743"/>
                  <a:gd name="connsiteX784" fmla="*/ 189209 w 245460"/>
                  <a:gd name="connsiteY784" fmla="*/ 178894 h 259743"/>
                  <a:gd name="connsiteX785" fmla="*/ 189738 w 245460"/>
                  <a:gd name="connsiteY785" fmla="*/ 179775 h 259743"/>
                  <a:gd name="connsiteX786" fmla="*/ 190091 w 245460"/>
                  <a:gd name="connsiteY786" fmla="*/ 181539 h 259743"/>
                  <a:gd name="connsiteX787" fmla="*/ 190708 w 245460"/>
                  <a:gd name="connsiteY787" fmla="*/ 182420 h 259743"/>
                  <a:gd name="connsiteX788" fmla="*/ 190444 w 245460"/>
                  <a:gd name="connsiteY788" fmla="*/ 184184 h 259743"/>
                  <a:gd name="connsiteX789" fmla="*/ 190708 w 245460"/>
                  <a:gd name="connsiteY789" fmla="*/ 185330 h 259743"/>
                  <a:gd name="connsiteX790" fmla="*/ 193353 w 245460"/>
                  <a:gd name="connsiteY790" fmla="*/ 186212 h 259743"/>
                  <a:gd name="connsiteX791" fmla="*/ 193353 w 245460"/>
                  <a:gd name="connsiteY791" fmla="*/ 188857 h 259743"/>
                  <a:gd name="connsiteX792" fmla="*/ 194852 w 245460"/>
                  <a:gd name="connsiteY792" fmla="*/ 190884 h 259743"/>
                  <a:gd name="connsiteX793" fmla="*/ 195469 w 245460"/>
                  <a:gd name="connsiteY793" fmla="*/ 190620 h 259743"/>
                  <a:gd name="connsiteX794" fmla="*/ 195998 w 245460"/>
                  <a:gd name="connsiteY794" fmla="*/ 192912 h 259743"/>
                  <a:gd name="connsiteX795" fmla="*/ 195469 w 245460"/>
                  <a:gd name="connsiteY795" fmla="*/ 192295 h 259743"/>
                  <a:gd name="connsiteX796" fmla="*/ 195998 w 245460"/>
                  <a:gd name="connsiteY796" fmla="*/ 194940 h 259743"/>
                  <a:gd name="connsiteX797" fmla="*/ 195734 w 245460"/>
                  <a:gd name="connsiteY797" fmla="*/ 195822 h 259743"/>
                  <a:gd name="connsiteX798" fmla="*/ 196351 w 245460"/>
                  <a:gd name="connsiteY798" fmla="*/ 196704 h 259743"/>
                  <a:gd name="connsiteX799" fmla="*/ 195734 w 245460"/>
                  <a:gd name="connsiteY799" fmla="*/ 197850 h 259743"/>
                  <a:gd name="connsiteX800" fmla="*/ 195734 w 245460"/>
                  <a:gd name="connsiteY800" fmla="*/ 198467 h 259743"/>
                  <a:gd name="connsiteX801" fmla="*/ 196351 w 245460"/>
                  <a:gd name="connsiteY801" fmla="*/ 199613 h 259743"/>
                  <a:gd name="connsiteX802" fmla="*/ 197497 w 245460"/>
                  <a:gd name="connsiteY802" fmla="*/ 200495 h 259743"/>
                  <a:gd name="connsiteX803" fmla="*/ 198643 w 245460"/>
                  <a:gd name="connsiteY803" fmla="*/ 200495 h 259743"/>
                  <a:gd name="connsiteX804" fmla="*/ 200407 w 245460"/>
                  <a:gd name="connsiteY804" fmla="*/ 201377 h 259743"/>
                  <a:gd name="connsiteX805" fmla="*/ 200407 w 245460"/>
                  <a:gd name="connsiteY805" fmla="*/ 202875 h 259743"/>
                  <a:gd name="connsiteX806" fmla="*/ 200671 w 245460"/>
                  <a:gd name="connsiteY806" fmla="*/ 203757 h 259743"/>
                  <a:gd name="connsiteX807" fmla="*/ 199525 w 245460"/>
                  <a:gd name="connsiteY807" fmla="*/ 205256 h 259743"/>
                  <a:gd name="connsiteX808" fmla="*/ 197762 w 245460"/>
                  <a:gd name="connsiteY808" fmla="*/ 205873 h 259743"/>
                  <a:gd name="connsiteX809" fmla="*/ 195998 w 245460"/>
                  <a:gd name="connsiteY809" fmla="*/ 206490 h 259743"/>
                  <a:gd name="connsiteX810" fmla="*/ 194235 w 245460"/>
                  <a:gd name="connsiteY810" fmla="*/ 207637 h 259743"/>
                  <a:gd name="connsiteX811" fmla="*/ 192736 w 245460"/>
                  <a:gd name="connsiteY811" fmla="*/ 207372 h 259743"/>
                  <a:gd name="connsiteX812" fmla="*/ 192207 w 245460"/>
                  <a:gd name="connsiteY812" fmla="*/ 208518 h 259743"/>
                  <a:gd name="connsiteX813" fmla="*/ 192207 w 245460"/>
                  <a:gd name="connsiteY813" fmla="*/ 209135 h 259743"/>
                  <a:gd name="connsiteX814" fmla="*/ 193970 w 245460"/>
                  <a:gd name="connsiteY814" fmla="*/ 209400 h 259743"/>
                  <a:gd name="connsiteX815" fmla="*/ 194323 w 245460"/>
                  <a:gd name="connsiteY815" fmla="*/ 209929 h 259743"/>
                  <a:gd name="connsiteX816" fmla="*/ 195205 w 245460"/>
                  <a:gd name="connsiteY816" fmla="*/ 210546 h 259743"/>
                  <a:gd name="connsiteX817" fmla="*/ 194323 w 245460"/>
                  <a:gd name="connsiteY817" fmla="*/ 211692 h 259743"/>
                  <a:gd name="connsiteX818" fmla="*/ 193970 w 245460"/>
                  <a:gd name="connsiteY818" fmla="*/ 212574 h 259743"/>
                  <a:gd name="connsiteX819" fmla="*/ 193089 w 245460"/>
                  <a:gd name="connsiteY819" fmla="*/ 213720 h 259743"/>
                  <a:gd name="connsiteX820" fmla="*/ 192824 w 245460"/>
                  <a:gd name="connsiteY820" fmla="*/ 216630 h 259743"/>
                  <a:gd name="connsiteX821" fmla="*/ 191678 w 245460"/>
                  <a:gd name="connsiteY821" fmla="*/ 218393 h 259743"/>
                  <a:gd name="connsiteX822" fmla="*/ 190267 w 245460"/>
                  <a:gd name="connsiteY822" fmla="*/ 219275 h 259743"/>
                  <a:gd name="connsiteX823" fmla="*/ 189650 w 245460"/>
                  <a:gd name="connsiteY823" fmla="*/ 220156 h 259743"/>
                  <a:gd name="connsiteX824" fmla="*/ 189650 w 245460"/>
                  <a:gd name="connsiteY824" fmla="*/ 221303 h 259743"/>
                  <a:gd name="connsiteX825" fmla="*/ 190267 w 245460"/>
                  <a:gd name="connsiteY825" fmla="*/ 222184 h 259743"/>
                  <a:gd name="connsiteX826" fmla="*/ 190267 w 245460"/>
                  <a:gd name="connsiteY826" fmla="*/ 223331 h 259743"/>
                  <a:gd name="connsiteX827" fmla="*/ 190532 w 245460"/>
                  <a:gd name="connsiteY827" fmla="*/ 224477 h 259743"/>
                  <a:gd name="connsiteX828" fmla="*/ 190532 w 245460"/>
                  <a:gd name="connsiteY828" fmla="*/ 225358 h 259743"/>
                  <a:gd name="connsiteX829" fmla="*/ 191149 w 245460"/>
                  <a:gd name="connsiteY829" fmla="*/ 226505 h 259743"/>
                  <a:gd name="connsiteX830" fmla="*/ 192295 w 245460"/>
                  <a:gd name="connsiteY830" fmla="*/ 226769 h 259743"/>
                  <a:gd name="connsiteX831" fmla="*/ 194676 w 245460"/>
                  <a:gd name="connsiteY831" fmla="*/ 226505 h 259743"/>
                  <a:gd name="connsiteX832" fmla="*/ 195822 w 245460"/>
                  <a:gd name="connsiteY832" fmla="*/ 226505 h 259743"/>
                  <a:gd name="connsiteX833" fmla="*/ 196704 w 245460"/>
                  <a:gd name="connsiteY833" fmla="*/ 225887 h 259743"/>
                  <a:gd name="connsiteX834" fmla="*/ 198467 w 245460"/>
                  <a:gd name="connsiteY834" fmla="*/ 226505 h 259743"/>
                  <a:gd name="connsiteX835" fmla="*/ 199966 w 245460"/>
                  <a:gd name="connsiteY835" fmla="*/ 225887 h 259743"/>
                  <a:gd name="connsiteX836" fmla="*/ 199966 w 245460"/>
                  <a:gd name="connsiteY836" fmla="*/ 224741 h 259743"/>
                  <a:gd name="connsiteX837" fmla="*/ 180833 w 245460"/>
                  <a:gd name="connsiteY837" fmla="*/ 257981 h 259743"/>
                  <a:gd name="connsiteX838" fmla="*/ 180304 w 245460"/>
                  <a:gd name="connsiteY838" fmla="*/ 254807 h 259743"/>
                  <a:gd name="connsiteX839" fmla="*/ 180569 w 245460"/>
                  <a:gd name="connsiteY839" fmla="*/ 252161 h 259743"/>
                  <a:gd name="connsiteX840" fmla="*/ 181715 w 245460"/>
                  <a:gd name="connsiteY840" fmla="*/ 251015 h 259743"/>
                  <a:gd name="connsiteX841" fmla="*/ 182861 w 245460"/>
                  <a:gd name="connsiteY841" fmla="*/ 250134 h 259743"/>
                  <a:gd name="connsiteX842" fmla="*/ 183743 w 245460"/>
                  <a:gd name="connsiteY842" fmla="*/ 249517 h 259743"/>
                  <a:gd name="connsiteX843" fmla="*/ 184007 w 245460"/>
                  <a:gd name="connsiteY843" fmla="*/ 249252 h 259743"/>
                  <a:gd name="connsiteX844" fmla="*/ 184007 w 245460"/>
                  <a:gd name="connsiteY844" fmla="*/ 248106 h 259743"/>
                  <a:gd name="connsiteX845" fmla="*/ 182861 w 245460"/>
                  <a:gd name="connsiteY845" fmla="*/ 248370 h 259743"/>
                  <a:gd name="connsiteX846" fmla="*/ 182597 w 245460"/>
                  <a:gd name="connsiteY846" fmla="*/ 247753 h 259743"/>
                  <a:gd name="connsiteX847" fmla="*/ 183214 w 245460"/>
                  <a:gd name="connsiteY847" fmla="*/ 246607 h 259743"/>
                  <a:gd name="connsiteX848" fmla="*/ 181186 w 245460"/>
                  <a:gd name="connsiteY848" fmla="*/ 245990 h 259743"/>
                  <a:gd name="connsiteX849" fmla="*/ 180304 w 245460"/>
                  <a:gd name="connsiteY849" fmla="*/ 245725 h 259743"/>
                  <a:gd name="connsiteX850" fmla="*/ 180569 w 245460"/>
                  <a:gd name="connsiteY850" fmla="*/ 243962 h 259743"/>
                  <a:gd name="connsiteX851" fmla="*/ 181715 w 245460"/>
                  <a:gd name="connsiteY851" fmla="*/ 243697 h 259743"/>
                  <a:gd name="connsiteX852" fmla="*/ 181186 w 245460"/>
                  <a:gd name="connsiteY852" fmla="*/ 243433 h 259743"/>
                  <a:gd name="connsiteX853" fmla="*/ 182068 w 245460"/>
                  <a:gd name="connsiteY853" fmla="*/ 242904 h 259743"/>
                  <a:gd name="connsiteX854" fmla="*/ 180304 w 245460"/>
                  <a:gd name="connsiteY854" fmla="*/ 242287 h 259743"/>
                  <a:gd name="connsiteX855" fmla="*/ 180040 w 245460"/>
                  <a:gd name="connsiteY855" fmla="*/ 240523 h 259743"/>
                  <a:gd name="connsiteX856" fmla="*/ 179775 w 245460"/>
                  <a:gd name="connsiteY856" fmla="*/ 239377 h 259743"/>
                  <a:gd name="connsiteX857" fmla="*/ 178629 w 245460"/>
                  <a:gd name="connsiteY857" fmla="*/ 236997 h 259743"/>
                  <a:gd name="connsiteX858" fmla="*/ 179775 w 245460"/>
                  <a:gd name="connsiteY858" fmla="*/ 234704 h 259743"/>
                  <a:gd name="connsiteX859" fmla="*/ 179775 w 245460"/>
                  <a:gd name="connsiteY859" fmla="*/ 233293 h 259743"/>
                  <a:gd name="connsiteX860" fmla="*/ 180392 w 245460"/>
                  <a:gd name="connsiteY860" fmla="*/ 232147 h 259743"/>
                  <a:gd name="connsiteX861" fmla="*/ 180392 w 245460"/>
                  <a:gd name="connsiteY861" fmla="*/ 230737 h 259743"/>
                  <a:gd name="connsiteX862" fmla="*/ 182420 w 245460"/>
                  <a:gd name="connsiteY862" fmla="*/ 228092 h 259743"/>
                  <a:gd name="connsiteX863" fmla="*/ 183038 w 245460"/>
                  <a:gd name="connsiteY863" fmla="*/ 225446 h 259743"/>
                  <a:gd name="connsiteX864" fmla="*/ 186829 w 245460"/>
                  <a:gd name="connsiteY864" fmla="*/ 223066 h 259743"/>
                  <a:gd name="connsiteX865" fmla="*/ 186300 w 245460"/>
                  <a:gd name="connsiteY865" fmla="*/ 221920 h 259743"/>
                  <a:gd name="connsiteX866" fmla="*/ 186564 w 245460"/>
                  <a:gd name="connsiteY866" fmla="*/ 221038 h 259743"/>
                  <a:gd name="connsiteX867" fmla="*/ 187093 w 245460"/>
                  <a:gd name="connsiteY867" fmla="*/ 220509 h 259743"/>
                  <a:gd name="connsiteX868" fmla="*/ 187711 w 245460"/>
                  <a:gd name="connsiteY868" fmla="*/ 219892 h 259743"/>
                  <a:gd name="connsiteX869" fmla="*/ 188592 w 245460"/>
                  <a:gd name="connsiteY869" fmla="*/ 219275 h 259743"/>
                  <a:gd name="connsiteX870" fmla="*/ 189474 w 245460"/>
                  <a:gd name="connsiteY870" fmla="*/ 218393 h 259743"/>
                  <a:gd name="connsiteX871" fmla="*/ 190091 w 245460"/>
                  <a:gd name="connsiteY871" fmla="*/ 217776 h 259743"/>
                  <a:gd name="connsiteX872" fmla="*/ 189474 w 245460"/>
                  <a:gd name="connsiteY872" fmla="*/ 217159 h 259743"/>
                  <a:gd name="connsiteX873" fmla="*/ 188857 w 245460"/>
                  <a:gd name="connsiteY873" fmla="*/ 217159 h 259743"/>
                  <a:gd name="connsiteX874" fmla="*/ 187358 w 245460"/>
                  <a:gd name="connsiteY874" fmla="*/ 216542 h 259743"/>
                  <a:gd name="connsiteX875" fmla="*/ 186212 w 245460"/>
                  <a:gd name="connsiteY875" fmla="*/ 216542 h 259743"/>
                  <a:gd name="connsiteX876" fmla="*/ 185330 w 245460"/>
                  <a:gd name="connsiteY876" fmla="*/ 219187 h 259743"/>
                  <a:gd name="connsiteX877" fmla="*/ 182156 w 245460"/>
                  <a:gd name="connsiteY877" fmla="*/ 219804 h 259743"/>
                  <a:gd name="connsiteX878" fmla="*/ 181274 w 245460"/>
                  <a:gd name="connsiteY878" fmla="*/ 219187 h 259743"/>
                  <a:gd name="connsiteX879" fmla="*/ 181010 w 245460"/>
                  <a:gd name="connsiteY879" fmla="*/ 218922 h 259743"/>
                  <a:gd name="connsiteX880" fmla="*/ 180481 w 245460"/>
                  <a:gd name="connsiteY880" fmla="*/ 218040 h 259743"/>
                  <a:gd name="connsiteX881" fmla="*/ 179599 w 245460"/>
                  <a:gd name="connsiteY881" fmla="*/ 218658 h 259743"/>
                  <a:gd name="connsiteX882" fmla="*/ 179599 w 245460"/>
                  <a:gd name="connsiteY882" fmla="*/ 219275 h 259743"/>
                  <a:gd name="connsiteX883" fmla="*/ 178982 w 245460"/>
                  <a:gd name="connsiteY883" fmla="*/ 220774 h 259743"/>
                  <a:gd name="connsiteX884" fmla="*/ 177835 w 245460"/>
                  <a:gd name="connsiteY884" fmla="*/ 221303 h 259743"/>
                  <a:gd name="connsiteX885" fmla="*/ 177835 w 245460"/>
                  <a:gd name="connsiteY885" fmla="*/ 221567 h 259743"/>
                  <a:gd name="connsiteX886" fmla="*/ 175808 w 245460"/>
                  <a:gd name="connsiteY886" fmla="*/ 220950 h 259743"/>
                  <a:gd name="connsiteX887" fmla="*/ 175543 w 245460"/>
                  <a:gd name="connsiteY887" fmla="*/ 220950 h 259743"/>
                  <a:gd name="connsiteX888" fmla="*/ 174662 w 245460"/>
                  <a:gd name="connsiteY888" fmla="*/ 220685 h 259743"/>
                  <a:gd name="connsiteX889" fmla="*/ 172281 w 245460"/>
                  <a:gd name="connsiteY889" fmla="*/ 220950 h 259743"/>
                  <a:gd name="connsiteX890" fmla="*/ 171664 w 245460"/>
                  <a:gd name="connsiteY890" fmla="*/ 220421 h 259743"/>
                  <a:gd name="connsiteX891" fmla="*/ 169636 w 245460"/>
                  <a:gd name="connsiteY891" fmla="*/ 220950 h 259743"/>
                  <a:gd name="connsiteX892" fmla="*/ 168490 w 245460"/>
                  <a:gd name="connsiteY892" fmla="*/ 222096 h 259743"/>
                  <a:gd name="connsiteX893" fmla="*/ 167344 w 245460"/>
                  <a:gd name="connsiteY893" fmla="*/ 222096 h 259743"/>
                  <a:gd name="connsiteX894" fmla="*/ 166462 w 245460"/>
                  <a:gd name="connsiteY894" fmla="*/ 222361 h 259743"/>
                  <a:gd name="connsiteX895" fmla="*/ 164963 w 245460"/>
                  <a:gd name="connsiteY895" fmla="*/ 223242 h 259743"/>
                  <a:gd name="connsiteX896" fmla="*/ 164081 w 245460"/>
                  <a:gd name="connsiteY896" fmla="*/ 223242 h 259743"/>
                  <a:gd name="connsiteX897" fmla="*/ 161789 w 245460"/>
                  <a:gd name="connsiteY897" fmla="*/ 224124 h 259743"/>
                  <a:gd name="connsiteX898" fmla="*/ 156852 w 245460"/>
                  <a:gd name="connsiteY898" fmla="*/ 224124 h 259743"/>
                  <a:gd name="connsiteX899" fmla="*/ 154559 w 245460"/>
                  <a:gd name="connsiteY899" fmla="*/ 223242 h 259743"/>
                  <a:gd name="connsiteX900" fmla="*/ 150503 w 245460"/>
                  <a:gd name="connsiteY900" fmla="*/ 225270 h 259743"/>
                  <a:gd name="connsiteX901" fmla="*/ 149357 w 245460"/>
                  <a:gd name="connsiteY901" fmla="*/ 225006 h 259743"/>
                  <a:gd name="connsiteX902" fmla="*/ 147858 w 245460"/>
                  <a:gd name="connsiteY902" fmla="*/ 224741 h 259743"/>
                  <a:gd name="connsiteX903" fmla="*/ 146712 w 245460"/>
                  <a:gd name="connsiteY903" fmla="*/ 223242 h 259743"/>
                  <a:gd name="connsiteX904" fmla="*/ 143803 w 245460"/>
                  <a:gd name="connsiteY904" fmla="*/ 222978 h 259743"/>
                  <a:gd name="connsiteX905" fmla="*/ 143803 w 245460"/>
                  <a:gd name="connsiteY905" fmla="*/ 221832 h 259743"/>
                  <a:gd name="connsiteX906" fmla="*/ 142656 w 245460"/>
                  <a:gd name="connsiteY906" fmla="*/ 222096 h 259743"/>
                  <a:gd name="connsiteX907" fmla="*/ 140893 w 245460"/>
                  <a:gd name="connsiteY907" fmla="*/ 221479 h 259743"/>
                  <a:gd name="connsiteX908" fmla="*/ 140893 w 245460"/>
                  <a:gd name="connsiteY908" fmla="*/ 220862 h 259743"/>
                  <a:gd name="connsiteX909" fmla="*/ 141158 w 245460"/>
                  <a:gd name="connsiteY909" fmla="*/ 219451 h 259743"/>
                  <a:gd name="connsiteX910" fmla="*/ 138865 w 245460"/>
                  <a:gd name="connsiteY910" fmla="*/ 219716 h 259743"/>
                  <a:gd name="connsiteX911" fmla="*/ 138865 w 245460"/>
                  <a:gd name="connsiteY911" fmla="*/ 220597 h 259743"/>
                  <a:gd name="connsiteX912" fmla="*/ 137102 w 245460"/>
                  <a:gd name="connsiteY912" fmla="*/ 220862 h 259743"/>
                  <a:gd name="connsiteX913" fmla="*/ 137102 w 245460"/>
                  <a:gd name="connsiteY913" fmla="*/ 220597 h 259743"/>
                  <a:gd name="connsiteX914" fmla="*/ 136485 w 245460"/>
                  <a:gd name="connsiteY914" fmla="*/ 220597 h 259743"/>
                  <a:gd name="connsiteX915" fmla="*/ 135074 w 245460"/>
                  <a:gd name="connsiteY915" fmla="*/ 221126 h 259743"/>
                  <a:gd name="connsiteX916" fmla="*/ 135603 w 245460"/>
                  <a:gd name="connsiteY916" fmla="*/ 222008 h 259743"/>
                  <a:gd name="connsiteX917" fmla="*/ 135603 w 245460"/>
                  <a:gd name="connsiteY917" fmla="*/ 222890 h 259743"/>
                  <a:gd name="connsiteX918" fmla="*/ 133311 w 245460"/>
                  <a:gd name="connsiteY918" fmla="*/ 223154 h 259743"/>
                  <a:gd name="connsiteX919" fmla="*/ 132164 w 245460"/>
                  <a:gd name="connsiteY919" fmla="*/ 224036 h 259743"/>
                  <a:gd name="connsiteX920" fmla="*/ 130401 w 245460"/>
                  <a:gd name="connsiteY920" fmla="*/ 222890 h 259743"/>
                  <a:gd name="connsiteX921" fmla="*/ 131018 w 245460"/>
                  <a:gd name="connsiteY921" fmla="*/ 221743 h 259743"/>
                  <a:gd name="connsiteX922" fmla="*/ 130401 w 245460"/>
                  <a:gd name="connsiteY922" fmla="*/ 220862 h 259743"/>
                  <a:gd name="connsiteX923" fmla="*/ 129519 w 245460"/>
                  <a:gd name="connsiteY923" fmla="*/ 220862 h 259743"/>
                  <a:gd name="connsiteX924" fmla="*/ 129519 w 245460"/>
                  <a:gd name="connsiteY924" fmla="*/ 220597 h 259743"/>
                  <a:gd name="connsiteX925" fmla="*/ 128020 w 245460"/>
                  <a:gd name="connsiteY925" fmla="*/ 219980 h 259743"/>
                  <a:gd name="connsiteX926" fmla="*/ 128285 w 245460"/>
                  <a:gd name="connsiteY926" fmla="*/ 221126 h 259743"/>
                  <a:gd name="connsiteX927" fmla="*/ 128020 w 245460"/>
                  <a:gd name="connsiteY927" fmla="*/ 221743 h 259743"/>
                  <a:gd name="connsiteX928" fmla="*/ 126257 w 245460"/>
                  <a:gd name="connsiteY928" fmla="*/ 221479 h 259743"/>
                  <a:gd name="connsiteX929" fmla="*/ 126257 w 245460"/>
                  <a:gd name="connsiteY929" fmla="*/ 222978 h 259743"/>
                  <a:gd name="connsiteX930" fmla="*/ 125111 w 245460"/>
                  <a:gd name="connsiteY930" fmla="*/ 222978 h 259743"/>
                  <a:gd name="connsiteX931" fmla="*/ 123347 w 245460"/>
                  <a:gd name="connsiteY931" fmla="*/ 223595 h 259743"/>
                  <a:gd name="connsiteX932" fmla="*/ 122730 w 245460"/>
                  <a:gd name="connsiteY932" fmla="*/ 224741 h 259743"/>
                  <a:gd name="connsiteX933" fmla="*/ 122730 w 245460"/>
                  <a:gd name="connsiteY933" fmla="*/ 225358 h 259743"/>
                  <a:gd name="connsiteX934" fmla="*/ 122730 w 245460"/>
                  <a:gd name="connsiteY934" fmla="*/ 225887 h 259743"/>
                  <a:gd name="connsiteX935" fmla="*/ 122995 w 245460"/>
                  <a:gd name="connsiteY935" fmla="*/ 227915 h 259743"/>
                  <a:gd name="connsiteX936" fmla="*/ 122995 w 245460"/>
                  <a:gd name="connsiteY936" fmla="*/ 228532 h 259743"/>
                  <a:gd name="connsiteX937" fmla="*/ 121849 w 245460"/>
                  <a:gd name="connsiteY937" fmla="*/ 229679 h 259743"/>
                  <a:gd name="connsiteX938" fmla="*/ 122466 w 245460"/>
                  <a:gd name="connsiteY938" fmla="*/ 230560 h 259743"/>
                  <a:gd name="connsiteX939" fmla="*/ 123083 w 245460"/>
                  <a:gd name="connsiteY939" fmla="*/ 231971 h 259743"/>
                  <a:gd name="connsiteX940" fmla="*/ 124229 w 245460"/>
                  <a:gd name="connsiteY940" fmla="*/ 232588 h 259743"/>
                  <a:gd name="connsiteX941" fmla="*/ 125375 w 245460"/>
                  <a:gd name="connsiteY941" fmla="*/ 233470 h 259743"/>
                  <a:gd name="connsiteX942" fmla="*/ 126522 w 245460"/>
                  <a:gd name="connsiteY942" fmla="*/ 234616 h 259743"/>
                  <a:gd name="connsiteX943" fmla="*/ 127668 w 245460"/>
                  <a:gd name="connsiteY943" fmla="*/ 235233 h 259743"/>
                  <a:gd name="connsiteX944" fmla="*/ 129696 w 245460"/>
                  <a:gd name="connsiteY944" fmla="*/ 234616 h 259743"/>
                  <a:gd name="connsiteX945" fmla="*/ 133222 w 245460"/>
                  <a:gd name="connsiteY945" fmla="*/ 235233 h 259743"/>
                  <a:gd name="connsiteX946" fmla="*/ 133751 w 245460"/>
                  <a:gd name="connsiteY946" fmla="*/ 235850 h 259743"/>
                  <a:gd name="connsiteX947" fmla="*/ 133751 w 245460"/>
                  <a:gd name="connsiteY947" fmla="*/ 236997 h 259743"/>
                  <a:gd name="connsiteX948" fmla="*/ 136396 w 245460"/>
                  <a:gd name="connsiteY948" fmla="*/ 238496 h 259743"/>
                  <a:gd name="connsiteX949" fmla="*/ 139570 w 245460"/>
                  <a:gd name="connsiteY949" fmla="*/ 239377 h 259743"/>
                  <a:gd name="connsiteX950" fmla="*/ 140981 w 245460"/>
                  <a:gd name="connsiteY950" fmla="*/ 240523 h 259743"/>
                  <a:gd name="connsiteX951" fmla="*/ 143362 w 245460"/>
                  <a:gd name="connsiteY951" fmla="*/ 241670 h 259743"/>
                  <a:gd name="connsiteX952" fmla="*/ 144243 w 245460"/>
                  <a:gd name="connsiteY952" fmla="*/ 243168 h 259743"/>
                  <a:gd name="connsiteX953" fmla="*/ 147506 w 245460"/>
                  <a:gd name="connsiteY953" fmla="*/ 243168 h 259743"/>
                  <a:gd name="connsiteX954" fmla="*/ 149269 w 245460"/>
                  <a:gd name="connsiteY954" fmla="*/ 245813 h 259743"/>
                  <a:gd name="connsiteX955" fmla="*/ 151649 w 245460"/>
                  <a:gd name="connsiteY955" fmla="*/ 246078 h 259743"/>
                  <a:gd name="connsiteX956" fmla="*/ 152531 w 245460"/>
                  <a:gd name="connsiteY956" fmla="*/ 246078 h 259743"/>
                  <a:gd name="connsiteX957" fmla="*/ 152796 w 245460"/>
                  <a:gd name="connsiteY957" fmla="*/ 246960 h 259743"/>
                  <a:gd name="connsiteX958" fmla="*/ 154559 w 245460"/>
                  <a:gd name="connsiteY958" fmla="*/ 245813 h 259743"/>
                  <a:gd name="connsiteX959" fmla="*/ 158615 w 245460"/>
                  <a:gd name="connsiteY959" fmla="*/ 246078 h 259743"/>
                  <a:gd name="connsiteX960" fmla="*/ 161789 w 245460"/>
                  <a:gd name="connsiteY960" fmla="*/ 248370 h 259743"/>
                  <a:gd name="connsiteX961" fmla="*/ 163288 w 245460"/>
                  <a:gd name="connsiteY961" fmla="*/ 250134 h 259743"/>
                  <a:gd name="connsiteX962" fmla="*/ 165933 w 245460"/>
                  <a:gd name="connsiteY962" fmla="*/ 253043 h 259743"/>
                  <a:gd name="connsiteX963" fmla="*/ 166550 w 245460"/>
                  <a:gd name="connsiteY963" fmla="*/ 254189 h 259743"/>
                  <a:gd name="connsiteX964" fmla="*/ 167432 w 245460"/>
                  <a:gd name="connsiteY964" fmla="*/ 255336 h 259743"/>
                  <a:gd name="connsiteX965" fmla="*/ 169724 w 245460"/>
                  <a:gd name="connsiteY965" fmla="*/ 255336 h 259743"/>
                  <a:gd name="connsiteX966" fmla="*/ 171223 w 245460"/>
                  <a:gd name="connsiteY966" fmla="*/ 255953 h 259743"/>
                  <a:gd name="connsiteX967" fmla="*/ 171223 w 245460"/>
                  <a:gd name="connsiteY967" fmla="*/ 256835 h 259743"/>
                  <a:gd name="connsiteX968" fmla="*/ 171840 w 245460"/>
                  <a:gd name="connsiteY968" fmla="*/ 256835 h 259743"/>
                  <a:gd name="connsiteX969" fmla="*/ 173868 w 245460"/>
                  <a:gd name="connsiteY969" fmla="*/ 257364 h 259743"/>
                  <a:gd name="connsiteX970" fmla="*/ 174133 w 245460"/>
                  <a:gd name="connsiteY970" fmla="*/ 256835 h 259743"/>
                  <a:gd name="connsiteX971" fmla="*/ 176777 w 245460"/>
                  <a:gd name="connsiteY971" fmla="*/ 256835 h 259743"/>
                  <a:gd name="connsiteX972" fmla="*/ 176777 w 245460"/>
                  <a:gd name="connsiteY972" fmla="*/ 257364 h 259743"/>
                  <a:gd name="connsiteX973" fmla="*/ 177659 w 245460"/>
                  <a:gd name="connsiteY973" fmla="*/ 257981 h 259743"/>
                  <a:gd name="connsiteX974" fmla="*/ 177395 w 245460"/>
                  <a:gd name="connsiteY974" fmla="*/ 257364 h 259743"/>
                  <a:gd name="connsiteX975" fmla="*/ 180040 w 245460"/>
                  <a:gd name="connsiteY975" fmla="*/ 259744 h 259743"/>
                  <a:gd name="connsiteX976" fmla="*/ 180833 w 245460"/>
                  <a:gd name="connsiteY976" fmla="*/ 257981 h 259743"/>
                  <a:gd name="connsiteX977" fmla="*/ 74943 w 245460"/>
                  <a:gd name="connsiteY977" fmla="*/ 106860 h 259743"/>
                  <a:gd name="connsiteX978" fmla="*/ 75208 w 245460"/>
                  <a:gd name="connsiteY978" fmla="*/ 106860 h 259743"/>
                  <a:gd name="connsiteX979" fmla="*/ 74943 w 245460"/>
                  <a:gd name="connsiteY979" fmla="*/ 106596 h 259743"/>
                  <a:gd name="connsiteX980" fmla="*/ 74943 w 245460"/>
                  <a:gd name="connsiteY980" fmla="*/ 106331 h 259743"/>
                  <a:gd name="connsiteX981" fmla="*/ 74679 w 245460"/>
                  <a:gd name="connsiteY981" fmla="*/ 106331 h 259743"/>
                  <a:gd name="connsiteX982" fmla="*/ 75296 w 245460"/>
                  <a:gd name="connsiteY982" fmla="*/ 106331 h 259743"/>
                  <a:gd name="connsiteX983" fmla="*/ 75560 w 245460"/>
                  <a:gd name="connsiteY983" fmla="*/ 106596 h 259743"/>
                  <a:gd name="connsiteX984" fmla="*/ 75560 w 245460"/>
                  <a:gd name="connsiteY984" fmla="*/ 106331 h 259743"/>
                  <a:gd name="connsiteX985" fmla="*/ 75825 w 245460"/>
                  <a:gd name="connsiteY985" fmla="*/ 106331 h 259743"/>
                  <a:gd name="connsiteX986" fmla="*/ 76089 w 245460"/>
                  <a:gd name="connsiteY986" fmla="*/ 106331 h 259743"/>
                  <a:gd name="connsiteX987" fmla="*/ 76706 w 245460"/>
                  <a:gd name="connsiteY987" fmla="*/ 106596 h 259743"/>
                  <a:gd name="connsiteX988" fmla="*/ 77236 w 245460"/>
                  <a:gd name="connsiteY988" fmla="*/ 106596 h 259743"/>
                  <a:gd name="connsiteX989" fmla="*/ 77500 w 245460"/>
                  <a:gd name="connsiteY989" fmla="*/ 106331 h 259743"/>
                  <a:gd name="connsiteX990" fmla="*/ 77236 w 245460"/>
                  <a:gd name="connsiteY990" fmla="*/ 106067 h 259743"/>
                  <a:gd name="connsiteX991" fmla="*/ 77236 w 245460"/>
                  <a:gd name="connsiteY991" fmla="*/ 105802 h 259743"/>
                  <a:gd name="connsiteX992" fmla="*/ 77500 w 245460"/>
                  <a:gd name="connsiteY992" fmla="*/ 105538 h 259743"/>
                  <a:gd name="connsiteX993" fmla="*/ 77500 w 245460"/>
                  <a:gd name="connsiteY993" fmla="*/ 105273 h 259743"/>
                  <a:gd name="connsiteX994" fmla="*/ 77765 w 245460"/>
                  <a:gd name="connsiteY994" fmla="*/ 105273 h 259743"/>
                  <a:gd name="connsiteX995" fmla="*/ 77500 w 245460"/>
                  <a:gd name="connsiteY995" fmla="*/ 105273 h 259743"/>
                  <a:gd name="connsiteX996" fmla="*/ 77500 w 245460"/>
                  <a:gd name="connsiteY996" fmla="*/ 105009 h 259743"/>
                  <a:gd name="connsiteX997" fmla="*/ 77765 w 245460"/>
                  <a:gd name="connsiteY997" fmla="*/ 105009 h 259743"/>
                  <a:gd name="connsiteX998" fmla="*/ 77147 w 245460"/>
                  <a:gd name="connsiteY998" fmla="*/ 104744 h 259743"/>
                  <a:gd name="connsiteX999" fmla="*/ 77412 w 245460"/>
                  <a:gd name="connsiteY999" fmla="*/ 104744 h 259743"/>
                  <a:gd name="connsiteX1000" fmla="*/ 77147 w 245460"/>
                  <a:gd name="connsiteY1000" fmla="*/ 104479 h 259743"/>
                  <a:gd name="connsiteX1001" fmla="*/ 77412 w 245460"/>
                  <a:gd name="connsiteY1001" fmla="*/ 104479 h 259743"/>
                  <a:gd name="connsiteX1002" fmla="*/ 77676 w 245460"/>
                  <a:gd name="connsiteY1002" fmla="*/ 104215 h 259743"/>
                  <a:gd name="connsiteX1003" fmla="*/ 77676 w 245460"/>
                  <a:gd name="connsiteY1003" fmla="*/ 103950 h 259743"/>
                  <a:gd name="connsiteX1004" fmla="*/ 77412 w 245460"/>
                  <a:gd name="connsiteY1004" fmla="*/ 103950 h 259743"/>
                  <a:gd name="connsiteX1005" fmla="*/ 77412 w 245460"/>
                  <a:gd name="connsiteY1005" fmla="*/ 103686 h 259743"/>
                  <a:gd name="connsiteX1006" fmla="*/ 77147 w 245460"/>
                  <a:gd name="connsiteY1006" fmla="*/ 103686 h 259743"/>
                  <a:gd name="connsiteX1007" fmla="*/ 77412 w 245460"/>
                  <a:gd name="connsiteY1007" fmla="*/ 103686 h 259743"/>
                  <a:gd name="connsiteX1008" fmla="*/ 77147 w 245460"/>
                  <a:gd name="connsiteY1008" fmla="*/ 103686 h 259743"/>
                  <a:gd name="connsiteX1009" fmla="*/ 76883 w 245460"/>
                  <a:gd name="connsiteY1009" fmla="*/ 103421 h 259743"/>
                  <a:gd name="connsiteX1010" fmla="*/ 76618 w 245460"/>
                  <a:gd name="connsiteY1010" fmla="*/ 103421 h 259743"/>
                  <a:gd name="connsiteX1011" fmla="*/ 76883 w 245460"/>
                  <a:gd name="connsiteY1011" fmla="*/ 103157 h 259743"/>
                  <a:gd name="connsiteX1012" fmla="*/ 76266 w 245460"/>
                  <a:gd name="connsiteY1012" fmla="*/ 103157 h 259743"/>
                  <a:gd name="connsiteX1013" fmla="*/ 76530 w 245460"/>
                  <a:gd name="connsiteY1013" fmla="*/ 103157 h 259743"/>
                  <a:gd name="connsiteX1014" fmla="*/ 76795 w 245460"/>
                  <a:gd name="connsiteY1014" fmla="*/ 103157 h 259743"/>
                  <a:gd name="connsiteX1015" fmla="*/ 76530 w 245460"/>
                  <a:gd name="connsiteY1015" fmla="*/ 103157 h 259743"/>
                  <a:gd name="connsiteX1016" fmla="*/ 76266 w 245460"/>
                  <a:gd name="connsiteY1016" fmla="*/ 103157 h 259743"/>
                  <a:gd name="connsiteX1017" fmla="*/ 75913 w 245460"/>
                  <a:gd name="connsiteY1017" fmla="*/ 103157 h 259743"/>
                  <a:gd name="connsiteX1018" fmla="*/ 76266 w 245460"/>
                  <a:gd name="connsiteY1018" fmla="*/ 102892 h 259743"/>
                  <a:gd name="connsiteX1019" fmla="*/ 75384 w 245460"/>
                  <a:gd name="connsiteY1019" fmla="*/ 102892 h 259743"/>
                  <a:gd name="connsiteX1020" fmla="*/ 74855 w 245460"/>
                  <a:gd name="connsiteY1020" fmla="*/ 102892 h 259743"/>
                  <a:gd name="connsiteX1021" fmla="*/ 74855 w 245460"/>
                  <a:gd name="connsiteY1021" fmla="*/ 103157 h 259743"/>
                  <a:gd name="connsiteX1022" fmla="*/ 74238 w 245460"/>
                  <a:gd name="connsiteY1022" fmla="*/ 103157 h 259743"/>
                  <a:gd name="connsiteX1023" fmla="*/ 73973 w 245460"/>
                  <a:gd name="connsiteY1023" fmla="*/ 103157 h 259743"/>
                  <a:gd name="connsiteX1024" fmla="*/ 73973 w 245460"/>
                  <a:gd name="connsiteY1024" fmla="*/ 103421 h 259743"/>
                  <a:gd name="connsiteX1025" fmla="*/ 73356 w 245460"/>
                  <a:gd name="connsiteY1025" fmla="*/ 103421 h 259743"/>
                  <a:gd name="connsiteX1026" fmla="*/ 73092 w 245460"/>
                  <a:gd name="connsiteY1026" fmla="*/ 103421 h 259743"/>
                  <a:gd name="connsiteX1027" fmla="*/ 72827 w 245460"/>
                  <a:gd name="connsiteY1027" fmla="*/ 103421 h 259743"/>
                  <a:gd name="connsiteX1028" fmla="*/ 72827 w 245460"/>
                  <a:gd name="connsiteY1028" fmla="*/ 103686 h 259743"/>
                  <a:gd name="connsiteX1029" fmla="*/ 71945 w 245460"/>
                  <a:gd name="connsiteY1029" fmla="*/ 103686 h 259743"/>
                  <a:gd name="connsiteX1030" fmla="*/ 71328 w 245460"/>
                  <a:gd name="connsiteY1030" fmla="*/ 103686 h 259743"/>
                  <a:gd name="connsiteX1031" fmla="*/ 71328 w 245460"/>
                  <a:gd name="connsiteY1031" fmla="*/ 103421 h 259743"/>
                  <a:gd name="connsiteX1032" fmla="*/ 71064 w 245460"/>
                  <a:gd name="connsiteY1032" fmla="*/ 103421 h 259743"/>
                  <a:gd name="connsiteX1033" fmla="*/ 70799 w 245460"/>
                  <a:gd name="connsiteY1033" fmla="*/ 103686 h 259743"/>
                  <a:gd name="connsiteX1034" fmla="*/ 71416 w 245460"/>
                  <a:gd name="connsiteY1034" fmla="*/ 103950 h 259743"/>
                  <a:gd name="connsiteX1035" fmla="*/ 71152 w 245460"/>
                  <a:gd name="connsiteY1035" fmla="*/ 103950 h 259743"/>
                  <a:gd name="connsiteX1036" fmla="*/ 70887 w 245460"/>
                  <a:gd name="connsiteY1036" fmla="*/ 103950 h 259743"/>
                  <a:gd name="connsiteX1037" fmla="*/ 71152 w 245460"/>
                  <a:gd name="connsiteY1037" fmla="*/ 104215 h 259743"/>
                  <a:gd name="connsiteX1038" fmla="*/ 71152 w 245460"/>
                  <a:gd name="connsiteY1038" fmla="*/ 103950 h 259743"/>
                  <a:gd name="connsiteX1039" fmla="*/ 71416 w 245460"/>
                  <a:gd name="connsiteY1039" fmla="*/ 103950 h 259743"/>
                  <a:gd name="connsiteX1040" fmla="*/ 71416 w 245460"/>
                  <a:gd name="connsiteY1040" fmla="*/ 104215 h 259743"/>
                  <a:gd name="connsiteX1041" fmla="*/ 72033 w 245460"/>
                  <a:gd name="connsiteY1041" fmla="*/ 104215 h 259743"/>
                  <a:gd name="connsiteX1042" fmla="*/ 72298 w 245460"/>
                  <a:gd name="connsiteY1042" fmla="*/ 104215 h 259743"/>
                  <a:gd name="connsiteX1043" fmla="*/ 72033 w 245460"/>
                  <a:gd name="connsiteY1043" fmla="*/ 104479 h 259743"/>
                  <a:gd name="connsiteX1044" fmla="*/ 72298 w 245460"/>
                  <a:gd name="connsiteY1044" fmla="*/ 104479 h 259743"/>
                  <a:gd name="connsiteX1045" fmla="*/ 72298 w 245460"/>
                  <a:gd name="connsiteY1045" fmla="*/ 104744 h 259743"/>
                  <a:gd name="connsiteX1046" fmla="*/ 72298 w 245460"/>
                  <a:gd name="connsiteY1046" fmla="*/ 105009 h 259743"/>
                  <a:gd name="connsiteX1047" fmla="*/ 72033 w 245460"/>
                  <a:gd name="connsiteY1047" fmla="*/ 105009 h 259743"/>
                  <a:gd name="connsiteX1048" fmla="*/ 72298 w 245460"/>
                  <a:gd name="connsiteY1048" fmla="*/ 105009 h 259743"/>
                  <a:gd name="connsiteX1049" fmla="*/ 72298 w 245460"/>
                  <a:gd name="connsiteY1049" fmla="*/ 105273 h 259743"/>
                  <a:gd name="connsiteX1050" fmla="*/ 72915 w 245460"/>
                  <a:gd name="connsiteY1050" fmla="*/ 105273 h 259743"/>
                  <a:gd name="connsiteX1051" fmla="*/ 72915 w 245460"/>
                  <a:gd name="connsiteY1051" fmla="*/ 105538 h 259743"/>
                  <a:gd name="connsiteX1052" fmla="*/ 72651 w 245460"/>
                  <a:gd name="connsiteY1052" fmla="*/ 105538 h 259743"/>
                  <a:gd name="connsiteX1053" fmla="*/ 72386 w 245460"/>
                  <a:gd name="connsiteY1053" fmla="*/ 105538 h 259743"/>
                  <a:gd name="connsiteX1054" fmla="*/ 72386 w 245460"/>
                  <a:gd name="connsiteY1054" fmla="*/ 105802 h 259743"/>
                  <a:gd name="connsiteX1055" fmla="*/ 72386 w 245460"/>
                  <a:gd name="connsiteY1055" fmla="*/ 106067 h 259743"/>
                  <a:gd name="connsiteX1056" fmla="*/ 72122 w 245460"/>
                  <a:gd name="connsiteY1056" fmla="*/ 106067 h 259743"/>
                  <a:gd name="connsiteX1057" fmla="*/ 72386 w 245460"/>
                  <a:gd name="connsiteY1057" fmla="*/ 106067 h 259743"/>
                  <a:gd name="connsiteX1058" fmla="*/ 72386 w 245460"/>
                  <a:gd name="connsiteY1058" fmla="*/ 106331 h 259743"/>
                  <a:gd name="connsiteX1059" fmla="*/ 72122 w 245460"/>
                  <a:gd name="connsiteY1059" fmla="*/ 106331 h 259743"/>
                  <a:gd name="connsiteX1060" fmla="*/ 72386 w 245460"/>
                  <a:gd name="connsiteY1060" fmla="*/ 106331 h 259743"/>
                  <a:gd name="connsiteX1061" fmla="*/ 72386 w 245460"/>
                  <a:gd name="connsiteY1061" fmla="*/ 106596 h 259743"/>
                  <a:gd name="connsiteX1062" fmla="*/ 72651 w 245460"/>
                  <a:gd name="connsiteY1062" fmla="*/ 106596 h 259743"/>
                  <a:gd name="connsiteX1063" fmla="*/ 72915 w 245460"/>
                  <a:gd name="connsiteY1063" fmla="*/ 106596 h 259743"/>
                  <a:gd name="connsiteX1064" fmla="*/ 72651 w 245460"/>
                  <a:gd name="connsiteY1064" fmla="*/ 106860 h 259743"/>
                  <a:gd name="connsiteX1065" fmla="*/ 72915 w 245460"/>
                  <a:gd name="connsiteY1065" fmla="*/ 106860 h 259743"/>
                  <a:gd name="connsiteX1066" fmla="*/ 73180 w 245460"/>
                  <a:gd name="connsiteY1066" fmla="*/ 106860 h 259743"/>
                  <a:gd name="connsiteX1067" fmla="*/ 73797 w 245460"/>
                  <a:gd name="connsiteY1067" fmla="*/ 106860 h 259743"/>
                  <a:gd name="connsiteX1068" fmla="*/ 74414 w 245460"/>
                  <a:gd name="connsiteY1068" fmla="*/ 107125 h 259743"/>
                  <a:gd name="connsiteX1069" fmla="*/ 74943 w 245460"/>
                  <a:gd name="connsiteY1069" fmla="*/ 106860 h 259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</a:cxnLst>
                <a:rect l="l" t="t" r="r" b="b"/>
                <a:pathLst>
                  <a:path w="245460" h="259743">
                    <a:moveTo>
                      <a:pt x="199525" y="224741"/>
                    </a:moveTo>
                    <a:lnTo>
                      <a:pt x="199525" y="223595"/>
                    </a:lnTo>
                    <a:lnTo>
                      <a:pt x="199790" y="222713"/>
                    </a:lnTo>
                    <a:lnTo>
                      <a:pt x="200054" y="221567"/>
                    </a:lnTo>
                    <a:lnTo>
                      <a:pt x="201553" y="220068"/>
                    </a:lnTo>
                    <a:lnTo>
                      <a:pt x="203052" y="219451"/>
                    </a:lnTo>
                    <a:lnTo>
                      <a:pt x="203669" y="217952"/>
                    </a:lnTo>
                    <a:lnTo>
                      <a:pt x="205168" y="217335"/>
                    </a:lnTo>
                    <a:lnTo>
                      <a:pt x="206314" y="217071"/>
                    </a:lnTo>
                    <a:lnTo>
                      <a:pt x="207725" y="214425"/>
                    </a:lnTo>
                    <a:lnTo>
                      <a:pt x="208342" y="212398"/>
                    </a:lnTo>
                    <a:lnTo>
                      <a:pt x="207460" y="210370"/>
                    </a:lnTo>
                    <a:lnTo>
                      <a:pt x="208077" y="207989"/>
                    </a:lnTo>
                    <a:lnTo>
                      <a:pt x="207460" y="208254"/>
                    </a:lnTo>
                    <a:lnTo>
                      <a:pt x="206843" y="207637"/>
                    </a:lnTo>
                    <a:lnTo>
                      <a:pt x="207107" y="206226"/>
                    </a:lnTo>
                    <a:lnTo>
                      <a:pt x="207372" y="205609"/>
                    </a:lnTo>
                    <a:lnTo>
                      <a:pt x="208254" y="204463"/>
                    </a:lnTo>
                    <a:lnTo>
                      <a:pt x="211428" y="202699"/>
                    </a:lnTo>
                    <a:lnTo>
                      <a:pt x="211692" y="201817"/>
                    </a:lnTo>
                    <a:lnTo>
                      <a:pt x="212309" y="200936"/>
                    </a:lnTo>
                    <a:lnTo>
                      <a:pt x="213808" y="200936"/>
                    </a:lnTo>
                    <a:lnTo>
                      <a:pt x="214073" y="200936"/>
                    </a:lnTo>
                    <a:lnTo>
                      <a:pt x="215219" y="200936"/>
                    </a:lnTo>
                    <a:lnTo>
                      <a:pt x="215836" y="201817"/>
                    </a:lnTo>
                    <a:lnTo>
                      <a:pt x="216718" y="202082"/>
                    </a:lnTo>
                    <a:lnTo>
                      <a:pt x="217864" y="201200"/>
                    </a:lnTo>
                    <a:lnTo>
                      <a:pt x="217864" y="201817"/>
                    </a:lnTo>
                    <a:lnTo>
                      <a:pt x="219010" y="200671"/>
                    </a:lnTo>
                    <a:lnTo>
                      <a:pt x="219010" y="199790"/>
                    </a:lnTo>
                    <a:lnTo>
                      <a:pt x="218746" y="199525"/>
                    </a:lnTo>
                    <a:lnTo>
                      <a:pt x="218746" y="198643"/>
                    </a:lnTo>
                    <a:lnTo>
                      <a:pt x="218746" y="197497"/>
                    </a:lnTo>
                    <a:lnTo>
                      <a:pt x="219627" y="196351"/>
                    </a:lnTo>
                    <a:lnTo>
                      <a:pt x="218217" y="195469"/>
                    </a:lnTo>
                    <a:lnTo>
                      <a:pt x="218481" y="194323"/>
                    </a:lnTo>
                    <a:lnTo>
                      <a:pt x="217864" y="193441"/>
                    </a:lnTo>
                    <a:lnTo>
                      <a:pt x="218481" y="192295"/>
                    </a:lnTo>
                    <a:lnTo>
                      <a:pt x="218217" y="191149"/>
                    </a:lnTo>
                    <a:lnTo>
                      <a:pt x="218217" y="189386"/>
                    </a:lnTo>
                    <a:lnTo>
                      <a:pt x="217071" y="188239"/>
                    </a:lnTo>
                    <a:lnTo>
                      <a:pt x="215924" y="188504"/>
                    </a:lnTo>
                    <a:lnTo>
                      <a:pt x="215043" y="187358"/>
                    </a:lnTo>
                    <a:lnTo>
                      <a:pt x="213897" y="186741"/>
                    </a:lnTo>
                    <a:lnTo>
                      <a:pt x="212750" y="186123"/>
                    </a:lnTo>
                    <a:lnTo>
                      <a:pt x="209224" y="184096"/>
                    </a:lnTo>
                    <a:lnTo>
                      <a:pt x="208077" y="184096"/>
                    </a:lnTo>
                    <a:lnTo>
                      <a:pt x="205697" y="183478"/>
                    </a:lnTo>
                    <a:lnTo>
                      <a:pt x="205697" y="181451"/>
                    </a:lnTo>
                    <a:lnTo>
                      <a:pt x="204815" y="180833"/>
                    </a:lnTo>
                    <a:lnTo>
                      <a:pt x="204198" y="179070"/>
                    </a:lnTo>
                    <a:lnTo>
                      <a:pt x="205344" y="178453"/>
                    </a:lnTo>
                    <a:lnTo>
                      <a:pt x="207372" y="175279"/>
                    </a:lnTo>
                    <a:lnTo>
                      <a:pt x="206226" y="172634"/>
                    </a:lnTo>
                    <a:lnTo>
                      <a:pt x="207107" y="170870"/>
                    </a:lnTo>
                    <a:lnTo>
                      <a:pt x="208871" y="170606"/>
                    </a:lnTo>
                    <a:lnTo>
                      <a:pt x="209488" y="169989"/>
                    </a:lnTo>
                    <a:lnTo>
                      <a:pt x="211251" y="169724"/>
                    </a:lnTo>
                    <a:lnTo>
                      <a:pt x="211251" y="168313"/>
                    </a:lnTo>
                    <a:lnTo>
                      <a:pt x="211251" y="167696"/>
                    </a:lnTo>
                    <a:lnTo>
                      <a:pt x="213279" y="166815"/>
                    </a:lnTo>
                    <a:lnTo>
                      <a:pt x="211780" y="164787"/>
                    </a:lnTo>
                    <a:lnTo>
                      <a:pt x="212927" y="162494"/>
                    </a:lnTo>
                    <a:lnTo>
                      <a:pt x="215836" y="161877"/>
                    </a:lnTo>
                    <a:lnTo>
                      <a:pt x="218217" y="164258"/>
                    </a:lnTo>
                    <a:lnTo>
                      <a:pt x="219363" y="165139"/>
                    </a:lnTo>
                    <a:lnTo>
                      <a:pt x="220245" y="165139"/>
                    </a:lnTo>
                    <a:lnTo>
                      <a:pt x="221126" y="166021"/>
                    </a:lnTo>
                    <a:lnTo>
                      <a:pt x="223154" y="167167"/>
                    </a:lnTo>
                    <a:lnTo>
                      <a:pt x="224300" y="167167"/>
                    </a:lnTo>
                    <a:lnTo>
                      <a:pt x="225799" y="167696"/>
                    </a:lnTo>
                    <a:lnTo>
                      <a:pt x="226945" y="168049"/>
                    </a:lnTo>
                    <a:lnTo>
                      <a:pt x="227827" y="167432"/>
                    </a:lnTo>
                    <a:lnTo>
                      <a:pt x="227827" y="168313"/>
                    </a:lnTo>
                    <a:lnTo>
                      <a:pt x="228444" y="169724"/>
                    </a:lnTo>
                    <a:lnTo>
                      <a:pt x="229591" y="170341"/>
                    </a:lnTo>
                    <a:lnTo>
                      <a:pt x="230737" y="171223"/>
                    </a:lnTo>
                    <a:lnTo>
                      <a:pt x="231354" y="171840"/>
                    </a:lnTo>
                    <a:lnTo>
                      <a:pt x="232235" y="172457"/>
                    </a:lnTo>
                    <a:lnTo>
                      <a:pt x="232235" y="173604"/>
                    </a:lnTo>
                    <a:lnTo>
                      <a:pt x="232500" y="175014"/>
                    </a:lnTo>
                    <a:lnTo>
                      <a:pt x="232764" y="175279"/>
                    </a:lnTo>
                    <a:lnTo>
                      <a:pt x="233029" y="177042"/>
                    </a:lnTo>
                    <a:lnTo>
                      <a:pt x="233293" y="177924"/>
                    </a:lnTo>
                    <a:lnTo>
                      <a:pt x="235321" y="178805"/>
                    </a:lnTo>
                    <a:lnTo>
                      <a:pt x="236820" y="179070"/>
                    </a:lnTo>
                    <a:lnTo>
                      <a:pt x="239113" y="180216"/>
                    </a:lnTo>
                    <a:lnTo>
                      <a:pt x="240876" y="180481"/>
                    </a:lnTo>
                    <a:lnTo>
                      <a:pt x="242287" y="178717"/>
                    </a:lnTo>
                    <a:lnTo>
                      <a:pt x="243168" y="178717"/>
                    </a:lnTo>
                    <a:lnTo>
                      <a:pt x="244050" y="178100"/>
                    </a:lnTo>
                    <a:lnTo>
                      <a:pt x="245461" y="176954"/>
                    </a:lnTo>
                    <a:lnTo>
                      <a:pt x="245196" y="175191"/>
                    </a:lnTo>
                    <a:lnTo>
                      <a:pt x="244932" y="174926"/>
                    </a:lnTo>
                    <a:lnTo>
                      <a:pt x="244667" y="173780"/>
                    </a:lnTo>
                    <a:lnTo>
                      <a:pt x="245284" y="172898"/>
                    </a:lnTo>
                    <a:lnTo>
                      <a:pt x="245020" y="171399"/>
                    </a:lnTo>
                    <a:lnTo>
                      <a:pt x="244756" y="170253"/>
                    </a:lnTo>
                    <a:lnTo>
                      <a:pt x="244226" y="167961"/>
                    </a:lnTo>
                    <a:lnTo>
                      <a:pt x="241846" y="167079"/>
                    </a:lnTo>
                    <a:lnTo>
                      <a:pt x="242728" y="165580"/>
                    </a:lnTo>
                    <a:lnTo>
                      <a:pt x="240964" y="164169"/>
                    </a:lnTo>
                    <a:lnTo>
                      <a:pt x="238584" y="163905"/>
                    </a:lnTo>
                    <a:lnTo>
                      <a:pt x="236820" y="162759"/>
                    </a:lnTo>
                    <a:lnTo>
                      <a:pt x="234792" y="159849"/>
                    </a:lnTo>
                    <a:lnTo>
                      <a:pt x="233911" y="158086"/>
                    </a:lnTo>
                    <a:lnTo>
                      <a:pt x="234792" y="157204"/>
                    </a:lnTo>
                    <a:lnTo>
                      <a:pt x="234792" y="156058"/>
                    </a:lnTo>
                    <a:lnTo>
                      <a:pt x="232764" y="155794"/>
                    </a:lnTo>
                    <a:lnTo>
                      <a:pt x="231266" y="156058"/>
                    </a:lnTo>
                    <a:lnTo>
                      <a:pt x="230384" y="156058"/>
                    </a:lnTo>
                    <a:lnTo>
                      <a:pt x="228973" y="154912"/>
                    </a:lnTo>
                    <a:lnTo>
                      <a:pt x="226945" y="154030"/>
                    </a:lnTo>
                    <a:lnTo>
                      <a:pt x="225535" y="153148"/>
                    </a:lnTo>
                    <a:lnTo>
                      <a:pt x="224388" y="152002"/>
                    </a:lnTo>
                    <a:lnTo>
                      <a:pt x="221479" y="150239"/>
                    </a:lnTo>
                    <a:lnTo>
                      <a:pt x="219980" y="150239"/>
                    </a:lnTo>
                    <a:lnTo>
                      <a:pt x="217335" y="148740"/>
                    </a:lnTo>
                    <a:lnTo>
                      <a:pt x="215572" y="147241"/>
                    </a:lnTo>
                    <a:lnTo>
                      <a:pt x="213808" y="146359"/>
                    </a:lnTo>
                    <a:lnTo>
                      <a:pt x="212045" y="146095"/>
                    </a:lnTo>
                    <a:lnTo>
                      <a:pt x="210899" y="144949"/>
                    </a:lnTo>
                    <a:lnTo>
                      <a:pt x="208871" y="145213"/>
                    </a:lnTo>
                    <a:lnTo>
                      <a:pt x="207372" y="143714"/>
                    </a:lnTo>
                    <a:lnTo>
                      <a:pt x="206490" y="142833"/>
                    </a:lnTo>
                    <a:lnTo>
                      <a:pt x="204727" y="143097"/>
                    </a:lnTo>
                    <a:lnTo>
                      <a:pt x="203228" y="141951"/>
                    </a:lnTo>
                    <a:lnTo>
                      <a:pt x="202082" y="142480"/>
                    </a:lnTo>
                    <a:lnTo>
                      <a:pt x="199701" y="141598"/>
                    </a:lnTo>
                    <a:lnTo>
                      <a:pt x="198291" y="141246"/>
                    </a:lnTo>
                    <a:lnTo>
                      <a:pt x="195646" y="140981"/>
                    </a:lnTo>
                    <a:lnTo>
                      <a:pt x="193000" y="139218"/>
                    </a:lnTo>
                    <a:lnTo>
                      <a:pt x="190973" y="137190"/>
                    </a:lnTo>
                    <a:lnTo>
                      <a:pt x="190091" y="135427"/>
                    </a:lnTo>
                    <a:lnTo>
                      <a:pt x="192119" y="133663"/>
                    </a:lnTo>
                    <a:lnTo>
                      <a:pt x="192736" y="131018"/>
                    </a:lnTo>
                    <a:lnTo>
                      <a:pt x="195381" y="130489"/>
                    </a:lnTo>
                    <a:lnTo>
                      <a:pt x="194764" y="128109"/>
                    </a:lnTo>
                    <a:lnTo>
                      <a:pt x="195028" y="126345"/>
                    </a:lnTo>
                    <a:lnTo>
                      <a:pt x="194764" y="125464"/>
                    </a:lnTo>
                    <a:lnTo>
                      <a:pt x="192383" y="126345"/>
                    </a:lnTo>
                    <a:lnTo>
                      <a:pt x="190620" y="126345"/>
                    </a:lnTo>
                    <a:lnTo>
                      <a:pt x="188328" y="126962"/>
                    </a:lnTo>
                    <a:lnTo>
                      <a:pt x="185418" y="126962"/>
                    </a:lnTo>
                    <a:lnTo>
                      <a:pt x="182508" y="126698"/>
                    </a:lnTo>
                    <a:lnTo>
                      <a:pt x="180216" y="126962"/>
                    </a:lnTo>
                    <a:lnTo>
                      <a:pt x="178188" y="126345"/>
                    </a:lnTo>
                    <a:lnTo>
                      <a:pt x="175279" y="125464"/>
                    </a:lnTo>
                    <a:lnTo>
                      <a:pt x="173251" y="125464"/>
                    </a:lnTo>
                    <a:lnTo>
                      <a:pt x="170341" y="124317"/>
                    </a:lnTo>
                    <a:lnTo>
                      <a:pt x="167961" y="121672"/>
                    </a:lnTo>
                    <a:lnTo>
                      <a:pt x="164787" y="119909"/>
                    </a:lnTo>
                    <a:lnTo>
                      <a:pt x="160378" y="119027"/>
                    </a:lnTo>
                    <a:lnTo>
                      <a:pt x="163552" y="118146"/>
                    </a:lnTo>
                    <a:lnTo>
                      <a:pt x="160026" y="116118"/>
                    </a:lnTo>
                    <a:lnTo>
                      <a:pt x="157998" y="114354"/>
                    </a:lnTo>
                    <a:lnTo>
                      <a:pt x="158527" y="114883"/>
                    </a:lnTo>
                    <a:lnTo>
                      <a:pt x="157998" y="113120"/>
                    </a:lnTo>
                    <a:lnTo>
                      <a:pt x="156852" y="112503"/>
                    </a:lnTo>
                    <a:lnTo>
                      <a:pt x="155705" y="111974"/>
                    </a:lnTo>
                    <a:lnTo>
                      <a:pt x="155441" y="111974"/>
                    </a:lnTo>
                    <a:lnTo>
                      <a:pt x="154824" y="111357"/>
                    </a:lnTo>
                    <a:lnTo>
                      <a:pt x="153060" y="111092"/>
                    </a:lnTo>
                    <a:lnTo>
                      <a:pt x="152443" y="109329"/>
                    </a:lnTo>
                    <a:lnTo>
                      <a:pt x="152708" y="108447"/>
                    </a:lnTo>
                    <a:lnTo>
                      <a:pt x="152090" y="107918"/>
                    </a:lnTo>
                    <a:lnTo>
                      <a:pt x="150944" y="106772"/>
                    </a:lnTo>
                    <a:lnTo>
                      <a:pt x="150944" y="105626"/>
                    </a:lnTo>
                    <a:lnTo>
                      <a:pt x="149710" y="104479"/>
                    </a:lnTo>
                    <a:lnTo>
                      <a:pt x="149710" y="103333"/>
                    </a:lnTo>
                    <a:lnTo>
                      <a:pt x="148828" y="102452"/>
                    </a:lnTo>
                    <a:lnTo>
                      <a:pt x="148828" y="101305"/>
                    </a:lnTo>
                    <a:lnTo>
                      <a:pt x="148564" y="100424"/>
                    </a:lnTo>
                    <a:lnTo>
                      <a:pt x="148299" y="99895"/>
                    </a:lnTo>
                    <a:lnTo>
                      <a:pt x="147418" y="99630"/>
                    </a:lnTo>
                    <a:lnTo>
                      <a:pt x="146536" y="98131"/>
                    </a:lnTo>
                    <a:lnTo>
                      <a:pt x="145654" y="97250"/>
                    </a:lnTo>
                    <a:lnTo>
                      <a:pt x="145654" y="96103"/>
                    </a:lnTo>
                    <a:lnTo>
                      <a:pt x="144508" y="94340"/>
                    </a:lnTo>
                    <a:lnTo>
                      <a:pt x="145125" y="93458"/>
                    </a:lnTo>
                    <a:lnTo>
                      <a:pt x="144243" y="91960"/>
                    </a:lnTo>
                    <a:lnTo>
                      <a:pt x="143979" y="91078"/>
                    </a:lnTo>
                    <a:lnTo>
                      <a:pt x="143362" y="90196"/>
                    </a:lnTo>
                    <a:lnTo>
                      <a:pt x="142833" y="89315"/>
                    </a:lnTo>
                    <a:lnTo>
                      <a:pt x="143362" y="88433"/>
                    </a:lnTo>
                    <a:lnTo>
                      <a:pt x="142480" y="87287"/>
                    </a:lnTo>
                    <a:lnTo>
                      <a:pt x="141598" y="87022"/>
                    </a:lnTo>
                    <a:lnTo>
                      <a:pt x="141598" y="86405"/>
                    </a:lnTo>
                    <a:lnTo>
                      <a:pt x="141334" y="85523"/>
                    </a:lnTo>
                    <a:lnTo>
                      <a:pt x="140717" y="85259"/>
                    </a:lnTo>
                    <a:lnTo>
                      <a:pt x="140452" y="84377"/>
                    </a:lnTo>
                    <a:lnTo>
                      <a:pt x="139835" y="83231"/>
                    </a:lnTo>
                    <a:lnTo>
                      <a:pt x="138424" y="82966"/>
                    </a:lnTo>
                    <a:lnTo>
                      <a:pt x="136925" y="82349"/>
                    </a:lnTo>
                    <a:lnTo>
                      <a:pt x="135779" y="81732"/>
                    </a:lnTo>
                    <a:lnTo>
                      <a:pt x="134369" y="81468"/>
                    </a:lnTo>
                    <a:lnTo>
                      <a:pt x="132870" y="80321"/>
                    </a:lnTo>
                    <a:lnTo>
                      <a:pt x="131988" y="79440"/>
                    </a:lnTo>
                    <a:lnTo>
                      <a:pt x="131106" y="78823"/>
                    </a:lnTo>
                    <a:lnTo>
                      <a:pt x="130842" y="78558"/>
                    </a:lnTo>
                    <a:lnTo>
                      <a:pt x="129960" y="77412"/>
                    </a:lnTo>
                    <a:lnTo>
                      <a:pt x="129343" y="77676"/>
                    </a:lnTo>
                    <a:lnTo>
                      <a:pt x="128197" y="77412"/>
                    </a:lnTo>
                    <a:lnTo>
                      <a:pt x="128197" y="76795"/>
                    </a:lnTo>
                    <a:lnTo>
                      <a:pt x="126169" y="76177"/>
                    </a:lnTo>
                    <a:lnTo>
                      <a:pt x="125023" y="75296"/>
                    </a:lnTo>
                    <a:lnTo>
                      <a:pt x="124141" y="74414"/>
                    </a:lnTo>
                    <a:lnTo>
                      <a:pt x="123259" y="73532"/>
                    </a:lnTo>
                    <a:lnTo>
                      <a:pt x="122995" y="72915"/>
                    </a:lnTo>
                    <a:lnTo>
                      <a:pt x="121849" y="73180"/>
                    </a:lnTo>
                    <a:lnTo>
                      <a:pt x="121584" y="72298"/>
                    </a:lnTo>
                    <a:lnTo>
                      <a:pt x="120703" y="72034"/>
                    </a:lnTo>
                    <a:lnTo>
                      <a:pt x="120438" y="71769"/>
                    </a:lnTo>
                    <a:lnTo>
                      <a:pt x="119821" y="71769"/>
                    </a:lnTo>
                    <a:lnTo>
                      <a:pt x="119821" y="70887"/>
                    </a:lnTo>
                    <a:lnTo>
                      <a:pt x="119204" y="69741"/>
                    </a:lnTo>
                    <a:lnTo>
                      <a:pt x="118586" y="70006"/>
                    </a:lnTo>
                    <a:lnTo>
                      <a:pt x="117705" y="69388"/>
                    </a:lnTo>
                    <a:lnTo>
                      <a:pt x="118586" y="68771"/>
                    </a:lnTo>
                    <a:lnTo>
                      <a:pt x="116823" y="68771"/>
                    </a:lnTo>
                    <a:lnTo>
                      <a:pt x="115941" y="68154"/>
                    </a:lnTo>
                    <a:lnTo>
                      <a:pt x="115060" y="67273"/>
                    </a:lnTo>
                    <a:lnTo>
                      <a:pt x="114178" y="66126"/>
                    </a:lnTo>
                    <a:lnTo>
                      <a:pt x="113913" y="65245"/>
                    </a:lnTo>
                    <a:lnTo>
                      <a:pt x="113913" y="63746"/>
                    </a:lnTo>
                    <a:lnTo>
                      <a:pt x="113296" y="62864"/>
                    </a:lnTo>
                    <a:lnTo>
                      <a:pt x="112679" y="61982"/>
                    </a:lnTo>
                    <a:lnTo>
                      <a:pt x="113296" y="60836"/>
                    </a:lnTo>
                    <a:lnTo>
                      <a:pt x="112415" y="59955"/>
                    </a:lnTo>
                    <a:lnTo>
                      <a:pt x="112415" y="59073"/>
                    </a:lnTo>
                    <a:lnTo>
                      <a:pt x="111797" y="57574"/>
                    </a:lnTo>
                    <a:lnTo>
                      <a:pt x="112415" y="56428"/>
                    </a:lnTo>
                    <a:lnTo>
                      <a:pt x="111533" y="55017"/>
                    </a:lnTo>
                    <a:lnTo>
                      <a:pt x="113296" y="55017"/>
                    </a:lnTo>
                    <a:lnTo>
                      <a:pt x="113032" y="54400"/>
                    </a:lnTo>
                    <a:lnTo>
                      <a:pt x="113913" y="53518"/>
                    </a:lnTo>
                    <a:lnTo>
                      <a:pt x="113649" y="52901"/>
                    </a:lnTo>
                    <a:lnTo>
                      <a:pt x="113649" y="51755"/>
                    </a:lnTo>
                    <a:lnTo>
                      <a:pt x="114266" y="51490"/>
                    </a:lnTo>
                    <a:lnTo>
                      <a:pt x="114883" y="52108"/>
                    </a:lnTo>
                    <a:lnTo>
                      <a:pt x="115765" y="51490"/>
                    </a:lnTo>
                    <a:lnTo>
                      <a:pt x="116382" y="51226"/>
                    </a:lnTo>
                    <a:lnTo>
                      <a:pt x="117264" y="50609"/>
                    </a:lnTo>
                    <a:lnTo>
                      <a:pt x="117264" y="51490"/>
                    </a:lnTo>
                    <a:lnTo>
                      <a:pt x="117528" y="51755"/>
                    </a:lnTo>
                    <a:lnTo>
                      <a:pt x="118146" y="50609"/>
                    </a:lnTo>
                    <a:lnTo>
                      <a:pt x="117881" y="49727"/>
                    </a:lnTo>
                    <a:lnTo>
                      <a:pt x="116999" y="48581"/>
                    </a:lnTo>
                    <a:lnTo>
                      <a:pt x="117617" y="46817"/>
                    </a:lnTo>
                    <a:lnTo>
                      <a:pt x="116999" y="46553"/>
                    </a:lnTo>
                    <a:lnTo>
                      <a:pt x="116382" y="45936"/>
                    </a:lnTo>
                    <a:lnTo>
                      <a:pt x="116030" y="45671"/>
                    </a:lnTo>
                    <a:lnTo>
                      <a:pt x="114002" y="44790"/>
                    </a:lnTo>
                    <a:lnTo>
                      <a:pt x="112591" y="43291"/>
                    </a:lnTo>
                    <a:lnTo>
                      <a:pt x="111445" y="42409"/>
                    </a:lnTo>
                    <a:lnTo>
                      <a:pt x="110299" y="43026"/>
                    </a:lnTo>
                    <a:lnTo>
                      <a:pt x="109417" y="43026"/>
                    </a:lnTo>
                    <a:lnTo>
                      <a:pt x="109417" y="42144"/>
                    </a:lnTo>
                    <a:lnTo>
                      <a:pt x="109417" y="42409"/>
                    </a:lnTo>
                    <a:lnTo>
                      <a:pt x="109681" y="41527"/>
                    </a:lnTo>
                    <a:lnTo>
                      <a:pt x="110563" y="40646"/>
                    </a:lnTo>
                    <a:lnTo>
                      <a:pt x="110299" y="39764"/>
                    </a:lnTo>
                    <a:lnTo>
                      <a:pt x="112062" y="40381"/>
                    </a:lnTo>
                    <a:lnTo>
                      <a:pt x="114090" y="38089"/>
                    </a:lnTo>
                    <a:lnTo>
                      <a:pt x="116470" y="38618"/>
                    </a:lnTo>
                    <a:lnTo>
                      <a:pt x="120526" y="38353"/>
                    </a:lnTo>
                    <a:lnTo>
                      <a:pt x="120791" y="38089"/>
                    </a:lnTo>
                    <a:lnTo>
                      <a:pt x="122554" y="36325"/>
                    </a:lnTo>
                    <a:lnTo>
                      <a:pt x="125199" y="36061"/>
                    </a:lnTo>
                    <a:lnTo>
                      <a:pt x="126081" y="36325"/>
                    </a:lnTo>
                    <a:lnTo>
                      <a:pt x="127227" y="36061"/>
                    </a:lnTo>
                    <a:lnTo>
                      <a:pt x="128109" y="34033"/>
                    </a:lnTo>
                    <a:lnTo>
                      <a:pt x="126698" y="34562"/>
                    </a:lnTo>
                    <a:lnTo>
                      <a:pt x="126698" y="34297"/>
                    </a:lnTo>
                    <a:lnTo>
                      <a:pt x="126081" y="34033"/>
                    </a:lnTo>
                    <a:lnTo>
                      <a:pt x="126698" y="33151"/>
                    </a:lnTo>
                    <a:lnTo>
                      <a:pt x="127580" y="33151"/>
                    </a:lnTo>
                    <a:lnTo>
                      <a:pt x="127844" y="32622"/>
                    </a:lnTo>
                    <a:lnTo>
                      <a:pt x="127844" y="32358"/>
                    </a:lnTo>
                    <a:lnTo>
                      <a:pt x="128990" y="32093"/>
                    </a:lnTo>
                    <a:lnTo>
                      <a:pt x="129255" y="32358"/>
                    </a:lnTo>
                    <a:lnTo>
                      <a:pt x="129519" y="33240"/>
                    </a:lnTo>
                    <a:lnTo>
                      <a:pt x="130137" y="33504"/>
                    </a:lnTo>
                    <a:lnTo>
                      <a:pt x="132517" y="33240"/>
                    </a:lnTo>
                    <a:lnTo>
                      <a:pt x="133134" y="34121"/>
                    </a:lnTo>
                    <a:lnTo>
                      <a:pt x="132517" y="34650"/>
                    </a:lnTo>
                    <a:lnTo>
                      <a:pt x="132253" y="35532"/>
                    </a:lnTo>
                    <a:lnTo>
                      <a:pt x="132517" y="36149"/>
                    </a:lnTo>
                    <a:lnTo>
                      <a:pt x="132782" y="35532"/>
                    </a:lnTo>
                    <a:lnTo>
                      <a:pt x="133046" y="35796"/>
                    </a:lnTo>
                    <a:lnTo>
                      <a:pt x="133928" y="34033"/>
                    </a:lnTo>
                    <a:lnTo>
                      <a:pt x="134192" y="33151"/>
                    </a:lnTo>
                    <a:lnTo>
                      <a:pt x="133928" y="33416"/>
                    </a:lnTo>
                    <a:lnTo>
                      <a:pt x="133663" y="33151"/>
                    </a:lnTo>
                    <a:lnTo>
                      <a:pt x="133399" y="32887"/>
                    </a:lnTo>
                    <a:lnTo>
                      <a:pt x="134016" y="32622"/>
                    </a:lnTo>
                    <a:lnTo>
                      <a:pt x="134281" y="32005"/>
                    </a:lnTo>
                    <a:lnTo>
                      <a:pt x="136573" y="32887"/>
                    </a:lnTo>
                    <a:lnTo>
                      <a:pt x="137719" y="32887"/>
                    </a:lnTo>
                    <a:lnTo>
                      <a:pt x="138336" y="33151"/>
                    </a:lnTo>
                    <a:lnTo>
                      <a:pt x="138336" y="34033"/>
                    </a:lnTo>
                    <a:lnTo>
                      <a:pt x="138601" y="34562"/>
                    </a:lnTo>
                    <a:lnTo>
                      <a:pt x="139218" y="35179"/>
                    </a:lnTo>
                    <a:lnTo>
                      <a:pt x="139482" y="35444"/>
                    </a:lnTo>
                    <a:lnTo>
                      <a:pt x="139218" y="36061"/>
                    </a:lnTo>
                    <a:lnTo>
                      <a:pt x="140099" y="36325"/>
                    </a:lnTo>
                    <a:lnTo>
                      <a:pt x="140981" y="36061"/>
                    </a:lnTo>
                    <a:lnTo>
                      <a:pt x="140981" y="35179"/>
                    </a:lnTo>
                    <a:lnTo>
                      <a:pt x="140364" y="33151"/>
                    </a:lnTo>
                    <a:lnTo>
                      <a:pt x="139218" y="32622"/>
                    </a:lnTo>
                    <a:lnTo>
                      <a:pt x="138336" y="32005"/>
                    </a:lnTo>
                    <a:lnTo>
                      <a:pt x="137454" y="32005"/>
                    </a:lnTo>
                    <a:lnTo>
                      <a:pt x="136308" y="31388"/>
                    </a:lnTo>
                    <a:lnTo>
                      <a:pt x="136044" y="30771"/>
                    </a:lnTo>
                    <a:lnTo>
                      <a:pt x="137543" y="28126"/>
                    </a:lnTo>
                    <a:lnTo>
                      <a:pt x="136925" y="26980"/>
                    </a:lnTo>
                    <a:lnTo>
                      <a:pt x="135779" y="26980"/>
                    </a:lnTo>
                    <a:lnTo>
                      <a:pt x="134016" y="27861"/>
                    </a:lnTo>
                    <a:lnTo>
                      <a:pt x="132870" y="25833"/>
                    </a:lnTo>
                    <a:lnTo>
                      <a:pt x="133134" y="25216"/>
                    </a:lnTo>
                    <a:lnTo>
                      <a:pt x="136044" y="24334"/>
                    </a:lnTo>
                    <a:lnTo>
                      <a:pt x="136925" y="21954"/>
                    </a:lnTo>
                    <a:lnTo>
                      <a:pt x="135427" y="21954"/>
                    </a:lnTo>
                    <a:lnTo>
                      <a:pt x="133663" y="21689"/>
                    </a:lnTo>
                    <a:lnTo>
                      <a:pt x="132517" y="20808"/>
                    </a:lnTo>
                    <a:lnTo>
                      <a:pt x="132253" y="20808"/>
                    </a:lnTo>
                    <a:lnTo>
                      <a:pt x="132517" y="21425"/>
                    </a:lnTo>
                    <a:lnTo>
                      <a:pt x="132253" y="21425"/>
                    </a:lnTo>
                    <a:lnTo>
                      <a:pt x="131988" y="21072"/>
                    </a:lnTo>
                    <a:lnTo>
                      <a:pt x="131724" y="20455"/>
                    </a:lnTo>
                    <a:lnTo>
                      <a:pt x="131724" y="20191"/>
                    </a:lnTo>
                    <a:lnTo>
                      <a:pt x="132605" y="19309"/>
                    </a:lnTo>
                    <a:lnTo>
                      <a:pt x="132605" y="18163"/>
                    </a:lnTo>
                    <a:lnTo>
                      <a:pt x="135250" y="17898"/>
                    </a:lnTo>
                    <a:lnTo>
                      <a:pt x="135515" y="17016"/>
                    </a:lnTo>
                    <a:lnTo>
                      <a:pt x="136661" y="16399"/>
                    </a:lnTo>
                    <a:lnTo>
                      <a:pt x="137278" y="14019"/>
                    </a:lnTo>
                    <a:lnTo>
                      <a:pt x="132870" y="13137"/>
                    </a:lnTo>
                    <a:lnTo>
                      <a:pt x="131724" y="13137"/>
                    </a:lnTo>
                    <a:lnTo>
                      <a:pt x="131106" y="11991"/>
                    </a:lnTo>
                    <a:lnTo>
                      <a:pt x="128814" y="13137"/>
                    </a:lnTo>
                    <a:lnTo>
                      <a:pt x="128549" y="13137"/>
                    </a:lnTo>
                    <a:lnTo>
                      <a:pt x="126169" y="11991"/>
                    </a:lnTo>
                    <a:lnTo>
                      <a:pt x="119468" y="11109"/>
                    </a:lnTo>
                    <a:lnTo>
                      <a:pt x="118851" y="10845"/>
                    </a:lnTo>
                    <a:lnTo>
                      <a:pt x="118586" y="11109"/>
                    </a:lnTo>
                    <a:lnTo>
                      <a:pt x="115941" y="10845"/>
                    </a:lnTo>
                    <a:lnTo>
                      <a:pt x="114795" y="10845"/>
                    </a:lnTo>
                    <a:lnTo>
                      <a:pt x="111268" y="9346"/>
                    </a:lnTo>
                    <a:lnTo>
                      <a:pt x="109240" y="6965"/>
                    </a:lnTo>
                    <a:lnTo>
                      <a:pt x="108711" y="5819"/>
                    </a:lnTo>
                    <a:lnTo>
                      <a:pt x="108095" y="5290"/>
                    </a:lnTo>
                    <a:lnTo>
                      <a:pt x="107565" y="5026"/>
                    </a:lnTo>
                    <a:lnTo>
                      <a:pt x="106067" y="4761"/>
                    </a:lnTo>
                    <a:lnTo>
                      <a:pt x="105185" y="4497"/>
                    </a:lnTo>
                    <a:lnTo>
                      <a:pt x="105802" y="3879"/>
                    </a:lnTo>
                    <a:lnTo>
                      <a:pt x="105185" y="3262"/>
                    </a:lnTo>
                    <a:lnTo>
                      <a:pt x="105449" y="1763"/>
                    </a:lnTo>
                    <a:lnTo>
                      <a:pt x="107213" y="882"/>
                    </a:lnTo>
                    <a:lnTo>
                      <a:pt x="105449" y="0"/>
                    </a:lnTo>
                    <a:lnTo>
                      <a:pt x="105185" y="882"/>
                    </a:lnTo>
                    <a:lnTo>
                      <a:pt x="104039" y="617"/>
                    </a:lnTo>
                    <a:lnTo>
                      <a:pt x="102011" y="882"/>
                    </a:lnTo>
                    <a:lnTo>
                      <a:pt x="99101" y="2645"/>
                    </a:lnTo>
                    <a:lnTo>
                      <a:pt x="95574" y="2028"/>
                    </a:lnTo>
                    <a:lnTo>
                      <a:pt x="92665" y="2028"/>
                    </a:lnTo>
                    <a:lnTo>
                      <a:pt x="92048" y="3174"/>
                    </a:lnTo>
                    <a:lnTo>
                      <a:pt x="89667" y="2028"/>
                    </a:lnTo>
                    <a:lnTo>
                      <a:pt x="86140" y="3174"/>
                    </a:lnTo>
                    <a:lnTo>
                      <a:pt x="85523" y="4585"/>
                    </a:lnTo>
                    <a:lnTo>
                      <a:pt x="85259" y="6965"/>
                    </a:lnTo>
                    <a:lnTo>
                      <a:pt x="82878" y="7582"/>
                    </a:lnTo>
                    <a:lnTo>
                      <a:pt x="82614" y="7318"/>
                    </a:lnTo>
                    <a:lnTo>
                      <a:pt x="82349" y="7582"/>
                    </a:lnTo>
                    <a:lnTo>
                      <a:pt x="80586" y="7318"/>
                    </a:lnTo>
                    <a:lnTo>
                      <a:pt x="79704" y="6701"/>
                    </a:lnTo>
                    <a:lnTo>
                      <a:pt x="79969" y="6084"/>
                    </a:lnTo>
                    <a:lnTo>
                      <a:pt x="76442" y="5819"/>
                    </a:lnTo>
                    <a:lnTo>
                      <a:pt x="72386" y="5819"/>
                    </a:lnTo>
                    <a:lnTo>
                      <a:pt x="72386" y="4937"/>
                    </a:lnTo>
                    <a:lnTo>
                      <a:pt x="72386" y="7142"/>
                    </a:lnTo>
                    <a:lnTo>
                      <a:pt x="72386" y="7759"/>
                    </a:lnTo>
                    <a:lnTo>
                      <a:pt x="72386" y="8376"/>
                    </a:lnTo>
                    <a:lnTo>
                      <a:pt x="72651" y="9875"/>
                    </a:lnTo>
                    <a:lnTo>
                      <a:pt x="72033" y="10139"/>
                    </a:lnTo>
                    <a:lnTo>
                      <a:pt x="72033" y="11021"/>
                    </a:lnTo>
                    <a:lnTo>
                      <a:pt x="72651" y="11286"/>
                    </a:lnTo>
                    <a:lnTo>
                      <a:pt x="73532" y="11903"/>
                    </a:lnTo>
                    <a:lnTo>
                      <a:pt x="73797" y="13049"/>
                    </a:lnTo>
                    <a:lnTo>
                      <a:pt x="73532" y="13931"/>
                    </a:lnTo>
                    <a:lnTo>
                      <a:pt x="72651" y="14195"/>
                    </a:lnTo>
                    <a:lnTo>
                      <a:pt x="72033" y="13931"/>
                    </a:lnTo>
                    <a:lnTo>
                      <a:pt x="70623" y="13666"/>
                    </a:lnTo>
                    <a:lnTo>
                      <a:pt x="69477" y="12784"/>
                    </a:lnTo>
                    <a:lnTo>
                      <a:pt x="69212" y="12167"/>
                    </a:lnTo>
                    <a:lnTo>
                      <a:pt x="69212" y="11550"/>
                    </a:lnTo>
                    <a:lnTo>
                      <a:pt x="67449" y="12167"/>
                    </a:lnTo>
                    <a:lnTo>
                      <a:pt x="66567" y="13313"/>
                    </a:lnTo>
                    <a:lnTo>
                      <a:pt x="66303" y="14195"/>
                    </a:lnTo>
                    <a:lnTo>
                      <a:pt x="65774" y="15341"/>
                    </a:lnTo>
                    <a:lnTo>
                      <a:pt x="66303" y="16487"/>
                    </a:lnTo>
                    <a:lnTo>
                      <a:pt x="66920" y="17105"/>
                    </a:lnTo>
                    <a:lnTo>
                      <a:pt x="68330" y="18251"/>
                    </a:lnTo>
                    <a:lnTo>
                      <a:pt x="68330" y="20896"/>
                    </a:lnTo>
                    <a:lnTo>
                      <a:pt x="67449" y="21513"/>
                    </a:lnTo>
                    <a:lnTo>
                      <a:pt x="66567" y="21778"/>
                    </a:lnTo>
                    <a:lnTo>
                      <a:pt x="65685" y="21513"/>
                    </a:lnTo>
                    <a:lnTo>
                      <a:pt x="64804" y="20014"/>
                    </a:lnTo>
                    <a:lnTo>
                      <a:pt x="64451" y="19133"/>
                    </a:lnTo>
                    <a:lnTo>
                      <a:pt x="63922" y="17986"/>
                    </a:lnTo>
                    <a:lnTo>
                      <a:pt x="60395" y="18251"/>
                    </a:lnTo>
                    <a:lnTo>
                      <a:pt x="60131" y="19133"/>
                    </a:lnTo>
                    <a:lnTo>
                      <a:pt x="59514" y="18515"/>
                    </a:lnTo>
                    <a:lnTo>
                      <a:pt x="59249" y="19662"/>
                    </a:lnTo>
                    <a:lnTo>
                      <a:pt x="57221" y="20191"/>
                    </a:lnTo>
                    <a:lnTo>
                      <a:pt x="54929" y="19044"/>
                    </a:lnTo>
                    <a:lnTo>
                      <a:pt x="54047" y="18163"/>
                    </a:lnTo>
                    <a:lnTo>
                      <a:pt x="53783" y="17016"/>
                    </a:lnTo>
                    <a:lnTo>
                      <a:pt x="54400" y="15518"/>
                    </a:lnTo>
                    <a:lnTo>
                      <a:pt x="52989" y="14900"/>
                    </a:lnTo>
                    <a:lnTo>
                      <a:pt x="52108" y="14900"/>
                    </a:lnTo>
                    <a:lnTo>
                      <a:pt x="50609" y="15518"/>
                    </a:lnTo>
                    <a:lnTo>
                      <a:pt x="50344" y="17016"/>
                    </a:lnTo>
                    <a:lnTo>
                      <a:pt x="50961" y="17898"/>
                    </a:lnTo>
                    <a:lnTo>
                      <a:pt x="50961" y="19397"/>
                    </a:lnTo>
                    <a:lnTo>
                      <a:pt x="50344" y="20896"/>
                    </a:lnTo>
                    <a:lnTo>
                      <a:pt x="48316" y="22659"/>
                    </a:lnTo>
                    <a:lnTo>
                      <a:pt x="46906" y="24158"/>
                    </a:lnTo>
                    <a:lnTo>
                      <a:pt x="46906" y="25304"/>
                    </a:lnTo>
                    <a:lnTo>
                      <a:pt x="46024" y="25569"/>
                    </a:lnTo>
                    <a:lnTo>
                      <a:pt x="46553" y="27068"/>
                    </a:lnTo>
                    <a:lnTo>
                      <a:pt x="46024" y="27949"/>
                    </a:lnTo>
                    <a:lnTo>
                      <a:pt x="46553" y="28214"/>
                    </a:lnTo>
                    <a:lnTo>
                      <a:pt x="47170" y="29096"/>
                    </a:lnTo>
                    <a:lnTo>
                      <a:pt x="46553" y="30859"/>
                    </a:lnTo>
                    <a:lnTo>
                      <a:pt x="46024" y="31476"/>
                    </a:lnTo>
                    <a:lnTo>
                      <a:pt x="45759" y="30859"/>
                    </a:lnTo>
                    <a:lnTo>
                      <a:pt x="44878" y="30242"/>
                    </a:lnTo>
                    <a:lnTo>
                      <a:pt x="44878" y="29713"/>
                    </a:lnTo>
                    <a:lnTo>
                      <a:pt x="43996" y="27949"/>
                    </a:lnTo>
                    <a:lnTo>
                      <a:pt x="41968" y="27332"/>
                    </a:lnTo>
                    <a:lnTo>
                      <a:pt x="42233" y="26186"/>
                    </a:lnTo>
                    <a:lnTo>
                      <a:pt x="42850" y="25569"/>
                    </a:lnTo>
                    <a:lnTo>
                      <a:pt x="42585" y="24952"/>
                    </a:lnTo>
                    <a:lnTo>
                      <a:pt x="41086" y="24423"/>
                    </a:lnTo>
                    <a:lnTo>
                      <a:pt x="40822" y="24423"/>
                    </a:lnTo>
                    <a:lnTo>
                      <a:pt x="40558" y="24158"/>
                    </a:lnTo>
                    <a:lnTo>
                      <a:pt x="40293" y="24423"/>
                    </a:lnTo>
                    <a:lnTo>
                      <a:pt x="37383" y="23805"/>
                    </a:lnTo>
                    <a:lnTo>
                      <a:pt x="36502" y="22659"/>
                    </a:lnTo>
                    <a:lnTo>
                      <a:pt x="35620" y="21513"/>
                    </a:lnTo>
                    <a:lnTo>
                      <a:pt x="34474" y="19750"/>
                    </a:lnTo>
                    <a:lnTo>
                      <a:pt x="35356" y="17986"/>
                    </a:lnTo>
                    <a:lnTo>
                      <a:pt x="35091" y="16840"/>
                    </a:lnTo>
                    <a:lnTo>
                      <a:pt x="34826" y="15694"/>
                    </a:lnTo>
                    <a:lnTo>
                      <a:pt x="33063" y="15958"/>
                    </a:lnTo>
                    <a:lnTo>
                      <a:pt x="31035" y="17105"/>
                    </a:lnTo>
                    <a:lnTo>
                      <a:pt x="31035" y="18251"/>
                    </a:lnTo>
                    <a:lnTo>
                      <a:pt x="30771" y="19750"/>
                    </a:lnTo>
                    <a:lnTo>
                      <a:pt x="29889" y="20014"/>
                    </a:lnTo>
                    <a:lnTo>
                      <a:pt x="29272" y="20896"/>
                    </a:lnTo>
                    <a:lnTo>
                      <a:pt x="28919" y="21778"/>
                    </a:lnTo>
                    <a:lnTo>
                      <a:pt x="29536" y="23188"/>
                    </a:lnTo>
                    <a:lnTo>
                      <a:pt x="28655" y="23805"/>
                    </a:lnTo>
                    <a:lnTo>
                      <a:pt x="28390" y="24423"/>
                    </a:lnTo>
                    <a:lnTo>
                      <a:pt x="27508" y="25304"/>
                    </a:lnTo>
                    <a:lnTo>
                      <a:pt x="27508" y="26186"/>
                    </a:lnTo>
                    <a:lnTo>
                      <a:pt x="26627" y="26803"/>
                    </a:lnTo>
                    <a:lnTo>
                      <a:pt x="25481" y="27068"/>
                    </a:lnTo>
                    <a:lnTo>
                      <a:pt x="24246" y="27068"/>
                    </a:lnTo>
                    <a:lnTo>
                      <a:pt x="23365" y="28214"/>
                    </a:lnTo>
                    <a:lnTo>
                      <a:pt x="23365" y="29096"/>
                    </a:lnTo>
                    <a:lnTo>
                      <a:pt x="22483" y="29096"/>
                    </a:lnTo>
                    <a:lnTo>
                      <a:pt x="21337" y="28831"/>
                    </a:lnTo>
                    <a:lnTo>
                      <a:pt x="19838" y="28214"/>
                    </a:lnTo>
                    <a:lnTo>
                      <a:pt x="19309" y="27597"/>
                    </a:lnTo>
                    <a:lnTo>
                      <a:pt x="17545" y="27332"/>
                    </a:lnTo>
                    <a:lnTo>
                      <a:pt x="16047" y="28478"/>
                    </a:lnTo>
                    <a:lnTo>
                      <a:pt x="14548" y="29096"/>
                    </a:lnTo>
                    <a:lnTo>
                      <a:pt x="12520" y="29096"/>
                    </a:lnTo>
                    <a:lnTo>
                      <a:pt x="9610" y="29713"/>
                    </a:lnTo>
                    <a:lnTo>
                      <a:pt x="8464" y="29713"/>
                    </a:lnTo>
                    <a:lnTo>
                      <a:pt x="7847" y="28214"/>
                    </a:lnTo>
                    <a:lnTo>
                      <a:pt x="6701" y="30242"/>
                    </a:lnTo>
                    <a:lnTo>
                      <a:pt x="3527" y="30242"/>
                    </a:lnTo>
                    <a:lnTo>
                      <a:pt x="2909" y="32005"/>
                    </a:lnTo>
                    <a:lnTo>
                      <a:pt x="3174" y="34033"/>
                    </a:lnTo>
                    <a:lnTo>
                      <a:pt x="4585" y="34562"/>
                    </a:lnTo>
                    <a:lnTo>
                      <a:pt x="4585" y="36061"/>
                    </a:lnTo>
                    <a:lnTo>
                      <a:pt x="6965" y="36325"/>
                    </a:lnTo>
                    <a:lnTo>
                      <a:pt x="7230" y="37207"/>
                    </a:lnTo>
                    <a:lnTo>
                      <a:pt x="6965" y="38970"/>
                    </a:lnTo>
                    <a:lnTo>
                      <a:pt x="8729" y="40117"/>
                    </a:lnTo>
                    <a:lnTo>
                      <a:pt x="8729" y="41263"/>
                    </a:lnTo>
                    <a:lnTo>
                      <a:pt x="9610" y="41527"/>
                    </a:lnTo>
                    <a:lnTo>
                      <a:pt x="8993" y="43291"/>
                    </a:lnTo>
                    <a:lnTo>
                      <a:pt x="8641" y="44790"/>
                    </a:lnTo>
                    <a:lnTo>
                      <a:pt x="8993" y="45936"/>
                    </a:lnTo>
                    <a:lnTo>
                      <a:pt x="7230" y="45936"/>
                    </a:lnTo>
                    <a:lnTo>
                      <a:pt x="5202" y="47082"/>
                    </a:lnTo>
                    <a:lnTo>
                      <a:pt x="5202" y="47699"/>
                    </a:lnTo>
                    <a:lnTo>
                      <a:pt x="5202" y="48316"/>
                    </a:lnTo>
                    <a:lnTo>
                      <a:pt x="4056" y="48316"/>
                    </a:lnTo>
                    <a:lnTo>
                      <a:pt x="2028" y="47435"/>
                    </a:lnTo>
                    <a:lnTo>
                      <a:pt x="0" y="48052"/>
                    </a:lnTo>
                    <a:lnTo>
                      <a:pt x="617" y="49198"/>
                    </a:lnTo>
                    <a:lnTo>
                      <a:pt x="617" y="50961"/>
                    </a:lnTo>
                    <a:lnTo>
                      <a:pt x="1499" y="51226"/>
                    </a:lnTo>
                    <a:lnTo>
                      <a:pt x="2380" y="53606"/>
                    </a:lnTo>
                    <a:lnTo>
                      <a:pt x="5907" y="53254"/>
                    </a:lnTo>
                    <a:lnTo>
                      <a:pt x="7935" y="53606"/>
                    </a:lnTo>
                    <a:lnTo>
                      <a:pt x="9699" y="54752"/>
                    </a:lnTo>
                    <a:lnTo>
                      <a:pt x="10316" y="55899"/>
                    </a:lnTo>
                    <a:lnTo>
                      <a:pt x="11462" y="56780"/>
                    </a:lnTo>
                    <a:lnTo>
                      <a:pt x="10845" y="57927"/>
                    </a:lnTo>
                    <a:lnTo>
                      <a:pt x="10580" y="59073"/>
                    </a:lnTo>
                    <a:lnTo>
                      <a:pt x="9963" y="59690"/>
                    </a:lnTo>
                    <a:lnTo>
                      <a:pt x="9346" y="60219"/>
                    </a:lnTo>
                    <a:lnTo>
                      <a:pt x="9346" y="61101"/>
                    </a:lnTo>
                    <a:lnTo>
                      <a:pt x="8729" y="62247"/>
                    </a:lnTo>
                    <a:lnTo>
                      <a:pt x="8729" y="63393"/>
                    </a:lnTo>
                    <a:lnTo>
                      <a:pt x="9346" y="64275"/>
                    </a:lnTo>
                    <a:lnTo>
                      <a:pt x="9346" y="65156"/>
                    </a:lnTo>
                    <a:lnTo>
                      <a:pt x="9610" y="66303"/>
                    </a:lnTo>
                    <a:lnTo>
                      <a:pt x="8464" y="66567"/>
                    </a:lnTo>
                    <a:lnTo>
                      <a:pt x="7582" y="67449"/>
                    </a:lnTo>
                    <a:lnTo>
                      <a:pt x="9610" y="67449"/>
                    </a:lnTo>
                    <a:lnTo>
                      <a:pt x="10228" y="67713"/>
                    </a:lnTo>
                    <a:lnTo>
                      <a:pt x="10845" y="67978"/>
                    </a:lnTo>
                    <a:lnTo>
                      <a:pt x="11462" y="68859"/>
                    </a:lnTo>
                    <a:lnTo>
                      <a:pt x="12961" y="69741"/>
                    </a:lnTo>
                    <a:lnTo>
                      <a:pt x="13843" y="70358"/>
                    </a:lnTo>
                    <a:lnTo>
                      <a:pt x="13578" y="71240"/>
                    </a:lnTo>
                    <a:lnTo>
                      <a:pt x="15077" y="70976"/>
                    </a:lnTo>
                    <a:lnTo>
                      <a:pt x="16487" y="71240"/>
                    </a:lnTo>
                    <a:lnTo>
                      <a:pt x="18515" y="71857"/>
                    </a:lnTo>
                    <a:lnTo>
                      <a:pt x="20014" y="72474"/>
                    </a:lnTo>
                    <a:lnTo>
                      <a:pt x="21778" y="73356"/>
                    </a:lnTo>
                    <a:lnTo>
                      <a:pt x="22924" y="71945"/>
                    </a:lnTo>
                    <a:lnTo>
                      <a:pt x="24335" y="71945"/>
                    </a:lnTo>
                    <a:lnTo>
                      <a:pt x="24952" y="72563"/>
                    </a:lnTo>
                    <a:lnTo>
                      <a:pt x="24599" y="72827"/>
                    </a:lnTo>
                    <a:lnTo>
                      <a:pt x="25216" y="73709"/>
                    </a:lnTo>
                    <a:lnTo>
                      <a:pt x="25216" y="74855"/>
                    </a:lnTo>
                    <a:lnTo>
                      <a:pt x="22307" y="78029"/>
                    </a:lnTo>
                    <a:lnTo>
                      <a:pt x="21689" y="79175"/>
                    </a:lnTo>
                    <a:lnTo>
                      <a:pt x="21954" y="81203"/>
                    </a:lnTo>
                    <a:lnTo>
                      <a:pt x="23100" y="81468"/>
                    </a:lnTo>
                    <a:lnTo>
                      <a:pt x="21954" y="81203"/>
                    </a:lnTo>
                    <a:lnTo>
                      <a:pt x="27244" y="80057"/>
                    </a:lnTo>
                    <a:lnTo>
                      <a:pt x="27508" y="80057"/>
                    </a:lnTo>
                    <a:lnTo>
                      <a:pt x="29272" y="78911"/>
                    </a:lnTo>
                    <a:lnTo>
                      <a:pt x="30153" y="78911"/>
                    </a:lnTo>
                    <a:lnTo>
                      <a:pt x="31035" y="78029"/>
                    </a:lnTo>
                    <a:lnTo>
                      <a:pt x="30418" y="77412"/>
                    </a:lnTo>
                    <a:lnTo>
                      <a:pt x="30683" y="76530"/>
                    </a:lnTo>
                    <a:lnTo>
                      <a:pt x="30947" y="76530"/>
                    </a:lnTo>
                    <a:lnTo>
                      <a:pt x="31212" y="76001"/>
                    </a:lnTo>
                    <a:lnTo>
                      <a:pt x="32710" y="74238"/>
                    </a:lnTo>
                    <a:lnTo>
                      <a:pt x="32710" y="73092"/>
                    </a:lnTo>
                    <a:lnTo>
                      <a:pt x="33592" y="72474"/>
                    </a:lnTo>
                    <a:lnTo>
                      <a:pt x="34474" y="72474"/>
                    </a:lnTo>
                    <a:lnTo>
                      <a:pt x="34738" y="72210"/>
                    </a:lnTo>
                    <a:lnTo>
                      <a:pt x="35356" y="71945"/>
                    </a:lnTo>
                    <a:lnTo>
                      <a:pt x="36237" y="71328"/>
                    </a:lnTo>
                    <a:lnTo>
                      <a:pt x="36502" y="70446"/>
                    </a:lnTo>
                    <a:lnTo>
                      <a:pt x="36237" y="69300"/>
                    </a:lnTo>
                    <a:lnTo>
                      <a:pt x="36237" y="68683"/>
                    </a:lnTo>
                    <a:lnTo>
                      <a:pt x="36502" y="68066"/>
                    </a:lnTo>
                    <a:lnTo>
                      <a:pt x="38001" y="66920"/>
                    </a:lnTo>
                    <a:lnTo>
                      <a:pt x="39764" y="66655"/>
                    </a:lnTo>
                    <a:lnTo>
                      <a:pt x="41263" y="66391"/>
                    </a:lnTo>
                    <a:lnTo>
                      <a:pt x="41880" y="66126"/>
                    </a:lnTo>
                    <a:lnTo>
                      <a:pt x="42144" y="65862"/>
                    </a:lnTo>
                    <a:lnTo>
                      <a:pt x="42762" y="66126"/>
                    </a:lnTo>
                    <a:lnTo>
                      <a:pt x="43643" y="65862"/>
                    </a:lnTo>
                    <a:lnTo>
                      <a:pt x="44525" y="66126"/>
                    </a:lnTo>
                    <a:lnTo>
                      <a:pt x="45671" y="65862"/>
                    </a:lnTo>
                    <a:lnTo>
                      <a:pt x="46288" y="66479"/>
                    </a:lnTo>
                    <a:lnTo>
                      <a:pt x="47435" y="66214"/>
                    </a:lnTo>
                    <a:lnTo>
                      <a:pt x="49462" y="67096"/>
                    </a:lnTo>
                    <a:lnTo>
                      <a:pt x="49727" y="67713"/>
                    </a:lnTo>
                    <a:lnTo>
                      <a:pt x="50873" y="68330"/>
                    </a:lnTo>
                    <a:lnTo>
                      <a:pt x="52284" y="68330"/>
                    </a:lnTo>
                    <a:lnTo>
                      <a:pt x="52548" y="67713"/>
                    </a:lnTo>
                    <a:lnTo>
                      <a:pt x="52813" y="68330"/>
                    </a:lnTo>
                    <a:lnTo>
                      <a:pt x="55105" y="69477"/>
                    </a:lnTo>
                    <a:lnTo>
                      <a:pt x="55634" y="69741"/>
                    </a:lnTo>
                    <a:lnTo>
                      <a:pt x="55899" y="70358"/>
                    </a:lnTo>
                    <a:lnTo>
                      <a:pt x="56163" y="70623"/>
                    </a:lnTo>
                    <a:lnTo>
                      <a:pt x="59337" y="72122"/>
                    </a:lnTo>
                    <a:lnTo>
                      <a:pt x="59337" y="72739"/>
                    </a:lnTo>
                    <a:lnTo>
                      <a:pt x="59954" y="72739"/>
                    </a:lnTo>
                    <a:lnTo>
                      <a:pt x="61453" y="73621"/>
                    </a:lnTo>
                    <a:lnTo>
                      <a:pt x="61982" y="73885"/>
                    </a:lnTo>
                    <a:lnTo>
                      <a:pt x="62600" y="74767"/>
                    </a:lnTo>
                    <a:lnTo>
                      <a:pt x="63481" y="74150"/>
                    </a:lnTo>
                    <a:lnTo>
                      <a:pt x="64363" y="74767"/>
                    </a:lnTo>
                    <a:lnTo>
                      <a:pt x="65245" y="74767"/>
                    </a:lnTo>
                    <a:lnTo>
                      <a:pt x="65862" y="75648"/>
                    </a:lnTo>
                    <a:lnTo>
                      <a:pt x="66479" y="75648"/>
                    </a:lnTo>
                    <a:lnTo>
                      <a:pt x="67625" y="75031"/>
                    </a:lnTo>
                    <a:lnTo>
                      <a:pt x="69653" y="75648"/>
                    </a:lnTo>
                    <a:lnTo>
                      <a:pt x="70799" y="77676"/>
                    </a:lnTo>
                    <a:lnTo>
                      <a:pt x="70799" y="78294"/>
                    </a:lnTo>
                    <a:lnTo>
                      <a:pt x="71945" y="79175"/>
                    </a:lnTo>
                    <a:lnTo>
                      <a:pt x="72563" y="80939"/>
                    </a:lnTo>
                    <a:lnTo>
                      <a:pt x="73444" y="82085"/>
                    </a:lnTo>
                    <a:lnTo>
                      <a:pt x="73709" y="82966"/>
                    </a:lnTo>
                    <a:lnTo>
                      <a:pt x="73444" y="87375"/>
                    </a:lnTo>
                    <a:lnTo>
                      <a:pt x="74061" y="87639"/>
                    </a:lnTo>
                    <a:lnTo>
                      <a:pt x="74326" y="89403"/>
                    </a:lnTo>
                    <a:lnTo>
                      <a:pt x="75208" y="89667"/>
                    </a:lnTo>
                    <a:lnTo>
                      <a:pt x="76706" y="91078"/>
                    </a:lnTo>
                    <a:lnTo>
                      <a:pt x="77236" y="91342"/>
                    </a:lnTo>
                    <a:lnTo>
                      <a:pt x="78999" y="95134"/>
                    </a:lnTo>
                    <a:lnTo>
                      <a:pt x="79616" y="96544"/>
                    </a:lnTo>
                    <a:lnTo>
                      <a:pt x="79352" y="97162"/>
                    </a:lnTo>
                    <a:lnTo>
                      <a:pt x="79352" y="99807"/>
                    </a:lnTo>
                    <a:lnTo>
                      <a:pt x="77853" y="100953"/>
                    </a:lnTo>
                    <a:lnTo>
                      <a:pt x="78117" y="101570"/>
                    </a:lnTo>
                    <a:lnTo>
                      <a:pt x="77853" y="102187"/>
                    </a:lnTo>
                    <a:lnTo>
                      <a:pt x="79616" y="103069"/>
                    </a:lnTo>
                    <a:lnTo>
                      <a:pt x="79616" y="102452"/>
                    </a:lnTo>
                    <a:lnTo>
                      <a:pt x="80762" y="102187"/>
                    </a:lnTo>
                    <a:lnTo>
                      <a:pt x="81380" y="102804"/>
                    </a:lnTo>
                    <a:lnTo>
                      <a:pt x="83672" y="103069"/>
                    </a:lnTo>
                    <a:lnTo>
                      <a:pt x="84818" y="103686"/>
                    </a:lnTo>
                    <a:lnTo>
                      <a:pt x="84553" y="105449"/>
                    </a:lnTo>
                    <a:lnTo>
                      <a:pt x="83936" y="105714"/>
                    </a:lnTo>
                    <a:lnTo>
                      <a:pt x="85082" y="105978"/>
                    </a:lnTo>
                    <a:lnTo>
                      <a:pt x="86493" y="106860"/>
                    </a:lnTo>
                    <a:lnTo>
                      <a:pt x="87639" y="107125"/>
                    </a:lnTo>
                    <a:lnTo>
                      <a:pt x="87904" y="108006"/>
                    </a:lnTo>
                    <a:lnTo>
                      <a:pt x="88168" y="109153"/>
                    </a:lnTo>
                    <a:lnTo>
                      <a:pt x="89050" y="109417"/>
                    </a:lnTo>
                    <a:lnTo>
                      <a:pt x="90549" y="109681"/>
                    </a:lnTo>
                    <a:lnTo>
                      <a:pt x="90813" y="110828"/>
                    </a:lnTo>
                    <a:lnTo>
                      <a:pt x="91695" y="112591"/>
                    </a:lnTo>
                    <a:lnTo>
                      <a:pt x="91695" y="113737"/>
                    </a:lnTo>
                    <a:lnTo>
                      <a:pt x="91078" y="114002"/>
                    </a:lnTo>
                    <a:lnTo>
                      <a:pt x="91078" y="114266"/>
                    </a:lnTo>
                    <a:lnTo>
                      <a:pt x="91078" y="115148"/>
                    </a:lnTo>
                    <a:lnTo>
                      <a:pt x="90813" y="116294"/>
                    </a:lnTo>
                    <a:lnTo>
                      <a:pt x="91431" y="116911"/>
                    </a:lnTo>
                    <a:lnTo>
                      <a:pt x="92048" y="116911"/>
                    </a:lnTo>
                    <a:lnTo>
                      <a:pt x="92312" y="116030"/>
                    </a:lnTo>
                    <a:lnTo>
                      <a:pt x="92048" y="115148"/>
                    </a:lnTo>
                    <a:lnTo>
                      <a:pt x="92930" y="115148"/>
                    </a:lnTo>
                    <a:lnTo>
                      <a:pt x="94693" y="114883"/>
                    </a:lnTo>
                    <a:lnTo>
                      <a:pt x="94957" y="114266"/>
                    </a:lnTo>
                    <a:lnTo>
                      <a:pt x="95839" y="114883"/>
                    </a:lnTo>
                    <a:lnTo>
                      <a:pt x="96103" y="115148"/>
                    </a:lnTo>
                    <a:lnTo>
                      <a:pt x="97250" y="115148"/>
                    </a:lnTo>
                    <a:lnTo>
                      <a:pt x="98396" y="115412"/>
                    </a:lnTo>
                    <a:lnTo>
                      <a:pt x="99013" y="116030"/>
                    </a:lnTo>
                    <a:lnTo>
                      <a:pt x="100512" y="118057"/>
                    </a:lnTo>
                    <a:lnTo>
                      <a:pt x="101658" y="118057"/>
                    </a:lnTo>
                    <a:lnTo>
                      <a:pt x="101923" y="118322"/>
                    </a:lnTo>
                    <a:lnTo>
                      <a:pt x="103686" y="120085"/>
                    </a:lnTo>
                    <a:lnTo>
                      <a:pt x="104568" y="120350"/>
                    </a:lnTo>
                    <a:lnTo>
                      <a:pt x="105449" y="121232"/>
                    </a:lnTo>
                    <a:lnTo>
                      <a:pt x="105449" y="122113"/>
                    </a:lnTo>
                    <a:lnTo>
                      <a:pt x="105714" y="123524"/>
                    </a:lnTo>
                    <a:lnTo>
                      <a:pt x="105978" y="123788"/>
                    </a:lnTo>
                    <a:lnTo>
                      <a:pt x="106860" y="123788"/>
                    </a:lnTo>
                    <a:lnTo>
                      <a:pt x="107125" y="123171"/>
                    </a:lnTo>
                    <a:lnTo>
                      <a:pt x="108624" y="123788"/>
                    </a:lnTo>
                    <a:lnTo>
                      <a:pt x="109240" y="124935"/>
                    </a:lnTo>
                    <a:lnTo>
                      <a:pt x="109505" y="126433"/>
                    </a:lnTo>
                    <a:lnTo>
                      <a:pt x="110122" y="126433"/>
                    </a:lnTo>
                    <a:lnTo>
                      <a:pt x="111268" y="126698"/>
                    </a:lnTo>
                    <a:lnTo>
                      <a:pt x="111886" y="126433"/>
                    </a:lnTo>
                    <a:lnTo>
                      <a:pt x="112503" y="126698"/>
                    </a:lnTo>
                    <a:lnTo>
                      <a:pt x="112503" y="128461"/>
                    </a:lnTo>
                    <a:lnTo>
                      <a:pt x="113120" y="129607"/>
                    </a:lnTo>
                    <a:lnTo>
                      <a:pt x="114002" y="131106"/>
                    </a:lnTo>
                    <a:lnTo>
                      <a:pt x="114619" y="131371"/>
                    </a:lnTo>
                    <a:lnTo>
                      <a:pt x="115501" y="131635"/>
                    </a:lnTo>
                    <a:lnTo>
                      <a:pt x="116118" y="132517"/>
                    </a:lnTo>
                    <a:lnTo>
                      <a:pt x="116735" y="132253"/>
                    </a:lnTo>
                    <a:lnTo>
                      <a:pt x="119645" y="133663"/>
                    </a:lnTo>
                    <a:lnTo>
                      <a:pt x="120526" y="135162"/>
                    </a:lnTo>
                    <a:lnTo>
                      <a:pt x="121408" y="135779"/>
                    </a:lnTo>
                    <a:lnTo>
                      <a:pt x="123788" y="138160"/>
                    </a:lnTo>
                    <a:lnTo>
                      <a:pt x="123524" y="139042"/>
                    </a:lnTo>
                    <a:lnTo>
                      <a:pt x="125816" y="140540"/>
                    </a:lnTo>
                    <a:lnTo>
                      <a:pt x="126698" y="140276"/>
                    </a:lnTo>
                    <a:lnTo>
                      <a:pt x="127315" y="139659"/>
                    </a:lnTo>
                    <a:lnTo>
                      <a:pt x="129607" y="140540"/>
                    </a:lnTo>
                    <a:lnTo>
                      <a:pt x="129607" y="141158"/>
                    </a:lnTo>
                    <a:lnTo>
                      <a:pt x="130225" y="142921"/>
                    </a:lnTo>
                    <a:lnTo>
                      <a:pt x="131106" y="144420"/>
                    </a:lnTo>
                    <a:lnTo>
                      <a:pt x="132605" y="144155"/>
                    </a:lnTo>
                    <a:lnTo>
                      <a:pt x="133487" y="144420"/>
                    </a:lnTo>
                    <a:lnTo>
                      <a:pt x="134104" y="142921"/>
                    </a:lnTo>
                    <a:lnTo>
                      <a:pt x="135603" y="142921"/>
                    </a:lnTo>
                    <a:lnTo>
                      <a:pt x="137631" y="142392"/>
                    </a:lnTo>
                    <a:lnTo>
                      <a:pt x="139130" y="142921"/>
                    </a:lnTo>
                    <a:lnTo>
                      <a:pt x="141422" y="143803"/>
                    </a:lnTo>
                    <a:lnTo>
                      <a:pt x="143185" y="144684"/>
                    </a:lnTo>
                    <a:lnTo>
                      <a:pt x="143185" y="144420"/>
                    </a:lnTo>
                    <a:lnTo>
                      <a:pt x="143714" y="143538"/>
                    </a:lnTo>
                    <a:lnTo>
                      <a:pt x="144861" y="143274"/>
                    </a:lnTo>
                    <a:lnTo>
                      <a:pt x="145478" y="143538"/>
                    </a:lnTo>
                    <a:lnTo>
                      <a:pt x="146360" y="143538"/>
                    </a:lnTo>
                    <a:lnTo>
                      <a:pt x="147506" y="144684"/>
                    </a:lnTo>
                    <a:lnTo>
                      <a:pt x="147770" y="145566"/>
                    </a:lnTo>
                    <a:lnTo>
                      <a:pt x="148035" y="146448"/>
                    </a:lnTo>
                    <a:lnTo>
                      <a:pt x="149181" y="146183"/>
                    </a:lnTo>
                    <a:lnTo>
                      <a:pt x="149798" y="148211"/>
                    </a:lnTo>
                    <a:lnTo>
                      <a:pt x="150680" y="148828"/>
                    </a:lnTo>
                    <a:lnTo>
                      <a:pt x="150415" y="149357"/>
                    </a:lnTo>
                    <a:lnTo>
                      <a:pt x="151297" y="150503"/>
                    </a:lnTo>
                    <a:lnTo>
                      <a:pt x="151561" y="151385"/>
                    </a:lnTo>
                    <a:lnTo>
                      <a:pt x="151826" y="152002"/>
                    </a:lnTo>
                    <a:lnTo>
                      <a:pt x="151826" y="153148"/>
                    </a:lnTo>
                    <a:lnTo>
                      <a:pt x="151826" y="154912"/>
                    </a:lnTo>
                    <a:lnTo>
                      <a:pt x="153325" y="155794"/>
                    </a:lnTo>
                    <a:lnTo>
                      <a:pt x="153942" y="155529"/>
                    </a:lnTo>
                    <a:lnTo>
                      <a:pt x="153942" y="155265"/>
                    </a:lnTo>
                    <a:lnTo>
                      <a:pt x="153677" y="154383"/>
                    </a:lnTo>
                    <a:lnTo>
                      <a:pt x="154295" y="154383"/>
                    </a:lnTo>
                    <a:lnTo>
                      <a:pt x="155176" y="154912"/>
                    </a:lnTo>
                    <a:lnTo>
                      <a:pt x="155441" y="154647"/>
                    </a:lnTo>
                    <a:lnTo>
                      <a:pt x="155441" y="154383"/>
                    </a:lnTo>
                    <a:lnTo>
                      <a:pt x="157204" y="154647"/>
                    </a:lnTo>
                    <a:lnTo>
                      <a:pt x="158703" y="154383"/>
                    </a:lnTo>
                    <a:lnTo>
                      <a:pt x="159320" y="155265"/>
                    </a:lnTo>
                    <a:lnTo>
                      <a:pt x="160466" y="155529"/>
                    </a:lnTo>
                    <a:lnTo>
                      <a:pt x="161877" y="156940"/>
                    </a:lnTo>
                    <a:lnTo>
                      <a:pt x="161877" y="157557"/>
                    </a:lnTo>
                    <a:lnTo>
                      <a:pt x="161877" y="158086"/>
                    </a:lnTo>
                    <a:lnTo>
                      <a:pt x="161260" y="158703"/>
                    </a:lnTo>
                    <a:lnTo>
                      <a:pt x="160378" y="158439"/>
                    </a:lnTo>
                    <a:lnTo>
                      <a:pt x="158879" y="159320"/>
                    </a:lnTo>
                    <a:lnTo>
                      <a:pt x="158879" y="159937"/>
                    </a:lnTo>
                    <a:lnTo>
                      <a:pt x="157998" y="160819"/>
                    </a:lnTo>
                    <a:lnTo>
                      <a:pt x="158879" y="161084"/>
                    </a:lnTo>
                    <a:lnTo>
                      <a:pt x="160378" y="160819"/>
                    </a:lnTo>
                    <a:lnTo>
                      <a:pt x="161260" y="160202"/>
                    </a:lnTo>
                    <a:lnTo>
                      <a:pt x="161877" y="159937"/>
                    </a:lnTo>
                    <a:lnTo>
                      <a:pt x="162494" y="160202"/>
                    </a:lnTo>
                    <a:lnTo>
                      <a:pt x="163640" y="159937"/>
                    </a:lnTo>
                    <a:lnTo>
                      <a:pt x="164787" y="159937"/>
                    </a:lnTo>
                    <a:lnTo>
                      <a:pt x="166197" y="159320"/>
                    </a:lnTo>
                    <a:lnTo>
                      <a:pt x="166550" y="158703"/>
                    </a:lnTo>
                    <a:lnTo>
                      <a:pt x="167079" y="158703"/>
                    </a:lnTo>
                    <a:lnTo>
                      <a:pt x="167344" y="158968"/>
                    </a:lnTo>
                    <a:lnTo>
                      <a:pt x="168490" y="158703"/>
                    </a:lnTo>
                    <a:lnTo>
                      <a:pt x="169371" y="159849"/>
                    </a:lnTo>
                    <a:lnTo>
                      <a:pt x="169636" y="160466"/>
                    </a:lnTo>
                    <a:lnTo>
                      <a:pt x="169636" y="161084"/>
                    </a:lnTo>
                    <a:lnTo>
                      <a:pt x="170253" y="162230"/>
                    </a:lnTo>
                    <a:lnTo>
                      <a:pt x="170870" y="162847"/>
                    </a:lnTo>
                    <a:lnTo>
                      <a:pt x="171752" y="163112"/>
                    </a:lnTo>
                    <a:lnTo>
                      <a:pt x="172369" y="164610"/>
                    </a:lnTo>
                    <a:lnTo>
                      <a:pt x="172634" y="166374"/>
                    </a:lnTo>
                    <a:lnTo>
                      <a:pt x="172017" y="166638"/>
                    </a:lnTo>
                    <a:lnTo>
                      <a:pt x="171752" y="167520"/>
                    </a:lnTo>
                    <a:lnTo>
                      <a:pt x="170341" y="168049"/>
                    </a:lnTo>
                    <a:lnTo>
                      <a:pt x="172369" y="168931"/>
                    </a:lnTo>
                    <a:lnTo>
                      <a:pt x="172634" y="169195"/>
                    </a:lnTo>
                    <a:lnTo>
                      <a:pt x="173251" y="170341"/>
                    </a:lnTo>
                    <a:lnTo>
                      <a:pt x="175631" y="170341"/>
                    </a:lnTo>
                    <a:lnTo>
                      <a:pt x="175014" y="170341"/>
                    </a:lnTo>
                    <a:lnTo>
                      <a:pt x="176161" y="170606"/>
                    </a:lnTo>
                    <a:lnTo>
                      <a:pt x="178188" y="171223"/>
                    </a:lnTo>
                    <a:lnTo>
                      <a:pt x="178453" y="172105"/>
                    </a:lnTo>
                    <a:lnTo>
                      <a:pt x="178717" y="172986"/>
                    </a:lnTo>
                    <a:lnTo>
                      <a:pt x="179599" y="172986"/>
                    </a:lnTo>
                    <a:lnTo>
                      <a:pt x="178717" y="173515"/>
                    </a:lnTo>
                    <a:lnTo>
                      <a:pt x="179863" y="173780"/>
                    </a:lnTo>
                    <a:lnTo>
                      <a:pt x="180128" y="174044"/>
                    </a:lnTo>
                    <a:lnTo>
                      <a:pt x="182773" y="174926"/>
                    </a:lnTo>
                    <a:lnTo>
                      <a:pt x="183038" y="173427"/>
                    </a:lnTo>
                    <a:lnTo>
                      <a:pt x="183655" y="172898"/>
                    </a:lnTo>
                    <a:lnTo>
                      <a:pt x="185947" y="172281"/>
                    </a:lnTo>
                    <a:lnTo>
                      <a:pt x="187093" y="172898"/>
                    </a:lnTo>
                    <a:lnTo>
                      <a:pt x="187093" y="173427"/>
                    </a:lnTo>
                    <a:lnTo>
                      <a:pt x="187711" y="175191"/>
                    </a:lnTo>
                    <a:lnTo>
                      <a:pt x="188328" y="175455"/>
                    </a:lnTo>
                    <a:lnTo>
                      <a:pt x="188592" y="176601"/>
                    </a:lnTo>
                    <a:lnTo>
                      <a:pt x="189738" y="178629"/>
                    </a:lnTo>
                    <a:lnTo>
                      <a:pt x="189209" y="178894"/>
                    </a:lnTo>
                    <a:lnTo>
                      <a:pt x="189738" y="179775"/>
                    </a:lnTo>
                    <a:lnTo>
                      <a:pt x="190091" y="181539"/>
                    </a:lnTo>
                    <a:lnTo>
                      <a:pt x="190708" y="182420"/>
                    </a:lnTo>
                    <a:lnTo>
                      <a:pt x="190444" y="184184"/>
                    </a:lnTo>
                    <a:lnTo>
                      <a:pt x="190708" y="185330"/>
                    </a:lnTo>
                    <a:lnTo>
                      <a:pt x="193353" y="186212"/>
                    </a:lnTo>
                    <a:lnTo>
                      <a:pt x="193353" y="188857"/>
                    </a:lnTo>
                    <a:lnTo>
                      <a:pt x="194852" y="190884"/>
                    </a:lnTo>
                    <a:lnTo>
                      <a:pt x="195469" y="190620"/>
                    </a:lnTo>
                    <a:lnTo>
                      <a:pt x="195998" y="192912"/>
                    </a:lnTo>
                    <a:lnTo>
                      <a:pt x="195469" y="192295"/>
                    </a:lnTo>
                    <a:lnTo>
                      <a:pt x="195998" y="194940"/>
                    </a:lnTo>
                    <a:lnTo>
                      <a:pt x="195734" y="195822"/>
                    </a:lnTo>
                    <a:lnTo>
                      <a:pt x="196351" y="196704"/>
                    </a:lnTo>
                    <a:lnTo>
                      <a:pt x="195734" y="197850"/>
                    </a:lnTo>
                    <a:lnTo>
                      <a:pt x="195734" y="198467"/>
                    </a:lnTo>
                    <a:lnTo>
                      <a:pt x="196351" y="199613"/>
                    </a:lnTo>
                    <a:lnTo>
                      <a:pt x="197497" y="200495"/>
                    </a:lnTo>
                    <a:lnTo>
                      <a:pt x="198643" y="200495"/>
                    </a:lnTo>
                    <a:lnTo>
                      <a:pt x="200407" y="201377"/>
                    </a:lnTo>
                    <a:lnTo>
                      <a:pt x="200407" y="202875"/>
                    </a:lnTo>
                    <a:lnTo>
                      <a:pt x="200671" y="203757"/>
                    </a:lnTo>
                    <a:lnTo>
                      <a:pt x="199525" y="205256"/>
                    </a:lnTo>
                    <a:lnTo>
                      <a:pt x="197762" y="205873"/>
                    </a:lnTo>
                    <a:lnTo>
                      <a:pt x="195998" y="206490"/>
                    </a:lnTo>
                    <a:lnTo>
                      <a:pt x="194235" y="207637"/>
                    </a:lnTo>
                    <a:lnTo>
                      <a:pt x="192736" y="207372"/>
                    </a:lnTo>
                    <a:lnTo>
                      <a:pt x="192207" y="208518"/>
                    </a:lnTo>
                    <a:lnTo>
                      <a:pt x="192207" y="209135"/>
                    </a:lnTo>
                    <a:lnTo>
                      <a:pt x="193970" y="209400"/>
                    </a:lnTo>
                    <a:lnTo>
                      <a:pt x="194323" y="209929"/>
                    </a:lnTo>
                    <a:lnTo>
                      <a:pt x="195205" y="210546"/>
                    </a:lnTo>
                    <a:lnTo>
                      <a:pt x="194323" y="211692"/>
                    </a:lnTo>
                    <a:lnTo>
                      <a:pt x="193970" y="212574"/>
                    </a:lnTo>
                    <a:lnTo>
                      <a:pt x="193089" y="213720"/>
                    </a:lnTo>
                    <a:lnTo>
                      <a:pt x="192824" y="216630"/>
                    </a:lnTo>
                    <a:lnTo>
                      <a:pt x="191678" y="218393"/>
                    </a:lnTo>
                    <a:lnTo>
                      <a:pt x="190267" y="219275"/>
                    </a:lnTo>
                    <a:lnTo>
                      <a:pt x="189650" y="220156"/>
                    </a:lnTo>
                    <a:lnTo>
                      <a:pt x="189650" y="221303"/>
                    </a:lnTo>
                    <a:lnTo>
                      <a:pt x="190267" y="222184"/>
                    </a:lnTo>
                    <a:lnTo>
                      <a:pt x="190267" y="223331"/>
                    </a:lnTo>
                    <a:lnTo>
                      <a:pt x="190532" y="224477"/>
                    </a:lnTo>
                    <a:lnTo>
                      <a:pt x="190532" y="225358"/>
                    </a:lnTo>
                    <a:lnTo>
                      <a:pt x="191149" y="226505"/>
                    </a:lnTo>
                    <a:lnTo>
                      <a:pt x="192295" y="226769"/>
                    </a:lnTo>
                    <a:lnTo>
                      <a:pt x="194676" y="226505"/>
                    </a:lnTo>
                    <a:lnTo>
                      <a:pt x="195822" y="226505"/>
                    </a:lnTo>
                    <a:lnTo>
                      <a:pt x="196704" y="225887"/>
                    </a:lnTo>
                    <a:lnTo>
                      <a:pt x="198467" y="226505"/>
                    </a:lnTo>
                    <a:lnTo>
                      <a:pt x="199966" y="225887"/>
                    </a:lnTo>
                    <a:lnTo>
                      <a:pt x="199966" y="224741"/>
                    </a:lnTo>
                    <a:close/>
                    <a:moveTo>
                      <a:pt x="180833" y="257981"/>
                    </a:moveTo>
                    <a:lnTo>
                      <a:pt x="180304" y="254807"/>
                    </a:lnTo>
                    <a:lnTo>
                      <a:pt x="180569" y="252161"/>
                    </a:lnTo>
                    <a:lnTo>
                      <a:pt x="181715" y="251015"/>
                    </a:lnTo>
                    <a:lnTo>
                      <a:pt x="182861" y="250134"/>
                    </a:lnTo>
                    <a:lnTo>
                      <a:pt x="183743" y="249517"/>
                    </a:lnTo>
                    <a:lnTo>
                      <a:pt x="184007" y="249252"/>
                    </a:lnTo>
                    <a:lnTo>
                      <a:pt x="184007" y="248106"/>
                    </a:lnTo>
                    <a:lnTo>
                      <a:pt x="182861" y="248370"/>
                    </a:lnTo>
                    <a:lnTo>
                      <a:pt x="182597" y="247753"/>
                    </a:lnTo>
                    <a:lnTo>
                      <a:pt x="183214" y="246607"/>
                    </a:lnTo>
                    <a:lnTo>
                      <a:pt x="181186" y="245990"/>
                    </a:lnTo>
                    <a:lnTo>
                      <a:pt x="180304" y="245725"/>
                    </a:lnTo>
                    <a:lnTo>
                      <a:pt x="180569" y="243962"/>
                    </a:lnTo>
                    <a:lnTo>
                      <a:pt x="181715" y="243697"/>
                    </a:lnTo>
                    <a:lnTo>
                      <a:pt x="181186" y="243433"/>
                    </a:lnTo>
                    <a:lnTo>
                      <a:pt x="182068" y="242904"/>
                    </a:lnTo>
                    <a:lnTo>
                      <a:pt x="180304" y="242287"/>
                    </a:lnTo>
                    <a:lnTo>
                      <a:pt x="180040" y="240523"/>
                    </a:lnTo>
                    <a:lnTo>
                      <a:pt x="179775" y="239377"/>
                    </a:lnTo>
                    <a:lnTo>
                      <a:pt x="178629" y="236997"/>
                    </a:lnTo>
                    <a:lnTo>
                      <a:pt x="179775" y="234704"/>
                    </a:lnTo>
                    <a:lnTo>
                      <a:pt x="179775" y="233293"/>
                    </a:lnTo>
                    <a:lnTo>
                      <a:pt x="180392" y="232147"/>
                    </a:lnTo>
                    <a:lnTo>
                      <a:pt x="180392" y="230737"/>
                    </a:lnTo>
                    <a:lnTo>
                      <a:pt x="182420" y="228092"/>
                    </a:lnTo>
                    <a:lnTo>
                      <a:pt x="183038" y="225446"/>
                    </a:lnTo>
                    <a:lnTo>
                      <a:pt x="186829" y="223066"/>
                    </a:lnTo>
                    <a:lnTo>
                      <a:pt x="186300" y="221920"/>
                    </a:lnTo>
                    <a:lnTo>
                      <a:pt x="186564" y="221038"/>
                    </a:lnTo>
                    <a:lnTo>
                      <a:pt x="187093" y="220509"/>
                    </a:lnTo>
                    <a:lnTo>
                      <a:pt x="187711" y="219892"/>
                    </a:lnTo>
                    <a:lnTo>
                      <a:pt x="188592" y="219275"/>
                    </a:lnTo>
                    <a:lnTo>
                      <a:pt x="189474" y="218393"/>
                    </a:lnTo>
                    <a:lnTo>
                      <a:pt x="190091" y="217776"/>
                    </a:lnTo>
                    <a:lnTo>
                      <a:pt x="189474" y="217159"/>
                    </a:lnTo>
                    <a:lnTo>
                      <a:pt x="188857" y="217159"/>
                    </a:lnTo>
                    <a:lnTo>
                      <a:pt x="187358" y="216542"/>
                    </a:lnTo>
                    <a:lnTo>
                      <a:pt x="186212" y="216542"/>
                    </a:lnTo>
                    <a:lnTo>
                      <a:pt x="185330" y="219187"/>
                    </a:lnTo>
                    <a:lnTo>
                      <a:pt x="182156" y="219804"/>
                    </a:lnTo>
                    <a:lnTo>
                      <a:pt x="181274" y="219187"/>
                    </a:lnTo>
                    <a:lnTo>
                      <a:pt x="181010" y="218922"/>
                    </a:lnTo>
                    <a:lnTo>
                      <a:pt x="180481" y="218040"/>
                    </a:lnTo>
                    <a:lnTo>
                      <a:pt x="179599" y="218658"/>
                    </a:lnTo>
                    <a:lnTo>
                      <a:pt x="179599" y="219275"/>
                    </a:lnTo>
                    <a:lnTo>
                      <a:pt x="178982" y="220774"/>
                    </a:lnTo>
                    <a:lnTo>
                      <a:pt x="177835" y="221303"/>
                    </a:lnTo>
                    <a:lnTo>
                      <a:pt x="177835" y="221567"/>
                    </a:lnTo>
                    <a:lnTo>
                      <a:pt x="175808" y="220950"/>
                    </a:lnTo>
                    <a:lnTo>
                      <a:pt x="175543" y="220950"/>
                    </a:lnTo>
                    <a:lnTo>
                      <a:pt x="174662" y="220685"/>
                    </a:lnTo>
                    <a:lnTo>
                      <a:pt x="172281" y="220950"/>
                    </a:lnTo>
                    <a:lnTo>
                      <a:pt x="171664" y="220421"/>
                    </a:lnTo>
                    <a:lnTo>
                      <a:pt x="169636" y="220950"/>
                    </a:lnTo>
                    <a:lnTo>
                      <a:pt x="168490" y="222096"/>
                    </a:lnTo>
                    <a:lnTo>
                      <a:pt x="167344" y="222096"/>
                    </a:lnTo>
                    <a:lnTo>
                      <a:pt x="166462" y="222361"/>
                    </a:lnTo>
                    <a:lnTo>
                      <a:pt x="164963" y="223242"/>
                    </a:lnTo>
                    <a:lnTo>
                      <a:pt x="164081" y="223242"/>
                    </a:lnTo>
                    <a:lnTo>
                      <a:pt x="161789" y="224124"/>
                    </a:lnTo>
                    <a:lnTo>
                      <a:pt x="156852" y="224124"/>
                    </a:lnTo>
                    <a:lnTo>
                      <a:pt x="154559" y="223242"/>
                    </a:lnTo>
                    <a:lnTo>
                      <a:pt x="150503" y="225270"/>
                    </a:lnTo>
                    <a:lnTo>
                      <a:pt x="149357" y="225006"/>
                    </a:lnTo>
                    <a:lnTo>
                      <a:pt x="147858" y="224741"/>
                    </a:lnTo>
                    <a:lnTo>
                      <a:pt x="146712" y="223242"/>
                    </a:lnTo>
                    <a:lnTo>
                      <a:pt x="143803" y="222978"/>
                    </a:lnTo>
                    <a:lnTo>
                      <a:pt x="143803" y="221832"/>
                    </a:lnTo>
                    <a:lnTo>
                      <a:pt x="142656" y="222096"/>
                    </a:lnTo>
                    <a:lnTo>
                      <a:pt x="140893" y="221479"/>
                    </a:lnTo>
                    <a:lnTo>
                      <a:pt x="140893" y="220862"/>
                    </a:lnTo>
                    <a:lnTo>
                      <a:pt x="141158" y="219451"/>
                    </a:lnTo>
                    <a:lnTo>
                      <a:pt x="138865" y="219716"/>
                    </a:lnTo>
                    <a:lnTo>
                      <a:pt x="138865" y="220597"/>
                    </a:lnTo>
                    <a:lnTo>
                      <a:pt x="137102" y="220862"/>
                    </a:lnTo>
                    <a:lnTo>
                      <a:pt x="137102" y="220597"/>
                    </a:lnTo>
                    <a:lnTo>
                      <a:pt x="136485" y="220597"/>
                    </a:lnTo>
                    <a:lnTo>
                      <a:pt x="135074" y="221126"/>
                    </a:lnTo>
                    <a:lnTo>
                      <a:pt x="135603" y="222008"/>
                    </a:lnTo>
                    <a:lnTo>
                      <a:pt x="135603" y="222890"/>
                    </a:lnTo>
                    <a:lnTo>
                      <a:pt x="133311" y="223154"/>
                    </a:lnTo>
                    <a:lnTo>
                      <a:pt x="132164" y="224036"/>
                    </a:lnTo>
                    <a:lnTo>
                      <a:pt x="130401" y="222890"/>
                    </a:lnTo>
                    <a:lnTo>
                      <a:pt x="131018" y="221743"/>
                    </a:lnTo>
                    <a:lnTo>
                      <a:pt x="130401" y="220862"/>
                    </a:lnTo>
                    <a:lnTo>
                      <a:pt x="129519" y="220862"/>
                    </a:lnTo>
                    <a:lnTo>
                      <a:pt x="129519" y="220597"/>
                    </a:lnTo>
                    <a:lnTo>
                      <a:pt x="128020" y="219980"/>
                    </a:lnTo>
                    <a:lnTo>
                      <a:pt x="128285" y="221126"/>
                    </a:lnTo>
                    <a:lnTo>
                      <a:pt x="128020" y="221743"/>
                    </a:lnTo>
                    <a:lnTo>
                      <a:pt x="126257" y="221479"/>
                    </a:lnTo>
                    <a:lnTo>
                      <a:pt x="126257" y="222978"/>
                    </a:lnTo>
                    <a:lnTo>
                      <a:pt x="125111" y="222978"/>
                    </a:lnTo>
                    <a:lnTo>
                      <a:pt x="123347" y="223595"/>
                    </a:lnTo>
                    <a:lnTo>
                      <a:pt x="122730" y="224741"/>
                    </a:lnTo>
                    <a:lnTo>
                      <a:pt x="122730" y="225358"/>
                    </a:lnTo>
                    <a:lnTo>
                      <a:pt x="122730" y="225887"/>
                    </a:lnTo>
                    <a:lnTo>
                      <a:pt x="122995" y="227915"/>
                    </a:lnTo>
                    <a:lnTo>
                      <a:pt x="122995" y="228532"/>
                    </a:lnTo>
                    <a:lnTo>
                      <a:pt x="121849" y="229679"/>
                    </a:lnTo>
                    <a:lnTo>
                      <a:pt x="122466" y="230560"/>
                    </a:lnTo>
                    <a:lnTo>
                      <a:pt x="123083" y="231971"/>
                    </a:lnTo>
                    <a:lnTo>
                      <a:pt x="124229" y="232588"/>
                    </a:lnTo>
                    <a:lnTo>
                      <a:pt x="125375" y="233470"/>
                    </a:lnTo>
                    <a:lnTo>
                      <a:pt x="126522" y="234616"/>
                    </a:lnTo>
                    <a:lnTo>
                      <a:pt x="127668" y="235233"/>
                    </a:lnTo>
                    <a:lnTo>
                      <a:pt x="129696" y="234616"/>
                    </a:lnTo>
                    <a:lnTo>
                      <a:pt x="133222" y="235233"/>
                    </a:lnTo>
                    <a:lnTo>
                      <a:pt x="133751" y="235850"/>
                    </a:lnTo>
                    <a:lnTo>
                      <a:pt x="133751" y="236997"/>
                    </a:lnTo>
                    <a:lnTo>
                      <a:pt x="136396" y="238496"/>
                    </a:lnTo>
                    <a:lnTo>
                      <a:pt x="139570" y="239377"/>
                    </a:lnTo>
                    <a:lnTo>
                      <a:pt x="140981" y="240523"/>
                    </a:lnTo>
                    <a:lnTo>
                      <a:pt x="143362" y="241670"/>
                    </a:lnTo>
                    <a:lnTo>
                      <a:pt x="144243" y="243168"/>
                    </a:lnTo>
                    <a:lnTo>
                      <a:pt x="147506" y="243168"/>
                    </a:lnTo>
                    <a:lnTo>
                      <a:pt x="149269" y="245813"/>
                    </a:lnTo>
                    <a:lnTo>
                      <a:pt x="151649" y="246078"/>
                    </a:lnTo>
                    <a:lnTo>
                      <a:pt x="152531" y="246078"/>
                    </a:lnTo>
                    <a:lnTo>
                      <a:pt x="152796" y="246960"/>
                    </a:lnTo>
                    <a:lnTo>
                      <a:pt x="154559" y="245813"/>
                    </a:lnTo>
                    <a:lnTo>
                      <a:pt x="158615" y="246078"/>
                    </a:lnTo>
                    <a:lnTo>
                      <a:pt x="161789" y="248370"/>
                    </a:lnTo>
                    <a:lnTo>
                      <a:pt x="163288" y="250134"/>
                    </a:lnTo>
                    <a:lnTo>
                      <a:pt x="165933" y="253043"/>
                    </a:lnTo>
                    <a:lnTo>
                      <a:pt x="166550" y="254189"/>
                    </a:lnTo>
                    <a:lnTo>
                      <a:pt x="167432" y="255336"/>
                    </a:lnTo>
                    <a:lnTo>
                      <a:pt x="169724" y="255336"/>
                    </a:lnTo>
                    <a:lnTo>
                      <a:pt x="171223" y="255953"/>
                    </a:lnTo>
                    <a:lnTo>
                      <a:pt x="171223" y="256835"/>
                    </a:lnTo>
                    <a:lnTo>
                      <a:pt x="171840" y="256835"/>
                    </a:lnTo>
                    <a:lnTo>
                      <a:pt x="173868" y="257364"/>
                    </a:lnTo>
                    <a:lnTo>
                      <a:pt x="174133" y="256835"/>
                    </a:lnTo>
                    <a:lnTo>
                      <a:pt x="176777" y="256835"/>
                    </a:lnTo>
                    <a:lnTo>
                      <a:pt x="176777" y="257364"/>
                    </a:lnTo>
                    <a:lnTo>
                      <a:pt x="177659" y="257981"/>
                    </a:lnTo>
                    <a:lnTo>
                      <a:pt x="177395" y="257364"/>
                    </a:lnTo>
                    <a:lnTo>
                      <a:pt x="180040" y="259744"/>
                    </a:lnTo>
                    <a:lnTo>
                      <a:pt x="180833" y="257981"/>
                    </a:lnTo>
                    <a:close/>
                    <a:moveTo>
                      <a:pt x="74943" y="106860"/>
                    </a:moveTo>
                    <a:lnTo>
                      <a:pt x="75208" y="106860"/>
                    </a:lnTo>
                    <a:lnTo>
                      <a:pt x="74943" y="106596"/>
                    </a:lnTo>
                    <a:lnTo>
                      <a:pt x="74943" y="106331"/>
                    </a:lnTo>
                    <a:lnTo>
                      <a:pt x="74679" y="106331"/>
                    </a:lnTo>
                    <a:lnTo>
                      <a:pt x="75296" y="106331"/>
                    </a:lnTo>
                    <a:lnTo>
                      <a:pt x="75560" y="106596"/>
                    </a:lnTo>
                    <a:lnTo>
                      <a:pt x="75560" y="106331"/>
                    </a:lnTo>
                    <a:lnTo>
                      <a:pt x="75825" y="106331"/>
                    </a:lnTo>
                    <a:lnTo>
                      <a:pt x="76089" y="106331"/>
                    </a:lnTo>
                    <a:lnTo>
                      <a:pt x="76706" y="106596"/>
                    </a:lnTo>
                    <a:lnTo>
                      <a:pt x="77236" y="106596"/>
                    </a:lnTo>
                    <a:lnTo>
                      <a:pt x="77500" y="106331"/>
                    </a:lnTo>
                    <a:lnTo>
                      <a:pt x="77236" y="106067"/>
                    </a:lnTo>
                    <a:lnTo>
                      <a:pt x="77236" y="105802"/>
                    </a:lnTo>
                    <a:lnTo>
                      <a:pt x="77500" y="105538"/>
                    </a:lnTo>
                    <a:lnTo>
                      <a:pt x="77500" y="105273"/>
                    </a:lnTo>
                    <a:lnTo>
                      <a:pt x="77765" y="105273"/>
                    </a:lnTo>
                    <a:lnTo>
                      <a:pt x="77500" y="105273"/>
                    </a:lnTo>
                    <a:lnTo>
                      <a:pt x="77500" y="105009"/>
                    </a:lnTo>
                    <a:lnTo>
                      <a:pt x="77765" y="105009"/>
                    </a:lnTo>
                    <a:lnTo>
                      <a:pt x="77147" y="104744"/>
                    </a:lnTo>
                    <a:lnTo>
                      <a:pt x="77412" y="104744"/>
                    </a:lnTo>
                    <a:lnTo>
                      <a:pt x="77147" y="104479"/>
                    </a:lnTo>
                    <a:lnTo>
                      <a:pt x="77412" y="104479"/>
                    </a:lnTo>
                    <a:lnTo>
                      <a:pt x="77676" y="104215"/>
                    </a:lnTo>
                    <a:lnTo>
                      <a:pt x="77676" y="103950"/>
                    </a:lnTo>
                    <a:lnTo>
                      <a:pt x="77412" y="103950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6883" y="103421"/>
                    </a:lnTo>
                    <a:lnTo>
                      <a:pt x="76618" y="103421"/>
                    </a:lnTo>
                    <a:lnTo>
                      <a:pt x="76883" y="103157"/>
                    </a:lnTo>
                    <a:lnTo>
                      <a:pt x="76266" y="103157"/>
                    </a:lnTo>
                    <a:lnTo>
                      <a:pt x="76530" y="103157"/>
                    </a:lnTo>
                    <a:lnTo>
                      <a:pt x="76795" y="103157"/>
                    </a:lnTo>
                    <a:lnTo>
                      <a:pt x="76530" y="103157"/>
                    </a:lnTo>
                    <a:lnTo>
                      <a:pt x="76266" y="103157"/>
                    </a:lnTo>
                    <a:lnTo>
                      <a:pt x="75913" y="103157"/>
                    </a:lnTo>
                    <a:lnTo>
                      <a:pt x="76266" y="102892"/>
                    </a:lnTo>
                    <a:lnTo>
                      <a:pt x="75384" y="102892"/>
                    </a:lnTo>
                    <a:lnTo>
                      <a:pt x="74855" y="102892"/>
                    </a:lnTo>
                    <a:lnTo>
                      <a:pt x="74855" y="103157"/>
                    </a:lnTo>
                    <a:lnTo>
                      <a:pt x="74238" y="103157"/>
                    </a:lnTo>
                    <a:lnTo>
                      <a:pt x="73973" y="103157"/>
                    </a:lnTo>
                    <a:lnTo>
                      <a:pt x="73973" y="103421"/>
                    </a:lnTo>
                    <a:lnTo>
                      <a:pt x="73356" y="103421"/>
                    </a:lnTo>
                    <a:lnTo>
                      <a:pt x="73092" y="103421"/>
                    </a:lnTo>
                    <a:lnTo>
                      <a:pt x="72827" y="103421"/>
                    </a:lnTo>
                    <a:lnTo>
                      <a:pt x="72827" y="103686"/>
                    </a:lnTo>
                    <a:lnTo>
                      <a:pt x="71945" y="103686"/>
                    </a:lnTo>
                    <a:lnTo>
                      <a:pt x="71328" y="103686"/>
                    </a:lnTo>
                    <a:lnTo>
                      <a:pt x="71328" y="103421"/>
                    </a:lnTo>
                    <a:lnTo>
                      <a:pt x="71064" y="103421"/>
                    </a:lnTo>
                    <a:lnTo>
                      <a:pt x="70799" y="103686"/>
                    </a:lnTo>
                    <a:lnTo>
                      <a:pt x="71416" y="103950"/>
                    </a:lnTo>
                    <a:lnTo>
                      <a:pt x="71152" y="103950"/>
                    </a:lnTo>
                    <a:lnTo>
                      <a:pt x="70887" y="103950"/>
                    </a:lnTo>
                    <a:lnTo>
                      <a:pt x="71152" y="104215"/>
                    </a:lnTo>
                    <a:lnTo>
                      <a:pt x="71152" y="103950"/>
                    </a:lnTo>
                    <a:lnTo>
                      <a:pt x="71416" y="103950"/>
                    </a:lnTo>
                    <a:lnTo>
                      <a:pt x="71416" y="104215"/>
                    </a:lnTo>
                    <a:lnTo>
                      <a:pt x="72033" y="104215"/>
                    </a:lnTo>
                    <a:lnTo>
                      <a:pt x="72298" y="104215"/>
                    </a:lnTo>
                    <a:lnTo>
                      <a:pt x="72033" y="104479"/>
                    </a:lnTo>
                    <a:lnTo>
                      <a:pt x="72298" y="104479"/>
                    </a:lnTo>
                    <a:lnTo>
                      <a:pt x="72298" y="104744"/>
                    </a:lnTo>
                    <a:lnTo>
                      <a:pt x="72298" y="105009"/>
                    </a:lnTo>
                    <a:lnTo>
                      <a:pt x="72033" y="105009"/>
                    </a:lnTo>
                    <a:lnTo>
                      <a:pt x="72298" y="105009"/>
                    </a:lnTo>
                    <a:lnTo>
                      <a:pt x="72298" y="105273"/>
                    </a:lnTo>
                    <a:lnTo>
                      <a:pt x="72915" y="105273"/>
                    </a:lnTo>
                    <a:lnTo>
                      <a:pt x="72915" y="105538"/>
                    </a:lnTo>
                    <a:lnTo>
                      <a:pt x="72651" y="105538"/>
                    </a:lnTo>
                    <a:lnTo>
                      <a:pt x="72386" y="105538"/>
                    </a:lnTo>
                    <a:lnTo>
                      <a:pt x="72386" y="105802"/>
                    </a:lnTo>
                    <a:lnTo>
                      <a:pt x="72386" y="106067"/>
                    </a:lnTo>
                    <a:lnTo>
                      <a:pt x="72122" y="106067"/>
                    </a:lnTo>
                    <a:lnTo>
                      <a:pt x="72386" y="106067"/>
                    </a:lnTo>
                    <a:lnTo>
                      <a:pt x="72386" y="106331"/>
                    </a:lnTo>
                    <a:lnTo>
                      <a:pt x="72122" y="106331"/>
                    </a:lnTo>
                    <a:lnTo>
                      <a:pt x="72386" y="106331"/>
                    </a:lnTo>
                    <a:lnTo>
                      <a:pt x="72386" y="106596"/>
                    </a:lnTo>
                    <a:lnTo>
                      <a:pt x="72651" y="106596"/>
                    </a:lnTo>
                    <a:lnTo>
                      <a:pt x="72915" y="106596"/>
                    </a:lnTo>
                    <a:lnTo>
                      <a:pt x="72651" y="106860"/>
                    </a:lnTo>
                    <a:lnTo>
                      <a:pt x="72915" y="106860"/>
                    </a:lnTo>
                    <a:lnTo>
                      <a:pt x="73180" y="106860"/>
                    </a:lnTo>
                    <a:lnTo>
                      <a:pt x="73797" y="106860"/>
                    </a:lnTo>
                    <a:lnTo>
                      <a:pt x="74414" y="107125"/>
                    </a:lnTo>
                    <a:lnTo>
                      <a:pt x="74943" y="106860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2" name="Freihandform: Form 1561">
                <a:extLst>
                  <a:ext uri="{FF2B5EF4-FFF2-40B4-BE49-F238E27FC236}">
                    <a16:creationId xmlns:a16="http://schemas.microsoft.com/office/drawing/2014/main" id="{979F331D-7A3F-A5B2-73A5-911B872DFF36}"/>
                  </a:ext>
                </a:extLst>
              </p:cNvPr>
              <p:cNvSpPr/>
              <p:nvPr/>
            </p:nvSpPr>
            <p:spPr>
              <a:xfrm>
                <a:off x="3974442" y="2880592"/>
                <a:ext cx="251103" cy="214778"/>
              </a:xfrm>
              <a:custGeom>
                <a:avLst/>
                <a:gdLst>
                  <a:gd name="connsiteX0" fmla="*/ 240964 w 251103"/>
                  <a:gd name="connsiteY0" fmla="*/ 86405 h 214778"/>
                  <a:gd name="connsiteX1" fmla="*/ 240347 w 251103"/>
                  <a:gd name="connsiteY1" fmla="*/ 85523 h 214778"/>
                  <a:gd name="connsiteX2" fmla="*/ 239730 w 251103"/>
                  <a:gd name="connsiteY2" fmla="*/ 84377 h 214778"/>
                  <a:gd name="connsiteX3" fmla="*/ 239730 w 251103"/>
                  <a:gd name="connsiteY3" fmla="*/ 83231 h 214778"/>
                  <a:gd name="connsiteX4" fmla="*/ 240347 w 251103"/>
                  <a:gd name="connsiteY4" fmla="*/ 82349 h 214778"/>
                  <a:gd name="connsiteX5" fmla="*/ 240083 w 251103"/>
                  <a:gd name="connsiteY5" fmla="*/ 81468 h 214778"/>
                  <a:gd name="connsiteX6" fmla="*/ 240612 w 251103"/>
                  <a:gd name="connsiteY6" fmla="*/ 79969 h 214778"/>
                  <a:gd name="connsiteX7" fmla="*/ 240083 w 251103"/>
                  <a:gd name="connsiteY7" fmla="*/ 78823 h 214778"/>
                  <a:gd name="connsiteX8" fmla="*/ 240612 w 251103"/>
                  <a:gd name="connsiteY8" fmla="*/ 77324 h 214778"/>
                  <a:gd name="connsiteX9" fmla="*/ 240347 w 251103"/>
                  <a:gd name="connsiteY9" fmla="*/ 75296 h 214778"/>
                  <a:gd name="connsiteX10" fmla="*/ 240347 w 251103"/>
                  <a:gd name="connsiteY10" fmla="*/ 73532 h 214778"/>
                  <a:gd name="connsiteX11" fmla="*/ 241493 w 251103"/>
                  <a:gd name="connsiteY11" fmla="*/ 69741 h 214778"/>
                  <a:gd name="connsiteX12" fmla="*/ 241493 w 251103"/>
                  <a:gd name="connsiteY12" fmla="*/ 68595 h 214778"/>
                  <a:gd name="connsiteX13" fmla="*/ 242640 w 251103"/>
                  <a:gd name="connsiteY13" fmla="*/ 66832 h 214778"/>
                  <a:gd name="connsiteX14" fmla="*/ 243169 w 251103"/>
                  <a:gd name="connsiteY14" fmla="*/ 64187 h 214778"/>
                  <a:gd name="connsiteX15" fmla="*/ 244315 w 251103"/>
                  <a:gd name="connsiteY15" fmla="*/ 63040 h 214778"/>
                  <a:gd name="connsiteX16" fmla="*/ 245461 w 251103"/>
                  <a:gd name="connsiteY16" fmla="*/ 62159 h 214778"/>
                  <a:gd name="connsiteX17" fmla="*/ 246342 w 251103"/>
                  <a:gd name="connsiteY17" fmla="*/ 61013 h 214778"/>
                  <a:gd name="connsiteX18" fmla="*/ 247224 w 251103"/>
                  <a:gd name="connsiteY18" fmla="*/ 58985 h 214778"/>
                  <a:gd name="connsiteX19" fmla="*/ 248723 w 251103"/>
                  <a:gd name="connsiteY19" fmla="*/ 58103 h 214778"/>
                  <a:gd name="connsiteX20" fmla="*/ 249957 w 251103"/>
                  <a:gd name="connsiteY20" fmla="*/ 56604 h 214778"/>
                  <a:gd name="connsiteX21" fmla="*/ 251104 w 251103"/>
                  <a:gd name="connsiteY21" fmla="*/ 53959 h 214778"/>
                  <a:gd name="connsiteX22" fmla="*/ 251104 w 251103"/>
                  <a:gd name="connsiteY22" fmla="*/ 53342 h 214778"/>
                  <a:gd name="connsiteX23" fmla="*/ 250839 w 251103"/>
                  <a:gd name="connsiteY23" fmla="*/ 53077 h 214778"/>
                  <a:gd name="connsiteX24" fmla="*/ 248811 w 251103"/>
                  <a:gd name="connsiteY24" fmla="*/ 52460 h 214778"/>
                  <a:gd name="connsiteX25" fmla="*/ 245637 w 251103"/>
                  <a:gd name="connsiteY25" fmla="*/ 50961 h 214778"/>
                  <a:gd name="connsiteX26" fmla="*/ 242992 w 251103"/>
                  <a:gd name="connsiteY26" fmla="*/ 50961 h 214778"/>
                  <a:gd name="connsiteX27" fmla="*/ 241229 w 251103"/>
                  <a:gd name="connsiteY27" fmla="*/ 51226 h 214778"/>
                  <a:gd name="connsiteX28" fmla="*/ 239818 w 251103"/>
                  <a:gd name="connsiteY28" fmla="*/ 50961 h 214778"/>
                  <a:gd name="connsiteX29" fmla="*/ 238055 w 251103"/>
                  <a:gd name="connsiteY29" fmla="*/ 49198 h 214778"/>
                  <a:gd name="connsiteX30" fmla="*/ 236908 w 251103"/>
                  <a:gd name="connsiteY30" fmla="*/ 48316 h 214778"/>
                  <a:gd name="connsiteX31" fmla="*/ 235145 w 251103"/>
                  <a:gd name="connsiteY31" fmla="*/ 48052 h 214778"/>
                  <a:gd name="connsiteX32" fmla="*/ 234528 w 251103"/>
                  <a:gd name="connsiteY32" fmla="*/ 48669 h 214778"/>
                  <a:gd name="connsiteX33" fmla="*/ 233646 w 251103"/>
                  <a:gd name="connsiteY33" fmla="*/ 49286 h 214778"/>
                  <a:gd name="connsiteX34" fmla="*/ 232500 w 251103"/>
                  <a:gd name="connsiteY34" fmla="*/ 49551 h 214778"/>
                  <a:gd name="connsiteX35" fmla="*/ 229591 w 251103"/>
                  <a:gd name="connsiteY35" fmla="*/ 49286 h 214778"/>
                  <a:gd name="connsiteX36" fmla="*/ 228444 w 251103"/>
                  <a:gd name="connsiteY36" fmla="*/ 48140 h 214778"/>
                  <a:gd name="connsiteX37" fmla="*/ 226681 w 251103"/>
                  <a:gd name="connsiteY37" fmla="*/ 46994 h 214778"/>
                  <a:gd name="connsiteX38" fmla="*/ 226416 w 251103"/>
                  <a:gd name="connsiteY38" fmla="*/ 46377 h 214778"/>
                  <a:gd name="connsiteX39" fmla="*/ 225535 w 251103"/>
                  <a:gd name="connsiteY39" fmla="*/ 46377 h 214778"/>
                  <a:gd name="connsiteX40" fmla="*/ 225270 w 251103"/>
                  <a:gd name="connsiteY40" fmla="*/ 48140 h 214778"/>
                  <a:gd name="connsiteX41" fmla="*/ 223860 w 251103"/>
                  <a:gd name="connsiteY41" fmla="*/ 48140 h 214778"/>
                  <a:gd name="connsiteX42" fmla="*/ 223595 w 251103"/>
                  <a:gd name="connsiteY42" fmla="*/ 46994 h 214778"/>
                  <a:gd name="connsiteX43" fmla="*/ 222096 w 251103"/>
                  <a:gd name="connsiteY43" fmla="*/ 46112 h 214778"/>
                  <a:gd name="connsiteX44" fmla="*/ 222361 w 251103"/>
                  <a:gd name="connsiteY44" fmla="*/ 45848 h 214778"/>
                  <a:gd name="connsiteX45" fmla="*/ 220862 w 251103"/>
                  <a:gd name="connsiteY45" fmla="*/ 43820 h 214778"/>
                  <a:gd name="connsiteX46" fmla="*/ 219716 w 251103"/>
                  <a:gd name="connsiteY46" fmla="*/ 42321 h 214778"/>
                  <a:gd name="connsiteX47" fmla="*/ 219716 w 251103"/>
                  <a:gd name="connsiteY47" fmla="*/ 41704 h 214778"/>
                  <a:gd name="connsiteX48" fmla="*/ 218569 w 251103"/>
                  <a:gd name="connsiteY48" fmla="*/ 40822 h 214778"/>
                  <a:gd name="connsiteX49" fmla="*/ 218041 w 251103"/>
                  <a:gd name="connsiteY49" fmla="*/ 40205 h 214778"/>
                  <a:gd name="connsiteX50" fmla="*/ 216542 w 251103"/>
                  <a:gd name="connsiteY50" fmla="*/ 39588 h 214778"/>
                  <a:gd name="connsiteX51" fmla="*/ 216542 w 251103"/>
                  <a:gd name="connsiteY51" fmla="*/ 38970 h 214778"/>
                  <a:gd name="connsiteX52" fmla="*/ 215131 w 251103"/>
                  <a:gd name="connsiteY52" fmla="*/ 38970 h 214778"/>
                  <a:gd name="connsiteX53" fmla="*/ 215131 w 251103"/>
                  <a:gd name="connsiteY53" fmla="*/ 39588 h 214778"/>
                  <a:gd name="connsiteX54" fmla="*/ 214514 w 251103"/>
                  <a:gd name="connsiteY54" fmla="*/ 39588 h 214778"/>
                  <a:gd name="connsiteX55" fmla="*/ 213368 w 251103"/>
                  <a:gd name="connsiteY55" fmla="*/ 39323 h 214778"/>
                  <a:gd name="connsiteX56" fmla="*/ 211604 w 251103"/>
                  <a:gd name="connsiteY56" fmla="*/ 39940 h 214778"/>
                  <a:gd name="connsiteX57" fmla="*/ 209224 w 251103"/>
                  <a:gd name="connsiteY57" fmla="*/ 39940 h 214778"/>
                  <a:gd name="connsiteX58" fmla="*/ 208695 w 251103"/>
                  <a:gd name="connsiteY58" fmla="*/ 39059 h 214778"/>
                  <a:gd name="connsiteX59" fmla="*/ 207196 w 251103"/>
                  <a:gd name="connsiteY59" fmla="*/ 39059 h 214778"/>
                  <a:gd name="connsiteX60" fmla="*/ 204022 w 251103"/>
                  <a:gd name="connsiteY60" fmla="*/ 38441 h 214778"/>
                  <a:gd name="connsiteX61" fmla="*/ 202523 w 251103"/>
                  <a:gd name="connsiteY61" fmla="*/ 39323 h 214778"/>
                  <a:gd name="connsiteX62" fmla="*/ 200760 w 251103"/>
                  <a:gd name="connsiteY62" fmla="*/ 39059 h 214778"/>
                  <a:gd name="connsiteX63" fmla="*/ 199613 w 251103"/>
                  <a:gd name="connsiteY63" fmla="*/ 39676 h 214778"/>
                  <a:gd name="connsiteX64" fmla="*/ 198467 w 251103"/>
                  <a:gd name="connsiteY64" fmla="*/ 38794 h 214778"/>
                  <a:gd name="connsiteX65" fmla="*/ 196968 w 251103"/>
                  <a:gd name="connsiteY65" fmla="*/ 38177 h 214778"/>
                  <a:gd name="connsiteX66" fmla="*/ 195557 w 251103"/>
                  <a:gd name="connsiteY66" fmla="*/ 37560 h 214778"/>
                  <a:gd name="connsiteX67" fmla="*/ 194676 w 251103"/>
                  <a:gd name="connsiteY67" fmla="*/ 35796 h 214778"/>
                  <a:gd name="connsiteX68" fmla="*/ 193177 w 251103"/>
                  <a:gd name="connsiteY68" fmla="*/ 36414 h 214778"/>
                  <a:gd name="connsiteX69" fmla="*/ 192295 w 251103"/>
                  <a:gd name="connsiteY69" fmla="*/ 35003 h 214778"/>
                  <a:gd name="connsiteX70" fmla="*/ 191149 w 251103"/>
                  <a:gd name="connsiteY70" fmla="*/ 34386 h 214778"/>
                  <a:gd name="connsiteX71" fmla="*/ 189121 w 251103"/>
                  <a:gd name="connsiteY71" fmla="*/ 32358 h 214778"/>
                  <a:gd name="connsiteX72" fmla="*/ 187622 w 251103"/>
                  <a:gd name="connsiteY72" fmla="*/ 32093 h 214778"/>
                  <a:gd name="connsiteX73" fmla="*/ 187622 w 251103"/>
                  <a:gd name="connsiteY73" fmla="*/ 31829 h 214778"/>
                  <a:gd name="connsiteX74" fmla="*/ 185859 w 251103"/>
                  <a:gd name="connsiteY74" fmla="*/ 30947 h 214778"/>
                  <a:gd name="connsiteX75" fmla="*/ 186476 w 251103"/>
                  <a:gd name="connsiteY75" fmla="*/ 29448 h 214778"/>
                  <a:gd name="connsiteX76" fmla="*/ 185595 w 251103"/>
                  <a:gd name="connsiteY76" fmla="*/ 27949 h 214778"/>
                  <a:gd name="connsiteX77" fmla="*/ 186212 w 251103"/>
                  <a:gd name="connsiteY77" fmla="*/ 26451 h 214778"/>
                  <a:gd name="connsiteX78" fmla="*/ 187358 w 251103"/>
                  <a:gd name="connsiteY78" fmla="*/ 24423 h 214778"/>
                  <a:gd name="connsiteX79" fmla="*/ 186212 w 251103"/>
                  <a:gd name="connsiteY79" fmla="*/ 23012 h 214778"/>
                  <a:gd name="connsiteX80" fmla="*/ 183302 w 251103"/>
                  <a:gd name="connsiteY80" fmla="*/ 25304 h 214778"/>
                  <a:gd name="connsiteX81" fmla="*/ 183302 w 251103"/>
                  <a:gd name="connsiteY81" fmla="*/ 28214 h 214778"/>
                  <a:gd name="connsiteX82" fmla="*/ 180128 w 251103"/>
                  <a:gd name="connsiteY82" fmla="*/ 29713 h 214778"/>
                  <a:gd name="connsiteX83" fmla="*/ 177219 w 251103"/>
                  <a:gd name="connsiteY83" fmla="*/ 28567 h 214778"/>
                  <a:gd name="connsiteX84" fmla="*/ 176072 w 251103"/>
                  <a:gd name="connsiteY84" fmla="*/ 29184 h 214778"/>
                  <a:gd name="connsiteX85" fmla="*/ 174926 w 251103"/>
                  <a:gd name="connsiteY85" fmla="*/ 28567 h 214778"/>
                  <a:gd name="connsiteX86" fmla="*/ 173427 w 251103"/>
                  <a:gd name="connsiteY86" fmla="*/ 27949 h 214778"/>
                  <a:gd name="connsiteX87" fmla="*/ 173163 w 251103"/>
                  <a:gd name="connsiteY87" fmla="*/ 26186 h 214778"/>
                  <a:gd name="connsiteX88" fmla="*/ 174926 w 251103"/>
                  <a:gd name="connsiteY88" fmla="*/ 26186 h 214778"/>
                  <a:gd name="connsiteX89" fmla="*/ 174662 w 251103"/>
                  <a:gd name="connsiteY89" fmla="*/ 24423 h 214778"/>
                  <a:gd name="connsiteX90" fmla="*/ 173515 w 251103"/>
                  <a:gd name="connsiteY90" fmla="*/ 24158 h 214778"/>
                  <a:gd name="connsiteX91" fmla="*/ 173251 w 251103"/>
                  <a:gd name="connsiteY91" fmla="*/ 22130 h 214778"/>
                  <a:gd name="connsiteX92" fmla="*/ 172369 w 251103"/>
                  <a:gd name="connsiteY92" fmla="*/ 19750 h 214778"/>
                  <a:gd name="connsiteX93" fmla="*/ 170606 w 251103"/>
                  <a:gd name="connsiteY93" fmla="*/ 19133 h 214778"/>
                  <a:gd name="connsiteX94" fmla="*/ 166815 w 251103"/>
                  <a:gd name="connsiteY94" fmla="*/ 19133 h 214778"/>
                  <a:gd name="connsiteX95" fmla="*/ 165051 w 251103"/>
                  <a:gd name="connsiteY95" fmla="*/ 20014 h 214778"/>
                  <a:gd name="connsiteX96" fmla="*/ 164169 w 251103"/>
                  <a:gd name="connsiteY96" fmla="*/ 18515 h 214778"/>
                  <a:gd name="connsiteX97" fmla="*/ 164169 w 251103"/>
                  <a:gd name="connsiteY97" fmla="*/ 17369 h 214778"/>
                  <a:gd name="connsiteX98" fmla="*/ 163024 w 251103"/>
                  <a:gd name="connsiteY98" fmla="*/ 16752 h 214778"/>
                  <a:gd name="connsiteX99" fmla="*/ 160996 w 251103"/>
                  <a:gd name="connsiteY99" fmla="*/ 16752 h 214778"/>
                  <a:gd name="connsiteX100" fmla="*/ 160731 w 251103"/>
                  <a:gd name="connsiteY100" fmla="*/ 15606 h 214778"/>
                  <a:gd name="connsiteX101" fmla="*/ 158968 w 251103"/>
                  <a:gd name="connsiteY101" fmla="*/ 15341 h 214778"/>
                  <a:gd name="connsiteX102" fmla="*/ 158703 w 251103"/>
                  <a:gd name="connsiteY102" fmla="*/ 16223 h 214778"/>
                  <a:gd name="connsiteX103" fmla="*/ 156940 w 251103"/>
                  <a:gd name="connsiteY103" fmla="*/ 15606 h 214778"/>
                  <a:gd name="connsiteX104" fmla="*/ 156940 w 251103"/>
                  <a:gd name="connsiteY104" fmla="*/ 13842 h 214778"/>
                  <a:gd name="connsiteX105" fmla="*/ 155794 w 251103"/>
                  <a:gd name="connsiteY105" fmla="*/ 11550 h 214778"/>
                  <a:gd name="connsiteX106" fmla="*/ 156675 w 251103"/>
                  <a:gd name="connsiteY106" fmla="*/ 11286 h 214778"/>
                  <a:gd name="connsiteX107" fmla="*/ 155529 w 251103"/>
                  <a:gd name="connsiteY107" fmla="*/ 10139 h 214778"/>
                  <a:gd name="connsiteX108" fmla="*/ 154030 w 251103"/>
                  <a:gd name="connsiteY108" fmla="*/ 8993 h 214778"/>
                  <a:gd name="connsiteX109" fmla="*/ 152002 w 251103"/>
                  <a:gd name="connsiteY109" fmla="*/ 8376 h 214778"/>
                  <a:gd name="connsiteX110" fmla="*/ 153148 w 251103"/>
                  <a:gd name="connsiteY110" fmla="*/ 8993 h 214778"/>
                  <a:gd name="connsiteX111" fmla="*/ 149622 w 251103"/>
                  <a:gd name="connsiteY111" fmla="*/ 9610 h 214778"/>
                  <a:gd name="connsiteX112" fmla="*/ 149886 w 251103"/>
                  <a:gd name="connsiteY112" fmla="*/ 10139 h 214778"/>
                  <a:gd name="connsiteX113" fmla="*/ 149622 w 251103"/>
                  <a:gd name="connsiteY113" fmla="*/ 10757 h 214778"/>
                  <a:gd name="connsiteX114" fmla="*/ 147859 w 251103"/>
                  <a:gd name="connsiteY114" fmla="*/ 10139 h 214778"/>
                  <a:gd name="connsiteX115" fmla="*/ 146095 w 251103"/>
                  <a:gd name="connsiteY115" fmla="*/ 7847 h 214778"/>
                  <a:gd name="connsiteX116" fmla="*/ 144067 w 251103"/>
                  <a:gd name="connsiteY116" fmla="*/ 7847 h 214778"/>
                  <a:gd name="connsiteX117" fmla="*/ 144067 w 251103"/>
                  <a:gd name="connsiteY117" fmla="*/ 6701 h 214778"/>
                  <a:gd name="connsiteX118" fmla="*/ 144067 w 251103"/>
                  <a:gd name="connsiteY118" fmla="*/ 5819 h 214778"/>
                  <a:gd name="connsiteX119" fmla="*/ 144067 w 251103"/>
                  <a:gd name="connsiteY119" fmla="*/ 4673 h 214778"/>
                  <a:gd name="connsiteX120" fmla="*/ 144067 w 251103"/>
                  <a:gd name="connsiteY120" fmla="*/ 3527 h 214778"/>
                  <a:gd name="connsiteX121" fmla="*/ 142039 w 251103"/>
                  <a:gd name="connsiteY121" fmla="*/ 1499 h 214778"/>
                  <a:gd name="connsiteX122" fmla="*/ 141422 w 251103"/>
                  <a:gd name="connsiteY122" fmla="*/ 1763 h 214778"/>
                  <a:gd name="connsiteX123" fmla="*/ 140276 w 251103"/>
                  <a:gd name="connsiteY123" fmla="*/ 2028 h 214778"/>
                  <a:gd name="connsiteX124" fmla="*/ 138777 w 251103"/>
                  <a:gd name="connsiteY124" fmla="*/ 2028 h 214778"/>
                  <a:gd name="connsiteX125" fmla="*/ 135868 w 251103"/>
                  <a:gd name="connsiteY125" fmla="*/ 264 h 214778"/>
                  <a:gd name="connsiteX126" fmla="*/ 135339 w 251103"/>
                  <a:gd name="connsiteY126" fmla="*/ 0 h 214778"/>
                  <a:gd name="connsiteX127" fmla="*/ 132429 w 251103"/>
                  <a:gd name="connsiteY127" fmla="*/ 529 h 214778"/>
                  <a:gd name="connsiteX128" fmla="*/ 130666 w 251103"/>
                  <a:gd name="connsiteY128" fmla="*/ 1146 h 214778"/>
                  <a:gd name="connsiteX129" fmla="*/ 130401 w 251103"/>
                  <a:gd name="connsiteY129" fmla="*/ 2910 h 214778"/>
                  <a:gd name="connsiteX130" fmla="*/ 129255 w 251103"/>
                  <a:gd name="connsiteY130" fmla="*/ 3527 h 214778"/>
                  <a:gd name="connsiteX131" fmla="*/ 126962 w 251103"/>
                  <a:gd name="connsiteY131" fmla="*/ 4408 h 214778"/>
                  <a:gd name="connsiteX132" fmla="*/ 125816 w 251103"/>
                  <a:gd name="connsiteY132" fmla="*/ 6789 h 214778"/>
                  <a:gd name="connsiteX133" fmla="*/ 124670 w 251103"/>
                  <a:gd name="connsiteY133" fmla="*/ 7053 h 214778"/>
                  <a:gd name="connsiteX134" fmla="*/ 124935 w 251103"/>
                  <a:gd name="connsiteY134" fmla="*/ 9963 h 214778"/>
                  <a:gd name="connsiteX135" fmla="*/ 124053 w 251103"/>
                  <a:gd name="connsiteY135" fmla="*/ 11462 h 214778"/>
                  <a:gd name="connsiteX136" fmla="*/ 123788 w 251103"/>
                  <a:gd name="connsiteY136" fmla="*/ 12961 h 214778"/>
                  <a:gd name="connsiteX137" fmla="*/ 124935 w 251103"/>
                  <a:gd name="connsiteY137" fmla="*/ 14107 h 214778"/>
                  <a:gd name="connsiteX138" fmla="*/ 124935 w 251103"/>
                  <a:gd name="connsiteY138" fmla="*/ 15253 h 214778"/>
                  <a:gd name="connsiteX139" fmla="*/ 123788 w 251103"/>
                  <a:gd name="connsiteY139" fmla="*/ 15870 h 214778"/>
                  <a:gd name="connsiteX140" fmla="*/ 123788 w 251103"/>
                  <a:gd name="connsiteY140" fmla="*/ 18163 h 214778"/>
                  <a:gd name="connsiteX141" fmla="*/ 124670 w 251103"/>
                  <a:gd name="connsiteY141" fmla="*/ 18780 h 214778"/>
                  <a:gd name="connsiteX142" fmla="*/ 124935 w 251103"/>
                  <a:gd name="connsiteY142" fmla="*/ 19309 h 214778"/>
                  <a:gd name="connsiteX143" fmla="*/ 123788 w 251103"/>
                  <a:gd name="connsiteY143" fmla="*/ 18780 h 214778"/>
                  <a:gd name="connsiteX144" fmla="*/ 123788 w 251103"/>
                  <a:gd name="connsiteY144" fmla="*/ 21425 h 214778"/>
                  <a:gd name="connsiteX145" fmla="*/ 124935 w 251103"/>
                  <a:gd name="connsiteY145" fmla="*/ 21689 h 214778"/>
                  <a:gd name="connsiteX146" fmla="*/ 125816 w 251103"/>
                  <a:gd name="connsiteY146" fmla="*/ 21689 h 214778"/>
                  <a:gd name="connsiteX147" fmla="*/ 126698 w 251103"/>
                  <a:gd name="connsiteY147" fmla="*/ 21689 h 214778"/>
                  <a:gd name="connsiteX148" fmla="*/ 126433 w 251103"/>
                  <a:gd name="connsiteY148" fmla="*/ 22307 h 214778"/>
                  <a:gd name="connsiteX149" fmla="*/ 126169 w 251103"/>
                  <a:gd name="connsiteY149" fmla="*/ 22571 h 214778"/>
                  <a:gd name="connsiteX150" fmla="*/ 126786 w 251103"/>
                  <a:gd name="connsiteY150" fmla="*/ 23188 h 214778"/>
                  <a:gd name="connsiteX151" fmla="*/ 125023 w 251103"/>
                  <a:gd name="connsiteY151" fmla="*/ 22571 h 214778"/>
                  <a:gd name="connsiteX152" fmla="*/ 123877 w 251103"/>
                  <a:gd name="connsiteY152" fmla="*/ 21689 h 214778"/>
                  <a:gd name="connsiteX153" fmla="*/ 122995 w 251103"/>
                  <a:gd name="connsiteY153" fmla="*/ 21954 h 214778"/>
                  <a:gd name="connsiteX154" fmla="*/ 120703 w 251103"/>
                  <a:gd name="connsiteY154" fmla="*/ 23100 h 214778"/>
                  <a:gd name="connsiteX155" fmla="*/ 121232 w 251103"/>
                  <a:gd name="connsiteY155" fmla="*/ 25745 h 214778"/>
                  <a:gd name="connsiteX156" fmla="*/ 120350 w 251103"/>
                  <a:gd name="connsiteY156" fmla="*/ 26010 h 214778"/>
                  <a:gd name="connsiteX157" fmla="*/ 118058 w 251103"/>
                  <a:gd name="connsiteY157" fmla="*/ 28037 h 214778"/>
                  <a:gd name="connsiteX158" fmla="*/ 115148 w 251103"/>
                  <a:gd name="connsiteY158" fmla="*/ 29184 h 214778"/>
                  <a:gd name="connsiteX159" fmla="*/ 113385 w 251103"/>
                  <a:gd name="connsiteY159" fmla="*/ 29801 h 214778"/>
                  <a:gd name="connsiteX160" fmla="*/ 110739 w 251103"/>
                  <a:gd name="connsiteY160" fmla="*/ 30065 h 214778"/>
                  <a:gd name="connsiteX161" fmla="*/ 108359 w 251103"/>
                  <a:gd name="connsiteY161" fmla="*/ 30947 h 214778"/>
                  <a:gd name="connsiteX162" fmla="*/ 108095 w 251103"/>
                  <a:gd name="connsiteY162" fmla="*/ 30065 h 214778"/>
                  <a:gd name="connsiteX163" fmla="*/ 105449 w 251103"/>
                  <a:gd name="connsiteY163" fmla="*/ 30947 h 214778"/>
                  <a:gd name="connsiteX164" fmla="*/ 101658 w 251103"/>
                  <a:gd name="connsiteY164" fmla="*/ 31564 h 214778"/>
                  <a:gd name="connsiteX165" fmla="*/ 101306 w 251103"/>
                  <a:gd name="connsiteY165" fmla="*/ 33328 h 214778"/>
                  <a:gd name="connsiteX166" fmla="*/ 101306 w 251103"/>
                  <a:gd name="connsiteY166" fmla="*/ 33945 h 214778"/>
                  <a:gd name="connsiteX167" fmla="*/ 99542 w 251103"/>
                  <a:gd name="connsiteY167" fmla="*/ 35708 h 214778"/>
                  <a:gd name="connsiteX168" fmla="*/ 98131 w 251103"/>
                  <a:gd name="connsiteY168" fmla="*/ 35444 h 214778"/>
                  <a:gd name="connsiteX169" fmla="*/ 97514 w 251103"/>
                  <a:gd name="connsiteY169" fmla="*/ 35973 h 214778"/>
                  <a:gd name="connsiteX170" fmla="*/ 96368 w 251103"/>
                  <a:gd name="connsiteY170" fmla="*/ 37736 h 214778"/>
                  <a:gd name="connsiteX171" fmla="*/ 96368 w 251103"/>
                  <a:gd name="connsiteY171" fmla="*/ 39499 h 214778"/>
                  <a:gd name="connsiteX172" fmla="*/ 97514 w 251103"/>
                  <a:gd name="connsiteY172" fmla="*/ 40117 h 214778"/>
                  <a:gd name="connsiteX173" fmla="*/ 98131 w 251103"/>
                  <a:gd name="connsiteY173" fmla="*/ 40117 h 214778"/>
                  <a:gd name="connsiteX174" fmla="*/ 99542 w 251103"/>
                  <a:gd name="connsiteY174" fmla="*/ 39235 h 214778"/>
                  <a:gd name="connsiteX175" fmla="*/ 101923 w 251103"/>
                  <a:gd name="connsiteY175" fmla="*/ 40381 h 214778"/>
                  <a:gd name="connsiteX176" fmla="*/ 102804 w 251103"/>
                  <a:gd name="connsiteY176" fmla="*/ 39764 h 214778"/>
                  <a:gd name="connsiteX177" fmla="*/ 104215 w 251103"/>
                  <a:gd name="connsiteY177" fmla="*/ 40028 h 214778"/>
                  <a:gd name="connsiteX178" fmla="*/ 103598 w 251103"/>
                  <a:gd name="connsiteY178" fmla="*/ 40646 h 214778"/>
                  <a:gd name="connsiteX179" fmla="*/ 102716 w 251103"/>
                  <a:gd name="connsiteY179" fmla="*/ 40646 h 214778"/>
                  <a:gd name="connsiteX180" fmla="*/ 98043 w 251103"/>
                  <a:gd name="connsiteY180" fmla="*/ 41527 h 214778"/>
                  <a:gd name="connsiteX181" fmla="*/ 97426 w 251103"/>
                  <a:gd name="connsiteY181" fmla="*/ 41792 h 214778"/>
                  <a:gd name="connsiteX182" fmla="*/ 96280 w 251103"/>
                  <a:gd name="connsiteY182" fmla="*/ 42673 h 214778"/>
                  <a:gd name="connsiteX183" fmla="*/ 92753 w 251103"/>
                  <a:gd name="connsiteY183" fmla="*/ 40028 h 214778"/>
                  <a:gd name="connsiteX184" fmla="*/ 92753 w 251103"/>
                  <a:gd name="connsiteY184" fmla="*/ 40646 h 214778"/>
                  <a:gd name="connsiteX185" fmla="*/ 91872 w 251103"/>
                  <a:gd name="connsiteY185" fmla="*/ 43026 h 214778"/>
                  <a:gd name="connsiteX186" fmla="*/ 90373 w 251103"/>
                  <a:gd name="connsiteY186" fmla="*/ 42762 h 214778"/>
                  <a:gd name="connsiteX187" fmla="*/ 87463 w 251103"/>
                  <a:gd name="connsiteY187" fmla="*/ 42762 h 214778"/>
                  <a:gd name="connsiteX188" fmla="*/ 85171 w 251103"/>
                  <a:gd name="connsiteY188" fmla="*/ 43026 h 214778"/>
                  <a:gd name="connsiteX189" fmla="*/ 84289 w 251103"/>
                  <a:gd name="connsiteY189" fmla="*/ 40998 h 214778"/>
                  <a:gd name="connsiteX190" fmla="*/ 81909 w 251103"/>
                  <a:gd name="connsiteY190" fmla="*/ 40734 h 214778"/>
                  <a:gd name="connsiteX191" fmla="*/ 79264 w 251103"/>
                  <a:gd name="connsiteY191" fmla="*/ 40998 h 214778"/>
                  <a:gd name="connsiteX192" fmla="*/ 78646 w 251103"/>
                  <a:gd name="connsiteY192" fmla="*/ 39235 h 214778"/>
                  <a:gd name="connsiteX193" fmla="*/ 75120 w 251103"/>
                  <a:gd name="connsiteY193" fmla="*/ 39235 h 214778"/>
                  <a:gd name="connsiteX194" fmla="*/ 73356 w 251103"/>
                  <a:gd name="connsiteY194" fmla="*/ 39852 h 214778"/>
                  <a:gd name="connsiteX195" fmla="*/ 71328 w 251103"/>
                  <a:gd name="connsiteY195" fmla="*/ 39235 h 214778"/>
                  <a:gd name="connsiteX196" fmla="*/ 70711 w 251103"/>
                  <a:gd name="connsiteY196" fmla="*/ 38089 h 214778"/>
                  <a:gd name="connsiteX197" fmla="*/ 69565 w 251103"/>
                  <a:gd name="connsiteY197" fmla="*/ 36590 h 214778"/>
                  <a:gd name="connsiteX198" fmla="*/ 69565 w 251103"/>
                  <a:gd name="connsiteY198" fmla="*/ 33680 h 214778"/>
                  <a:gd name="connsiteX199" fmla="*/ 68154 w 251103"/>
                  <a:gd name="connsiteY199" fmla="*/ 34826 h 214778"/>
                  <a:gd name="connsiteX200" fmla="*/ 67273 w 251103"/>
                  <a:gd name="connsiteY200" fmla="*/ 33945 h 214778"/>
                  <a:gd name="connsiteX201" fmla="*/ 65245 w 251103"/>
                  <a:gd name="connsiteY201" fmla="*/ 33063 h 214778"/>
                  <a:gd name="connsiteX202" fmla="*/ 64363 w 251103"/>
                  <a:gd name="connsiteY202" fmla="*/ 35444 h 214778"/>
                  <a:gd name="connsiteX203" fmla="*/ 61189 w 251103"/>
                  <a:gd name="connsiteY203" fmla="*/ 35444 h 214778"/>
                  <a:gd name="connsiteX204" fmla="*/ 58279 w 251103"/>
                  <a:gd name="connsiteY204" fmla="*/ 34562 h 214778"/>
                  <a:gd name="connsiteX205" fmla="*/ 56251 w 251103"/>
                  <a:gd name="connsiteY205" fmla="*/ 36590 h 214778"/>
                  <a:gd name="connsiteX206" fmla="*/ 57398 w 251103"/>
                  <a:gd name="connsiteY206" fmla="*/ 37472 h 214778"/>
                  <a:gd name="connsiteX207" fmla="*/ 57133 w 251103"/>
                  <a:gd name="connsiteY207" fmla="*/ 38089 h 214778"/>
                  <a:gd name="connsiteX208" fmla="*/ 57133 w 251103"/>
                  <a:gd name="connsiteY208" fmla="*/ 38706 h 214778"/>
                  <a:gd name="connsiteX209" fmla="*/ 57133 w 251103"/>
                  <a:gd name="connsiteY209" fmla="*/ 39588 h 214778"/>
                  <a:gd name="connsiteX210" fmla="*/ 57133 w 251103"/>
                  <a:gd name="connsiteY210" fmla="*/ 40469 h 214778"/>
                  <a:gd name="connsiteX211" fmla="*/ 57398 w 251103"/>
                  <a:gd name="connsiteY211" fmla="*/ 42233 h 214778"/>
                  <a:gd name="connsiteX212" fmla="*/ 57662 w 251103"/>
                  <a:gd name="connsiteY212" fmla="*/ 43379 h 214778"/>
                  <a:gd name="connsiteX213" fmla="*/ 58279 w 251103"/>
                  <a:gd name="connsiteY213" fmla="*/ 43643 h 214778"/>
                  <a:gd name="connsiteX214" fmla="*/ 58896 w 251103"/>
                  <a:gd name="connsiteY214" fmla="*/ 43643 h 214778"/>
                  <a:gd name="connsiteX215" fmla="*/ 59778 w 251103"/>
                  <a:gd name="connsiteY215" fmla="*/ 44790 h 214778"/>
                  <a:gd name="connsiteX216" fmla="*/ 60924 w 251103"/>
                  <a:gd name="connsiteY216" fmla="*/ 46288 h 214778"/>
                  <a:gd name="connsiteX217" fmla="*/ 61806 w 251103"/>
                  <a:gd name="connsiteY217" fmla="*/ 47787 h 214778"/>
                  <a:gd name="connsiteX218" fmla="*/ 62071 w 251103"/>
                  <a:gd name="connsiteY218" fmla="*/ 48052 h 214778"/>
                  <a:gd name="connsiteX219" fmla="*/ 62071 w 251103"/>
                  <a:gd name="connsiteY219" fmla="*/ 49551 h 214778"/>
                  <a:gd name="connsiteX220" fmla="*/ 62688 w 251103"/>
                  <a:gd name="connsiteY220" fmla="*/ 49815 h 214778"/>
                  <a:gd name="connsiteX221" fmla="*/ 62688 w 251103"/>
                  <a:gd name="connsiteY221" fmla="*/ 50961 h 214778"/>
                  <a:gd name="connsiteX222" fmla="*/ 62423 w 251103"/>
                  <a:gd name="connsiteY222" fmla="*/ 51578 h 214778"/>
                  <a:gd name="connsiteX223" fmla="*/ 62688 w 251103"/>
                  <a:gd name="connsiteY223" fmla="*/ 52196 h 214778"/>
                  <a:gd name="connsiteX224" fmla="*/ 63569 w 251103"/>
                  <a:gd name="connsiteY224" fmla="*/ 51931 h 214778"/>
                  <a:gd name="connsiteX225" fmla="*/ 63834 w 251103"/>
                  <a:gd name="connsiteY225" fmla="*/ 52813 h 214778"/>
                  <a:gd name="connsiteX226" fmla="*/ 63569 w 251103"/>
                  <a:gd name="connsiteY226" fmla="*/ 53959 h 214778"/>
                  <a:gd name="connsiteX227" fmla="*/ 62952 w 251103"/>
                  <a:gd name="connsiteY227" fmla="*/ 54224 h 214778"/>
                  <a:gd name="connsiteX228" fmla="*/ 62688 w 251103"/>
                  <a:gd name="connsiteY228" fmla="*/ 54752 h 214778"/>
                  <a:gd name="connsiteX229" fmla="*/ 62952 w 251103"/>
                  <a:gd name="connsiteY229" fmla="*/ 55370 h 214778"/>
                  <a:gd name="connsiteX230" fmla="*/ 62688 w 251103"/>
                  <a:gd name="connsiteY230" fmla="*/ 56251 h 214778"/>
                  <a:gd name="connsiteX231" fmla="*/ 63569 w 251103"/>
                  <a:gd name="connsiteY231" fmla="*/ 56869 h 214778"/>
                  <a:gd name="connsiteX232" fmla="*/ 64716 w 251103"/>
                  <a:gd name="connsiteY232" fmla="*/ 56604 h 214778"/>
                  <a:gd name="connsiteX233" fmla="*/ 65333 w 251103"/>
                  <a:gd name="connsiteY233" fmla="*/ 56869 h 214778"/>
                  <a:gd name="connsiteX234" fmla="*/ 65068 w 251103"/>
                  <a:gd name="connsiteY234" fmla="*/ 58896 h 214778"/>
                  <a:gd name="connsiteX235" fmla="*/ 65686 w 251103"/>
                  <a:gd name="connsiteY235" fmla="*/ 59514 h 214778"/>
                  <a:gd name="connsiteX236" fmla="*/ 68066 w 251103"/>
                  <a:gd name="connsiteY236" fmla="*/ 59778 h 214778"/>
                  <a:gd name="connsiteX237" fmla="*/ 68683 w 251103"/>
                  <a:gd name="connsiteY237" fmla="*/ 60043 h 214778"/>
                  <a:gd name="connsiteX238" fmla="*/ 68683 w 251103"/>
                  <a:gd name="connsiteY238" fmla="*/ 60924 h 214778"/>
                  <a:gd name="connsiteX239" fmla="*/ 68066 w 251103"/>
                  <a:gd name="connsiteY239" fmla="*/ 61189 h 214778"/>
                  <a:gd name="connsiteX240" fmla="*/ 67184 w 251103"/>
                  <a:gd name="connsiteY240" fmla="*/ 60924 h 214778"/>
                  <a:gd name="connsiteX241" fmla="*/ 66038 w 251103"/>
                  <a:gd name="connsiteY241" fmla="*/ 61541 h 214778"/>
                  <a:gd name="connsiteX242" fmla="*/ 63129 w 251103"/>
                  <a:gd name="connsiteY242" fmla="*/ 60660 h 214778"/>
                  <a:gd name="connsiteX243" fmla="*/ 62864 w 251103"/>
                  <a:gd name="connsiteY243" fmla="*/ 60924 h 214778"/>
                  <a:gd name="connsiteX244" fmla="*/ 62864 w 251103"/>
                  <a:gd name="connsiteY244" fmla="*/ 61013 h 214778"/>
                  <a:gd name="connsiteX245" fmla="*/ 60484 w 251103"/>
                  <a:gd name="connsiteY245" fmla="*/ 61630 h 214778"/>
                  <a:gd name="connsiteX246" fmla="*/ 59073 w 251103"/>
                  <a:gd name="connsiteY246" fmla="*/ 61894 h 214778"/>
                  <a:gd name="connsiteX247" fmla="*/ 58191 w 251103"/>
                  <a:gd name="connsiteY247" fmla="*/ 60748 h 214778"/>
                  <a:gd name="connsiteX248" fmla="*/ 58720 w 251103"/>
                  <a:gd name="connsiteY248" fmla="*/ 59337 h 214778"/>
                  <a:gd name="connsiteX249" fmla="*/ 57838 w 251103"/>
                  <a:gd name="connsiteY249" fmla="*/ 58720 h 214778"/>
                  <a:gd name="connsiteX250" fmla="*/ 57221 w 251103"/>
                  <a:gd name="connsiteY250" fmla="*/ 58720 h 214778"/>
                  <a:gd name="connsiteX251" fmla="*/ 57221 w 251103"/>
                  <a:gd name="connsiteY251" fmla="*/ 59337 h 214778"/>
                  <a:gd name="connsiteX252" fmla="*/ 55458 w 251103"/>
                  <a:gd name="connsiteY252" fmla="*/ 59337 h 214778"/>
                  <a:gd name="connsiteX253" fmla="*/ 55193 w 251103"/>
                  <a:gd name="connsiteY253" fmla="*/ 59337 h 214778"/>
                  <a:gd name="connsiteX254" fmla="*/ 55193 w 251103"/>
                  <a:gd name="connsiteY254" fmla="*/ 59955 h 214778"/>
                  <a:gd name="connsiteX255" fmla="*/ 55458 w 251103"/>
                  <a:gd name="connsiteY255" fmla="*/ 60219 h 214778"/>
                  <a:gd name="connsiteX256" fmla="*/ 55193 w 251103"/>
                  <a:gd name="connsiteY256" fmla="*/ 60836 h 214778"/>
                  <a:gd name="connsiteX257" fmla="*/ 53695 w 251103"/>
                  <a:gd name="connsiteY257" fmla="*/ 60836 h 214778"/>
                  <a:gd name="connsiteX258" fmla="*/ 53078 w 251103"/>
                  <a:gd name="connsiteY258" fmla="*/ 60836 h 214778"/>
                  <a:gd name="connsiteX259" fmla="*/ 53078 w 251103"/>
                  <a:gd name="connsiteY259" fmla="*/ 61013 h 214778"/>
                  <a:gd name="connsiteX260" fmla="*/ 52460 w 251103"/>
                  <a:gd name="connsiteY260" fmla="*/ 61630 h 214778"/>
                  <a:gd name="connsiteX261" fmla="*/ 51579 w 251103"/>
                  <a:gd name="connsiteY261" fmla="*/ 61630 h 214778"/>
                  <a:gd name="connsiteX262" fmla="*/ 51314 w 251103"/>
                  <a:gd name="connsiteY262" fmla="*/ 61013 h 214778"/>
                  <a:gd name="connsiteX263" fmla="*/ 51050 w 251103"/>
                  <a:gd name="connsiteY263" fmla="*/ 61277 h 214778"/>
                  <a:gd name="connsiteX264" fmla="*/ 51314 w 251103"/>
                  <a:gd name="connsiteY264" fmla="*/ 60660 h 214778"/>
                  <a:gd name="connsiteX265" fmla="*/ 49815 w 251103"/>
                  <a:gd name="connsiteY265" fmla="*/ 60395 h 214778"/>
                  <a:gd name="connsiteX266" fmla="*/ 49198 w 251103"/>
                  <a:gd name="connsiteY266" fmla="*/ 59866 h 214778"/>
                  <a:gd name="connsiteX267" fmla="*/ 48581 w 251103"/>
                  <a:gd name="connsiteY267" fmla="*/ 59866 h 214778"/>
                  <a:gd name="connsiteX268" fmla="*/ 47964 w 251103"/>
                  <a:gd name="connsiteY268" fmla="*/ 60748 h 214778"/>
                  <a:gd name="connsiteX269" fmla="*/ 47435 w 251103"/>
                  <a:gd name="connsiteY269" fmla="*/ 60748 h 214778"/>
                  <a:gd name="connsiteX270" fmla="*/ 46288 w 251103"/>
                  <a:gd name="connsiteY270" fmla="*/ 60748 h 214778"/>
                  <a:gd name="connsiteX271" fmla="*/ 46288 w 251103"/>
                  <a:gd name="connsiteY271" fmla="*/ 61013 h 214778"/>
                  <a:gd name="connsiteX272" fmla="*/ 46024 w 251103"/>
                  <a:gd name="connsiteY272" fmla="*/ 61630 h 214778"/>
                  <a:gd name="connsiteX273" fmla="*/ 46288 w 251103"/>
                  <a:gd name="connsiteY273" fmla="*/ 61894 h 214778"/>
                  <a:gd name="connsiteX274" fmla="*/ 43996 w 251103"/>
                  <a:gd name="connsiteY274" fmla="*/ 63040 h 214778"/>
                  <a:gd name="connsiteX275" fmla="*/ 42233 w 251103"/>
                  <a:gd name="connsiteY275" fmla="*/ 63040 h 214778"/>
                  <a:gd name="connsiteX276" fmla="*/ 41968 w 251103"/>
                  <a:gd name="connsiteY276" fmla="*/ 63305 h 214778"/>
                  <a:gd name="connsiteX277" fmla="*/ 41704 w 251103"/>
                  <a:gd name="connsiteY277" fmla="*/ 63040 h 214778"/>
                  <a:gd name="connsiteX278" fmla="*/ 41704 w 251103"/>
                  <a:gd name="connsiteY278" fmla="*/ 62423 h 214778"/>
                  <a:gd name="connsiteX279" fmla="*/ 42321 w 251103"/>
                  <a:gd name="connsiteY279" fmla="*/ 62159 h 214778"/>
                  <a:gd name="connsiteX280" fmla="*/ 41439 w 251103"/>
                  <a:gd name="connsiteY280" fmla="*/ 61894 h 214778"/>
                  <a:gd name="connsiteX281" fmla="*/ 40029 w 251103"/>
                  <a:gd name="connsiteY281" fmla="*/ 61894 h 214778"/>
                  <a:gd name="connsiteX282" fmla="*/ 40293 w 251103"/>
                  <a:gd name="connsiteY282" fmla="*/ 60748 h 214778"/>
                  <a:gd name="connsiteX283" fmla="*/ 39411 w 251103"/>
                  <a:gd name="connsiteY283" fmla="*/ 58985 h 214778"/>
                  <a:gd name="connsiteX284" fmla="*/ 37913 w 251103"/>
                  <a:gd name="connsiteY284" fmla="*/ 58103 h 214778"/>
                  <a:gd name="connsiteX285" fmla="*/ 36414 w 251103"/>
                  <a:gd name="connsiteY285" fmla="*/ 58103 h 214778"/>
                  <a:gd name="connsiteX286" fmla="*/ 35532 w 251103"/>
                  <a:gd name="connsiteY286" fmla="*/ 56957 h 214778"/>
                  <a:gd name="connsiteX287" fmla="*/ 36149 w 251103"/>
                  <a:gd name="connsiteY287" fmla="*/ 57574 h 214778"/>
                  <a:gd name="connsiteX288" fmla="*/ 36414 w 251103"/>
                  <a:gd name="connsiteY288" fmla="*/ 57574 h 214778"/>
                  <a:gd name="connsiteX289" fmla="*/ 36149 w 251103"/>
                  <a:gd name="connsiteY289" fmla="*/ 56957 h 214778"/>
                  <a:gd name="connsiteX290" fmla="*/ 34121 w 251103"/>
                  <a:gd name="connsiteY290" fmla="*/ 56340 h 214778"/>
                  <a:gd name="connsiteX291" fmla="*/ 33857 w 251103"/>
                  <a:gd name="connsiteY291" fmla="*/ 55722 h 214778"/>
                  <a:gd name="connsiteX292" fmla="*/ 32710 w 251103"/>
                  <a:gd name="connsiteY292" fmla="*/ 55722 h 214778"/>
                  <a:gd name="connsiteX293" fmla="*/ 30947 w 251103"/>
                  <a:gd name="connsiteY293" fmla="*/ 55987 h 214778"/>
                  <a:gd name="connsiteX294" fmla="*/ 29184 w 251103"/>
                  <a:gd name="connsiteY294" fmla="*/ 56869 h 214778"/>
                  <a:gd name="connsiteX295" fmla="*/ 28567 w 251103"/>
                  <a:gd name="connsiteY295" fmla="*/ 56869 h 214778"/>
                  <a:gd name="connsiteX296" fmla="*/ 27421 w 251103"/>
                  <a:gd name="connsiteY296" fmla="*/ 56869 h 214778"/>
                  <a:gd name="connsiteX297" fmla="*/ 27685 w 251103"/>
                  <a:gd name="connsiteY297" fmla="*/ 56251 h 214778"/>
                  <a:gd name="connsiteX298" fmla="*/ 27685 w 251103"/>
                  <a:gd name="connsiteY298" fmla="*/ 55987 h 214778"/>
                  <a:gd name="connsiteX299" fmla="*/ 27421 w 251103"/>
                  <a:gd name="connsiteY299" fmla="*/ 56251 h 214778"/>
                  <a:gd name="connsiteX300" fmla="*/ 26803 w 251103"/>
                  <a:gd name="connsiteY300" fmla="*/ 55987 h 214778"/>
                  <a:gd name="connsiteX301" fmla="*/ 25657 w 251103"/>
                  <a:gd name="connsiteY301" fmla="*/ 56604 h 214778"/>
                  <a:gd name="connsiteX302" fmla="*/ 25393 w 251103"/>
                  <a:gd name="connsiteY302" fmla="*/ 57486 h 214778"/>
                  <a:gd name="connsiteX303" fmla="*/ 25393 w 251103"/>
                  <a:gd name="connsiteY303" fmla="*/ 58103 h 214778"/>
                  <a:gd name="connsiteX304" fmla="*/ 26539 w 251103"/>
                  <a:gd name="connsiteY304" fmla="*/ 58103 h 214778"/>
                  <a:gd name="connsiteX305" fmla="*/ 26803 w 251103"/>
                  <a:gd name="connsiteY305" fmla="*/ 58720 h 214778"/>
                  <a:gd name="connsiteX306" fmla="*/ 21866 w 251103"/>
                  <a:gd name="connsiteY306" fmla="*/ 57838 h 214778"/>
                  <a:gd name="connsiteX307" fmla="*/ 18956 w 251103"/>
                  <a:gd name="connsiteY307" fmla="*/ 57838 h 214778"/>
                  <a:gd name="connsiteX308" fmla="*/ 16928 w 251103"/>
                  <a:gd name="connsiteY308" fmla="*/ 57838 h 214778"/>
                  <a:gd name="connsiteX309" fmla="*/ 15429 w 251103"/>
                  <a:gd name="connsiteY309" fmla="*/ 56957 h 214778"/>
                  <a:gd name="connsiteX310" fmla="*/ 12256 w 251103"/>
                  <a:gd name="connsiteY310" fmla="*/ 57221 h 214778"/>
                  <a:gd name="connsiteX311" fmla="*/ 8200 w 251103"/>
                  <a:gd name="connsiteY311" fmla="*/ 58103 h 214778"/>
                  <a:gd name="connsiteX312" fmla="*/ 4144 w 251103"/>
                  <a:gd name="connsiteY312" fmla="*/ 59249 h 214778"/>
                  <a:gd name="connsiteX313" fmla="*/ 1499 w 251103"/>
                  <a:gd name="connsiteY313" fmla="*/ 60131 h 214778"/>
                  <a:gd name="connsiteX314" fmla="*/ 353 w 251103"/>
                  <a:gd name="connsiteY314" fmla="*/ 61894 h 214778"/>
                  <a:gd name="connsiteX315" fmla="*/ 617 w 251103"/>
                  <a:gd name="connsiteY315" fmla="*/ 63922 h 214778"/>
                  <a:gd name="connsiteX316" fmla="*/ 0 w 251103"/>
                  <a:gd name="connsiteY316" fmla="*/ 65421 h 214778"/>
                  <a:gd name="connsiteX317" fmla="*/ 1146 w 251103"/>
                  <a:gd name="connsiteY317" fmla="*/ 67184 h 214778"/>
                  <a:gd name="connsiteX318" fmla="*/ 5555 w 251103"/>
                  <a:gd name="connsiteY318" fmla="*/ 68330 h 214778"/>
                  <a:gd name="connsiteX319" fmla="*/ 8464 w 251103"/>
                  <a:gd name="connsiteY319" fmla="*/ 70623 h 214778"/>
                  <a:gd name="connsiteX320" fmla="*/ 4673 w 251103"/>
                  <a:gd name="connsiteY320" fmla="*/ 72386 h 214778"/>
                  <a:gd name="connsiteX321" fmla="*/ 3527 w 251103"/>
                  <a:gd name="connsiteY321" fmla="*/ 73532 h 214778"/>
                  <a:gd name="connsiteX322" fmla="*/ 5907 w 251103"/>
                  <a:gd name="connsiteY322" fmla="*/ 74061 h 214778"/>
                  <a:gd name="connsiteX323" fmla="*/ 8552 w 251103"/>
                  <a:gd name="connsiteY323" fmla="*/ 76089 h 214778"/>
                  <a:gd name="connsiteX324" fmla="*/ 12608 w 251103"/>
                  <a:gd name="connsiteY324" fmla="*/ 77235 h 214778"/>
                  <a:gd name="connsiteX325" fmla="*/ 15253 w 251103"/>
                  <a:gd name="connsiteY325" fmla="*/ 77500 h 214778"/>
                  <a:gd name="connsiteX326" fmla="*/ 19309 w 251103"/>
                  <a:gd name="connsiteY326" fmla="*/ 79792 h 214778"/>
                  <a:gd name="connsiteX327" fmla="*/ 21689 w 251103"/>
                  <a:gd name="connsiteY327" fmla="*/ 79792 h 214778"/>
                  <a:gd name="connsiteX328" fmla="*/ 22836 w 251103"/>
                  <a:gd name="connsiteY328" fmla="*/ 79792 h 214778"/>
                  <a:gd name="connsiteX329" fmla="*/ 26363 w 251103"/>
                  <a:gd name="connsiteY329" fmla="*/ 80674 h 214778"/>
                  <a:gd name="connsiteX330" fmla="*/ 26627 w 251103"/>
                  <a:gd name="connsiteY330" fmla="*/ 81291 h 214778"/>
                  <a:gd name="connsiteX331" fmla="*/ 26627 w 251103"/>
                  <a:gd name="connsiteY331" fmla="*/ 79792 h 214778"/>
                  <a:gd name="connsiteX332" fmla="*/ 27244 w 251103"/>
                  <a:gd name="connsiteY332" fmla="*/ 80410 h 214778"/>
                  <a:gd name="connsiteX333" fmla="*/ 28743 w 251103"/>
                  <a:gd name="connsiteY333" fmla="*/ 80674 h 214778"/>
                  <a:gd name="connsiteX334" fmla="*/ 30242 w 251103"/>
                  <a:gd name="connsiteY334" fmla="*/ 80674 h 214778"/>
                  <a:gd name="connsiteX335" fmla="*/ 31388 w 251103"/>
                  <a:gd name="connsiteY335" fmla="*/ 81291 h 214778"/>
                  <a:gd name="connsiteX336" fmla="*/ 32270 w 251103"/>
                  <a:gd name="connsiteY336" fmla="*/ 82173 h 214778"/>
                  <a:gd name="connsiteX337" fmla="*/ 32534 w 251103"/>
                  <a:gd name="connsiteY337" fmla="*/ 83936 h 214778"/>
                  <a:gd name="connsiteX338" fmla="*/ 32799 w 251103"/>
                  <a:gd name="connsiteY338" fmla="*/ 84553 h 214778"/>
                  <a:gd name="connsiteX339" fmla="*/ 32799 w 251103"/>
                  <a:gd name="connsiteY339" fmla="*/ 85700 h 214778"/>
                  <a:gd name="connsiteX340" fmla="*/ 32534 w 251103"/>
                  <a:gd name="connsiteY340" fmla="*/ 86317 h 214778"/>
                  <a:gd name="connsiteX341" fmla="*/ 31917 w 251103"/>
                  <a:gd name="connsiteY341" fmla="*/ 87816 h 214778"/>
                  <a:gd name="connsiteX342" fmla="*/ 32181 w 251103"/>
                  <a:gd name="connsiteY342" fmla="*/ 90196 h 214778"/>
                  <a:gd name="connsiteX343" fmla="*/ 33063 w 251103"/>
                  <a:gd name="connsiteY343" fmla="*/ 89932 h 214778"/>
                  <a:gd name="connsiteX344" fmla="*/ 33945 w 251103"/>
                  <a:gd name="connsiteY344" fmla="*/ 89050 h 214778"/>
                  <a:gd name="connsiteX345" fmla="*/ 33945 w 251103"/>
                  <a:gd name="connsiteY345" fmla="*/ 87904 h 214778"/>
                  <a:gd name="connsiteX346" fmla="*/ 33945 w 251103"/>
                  <a:gd name="connsiteY346" fmla="*/ 86405 h 214778"/>
                  <a:gd name="connsiteX347" fmla="*/ 35708 w 251103"/>
                  <a:gd name="connsiteY347" fmla="*/ 86405 h 214778"/>
                  <a:gd name="connsiteX348" fmla="*/ 36325 w 251103"/>
                  <a:gd name="connsiteY348" fmla="*/ 86405 h 214778"/>
                  <a:gd name="connsiteX349" fmla="*/ 37472 w 251103"/>
                  <a:gd name="connsiteY349" fmla="*/ 86670 h 214778"/>
                  <a:gd name="connsiteX350" fmla="*/ 37736 w 251103"/>
                  <a:gd name="connsiteY350" fmla="*/ 85788 h 214778"/>
                  <a:gd name="connsiteX351" fmla="*/ 38001 w 251103"/>
                  <a:gd name="connsiteY351" fmla="*/ 86405 h 214778"/>
                  <a:gd name="connsiteX352" fmla="*/ 38001 w 251103"/>
                  <a:gd name="connsiteY352" fmla="*/ 86141 h 214778"/>
                  <a:gd name="connsiteX353" fmla="*/ 39500 w 251103"/>
                  <a:gd name="connsiteY353" fmla="*/ 84994 h 214778"/>
                  <a:gd name="connsiteX354" fmla="*/ 40117 w 251103"/>
                  <a:gd name="connsiteY354" fmla="*/ 85611 h 214778"/>
                  <a:gd name="connsiteX355" fmla="*/ 41880 w 251103"/>
                  <a:gd name="connsiteY355" fmla="*/ 85876 h 214778"/>
                  <a:gd name="connsiteX356" fmla="*/ 42144 w 251103"/>
                  <a:gd name="connsiteY356" fmla="*/ 86141 h 214778"/>
                  <a:gd name="connsiteX357" fmla="*/ 42144 w 251103"/>
                  <a:gd name="connsiteY357" fmla="*/ 86405 h 214778"/>
                  <a:gd name="connsiteX358" fmla="*/ 41527 w 251103"/>
                  <a:gd name="connsiteY358" fmla="*/ 86405 h 214778"/>
                  <a:gd name="connsiteX359" fmla="*/ 40646 w 251103"/>
                  <a:gd name="connsiteY359" fmla="*/ 86670 h 214778"/>
                  <a:gd name="connsiteX360" fmla="*/ 39764 w 251103"/>
                  <a:gd name="connsiteY360" fmla="*/ 86405 h 214778"/>
                  <a:gd name="connsiteX361" fmla="*/ 38882 w 251103"/>
                  <a:gd name="connsiteY361" fmla="*/ 87022 h 214778"/>
                  <a:gd name="connsiteX362" fmla="*/ 38001 w 251103"/>
                  <a:gd name="connsiteY362" fmla="*/ 87022 h 214778"/>
                  <a:gd name="connsiteX363" fmla="*/ 37736 w 251103"/>
                  <a:gd name="connsiteY363" fmla="*/ 87287 h 214778"/>
                  <a:gd name="connsiteX364" fmla="*/ 38001 w 251103"/>
                  <a:gd name="connsiteY364" fmla="*/ 87904 h 214778"/>
                  <a:gd name="connsiteX365" fmla="*/ 38265 w 251103"/>
                  <a:gd name="connsiteY365" fmla="*/ 87904 h 214778"/>
                  <a:gd name="connsiteX366" fmla="*/ 39411 w 251103"/>
                  <a:gd name="connsiteY366" fmla="*/ 88168 h 214778"/>
                  <a:gd name="connsiteX367" fmla="*/ 42056 w 251103"/>
                  <a:gd name="connsiteY367" fmla="*/ 87904 h 214778"/>
                  <a:gd name="connsiteX368" fmla="*/ 42056 w 251103"/>
                  <a:gd name="connsiteY368" fmla="*/ 87287 h 214778"/>
                  <a:gd name="connsiteX369" fmla="*/ 42321 w 251103"/>
                  <a:gd name="connsiteY369" fmla="*/ 87022 h 214778"/>
                  <a:gd name="connsiteX370" fmla="*/ 43467 w 251103"/>
                  <a:gd name="connsiteY370" fmla="*/ 87904 h 214778"/>
                  <a:gd name="connsiteX371" fmla="*/ 46112 w 251103"/>
                  <a:gd name="connsiteY371" fmla="*/ 87287 h 214778"/>
                  <a:gd name="connsiteX372" fmla="*/ 47611 w 251103"/>
                  <a:gd name="connsiteY372" fmla="*/ 87904 h 214778"/>
                  <a:gd name="connsiteX373" fmla="*/ 46994 w 251103"/>
                  <a:gd name="connsiteY373" fmla="*/ 87904 h 214778"/>
                  <a:gd name="connsiteX374" fmla="*/ 46112 w 251103"/>
                  <a:gd name="connsiteY374" fmla="*/ 87904 h 214778"/>
                  <a:gd name="connsiteX375" fmla="*/ 46377 w 251103"/>
                  <a:gd name="connsiteY375" fmla="*/ 88785 h 214778"/>
                  <a:gd name="connsiteX376" fmla="*/ 46112 w 251103"/>
                  <a:gd name="connsiteY376" fmla="*/ 89050 h 214778"/>
                  <a:gd name="connsiteX377" fmla="*/ 46112 w 251103"/>
                  <a:gd name="connsiteY377" fmla="*/ 89667 h 214778"/>
                  <a:gd name="connsiteX378" fmla="*/ 46994 w 251103"/>
                  <a:gd name="connsiteY378" fmla="*/ 89932 h 214778"/>
                  <a:gd name="connsiteX379" fmla="*/ 47258 w 251103"/>
                  <a:gd name="connsiteY379" fmla="*/ 89667 h 214778"/>
                  <a:gd name="connsiteX380" fmla="*/ 47258 w 251103"/>
                  <a:gd name="connsiteY380" fmla="*/ 89932 h 214778"/>
                  <a:gd name="connsiteX381" fmla="*/ 47258 w 251103"/>
                  <a:gd name="connsiteY381" fmla="*/ 90549 h 214778"/>
                  <a:gd name="connsiteX382" fmla="*/ 47523 w 251103"/>
                  <a:gd name="connsiteY382" fmla="*/ 90549 h 214778"/>
                  <a:gd name="connsiteX383" fmla="*/ 47787 w 251103"/>
                  <a:gd name="connsiteY383" fmla="*/ 90813 h 214778"/>
                  <a:gd name="connsiteX384" fmla="*/ 47523 w 251103"/>
                  <a:gd name="connsiteY384" fmla="*/ 91078 h 214778"/>
                  <a:gd name="connsiteX385" fmla="*/ 46024 w 251103"/>
                  <a:gd name="connsiteY385" fmla="*/ 90813 h 214778"/>
                  <a:gd name="connsiteX386" fmla="*/ 45407 w 251103"/>
                  <a:gd name="connsiteY386" fmla="*/ 91078 h 214778"/>
                  <a:gd name="connsiteX387" fmla="*/ 44525 w 251103"/>
                  <a:gd name="connsiteY387" fmla="*/ 91342 h 214778"/>
                  <a:gd name="connsiteX388" fmla="*/ 44261 w 251103"/>
                  <a:gd name="connsiteY388" fmla="*/ 92224 h 214778"/>
                  <a:gd name="connsiteX389" fmla="*/ 44878 w 251103"/>
                  <a:gd name="connsiteY389" fmla="*/ 92841 h 214778"/>
                  <a:gd name="connsiteX390" fmla="*/ 46024 w 251103"/>
                  <a:gd name="connsiteY390" fmla="*/ 92224 h 214778"/>
                  <a:gd name="connsiteX391" fmla="*/ 46288 w 251103"/>
                  <a:gd name="connsiteY391" fmla="*/ 92841 h 214778"/>
                  <a:gd name="connsiteX392" fmla="*/ 45671 w 251103"/>
                  <a:gd name="connsiteY392" fmla="*/ 94340 h 214778"/>
                  <a:gd name="connsiteX393" fmla="*/ 46817 w 251103"/>
                  <a:gd name="connsiteY393" fmla="*/ 94605 h 214778"/>
                  <a:gd name="connsiteX394" fmla="*/ 47435 w 251103"/>
                  <a:gd name="connsiteY394" fmla="*/ 94605 h 214778"/>
                  <a:gd name="connsiteX395" fmla="*/ 47435 w 251103"/>
                  <a:gd name="connsiteY395" fmla="*/ 94340 h 214778"/>
                  <a:gd name="connsiteX396" fmla="*/ 47699 w 251103"/>
                  <a:gd name="connsiteY396" fmla="*/ 94340 h 214778"/>
                  <a:gd name="connsiteX397" fmla="*/ 49198 w 251103"/>
                  <a:gd name="connsiteY397" fmla="*/ 95222 h 214778"/>
                  <a:gd name="connsiteX398" fmla="*/ 50961 w 251103"/>
                  <a:gd name="connsiteY398" fmla="*/ 94340 h 214778"/>
                  <a:gd name="connsiteX399" fmla="*/ 52725 w 251103"/>
                  <a:gd name="connsiteY399" fmla="*/ 93458 h 214778"/>
                  <a:gd name="connsiteX400" fmla="*/ 54752 w 251103"/>
                  <a:gd name="connsiteY400" fmla="*/ 93458 h 214778"/>
                  <a:gd name="connsiteX401" fmla="*/ 57045 w 251103"/>
                  <a:gd name="connsiteY401" fmla="*/ 94340 h 214778"/>
                  <a:gd name="connsiteX402" fmla="*/ 59426 w 251103"/>
                  <a:gd name="connsiteY402" fmla="*/ 95222 h 214778"/>
                  <a:gd name="connsiteX403" fmla="*/ 60043 w 251103"/>
                  <a:gd name="connsiteY403" fmla="*/ 95751 h 214778"/>
                  <a:gd name="connsiteX404" fmla="*/ 60043 w 251103"/>
                  <a:gd name="connsiteY404" fmla="*/ 96632 h 214778"/>
                  <a:gd name="connsiteX405" fmla="*/ 57662 w 251103"/>
                  <a:gd name="connsiteY405" fmla="*/ 95751 h 214778"/>
                  <a:gd name="connsiteX406" fmla="*/ 56516 w 251103"/>
                  <a:gd name="connsiteY406" fmla="*/ 94869 h 214778"/>
                  <a:gd name="connsiteX407" fmla="*/ 54752 w 251103"/>
                  <a:gd name="connsiteY407" fmla="*/ 95486 h 214778"/>
                  <a:gd name="connsiteX408" fmla="*/ 53871 w 251103"/>
                  <a:gd name="connsiteY408" fmla="*/ 95222 h 214778"/>
                  <a:gd name="connsiteX409" fmla="*/ 53254 w 251103"/>
                  <a:gd name="connsiteY409" fmla="*/ 94605 h 214778"/>
                  <a:gd name="connsiteX410" fmla="*/ 52108 w 251103"/>
                  <a:gd name="connsiteY410" fmla="*/ 94869 h 214778"/>
                  <a:gd name="connsiteX411" fmla="*/ 51490 w 251103"/>
                  <a:gd name="connsiteY411" fmla="*/ 95751 h 214778"/>
                  <a:gd name="connsiteX412" fmla="*/ 50609 w 251103"/>
                  <a:gd name="connsiteY412" fmla="*/ 96015 h 214778"/>
                  <a:gd name="connsiteX413" fmla="*/ 50609 w 251103"/>
                  <a:gd name="connsiteY413" fmla="*/ 97162 h 214778"/>
                  <a:gd name="connsiteX414" fmla="*/ 50961 w 251103"/>
                  <a:gd name="connsiteY414" fmla="*/ 97779 h 214778"/>
                  <a:gd name="connsiteX415" fmla="*/ 52989 w 251103"/>
                  <a:gd name="connsiteY415" fmla="*/ 98043 h 214778"/>
                  <a:gd name="connsiteX416" fmla="*/ 54400 w 251103"/>
                  <a:gd name="connsiteY416" fmla="*/ 98925 h 214778"/>
                  <a:gd name="connsiteX417" fmla="*/ 54752 w 251103"/>
                  <a:gd name="connsiteY417" fmla="*/ 99189 h 214778"/>
                  <a:gd name="connsiteX418" fmla="*/ 54752 w 251103"/>
                  <a:gd name="connsiteY418" fmla="*/ 99454 h 214778"/>
                  <a:gd name="connsiteX419" fmla="*/ 54752 w 251103"/>
                  <a:gd name="connsiteY419" fmla="*/ 100071 h 214778"/>
                  <a:gd name="connsiteX420" fmla="*/ 54752 w 251103"/>
                  <a:gd name="connsiteY420" fmla="*/ 100953 h 214778"/>
                  <a:gd name="connsiteX421" fmla="*/ 54752 w 251103"/>
                  <a:gd name="connsiteY421" fmla="*/ 101217 h 214778"/>
                  <a:gd name="connsiteX422" fmla="*/ 53254 w 251103"/>
                  <a:gd name="connsiteY422" fmla="*/ 101482 h 214778"/>
                  <a:gd name="connsiteX423" fmla="*/ 52989 w 251103"/>
                  <a:gd name="connsiteY423" fmla="*/ 101746 h 214778"/>
                  <a:gd name="connsiteX424" fmla="*/ 53254 w 251103"/>
                  <a:gd name="connsiteY424" fmla="*/ 102011 h 214778"/>
                  <a:gd name="connsiteX425" fmla="*/ 52989 w 251103"/>
                  <a:gd name="connsiteY425" fmla="*/ 102540 h 214778"/>
                  <a:gd name="connsiteX426" fmla="*/ 52725 w 251103"/>
                  <a:gd name="connsiteY426" fmla="*/ 102540 h 214778"/>
                  <a:gd name="connsiteX427" fmla="*/ 52460 w 251103"/>
                  <a:gd name="connsiteY427" fmla="*/ 102804 h 214778"/>
                  <a:gd name="connsiteX428" fmla="*/ 52725 w 251103"/>
                  <a:gd name="connsiteY428" fmla="*/ 103950 h 214778"/>
                  <a:gd name="connsiteX429" fmla="*/ 54488 w 251103"/>
                  <a:gd name="connsiteY429" fmla="*/ 104832 h 214778"/>
                  <a:gd name="connsiteX430" fmla="*/ 54841 w 251103"/>
                  <a:gd name="connsiteY430" fmla="*/ 105449 h 214778"/>
                  <a:gd name="connsiteX431" fmla="*/ 54488 w 251103"/>
                  <a:gd name="connsiteY431" fmla="*/ 106331 h 214778"/>
                  <a:gd name="connsiteX432" fmla="*/ 54841 w 251103"/>
                  <a:gd name="connsiteY432" fmla="*/ 107213 h 214778"/>
                  <a:gd name="connsiteX433" fmla="*/ 55105 w 251103"/>
                  <a:gd name="connsiteY433" fmla="*/ 107830 h 214778"/>
                  <a:gd name="connsiteX434" fmla="*/ 55987 w 251103"/>
                  <a:gd name="connsiteY434" fmla="*/ 107565 h 214778"/>
                  <a:gd name="connsiteX435" fmla="*/ 56251 w 251103"/>
                  <a:gd name="connsiteY435" fmla="*/ 107830 h 214778"/>
                  <a:gd name="connsiteX436" fmla="*/ 56251 w 251103"/>
                  <a:gd name="connsiteY436" fmla="*/ 108712 h 214778"/>
                  <a:gd name="connsiteX437" fmla="*/ 58015 w 251103"/>
                  <a:gd name="connsiteY437" fmla="*/ 109858 h 214778"/>
                  <a:gd name="connsiteX438" fmla="*/ 57750 w 251103"/>
                  <a:gd name="connsiteY438" fmla="*/ 111886 h 214778"/>
                  <a:gd name="connsiteX439" fmla="*/ 58367 w 251103"/>
                  <a:gd name="connsiteY439" fmla="*/ 113032 h 214778"/>
                  <a:gd name="connsiteX440" fmla="*/ 58632 w 251103"/>
                  <a:gd name="connsiteY440" fmla="*/ 113649 h 214778"/>
                  <a:gd name="connsiteX441" fmla="*/ 60131 w 251103"/>
                  <a:gd name="connsiteY441" fmla="*/ 113649 h 214778"/>
                  <a:gd name="connsiteX442" fmla="*/ 61013 w 251103"/>
                  <a:gd name="connsiteY442" fmla="*/ 114266 h 214778"/>
                  <a:gd name="connsiteX443" fmla="*/ 61630 w 251103"/>
                  <a:gd name="connsiteY443" fmla="*/ 114266 h 214778"/>
                  <a:gd name="connsiteX444" fmla="*/ 62247 w 251103"/>
                  <a:gd name="connsiteY444" fmla="*/ 114266 h 214778"/>
                  <a:gd name="connsiteX445" fmla="*/ 62247 w 251103"/>
                  <a:gd name="connsiteY445" fmla="*/ 114531 h 214778"/>
                  <a:gd name="connsiteX446" fmla="*/ 62247 w 251103"/>
                  <a:gd name="connsiteY446" fmla="*/ 114795 h 214778"/>
                  <a:gd name="connsiteX447" fmla="*/ 63393 w 251103"/>
                  <a:gd name="connsiteY447" fmla="*/ 114795 h 214778"/>
                  <a:gd name="connsiteX448" fmla="*/ 64275 w 251103"/>
                  <a:gd name="connsiteY448" fmla="*/ 115060 h 214778"/>
                  <a:gd name="connsiteX449" fmla="*/ 65157 w 251103"/>
                  <a:gd name="connsiteY449" fmla="*/ 114795 h 214778"/>
                  <a:gd name="connsiteX450" fmla="*/ 65421 w 251103"/>
                  <a:gd name="connsiteY450" fmla="*/ 115060 h 214778"/>
                  <a:gd name="connsiteX451" fmla="*/ 65157 w 251103"/>
                  <a:gd name="connsiteY451" fmla="*/ 115677 h 214778"/>
                  <a:gd name="connsiteX452" fmla="*/ 65421 w 251103"/>
                  <a:gd name="connsiteY452" fmla="*/ 115941 h 214778"/>
                  <a:gd name="connsiteX453" fmla="*/ 66567 w 251103"/>
                  <a:gd name="connsiteY453" fmla="*/ 116823 h 214778"/>
                  <a:gd name="connsiteX454" fmla="*/ 68330 w 251103"/>
                  <a:gd name="connsiteY454" fmla="*/ 116823 h 214778"/>
                  <a:gd name="connsiteX455" fmla="*/ 69212 w 251103"/>
                  <a:gd name="connsiteY455" fmla="*/ 117705 h 214778"/>
                  <a:gd name="connsiteX456" fmla="*/ 70358 w 251103"/>
                  <a:gd name="connsiteY456" fmla="*/ 117969 h 214778"/>
                  <a:gd name="connsiteX457" fmla="*/ 70976 w 251103"/>
                  <a:gd name="connsiteY457" fmla="*/ 117088 h 214778"/>
                  <a:gd name="connsiteX458" fmla="*/ 71240 w 251103"/>
                  <a:gd name="connsiteY458" fmla="*/ 117088 h 214778"/>
                  <a:gd name="connsiteX459" fmla="*/ 70976 w 251103"/>
                  <a:gd name="connsiteY459" fmla="*/ 116823 h 214778"/>
                  <a:gd name="connsiteX460" fmla="*/ 71857 w 251103"/>
                  <a:gd name="connsiteY460" fmla="*/ 116559 h 214778"/>
                  <a:gd name="connsiteX461" fmla="*/ 72739 w 251103"/>
                  <a:gd name="connsiteY461" fmla="*/ 117176 h 214778"/>
                  <a:gd name="connsiteX462" fmla="*/ 73003 w 251103"/>
                  <a:gd name="connsiteY462" fmla="*/ 117705 h 214778"/>
                  <a:gd name="connsiteX463" fmla="*/ 72739 w 251103"/>
                  <a:gd name="connsiteY463" fmla="*/ 118586 h 214778"/>
                  <a:gd name="connsiteX464" fmla="*/ 71857 w 251103"/>
                  <a:gd name="connsiteY464" fmla="*/ 118586 h 214778"/>
                  <a:gd name="connsiteX465" fmla="*/ 70976 w 251103"/>
                  <a:gd name="connsiteY465" fmla="*/ 119204 h 214778"/>
                  <a:gd name="connsiteX466" fmla="*/ 70976 w 251103"/>
                  <a:gd name="connsiteY466" fmla="*/ 120614 h 214778"/>
                  <a:gd name="connsiteX467" fmla="*/ 70976 w 251103"/>
                  <a:gd name="connsiteY467" fmla="*/ 120879 h 214778"/>
                  <a:gd name="connsiteX468" fmla="*/ 70976 w 251103"/>
                  <a:gd name="connsiteY468" fmla="*/ 121496 h 214778"/>
                  <a:gd name="connsiteX469" fmla="*/ 71593 w 251103"/>
                  <a:gd name="connsiteY469" fmla="*/ 121761 h 214778"/>
                  <a:gd name="connsiteX470" fmla="*/ 71857 w 251103"/>
                  <a:gd name="connsiteY470" fmla="*/ 121496 h 214778"/>
                  <a:gd name="connsiteX471" fmla="*/ 72739 w 251103"/>
                  <a:gd name="connsiteY471" fmla="*/ 121761 h 214778"/>
                  <a:gd name="connsiteX472" fmla="*/ 71857 w 251103"/>
                  <a:gd name="connsiteY472" fmla="*/ 122025 h 214778"/>
                  <a:gd name="connsiteX473" fmla="*/ 71593 w 251103"/>
                  <a:gd name="connsiteY473" fmla="*/ 122554 h 214778"/>
                  <a:gd name="connsiteX474" fmla="*/ 72122 w 251103"/>
                  <a:gd name="connsiteY474" fmla="*/ 122554 h 214778"/>
                  <a:gd name="connsiteX475" fmla="*/ 72739 w 251103"/>
                  <a:gd name="connsiteY475" fmla="*/ 122025 h 214778"/>
                  <a:gd name="connsiteX476" fmla="*/ 73356 w 251103"/>
                  <a:gd name="connsiteY476" fmla="*/ 122554 h 214778"/>
                  <a:gd name="connsiteX477" fmla="*/ 72739 w 251103"/>
                  <a:gd name="connsiteY477" fmla="*/ 123171 h 214778"/>
                  <a:gd name="connsiteX478" fmla="*/ 73356 w 251103"/>
                  <a:gd name="connsiteY478" fmla="*/ 123171 h 214778"/>
                  <a:gd name="connsiteX479" fmla="*/ 73621 w 251103"/>
                  <a:gd name="connsiteY479" fmla="*/ 123788 h 214778"/>
                  <a:gd name="connsiteX480" fmla="*/ 73621 w 251103"/>
                  <a:gd name="connsiteY480" fmla="*/ 124053 h 214778"/>
                  <a:gd name="connsiteX481" fmla="*/ 73003 w 251103"/>
                  <a:gd name="connsiteY481" fmla="*/ 124053 h 214778"/>
                  <a:gd name="connsiteX482" fmla="*/ 72739 w 251103"/>
                  <a:gd name="connsiteY482" fmla="*/ 123436 h 214778"/>
                  <a:gd name="connsiteX483" fmla="*/ 72474 w 251103"/>
                  <a:gd name="connsiteY483" fmla="*/ 124053 h 214778"/>
                  <a:gd name="connsiteX484" fmla="*/ 72739 w 251103"/>
                  <a:gd name="connsiteY484" fmla="*/ 124670 h 214778"/>
                  <a:gd name="connsiteX485" fmla="*/ 72474 w 251103"/>
                  <a:gd name="connsiteY485" fmla="*/ 125199 h 214778"/>
                  <a:gd name="connsiteX486" fmla="*/ 72739 w 251103"/>
                  <a:gd name="connsiteY486" fmla="*/ 125816 h 214778"/>
                  <a:gd name="connsiteX487" fmla="*/ 73003 w 251103"/>
                  <a:gd name="connsiteY487" fmla="*/ 126433 h 214778"/>
                  <a:gd name="connsiteX488" fmla="*/ 72739 w 251103"/>
                  <a:gd name="connsiteY488" fmla="*/ 127315 h 214778"/>
                  <a:gd name="connsiteX489" fmla="*/ 73003 w 251103"/>
                  <a:gd name="connsiteY489" fmla="*/ 127580 h 214778"/>
                  <a:gd name="connsiteX490" fmla="*/ 72739 w 251103"/>
                  <a:gd name="connsiteY490" fmla="*/ 127844 h 214778"/>
                  <a:gd name="connsiteX491" fmla="*/ 72474 w 251103"/>
                  <a:gd name="connsiteY491" fmla="*/ 127844 h 214778"/>
                  <a:gd name="connsiteX492" fmla="*/ 71945 w 251103"/>
                  <a:gd name="connsiteY492" fmla="*/ 127580 h 214778"/>
                  <a:gd name="connsiteX493" fmla="*/ 71328 w 251103"/>
                  <a:gd name="connsiteY493" fmla="*/ 127580 h 214778"/>
                  <a:gd name="connsiteX494" fmla="*/ 71064 w 251103"/>
                  <a:gd name="connsiteY494" fmla="*/ 127844 h 214778"/>
                  <a:gd name="connsiteX495" fmla="*/ 72827 w 251103"/>
                  <a:gd name="connsiteY495" fmla="*/ 129607 h 214778"/>
                  <a:gd name="connsiteX496" fmla="*/ 73973 w 251103"/>
                  <a:gd name="connsiteY496" fmla="*/ 130489 h 214778"/>
                  <a:gd name="connsiteX497" fmla="*/ 73973 w 251103"/>
                  <a:gd name="connsiteY497" fmla="*/ 131371 h 214778"/>
                  <a:gd name="connsiteX498" fmla="*/ 72827 w 251103"/>
                  <a:gd name="connsiteY498" fmla="*/ 130754 h 214778"/>
                  <a:gd name="connsiteX499" fmla="*/ 71064 w 251103"/>
                  <a:gd name="connsiteY499" fmla="*/ 129607 h 214778"/>
                  <a:gd name="connsiteX500" fmla="*/ 69917 w 251103"/>
                  <a:gd name="connsiteY500" fmla="*/ 129607 h 214778"/>
                  <a:gd name="connsiteX501" fmla="*/ 69036 w 251103"/>
                  <a:gd name="connsiteY501" fmla="*/ 131371 h 214778"/>
                  <a:gd name="connsiteX502" fmla="*/ 69917 w 251103"/>
                  <a:gd name="connsiteY502" fmla="*/ 132253 h 214778"/>
                  <a:gd name="connsiteX503" fmla="*/ 70182 w 251103"/>
                  <a:gd name="connsiteY503" fmla="*/ 132870 h 214778"/>
                  <a:gd name="connsiteX504" fmla="*/ 71064 w 251103"/>
                  <a:gd name="connsiteY504" fmla="*/ 132253 h 214778"/>
                  <a:gd name="connsiteX505" fmla="*/ 73973 w 251103"/>
                  <a:gd name="connsiteY505" fmla="*/ 134016 h 214778"/>
                  <a:gd name="connsiteX506" fmla="*/ 75737 w 251103"/>
                  <a:gd name="connsiteY506" fmla="*/ 135515 h 214778"/>
                  <a:gd name="connsiteX507" fmla="*/ 75737 w 251103"/>
                  <a:gd name="connsiteY507" fmla="*/ 136044 h 214778"/>
                  <a:gd name="connsiteX508" fmla="*/ 78646 w 251103"/>
                  <a:gd name="connsiteY508" fmla="*/ 137807 h 214778"/>
                  <a:gd name="connsiteX509" fmla="*/ 80674 w 251103"/>
                  <a:gd name="connsiteY509" fmla="*/ 140452 h 214778"/>
                  <a:gd name="connsiteX510" fmla="*/ 81556 w 251103"/>
                  <a:gd name="connsiteY510" fmla="*/ 142745 h 214778"/>
                  <a:gd name="connsiteX511" fmla="*/ 81820 w 251103"/>
                  <a:gd name="connsiteY511" fmla="*/ 145919 h 214778"/>
                  <a:gd name="connsiteX512" fmla="*/ 82702 w 251103"/>
                  <a:gd name="connsiteY512" fmla="*/ 146536 h 214778"/>
                  <a:gd name="connsiteX513" fmla="*/ 82702 w 251103"/>
                  <a:gd name="connsiteY513" fmla="*/ 147682 h 214778"/>
                  <a:gd name="connsiteX514" fmla="*/ 82702 w 251103"/>
                  <a:gd name="connsiteY514" fmla="*/ 147947 h 214778"/>
                  <a:gd name="connsiteX515" fmla="*/ 82702 w 251103"/>
                  <a:gd name="connsiteY515" fmla="*/ 148476 h 214778"/>
                  <a:gd name="connsiteX516" fmla="*/ 84465 w 251103"/>
                  <a:gd name="connsiteY516" fmla="*/ 149622 h 214778"/>
                  <a:gd name="connsiteX517" fmla="*/ 84201 w 251103"/>
                  <a:gd name="connsiteY517" fmla="*/ 151121 h 214778"/>
                  <a:gd name="connsiteX518" fmla="*/ 84465 w 251103"/>
                  <a:gd name="connsiteY518" fmla="*/ 152002 h 214778"/>
                  <a:gd name="connsiteX519" fmla="*/ 83319 w 251103"/>
                  <a:gd name="connsiteY519" fmla="*/ 151385 h 214778"/>
                  <a:gd name="connsiteX520" fmla="*/ 83319 w 251103"/>
                  <a:gd name="connsiteY520" fmla="*/ 149622 h 214778"/>
                  <a:gd name="connsiteX521" fmla="*/ 81820 w 251103"/>
                  <a:gd name="connsiteY521" fmla="*/ 148211 h 214778"/>
                  <a:gd name="connsiteX522" fmla="*/ 80674 w 251103"/>
                  <a:gd name="connsiteY522" fmla="*/ 146448 h 214778"/>
                  <a:gd name="connsiteX523" fmla="*/ 81027 w 251103"/>
                  <a:gd name="connsiteY523" fmla="*/ 143538 h 214778"/>
                  <a:gd name="connsiteX524" fmla="*/ 78999 w 251103"/>
                  <a:gd name="connsiteY524" fmla="*/ 140893 h 214778"/>
                  <a:gd name="connsiteX525" fmla="*/ 78734 w 251103"/>
                  <a:gd name="connsiteY525" fmla="*/ 140276 h 214778"/>
                  <a:gd name="connsiteX526" fmla="*/ 76971 w 251103"/>
                  <a:gd name="connsiteY526" fmla="*/ 139394 h 214778"/>
                  <a:gd name="connsiteX527" fmla="*/ 75825 w 251103"/>
                  <a:gd name="connsiteY527" fmla="*/ 138512 h 214778"/>
                  <a:gd name="connsiteX528" fmla="*/ 74679 w 251103"/>
                  <a:gd name="connsiteY528" fmla="*/ 137366 h 214778"/>
                  <a:gd name="connsiteX529" fmla="*/ 74061 w 251103"/>
                  <a:gd name="connsiteY529" fmla="*/ 137631 h 214778"/>
                  <a:gd name="connsiteX530" fmla="*/ 74061 w 251103"/>
                  <a:gd name="connsiteY530" fmla="*/ 136485 h 214778"/>
                  <a:gd name="connsiteX531" fmla="*/ 74061 w 251103"/>
                  <a:gd name="connsiteY531" fmla="*/ 135868 h 214778"/>
                  <a:gd name="connsiteX532" fmla="*/ 72915 w 251103"/>
                  <a:gd name="connsiteY532" fmla="*/ 135338 h 214778"/>
                  <a:gd name="connsiteX533" fmla="*/ 72915 w 251103"/>
                  <a:gd name="connsiteY533" fmla="*/ 135868 h 214778"/>
                  <a:gd name="connsiteX534" fmla="*/ 71769 w 251103"/>
                  <a:gd name="connsiteY534" fmla="*/ 136132 h 214778"/>
                  <a:gd name="connsiteX535" fmla="*/ 71152 w 251103"/>
                  <a:gd name="connsiteY535" fmla="*/ 137631 h 214778"/>
                  <a:gd name="connsiteX536" fmla="*/ 70799 w 251103"/>
                  <a:gd name="connsiteY536" fmla="*/ 143450 h 214778"/>
                  <a:gd name="connsiteX537" fmla="*/ 71416 w 251103"/>
                  <a:gd name="connsiteY537" fmla="*/ 146095 h 214778"/>
                  <a:gd name="connsiteX538" fmla="*/ 70270 w 251103"/>
                  <a:gd name="connsiteY538" fmla="*/ 154824 h 214778"/>
                  <a:gd name="connsiteX539" fmla="*/ 69653 w 251103"/>
                  <a:gd name="connsiteY539" fmla="*/ 155705 h 214778"/>
                  <a:gd name="connsiteX540" fmla="*/ 69653 w 251103"/>
                  <a:gd name="connsiteY540" fmla="*/ 156851 h 214778"/>
                  <a:gd name="connsiteX541" fmla="*/ 70799 w 251103"/>
                  <a:gd name="connsiteY541" fmla="*/ 155088 h 214778"/>
                  <a:gd name="connsiteX542" fmla="*/ 72563 w 251103"/>
                  <a:gd name="connsiteY542" fmla="*/ 156234 h 214778"/>
                  <a:gd name="connsiteX543" fmla="*/ 73444 w 251103"/>
                  <a:gd name="connsiteY543" fmla="*/ 156851 h 214778"/>
                  <a:gd name="connsiteX544" fmla="*/ 73709 w 251103"/>
                  <a:gd name="connsiteY544" fmla="*/ 157469 h 214778"/>
                  <a:gd name="connsiteX545" fmla="*/ 72827 w 251103"/>
                  <a:gd name="connsiteY545" fmla="*/ 158350 h 214778"/>
                  <a:gd name="connsiteX546" fmla="*/ 70799 w 251103"/>
                  <a:gd name="connsiteY546" fmla="*/ 157469 h 214778"/>
                  <a:gd name="connsiteX547" fmla="*/ 69653 w 251103"/>
                  <a:gd name="connsiteY547" fmla="*/ 160114 h 214778"/>
                  <a:gd name="connsiteX548" fmla="*/ 69653 w 251103"/>
                  <a:gd name="connsiteY548" fmla="*/ 160731 h 214778"/>
                  <a:gd name="connsiteX549" fmla="*/ 67890 w 251103"/>
                  <a:gd name="connsiteY549" fmla="*/ 166815 h 214778"/>
                  <a:gd name="connsiteX550" fmla="*/ 68154 w 251103"/>
                  <a:gd name="connsiteY550" fmla="*/ 171752 h 214778"/>
                  <a:gd name="connsiteX551" fmla="*/ 68771 w 251103"/>
                  <a:gd name="connsiteY551" fmla="*/ 172634 h 214778"/>
                  <a:gd name="connsiteX552" fmla="*/ 68154 w 251103"/>
                  <a:gd name="connsiteY552" fmla="*/ 174926 h 214778"/>
                  <a:gd name="connsiteX553" fmla="*/ 68419 w 251103"/>
                  <a:gd name="connsiteY553" fmla="*/ 176072 h 214778"/>
                  <a:gd name="connsiteX554" fmla="*/ 68419 w 251103"/>
                  <a:gd name="connsiteY554" fmla="*/ 179599 h 214778"/>
                  <a:gd name="connsiteX555" fmla="*/ 67802 w 251103"/>
                  <a:gd name="connsiteY555" fmla="*/ 181010 h 214778"/>
                  <a:gd name="connsiteX556" fmla="*/ 65774 w 251103"/>
                  <a:gd name="connsiteY556" fmla="*/ 185418 h 214778"/>
                  <a:gd name="connsiteX557" fmla="*/ 64628 w 251103"/>
                  <a:gd name="connsiteY557" fmla="*/ 186300 h 214778"/>
                  <a:gd name="connsiteX558" fmla="*/ 63217 w 251103"/>
                  <a:gd name="connsiteY558" fmla="*/ 187181 h 214778"/>
                  <a:gd name="connsiteX559" fmla="*/ 61718 w 251103"/>
                  <a:gd name="connsiteY559" fmla="*/ 187181 h 214778"/>
                  <a:gd name="connsiteX560" fmla="*/ 59955 w 251103"/>
                  <a:gd name="connsiteY560" fmla="*/ 188328 h 214778"/>
                  <a:gd name="connsiteX561" fmla="*/ 60572 w 251103"/>
                  <a:gd name="connsiteY561" fmla="*/ 189474 h 214778"/>
                  <a:gd name="connsiteX562" fmla="*/ 61718 w 251103"/>
                  <a:gd name="connsiteY562" fmla="*/ 189738 h 214778"/>
                  <a:gd name="connsiteX563" fmla="*/ 64099 w 251103"/>
                  <a:gd name="connsiteY563" fmla="*/ 190620 h 214778"/>
                  <a:gd name="connsiteX564" fmla="*/ 64099 w 251103"/>
                  <a:gd name="connsiteY564" fmla="*/ 190003 h 214778"/>
                  <a:gd name="connsiteX565" fmla="*/ 66391 w 251103"/>
                  <a:gd name="connsiteY565" fmla="*/ 190620 h 214778"/>
                  <a:gd name="connsiteX566" fmla="*/ 67890 w 251103"/>
                  <a:gd name="connsiteY566" fmla="*/ 193794 h 214778"/>
                  <a:gd name="connsiteX567" fmla="*/ 64716 w 251103"/>
                  <a:gd name="connsiteY567" fmla="*/ 195822 h 214778"/>
                  <a:gd name="connsiteX568" fmla="*/ 66479 w 251103"/>
                  <a:gd name="connsiteY568" fmla="*/ 196968 h 214778"/>
                  <a:gd name="connsiteX569" fmla="*/ 67361 w 251103"/>
                  <a:gd name="connsiteY569" fmla="*/ 196704 h 214778"/>
                  <a:gd name="connsiteX570" fmla="*/ 67978 w 251103"/>
                  <a:gd name="connsiteY570" fmla="*/ 194940 h 214778"/>
                  <a:gd name="connsiteX571" fmla="*/ 69477 w 251103"/>
                  <a:gd name="connsiteY571" fmla="*/ 195557 h 214778"/>
                  <a:gd name="connsiteX572" fmla="*/ 69741 w 251103"/>
                  <a:gd name="connsiteY572" fmla="*/ 197056 h 214778"/>
                  <a:gd name="connsiteX573" fmla="*/ 72651 w 251103"/>
                  <a:gd name="connsiteY573" fmla="*/ 197673 h 214778"/>
                  <a:gd name="connsiteX574" fmla="*/ 75560 w 251103"/>
                  <a:gd name="connsiteY574" fmla="*/ 199084 h 214778"/>
                  <a:gd name="connsiteX575" fmla="*/ 79087 w 251103"/>
                  <a:gd name="connsiteY575" fmla="*/ 199084 h 214778"/>
                  <a:gd name="connsiteX576" fmla="*/ 80586 w 251103"/>
                  <a:gd name="connsiteY576" fmla="*/ 199084 h 214778"/>
                  <a:gd name="connsiteX577" fmla="*/ 80851 w 251103"/>
                  <a:gd name="connsiteY577" fmla="*/ 200230 h 214778"/>
                  <a:gd name="connsiteX578" fmla="*/ 82878 w 251103"/>
                  <a:gd name="connsiteY578" fmla="*/ 200848 h 214778"/>
                  <a:gd name="connsiteX579" fmla="*/ 83760 w 251103"/>
                  <a:gd name="connsiteY579" fmla="*/ 201994 h 214778"/>
                  <a:gd name="connsiteX580" fmla="*/ 84377 w 251103"/>
                  <a:gd name="connsiteY580" fmla="*/ 201994 h 214778"/>
                  <a:gd name="connsiteX581" fmla="*/ 84994 w 251103"/>
                  <a:gd name="connsiteY581" fmla="*/ 202523 h 214778"/>
                  <a:gd name="connsiteX582" fmla="*/ 85611 w 251103"/>
                  <a:gd name="connsiteY582" fmla="*/ 201994 h 214778"/>
                  <a:gd name="connsiteX583" fmla="*/ 86758 w 251103"/>
                  <a:gd name="connsiteY583" fmla="*/ 202875 h 214778"/>
                  <a:gd name="connsiteX584" fmla="*/ 88168 w 251103"/>
                  <a:gd name="connsiteY584" fmla="*/ 201377 h 214778"/>
                  <a:gd name="connsiteX585" fmla="*/ 89932 w 251103"/>
                  <a:gd name="connsiteY585" fmla="*/ 201994 h 214778"/>
                  <a:gd name="connsiteX586" fmla="*/ 91960 w 251103"/>
                  <a:gd name="connsiteY586" fmla="*/ 201994 h 214778"/>
                  <a:gd name="connsiteX587" fmla="*/ 92577 w 251103"/>
                  <a:gd name="connsiteY587" fmla="*/ 204639 h 214778"/>
                  <a:gd name="connsiteX588" fmla="*/ 93723 w 251103"/>
                  <a:gd name="connsiteY588" fmla="*/ 204903 h 214778"/>
                  <a:gd name="connsiteX589" fmla="*/ 96632 w 251103"/>
                  <a:gd name="connsiteY589" fmla="*/ 204639 h 214778"/>
                  <a:gd name="connsiteX590" fmla="*/ 98660 w 251103"/>
                  <a:gd name="connsiteY590" fmla="*/ 204022 h 214778"/>
                  <a:gd name="connsiteX591" fmla="*/ 100424 w 251103"/>
                  <a:gd name="connsiteY591" fmla="*/ 204286 h 214778"/>
                  <a:gd name="connsiteX592" fmla="*/ 101041 w 251103"/>
                  <a:gd name="connsiteY592" fmla="*/ 205168 h 214778"/>
                  <a:gd name="connsiteX593" fmla="*/ 102187 w 251103"/>
                  <a:gd name="connsiteY593" fmla="*/ 204903 h 214778"/>
                  <a:gd name="connsiteX594" fmla="*/ 103333 w 251103"/>
                  <a:gd name="connsiteY594" fmla="*/ 204022 h 214778"/>
                  <a:gd name="connsiteX595" fmla="*/ 103598 w 251103"/>
                  <a:gd name="connsiteY595" fmla="*/ 204286 h 214778"/>
                  <a:gd name="connsiteX596" fmla="*/ 108006 w 251103"/>
                  <a:gd name="connsiteY596" fmla="*/ 204286 h 214778"/>
                  <a:gd name="connsiteX597" fmla="*/ 108624 w 251103"/>
                  <a:gd name="connsiteY597" fmla="*/ 203140 h 214778"/>
                  <a:gd name="connsiteX598" fmla="*/ 108624 w 251103"/>
                  <a:gd name="connsiteY598" fmla="*/ 201377 h 214778"/>
                  <a:gd name="connsiteX599" fmla="*/ 109241 w 251103"/>
                  <a:gd name="connsiteY599" fmla="*/ 200759 h 214778"/>
                  <a:gd name="connsiteX600" fmla="*/ 111621 w 251103"/>
                  <a:gd name="connsiteY600" fmla="*/ 201377 h 214778"/>
                  <a:gd name="connsiteX601" fmla="*/ 112238 w 251103"/>
                  <a:gd name="connsiteY601" fmla="*/ 201994 h 214778"/>
                  <a:gd name="connsiteX602" fmla="*/ 114619 w 251103"/>
                  <a:gd name="connsiteY602" fmla="*/ 202875 h 214778"/>
                  <a:gd name="connsiteX603" fmla="*/ 116911 w 251103"/>
                  <a:gd name="connsiteY603" fmla="*/ 202875 h 214778"/>
                  <a:gd name="connsiteX604" fmla="*/ 117793 w 251103"/>
                  <a:gd name="connsiteY604" fmla="*/ 203757 h 214778"/>
                  <a:gd name="connsiteX605" fmla="*/ 118058 w 251103"/>
                  <a:gd name="connsiteY605" fmla="*/ 204639 h 214778"/>
                  <a:gd name="connsiteX606" fmla="*/ 119821 w 251103"/>
                  <a:gd name="connsiteY606" fmla="*/ 204639 h 214778"/>
                  <a:gd name="connsiteX607" fmla="*/ 122466 w 251103"/>
                  <a:gd name="connsiteY607" fmla="*/ 204639 h 214778"/>
                  <a:gd name="connsiteX608" fmla="*/ 123612 w 251103"/>
                  <a:gd name="connsiteY608" fmla="*/ 206138 h 214778"/>
                  <a:gd name="connsiteX609" fmla="*/ 123877 w 251103"/>
                  <a:gd name="connsiteY609" fmla="*/ 207548 h 214778"/>
                  <a:gd name="connsiteX610" fmla="*/ 125640 w 251103"/>
                  <a:gd name="connsiteY610" fmla="*/ 207548 h 214778"/>
                  <a:gd name="connsiteX611" fmla="*/ 126169 w 251103"/>
                  <a:gd name="connsiteY611" fmla="*/ 205520 h 214778"/>
                  <a:gd name="connsiteX612" fmla="*/ 127932 w 251103"/>
                  <a:gd name="connsiteY612" fmla="*/ 206667 h 214778"/>
                  <a:gd name="connsiteX613" fmla="*/ 129696 w 251103"/>
                  <a:gd name="connsiteY613" fmla="*/ 207548 h 214778"/>
                  <a:gd name="connsiteX614" fmla="*/ 130842 w 251103"/>
                  <a:gd name="connsiteY614" fmla="*/ 208166 h 214778"/>
                  <a:gd name="connsiteX615" fmla="*/ 129696 w 251103"/>
                  <a:gd name="connsiteY615" fmla="*/ 208166 h 214778"/>
                  <a:gd name="connsiteX616" fmla="*/ 129696 w 251103"/>
                  <a:gd name="connsiteY616" fmla="*/ 209929 h 214778"/>
                  <a:gd name="connsiteX617" fmla="*/ 133223 w 251103"/>
                  <a:gd name="connsiteY617" fmla="*/ 210811 h 214778"/>
                  <a:gd name="connsiteX618" fmla="*/ 133487 w 251103"/>
                  <a:gd name="connsiteY618" fmla="*/ 211957 h 214778"/>
                  <a:gd name="connsiteX619" fmla="*/ 134369 w 251103"/>
                  <a:gd name="connsiteY619" fmla="*/ 212838 h 214778"/>
                  <a:gd name="connsiteX620" fmla="*/ 135250 w 251103"/>
                  <a:gd name="connsiteY620" fmla="*/ 213720 h 214778"/>
                  <a:gd name="connsiteX621" fmla="*/ 137014 w 251103"/>
                  <a:gd name="connsiteY621" fmla="*/ 212574 h 214778"/>
                  <a:gd name="connsiteX622" fmla="*/ 139394 w 251103"/>
                  <a:gd name="connsiteY622" fmla="*/ 211957 h 214778"/>
                  <a:gd name="connsiteX623" fmla="*/ 139923 w 251103"/>
                  <a:gd name="connsiteY623" fmla="*/ 211692 h 214778"/>
                  <a:gd name="connsiteX624" fmla="*/ 142833 w 251103"/>
                  <a:gd name="connsiteY624" fmla="*/ 212221 h 214778"/>
                  <a:gd name="connsiteX625" fmla="*/ 145478 w 251103"/>
                  <a:gd name="connsiteY625" fmla="*/ 214249 h 214778"/>
                  <a:gd name="connsiteX626" fmla="*/ 146977 w 251103"/>
                  <a:gd name="connsiteY626" fmla="*/ 214249 h 214778"/>
                  <a:gd name="connsiteX627" fmla="*/ 147241 w 251103"/>
                  <a:gd name="connsiteY627" fmla="*/ 213632 h 214778"/>
                  <a:gd name="connsiteX628" fmla="*/ 148123 w 251103"/>
                  <a:gd name="connsiteY628" fmla="*/ 214778 h 214778"/>
                  <a:gd name="connsiteX629" fmla="*/ 149005 w 251103"/>
                  <a:gd name="connsiteY629" fmla="*/ 214161 h 214778"/>
                  <a:gd name="connsiteX630" fmla="*/ 149005 w 251103"/>
                  <a:gd name="connsiteY630" fmla="*/ 212398 h 214778"/>
                  <a:gd name="connsiteX631" fmla="*/ 149622 w 251103"/>
                  <a:gd name="connsiteY631" fmla="*/ 211516 h 214778"/>
                  <a:gd name="connsiteX632" fmla="*/ 151032 w 251103"/>
                  <a:gd name="connsiteY632" fmla="*/ 211516 h 214778"/>
                  <a:gd name="connsiteX633" fmla="*/ 153060 w 251103"/>
                  <a:gd name="connsiteY633" fmla="*/ 211251 h 214778"/>
                  <a:gd name="connsiteX634" fmla="*/ 154471 w 251103"/>
                  <a:gd name="connsiteY634" fmla="*/ 210634 h 214778"/>
                  <a:gd name="connsiteX635" fmla="*/ 155353 w 251103"/>
                  <a:gd name="connsiteY635" fmla="*/ 210370 h 214778"/>
                  <a:gd name="connsiteX636" fmla="*/ 156499 w 251103"/>
                  <a:gd name="connsiteY636" fmla="*/ 211780 h 214778"/>
                  <a:gd name="connsiteX637" fmla="*/ 157116 w 251103"/>
                  <a:gd name="connsiteY637" fmla="*/ 211251 h 214778"/>
                  <a:gd name="connsiteX638" fmla="*/ 159409 w 251103"/>
                  <a:gd name="connsiteY638" fmla="*/ 211516 h 214778"/>
                  <a:gd name="connsiteX639" fmla="*/ 157116 w 251103"/>
                  <a:gd name="connsiteY639" fmla="*/ 209135 h 214778"/>
                  <a:gd name="connsiteX640" fmla="*/ 157116 w 251103"/>
                  <a:gd name="connsiteY640" fmla="*/ 208518 h 214778"/>
                  <a:gd name="connsiteX641" fmla="*/ 157381 w 251103"/>
                  <a:gd name="connsiteY641" fmla="*/ 206755 h 214778"/>
                  <a:gd name="connsiteX642" fmla="*/ 157116 w 251103"/>
                  <a:gd name="connsiteY642" fmla="*/ 205609 h 214778"/>
                  <a:gd name="connsiteX643" fmla="*/ 156852 w 251103"/>
                  <a:gd name="connsiteY643" fmla="*/ 204991 h 214778"/>
                  <a:gd name="connsiteX644" fmla="*/ 157998 w 251103"/>
                  <a:gd name="connsiteY644" fmla="*/ 203845 h 214778"/>
                  <a:gd name="connsiteX645" fmla="*/ 157116 w 251103"/>
                  <a:gd name="connsiteY645" fmla="*/ 202699 h 214778"/>
                  <a:gd name="connsiteX646" fmla="*/ 156852 w 251103"/>
                  <a:gd name="connsiteY646" fmla="*/ 201817 h 214778"/>
                  <a:gd name="connsiteX647" fmla="*/ 155970 w 251103"/>
                  <a:gd name="connsiteY647" fmla="*/ 201553 h 214778"/>
                  <a:gd name="connsiteX648" fmla="*/ 155705 w 251103"/>
                  <a:gd name="connsiteY648" fmla="*/ 200936 h 214778"/>
                  <a:gd name="connsiteX649" fmla="*/ 156234 w 251103"/>
                  <a:gd name="connsiteY649" fmla="*/ 200054 h 214778"/>
                  <a:gd name="connsiteX650" fmla="*/ 156852 w 251103"/>
                  <a:gd name="connsiteY650" fmla="*/ 199790 h 214778"/>
                  <a:gd name="connsiteX651" fmla="*/ 157116 w 251103"/>
                  <a:gd name="connsiteY651" fmla="*/ 199172 h 214778"/>
                  <a:gd name="connsiteX652" fmla="*/ 157381 w 251103"/>
                  <a:gd name="connsiteY652" fmla="*/ 198026 h 214778"/>
                  <a:gd name="connsiteX653" fmla="*/ 157645 w 251103"/>
                  <a:gd name="connsiteY653" fmla="*/ 196880 h 214778"/>
                  <a:gd name="connsiteX654" fmla="*/ 158262 w 251103"/>
                  <a:gd name="connsiteY654" fmla="*/ 195734 h 214778"/>
                  <a:gd name="connsiteX655" fmla="*/ 157998 w 251103"/>
                  <a:gd name="connsiteY655" fmla="*/ 195117 h 214778"/>
                  <a:gd name="connsiteX656" fmla="*/ 157998 w 251103"/>
                  <a:gd name="connsiteY656" fmla="*/ 190444 h 214778"/>
                  <a:gd name="connsiteX657" fmla="*/ 162671 w 251103"/>
                  <a:gd name="connsiteY657" fmla="*/ 190444 h 214778"/>
                  <a:gd name="connsiteX658" fmla="*/ 164434 w 251103"/>
                  <a:gd name="connsiteY658" fmla="*/ 189562 h 214778"/>
                  <a:gd name="connsiteX659" fmla="*/ 165051 w 251103"/>
                  <a:gd name="connsiteY659" fmla="*/ 189827 h 214778"/>
                  <a:gd name="connsiteX660" fmla="*/ 166462 w 251103"/>
                  <a:gd name="connsiteY660" fmla="*/ 187534 h 214778"/>
                  <a:gd name="connsiteX661" fmla="*/ 169107 w 251103"/>
                  <a:gd name="connsiteY661" fmla="*/ 187799 h 214778"/>
                  <a:gd name="connsiteX662" fmla="*/ 171399 w 251103"/>
                  <a:gd name="connsiteY662" fmla="*/ 185771 h 214778"/>
                  <a:gd name="connsiteX663" fmla="*/ 172898 w 251103"/>
                  <a:gd name="connsiteY663" fmla="*/ 185154 h 214778"/>
                  <a:gd name="connsiteX664" fmla="*/ 174662 w 251103"/>
                  <a:gd name="connsiteY664" fmla="*/ 183743 h 214778"/>
                  <a:gd name="connsiteX665" fmla="*/ 177836 w 251103"/>
                  <a:gd name="connsiteY665" fmla="*/ 182861 h 214778"/>
                  <a:gd name="connsiteX666" fmla="*/ 178717 w 251103"/>
                  <a:gd name="connsiteY666" fmla="*/ 183126 h 214778"/>
                  <a:gd name="connsiteX667" fmla="*/ 178982 w 251103"/>
                  <a:gd name="connsiteY667" fmla="*/ 184007 h 214778"/>
                  <a:gd name="connsiteX668" fmla="*/ 178365 w 251103"/>
                  <a:gd name="connsiteY668" fmla="*/ 184007 h 214778"/>
                  <a:gd name="connsiteX669" fmla="*/ 178629 w 251103"/>
                  <a:gd name="connsiteY669" fmla="*/ 184625 h 214778"/>
                  <a:gd name="connsiteX670" fmla="*/ 179511 w 251103"/>
                  <a:gd name="connsiteY670" fmla="*/ 185242 h 214778"/>
                  <a:gd name="connsiteX671" fmla="*/ 181891 w 251103"/>
                  <a:gd name="connsiteY671" fmla="*/ 185506 h 214778"/>
                  <a:gd name="connsiteX672" fmla="*/ 181010 w 251103"/>
                  <a:gd name="connsiteY672" fmla="*/ 184625 h 214778"/>
                  <a:gd name="connsiteX673" fmla="*/ 182156 w 251103"/>
                  <a:gd name="connsiteY673" fmla="*/ 184007 h 214778"/>
                  <a:gd name="connsiteX674" fmla="*/ 182420 w 251103"/>
                  <a:gd name="connsiteY674" fmla="*/ 184272 h 214778"/>
                  <a:gd name="connsiteX675" fmla="*/ 182685 w 251103"/>
                  <a:gd name="connsiteY675" fmla="*/ 185418 h 214778"/>
                  <a:gd name="connsiteX676" fmla="*/ 184448 w 251103"/>
                  <a:gd name="connsiteY676" fmla="*/ 185418 h 214778"/>
                  <a:gd name="connsiteX677" fmla="*/ 185947 w 251103"/>
                  <a:gd name="connsiteY677" fmla="*/ 185154 h 214778"/>
                  <a:gd name="connsiteX678" fmla="*/ 187711 w 251103"/>
                  <a:gd name="connsiteY678" fmla="*/ 185771 h 214778"/>
                  <a:gd name="connsiteX679" fmla="*/ 187975 w 251103"/>
                  <a:gd name="connsiteY679" fmla="*/ 186035 h 214778"/>
                  <a:gd name="connsiteX680" fmla="*/ 187975 w 251103"/>
                  <a:gd name="connsiteY680" fmla="*/ 186917 h 214778"/>
                  <a:gd name="connsiteX681" fmla="*/ 187711 w 251103"/>
                  <a:gd name="connsiteY681" fmla="*/ 187181 h 214778"/>
                  <a:gd name="connsiteX682" fmla="*/ 187711 w 251103"/>
                  <a:gd name="connsiteY682" fmla="*/ 187446 h 214778"/>
                  <a:gd name="connsiteX683" fmla="*/ 188328 w 251103"/>
                  <a:gd name="connsiteY683" fmla="*/ 187710 h 214778"/>
                  <a:gd name="connsiteX684" fmla="*/ 190356 w 251103"/>
                  <a:gd name="connsiteY684" fmla="*/ 187975 h 214778"/>
                  <a:gd name="connsiteX685" fmla="*/ 191502 w 251103"/>
                  <a:gd name="connsiteY685" fmla="*/ 187710 h 214778"/>
                  <a:gd name="connsiteX686" fmla="*/ 191502 w 251103"/>
                  <a:gd name="connsiteY686" fmla="*/ 187446 h 214778"/>
                  <a:gd name="connsiteX687" fmla="*/ 190973 w 251103"/>
                  <a:gd name="connsiteY687" fmla="*/ 187181 h 214778"/>
                  <a:gd name="connsiteX688" fmla="*/ 190973 w 251103"/>
                  <a:gd name="connsiteY688" fmla="*/ 186564 h 214778"/>
                  <a:gd name="connsiteX689" fmla="*/ 190708 w 251103"/>
                  <a:gd name="connsiteY689" fmla="*/ 186300 h 214778"/>
                  <a:gd name="connsiteX690" fmla="*/ 190708 w 251103"/>
                  <a:gd name="connsiteY690" fmla="*/ 185418 h 214778"/>
                  <a:gd name="connsiteX691" fmla="*/ 190091 w 251103"/>
                  <a:gd name="connsiteY691" fmla="*/ 182509 h 214778"/>
                  <a:gd name="connsiteX692" fmla="*/ 190356 w 251103"/>
                  <a:gd name="connsiteY692" fmla="*/ 182861 h 214778"/>
                  <a:gd name="connsiteX693" fmla="*/ 191237 w 251103"/>
                  <a:gd name="connsiteY693" fmla="*/ 184007 h 214778"/>
                  <a:gd name="connsiteX694" fmla="*/ 191237 w 251103"/>
                  <a:gd name="connsiteY694" fmla="*/ 184889 h 214778"/>
                  <a:gd name="connsiteX695" fmla="*/ 190973 w 251103"/>
                  <a:gd name="connsiteY695" fmla="*/ 185771 h 214778"/>
                  <a:gd name="connsiteX696" fmla="*/ 191237 w 251103"/>
                  <a:gd name="connsiteY696" fmla="*/ 186300 h 214778"/>
                  <a:gd name="connsiteX697" fmla="*/ 191854 w 251103"/>
                  <a:gd name="connsiteY697" fmla="*/ 186300 h 214778"/>
                  <a:gd name="connsiteX698" fmla="*/ 193001 w 251103"/>
                  <a:gd name="connsiteY698" fmla="*/ 187181 h 214778"/>
                  <a:gd name="connsiteX699" fmla="*/ 193001 w 251103"/>
                  <a:gd name="connsiteY699" fmla="*/ 186917 h 214778"/>
                  <a:gd name="connsiteX700" fmla="*/ 192736 w 251103"/>
                  <a:gd name="connsiteY700" fmla="*/ 186652 h 214778"/>
                  <a:gd name="connsiteX701" fmla="*/ 194764 w 251103"/>
                  <a:gd name="connsiteY701" fmla="*/ 186035 h 214778"/>
                  <a:gd name="connsiteX702" fmla="*/ 195646 w 251103"/>
                  <a:gd name="connsiteY702" fmla="*/ 186300 h 214778"/>
                  <a:gd name="connsiteX703" fmla="*/ 195910 w 251103"/>
                  <a:gd name="connsiteY703" fmla="*/ 186035 h 214778"/>
                  <a:gd name="connsiteX704" fmla="*/ 196527 w 251103"/>
                  <a:gd name="connsiteY704" fmla="*/ 186035 h 214778"/>
                  <a:gd name="connsiteX705" fmla="*/ 197145 w 251103"/>
                  <a:gd name="connsiteY705" fmla="*/ 186035 h 214778"/>
                  <a:gd name="connsiteX706" fmla="*/ 196880 w 251103"/>
                  <a:gd name="connsiteY706" fmla="*/ 185418 h 214778"/>
                  <a:gd name="connsiteX707" fmla="*/ 197497 w 251103"/>
                  <a:gd name="connsiteY707" fmla="*/ 184801 h 214778"/>
                  <a:gd name="connsiteX708" fmla="*/ 196880 w 251103"/>
                  <a:gd name="connsiteY708" fmla="*/ 184801 h 214778"/>
                  <a:gd name="connsiteX709" fmla="*/ 196263 w 251103"/>
                  <a:gd name="connsiteY709" fmla="*/ 184184 h 214778"/>
                  <a:gd name="connsiteX710" fmla="*/ 196527 w 251103"/>
                  <a:gd name="connsiteY710" fmla="*/ 183038 h 214778"/>
                  <a:gd name="connsiteX711" fmla="*/ 196792 w 251103"/>
                  <a:gd name="connsiteY711" fmla="*/ 183038 h 214778"/>
                  <a:gd name="connsiteX712" fmla="*/ 199701 w 251103"/>
                  <a:gd name="connsiteY712" fmla="*/ 183919 h 214778"/>
                  <a:gd name="connsiteX713" fmla="*/ 200583 w 251103"/>
                  <a:gd name="connsiteY713" fmla="*/ 184184 h 214778"/>
                  <a:gd name="connsiteX714" fmla="*/ 200848 w 251103"/>
                  <a:gd name="connsiteY714" fmla="*/ 185065 h 214778"/>
                  <a:gd name="connsiteX715" fmla="*/ 199084 w 251103"/>
                  <a:gd name="connsiteY715" fmla="*/ 186212 h 214778"/>
                  <a:gd name="connsiteX716" fmla="*/ 197938 w 251103"/>
                  <a:gd name="connsiteY716" fmla="*/ 186829 h 214778"/>
                  <a:gd name="connsiteX717" fmla="*/ 197321 w 251103"/>
                  <a:gd name="connsiteY717" fmla="*/ 186829 h 214778"/>
                  <a:gd name="connsiteX718" fmla="*/ 197056 w 251103"/>
                  <a:gd name="connsiteY718" fmla="*/ 186829 h 214778"/>
                  <a:gd name="connsiteX719" fmla="*/ 196792 w 251103"/>
                  <a:gd name="connsiteY719" fmla="*/ 187093 h 214778"/>
                  <a:gd name="connsiteX720" fmla="*/ 197056 w 251103"/>
                  <a:gd name="connsiteY720" fmla="*/ 187358 h 214778"/>
                  <a:gd name="connsiteX721" fmla="*/ 196792 w 251103"/>
                  <a:gd name="connsiteY721" fmla="*/ 187887 h 214778"/>
                  <a:gd name="connsiteX722" fmla="*/ 198203 w 251103"/>
                  <a:gd name="connsiteY722" fmla="*/ 188151 h 214778"/>
                  <a:gd name="connsiteX723" fmla="*/ 200230 w 251103"/>
                  <a:gd name="connsiteY723" fmla="*/ 188416 h 214778"/>
                  <a:gd name="connsiteX724" fmla="*/ 201729 w 251103"/>
                  <a:gd name="connsiteY724" fmla="*/ 187799 h 214778"/>
                  <a:gd name="connsiteX725" fmla="*/ 202611 w 251103"/>
                  <a:gd name="connsiteY725" fmla="*/ 187534 h 214778"/>
                  <a:gd name="connsiteX726" fmla="*/ 203757 w 251103"/>
                  <a:gd name="connsiteY726" fmla="*/ 188416 h 214778"/>
                  <a:gd name="connsiteX727" fmla="*/ 203757 w 251103"/>
                  <a:gd name="connsiteY727" fmla="*/ 189915 h 214778"/>
                  <a:gd name="connsiteX728" fmla="*/ 203140 w 251103"/>
                  <a:gd name="connsiteY728" fmla="*/ 190532 h 214778"/>
                  <a:gd name="connsiteX729" fmla="*/ 203405 w 251103"/>
                  <a:gd name="connsiteY729" fmla="*/ 191149 h 214778"/>
                  <a:gd name="connsiteX730" fmla="*/ 204551 w 251103"/>
                  <a:gd name="connsiteY730" fmla="*/ 191413 h 214778"/>
                  <a:gd name="connsiteX731" fmla="*/ 205697 w 251103"/>
                  <a:gd name="connsiteY731" fmla="*/ 191413 h 214778"/>
                  <a:gd name="connsiteX732" fmla="*/ 206578 w 251103"/>
                  <a:gd name="connsiteY732" fmla="*/ 191149 h 214778"/>
                  <a:gd name="connsiteX733" fmla="*/ 207725 w 251103"/>
                  <a:gd name="connsiteY733" fmla="*/ 191678 h 214778"/>
                  <a:gd name="connsiteX734" fmla="*/ 209753 w 251103"/>
                  <a:gd name="connsiteY734" fmla="*/ 191943 h 214778"/>
                  <a:gd name="connsiteX735" fmla="*/ 212398 w 251103"/>
                  <a:gd name="connsiteY735" fmla="*/ 193353 h 214778"/>
                  <a:gd name="connsiteX736" fmla="*/ 212398 w 251103"/>
                  <a:gd name="connsiteY736" fmla="*/ 193618 h 214778"/>
                  <a:gd name="connsiteX737" fmla="*/ 212045 w 251103"/>
                  <a:gd name="connsiteY737" fmla="*/ 193618 h 214778"/>
                  <a:gd name="connsiteX738" fmla="*/ 211781 w 251103"/>
                  <a:gd name="connsiteY738" fmla="*/ 193882 h 214778"/>
                  <a:gd name="connsiteX739" fmla="*/ 211516 w 251103"/>
                  <a:gd name="connsiteY739" fmla="*/ 193882 h 214778"/>
                  <a:gd name="connsiteX740" fmla="*/ 211516 w 251103"/>
                  <a:gd name="connsiteY740" fmla="*/ 194147 h 214778"/>
                  <a:gd name="connsiteX741" fmla="*/ 212133 w 251103"/>
                  <a:gd name="connsiteY741" fmla="*/ 194411 h 214778"/>
                  <a:gd name="connsiteX742" fmla="*/ 213015 w 251103"/>
                  <a:gd name="connsiteY742" fmla="*/ 195028 h 214778"/>
                  <a:gd name="connsiteX743" fmla="*/ 213897 w 251103"/>
                  <a:gd name="connsiteY743" fmla="*/ 194764 h 214778"/>
                  <a:gd name="connsiteX744" fmla="*/ 215043 w 251103"/>
                  <a:gd name="connsiteY744" fmla="*/ 194499 h 214778"/>
                  <a:gd name="connsiteX745" fmla="*/ 215307 w 251103"/>
                  <a:gd name="connsiteY745" fmla="*/ 193618 h 214778"/>
                  <a:gd name="connsiteX746" fmla="*/ 216454 w 251103"/>
                  <a:gd name="connsiteY746" fmla="*/ 193882 h 214778"/>
                  <a:gd name="connsiteX747" fmla="*/ 217071 w 251103"/>
                  <a:gd name="connsiteY747" fmla="*/ 193882 h 214778"/>
                  <a:gd name="connsiteX748" fmla="*/ 217952 w 251103"/>
                  <a:gd name="connsiteY748" fmla="*/ 193882 h 214778"/>
                  <a:gd name="connsiteX749" fmla="*/ 218834 w 251103"/>
                  <a:gd name="connsiteY749" fmla="*/ 195028 h 214778"/>
                  <a:gd name="connsiteX750" fmla="*/ 219451 w 251103"/>
                  <a:gd name="connsiteY750" fmla="*/ 195028 h 214778"/>
                  <a:gd name="connsiteX751" fmla="*/ 219187 w 251103"/>
                  <a:gd name="connsiteY751" fmla="*/ 194764 h 214778"/>
                  <a:gd name="connsiteX752" fmla="*/ 219451 w 251103"/>
                  <a:gd name="connsiteY752" fmla="*/ 194147 h 214778"/>
                  <a:gd name="connsiteX753" fmla="*/ 219451 w 251103"/>
                  <a:gd name="connsiteY753" fmla="*/ 193530 h 214778"/>
                  <a:gd name="connsiteX754" fmla="*/ 219716 w 251103"/>
                  <a:gd name="connsiteY754" fmla="*/ 192912 h 214778"/>
                  <a:gd name="connsiteX755" fmla="*/ 225006 w 251103"/>
                  <a:gd name="connsiteY755" fmla="*/ 192031 h 214778"/>
                  <a:gd name="connsiteX756" fmla="*/ 226152 w 251103"/>
                  <a:gd name="connsiteY756" fmla="*/ 191766 h 214778"/>
                  <a:gd name="connsiteX757" fmla="*/ 227034 w 251103"/>
                  <a:gd name="connsiteY757" fmla="*/ 191766 h 214778"/>
                  <a:gd name="connsiteX758" fmla="*/ 227915 w 251103"/>
                  <a:gd name="connsiteY758" fmla="*/ 191766 h 214778"/>
                  <a:gd name="connsiteX759" fmla="*/ 228180 w 251103"/>
                  <a:gd name="connsiteY759" fmla="*/ 191766 h 214778"/>
                  <a:gd name="connsiteX760" fmla="*/ 229062 w 251103"/>
                  <a:gd name="connsiteY760" fmla="*/ 191766 h 214778"/>
                  <a:gd name="connsiteX761" fmla="*/ 229943 w 251103"/>
                  <a:gd name="connsiteY761" fmla="*/ 189738 h 214778"/>
                  <a:gd name="connsiteX762" fmla="*/ 229679 w 251103"/>
                  <a:gd name="connsiteY762" fmla="*/ 189209 h 214778"/>
                  <a:gd name="connsiteX763" fmla="*/ 226769 w 251103"/>
                  <a:gd name="connsiteY763" fmla="*/ 189738 h 214778"/>
                  <a:gd name="connsiteX764" fmla="*/ 227386 w 251103"/>
                  <a:gd name="connsiteY764" fmla="*/ 189474 h 214778"/>
                  <a:gd name="connsiteX765" fmla="*/ 227386 w 251103"/>
                  <a:gd name="connsiteY765" fmla="*/ 188857 h 214778"/>
                  <a:gd name="connsiteX766" fmla="*/ 228797 w 251103"/>
                  <a:gd name="connsiteY766" fmla="*/ 188239 h 214778"/>
                  <a:gd name="connsiteX767" fmla="*/ 229679 w 251103"/>
                  <a:gd name="connsiteY767" fmla="*/ 187093 h 214778"/>
                  <a:gd name="connsiteX768" fmla="*/ 230560 w 251103"/>
                  <a:gd name="connsiteY768" fmla="*/ 186829 h 214778"/>
                  <a:gd name="connsiteX769" fmla="*/ 231178 w 251103"/>
                  <a:gd name="connsiteY769" fmla="*/ 186212 h 214778"/>
                  <a:gd name="connsiteX770" fmla="*/ 231442 w 251103"/>
                  <a:gd name="connsiteY770" fmla="*/ 185594 h 214778"/>
                  <a:gd name="connsiteX771" fmla="*/ 232588 w 251103"/>
                  <a:gd name="connsiteY771" fmla="*/ 185594 h 214778"/>
                  <a:gd name="connsiteX772" fmla="*/ 233734 w 251103"/>
                  <a:gd name="connsiteY772" fmla="*/ 185330 h 214778"/>
                  <a:gd name="connsiteX773" fmla="*/ 234616 w 251103"/>
                  <a:gd name="connsiteY773" fmla="*/ 182685 h 214778"/>
                  <a:gd name="connsiteX774" fmla="*/ 235233 w 251103"/>
                  <a:gd name="connsiteY774" fmla="*/ 182420 h 214778"/>
                  <a:gd name="connsiteX775" fmla="*/ 236115 w 251103"/>
                  <a:gd name="connsiteY775" fmla="*/ 182420 h 214778"/>
                  <a:gd name="connsiteX776" fmla="*/ 237878 w 251103"/>
                  <a:gd name="connsiteY776" fmla="*/ 180392 h 214778"/>
                  <a:gd name="connsiteX777" fmla="*/ 238496 w 251103"/>
                  <a:gd name="connsiteY777" fmla="*/ 180392 h 214778"/>
                  <a:gd name="connsiteX778" fmla="*/ 239113 w 251103"/>
                  <a:gd name="connsiteY778" fmla="*/ 179775 h 214778"/>
                  <a:gd name="connsiteX779" fmla="*/ 240259 w 251103"/>
                  <a:gd name="connsiteY779" fmla="*/ 179158 h 214778"/>
                  <a:gd name="connsiteX780" fmla="*/ 241141 w 251103"/>
                  <a:gd name="connsiteY780" fmla="*/ 180040 h 214778"/>
                  <a:gd name="connsiteX781" fmla="*/ 242640 w 251103"/>
                  <a:gd name="connsiteY781" fmla="*/ 179775 h 214778"/>
                  <a:gd name="connsiteX782" fmla="*/ 243257 w 251103"/>
                  <a:gd name="connsiteY782" fmla="*/ 179511 h 214778"/>
                  <a:gd name="connsiteX783" fmla="*/ 244138 w 251103"/>
                  <a:gd name="connsiteY783" fmla="*/ 180128 h 214778"/>
                  <a:gd name="connsiteX784" fmla="*/ 244138 w 251103"/>
                  <a:gd name="connsiteY784" fmla="*/ 179863 h 214778"/>
                  <a:gd name="connsiteX785" fmla="*/ 244138 w 251103"/>
                  <a:gd name="connsiteY785" fmla="*/ 179599 h 214778"/>
                  <a:gd name="connsiteX786" fmla="*/ 244138 w 251103"/>
                  <a:gd name="connsiteY786" fmla="*/ 179334 h 214778"/>
                  <a:gd name="connsiteX787" fmla="*/ 244403 w 251103"/>
                  <a:gd name="connsiteY787" fmla="*/ 179334 h 214778"/>
                  <a:gd name="connsiteX788" fmla="*/ 244403 w 251103"/>
                  <a:gd name="connsiteY788" fmla="*/ 178805 h 214778"/>
                  <a:gd name="connsiteX789" fmla="*/ 244667 w 251103"/>
                  <a:gd name="connsiteY789" fmla="*/ 178541 h 214778"/>
                  <a:gd name="connsiteX790" fmla="*/ 245196 w 251103"/>
                  <a:gd name="connsiteY790" fmla="*/ 178541 h 214778"/>
                  <a:gd name="connsiteX791" fmla="*/ 245461 w 251103"/>
                  <a:gd name="connsiteY791" fmla="*/ 178541 h 214778"/>
                  <a:gd name="connsiteX792" fmla="*/ 245725 w 251103"/>
                  <a:gd name="connsiteY792" fmla="*/ 179158 h 214778"/>
                  <a:gd name="connsiteX793" fmla="*/ 245990 w 251103"/>
                  <a:gd name="connsiteY793" fmla="*/ 179158 h 214778"/>
                  <a:gd name="connsiteX794" fmla="*/ 246342 w 251103"/>
                  <a:gd name="connsiteY794" fmla="*/ 179158 h 214778"/>
                  <a:gd name="connsiteX795" fmla="*/ 246607 w 251103"/>
                  <a:gd name="connsiteY795" fmla="*/ 178894 h 214778"/>
                  <a:gd name="connsiteX796" fmla="*/ 246871 w 251103"/>
                  <a:gd name="connsiteY796" fmla="*/ 178894 h 214778"/>
                  <a:gd name="connsiteX797" fmla="*/ 247489 w 251103"/>
                  <a:gd name="connsiteY797" fmla="*/ 178276 h 214778"/>
                  <a:gd name="connsiteX798" fmla="*/ 247224 w 251103"/>
                  <a:gd name="connsiteY798" fmla="*/ 176249 h 214778"/>
                  <a:gd name="connsiteX799" fmla="*/ 247841 w 251103"/>
                  <a:gd name="connsiteY799" fmla="*/ 175102 h 214778"/>
                  <a:gd name="connsiteX800" fmla="*/ 250751 w 251103"/>
                  <a:gd name="connsiteY800" fmla="*/ 171928 h 214778"/>
                  <a:gd name="connsiteX801" fmla="*/ 250751 w 251103"/>
                  <a:gd name="connsiteY801" fmla="*/ 170782 h 214778"/>
                  <a:gd name="connsiteX802" fmla="*/ 250134 w 251103"/>
                  <a:gd name="connsiteY802" fmla="*/ 169901 h 214778"/>
                  <a:gd name="connsiteX803" fmla="*/ 250486 w 251103"/>
                  <a:gd name="connsiteY803" fmla="*/ 169636 h 214778"/>
                  <a:gd name="connsiteX804" fmla="*/ 249869 w 251103"/>
                  <a:gd name="connsiteY804" fmla="*/ 169019 h 214778"/>
                  <a:gd name="connsiteX805" fmla="*/ 248458 w 251103"/>
                  <a:gd name="connsiteY805" fmla="*/ 169019 h 214778"/>
                  <a:gd name="connsiteX806" fmla="*/ 247312 w 251103"/>
                  <a:gd name="connsiteY806" fmla="*/ 170430 h 214778"/>
                  <a:gd name="connsiteX807" fmla="*/ 245549 w 251103"/>
                  <a:gd name="connsiteY807" fmla="*/ 169548 h 214778"/>
                  <a:gd name="connsiteX808" fmla="*/ 244050 w 251103"/>
                  <a:gd name="connsiteY808" fmla="*/ 168931 h 214778"/>
                  <a:gd name="connsiteX809" fmla="*/ 242022 w 251103"/>
                  <a:gd name="connsiteY809" fmla="*/ 168313 h 214778"/>
                  <a:gd name="connsiteX810" fmla="*/ 240612 w 251103"/>
                  <a:gd name="connsiteY810" fmla="*/ 168049 h 214778"/>
                  <a:gd name="connsiteX811" fmla="*/ 239113 w 251103"/>
                  <a:gd name="connsiteY811" fmla="*/ 168313 h 214778"/>
                  <a:gd name="connsiteX812" fmla="*/ 239377 w 251103"/>
                  <a:gd name="connsiteY812" fmla="*/ 167432 h 214778"/>
                  <a:gd name="connsiteX813" fmla="*/ 238760 w 251103"/>
                  <a:gd name="connsiteY813" fmla="*/ 166815 h 214778"/>
                  <a:gd name="connsiteX814" fmla="*/ 236997 w 251103"/>
                  <a:gd name="connsiteY814" fmla="*/ 165933 h 214778"/>
                  <a:gd name="connsiteX815" fmla="*/ 236379 w 251103"/>
                  <a:gd name="connsiteY815" fmla="*/ 165051 h 214778"/>
                  <a:gd name="connsiteX816" fmla="*/ 235762 w 251103"/>
                  <a:gd name="connsiteY816" fmla="*/ 164787 h 214778"/>
                  <a:gd name="connsiteX817" fmla="*/ 235145 w 251103"/>
                  <a:gd name="connsiteY817" fmla="*/ 164522 h 214778"/>
                  <a:gd name="connsiteX818" fmla="*/ 232764 w 251103"/>
                  <a:gd name="connsiteY818" fmla="*/ 164522 h 214778"/>
                  <a:gd name="connsiteX819" fmla="*/ 233646 w 251103"/>
                  <a:gd name="connsiteY819" fmla="*/ 163640 h 214778"/>
                  <a:gd name="connsiteX820" fmla="*/ 234792 w 251103"/>
                  <a:gd name="connsiteY820" fmla="*/ 163376 h 214778"/>
                  <a:gd name="connsiteX821" fmla="*/ 234528 w 251103"/>
                  <a:gd name="connsiteY821" fmla="*/ 162230 h 214778"/>
                  <a:gd name="connsiteX822" fmla="*/ 234528 w 251103"/>
                  <a:gd name="connsiteY822" fmla="*/ 161348 h 214778"/>
                  <a:gd name="connsiteX823" fmla="*/ 233911 w 251103"/>
                  <a:gd name="connsiteY823" fmla="*/ 160466 h 214778"/>
                  <a:gd name="connsiteX824" fmla="*/ 233911 w 251103"/>
                  <a:gd name="connsiteY824" fmla="*/ 159320 h 214778"/>
                  <a:gd name="connsiteX825" fmla="*/ 234528 w 251103"/>
                  <a:gd name="connsiteY825" fmla="*/ 158174 h 214778"/>
                  <a:gd name="connsiteX826" fmla="*/ 234528 w 251103"/>
                  <a:gd name="connsiteY826" fmla="*/ 157292 h 214778"/>
                  <a:gd name="connsiteX827" fmla="*/ 235145 w 251103"/>
                  <a:gd name="connsiteY827" fmla="*/ 156675 h 214778"/>
                  <a:gd name="connsiteX828" fmla="*/ 235762 w 251103"/>
                  <a:gd name="connsiteY828" fmla="*/ 156058 h 214778"/>
                  <a:gd name="connsiteX829" fmla="*/ 236027 w 251103"/>
                  <a:gd name="connsiteY829" fmla="*/ 154912 h 214778"/>
                  <a:gd name="connsiteX830" fmla="*/ 236644 w 251103"/>
                  <a:gd name="connsiteY830" fmla="*/ 153766 h 214778"/>
                  <a:gd name="connsiteX831" fmla="*/ 235498 w 251103"/>
                  <a:gd name="connsiteY831" fmla="*/ 152884 h 214778"/>
                  <a:gd name="connsiteX832" fmla="*/ 234881 w 251103"/>
                  <a:gd name="connsiteY832" fmla="*/ 151738 h 214778"/>
                  <a:gd name="connsiteX833" fmla="*/ 233117 w 251103"/>
                  <a:gd name="connsiteY833" fmla="*/ 150592 h 214778"/>
                  <a:gd name="connsiteX834" fmla="*/ 231089 w 251103"/>
                  <a:gd name="connsiteY834" fmla="*/ 150239 h 214778"/>
                  <a:gd name="connsiteX835" fmla="*/ 227563 w 251103"/>
                  <a:gd name="connsiteY835" fmla="*/ 150592 h 214778"/>
                  <a:gd name="connsiteX836" fmla="*/ 226681 w 251103"/>
                  <a:gd name="connsiteY836" fmla="*/ 148211 h 214778"/>
                  <a:gd name="connsiteX837" fmla="*/ 225799 w 251103"/>
                  <a:gd name="connsiteY837" fmla="*/ 147947 h 214778"/>
                  <a:gd name="connsiteX838" fmla="*/ 225799 w 251103"/>
                  <a:gd name="connsiteY838" fmla="*/ 146183 h 214778"/>
                  <a:gd name="connsiteX839" fmla="*/ 225182 w 251103"/>
                  <a:gd name="connsiteY839" fmla="*/ 145037 h 214778"/>
                  <a:gd name="connsiteX840" fmla="*/ 227210 w 251103"/>
                  <a:gd name="connsiteY840" fmla="*/ 144420 h 214778"/>
                  <a:gd name="connsiteX841" fmla="*/ 229238 w 251103"/>
                  <a:gd name="connsiteY841" fmla="*/ 145301 h 214778"/>
                  <a:gd name="connsiteX842" fmla="*/ 230384 w 251103"/>
                  <a:gd name="connsiteY842" fmla="*/ 145301 h 214778"/>
                  <a:gd name="connsiteX843" fmla="*/ 230384 w 251103"/>
                  <a:gd name="connsiteY843" fmla="*/ 144772 h 214778"/>
                  <a:gd name="connsiteX844" fmla="*/ 230384 w 251103"/>
                  <a:gd name="connsiteY844" fmla="*/ 144155 h 214778"/>
                  <a:gd name="connsiteX845" fmla="*/ 232412 w 251103"/>
                  <a:gd name="connsiteY845" fmla="*/ 143009 h 214778"/>
                  <a:gd name="connsiteX846" fmla="*/ 234175 w 251103"/>
                  <a:gd name="connsiteY846" fmla="*/ 143009 h 214778"/>
                  <a:gd name="connsiteX847" fmla="*/ 233823 w 251103"/>
                  <a:gd name="connsiteY847" fmla="*/ 141863 h 214778"/>
                  <a:gd name="connsiteX848" fmla="*/ 234175 w 251103"/>
                  <a:gd name="connsiteY848" fmla="*/ 140364 h 214778"/>
                  <a:gd name="connsiteX849" fmla="*/ 234792 w 251103"/>
                  <a:gd name="connsiteY849" fmla="*/ 138601 h 214778"/>
                  <a:gd name="connsiteX850" fmla="*/ 233911 w 251103"/>
                  <a:gd name="connsiteY850" fmla="*/ 138336 h 214778"/>
                  <a:gd name="connsiteX851" fmla="*/ 233911 w 251103"/>
                  <a:gd name="connsiteY851" fmla="*/ 137190 h 214778"/>
                  <a:gd name="connsiteX852" fmla="*/ 232147 w 251103"/>
                  <a:gd name="connsiteY852" fmla="*/ 136044 h 214778"/>
                  <a:gd name="connsiteX853" fmla="*/ 232412 w 251103"/>
                  <a:gd name="connsiteY853" fmla="*/ 134280 h 214778"/>
                  <a:gd name="connsiteX854" fmla="*/ 232147 w 251103"/>
                  <a:gd name="connsiteY854" fmla="*/ 133399 h 214778"/>
                  <a:gd name="connsiteX855" fmla="*/ 229767 w 251103"/>
                  <a:gd name="connsiteY855" fmla="*/ 133134 h 214778"/>
                  <a:gd name="connsiteX856" fmla="*/ 229767 w 251103"/>
                  <a:gd name="connsiteY856" fmla="*/ 131635 h 214778"/>
                  <a:gd name="connsiteX857" fmla="*/ 228356 w 251103"/>
                  <a:gd name="connsiteY857" fmla="*/ 131018 h 214778"/>
                  <a:gd name="connsiteX858" fmla="*/ 228092 w 251103"/>
                  <a:gd name="connsiteY858" fmla="*/ 128990 h 214778"/>
                  <a:gd name="connsiteX859" fmla="*/ 228709 w 251103"/>
                  <a:gd name="connsiteY859" fmla="*/ 127227 h 214778"/>
                  <a:gd name="connsiteX860" fmla="*/ 231883 w 251103"/>
                  <a:gd name="connsiteY860" fmla="*/ 127227 h 214778"/>
                  <a:gd name="connsiteX861" fmla="*/ 233029 w 251103"/>
                  <a:gd name="connsiteY861" fmla="*/ 125199 h 214778"/>
                  <a:gd name="connsiteX862" fmla="*/ 231619 w 251103"/>
                  <a:gd name="connsiteY862" fmla="*/ 123436 h 214778"/>
                  <a:gd name="connsiteX863" fmla="*/ 229591 w 251103"/>
                  <a:gd name="connsiteY863" fmla="*/ 122290 h 214778"/>
                  <a:gd name="connsiteX864" fmla="*/ 229062 w 251103"/>
                  <a:gd name="connsiteY864" fmla="*/ 121672 h 214778"/>
                  <a:gd name="connsiteX865" fmla="*/ 228797 w 251103"/>
                  <a:gd name="connsiteY865" fmla="*/ 120791 h 214778"/>
                  <a:gd name="connsiteX866" fmla="*/ 227915 w 251103"/>
                  <a:gd name="connsiteY866" fmla="*/ 120174 h 214778"/>
                  <a:gd name="connsiteX867" fmla="*/ 227651 w 251103"/>
                  <a:gd name="connsiteY867" fmla="*/ 118410 h 214778"/>
                  <a:gd name="connsiteX868" fmla="*/ 227915 w 251103"/>
                  <a:gd name="connsiteY868" fmla="*/ 117528 h 214778"/>
                  <a:gd name="connsiteX869" fmla="*/ 227915 w 251103"/>
                  <a:gd name="connsiteY869" fmla="*/ 115765 h 214778"/>
                  <a:gd name="connsiteX870" fmla="*/ 227915 w 251103"/>
                  <a:gd name="connsiteY870" fmla="*/ 114266 h 214778"/>
                  <a:gd name="connsiteX871" fmla="*/ 227298 w 251103"/>
                  <a:gd name="connsiteY871" fmla="*/ 113385 h 214778"/>
                  <a:gd name="connsiteX872" fmla="*/ 224653 w 251103"/>
                  <a:gd name="connsiteY872" fmla="*/ 112767 h 214778"/>
                  <a:gd name="connsiteX873" fmla="*/ 222008 w 251103"/>
                  <a:gd name="connsiteY873" fmla="*/ 112767 h 214778"/>
                  <a:gd name="connsiteX874" fmla="*/ 219363 w 251103"/>
                  <a:gd name="connsiteY874" fmla="*/ 113385 h 214778"/>
                  <a:gd name="connsiteX875" fmla="*/ 217599 w 251103"/>
                  <a:gd name="connsiteY875" fmla="*/ 114531 h 214778"/>
                  <a:gd name="connsiteX876" fmla="*/ 216718 w 251103"/>
                  <a:gd name="connsiteY876" fmla="*/ 116030 h 214778"/>
                  <a:gd name="connsiteX877" fmla="*/ 216454 w 251103"/>
                  <a:gd name="connsiteY877" fmla="*/ 116911 h 214778"/>
                  <a:gd name="connsiteX878" fmla="*/ 216718 w 251103"/>
                  <a:gd name="connsiteY878" fmla="*/ 117528 h 214778"/>
                  <a:gd name="connsiteX879" fmla="*/ 217335 w 251103"/>
                  <a:gd name="connsiteY879" fmla="*/ 118146 h 214778"/>
                  <a:gd name="connsiteX880" fmla="*/ 216189 w 251103"/>
                  <a:gd name="connsiteY880" fmla="*/ 119027 h 214778"/>
                  <a:gd name="connsiteX881" fmla="*/ 215925 w 251103"/>
                  <a:gd name="connsiteY881" fmla="*/ 119909 h 214778"/>
                  <a:gd name="connsiteX882" fmla="*/ 214161 w 251103"/>
                  <a:gd name="connsiteY882" fmla="*/ 120526 h 214778"/>
                  <a:gd name="connsiteX883" fmla="*/ 212750 w 251103"/>
                  <a:gd name="connsiteY883" fmla="*/ 120526 h 214778"/>
                  <a:gd name="connsiteX884" fmla="*/ 211869 w 251103"/>
                  <a:gd name="connsiteY884" fmla="*/ 119644 h 214778"/>
                  <a:gd name="connsiteX885" fmla="*/ 211604 w 251103"/>
                  <a:gd name="connsiteY885" fmla="*/ 118498 h 214778"/>
                  <a:gd name="connsiteX886" fmla="*/ 213368 w 251103"/>
                  <a:gd name="connsiteY886" fmla="*/ 118146 h 214778"/>
                  <a:gd name="connsiteX887" fmla="*/ 214514 w 251103"/>
                  <a:gd name="connsiteY887" fmla="*/ 117881 h 214778"/>
                  <a:gd name="connsiteX888" fmla="*/ 214514 w 251103"/>
                  <a:gd name="connsiteY888" fmla="*/ 117617 h 214778"/>
                  <a:gd name="connsiteX889" fmla="*/ 214249 w 251103"/>
                  <a:gd name="connsiteY889" fmla="*/ 116735 h 214778"/>
                  <a:gd name="connsiteX890" fmla="*/ 215395 w 251103"/>
                  <a:gd name="connsiteY890" fmla="*/ 114972 h 214778"/>
                  <a:gd name="connsiteX891" fmla="*/ 213897 w 251103"/>
                  <a:gd name="connsiteY891" fmla="*/ 113825 h 214778"/>
                  <a:gd name="connsiteX892" fmla="*/ 213368 w 251103"/>
                  <a:gd name="connsiteY892" fmla="*/ 113561 h 214778"/>
                  <a:gd name="connsiteX893" fmla="*/ 213897 w 251103"/>
                  <a:gd name="connsiteY893" fmla="*/ 112944 h 214778"/>
                  <a:gd name="connsiteX894" fmla="*/ 214778 w 251103"/>
                  <a:gd name="connsiteY894" fmla="*/ 110651 h 214778"/>
                  <a:gd name="connsiteX895" fmla="*/ 214778 w 251103"/>
                  <a:gd name="connsiteY895" fmla="*/ 109770 h 214778"/>
                  <a:gd name="connsiteX896" fmla="*/ 215043 w 251103"/>
                  <a:gd name="connsiteY896" fmla="*/ 109153 h 214778"/>
                  <a:gd name="connsiteX897" fmla="*/ 217071 w 251103"/>
                  <a:gd name="connsiteY897" fmla="*/ 107654 h 214778"/>
                  <a:gd name="connsiteX898" fmla="*/ 220245 w 251103"/>
                  <a:gd name="connsiteY898" fmla="*/ 105626 h 214778"/>
                  <a:gd name="connsiteX899" fmla="*/ 220509 w 251103"/>
                  <a:gd name="connsiteY899" fmla="*/ 104215 h 214778"/>
                  <a:gd name="connsiteX900" fmla="*/ 220245 w 251103"/>
                  <a:gd name="connsiteY900" fmla="*/ 103069 h 214778"/>
                  <a:gd name="connsiteX901" fmla="*/ 220862 w 251103"/>
                  <a:gd name="connsiteY901" fmla="*/ 101923 h 214778"/>
                  <a:gd name="connsiteX902" fmla="*/ 222272 w 251103"/>
                  <a:gd name="connsiteY902" fmla="*/ 100159 h 214778"/>
                  <a:gd name="connsiteX903" fmla="*/ 224300 w 251103"/>
                  <a:gd name="connsiteY903" fmla="*/ 99542 h 214778"/>
                  <a:gd name="connsiteX904" fmla="*/ 224829 w 251103"/>
                  <a:gd name="connsiteY904" fmla="*/ 97779 h 214778"/>
                  <a:gd name="connsiteX905" fmla="*/ 227475 w 251103"/>
                  <a:gd name="connsiteY905" fmla="*/ 96015 h 214778"/>
                  <a:gd name="connsiteX906" fmla="*/ 228356 w 251103"/>
                  <a:gd name="connsiteY906" fmla="*/ 94252 h 214778"/>
                  <a:gd name="connsiteX907" fmla="*/ 228356 w 251103"/>
                  <a:gd name="connsiteY907" fmla="*/ 93635 h 214778"/>
                  <a:gd name="connsiteX908" fmla="*/ 228621 w 251103"/>
                  <a:gd name="connsiteY908" fmla="*/ 93370 h 214778"/>
                  <a:gd name="connsiteX909" fmla="*/ 230649 w 251103"/>
                  <a:gd name="connsiteY909" fmla="*/ 92224 h 214778"/>
                  <a:gd name="connsiteX910" fmla="*/ 230649 w 251103"/>
                  <a:gd name="connsiteY910" fmla="*/ 91342 h 214778"/>
                  <a:gd name="connsiteX911" fmla="*/ 230031 w 251103"/>
                  <a:gd name="connsiteY911" fmla="*/ 91078 h 214778"/>
                  <a:gd name="connsiteX912" fmla="*/ 228885 w 251103"/>
                  <a:gd name="connsiteY912" fmla="*/ 91078 h 214778"/>
                  <a:gd name="connsiteX913" fmla="*/ 228268 w 251103"/>
                  <a:gd name="connsiteY913" fmla="*/ 90461 h 214778"/>
                  <a:gd name="connsiteX914" fmla="*/ 228885 w 251103"/>
                  <a:gd name="connsiteY914" fmla="*/ 89844 h 214778"/>
                  <a:gd name="connsiteX915" fmla="*/ 230296 w 251103"/>
                  <a:gd name="connsiteY915" fmla="*/ 87816 h 214778"/>
                  <a:gd name="connsiteX916" fmla="*/ 230913 w 251103"/>
                  <a:gd name="connsiteY916" fmla="*/ 87199 h 214778"/>
                  <a:gd name="connsiteX917" fmla="*/ 232059 w 251103"/>
                  <a:gd name="connsiteY917" fmla="*/ 87199 h 214778"/>
                  <a:gd name="connsiteX918" fmla="*/ 233205 w 251103"/>
                  <a:gd name="connsiteY918" fmla="*/ 87816 h 214778"/>
                  <a:gd name="connsiteX919" fmla="*/ 234087 w 251103"/>
                  <a:gd name="connsiteY919" fmla="*/ 88962 h 214778"/>
                  <a:gd name="connsiteX920" fmla="*/ 235850 w 251103"/>
                  <a:gd name="connsiteY920" fmla="*/ 89226 h 214778"/>
                  <a:gd name="connsiteX921" fmla="*/ 237878 w 251103"/>
                  <a:gd name="connsiteY921" fmla="*/ 89226 h 214778"/>
                  <a:gd name="connsiteX922" fmla="*/ 238760 w 251103"/>
                  <a:gd name="connsiteY922" fmla="*/ 88609 h 214778"/>
                  <a:gd name="connsiteX923" fmla="*/ 239906 w 251103"/>
                  <a:gd name="connsiteY923" fmla="*/ 87728 h 214778"/>
                  <a:gd name="connsiteX924" fmla="*/ 240171 w 251103"/>
                  <a:gd name="connsiteY924" fmla="*/ 87110 h 214778"/>
                  <a:gd name="connsiteX925" fmla="*/ 240171 w 251103"/>
                  <a:gd name="connsiteY925" fmla="*/ 86229 h 214778"/>
                  <a:gd name="connsiteX926" fmla="*/ 240788 w 251103"/>
                  <a:gd name="connsiteY926" fmla="*/ 85964 h 214778"/>
                  <a:gd name="connsiteX927" fmla="*/ 241052 w 251103"/>
                  <a:gd name="connsiteY927" fmla="*/ 85347 h 214778"/>
                  <a:gd name="connsiteX928" fmla="*/ 240964 w 251103"/>
                  <a:gd name="connsiteY928" fmla="*/ 85347 h 214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</a:cxnLst>
                <a:rect l="l" t="t" r="r" b="b"/>
                <a:pathLst>
                  <a:path w="251103" h="214778">
                    <a:moveTo>
                      <a:pt x="240964" y="86405"/>
                    </a:moveTo>
                    <a:lnTo>
                      <a:pt x="240347" y="85523"/>
                    </a:lnTo>
                    <a:lnTo>
                      <a:pt x="239730" y="84377"/>
                    </a:lnTo>
                    <a:lnTo>
                      <a:pt x="239730" y="83231"/>
                    </a:lnTo>
                    <a:lnTo>
                      <a:pt x="240347" y="82349"/>
                    </a:lnTo>
                    <a:lnTo>
                      <a:pt x="240083" y="81468"/>
                    </a:lnTo>
                    <a:lnTo>
                      <a:pt x="240612" y="79969"/>
                    </a:lnTo>
                    <a:lnTo>
                      <a:pt x="240083" y="78823"/>
                    </a:lnTo>
                    <a:lnTo>
                      <a:pt x="240612" y="77324"/>
                    </a:lnTo>
                    <a:lnTo>
                      <a:pt x="240347" y="75296"/>
                    </a:lnTo>
                    <a:lnTo>
                      <a:pt x="240347" y="73532"/>
                    </a:lnTo>
                    <a:lnTo>
                      <a:pt x="241493" y="69741"/>
                    </a:lnTo>
                    <a:lnTo>
                      <a:pt x="241493" y="68595"/>
                    </a:lnTo>
                    <a:lnTo>
                      <a:pt x="242640" y="66832"/>
                    </a:lnTo>
                    <a:lnTo>
                      <a:pt x="243169" y="64187"/>
                    </a:lnTo>
                    <a:lnTo>
                      <a:pt x="244315" y="63040"/>
                    </a:lnTo>
                    <a:lnTo>
                      <a:pt x="245461" y="62159"/>
                    </a:lnTo>
                    <a:lnTo>
                      <a:pt x="246342" y="61013"/>
                    </a:lnTo>
                    <a:lnTo>
                      <a:pt x="247224" y="58985"/>
                    </a:lnTo>
                    <a:lnTo>
                      <a:pt x="248723" y="58103"/>
                    </a:lnTo>
                    <a:lnTo>
                      <a:pt x="249957" y="56604"/>
                    </a:lnTo>
                    <a:lnTo>
                      <a:pt x="251104" y="53959"/>
                    </a:lnTo>
                    <a:lnTo>
                      <a:pt x="251104" y="53342"/>
                    </a:lnTo>
                    <a:lnTo>
                      <a:pt x="250839" y="53077"/>
                    </a:lnTo>
                    <a:lnTo>
                      <a:pt x="248811" y="52460"/>
                    </a:lnTo>
                    <a:lnTo>
                      <a:pt x="245637" y="50961"/>
                    </a:lnTo>
                    <a:lnTo>
                      <a:pt x="242992" y="50961"/>
                    </a:lnTo>
                    <a:lnTo>
                      <a:pt x="241229" y="51226"/>
                    </a:lnTo>
                    <a:lnTo>
                      <a:pt x="239818" y="50961"/>
                    </a:lnTo>
                    <a:lnTo>
                      <a:pt x="238055" y="49198"/>
                    </a:lnTo>
                    <a:lnTo>
                      <a:pt x="236908" y="48316"/>
                    </a:lnTo>
                    <a:lnTo>
                      <a:pt x="235145" y="48052"/>
                    </a:lnTo>
                    <a:lnTo>
                      <a:pt x="234528" y="48669"/>
                    </a:lnTo>
                    <a:lnTo>
                      <a:pt x="233646" y="49286"/>
                    </a:lnTo>
                    <a:lnTo>
                      <a:pt x="232500" y="49551"/>
                    </a:lnTo>
                    <a:lnTo>
                      <a:pt x="229591" y="49286"/>
                    </a:lnTo>
                    <a:lnTo>
                      <a:pt x="228444" y="48140"/>
                    </a:lnTo>
                    <a:lnTo>
                      <a:pt x="226681" y="46994"/>
                    </a:lnTo>
                    <a:lnTo>
                      <a:pt x="226416" y="46377"/>
                    </a:lnTo>
                    <a:lnTo>
                      <a:pt x="225535" y="46377"/>
                    </a:lnTo>
                    <a:lnTo>
                      <a:pt x="225270" y="48140"/>
                    </a:lnTo>
                    <a:lnTo>
                      <a:pt x="223860" y="48140"/>
                    </a:lnTo>
                    <a:lnTo>
                      <a:pt x="223595" y="46994"/>
                    </a:lnTo>
                    <a:lnTo>
                      <a:pt x="222096" y="46112"/>
                    </a:lnTo>
                    <a:lnTo>
                      <a:pt x="222361" y="45848"/>
                    </a:lnTo>
                    <a:lnTo>
                      <a:pt x="220862" y="43820"/>
                    </a:lnTo>
                    <a:lnTo>
                      <a:pt x="219716" y="42321"/>
                    </a:lnTo>
                    <a:lnTo>
                      <a:pt x="219716" y="41704"/>
                    </a:lnTo>
                    <a:lnTo>
                      <a:pt x="218569" y="40822"/>
                    </a:lnTo>
                    <a:lnTo>
                      <a:pt x="218041" y="40205"/>
                    </a:lnTo>
                    <a:lnTo>
                      <a:pt x="216542" y="39588"/>
                    </a:lnTo>
                    <a:lnTo>
                      <a:pt x="216542" y="38970"/>
                    </a:lnTo>
                    <a:lnTo>
                      <a:pt x="215131" y="38970"/>
                    </a:lnTo>
                    <a:lnTo>
                      <a:pt x="215131" y="39588"/>
                    </a:lnTo>
                    <a:lnTo>
                      <a:pt x="214514" y="39588"/>
                    </a:lnTo>
                    <a:lnTo>
                      <a:pt x="213368" y="39323"/>
                    </a:lnTo>
                    <a:lnTo>
                      <a:pt x="211604" y="39940"/>
                    </a:lnTo>
                    <a:lnTo>
                      <a:pt x="209224" y="39940"/>
                    </a:lnTo>
                    <a:lnTo>
                      <a:pt x="208695" y="39059"/>
                    </a:lnTo>
                    <a:lnTo>
                      <a:pt x="207196" y="39059"/>
                    </a:lnTo>
                    <a:lnTo>
                      <a:pt x="204022" y="38441"/>
                    </a:lnTo>
                    <a:lnTo>
                      <a:pt x="202523" y="39323"/>
                    </a:lnTo>
                    <a:lnTo>
                      <a:pt x="200760" y="39059"/>
                    </a:lnTo>
                    <a:lnTo>
                      <a:pt x="199613" y="39676"/>
                    </a:lnTo>
                    <a:lnTo>
                      <a:pt x="198467" y="38794"/>
                    </a:lnTo>
                    <a:lnTo>
                      <a:pt x="196968" y="38177"/>
                    </a:lnTo>
                    <a:lnTo>
                      <a:pt x="195557" y="37560"/>
                    </a:lnTo>
                    <a:lnTo>
                      <a:pt x="194676" y="35796"/>
                    </a:lnTo>
                    <a:lnTo>
                      <a:pt x="193177" y="36414"/>
                    </a:lnTo>
                    <a:lnTo>
                      <a:pt x="192295" y="35003"/>
                    </a:lnTo>
                    <a:lnTo>
                      <a:pt x="191149" y="34386"/>
                    </a:lnTo>
                    <a:lnTo>
                      <a:pt x="189121" y="32358"/>
                    </a:lnTo>
                    <a:lnTo>
                      <a:pt x="187622" y="32093"/>
                    </a:lnTo>
                    <a:lnTo>
                      <a:pt x="187622" y="31829"/>
                    </a:lnTo>
                    <a:lnTo>
                      <a:pt x="185859" y="30947"/>
                    </a:lnTo>
                    <a:lnTo>
                      <a:pt x="186476" y="29448"/>
                    </a:lnTo>
                    <a:lnTo>
                      <a:pt x="185595" y="27949"/>
                    </a:lnTo>
                    <a:lnTo>
                      <a:pt x="186212" y="26451"/>
                    </a:lnTo>
                    <a:lnTo>
                      <a:pt x="187358" y="24423"/>
                    </a:lnTo>
                    <a:lnTo>
                      <a:pt x="186212" y="23012"/>
                    </a:lnTo>
                    <a:lnTo>
                      <a:pt x="183302" y="25304"/>
                    </a:lnTo>
                    <a:lnTo>
                      <a:pt x="183302" y="28214"/>
                    </a:lnTo>
                    <a:lnTo>
                      <a:pt x="180128" y="29713"/>
                    </a:lnTo>
                    <a:lnTo>
                      <a:pt x="177219" y="28567"/>
                    </a:lnTo>
                    <a:lnTo>
                      <a:pt x="176072" y="29184"/>
                    </a:lnTo>
                    <a:lnTo>
                      <a:pt x="174926" y="28567"/>
                    </a:lnTo>
                    <a:lnTo>
                      <a:pt x="173427" y="27949"/>
                    </a:lnTo>
                    <a:lnTo>
                      <a:pt x="173163" y="26186"/>
                    </a:lnTo>
                    <a:lnTo>
                      <a:pt x="174926" y="26186"/>
                    </a:lnTo>
                    <a:lnTo>
                      <a:pt x="174662" y="24423"/>
                    </a:lnTo>
                    <a:lnTo>
                      <a:pt x="173515" y="24158"/>
                    </a:lnTo>
                    <a:lnTo>
                      <a:pt x="173251" y="22130"/>
                    </a:lnTo>
                    <a:lnTo>
                      <a:pt x="172369" y="19750"/>
                    </a:lnTo>
                    <a:lnTo>
                      <a:pt x="170606" y="19133"/>
                    </a:lnTo>
                    <a:lnTo>
                      <a:pt x="166815" y="19133"/>
                    </a:lnTo>
                    <a:lnTo>
                      <a:pt x="165051" y="20014"/>
                    </a:lnTo>
                    <a:lnTo>
                      <a:pt x="164169" y="18515"/>
                    </a:lnTo>
                    <a:lnTo>
                      <a:pt x="164169" y="17369"/>
                    </a:lnTo>
                    <a:lnTo>
                      <a:pt x="163024" y="16752"/>
                    </a:lnTo>
                    <a:lnTo>
                      <a:pt x="160996" y="16752"/>
                    </a:lnTo>
                    <a:lnTo>
                      <a:pt x="160731" y="15606"/>
                    </a:lnTo>
                    <a:lnTo>
                      <a:pt x="158968" y="15341"/>
                    </a:lnTo>
                    <a:lnTo>
                      <a:pt x="158703" y="16223"/>
                    </a:lnTo>
                    <a:lnTo>
                      <a:pt x="156940" y="15606"/>
                    </a:lnTo>
                    <a:lnTo>
                      <a:pt x="156940" y="13842"/>
                    </a:lnTo>
                    <a:lnTo>
                      <a:pt x="155794" y="11550"/>
                    </a:lnTo>
                    <a:lnTo>
                      <a:pt x="156675" y="11286"/>
                    </a:lnTo>
                    <a:lnTo>
                      <a:pt x="155529" y="10139"/>
                    </a:lnTo>
                    <a:lnTo>
                      <a:pt x="154030" y="8993"/>
                    </a:lnTo>
                    <a:lnTo>
                      <a:pt x="152002" y="8376"/>
                    </a:lnTo>
                    <a:lnTo>
                      <a:pt x="153148" y="8993"/>
                    </a:lnTo>
                    <a:lnTo>
                      <a:pt x="149622" y="9610"/>
                    </a:lnTo>
                    <a:lnTo>
                      <a:pt x="149886" y="10139"/>
                    </a:lnTo>
                    <a:lnTo>
                      <a:pt x="149622" y="10757"/>
                    </a:lnTo>
                    <a:lnTo>
                      <a:pt x="147859" y="10139"/>
                    </a:lnTo>
                    <a:lnTo>
                      <a:pt x="146095" y="7847"/>
                    </a:lnTo>
                    <a:lnTo>
                      <a:pt x="144067" y="7847"/>
                    </a:lnTo>
                    <a:lnTo>
                      <a:pt x="144067" y="6701"/>
                    </a:lnTo>
                    <a:lnTo>
                      <a:pt x="144067" y="5819"/>
                    </a:lnTo>
                    <a:lnTo>
                      <a:pt x="144067" y="4673"/>
                    </a:lnTo>
                    <a:lnTo>
                      <a:pt x="144067" y="3527"/>
                    </a:lnTo>
                    <a:lnTo>
                      <a:pt x="142039" y="1499"/>
                    </a:lnTo>
                    <a:lnTo>
                      <a:pt x="141422" y="1763"/>
                    </a:lnTo>
                    <a:lnTo>
                      <a:pt x="140276" y="2028"/>
                    </a:lnTo>
                    <a:lnTo>
                      <a:pt x="138777" y="2028"/>
                    </a:lnTo>
                    <a:lnTo>
                      <a:pt x="135868" y="264"/>
                    </a:lnTo>
                    <a:lnTo>
                      <a:pt x="135339" y="0"/>
                    </a:lnTo>
                    <a:lnTo>
                      <a:pt x="132429" y="529"/>
                    </a:lnTo>
                    <a:lnTo>
                      <a:pt x="130666" y="1146"/>
                    </a:lnTo>
                    <a:lnTo>
                      <a:pt x="130401" y="2910"/>
                    </a:lnTo>
                    <a:lnTo>
                      <a:pt x="129255" y="3527"/>
                    </a:lnTo>
                    <a:lnTo>
                      <a:pt x="126962" y="4408"/>
                    </a:lnTo>
                    <a:lnTo>
                      <a:pt x="125816" y="6789"/>
                    </a:lnTo>
                    <a:lnTo>
                      <a:pt x="124670" y="7053"/>
                    </a:lnTo>
                    <a:lnTo>
                      <a:pt x="124935" y="9963"/>
                    </a:lnTo>
                    <a:lnTo>
                      <a:pt x="124053" y="11462"/>
                    </a:lnTo>
                    <a:lnTo>
                      <a:pt x="123788" y="12961"/>
                    </a:lnTo>
                    <a:lnTo>
                      <a:pt x="124935" y="14107"/>
                    </a:lnTo>
                    <a:lnTo>
                      <a:pt x="124935" y="15253"/>
                    </a:lnTo>
                    <a:lnTo>
                      <a:pt x="123788" y="15870"/>
                    </a:lnTo>
                    <a:lnTo>
                      <a:pt x="123788" y="18163"/>
                    </a:lnTo>
                    <a:lnTo>
                      <a:pt x="124670" y="18780"/>
                    </a:lnTo>
                    <a:lnTo>
                      <a:pt x="124935" y="19309"/>
                    </a:lnTo>
                    <a:lnTo>
                      <a:pt x="123788" y="18780"/>
                    </a:lnTo>
                    <a:lnTo>
                      <a:pt x="123788" y="21425"/>
                    </a:lnTo>
                    <a:lnTo>
                      <a:pt x="124935" y="21689"/>
                    </a:lnTo>
                    <a:lnTo>
                      <a:pt x="125816" y="21689"/>
                    </a:lnTo>
                    <a:lnTo>
                      <a:pt x="126698" y="21689"/>
                    </a:lnTo>
                    <a:lnTo>
                      <a:pt x="126433" y="22307"/>
                    </a:lnTo>
                    <a:lnTo>
                      <a:pt x="126169" y="22571"/>
                    </a:lnTo>
                    <a:lnTo>
                      <a:pt x="126786" y="23188"/>
                    </a:lnTo>
                    <a:lnTo>
                      <a:pt x="125023" y="22571"/>
                    </a:lnTo>
                    <a:lnTo>
                      <a:pt x="123877" y="21689"/>
                    </a:lnTo>
                    <a:lnTo>
                      <a:pt x="122995" y="21954"/>
                    </a:lnTo>
                    <a:lnTo>
                      <a:pt x="120703" y="23100"/>
                    </a:lnTo>
                    <a:lnTo>
                      <a:pt x="121232" y="25745"/>
                    </a:lnTo>
                    <a:lnTo>
                      <a:pt x="120350" y="26010"/>
                    </a:lnTo>
                    <a:lnTo>
                      <a:pt x="118058" y="28037"/>
                    </a:lnTo>
                    <a:lnTo>
                      <a:pt x="115148" y="29184"/>
                    </a:lnTo>
                    <a:lnTo>
                      <a:pt x="113385" y="29801"/>
                    </a:lnTo>
                    <a:lnTo>
                      <a:pt x="110739" y="30065"/>
                    </a:lnTo>
                    <a:lnTo>
                      <a:pt x="108359" y="30947"/>
                    </a:lnTo>
                    <a:lnTo>
                      <a:pt x="108095" y="30065"/>
                    </a:lnTo>
                    <a:lnTo>
                      <a:pt x="105449" y="30947"/>
                    </a:lnTo>
                    <a:lnTo>
                      <a:pt x="101658" y="31564"/>
                    </a:lnTo>
                    <a:lnTo>
                      <a:pt x="101306" y="33328"/>
                    </a:lnTo>
                    <a:lnTo>
                      <a:pt x="101306" y="33945"/>
                    </a:lnTo>
                    <a:lnTo>
                      <a:pt x="99542" y="35708"/>
                    </a:lnTo>
                    <a:lnTo>
                      <a:pt x="98131" y="35444"/>
                    </a:lnTo>
                    <a:lnTo>
                      <a:pt x="97514" y="35973"/>
                    </a:lnTo>
                    <a:lnTo>
                      <a:pt x="96368" y="37736"/>
                    </a:lnTo>
                    <a:lnTo>
                      <a:pt x="96368" y="39499"/>
                    </a:lnTo>
                    <a:lnTo>
                      <a:pt x="97514" y="40117"/>
                    </a:lnTo>
                    <a:lnTo>
                      <a:pt x="98131" y="40117"/>
                    </a:lnTo>
                    <a:lnTo>
                      <a:pt x="99542" y="39235"/>
                    </a:lnTo>
                    <a:lnTo>
                      <a:pt x="101923" y="40381"/>
                    </a:lnTo>
                    <a:lnTo>
                      <a:pt x="102804" y="39764"/>
                    </a:lnTo>
                    <a:lnTo>
                      <a:pt x="104215" y="40028"/>
                    </a:lnTo>
                    <a:lnTo>
                      <a:pt x="103598" y="40646"/>
                    </a:lnTo>
                    <a:lnTo>
                      <a:pt x="102716" y="40646"/>
                    </a:lnTo>
                    <a:lnTo>
                      <a:pt x="98043" y="41527"/>
                    </a:lnTo>
                    <a:lnTo>
                      <a:pt x="97426" y="41792"/>
                    </a:lnTo>
                    <a:lnTo>
                      <a:pt x="96280" y="42673"/>
                    </a:lnTo>
                    <a:lnTo>
                      <a:pt x="92753" y="40028"/>
                    </a:lnTo>
                    <a:lnTo>
                      <a:pt x="92753" y="40646"/>
                    </a:lnTo>
                    <a:lnTo>
                      <a:pt x="91872" y="43026"/>
                    </a:lnTo>
                    <a:lnTo>
                      <a:pt x="90373" y="42762"/>
                    </a:lnTo>
                    <a:lnTo>
                      <a:pt x="87463" y="42762"/>
                    </a:lnTo>
                    <a:lnTo>
                      <a:pt x="85171" y="43026"/>
                    </a:lnTo>
                    <a:lnTo>
                      <a:pt x="84289" y="40998"/>
                    </a:lnTo>
                    <a:lnTo>
                      <a:pt x="81909" y="40734"/>
                    </a:lnTo>
                    <a:lnTo>
                      <a:pt x="79264" y="40998"/>
                    </a:lnTo>
                    <a:lnTo>
                      <a:pt x="78646" y="39235"/>
                    </a:lnTo>
                    <a:lnTo>
                      <a:pt x="75120" y="39235"/>
                    </a:lnTo>
                    <a:lnTo>
                      <a:pt x="73356" y="39852"/>
                    </a:lnTo>
                    <a:lnTo>
                      <a:pt x="71328" y="39235"/>
                    </a:lnTo>
                    <a:lnTo>
                      <a:pt x="70711" y="38089"/>
                    </a:lnTo>
                    <a:lnTo>
                      <a:pt x="69565" y="36590"/>
                    </a:lnTo>
                    <a:lnTo>
                      <a:pt x="69565" y="33680"/>
                    </a:lnTo>
                    <a:lnTo>
                      <a:pt x="68154" y="34826"/>
                    </a:lnTo>
                    <a:lnTo>
                      <a:pt x="67273" y="33945"/>
                    </a:lnTo>
                    <a:lnTo>
                      <a:pt x="65245" y="33063"/>
                    </a:lnTo>
                    <a:lnTo>
                      <a:pt x="64363" y="35444"/>
                    </a:lnTo>
                    <a:lnTo>
                      <a:pt x="61189" y="35444"/>
                    </a:lnTo>
                    <a:lnTo>
                      <a:pt x="58279" y="34562"/>
                    </a:lnTo>
                    <a:lnTo>
                      <a:pt x="56251" y="36590"/>
                    </a:lnTo>
                    <a:lnTo>
                      <a:pt x="57398" y="37472"/>
                    </a:lnTo>
                    <a:lnTo>
                      <a:pt x="57133" y="38089"/>
                    </a:lnTo>
                    <a:lnTo>
                      <a:pt x="57133" y="38706"/>
                    </a:lnTo>
                    <a:lnTo>
                      <a:pt x="57133" y="39588"/>
                    </a:lnTo>
                    <a:lnTo>
                      <a:pt x="57133" y="40469"/>
                    </a:lnTo>
                    <a:lnTo>
                      <a:pt x="57398" y="42233"/>
                    </a:lnTo>
                    <a:lnTo>
                      <a:pt x="57662" y="43379"/>
                    </a:lnTo>
                    <a:lnTo>
                      <a:pt x="58279" y="43643"/>
                    </a:lnTo>
                    <a:lnTo>
                      <a:pt x="58896" y="43643"/>
                    </a:lnTo>
                    <a:lnTo>
                      <a:pt x="59778" y="44790"/>
                    </a:lnTo>
                    <a:lnTo>
                      <a:pt x="60924" y="46288"/>
                    </a:lnTo>
                    <a:lnTo>
                      <a:pt x="61806" y="47787"/>
                    </a:lnTo>
                    <a:lnTo>
                      <a:pt x="62071" y="48052"/>
                    </a:lnTo>
                    <a:lnTo>
                      <a:pt x="62071" y="49551"/>
                    </a:lnTo>
                    <a:lnTo>
                      <a:pt x="62688" y="49815"/>
                    </a:lnTo>
                    <a:lnTo>
                      <a:pt x="62688" y="50961"/>
                    </a:lnTo>
                    <a:lnTo>
                      <a:pt x="62423" y="51578"/>
                    </a:lnTo>
                    <a:lnTo>
                      <a:pt x="62688" y="52196"/>
                    </a:lnTo>
                    <a:lnTo>
                      <a:pt x="63569" y="51931"/>
                    </a:lnTo>
                    <a:lnTo>
                      <a:pt x="63834" y="52813"/>
                    </a:lnTo>
                    <a:lnTo>
                      <a:pt x="63569" y="53959"/>
                    </a:lnTo>
                    <a:lnTo>
                      <a:pt x="62952" y="54224"/>
                    </a:lnTo>
                    <a:lnTo>
                      <a:pt x="62688" y="54752"/>
                    </a:lnTo>
                    <a:lnTo>
                      <a:pt x="62952" y="55370"/>
                    </a:lnTo>
                    <a:lnTo>
                      <a:pt x="62688" y="56251"/>
                    </a:lnTo>
                    <a:lnTo>
                      <a:pt x="63569" y="56869"/>
                    </a:lnTo>
                    <a:lnTo>
                      <a:pt x="64716" y="56604"/>
                    </a:lnTo>
                    <a:lnTo>
                      <a:pt x="65333" y="56869"/>
                    </a:lnTo>
                    <a:lnTo>
                      <a:pt x="65068" y="58896"/>
                    </a:lnTo>
                    <a:lnTo>
                      <a:pt x="65686" y="59514"/>
                    </a:lnTo>
                    <a:lnTo>
                      <a:pt x="68066" y="59778"/>
                    </a:lnTo>
                    <a:lnTo>
                      <a:pt x="68683" y="60043"/>
                    </a:lnTo>
                    <a:lnTo>
                      <a:pt x="68683" y="60924"/>
                    </a:lnTo>
                    <a:lnTo>
                      <a:pt x="68066" y="61189"/>
                    </a:lnTo>
                    <a:lnTo>
                      <a:pt x="67184" y="60924"/>
                    </a:lnTo>
                    <a:lnTo>
                      <a:pt x="66038" y="61541"/>
                    </a:lnTo>
                    <a:lnTo>
                      <a:pt x="63129" y="60660"/>
                    </a:lnTo>
                    <a:lnTo>
                      <a:pt x="62864" y="60924"/>
                    </a:lnTo>
                    <a:lnTo>
                      <a:pt x="62864" y="61013"/>
                    </a:lnTo>
                    <a:lnTo>
                      <a:pt x="60484" y="61630"/>
                    </a:lnTo>
                    <a:lnTo>
                      <a:pt x="59073" y="61894"/>
                    </a:lnTo>
                    <a:lnTo>
                      <a:pt x="58191" y="60748"/>
                    </a:lnTo>
                    <a:lnTo>
                      <a:pt x="58720" y="59337"/>
                    </a:lnTo>
                    <a:lnTo>
                      <a:pt x="57838" y="58720"/>
                    </a:lnTo>
                    <a:lnTo>
                      <a:pt x="57221" y="58720"/>
                    </a:lnTo>
                    <a:lnTo>
                      <a:pt x="57221" y="59337"/>
                    </a:lnTo>
                    <a:lnTo>
                      <a:pt x="55458" y="59337"/>
                    </a:lnTo>
                    <a:lnTo>
                      <a:pt x="55193" y="59337"/>
                    </a:lnTo>
                    <a:lnTo>
                      <a:pt x="55193" y="59955"/>
                    </a:lnTo>
                    <a:lnTo>
                      <a:pt x="55458" y="60219"/>
                    </a:lnTo>
                    <a:lnTo>
                      <a:pt x="55193" y="60836"/>
                    </a:lnTo>
                    <a:lnTo>
                      <a:pt x="53695" y="60836"/>
                    </a:lnTo>
                    <a:lnTo>
                      <a:pt x="53078" y="60836"/>
                    </a:lnTo>
                    <a:lnTo>
                      <a:pt x="53078" y="61013"/>
                    </a:lnTo>
                    <a:lnTo>
                      <a:pt x="52460" y="61630"/>
                    </a:lnTo>
                    <a:lnTo>
                      <a:pt x="51579" y="61630"/>
                    </a:lnTo>
                    <a:lnTo>
                      <a:pt x="51314" y="61013"/>
                    </a:lnTo>
                    <a:lnTo>
                      <a:pt x="51050" y="61277"/>
                    </a:lnTo>
                    <a:lnTo>
                      <a:pt x="51314" y="60660"/>
                    </a:lnTo>
                    <a:lnTo>
                      <a:pt x="49815" y="60395"/>
                    </a:lnTo>
                    <a:lnTo>
                      <a:pt x="49198" y="59866"/>
                    </a:lnTo>
                    <a:lnTo>
                      <a:pt x="48581" y="59866"/>
                    </a:lnTo>
                    <a:lnTo>
                      <a:pt x="47964" y="60748"/>
                    </a:lnTo>
                    <a:lnTo>
                      <a:pt x="47435" y="60748"/>
                    </a:lnTo>
                    <a:lnTo>
                      <a:pt x="46288" y="60748"/>
                    </a:lnTo>
                    <a:lnTo>
                      <a:pt x="46288" y="61013"/>
                    </a:lnTo>
                    <a:lnTo>
                      <a:pt x="46024" y="61630"/>
                    </a:lnTo>
                    <a:lnTo>
                      <a:pt x="46288" y="61894"/>
                    </a:lnTo>
                    <a:lnTo>
                      <a:pt x="43996" y="63040"/>
                    </a:lnTo>
                    <a:lnTo>
                      <a:pt x="42233" y="63040"/>
                    </a:lnTo>
                    <a:lnTo>
                      <a:pt x="41968" y="63305"/>
                    </a:lnTo>
                    <a:lnTo>
                      <a:pt x="41704" y="63040"/>
                    </a:lnTo>
                    <a:lnTo>
                      <a:pt x="41704" y="62423"/>
                    </a:lnTo>
                    <a:lnTo>
                      <a:pt x="42321" y="62159"/>
                    </a:lnTo>
                    <a:lnTo>
                      <a:pt x="41439" y="61894"/>
                    </a:lnTo>
                    <a:lnTo>
                      <a:pt x="40029" y="61894"/>
                    </a:lnTo>
                    <a:lnTo>
                      <a:pt x="40293" y="60748"/>
                    </a:lnTo>
                    <a:lnTo>
                      <a:pt x="39411" y="58985"/>
                    </a:lnTo>
                    <a:lnTo>
                      <a:pt x="37913" y="58103"/>
                    </a:lnTo>
                    <a:lnTo>
                      <a:pt x="36414" y="58103"/>
                    </a:lnTo>
                    <a:lnTo>
                      <a:pt x="35532" y="56957"/>
                    </a:lnTo>
                    <a:lnTo>
                      <a:pt x="36149" y="57574"/>
                    </a:lnTo>
                    <a:lnTo>
                      <a:pt x="36414" y="57574"/>
                    </a:lnTo>
                    <a:lnTo>
                      <a:pt x="36149" y="56957"/>
                    </a:lnTo>
                    <a:lnTo>
                      <a:pt x="34121" y="56340"/>
                    </a:lnTo>
                    <a:lnTo>
                      <a:pt x="33857" y="55722"/>
                    </a:lnTo>
                    <a:lnTo>
                      <a:pt x="32710" y="55722"/>
                    </a:lnTo>
                    <a:lnTo>
                      <a:pt x="30947" y="55987"/>
                    </a:lnTo>
                    <a:lnTo>
                      <a:pt x="29184" y="56869"/>
                    </a:lnTo>
                    <a:lnTo>
                      <a:pt x="28567" y="56869"/>
                    </a:lnTo>
                    <a:lnTo>
                      <a:pt x="27421" y="56869"/>
                    </a:lnTo>
                    <a:lnTo>
                      <a:pt x="27685" y="56251"/>
                    </a:lnTo>
                    <a:lnTo>
                      <a:pt x="27685" y="55987"/>
                    </a:lnTo>
                    <a:lnTo>
                      <a:pt x="27421" y="56251"/>
                    </a:lnTo>
                    <a:lnTo>
                      <a:pt x="26803" y="55987"/>
                    </a:lnTo>
                    <a:lnTo>
                      <a:pt x="25657" y="56604"/>
                    </a:lnTo>
                    <a:lnTo>
                      <a:pt x="25393" y="57486"/>
                    </a:lnTo>
                    <a:lnTo>
                      <a:pt x="25393" y="58103"/>
                    </a:lnTo>
                    <a:lnTo>
                      <a:pt x="26539" y="58103"/>
                    </a:lnTo>
                    <a:lnTo>
                      <a:pt x="26803" y="58720"/>
                    </a:lnTo>
                    <a:lnTo>
                      <a:pt x="21866" y="57838"/>
                    </a:lnTo>
                    <a:lnTo>
                      <a:pt x="18956" y="57838"/>
                    </a:lnTo>
                    <a:lnTo>
                      <a:pt x="16928" y="57838"/>
                    </a:lnTo>
                    <a:lnTo>
                      <a:pt x="15429" y="56957"/>
                    </a:lnTo>
                    <a:lnTo>
                      <a:pt x="12256" y="57221"/>
                    </a:lnTo>
                    <a:lnTo>
                      <a:pt x="8200" y="58103"/>
                    </a:lnTo>
                    <a:lnTo>
                      <a:pt x="4144" y="59249"/>
                    </a:lnTo>
                    <a:lnTo>
                      <a:pt x="1499" y="60131"/>
                    </a:lnTo>
                    <a:lnTo>
                      <a:pt x="353" y="61894"/>
                    </a:lnTo>
                    <a:lnTo>
                      <a:pt x="617" y="63922"/>
                    </a:lnTo>
                    <a:lnTo>
                      <a:pt x="0" y="65421"/>
                    </a:lnTo>
                    <a:lnTo>
                      <a:pt x="1146" y="67184"/>
                    </a:lnTo>
                    <a:lnTo>
                      <a:pt x="5555" y="68330"/>
                    </a:lnTo>
                    <a:lnTo>
                      <a:pt x="8464" y="70623"/>
                    </a:lnTo>
                    <a:lnTo>
                      <a:pt x="4673" y="72386"/>
                    </a:lnTo>
                    <a:lnTo>
                      <a:pt x="3527" y="73532"/>
                    </a:lnTo>
                    <a:lnTo>
                      <a:pt x="5907" y="74061"/>
                    </a:lnTo>
                    <a:lnTo>
                      <a:pt x="8552" y="76089"/>
                    </a:lnTo>
                    <a:lnTo>
                      <a:pt x="12608" y="77235"/>
                    </a:lnTo>
                    <a:lnTo>
                      <a:pt x="15253" y="77500"/>
                    </a:lnTo>
                    <a:lnTo>
                      <a:pt x="19309" y="79792"/>
                    </a:lnTo>
                    <a:lnTo>
                      <a:pt x="21689" y="79792"/>
                    </a:lnTo>
                    <a:lnTo>
                      <a:pt x="22836" y="79792"/>
                    </a:lnTo>
                    <a:lnTo>
                      <a:pt x="26363" y="80674"/>
                    </a:lnTo>
                    <a:lnTo>
                      <a:pt x="26627" y="81291"/>
                    </a:lnTo>
                    <a:lnTo>
                      <a:pt x="26627" y="79792"/>
                    </a:lnTo>
                    <a:lnTo>
                      <a:pt x="27244" y="80410"/>
                    </a:lnTo>
                    <a:lnTo>
                      <a:pt x="28743" y="80674"/>
                    </a:lnTo>
                    <a:lnTo>
                      <a:pt x="30242" y="80674"/>
                    </a:lnTo>
                    <a:lnTo>
                      <a:pt x="31388" y="81291"/>
                    </a:lnTo>
                    <a:lnTo>
                      <a:pt x="32270" y="82173"/>
                    </a:lnTo>
                    <a:lnTo>
                      <a:pt x="32534" y="83936"/>
                    </a:lnTo>
                    <a:lnTo>
                      <a:pt x="32799" y="84553"/>
                    </a:lnTo>
                    <a:lnTo>
                      <a:pt x="32799" y="85700"/>
                    </a:lnTo>
                    <a:lnTo>
                      <a:pt x="32534" y="86317"/>
                    </a:lnTo>
                    <a:lnTo>
                      <a:pt x="31917" y="87816"/>
                    </a:lnTo>
                    <a:lnTo>
                      <a:pt x="32181" y="90196"/>
                    </a:lnTo>
                    <a:lnTo>
                      <a:pt x="33063" y="89932"/>
                    </a:lnTo>
                    <a:lnTo>
                      <a:pt x="33945" y="89050"/>
                    </a:lnTo>
                    <a:lnTo>
                      <a:pt x="33945" y="87904"/>
                    </a:lnTo>
                    <a:lnTo>
                      <a:pt x="33945" y="86405"/>
                    </a:lnTo>
                    <a:lnTo>
                      <a:pt x="35708" y="86405"/>
                    </a:lnTo>
                    <a:lnTo>
                      <a:pt x="36325" y="86405"/>
                    </a:lnTo>
                    <a:lnTo>
                      <a:pt x="37472" y="86670"/>
                    </a:lnTo>
                    <a:lnTo>
                      <a:pt x="37736" y="85788"/>
                    </a:lnTo>
                    <a:lnTo>
                      <a:pt x="38001" y="86405"/>
                    </a:lnTo>
                    <a:lnTo>
                      <a:pt x="38001" y="86141"/>
                    </a:lnTo>
                    <a:lnTo>
                      <a:pt x="39500" y="84994"/>
                    </a:lnTo>
                    <a:lnTo>
                      <a:pt x="40117" y="85611"/>
                    </a:lnTo>
                    <a:lnTo>
                      <a:pt x="41880" y="85876"/>
                    </a:lnTo>
                    <a:lnTo>
                      <a:pt x="42144" y="86141"/>
                    </a:lnTo>
                    <a:lnTo>
                      <a:pt x="42144" y="86405"/>
                    </a:lnTo>
                    <a:lnTo>
                      <a:pt x="41527" y="86405"/>
                    </a:lnTo>
                    <a:lnTo>
                      <a:pt x="40646" y="86670"/>
                    </a:lnTo>
                    <a:lnTo>
                      <a:pt x="39764" y="86405"/>
                    </a:lnTo>
                    <a:lnTo>
                      <a:pt x="38882" y="87022"/>
                    </a:lnTo>
                    <a:lnTo>
                      <a:pt x="38001" y="87022"/>
                    </a:lnTo>
                    <a:lnTo>
                      <a:pt x="37736" y="87287"/>
                    </a:lnTo>
                    <a:lnTo>
                      <a:pt x="38001" y="87904"/>
                    </a:lnTo>
                    <a:lnTo>
                      <a:pt x="38265" y="87904"/>
                    </a:lnTo>
                    <a:lnTo>
                      <a:pt x="39411" y="88168"/>
                    </a:lnTo>
                    <a:lnTo>
                      <a:pt x="42056" y="87904"/>
                    </a:lnTo>
                    <a:lnTo>
                      <a:pt x="42056" y="87287"/>
                    </a:lnTo>
                    <a:lnTo>
                      <a:pt x="42321" y="87022"/>
                    </a:lnTo>
                    <a:lnTo>
                      <a:pt x="43467" y="87904"/>
                    </a:lnTo>
                    <a:lnTo>
                      <a:pt x="46112" y="87287"/>
                    </a:lnTo>
                    <a:lnTo>
                      <a:pt x="47611" y="87904"/>
                    </a:lnTo>
                    <a:lnTo>
                      <a:pt x="46994" y="87904"/>
                    </a:lnTo>
                    <a:lnTo>
                      <a:pt x="46112" y="87904"/>
                    </a:lnTo>
                    <a:lnTo>
                      <a:pt x="46377" y="88785"/>
                    </a:lnTo>
                    <a:lnTo>
                      <a:pt x="46112" y="89050"/>
                    </a:lnTo>
                    <a:lnTo>
                      <a:pt x="46112" y="89667"/>
                    </a:lnTo>
                    <a:lnTo>
                      <a:pt x="46994" y="89932"/>
                    </a:lnTo>
                    <a:lnTo>
                      <a:pt x="47258" y="89667"/>
                    </a:lnTo>
                    <a:lnTo>
                      <a:pt x="47258" y="89932"/>
                    </a:lnTo>
                    <a:lnTo>
                      <a:pt x="47258" y="90549"/>
                    </a:lnTo>
                    <a:lnTo>
                      <a:pt x="47523" y="90549"/>
                    </a:lnTo>
                    <a:lnTo>
                      <a:pt x="47787" y="90813"/>
                    </a:lnTo>
                    <a:lnTo>
                      <a:pt x="47523" y="91078"/>
                    </a:lnTo>
                    <a:lnTo>
                      <a:pt x="46024" y="90813"/>
                    </a:lnTo>
                    <a:lnTo>
                      <a:pt x="45407" y="91078"/>
                    </a:lnTo>
                    <a:lnTo>
                      <a:pt x="44525" y="91342"/>
                    </a:lnTo>
                    <a:lnTo>
                      <a:pt x="44261" y="92224"/>
                    </a:lnTo>
                    <a:lnTo>
                      <a:pt x="44878" y="92841"/>
                    </a:lnTo>
                    <a:lnTo>
                      <a:pt x="46024" y="92224"/>
                    </a:lnTo>
                    <a:lnTo>
                      <a:pt x="46288" y="92841"/>
                    </a:lnTo>
                    <a:lnTo>
                      <a:pt x="45671" y="94340"/>
                    </a:lnTo>
                    <a:lnTo>
                      <a:pt x="46817" y="94605"/>
                    </a:lnTo>
                    <a:lnTo>
                      <a:pt x="47435" y="94605"/>
                    </a:lnTo>
                    <a:lnTo>
                      <a:pt x="47435" y="94340"/>
                    </a:lnTo>
                    <a:lnTo>
                      <a:pt x="47699" y="94340"/>
                    </a:lnTo>
                    <a:lnTo>
                      <a:pt x="49198" y="95222"/>
                    </a:lnTo>
                    <a:lnTo>
                      <a:pt x="50961" y="94340"/>
                    </a:lnTo>
                    <a:lnTo>
                      <a:pt x="52725" y="93458"/>
                    </a:lnTo>
                    <a:lnTo>
                      <a:pt x="54752" y="93458"/>
                    </a:lnTo>
                    <a:lnTo>
                      <a:pt x="57045" y="94340"/>
                    </a:lnTo>
                    <a:lnTo>
                      <a:pt x="59426" y="95222"/>
                    </a:lnTo>
                    <a:lnTo>
                      <a:pt x="60043" y="95751"/>
                    </a:lnTo>
                    <a:lnTo>
                      <a:pt x="60043" y="96632"/>
                    </a:lnTo>
                    <a:lnTo>
                      <a:pt x="57662" y="95751"/>
                    </a:lnTo>
                    <a:lnTo>
                      <a:pt x="56516" y="94869"/>
                    </a:lnTo>
                    <a:lnTo>
                      <a:pt x="54752" y="95486"/>
                    </a:lnTo>
                    <a:lnTo>
                      <a:pt x="53871" y="95222"/>
                    </a:lnTo>
                    <a:lnTo>
                      <a:pt x="53254" y="94605"/>
                    </a:lnTo>
                    <a:lnTo>
                      <a:pt x="52108" y="94869"/>
                    </a:lnTo>
                    <a:lnTo>
                      <a:pt x="51490" y="95751"/>
                    </a:lnTo>
                    <a:lnTo>
                      <a:pt x="50609" y="96015"/>
                    </a:lnTo>
                    <a:lnTo>
                      <a:pt x="50609" y="97162"/>
                    </a:lnTo>
                    <a:lnTo>
                      <a:pt x="50961" y="97779"/>
                    </a:lnTo>
                    <a:lnTo>
                      <a:pt x="52989" y="98043"/>
                    </a:lnTo>
                    <a:lnTo>
                      <a:pt x="54400" y="98925"/>
                    </a:lnTo>
                    <a:lnTo>
                      <a:pt x="54752" y="99189"/>
                    </a:lnTo>
                    <a:lnTo>
                      <a:pt x="54752" y="99454"/>
                    </a:lnTo>
                    <a:lnTo>
                      <a:pt x="54752" y="100071"/>
                    </a:lnTo>
                    <a:lnTo>
                      <a:pt x="54752" y="100953"/>
                    </a:lnTo>
                    <a:lnTo>
                      <a:pt x="54752" y="101217"/>
                    </a:lnTo>
                    <a:lnTo>
                      <a:pt x="53254" y="101482"/>
                    </a:lnTo>
                    <a:lnTo>
                      <a:pt x="52989" y="101746"/>
                    </a:lnTo>
                    <a:lnTo>
                      <a:pt x="53254" y="102011"/>
                    </a:lnTo>
                    <a:lnTo>
                      <a:pt x="52989" y="102540"/>
                    </a:lnTo>
                    <a:lnTo>
                      <a:pt x="52725" y="102540"/>
                    </a:lnTo>
                    <a:lnTo>
                      <a:pt x="52460" y="102804"/>
                    </a:lnTo>
                    <a:lnTo>
                      <a:pt x="52725" y="103950"/>
                    </a:lnTo>
                    <a:lnTo>
                      <a:pt x="54488" y="104832"/>
                    </a:lnTo>
                    <a:lnTo>
                      <a:pt x="54841" y="105449"/>
                    </a:lnTo>
                    <a:lnTo>
                      <a:pt x="54488" y="106331"/>
                    </a:lnTo>
                    <a:lnTo>
                      <a:pt x="54841" y="107213"/>
                    </a:lnTo>
                    <a:lnTo>
                      <a:pt x="55105" y="107830"/>
                    </a:lnTo>
                    <a:lnTo>
                      <a:pt x="55987" y="107565"/>
                    </a:lnTo>
                    <a:lnTo>
                      <a:pt x="56251" y="107830"/>
                    </a:lnTo>
                    <a:lnTo>
                      <a:pt x="56251" y="108712"/>
                    </a:lnTo>
                    <a:lnTo>
                      <a:pt x="58015" y="109858"/>
                    </a:lnTo>
                    <a:lnTo>
                      <a:pt x="57750" y="111886"/>
                    </a:lnTo>
                    <a:lnTo>
                      <a:pt x="58367" y="113032"/>
                    </a:lnTo>
                    <a:lnTo>
                      <a:pt x="58632" y="113649"/>
                    </a:lnTo>
                    <a:lnTo>
                      <a:pt x="60131" y="113649"/>
                    </a:lnTo>
                    <a:lnTo>
                      <a:pt x="61013" y="114266"/>
                    </a:lnTo>
                    <a:lnTo>
                      <a:pt x="61630" y="114266"/>
                    </a:lnTo>
                    <a:lnTo>
                      <a:pt x="62247" y="114266"/>
                    </a:lnTo>
                    <a:lnTo>
                      <a:pt x="62247" y="114531"/>
                    </a:lnTo>
                    <a:lnTo>
                      <a:pt x="62247" y="114795"/>
                    </a:lnTo>
                    <a:lnTo>
                      <a:pt x="63393" y="114795"/>
                    </a:lnTo>
                    <a:lnTo>
                      <a:pt x="64275" y="115060"/>
                    </a:lnTo>
                    <a:lnTo>
                      <a:pt x="65157" y="114795"/>
                    </a:lnTo>
                    <a:lnTo>
                      <a:pt x="65421" y="115060"/>
                    </a:lnTo>
                    <a:lnTo>
                      <a:pt x="65157" y="115677"/>
                    </a:lnTo>
                    <a:lnTo>
                      <a:pt x="65421" y="115941"/>
                    </a:lnTo>
                    <a:lnTo>
                      <a:pt x="66567" y="116823"/>
                    </a:lnTo>
                    <a:lnTo>
                      <a:pt x="68330" y="116823"/>
                    </a:lnTo>
                    <a:lnTo>
                      <a:pt x="69212" y="117705"/>
                    </a:lnTo>
                    <a:lnTo>
                      <a:pt x="70358" y="117969"/>
                    </a:lnTo>
                    <a:lnTo>
                      <a:pt x="70976" y="117088"/>
                    </a:lnTo>
                    <a:lnTo>
                      <a:pt x="71240" y="117088"/>
                    </a:lnTo>
                    <a:lnTo>
                      <a:pt x="70976" y="116823"/>
                    </a:lnTo>
                    <a:lnTo>
                      <a:pt x="71857" y="116559"/>
                    </a:lnTo>
                    <a:lnTo>
                      <a:pt x="72739" y="117176"/>
                    </a:lnTo>
                    <a:lnTo>
                      <a:pt x="73003" y="117705"/>
                    </a:lnTo>
                    <a:lnTo>
                      <a:pt x="72739" y="118586"/>
                    </a:lnTo>
                    <a:lnTo>
                      <a:pt x="71857" y="118586"/>
                    </a:lnTo>
                    <a:lnTo>
                      <a:pt x="70976" y="119204"/>
                    </a:lnTo>
                    <a:lnTo>
                      <a:pt x="70976" y="120614"/>
                    </a:lnTo>
                    <a:lnTo>
                      <a:pt x="70976" y="120879"/>
                    </a:lnTo>
                    <a:lnTo>
                      <a:pt x="70976" y="121496"/>
                    </a:lnTo>
                    <a:lnTo>
                      <a:pt x="71593" y="121761"/>
                    </a:lnTo>
                    <a:lnTo>
                      <a:pt x="71857" y="121496"/>
                    </a:lnTo>
                    <a:lnTo>
                      <a:pt x="72739" y="121761"/>
                    </a:lnTo>
                    <a:lnTo>
                      <a:pt x="71857" y="122025"/>
                    </a:lnTo>
                    <a:lnTo>
                      <a:pt x="71593" y="122554"/>
                    </a:lnTo>
                    <a:lnTo>
                      <a:pt x="72122" y="122554"/>
                    </a:lnTo>
                    <a:lnTo>
                      <a:pt x="72739" y="122025"/>
                    </a:lnTo>
                    <a:lnTo>
                      <a:pt x="73356" y="122554"/>
                    </a:lnTo>
                    <a:lnTo>
                      <a:pt x="72739" y="123171"/>
                    </a:lnTo>
                    <a:lnTo>
                      <a:pt x="73356" y="123171"/>
                    </a:lnTo>
                    <a:lnTo>
                      <a:pt x="73621" y="123788"/>
                    </a:lnTo>
                    <a:lnTo>
                      <a:pt x="73621" y="124053"/>
                    </a:lnTo>
                    <a:lnTo>
                      <a:pt x="73003" y="124053"/>
                    </a:lnTo>
                    <a:lnTo>
                      <a:pt x="72739" y="123436"/>
                    </a:lnTo>
                    <a:lnTo>
                      <a:pt x="72474" y="124053"/>
                    </a:lnTo>
                    <a:lnTo>
                      <a:pt x="72739" y="124670"/>
                    </a:lnTo>
                    <a:lnTo>
                      <a:pt x="72474" y="125199"/>
                    </a:lnTo>
                    <a:lnTo>
                      <a:pt x="72739" y="125816"/>
                    </a:lnTo>
                    <a:lnTo>
                      <a:pt x="73003" y="126433"/>
                    </a:lnTo>
                    <a:lnTo>
                      <a:pt x="72739" y="127315"/>
                    </a:lnTo>
                    <a:lnTo>
                      <a:pt x="73003" y="127580"/>
                    </a:lnTo>
                    <a:lnTo>
                      <a:pt x="72739" y="127844"/>
                    </a:lnTo>
                    <a:lnTo>
                      <a:pt x="72474" y="127844"/>
                    </a:lnTo>
                    <a:lnTo>
                      <a:pt x="71945" y="127580"/>
                    </a:lnTo>
                    <a:lnTo>
                      <a:pt x="71328" y="127580"/>
                    </a:lnTo>
                    <a:lnTo>
                      <a:pt x="71064" y="127844"/>
                    </a:lnTo>
                    <a:lnTo>
                      <a:pt x="72827" y="129607"/>
                    </a:lnTo>
                    <a:lnTo>
                      <a:pt x="73973" y="130489"/>
                    </a:lnTo>
                    <a:lnTo>
                      <a:pt x="73973" y="131371"/>
                    </a:lnTo>
                    <a:lnTo>
                      <a:pt x="72827" y="130754"/>
                    </a:lnTo>
                    <a:lnTo>
                      <a:pt x="71064" y="129607"/>
                    </a:lnTo>
                    <a:lnTo>
                      <a:pt x="69917" y="129607"/>
                    </a:lnTo>
                    <a:lnTo>
                      <a:pt x="69036" y="131371"/>
                    </a:lnTo>
                    <a:lnTo>
                      <a:pt x="69917" y="132253"/>
                    </a:lnTo>
                    <a:lnTo>
                      <a:pt x="70182" y="132870"/>
                    </a:lnTo>
                    <a:lnTo>
                      <a:pt x="71064" y="132253"/>
                    </a:lnTo>
                    <a:lnTo>
                      <a:pt x="73973" y="134016"/>
                    </a:lnTo>
                    <a:lnTo>
                      <a:pt x="75737" y="135515"/>
                    </a:lnTo>
                    <a:lnTo>
                      <a:pt x="75737" y="136044"/>
                    </a:lnTo>
                    <a:lnTo>
                      <a:pt x="78646" y="137807"/>
                    </a:lnTo>
                    <a:lnTo>
                      <a:pt x="80674" y="140452"/>
                    </a:lnTo>
                    <a:lnTo>
                      <a:pt x="81556" y="142745"/>
                    </a:lnTo>
                    <a:lnTo>
                      <a:pt x="81820" y="145919"/>
                    </a:lnTo>
                    <a:lnTo>
                      <a:pt x="82702" y="146536"/>
                    </a:lnTo>
                    <a:lnTo>
                      <a:pt x="82702" y="147682"/>
                    </a:lnTo>
                    <a:lnTo>
                      <a:pt x="82702" y="147947"/>
                    </a:lnTo>
                    <a:lnTo>
                      <a:pt x="82702" y="148476"/>
                    </a:lnTo>
                    <a:lnTo>
                      <a:pt x="84465" y="149622"/>
                    </a:lnTo>
                    <a:lnTo>
                      <a:pt x="84201" y="151121"/>
                    </a:lnTo>
                    <a:lnTo>
                      <a:pt x="84465" y="152002"/>
                    </a:lnTo>
                    <a:lnTo>
                      <a:pt x="83319" y="151385"/>
                    </a:lnTo>
                    <a:lnTo>
                      <a:pt x="83319" y="149622"/>
                    </a:lnTo>
                    <a:lnTo>
                      <a:pt x="81820" y="148211"/>
                    </a:lnTo>
                    <a:lnTo>
                      <a:pt x="80674" y="146448"/>
                    </a:lnTo>
                    <a:lnTo>
                      <a:pt x="81027" y="143538"/>
                    </a:lnTo>
                    <a:lnTo>
                      <a:pt x="78999" y="140893"/>
                    </a:lnTo>
                    <a:lnTo>
                      <a:pt x="78734" y="140276"/>
                    </a:lnTo>
                    <a:lnTo>
                      <a:pt x="76971" y="139394"/>
                    </a:lnTo>
                    <a:lnTo>
                      <a:pt x="75825" y="138512"/>
                    </a:lnTo>
                    <a:lnTo>
                      <a:pt x="74679" y="137366"/>
                    </a:lnTo>
                    <a:lnTo>
                      <a:pt x="74061" y="137631"/>
                    </a:lnTo>
                    <a:lnTo>
                      <a:pt x="74061" y="136485"/>
                    </a:lnTo>
                    <a:lnTo>
                      <a:pt x="74061" y="135868"/>
                    </a:lnTo>
                    <a:lnTo>
                      <a:pt x="72915" y="135338"/>
                    </a:lnTo>
                    <a:lnTo>
                      <a:pt x="72915" y="135868"/>
                    </a:lnTo>
                    <a:lnTo>
                      <a:pt x="71769" y="136132"/>
                    </a:lnTo>
                    <a:lnTo>
                      <a:pt x="71152" y="137631"/>
                    </a:lnTo>
                    <a:lnTo>
                      <a:pt x="70799" y="143450"/>
                    </a:lnTo>
                    <a:lnTo>
                      <a:pt x="71416" y="146095"/>
                    </a:lnTo>
                    <a:lnTo>
                      <a:pt x="70270" y="154824"/>
                    </a:lnTo>
                    <a:lnTo>
                      <a:pt x="69653" y="155705"/>
                    </a:lnTo>
                    <a:lnTo>
                      <a:pt x="69653" y="156851"/>
                    </a:lnTo>
                    <a:lnTo>
                      <a:pt x="70799" y="155088"/>
                    </a:lnTo>
                    <a:lnTo>
                      <a:pt x="72563" y="156234"/>
                    </a:lnTo>
                    <a:lnTo>
                      <a:pt x="73444" y="156851"/>
                    </a:lnTo>
                    <a:lnTo>
                      <a:pt x="73709" y="157469"/>
                    </a:lnTo>
                    <a:lnTo>
                      <a:pt x="72827" y="158350"/>
                    </a:lnTo>
                    <a:lnTo>
                      <a:pt x="70799" y="157469"/>
                    </a:lnTo>
                    <a:lnTo>
                      <a:pt x="69653" y="160114"/>
                    </a:lnTo>
                    <a:lnTo>
                      <a:pt x="69653" y="160731"/>
                    </a:lnTo>
                    <a:lnTo>
                      <a:pt x="67890" y="166815"/>
                    </a:lnTo>
                    <a:lnTo>
                      <a:pt x="68154" y="171752"/>
                    </a:lnTo>
                    <a:lnTo>
                      <a:pt x="68771" y="172634"/>
                    </a:lnTo>
                    <a:lnTo>
                      <a:pt x="68154" y="174926"/>
                    </a:lnTo>
                    <a:lnTo>
                      <a:pt x="68419" y="176072"/>
                    </a:lnTo>
                    <a:lnTo>
                      <a:pt x="68419" y="179599"/>
                    </a:lnTo>
                    <a:lnTo>
                      <a:pt x="67802" y="181010"/>
                    </a:lnTo>
                    <a:lnTo>
                      <a:pt x="65774" y="185418"/>
                    </a:lnTo>
                    <a:lnTo>
                      <a:pt x="64628" y="186300"/>
                    </a:lnTo>
                    <a:lnTo>
                      <a:pt x="63217" y="187181"/>
                    </a:lnTo>
                    <a:lnTo>
                      <a:pt x="61718" y="187181"/>
                    </a:lnTo>
                    <a:lnTo>
                      <a:pt x="59955" y="188328"/>
                    </a:lnTo>
                    <a:lnTo>
                      <a:pt x="60572" y="189474"/>
                    </a:lnTo>
                    <a:lnTo>
                      <a:pt x="61718" y="189738"/>
                    </a:lnTo>
                    <a:lnTo>
                      <a:pt x="64099" y="190620"/>
                    </a:lnTo>
                    <a:lnTo>
                      <a:pt x="64099" y="190003"/>
                    </a:lnTo>
                    <a:lnTo>
                      <a:pt x="66391" y="190620"/>
                    </a:lnTo>
                    <a:lnTo>
                      <a:pt x="67890" y="193794"/>
                    </a:lnTo>
                    <a:lnTo>
                      <a:pt x="64716" y="195822"/>
                    </a:lnTo>
                    <a:lnTo>
                      <a:pt x="66479" y="196968"/>
                    </a:lnTo>
                    <a:lnTo>
                      <a:pt x="67361" y="196704"/>
                    </a:lnTo>
                    <a:lnTo>
                      <a:pt x="67978" y="194940"/>
                    </a:lnTo>
                    <a:lnTo>
                      <a:pt x="69477" y="195557"/>
                    </a:lnTo>
                    <a:lnTo>
                      <a:pt x="69741" y="197056"/>
                    </a:lnTo>
                    <a:lnTo>
                      <a:pt x="72651" y="197673"/>
                    </a:lnTo>
                    <a:lnTo>
                      <a:pt x="75560" y="199084"/>
                    </a:lnTo>
                    <a:lnTo>
                      <a:pt x="79087" y="199084"/>
                    </a:lnTo>
                    <a:lnTo>
                      <a:pt x="80586" y="199084"/>
                    </a:lnTo>
                    <a:lnTo>
                      <a:pt x="80851" y="200230"/>
                    </a:lnTo>
                    <a:lnTo>
                      <a:pt x="82878" y="200848"/>
                    </a:lnTo>
                    <a:lnTo>
                      <a:pt x="83760" y="201994"/>
                    </a:lnTo>
                    <a:lnTo>
                      <a:pt x="84377" y="201994"/>
                    </a:lnTo>
                    <a:lnTo>
                      <a:pt x="84994" y="202523"/>
                    </a:lnTo>
                    <a:lnTo>
                      <a:pt x="85611" y="201994"/>
                    </a:lnTo>
                    <a:lnTo>
                      <a:pt x="86758" y="202875"/>
                    </a:lnTo>
                    <a:lnTo>
                      <a:pt x="88168" y="201377"/>
                    </a:lnTo>
                    <a:lnTo>
                      <a:pt x="89932" y="201994"/>
                    </a:lnTo>
                    <a:lnTo>
                      <a:pt x="91960" y="201994"/>
                    </a:lnTo>
                    <a:lnTo>
                      <a:pt x="92577" y="204639"/>
                    </a:lnTo>
                    <a:lnTo>
                      <a:pt x="93723" y="204903"/>
                    </a:lnTo>
                    <a:lnTo>
                      <a:pt x="96632" y="204639"/>
                    </a:lnTo>
                    <a:lnTo>
                      <a:pt x="98660" y="204022"/>
                    </a:lnTo>
                    <a:lnTo>
                      <a:pt x="100424" y="204286"/>
                    </a:lnTo>
                    <a:lnTo>
                      <a:pt x="101041" y="205168"/>
                    </a:lnTo>
                    <a:lnTo>
                      <a:pt x="102187" y="204903"/>
                    </a:lnTo>
                    <a:lnTo>
                      <a:pt x="103333" y="204022"/>
                    </a:lnTo>
                    <a:lnTo>
                      <a:pt x="103598" y="204286"/>
                    </a:lnTo>
                    <a:lnTo>
                      <a:pt x="108006" y="204286"/>
                    </a:lnTo>
                    <a:lnTo>
                      <a:pt x="108624" y="203140"/>
                    </a:lnTo>
                    <a:lnTo>
                      <a:pt x="108624" y="201377"/>
                    </a:lnTo>
                    <a:lnTo>
                      <a:pt x="109241" y="200759"/>
                    </a:lnTo>
                    <a:lnTo>
                      <a:pt x="111621" y="201377"/>
                    </a:lnTo>
                    <a:lnTo>
                      <a:pt x="112238" y="201994"/>
                    </a:lnTo>
                    <a:lnTo>
                      <a:pt x="114619" y="202875"/>
                    </a:lnTo>
                    <a:lnTo>
                      <a:pt x="116911" y="202875"/>
                    </a:lnTo>
                    <a:lnTo>
                      <a:pt x="117793" y="203757"/>
                    </a:lnTo>
                    <a:lnTo>
                      <a:pt x="118058" y="204639"/>
                    </a:lnTo>
                    <a:lnTo>
                      <a:pt x="119821" y="204639"/>
                    </a:lnTo>
                    <a:lnTo>
                      <a:pt x="122466" y="204639"/>
                    </a:lnTo>
                    <a:lnTo>
                      <a:pt x="123612" y="206138"/>
                    </a:lnTo>
                    <a:lnTo>
                      <a:pt x="123877" y="207548"/>
                    </a:lnTo>
                    <a:lnTo>
                      <a:pt x="125640" y="207548"/>
                    </a:lnTo>
                    <a:lnTo>
                      <a:pt x="126169" y="205520"/>
                    </a:lnTo>
                    <a:lnTo>
                      <a:pt x="127932" y="206667"/>
                    </a:lnTo>
                    <a:lnTo>
                      <a:pt x="129696" y="207548"/>
                    </a:lnTo>
                    <a:lnTo>
                      <a:pt x="130842" y="208166"/>
                    </a:lnTo>
                    <a:lnTo>
                      <a:pt x="129696" y="208166"/>
                    </a:lnTo>
                    <a:lnTo>
                      <a:pt x="129696" y="209929"/>
                    </a:lnTo>
                    <a:lnTo>
                      <a:pt x="133223" y="210811"/>
                    </a:lnTo>
                    <a:lnTo>
                      <a:pt x="133487" y="211957"/>
                    </a:lnTo>
                    <a:lnTo>
                      <a:pt x="134369" y="212838"/>
                    </a:lnTo>
                    <a:lnTo>
                      <a:pt x="135250" y="213720"/>
                    </a:lnTo>
                    <a:lnTo>
                      <a:pt x="137014" y="212574"/>
                    </a:lnTo>
                    <a:lnTo>
                      <a:pt x="139394" y="211957"/>
                    </a:lnTo>
                    <a:lnTo>
                      <a:pt x="139923" y="211692"/>
                    </a:lnTo>
                    <a:lnTo>
                      <a:pt x="142833" y="212221"/>
                    </a:lnTo>
                    <a:lnTo>
                      <a:pt x="145478" y="214249"/>
                    </a:lnTo>
                    <a:lnTo>
                      <a:pt x="146977" y="214249"/>
                    </a:lnTo>
                    <a:lnTo>
                      <a:pt x="147241" y="213632"/>
                    </a:lnTo>
                    <a:lnTo>
                      <a:pt x="148123" y="214778"/>
                    </a:lnTo>
                    <a:lnTo>
                      <a:pt x="149005" y="214161"/>
                    </a:lnTo>
                    <a:lnTo>
                      <a:pt x="149005" y="212398"/>
                    </a:lnTo>
                    <a:lnTo>
                      <a:pt x="149622" y="211516"/>
                    </a:lnTo>
                    <a:lnTo>
                      <a:pt x="151032" y="211516"/>
                    </a:lnTo>
                    <a:lnTo>
                      <a:pt x="153060" y="211251"/>
                    </a:lnTo>
                    <a:lnTo>
                      <a:pt x="154471" y="210634"/>
                    </a:lnTo>
                    <a:lnTo>
                      <a:pt x="155353" y="210370"/>
                    </a:lnTo>
                    <a:lnTo>
                      <a:pt x="156499" y="211780"/>
                    </a:lnTo>
                    <a:lnTo>
                      <a:pt x="157116" y="211251"/>
                    </a:lnTo>
                    <a:lnTo>
                      <a:pt x="159409" y="211516"/>
                    </a:lnTo>
                    <a:lnTo>
                      <a:pt x="157116" y="209135"/>
                    </a:lnTo>
                    <a:lnTo>
                      <a:pt x="157116" y="208518"/>
                    </a:lnTo>
                    <a:lnTo>
                      <a:pt x="157381" y="206755"/>
                    </a:lnTo>
                    <a:lnTo>
                      <a:pt x="157116" y="205609"/>
                    </a:lnTo>
                    <a:lnTo>
                      <a:pt x="156852" y="204991"/>
                    </a:lnTo>
                    <a:lnTo>
                      <a:pt x="157998" y="203845"/>
                    </a:lnTo>
                    <a:lnTo>
                      <a:pt x="157116" y="202699"/>
                    </a:lnTo>
                    <a:lnTo>
                      <a:pt x="156852" y="201817"/>
                    </a:lnTo>
                    <a:lnTo>
                      <a:pt x="155970" y="201553"/>
                    </a:lnTo>
                    <a:lnTo>
                      <a:pt x="155705" y="200936"/>
                    </a:lnTo>
                    <a:lnTo>
                      <a:pt x="156234" y="200054"/>
                    </a:lnTo>
                    <a:lnTo>
                      <a:pt x="156852" y="199790"/>
                    </a:lnTo>
                    <a:lnTo>
                      <a:pt x="157116" y="199172"/>
                    </a:lnTo>
                    <a:lnTo>
                      <a:pt x="157381" y="198026"/>
                    </a:lnTo>
                    <a:lnTo>
                      <a:pt x="157645" y="196880"/>
                    </a:lnTo>
                    <a:lnTo>
                      <a:pt x="158262" y="195734"/>
                    </a:lnTo>
                    <a:lnTo>
                      <a:pt x="157998" y="195117"/>
                    </a:lnTo>
                    <a:lnTo>
                      <a:pt x="157998" y="190444"/>
                    </a:lnTo>
                    <a:lnTo>
                      <a:pt x="162671" y="190444"/>
                    </a:lnTo>
                    <a:lnTo>
                      <a:pt x="164434" y="189562"/>
                    </a:lnTo>
                    <a:lnTo>
                      <a:pt x="165051" y="189827"/>
                    </a:lnTo>
                    <a:lnTo>
                      <a:pt x="166462" y="187534"/>
                    </a:lnTo>
                    <a:lnTo>
                      <a:pt x="169107" y="187799"/>
                    </a:lnTo>
                    <a:lnTo>
                      <a:pt x="171399" y="185771"/>
                    </a:lnTo>
                    <a:lnTo>
                      <a:pt x="172898" y="185154"/>
                    </a:lnTo>
                    <a:lnTo>
                      <a:pt x="174662" y="183743"/>
                    </a:lnTo>
                    <a:lnTo>
                      <a:pt x="177836" y="182861"/>
                    </a:lnTo>
                    <a:lnTo>
                      <a:pt x="178717" y="183126"/>
                    </a:lnTo>
                    <a:lnTo>
                      <a:pt x="178982" y="184007"/>
                    </a:lnTo>
                    <a:lnTo>
                      <a:pt x="178365" y="184007"/>
                    </a:lnTo>
                    <a:lnTo>
                      <a:pt x="178629" y="184625"/>
                    </a:lnTo>
                    <a:lnTo>
                      <a:pt x="179511" y="185242"/>
                    </a:lnTo>
                    <a:lnTo>
                      <a:pt x="181891" y="185506"/>
                    </a:lnTo>
                    <a:lnTo>
                      <a:pt x="181010" y="184625"/>
                    </a:lnTo>
                    <a:lnTo>
                      <a:pt x="182156" y="184007"/>
                    </a:lnTo>
                    <a:lnTo>
                      <a:pt x="182420" y="184272"/>
                    </a:lnTo>
                    <a:lnTo>
                      <a:pt x="182685" y="185418"/>
                    </a:lnTo>
                    <a:lnTo>
                      <a:pt x="184448" y="185418"/>
                    </a:lnTo>
                    <a:lnTo>
                      <a:pt x="185947" y="185154"/>
                    </a:lnTo>
                    <a:lnTo>
                      <a:pt x="187711" y="185771"/>
                    </a:lnTo>
                    <a:lnTo>
                      <a:pt x="187975" y="186035"/>
                    </a:lnTo>
                    <a:lnTo>
                      <a:pt x="187975" y="186917"/>
                    </a:lnTo>
                    <a:lnTo>
                      <a:pt x="187711" y="187181"/>
                    </a:lnTo>
                    <a:lnTo>
                      <a:pt x="187711" y="187446"/>
                    </a:lnTo>
                    <a:lnTo>
                      <a:pt x="188328" y="187710"/>
                    </a:lnTo>
                    <a:lnTo>
                      <a:pt x="190356" y="187975"/>
                    </a:lnTo>
                    <a:lnTo>
                      <a:pt x="191502" y="187710"/>
                    </a:lnTo>
                    <a:lnTo>
                      <a:pt x="191502" y="187446"/>
                    </a:lnTo>
                    <a:lnTo>
                      <a:pt x="190973" y="187181"/>
                    </a:lnTo>
                    <a:lnTo>
                      <a:pt x="190973" y="186564"/>
                    </a:lnTo>
                    <a:lnTo>
                      <a:pt x="190708" y="186300"/>
                    </a:lnTo>
                    <a:lnTo>
                      <a:pt x="190708" y="185418"/>
                    </a:lnTo>
                    <a:lnTo>
                      <a:pt x="190091" y="182509"/>
                    </a:lnTo>
                    <a:lnTo>
                      <a:pt x="190356" y="182861"/>
                    </a:lnTo>
                    <a:lnTo>
                      <a:pt x="191237" y="184007"/>
                    </a:lnTo>
                    <a:lnTo>
                      <a:pt x="191237" y="184889"/>
                    </a:lnTo>
                    <a:lnTo>
                      <a:pt x="190973" y="185771"/>
                    </a:lnTo>
                    <a:lnTo>
                      <a:pt x="191237" y="186300"/>
                    </a:lnTo>
                    <a:lnTo>
                      <a:pt x="191854" y="186300"/>
                    </a:lnTo>
                    <a:lnTo>
                      <a:pt x="193001" y="187181"/>
                    </a:lnTo>
                    <a:lnTo>
                      <a:pt x="193001" y="186917"/>
                    </a:lnTo>
                    <a:lnTo>
                      <a:pt x="192736" y="186652"/>
                    </a:lnTo>
                    <a:lnTo>
                      <a:pt x="194764" y="186035"/>
                    </a:lnTo>
                    <a:lnTo>
                      <a:pt x="195646" y="186300"/>
                    </a:lnTo>
                    <a:lnTo>
                      <a:pt x="195910" y="186035"/>
                    </a:lnTo>
                    <a:lnTo>
                      <a:pt x="196527" y="186035"/>
                    </a:lnTo>
                    <a:lnTo>
                      <a:pt x="197145" y="186035"/>
                    </a:lnTo>
                    <a:lnTo>
                      <a:pt x="196880" y="185418"/>
                    </a:lnTo>
                    <a:lnTo>
                      <a:pt x="197497" y="184801"/>
                    </a:lnTo>
                    <a:lnTo>
                      <a:pt x="196880" y="184801"/>
                    </a:lnTo>
                    <a:lnTo>
                      <a:pt x="196263" y="184184"/>
                    </a:lnTo>
                    <a:lnTo>
                      <a:pt x="196527" y="183038"/>
                    </a:lnTo>
                    <a:lnTo>
                      <a:pt x="196792" y="183038"/>
                    </a:lnTo>
                    <a:lnTo>
                      <a:pt x="199701" y="183919"/>
                    </a:lnTo>
                    <a:lnTo>
                      <a:pt x="200583" y="184184"/>
                    </a:lnTo>
                    <a:lnTo>
                      <a:pt x="200848" y="185065"/>
                    </a:lnTo>
                    <a:lnTo>
                      <a:pt x="199084" y="186212"/>
                    </a:lnTo>
                    <a:lnTo>
                      <a:pt x="197938" y="186829"/>
                    </a:lnTo>
                    <a:lnTo>
                      <a:pt x="197321" y="186829"/>
                    </a:lnTo>
                    <a:lnTo>
                      <a:pt x="197056" y="186829"/>
                    </a:lnTo>
                    <a:lnTo>
                      <a:pt x="196792" y="187093"/>
                    </a:lnTo>
                    <a:lnTo>
                      <a:pt x="197056" y="187358"/>
                    </a:lnTo>
                    <a:lnTo>
                      <a:pt x="196792" y="187887"/>
                    </a:lnTo>
                    <a:lnTo>
                      <a:pt x="198203" y="188151"/>
                    </a:lnTo>
                    <a:lnTo>
                      <a:pt x="200230" y="188416"/>
                    </a:lnTo>
                    <a:lnTo>
                      <a:pt x="201729" y="187799"/>
                    </a:lnTo>
                    <a:lnTo>
                      <a:pt x="202611" y="187534"/>
                    </a:lnTo>
                    <a:lnTo>
                      <a:pt x="203757" y="188416"/>
                    </a:lnTo>
                    <a:lnTo>
                      <a:pt x="203757" y="189915"/>
                    </a:lnTo>
                    <a:lnTo>
                      <a:pt x="203140" y="190532"/>
                    </a:lnTo>
                    <a:lnTo>
                      <a:pt x="203405" y="191149"/>
                    </a:lnTo>
                    <a:lnTo>
                      <a:pt x="204551" y="191413"/>
                    </a:lnTo>
                    <a:lnTo>
                      <a:pt x="205697" y="191413"/>
                    </a:lnTo>
                    <a:lnTo>
                      <a:pt x="206578" y="191149"/>
                    </a:lnTo>
                    <a:lnTo>
                      <a:pt x="207725" y="191678"/>
                    </a:lnTo>
                    <a:lnTo>
                      <a:pt x="209753" y="191943"/>
                    </a:lnTo>
                    <a:lnTo>
                      <a:pt x="212398" y="193353"/>
                    </a:lnTo>
                    <a:lnTo>
                      <a:pt x="212398" y="193618"/>
                    </a:lnTo>
                    <a:lnTo>
                      <a:pt x="212045" y="193618"/>
                    </a:lnTo>
                    <a:lnTo>
                      <a:pt x="211781" y="193882"/>
                    </a:lnTo>
                    <a:lnTo>
                      <a:pt x="211516" y="193882"/>
                    </a:lnTo>
                    <a:lnTo>
                      <a:pt x="211516" y="194147"/>
                    </a:lnTo>
                    <a:lnTo>
                      <a:pt x="212133" y="194411"/>
                    </a:lnTo>
                    <a:lnTo>
                      <a:pt x="213015" y="195028"/>
                    </a:lnTo>
                    <a:lnTo>
                      <a:pt x="213897" y="194764"/>
                    </a:lnTo>
                    <a:lnTo>
                      <a:pt x="215043" y="194499"/>
                    </a:lnTo>
                    <a:lnTo>
                      <a:pt x="215307" y="193618"/>
                    </a:lnTo>
                    <a:lnTo>
                      <a:pt x="216454" y="193882"/>
                    </a:lnTo>
                    <a:lnTo>
                      <a:pt x="217071" y="193882"/>
                    </a:lnTo>
                    <a:lnTo>
                      <a:pt x="217952" y="193882"/>
                    </a:lnTo>
                    <a:lnTo>
                      <a:pt x="218834" y="195028"/>
                    </a:lnTo>
                    <a:lnTo>
                      <a:pt x="219451" y="195028"/>
                    </a:lnTo>
                    <a:lnTo>
                      <a:pt x="219187" y="194764"/>
                    </a:lnTo>
                    <a:lnTo>
                      <a:pt x="219451" y="194147"/>
                    </a:lnTo>
                    <a:lnTo>
                      <a:pt x="219451" y="193530"/>
                    </a:lnTo>
                    <a:lnTo>
                      <a:pt x="219716" y="192912"/>
                    </a:lnTo>
                    <a:lnTo>
                      <a:pt x="225006" y="192031"/>
                    </a:lnTo>
                    <a:lnTo>
                      <a:pt x="226152" y="191766"/>
                    </a:lnTo>
                    <a:lnTo>
                      <a:pt x="227034" y="191766"/>
                    </a:lnTo>
                    <a:lnTo>
                      <a:pt x="227915" y="191766"/>
                    </a:lnTo>
                    <a:lnTo>
                      <a:pt x="228180" y="191766"/>
                    </a:lnTo>
                    <a:lnTo>
                      <a:pt x="229062" y="191766"/>
                    </a:lnTo>
                    <a:lnTo>
                      <a:pt x="229943" y="189738"/>
                    </a:lnTo>
                    <a:lnTo>
                      <a:pt x="229679" y="189209"/>
                    </a:lnTo>
                    <a:lnTo>
                      <a:pt x="226769" y="189738"/>
                    </a:lnTo>
                    <a:lnTo>
                      <a:pt x="227386" y="189474"/>
                    </a:lnTo>
                    <a:lnTo>
                      <a:pt x="227386" y="188857"/>
                    </a:lnTo>
                    <a:lnTo>
                      <a:pt x="228797" y="188239"/>
                    </a:lnTo>
                    <a:lnTo>
                      <a:pt x="229679" y="187093"/>
                    </a:lnTo>
                    <a:lnTo>
                      <a:pt x="230560" y="186829"/>
                    </a:lnTo>
                    <a:lnTo>
                      <a:pt x="231178" y="186212"/>
                    </a:lnTo>
                    <a:lnTo>
                      <a:pt x="231442" y="185594"/>
                    </a:lnTo>
                    <a:lnTo>
                      <a:pt x="232588" y="185594"/>
                    </a:lnTo>
                    <a:lnTo>
                      <a:pt x="233734" y="185330"/>
                    </a:lnTo>
                    <a:lnTo>
                      <a:pt x="234616" y="182685"/>
                    </a:lnTo>
                    <a:lnTo>
                      <a:pt x="235233" y="182420"/>
                    </a:lnTo>
                    <a:lnTo>
                      <a:pt x="236115" y="182420"/>
                    </a:lnTo>
                    <a:lnTo>
                      <a:pt x="237878" y="180392"/>
                    </a:lnTo>
                    <a:lnTo>
                      <a:pt x="238496" y="180392"/>
                    </a:lnTo>
                    <a:lnTo>
                      <a:pt x="239113" y="179775"/>
                    </a:lnTo>
                    <a:lnTo>
                      <a:pt x="240259" y="179158"/>
                    </a:lnTo>
                    <a:lnTo>
                      <a:pt x="241141" y="180040"/>
                    </a:lnTo>
                    <a:lnTo>
                      <a:pt x="242640" y="179775"/>
                    </a:lnTo>
                    <a:lnTo>
                      <a:pt x="243257" y="179511"/>
                    </a:lnTo>
                    <a:lnTo>
                      <a:pt x="244138" y="180128"/>
                    </a:lnTo>
                    <a:lnTo>
                      <a:pt x="244138" y="179863"/>
                    </a:lnTo>
                    <a:lnTo>
                      <a:pt x="244138" y="179599"/>
                    </a:lnTo>
                    <a:lnTo>
                      <a:pt x="244138" y="179334"/>
                    </a:lnTo>
                    <a:lnTo>
                      <a:pt x="244403" y="179334"/>
                    </a:lnTo>
                    <a:lnTo>
                      <a:pt x="244403" y="178805"/>
                    </a:lnTo>
                    <a:lnTo>
                      <a:pt x="244667" y="178541"/>
                    </a:lnTo>
                    <a:lnTo>
                      <a:pt x="245196" y="178541"/>
                    </a:lnTo>
                    <a:lnTo>
                      <a:pt x="245461" y="178541"/>
                    </a:lnTo>
                    <a:lnTo>
                      <a:pt x="245725" y="179158"/>
                    </a:lnTo>
                    <a:lnTo>
                      <a:pt x="245990" y="179158"/>
                    </a:lnTo>
                    <a:lnTo>
                      <a:pt x="246342" y="179158"/>
                    </a:lnTo>
                    <a:lnTo>
                      <a:pt x="246607" y="178894"/>
                    </a:lnTo>
                    <a:lnTo>
                      <a:pt x="246871" y="178894"/>
                    </a:lnTo>
                    <a:lnTo>
                      <a:pt x="247489" y="178276"/>
                    </a:lnTo>
                    <a:lnTo>
                      <a:pt x="247224" y="176249"/>
                    </a:lnTo>
                    <a:lnTo>
                      <a:pt x="247841" y="175102"/>
                    </a:lnTo>
                    <a:lnTo>
                      <a:pt x="250751" y="171928"/>
                    </a:lnTo>
                    <a:lnTo>
                      <a:pt x="250751" y="170782"/>
                    </a:lnTo>
                    <a:lnTo>
                      <a:pt x="250134" y="169901"/>
                    </a:lnTo>
                    <a:lnTo>
                      <a:pt x="250486" y="169636"/>
                    </a:lnTo>
                    <a:lnTo>
                      <a:pt x="249869" y="169019"/>
                    </a:lnTo>
                    <a:lnTo>
                      <a:pt x="248458" y="169019"/>
                    </a:lnTo>
                    <a:lnTo>
                      <a:pt x="247312" y="170430"/>
                    </a:lnTo>
                    <a:lnTo>
                      <a:pt x="245549" y="169548"/>
                    </a:lnTo>
                    <a:lnTo>
                      <a:pt x="244050" y="168931"/>
                    </a:lnTo>
                    <a:lnTo>
                      <a:pt x="242022" y="168313"/>
                    </a:lnTo>
                    <a:lnTo>
                      <a:pt x="240612" y="168049"/>
                    </a:lnTo>
                    <a:lnTo>
                      <a:pt x="239113" y="168313"/>
                    </a:lnTo>
                    <a:lnTo>
                      <a:pt x="239377" y="167432"/>
                    </a:lnTo>
                    <a:lnTo>
                      <a:pt x="238760" y="166815"/>
                    </a:lnTo>
                    <a:lnTo>
                      <a:pt x="236997" y="165933"/>
                    </a:lnTo>
                    <a:lnTo>
                      <a:pt x="236379" y="165051"/>
                    </a:lnTo>
                    <a:lnTo>
                      <a:pt x="235762" y="164787"/>
                    </a:lnTo>
                    <a:lnTo>
                      <a:pt x="235145" y="164522"/>
                    </a:lnTo>
                    <a:lnTo>
                      <a:pt x="232764" y="164522"/>
                    </a:lnTo>
                    <a:lnTo>
                      <a:pt x="233646" y="163640"/>
                    </a:lnTo>
                    <a:lnTo>
                      <a:pt x="234792" y="163376"/>
                    </a:lnTo>
                    <a:lnTo>
                      <a:pt x="234528" y="162230"/>
                    </a:lnTo>
                    <a:lnTo>
                      <a:pt x="234528" y="161348"/>
                    </a:lnTo>
                    <a:lnTo>
                      <a:pt x="233911" y="160466"/>
                    </a:lnTo>
                    <a:lnTo>
                      <a:pt x="233911" y="159320"/>
                    </a:lnTo>
                    <a:lnTo>
                      <a:pt x="234528" y="158174"/>
                    </a:lnTo>
                    <a:lnTo>
                      <a:pt x="234528" y="157292"/>
                    </a:lnTo>
                    <a:lnTo>
                      <a:pt x="235145" y="156675"/>
                    </a:lnTo>
                    <a:lnTo>
                      <a:pt x="235762" y="156058"/>
                    </a:lnTo>
                    <a:lnTo>
                      <a:pt x="236027" y="154912"/>
                    </a:lnTo>
                    <a:lnTo>
                      <a:pt x="236644" y="153766"/>
                    </a:lnTo>
                    <a:lnTo>
                      <a:pt x="235498" y="152884"/>
                    </a:lnTo>
                    <a:lnTo>
                      <a:pt x="234881" y="151738"/>
                    </a:lnTo>
                    <a:lnTo>
                      <a:pt x="233117" y="150592"/>
                    </a:lnTo>
                    <a:lnTo>
                      <a:pt x="231089" y="150239"/>
                    </a:lnTo>
                    <a:lnTo>
                      <a:pt x="227563" y="150592"/>
                    </a:lnTo>
                    <a:lnTo>
                      <a:pt x="226681" y="148211"/>
                    </a:lnTo>
                    <a:lnTo>
                      <a:pt x="225799" y="147947"/>
                    </a:lnTo>
                    <a:lnTo>
                      <a:pt x="225799" y="146183"/>
                    </a:lnTo>
                    <a:lnTo>
                      <a:pt x="225182" y="145037"/>
                    </a:lnTo>
                    <a:lnTo>
                      <a:pt x="227210" y="144420"/>
                    </a:lnTo>
                    <a:lnTo>
                      <a:pt x="229238" y="145301"/>
                    </a:lnTo>
                    <a:lnTo>
                      <a:pt x="230384" y="145301"/>
                    </a:lnTo>
                    <a:lnTo>
                      <a:pt x="230384" y="144772"/>
                    </a:lnTo>
                    <a:lnTo>
                      <a:pt x="230384" y="144155"/>
                    </a:lnTo>
                    <a:lnTo>
                      <a:pt x="232412" y="143009"/>
                    </a:lnTo>
                    <a:lnTo>
                      <a:pt x="234175" y="143009"/>
                    </a:lnTo>
                    <a:lnTo>
                      <a:pt x="233823" y="141863"/>
                    </a:lnTo>
                    <a:lnTo>
                      <a:pt x="234175" y="140364"/>
                    </a:lnTo>
                    <a:lnTo>
                      <a:pt x="234792" y="138601"/>
                    </a:lnTo>
                    <a:lnTo>
                      <a:pt x="233911" y="138336"/>
                    </a:lnTo>
                    <a:lnTo>
                      <a:pt x="233911" y="137190"/>
                    </a:lnTo>
                    <a:lnTo>
                      <a:pt x="232147" y="136044"/>
                    </a:lnTo>
                    <a:lnTo>
                      <a:pt x="232412" y="134280"/>
                    </a:lnTo>
                    <a:lnTo>
                      <a:pt x="232147" y="133399"/>
                    </a:lnTo>
                    <a:lnTo>
                      <a:pt x="229767" y="133134"/>
                    </a:lnTo>
                    <a:lnTo>
                      <a:pt x="229767" y="131635"/>
                    </a:lnTo>
                    <a:lnTo>
                      <a:pt x="228356" y="131018"/>
                    </a:lnTo>
                    <a:lnTo>
                      <a:pt x="228092" y="128990"/>
                    </a:lnTo>
                    <a:lnTo>
                      <a:pt x="228709" y="127227"/>
                    </a:lnTo>
                    <a:lnTo>
                      <a:pt x="231883" y="127227"/>
                    </a:lnTo>
                    <a:lnTo>
                      <a:pt x="233029" y="125199"/>
                    </a:lnTo>
                    <a:lnTo>
                      <a:pt x="231619" y="123436"/>
                    </a:lnTo>
                    <a:lnTo>
                      <a:pt x="229591" y="122290"/>
                    </a:lnTo>
                    <a:lnTo>
                      <a:pt x="229062" y="121672"/>
                    </a:lnTo>
                    <a:lnTo>
                      <a:pt x="228797" y="120791"/>
                    </a:lnTo>
                    <a:lnTo>
                      <a:pt x="227915" y="120174"/>
                    </a:lnTo>
                    <a:lnTo>
                      <a:pt x="227651" y="118410"/>
                    </a:lnTo>
                    <a:lnTo>
                      <a:pt x="227915" y="117528"/>
                    </a:lnTo>
                    <a:lnTo>
                      <a:pt x="227915" y="115765"/>
                    </a:lnTo>
                    <a:lnTo>
                      <a:pt x="227915" y="114266"/>
                    </a:lnTo>
                    <a:lnTo>
                      <a:pt x="227298" y="113385"/>
                    </a:lnTo>
                    <a:lnTo>
                      <a:pt x="224653" y="112767"/>
                    </a:lnTo>
                    <a:lnTo>
                      <a:pt x="222008" y="112767"/>
                    </a:lnTo>
                    <a:lnTo>
                      <a:pt x="219363" y="113385"/>
                    </a:lnTo>
                    <a:lnTo>
                      <a:pt x="217599" y="114531"/>
                    </a:lnTo>
                    <a:lnTo>
                      <a:pt x="216718" y="116030"/>
                    </a:lnTo>
                    <a:lnTo>
                      <a:pt x="216454" y="116911"/>
                    </a:lnTo>
                    <a:lnTo>
                      <a:pt x="216718" y="117528"/>
                    </a:lnTo>
                    <a:lnTo>
                      <a:pt x="217335" y="118146"/>
                    </a:lnTo>
                    <a:lnTo>
                      <a:pt x="216189" y="119027"/>
                    </a:lnTo>
                    <a:lnTo>
                      <a:pt x="215925" y="119909"/>
                    </a:lnTo>
                    <a:lnTo>
                      <a:pt x="214161" y="120526"/>
                    </a:lnTo>
                    <a:lnTo>
                      <a:pt x="212750" y="120526"/>
                    </a:lnTo>
                    <a:lnTo>
                      <a:pt x="211869" y="119644"/>
                    </a:lnTo>
                    <a:lnTo>
                      <a:pt x="211604" y="118498"/>
                    </a:lnTo>
                    <a:lnTo>
                      <a:pt x="213368" y="118146"/>
                    </a:lnTo>
                    <a:lnTo>
                      <a:pt x="214514" y="117881"/>
                    </a:lnTo>
                    <a:lnTo>
                      <a:pt x="214514" y="117617"/>
                    </a:lnTo>
                    <a:lnTo>
                      <a:pt x="214249" y="116735"/>
                    </a:lnTo>
                    <a:lnTo>
                      <a:pt x="215395" y="114972"/>
                    </a:lnTo>
                    <a:lnTo>
                      <a:pt x="213897" y="113825"/>
                    </a:lnTo>
                    <a:lnTo>
                      <a:pt x="213368" y="113561"/>
                    </a:lnTo>
                    <a:lnTo>
                      <a:pt x="213897" y="112944"/>
                    </a:lnTo>
                    <a:lnTo>
                      <a:pt x="214778" y="110651"/>
                    </a:lnTo>
                    <a:lnTo>
                      <a:pt x="214778" y="109770"/>
                    </a:lnTo>
                    <a:lnTo>
                      <a:pt x="215043" y="109153"/>
                    </a:lnTo>
                    <a:lnTo>
                      <a:pt x="217071" y="107654"/>
                    </a:lnTo>
                    <a:lnTo>
                      <a:pt x="220245" y="105626"/>
                    </a:lnTo>
                    <a:lnTo>
                      <a:pt x="220509" y="104215"/>
                    </a:lnTo>
                    <a:lnTo>
                      <a:pt x="220245" y="103069"/>
                    </a:lnTo>
                    <a:lnTo>
                      <a:pt x="220862" y="101923"/>
                    </a:lnTo>
                    <a:lnTo>
                      <a:pt x="222272" y="100159"/>
                    </a:lnTo>
                    <a:lnTo>
                      <a:pt x="224300" y="99542"/>
                    </a:lnTo>
                    <a:lnTo>
                      <a:pt x="224829" y="97779"/>
                    </a:lnTo>
                    <a:lnTo>
                      <a:pt x="227475" y="96015"/>
                    </a:lnTo>
                    <a:lnTo>
                      <a:pt x="228356" y="94252"/>
                    </a:lnTo>
                    <a:lnTo>
                      <a:pt x="228356" y="93635"/>
                    </a:lnTo>
                    <a:lnTo>
                      <a:pt x="228621" y="93370"/>
                    </a:lnTo>
                    <a:lnTo>
                      <a:pt x="230649" y="92224"/>
                    </a:lnTo>
                    <a:lnTo>
                      <a:pt x="230649" y="91342"/>
                    </a:lnTo>
                    <a:lnTo>
                      <a:pt x="230031" y="91078"/>
                    </a:lnTo>
                    <a:lnTo>
                      <a:pt x="228885" y="91078"/>
                    </a:lnTo>
                    <a:lnTo>
                      <a:pt x="228268" y="90461"/>
                    </a:lnTo>
                    <a:lnTo>
                      <a:pt x="228885" y="89844"/>
                    </a:lnTo>
                    <a:lnTo>
                      <a:pt x="230296" y="87816"/>
                    </a:lnTo>
                    <a:lnTo>
                      <a:pt x="230913" y="87199"/>
                    </a:lnTo>
                    <a:lnTo>
                      <a:pt x="232059" y="87199"/>
                    </a:lnTo>
                    <a:lnTo>
                      <a:pt x="233205" y="87816"/>
                    </a:lnTo>
                    <a:lnTo>
                      <a:pt x="234087" y="88962"/>
                    </a:lnTo>
                    <a:lnTo>
                      <a:pt x="235850" y="89226"/>
                    </a:lnTo>
                    <a:lnTo>
                      <a:pt x="237878" y="89226"/>
                    </a:lnTo>
                    <a:lnTo>
                      <a:pt x="238760" y="88609"/>
                    </a:lnTo>
                    <a:lnTo>
                      <a:pt x="239906" y="87728"/>
                    </a:lnTo>
                    <a:lnTo>
                      <a:pt x="240171" y="87110"/>
                    </a:lnTo>
                    <a:lnTo>
                      <a:pt x="240171" y="86229"/>
                    </a:lnTo>
                    <a:lnTo>
                      <a:pt x="240788" y="85964"/>
                    </a:lnTo>
                    <a:lnTo>
                      <a:pt x="241052" y="85347"/>
                    </a:lnTo>
                    <a:lnTo>
                      <a:pt x="240964" y="853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3" name="Freihandform: Form 1562">
                <a:extLst>
                  <a:ext uri="{FF2B5EF4-FFF2-40B4-BE49-F238E27FC236}">
                    <a16:creationId xmlns:a16="http://schemas.microsoft.com/office/drawing/2014/main" id="{C02AD08A-9EBF-7055-D735-82CDFB1EACC0}"/>
                  </a:ext>
                </a:extLst>
              </p:cNvPr>
              <p:cNvSpPr/>
              <p:nvPr/>
            </p:nvSpPr>
            <p:spPr>
              <a:xfrm>
                <a:off x="3883188" y="3059221"/>
                <a:ext cx="252955" cy="192736"/>
              </a:xfrm>
              <a:custGeom>
                <a:avLst/>
                <a:gdLst>
                  <a:gd name="connsiteX0" fmla="*/ 9611 w 252955"/>
                  <a:gd name="connsiteY0" fmla="*/ 45142 h 192736"/>
                  <a:gd name="connsiteX1" fmla="*/ 8729 w 252955"/>
                  <a:gd name="connsiteY1" fmla="*/ 45407 h 192736"/>
                  <a:gd name="connsiteX2" fmla="*/ 7583 w 252955"/>
                  <a:gd name="connsiteY2" fmla="*/ 45407 h 192736"/>
                  <a:gd name="connsiteX3" fmla="*/ 6436 w 252955"/>
                  <a:gd name="connsiteY3" fmla="*/ 46024 h 192736"/>
                  <a:gd name="connsiteX4" fmla="*/ 6436 w 252955"/>
                  <a:gd name="connsiteY4" fmla="*/ 46288 h 192736"/>
                  <a:gd name="connsiteX5" fmla="*/ 5819 w 252955"/>
                  <a:gd name="connsiteY5" fmla="*/ 46906 h 192736"/>
                  <a:gd name="connsiteX6" fmla="*/ 5819 w 252955"/>
                  <a:gd name="connsiteY6" fmla="*/ 45759 h 192736"/>
                  <a:gd name="connsiteX7" fmla="*/ 6084 w 252955"/>
                  <a:gd name="connsiteY7" fmla="*/ 45142 h 192736"/>
                  <a:gd name="connsiteX8" fmla="*/ 5467 w 252955"/>
                  <a:gd name="connsiteY8" fmla="*/ 44261 h 192736"/>
                  <a:gd name="connsiteX9" fmla="*/ 6084 w 252955"/>
                  <a:gd name="connsiteY9" fmla="*/ 43114 h 192736"/>
                  <a:gd name="connsiteX10" fmla="*/ 6084 w 252955"/>
                  <a:gd name="connsiteY10" fmla="*/ 41968 h 192736"/>
                  <a:gd name="connsiteX11" fmla="*/ 6701 w 252955"/>
                  <a:gd name="connsiteY11" fmla="*/ 41351 h 192736"/>
                  <a:gd name="connsiteX12" fmla="*/ 7583 w 252955"/>
                  <a:gd name="connsiteY12" fmla="*/ 41615 h 192736"/>
                  <a:gd name="connsiteX13" fmla="*/ 8729 w 252955"/>
                  <a:gd name="connsiteY13" fmla="*/ 41880 h 192736"/>
                  <a:gd name="connsiteX14" fmla="*/ 8729 w 252955"/>
                  <a:gd name="connsiteY14" fmla="*/ 41263 h 192736"/>
                  <a:gd name="connsiteX15" fmla="*/ 6965 w 252955"/>
                  <a:gd name="connsiteY15" fmla="*/ 40646 h 192736"/>
                  <a:gd name="connsiteX16" fmla="*/ 7230 w 252955"/>
                  <a:gd name="connsiteY16" fmla="*/ 40029 h 192736"/>
                  <a:gd name="connsiteX17" fmla="*/ 8112 w 252955"/>
                  <a:gd name="connsiteY17" fmla="*/ 40029 h 192736"/>
                  <a:gd name="connsiteX18" fmla="*/ 8729 w 252955"/>
                  <a:gd name="connsiteY18" fmla="*/ 40646 h 192736"/>
                  <a:gd name="connsiteX19" fmla="*/ 9346 w 252955"/>
                  <a:gd name="connsiteY19" fmla="*/ 38882 h 192736"/>
                  <a:gd name="connsiteX20" fmla="*/ 10228 w 252955"/>
                  <a:gd name="connsiteY20" fmla="*/ 38882 h 192736"/>
                  <a:gd name="connsiteX21" fmla="*/ 12608 w 252955"/>
                  <a:gd name="connsiteY21" fmla="*/ 37119 h 192736"/>
                  <a:gd name="connsiteX22" fmla="*/ 13225 w 252955"/>
                  <a:gd name="connsiteY22" fmla="*/ 36502 h 192736"/>
                  <a:gd name="connsiteX23" fmla="*/ 12608 w 252955"/>
                  <a:gd name="connsiteY23" fmla="*/ 35885 h 192736"/>
                  <a:gd name="connsiteX24" fmla="*/ 11727 w 252955"/>
                  <a:gd name="connsiteY24" fmla="*/ 36766 h 192736"/>
                  <a:gd name="connsiteX25" fmla="*/ 11727 w 252955"/>
                  <a:gd name="connsiteY25" fmla="*/ 37031 h 192736"/>
                  <a:gd name="connsiteX26" fmla="*/ 10580 w 252955"/>
                  <a:gd name="connsiteY26" fmla="*/ 37295 h 192736"/>
                  <a:gd name="connsiteX27" fmla="*/ 9699 w 252955"/>
                  <a:gd name="connsiteY27" fmla="*/ 37560 h 192736"/>
                  <a:gd name="connsiteX28" fmla="*/ 9434 w 252955"/>
                  <a:gd name="connsiteY28" fmla="*/ 38177 h 192736"/>
                  <a:gd name="connsiteX29" fmla="*/ 7935 w 252955"/>
                  <a:gd name="connsiteY29" fmla="*/ 38441 h 192736"/>
                  <a:gd name="connsiteX30" fmla="*/ 7318 w 252955"/>
                  <a:gd name="connsiteY30" fmla="*/ 38177 h 192736"/>
                  <a:gd name="connsiteX31" fmla="*/ 6172 w 252955"/>
                  <a:gd name="connsiteY31" fmla="*/ 37912 h 192736"/>
                  <a:gd name="connsiteX32" fmla="*/ 7054 w 252955"/>
                  <a:gd name="connsiteY32" fmla="*/ 37031 h 192736"/>
                  <a:gd name="connsiteX33" fmla="*/ 8817 w 252955"/>
                  <a:gd name="connsiteY33" fmla="*/ 37031 h 192736"/>
                  <a:gd name="connsiteX34" fmla="*/ 7054 w 252955"/>
                  <a:gd name="connsiteY34" fmla="*/ 36766 h 192736"/>
                  <a:gd name="connsiteX35" fmla="*/ 9346 w 252955"/>
                  <a:gd name="connsiteY35" fmla="*/ 36766 h 192736"/>
                  <a:gd name="connsiteX36" fmla="*/ 11109 w 252955"/>
                  <a:gd name="connsiteY36" fmla="*/ 34738 h 192736"/>
                  <a:gd name="connsiteX37" fmla="*/ 11991 w 252955"/>
                  <a:gd name="connsiteY37" fmla="*/ 33328 h 192736"/>
                  <a:gd name="connsiteX38" fmla="*/ 11109 w 252955"/>
                  <a:gd name="connsiteY38" fmla="*/ 33063 h 192736"/>
                  <a:gd name="connsiteX39" fmla="*/ 10228 w 252955"/>
                  <a:gd name="connsiteY39" fmla="*/ 33328 h 192736"/>
                  <a:gd name="connsiteX40" fmla="*/ 9346 w 252955"/>
                  <a:gd name="connsiteY40" fmla="*/ 34209 h 192736"/>
                  <a:gd name="connsiteX41" fmla="*/ 7054 w 252955"/>
                  <a:gd name="connsiteY41" fmla="*/ 34209 h 192736"/>
                  <a:gd name="connsiteX42" fmla="*/ 6436 w 252955"/>
                  <a:gd name="connsiteY42" fmla="*/ 33328 h 192736"/>
                  <a:gd name="connsiteX43" fmla="*/ 6436 w 252955"/>
                  <a:gd name="connsiteY43" fmla="*/ 33063 h 192736"/>
                  <a:gd name="connsiteX44" fmla="*/ 6172 w 252955"/>
                  <a:gd name="connsiteY44" fmla="*/ 31917 h 192736"/>
                  <a:gd name="connsiteX45" fmla="*/ 7054 w 252955"/>
                  <a:gd name="connsiteY45" fmla="*/ 32534 h 192736"/>
                  <a:gd name="connsiteX46" fmla="*/ 7935 w 252955"/>
                  <a:gd name="connsiteY46" fmla="*/ 32270 h 192736"/>
                  <a:gd name="connsiteX47" fmla="*/ 9081 w 252955"/>
                  <a:gd name="connsiteY47" fmla="*/ 31652 h 192736"/>
                  <a:gd name="connsiteX48" fmla="*/ 7583 w 252955"/>
                  <a:gd name="connsiteY48" fmla="*/ 30506 h 192736"/>
                  <a:gd name="connsiteX49" fmla="*/ 7583 w 252955"/>
                  <a:gd name="connsiteY49" fmla="*/ 29625 h 192736"/>
                  <a:gd name="connsiteX50" fmla="*/ 9611 w 252955"/>
                  <a:gd name="connsiteY50" fmla="*/ 29360 h 192736"/>
                  <a:gd name="connsiteX51" fmla="*/ 10757 w 252955"/>
                  <a:gd name="connsiteY51" fmla="*/ 28478 h 192736"/>
                  <a:gd name="connsiteX52" fmla="*/ 11021 w 252955"/>
                  <a:gd name="connsiteY52" fmla="*/ 27861 h 192736"/>
                  <a:gd name="connsiteX53" fmla="*/ 11021 w 252955"/>
                  <a:gd name="connsiteY53" fmla="*/ 27597 h 192736"/>
                  <a:gd name="connsiteX54" fmla="*/ 9611 w 252955"/>
                  <a:gd name="connsiteY54" fmla="*/ 28478 h 192736"/>
                  <a:gd name="connsiteX55" fmla="*/ 9346 w 252955"/>
                  <a:gd name="connsiteY55" fmla="*/ 27861 h 192736"/>
                  <a:gd name="connsiteX56" fmla="*/ 9081 w 252955"/>
                  <a:gd name="connsiteY56" fmla="*/ 27597 h 192736"/>
                  <a:gd name="connsiteX57" fmla="*/ 8200 w 252955"/>
                  <a:gd name="connsiteY57" fmla="*/ 26980 h 192736"/>
                  <a:gd name="connsiteX58" fmla="*/ 7318 w 252955"/>
                  <a:gd name="connsiteY58" fmla="*/ 26980 h 192736"/>
                  <a:gd name="connsiteX59" fmla="*/ 7318 w 252955"/>
                  <a:gd name="connsiteY59" fmla="*/ 28126 h 192736"/>
                  <a:gd name="connsiteX60" fmla="*/ 6789 w 252955"/>
                  <a:gd name="connsiteY60" fmla="*/ 29007 h 192736"/>
                  <a:gd name="connsiteX61" fmla="*/ 6789 w 252955"/>
                  <a:gd name="connsiteY61" fmla="*/ 29272 h 192736"/>
                  <a:gd name="connsiteX62" fmla="*/ 5643 w 252955"/>
                  <a:gd name="connsiteY62" fmla="*/ 29272 h 192736"/>
                  <a:gd name="connsiteX63" fmla="*/ 5643 w 252955"/>
                  <a:gd name="connsiteY63" fmla="*/ 30418 h 192736"/>
                  <a:gd name="connsiteX64" fmla="*/ 4761 w 252955"/>
                  <a:gd name="connsiteY64" fmla="*/ 30683 h 192736"/>
                  <a:gd name="connsiteX65" fmla="*/ 3879 w 252955"/>
                  <a:gd name="connsiteY65" fmla="*/ 30418 h 192736"/>
                  <a:gd name="connsiteX66" fmla="*/ 3350 w 252955"/>
                  <a:gd name="connsiteY66" fmla="*/ 30418 h 192736"/>
                  <a:gd name="connsiteX67" fmla="*/ 2733 w 252955"/>
                  <a:gd name="connsiteY67" fmla="*/ 29801 h 192736"/>
                  <a:gd name="connsiteX68" fmla="*/ 3350 w 252955"/>
                  <a:gd name="connsiteY68" fmla="*/ 29184 h 192736"/>
                  <a:gd name="connsiteX69" fmla="*/ 3350 w 252955"/>
                  <a:gd name="connsiteY69" fmla="*/ 26803 h 192736"/>
                  <a:gd name="connsiteX70" fmla="*/ 4232 w 252955"/>
                  <a:gd name="connsiteY70" fmla="*/ 26186 h 192736"/>
                  <a:gd name="connsiteX71" fmla="*/ 6613 w 252955"/>
                  <a:gd name="connsiteY71" fmla="*/ 25569 h 192736"/>
                  <a:gd name="connsiteX72" fmla="*/ 6877 w 252955"/>
                  <a:gd name="connsiteY72" fmla="*/ 24687 h 192736"/>
                  <a:gd name="connsiteX73" fmla="*/ 6877 w 252955"/>
                  <a:gd name="connsiteY73" fmla="*/ 24423 h 192736"/>
                  <a:gd name="connsiteX74" fmla="*/ 5378 w 252955"/>
                  <a:gd name="connsiteY74" fmla="*/ 24158 h 192736"/>
                  <a:gd name="connsiteX75" fmla="*/ 3350 w 252955"/>
                  <a:gd name="connsiteY75" fmla="*/ 24423 h 192736"/>
                  <a:gd name="connsiteX76" fmla="*/ 3350 w 252955"/>
                  <a:gd name="connsiteY76" fmla="*/ 24687 h 192736"/>
                  <a:gd name="connsiteX77" fmla="*/ 3350 w 252955"/>
                  <a:gd name="connsiteY77" fmla="*/ 25569 h 192736"/>
                  <a:gd name="connsiteX78" fmla="*/ 2733 w 252955"/>
                  <a:gd name="connsiteY78" fmla="*/ 24687 h 192736"/>
                  <a:gd name="connsiteX79" fmla="*/ 2998 w 252955"/>
                  <a:gd name="connsiteY79" fmla="*/ 24423 h 192736"/>
                  <a:gd name="connsiteX80" fmla="*/ 3262 w 252955"/>
                  <a:gd name="connsiteY80" fmla="*/ 23541 h 192736"/>
                  <a:gd name="connsiteX81" fmla="*/ 2998 w 252955"/>
                  <a:gd name="connsiteY81" fmla="*/ 22924 h 192736"/>
                  <a:gd name="connsiteX82" fmla="*/ 2998 w 252955"/>
                  <a:gd name="connsiteY82" fmla="*/ 21778 h 192736"/>
                  <a:gd name="connsiteX83" fmla="*/ 2116 w 252955"/>
                  <a:gd name="connsiteY83" fmla="*/ 20896 h 192736"/>
                  <a:gd name="connsiteX84" fmla="*/ 1499 w 252955"/>
                  <a:gd name="connsiteY84" fmla="*/ 21160 h 192736"/>
                  <a:gd name="connsiteX85" fmla="*/ 1763 w 252955"/>
                  <a:gd name="connsiteY85" fmla="*/ 21425 h 192736"/>
                  <a:gd name="connsiteX86" fmla="*/ 1499 w 252955"/>
                  <a:gd name="connsiteY86" fmla="*/ 21689 h 192736"/>
                  <a:gd name="connsiteX87" fmla="*/ 882 w 252955"/>
                  <a:gd name="connsiteY87" fmla="*/ 21689 h 192736"/>
                  <a:gd name="connsiteX88" fmla="*/ 264 w 252955"/>
                  <a:gd name="connsiteY88" fmla="*/ 21689 h 192736"/>
                  <a:gd name="connsiteX89" fmla="*/ 264 w 252955"/>
                  <a:gd name="connsiteY89" fmla="*/ 20808 h 192736"/>
                  <a:gd name="connsiteX90" fmla="*/ 0 w 252955"/>
                  <a:gd name="connsiteY90" fmla="*/ 20191 h 192736"/>
                  <a:gd name="connsiteX91" fmla="*/ 882 w 252955"/>
                  <a:gd name="connsiteY91" fmla="*/ 19573 h 192736"/>
                  <a:gd name="connsiteX92" fmla="*/ 1146 w 252955"/>
                  <a:gd name="connsiteY92" fmla="*/ 19838 h 192736"/>
                  <a:gd name="connsiteX93" fmla="*/ 1411 w 252955"/>
                  <a:gd name="connsiteY93" fmla="*/ 19573 h 192736"/>
                  <a:gd name="connsiteX94" fmla="*/ 1146 w 252955"/>
                  <a:gd name="connsiteY94" fmla="*/ 19044 h 192736"/>
                  <a:gd name="connsiteX95" fmla="*/ 264 w 252955"/>
                  <a:gd name="connsiteY95" fmla="*/ 18427 h 192736"/>
                  <a:gd name="connsiteX96" fmla="*/ 882 w 252955"/>
                  <a:gd name="connsiteY96" fmla="*/ 18163 h 192736"/>
                  <a:gd name="connsiteX97" fmla="*/ 1499 w 252955"/>
                  <a:gd name="connsiteY97" fmla="*/ 18427 h 192736"/>
                  <a:gd name="connsiteX98" fmla="*/ 1499 w 252955"/>
                  <a:gd name="connsiteY98" fmla="*/ 17810 h 192736"/>
                  <a:gd name="connsiteX99" fmla="*/ 1763 w 252955"/>
                  <a:gd name="connsiteY99" fmla="*/ 16928 h 192736"/>
                  <a:gd name="connsiteX100" fmla="*/ 1499 w 252955"/>
                  <a:gd name="connsiteY100" fmla="*/ 16311 h 192736"/>
                  <a:gd name="connsiteX101" fmla="*/ 1499 w 252955"/>
                  <a:gd name="connsiteY101" fmla="*/ 17193 h 192736"/>
                  <a:gd name="connsiteX102" fmla="*/ 1234 w 252955"/>
                  <a:gd name="connsiteY102" fmla="*/ 15429 h 192736"/>
                  <a:gd name="connsiteX103" fmla="*/ 1499 w 252955"/>
                  <a:gd name="connsiteY103" fmla="*/ 15165 h 192736"/>
                  <a:gd name="connsiteX104" fmla="*/ 2381 w 252955"/>
                  <a:gd name="connsiteY104" fmla="*/ 15165 h 192736"/>
                  <a:gd name="connsiteX105" fmla="*/ 3879 w 252955"/>
                  <a:gd name="connsiteY105" fmla="*/ 15165 h 192736"/>
                  <a:gd name="connsiteX106" fmla="*/ 4497 w 252955"/>
                  <a:gd name="connsiteY106" fmla="*/ 14283 h 192736"/>
                  <a:gd name="connsiteX107" fmla="*/ 4497 w 252955"/>
                  <a:gd name="connsiteY107" fmla="*/ 13402 h 192736"/>
                  <a:gd name="connsiteX108" fmla="*/ 5378 w 252955"/>
                  <a:gd name="connsiteY108" fmla="*/ 13137 h 192736"/>
                  <a:gd name="connsiteX109" fmla="*/ 6260 w 252955"/>
                  <a:gd name="connsiteY109" fmla="*/ 13754 h 192736"/>
                  <a:gd name="connsiteX110" fmla="*/ 7406 w 252955"/>
                  <a:gd name="connsiteY110" fmla="*/ 13754 h 192736"/>
                  <a:gd name="connsiteX111" fmla="*/ 8288 w 252955"/>
                  <a:gd name="connsiteY111" fmla="*/ 13754 h 192736"/>
                  <a:gd name="connsiteX112" fmla="*/ 8905 w 252955"/>
                  <a:gd name="connsiteY112" fmla="*/ 12873 h 192736"/>
                  <a:gd name="connsiteX113" fmla="*/ 8023 w 252955"/>
                  <a:gd name="connsiteY113" fmla="*/ 12608 h 192736"/>
                  <a:gd name="connsiteX114" fmla="*/ 8641 w 252955"/>
                  <a:gd name="connsiteY114" fmla="*/ 11726 h 192736"/>
                  <a:gd name="connsiteX115" fmla="*/ 10404 w 252955"/>
                  <a:gd name="connsiteY115" fmla="*/ 11726 h 192736"/>
                  <a:gd name="connsiteX116" fmla="*/ 11903 w 252955"/>
                  <a:gd name="connsiteY116" fmla="*/ 11462 h 192736"/>
                  <a:gd name="connsiteX117" fmla="*/ 13666 w 252955"/>
                  <a:gd name="connsiteY117" fmla="*/ 10845 h 192736"/>
                  <a:gd name="connsiteX118" fmla="*/ 15165 w 252955"/>
                  <a:gd name="connsiteY118" fmla="*/ 9699 h 192736"/>
                  <a:gd name="connsiteX119" fmla="*/ 16311 w 252955"/>
                  <a:gd name="connsiteY119" fmla="*/ 8817 h 192736"/>
                  <a:gd name="connsiteX120" fmla="*/ 17457 w 252955"/>
                  <a:gd name="connsiteY120" fmla="*/ 7935 h 192736"/>
                  <a:gd name="connsiteX121" fmla="*/ 19485 w 252955"/>
                  <a:gd name="connsiteY121" fmla="*/ 7053 h 192736"/>
                  <a:gd name="connsiteX122" fmla="*/ 20367 w 252955"/>
                  <a:gd name="connsiteY122" fmla="*/ 5555 h 192736"/>
                  <a:gd name="connsiteX123" fmla="*/ 20984 w 252955"/>
                  <a:gd name="connsiteY123" fmla="*/ 5819 h 192736"/>
                  <a:gd name="connsiteX124" fmla="*/ 21866 w 252955"/>
                  <a:gd name="connsiteY124" fmla="*/ 5290 h 192736"/>
                  <a:gd name="connsiteX125" fmla="*/ 23894 w 252955"/>
                  <a:gd name="connsiteY125" fmla="*/ 3527 h 192736"/>
                  <a:gd name="connsiteX126" fmla="*/ 25922 w 252955"/>
                  <a:gd name="connsiteY126" fmla="*/ 2910 h 192736"/>
                  <a:gd name="connsiteX127" fmla="*/ 26803 w 252955"/>
                  <a:gd name="connsiteY127" fmla="*/ 2645 h 192736"/>
                  <a:gd name="connsiteX128" fmla="*/ 28214 w 252955"/>
                  <a:gd name="connsiteY128" fmla="*/ 882 h 192736"/>
                  <a:gd name="connsiteX129" fmla="*/ 29713 w 252955"/>
                  <a:gd name="connsiteY129" fmla="*/ 1763 h 192736"/>
                  <a:gd name="connsiteX130" fmla="*/ 30594 w 252955"/>
                  <a:gd name="connsiteY130" fmla="*/ 1763 h 192736"/>
                  <a:gd name="connsiteX131" fmla="*/ 29977 w 252955"/>
                  <a:gd name="connsiteY131" fmla="*/ 882 h 192736"/>
                  <a:gd name="connsiteX132" fmla="*/ 31741 w 252955"/>
                  <a:gd name="connsiteY132" fmla="*/ 882 h 192736"/>
                  <a:gd name="connsiteX133" fmla="*/ 33240 w 252955"/>
                  <a:gd name="connsiteY133" fmla="*/ 1146 h 192736"/>
                  <a:gd name="connsiteX134" fmla="*/ 32975 w 252955"/>
                  <a:gd name="connsiteY134" fmla="*/ 617 h 192736"/>
                  <a:gd name="connsiteX135" fmla="*/ 32975 w 252955"/>
                  <a:gd name="connsiteY135" fmla="*/ 0 h 192736"/>
                  <a:gd name="connsiteX136" fmla="*/ 33592 w 252955"/>
                  <a:gd name="connsiteY136" fmla="*/ 882 h 192736"/>
                  <a:gd name="connsiteX137" fmla="*/ 34738 w 252955"/>
                  <a:gd name="connsiteY137" fmla="*/ 882 h 192736"/>
                  <a:gd name="connsiteX138" fmla="*/ 34738 w 252955"/>
                  <a:gd name="connsiteY138" fmla="*/ 1499 h 192736"/>
                  <a:gd name="connsiteX139" fmla="*/ 35356 w 252955"/>
                  <a:gd name="connsiteY139" fmla="*/ 1763 h 192736"/>
                  <a:gd name="connsiteX140" fmla="*/ 35356 w 252955"/>
                  <a:gd name="connsiteY140" fmla="*/ 882 h 192736"/>
                  <a:gd name="connsiteX141" fmla="*/ 36237 w 252955"/>
                  <a:gd name="connsiteY141" fmla="*/ 617 h 192736"/>
                  <a:gd name="connsiteX142" fmla="*/ 36502 w 252955"/>
                  <a:gd name="connsiteY142" fmla="*/ 882 h 192736"/>
                  <a:gd name="connsiteX143" fmla="*/ 36502 w 252955"/>
                  <a:gd name="connsiteY143" fmla="*/ 1146 h 192736"/>
                  <a:gd name="connsiteX144" fmla="*/ 36855 w 252955"/>
                  <a:gd name="connsiteY144" fmla="*/ 2028 h 192736"/>
                  <a:gd name="connsiteX145" fmla="*/ 38001 w 252955"/>
                  <a:gd name="connsiteY145" fmla="*/ 2645 h 192736"/>
                  <a:gd name="connsiteX146" fmla="*/ 40293 w 252955"/>
                  <a:gd name="connsiteY146" fmla="*/ 3791 h 192736"/>
                  <a:gd name="connsiteX147" fmla="*/ 39676 w 252955"/>
                  <a:gd name="connsiteY147" fmla="*/ 4408 h 192736"/>
                  <a:gd name="connsiteX148" fmla="*/ 40293 w 252955"/>
                  <a:gd name="connsiteY148" fmla="*/ 4673 h 192736"/>
                  <a:gd name="connsiteX149" fmla="*/ 40293 w 252955"/>
                  <a:gd name="connsiteY149" fmla="*/ 4937 h 192736"/>
                  <a:gd name="connsiteX150" fmla="*/ 40910 w 252955"/>
                  <a:gd name="connsiteY150" fmla="*/ 4056 h 192736"/>
                  <a:gd name="connsiteX151" fmla="*/ 42938 w 252955"/>
                  <a:gd name="connsiteY151" fmla="*/ 4408 h 192736"/>
                  <a:gd name="connsiteX152" fmla="*/ 44966 w 252955"/>
                  <a:gd name="connsiteY152" fmla="*/ 4937 h 192736"/>
                  <a:gd name="connsiteX153" fmla="*/ 44966 w 252955"/>
                  <a:gd name="connsiteY153" fmla="*/ 5819 h 192736"/>
                  <a:gd name="connsiteX154" fmla="*/ 44966 w 252955"/>
                  <a:gd name="connsiteY154" fmla="*/ 6965 h 192736"/>
                  <a:gd name="connsiteX155" fmla="*/ 45583 w 252955"/>
                  <a:gd name="connsiteY155" fmla="*/ 6348 h 192736"/>
                  <a:gd name="connsiteX156" fmla="*/ 46200 w 252955"/>
                  <a:gd name="connsiteY156" fmla="*/ 5731 h 192736"/>
                  <a:gd name="connsiteX157" fmla="*/ 46817 w 252955"/>
                  <a:gd name="connsiteY157" fmla="*/ 5731 h 192736"/>
                  <a:gd name="connsiteX158" fmla="*/ 46200 w 252955"/>
                  <a:gd name="connsiteY158" fmla="*/ 4849 h 192736"/>
                  <a:gd name="connsiteX159" fmla="*/ 46817 w 252955"/>
                  <a:gd name="connsiteY159" fmla="*/ 4849 h 192736"/>
                  <a:gd name="connsiteX160" fmla="*/ 51491 w 252955"/>
                  <a:gd name="connsiteY160" fmla="*/ 4849 h 192736"/>
                  <a:gd name="connsiteX161" fmla="*/ 53518 w 252955"/>
                  <a:gd name="connsiteY161" fmla="*/ 5467 h 192736"/>
                  <a:gd name="connsiteX162" fmla="*/ 54665 w 252955"/>
                  <a:gd name="connsiteY162" fmla="*/ 4849 h 192736"/>
                  <a:gd name="connsiteX163" fmla="*/ 56075 w 252955"/>
                  <a:gd name="connsiteY163" fmla="*/ 4585 h 192736"/>
                  <a:gd name="connsiteX164" fmla="*/ 56957 w 252955"/>
                  <a:gd name="connsiteY164" fmla="*/ 4849 h 192736"/>
                  <a:gd name="connsiteX165" fmla="*/ 57486 w 252955"/>
                  <a:gd name="connsiteY165" fmla="*/ 5114 h 192736"/>
                  <a:gd name="connsiteX166" fmla="*/ 58103 w 252955"/>
                  <a:gd name="connsiteY166" fmla="*/ 4497 h 192736"/>
                  <a:gd name="connsiteX167" fmla="*/ 60484 w 252955"/>
                  <a:gd name="connsiteY167" fmla="*/ 4761 h 192736"/>
                  <a:gd name="connsiteX168" fmla="*/ 62247 w 252955"/>
                  <a:gd name="connsiteY168" fmla="*/ 4232 h 192736"/>
                  <a:gd name="connsiteX169" fmla="*/ 62247 w 252955"/>
                  <a:gd name="connsiteY169" fmla="*/ 3350 h 192736"/>
                  <a:gd name="connsiteX170" fmla="*/ 64628 w 252955"/>
                  <a:gd name="connsiteY170" fmla="*/ 2469 h 192736"/>
                  <a:gd name="connsiteX171" fmla="*/ 64892 w 252955"/>
                  <a:gd name="connsiteY171" fmla="*/ 2204 h 192736"/>
                  <a:gd name="connsiteX172" fmla="*/ 67802 w 252955"/>
                  <a:gd name="connsiteY172" fmla="*/ 3086 h 192736"/>
                  <a:gd name="connsiteX173" fmla="*/ 70447 w 252955"/>
                  <a:gd name="connsiteY173" fmla="*/ 2821 h 192736"/>
                  <a:gd name="connsiteX174" fmla="*/ 74502 w 252955"/>
                  <a:gd name="connsiteY174" fmla="*/ 1940 h 192736"/>
                  <a:gd name="connsiteX175" fmla="*/ 76795 w 252955"/>
                  <a:gd name="connsiteY175" fmla="*/ 2557 h 192736"/>
                  <a:gd name="connsiteX176" fmla="*/ 78206 w 252955"/>
                  <a:gd name="connsiteY176" fmla="*/ 3968 h 192736"/>
                  <a:gd name="connsiteX177" fmla="*/ 80586 w 252955"/>
                  <a:gd name="connsiteY177" fmla="*/ 4585 h 192736"/>
                  <a:gd name="connsiteX178" fmla="*/ 81997 w 252955"/>
                  <a:gd name="connsiteY178" fmla="*/ 4849 h 192736"/>
                  <a:gd name="connsiteX179" fmla="*/ 83760 w 252955"/>
                  <a:gd name="connsiteY179" fmla="*/ 6348 h 192736"/>
                  <a:gd name="connsiteX180" fmla="*/ 85523 w 252955"/>
                  <a:gd name="connsiteY180" fmla="*/ 6084 h 192736"/>
                  <a:gd name="connsiteX181" fmla="*/ 87816 w 252955"/>
                  <a:gd name="connsiteY181" fmla="*/ 5819 h 192736"/>
                  <a:gd name="connsiteX182" fmla="*/ 88080 w 252955"/>
                  <a:gd name="connsiteY182" fmla="*/ 6701 h 192736"/>
                  <a:gd name="connsiteX183" fmla="*/ 90461 w 252955"/>
                  <a:gd name="connsiteY183" fmla="*/ 5555 h 192736"/>
                  <a:gd name="connsiteX184" fmla="*/ 90990 w 252955"/>
                  <a:gd name="connsiteY184" fmla="*/ 5290 h 192736"/>
                  <a:gd name="connsiteX185" fmla="*/ 92753 w 252955"/>
                  <a:gd name="connsiteY185" fmla="*/ 4673 h 192736"/>
                  <a:gd name="connsiteX186" fmla="*/ 96544 w 252955"/>
                  <a:gd name="connsiteY186" fmla="*/ 5290 h 192736"/>
                  <a:gd name="connsiteX187" fmla="*/ 97162 w 252955"/>
                  <a:gd name="connsiteY187" fmla="*/ 5555 h 192736"/>
                  <a:gd name="connsiteX188" fmla="*/ 98925 w 252955"/>
                  <a:gd name="connsiteY188" fmla="*/ 5290 h 192736"/>
                  <a:gd name="connsiteX189" fmla="*/ 100071 w 252955"/>
                  <a:gd name="connsiteY189" fmla="*/ 6172 h 192736"/>
                  <a:gd name="connsiteX190" fmla="*/ 102099 w 252955"/>
                  <a:gd name="connsiteY190" fmla="*/ 6172 h 192736"/>
                  <a:gd name="connsiteX191" fmla="*/ 102981 w 252955"/>
                  <a:gd name="connsiteY191" fmla="*/ 6789 h 192736"/>
                  <a:gd name="connsiteX192" fmla="*/ 105626 w 252955"/>
                  <a:gd name="connsiteY192" fmla="*/ 6172 h 192736"/>
                  <a:gd name="connsiteX193" fmla="*/ 108535 w 252955"/>
                  <a:gd name="connsiteY193" fmla="*/ 6436 h 192736"/>
                  <a:gd name="connsiteX194" fmla="*/ 110828 w 252955"/>
                  <a:gd name="connsiteY194" fmla="*/ 5290 h 192736"/>
                  <a:gd name="connsiteX195" fmla="*/ 114354 w 252955"/>
                  <a:gd name="connsiteY195" fmla="*/ 6172 h 192736"/>
                  <a:gd name="connsiteX196" fmla="*/ 114619 w 252955"/>
                  <a:gd name="connsiteY196" fmla="*/ 6172 h 192736"/>
                  <a:gd name="connsiteX197" fmla="*/ 119027 w 252955"/>
                  <a:gd name="connsiteY197" fmla="*/ 7318 h 192736"/>
                  <a:gd name="connsiteX198" fmla="*/ 120526 w 252955"/>
                  <a:gd name="connsiteY198" fmla="*/ 6701 h 192736"/>
                  <a:gd name="connsiteX199" fmla="*/ 122025 w 252955"/>
                  <a:gd name="connsiteY199" fmla="*/ 7582 h 192736"/>
                  <a:gd name="connsiteX200" fmla="*/ 125199 w 252955"/>
                  <a:gd name="connsiteY200" fmla="*/ 7582 h 192736"/>
                  <a:gd name="connsiteX201" fmla="*/ 128461 w 252955"/>
                  <a:gd name="connsiteY201" fmla="*/ 7318 h 192736"/>
                  <a:gd name="connsiteX202" fmla="*/ 131371 w 252955"/>
                  <a:gd name="connsiteY202" fmla="*/ 7582 h 192736"/>
                  <a:gd name="connsiteX203" fmla="*/ 131988 w 252955"/>
                  <a:gd name="connsiteY203" fmla="*/ 8200 h 192736"/>
                  <a:gd name="connsiteX204" fmla="*/ 131988 w 252955"/>
                  <a:gd name="connsiteY204" fmla="*/ 9081 h 192736"/>
                  <a:gd name="connsiteX205" fmla="*/ 133487 w 252955"/>
                  <a:gd name="connsiteY205" fmla="*/ 9346 h 192736"/>
                  <a:gd name="connsiteX206" fmla="*/ 134633 w 252955"/>
                  <a:gd name="connsiteY206" fmla="*/ 9610 h 192736"/>
                  <a:gd name="connsiteX207" fmla="*/ 136396 w 252955"/>
                  <a:gd name="connsiteY207" fmla="*/ 8729 h 192736"/>
                  <a:gd name="connsiteX208" fmla="*/ 137543 w 252955"/>
                  <a:gd name="connsiteY208" fmla="*/ 8993 h 192736"/>
                  <a:gd name="connsiteX209" fmla="*/ 138689 w 252955"/>
                  <a:gd name="connsiteY209" fmla="*/ 10139 h 192736"/>
                  <a:gd name="connsiteX210" fmla="*/ 138953 w 252955"/>
                  <a:gd name="connsiteY210" fmla="*/ 11286 h 192736"/>
                  <a:gd name="connsiteX211" fmla="*/ 139482 w 252955"/>
                  <a:gd name="connsiteY211" fmla="*/ 11903 h 192736"/>
                  <a:gd name="connsiteX212" fmla="*/ 139747 w 252955"/>
                  <a:gd name="connsiteY212" fmla="*/ 11638 h 192736"/>
                  <a:gd name="connsiteX213" fmla="*/ 140364 w 252955"/>
                  <a:gd name="connsiteY213" fmla="*/ 11374 h 192736"/>
                  <a:gd name="connsiteX214" fmla="*/ 141246 w 252955"/>
                  <a:gd name="connsiteY214" fmla="*/ 11991 h 192736"/>
                  <a:gd name="connsiteX215" fmla="*/ 141246 w 252955"/>
                  <a:gd name="connsiteY215" fmla="*/ 11374 h 192736"/>
                  <a:gd name="connsiteX216" fmla="*/ 142128 w 252955"/>
                  <a:gd name="connsiteY216" fmla="*/ 11374 h 192736"/>
                  <a:gd name="connsiteX217" fmla="*/ 143274 w 252955"/>
                  <a:gd name="connsiteY217" fmla="*/ 11374 h 192736"/>
                  <a:gd name="connsiteX218" fmla="*/ 144420 w 252955"/>
                  <a:gd name="connsiteY218" fmla="*/ 10757 h 192736"/>
                  <a:gd name="connsiteX219" fmla="*/ 145302 w 252955"/>
                  <a:gd name="connsiteY219" fmla="*/ 9875 h 192736"/>
                  <a:gd name="connsiteX220" fmla="*/ 146801 w 252955"/>
                  <a:gd name="connsiteY220" fmla="*/ 10492 h 192736"/>
                  <a:gd name="connsiteX221" fmla="*/ 147418 w 252955"/>
                  <a:gd name="connsiteY221" fmla="*/ 10757 h 192736"/>
                  <a:gd name="connsiteX222" fmla="*/ 147682 w 252955"/>
                  <a:gd name="connsiteY222" fmla="*/ 9875 h 192736"/>
                  <a:gd name="connsiteX223" fmla="*/ 149181 w 252955"/>
                  <a:gd name="connsiteY223" fmla="*/ 10139 h 192736"/>
                  <a:gd name="connsiteX224" fmla="*/ 150327 w 252955"/>
                  <a:gd name="connsiteY224" fmla="*/ 8729 h 192736"/>
                  <a:gd name="connsiteX225" fmla="*/ 151209 w 252955"/>
                  <a:gd name="connsiteY225" fmla="*/ 9610 h 192736"/>
                  <a:gd name="connsiteX226" fmla="*/ 151826 w 252955"/>
                  <a:gd name="connsiteY226" fmla="*/ 10757 h 192736"/>
                  <a:gd name="connsiteX227" fmla="*/ 152972 w 252955"/>
                  <a:gd name="connsiteY227" fmla="*/ 11021 h 192736"/>
                  <a:gd name="connsiteX228" fmla="*/ 155353 w 252955"/>
                  <a:gd name="connsiteY228" fmla="*/ 11903 h 192736"/>
                  <a:gd name="connsiteX229" fmla="*/ 155353 w 252955"/>
                  <a:gd name="connsiteY229" fmla="*/ 11286 h 192736"/>
                  <a:gd name="connsiteX230" fmla="*/ 157645 w 252955"/>
                  <a:gd name="connsiteY230" fmla="*/ 11903 h 192736"/>
                  <a:gd name="connsiteX231" fmla="*/ 159144 w 252955"/>
                  <a:gd name="connsiteY231" fmla="*/ 15077 h 192736"/>
                  <a:gd name="connsiteX232" fmla="*/ 155970 w 252955"/>
                  <a:gd name="connsiteY232" fmla="*/ 17105 h 192736"/>
                  <a:gd name="connsiteX233" fmla="*/ 157733 w 252955"/>
                  <a:gd name="connsiteY233" fmla="*/ 18251 h 192736"/>
                  <a:gd name="connsiteX234" fmla="*/ 158615 w 252955"/>
                  <a:gd name="connsiteY234" fmla="*/ 17986 h 192736"/>
                  <a:gd name="connsiteX235" fmla="*/ 159232 w 252955"/>
                  <a:gd name="connsiteY235" fmla="*/ 16223 h 192736"/>
                  <a:gd name="connsiteX236" fmla="*/ 160731 w 252955"/>
                  <a:gd name="connsiteY236" fmla="*/ 16840 h 192736"/>
                  <a:gd name="connsiteX237" fmla="*/ 160996 w 252955"/>
                  <a:gd name="connsiteY237" fmla="*/ 18339 h 192736"/>
                  <a:gd name="connsiteX238" fmla="*/ 163905 w 252955"/>
                  <a:gd name="connsiteY238" fmla="*/ 18956 h 192736"/>
                  <a:gd name="connsiteX239" fmla="*/ 166815 w 252955"/>
                  <a:gd name="connsiteY239" fmla="*/ 20367 h 192736"/>
                  <a:gd name="connsiteX240" fmla="*/ 170341 w 252955"/>
                  <a:gd name="connsiteY240" fmla="*/ 20367 h 192736"/>
                  <a:gd name="connsiteX241" fmla="*/ 171840 w 252955"/>
                  <a:gd name="connsiteY241" fmla="*/ 20367 h 192736"/>
                  <a:gd name="connsiteX242" fmla="*/ 172105 w 252955"/>
                  <a:gd name="connsiteY242" fmla="*/ 21513 h 192736"/>
                  <a:gd name="connsiteX243" fmla="*/ 174133 w 252955"/>
                  <a:gd name="connsiteY243" fmla="*/ 22130 h 192736"/>
                  <a:gd name="connsiteX244" fmla="*/ 175014 w 252955"/>
                  <a:gd name="connsiteY244" fmla="*/ 23276 h 192736"/>
                  <a:gd name="connsiteX245" fmla="*/ 175632 w 252955"/>
                  <a:gd name="connsiteY245" fmla="*/ 23276 h 192736"/>
                  <a:gd name="connsiteX246" fmla="*/ 176249 w 252955"/>
                  <a:gd name="connsiteY246" fmla="*/ 23805 h 192736"/>
                  <a:gd name="connsiteX247" fmla="*/ 176866 w 252955"/>
                  <a:gd name="connsiteY247" fmla="*/ 23276 h 192736"/>
                  <a:gd name="connsiteX248" fmla="*/ 178365 w 252955"/>
                  <a:gd name="connsiteY248" fmla="*/ 24158 h 192736"/>
                  <a:gd name="connsiteX249" fmla="*/ 179511 w 252955"/>
                  <a:gd name="connsiteY249" fmla="*/ 22659 h 192736"/>
                  <a:gd name="connsiteX250" fmla="*/ 181274 w 252955"/>
                  <a:gd name="connsiteY250" fmla="*/ 23276 h 192736"/>
                  <a:gd name="connsiteX251" fmla="*/ 183302 w 252955"/>
                  <a:gd name="connsiteY251" fmla="*/ 23276 h 192736"/>
                  <a:gd name="connsiteX252" fmla="*/ 183919 w 252955"/>
                  <a:gd name="connsiteY252" fmla="*/ 25922 h 192736"/>
                  <a:gd name="connsiteX253" fmla="*/ 185066 w 252955"/>
                  <a:gd name="connsiteY253" fmla="*/ 26186 h 192736"/>
                  <a:gd name="connsiteX254" fmla="*/ 187975 w 252955"/>
                  <a:gd name="connsiteY254" fmla="*/ 25922 h 192736"/>
                  <a:gd name="connsiteX255" fmla="*/ 190003 w 252955"/>
                  <a:gd name="connsiteY255" fmla="*/ 25304 h 192736"/>
                  <a:gd name="connsiteX256" fmla="*/ 191766 w 252955"/>
                  <a:gd name="connsiteY256" fmla="*/ 25569 h 192736"/>
                  <a:gd name="connsiteX257" fmla="*/ 192383 w 252955"/>
                  <a:gd name="connsiteY257" fmla="*/ 26451 h 192736"/>
                  <a:gd name="connsiteX258" fmla="*/ 193530 w 252955"/>
                  <a:gd name="connsiteY258" fmla="*/ 26186 h 192736"/>
                  <a:gd name="connsiteX259" fmla="*/ 194676 w 252955"/>
                  <a:gd name="connsiteY259" fmla="*/ 25304 h 192736"/>
                  <a:gd name="connsiteX260" fmla="*/ 194940 w 252955"/>
                  <a:gd name="connsiteY260" fmla="*/ 25569 h 192736"/>
                  <a:gd name="connsiteX261" fmla="*/ 199349 w 252955"/>
                  <a:gd name="connsiteY261" fmla="*/ 25569 h 192736"/>
                  <a:gd name="connsiteX262" fmla="*/ 199966 w 252955"/>
                  <a:gd name="connsiteY262" fmla="*/ 24423 h 192736"/>
                  <a:gd name="connsiteX263" fmla="*/ 199966 w 252955"/>
                  <a:gd name="connsiteY263" fmla="*/ 22659 h 192736"/>
                  <a:gd name="connsiteX264" fmla="*/ 200583 w 252955"/>
                  <a:gd name="connsiteY264" fmla="*/ 22042 h 192736"/>
                  <a:gd name="connsiteX265" fmla="*/ 202964 w 252955"/>
                  <a:gd name="connsiteY265" fmla="*/ 22659 h 192736"/>
                  <a:gd name="connsiteX266" fmla="*/ 203581 w 252955"/>
                  <a:gd name="connsiteY266" fmla="*/ 23276 h 192736"/>
                  <a:gd name="connsiteX267" fmla="*/ 205961 w 252955"/>
                  <a:gd name="connsiteY267" fmla="*/ 24158 h 192736"/>
                  <a:gd name="connsiteX268" fmla="*/ 208254 w 252955"/>
                  <a:gd name="connsiteY268" fmla="*/ 24158 h 192736"/>
                  <a:gd name="connsiteX269" fmla="*/ 209135 w 252955"/>
                  <a:gd name="connsiteY269" fmla="*/ 25040 h 192736"/>
                  <a:gd name="connsiteX270" fmla="*/ 209400 w 252955"/>
                  <a:gd name="connsiteY270" fmla="*/ 25922 h 192736"/>
                  <a:gd name="connsiteX271" fmla="*/ 211163 w 252955"/>
                  <a:gd name="connsiteY271" fmla="*/ 25922 h 192736"/>
                  <a:gd name="connsiteX272" fmla="*/ 213808 w 252955"/>
                  <a:gd name="connsiteY272" fmla="*/ 25922 h 192736"/>
                  <a:gd name="connsiteX273" fmla="*/ 214955 w 252955"/>
                  <a:gd name="connsiteY273" fmla="*/ 27420 h 192736"/>
                  <a:gd name="connsiteX274" fmla="*/ 215219 w 252955"/>
                  <a:gd name="connsiteY274" fmla="*/ 28831 h 192736"/>
                  <a:gd name="connsiteX275" fmla="*/ 215219 w 252955"/>
                  <a:gd name="connsiteY275" fmla="*/ 29977 h 192736"/>
                  <a:gd name="connsiteX276" fmla="*/ 216365 w 252955"/>
                  <a:gd name="connsiteY276" fmla="*/ 30594 h 192736"/>
                  <a:gd name="connsiteX277" fmla="*/ 215219 w 252955"/>
                  <a:gd name="connsiteY277" fmla="*/ 31212 h 192736"/>
                  <a:gd name="connsiteX278" fmla="*/ 214955 w 252955"/>
                  <a:gd name="connsiteY278" fmla="*/ 31829 h 192736"/>
                  <a:gd name="connsiteX279" fmla="*/ 215219 w 252955"/>
                  <a:gd name="connsiteY279" fmla="*/ 32711 h 192736"/>
                  <a:gd name="connsiteX280" fmla="*/ 217512 w 252955"/>
                  <a:gd name="connsiteY280" fmla="*/ 32975 h 192736"/>
                  <a:gd name="connsiteX281" fmla="*/ 218129 w 252955"/>
                  <a:gd name="connsiteY281" fmla="*/ 32711 h 192736"/>
                  <a:gd name="connsiteX282" fmla="*/ 219539 w 252955"/>
                  <a:gd name="connsiteY282" fmla="*/ 32093 h 192736"/>
                  <a:gd name="connsiteX283" fmla="*/ 219804 w 252955"/>
                  <a:gd name="connsiteY283" fmla="*/ 31212 h 192736"/>
                  <a:gd name="connsiteX284" fmla="*/ 220950 w 252955"/>
                  <a:gd name="connsiteY284" fmla="*/ 31212 h 192736"/>
                  <a:gd name="connsiteX285" fmla="*/ 224477 w 252955"/>
                  <a:gd name="connsiteY285" fmla="*/ 32093 h 192736"/>
                  <a:gd name="connsiteX286" fmla="*/ 224741 w 252955"/>
                  <a:gd name="connsiteY286" fmla="*/ 33240 h 192736"/>
                  <a:gd name="connsiteX287" fmla="*/ 225623 w 252955"/>
                  <a:gd name="connsiteY287" fmla="*/ 34121 h 192736"/>
                  <a:gd name="connsiteX288" fmla="*/ 226505 w 252955"/>
                  <a:gd name="connsiteY288" fmla="*/ 35003 h 192736"/>
                  <a:gd name="connsiteX289" fmla="*/ 228268 w 252955"/>
                  <a:gd name="connsiteY289" fmla="*/ 33857 h 192736"/>
                  <a:gd name="connsiteX290" fmla="*/ 230649 w 252955"/>
                  <a:gd name="connsiteY290" fmla="*/ 33240 h 192736"/>
                  <a:gd name="connsiteX291" fmla="*/ 231178 w 252955"/>
                  <a:gd name="connsiteY291" fmla="*/ 32975 h 192736"/>
                  <a:gd name="connsiteX292" fmla="*/ 234087 w 252955"/>
                  <a:gd name="connsiteY292" fmla="*/ 33504 h 192736"/>
                  <a:gd name="connsiteX293" fmla="*/ 236732 w 252955"/>
                  <a:gd name="connsiteY293" fmla="*/ 35532 h 192736"/>
                  <a:gd name="connsiteX294" fmla="*/ 238231 w 252955"/>
                  <a:gd name="connsiteY294" fmla="*/ 35532 h 192736"/>
                  <a:gd name="connsiteX295" fmla="*/ 238496 w 252955"/>
                  <a:gd name="connsiteY295" fmla="*/ 34915 h 192736"/>
                  <a:gd name="connsiteX296" fmla="*/ 239377 w 252955"/>
                  <a:gd name="connsiteY296" fmla="*/ 36061 h 192736"/>
                  <a:gd name="connsiteX297" fmla="*/ 240259 w 252955"/>
                  <a:gd name="connsiteY297" fmla="*/ 35444 h 192736"/>
                  <a:gd name="connsiteX298" fmla="*/ 240259 w 252955"/>
                  <a:gd name="connsiteY298" fmla="*/ 33680 h 192736"/>
                  <a:gd name="connsiteX299" fmla="*/ 240876 w 252955"/>
                  <a:gd name="connsiteY299" fmla="*/ 32799 h 192736"/>
                  <a:gd name="connsiteX300" fmla="*/ 242287 w 252955"/>
                  <a:gd name="connsiteY300" fmla="*/ 32799 h 192736"/>
                  <a:gd name="connsiteX301" fmla="*/ 244315 w 252955"/>
                  <a:gd name="connsiteY301" fmla="*/ 32534 h 192736"/>
                  <a:gd name="connsiteX302" fmla="*/ 245726 w 252955"/>
                  <a:gd name="connsiteY302" fmla="*/ 31917 h 192736"/>
                  <a:gd name="connsiteX303" fmla="*/ 246607 w 252955"/>
                  <a:gd name="connsiteY303" fmla="*/ 31652 h 192736"/>
                  <a:gd name="connsiteX304" fmla="*/ 247753 w 252955"/>
                  <a:gd name="connsiteY304" fmla="*/ 33063 h 192736"/>
                  <a:gd name="connsiteX305" fmla="*/ 248370 w 252955"/>
                  <a:gd name="connsiteY305" fmla="*/ 32534 h 192736"/>
                  <a:gd name="connsiteX306" fmla="*/ 250663 w 252955"/>
                  <a:gd name="connsiteY306" fmla="*/ 32799 h 192736"/>
                  <a:gd name="connsiteX307" fmla="*/ 250663 w 252955"/>
                  <a:gd name="connsiteY307" fmla="*/ 33680 h 192736"/>
                  <a:gd name="connsiteX308" fmla="*/ 249781 w 252955"/>
                  <a:gd name="connsiteY308" fmla="*/ 33680 h 192736"/>
                  <a:gd name="connsiteX309" fmla="*/ 249164 w 252955"/>
                  <a:gd name="connsiteY309" fmla="*/ 34297 h 192736"/>
                  <a:gd name="connsiteX310" fmla="*/ 249428 w 252955"/>
                  <a:gd name="connsiteY310" fmla="*/ 35179 h 192736"/>
                  <a:gd name="connsiteX311" fmla="*/ 250310 w 252955"/>
                  <a:gd name="connsiteY311" fmla="*/ 36061 h 192736"/>
                  <a:gd name="connsiteX312" fmla="*/ 250575 w 252955"/>
                  <a:gd name="connsiteY312" fmla="*/ 35444 h 192736"/>
                  <a:gd name="connsiteX313" fmla="*/ 252338 w 252955"/>
                  <a:gd name="connsiteY313" fmla="*/ 36325 h 192736"/>
                  <a:gd name="connsiteX314" fmla="*/ 252955 w 252955"/>
                  <a:gd name="connsiteY314" fmla="*/ 36943 h 192736"/>
                  <a:gd name="connsiteX315" fmla="*/ 252691 w 252955"/>
                  <a:gd name="connsiteY315" fmla="*/ 37824 h 192736"/>
                  <a:gd name="connsiteX316" fmla="*/ 251544 w 252955"/>
                  <a:gd name="connsiteY316" fmla="*/ 38353 h 192736"/>
                  <a:gd name="connsiteX317" fmla="*/ 250663 w 252955"/>
                  <a:gd name="connsiteY317" fmla="*/ 38970 h 192736"/>
                  <a:gd name="connsiteX318" fmla="*/ 250046 w 252955"/>
                  <a:gd name="connsiteY318" fmla="*/ 38353 h 192736"/>
                  <a:gd name="connsiteX319" fmla="*/ 249781 w 252955"/>
                  <a:gd name="connsiteY319" fmla="*/ 38089 h 192736"/>
                  <a:gd name="connsiteX320" fmla="*/ 249164 w 252955"/>
                  <a:gd name="connsiteY320" fmla="*/ 37824 h 192736"/>
                  <a:gd name="connsiteX321" fmla="*/ 248547 w 252955"/>
                  <a:gd name="connsiteY321" fmla="*/ 38353 h 192736"/>
                  <a:gd name="connsiteX322" fmla="*/ 248282 w 252955"/>
                  <a:gd name="connsiteY322" fmla="*/ 39235 h 192736"/>
                  <a:gd name="connsiteX323" fmla="*/ 248547 w 252955"/>
                  <a:gd name="connsiteY323" fmla="*/ 40998 h 192736"/>
                  <a:gd name="connsiteX324" fmla="*/ 248547 w 252955"/>
                  <a:gd name="connsiteY324" fmla="*/ 41263 h 192736"/>
                  <a:gd name="connsiteX325" fmla="*/ 248811 w 252955"/>
                  <a:gd name="connsiteY325" fmla="*/ 41527 h 192736"/>
                  <a:gd name="connsiteX326" fmla="*/ 249428 w 252955"/>
                  <a:gd name="connsiteY326" fmla="*/ 41527 h 192736"/>
                  <a:gd name="connsiteX327" fmla="*/ 250046 w 252955"/>
                  <a:gd name="connsiteY327" fmla="*/ 41527 h 192736"/>
                  <a:gd name="connsiteX328" fmla="*/ 250663 w 252955"/>
                  <a:gd name="connsiteY328" fmla="*/ 43291 h 192736"/>
                  <a:gd name="connsiteX329" fmla="*/ 250398 w 252955"/>
                  <a:gd name="connsiteY329" fmla="*/ 45054 h 192736"/>
                  <a:gd name="connsiteX330" fmla="*/ 251280 w 252955"/>
                  <a:gd name="connsiteY330" fmla="*/ 45319 h 192736"/>
                  <a:gd name="connsiteX331" fmla="*/ 250663 w 252955"/>
                  <a:gd name="connsiteY331" fmla="*/ 45583 h 192736"/>
                  <a:gd name="connsiteX332" fmla="*/ 250663 w 252955"/>
                  <a:gd name="connsiteY332" fmla="*/ 46200 h 192736"/>
                  <a:gd name="connsiteX333" fmla="*/ 250046 w 252955"/>
                  <a:gd name="connsiteY333" fmla="*/ 47611 h 192736"/>
                  <a:gd name="connsiteX334" fmla="*/ 249781 w 252955"/>
                  <a:gd name="connsiteY334" fmla="*/ 47611 h 192736"/>
                  <a:gd name="connsiteX335" fmla="*/ 248635 w 252955"/>
                  <a:gd name="connsiteY335" fmla="*/ 48140 h 192736"/>
                  <a:gd name="connsiteX336" fmla="*/ 246254 w 252955"/>
                  <a:gd name="connsiteY336" fmla="*/ 49903 h 192736"/>
                  <a:gd name="connsiteX337" fmla="*/ 245108 w 252955"/>
                  <a:gd name="connsiteY337" fmla="*/ 50785 h 192736"/>
                  <a:gd name="connsiteX338" fmla="*/ 243962 w 252955"/>
                  <a:gd name="connsiteY338" fmla="*/ 51314 h 192736"/>
                  <a:gd name="connsiteX339" fmla="*/ 242199 w 252955"/>
                  <a:gd name="connsiteY339" fmla="*/ 51579 h 192736"/>
                  <a:gd name="connsiteX340" fmla="*/ 239818 w 252955"/>
                  <a:gd name="connsiteY340" fmla="*/ 52108 h 192736"/>
                  <a:gd name="connsiteX341" fmla="*/ 238936 w 252955"/>
                  <a:gd name="connsiteY341" fmla="*/ 53606 h 192736"/>
                  <a:gd name="connsiteX342" fmla="*/ 237438 w 252955"/>
                  <a:gd name="connsiteY342" fmla="*/ 54224 h 192736"/>
                  <a:gd name="connsiteX343" fmla="*/ 235145 w 252955"/>
                  <a:gd name="connsiteY343" fmla="*/ 56251 h 192736"/>
                  <a:gd name="connsiteX344" fmla="*/ 231354 w 252955"/>
                  <a:gd name="connsiteY344" fmla="*/ 57398 h 192736"/>
                  <a:gd name="connsiteX345" fmla="*/ 230208 w 252955"/>
                  <a:gd name="connsiteY345" fmla="*/ 58544 h 192736"/>
                  <a:gd name="connsiteX346" fmla="*/ 229943 w 252955"/>
                  <a:gd name="connsiteY346" fmla="*/ 59690 h 192736"/>
                  <a:gd name="connsiteX347" fmla="*/ 229326 w 252955"/>
                  <a:gd name="connsiteY347" fmla="*/ 61453 h 192736"/>
                  <a:gd name="connsiteX348" fmla="*/ 228709 w 252955"/>
                  <a:gd name="connsiteY348" fmla="*/ 62071 h 192736"/>
                  <a:gd name="connsiteX349" fmla="*/ 226681 w 252955"/>
                  <a:gd name="connsiteY349" fmla="*/ 62688 h 192736"/>
                  <a:gd name="connsiteX350" fmla="*/ 224653 w 252955"/>
                  <a:gd name="connsiteY350" fmla="*/ 62688 h 192736"/>
                  <a:gd name="connsiteX351" fmla="*/ 222008 w 252955"/>
                  <a:gd name="connsiteY351" fmla="*/ 63217 h 192736"/>
                  <a:gd name="connsiteX352" fmla="*/ 219716 w 252955"/>
                  <a:gd name="connsiteY352" fmla="*/ 63481 h 192736"/>
                  <a:gd name="connsiteX353" fmla="*/ 217952 w 252955"/>
                  <a:gd name="connsiteY353" fmla="*/ 64098 h 192736"/>
                  <a:gd name="connsiteX354" fmla="*/ 216542 w 252955"/>
                  <a:gd name="connsiteY354" fmla="*/ 63834 h 192736"/>
                  <a:gd name="connsiteX355" fmla="*/ 214161 w 252955"/>
                  <a:gd name="connsiteY355" fmla="*/ 64980 h 192736"/>
                  <a:gd name="connsiteX356" fmla="*/ 210634 w 252955"/>
                  <a:gd name="connsiteY356" fmla="*/ 65597 h 192736"/>
                  <a:gd name="connsiteX357" fmla="*/ 209488 w 252955"/>
                  <a:gd name="connsiteY357" fmla="*/ 66479 h 192736"/>
                  <a:gd name="connsiteX358" fmla="*/ 207725 w 252955"/>
                  <a:gd name="connsiteY358" fmla="*/ 66744 h 192736"/>
                  <a:gd name="connsiteX359" fmla="*/ 205080 w 252955"/>
                  <a:gd name="connsiteY359" fmla="*/ 67890 h 192736"/>
                  <a:gd name="connsiteX360" fmla="*/ 204815 w 252955"/>
                  <a:gd name="connsiteY360" fmla="*/ 69036 h 192736"/>
                  <a:gd name="connsiteX361" fmla="*/ 203934 w 252955"/>
                  <a:gd name="connsiteY361" fmla="*/ 69036 h 192736"/>
                  <a:gd name="connsiteX362" fmla="*/ 203934 w 252955"/>
                  <a:gd name="connsiteY362" fmla="*/ 69918 h 192736"/>
                  <a:gd name="connsiteX363" fmla="*/ 203669 w 252955"/>
                  <a:gd name="connsiteY363" fmla="*/ 70182 h 192736"/>
                  <a:gd name="connsiteX364" fmla="*/ 203405 w 252955"/>
                  <a:gd name="connsiteY364" fmla="*/ 69918 h 192736"/>
                  <a:gd name="connsiteX365" fmla="*/ 202787 w 252955"/>
                  <a:gd name="connsiteY365" fmla="*/ 69918 h 192736"/>
                  <a:gd name="connsiteX366" fmla="*/ 203052 w 252955"/>
                  <a:gd name="connsiteY366" fmla="*/ 70799 h 192736"/>
                  <a:gd name="connsiteX367" fmla="*/ 201553 w 252955"/>
                  <a:gd name="connsiteY367" fmla="*/ 72210 h 192736"/>
                  <a:gd name="connsiteX368" fmla="*/ 200407 w 252955"/>
                  <a:gd name="connsiteY368" fmla="*/ 73092 h 192736"/>
                  <a:gd name="connsiteX369" fmla="*/ 200142 w 252955"/>
                  <a:gd name="connsiteY369" fmla="*/ 73356 h 192736"/>
                  <a:gd name="connsiteX370" fmla="*/ 200407 w 252955"/>
                  <a:gd name="connsiteY370" fmla="*/ 74238 h 192736"/>
                  <a:gd name="connsiteX371" fmla="*/ 201024 w 252955"/>
                  <a:gd name="connsiteY371" fmla="*/ 74502 h 192736"/>
                  <a:gd name="connsiteX372" fmla="*/ 203052 w 252955"/>
                  <a:gd name="connsiteY372" fmla="*/ 75648 h 192736"/>
                  <a:gd name="connsiteX373" fmla="*/ 203316 w 252955"/>
                  <a:gd name="connsiteY373" fmla="*/ 75031 h 192736"/>
                  <a:gd name="connsiteX374" fmla="*/ 204198 w 252955"/>
                  <a:gd name="connsiteY374" fmla="*/ 75296 h 192736"/>
                  <a:gd name="connsiteX375" fmla="*/ 204198 w 252955"/>
                  <a:gd name="connsiteY375" fmla="*/ 75913 h 192736"/>
                  <a:gd name="connsiteX376" fmla="*/ 202699 w 252955"/>
                  <a:gd name="connsiteY376" fmla="*/ 76795 h 192736"/>
                  <a:gd name="connsiteX377" fmla="*/ 200936 w 252955"/>
                  <a:gd name="connsiteY377" fmla="*/ 78558 h 192736"/>
                  <a:gd name="connsiteX378" fmla="*/ 199790 w 252955"/>
                  <a:gd name="connsiteY378" fmla="*/ 79175 h 192736"/>
                  <a:gd name="connsiteX379" fmla="*/ 199173 w 252955"/>
                  <a:gd name="connsiteY379" fmla="*/ 79704 h 192736"/>
                  <a:gd name="connsiteX380" fmla="*/ 198026 w 252955"/>
                  <a:gd name="connsiteY380" fmla="*/ 79175 h 192736"/>
                  <a:gd name="connsiteX381" fmla="*/ 198291 w 252955"/>
                  <a:gd name="connsiteY381" fmla="*/ 78911 h 192736"/>
                  <a:gd name="connsiteX382" fmla="*/ 200054 w 252955"/>
                  <a:gd name="connsiteY382" fmla="*/ 78294 h 192736"/>
                  <a:gd name="connsiteX383" fmla="*/ 200319 w 252955"/>
                  <a:gd name="connsiteY383" fmla="*/ 78029 h 192736"/>
                  <a:gd name="connsiteX384" fmla="*/ 200054 w 252955"/>
                  <a:gd name="connsiteY384" fmla="*/ 77412 h 192736"/>
                  <a:gd name="connsiteX385" fmla="*/ 198643 w 252955"/>
                  <a:gd name="connsiteY385" fmla="*/ 77147 h 192736"/>
                  <a:gd name="connsiteX386" fmla="*/ 197497 w 252955"/>
                  <a:gd name="connsiteY386" fmla="*/ 78029 h 192736"/>
                  <a:gd name="connsiteX387" fmla="*/ 196351 w 252955"/>
                  <a:gd name="connsiteY387" fmla="*/ 78911 h 192736"/>
                  <a:gd name="connsiteX388" fmla="*/ 195734 w 252955"/>
                  <a:gd name="connsiteY388" fmla="*/ 79792 h 192736"/>
                  <a:gd name="connsiteX389" fmla="*/ 194852 w 252955"/>
                  <a:gd name="connsiteY389" fmla="*/ 81556 h 192736"/>
                  <a:gd name="connsiteX390" fmla="*/ 193970 w 252955"/>
                  <a:gd name="connsiteY390" fmla="*/ 83936 h 192736"/>
                  <a:gd name="connsiteX391" fmla="*/ 193970 w 252955"/>
                  <a:gd name="connsiteY391" fmla="*/ 84818 h 192736"/>
                  <a:gd name="connsiteX392" fmla="*/ 193089 w 252955"/>
                  <a:gd name="connsiteY392" fmla="*/ 85964 h 192736"/>
                  <a:gd name="connsiteX393" fmla="*/ 192207 w 252955"/>
                  <a:gd name="connsiteY393" fmla="*/ 87463 h 192736"/>
                  <a:gd name="connsiteX394" fmla="*/ 189827 w 252955"/>
                  <a:gd name="connsiteY394" fmla="*/ 88609 h 192736"/>
                  <a:gd name="connsiteX395" fmla="*/ 189298 w 252955"/>
                  <a:gd name="connsiteY395" fmla="*/ 90373 h 192736"/>
                  <a:gd name="connsiteX396" fmla="*/ 187799 w 252955"/>
                  <a:gd name="connsiteY396" fmla="*/ 91254 h 192736"/>
                  <a:gd name="connsiteX397" fmla="*/ 186917 w 252955"/>
                  <a:gd name="connsiteY397" fmla="*/ 91783 h 192736"/>
                  <a:gd name="connsiteX398" fmla="*/ 185418 w 252955"/>
                  <a:gd name="connsiteY398" fmla="*/ 92048 h 192736"/>
                  <a:gd name="connsiteX399" fmla="*/ 184801 w 252955"/>
                  <a:gd name="connsiteY399" fmla="*/ 92665 h 192736"/>
                  <a:gd name="connsiteX400" fmla="*/ 184801 w 252955"/>
                  <a:gd name="connsiteY400" fmla="*/ 93811 h 192736"/>
                  <a:gd name="connsiteX401" fmla="*/ 185066 w 252955"/>
                  <a:gd name="connsiteY401" fmla="*/ 94957 h 192736"/>
                  <a:gd name="connsiteX402" fmla="*/ 184801 w 252955"/>
                  <a:gd name="connsiteY402" fmla="*/ 96368 h 192736"/>
                  <a:gd name="connsiteX403" fmla="*/ 183038 w 252955"/>
                  <a:gd name="connsiteY403" fmla="*/ 98131 h 192736"/>
                  <a:gd name="connsiteX404" fmla="*/ 181010 w 252955"/>
                  <a:gd name="connsiteY404" fmla="*/ 101923 h 192736"/>
                  <a:gd name="connsiteX405" fmla="*/ 180128 w 252955"/>
                  <a:gd name="connsiteY405" fmla="*/ 103069 h 192736"/>
                  <a:gd name="connsiteX406" fmla="*/ 178982 w 252955"/>
                  <a:gd name="connsiteY406" fmla="*/ 105978 h 192736"/>
                  <a:gd name="connsiteX407" fmla="*/ 178982 w 252955"/>
                  <a:gd name="connsiteY407" fmla="*/ 107477 h 192736"/>
                  <a:gd name="connsiteX408" fmla="*/ 179864 w 252955"/>
                  <a:gd name="connsiteY408" fmla="*/ 110387 h 192736"/>
                  <a:gd name="connsiteX409" fmla="*/ 180481 w 252955"/>
                  <a:gd name="connsiteY409" fmla="*/ 111886 h 192736"/>
                  <a:gd name="connsiteX410" fmla="*/ 180481 w 252955"/>
                  <a:gd name="connsiteY410" fmla="*/ 113385 h 192736"/>
                  <a:gd name="connsiteX411" fmla="*/ 181362 w 252955"/>
                  <a:gd name="connsiteY411" fmla="*/ 116294 h 192736"/>
                  <a:gd name="connsiteX412" fmla="*/ 182509 w 252955"/>
                  <a:gd name="connsiteY412" fmla="*/ 118322 h 192736"/>
                  <a:gd name="connsiteX413" fmla="*/ 183390 w 252955"/>
                  <a:gd name="connsiteY413" fmla="*/ 119468 h 192736"/>
                  <a:gd name="connsiteX414" fmla="*/ 184537 w 252955"/>
                  <a:gd name="connsiteY414" fmla="*/ 120085 h 192736"/>
                  <a:gd name="connsiteX415" fmla="*/ 184801 w 252955"/>
                  <a:gd name="connsiteY415" fmla="*/ 120967 h 192736"/>
                  <a:gd name="connsiteX416" fmla="*/ 185947 w 252955"/>
                  <a:gd name="connsiteY416" fmla="*/ 121849 h 192736"/>
                  <a:gd name="connsiteX417" fmla="*/ 187093 w 252955"/>
                  <a:gd name="connsiteY417" fmla="*/ 121849 h 192736"/>
                  <a:gd name="connsiteX418" fmla="*/ 188592 w 252955"/>
                  <a:gd name="connsiteY418" fmla="*/ 122113 h 192736"/>
                  <a:gd name="connsiteX419" fmla="*/ 188857 w 252955"/>
                  <a:gd name="connsiteY419" fmla="*/ 123259 h 192736"/>
                  <a:gd name="connsiteX420" fmla="*/ 189474 w 252955"/>
                  <a:gd name="connsiteY420" fmla="*/ 123524 h 192736"/>
                  <a:gd name="connsiteX421" fmla="*/ 189739 w 252955"/>
                  <a:gd name="connsiteY421" fmla="*/ 122907 h 192736"/>
                  <a:gd name="connsiteX422" fmla="*/ 190003 w 252955"/>
                  <a:gd name="connsiteY422" fmla="*/ 124053 h 192736"/>
                  <a:gd name="connsiteX423" fmla="*/ 190003 w 252955"/>
                  <a:gd name="connsiteY423" fmla="*/ 124670 h 192736"/>
                  <a:gd name="connsiteX424" fmla="*/ 189386 w 252955"/>
                  <a:gd name="connsiteY424" fmla="*/ 125199 h 192736"/>
                  <a:gd name="connsiteX425" fmla="*/ 188769 w 252955"/>
                  <a:gd name="connsiteY425" fmla="*/ 126081 h 192736"/>
                  <a:gd name="connsiteX426" fmla="*/ 186476 w 252955"/>
                  <a:gd name="connsiteY426" fmla="*/ 127227 h 192736"/>
                  <a:gd name="connsiteX427" fmla="*/ 185595 w 252955"/>
                  <a:gd name="connsiteY427" fmla="*/ 127227 h 192736"/>
                  <a:gd name="connsiteX428" fmla="*/ 184184 w 252955"/>
                  <a:gd name="connsiteY428" fmla="*/ 128373 h 192736"/>
                  <a:gd name="connsiteX429" fmla="*/ 183302 w 252955"/>
                  <a:gd name="connsiteY429" fmla="*/ 128109 h 192736"/>
                  <a:gd name="connsiteX430" fmla="*/ 183567 w 252955"/>
                  <a:gd name="connsiteY430" fmla="*/ 128373 h 192736"/>
                  <a:gd name="connsiteX431" fmla="*/ 183302 w 252955"/>
                  <a:gd name="connsiteY431" fmla="*/ 128990 h 192736"/>
                  <a:gd name="connsiteX432" fmla="*/ 181539 w 252955"/>
                  <a:gd name="connsiteY432" fmla="*/ 130137 h 192736"/>
                  <a:gd name="connsiteX433" fmla="*/ 180657 w 252955"/>
                  <a:gd name="connsiteY433" fmla="*/ 130137 h 192736"/>
                  <a:gd name="connsiteX434" fmla="*/ 178894 w 252955"/>
                  <a:gd name="connsiteY434" fmla="*/ 131018 h 192736"/>
                  <a:gd name="connsiteX435" fmla="*/ 177747 w 252955"/>
                  <a:gd name="connsiteY435" fmla="*/ 131635 h 192736"/>
                  <a:gd name="connsiteX436" fmla="*/ 178365 w 252955"/>
                  <a:gd name="connsiteY436" fmla="*/ 132253 h 192736"/>
                  <a:gd name="connsiteX437" fmla="*/ 177483 w 252955"/>
                  <a:gd name="connsiteY437" fmla="*/ 133134 h 192736"/>
                  <a:gd name="connsiteX438" fmla="*/ 176601 w 252955"/>
                  <a:gd name="connsiteY438" fmla="*/ 133751 h 192736"/>
                  <a:gd name="connsiteX439" fmla="*/ 176601 w 252955"/>
                  <a:gd name="connsiteY439" fmla="*/ 134369 h 192736"/>
                  <a:gd name="connsiteX440" fmla="*/ 175984 w 252955"/>
                  <a:gd name="connsiteY440" fmla="*/ 134633 h 192736"/>
                  <a:gd name="connsiteX441" fmla="*/ 175367 w 252955"/>
                  <a:gd name="connsiteY441" fmla="*/ 134633 h 192736"/>
                  <a:gd name="connsiteX442" fmla="*/ 174485 w 252955"/>
                  <a:gd name="connsiteY442" fmla="*/ 136132 h 192736"/>
                  <a:gd name="connsiteX443" fmla="*/ 174485 w 252955"/>
                  <a:gd name="connsiteY443" fmla="*/ 136749 h 192736"/>
                  <a:gd name="connsiteX444" fmla="*/ 174221 w 252955"/>
                  <a:gd name="connsiteY444" fmla="*/ 138160 h 192736"/>
                  <a:gd name="connsiteX445" fmla="*/ 173339 w 252955"/>
                  <a:gd name="connsiteY445" fmla="*/ 138777 h 192736"/>
                  <a:gd name="connsiteX446" fmla="*/ 172457 w 252955"/>
                  <a:gd name="connsiteY446" fmla="*/ 139306 h 192736"/>
                  <a:gd name="connsiteX447" fmla="*/ 172457 w 252955"/>
                  <a:gd name="connsiteY447" fmla="*/ 141687 h 192736"/>
                  <a:gd name="connsiteX448" fmla="*/ 172193 w 252955"/>
                  <a:gd name="connsiteY448" fmla="*/ 142568 h 192736"/>
                  <a:gd name="connsiteX449" fmla="*/ 171311 w 252955"/>
                  <a:gd name="connsiteY449" fmla="*/ 143714 h 192736"/>
                  <a:gd name="connsiteX450" fmla="*/ 170430 w 252955"/>
                  <a:gd name="connsiteY450" fmla="*/ 145125 h 192736"/>
                  <a:gd name="connsiteX451" fmla="*/ 170165 w 252955"/>
                  <a:gd name="connsiteY451" fmla="*/ 146007 h 192736"/>
                  <a:gd name="connsiteX452" fmla="*/ 170165 w 252955"/>
                  <a:gd name="connsiteY452" fmla="*/ 146624 h 192736"/>
                  <a:gd name="connsiteX453" fmla="*/ 169901 w 252955"/>
                  <a:gd name="connsiteY453" fmla="*/ 147241 h 192736"/>
                  <a:gd name="connsiteX454" fmla="*/ 169283 w 252955"/>
                  <a:gd name="connsiteY454" fmla="*/ 148123 h 192736"/>
                  <a:gd name="connsiteX455" fmla="*/ 168137 w 252955"/>
                  <a:gd name="connsiteY455" fmla="*/ 149622 h 192736"/>
                  <a:gd name="connsiteX456" fmla="*/ 168137 w 252955"/>
                  <a:gd name="connsiteY456" fmla="*/ 150239 h 192736"/>
                  <a:gd name="connsiteX457" fmla="*/ 169283 w 252955"/>
                  <a:gd name="connsiteY457" fmla="*/ 152002 h 192736"/>
                  <a:gd name="connsiteX458" fmla="*/ 170430 w 252955"/>
                  <a:gd name="connsiteY458" fmla="*/ 152531 h 192736"/>
                  <a:gd name="connsiteX459" fmla="*/ 171047 w 252955"/>
                  <a:gd name="connsiteY459" fmla="*/ 152267 h 192736"/>
                  <a:gd name="connsiteX460" fmla="*/ 171047 w 252955"/>
                  <a:gd name="connsiteY460" fmla="*/ 151650 h 192736"/>
                  <a:gd name="connsiteX461" fmla="*/ 171311 w 252955"/>
                  <a:gd name="connsiteY461" fmla="*/ 152267 h 192736"/>
                  <a:gd name="connsiteX462" fmla="*/ 171047 w 252955"/>
                  <a:gd name="connsiteY462" fmla="*/ 152884 h 192736"/>
                  <a:gd name="connsiteX463" fmla="*/ 170782 w 252955"/>
                  <a:gd name="connsiteY463" fmla="*/ 153501 h 192736"/>
                  <a:gd name="connsiteX464" fmla="*/ 168754 w 252955"/>
                  <a:gd name="connsiteY464" fmla="*/ 154118 h 192736"/>
                  <a:gd name="connsiteX465" fmla="*/ 167255 w 252955"/>
                  <a:gd name="connsiteY465" fmla="*/ 154383 h 192736"/>
                  <a:gd name="connsiteX466" fmla="*/ 166374 w 252955"/>
                  <a:gd name="connsiteY466" fmla="*/ 154383 h 192736"/>
                  <a:gd name="connsiteX467" fmla="*/ 165757 w 252955"/>
                  <a:gd name="connsiteY467" fmla="*/ 154118 h 192736"/>
                  <a:gd name="connsiteX468" fmla="*/ 163729 w 252955"/>
                  <a:gd name="connsiteY468" fmla="*/ 153854 h 192736"/>
                  <a:gd name="connsiteX469" fmla="*/ 162847 w 252955"/>
                  <a:gd name="connsiteY469" fmla="*/ 153589 h 192736"/>
                  <a:gd name="connsiteX470" fmla="*/ 162583 w 252955"/>
                  <a:gd name="connsiteY470" fmla="*/ 154207 h 192736"/>
                  <a:gd name="connsiteX471" fmla="*/ 160819 w 252955"/>
                  <a:gd name="connsiteY471" fmla="*/ 153589 h 192736"/>
                  <a:gd name="connsiteX472" fmla="*/ 159409 w 252955"/>
                  <a:gd name="connsiteY472" fmla="*/ 153854 h 192736"/>
                  <a:gd name="connsiteX473" fmla="*/ 158527 w 252955"/>
                  <a:gd name="connsiteY473" fmla="*/ 154118 h 192736"/>
                  <a:gd name="connsiteX474" fmla="*/ 155882 w 252955"/>
                  <a:gd name="connsiteY474" fmla="*/ 156146 h 192736"/>
                  <a:gd name="connsiteX475" fmla="*/ 155000 w 252955"/>
                  <a:gd name="connsiteY475" fmla="*/ 157292 h 192736"/>
                  <a:gd name="connsiteX476" fmla="*/ 154736 w 252955"/>
                  <a:gd name="connsiteY476" fmla="*/ 157557 h 192736"/>
                  <a:gd name="connsiteX477" fmla="*/ 154471 w 252955"/>
                  <a:gd name="connsiteY477" fmla="*/ 157292 h 192736"/>
                  <a:gd name="connsiteX478" fmla="*/ 154471 w 252955"/>
                  <a:gd name="connsiteY478" fmla="*/ 157557 h 192736"/>
                  <a:gd name="connsiteX479" fmla="*/ 152179 w 252955"/>
                  <a:gd name="connsiteY479" fmla="*/ 158703 h 192736"/>
                  <a:gd name="connsiteX480" fmla="*/ 151914 w 252955"/>
                  <a:gd name="connsiteY480" fmla="*/ 158439 h 192736"/>
                  <a:gd name="connsiteX481" fmla="*/ 151297 w 252955"/>
                  <a:gd name="connsiteY481" fmla="*/ 159320 h 192736"/>
                  <a:gd name="connsiteX482" fmla="*/ 150680 w 252955"/>
                  <a:gd name="connsiteY482" fmla="*/ 160202 h 192736"/>
                  <a:gd name="connsiteX483" fmla="*/ 150063 w 252955"/>
                  <a:gd name="connsiteY483" fmla="*/ 161084 h 192736"/>
                  <a:gd name="connsiteX484" fmla="*/ 148652 w 252955"/>
                  <a:gd name="connsiteY484" fmla="*/ 162847 h 192736"/>
                  <a:gd name="connsiteX485" fmla="*/ 148035 w 252955"/>
                  <a:gd name="connsiteY485" fmla="*/ 163993 h 192736"/>
                  <a:gd name="connsiteX486" fmla="*/ 148299 w 252955"/>
                  <a:gd name="connsiteY486" fmla="*/ 165139 h 192736"/>
                  <a:gd name="connsiteX487" fmla="*/ 147153 w 252955"/>
                  <a:gd name="connsiteY487" fmla="*/ 167784 h 192736"/>
                  <a:gd name="connsiteX488" fmla="*/ 146007 w 252955"/>
                  <a:gd name="connsiteY488" fmla="*/ 169283 h 192736"/>
                  <a:gd name="connsiteX489" fmla="*/ 144244 w 252955"/>
                  <a:gd name="connsiteY489" fmla="*/ 169901 h 192736"/>
                  <a:gd name="connsiteX490" fmla="*/ 144508 w 252955"/>
                  <a:gd name="connsiteY490" fmla="*/ 170518 h 192736"/>
                  <a:gd name="connsiteX491" fmla="*/ 144244 w 252955"/>
                  <a:gd name="connsiteY491" fmla="*/ 171399 h 192736"/>
                  <a:gd name="connsiteX492" fmla="*/ 143362 w 252955"/>
                  <a:gd name="connsiteY492" fmla="*/ 172810 h 192736"/>
                  <a:gd name="connsiteX493" fmla="*/ 143626 w 252955"/>
                  <a:gd name="connsiteY493" fmla="*/ 173956 h 192736"/>
                  <a:gd name="connsiteX494" fmla="*/ 142745 w 252955"/>
                  <a:gd name="connsiteY494" fmla="*/ 174573 h 192736"/>
                  <a:gd name="connsiteX495" fmla="*/ 140981 w 252955"/>
                  <a:gd name="connsiteY495" fmla="*/ 175191 h 192736"/>
                  <a:gd name="connsiteX496" fmla="*/ 139835 w 252955"/>
                  <a:gd name="connsiteY496" fmla="*/ 174573 h 192736"/>
                  <a:gd name="connsiteX497" fmla="*/ 138689 w 252955"/>
                  <a:gd name="connsiteY497" fmla="*/ 172546 h 192736"/>
                  <a:gd name="connsiteX498" fmla="*/ 136309 w 252955"/>
                  <a:gd name="connsiteY498" fmla="*/ 172281 h 192736"/>
                  <a:gd name="connsiteX499" fmla="*/ 134810 w 252955"/>
                  <a:gd name="connsiteY499" fmla="*/ 172281 h 192736"/>
                  <a:gd name="connsiteX500" fmla="*/ 132782 w 252955"/>
                  <a:gd name="connsiteY500" fmla="*/ 172810 h 192736"/>
                  <a:gd name="connsiteX501" fmla="*/ 132165 w 252955"/>
                  <a:gd name="connsiteY501" fmla="*/ 174573 h 192736"/>
                  <a:gd name="connsiteX502" fmla="*/ 130666 w 252955"/>
                  <a:gd name="connsiteY502" fmla="*/ 175720 h 192736"/>
                  <a:gd name="connsiteX503" fmla="*/ 128638 w 252955"/>
                  <a:gd name="connsiteY503" fmla="*/ 175984 h 192736"/>
                  <a:gd name="connsiteX504" fmla="*/ 126610 w 252955"/>
                  <a:gd name="connsiteY504" fmla="*/ 175720 h 192736"/>
                  <a:gd name="connsiteX505" fmla="*/ 125993 w 252955"/>
                  <a:gd name="connsiteY505" fmla="*/ 174838 h 192736"/>
                  <a:gd name="connsiteX506" fmla="*/ 125375 w 252955"/>
                  <a:gd name="connsiteY506" fmla="*/ 174573 h 192736"/>
                  <a:gd name="connsiteX507" fmla="*/ 122202 w 252955"/>
                  <a:gd name="connsiteY507" fmla="*/ 174573 h 192736"/>
                  <a:gd name="connsiteX508" fmla="*/ 117793 w 252955"/>
                  <a:gd name="connsiteY508" fmla="*/ 174573 h 192736"/>
                  <a:gd name="connsiteX509" fmla="*/ 116647 w 252955"/>
                  <a:gd name="connsiteY509" fmla="*/ 174838 h 192736"/>
                  <a:gd name="connsiteX510" fmla="*/ 116382 w 252955"/>
                  <a:gd name="connsiteY510" fmla="*/ 175720 h 192736"/>
                  <a:gd name="connsiteX511" fmla="*/ 114002 w 252955"/>
                  <a:gd name="connsiteY511" fmla="*/ 175102 h 192736"/>
                  <a:gd name="connsiteX512" fmla="*/ 113120 w 252955"/>
                  <a:gd name="connsiteY512" fmla="*/ 175367 h 192736"/>
                  <a:gd name="connsiteX513" fmla="*/ 112503 w 252955"/>
                  <a:gd name="connsiteY513" fmla="*/ 174750 h 192736"/>
                  <a:gd name="connsiteX514" fmla="*/ 111004 w 252955"/>
                  <a:gd name="connsiteY514" fmla="*/ 174133 h 192736"/>
                  <a:gd name="connsiteX515" fmla="*/ 110122 w 252955"/>
                  <a:gd name="connsiteY515" fmla="*/ 174397 h 192736"/>
                  <a:gd name="connsiteX516" fmla="*/ 109241 w 252955"/>
                  <a:gd name="connsiteY516" fmla="*/ 174662 h 192736"/>
                  <a:gd name="connsiteX517" fmla="*/ 106948 w 252955"/>
                  <a:gd name="connsiteY517" fmla="*/ 173780 h 192736"/>
                  <a:gd name="connsiteX518" fmla="*/ 105802 w 252955"/>
                  <a:gd name="connsiteY518" fmla="*/ 174397 h 192736"/>
                  <a:gd name="connsiteX519" fmla="*/ 103157 w 252955"/>
                  <a:gd name="connsiteY519" fmla="*/ 174397 h 192736"/>
                  <a:gd name="connsiteX520" fmla="*/ 101658 w 252955"/>
                  <a:gd name="connsiteY520" fmla="*/ 174397 h 192736"/>
                  <a:gd name="connsiteX521" fmla="*/ 100248 w 252955"/>
                  <a:gd name="connsiteY521" fmla="*/ 174662 h 192736"/>
                  <a:gd name="connsiteX522" fmla="*/ 98220 w 252955"/>
                  <a:gd name="connsiteY522" fmla="*/ 175014 h 192736"/>
                  <a:gd name="connsiteX523" fmla="*/ 96456 w 252955"/>
                  <a:gd name="connsiteY523" fmla="*/ 175279 h 192736"/>
                  <a:gd name="connsiteX524" fmla="*/ 94693 w 252955"/>
                  <a:gd name="connsiteY524" fmla="*/ 175014 h 192736"/>
                  <a:gd name="connsiteX525" fmla="*/ 94076 w 252955"/>
                  <a:gd name="connsiteY525" fmla="*/ 176161 h 192736"/>
                  <a:gd name="connsiteX526" fmla="*/ 93811 w 252955"/>
                  <a:gd name="connsiteY526" fmla="*/ 177307 h 192736"/>
                  <a:gd name="connsiteX527" fmla="*/ 91519 w 252955"/>
                  <a:gd name="connsiteY527" fmla="*/ 178717 h 192736"/>
                  <a:gd name="connsiteX528" fmla="*/ 90637 w 252955"/>
                  <a:gd name="connsiteY528" fmla="*/ 179599 h 192736"/>
                  <a:gd name="connsiteX529" fmla="*/ 89491 w 252955"/>
                  <a:gd name="connsiteY529" fmla="*/ 180481 h 192736"/>
                  <a:gd name="connsiteX530" fmla="*/ 87992 w 252955"/>
                  <a:gd name="connsiteY530" fmla="*/ 180481 h 192736"/>
                  <a:gd name="connsiteX531" fmla="*/ 85700 w 252955"/>
                  <a:gd name="connsiteY531" fmla="*/ 180216 h 192736"/>
                  <a:gd name="connsiteX532" fmla="*/ 84289 w 252955"/>
                  <a:gd name="connsiteY532" fmla="*/ 180481 h 192736"/>
                  <a:gd name="connsiteX533" fmla="*/ 82526 w 252955"/>
                  <a:gd name="connsiteY533" fmla="*/ 181098 h 192736"/>
                  <a:gd name="connsiteX534" fmla="*/ 81027 w 252955"/>
                  <a:gd name="connsiteY534" fmla="*/ 181098 h 192736"/>
                  <a:gd name="connsiteX535" fmla="*/ 79264 w 252955"/>
                  <a:gd name="connsiteY535" fmla="*/ 181715 h 192736"/>
                  <a:gd name="connsiteX536" fmla="*/ 78382 w 252955"/>
                  <a:gd name="connsiteY536" fmla="*/ 181451 h 192736"/>
                  <a:gd name="connsiteX537" fmla="*/ 77765 w 252955"/>
                  <a:gd name="connsiteY537" fmla="*/ 181715 h 192736"/>
                  <a:gd name="connsiteX538" fmla="*/ 77500 w 252955"/>
                  <a:gd name="connsiteY538" fmla="*/ 182332 h 192736"/>
                  <a:gd name="connsiteX539" fmla="*/ 77765 w 252955"/>
                  <a:gd name="connsiteY539" fmla="*/ 183478 h 192736"/>
                  <a:gd name="connsiteX540" fmla="*/ 77500 w 252955"/>
                  <a:gd name="connsiteY540" fmla="*/ 184360 h 192736"/>
                  <a:gd name="connsiteX541" fmla="*/ 76883 w 252955"/>
                  <a:gd name="connsiteY541" fmla="*/ 184977 h 192736"/>
                  <a:gd name="connsiteX542" fmla="*/ 76618 w 252955"/>
                  <a:gd name="connsiteY542" fmla="*/ 184977 h 192736"/>
                  <a:gd name="connsiteX543" fmla="*/ 76354 w 252955"/>
                  <a:gd name="connsiteY543" fmla="*/ 184977 h 192736"/>
                  <a:gd name="connsiteX544" fmla="*/ 76354 w 252955"/>
                  <a:gd name="connsiteY544" fmla="*/ 185594 h 192736"/>
                  <a:gd name="connsiteX545" fmla="*/ 76089 w 252955"/>
                  <a:gd name="connsiteY545" fmla="*/ 186123 h 192736"/>
                  <a:gd name="connsiteX546" fmla="*/ 74679 w 252955"/>
                  <a:gd name="connsiteY546" fmla="*/ 186123 h 192736"/>
                  <a:gd name="connsiteX547" fmla="*/ 74062 w 252955"/>
                  <a:gd name="connsiteY547" fmla="*/ 185859 h 192736"/>
                  <a:gd name="connsiteX548" fmla="*/ 73797 w 252955"/>
                  <a:gd name="connsiteY548" fmla="*/ 185859 h 192736"/>
                  <a:gd name="connsiteX549" fmla="*/ 73533 w 252955"/>
                  <a:gd name="connsiteY549" fmla="*/ 186123 h 192736"/>
                  <a:gd name="connsiteX550" fmla="*/ 73268 w 252955"/>
                  <a:gd name="connsiteY550" fmla="*/ 186388 h 192736"/>
                  <a:gd name="connsiteX551" fmla="*/ 73533 w 252955"/>
                  <a:gd name="connsiteY551" fmla="*/ 186388 h 192736"/>
                  <a:gd name="connsiteX552" fmla="*/ 73533 w 252955"/>
                  <a:gd name="connsiteY552" fmla="*/ 187005 h 192736"/>
                  <a:gd name="connsiteX553" fmla="*/ 73268 w 252955"/>
                  <a:gd name="connsiteY553" fmla="*/ 187270 h 192736"/>
                  <a:gd name="connsiteX554" fmla="*/ 73533 w 252955"/>
                  <a:gd name="connsiteY554" fmla="*/ 187534 h 192736"/>
                  <a:gd name="connsiteX555" fmla="*/ 73268 w 252955"/>
                  <a:gd name="connsiteY555" fmla="*/ 187799 h 192736"/>
                  <a:gd name="connsiteX556" fmla="*/ 73797 w 252955"/>
                  <a:gd name="connsiteY556" fmla="*/ 187799 h 192736"/>
                  <a:gd name="connsiteX557" fmla="*/ 73533 w 252955"/>
                  <a:gd name="connsiteY557" fmla="*/ 187799 h 192736"/>
                  <a:gd name="connsiteX558" fmla="*/ 73533 w 252955"/>
                  <a:gd name="connsiteY558" fmla="*/ 188416 h 192736"/>
                  <a:gd name="connsiteX559" fmla="*/ 73533 w 252955"/>
                  <a:gd name="connsiteY559" fmla="*/ 188680 h 192736"/>
                  <a:gd name="connsiteX560" fmla="*/ 72915 w 252955"/>
                  <a:gd name="connsiteY560" fmla="*/ 188680 h 192736"/>
                  <a:gd name="connsiteX561" fmla="*/ 72651 w 252955"/>
                  <a:gd name="connsiteY561" fmla="*/ 188680 h 192736"/>
                  <a:gd name="connsiteX562" fmla="*/ 72386 w 252955"/>
                  <a:gd name="connsiteY562" fmla="*/ 188680 h 192736"/>
                  <a:gd name="connsiteX563" fmla="*/ 72386 w 252955"/>
                  <a:gd name="connsiteY563" fmla="*/ 188945 h 192736"/>
                  <a:gd name="connsiteX564" fmla="*/ 72651 w 252955"/>
                  <a:gd name="connsiteY564" fmla="*/ 189209 h 192736"/>
                  <a:gd name="connsiteX565" fmla="*/ 72386 w 252955"/>
                  <a:gd name="connsiteY565" fmla="*/ 189474 h 192736"/>
                  <a:gd name="connsiteX566" fmla="*/ 72386 w 252955"/>
                  <a:gd name="connsiteY566" fmla="*/ 190973 h 192736"/>
                  <a:gd name="connsiteX567" fmla="*/ 72386 w 252955"/>
                  <a:gd name="connsiteY567" fmla="*/ 191502 h 192736"/>
                  <a:gd name="connsiteX568" fmla="*/ 72034 w 252955"/>
                  <a:gd name="connsiteY568" fmla="*/ 191502 h 192736"/>
                  <a:gd name="connsiteX569" fmla="*/ 71505 w 252955"/>
                  <a:gd name="connsiteY569" fmla="*/ 191502 h 192736"/>
                  <a:gd name="connsiteX570" fmla="*/ 71240 w 252955"/>
                  <a:gd name="connsiteY570" fmla="*/ 191766 h 192736"/>
                  <a:gd name="connsiteX571" fmla="*/ 70711 w 252955"/>
                  <a:gd name="connsiteY571" fmla="*/ 192119 h 192736"/>
                  <a:gd name="connsiteX572" fmla="*/ 69829 w 252955"/>
                  <a:gd name="connsiteY572" fmla="*/ 192736 h 192736"/>
                  <a:gd name="connsiteX573" fmla="*/ 68683 w 252955"/>
                  <a:gd name="connsiteY573" fmla="*/ 192736 h 192736"/>
                  <a:gd name="connsiteX574" fmla="*/ 68066 w 252955"/>
                  <a:gd name="connsiteY574" fmla="*/ 192472 h 192736"/>
                  <a:gd name="connsiteX575" fmla="*/ 67802 w 252955"/>
                  <a:gd name="connsiteY575" fmla="*/ 191854 h 192736"/>
                  <a:gd name="connsiteX576" fmla="*/ 67185 w 252955"/>
                  <a:gd name="connsiteY576" fmla="*/ 191590 h 192736"/>
                  <a:gd name="connsiteX577" fmla="*/ 66567 w 252955"/>
                  <a:gd name="connsiteY577" fmla="*/ 191854 h 192736"/>
                  <a:gd name="connsiteX578" fmla="*/ 65950 w 252955"/>
                  <a:gd name="connsiteY578" fmla="*/ 191590 h 192736"/>
                  <a:gd name="connsiteX579" fmla="*/ 65950 w 252955"/>
                  <a:gd name="connsiteY579" fmla="*/ 190708 h 192736"/>
                  <a:gd name="connsiteX580" fmla="*/ 65068 w 252955"/>
                  <a:gd name="connsiteY580" fmla="*/ 190708 h 192736"/>
                  <a:gd name="connsiteX581" fmla="*/ 64804 w 252955"/>
                  <a:gd name="connsiteY581" fmla="*/ 190091 h 192736"/>
                  <a:gd name="connsiteX582" fmla="*/ 63922 w 252955"/>
                  <a:gd name="connsiteY582" fmla="*/ 189474 h 192736"/>
                  <a:gd name="connsiteX583" fmla="*/ 63658 w 252955"/>
                  <a:gd name="connsiteY583" fmla="*/ 188857 h 192736"/>
                  <a:gd name="connsiteX584" fmla="*/ 62512 w 252955"/>
                  <a:gd name="connsiteY584" fmla="*/ 188857 h 192736"/>
                  <a:gd name="connsiteX585" fmla="*/ 60748 w 252955"/>
                  <a:gd name="connsiteY585" fmla="*/ 188857 h 192736"/>
                  <a:gd name="connsiteX586" fmla="*/ 60131 w 252955"/>
                  <a:gd name="connsiteY586" fmla="*/ 188240 h 192736"/>
                  <a:gd name="connsiteX587" fmla="*/ 59866 w 252955"/>
                  <a:gd name="connsiteY587" fmla="*/ 187093 h 192736"/>
                  <a:gd name="connsiteX588" fmla="*/ 59249 w 252955"/>
                  <a:gd name="connsiteY588" fmla="*/ 186212 h 192736"/>
                  <a:gd name="connsiteX589" fmla="*/ 58720 w 252955"/>
                  <a:gd name="connsiteY589" fmla="*/ 185594 h 192736"/>
                  <a:gd name="connsiteX590" fmla="*/ 58103 w 252955"/>
                  <a:gd name="connsiteY590" fmla="*/ 184977 h 192736"/>
                  <a:gd name="connsiteX591" fmla="*/ 56957 w 252955"/>
                  <a:gd name="connsiteY591" fmla="*/ 184360 h 192736"/>
                  <a:gd name="connsiteX592" fmla="*/ 56692 w 252955"/>
                  <a:gd name="connsiteY592" fmla="*/ 183743 h 192736"/>
                  <a:gd name="connsiteX593" fmla="*/ 56957 w 252955"/>
                  <a:gd name="connsiteY593" fmla="*/ 181980 h 192736"/>
                  <a:gd name="connsiteX594" fmla="*/ 56957 w 252955"/>
                  <a:gd name="connsiteY594" fmla="*/ 181715 h 192736"/>
                  <a:gd name="connsiteX595" fmla="*/ 55458 w 252955"/>
                  <a:gd name="connsiteY595" fmla="*/ 181098 h 192736"/>
                  <a:gd name="connsiteX596" fmla="*/ 55193 w 252955"/>
                  <a:gd name="connsiteY596" fmla="*/ 180216 h 192736"/>
                  <a:gd name="connsiteX597" fmla="*/ 55811 w 252955"/>
                  <a:gd name="connsiteY597" fmla="*/ 180481 h 192736"/>
                  <a:gd name="connsiteX598" fmla="*/ 56957 w 252955"/>
                  <a:gd name="connsiteY598" fmla="*/ 181010 h 192736"/>
                  <a:gd name="connsiteX599" fmla="*/ 56957 w 252955"/>
                  <a:gd name="connsiteY599" fmla="*/ 180481 h 192736"/>
                  <a:gd name="connsiteX600" fmla="*/ 57221 w 252955"/>
                  <a:gd name="connsiteY600" fmla="*/ 179599 h 192736"/>
                  <a:gd name="connsiteX601" fmla="*/ 56957 w 252955"/>
                  <a:gd name="connsiteY601" fmla="*/ 178982 h 192736"/>
                  <a:gd name="connsiteX602" fmla="*/ 56692 w 252955"/>
                  <a:gd name="connsiteY602" fmla="*/ 178365 h 192736"/>
                  <a:gd name="connsiteX603" fmla="*/ 55811 w 252955"/>
                  <a:gd name="connsiteY603" fmla="*/ 177747 h 192736"/>
                  <a:gd name="connsiteX604" fmla="*/ 54665 w 252955"/>
                  <a:gd name="connsiteY604" fmla="*/ 176601 h 192736"/>
                  <a:gd name="connsiteX605" fmla="*/ 53518 w 252955"/>
                  <a:gd name="connsiteY605" fmla="*/ 174838 h 192736"/>
                  <a:gd name="connsiteX606" fmla="*/ 53518 w 252955"/>
                  <a:gd name="connsiteY606" fmla="*/ 173956 h 192736"/>
                  <a:gd name="connsiteX607" fmla="*/ 53783 w 252955"/>
                  <a:gd name="connsiteY607" fmla="*/ 173692 h 192736"/>
                  <a:gd name="connsiteX608" fmla="*/ 54047 w 252955"/>
                  <a:gd name="connsiteY608" fmla="*/ 173956 h 192736"/>
                  <a:gd name="connsiteX609" fmla="*/ 56075 w 252955"/>
                  <a:gd name="connsiteY609" fmla="*/ 173339 h 192736"/>
                  <a:gd name="connsiteX610" fmla="*/ 56692 w 252955"/>
                  <a:gd name="connsiteY610" fmla="*/ 172722 h 192736"/>
                  <a:gd name="connsiteX611" fmla="*/ 54929 w 252955"/>
                  <a:gd name="connsiteY611" fmla="*/ 172986 h 192736"/>
                  <a:gd name="connsiteX612" fmla="*/ 54665 w 252955"/>
                  <a:gd name="connsiteY612" fmla="*/ 172722 h 192736"/>
                  <a:gd name="connsiteX613" fmla="*/ 54665 w 252955"/>
                  <a:gd name="connsiteY613" fmla="*/ 172105 h 192736"/>
                  <a:gd name="connsiteX614" fmla="*/ 54047 w 252955"/>
                  <a:gd name="connsiteY614" fmla="*/ 170958 h 192736"/>
                  <a:gd name="connsiteX615" fmla="*/ 53518 w 252955"/>
                  <a:gd name="connsiteY615" fmla="*/ 169812 h 192736"/>
                  <a:gd name="connsiteX616" fmla="*/ 52372 w 252955"/>
                  <a:gd name="connsiteY616" fmla="*/ 169195 h 192736"/>
                  <a:gd name="connsiteX617" fmla="*/ 51226 w 252955"/>
                  <a:gd name="connsiteY617" fmla="*/ 168578 h 192736"/>
                  <a:gd name="connsiteX618" fmla="*/ 50344 w 252955"/>
                  <a:gd name="connsiteY618" fmla="*/ 167961 h 192736"/>
                  <a:gd name="connsiteX619" fmla="*/ 50080 w 252955"/>
                  <a:gd name="connsiteY619" fmla="*/ 167344 h 192736"/>
                  <a:gd name="connsiteX620" fmla="*/ 50344 w 252955"/>
                  <a:gd name="connsiteY620" fmla="*/ 167079 h 192736"/>
                  <a:gd name="connsiteX621" fmla="*/ 50080 w 252955"/>
                  <a:gd name="connsiteY621" fmla="*/ 166815 h 192736"/>
                  <a:gd name="connsiteX622" fmla="*/ 48934 w 252955"/>
                  <a:gd name="connsiteY622" fmla="*/ 165668 h 192736"/>
                  <a:gd name="connsiteX623" fmla="*/ 46553 w 252955"/>
                  <a:gd name="connsiteY623" fmla="*/ 164170 h 192736"/>
                  <a:gd name="connsiteX624" fmla="*/ 44790 w 252955"/>
                  <a:gd name="connsiteY624" fmla="*/ 163552 h 192736"/>
                  <a:gd name="connsiteX625" fmla="*/ 43291 w 252955"/>
                  <a:gd name="connsiteY625" fmla="*/ 163552 h 192736"/>
                  <a:gd name="connsiteX626" fmla="*/ 40381 w 252955"/>
                  <a:gd name="connsiteY626" fmla="*/ 162406 h 192736"/>
                  <a:gd name="connsiteX627" fmla="*/ 39500 w 252955"/>
                  <a:gd name="connsiteY627" fmla="*/ 162142 h 192736"/>
                  <a:gd name="connsiteX628" fmla="*/ 39235 w 252955"/>
                  <a:gd name="connsiteY628" fmla="*/ 162142 h 192736"/>
                  <a:gd name="connsiteX629" fmla="*/ 38618 w 252955"/>
                  <a:gd name="connsiteY629" fmla="*/ 162142 h 192736"/>
                  <a:gd name="connsiteX630" fmla="*/ 38618 w 252955"/>
                  <a:gd name="connsiteY630" fmla="*/ 162406 h 192736"/>
                  <a:gd name="connsiteX631" fmla="*/ 39764 w 252955"/>
                  <a:gd name="connsiteY631" fmla="*/ 163023 h 192736"/>
                  <a:gd name="connsiteX632" fmla="*/ 39235 w 252955"/>
                  <a:gd name="connsiteY632" fmla="*/ 163376 h 192736"/>
                  <a:gd name="connsiteX633" fmla="*/ 37736 w 252955"/>
                  <a:gd name="connsiteY633" fmla="*/ 163376 h 192736"/>
                  <a:gd name="connsiteX634" fmla="*/ 35444 w 252955"/>
                  <a:gd name="connsiteY634" fmla="*/ 163023 h 192736"/>
                  <a:gd name="connsiteX635" fmla="*/ 34827 w 252955"/>
                  <a:gd name="connsiteY635" fmla="*/ 163023 h 192736"/>
                  <a:gd name="connsiteX636" fmla="*/ 34209 w 252955"/>
                  <a:gd name="connsiteY636" fmla="*/ 163640 h 192736"/>
                  <a:gd name="connsiteX637" fmla="*/ 33592 w 252955"/>
                  <a:gd name="connsiteY637" fmla="*/ 163640 h 192736"/>
                  <a:gd name="connsiteX638" fmla="*/ 32711 w 252955"/>
                  <a:gd name="connsiteY638" fmla="*/ 163640 h 192736"/>
                  <a:gd name="connsiteX639" fmla="*/ 31564 w 252955"/>
                  <a:gd name="connsiteY639" fmla="*/ 157557 h 192736"/>
                  <a:gd name="connsiteX640" fmla="*/ 31564 w 252955"/>
                  <a:gd name="connsiteY640" fmla="*/ 156058 h 192736"/>
                  <a:gd name="connsiteX641" fmla="*/ 30683 w 252955"/>
                  <a:gd name="connsiteY641" fmla="*/ 154912 h 192736"/>
                  <a:gd name="connsiteX642" fmla="*/ 31564 w 252955"/>
                  <a:gd name="connsiteY642" fmla="*/ 153501 h 192736"/>
                  <a:gd name="connsiteX643" fmla="*/ 31564 w 252955"/>
                  <a:gd name="connsiteY643" fmla="*/ 151738 h 192736"/>
                  <a:gd name="connsiteX644" fmla="*/ 33328 w 252955"/>
                  <a:gd name="connsiteY644" fmla="*/ 149093 h 192736"/>
                  <a:gd name="connsiteX645" fmla="*/ 35973 w 252955"/>
                  <a:gd name="connsiteY645" fmla="*/ 147065 h 192736"/>
                  <a:gd name="connsiteX646" fmla="*/ 35444 w 252955"/>
                  <a:gd name="connsiteY646" fmla="*/ 145566 h 192736"/>
                  <a:gd name="connsiteX647" fmla="*/ 35708 w 252955"/>
                  <a:gd name="connsiteY647" fmla="*/ 144155 h 192736"/>
                  <a:gd name="connsiteX648" fmla="*/ 35973 w 252955"/>
                  <a:gd name="connsiteY648" fmla="*/ 143274 h 192736"/>
                  <a:gd name="connsiteX649" fmla="*/ 37119 w 252955"/>
                  <a:gd name="connsiteY649" fmla="*/ 142657 h 192736"/>
                  <a:gd name="connsiteX650" fmla="*/ 39147 w 252955"/>
                  <a:gd name="connsiteY650" fmla="*/ 142657 h 192736"/>
                  <a:gd name="connsiteX651" fmla="*/ 39676 w 252955"/>
                  <a:gd name="connsiteY651" fmla="*/ 142039 h 192736"/>
                  <a:gd name="connsiteX652" fmla="*/ 40558 w 252955"/>
                  <a:gd name="connsiteY652" fmla="*/ 141775 h 192736"/>
                  <a:gd name="connsiteX653" fmla="*/ 42321 w 252955"/>
                  <a:gd name="connsiteY653" fmla="*/ 140011 h 192736"/>
                  <a:gd name="connsiteX654" fmla="*/ 42056 w 252955"/>
                  <a:gd name="connsiteY654" fmla="*/ 138601 h 192736"/>
                  <a:gd name="connsiteX655" fmla="*/ 40910 w 252955"/>
                  <a:gd name="connsiteY655" fmla="*/ 139482 h 192736"/>
                  <a:gd name="connsiteX656" fmla="*/ 40293 w 252955"/>
                  <a:gd name="connsiteY656" fmla="*/ 139218 h 192736"/>
                  <a:gd name="connsiteX657" fmla="*/ 39411 w 252955"/>
                  <a:gd name="connsiteY657" fmla="*/ 138072 h 192736"/>
                  <a:gd name="connsiteX658" fmla="*/ 36237 w 252955"/>
                  <a:gd name="connsiteY658" fmla="*/ 132253 h 192736"/>
                  <a:gd name="connsiteX659" fmla="*/ 35356 w 252955"/>
                  <a:gd name="connsiteY659" fmla="*/ 131635 h 192736"/>
                  <a:gd name="connsiteX660" fmla="*/ 35620 w 252955"/>
                  <a:gd name="connsiteY660" fmla="*/ 130754 h 192736"/>
                  <a:gd name="connsiteX661" fmla="*/ 35356 w 252955"/>
                  <a:gd name="connsiteY661" fmla="*/ 129607 h 192736"/>
                  <a:gd name="connsiteX662" fmla="*/ 36502 w 252955"/>
                  <a:gd name="connsiteY662" fmla="*/ 129343 h 192736"/>
                  <a:gd name="connsiteX663" fmla="*/ 36855 w 252955"/>
                  <a:gd name="connsiteY663" fmla="*/ 127844 h 192736"/>
                  <a:gd name="connsiteX664" fmla="*/ 36502 w 252955"/>
                  <a:gd name="connsiteY664" fmla="*/ 127227 h 192736"/>
                  <a:gd name="connsiteX665" fmla="*/ 37119 w 252955"/>
                  <a:gd name="connsiteY665" fmla="*/ 125464 h 192736"/>
                  <a:gd name="connsiteX666" fmla="*/ 39764 w 252955"/>
                  <a:gd name="connsiteY666" fmla="*/ 123436 h 192736"/>
                  <a:gd name="connsiteX667" fmla="*/ 40910 w 252955"/>
                  <a:gd name="connsiteY667" fmla="*/ 122554 h 192736"/>
                  <a:gd name="connsiteX668" fmla="*/ 41528 w 252955"/>
                  <a:gd name="connsiteY668" fmla="*/ 122290 h 192736"/>
                  <a:gd name="connsiteX669" fmla="*/ 41792 w 252955"/>
                  <a:gd name="connsiteY669" fmla="*/ 121143 h 192736"/>
                  <a:gd name="connsiteX670" fmla="*/ 41528 w 252955"/>
                  <a:gd name="connsiteY670" fmla="*/ 119733 h 192736"/>
                  <a:gd name="connsiteX671" fmla="*/ 42674 w 252955"/>
                  <a:gd name="connsiteY671" fmla="*/ 118851 h 192736"/>
                  <a:gd name="connsiteX672" fmla="*/ 43555 w 252955"/>
                  <a:gd name="connsiteY672" fmla="*/ 117705 h 192736"/>
                  <a:gd name="connsiteX673" fmla="*/ 42674 w 252955"/>
                  <a:gd name="connsiteY673" fmla="*/ 116559 h 192736"/>
                  <a:gd name="connsiteX674" fmla="*/ 41792 w 252955"/>
                  <a:gd name="connsiteY674" fmla="*/ 115942 h 192736"/>
                  <a:gd name="connsiteX675" fmla="*/ 41528 w 252955"/>
                  <a:gd name="connsiteY675" fmla="*/ 115060 h 192736"/>
                  <a:gd name="connsiteX676" fmla="*/ 40029 w 252955"/>
                  <a:gd name="connsiteY676" fmla="*/ 115412 h 192736"/>
                  <a:gd name="connsiteX677" fmla="*/ 40029 w 252955"/>
                  <a:gd name="connsiteY677" fmla="*/ 113914 h 192736"/>
                  <a:gd name="connsiteX678" fmla="*/ 38001 w 252955"/>
                  <a:gd name="connsiteY678" fmla="*/ 113296 h 192736"/>
                  <a:gd name="connsiteX679" fmla="*/ 36855 w 252955"/>
                  <a:gd name="connsiteY679" fmla="*/ 112150 h 192736"/>
                  <a:gd name="connsiteX680" fmla="*/ 37472 w 252955"/>
                  <a:gd name="connsiteY680" fmla="*/ 110651 h 192736"/>
                  <a:gd name="connsiteX681" fmla="*/ 37207 w 252955"/>
                  <a:gd name="connsiteY681" fmla="*/ 109505 h 192736"/>
                  <a:gd name="connsiteX682" fmla="*/ 35444 w 252955"/>
                  <a:gd name="connsiteY682" fmla="*/ 108006 h 192736"/>
                  <a:gd name="connsiteX683" fmla="*/ 37207 w 252955"/>
                  <a:gd name="connsiteY683" fmla="*/ 107389 h 192736"/>
                  <a:gd name="connsiteX684" fmla="*/ 36590 w 252955"/>
                  <a:gd name="connsiteY684" fmla="*/ 106243 h 192736"/>
                  <a:gd name="connsiteX685" fmla="*/ 33063 w 252955"/>
                  <a:gd name="connsiteY685" fmla="*/ 103069 h 192736"/>
                  <a:gd name="connsiteX686" fmla="*/ 31917 w 252955"/>
                  <a:gd name="connsiteY686" fmla="*/ 101306 h 192736"/>
                  <a:gd name="connsiteX687" fmla="*/ 34827 w 252955"/>
                  <a:gd name="connsiteY687" fmla="*/ 101570 h 192736"/>
                  <a:gd name="connsiteX688" fmla="*/ 37207 w 252955"/>
                  <a:gd name="connsiteY688" fmla="*/ 101306 h 192736"/>
                  <a:gd name="connsiteX689" fmla="*/ 39500 w 252955"/>
                  <a:gd name="connsiteY689" fmla="*/ 101570 h 192736"/>
                  <a:gd name="connsiteX690" fmla="*/ 43026 w 252955"/>
                  <a:gd name="connsiteY690" fmla="*/ 101041 h 192736"/>
                  <a:gd name="connsiteX691" fmla="*/ 43908 w 252955"/>
                  <a:gd name="connsiteY691" fmla="*/ 99013 h 192736"/>
                  <a:gd name="connsiteX692" fmla="*/ 45407 w 252955"/>
                  <a:gd name="connsiteY692" fmla="*/ 97602 h 192736"/>
                  <a:gd name="connsiteX693" fmla="*/ 45407 w 252955"/>
                  <a:gd name="connsiteY693" fmla="*/ 92930 h 192736"/>
                  <a:gd name="connsiteX694" fmla="*/ 44878 w 252955"/>
                  <a:gd name="connsiteY694" fmla="*/ 90902 h 192736"/>
                  <a:gd name="connsiteX695" fmla="*/ 43732 w 252955"/>
                  <a:gd name="connsiteY695" fmla="*/ 90020 h 192736"/>
                  <a:gd name="connsiteX696" fmla="*/ 44261 w 252955"/>
                  <a:gd name="connsiteY696" fmla="*/ 87728 h 192736"/>
                  <a:gd name="connsiteX697" fmla="*/ 46024 w 252955"/>
                  <a:gd name="connsiteY697" fmla="*/ 86581 h 192736"/>
                  <a:gd name="connsiteX698" fmla="*/ 45759 w 252955"/>
                  <a:gd name="connsiteY698" fmla="*/ 85435 h 192736"/>
                  <a:gd name="connsiteX699" fmla="*/ 47523 w 252955"/>
                  <a:gd name="connsiteY699" fmla="*/ 85171 h 192736"/>
                  <a:gd name="connsiteX700" fmla="*/ 47258 w 252955"/>
                  <a:gd name="connsiteY700" fmla="*/ 84024 h 192736"/>
                  <a:gd name="connsiteX701" fmla="*/ 47787 w 252955"/>
                  <a:gd name="connsiteY701" fmla="*/ 83407 h 192736"/>
                  <a:gd name="connsiteX702" fmla="*/ 46641 w 252955"/>
                  <a:gd name="connsiteY702" fmla="*/ 81909 h 192736"/>
                  <a:gd name="connsiteX703" fmla="*/ 47787 w 252955"/>
                  <a:gd name="connsiteY703" fmla="*/ 81291 h 192736"/>
                  <a:gd name="connsiteX704" fmla="*/ 48405 w 252955"/>
                  <a:gd name="connsiteY704" fmla="*/ 79263 h 192736"/>
                  <a:gd name="connsiteX705" fmla="*/ 47787 w 252955"/>
                  <a:gd name="connsiteY705" fmla="*/ 77500 h 192736"/>
                  <a:gd name="connsiteX706" fmla="*/ 47258 w 252955"/>
                  <a:gd name="connsiteY706" fmla="*/ 75208 h 192736"/>
                  <a:gd name="connsiteX707" fmla="*/ 48140 w 252955"/>
                  <a:gd name="connsiteY707" fmla="*/ 72034 h 192736"/>
                  <a:gd name="connsiteX708" fmla="*/ 48140 w 252955"/>
                  <a:gd name="connsiteY708" fmla="*/ 71152 h 192736"/>
                  <a:gd name="connsiteX709" fmla="*/ 46377 w 252955"/>
                  <a:gd name="connsiteY709" fmla="*/ 67361 h 192736"/>
                  <a:gd name="connsiteX710" fmla="*/ 48405 w 252955"/>
                  <a:gd name="connsiteY710" fmla="*/ 67978 h 192736"/>
                  <a:gd name="connsiteX711" fmla="*/ 50168 w 252955"/>
                  <a:gd name="connsiteY711" fmla="*/ 66832 h 192736"/>
                  <a:gd name="connsiteX712" fmla="*/ 50168 w 252955"/>
                  <a:gd name="connsiteY712" fmla="*/ 64187 h 192736"/>
                  <a:gd name="connsiteX713" fmla="*/ 51931 w 252955"/>
                  <a:gd name="connsiteY713" fmla="*/ 62423 h 192736"/>
                  <a:gd name="connsiteX714" fmla="*/ 53430 w 252955"/>
                  <a:gd name="connsiteY714" fmla="*/ 62423 h 192736"/>
                  <a:gd name="connsiteX715" fmla="*/ 54929 w 252955"/>
                  <a:gd name="connsiteY715" fmla="*/ 61894 h 192736"/>
                  <a:gd name="connsiteX716" fmla="*/ 57838 w 252955"/>
                  <a:gd name="connsiteY716" fmla="*/ 60484 h 192736"/>
                  <a:gd name="connsiteX717" fmla="*/ 57838 w 252955"/>
                  <a:gd name="connsiteY717" fmla="*/ 60219 h 192736"/>
                  <a:gd name="connsiteX718" fmla="*/ 57838 w 252955"/>
                  <a:gd name="connsiteY718" fmla="*/ 59337 h 192736"/>
                  <a:gd name="connsiteX719" fmla="*/ 58720 w 252955"/>
                  <a:gd name="connsiteY719" fmla="*/ 58720 h 192736"/>
                  <a:gd name="connsiteX720" fmla="*/ 58985 w 252955"/>
                  <a:gd name="connsiteY720" fmla="*/ 57574 h 192736"/>
                  <a:gd name="connsiteX721" fmla="*/ 60395 w 252955"/>
                  <a:gd name="connsiteY721" fmla="*/ 54400 h 192736"/>
                  <a:gd name="connsiteX722" fmla="*/ 60395 w 252955"/>
                  <a:gd name="connsiteY722" fmla="*/ 52901 h 192736"/>
                  <a:gd name="connsiteX723" fmla="*/ 59514 w 252955"/>
                  <a:gd name="connsiteY723" fmla="*/ 52637 h 192736"/>
                  <a:gd name="connsiteX724" fmla="*/ 59249 w 252955"/>
                  <a:gd name="connsiteY724" fmla="*/ 51755 h 192736"/>
                  <a:gd name="connsiteX725" fmla="*/ 55987 w 252955"/>
                  <a:gd name="connsiteY725" fmla="*/ 51755 h 192736"/>
                  <a:gd name="connsiteX726" fmla="*/ 54841 w 252955"/>
                  <a:gd name="connsiteY726" fmla="*/ 52637 h 192736"/>
                  <a:gd name="connsiteX727" fmla="*/ 53695 w 252955"/>
                  <a:gd name="connsiteY727" fmla="*/ 51755 h 192736"/>
                  <a:gd name="connsiteX728" fmla="*/ 53959 w 252955"/>
                  <a:gd name="connsiteY728" fmla="*/ 50609 h 192736"/>
                  <a:gd name="connsiteX729" fmla="*/ 55105 w 252955"/>
                  <a:gd name="connsiteY729" fmla="*/ 47699 h 192736"/>
                  <a:gd name="connsiteX730" fmla="*/ 54841 w 252955"/>
                  <a:gd name="connsiteY730" fmla="*/ 46817 h 192736"/>
                  <a:gd name="connsiteX731" fmla="*/ 54224 w 252955"/>
                  <a:gd name="connsiteY731" fmla="*/ 46553 h 192736"/>
                  <a:gd name="connsiteX732" fmla="*/ 53959 w 252955"/>
                  <a:gd name="connsiteY732" fmla="*/ 45671 h 192736"/>
                  <a:gd name="connsiteX733" fmla="*/ 53959 w 252955"/>
                  <a:gd name="connsiteY733" fmla="*/ 45054 h 192736"/>
                  <a:gd name="connsiteX734" fmla="*/ 52196 w 252955"/>
                  <a:gd name="connsiteY734" fmla="*/ 45671 h 192736"/>
                  <a:gd name="connsiteX735" fmla="*/ 50432 w 252955"/>
                  <a:gd name="connsiteY735" fmla="*/ 45671 h 192736"/>
                  <a:gd name="connsiteX736" fmla="*/ 49022 w 252955"/>
                  <a:gd name="connsiteY736" fmla="*/ 44172 h 192736"/>
                  <a:gd name="connsiteX737" fmla="*/ 48405 w 252955"/>
                  <a:gd name="connsiteY737" fmla="*/ 45319 h 192736"/>
                  <a:gd name="connsiteX738" fmla="*/ 46994 w 252955"/>
                  <a:gd name="connsiteY738" fmla="*/ 45583 h 192736"/>
                  <a:gd name="connsiteX739" fmla="*/ 45848 w 252955"/>
                  <a:gd name="connsiteY739" fmla="*/ 44084 h 192736"/>
                  <a:gd name="connsiteX740" fmla="*/ 44701 w 252955"/>
                  <a:gd name="connsiteY740" fmla="*/ 44701 h 192736"/>
                  <a:gd name="connsiteX741" fmla="*/ 44084 w 252955"/>
                  <a:gd name="connsiteY741" fmla="*/ 44966 h 192736"/>
                  <a:gd name="connsiteX742" fmla="*/ 43555 w 252955"/>
                  <a:gd name="connsiteY742" fmla="*/ 44084 h 192736"/>
                  <a:gd name="connsiteX743" fmla="*/ 42056 w 252955"/>
                  <a:gd name="connsiteY743" fmla="*/ 44701 h 192736"/>
                  <a:gd name="connsiteX744" fmla="*/ 42321 w 252955"/>
                  <a:gd name="connsiteY744" fmla="*/ 46200 h 192736"/>
                  <a:gd name="connsiteX745" fmla="*/ 39147 w 252955"/>
                  <a:gd name="connsiteY745" fmla="*/ 47699 h 192736"/>
                  <a:gd name="connsiteX746" fmla="*/ 36766 w 252955"/>
                  <a:gd name="connsiteY746" fmla="*/ 47964 h 192736"/>
                  <a:gd name="connsiteX747" fmla="*/ 35003 w 252955"/>
                  <a:gd name="connsiteY747" fmla="*/ 47082 h 192736"/>
                  <a:gd name="connsiteX748" fmla="*/ 33857 w 252955"/>
                  <a:gd name="connsiteY748" fmla="*/ 47347 h 192736"/>
                  <a:gd name="connsiteX749" fmla="*/ 32358 w 252955"/>
                  <a:gd name="connsiteY749" fmla="*/ 47964 h 192736"/>
                  <a:gd name="connsiteX750" fmla="*/ 32975 w 252955"/>
                  <a:gd name="connsiteY750" fmla="*/ 46817 h 192736"/>
                  <a:gd name="connsiteX751" fmla="*/ 31476 w 252955"/>
                  <a:gd name="connsiteY751" fmla="*/ 46817 h 192736"/>
                  <a:gd name="connsiteX752" fmla="*/ 30594 w 252955"/>
                  <a:gd name="connsiteY752" fmla="*/ 46200 h 192736"/>
                  <a:gd name="connsiteX753" fmla="*/ 28567 w 252955"/>
                  <a:gd name="connsiteY753" fmla="*/ 46817 h 192736"/>
                  <a:gd name="connsiteX754" fmla="*/ 27421 w 252955"/>
                  <a:gd name="connsiteY754" fmla="*/ 47435 h 192736"/>
                  <a:gd name="connsiteX755" fmla="*/ 27156 w 252955"/>
                  <a:gd name="connsiteY755" fmla="*/ 45671 h 192736"/>
                  <a:gd name="connsiteX756" fmla="*/ 25657 w 252955"/>
                  <a:gd name="connsiteY756" fmla="*/ 46817 h 192736"/>
                  <a:gd name="connsiteX757" fmla="*/ 23012 w 252955"/>
                  <a:gd name="connsiteY757" fmla="*/ 47964 h 192736"/>
                  <a:gd name="connsiteX758" fmla="*/ 21513 w 252955"/>
                  <a:gd name="connsiteY758" fmla="*/ 47964 h 192736"/>
                  <a:gd name="connsiteX759" fmla="*/ 20632 w 252955"/>
                  <a:gd name="connsiteY759" fmla="*/ 46817 h 192736"/>
                  <a:gd name="connsiteX760" fmla="*/ 20367 w 252955"/>
                  <a:gd name="connsiteY760" fmla="*/ 45671 h 192736"/>
                  <a:gd name="connsiteX761" fmla="*/ 20984 w 252955"/>
                  <a:gd name="connsiteY761" fmla="*/ 43908 h 192736"/>
                  <a:gd name="connsiteX762" fmla="*/ 23277 w 252955"/>
                  <a:gd name="connsiteY762" fmla="*/ 43026 h 192736"/>
                  <a:gd name="connsiteX763" fmla="*/ 22130 w 252955"/>
                  <a:gd name="connsiteY763" fmla="*/ 42144 h 192736"/>
                  <a:gd name="connsiteX764" fmla="*/ 20367 w 252955"/>
                  <a:gd name="connsiteY764" fmla="*/ 41880 h 192736"/>
                  <a:gd name="connsiteX765" fmla="*/ 19750 w 252955"/>
                  <a:gd name="connsiteY765" fmla="*/ 41263 h 192736"/>
                  <a:gd name="connsiteX766" fmla="*/ 17457 w 252955"/>
                  <a:gd name="connsiteY766" fmla="*/ 41880 h 192736"/>
                  <a:gd name="connsiteX767" fmla="*/ 16311 w 252955"/>
                  <a:gd name="connsiteY767" fmla="*/ 41880 h 192736"/>
                  <a:gd name="connsiteX768" fmla="*/ 12520 w 252955"/>
                  <a:gd name="connsiteY768" fmla="*/ 43643 h 192736"/>
                  <a:gd name="connsiteX769" fmla="*/ 11638 w 252955"/>
                  <a:gd name="connsiteY769" fmla="*/ 44525 h 192736"/>
                  <a:gd name="connsiteX770" fmla="*/ 9611 w 252955"/>
                  <a:gd name="connsiteY770" fmla="*/ 45142 h 192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</a:cxnLst>
                <a:rect l="l" t="t" r="r" b="b"/>
                <a:pathLst>
                  <a:path w="252955" h="192736">
                    <a:moveTo>
                      <a:pt x="9611" y="45142"/>
                    </a:moveTo>
                    <a:lnTo>
                      <a:pt x="8729" y="45407"/>
                    </a:lnTo>
                    <a:lnTo>
                      <a:pt x="7583" y="45407"/>
                    </a:lnTo>
                    <a:lnTo>
                      <a:pt x="6436" y="46024"/>
                    </a:lnTo>
                    <a:lnTo>
                      <a:pt x="6436" y="46288"/>
                    </a:lnTo>
                    <a:lnTo>
                      <a:pt x="5819" y="46906"/>
                    </a:lnTo>
                    <a:lnTo>
                      <a:pt x="5819" y="45759"/>
                    </a:lnTo>
                    <a:lnTo>
                      <a:pt x="6084" y="45142"/>
                    </a:lnTo>
                    <a:lnTo>
                      <a:pt x="5467" y="44261"/>
                    </a:lnTo>
                    <a:lnTo>
                      <a:pt x="6084" y="43114"/>
                    </a:lnTo>
                    <a:lnTo>
                      <a:pt x="6084" y="41968"/>
                    </a:lnTo>
                    <a:lnTo>
                      <a:pt x="6701" y="41351"/>
                    </a:lnTo>
                    <a:lnTo>
                      <a:pt x="7583" y="41615"/>
                    </a:lnTo>
                    <a:lnTo>
                      <a:pt x="8729" y="41880"/>
                    </a:lnTo>
                    <a:lnTo>
                      <a:pt x="8729" y="41263"/>
                    </a:lnTo>
                    <a:lnTo>
                      <a:pt x="6965" y="40646"/>
                    </a:lnTo>
                    <a:lnTo>
                      <a:pt x="7230" y="40029"/>
                    </a:lnTo>
                    <a:lnTo>
                      <a:pt x="8112" y="40029"/>
                    </a:lnTo>
                    <a:lnTo>
                      <a:pt x="8729" y="40646"/>
                    </a:lnTo>
                    <a:lnTo>
                      <a:pt x="9346" y="38882"/>
                    </a:lnTo>
                    <a:lnTo>
                      <a:pt x="10228" y="38882"/>
                    </a:lnTo>
                    <a:lnTo>
                      <a:pt x="12608" y="37119"/>
                    </a:lnTo>
                    <a:lnTo>
                      <a:pt x="13225" y="36502"/>
                    </a:lnTo>
                    <a:lnTo>
                      <a:pt x="12608" y="35885"/>
                    </a:lnTo>
                    <a:lnTo>
                      <a:pt x="11727" y="36766"/>
                    </a:lnTo>
                    <a:lnTo>
                      <a:pt x="11727" y="37031"/>
                    </a:lnTo>
                    <a:lnTo>
                      <a:pt x="10580" y="37295"/>
                    </a:lnTo>
                    <a:lnTo>
                      <a:pt x="9699" y="37560"/>
                    </a:lnTo>
                    <a:lnTo>
                      <a:pt x="9434" y="38177"/>
                    </a:lnTo>
                    <a:lnTo>
                      <a:pt x="7935" y="38441"/>
                    </a:lnTo>
                    <a:lnTo>
                      <a:pt x="7318" y="38177"/>
                    </a:lnTo>
                    <a:lnTo>
                      <a:pt x="6172" y="37912"/>
                    </a:lnTo>
                    <a:lnTo>
                      <a:pt x="7054" y="37031"/>
                    </a:lnTo>
                    <a:lnTo>
                      <a:pt x="8817" y="37031"/>
                    </a:lnTo>
                    <a:lnTo>
                      <a:pt x="7054" y="36766"/>
                    </a:lnTo>
                    <a:lnTo>
                      <a:pt x="9346" y="36766"/>
                    </a:lnTo>
                    <a:lnTo>
                      <a:pt x="11109" y="34738"/>
                    </a:lnTo>
                    <a:lnTo>
                      <a:pt x="11991" y="33328"/>
                    </a:lnTo>
                    <a:lnTo>
                      <a:pt x="11109" y="33063"/>
                    </a:lnTo>
                    <a:lnTo>
                      <a:pt x="10228" y="33328"/>
                    </a:lnTo>
                    <a:lnTo>
                      <a:pt x="9346" y="34209"/>
                    </a:lnTo>
                    <a:lnTo>
                      <a:pt x="7054" y="34209"/>
                    </a:lnTo>
                    <a:lnTo>
                      <a:pt x="6436" y="33328"/>
                    </a:lnTo>
                    <a:lnTo>
                      <a:pt x="6436" y="33063"/>
                    </a:lnTo>
                    <a:lnTo>
                      <a:pt x="6172" y="31917"/>
                    </a:lnTo>
                    <a:lnTo>
                      <a:pt x="7054" y="32534"/>
                    </a:lnTo>
                    <a:lnTo>
                      <a:pt x="7935" y="32270"/>
                    </a:lnTo>
                    <a:lnTo>
                      <a:pt x="9081" y="31652"/>
                    </a:lnTo>
                    <a:lnTo>
                      <a:pt x="7583" y="30506"/>
                    </a:lnTo>
                    <a:lnTo>
                      <a:pt x="7583" y="29625"/>
                    </a:lnTo>
                    <a:lnTo>
                      <a:pt x="9611" y="29360"/>
                    </a:lnTo>
                    <a:lnTo>
                      <a:pt x="10757" y="28478"/>
                    </a:lnTo>
                    <a:lnTo>
                      <a:pt x="11021" y="27861"/>
                    </a:lnTo>
                    <a:lnTo>
                      <a:pt x="11021" y="27597"/>
                    </a:lnTo>
                    <a:lnTo>
                      <a:pt x="9611" y="28478"/>
                    </a:lnTo>
                    <a:lnTo>
                      <a:pt x="9346" y="27861"/>
                    </a:lnTo>
                    <a:lnTo>
                      <a:pt x="9081" y="27597"/>
                    </a:lnTo>
                    <a:lnTo>
                      <a:pt x="8200" y="26980"/>
                    </a:lnTo>
                    <a:lnTo>
                      <a:pt x="7318" y="26980"/>
                    </a:lnTo>
                    <a:lnTo>
                      <a:pt x="7318" y="28126"/>
                    </a:lnTo>
                    <a:lnTo>
                      <a:pt x="6789" y="29007"/>
                    </a:lnTo>
                    <a:lnTo>
                      <a:pt x="6789" y="29272"/>
                    </a:lnTo>
                    <a:lnTo>
                      <a:pt x="5643" y="29272"/>
                    </a:lnTo>
                    <a:lnTo>
                      <a:pt x="5643" y="30418"/>
                    </a:lnTo>
                    <a:lnTo>
                      <a:pt x="4761" y="30683"/>
                    </a:lnTo>
                    <a:lnTo>
                      <a:pt x="3879" y="30418"/>
                    </a:lnTo>
                    <a:lnTo>
                      <a:pt x="3350" y="30418"/>
                    </a:lnTo>
                    <a:lnTo>
                      <a:pt x="2733" y="29801"/>
                    </a:lnTo>
                    <a:lnTo>
                      <a:pt x="3350" y="29184"/>
                    </a:lnTo>
                    <a:lnTo>
                      <a:pt x="3350" y="26803"/>
                    </a:lnTo>
                    <a:lnTo>
                      <a:pt x="4232" y="26186"/>
                    </a:lnTo>
                    <a:lnTo>
                      <a:pt x="6613" y="25569"/>
                    </a:lnTo>
                    <a:lnTo>
                      <a:pt x="6877" y="24687"/>
                    </a:lnTo>
                    <a:lnTo>
                      <a:pt x="6877" y="24423"/>
                    </a:lnTo>
                    <a:lnTo>
                      <a:pt x="5378" y="24158"/>
                    </a:lnTo>
                    <a:lnTo>
                      <a:pt x="3350" y="24423"/>
                    </a:lnTo>
                    <a:lnTo>
                      <a:pt x="3350" y="24687"/>
                    </a:lnTo>
                    <a:lnTo>
                      <a:pt x="3350" y="25569"/>
                    </a:lnTo>
                    <a:lnTo>
                      <a:pt x="2733" y="24687"/>
                    </a:lnTo>
                    <a:lnTo>
                      <a:pt x="2998" y="24423"/>
                    </a:lnTo>
                    <a:lnTo>
                      <a:pt x="3262" y="23541"/>
                    </a:lnTo>
                    <a:lnTo>
                      <a:pt x="2998" y="22924"/>
                    </a:lnTo>
                    <a:lnTo>
                      <a:pt x="2998" y="21778"/>
                    </a:lnTo>
                    <a:lnTo>
                      <a:pt x="2116" y="20896"/>
                    </a:lnTo>
                    <a:lnTo>
                      <a:pt x="1499" y="21160"/>
                    </a:lnTo>
                    <a:lnTo>
                      <a:pt x="1763" y="21425"/>
                    </a:lnTo>
                    <a:lnTo>
                      <a:pt x="1499" y="21689"/>
                    </a:lnTo>
                    <a:lnTo>
                      <a:pt x="882" y="21689"/>
                    </a:lnTo>
                    <a:lnTo>
                      <a:pt x="264" y="21689"/>
                    </a:lnTo>
                    <a:lnTo>
                      <a:pt x="264" y="20808"/>
                    </a:lnTo>
                    <a:lnTo>
                      <a:pt x="0" y="20191"/>
                    </a:lnTo>
                    <a:lnTo>
                      <a:pt x="882" y="19573"/>
                    </a:lnTo>
                    <a:lnTo>
                      <a:pt x="1146" y="19838"/>
                    </a:lnTo>
                    <a:lnTo>
                      <a:pt x="1411" y="19573"/>
                    </a:lnTo>
                    <a:lnTo>
                      <a:pt x="1146" y="19044"/>
                    </a:lnTo>
                    <a:lnTo>
                      <a:pt x="264" y="18427"/>
                    </a:lnTo>
                    <a:lnTo>
                      <a:pt x="882" y="18163"/>
                    </a:lnTo>
                    <a:lnTo>
                      <a:pt x="1499" y="18427"/>
                    </a:lnTo>
                    <a:lnTo>
                      <a:pt x="1499" y="17810"/>
                    </a:lnTo>
                    <a:lnTo>
                      <a:pt x="1763" y="16928"/>
                    </a:lnTo>
                    <a:lnTo>
                      <a:pt x="1499" y="16311"/>
                    </a:lnTo>
                    <a:lnTo>
                      <a:pt x="1499" y="17193"/>
                    </a:lnTo>
                    <a:lnTo>
                      <a:pt x="1234" y="15429"/>
                    </a:lnTo>
                    <a:lnTo>
                      <a:pt x="1499" y="15165"/>
                    </a:lnTo>
                    <a:lnTo>
                      <a:pt x="2381" y="15165"/>
                    </a:lnTo>
                    <a:lnTo>
                      <a:pt x="3879" y="15165"/>
                    </a:lnTo>
                    <a:lnTo>
                      <a:pt x="4497" y="14283"/>
                    </a:lnTo>
                    <a:lnTo>
                      <a:pt x="4497" y="13402"/>
                    </a:lnTo>
                    <a:lnTo>
                      <a:pt x="5378" y="13137"/>
                    </a:lnTo>
                    <a:lnTo>
                      <a:pt x="6260" y="13754"/>
                    </a:lnTo>
                    <a:lnTo>
                      <a:pt x="7406" y="13754"/>
                    </a:lnTo>
                    <a:lnTo>
                      <a:pt x="8288" y="13754"/>
                    </a:lnTo>
                    <a:lnTo>
                      <a:pt x="8905" y="12873"/>
                    </a:lnTo>
                    <a:lnTo>
                      <a:pt x="8023" y="12608"/>
                    </a:lnTo>
                    <a:lnTo>
                      <a:pt x="8641" y="11726"/>
                    </a:lnTo>
                    <a:lnTo>
                      <a:pt x="10404" y="11726"/>
                    </a:lnTo>
                    <a:lnTo>
                      <a:pt x="11903" y="11462"/>
                    </a:lnTo>
                    <a:lnTo>
                      <a:pt x="13666" y="10845"/>
                    </a:lnTo>
                    <a:lnTo>
                      <a:pt x="15165" y="9699"/>
                    </a:lnTo>
                    <a:lnTo>
                      <a:pt x="16311" y="8817"/>
                    </a:lnTo>
                    <a:lnTo>
                      <a:pt x="17457" y="7935"/>
                    </a:lnTo>
                    <a:lnTo>
                      <a:pt x="19485" y="7053"/>
                    </a:lnTo>
                    <a:lnTo>
                      <a:pt x="20367" y="5555"/>
                    </a:lnTo>
                    <a:lnTo>
                      <a:pt x="20984" y="5819"/>
                    </a:lnTo>
                    <a:lnTo>
                      <a:pt x="21866" y="5290"/>
                    </a:lnTo>
                    <a:lnTo>
                      <a:pt x="23894" y="3527"/>
                    </a:lnTo>
                    <a:lnTo>
                      <a:pt x="25922" y="2910"/>
                    </a:lnTo>
                    <a:lnTo>
                      <a:pt x="26803" y="2645"/>
                    </a:lnTo>
                    <a:lnTo>
                      <a:pt x="28214" y="882"/>
                    </a:lnTo>
                    <a:lnTo>
                      <a:pt x="29713" y="1763"/>
                    </a:lnTo>
                    <a:lnTo>
                      <a:pt x="30594" y="1763"/>
                    </a:lnTo>
                    <a:lnTo>
                      <a:pt x="29977" y="882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2975" y="617"/>
                    </a:lnTo>
                    <a:lnTo>
                      <a:pt x="32975" y="0"/>
                    </a:lnTo>
                    <a:lnTo>
                      <a:pt x="33592" y="882"/>
                    </a:lnTo>
                    <a:lnTo>
                      <a:pt x="34738" y="882"/>
                    </a:lnTo>
                    <a:lnTo>
                      <a:pt x="34738" y="1499"/>
                    </a:lnTo>
                    <a:lnTo>
                      <a:pt x="35356" y="1763"/>
                    </a:lnTo>
                    <a:lnTo>
                      <a:pt x="35356" y="882"/>
                    </a:lnTo>
                    <a:lnTo>
                      <a:pt x="36237" y="617"/>
                    </a:lnTo>
                    <a:lnTo>
                      <a:pt x="36502" y="882"/>
                    </a:lnTo>
                    <a:lnTo>
                      <a:pt x="36502" y="1146"/>
                    </a:lnTo>
                    <a:lnTo>
                      <a:pt x="36855" y="2028"/>
                    </a:lnTo>
                    <a:lnTo>
                      <a:pt x="38001" y="2645"/>
                    </a:lnTo>
                    <a:lnTo>
                      <a:pt x="40293" y="3791"/>
                    </a:lnTo>
                    <a:lnTo>
                      <a:pt x="39676" y="4408"/>
                    </a:lnTo>
                    <a:lnTo>
                      <a:pt x="40293" y="4673"/>
                    </a:lnTo>
                    <a:lnTo>
                      <a:pt x="40293" y="4937"/>
                    </a:lnTo>
                    <a:lnTo>
                      <a:pt x="40910" y="4056"/>
                    </a:lnTo>
                    <a:lnTo>
                      <a:pt x="42938" y="4408"/>
                    </a:lnTo>
                    <a:lnTo>
                      <a:pt x="44966" y="4937"/>
                    </a:lnTo>
                    <a:lnTo>
                      <a:pt x="44966" y="5819"/>
                    </a:lnTo>
                    <a:lnTo>
                      <a:pt x="44966" y="6965"/>
                    </a:lnTo>
                    <a:lnTo>
                      <a:pt x="45583" y="6348"/>
                    </a:lnTo>
                    <a:lnTo>
                      <a:pt x="46200" y="5731"/>
                    </a:lnTo>
                    <a:lnTo>
                      <a:pt x="46817" y="5731"/>
                    </a:lnTo>
                    <a:lnTo>
                      <a:pt x="46200" y="4849"/>
                    </a:lnTo>
                    <a:lnTo>
                      <a:pt x="46817" y="4849"/>
                    </a:lnTo>
                    <a:lnTo>
                      <a:pt x="51491" y="4849"/>
                    </a:lnTo>
                    <a:lnTo>
                      <a:pt x="53518" y="5467"/>
                    </a:lnTo>
                    <a:lnTo>
                      <a:pt x="54665" y="4849"/>
                    </a:lnTo>
                    <a:lnTo>
                      <a:pt x="56075" y="4585"/>
                    </a:lnTo>
                    <a:lnTo>
                      <a:pt x="56957" y="4849"/>
                    </a:lnTo>
                    <a:lnTo>
                      <a:pt x="57486" y="5114"/>
                    </a:lnTo>
                    <a:lnTo>
                      <a:pt x="58103" y="4497"/>
                    </a:lnTo>
                    <a:lnTo>
                      <a:pt x="60484" y="4761"/>
                    </a:lnTo>
                    <a:lnTo>
                      <a:pt x="62247" y="4232"/>
                    </a:lnTo>
                    <a:lnTo>
                      <a:pt x="62247" y="3350"/>
                    </a:lnTo>
                    <a:lnTo>
                      <a:pt x="64628" y="2469"/>
                    </a:lnTo>
                    <a:lnTo>
                      <a:pt x="64892" y="2204"/>
                    </a:lnTo>
                    <a:lnTo>
                      <a:pt x="67802" y="3086"/>
                    </a:lnTo>
                    <a:lnTo>
                      <a:pt x="70447" y="2821"/>
                    </a:lnTo>
                    <a:lnTo>
                      <a:pt x="74502" y="1940"/>
                    </a:lnTo>
                    <a:lnTo>
                      <a:pt x="76795" y="2557"/>
                    </a:lnTo>
                    <a:lnTo>
                      <a:pt x="78206" y="3968"/>
                    </a:lnTo>
                    <a:lnTo>
                      <a:pt x="80586" y="4585"/>
                    </a:lnTo>
                    <a:lnTo>
                      <a:pt x="81997" y="4849"/>
                    </a:lnTo>
                    <a:lnTo>
                      <a:pt x="83760" y="6348"/>
                    </a:lnTo>
                    <a:lnTo>
                      <a:pt x="85523" y="6084"/>
                    </a:lnTo>
                    <a:lnTo>
                      <a:pt x="87816" y="5819"/>
                    </a:lnTo>
                    <a:lnTo>
                      <a:pt x="88080" y="6701"/>
                    </a:lnTo>
                    <a:lnTo>
                      <a:pt x="90461" y="5555"/>
                    </a:lnTo>
                    <a:lnTo>
                      <a:pt x="90990" y="5290"/>
                    </a:lnTo>
                    <a:lnTo>
                      <a:pt x="92753" y="4673"/>
                    </a:lnTo>
                    <a:lnTo>
                      <a:pt x="96544" y="5290"/>
                    </a:lnTo>
                    <a:lnTo>
                      <a:pt x="97162" y="5555"/>
                    </a:lnTo>
                    <a:lnTo>
                      <a:pt x="98925" y="5290"/>
                    </a:lnTo>
                    <a:lnTo>
                      <a:pt x="100071" y="6172"/>
                    </a:lnTo>
                    <a:lnTo>
                      <a:pt x="102099" y="6172"/>
                    </a:lnTo>
                    <a:lnTo>
                      <a:pt x="102981" y="6789"/>
                    </a:lnTo>
                    <a:lnTo>
                      <a:pt x="105626" y="6172"/>
                    </a:lnTo>
                    <a:lnTo>
                      <a:pt x="108535" y="6436"/>
                    </a:lnTo>
                    <a:lnTo>
                      <a:pt x="110828" y="5290"/>
                    </a:lnTo>
                    <a:lnTo>
                      <a:pt x="114354" y="6172"/>
                    </a:lnTo>
                    <a:lnTo>
                      <a:pt x="114619" y="6172"/>
                    </a:lnTo>
                    <a:lnTo>
                      <a:pt x="119027" y="7318"/>
                    </a:lnTo>
                    <a:lnTo>
                      <a:pt x="120526" y="6701"/>
                    </a:lnTo>
                    <a:lnTo>
                      <a:pt x="122025" y="7582"/>
                    </a:lnTo>
                    <a:lnTo>
                      <a:pt x="125199" y="7582"/>
                    </a:lnTo>
                    <a:lnTo>
                      <a:pt x="128461" y="7318"/>
                    </a:lnTo>
                    <a:lnTo>
                      <a:pt x="131371" y="7582"/>
                    </a:lnTo>
                    <a:lnTo>
                      <a:pt x="131988" y="8200"/>
                    </a:lnTo>
                    <a:lnTo>
                      <a:pt x="131988" y="9081"/>
                    </a:lnTo>
                    <a:lnTo>
                      <a:pt x="133487" y="9346"/>
                    </a:lnTo>
                    <a:lnTo>
                      <a:pt x="134633" y="9610"/>
                    </a:lnTo>
                    <a:lnTo>
                      <a:pt x="136396" y="8729"/>
                    </a:lnTo>
                    <a:lnTo>
                      <a:pt x="137543" y="8993"/>
                    </a:lnTo>
                    <a:lnTo>
                      <a:pt x="138689" y="10139"/>
                    </a:lnTo>
                    <a:lnTo>
                      <a:pt x="138953" y="11286"/>
                    </a:lnTo>
                    <a:lnTo>
                      <a:pt x="139482" y="11903"/>
                    </a:lnTo>
                    <a:lnTo>
                      <a:pt x="139747" y="11638"/>
                    </a:lnTo>
                    <a:lnTo>
                      <a:pt x="140364" y="11374"/>
                    </a:lnTo>
                    <a:lnTo>
                      <a:pt x="141246" y="11991"/>
                    </a:lnTo>
                    <a:lnTo>
                      <a:pt x="141246" y="11374"/>
                    </a:lnTo>
                    <a:lnTo>
                      <a:pt x="142128" y="11374"/>
                    </a:lnTo>
                    <a:lnTo>
                      <a:pt x="143274" y="11374"/>
                    </a:lnTo>
                    <a:lnTo>
                      <a:pt x="144420" y="10757"/>
                    </a:lnTo>
                    <a:lnTo>
                      <a:pt x="145302" y="9875"/>
                    </a:lnTo>
                    <a:lnTo>
                      <a:pt x="146801" y="10492"/>
                    </a:lnTo>
                    <a:lnTo>
                      <a:pt x="147418" y="10757"/>
                    </a:lnTo>
                    <a:lnTo>
                      <a:pt x="147682" y="9875"/>
                    </a:lnTo>
                    <a:lnTo>
                      <a:pt x="149181" y="10139"/>
                    </a:lnTo>
                    <a:lnTo>
                      <a:pt x="150327" y="8729"/>
                    </a:lnTo>
                    <a:lnTo>
                      <a:pt x="151209" y="9610"/>
                    </a:lnTo>
                    <a:lnTo>
                      <a:pt x="151826" y="10757"/>
                    </a:lnTo>
                    <a:lnTo>
                      <a:pt x="152972" y="11021"/>
                    </a:lnTo>
                    <a:lnTo>
                      <a:pt x="155353" y="11903"/>
                    </a:lnTo>
                    <a:lnTo>
                      <a:pt x="155353" y="11286"/>
                    </a:lnTo>
                    <a:lnTo>
                      <a:pt x="157645" y="11903"/>
                    </a:lnTo>
                    <a:lnTo>
                      <a:pt x="159144" y="15077"/>
                    </a:lnTo>
                    <a:lnTo>
                      <a:pt x="155970" y="17105"/>
                    </a:lnTo>
                    <a:lnTo>
                      <a:pt x="157733" y="18251"/>
                    </a:lnTo>
                    <a:lnTo>
                      <a:pt x="158615" y="17986"/>
                    </a:lnTo>
                    <a:lnTo>
                      <a:pt x="159232" y="16223"/>
                    </a:lnTo>
                    <a:lnTo>
                      <a:pt x="160731" y="16840"/>
                    </a:lnTo>
                    <a:lnTo>
                      <a:pt x="160996" y="18339"/>
                    </a:lnTo>
                    <a:lnTo>
                      <a:pt x="163905" y="18956"/>
                    </a:lnTo>
                    <a:lnTo>
                      <a:pt x="166815" y="20367"/>
                    </a:lnTo>
                    <a:lnTo>
                      <a:pt x="170341" y="20367"/>
                    </a:lnTo>
                    <a:lnTo>
                      <a:pt x="171840" y="20367"/>
                    </a:lnTo>
                    <a:lnTo>
                      <a:pt x="172105" y="21513"/>
                    </a:lnTo>
                    <a:lnTo>
                      <a:pt x="174133" y="22130"/>
                    </a:lnTo>
                    <a:lnTo>
                      <a:pt x="175014" y="23276"/>
                    </a:lnTo>
                    <a:lnTo>
                      <a:pt x="175632" y="23276"/>
                    </a:lnTo>
                    <a:lnTo>
                      <a:pt x="176249" y="23805"/>
                    </a:lnTo>
                    <a:lnTo>
                      <a:pt x="176866" y="23276"/>
                    </a:lnTo>
                    <a:lnTo>
                      <a:pt x="178365" y="24158"/>
                    </a:lnTo>
                    <a:lnTo>
                      <a:pt x="179511" y="22659"/>
                    </a:lnTo>
                    <a:lnTo>
                      <a:pt x="181274" y="23276"/>
                    </a:lnTo>
                    <a:lnTo>
                      <a:pt x="183302" y="23276"/>
                    </a:lnTo>
                    <a:lnTo>
                      <a:pt x="183919" y="25922"/>
                    </a:lnTo>
                    <a:lnTo>
                      <a:pt x="185066" y="26186"/>
                    </a:lnTo>
                    <a:lnTo>
                      <a:pt x="187975" y="25922"/>
                    </a:lnTo>
                    <a:lnTo>
                      <a:pt x="190003" y="25304"/>
                    </a:lnTo>
                    <a:lnTo>
                      <a:pt x="191766" y="25569"/>
                    </a:lnTo>
                    <a:lnTo>
                      <a:pt x="192383" y="26451"/>
                    </a:lnTo>
                    <a:lnTo>
                      <a:pt x="193530" y="26186"/>
                    </a:lnTo>
                    <a:lnTo>
                      <a:pt x="194676" y="25304"/>
                    </a:lnTo>
                    <a:lnTo>
                      <a:pt x="194940" y="25569"/>
                    </a:lnTo>
                    <a:lnTo>
                      <a:pt x="199349" y="25569"/>
                    </a:lnTo>
                    <a:lnTo>
                      <a:pt x="199966" y="24423"/>
                    </a:lnTo>
                    <a:lnTo>
                      <a:pt x="199966" y="22659"/>
                    </a:lnTo>
                    <a:lnTo>
                      <a:pt x="200583" y="22042"/>
                    </a:lnTo>
                    <a:lnTo>
                      <a:pt x="202964" y="22659"/>
                    </a:lnTo>
                    <a:lnTo>
                      <a:pt x="203581" y="23276"/>
                    </a:lnTo>
                    <a:lnTo>
                      <a:pt x="205961" y="24158"/>
                    </a:lnTo>
                    <a:lnTo>
                      <a:pt x="208254" y="24158"/>
                    </a:lnTo>
                    <a:lnTo>
                      <a:pt x="209135" y="25040"/>
                    </a:lnTo>
                    <a:lnTo>
                      <a:pt x="209400" y="25922"/>
                    </a:lnTo>
                    <a:lnTo>
                      <a:pt x="211163" y="25922"/>
                    </a:lnTo>
                    <a:lnTo>
                      <a:pt x="213808" y="25922"/>
                    </a:lnTo>
                    <a:lnTo>
                      <a:pt x="214955" y="27420"/>
                    </a:lnTo>
                    <a:lnTo>
                      <a:pt x="215219" y="28831"/>
                    </a:lnTo>
                    <a:lnTo>
                      <a:pt x="215219" y="29977"/>
                    </a:lnTo>
                    <a:lnTo>
                      <a:pt x="216365" y="30594"/>
                    </a:lnTo>
                    <a:lnTo>
                      <a:pt x="215219" y="31212"/>
                    </a:lnTo>
                    <a:lnTo>
                      <a:pt x="214955" y="31829"/>
                    </a:lnTo>
                    <a:lnTo>
                      <a:pt x="215219" y="32711"/>
                    </a:lnTo>
                    <a:lnTo>
                      <a:pt x="217512" y="32975"/>
                    </a:lnTo>
                    <a:lnTo>
                      <a:pt x="218129" y="32711"/>
                    </a:lnTo>
                    <a:lnTo>
                      <a:pt x="219539" y="32093"/>
                    </a:lnTo>
                    <a:lnTo>
                      <a:pt x="219804" y="31212"/>
                    </a:lnTo>
                    <a:lnTo>
                      <a:pt x="220950" y="31212"/>
                    </a:lnTo>
                    <a:lnTo>
                      <a:pt x="224477" y="32093"/>
                    </a:lnTo>
                    <a:lnTo>
                      <a:pt x="224741" y="33240"/>
                    </a:lnTo>
                    <a:lnTo>
                      <a:pt x="225623" y="34121"/>
                    </a:lnTo>
                    <a:lnTo>
                      <a:pt x="226505" y="35003"/>
                    </a:lnTo>
                    <a:lnTo>
                      <a:pt x="228268" y="33857"/>
                    </a:lnTo>
                    <a:lnTo>
                      <a:pt x="230649" y="33240"/>
                    </a:lnTo>
                    <a:lnTo>
                      <a:pt x="231178" y="32975"/>
                    </a:lnTo>
                    <a:lnTo>
                      <a:pt x="234087" y="33504"/>
                    </a:lnTo>
                    <a:lnTo>
                      <a:pt x="236732" y="35532"/>
                    </a:lnTo>
                    <a:lnTo>
                      <a:pt x="238231" y="35532"/>
                    </a:lnTo>
                    <a:lnTo>
                      <a:pt x="238496" y="34915"/>
                    </a:lnTo>
                    <a:lnTo>
                      <a:pt x="239377" y="36061"/>
                    </a:lnTo>
                    <a:lnTo>
                      <a:pt x="240259" y="35444"/>
                    </a:lnTo>
                    <a:lnTo>
                      <a:pt x="240259" y="33680"/>
                    </a:lnTo>
                    <a:lnTo>
                      <a:pt x="240876" y="32799"/>
                    </a:lnTo>
                    <a:lnTo>
                      <a:pt x="242287" y="32799"/>
                    </a:lnTo>
                    <a:lnTo>
                      <a:pt x="244315" y="32534"/>
                    </a:lnTo>
                    <a:lnTo>
                      <a:pt x="245726" y="31917"/>
                    </a:lnTo>
                    <a:lnTo>
                      <a:pt x="246607" y="31652"/>
                    </a:lnTo>
                    <a:lnTo>
                      <a:pt x="247753" y="33063"/>
                    </a:lnTo>
                    <a:lnTo>
                      <a:pt x="248370" y="32534"/>
                    </a:lnTo>
                    <a:lnTo>
                      <a:pt x="250663" y="32799"/>
                    </a:lnTo>
                    <a:lnTo>
                      <a:pt x="250663" y="33680"/>
                    </a:lnTo>
                    <a:lnTo>
                      <a:pt x="249781" y="33680"/>
                    </a:lnTo>
                    <a:lnTo>
                      <a:pt x="249164" y="34297"/>
                    </a:lnTo>
                    <a:lnTo>
                      <a:pt x="249428" y="35179"/>
                    </a:lnTo>
                    <a:lnTo>
                      <a:pt x="250310" y="36061"/>
                    </a:lnTo>
                    <a:lnTo>
                      <a:pt x="250575" y="35444"/>
                    </a:lnTo>
                    <a:lnTo>
                      <a:pt x="252338" y="36325"/>
                    </a:lnTo>
                    <a:lnTo>
                      <a:pt x="252955" y="36943"/>
                    </a:lnTo>
                    <a:lnTo>
                      <a:pt x="252691" y="37824"/>
                    </a:lnTo>
                    <a:lnTo>
                      <a:pt x="251544" y="38353"/>
                    </a:lnTo>
                    <a:lnTo>
                      <a:pt x="250663" y="38970"/>
                    </a:lnTo>
                    <a:lnTo>
                      <a:pt x="250046" y="38353"/>
                    </a:lnTo>
                    <a:lnTo>
                      <a:pt x="249781" y="38089"/>
                    </a:lnTo>
                    <a:lnTo>
                      <a:pt x="249164" y="37824"/>
                    </a:lnTo>
                    <a:lnTo>
                      <a:pt x="248547" y="38353"/>
                    </a:lnTo>
                    <a:lnTo>
                      <a:pt x="248282" y="39235"/>
                    </a:lnTo>
                    <a:lnTo>
                      <a:pt x="248547" y="40998"/>
                    </a:lnTo>
                    <a:lnTo>
                      <a:pt x="248547" y="41263"/>
                    </a:lnTo>
                    <a:lnTo>
                      <a:pt x="248811" y="41527"/>
                    </a:lnTo>
                    <a:lnTo>
                      <a:pt x="249428" y="41527"/>
                    </a:lnTo>
                    <a:lnTo>
                      <a:pt x="250046" y="41527"/>
                    </a:lnTo>
                    <a:lnTo>
                      <a:pt x="250663" y="43291"/>
                    </a:lnTo>
                    <a:lnTo>
                      <a:pt x="250398" y="45054"/>
                    </a:lnTo>
                    <a:lnTo>
                      <a:pt x="251280" y="45319"/>
                    </a:lnTo>
                    <a:lnTo>
                      <a:pt x="250663" y="45583"/>
                    </a:lnTo>
                    <a:lnTo>
                      <a:pt x="250663" y="46200"/>
                    </a:lnTo>
                    <a:lnTo>
                      <a:pt x="250046" y="47611"/>
                    </a:lnTo>
                    <a:lnTo>
                      <a:pt x="249781" y="47611"/>
                    </a:lnTo>
                    <a:lnTo>
                      <a:pt x="248635" y="48140"/>
                    </a:lnTo>
                    <a:lnTo>
                      <a:pt x="246254" y="49903"/>
                    </a:lnTo>
                    <a:lnTo>
                      <a:pt x="245108" y="50785"/>
                    </a:lnTo>
                    <a:lnTo>
                      <a:pt x="243962" y="51314"/>
                    </a:lnTo>
                    <a:lnTo>
                      <a:pt x="242199" y="51579"/>
                    </a:lnTo>
                    <a:lnTo>
                      <a:pt x="239818" y="52108"/>
                    </a:lnTo>
                    <a:lnTo>
                      <a:pt x="238936" y="53606"/>
                    </a:lnTo>
                    <a:lnTo>
                      <a:pt x="237438" y="54224"/>
                    </a:lnTo>
                    <a:lnTo>
                      <a:pt x="235145" y="56251"/>
                    </a:lnTo>
                    <a:lnTo>
                      <a:pt x="231354" y="57398"/>
                    </a:lnTo>
                    <a:lnTo>
                      <a:pt x="230208" y="58544"/>
                    </a:lnTo>
                    <a:lnTo>
                      <a:pt x="229943" y="59690"/>
                    </a:lnTo>
                    <a:lnTo>
                      <a:pt x="229326" y="61453"/>
                    </a:lnTo>
                    <a:lnTo>
                      <a:pt x="228709" y="62071"/>
                    </a:lnTo>
                    <a:lnTo>
                      <a:pt x="226681" y="62688"/>
                    </a:lnTo>
                    <a:lnTo>
                      <a:pt x="224653" y="62688"/>
                    </a:lnTo>
                    <a:lnTo>
                      <a:pt x="222008" y="63217"/>
                    </a:lnTo>
                    <a:lnTo>
                      <a:pt x="219716" y="63481"/>
                    </a:lnTo>
                    <a:lnTo>
                      <a:pt x="217952" y="64098"/>
                    </a:lnTo>
                    <a:lnTo>
                      <a:pt x="216542" y="63834"/>
                    </a:lnTo>
                    <a:lnTo>
                      <a:pt x="214161" y="64980"/>
                    </a:lnTo>
                    <a:lnTo>
                      <a:pt x="210634" y="65597"/>
                    </a:lnTo>
                    <a:lnTo>
                      <a:pt x="209488" y="66479"/>
                    </a:lnTo>
                    <a:lnTo>
                      <a:pt x="207725" y="66744"/>
                    </a:lnTo>
                    <a:lnTo>
                      <a:pt x="205080" y="67890"/>
                    </a:lnTo>
                    <a:lnTo>
                      <a:pt x="204815" y="69036"/>
                    </a:lnTo>
                    <a:lnTo>
                      <a:pt x="203934" y="69036"/>
                    </a:lnTo>
                    <a:lnTo>
                      <a:pt x="203934" y="69918"/>
                    </a:lnTo>
                    <a:lnTo>
                      <a:pt x="203669" y="70182"/>
                    </a:lnTo>
                    <a:lnTo>
                      <a:pt x="203405" y="69918"/>
                    </a:lnTo>
                    <a:lnTo>
                      <a:pt x="202787" y="69918"/>
                    </a:lnTo>
                    <a:lnTo>
                      <a:pt x="203052" y="70799"/>
                    </a:lnTo>
                    <a:lnTo>
                      <a:pt x="201553" y="72210"/>
                    </a:lnTo>
                    <a:lnTo>
                      <a:pt x="200407" y="73092"/>
                    </a:lnTo>
                    <a:lnTo>
                      <a:pt x="200142" y="73356"/>
                    </a:lnTo>
                    <a:lnTo>
                      <a:pt x="200407" y="74238"/>
                    </a:lnTo>
                    <a:lnTo>
                      <a:pt x="201024" y="74502"/>
                    </a:lnTo>
                    <a:lnTo>
                      <a:pt x="203052" y="75648"/>
                    </a:lnTo>
                    <a:lnTo>
                      <a:pt x="203316" y="75031"/>
                    </a:lnTo>
                    <a:lnTo>
                      <a:pt x="204198" y="75296"/>
                    </a:lnTo>
                    <a:lnTo>
                      <a:pt x="204198" y="75913"/>
                    </a:lnTo>
                    <a:lnTo>
                      <a:pt x="202699" y="76795"/>
                    </a:lnTo>
                    <a:lnTo>
                      <a:pt x="200936" y="78558"/>
                    </a:lnTo>
                    <a:lnTo>
                      <a:pt x="199790" y="79175"/>
                    </a:lnTo>
                    <a:lnTo>
                      <a:pt x="199173" y="79704"/>
                    </a:lnTo>
                    <a:lnTo>
                      <a:pt x="198026" y="79175"/>
                    </a:lnTo>
                    <a:lnTo>
                      <a:pt x="198291" y="78911"/>
                    </a:lnTo>
                    <a:lnTo>
                      <a:pt x="200054" y="78294"/>
                    </a:lnTo>
                    <a:lnTo>
                      <a:pt x="200319" y="78029"/>
                    </a:lnTo>
                    <a:lnTo>
                      <a:pt x="200054" y="77412"/>
                    </a:lnTo>
                    <a:lnTo>
                      <a:pt x="198643" y="77147"/>
                    </a:lnTo>
                    <a:lnTo>
                      <a:pt x="197497" y="78029"/>
                    </a:lnTo>
                    <a:lnTo>
                      <a:pt x="196351" y="78911"/>
                    </a:lnTo>
                    <a:lnTo>
                      <a:pt x="195734" y="79792"/>
                    </a:lnTo>
                    <a:lnTo>
                      <a:pt x="194852" y="81556"/>
                    </a:lnTo>
                    <a:lnTo>
                      <a:pt x="193970" y="83936"/>
                    </a:lnTo>
                    <a:lnTo>
                      <a:pt x="193970" y="84818"/>
                    </a:lnTo>
                    <a:lnTo>
                      <a:pt x="193089" y="85964"/>
                    </a:lnTo>
                    <a:lnTo>
                      <a:pt x="192207" y="87463"/>
                    </a:lnTo>
                    <a:lnTo>
                      <a:pt x="189827" y="88609"/>
                    </a:lnTo>
                    <a:lnTo>
                      <a:pt x="189298" y="90373"/>
                    </a:lnTo>
                    <a:lnTo>
                      <a:pt x="187799" y="91254"/>
                    </a:lnTo>
                    <a:lnTo>
                      <a:pt x="186917" y="91783"/>
                    </a:lnTo>
                    <a:lnTo>
                      <a:pt x="185418" y="92048"/>
                    </a:lnTo>
                    <a:lnTo>
                      <a:pt x="184801" y="92665"/>
                    </a:lnTo>
                    <a:lnTo>
                      <a:pt x="184801" y="93811"/>
                    </a:lnTo>
                    <a:lnTo>
                      <a:pt x="185066" y="94957"/>
                    </a:lnTo>
                    <a:lnTo>
                      <a:pt x="184801" y="96368"/>
                    </a:lnTo>
                    <a:lnTo>
                      <a:pt x="183038" y="98131"/>
                    </a:lnTo>
                    <a:lnTo>
                      <a:pt x="181010" y="101923"/>
                    </a:lnTo>
                    <a:lnTo>
                      <a:pt x="180128" y="103069"/>
                    </a:lnTo>
                    <a:lnTo>
                      <a:pt x="178982" y="105978"/>
                    </a:lnTo>
                    <a:lnTo>
                      <a:pt x="178982" y="107477"/>
                    </a:lnTo>
                    <a:lnTo>
                      <a:pt x="179864" y="110387"/>
                    </a:lnTo>
                    <a:lnTo>
                      <a:pt x="180481" y="111886"/>
                    </a:lnTo>
                    <a:lnTo>
                      <a:pt x="180481" y="113385"/>
                    </a:lnTo>
                    <a:lnTo>
                      <a:pt x="181362" y="116294"/>
                    </a:lnTo>
                    <a:lnTo>
                      <a:pt x="182509" y="118322"/>
                    </a:lnTo>
                    <a:lnTo>
                      <a:pt x="183390" y="119468"/>
                    </a:lnTo>
                    <a:lnTo>
                      <a:pt x="184537" y="120085"/>
                    </a:lnTo>
                    <a:lnTo>
                      <a:pt x="184801" y="120967"/>
                    </a:lnTo>
                    <a:lnTo>
                      <a:pt x="185947" y="121849"/>
                    </a:lnTo>
                    <a:lnTo>
                      <a:pt x="187093" y="121849"/>
                    </a:lnTo>
                    <a:lnTo>
                      <a:pt x="188592" y="122113"/>
                    </a:lnTo>
                    <a:lnTo>
                      <a:pt x="188857" y="123259"/>
                    </a:lnTo>
                    <a:lnTo>
                      <a:pt x="189474" y="123524"/>
                    </a:lnTo>
                    <a:lnTo>
                      <a:pt x="189739" y="122907"/>
                    </a:lnTo>
                    <a:lnTo>
                      <a:pt x="190003" y="124053"/>
                    </a:lnTo>
                    <a:lnTo>
                      <a:pt x="190003" y="124670"/>
                    </a:lnTo>
                    <a:lnTo>
                      <a:pt x="189386" y="125199"/>
                    </a:lnTo>
                    <a:lnTo>
                      <a:pt x="188769" y="126081"/>
                    </a:lnTo>
                    <a:lnTo>
                      <a:pt x="186476" y="127227"/>
                    </a:lnTo>
                    <a:lnTo>
                      <a:pt x="185595" y="127227"/>
                    </a:lnTo>
                    <a:lnTo>
                      <a:pt x="184184" y="128373"/>
                    </a:lnTo>
                    <a:lnTo>
                      <a:pt x="183302" y="128109"/>
                    </a:lnTo>
                    <a:lnTo>
                      <a:pt x="183567" y="128373"/>
                    </a:lnTo>
                    <a:lnTo>
                      <a:pt x="183302" y="128990"/>
                    </a:lnTo>
                    <a:lnTo>
                      <a:pt x="181539" y="130137"/>
                    </a:lnTo>
                    <a:lnTo>
                      <a:pt x="180657" y="130137"/>
                    </a:lnTo>
                    <a:lnTo>
                      <a:pt x="178894" y="131018"/>
                    </a:lnTo>
                    <a:lnTo>
                      <a:pt x="177747" y="131635"/>
                    </a:lnTo>
                    <a:lnTo>
                      <a:pt x="178365" y="132253"/>
                    </a:lnTo>
                    <a:lnTo>
                      <a:pt x="177483" y="133134"/>
                    </a:lnTo>
                    <a:lnTo>
                      <a:pt x="176601" y="133751"/>
                    </a:lnTo>
                    <a:lnTo>
                      <a:pt x="176601" y="134369"/>
                    </a:lnTo>
                    <a:lnTo>
                      <a:pt x="175984" y="134633"/>
                    </a:lnTo>
                    <a:lnTo>
                      <a:pt x="175367" y="134633"/>
                    </a:lnTo>
                    <a:lnTo>
                      <a:pt x="174485" y="136132"/>
                    </a:lnTo>
                    <a:lnTo>
                      <a:pt x="174485" y="136749"/>
                    </a:lnTo>
                    <a:lnTo>
                      <a:pt x="174221" y="138160"/>
                    </a:lnTo>
                    <a:lnTo>
                      <a:pt x="173339" y="138777"/>
                    </a:lnTo>
                    <a:lnTo>
                      <a:pt x="172457" y="139306"/>
                    </a:lnTo>
                    <a:lnTo>
                      <a:pt x="172457" y="141687"/>
                    </a:lnTo>
                    <a:lnTo>
                      <a:pt x="172193" y="142568"/>
                    </a:lnTo>
                    <a:lnTo>
                      <a:pt x="171311" y="143714"/>
                    </a:lnTo>
                    <a:lnTo>
                      <a:pt x="170430" y="145125"/>
                    </a:lnTo>
                    <a:lnTo>
                      <a:pt x="170165" y="146007"/>
                    </a:lnTo>
                    <a:lnTo>
                      <a:pt x="170165" y="146624"/>
                    </a:lnTo>
                    <a:lnTo>
                      <a:pt x="169901" y="147241"/>
                    </a:lnTo>
                    <a:lnTo>
                      <a:pt x="169283" y="148123"/>
                    </a:lnTo>
                    <a:lnTo>
                      <a:pt x="168137" y="149622"/>
                    </a:lnTo>
                    <a:lnTo>
                      <a:pt x="168137" y="150239"/>
                    </a:lnTo>
                    <a:lnTo>
                      <a:pt x="169283" y="152002"/>
                    </a:lnTo>
                    <a:lnTo>
                      <a:pt x="170430" y="152531"/>
                    </a:lnTo>
                    <a:lnTo>
                      <a:pt x="171047" y="152267"/>
                    </a:lnTo>
                    <a:lnTo>
                      <a:pt x="171047" y="151650"/>
                    </a:lnTo>
                    <a:lnTo>
                      <a:pt x="171311" y="152267"/>
                    </a:lnTo>
                    <a:lnTo>
                      <a:pt x="171047" y="152884"/>
                    </a:lnTo>
                    <a:lnTo>
                      <a:pt x="170782" y="153501"/>
                    </a:lnTo>
                    <a:lnTo>
                      <a:pt x="168754" y="154118"/>
                    </a:lnTo>
                    <a:lnTo>
                      <a:pt x="167255" y="154383"/>
                    </a:lnTo>
                    <a:lnTo>
                      <a:pt x="166374" y="154383"/>
                    </a:lnTo>
                    <a:lnTo>
                      <a:pt x="165757" y="154118"/>
                    </a:lnTo>
                    <a:lnTo>
                      <a:pt x="163729" y="153854"/>
                    </a:lnTo>
                    <a:lnTo>
                      <a:pt x="162847" y="153589"/>
                    </a:lnTo>
                    <a:lnTo>
                      <a:pt x="162583" y="154207"/>
                    </a:lnTo>
                    <a:lnTo>
                      <a:pt x="160819" y="153589"/>
                    </a:lnTo>
                    <a:lnTo>
                      <a:pt x="159409" y="153854"/>
                    </a:lnTo>
                    <a:lnTo>
                      <a:pt x="158527" y="154118"/>
                    </a:lnTo>
                    <a:lnTo>
                      <a:pt x="155882" y="156146"/>
                    </a:lnTo>
                    <a:lnTo>
                      <a:pt x="155000" y="157292"/>
                    </a:lnTo>
                    <a:lnTo>
                      <a:pt x="154736" y="157557"/>
                    </a:lnTo>
                    <a:lnTo>
                      <a:pt x="154471" y="157292"/>
                    </a:lnTo>
                    <a:lnTo>
                      <a:pt x="154471" y="157557"/>
                    </a:lnTo>
                    <a:lnTo>
                      <a:pt x="152179" y="158703"/>
                    </a:lnTo>
                    <a:lnTo>
                      <a:pt x="151914" y="158439"/>
                    </a:lnTo>
                    <a:lnTo>
                      <a:pt x="151297" y="159320"/>
                    </a:lnTo>
                    <a:lnTo>
                      <a:pt x="150680" y="160202"/>
                    </a:lnTo>
                    <a:lnTo>
                      <a:pt x="150063" y="161084"/>
                    </a:lnTo>
                    <a:lnTo>
                      <a:pt x="148652" y="162847"/>
                    </a:lnTo>
                    <a:lnTo>
                      <a:pt x="148035" y="163993"/>
                    </a:lnTo>
                    <a:lnTo>
                      <a:pt x="148299" y="165139"/>
                    </a:lnTo>
                    <a:lnTo>
                      <a:pt x="147153" y="167784"/>
                    </a:lnTo>
                    <a:lnTo>
                      <a:pt x="146007" y="169283"/>
                    </a:lnTo>
                    <a:lnTo>
                      <a:pt x="144244" y="169901"/>
                    </a:lnTo>
                    <a:lnTo>
                      <a:pt x="144508" y="170518"/>
                    </a:lnTo>
                    <a:lnTo>
                      <a:pt x="144244" y="171399"/>
                    </a:lnTo>
                    <a:lnTo>
                      <a:pt x="143362" y="172810"/>
                    </a:lnTo>
                    <a:lnTo>
                      <a:pt x="143626" y="173956"/>
                    </a:lnTo>
                    <a:lnTo>
                      <a:pt x="142745" y="174573"/>
                    </a:lnTo>
                    <a:lnTo>
                      <a:pt x="140981" y="175191"/>
                    </a:lnTo>
                    <a:lnTo>
                      <a:pt x="139835" y="174573"/>
                    </a:lnTo>
                    <a:lnTo>
                      <a:pt x="138689" y="172546"/>
                    </a:lnTo>
                    <a:lnTo>
                      <a:pt x="136309" y="172281"/>
                    </a:lnTo>
                    <a:lnTo>
                      <a:pt x="134810" y="172281"/>
                    </a:lnTo>
                    <a:lnTo>
                      <a:pt x="132782" y="172810"/>
                    </a:lnTo>
                    <a:lnTo>
                      <a:pt x="132165" y="174573"/>
                    </a:lnTo>
                    <a:lnTo>
                      <a:pt x="130666" y="175720"/>
                    </a:lnTo>
                    <a:lnTo>
                      <a:pt x="128638" y="175984"/>
                    </a:lnTo>
                    <a:lnTo>
                      <a:pt x="126610" y="175720"/>
                    </a:lnTo>
                    <a:lnTo>
                      <a:pt x="125993" y="174838"/>
                    </a:lnTo>
                    <a:lnTo>
                      <a:pt x="125375" y="174573"/>
                    </a:lnTo>
                    <a:lnTo>
                      <a:pt x="122202" y="174573"/>
                    </a:lnTo>
                    <a:lnTo>
                      <a:pt x="117793" y="174573"/>
                    </a:lnTo>
                    <a:lnTo>
                      <a:pt x="116647" y="174838"/>
                    </a:lnTo>
                    <a:lnTo>
                      <a:pt x="116382" y="175720"/>
                    </a:lnTo>
                    <a:lnTo>
                      <a:pt x="114002" y="175102"/>
                    </a:lnTo>
                    <a:lnTo>
                      <a:pt x="113120" y="175367"/>
                    </a:lnTo>
                    <a:lnTo>
                      <a:pt x="112503" y="174750"/>
                    </a:lnTo>
                    <a:lnTo>
                      <a:pt x="111004" y="174133"/>
                    </a:lnTo>
                    <a:lnTo>
                      <a:pt x="110122" y="174397"/>
                    </a:lnTo>
                    <a:lnTo>
                      <a:pt x="109241" y="174662"/>
                    </a:lnTo>
                    <a:lnTo>
                      <a:pt x="106948" y="173780"/>
                    </a:lnTo>
                    <a:lnTo>
                      <a:pt x="105802" y="174397"/>
                    </a:lnTo>
                    <a:lnTo>
                      <a:pt x="103157" y="174397"/>
                    </a:lnTo>
                    <a:lnTo>
                      <a:pt x="101658" y="174397"/>
                    </a:lnTo>
                    <a:lnTo>
                      <a:pt x="100248" y="174662"/>
                    </a:lnTo>
                    <a:lnTo>
                      <a:pt x="98220" y="175014"/>
                    </a:lnTo>
                    <a:lnTo>
                      <a:pt x="96456" y="175279"/>
                    </a:lnTo>
                    <a:lnTo>
                      <a:pt x="94693" y="175014"/>
                    </a:lnTo>
                    <a:lnTo>
                      <a:pt x="94076" y="176161"/>
                    </a:lnTo>
                    <a:lnTo>
                      <a:pt x="93811" y="177307"/>
                    </a:lnTo>
                    <a:lnTo>
                      <a:pt x="91519" y="178717"/>
                    </a:lnTo>
                    <a:lnTo>
                      <a:pt x="90637" y="179599"/>
                    </a:lnTo>
                    <a:lnTo>
                      <a:pt x="89491" y="180481"/>
                    </a:lnTo>
                    <a:lnTo>
                      <a:pt x="87992" y="180481"/>
                    </a:lnTo>
                    <a:lnTo>
                      <a:pt x="85700" y="180216"/>
                    </a:lnTo>
                    <a:lnTo>
                      <a:pt x="84289" y="180481"/>
                    </a:lnTo>
                    <a:lnTo>
                      <a:pt x="82526" y="181098"/>
                    </a:lnTo>
                    <a:lnTo>
                      <a:pt x="81027" y="181098"/>
                    </a:lnTo>
                    <a:lnTo>
                      <a:pt x="79264" y="181715"/>
                    </a:lnTo>
                    <a:lnTo>
                      <a:pt x="78382" y="181451"/>
                    </a:lnTo>
                    <a:lnTo>
                      <a:pt x="77765" y="181715"/>
                    </a:lnTo>
                    <a:lnTo>
                      <a:pt x="77500" y="182332"/>
                    </a:lnTo>
                    <a:lnTo>
                      <a:pt x="77765" y="183478"/>
                    </a:lnTo>
                    <a:lnTo>
                      <a:pt x="77500" y="184360"/>
                    </a:lnTo>
                    <a:lnTo>
                      <a:pt x="76883" y="184977"/>
                    </a:lnTo>
                    <a:lnTo>
                      <a:pt x="76618" y="184977"/>
                    </a:lnTo>
                    <a:lnTo>
                      <a:pt x="76354" y="184977"/>
                    </a:lnTo>
                    <a:lnTo>
                      <a:pt x="76354" y="185594"/>
                    </a:lnTo>
                    <a:lnTo>
                      <a:pt x="76089" y="186123"/>
                    </a:lnTo>
                    <a:lnTo>
                      <a:pt x="74679" y="186123"/>
                    </a:lnTo>
                    <a:lnTo>
                      <a:pt x="74062" y="185859"/>
                    </a:lnTo>
                    <a:lnTo>
                      <a:pt x="73797" y="185859"/>
                    </a:lnTo>
                    <a:lnTo>
                      <a:pt x="73533" y="186123"/>
                    </a:lnTo>
                    <a:lnTo>
                      <a:pt x="73268" y="186388"/>
                    </a:lnTo>
                    <a:lnTo>
                      <a:pt x="73533" y="186388"/>
                    </a:lnTo>
                    <a:lnTo>
                      <a:pt x="73533" y="187005"/>
                    </a:lnTo>
                    <a:lnTo>
                      <a:pt x="73268" y="187270"/>
                    </a:lnTo>
                    <a:lnTo>
                      <a:pt x="73533" y="187534"/>
                    </a:lnTo>
                    <a:lnTo>
                      <a:pt x="73268" y="187799"/>
                    </a:lnTo>
                    <a:lnTo>
                      <a:pt x="73797" y="187799"/>
                    </a:lnTo>
                    <a:lnTo>
                      <a:pt x="73533" y="187799"/>
                    </a:lnTo>
                    <a:lnTo>
                      <a:pt x="73533" y="188416"/>
                    </a:lnTo>
                    <a:lnTo>
                      <a:pt x="73533" y="188680"/>
                    </a:lnTo>
                    <a:lnTo>
                      <a:pt x="72915" y="188680"/>
                    </a:lnTo>
                    <a:lnTo>
                      <a:pt x="72651" y="188680"/>
                    </a:lnTo>
                    <a:lnTo>
                      <a:pt x="72386" y="188680"/>
                    </a:lnTo>
                    <a:lnTo>
                      <a:pt x="72386" y="188945"/>
                    </a:lnTo>
                    <a:lnTo>
                      <a:pt x="72651" y="189209"/>
                    </a:lnTo>
                    <a:lnTo>
                      <a:pt x="72386" y="189474"/>
                    </a:lnTo>
                    <a:lnTo>
                      <a:pt x="72386" y="190973"/>
                    </a:lnTo>
                    <a:lnTo>
                      <a:pt x="72386" y="191502"/>
                    </a:lnTo>
                    <a:lnTo>
                      <a:pt x="72034" y="191502"/>
                    </a:lnTo>
                    <a:lnTo>
                      <a:pt x="71505" y="191502"/>
                    </a:lnTo>
                    <a:lnTo>
                      <a:pt x="71240" y="191766"/>
                    </a:lnTo>
                    <a:lnTo>
                      <a:pt x="70711" y="192119"/>
                    </a:lnTo>
                    <a:lnTo>
                      <a:pt x="69829" y="192736"/>
                    </a:lnTo>
                    <a:lnTo>
                      <a:pt x="68683" y="192736"/>
                    </a:lnTo>
                    <a:lnTo>
                      <a:pt x="68066" y="192472"/>
                    </a:lnTo>
                    <a:lnTo>
                      <a:pt x="67802" y="191854"/>
                    </a:lnTo>
                    <a:lnTo>
                      <a:pt x="67185" y="191590"/>
                    </a:lnTo>
                    <a:lnTo>
                      <a:pt x="66567" y="191854"/>
                    </a:lnTo>
                    <a:lnTo>
                      <a:pt x="65950" y="191590"/>
                    </a:lnTo>
                    <a:lnTo>
                      <a:pt x="65950" y="190708"/>
                    </a:lnTo>
                    <a:lnTo>
                      <a:pt x="65068" y="190708"/>
                    </a:lnTo>
                    <a:lnTo>
                      <a:pt x="64804" y="190091"/>
                    </a:lnTo>
                    <a:lnTo>
                      <a:pt x="63922" y="189474"/>
                    </a:lnTo>
                    <a:lnTo>
                      <a:pt x="63658" y="188857"/>
                    </a:lnTo>
                    <a:lnTo>
                      <a:pt x="62512" y="188857"/>
                    </a:lnTo>
                    <a:lnTo>
                      <a:pt x="60748" y="188857"/>
                    </a:lnTo>
                    <a:lnTo>
                      <a:pt x="60131" y="188240"/>
                    </a:lnTo>
                    <a:lnTo>
                      <a:pt x="59866" y="187093"/>
                    </a:lnTo>
                    <a:lnTo>
                      <a:pt x="59249" y="186212"/>
                    </a:lnTo>
                    <a:lnTo>
                      <a:pt x="58720" y="185594"/>
                    </a:lnTo>
                    <a:lnTo>
                      <a:pt x="58103" y="184977"/>
                    </a:lnTo>
                    <a:lnTo>
                      <a:pt x="56957" y="184360"/>
                    </a:lnTo>
                    <a:lnTo>
                      <a:pt x="56692" y="183743"/>
                    </a:lnTo>
                    <a:lnTo>
                      <a:pt x="56957" y="181980"/>
                    </a:lnTo>
                    <a:lnTo>
                      <a:pt x="56957" y="181715"/>
                    </a:lnTo>
                    <a:lnTo>
                      <a:pt x="55458" y="181098"/>
                    </a:lnTo>
                    <a:lnTo>
                      <a:pt x="55193" y="180216"/>
                    </a:lnTo>
                    <a:lnTo>
                      <a:pt x="55811" y="180481"/>
                    </a:lnTo>
                    <a:lnTo>
                      <a:pt x="56957" y="181010"/>
                    </a:lnTo>
                    <a:lnTo>
                      <a:pt x="56957" y="180481"/>
                    </a:lnTo>
                    <a:lnTo>
                      <a:pt x="57221" y="179599"/>
                    </a:lnTo>
                    <a:lnTo>
                      <a:pt x="56957" y="178982"/>
                    </a:lnTo>
                    <a:lnTo>
                      <a:pt x="56692" y="178365"/>
                    </a:lnTo>
                    <a:lnTo>
                      <a:pt x="55811" y="177747"/>
                    </a:lnTo>
                    <a:lnTo>
                      <a:pt x="54665" y="176601"/>
                    </a:lnTo>
                    <a:lnTo>
                      <a:pt x="53518" y="174838"/>
                    </a:lnTo>
                    <a:lnTo>
                      <a:pt x="53518" y="173956"/>
                    </a:lnTo>
                    <a:lnTo>
                      <a:pt x="53783" y="173692"/>
                    </a:lnTo>
                    <a:lnTo>
                      <a:pt x="54047" y="173956"/>
                    </a:lnTo>
                    <a:lnTo>
                      <a:pt x="56075" y="173339"/>
                    </a:lnTo>
                    <a:lnTo>
                      <a:pt x="56692" y="172722"/>
                    </a:lnTo>
                    <a:lnTo>
                      <a:pt x="54929" y="172986"/>
                    </a:lnTo>
                    <a:lnTo>
                      <a:pt x="54665" y="172722"/>
                    </a:lnTo>
                    <a:lnTo>
                      <a:pt x="54665" y="172105"/>
                    </a:lnTo>
                    <a:lnTo>
                      <a:pt x="54047" y="170958"/>
                    </a:lnTo>
                    <a:lnTo>
                      <a:pt x="53518" y="169812"/>
                    </a:lnTo>
                    <a:lnTo>
                      <a:pt x="52372" y="169195"/>
                    </a:lnTo>
                    <a:lnTo>
                      <a:pt x="51226" y="168578"/>
                    </a:lnTo>
                    <a:lnTo>
                      <a:pt x="50344" y="167961"/>
                    </a:lnTo>
                    <a:lnTo>
                      <a:pt x="50080" y="167344"/>
                    </a:lnTo>
                    <a:lnTo>
                      <a:pt x="50344" y="167079"/>
                    </a:lnTo>
                    <a:lnTo>
                      <a:pt x="50080" y="166815"/>
                    </a:lnTo>
                    <a:lnTo>
                      <a:pt x="48934" y="165668"/>
                    </a:lnTo>
                    <a:lnTo>
                      <a:pt x="46553" y="164170"/>
                    </a:lnTo>
                    <a:lnTo>
                      <a:pt x="44790" y="163552"/>
                    </a:lnTo>
                    <a:lnTo>
                      <a:pt x="43291" y="163552"/>
                    </a:lnTo>
                    <a:lnTo>
                      <a:pt x="40381" y="162406"/>
                    </a:lnTo>
                    <a:lnTo>
                      <a:pt x="39500" y="162142"/>
                    </a:lnTo>
                    <a:lnTo>
                      <a:pt x="39235" y="162142"/>
                    </a:lnTo>
                    <a:lnTo>
                      <a:pt x="38618" y="162142"/>
                    </a:lnTo>
                    <a:lnTo>
                      <a:pt x="38618" y="162406"/>
                    </a:lnTo>
                    <a:lnTo>
                      <a:pt x="39764" y="163023"/>
                    </a:lnTo>
                    <a:lnTo>
                      <a:pt x="39235" y="163376"/>
                    </a:lnTo>
                    <a:lnTo>
                      <a:pt x="37736" y="163376"/>
                    </a:lnTo>
                    <a:lnTo>
                      <a:pt x="35444" y="163023"/>
                    </a:lnTo>
                    <a:lnTo>
                      <a:pt x="34827" y="163023"/>
                    </a:lnTo>
                    <a:lnTo>
                      <a:pt x="34209" y="163640"/>
                    </a:lnTo>
                    <a:lnTo>
                      <a:pt x="33592" y="163640"/>
                    </a:lnTo>
                    <a:lnTo>
                      <a:pt x="32711" y="163640"/>
                    </a:lnTo>
                    <a:lnTo>
                      <a:pt x="31564" y="157557"/>
                    </a:lnTo>
                    <a:lnTo>
                      <a:pt x="31564" y="156058"/>
                    </a:lnTo>
                    <a:lnTo>
                      <a:pt x="30683" y="154912"/>
                    </a:lnTo>
                    <a:lnTo>
                      <a:pt x="31564" y="153501"/>
                    </a:lnTo>
                    <a:lnTo>
                      <a:pt x="31564" y="151738"/>
                    </a:lnTo>
                    <a:lnTo>
                      <a:pt x="33328" y="149093"/>
                    </a:lnTo>
                    <a:lnTo>
                      <a:pt x="35973" y="147065"/>
                    </a:lnTo>
                    <a:lnTo>
                      <a:pt x="35444" y="145566"/>
                    </a:lnTo>
                    <a:lnTo>
                      <a:pt x="35708" y="144155"/>
                    </a:lnTo>
                    <a:lnTo>
                      <a:pt x="35973" y="143274"/>
                    </a:lnTo>
                    <a:lnTo>
                      <a:pt x="37119" y="142657"/>
                    </a:lnTo>
                    <a:lnTo>
                      <a:pt x="39147" y="142657"/>
                    </a:lnTo>
                    <a:lnTo>
                      <a:pt x="39676" y="142039"/>
                    </a:lnTo>
                    <a:lnTo>
                      <a:pt x="40558" y="141775"/>
                    </a:lnTo>
                    <a:lnTo>
                      <a:pt x="42321" y="140011"/>
                    </a:lnTo>
                    <a:lnTo>
                      <a:pt x="42056" y="138601"/>
                    </a:lnTo>
                    <a:lnTo>
                      <a:pt x="40910" y="139482"/>
                    </a:lnTo>
                    <a:lnTo>
                      <a:pt x="40293" y="139218"/>
                    </a:lnTo>
                    <a:lnTo>
                      <a:pt x="39411" y="138072"/>
                    </a:lnTo>
                    <a:lnTo>
                      <a:pt x="36237" y="132253"/>
                    </a:lnTo>
                    <a:lnTo>
                      <a:pt x="35356" y="131635"/>
                    </a:lnTo>
                    <a:lnTo>
                      <a:pt x="35620" y="130754"/>
                    </a:lnTo>
                    <a:lnTo>
                      <a:pt x="35356" y="129607"/>
                    </a:lnTo>
                    <a:lnTo>
                      <a:pt x="36502" y="129343"/>
                    </a:lnTo>
                    <a:lnTo>
                      <a:pt x="36855" y="127844"/>
                    </a:lnTo>
                    <a:lnTo>
                      <a:pt x="36502" y="127227"/>
                    </a:lnTo>
                    <a:lnTo>
                      <a:pt x="37119" y="125464"/>
                    </a:lnTo>
                    <a:lnTo>
                      <a:pt x="39764" y="123436"/>
                    </a:lnTo>
                    <a:lnTo>
                      <a:pt x="40910" y="122554"/>
                    </a:lnTo>
                    <a:lnTo>
                      <a:pt x="41528" y="122290"/>
                    </a:lnTo>
                    <a:lnTo>
                      <a:pt x="41792" y="121143"/>
                    </a:lnTo>
                    <a:lnTo>
                      <a:pt x="41528" y="119733"/>
                    </a:lnTo>
                    <a:lnTo>
                      <a:pt x="42674" y="118851"/>
                    </a:lnTo>
                    <a:lnTo>
                      <a:pt x="43555" y="117705"/>
                    </a:lnTo>
                    <a:lnTo>
                      <a:pt x="42674" y="116559"/>
                    </a:lnTo>
                    <a:lnTo>
                      <a:pt x="41792" y="115942"/>
                    </a:lnTo>
                    <a:lnTo>
                      <a:pt x="41528" y="115060"/>
                    </a:lnTo>
                    <a:lnTo>
                      <a:pt x="40029" y="115412"/>
                    </a:lnTo>
                    <a:lnTo>
                      <a:pt x="40029" y="113914"/>
                    </a:lnTo>
                    <a:lnTo>
                      <a:pt x="38001" y="113296"/>
                    </a:lnTo>
                    <a:lnTo>
                      <a:pt x="36855" y="112150"/>
                    </a:lnTo>
                    <a:lnTo>
                      <a:pt x="37472" y="110651"/>
                    </a:lnTo>
                    <a:lnTo>
                      <a:pt x="37207" y="109505"/>
                    </a:lnTo>
                    <a:lnTo>
                      <a:pt x="35444" y="108006"/>
                    </a:lnTo>
                    <a:lnTo>
                      <a:pt x="37207" y="107389"/>
                    </a:lnTo>
                    <a:lnTo>
                      <a:pt x="36590" y="106243"/>
                    </a:lnTo>
                    <a:lnTo>
                      <a:pt x="33063" y="103069"/>
                    </a:lnTo>
                    <a:lnTo>
                      <a:pt x="31917" y="101306"/>
                    </a:lnTo>
                    <a:lnTo>
                      <a:pt x="34827" y="101570"/>
                    </a:lnTo>
                    <a:lnTo>
                      <a:pt x="37207" y="101306"/>
                    </a:lnTo>
                    <a:lnTo>
                      <a:pt x="39500" y="101570"/>
                    </a:lnTo>
                    <a:lnTo>
                      <a:pt x="43026" y="101041"/>
                    </a:lnTo>
                    <a:lnTo>
                      <a:pt x="43908" y="99013"/>
                    </a:lnTo>
                    <a:lnTo>
                      <a:pt x="45407" y="97602"/>
                    </a:lnTo>
                    <a:lnTo>
                      <a:pt x="45407" y="92930"/>
                    </a:lnTo>
                    <a:lnTo>
                      <a:pt x="44878" y="90902"/>
                    </a:lnTo>
                    <a:lnTo>
                      <a:pt x="43732" y="90020"/>
                    </a:lnTo>
                    <a:lnTo>
                      <a:pt x="44261" y="87728"/>
                    </a:lnTo>
                    <a:lnTo>
                      <a:pt x="46024" y="86581"/>
                    </a:lnTo>
                    <a:lnTo>
                      <a:pt x="45759" y="85435"/>
                    </a:lnTo>
                    <a:lnTo>
                      <a:pt x="47523" y="85171"/>
                    </a:lnTo>
                    <a:lnTo>
                      <a:pt x="47258" y="84024"/>
                    </a:lnTo>
                    <a:lnTo>
                      <a:pt x="47787" y="83407"/>
                    </a:lnTo>
                    <a:lnTo>
                      <a:pt x="46641" y="81909"/>
                    </a:lnTo>
                    <a:lnTo>
                      <a:pt x="47787" y="81291"/>
                    </a:lnTo>
                    <a:lnTo>
                      <a:pt x="48405" y="79263"/>
                    </a:lnTo>
                    <a:lnTo>
                      <a:pt x="47787" y="77500"/>
                    </a:lnTo>
                    <a:lnTo>
                      <a:pt x="47258" y="75208"/>
                    </a:lnTo>
                    <a:lnTo>
                      <a:pt x="48140" y="72034"/>
                    </a:lnTo>
                    <a:lnTo>
                      <a:pt x="48140" y="71152"/>
                    </a:lnTo>
                    <a:lnTo>
                      <a:pt x="46377" y="67361"/>
                    </a:lnTo>
                    <a:lnTo>
                      <a:pt x="48405" y="67978"/>
                    </a:lnTo>
                    <a:lnTo>
                      <a:pt x="50168" y="66832"/>
                    </a:lnTo>
                    <a:lnTo>
                      <a:pt x="50168" y="64187"/>
                    </a:lnTo>
                    <a:lnTo>
                      <a:pt x="51931" y="62423"/>
                    </a:lnTo>
                    <a:lnTo>
                      <a:pt x="53430" y="62423"/>
                    </a:lnTo>
                    <a:lnTo>
                      <a:pt x="54929" y="61894"/>
                    </a:lnTo>
                    <a:lnTo>
                      <a:pt x="57838" y="60484"/>
                    </a:lnTo>
                    <a:lnTo>
                      <a:pt x="57838" y="60219"/>
                    </a:lnTo>
                    <a:lnTo>
                      <a:pt x="57838" y="59337"/>
                    </a:lnTo>
                    <a:lnTo>
                      <a:pt x="58720" y="58720"/>
                    </a:lnTo>
                    <a:lnTo>
                      <a:pt x="58985" y="57574"/>
                    </a:lnTo>
                    <a:lnTo>
                      <a:pt x="60395" y="54400"/>
                    </a:lnTo>
                    <a:lnTo>
                      <a:pt x="60395" y="52901"/>
                    </a:lnTo>
                    <a:lnTo>
                      <a:pt x="59514" y="52637"/>
                    </a:lnTo>
                    <a:lnTo>
                      <a:pt x="59249" y="51755"/>
                    </a:lnTo>
                    <a:lnTo>
                      <a:pt x="55987" y="51755"/>
                    </a:lnTo>
                    <a:lnTo>
                      <a:pt x="54841" y="52637"/>
                    </a:lnTo>
                    <a:lnTo>
                      <a:pt x="53695" y="51755"/>
                    </a:lnTo>
                    <a:lnTo>
                      <a:pt x="53959" y="50609"/>
                    </a:lnTo>
                    <a:lnTo>
                      <a:pt x="55105" y="47699"/>
                    </a:lnTo>
                    <a:lnTo>
                      <a:pt x="54841" y="46817"/>
                    </a:lnTo>
                    <a:lnTo>
                      <a:pt x="54224" y="46553"/>
                    </a:lnTo>
                    <a:lnTo>
                      <a:pt x="53959" y="45671"/>
                    </a:lnTo>
                    <a:lnTo>
                      <a:pt x="53959" y="45054"/>
                    </a:lnTo>
                    <a:lnTo>
                      <a:pt x="52196" y="45671"/>
                    </a:lnTo>
                    <a:lnTo>
                      <a:pt x="50432" y="45671"/>
                    </a:lnTo>
                    <a:lnTo>
                      <a:pt x="49022" y="44172"/>
                    </a:lnTo>
                    <a:lnTo>
                      <a:pt x="48405" y="45319"/>
                    </a:lnTo>
                    <a:lnTo>
                      <a:pt x="46994" y="45583"/>
                    </a:lnTo>
                    <a:lnTo>
                      <a:pt x="45848" y="44084"/>
                    </a:lnTo>
                    <a:lnTo>
                      <a:pt x="44701" y="44701"/>
                    </a:lnTo>
                    <a:lnTo>
                      <a:pt x="44084" y="44966"/>
                    </a:lnTo>
                    <a:lnTo>
                      <a:pt x="43555" y="44084"/>
                    </a:lnTo>
                    <a:lnTo>
                      <a:pt x="42056" y="44701"/>
                    </a:lnTo>
                    <a:lnTo>
                      <a:pt x="42321" y="46200"/>
                    </a:lnTo>
                    <a:lnTo>
                      <a:pt x="39147" y="47699"/>
                    </a:lnTo>
                    <a:lnTo>
                      <a:pt x="36766" y="47964"/>
                    </a:lnTo>
                    <a:lnTo>
                      <a:pt x="35003" y="47082"/>
                    </a:lnTo>
                    <a:lnTo>
                      <a:pt x="33857" y="47347"/>
                    </a:lnTo>
                    <a:lnTo>
                      <a:pt x="32358" y="47964"/>
                    </a:lnTo>
                    <a:lnTo>
                      <a:pt x="32975" y="46817"/>
                    </a:lnTo>
                    <a:lnTo>
                      <a:pt x="31476" y="46817"/>
                    </a:lnTo>
                    <a:lnTo>
                      <a:pt x="30594" y="46200"/>
                    </a:lnTo>
                    <a:lnTo>
                      <a:pt x="28567" y="46817"/>
                    </a:lnTo>
                    <a:lnTo>
                      <a:pt x="27421" y="47435"/>
                    </a:lnTo>
                    <a:lnTo>
                      <a:pt x="27156" y="45671"/>
                    </a:lnTo>
                    <a:lnTo>
                      <a:pt x="25657" y="46817"/>
                    </a:lnTo>
                    <a:lnTo>
                      <a:pt x="23012" y="47964"/>
                    </a:lnTo>
                    <a:lnTo>
                      <a:pt x="21513" y="47964"/>
                    </a:lnTo>
                    <a:lnTo>
                      <a:pt x="20632" y="46817"/>
                    </a:lnTo>
                    <a:lnTo>
                      <a:pt x="20367" y="45671"/>
                    </a:lnTo>
                    <a:lnTo>
                      <a:pt x="20984" y="43908"/>
                    </a:lnTo>
                    <a:lnTo>
                      <a:pt x="23277" y="43026"/>
                    </a:lnTo>
                    <a:lnTo>
                      <a:pt x="22130" y="42144"/>
                    </a:lnTo>
                    <a:lnTo>
                      <a:pt x="20367" y="41880"/>
                    </a:lnTo>
                    <a:lnTo>
                      <a:pt x="19750" y="41263"/>
                    </a:lnTo>
                    <a:lnTo>
                      <a:pt x="17457" y="41880"/>
                    </a:lnTo>
                    <a:lnTo>
                      <a:pt x="16311" y="41880"/>
                    </a:lnTo>
                    <a:lnTo>
                      <a:pt x="12520" y="43643"/>
                    </a:lnTo>
                    <a:lnTo>
                      <a:pt x="11638" y="44525"/>
                    </a:lnTo>
                    <a:lnTo>
                      <a:pt x="9611" y="4514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4" name="Freihandform: Form 1563">
                <a:extLst>
                  <a:ext uri="{FF2B5EF4-FFF2-40B4-BE49-F238E27FC236}">
                    <a16:creationId xmlns:a16="http://schemas.microsoft.com/office/drawing/2014/main" id="{9CE80B1C-5CA6-A566-CEA9-A45FCB440458}"/>
                  </a:ext>
                </a:extLst>
              </p:cNvPr>
              <p:cNvSpPr/>
              <p:nvPr/>
            </p:nvSpPr>
            <p:spPr>
              <a:xfrm>
                <a:off x="4185341" y="2961795"/>
                <a:ext cx="87815" cy="48051"/>
              </a:xfrm>
              <a:custGeom>
                <a:avLst/>
                <a:gdLst>
                  <a:gd name="connsiteX0" fmla="*/ 86317 w 87815"/>
                  <a:gd name="connsiteY0" fmla="*/ 21866 h 48051"/>
                  <a:gd name="connsiteX1" fmla="*/ 86317 w 87815"/>
                  <a:gd name="connsiteY1" fmla="*/ 23894 h 48051"/>
                  <a:gd name="connsiteX2" fmla="*/ 86317 w 87815"/>
                  <a:gd name="connsiteY2" fmla="*/ 24511 h 48051"/>
                  <a:gd name="connsiteX3" fmla="*/ 86317 w 87815"/>
                  <a:gd name="connsiteY3" fmla="*/ 25040 h 48051"/>
                  <a:gd name="connsiteX4" fmla="*/ 86669 w 87815"/>
                  <a:gd name="connsiteY4" fmla="*/ 26186 h 48051"/>
                  <a:gd name="connsiteX5" fmla="*/ 86052 w 87815"/>
                  <a:gd name="connsiteY5" fmla="*/ 26803 h 48051"/>
                  <a:gd name="connsiteX6" fmla="*/ 86052 w 87815"/>
                  <a:gd name="connsiteY6" fmla="*/ 27685 h 48051"/>
                  <a:gd name="connsiteX7" fmla="*/ 86669 w 87815"/>
                  <a:gd name="connsiteY7" fmla="*/ 27949 h 48051"/>
                  <a:gd name="connsiteX8" fmla="*/ 87551 w 87815"/>
                  <a:gd name="connsiteY8" fmla="*/ 28567 h 48051"/>
                  <a:gd name="connsiteX9" fmla="*/ 87816 w 87815"/>
                  <a:gd name="connsiteY9" fmla="*/ 29713 h 48051"/>
                  <a:gd name="connsiteX10" fmla="*/ 87551 w 87815"/>
                  <a:gd name="connsiteY10" fmla="*/ 30594 h 48051"/>
                  <a:gd name="connsiteX11" fmla="*/ 86669 w 87815"/>
                  <a:gd name="connsiteY11" fmla="*/ 30859 h 48051"/>
                  <a:gd name="connsiteX12" fmla="*/ 86052 w 87815"/>
                  <a:gd name="connsiteY12" fmla="*/ 30594 h 48051"/>
                  <a:gd name="connsiteX13" fmla="*/ 84642 w 87815"/>
                  <a:gd name="connsiteY13" fmla="*/ 30330 h 48051"/>
                  <a:gd name="connsiteX14" fmla="*/ 83407 w 87815"/>
                  <a:gd name="connsiteY14" fmla="*/ 29448 h 48051"/>
                  <a:gd name="connsiteX15" fmla="*/ 83143 w 87815"/>
                  <a:gd name="connsiteY15" fmla="*/ 28831 h 48051"/>
                  <a:gd name="connsiteX16" fmla="*/ 83143 w 87815"/>
                  <a:gd name="connsiteY16" fmla="*/ 28302 h 48051"/>
                  <a:gd name="connsiteX17" fmla="*/ 81379 w 87815"/>
                  <a:gd name="connsiteY17" fmla="*/ 28831 h 48051"/>
                  <a:gd name="connsiteX18" fmla="*/ 80498 w 87815"/>
                  <a:gd name="connsiteY18" fmla="*/ 29977 h 48051"/>
                  <a:gd name="connsiteX19" fmla="*/ 80233 w 87815"/>
                  <a:gd name="connsiteY19" fmla="*/ 30859 h 48051"/>
                  <a:gd name="connsiteX20" fmla="*/ 79616 w 87815"/>
                  <a:gd name="connsiteY20" fmla="*/ 32005 h 48051"/>
                  <a:gd name="connsiteX21" fmla="*/ 80233 w 87815"/>
                  <a:gd name="connsiteY21" fmla="*/ 33240 h 48051"/>
                  <a:gd name="connsiteX22" fmla="*/ 80850 w 87815"/>
                  <a:gd name="connsiteY22" fmla="*/ 33769 h 48051"/>
                  <a:gd name="connsiteX23" fmla="*/ 82261 w 87815"/>
                  <a:gd name="connsiteY23" fmla="*/ 35003 h 48051"/>
                  <a:gd name="connsiteX24" fmla="*/ 82261 w 87815"/>
                  <a:gd name="connsiteY24" fmla="*/ 37560 h 48051"/>
                  <a:gd name="connsiteX25" fmla="*/ 81379 w 87815"/>
                  <a:gd name="connsiteY25" fmla="*/ 38177 h 48051"/>
                  <a:gd name="connsiteX26" fmla="*/ 80498 w 87815"/>
                  <a:gd name="connsiteY26" fmla="*/ 38441 h 48051"/>
                  <a:gd name="connsiteX27" fmla="*/ 79616 w 87815"/>
                  <a:gd name="connsiteY27" fmla="*/ 38177 h 48051"/>
                  <a:gd name="connsiteX28" fmla="*/ 78734 w 87815"/>
                  <a:gd name="connsiteY28" fmla="*/ 36678 h 48051"/>
                  <a:gd name="connsiteX29" fmla="*/ 78470 w 87815"/>
                  <a:gd name="connsiteY29" fmla="*/ 35885 h 48051"/>
                  <a:gd name="connsiteX30" fmla="*/ 77853 w 87815"/>
                  <a:gd name="connsiteY30" fmla="*/ 34650 h 48051"/>
                  <a:gd name="connsiteX31" fmla="*/ 74414 w 87815"/>
                  <a:gd name="connsiteY31" fmla="*/ 35003 h 48051"/>
                  <a:gd name="connsiteX32" fmla="*/ 74061 w 87815"/>
                  <a:gd name="connsiteY32" fmla="*/ 35885 h 48051"/>
                  <a:gd name="connsiteX33" fmla="*/ 73532 w 87815"/>
                  <a:gd name="connsiteY33" fmla="*/ 35267 h 48051"/>
                  <a:gd name="connsiteX34" fmla="*/ 73180 w 87815"/>
                  <a:gd name="connsiteY34" fmla="*/ 36414 h 48051"/>
                  <a:gd name="connsiteX35" fmla="*/ 71152 w 87815"/>
                  <a:gd name="connsiteY35" fmla="*/ 37031 h 48051"/>
                  <a:gd name="connsiteX36" fmla="*/ 68859 w 87815"/>
                  <a:gd name="connsiteY36" fmla="*/ 35885 h 48051"/>
                  <a:gd name="connsiteX37" fmla="*/ 67978 w 87815"/>
                  <a:gd name="connsiteY37" fmla="*/ 35003 h 48051"/>
                  <a:gd name="connsiteX38" fmla="*/ 67713 w 87815"/>
                  <a:gd name="connsiteY38" fmla="*/ 33769 h 48051"/>
                  <a:gd name="connsiteX39" fmla="*/ 68242 w 87815"/>
                  <a:gd name="connsiteY39" fmla="*/ 32358 h 48051"/>
                  <a:gd name="connsiteX40" fmla="*/ 66832 w 87815"/>
                  <a:gd name="connsiteY40" fmla="*/ 31741 h 48051"/>
                  <a:gd name="connsiteX41" fmla="*/ 65950 w 87815"/>
                  <a:gd name="connsiteY41" fmla="*/ 31741 h 48051"/>
                  <a:gd name="connsiteX42" fmla="*/ 64451 w 87815"/>
                  <a:gd name="connsiteY42" fmla="*/ 32358 h 48051"/>
                  <a:gd name="connsiteX43" fmla="*/ 64187 w 87815"/>
                  <a:gd name="connsiteY43" fmla="*/ 33769 h 48051"/>
                  <a:gd name="connsiteX44" fmla="*/ 64804 w 87815"/>
                  <a:gd name="connsiteY44" fmla="*/ 34650 h 48051"/>
                  <a:gd name="connsiteX45" fmla="*/ 64804 w 87815"/>
                  <a:gd name="connsiteY45" fmla="*/ 36149 h 48051"/>
                  <a:gd name="connsiteX46" fmla="*/ 64187 w 87815"/>
                  <a:gd name="connsiteY46" fmla="*/ 37560 h 48051"/>
                  <a:gd name="connsiteX47" fmla="*/ 62159 w 87815"/>
                  <a:gd name="connsiteY47" fmla="*/ 39323 h 48051"/>
                  <a:gd name="connsiteX48" fmla="*/ 60660 w 87815"/>
                  <a:gd name="connsiteY48" fmla="*/ 40822 h 48051"/>
                  <a:gd name="connsiteX49" fmla="*/ 60660 w 87815"/>
                  <a:gd name="connsiteY49" fmla="*/ 41968 h 48051"/>
                  <a:gd name="connsiteX50" fmla="*/ 59778 w 87815"/>
                  <a:gd name="connsiteY50" fmla="*/ 42233 h 48051"/>
                  <a:gd name="connsiteX51" fmla="*/ 60395 w 87815"/>
                  <a:gd name="connsiteY51" fmla="*/ 43732 h 48051"/>
                  <a:gd name="connsiteX52" fmla="*/ 59778 w 87815"/>
                  <a:gd name="connsiteY52" fmla="*/ 44613 h 48051"/>
                  <a:gd name="connsiteX53" fmla="*/ 60395 w 87815"/>
                  <a:gd name="connsiteY53" fmla="*/ 44878 h 48051"/>
                  <a:gd name="connsiteX54" fmla="*/ 61012 w 87815"/>
                  <a:gd name="connsiteY54" fmla="*/ 45759 h 48051"/>
                  <a:gd name="connsiteX55" fmla="*/ 60395 w 87815"/>
                  <a:gd name="connsiteY55" fmla="*/ 47523 h 48051"/>
                  <a:gd name="connsiteX56" fmla="*/ 59778 w 87815"/>
                  <a:gd name="connsiteY56" fmla="*/ 48052 h 48051"/>
                  <a:gd name="connsiteX57" fmla="*/ 59514 w 87815"/>
                  <a:gd name="connsiteY57" fmla="*/ 47523 h 48051"/>
                  <a:gd name="connsiteX58" fmla="*/ 58632 w 87815"/>
                  <a:gd name="connsiteY58" fmla="*/ 46906 h 48051"/>
                  <a:gd name="connsiteX59" fmla="*/ 58632 w 87815"/>
                  <a:gd name="connsiteY59" fmla="*/ 46377 h 48051"/>
                  <a:gd name="connsiteX60" fmla="*/ 57750 w 87815"/>
                  <a:gd name="connsiteY60" fmla="*/ 44613 h 48051"/>
                  <a:gd name="connsiteX61" fmla="*/ 55722 w 87815"/>
                  <a:gd name="connsiteY61" fmla="*/ 43996 h 48051"/>
                  <a:gd name="connsiteX62" fmla="*/ 55987 w 87815"/>
                  <a:gd name="connsiteY62" fmla="*/ 42850 h 48051"/>
                  <a:gd name="connsiteX63" fmla="*/ 56604 w 87815"/>
                  <a:gd name="connsiteY63" fmla="*/ 42233 h 48051"/>
                  <a:gd name="connsiteX64" fmla="*/ 56339 w 87815"/>
                  <a:gd name="connsiteY64" fmla="*/ 41704 h 48051"/>
                  <a:gd name="connsiteX65" fmla="*/ 54841 w 87815"/>
                  <a:gd name="connsiteY65" fmla="*/ 41086 h 48051"/>
                  <a:gd name="connsiteX66" fmla="*/ 54576 w 87815"/>
                  <a:gd name="connsiteY66" fmla="*/ 41086 h 48051"/>
                  <a:gd name="connsiteX67" fmla="*/ 54224 w 87815"/>
                  <a:gd name="connsiteY67" fmla="*/ 40822 h 48051"/>
                  <a:gd name="connsiteX68" fmla="*/ 53959 w 87815"/>
                  <a:gd name="connsiteY68" fmla="*/ 41086 h 48051"/>
                  <a:gd name="connsiteX69" fmla="*/ 51049 w 87815"/>
                  <a:gd name="connsiteY69" fmla="*/ 40469 h 48051"/>
                  <a:gd name="connsiteX70" fmla="*/ 50168 w 87815"/>
                  <a:gd name="connsiteY70" fmla="*/ 39323 h 48051"/>
                  <a:gd name="connsiteX71" fmla="*/ 49286 w 87815"/>
                  <a:gd name="connsiteY71" fmla="*/ 38177 h 48051"/>
                  <a:gd name="connsiteX72" fmla="*/ 48140 w 87815"/>
                  <a:gd name="connsiteY72" fmla="*/ 36414 h 48051"/>
                  <a:gd name="connsiteX73" fmla="*/ 49022 w 87815"/>
                  <a:gd name="connsiteY73" fmla="*/ 34650 h 48051"/>
                  <a:gd name="connsiteX74" fmla="*/ 48757 w 87815"/>
                  <a:gd name="connsiteY74" fmla="*/ 33504 h 48051"/>
                  <a:gd name="connsiteX75" fmla="*/ 48404 w 87815"/>
                  <a:gd name="connsiteY75" fmla="*/ 32358 h 48051"/>
                  <a:gd name="connsiteX76" fmla="*/ 46729 w 87815"/>
                  <a:gd name="connsiteY76" fmla="*/ 32622 h 48051"/>
                  <a:gd name="connsiteX77" fmla="*/ 44613 w 87815"/>
                  <a:gd name="connsiteY77" fmla="*/ 33769 h 48051"/>
                  <a:gd name="connsiteX78" fmla="*/ 44613 w 87815"/>
                  <a:gd name="connsiteY78" fmla="*/ 35003 h 48051"/>
                  <a:gd name="connsiteX79" fmla="*/ 44349 w 87815"/>
                  <a:gd name="connsiteY79" fmla="*/ 36414 h 48051"/>
                  <a:gd name="connsiteX80" fmla="*/ 43467 w 87815"/>
                  <a:gd name="connsiteY80" fmla="*/ 36678 h 48051"/>
                  <a:gd name="connsiteX81" fmla="*/ 42850 w 87815"/>
                  <a:gd name="connsiteY81" fmla="*/ 37560 h 48051"/>
                  <a:gd name="connsiteX82" fmla="*/ 42585 w 87815"/>
                  <a:gd name="connsiteY82" fmla="*/ 38441 h 48051"/>
                  <a:gd name="connsiteX83" fmla="*/ 43202 w 87815"/>
                  <a:gd name="connsiteY83" fmla="*/ 39940 h 48051"/>
                  <a:gd name="connsiteX84" fmla="*/ 42321 w 87815"/>
                  <a:gd name="connsiteY84" fmla="*/ 40469 h 48051"/>
                  <a:gd name="connsiteX85" fmla="*/ 41968 w 87815"/>
                  <a:gd name="connsiteY85" fmla="*/ 41086 h 48051"/>
                  <a:gd name="connsiteX86" fmla="*/ 41174 w 87815"/>
                  <a:gd name="connsiteY86" fmla="*/ 41968 h 48051"/>
                  <a:gd name="connsiteX87" fmla="*/ 41174 w 87815"/>
                  <a:gd name="connsiteY87" fmla="*/ 42850 h 48051"/>
                  <a:gd name="connsiteX88" fmla="*/ 40293 w 87815"/>
                  <a:gd name="connsiteY88" fmla="*/ 43467 h 48051"/>
                  <a:gd name="connsiteX89" fmla="*/ 39147 w 87815"/>
                  <a:gd name="connsiteY89" fmla="*/ 43732 h 48051"/>
                  <a:gd name="connsiteX90" fmla="*/ 37912 w 87815"/>
                  <a:gd name="connsiteY90" fmla="*/ 43732 h 48051"/>
                  <a:gd name="connsiteX91" fmla="*/ 37031 w 87815"/>
                  <a:gd name="connsiteY91" fmla="*/ 44878 h 48051"/>
                  <a:gd name="connsiteX92" fmla="*/ 37031 w 87815"/>
                  <a:gd name="connsiteY92" fmla="*/ 45759 h 48051"/>
                  <a:gd name="connsiteX93" fmla="*/ 36149 w 87815"/>
                  <a:gd name="connsiteY93" fmla="*/ 45759 h 48051"/>
                  <a:gd name="connsiteX94" fmla="*/ 35003 w 87815"/>
                  <a:gd name="connsiteY94" fmla="*/ 45495 h 48051"/>
                  <a:gd name="connsiteX95" fmla="*/ 33592 w 87815"/>
                  <a:gd name="connsiteY95" fmla="*/ 44878 h 48051"/>
                  <a:gd name="connsiteX96" fmla="*/ 32975 w 87815"/>
                  <a:gd name="connsiteY96" fmla="*/ 44261 h 48051"/>
                  <a:gd name="connsiteX97" fmla="*/ 31211 w 87815"/>
                  <a:gd name="connsiteY97" fmla="*/ 43996 h 48051"/>
                  <a:gd name="connsiteX98" fmla="*/ 29801 w 87815"/>
                  <a:gd name="connsiteY98" fmla="*/ 45142 h 48051"/>
                  <a:gd name="connsiteX99" fmla="*/ 28302 w 87815"/>
                  <a:gd name="connsiteY99" fmla="*/ 45759 h 48051"/>
                  <a:gd name="connsiteX100" fmla="*/ 26274 w 87815"/>
                  <a:gd name="connsiteY100" fmla="*/ 45759 h 48051"/>
                  <a:gd name="connsiteX101" fmla="*/ 23365 w 87815"/>
                  <a:gd name="connsiteY101" fmla="*/ 46377 h 48051"/>
                  <a:gd name="connsiteX102" fmla="*/ 22130 w 87815"/>
                  <a:gd name="connsiteY102" fmla="*/ 46377 h 48051"/>
                  <a:gd name="connsiteX103" fmla="*/ 21601 w 87815"/>
                  <a:gd name="connsiteY103" fmla="*/ 44878 h 48051"/>
                  <a:gd name="connsiteX104" fmla="*/ 20102 w 87815"/>
                  <a:gd name="connsiteY104" fmla="*/ 43114 h 48051"/>
                  <a:gd name="connsiteX105" fmla="*/ 18074 w 87815"/>
                  <a:gd name="connsiteY105" fmla="*/ 41968 h 48051"/>
                  <a:gd name="connsiteX106" fmla="*/ 17545 w 87815"/>
                  <a:gd name="connsiteY106" fmla="*/ 41351 h 48051"/>
                  <a:gd name="connsiteX107" fmla="*/ 17193 w 87815"/>
                  <a:gd name="connsiteY107" fmla="*/ 40469 h 48051"/>
                  <a:gd name="connsiteX108" fmla="*/ 16311 w 87815"/>
                  <a:gd name="connsiteY108" fmla="*/ 39940 h 48051"/>
                  <a:gd name="connsiteX109" fmla="*/ 16047 w 87815"/>
                  <a:gd name="connsiteY109" fmla="*/ 38177 h 48051"/>
                  <a:gd name="connsiteX110" fmla="*/ 16311 w 87815"/>
                  <a:gd name="connsiteY110" fmla="*/ 37295 h 48051"/>
                  <a:gd name="connsiteX111" fmla="*/ 16311 w 87815"/>
                  <a:gd name="connsiteY111" fmla="*/ 35532 h 48051"/>
                  <a:gd name="connsiteX112" fmla="*/ 16311 w 87815"/>
                  <a:gd name="connsiteY112" fmla="*/ 34121 h 48051"/>
                  <a:gd name="connsiteX113" fmla="*/ 15782 w 87815"/>
                  <a:gd name="connsiteY113" fmla="*/ 33240 h 48051"/>
                  <a:gd name="connsiteX114" fmla="*/ 13137 w 87815"/>
                  <a:gd name="connsiteY114" fmla="*/ 32622 h 48051"/>
                  <a:gd name="connsiteX115" fmla="*/ 10492 w 87815"/>
                  <a:gd name="connsiteY115" fmla="*/ 32622 h 48051"/>
                  <a:gd name="connsiteX116" fmla="*/ 7847 w 87815"/>
                  <a:gd name="connsiteY116" fmla="*/ 33240 h 48051"/>
                  <a:gd name="connsiteX117" fmla="*/ 6172 w 87815"/>
                  <a:gd name="connsiteY117" fmla="*/ 34386 h 48051"/>
                  <a:gd name="connsiteX118" fmla="*/ 5290 w 87815"/>
                  <a:gd name="connsiteY118" fmla="*/ 35885 h 48051"/>
                  <a:gd name="connsiteX119" fmla="*/ 4937 w 87815"/>
                  <a:gd name="connsiteY119" fmla="*/ 36678 h 48051"/>
                  <a:gd name="connsiteX120" fmla="*/ 5290 w 87815"/>
                  <a:gd name="connsiteY120" fmla="*/ 37295 h 48051"/>
                  <a:gd name="connsiteX121" fmla="*/ 5819 w 87815"/>
                  <a:gd name="connsiteY121" fmla="*/ 37912 h 48051"/>
                  <a:gd name="connsiteX122" fmla="*/ 4673 w 87815"/>
                  <a:gd name="connsiteY122" fmla="*/ 38794 h 48051"/>
                  <a:gd name="connsiteX123" fmla="*/ 4408 w 87815"/>
                  <a:gd name="connsiteY123" fmla="*/ 39676 h 48051"/>
                  <a:gd name="connsiteX124" fmla="*/ 2645 w 87815"/>
                  <a:gd name="connsiteY124" fmla="*/ 40205 h 48051"/>
                  <a:gd name="connsiteX125" fmla="*/ 1146 w 87815"/>
                  <a:gd name="connsiteY125" fmla="*/ 40205 h 48051"/>
                  <a:gd name="connsiteX126" fmla="*/ 264 w 87815"/>
                  <a:gd name="connsiteY126" fmla="*/ 39323 h 48051"/>
                  <a:gd name="connsiteX127" fmla="*/ 0 w 87815"/>
                  <a:gd name="connsiteY127" fmla="*/ 38177 h 48051"/>
                  <a:gd name="connsiteX128" fmla="*/ 1763 w 87815"/>
                  <a:gd name="connsiteY128" fmla="*/ 37912 h 48051"/>
                  <a:gd name="connsiteX129" fmla="*/ 2909 w 87815"/>
                  <a:gd name="connsiteY129" fmla="*/ 37560 h 48051"/>
                  <a:gd name="connsiteX130" fmla="*/ 2909 w 87815"/>
                  <a:gd name="connsiteY130" fmla="*/ 37295 h 48051"/>
                  <a:gd name="connsiteX131" fmla="*/ 2645 w 87815"/>
                  <a:gd name="connsiteY131" fmla="*/ 36414 h 48051"/>
                  <a:gd name="connsiteX132" fmla="*/ 3791 w 87815"/>
                  <a:gd name="connsiteY132" fmla="*/ 34650 h 48051"/>
                  <a:gd name="connsiteX133" fmla="*/ 2292 w 87815"/>
                  <a:gd name="connsiteY133" fmla="*/ 33504 h 48051"/>
                  <a:gd name="connsiteX134" fmla="*/ 1763 w 87815"/>
                  <a:gd name="connsiteY134" fmla="*/ 33240 h 48051"/>
                  <a:gd name="connsiteX135" fmla="*/ 2292 w 87815"/>
                  <a:gd name="connsiteY135" fmla="*/ 32622 h 48051"/>
                  <a:gd name="connsiteX136" fmla="*/ 3174 w 87815"/>
                  <a:gd name="connsiteY136" fmla="*/ 30330 h 48051"/>
                  <a:gd name="connsiteX137" fmla="*/ 3174 w 87815"/>
                  <a:gd name="connsiteY137" fmla="*/ 29448 h 48051"/>
                  <a:gd name="connsiteX138" fmla="*/ 3527 w 87815"/>
                  <a:gd name="connsiteY138" fmla="*/ 28831 h 48051"/>
                  <a:gd name="connsiteX139" fmla="*/ 5555 w 87815"/>
                  <a:gd name="connsiteY139" fmla="*/ 27420 h 48051"/>
                  <a:gd name="connsiteX140" fmla="*/ 8729 w 87815"/>
                  <a:gd name="connsiteY140" fmla="*/ 25304 h 48051"/>
                  <a:gd name="connsiteX141" fmla="*/ 9081 w 87815"/>
                  <a:gd name="connsiteY141" fmla="*/ 23894 h 48051"/>
                  <a:gd name="connsiteX142" fmla="*/ 8729 w 87815"/>
                  <a:gd name="connsiteY142" fmla="*/ 22747 h 48051"/>
                  <a:gd name="connsiteX143" fmla="*/ 9346 w 87815"/>
                  <a:gd name="connsiteY143" fmla="*/ 21513 h 48051"/>
                  <a:gd name="connsiteX144" fmla="*/ 10757 w 87815"/>
                  <a:gd name="connsiteY144" fmla="*/ 19838 h 48051"/>
                  <a:gd name="connsiteX145" fmla="*/ 12873 w 87815"/>
                  <a:gd name="connsiteY145" fmla="*/ 19221 h 48051"/>
                  <a:gd name="connsiteX146" fmla="*/ 13401 w 87815"/>
                  <a:gd name="connsiteY146" fmla="*/ 17457 h 48051"/>
                  <a:gd name="connsiteX147" fmla="*/ 16047 w 87815"/>
                  <a:gd name="connsiteY147" fmla="*/ 15694 h 48051"/>
                  <a:gd name="connsiteX148" fmla="*/ 16928 w 87815"/>
                  <a:gd name="connsiteY148" fmla="*/ 14019 h 48051"/>
                  <a:gd name="connsiteX149" fmla="*/ 16928 w 87815"/>
                  <a:gd name="connsiteY149" fmla="*/ 13402 h 48051"/>
                  <a:gd name="connsiteX150" fmla="*/ 17193 w 87815"/>
                  <a:gd name="connsiteY150" fmla="*/ 13137 h 48051"/>
                  <a:gd name="connsiteX151" fmla="*/ 19309 w 87815"/>
                  <a:gd name="connsiteY151" fmla="*/ 11903 h 48051"/>
                  <a:gd name="connsiteX152" fmla="*/ 19309 w 87815"/>
                  <a:gd name="connsiteY152" fmla="*/ 11021 h 48051"/>
                  <a:gd name="connsiteX153" fmla="*/ 18692 w 87815"/>
                  <a:gd name="connsiteY153" fmla="*/ 10757 h 48051"/>
                  <a:gd name="connsiteX154" fmla="*/ 17545 w 87815"/>
                  <a:gd name="connsiteY154" fmla="*/ 10757 h 48051"/>
                  <a:gd name="connsiteX155" fmla="*/ 16928 w 87815"/>
                  <a:gd name="connsiteY155" fmla="*/ 10228 h 48051"/>
                  <a:gd name="connsiteX156" fmla="*/ 17545 w 87815"/>
                  <a:gd name="connsiteY156" fmla="*/ 9610 h 48051"/>
                  <a:gd name="connsiteX157" fmla="*/ 18956 w 87815"/>
                  <a:gd name="connsiteY157" fmla="*/ 7582 h 48051"/>
                  <a:gd name="connsiteX158" fmla="*/ 19573 w 87815"/>
                  <a:gd name="connsiteY158" fmla="*/ 6965 h 48051"/>
                  <a:gd name="connsiteX159" fmla="*/ 20720 w 87815"/>
                  <a:gd name="connsiteY159" fmla="*/ 7230 h 48051"/>
                  <a:gd name="connsiteX160" fmla="*/ 21866 w 87815"/>
                  <a:gd name="connsiteY160" fmla="*/ 7582 h 48051"/>
                  <a:gd name="connsiteX161" fmla="*/ 22747 w 87815"/>
                  <a:gd name="connsiteY161" fmla="*/ 8729 h 48051"/>
                  <a:gd name="connsiteX162" fmla="*/ 24511 w 87815"/>
                  <a:gd name="connsiteY162" fmla="*/ 8993 h 48051"/>
                  <a:gd name="connsiteX163" fmla="*/ 26538 w 87815"/>
                  <a:gd name="connsiteY163" fmla="*/ 8993 h 48051"/>
                  <a:gd name="connsiteX164" fmla="*/ 27420 w 87815"/>
                  <a:gd name="connsiteY164" fmla="*/ 8464 h 48051"/>
                  <a:gd name="connsiteX165" fmla="*/ 28566 w 87815"/>
                  <a:gd name="connsiteY165" fmla="*/ 7582 h 48051"/>
                  <a:gd name="connsiteX166" fmla="*/ 28919 w 87815"/>
                  <a:gd name="connsiteY166" fmla="*/ 6965 h 48051"/>
                  <a:gd name="connsiteX167" fmla="*/ 28919 w 87815"/>
                  <a:gd name="connsiteY167" fmla="*/ 6084 h 48051"/>
                  <a:gd name="connsiteX168" fmla="*/ 29448 w 87815"/>
                  <a:gd name="connsiteY168" fmla="*/ 5819 h 48051"/>
                  <a:gd name="connsiteX169" fmla="*/ 29801 w 87815"/>
                  <a:gd name="connsiteY169" fmla="*/ 5202 h 48051"/>
                  <a:gd name="connsiteX170" fmla="*/ 30065 w 87815"/>
                  <a:gd name="connsiteY170" fmla="*/ 5202 h 48051"/>
                  <a:gd name="connsiteX171" fmla="*/ 30330 w 87815"/>
                  <a:gd name="connsiteY171" fmla="*/ 5202 h 48051"/>
                  <a:gd name="connsiteX172" fmla="*/ 31476 w 87815"/>
                  <a:gd name="connsiteY172" fmla="*/ 4673 h 48051"/>
                  <a:gd name="connsiteX173" fmla="*/ 32093 w 87815"/>
                  <a:gd name="connsiteY173" fmla="*/ 4673 h 48051"/>
                  <a:gd name="connsiteX174" fmla="*/ 32093 w 87815"/>
                  <a:gd name="connsiteY174" fmla="*/ 4938 h 48051"/>
                  <a:gd name="connsiteX175" fmla="*/ 32093 w 87815"/>
                  <a:gd name="connsiteY175" fmla="*/ 5555 h 48051"/>
                  <a:gd name="connsiteX176" fmla="*/ 31211 w 87815"/>
                  <a:gd name="connsiteY176" fmla="*/ 5819 h 48051"/>
                  <a:gd name="connsiteX177" fmla="*/ 31829 w 87815"/>
                  <a:gd name="connsiteY177" fmla="*/ 6084 h 48051"/>
                  <a:gd name="connsiteX178" fmla="*/ 32710 w 87815"/>
                  <a:gd name="connsiteY178" fmla="*/ 6084 h 48051"/>
                  <a:gd name="connsiteX179" fmla="*/ 34121 w 87815"/>
                  <a:gd name="connsiteY179" fmla="*/ 6084 h 48051"/>
                  <a:gd name="connsiteX180" fmla="*/ 35885 w 87815"/>
                  <a:gd name="connsiteY180" fmla="*/ 5819 h 48051"/>
                  <a:gd name="connsiteX181" fmla="*/ 36502 w 87815"/>
                  <a:gd name="connsiteY181" fmla="*/ 5819 h 48051"/>
                  <a:gd name="connsiteX182" fmla="*/ 38530 w 87815"/>
                  <a:gd name="connsiteY182" fmla="*/ 5819 h 48051"/>
                  <a:gd name="connsiteX183" fmla="*/ 40293 w 87815"/>
                  <a:gd name="connsiteY183" fmla="*/ 5202 h 48051"/>
                  <a:gd name="connsiteX184" fmla="*/ 42585 w 87815"/>
                  <a:gd name="connsiteY184" fmla="*/ 4320 h 48051"/>
                  <a:gd name="connsiteX185" fmla="*/ 44084 w 87815"/>
                  <a:gd name="connsiteY185" fmla="*/ 4673 h 48051"/>
                  <a:gd name="connsiteX186" fmla="*/ 46112 w 87815"/>
                  <a:gd name="connsiteY186" fmla="*/ 5202 h 48051"/>
                  <a:gd name="connsiteX187" fmla="*/ 46994 w 87815"/>
                  <a:gd name="connsiteY187" fmla="*/ 5555 h 48051"/>
                  <a:gd name="connsiteX188" fmla="*/ 47875 w 87815"/>
                  <a:gd name="connsiteY188" fmla="*/ 4673 h 48051"/>
                  <a:gd name="connsiteX189" fmla="*/ 48404 w 87815"/>
                  <a:gd name="connsiteY189" fmla="*/ 4056 h 48051"/>
                  <a:gd name="connsiteX190" fmla="*/ 49286 w 87815"/>
                  <a:gd name="connsiteY190" fmla="*/ 4320 h 48051"/>
                  <a:gd name="connsiteX191" fmla="*/ 49639 w 87815"/>
                  <a:gd name="connsiteY191" fmla="*/ 4938 h 48051"/>
                  <a:gd name="connsiteX192" fmla="*/ 49903 w 87815"/>
                  <a:gd name="connsiteY192" fmla="*/ 4673 h 48051"/>
                  <a:gd name="connsiteX193" fmla="*/ 50785 w 87815"/>
                  <a:gd name="connsiteY193" fmla="*/ 3439 h 48051"/>
                  <a:gd name="connsiteX194" fmla="*/ 50168 w 87815"/>
                  <a:gd name="connsiteY194" fmla="*/ 3174 h 48051"/>
                  <a:gd name="connsiteX195" fmla="*/ 49022 w 87815"/>
                  <a:gd name="connsiteY195" fmla="*/ 3174 h 48051"/>
                  <a:gd name="connsiteX196" fmla="*/ 48404 w 87815"/>
                  <a:gd name="connsiteY196" fmla="*/ 3791 h 48051"/>
                  <a:gd name="connsiteX197" fmla="*/ 47611 w 87815"/>
                  <a:gd name="connsiteY197" fmla="*/ 3791 h 48051"/>
                  <a:gd name="connsiteX198" fmla="*/ 46376 w 87815"/>
                  <a:gd name="connsiteY198" fmla="*/ 2910 h 48051"/>
                  <a:gd name="connsiteX199" fmla="*/ 46112 w 87815"/>
                  <a:gd name="connsiteY199" fmla="*/ 2292 h 48051"/>
                  <a:gd name="connsiteX200" fmla="*/ 47611 w 87815"/>
                  <a:gd name="connsiteY200" fmla="*/ 529 h 48051"/>
                  <a:gd name="connsiteX201" fmla="*/ 49022 w 87815"/>
                  <a:gd name="connsiteY201" fmla="*/ 0 h 48051"/>
                  <a:gd name="connsiteX202" fmla="*/ 50168 w 87815"/>
                  <a:gd name="connsiteY202" fmla="*/ 0 h 48051"/>
                  <a:gd name="connsiteX203" fmla="*/ 51049 w 87815"/>
                  <a:gd name="connsiteY203" fmla="*/ 0 h 48051"/>
                  <a:gd name="connsiteX204" fmla="*/ 52196 w 87815"/>
                  <a:gd name="connsiteY204" fmla="*/ 265 h 48051"/>
                  <a:gd name="connsiteX205" fmla="*/ 52548 w 87815"/>
                  <a:gd name="connsiteY205" fmla="*/ 529 h 48051"/>
                  <a:gd name="connsiteX206" fmla="*/ 52813 w 87815"/>
                  <a:gd name="connsiteY206" fmla="*/ 1146 h 48051"/>
                  <a:gd name="connsiteX207" fmla="*/ 52548 w 87815"/>
                  <a:gd name="connsiteY207" fmla="*/ 2292 h 48051"/>
                  <a:gd name="connsiteX208" fmla="*/ 52548 w 87815"/>
                  <a:gd name="connsiteY208" fmla="*/ 2557 h 48051"/>
                  <a:gd name="connsiteX209" fmla="*/ 53077 w 87815"/>
                  <a:gd name="connsiteY209" fmla="*/ 2557 h 48051"/>
                  <a:gd name="connsiteX210" fmla="*/ 53959 w 87815"/>
                  <a:gd name="connsiteY210" fmla="*/ 2910 h 48051"/>
                  <a:gd name="connsiteX211" fmla="*/ 53430 w 87815"/>
                  <a:gd name="connsiteY211" fmla="*/ 1675 h 48051"/>
                  <a:gd name="connsiteX212" fmla="*/ 53959 w 87815"/>
                  <a:gd name="connsiteY212" fmla="*/ 1675 h 48051"/>
                  <a:gd name="connsiteX213" fmla="*/ 54576 w 87815"/>
                  <a:gd name="connsiteY213" fmla="*/ 1411 h 48051"/>
                  <a:gd name="connsiteX214" fmla="*/ 55105 w 87815"/>
                  <a:gd name="connsiteY214" fmla="*/ 1411 h 48051"/>
                  <a:gd name="connsiteX215" fmla="*/ 55458 w 87815"/>
                  <a:gd name="connsiteY215" fmla="*/ 2292 h 48051"/>
                  <a:gd name="connsiteX216" fmla="*/ 56868 w 87815"/>
                  <a:gd name="connsiteY216" fmla="*/ 3439 h 48051"/>
                  <a:gd name="connsiteX217" fmla="*/ 57750 w 87815"/>
                  <a:gd name="connsiteY217" fmla="*/ 2910 h 48051"/>
                  <a:gd name="connsiteX218" fmla="*/ 58985 w 87815"/>
                  <a:gd name="connsiteY218" fmla="*/ 2292 h 48051"/>
                  <a:gd name="connsiteX219" fmla="*/ 59514 w 87815"/>
                  <a:gd name="connsiteY219" fmla="*/ 2910 h 48051"/>
                  <a:gd name="connsiteX220" fmla="*/ 61012 w 87815"/>
                  <a:gd name="connsiteY220" fmla="*/ 3439 h 48051"/>
                  <a:gd name="connsiteX221" fmla="*/ 62688 w 87815"/>
                  <a:gd name="connsiteY221" fmla="*/ 2910 h 48051"/>
                  <a:gd name="connsiteX222" fmla="*/ 69124 w 87815"/>
                  <a:gd name="connsiteY222" fmla="*/ 6084 h 48051"/>
                  <a:gd name="connsiteX223" fmla="*/ 69124 w 87815"/>
                  <a:gd name="connsiteY223" fmla="*/ 6701 h 48051"/>
                  <a:gd name="connsiteX224" fmla="*/ 68859 w 87815"/>
                  <a:gd name="connsiteY224" fmla="*/ 7582 h 48051"/>
                  <a:gd name="connsiteX225" fmla="*/ 69741 w 87815"/>
                  <a:gd name="connsiteY225" fmla="*/ 8464 h 48051"/>
                  <a:gd name="connsiteX226" fmla="*/ 69741 w 87815"/>
                  <a:gd name="connsiteY226" fmla="*/ 9258 h 48051"/>
                  <a:gd name="connsiteX227" fmla="*/ 70270 w 87815"/>
                  <a:gd name="connsiteY227" fmla="*/ 9875 h 48051"/>
                  <a:gd name="connsiteX228" fmla="*/ 69741 w 87815"/>
                  <a:gd name="connsiteY228" fmla="*/ 10492 h 48051"/>
                  <a:gd name="connsiteX229" fmla="*/ 68859 w 87815"/>
                  <a:gd name="connsiteY229" fmla="*/ 13402 h 48051"/>
                  <a:gd name="connsiteX230" fmla="*/ 68859 w 87815"/>
                  <a:gd name="connsiteY230" fmla="*/ 13137 h 48051"/>
                  <a:gd name="connsiteX231" fmla="*/ 66479 w 87815"/>
                  <a:gd name="connsiteY231" fmla="*/ 14548 h 48051"/>
                  <a:gd name="connsiteX232" fmla="*/ 67096 w 87815"/>
                  <a:gd name="connsiteY232" fmla="*/ 16840 h 48051"/>
                  <a:gd name="connsiteX233" fmla="*/ 66832 w 87815"/>
                  <a:gd name="connsiteY233" fmla="*/ 17722 h 48051"/>
                  <a:gd name="connsiteX234" fmla="*/ 67978 w 87815"/>
                  <a:gd name="connsiteY234" fmla="*/ 18075 h 48051"/>
                  <a:gd name="connsiteX235" fmla="*/ 68595 w 87815"/>
                  <a:gd name="connsiteY235" fmla="*/ 17457 h 48051"/>
                  <a:gd name="connsiteX236" fmla="*/ 69124 w 87815"/>
                  <a:gd name="connsiteY236" fmla="*/ 18075 h 48051"/>
                  <a:gd name="connsiteX237" fmla="*/ 70006 w 87815"/>
                  <a:gd name="connsiteY237" fmla="*/ 17722 h 48051"/>
                  <a:gd name="connsiteX238" fmla="*/ 70887 w 87815"/>
                  <a:gd name="connsiteY238" fmla="*/ 17722 h 48051"/>
                  <a:gd name="connsiteX239" fmla="*/ 76442 w 87815"/>
                  <a:gd name="connsiteY239" fmla="*/ 18956 h 48051"/>
                  <a:gd name="connsiteX240" fmla="*/ 76706 w 87815"/>
                  <a:gd name="connsiteY240" fmla="*/ 20720 h 48051"/>
                  <a:gd name="connsiteX241" fmla="*/ 77059 w 87815"/>
                  <a:gd name="connsiteY241" fmla="*/ 21249 h 48051"/>
                  <a:gd name="connsiteX242" fmla="*/ 77853 w 87815"/>
                  <a:gd name="connsiteY242" fmla="*/ 21249 h 48051"/>
                  <a:gd name="connsiteX243" fmla="*/ 79616 w 87815"/>
                  <a:gd name="connsiteY243" fmla="*/ 22747 h 48051"/>
                  <a:gd name="connsiteX244" fmla="*/ 80233 w 87815"/>
                  <a:gd name="connsiteY244" fmla="*/ 22747 h 48051"/>
                  <a:gd name="connsiteX245" fmla="*/ 82878 w 87815"/>
                  <a:gd name="connsiteY245" fmla="*/ 21866 h 48051"/>
                  <a:gd name="connsiteX246" fmla="*/ 83143 w 87815"/>
                  <a:gd name="connsiteY246" fmla="*/ 20720 h 48051"/>
                  <a:gd name="connsiteX247" fmla="*/ 83143 w 87815"/>
                  <a:gd name="connsiteY247" fmla="*/ 20103 h 48051"/>
                  <a:gd name="connsiteX248" fmla="*/ 84906 w 87815"/>
                  <a:gd name="connsiteY248" fmla="*/ 18956 h 48051"/>
                  <a:gd name="connsiteX249" fmla="*/ 85788 w 87815"/>
                  <a:gd name="connsiteY249" fmla="*/ 18956 h 48051"/>
                  <a:gd name="connsiteX250" fmla="*/ 86934 w 87815"/>
                  <a:gd name="connsiteY250" fmla="*/ 20720 h 48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</a:cxnLst>
                <a:rect l="l" t="t" r="r" b="b"/>
                <a:pathLst>
                  <a:path w="87815" h="48051">
                    <a:moveTo>
                      <a:pt x="86317" y="21866"/>
                    </a:moveTo>
                    <a:lnTo>
                      <a:pt x="86317" y="23894"/>
                    </a:lnTo>
                    <a:lnTo>
                      <a:pt x="86317" y="24511"/>
                    </a:lnTo>
                    <a:lnTo>
                      <a:pt x="86317" y="25040"/>
                    </a:lnTo>
                    <a:lnTo>
                      <a:pt x="86669" y="26186"/>
                    </a:lnTo>
                    <a:lnTo>
                      <a:pt x="86052" y="26803"/>
                    </a:lnTo>
                    <a:lnTo>
                      <a:pt x="86052" y="27685"/>
                    </a:lnTo>
                    <a:lnTo>
                      <a:pt x="86669" y="27949"/>
                    </a:lnTo>
                    <a:lnTo>
                      <a:pt x="87551" y="28567"/>
                    </a:lnTo>
                    <a:lnTo>
                      <a:pt x="87816" y="29713"/>
                    </a:lnTo>
                    <a:lnTo>
                      <a:pt x="87551" y="30594"/>
                    </a:lnTo>
                    <a:lnTo>
                      <a:pt x="86669" y="30859"/>
                    </a:lnTo>
                    <a:lnTo>
                      <a:pt x="86052" y="30594"/>
                    </a:lnTo>
                    <a:lnTo>
                      <a:pt x="84642" y="30330"/>
                    </a:lnTo>
                    <a:lnTo>
                      <a:pt x="83407" y="29448"/>
                    </a:lnTo>
                    <a:lnTo>
                      <a:pt x="83143" y="28831"/>
                    </a:lnTo>
                    <a:lnTo>
                      <a:pt x="83143" y="28302"/>
                    </a:lnTo>
                    <a:lnTo>
                      <a:pt x="81379" y="28831"/>
                    </a:lnTo>
                    <a:lnTo>
                      <a:pt x="80498" y="29977"/>
                    </a:lnTo>
                    <a:lnTo>
                      <a:pt x="80233" y="30859"/>
                    </a:lnTo>
                    <a:lnTo>
                      <a:pt x="79616" y="32005"/>
                    </a:lnTo>
                    <a:lnTo>
                      <a:pt x="80233" y="33240"/>
                    </a:lnTo>
                    <a:lnTo>
                      <a:pt x="80850" y="33769"/>
                    </a:lnTo>
                    <a:lnTo>
                      <a:pt x="82261" y="35003"/>
                    </a:lnTo>
                    <a:lnTo>
                      <a:pt x="82261" y="37560"/>
                    </a:lnTo>
                    <a:lnTo>
                      <a:pt x="81379" y="38177"/>
                    </a:lnTo>
                    <a:lnTo>
                      <a:pt x="80498" y="38441"/>
                    </a:lnTo>
                    <a:lnTo>
                      <a:pt x="79616" y="38177"/>
                    </a:lnTo>
                    <a:lnTo>
                      <a:pt x="78734" y="36678"/>
                    </a:lnTo>
                    <a:lnTo>
                      <a:pt x="78470" y="35885"/>
                    </a:lnTo>
                    <a:lnTo>
                      <a:pt x="77853" y="34650"/>
                    </a:lnTo>
                    <a:lnTo>
                      <a:pt x="74414" y="35003"/>
                    </a:lnTo>
                    <a:lnTo>
                      <a:pt x="74061" y="35885"/>
                    </a:lnTo>
                    <a:lnTo>
                      <a:pt x="73532" y="35267"/>
                    </a:lnTo>
                    <a:lnTo>
                      <a:pt x="73180" y="36414"/>
                    </a:lnTo>
                    <a:lnTo>
                      <a:pt x="71152" y="37031"/>
                    </a:lnTo>
                    <a:lnTo>
                      <a:pt x="68859" y="35885"/>
                    </a:lnTo>
                    <a:lnTo>
                      <a:pt x="67978" y="35003"/>
                    </a:lnTo>
                    <a:lnTo>
                      <a:pt x="67713" y="33769"/>
                    </a:lnTo>
                    <a:lnTo>
                      <a:pt x="68242" y="32358"/>
                    </a:lnTo>
                    <a:lnTo>
                      <a:pt x="66832" y="31741"/>
                    </a:lnTo>
                    <a:lnTo>
                      <a:pt x="65950" y="31741"/>
                    </a:lnTo>
                    <a:lnTo>
                      <a:pt x="64451" y="32358"/>
                    </a:lnTo>
                    <a:lnTo>
                      <a:pt x="64187" y="33769"/>
                    </a:lnTo>
                    <a:lnTo>
                      <a:pt x="64804" y="34650"/>
                    </a:lnTo>
                    <a:lnTo>
                      <a:pt x="64804" y="36149"/>
                    </a:lnTo>
                    <a:lnTo>
                      <a:pt x="64187" y="37560"/>
                    </a:lnTo>
                    <a:lnTo>
                      <a:pt x="62159" y="39323"/>
                    </a:lnTo>
                    <a:lnTo>
                      <a:pt x="60660" y="40822"/>
                    </a:lnTo>
                    <a:lnTo>
                      <a:pt x="60660" y="41968"/>
                    </a:lnTo>
                    <a:lnTo>
                      <a:pt x="59778" y="42233"/>
                    </a:lnTo>
                    <a:lnTo>
                      <a:pt x="60395" y="43732"/>
                    </a:lnTo>
                    <a:lnTo>
                      <a:pt x="59778" y="44613"/>
                    </a:lnTo>
                    <a:lnTo>
                      <a:pt x="60395" y="44878"/>
                    </a:lnTo>
                    <a:lnTo>
                      <a:pt x="61012" y="45759"/>
                    </a:lnTo>
                    <a:lnTo>
                      <a:pt x="60395" y="47523"/>
                    </a:lnTo>
                    <a:lnTo>
                      <a:pt x="59778" y="48052"/>
                    </a:lnTo>
                    <a:lnTo>
                      <a:pt x="59514" y="47523"/>
                    </a:lnTo>
                    <a:lnTo>
                      <a:pt x="58632" y="46906"/>
                    </a:lnTo>
                    <a:lnTo>
                      <a:pt x="58632" y="46377"/>
                    </a:lnTo>
                    <a:lnTo>
                      <a:pt x="57750" y="44613"/>
                    </a:lnTo>
                    <a:lnTo>
                      <a:pt x="55722" y="43996"/>
                    </a:lnTo>
                    <a:lnTo>
                      <a:pt x="55987" y="42850"/>
                    </a:lnTo>
                    <a:lnTo>
                      <a:pt x="56604" y="42233"/>
                    </a:lnTo>
                    <a:lnTo>
                      <a:pt x="56339" y="41704"/>
                    </a:lnTo>
                    <a:lnTo>
                      <a:pt x="54841" y="41086"/>
                    </a:lnTo>
                    <a:lnTo>
                      <a:pt x="54576" y="41086"/>
                    </a:lnTo>
                    <a:lnTo>
                      <a:pt x="54224" y="40822"/>
                    </a:lnTo>
                    <a:lnTo>
                      <a:pt x="53959" y="41086"/>
                    </a:lnTo>
                    <a:lnTo>
                      <a:pt x="51049" y="40469"/>
                    </a:lnTo>
                    <a:lnTo>
                      <a:pt x="50168" y="39323"/>
                    </a:lnTo>
                    <a:lnTo>
                      <a:pt x="49286" y="38177"/>
                    </a:lnTo>
                    <a:lnTo>
                      <a:pt x="48140" y="36414"/>
                    </a:lnTo>
                    <a:lnTo>
                      <a:pt x="49022" y="34650"/>
                    </a:lnTo>
                    <a:lnTo>
                      <a:pt x="48757" y="33504"/>
                    </a:lnTo>
                    <a:lnTo>
                      <a:pt x="48404" y="32358"/>
                    </a:lnTo>
                    <a:lnTo>
                      <a:pt x="46729" y="32622"/>
                    </a:lnTo>
                    <a:lnTo>
                      <a:pt x="44613" y="33769"/>
                    </a:lnTo>
                    <a:lnTo>
                      <a:pt x="44613" y="35003"/>
                    </a:lnTo>
                    <a:lnTo>
                      <a:pt x="44349" y="36414"/>
                    </a:lnTo>
                    <a:lnTo>
                      <a:pt x="43467" y="36678"/>
                    </a:lnTo>
                    <a:lnTo>
                      <a:pt x="42850" y="37560"/>
                    </a:lnTo>
                    <a:lnTo>
                      <a:pt x="42585" y="38441"/>
                    </a:lnTo>
                    <a:lnTo>
                      <a:pt x="43202" y="39940"/>
                    </a:lnTo>
                    <a:lnTo>
                      <a:pt x="42321" y="40469"/>
                    </a:lnTo>
                    <a:lnTo>
                      <a:pt x="41968" y="41086"/>
                    </a:lnTo>
                    <a:lnTo>
                      <a:pt x="41174" y="41968"/>
                    </a:lnTo>
                    <a:lnTo>
                      <a:pt x="41174" y="42850"/>
                    </a:lnTo>
                    <a:lnTo>
                      <a:pt x="40293" y="43467"/>
                    </a:lnTo>
                    <a:lnTo>
                      <a:pt x="39147" y="43732"/>
                    </a:lnTo>
                    <a:lnTo>
                      <a:pt x="37912" y="43732"/>
                    </a:lnTo>
                    <a:lnTo>
                      <a:pt x="37031" y="44878"/>
                    </a:lnTo>
                    <a:lnTo>
                      <a:pt x="37031" y="45759"/>
                    </a:lnTo>
                    <a:lnTo>
                      <a:pt x="36149" y="45759"/>
                    </a:lnTo>
                    <a:lnTo>
                      <a:pt x="35003" y="45495"/>
                    </a:lnTo>
                    <a:lnTo>
                      <a:pt x="33592" y="44878"/>
                    </a:lnTo>
                    <a:lnTo>
                      <a:pt x="32975" y="44261"/>
                    </a:lnTo>
                    <a:lnTo>
                      <a:pt x="31211" y="43996"/>
                    </a:lnTo>
                    <a:lnTo>
                      <a:pt x="29801" y="45142"/>
                    </a:lnTo>
                    <a:lnTo>
                      <a:pt x="28302" y="45759"/>
                    </a:lnTo>
                    <a:lnTo>
                      <a:pt x="26274" y="45759"/>
                    </a:lnTo>
                    <a:lnTo>
                      <a:pt x="23365" y="46377"/>
                    </a:lnTo>
                    <a:lnTo>
                      <a:pt x="22130" y="46377"/>
                    </a:lnTo>
                    <a:lnTo>
                      <a:pt x="21601" y="44878"/>
                    </a:lnTo>
                    <a:lnTo>
                      <a:pt x="20102" y="43114"/>
                    </a:lnTo>
                    <a:lnTo>
                      <a:pt x="18074" y="41968"/>
                    </a:lnTo>
                    <a:lnTo>
                      <a:pt x="17545" y="41351"/>
                    </a:lnTo>
                    <a:lnTo>
                      <a:pt x="17193" y="40469"/>
                    </a:lnTo>
                    <a:lnTo>
                      <a:pt x="16311" y="39940"/>
                    </a:lnTo>
                    <a:lnTo>
                      <a:pt x="16047" y="38177"/>
                    </a:lnTo>
                    <a:lnTo>
                      <a:pt x="16311" y="37295"/>
                    </a:lnTo>
                    <a:lnTo>
                      <a:pt x="16311" y="35532"/>
                    </a:lnTo>
                    <a:lnTo>
                      <a:pt x="16311" y="34121"/>
                    </a:lnTo>
                    <a:lnTo>
                      <a:pt x="15782" y="33240"/>
                    </a:lnTo>
                    <a:lnTo>
                      <a:pt x="13137" y="32622"/>
                    </a:lnTo>
                    <a:lnTo>
                      <a:pt x="10492" y="32622"/>
                    </a:lnTo>
                    <a:lnTo>
                      <a:pt x="7847" y="33240"/>
                    </a:lnTo>
                    <a:lnTo>
                      <a:pt x="6172" y="34386"/>
                    </a:lnTo>
                    <a:lnTo>
                      <a:pt x="5290" y="35885"/>
                    </a:lnTo>
                    <a:lnTo>
                      <a:pt x="4937" y="36678"/>
                    </a:lnTo>
                    <a:lnTo>
                      <a:pt x="5290" y="37295"/>
                    </a:lnTo>
                    <a:lnTo>
                      <a:pt x="5819" y="37912"/>
                    </a:lnTo>
                    <a:lnTo>
                      <a:pt x="4673" y="38794"/>
                    </a:lnTo>
                    <a:lnTo>
                      <a:pt x="4408" y="39676"/>
                    </a:lnTo>
                    <a:lnTo>
                      <a:pt x="2645" y="40205"/>
                    </a:lnTo>
                    <a:lnTo>
                      <a:pt x="1146" y="40205"/>
                    </a:lnTo>
                    <a:lnTo>
                      <a:pt x="264" y="39323"/>
                    </a:lnTo>
                    <a:lnTo>
                      <a:pt x="0" y="38177"/>
                    </a:lnTo>
                    <a:lnTo>
                      <a:pt x="1763" y="37912"/>
                    </a:lnTo>
                    <a:lnTo>
                      <a:pt x="2909" y="37560"/>
                    </a:lnTo>
                    <a:lnTo>
                      <a:pt x="2909" y="37295"/>
                    </a:lnTo>
                    <a:lnTo>
                      <a:pt x="2645" y="36414"/>
                    </a:lnTo>
                    <a:lnTo>
                      <a:pt x="3791" y="34650"/>
                    </a:lnTo>
                    <a:lnTo>
                      <a:pt x="2292" y="33504"/>
                    </a:lnTo>
                    <a:lnTo>
                      <a:pt x="1763" y="33240"/>
                    </a:lnTo>
                    <a:lnTo>
                      <a:pt x="2292" y="32622"/>
                    </a:lnTo>
                    <a:lnTo>
                      <a:pt x="3174" y="30330"/>
                    </a:lnTo>
                    <a:lnTo>
                      <a:pt x="3174" y="29448"/>
                    </a:lnTo>
                    <a:lnTo>
                      <a:pt x="3527" y="28831"/>
                    </a:lnTo>
                    <a:lnTo>
                      <a:pt x="5555" y="27420"/>
                    </a:lnTo>
                    <a:lnTo>
                      <a:pt x="8729" y="25304"/>
                    </a:lnTo>
                    <a:lnTo>
                      <a:pt x="9081" y="23894"/>
                    </a:lnTo>
                    <a:lnTo>
                      <a:pt x="8729" y="22747"/>
                    </a:lnTo>
                    <a:lnTo>
                      <a:pt x="9346" y="21513"/>
                    </a:lnTo>
                    <a:lnTo>
                      <a:pt x="10757" y="19838"/>
                    </a:lnTo>
                    <a:lnTo>
                      <a:pt x="12873" y="19221"/>
                    </a:lnTo>
                    <a:lnTo>
                      <a:pt x="13401" y="17457"/>
                    </a:lnTo>
                    <a:lnTo>
                      <a:pt x="16047" y="15694"/>
                    </a:lnTo>
                    <a:lnTo>
                      <a:pt x="16928" y="14019"/>
                    </a:lnTo>
                    <a:lnTo>
                      <a:pt x="16928" y="13402"/>
                    </a:lnTo>
                    <a:lnTo>
                      <a:pt x="17193" y="13137"/>
                    </a:lnTo>
                    <a:lnTo>
                      <a:pt x="19309" y="11903"/>
                    </a:lnTo>
                    <a:lnTo>
                      <a:pt x="19309" y="11021"/>
                    </a:lnTo>
                    <a:lnTo>
                      <a:pt x="18692" y="10757"/>
                    </a:lnTo>
                    <a:lnTo>
                      <a:pt x="17545" y="10757"/>
                    </a:lnTo>
                    <a:lnTo>
                      <a:pt x="16928" y="10228"/>
                    </a:lnTo>
                    <a:lnTo>
                      <a:pt x="17545" y="9610"/>
                    </a:lnTo>
                    <a:lnTo>
                      <a:pt x="18956" y="7582"/>
                    </a:lnTo>
                    <a:lnTo>
                      <a:pt x="19573" y="6965"/>
                    </a:lnTo>
                    <a:lnTo>
                      <a:pt x="20720" y="7230"/>
                    </a:lnTo>
                    <a:lnTo>
                      <a:pt x="21866" y="7582"/>
                    </a:lnTo>
                    <a:lnTo>
                      <a:pt x="22747" y="8729"/>
                    </a:lnTo>
                    <a:lnTo>
                      <a:pt x="24511" y="8993"/>
                    </a:lnTo>
                    <a:lnTo>
                      <a:pt x="26538" y="8993"/>
                    </a:lnTo>
                    <a:lnTo>
                      <a:pt x="27420" y="8464"/>
                    </a:lnTo>
                    <a:lnTo>
                      <a:pt x="28566" y="7582"/>
                    </a:lnTo>
                    <a:lnTo>
                      <a:pt x="28919" y="6965"/>
                    </a:lnTo>
                    <a:lnTo>
                      <a:pt x="28919" y="6084"/>
                    </a:lnTo>
                    <a:lnTo>
                      <a:pt x="29448" y="5819"/>
                    </a:lnTo>
                    <a:lnTo>
                      <a:pt x="29801" y="5202"/>
                    </a:lnTo>
                    <a:lnTo>
                      <a:pt x="30065" y="5202"/>
                    </a:lnTo>
                    <a:lnTo>
                      <a:pt x="30330" y="5202"/>
                    </a:lnTo>
                    <a:lnTo>
                      <a:pt x="31476" y="4673"/>
                    </a:lnTo>
                    <a:lnTo>
                      <a:pt x="32093" y="4673"/>
                    </a:lnTo>
                    <a:lnTo>
                      <a:pt x="32093" y="4938"/>
                    </a:lnTo>
                    <a:lnTo>
                      <a:pt x="32093" y="5555"/>
                    </a:lnTo>
                    <a:lnTo>
                      <a:pt x="31211" y="5819"/>
                    </a:lnTo>
                    <a:lnTo>
                      <a:pt x="31829" y="6084"/>
                    </a:lnTo>
                    <a:lnTo>
                      <a:pt x="32710" y="6084"/>
                    </a:lnTo>
                    <a:lnTo>
                      <a:pt x="34121" y="6084"/>
                    </a:lnTo>
                    <a:lnTo>
                      <a:pt x="35885" y="5819"/>
                    </a:lnTo>
                    <a:lnTo>
                      <a:pt x="36502" y="5819"/>
                    </a:lnTo>
                    <a:lnTo>
                      <a:pt x="38530" y="5819"/>
                    </a:lnTo>
                    <a:lnTo>
                      <a:pt x="40293" y="5202"/>
                    </a:lnTo>
                    <a:lnTo>
                      <a:pt x="42585" y="4320"/>
                    </a:lnTo>
                    <a:lnTo>
                      <a:pt x="44084" y="4673"/>
                    </a:lnTo>
                    <a:lnTo>
                      <a:pt x="46112" y="5202"/>
                    </a:lnTo>
                    <a:lnTo>
                      <a:pt x="46994" y="5555"/>
                    </a:lnTo>
                    <a:lnTo>
                      <a:pt x="47875" y="4673"/>
                    </a:lnTo>
                    <a:lnTo>
                      <a:pt x="48404" y="4056"/>
                    </a:lnTo>
                    <a:lnTo>
                      <a:pt x="49286" y="4320"/>
                    </a:lnTo>
                    <a:lnTo>
                      <a:pt x="49639" y="4938"/>
                    </a:lnTo>
                    <a:lnTo>
                      <a:pt x="49903" y="4673"/>
                    </a:lnTo>
                    <a:lnTo>
                      <a:pt x="50785" y="3439"/>
                    </a:lnTo>
                    <a:lnTo>
                      <a:pt x="50168" y="3174"/>
                    </a:lnTo>
                    <a:lnTo>
                      <a:pt x="49022" y="3174"/>
                    </a:lnTo>
                    <a:lnTo>
                      <a:pt x="48404" y="3791"/>
                    </a:lnTo>
                    <a:lnTo>
                      <a:pt x="47611" y="3791"/>
                    </a:lnTo>
                    <a:lnTo>
                      <a:pt x="46376" y="2910"/>
                    </a:lnTo>
                    <a:lnTo>
                      <a:pt x="46112" y="2292"/>
                    </a:lnTo>
                    <a:lnTo>
                      <a:pt x="47611" y="529"/>
                    </a:lnTo>
                    <a:lnTo>
                      <a:pt x="49022" y="0"/>
                    </a:lnTo>
                    <a:lnTo>
                      <a:pt x="50168" y="0"/>
                    </a:lnTo>
                    <a:lnTo>
                      <a:pt x="51049" y="0"/>
                    </a:lnTo>
                    <a:lnTo>
                      <a:pt x="52196" y="265"/>
                    </a:lnTo>
                    <a:lnTo>
                      <a:pt x="52548" y="529"/>
                    </a:lnTo>
                    <a:lnTo>
                      <a:pt x="52813" y="1146"/>
                    </a:lnTo>
                    <a:lnTo>
                      <a:pt x="52548" y="2292"/>
                    </a:lnTo>
                    <a:lnTo>
                      <a:pt x="52548" y="2557"/>
                    </a:lnTo>
                    <a:lnTo>
                      <a:pt x="53077" y="2557"/>
                    </a:lnTo>
                    <a:lnTo>
                      <a:pt x="53959" y="2910"/>
                    </a:lnTo>
                    <a:lnTo>
                      <a:pt x="53430" y="1675"/>
                    </a:lnTo>
                    <a:lnTo>
                      <a:pt x="53959" y="1675"/>
                    </a:lnTo>
                    <a:lnTo>
                      <a:pt x="54576" y="1411"/>
                    </a:lnTo>
                    <a:lnTo>
                      <a:pt x="55105" y="1411"/>
                    </a:lnTo>
                    <a:lnTo>
                      <a:pt x="55458" y="2292"/>
                    </a:lnTo>
                    <a:lnTo>
                      <a:pt x="56868" y="3439"/>
                    </a:lnTo>
                    <a:lnTo>
                      <a:pt x="57750" y="2910"/>
                    </a:lnTo>
                    <a:lnTo>
                      <a:pt x="58985" y="2292"/>
                    </a:lnTo>
                    <a:lnTo>
                      <a:pt x="59514" y="2910"/>
                    </a:lnTo>
                    <a:lnTo>
                      <a:pt x="61012" y="3439"/>
                    </a:lnTo>
                    <a:lnTo>
                      <a:pt x="62688" y="2910"/>
                    </a:lnTo>
                    <a:lnTo>
                      <a:pt x="69124" y="6084"/>
                    </a:lnTo>
                    <a:lnTo>
                      <a:pt x="69124" y="6701"/>
                    </a:lnTo>
                    <a:lnTo>
                      <a:pt x="68859" y="7582"/>
                    </a:lnTo>
                    <a:lnTo>
                      <a:pt x="69741" y="8464"/>
                    </a:lnTo>
                    <a:lnTo>
                      <a:pt x="69741" y="9258"/>
                    </a:lnTo>
                    <a:lnTo>
                      <a:pt x="70270" y="9875"/>
                    </a:lnTo>
                    <a:lnTo>
                      <a:pt x="69741" y="10492"/>
                    </a:lnTo>
                    <a:lnTo>
                      <a:pt x="68859" y="13402"/>
                    </a:lnTo>
                    <a:lnTo>
                      <a:pt x="68859" y="13137"/>
                    </a:lnTo>
                    <a:lnTo>
                      <a:pt x="66479" y="14548"/>
                    </a:lnTo>
                    <a:lnTo>
                      <a:pt x="67096" y="16840"/>
                    </a:lnTo>
                    <a:lnTo>
                      <a:pt x="66832" y="17722"/>
                    </a:lnTo>
                    <a:lnTo>
                      <a:pt x="67978" y="18075"/>
                    </a:lnTo>
                    <a:lnTo>
                      <a:pt x="68595" y="17457"/>
                    </a:lnTo>
                    <a:lnTo>
                      <a:pt x="69124" y="18075"/>
                    </a:lnTo>
                    <a:lnTo>
                      <a:pt x="70006" y="17722"/>
                    </a:lnTo>
                    <a:lnTo>
                      <a:pt x="70887" y="17722"/>
                    </a:lnTo>
                    <a:lnTo>
                      <a:pt x="76442" y="18956"/>
                    </a:lnTo>
                    <a:lnTo>
                      <a:pt x="76706" y="20720"/>
                    </a:lnTo>
                    <a:lnTo>
                      <a:pt x="77059" y="21249"/>
                    </a:lnTo>
                    <a:lnTo>
                      <a:pt x="77853" y="21249"/>
                    </a:lnTo>
                    <a:lnTo>
                      <a:pt x="79616" y="22747"/>
                    </a:lnTo>
                    <a:lnTo>
                      <a:pt x="80233" y="22747"/>
                    </a:lnTo>
                    <a:lnTo>
                      <a:pt x="82878" y="21866"/>
                    </a:lnTo>
                    <a:lnTo>
                      <a:pt x="83143" y="20720"/>
                    </a:lnTo>
                    <a:lnTo>
                      <a:pt x="83143" y="20103"/>
                    </a:lnTo>
                    <a:lnTo>
                      <a:pt x="84906" y="18956"/>
                    </a:lnTo>
                    <a:lnTo>
                      <a:pt x="85788" y="18956"/>
                    </a:lnTo>
                    <a:lnTo>
                      <a:pt x="86934" y="207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5" name="Freihandform: Form 1564">
                <a:extLst>
                  <a:ext uri="{FF2B5EF4-FFF2-40B4-BE49-F238E27FC236}">
                    <a16:creationId xmlns:a16="http://schemas.microsoft.com/office/drawing/2014/main" id="{18A7EFDF-3BD6-0DB1-F524-1A4E4A2E0F16}"/>
                  </a:ext>
                </a:extLst>
              </p:cNvPr>
              <p:cNvSpPr/>
              <p:nvPr/>
            </p:nvSpPr>
            <p:spPr>
              <a:xfrm>
                <a:off x="4116217" y="2872216"/>
                <a:ext cx="74061" cy="48139"/>
              </a:xfrm>
              <a:custGeom>
                <a:avLst/>
                <a:gdLst>
                  <a:gd name="connsiteX0" fmla="*/ 69124 w 74061"/>
                  <a:gd name="connsiteY0" fmla="*/ 19309 h 48139"/>
                  <a:gd name="connsiteX1" fmla="*/ 67713 w 74061"/>
                  <a:gd name="connsiteY1" fmla="*/ 18692 h 48139"/>
                  <a:gd name="connsiteX2" fmla="*/ 67713 w 74061"/>
                  <a:gd name="connsiteY2" fmla="*/ 17810 h 48139"/>
                  <a:gd name="connsiteX3" fmla="*/ 65068 w 74061"/>
                  <a:gd name="connsiteY3" fmla="*/ 18074 h 48139"/>
                  <a:gd name="connsiteX4" fmla="*/ 62423 w 74061"/>
                  <a:gd name="connsiteY4" fmla="*/ 18074 h 48139"/>
                  <a:gd name="connsiteX5" fmla="*/ 61277 w 74061"/>
                  <a:gd name="connsiteY5" fmla="*/ 17545 h 48139"/>
                  <a:gd name="connsiteX6" fmla="*/ 60395 w 74061"/>
                  <a:gd name="connsiteY6" fmla="*/ 17810 h 48139"/>
                  <a:gd name="connsiteX7" fmla="*/ 60395 w 74061"/>
                  <a:gd name="connsiteY7" fmla="*/ 16928 h 48139"/>
                  <a:gd name="connsiteX8" fmla="*/ 59514 w 74061"/>
                  <a:gd name="connsiteY8" fmla="*/ 16664 h 48139"/>
                  <a:gd name="connsiteX9" fmla="*/ 59514 w 74061"/>
                  <a:gd name="connsiteY9" fmla="*/ 14900 h 48139"/>
                  <a:gd name="connsiteX10" fmla="*/ 61277 w 74061"/>
                  <a:gd name="connsiteY10" fmla="*/ 13137 h 48139"/>
                  <a:gd name="connsiteX11" fmla="*/ 61277 w 74061"/>
                  <a:gd name="connsiteY11" fmla="*/ 12255 h 48139"/>
                  <a:gd name="connsiteX12" fmla="*/ 62159 w 74061"/>
                  <a:gd name="connsiteY12" fmla="*/ 10757 h 48139"/>
                  <a:gd name="connsiteX13" fmla="*/ 62159 w 74061"/>
                  <a:gd name="connsiteY13" fmla="*/ 9346 h 48139"/>
                  <a:gd name="connsiteX14" fmla="*/ 62423 w 74061"/>
                  <a:gd name="connsiteY14" fmla="*/ 8200 h 48139"/>
                  <a:gd name="connsiteX15" fmla="*/ 60924 w 74061"/>
                  <a:gd name="connsiteY15" fmla="*/ 7053 h 48139"/>
                  <a:gd name="connsiteX16" fmla="*/ 59249 w 74061"/>
                  <a:gd name="connsiteY16" fmla="*/ 7582 h 48139"/>
                  <a:gd name="connsiteX17" fmla="*/ 57486 w 74061"/>
                  <a:gd name="connsiteY17" fmla="*/ 7053 h 48139"/>
                  <a:gd name="connsiteX18" fmla="*/ 57486 w 74061"/>
                  <a:gd name="connsiteY18" fmla="*/ 6436 h 48139"/>
                  <a:gd name="connsiteX19" fmla="*/ 56339 w 74061"/>
                  <a:gd name="connsiteY19" fmla="*/ 5290 h 48139"/>
                  <a:gd name="connsiteX20" fmla="*/ 53959 w 74061"/>
                  <a:gd name="connsiteY20" fmla="*/ 6172 h 48139"/>
                  <a:gd name="connsiteX21" fmla="*/ 50785 w 74061"/>
                  <a:gd name="connsiteY21" fmla="*/ 5819 h 48139"/>
                  <a:gd name="connsiteX22" fmla="*/ 50432 w 74061"/>
                  <a:gd name="connsiteY22" fmla="*/ 4937 h 48139"/>
                  <a:gd name="connsiteX23" fmla="*/ 50168 w 74061"/>
                  <a:gd name="connsiteY23" fmla="*/ 4408 h 48139"/>
                  <a:gd name="connsiteX24" fmla="*/ 49286 w 74061"/>
                  <a:gd name="connsiteY24" fmla="*/ 3527 h 48139"/>
                  <a:gd name="connsiteX25" fmla="*/ 49022 w 74061"/>
                  <a:gd name="connsiteY25" fmla="*/ 3262 h 48139"/>
                  <a:gd name="connsiteX26" fmla="*/ 48404 w 74061"/>
                  <a:gd name="connsiteY26" fmla="*/ 2292 h 48139"/>
                  <a:gd name="connsiteX27" fmla="*/ 49022 w 74061"/>
                  <a:gd name="connsiteY27" fmla="*/ 1499 h 48139"/>
                  <a:gd name="connsiteX28" fmla="*/ 48140 w 74061"/>
                  <a:gd name="connsiteY28" fmla="*/ 617 h 48139"/>
                  <a:gd name="connsiteX29" fmla="*/ 47258 w 74061"/>
                  <a:gd name="connsiteY29" fmla="*/ 264 h 48139"/>
                  <a:gd name="connsiteX30" fmla="*/ 46376 w 74061"/>
                  <a:gd name="connsiteY30" fmla="*/ 882 h 48139"/>
                  <a:gd name="connsiteX31" fmla="*/ 46112 w 74061"/>
                  <a:gd name="connsiteY31" fmla="*/ 1763 h 48139"/>
                  <a:gd name="connsiteX32" fmla="*/ 45495 w 74061"/>
                  <a:gd name="connsiteY32" fmla="*/ 2292 h 48139"/>
                  <a:gd name="connsiteX33" fmla="*/ 43467 w 74061"/>
                  <a:gd name="connsiteY33" fmla="*/ 2292 h 48139"/>
                  <a:gd name="connsiteX34" fmla="*/ 43202 w 74061"/>
                  <a:gd name="connsiteY34" fmla="*/ 2028 h 48139"/>
                  <a:gd name="connsiteX35" fmla="*/ 42850 w 74061"/>
                  <a:gd name="connsiteY35" fmla="*/ 1763 h 48139"/>
                  <a:gd name="connsiteX36" fmla="*/ 42585 w 74061"/>
                  <a:gd name="connsiteY36" fmla="*/ 0 h 48139"/>
                  <a:gd name="connsiteX37" fmla="*/ 41439 w 74061"/>
                  <a:gd name="connsiteY37" fmla="*/ 264 h 48139"/>
                  <a:gd name="connsiteX38" fmla="*/ 39676 w 74061"/>
                  <a:gd name="connsiteY38" fmla="*/ 1763 h 48139"/>
                  <a:gd name="connsiteX39" fmla="*/ 39411 w 74061"/>
                  <a:gd name="connsiteY39" fmla="*/ 2028 h 48139"/>
                  <a:gd name="connsiteX40" fmla="*/ 38530 w 74061"/>
                  <a:gd name="connsiteY40" fmla="*/ 2028 h 48139"/>
                  <a:gd name="connsiteX41" fmla="*/ 38530 w 74061"/>
                  <a:gd name="connsiteY41" fmla="*/ 1763 h 48139"/>
                  <a:gd name="connsiteX42" fmla="*/ 38530 w 74061"/>
                  <a:gd name="connsiteY42" fmla="*/ 1146 h 48139"/>
                  <a:gd name="connsiteX43" fmla="*/ 37912 w 74061"/>
                  <a:gd name="connsiteY43" fmla="*/ 264 h 48139"/>
                  <a:gd name="connsiteX44" fmla="*/ 36502 w 74061"/>
                  <a:gd name="connsiteY44" fmla="*/ 264 h 48139"/>
                  <a:gd name="connsiteX45" fmla="*/ 35003 w 74061"/>
                  <a:gd name="connsiteY45" fmla="*/ 1763 h 48139"/>
                  <a:gd name="connsiteX46" fmla="*/ 36149 w 74061"/>
                  <a:gd name="connsiteY46" fmla="*/ 2645 h 48139"/>
                  <a:gd name="connsiteX47" fmla="*/ 35267 w 74061"/>
                  <a:gd name="connsiteY47" fmla="*/ 2910 h 48139"/>
                  <a:gd name="connsiteX48" fmla="*/ 36502 w 74061"/>
                  <a:gd name="connsiteY48" fmla="*/ 3262 h 48139"/>
                  <a:gd name="connsiteX49" fmla="*/ 36149 w 74061"/>
                  <a:gd name="connsiteY49" fmla="*/ 3791 h 48139"/>
                  <a:gd name="connsiteX50" fmla="*/ 34474 w 74061"/>
                  <a:gd name="connsiteY50" fmla="*/ 3791 h 48139"/>
                  <a:gd name="connsiteX51" fmla="*/ 33504 w 74061"/>
                  <a:gd name="connsiteY51" fmla="*/ 3262 h 48139"/>
                  <a:gd name="connsiteX52" fmla="*/ 32358 w 74061"/>
                  <a:gd name="connsiteY52" fmla="*/ 3791 h 48139"/>
                  <a:gd name="connsiteX53" fmla="*/ 30947 w 74061"/>
                  <a:gd name="connsiteY53" fmla="*/ 5819 h 48139"/>
                  <a:gd name="connsiteX54" fmla="*/ 26274 w 74061"/>
                  <a:gd name="connsiteY54" fmla="*/ 7053 h 48139"/>
                  <a:gd name="connsiteX55" fmla="*/ 25657 w 74061"/>
                  <a:gd name="connsiteY55" fmla="*/ 7053 h 48139"/>
                  <a:gd name="connsiteX56" fmla="*/ 23894 w 74061"/>
                  <a:gd name="connsiteY56" fmla="*/ 7053 h 48139"/>
                  <a:gd name="connsiteX57" fmla="*/ 23894 w 74061"/>
                  <a:gd name="connsiteY57" fmla="*/ 6172 h 48139"/>
                  <a:gd name="connsiteX58" fmla="*/ 20102 w 74061"/>
                  <a:gd name="connsiteY58" fmla="*/ 4937 h 48139"/>
                  <a:gd name="connsiteX59" fmla="*/ 18427 w 74061"/>
                  <a:gd name="connsiteY59" fmla="*/ 6172 h 48139"/>
                  <a:gd name="connsiteX60" fmla="*/ 16664 w 74061"/>
                  <a:gd name="connsiteY60" fmla="*/ 6172 h 48139"/>
                  <a:gd name="connsiteX61" fmla="*/ 16311 w 74061"/>
                  <a:gd name="connsiteY61" fmla="*/ 4937 h 48139"/>
                  <a:gd name="connsiteX62" fmla="*/ 16664 w 74061"/>
                  <a:gd name="connsiteY62" fmla="*/ 4673 h 48139"/>
                  <a:gd name="connsiteX63" fmla="*/ 16046 w 74061"/>
                  <a:gd name="connsiteY63" fmla="*/ 3791 h 48139"/>
                  <a:gd name="connsiteX64" fmla="*/ 16664 w 74061"/>
                  <a:gd name="connsiteY64" fmla="*/ 3262 h 48139"/>
                  <a:gd name="connsiteX65" fmla="*/ 14019 w 74061"/>
                  <a:gd name="connsiteY65" fmla="*/ 3262 h 48139"/>
                  <a:gd name="connsiteX66" fmla="*/ 12255 w 74061"/>
                  <a:gd name="connsiteY66" fmla="*/ 3791 h 48139"/>
                  <a:gd name="connsiteX67" fmla="*/ 10757 w 74061"/>
                  <a:gd name="connsiteY67" fmla="*/ 3527 h 48139"/>
                  <a:gd name="connsiteX68" fmla="*/ 8729 w 74061"/>
                  <a:gd name="connsiteY68" fmla="*/ 3791 h 48139"/>
                  <a:gd name="connsiteX69" fmla="*/ 7847 w 74061"/>
                  <a:gd name="connsiteY69" fmla="*/ 2910 h 48139"/>
                  <a:gd name="connsiteX70" fmla="*/ 6436 w 74061"/>
                  <a:gd name="connsiteY70" fmla="*/ 3262 h 48139"/>
                  <a:gd name="connsiteX71" fmla="*/ 5290 w 74061"/>
                  <a:gd name="connsiteY71" fmla="*/ 5819 h 48139"/>
                  <a:gd name="connsiteX72" fmla="*/ 3791 w 74061"/>
                  <a:gd name="connsiteY72" fmla="*/ 7318 h 48139"/>
                  <a:gd name="connsiteX73" fmla="*/ 2909 w 74061"/>
                  <a:gd name="connsiteY73" fmla="*/ 7053 h 48139"/>
                  <a:gd name="connsiteX74" fmla="*/ 2909 w 74061"/>
                  <a:gd name="connsiteY74" fmla="*/ 7847 h 48139"/>
                  <a:gd name="connsiteX75" fmla="*/ 2645 w 74061"/>
                  <a:gd name="connsiteY75" fmla="*/ 8729 h 48139"/>
                  <a:gd name="connsiteX76" fmla="*/ 1763 w 74061"/>
                  <a:gd name="connsiteY76" fmla="*/ 9346 h 48139"/>
                  <a:gd name="connsiteX77" fmla="*/ 0 w 74061"/>
                  <a:gd name="connsiteY77" fmla="*/ 9963 h 48139"/>
                  <a:gd name="connsiteX78" fmla="*/ 2028 w 74061"/>
                  <a:gd name="connsiteY78" fmla="*/ 11991 h 48139"/>
                  <a:gd name="connsiteX79" fmla="*/ 2028 w 74061"/>
                  <a:gd name="connsiteY79" fmla="*/ 13137 h 48139"/>
                  <a:gd name="connsiteX80" fmla="*/ 2028 w 74061"/>
                  <a:gd name="connsiteY80" fmla="*/ 14283 h 48139"/>
                  <a:gd name="connsiteX81" fmla="*/ 2028 w 74061"/>
                  <a:gd name="connsiteY81" fmla="*/ 15165 h 48139"/>
                  <a:gd name="connsiteX82" fmla="*/ 2028 w 74061"/>
                  <a:gd name="connsiteY82" fmla="*/ 16311 h 48139"/>
                  <a:gd name="connsiteX83" fmla="*/ 4056 w 74061"/>
                  <a:gd name="connsiteY83" fmla="*/ 16311 h 48139"/>
                  <a:gd name="connsiteX84" fmla="*/ 5819 w 74061"/>
                  <a:gd name="connsiteY84" fmla="*/ 18692 h 48139"/>
                  <a:gd name="connsiteX85" fmla="*/ 7582 w 74061"/>
                  <a:gd name="connsiteY85" fmla="*/ 19309 h 48139"/>
                  <a:gd name="connsiteX86" fmla="*/ 7847 w 74061"/>
                  <a:gd name="connsiteY86" fmla="*/ 18692 h 48139"/>
                  <a:gd name="connsiteX87" fmla="*/ 7582 w 74061"/>
                  <a:gd name="connsiteY87" fmla="*/ 18074 h 48139"/>
                  <a:gd name="connsiteX88" fmla="*/ 9875 w 74061"/>
                  <a:gd name="connsiteY88" fmla="*/ 17545 h 48139"/>
                  <a:gd name="connsiteX89" fmla="*/ 11109 w 74061"/>
                  <a:gd name="connsiteY89" fmla="*/ 17545 h 48139"/>
                  <a:gd name="connsiteX90" fmla="*/ 11991 w 74061"/>
                  <a:gd name="connsiteY90" fmla="*/ 17545 h 48139"/>
                  <a:gd name="connsiteX91" fmla="*/ 13401 w 74061"/>
                  <a:gd name="connsiteY91" fmla="*/ 18692 h 48139"/>
                  <a:gd name="connsiteX92" fmla="*/ 14636 w 74061"/>
                  <a:gd name="connsiteY92" fmla="*/ 19838 h 48139"/>
                  <a:gd name="connsiteX93" fmla="*/ 13754 w 74061"/>
                  <a:gd name="connsiteY93" fmla="*/ 20102 h 48139"/>
                  <a:gd name="connsiteX94" fmla="*/ 14900 w 74061"/>
                  <a:gd name="connsiteY94" fmla="*/ 22483 h 48139"/>
                  <a:gd name="connsiteX95" fmla="*/ 14900 w 74061"/>
                  <a:gd name="connsiteY95" fmla="*/ 24246 h 48139"/>
                  <a:gd name="connsiteX96" fmla="*/ 16664 w 74061"/>
                  <a:gd name="connsiteY96" fmla="*/ 24775 h 48139"/>
                  <a:gd name="connsiteX97" fmla="*/ 16928 w 74061"/>
                  <a:gd name="connsiteY97" fmla="*/ 23894 h 48139"/>
                  <a:gd name="connsiteX98" fmla="*/ 18692 w 74061"/>
                  <a:gd name="connsiteY98" fmla="*/ 24246 h 48139"/>
                  <a:gd name="connsiteX99" fmla="*/ 18956 w 74061"/>
                  <a:gd name="connsiteY99" fmla="*/ 25392 h 48139"/>
                  <a:gd name="connsiteX100" fmla="*/ 20984 w 74061"/>
                  <a:gd name="connsiteY100" fmla="*/ 25392 h 48139"/>
                  <a:gd name="connsiteX101" fmla="*/ 22218 w 74061"/>
                  <a:gd name="connsiteY101" fmla="*/ 25922 h 48139"/>
                  <a:gd name="connsiteX102" fmla="*/ 22218 w 74061"/>
                  <a:gd name="connsiteY102" fmla="*/ 27156 h 48139"/>
                  <a:gd name="connsiteX103" fmla="*/ 23100 w 74061"/>
                  <a:gd name="connsiteY103" fmla="*/ 28566 h 48139"/>
                  <a:gd name="connsiteX104" fmla="*/ 24775 w 74061"/>
                  <a:gd name="connsiteY104" fmla="*/ 27685 h 48139"/>
                  <a:gd name="connsiteX105" fmla="*/ 28566 w 74061"/>
                  <a:gd name="connsiteY105" fmla="*/ 27685 h 48139"/>
                  <a:gd name="connsiteX106" fmla="*/ 30330 w 74061"/>
                  <a:gd name="connsiteY106" fmla="*/ 28302 h 48139"/>
                  <a:gd name="connsiteX107" fmla="*/ 31211 w 74061"/>
                  <a:gd name="connsiteY107" fmla="*/ 30594 h 48139"/>
                  <a:gd name="connsiteX108" fmla="*/ 31476 w 74061"/>
                  <a:gd name="connsiteY108" fmla="*/ 32710 h 48139"/>
                  <a:gd name="connsiteX109" fmla="*/ 32710 w 74061"/>
                  <a:gd name="connsiteY109" fmla="*/ 32975 h 48139"/>
                  <a:gd name="connsiteX110" fmla="*/ 32975 w 74061"/>
                  <a:gd name="connsiteY110" fmla="*/ 34738 h 48139"/>
                  <a:gd name="connsiteX111" fmla="*/ 31211 w 74061"/>
                  <a:gd name="connsiteY111" fmla="*/ 34738 h 48139"/>
                  <a:gd name="connsiteX112" fmla="*/ 31476 w 74061"/>
                  <a:gd name="connsiteY112" fmla="*/ 36502 h 48139"/>
                  <a:gd name="connsiteX113" fmla="*/ 32975 w 74061"/>
                  <a:gd name="connsiteY113" fmla="*/ 37031 h 48139"/>
                  <a:gd name="connsiteX114" fmla="*/ 34121 w 74061"/>
                  <a:gd name="connsiteY114" fmla="*/ 37648 h 48139"/>
                  <a:gd name="connsiteX115" fmla="*/ 35267 w 74061"/>
                  <a:gd name="connsiteY115" fmla="*/ 37031 h 48139"/>
                  <a:gd name="connsiteX116" fmla="*/ 38265 w 74061"/>
                  <a:gd name="connsiteY116" fmla="*/ 38177 h 48139"/>
                  <a:gd name="connsiteX117" fmla="*/ 41439 w 74061"/>
                  <a:gd name="connsiteY117" fmla="*/ 36766 h 48139"/>
                  <a:gd name="connsiteX118" fmla="*/ 41439 w 74061"/>
                  <a:gd name="connsiteY118" fmla="*/ 33857 h 48139"/>
                  <a:gd name="connsiteX119" fmla="*/ 44349 w 74061"/>
                  <a:gd name="connsiteY119" fmla="*/ 31476 h 48139"/>
                  <a:gd name="connsiteX120" fmla="*/ 45495 w 74061"/>
                  <a:gd name="connsiteY120" fmla="*/ 32975 h 48139"/>
                  <a:gd name="connsiteX121" fmla="*/ 44349 w 74061"/>
                  <a:gd name="connsiteY121" fmla="*/ 35003 h 48139"/>
                  <a:gd name="connsiteX122" fmla="*/ 43731 w 74061"/>
                  <a:gd name="connsiteY122" fmla="*/ 36502 h 48139"/>
                  <a:gd name="connsiteX123" fmla="*/ 44613 w 74061"/>
                  <a:gd name="connsiteY123" fmla="*/ 37912 h 48139"/>
                  <a:gd name="connsiteX124" fmla="*/ 44084 w 74061"/>
                  <a:gd name="connsiteY124" fmla="*/ 39411 h 48139"/>
                  <a:gd name="connsiteX125" fmla="*/ 45759 w 74061"/>
                  <a:gd name="connsiteY125" fmla="*/ 40293 h 48139"/>
                  <a:gd name="connsiteX126" fmla="*/ 45759 w 74061"/>
                  <a:gd name="connsiteY126" fmla="*/ 40557 h 48139"/>
                  <a:gd name="connsiteX127" fmla="*/ 47258 w 74061"/>
                  <a:gd name="connsiteY127" fmla="*/ 40822 h 48139"/>
                  <a:gd name="connsiteX128" fmla="*/ 49286 w 74061"/>
                  <a:gd name="connsiteY128" fmla="*/ 42850 h 48139"/>
                  <a:gd name="connsiteX129" fmla="*/ 50432 w 74061"/>
                  <a:gd name="connsiteY129" fmla="*/ 43467 h 48139"/>
                  <a:gd name="connsiteX130" fmla="*/ 51314 w 74061"/>
                  <a:gd name="connsiteY130" fmla="*/ 44878 h 48139"/>
                  <a:gd name="connsiteX131" fmla="*/ 52813 w 74061"/>
                  <a:gd name="connsiteY131" fmla="*/ 44349 h 48139"/>
                  <a:gd name="connsiteX132" fmla="*/ 53695 w 74061"/>
                  <a:gd name="connsiteY132" fmla="*/ 46112 h 48139"/>
                  <a:gd name="connsiteX133" fmla="*/ 55105 w 74061"/>
                  <a:gd name="connsiteY133" fmla="*/ 46641 h 48139"/>
                  <a:gd name="connsiteX134" fmla="*/ 56604 w 74061"/>
                  <a:gd name="connsiteY134" fmla="*/ 47258 h 48139"/>
                  <a:gd name="connsiteX135" fmla="*/ 57750 w 74061"/>
                  <a:gd name="connsiteY135" fmla="*/ 48140 h 48139"/>
                  <a:gd name="connsiteX136" fmla="*/ 58896 w 74061"/>
                  <a:gd name="connsiteY136" fmla="*/ 47523 h 48139"/>
                  <a:gd name="connsiteX137" fmla="*/ 60660 w 74061"/>
                  <a:gd name="connsiteY137" fmla="*/ 47875 h 48139"/>
                  <a:gd name="connsiteX138" fmla="*/ 62159 w 74061"/>
                  <a:gd name="connsiteY138" fmla="*/ 47258 h 48139"/>
                  <a:gd name="connsiteX139" fmla="*/ 65333 w 74061"/>
                  <a:gd name="connsiteY139" fmla="*/ 47523 h 48139"/>
                  <a:gd name="connsiteX140" fmla="*/ 63922 w 74061"/>
                  <a:gd name="connsiteY140" fmla="*/ 47258 h 48139"/>
                  <a:gd name="connsiteX141" fmla="*/ 63922 w 74061"/>
                  <a:gd name="connsiteY141" fmla="*/ 46377 h 48139"/>
                  <a:gd name="connsiteX142" fmla="*/ 63305 w 74061"/>
                  <a:gd name="connsiteY142" fmla="*/ 45759 h 48139"/>
                  <a:gd name="connsiteX143" fmla="*/ 64804 w 74061"/>
                  <a:gd name="connsiteY143" fmla="*/ 45495 h 48139"/>
                  <a:gd name="connsiteX144" fmla="*/ 64451 w 74061"/>
                  <a:gd name="connsiteY144" fmla="*/ 44613 h 48139"/>
                  <a:gd name="connsiteX145" fmla="*/ 63569 w 74061"/>
                  <a:gd name="connsiteY145" fmla="*/ 44349 h 48139"/>
                  <a:gd name="connsiteX146" fmla="*/ 63305 w 74061"/>
                  <a:gd name="connsiteY146" fmla="*/ 43731 h 48139"/>
                  <a:gd name="connsiteX147" fmla="*/ 63040 w 74061"/>
                  <a:gd name="connsiteY147" fmla="*/ 41086 h 48139"/>
                  <a:gd name="connsiteX148" fmla="*/ 62159 w 74061"/>
                  <a:gd name="connsiteY148" fmla="*/ 40822 h 48139"/>
                  <a:gd name="connsiteX149" fmla="*/ 61806 w 74061"/>
                  <a:gd name="connsiteY149" fmla="*/ 40293 h 48139"/>
                  <a:gd name="connsiteX150" fmla="*/ 62159 w 74061"/>
                  <a:gd name="connsiteY150" fmla="*/ 39411 h 48139"/>
                  <a:gd name="connsiteX151" fmla="*/ 62423 w 74061"/>
                  <a:gd name="connsiteY151" fmla="*/ 39411 h 48139"/>
                  <a:gd name="connsiteX152" fmla="*/ 62159 w 74061"/>
                  <a:gd name="connsiteY152" fmla="*/ 39059 h 48139"/>
                  <a:gd name="connsiteX153" fmla="*/ 61806 w 74061"/>
                  <a:gd name="connsiteY153" fmla="*/ 37648 h 48139"/>
                  <a:gd name="connsiteX154" fmla="*/ 63040 w 74061"/>
                  <a:gd name="connsiteY154" fmla="*/ 36502 h 48139"/>
                  <a:gd name="connsiteX155" fmla="*/ 63040 w 74061"/>
                  <a:gd name="connsiteY155" fmla="*/ 35884 h 48139"/>
                  <a:gd name="connsiteX156" fmla="*/ 63040 w 74061"/>
                  <a:gd name="connsiteY156" fmla="*/ 35267 h 48139"/>
                  <a:gd name="connsiteX157" fmla="*/ 63040 w 74061"/>
                  <a:gd name="connsiteY157" fmla="*/ 34738 h 48139"/>
                  <a:gd name="connsiteX158" fmla="*/ 64451 w 74061"/>
                  <a:gd name="connsiteY158" fmla="*/ 33239 h 48139"/>
                  <a:gd name="connsiteX159" fmla="*/ 66214 w 74061"/>
                  <a:gd name="connsiteY159" fmla="*/ 32710 h 48139"/>
                  <a:gd name="connsiteX160" fmla="*/ 66214 w 74061"/>
                  <a:gd name="connsiteY160" fmla="*/ 32093 h 48139"/>
                  <a:gd name="connsiteX161" fmla="*/ 67978 w 74061"/>
                  <a:gd name="connsiteY161" fmla="*/ 31476 h 48139"/>
                  <a:gd name="connsiteX162" fmla="*/ 67978 w 74061"/>
                  <a:gd name="connsiteY162" fmla="*/ 32093 h 48139"/>
                  <a:gd name="connsiteX163" fmla="*/ 68595 w 74061"/>
                  <a:gd name="connsiteY163" fmla="*/ 32710 h 48139"/>
                  <a:gd name="connsiteX164" fmla="*/ 69388 w 74061"/>
                  <a:gd name="connsiteY164" fmla="*/ 32710 h 48139"/>
                  <a:gd name="connsiteX165" fmla="*/ 71416 w 74061"/>
                  <a:gd name="connsiteY165" fmla="*/ 31212 h 48139"/>
                  <a:gd name="connsiteX166" fmla="*/ 72033 w 74061"/>
                  <a:gd name="connsiteY166" fmla="*/ 31212 h 48139"/>
                  <a:gd name="connsiteX167" fmla="*/ 72298 w 74061"/>
                  <a:gd name="connsiteY167" fmla="*/ 29801 h 48139"/>
                  <a:gd name="connsiteX168" fmla="*/ 72298 w 74061"/>
                  <a:gd name="connsiteY168" fmla="*/ 28566 h 48139"/>
                  <a:gd name="connsiteX169" fmla="*/ 74061 w 74061"/>
                  <a:gd name="connsiteY169" fmla="*/ 28919 h 48139"/>
                  <a:gd name="connsiteX170" fmla="*/ 73797 w 74061"/>
                  <a:gd name="connsiteY170" fmla="*/ 28037 h 48139"/>
                  <a:gd name="connsiteX171" fmla="*/ 72298 w 74061"/>
                  <a:gd name="connsiteY171" fmla="*/ 27156 h 48139"/>
                  <a:gd name="connsiteX172" fmla="*/ 72915 w 74061"/>
                  <a:gd name="connsiteY172" fmla="*/ 25922 h 48139"/>
                  <a:gd name="connsiteX173" fmla="*/ 72298 w 74061"/>
                  <a:gd name="connsiteY173" fmla="*/ 25392 h 48139"/>
                  <a:gd name="connsiteX174" fmla="*/ 71152 w 74061"/>
                  <a:gd name="connsiteY174" fmla="*/ 24775 h 48139"/>
                  <a:gd name="connsiteX175" fmla="*/ 70006 w 74061"/>
                  <a:gd name="connsiteY175" fmla="*/ 23629 h 48139"/>
                  <a:gd name="connsiteX176" fmla="*/ 71152 w 74061"/>
                  <a:gd name="connsiteY176" fmla="*/ 22483 h 48139"/>
                  <a:gd name="connsiteX177" fmla="*/ 71416 w 74061"/>
                  <a:gd name="connsiteY177" fmla="*/ 21601 h 48139"/>
                  <a:gd name="connsiteX178" fmla="*/ 70270 w 74061"/>
                  <a:gd name="connsiteY178" fmla="*/ 20719 h 48139"/>
                  <a:gd name="connsiteX179" fmla="*/ 69741 w 74061"/>
                  <a:gd name="connsiteY179" fmla="*/ 20455 h 48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74061" h="48139">
                    <a:moveTo>
                      <a:pt x="69124" y="19309"/>
                    </a:moveTo>
                    <a:lnTo>
                      <a:pt x="67713" y="18692"/>
                    </a:lnTo>
                    <a:lnTo>
                      <a:pt x="67713" y="17810"/>
                    </a:lnTo>
                    <a:lnTo>
                      <a:pt x="65068" y="18074"/>
                    </a:lnTo>
                    <a:lnTo>
                      <a:pt x="62423" y="18074"/>
                    </a:lnTo>
                    <a:lnTo>
                      <a:pt x="61277" y="17545"/>
                    </a:lnTo>
                    <a:lnTo>
                      <a:pt x="60395" y="17810"/>
                    </a:lnTo>
                    <a:lnTo>
                      <a:pt x="60395" y="16928"/>
                    </a:lnTo>
                    <a:lnTo>
                      <a:pt x="59514" y="16664"/>
                    </a:lnTo>
                    <a:lnTo>
                      <a:pt x="59514" y="14900"/>
                    </a:lnTo>
                    <a:lnTo>
                      <a:pt x="61277" y="13137"/>
                    </a:lnTo>
                    <a:lnTo>
                      <a:pt x="61277" y="12255"/>
                    </a:lnTo>
                    <a:lnTo>
                      <a:pt x="62159" y="10757"/>
                    </a:lnTo>
                    <a:lnTo>
                      <a:pt x="62159" y="9346"/>
                    </a:lnTo>
                    <a:lnTo>
                      <a:pt x="62423" y="8200"/>
                    </a:lnTo>
                    <a:lnTo>
                      <a:pt x="60924" y="7053"/>
                    </a:lnTo>
                    <a:lnTo>
                      <a:pt x="59249" y="7582"/>
                    </a:lnTo>
                    <a:lnTo>
                      <a:pt x="57486" y="7053"/>
                    </a:lnTo>
                    <a:lnTo>
                      <a:pt x="57486" y="6436"/>
                    </a:lnTo>
                    <a:lnTo>
                      <a:pt x="56339" y="5290"/>
                    </a:lnTo>
                    <a:lnTo>
                      <a:pt x="53959" y="6172"/>
                    </a:lnTo>
                    <a:lnTo>
                      <a:pt x="50785" y="5819"/>
                    </a:lnTo>
                    <a:lnTo>
                      <a:pt x="50432" y="4937"/>
                    </a:lnTo>
                    <a:lnTo>
                      <a:pt x="50168" y="4408"/>
                    </a:lnTo>
                    <a:lnTo>
                      <a:pt x="49286" y="3527"/>
                    </a:lnTo>
                    <a:lnTo>
                      <a:pt x="49022" y="3262"/>
                    </a:lnTo>
                    <a:lnTo>
                      <a:pt x="48404" y="2292"/>
                    </a:lnTo>
                    <a:lnTo>
                      <a:pt x="49022" y="1499"/>
                    </a:lnTo>
                    <a:lnTo>
                      <a:pt x="48140" y="617"/>
                    </a:lnTo>
                    <a:lnTo>
                      <a:pt x="47258" y="264"/>
                    </a:lnTo>
                    <a:lnTo>
                      <a:pt x="46376" y="882"/>
                    </a:lnTo>
                    <a:lnTo>
                      <a:pt x="46112" y="1763"/>
                    </a:lnTo>
                    <a:lnTo>
                      <a:pt x="45495" y="2292"/>
                    </a:lnTo>
                    <a:lnTo>
                      <a:pt x="43467" y="2292"/>
                    </a:lnTo>
                    <a:lnTo>
                      <a:pt x="43202" y="2028"/>
                    </a:lnTo>
                    <a:lnTo>
                      <a:pt x="42850" y="1763"/>
                    </a:lnTo>
                    <a:lnTo>
                      <a:pt x="42585" y="0"/>
                    </a:lnTo>
                    <a:lnTo>
                      <a:pt x="41439" y="264"/>
                    </a:lnTo>
                    <a:lnTo>
                      <a:pt x="39676" y="1763"/>
                    </a:lnTo>
                    <a:lnTo>
                      <a:pt x="39411" y="2028"/>
                    </a:lnTo>
                    <a:lnTo>
                      <a:pt x="38530" y="2028"/>
                    </a:lnTo>
                    <a:lnTo>
                      <a:pt x="38530" y="1763"/>
                    </a:lnTo>
                    <a:lnTo>
                      <a:pt x="38530" y="1146"/>
                    </a:lnTo>
                    <a:lnTo>
                      <a:pt x="37912" y="264"/>
                    </a:lnTo>
                    <a:lnTo>
                      <a:pt x="36502" y="264"/>
                    </a:lnTo>
                    <a:lnTo>
                      <a:pt x="35003" y="1763"/>
                    </a:lnTo>
                    <a:lnTo>
                      <a:pt x="36149" y="2645"/>
                    </a:lnTo>
                    <a:lnTo>
                      <a:pt x="35267" y="2910"/>
                    </a:lnTo>
                    <a:lnTo>
                      <a:pt x="36502" y="3262"/>
                    </a:lnTo>
                    <a:lnTo>
                      <a:pt x="36149" y="3791"/>
                    </a:lnTo>
                    <a:lnTo>
                      <a:pt x="34474" y="3791"/>
                    </a:lnTo>
                    <a:lnTo>
                      <a:pt x="33504" y="3262"/>
                    </a:lnTo>
                    <a:lnTo>
                      <a:pt x="32358" y="3791"/>
                    </a:lnTo>
                    <a:lnTo>
                      <a:pt x="30947" y="5819"/>
                    </a:lnTo>
                    <a:lnTo>
                      <a:pt x="26274" y="7053"/>
                    </a:lnTo>
                    <a:lnTo>
                      <a:pt x="25657" y="7053"/>
                    </a:lnTo>
                    <a:lnTo>
                      <a:pt x="23894" y="7053"/>
                    </a:lnTo>
                    <a:lnTo>
                      <a:pt x="23894" y="6172"/>
                    </a:lnTo>
                    <a:lnTo>
                      <a:pt x="20102" y="4937"/>
                    </a:lnTo>
                    <a:lnTo>
                      <a:pt x="18427" y="6172"/>
                    </a:lnTo>
                    <a:lnTo>
                      <a:pt x="16664" y="6172"/>
                    </a:lnTo>
                    <a:lnTo>
                      <a:pt x="16311" y="4937"/>
                    </a:lnTo>
                    <a:lnTo>
                      <a:pt x="16664" y="4673"/>
                    </a:lnTo>
                    <a:lnTo>
                      <a:pt x="16046" y="3791"/>
                    </a:lnTo>
                    <a:lnTo>
                      <a:pt x="16664" y="3262"/>
                    </a:lnTo>
                    <a:lnTo>
                      <a:pt x="14019" y="3262"/>
                    </a:lnTo>
                    <a:lnTo>
                      <a:pt x="12255" y="3791"/>
                    </a:lnTo>
                    <a:lnTo>
                      <a:pt x="10757" y="3527"/>
                    </a:lnTo>
                    <a:lnTo>
                      <a:pt x="8729" y="3791"/>
                    </a:lnTo>
                    <a:lnTo>
                      <a:pt x="7847" y="2910"/>
                    </a:lnTo>
                    <a:lnTo>
                      <a:pt x="6436" y="3262"/>
                    </a:lnTo>
                    <a:lnTo>
                      <a:pt x="5290" y="5819"/>
                    </a:lnTo>
                    <a:lnTo>
                      <a:pt x="3791" y="7318"/>
                    </a:lnTo>
                    <a:lnTo>
                      <a:pt x="2909" y="7053"/>
                    </a:lnTo>
                    <a:lnTo>
                      <a:pt x="2909" y="7847"/>
                    </a:lnTo>
                    <a:lnTo>
                      <a:pt x="2645" y="8729"/>
                    </a:lnTo>
                    <a:lnTo>
                      <a:pt x="1763" y="9346"/>
                    </a:lnTo>
                    <a:lnTo>
                      <a:pt x="0" y="9963"/>
                    </a:lnTo>
                    <a:lnTo>
                      <a:pt x="2028" y="11991"/>
                    </a:lnTo>
                    <a:lnTo>
                      <a:pt x="2028" y="13137"/>
                    </a:lnTo>
                    <a:lnTo>
                      <a:pt x="2028" y="14283"/>
                    </a:lnTo>
                    <a:lnTo>
                      <a:pt x="2028" y="15165"/>
                    </a:lnTo>
                    <a:lnTo>
                      <a:pt x="2028" y="16311"/>
                    </a:lnTo>
                    <a:lnTo>
                      <a:pt x="4056" y="16311"/>
                    </a:lnTo>
                    <a:lnTo>
                      <a:pt x="5819" y="18692"/>
                    </a:lnTo>
                    <a:lnTo>
                      <a:pt x="7582" y="19309"/>
                    </a:lnTo>
                    <a:lnTo>
                      <a:pt x="7847" y="18692"/>
                    </a:lnTo>
                    <a:lnTo>
                      <a:pt x="7582" y="18074"/>
                    </a:lnTo>
                    <a:lnTo>
                      <a:pt x="9875" y="17545"/>
                    </a:lnTo>
                    <a:lnTo>
                      <a:pt x="11109" y="17545"/>
                    </a:lnTo>
                    <a:lnTo>
                      <a:pt x="11991" y="17545"/>
                    </a:lnTo>
                    <a:lnTo>
                      <a:pt x="13401" y="18692"/>
                    </a:lnTo>
                    <a:lnTo>
                      <a:pt x="14636" y="19838"/>
                    </a:lnTo>
                    <a:lnTo>
                      <a:pt x="13754" y="20102"/>
                    </a:lnTo>
                    <a:lnTo>
                      <a:pt x="14900" y="22483"/>
                    </a:lnTo>
                    <a:lnTo>
                      <a:pt x="14900" y="24246"/>
                    </a:lnTo>
                    <a:lnTo>
                      <a:pt x="16664" y="24775"/>
                    </a:lnTo>
                    <a:lnTo>
                      <a:pt x="16928" y="23894"/>
                    </a:lnTo>
                    <a:lnTo>
                      <a:pt x="18692" y="24246"/>
                    </a:lnTo>
                    <a:lnTo>
                      <a:pt x="18956" y="25392"/>
                    </a:lnTo>
                    <a:lnTo>
                      <a:pt x="20984" y="25392"/>
                    </a:lnTo>
                    <a:lnTo>
                      <a:pt x="22218" y="25922"/>
                    </a:lnTo>
                    <a:lnTo>
                      <a:pt x="22218" y="27156"/>
                    </a:lnTo>
                    <a:lnTo>
                      <a:pt x="23100" y="28566"/>
                    </a:lnTo>
                    <a:lnTo>
                      <a:pt x="24775" y="27685"/>
                    </a:lnTo>
                    <a:lnTo>
                      <a:pt x="28566" y="27685"/>
                    </a:lnTo>
                    <a:lnTo>
                      <a:pt x="30330" y="28302"/>
                    </a:lnTo>
                    <a:lnTo>
                      <a:pt x="31211" y="30594"/>
                    </a:lnTo>
                    <a:lnTo>
                      <a:pt x="31476" y="32710"/>
                    </a:lnTo>
                    <a:lnTo>
                      <a:pt x="32710" y="32975"/>
                    </a:lnTo>
                    <a:lnTo>
                      <a:pt x="32975" y="34738"/>
                    </a:lnTo>
                    <a:lnTo>
                      <a:pt x="31211" y="34738"/>
                    </a:lnTo>
                    <a:lnTo>
                      <a:pt x="31476" y="36502"/>
                    </a:lnTo>
                    <a:lnTo>
                      <a:pt x="32975" y="37031"/>
                    </a:lnTo>
                    <a:lnTo>
                      <a:pt x="34121" y="37648"/>
                    </a:lnTo>
                    <a:lnTo>
                      <a:pt x="35267" y="37031"/>
                    </a:lnTo>
                    <a:lnTo>
                      <a:pt x="38265" y="38177"/>
                    </a:lnTo>
                    <a:lnTo>
                      <a:pt x="41439" y="36766"/>
                    </a:lnTo>
                    <a:lnTo>
                      <a:pt x="41439" y="33857"/>
                    </a:lnTo>
                    <a:lnTo>
                      <a:pt x="44349" y="31476"/>
                    </a:lnTo>
                    <a:lnTo>
                      <a:pt x="45495" y="32975"/>
                    </a:lnTo>
                    <a:lnTo>
                      <a:pt x="44349" y="35003"/>
                    </a:lnTo>
                    <a:lnTo>
                      <a:pt x="43731" y="36502"/>
                    </a:lnTo>
                    <a:lnTo>
                      <a:pt x="44613" y="37912"/>
                    </a:lnTo>
                    <a:lnTo>
                      <a:pt x="44084" y="39411"/>
                    </a:lnTo>
                    <a:lnTo>
                      <a:pt x="45759" y="40293"/>
                    </a:lnTo>
                    <a:lnTo>
                      <a:pt x="45759" y="40557"/>
                    </a:lnTo>
                    <a:lnTo>
                      <a:pt x="47258" y="40822"/>
                    </a:lnTo>
                    <a:lnTo>
                      <a:pt x="49286" y="42850"/>
                    </a:lnTo>
                    <a:lnTo>
                      <a:pt x="50432" y="43467"/>
                    </a:lnTo>
                    <a:lnTo>
                      <a:pt x="51314" y="44878"/>
                    </a:lnTo>
                    <a:lnTo>
                      <a:pt x="52813" y="44349"/>
                    </a:lnTo>
                    <a:lnTo>
                      <a:pt x="53695" y="46112"/>
                    </a:lnTo>
                    <a:lnTo>
                      <a:pt x="55105" y="46641"/>
                    </a:lnTo>
                    <a:lnTo>
                      <a:pt x="56604" y="47258"/>
                    </a:lnTo>
                    <a:lnTo>
                      <a:pt x="57750" y="48140"/>
                    </a:lnTo>
                    <a:lnTo>
                      <a:pt x="58896" y="47523"/>
                    </a:lnTo>
                    <a:lnTo>
                      <a:pt x="60660" y="47875"/>
                    </a:lnTo>
                    <a:lnTo>
                      <a:pt x="62159" y="47258"/>
                    </a:lnTo>
                    <a:lnTo>
                      <a:pt x="65333" y="47523"/>
                    </a:lnTo>
                    <a:lnTo>
                      <a:pt x="63922" y="47258"/>
                    </a:lnTo>
                    <a:lnTo>
                      <a:pt x="63922" y="46377"/>
                    </a:lnTo>
                    <a:lnTo>
                      <a:pt x="63305" y="45759"/>
                    </a:lnTo>
                    <a:lnTo>
                      <a:pt x="64804" y="45495"/>
                    </a:lnTo>
                    <a:lnTo>
                      <a:pt x="64451" y="44613"/>
                    </a:lnTo>
                    <a:lnTo>
                      <a:pt x="63569" y="44349"/>
                    </a:lnTo>
                    <a:lnTo>
                      <a:pt x="63305" y="43731"/>
                    </a:lnTo>
                    <a:lnTo>
                      <a:pt x="63040" y="41086"/>
                    </a:lnTo>
                    <a:lnTo>
                      <a:pt x="62159" y="40822"/>
                    </a:lnTo>
                    <a:lnTo>
                      <a:pt x="61806" y="40293"/>
                    </a:lnTo>
                    <a:lnTo>
                      <a:pt x="62159" y="39411"/>
                    </a:lnTo>
                    <a:lnTo>
                      <a:pt x="62423" y="39411"/>
                    </a:lnTo>
                    <a:lnTo>
                      <a:pt x="62159" y="39059"/>
                    </a:lnTo>
                    <a:lnTo>
                      <a:pt x="61806" y="37648"/>
                    </a:lnTo>
                    <a:lnTo>
                      <a:pt x="63040" y="36502"/>
                    </a:lnTo>
                    <a:lnTo>
                      <a:pt x="63040" y="35884"/>
                    </a:lnTo>
                    <a:lnTo>
                      <a:pt x="63040" y="35267"/>
                    </a:lnTo>
                    <a:lnTo>
                      <a:pt x="63040" y="34738"/>
                    </a:lnTo>
                    <a:lnTo>
                      <a:pt x="64451" y="33239"/>
                    </a:lnTo>
                    <a:lnTo>
                      <a:pt x="66214" y="32710"/>
                    </a:lnTo>
                    <a:lnTo>
                      <a:pt x="66214" y="32093"/>
                    </a:lnTo>
                    <a:lnTo>
                      <a:pt x="67978" y="31476"/>
                    </a:lnTo>
                    <a:lnTo>
                      <a:pt x="67978" y="32093"/>
                    </a:lnTo>
                    <a:lnTo>
                      <a:pt x="68595" y="32710"/>
                    </a:lnTo>
                    <a:lnTo>
                      <a:pt x="69388" y="32710"/>
                    </a:lnTo>
                    <a:lnTo>
                      <a:pt x="71416" y="31212"/>
                    </a:lnTo>
                    <a:lnTo>
                      <a:pt x="72033" y="31212"/>
                    </a:lnTo>
                    <a:lnTo>
                      <a:pt x="72298" y="29801"/>
                    </a:lnTo>
                    <a:lnTo>
                      <a:pt x="72298" y="28566"/>
                    </a:lnTo>
                    <a:lnTo>
                      <a:pt x="74061" y="28919"/>
                    </a:lnTo>
                    <a:lnTo>
                      <a:pt x="73797" y="28037"/>
                    </a:lnTo>
                    <a:lnTo>
                      <a:pt x="72298" y="27156"/>
                    </a:lnTo>
                    <a:lnTo>
                      <a:pt x="72915" y="25922"/>
                    </a:lnTo>
                    <a:lnTo>
                      <a:pt x="72298" y="25392"/>
                    </a:lnTo>
                    <a:lnTo>
                      <a:pt x="71152" y="24775"/>
                    </a:lnTo>
                    <a:lnTo>
                      <a:pt x="70006" y="23629"/>
                    </a:lnTo>
                    <a:lnTo>
                      <a:pt x="71152" y="22483"/>
                    </a:lnTo>
                    <a:lnTo>
                      <a:pt x="71416" y="21601"/>
                    </a:lnTo>
                    <a:lnTo>
                      <a:pt x="70270" y="20719"/>
                    </a:lnTo>
                    <a:lnTo>
                      <a:pt x="69741" y="2045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6" name="Freihandform: Form 1565">
                <a:extLst>
                  <a:ext uri="{FF2B5EF4-FFF2-40B4-BE49-F238E27FC236}">
                    <a16:creationId xmlns:a16="http://schemas.microsoft.com/office/drawing/2014/main" id="{7EB1D54E-338C-C69F-A2CD-B31F0E7F2ED5}"/>
                  </a:ext>
                </a:extLst>
              </p:cNvPr>
              <p:cNvSpPr/>
              <p:nvPr/>
            </p:nvSpPr>
            <p:spPr>
              <a:xfrm>
                <a:off x="4217699" y="3060015"/>
                <a:ext cx="2027" cy="1498"/>
              </a:xfrm>
              <a:custGeom>
                <a:avLst/>
                <a:gdLst>
                  <a:gd name="connsiteX0" fmla="*/ 353 w 2027"/>
                  <a:gd name="connsiteY0" fmla="*/ 1234 h 1498"/>
                  <a:gd name="connsiteX1" fmla="*/ 353 w 2027"/>
                  <a:gd name="connsiteY1" fmla="*/ 1499 h 1498"/>
                  <a:gd name="connsiteX2" fmla="*/ 0 w 2027"/>
                  <a:gd name="connsiteY2" fmla="*/ 1499 h 1498"/>
                  <a:gd name="connsiteX3" fmla="*/ 0 w 2027"/>
                  <a:gd name="connsiteY3" fmla="*/ 1234 h 1498"/>
                  <a:gd name="connsiteX4" fmla="*/ 0 w 2027"/>
                  <a:gd name="connsiteY4" fmla="*/ 882 h 1498"/>
                  <a:gd name="connsiteX5" fmla="*/ 353 w 2027"/>
                  <a:gd name="connsiteY5" fmla="*/ 882 h 1498"/>
                  <a:gd name="connsiteX6" fmla="*/ 353 w 2027"/>
                  <a:gd name="connsiteY6" fmla="*/ 353 h 1498"/>
                  <a:gd name="connsiteX7" fmla="*/ 617 w 2027"/>
                  <a:gd name="connsiteY7" fmla="*/ 0 h 1498"/>
                  <a:gd name="connsiteX8" fmla="*/ 1234 w 2027"/>
                  <a:gd name="connsiteY8" fmla="*/ 0 h 1498"/>
                  <a:gd name="connsiteX9" fmla="*/ 1499 w 2027"/>
                  <a:gd name="connsiteY9" fmla="*/ 0 h 1498"/>
                  <a:gd name="connsiteX10" fmla="*/ 1763 w 2027"/>
                  <a:gd name="connsiteY10" fmla="*/ 617 h 1498"/>
                  <a:gd name="connsiteX11" fmla="*/ 2028 w 2027"/>
                  <a:gd name="connsiteY11" fmla="*/ 617 h 1498"/>
                  <a:gd name="connsiteX12" fmla="*/ 2028 w 2027"/>
                  <a:gd name="connsiteY12" fmla="*/ 882 h 1498"/>
                  <a:gd name="connsiteX13" fmla="*/ 1763 w 2027"/>
                  <a:gd name="connsiteY13" fmla="*/ 882 h 1498"/>
                  <a:gd name="connsiteX14" fmla="*/ 1499 w 2027"/>
                  <a:gd name="connsiteY14" fmla="*/ 882 h 1498"/>
                  <a:gd name="connsiteX15" fmla="*/ 1234 w 2027"/>
                  <a:gd name="connsiteY15" fmla="*/ 882 h 1498"/>
                  <a:gd name="connsiteX16" fmla="*/ 882 w 2027"/>
                  <a:gd name="connsiteY16" fmla="*/ 882 h 1498"/>
                  <a:gd name="connsiteX17" fmla="*/ 882 w 2027"/>
                  <a:gd name="connsiteY17" fmla="*/ 1234 h 1498"/>
                  <a:gd name="connsiteX18" fmla="*/ 882 w 2027"/>
                  <a:gd name="connsiteY18" fmla="*/ 1499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27" h="1498">
                    <a:moveTo>
                      <a:pt x="353" y="1234"/>
                    </a:moveTo>
                    <a:lnTo>
                      <a:pt x="353" y="1499"/>
                    </a:lnTo>
                    <a:lnTo>
                      <a:pt x="0" y="1499"/>
                    </a:lnTo>
                    <a:lnTo>
                      <a:pt x="0" y="1234"/>
                    </a:lnTo>
                    <a:lnTo>
                      <a:pt x="0" y="882"/>
                    </a:lnTo>
                    <a:lnTo>
                      <a:pt x="353" y="882"/>
                    </a:lnTo>
                    <a:lnTo>
                      <a:pt x="353" y="353"/>
                    </a:lnTo>
                    <a:lnTo>
                      <a:pt x="617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617"/>
                    </a:lnTo>
                    <a:lnTo>
                      <a:pt x="2028" y="617"/>
                    </a:lnTo>
                    <a:lnTo>
                      <a:pt x="2028" y="882"/>
                    </a:lnTo>
                    <a:lnTo>
                      <a:pt x="1763" y="882"/>
                    </a:lnTo>
                    <a:lnTo>
                      <a:pt x="1499" y="882"/>
                    </a:lnTo>
                    <a:lnTo>
                      <a:pt x="1234" y="882"/>
                    </a:lnTo>
                    <a:lnTo>
                      <a:pt x="882" y="882"/>
                    </a:lnTo>
                    <a:lnTo>
                      <a:pt x="882" y="1234"/>
                    </a:lnTo>
                    <a:lnTo>
                      <a:pt x="88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7" name="Freihandform: Form 1566">
                <a:extLst>
                  <a:ext uri="{FF2B5EF4-FFF2-40B4-BE49-F238E27FC236}">
                    <a16:creationId xmlns:a16="http://schemas.microsoft.com/office/drawing/2014/main" id="{9C34C788-62C0-DEDB-867E-D8E3D615BB3E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8" name="Freihandform: Form 1567">
                <a:extLst>
                  <a:ext uri="{FF2B5EF4-FFF2-40B4-BE49-F238E27FC236}">
                    <a16:creationId xmlns:a16="http://schemas.microsoft.com/office/drawing/2014/main" id="{77323D28-B478-932B-0821-20405A0E13D5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9" name="Freihandform: Form 1568">
                <a:extLst>
                  <a:ext uri="{FF2B5EF4-FFF2-40B4-BE49-F238E27FC236}">
                    <a16:creationId xmlns:a16="http://schemas.microsoft.com/office/drawing/2014/main" id="{922D9271-9A1C-6C0F-9540-E1C5DA44DC86}"/>
                  </a:ext>
                </a:extLst>
              </p:cNvPr>
              <p:cNvSpPr/>
              <p:nvPr/>
            </p:nvSpPr>
            <p:spPr>
              <a:xfrm>
                <a:off x="3915546" y="2659113"/>
                <a:ext cx="186564" cy="248370"/>
              </a:xfrm>
              <a:custGeom>
                <a:avLst/>
                <a:gdLst>
                  <a:gd name="connsiteX0" fmla="*/ 39235 w 186564"/>
                  <a:gd name="connsiteY0" fmla="*/ 82437 h 248370"/>
                  <a:gd name="connsiteX1" fmla="*/ 39235 w 186564"/>
                  <a:gd name="connsiteY1" fmla="*/ 81556 h 248370"/>
                  <a:gd name="connsiteX2" fmla="*/ 40117 w 186564"/>
                  <a:gd name="connsiteY2" fmla="*/ 82966 h 248370"/>
                  <a:gd name="connsiteX3" fmla="*/ 38618 w 186564"/>
                  <a:gd name="connsiteY3" fmla="*/ 83848 h 248370"/>
                  <a:gd name="connsiteX4" fmla="*/ 38618 w 186564"/>
                  <a:gd name="connsiteY4" fmla="*/ 84730 h 248370"/>
                  <a:gd name="connsiteX5" fmla="*/ 38353 w 186564"/>
                  <a:gd name="connsiteY5" fmla="*/ 85611 h 248370"/>
                  <a:gd name="connsiteX6" fmla="*/ 37472 w 186564"/>
                  <a:gd name="connsiteY6" fmla="*/ 84994 h 248370"/>
                  <a:gd name="connsiteX7" fmla="*/ 37207 w 186564"/>
                  <a:gd name="connsiteY7" fmla="*/ 84377 h 248370"/>
                  <a:gd name="connsiteX8" fmla="*/ 37207 w 186564"/>
                  <a:gd name="connsiteY8" fmla="*/ 84113 h 248370"/>
                  <a:gd name="connsiteX9" fmla="*/ 37824 w 186564"/>
                  <a:gd name="connsiteY9" fmla="*/ 83231 h 248370"/>
                  <a:gd name="connsiteX10" fmla="*/ 38706 w 186564"/>
                  <a:gd name="connsiteY10" fmla="*/ 82349 h 248370"/>
                  <a:gd name="connsiteX11" fmla="*/ 39235 w 186564"/>
                  <a:gd name="connsiteY11" fmla="*/ 82349 h 248370"/>
                  <a:gd name="connsiteX12" fmla="*/ 44172 w 186564"/>
                  <a:gd name="connsiteY12" fmla="*/ 92048 h 248370"/>
                  <a:gd name="connsiteX13" fmla="*/ 44172 w 186564"/>
                  <a:gd name="connsiteY13" fmla="*/ 94076 h 248370"/>
                  <a:gd name="connsiteX14" fmla="*/ 45936 w 186564"/>
                  <a:gd name="connsiteY14" fmla="*/ 95575 h 248370"/>
                  <a:gd name="connsiteX15" fmla="*/ 46553 w 186564"/>
                  <a:gd name="connsiteY15" fmla="*/ 97338 h 248370"/>
                  <a:gd name="connsiteX16" fmla="*/ 45671 w 186564"/>
                  <a:gd name="connsiteY16" fmla="*/ 98837 h 248370"/>
                  <a:gd name="connsiteX17" fmla="*/ 42233 w 186564"/>
                  <a:gd name="connsiteY17" fmla="*/ 99366 h 248370"/>
                  <a:gd name="connsiteX18" fmla="*/ 38971 w 186564"/>
                  <a:gd name="connsiteY18" fmla="*/ 99718 h 248370"/>
                  <a:gd name="connsiteX19" fmla="*/ 38089 w 186564"/>
                  <a:gd name="connsiteY19" fmla="*/ 98220 h 248370"/>
                  <a:gd name="connsiteX20" fmla="*/ 38353 w 186564"/>
                  <a:gd name="connsiteY20" fmla="*/ 97073 h 248370"/>
                  <a:gd name="connsiteX21" fmla="*/ 39500 w 186564"/>
                  <a:gd name="connsiteY21" fmla="*/ 95663 h 248370"/>
                  <a:gd name="connsiteX22" fmla="*/ 41527 w 186564"/>
                  <a:gd name="connsiteY22" fmla="*/ 93282 h 248370"/>
                  <a:gd name="connsiteX23" fmla="*/ 44172 w 186564"/>
                  <a:gd name="connsiteY23" fmla="*/ 92048 h 248370"/>
                  <a:gd name="connsiteX24" fmla="*/ 38089 w 186564"/>
                  <a:gd name="connsiteY24" fmla="*/ 68154 h 248370"/>
                  <a:gd name="connsiteX25" fmla="*/ 39500 w 186564"/>
                  <a:gd name="connsiteY25" fmla="*/ 68683 h 248370"/>
                  <a:gd name="connsiteX26" fmla="*/ 40381 w 186564"/>
                  <a:gd name="connsiteY26" fmla="*/ 69829 h 248370"/>
                  <a:gd name="connsiteX27" fmla="*/ 40645 w 186564"/>
                  <a:gd name="connsiteY27" fmla="*/ 71593 h 248370"/>
                  <a:gd name="connsiteX28" fmla="*/ 42673 w 186564"/>
                  <a:gd name="connsiteY28" fmla="*/ 71857 h 248370"/>
                  <a:gd name="connsiteX29" fmla="*/ 43820 w 186564"/>
                  <a:gd name="connsiteY29" fmla="*/ 75031 h 248370"/>
                  <a:gd name="connsiteX30" fmla="*/ 43467 w 186564"/>
                  <a:gd name="connsiteY30" fmla="*/ 76795 h 248370"/>
                  <a:gd name="connsiteX31" fmla="*/ 45495 w 186564"/>
                  <a:gd name="connsiteY31" fmla="*/ 78558 h 248370"/>
                  <a:gd name="connsiteX32" fmla="*/ 46641 w 186564"/>
                  <a:gd name="connsiteY32" fmla="*/ 81468 h 248370"/>
                  <a:gd name="connsiteX33" fmla="*/ 44878 w 186564"/>
                  <a:gd name="connsiteY33" fmla="*/ 81468 h 248370"/>
                  <a:gd name="connsiteX34" fmla="*/ 42850 w 186564"/>
                  <a:gd name="connsiteY34" fmla="*/ 80586 h 248370"/>
                  <a:gd name="connsiteX35" fmla="*/ 39676 w 186564"/>
                  <a:gd name="connsiteY35" fmla="*/ 79969 h 248370"/>
                  <a:gd name="connsiteX36" fmla="*/ 37295 w 186564"/>
                  <a:gd name="connsiteY36" fmla="*/ 79969 h 248370"/>
                  <a:gd name="connsiteX37" fmla="*/ 36678 w 186564"/>
                  <a:gd name="connsiteY37" fmla="*/ 77941 h 248370"/>
                  <a:gd name="connsiteX38" fmla="*/ 34650 w 186564"/>
                  <a:gd name="connsiteY38" fmla="*/ 76442 h 248370"/>
                  <a:gd name="connsiteX39" fmla="*/ 34033 w 186564"/>
                  <a:gd name="connsiteY39" fmla="*/ 73268 h 248370"/>
                  <a:gd name="connsiteX40" fmla="*/ 32270 w 186564"/>
                  <a:gd name="connsiteY40" fmla="*/ 71505 h 248370"/>
                  <a:gd name="connsiteX41" fmla="*/ 32270 w 186564"/>
                  <a:gd name="connsiteY41" fmla="*/ 69741 h 248370"/>
                  <a:gd name="connsiteX42" fmla="*/ 34033 w 186564"/>
                  <a:gd name="connsiteY42" fmla="*/ 69212 h 248370"/>
                  <a:gd name="connsiteX43" fmla="*/ 34650 w 186564"/>
                  <a:gd name="connsiteY43" fmla="*/ 69741 h 248370"/>
                  <a:gd name="connsiteX44" fmla="*/ 35796 w 186564"/>
                  <a:gd name="connsiteY44" fmla="*/ 69212 h 248370"/>
                  <a:gd name="connsiteX45" fmla="*/ 36943 w 186564"/>
                  <a:gd name="connsiteY45" fmla="*/ 69212 h 248370"/>
                  <a:gd name="connsiteX46" fmla="*/ 38089 w 186564"/>
                  <a:gd name="connsiteY46" fmla="*/ 68154 h 248370"/>
                  <a:gd name="connsiteX47" fmla="*/ 16752 w 186564"/>
                  <a:gd name="connsiteY47" fmla="*/ 129431 h 248370"/>
                  <a:gd name="connsiteX48" fmla="*/ 14989 w 186564"/>
                  <a:gd name="connsiteY48" fmla="*/ 129431 h 248370"/>
                  <a:gd name="connsiteX49" fmla="*/ 13225 w 186564"/>
                  <a:gd name="connsiteY49" fmla="*/ 130930 h 248370"/>
                  <a:gd name="connsiteX50" fmla="*/ 13225 w 186564"/>
                  <a:gd name="connsiteY50" fmla="*/ 132076 h 248370"/>
                  <a:gd name="connsiteX51" fmla="*/ 13225 w 186564"/>
                  <a:gd name="connsiteY51" fmla="*/ 133223 h 248370"/>
                  <a:gd name="connsiteX52" fmla="*/ 12079 w 186564"/>
                  <a:gd name="connsiteY52" fmla="*/ 134986 h 248370"/>
                  <a:gd name="connsiteX53" fmla="*/ 10580 w 186564"/>
                  <a:gd name="connsiteY53" fmla="*/ 134986 h 248370"/>
                  <a:gd name="connsiteX54" fmla="*/ 8552 w 186564"/>
                  <a:gd name="connsiteY54" fmla="*/ 136749 h 248370"/>
                  <a:gd name="connsiteX55" fmla="*/ 7053 w 186564"/>
                  <a:gd name="connsiteY55" fmla="*/ 134986 h 248370"/>
                  <a:gd name="connsiteX56" fmla="*/ 5555 w 186564"/>
                  <a:gd name="connsiteY56" fmla="*/ 134986 h 248370"/>
                  <a:gd name="connsiteX57" fmla="*/ 5290 w 186564"/>
                  <a:gd name="connsiteY57" fmla="*/ 137631 h 248370"/>
                  <a:gd name="connsiteX58" fmla="*/ 5290 w 186564"/>
                  <a:gd name="connsiteY58" fmla="*/ 137895 h 248370"/>
                  <a:gd name="connsiteX59" fmla="*/ 8464 w 186564"/>
                  <a:gd name="connsiteY59" fmla="*/ 138777 h 248370"/>
                  <a:gd name="connsiteX60" fmla="*/ 9610 w 186564"/>
                  <a:gd name="connsiteY60" fmla="*/ 138777 h 248370"/>
                  <a:gd name="connsiteX61" fmla="*/ 6701 w 186564"/>
                  <a:gd name="connsiteY61" fmla="*/ 140276 h 248370"/>
                  <a:gd name="connsiteX62" fmla="*/ 5290 w 186564"/>
                  <a:gd name="connsiteY62" fmla="*/ 141158 h 248370"/>
                  <a:gd name="connsiteX63" fmla="*/ 4144 w 186564"/>
                  <a:gd name="connsiteY63" fmla="*/ 141158 h 248370"/>
                  <a:gd name="connsiteX64" fmla="*/ 1763 w 186564"/>
                  <a:gd name="connsiteY64" fmla="*/ 141158 h 248370"/>
                  <a:gd name="connsiteX65" fmla="*/ 1763 w 186564"/>
                  <a:gd name="connsiteY65" fmla="*/ 141775 h 248370"/>
                  <a:gd name="connsiteX66" fmla="*/ 0 w 186564"/>
                  <a:gd name="connsiteY66" fmla="*/ 142392 h 248370"/>
                  <a:gd name="connsiteX67" fmla="*/ 1411 w 186564"/>
                  <a:gd name="connsiteY67" fmla="*/ 144420 h 248370"/>
                  <a:gd name="connsiteX68" fmla="*/ 3703 w 186564"/>
                  <a:gd name="connsiteY68" fmla="*/ 144420 h 248370"/>
                  <a:gd name="connsiteX69" fmla="*/ 4849 w 186564"/>
                  <a:gd name="connsiteY69" fmla="*/ 145566 h 248370"/>
                  <a:gd name="connsiteX70" fmla="*/ 4849 w 186564"/>
                  <a:gd name="connsiteY70" fmla="*/ 145831 h 248370"/>
                  <a:gd name="connsiteX71" fmla="*/ 6348 w 186564"/>
                  <a:gd name="connsiteY71" fmla="*/ 147858 h 248370"/>
                  <a:gd name="connsiteX72" fmla="*/ 8993 w 186564"/>
                  <a:gd name="connsiteY72" fmla="*/ 147858 h 248370"/>
                  <a:gd name="connsiteX73" fmla="*/ 11021 w 186564"/>
                  <a:gd name="connsiteY73" fmla="*/ 149622 h 248370"/>
                  <a:gd name="connsiteX74" fmla="*/ 12167 w 186564"/>
                  <a:gd name="connsiteY74" fmla="*/ 150239 h 248370"/>
                  <a:gd name="connsiteX75" fmla="*/ 13578 w 186564"/>
                  <a:gd name="connsiteY75" fmla="*/ 149093 h 248370"/>
                  <a:gd name="connsiteX76" fmla="*/ 13578 w 186564"/>
                  <a:gd name="connsiteY76" fmla="*/ 149710 h 248370"/>
                  <a:gd name="connsiteX77" fmla="*/ 15958 w 186564"/>
                  <a:gd name="connsiteY77" fmla="*/ 150327 h 248370"/>
                  <a:gd name="connsiteX78" fmla="*/ 17105 w 186564"/>
                  <a:gd name="connsiteY78" fmla="*/ 148035 h 248370"/>
                  <a:gd name="connsiteX79" fmla="*/ 18868 w 186564"/>
                  <a:gd name="connsiteY79" fmla="*/ 148035 h 248370"/>
                  <a:gd name="connsiteX80" fmla="*/ 18868 w 186564"/>
                  <a:gd name="connsiteY80" fmla="*/ 146888 h 248370"/>
                  <a:gd name="connsiteX81" fmla="*/ 17105 w 186564"/>
                  <a:gd name="connsiteY81" fmla="*/ 145742 h 248370"/>
                  <a:gd name="connsiteX82" fmla="*/ 20631 w 186564"/>
                  <a:gd name="connsiteY82" fmla="*/ 143362 h 248370"/>
                  <a:gd name="connsiteX83" fmla="*/ 22395 w 186564"/>
                  <a:gd name="connsiteY83" fmla="*/ 143362 h 248370"/>
                  <a:gd name="connsiteX84" fmla="*/ 23276 w 186564"/>
                  <a:gd name="connsiteY84" fmla="*/ 144861 h 248370"/>
                  <a:gd name="connsiteX85" fmla="*/ 24775 w 186564"/>
                  <a:gd name="connsiteY85" fmla="*/ 148123 h 248370"/>
                  <a:gd name="connsiteX86" fmla="*/ 26539 w 186564"/>
                  <a:gd name="connsiteY86" fmla="*/ 148652 h 248370"/>
                  <a:gd name="connsiteX87" fmla="*/ 26539 w 186564"/>
                  <a:gd name="connsiteY87" fmla="*/ 148123 h 248370"/>
                  <a:gd name="connsiteX88" fmla="*/ 28037 w 186564"/>
                  <a:gd name="connsiteY88" fmla="*/ 148652 h 248370"/>
                  <a:gd name="connsiteX89" fmla="*/ 28037 w 186564"/>
                  <a:gd name="connsiteY89" fmla="*/ 149269 h 248370"/>
                  <a:gd name="connsiteX90" fmla="*/ 28037 w 186564"/>
                  <a:gd name="connsiteY90" fmla="*/ 151561 h 248370"/>
                  <a:gd name="connsiteX91" fmla="*/ 29184 w 186564"/>
                  <a:gd name="connsiteY91" fmla="*/ 151826 h 248370"/>
                  <a:gd name="connsiteX92" fmla="*/ 30683 w 186564"/>
                  <a:gd name="connsiteY92" fmla="*/ 151561 h 248370"/>
                  <a:gd name="connsiteX93" fmla="*/ 31212 w 186564"/>
                  <a:gd name="connsiteY93" fmla="*/ 151561 h 248370"/>
                  <a:gd name="connsiteX94" fmla="*/ 33504 w 186564"/>
                  <a:gd name="connsiteY94" fmla="*/ 151561 h 248370"/>
                  <a:gd name="connsiteX95" fmla="*/ 34386 w 186564"/>
                  <a:gd name="connsiteY95" fmla="*/ 151561 h 248370"/>
                  <a:gd name="connsiteX96" fmla="*/ 36414 w 186564"/>
                  <a:gd name="connsiteY96" fmla="*/ 151561 h 248370"/>
                  <a:gd name="connsiteX97" fmla="*/ 39059 w 186564"/>
                  <a:gd name="connsiteY97" fmla="*/ 151561 h 248370"/>
                  <a:gd name="connsiteX98" fmla="*/ 41704 w 186564"/>
                  <a:gd name="connsiteY98" fmla="*/ 151297 h 248370"/>
                  <a:gd name="connsiteX99" fmla="*/ 43114 w 186564"/>
                  <a:gd name="connsiteY99" fmla="*/ 149798 h 248370"/>
                  <a:gd name="connsiteX100" fmla="*/ 42497 w 186564"/>
                  <a:gd name="connsiteY100" fmla="*/ 148916 h 248370"/>
                  <a:gd name="connsiteX101" fmla="*/ 42497 w 186564"/>
                  <a:gd name="connsiteY101" fmla="*/ 148035 h 248370"/>
                  <a:gd name="connsiteX102" fmla="*/ 43379 w 186564"/>
                  <a:gd name="connsiteY102" fmla="*/ 147417 h 248370"/>
                  <a:gd name="connsiteX103" fmla="*/ 45142 w 186564"/>
                  <a:gd name="connsiteY103" fmla="*/ 146800 h 248370"/>
                  <a:gd name="connsiteX104" fmla="*/ 46641 w 186564"/>
                  <a:gd name="connsiteY104" fmla="*/ 147417 h 248370"/>
                  <a:gd name="connsiteX105" fmla="*/ 48404 w 186564"/>
                  <a:gd name="connsiteY105" fmla="*/ 146800 h 248370"/>
                  <a:gd name="connsiteX106" fmla="*/ 48404 w 186564"/>
                  <a:gd name="connsiteY106" fmla="*/ 145919 h 248370"/>
                  <a:gd name="connsiteX107" fmla="*/ 48404 w 186564"/>
                  <a:gd name="connsiteY107" fmla="*/ 145654 h 248370"/>
                  <a:gd name="connsiteX108" fmla="*/ 47523 w 186564"/>
                  <a:gd name="connsiteY108" fmla="*/ 144773 h 248370"/>
                  <a:gd name="connsiteX109" fmla="*/ 47787 w 186564"/>
                  <a:gd name="connsiteY109" fmla="*/ 144155 h 248370"/>
                  <a:gd name="connsiteX110" fmla="*/ 46641 w 186564"/>
                  <a:gd name="connsiteY110" fmla="*/ 144773 h 248370"/>
                  <a:gd name="connsiteX111" fmla="*/ 46024 w 186564"/>
                  <a:gd name="connsiteY111" fmla="*/ 144508 h 248370"/>
                  <a:gd name="connsiteX112" fmla="*/ 46024 w 186564"/>
                  <a:gd name="connsiteY112" fmla="*/ 143891 h 248370"/>
                  <a:gd name="connsiteX113" fmla="*/ 46641 w 186564"/>
                  <a:gd name="connsiteY113" fmla="*/ 143274 h 248370"/>
                  <a:gd name="connsiteX114" fmla="*/ 46641 w 186564"/>
                  <a:gd name="connsiteY114" fmla="*/ 141863 h 248370"/>
                  <a:gd name="connsiteX115" fmla="*/ 46377 w 186564"/>
                  <a:gd name="connsiteY115" fmla="*/ 141598 h 248370"/>
                  <a:gd name="connsiteX116" fmla="*/ 45230 w 186564"/>
                  <a:gd name="connsiteY116" fmla="*/ 141334 h 248370"/>
                  <a:gd name="connsiteX117" fmla="*/ 45230 w 186564"/>
                  <a:gd name="connsiteY117" fmla="*/ 140452 h 248370"/>
                  <a:gd name="connsiteX118" fmla="*/ 45495 w 186564"/>
                  <a:gd name="connsiteY118" fmla="*/ 140188 h 248370"/>
                  <a:gd name="connsiteX119" fmla="*/ 46994 w 186564"/>
                  <a:gd name="connsiteY119" fmla="*/ 140188 h 248370"/>
                  <a:gd name="connsiteX120" fmla="*/ 48757 w 186564"/>
                  <a:gd name="connsiteY120" fmla="*/ 141598 h 248370"/>
                  <a:gd name="connsiteX121" fmla="*/ 48493 w 186564"/>
                  <a:gd name="connsiteY121" fmla="*/ 142480 h 248370"/>
                  <a:gd name="connsiteX122" fmla="*/ 49110 w 186564"/>
                  <a:gd name="connsiteY122" fmla="*/ 143097 h 248370"/>
                  <a:gd name="connsiteX123" fmla="*/ 48493 w 186564"/>
                  <a:gd name="connsiteY123" fmla="*/ 144596 h 248370"/>
                  <a:gd name="connsiteX124" fmla="*/ 48493 w 186564"/>
                  <a:gd name="connsiteY124" fmla="*/ 144861 h 248370"/>
                  <a:gd name="connsiteX125" fmla="*/ 49992 w 186564"/>
                  <a:gd name="connsiteY125" fmla="*/ 144596 h 248370"/>
                  <a:gd name="connsiteX126" fmla="*/ 50873 w 186564"/>
                  <a:gd name="connsiteY126" fmla="*/ 143979 h 248370"/>
                  <a:gd name="connsiteX127" fmla="*/ 49992 w 186564"/>
                  <a:gd name="connsiteY127" fmla="*/ 143362 h 248370"/>
                  <a:gd name="connsiteX128" fmla="*/ 50873 w 186564"/>
                  <a:gd name="connsiteY128" fmla="*/ 143097 h 248370"/>
                  <a:gd name="connsiteX129" fmla="*/ 52019 w 186564"/>
                  <a:gd name="connsiteY129" fmla="*/ 141951 h 248370"/>
                  <a:gd name="connsiteX130" fmla="*/ 51402 w 186564"/>
                  <a:gd name="connsiteY130" fmla="*/ 141069 h 248370"/>
                  <a:gd name="connsiteX131" fmla="*/ 50256 w 186564"/>
                  <a:gd name="connsiteY131" fmla="*/ 140188 h 248370"/>
                  <a:gd name="connsiteX132" fmla="*/ 50521 w 186564"/>
                  <a:gd name="connsiteY132" fmla="*/ 139306 h 248370"/>
                  <a:gd name="connsiteX133" fmla="*/ 50256 w 186564"/>
                  <a:gd name="connsiteY133" fmla="*/ 138689 h 248370"/>
                  <a:gd name="connsiteX134" fmla="*/ 48757 w 186564"/>
                  <a:gd name="connsiteY134" fmla="*/ 138072 h 248370"/>
                  <a:gd name="connsiteX135" fmla="*/ 48757 w 186564"/>
                  <a:gd name="connsiteY135" fmla="*/ 137807 h 248370"/>
                  <a:gd name="connsiteX136" fmla="*/ 48493 w 186564"/>
                  <a:gd name="connsiteY136" fmla="*/ 138072 h 248370"/>
                  <a:gd name="connsiteX137" fmla="*/ 47875 w 186564"/>
                  <a:gd name="connsiteY137" fmla="*/ 138072 h 248370"/>
                  <a:gd name="connsiteX138" fmla="*/ 46994 w 186564"/>
                  <a:gd name="connsiteY138" fmla="*/ 137807 h 248370"/>
                  <a:gd name="connsiteX139" fmla="*/ 44084 w 186564"/>
                  <a:gd name="connsiteY139" fmla="*/ 138424 h 248370"/>
                  <a:gd name="connsiteX140" fmla="*/ 42938 w 186564"/>
                  <a:gd name="connsiteY140" fmla="*/ 138160 h 248370"/>
                  <a:gd name="connsiteX141" fmla="*/ 42938 w 186564"/>
                  <a:gd name="connsiteY141" fmla="*/ 139042 h 248370"/>
                  <a:gd name="connsiteX142" fmla="*/ 42321 w 186564"/>
                  <a:gd name="connsiteY142" fmla="*/ 138160 h 248370"/>
                  <a:gd name="connsiteX143" fmla="*/ 42938 w 186564"/>
                  <a:gd name="connsiteY143" fmla="*/ 137014 h 248370"/>
                  <a:gd name="connsiteX144" fmla="*/ 45583 w 186564"/>
                  <a:gd name="connsiteY144" fmla="*/ 135867 h 248370"/>
                  <a:gd name="connsiteX145" fmla="*/ 45848 w 186564"/>
                  <a:gd name="connsiteY145" fmla="*/ 134986 h 248370"/>
                  <a:gd name="connsiteX146" fmla="*/ 47611 w 186564"/>
                  <a:gd name="connsiteY146" fmla="*/ 133840 h 248370"/>
                  <a:gd name="connsiteX147" fmla="*/ 46729 w 186564"/>
                  <a:gd name="connsiteY147" fmla="*/ 133223 h 248370"/>
                  <a:gd name="connsiteX148" fmla="*/ 45583 w 186564"/>
                  <a:gd name="connsiteY148" fmla="*/ 133487 h 248370"/>
                  <a:gd name="connsiteX149" fmla="*/ 46200 w 186564"/>
                  <a:gd name="connsiteY149" fmla="*/ 133751 h 248370"/>
                  <a:gd name="connsiteX150" fmla="*/ 45583 w 186564"/>
                  <a:gd name="connsiteY150" fmla="*/ 134104 h 248370"/>
                  <a:gd name="connsiteX151" fmla="*/ 44701 w 186564"/>
                  <a:gd name="connsiteY151" fmla="*/ 133487 h 248370"/>
                  <a:gd name="connsiteX152" fmla="*/ 44437 w 186564"/>
                  <a:gd name="connsiteY152" fmla="*/ 132341 h 248370"/>
                  <a:gd name="connsiteX153" fmla="*/ 43291 w 186564"/>
                  <a:gd name="connsiteY153" fmla="*/ 131724 h 248370"/>
                  <a:gd name="connsiteX154" fmla="*/ 43291 w 186564"/>
                  <a:gd name="connsiteY154" fmla="*/ 130577 h 248370"/>
                  <a:gd name="connsiteX155" fmla="*/ 42673 w 186564"/>
                  <a:gd name="connsiteY155" fmla="*/ 129696 h 248370"/>
                  <a:gd name="connsiteX156" fmla="*/ 41175 w 186564"/>
                  <a:gd name="connsiteY156" fmla="*/ 129696 h 248370"/>
                  <a:gd name="connsiteX157" fmla="*/ 41439 w 186564"/>
                  <a:gd name="connsiteY157" fmla="*/ 128549 h 248370"/>
                  <a:gd name="connsiteX158" fmla="*/ 41175 w 186564"/>
                  <a:gd name="connsiteY158" fmla="*/ 128285 h 248370"/>
                  <a:gd name="connsiteX159" fmla="*/ 40293 w 186564"/>
                  <a:gd name="connsiteY159" fmla="*/ 128020 h 248370"/>
                  <a:gd name="connsiteX160" fmla="*/ 40558 w 186564"/>
                  <a:gd name="connsiteY160" fmla="*/ 127668 h 248370"/>
                  <a:gd name="connsiteX161" fmla="*/ 39940 w 186564"/>
                  <a:gd name="connsiteY161" fmla="*/ 126522 h 248370"/>
                  <a:gd name="connsiteX162" fmla="*/ 39676 w 186564"/>
                  <a:gd name="connsiteY162" fmla="*/ 126257 h 248370"/>
                  <a:gd name="connsiteX163" fmla="*/ 39940 w 186564"/>
                  <a:gd name="connsiteY163" fmla="*/ 126257 h 248370"/>
                  <a:gd name="connsiteX164" fmla="*/ 40205 w 186564"/>
                  <a:gd name="connsiteY164" fmla="*/ 126257 h 248370"/>
                  <a:gd name="connsiteX165" fmla="*/ 40205 w 186564"/>
                  <a:gd name="connsiteY165" fmla="*/ 125905 h 248370"/>
                  <a:gd name="connsiteX166" fmla="*/ 39323 w 186564"/>
                  <a:gd name="connsiteY166" fmla="*/ 125287 h 248370"/>
                  <a:gd name="connsiteX167" fmla="*/ 39676 w 186564"/>
                  <a:gd name="connsiteY167" fmla="*/ 125023 h 248370"/>
                  <a:gd name="connsiteX168" fmla="*/ 39323 w 186564"/>
                  <a:gd name="connsiteY168" fmla="*/ 124406 h 248370"/>
                  <a:gd name="connsiteX169" fmla="*/ 38441 w 186564"/>
                  <a:gd name="connsiteY169" fmla="*/ 123788 h 248370"/>
                  <a:gd name="connsiteX170" fmla="*/ 36678 w 186564"/>
                  <a:gd name="connsiteY170" fmla="*/ 124670 h 248370"/>
                  <a:gd name="connsiteX171" fmla="*/ 35532 w 186564"/>
                  <a:gd name="connsiteY171" fmla="*/ 123788 h 248370"/>
                  <a:gd name="connsiteX172" fmla="*/ 33151 w 186564"/>
                  <a:gd name="connsiteY172" fmla="*/ 124406 h 248370"/>
                  <a:gd name="connsiteX173" fmla="*/ 32270 w 186564"/>
                  <a:gd name="connsiteY173" fmla="*/ 123788 h 248370"/>
                  <a:gd name="connsiteX174" fmla="*/ 31388 w 186564"/>
                  <a:gd name="connsiteY174" fmla="*/ 122907 h 248370"/>
                  <a:gd name="connsiteX175" fmla="*/ 31123 w 186564"/>
                  <a:gd name="connsiteY175" fmla="*/ 123171 h 248370"/>
                  <a:gd name="connsiteX176" fmla="*/ 31388 w 186564"/>
                  <a:gd name="connsiteY176" fmla="*/ 123436 h 248370"/>
                  <a:gd name="connsiteX177" fmla="*/ 31652 w 186564"/>
                  <a:gd name="connsiteY177" fmla="*/ 123700 h 248370"/>
                  <a:gd name="connsiteX178" fmla="*/ 31388 w 186564"/>
                  <a:gd name="connsiteY178" fmla="*/ 124053 h 248370"/>
                  <a:gd name="connsiteX179" fmla="*/ 30506 w 186564"/>
                  <a:gd name="connsiteY179" fmla="*/ 123700 h 248370"/>
                  <a:gd name="connsiteX180" fmla="*/ 29889 w 186564"/>
                  <a:gd name="connsiteY180" fmla="*/ 124317 h 248370"/>
                  <a:gd name="connsiteX181" fmla="*/ 28126 w 186564"/>
                  <a:gd name="connsiteY181" fmla="*/ 124053 h 248370"/>
                  <a:gd name="connsiteX182" fmla="*/ 27244 w 186564"/>
                  <a:gd name="connsiteY182" fmla="*/ 124670 h 248370"/>
                  <a:gd name="connsiteX183" fmla="*/ 27244 w 186564"/>
                  <a:gd name="connsiteY183" fmla="*/ 124935 h 248370"/>
                  <a:gd name="connsiteX184" fmla="*/ 25833 w 186564"/>
                  <a:gd name="connsiteY184" fmla="*/ 124670 h 248370"/>
                  <a:gd name="connsiteX185" fmla="*/ 25216 w 186564"/>
                  <a:gd name="connsiteY185" fmla="*/ 124935 h 248370"/>
                  <a:gd name="connsiteX186" fmla="*/ 24070 w 186564"/>
                  <a:gd name="connsiteY186" fmla="*/ 124935 h 248370"/>
                  <a:gd name="connsiteX187" fmla="*/ 23806 w 186564"/>
                  <a:gd name="connsiteY187" fmla="*/ 124670 h 248370"/>
                  <a:gd name="connsiteX188" fmla="*/ 23541 w 186564"/>
                  <a:gd name="connsiteY188" fmla="*/ 124670 h 248370"/>
                  <a:gd name="connsiteX189" fmla="*/ 23541 w 186564"/>
                  <a:gd name="connsiteY189" fmla="*/ 125552 h 248370"/>
                  <a:gd name="connsiteX190" fmla="*/ 22924 w 186564"/>
                  <a:gd name="connsiteY190" fmla="*/ 125816 h 248370"/>
                  <a:gd name="connsiteX191" fmla="*/ 22659 w 186564"/>
                  <a:gd name="connsiteY191" fmla="*/ 126962 h 248370"/>
                  <a:gd name="connsiteX192" fmla="*/ 22395 w 186564"/>
                  <a:gd name="connsiteY192" fmla="*/ 127227 h 248370"/>
                  <a:gd name="connsiteX193" fmla="*/ 20631 w 186564"/>
                  <a:gd name="connsiteY193" fmla="*/ 127844 h 248370"/>
                  <a:gd name="connsiteX194" fmla="*/ 19485 w 186564"/>
                  <a:gd name="connsiteY194" fmla="*/ 127491 h 248370"/>
                  <a:gd name="connsiteX195" fmla="*/ 16752 w 186564"/>
                  <a:gd name="connsiteY195" fmla="*/ 129431 h 248370"/>
                  <a:gd name="connsiteX196" fmla="*/ 62864 w 186564"/>
                  <a:gd name="connsiteY196" fmla="*/ 44525 h 248370"/>
                  <a:gd name="connsiteX197" fmla="*/ 62247 w 186564"/>
                  <a:gd name="connsiteY197" fmla="*/ 45142 h 248370"/>
                  <a:gd name="connsiteX198" fmla="*/ 62247 w 186564"/>
                  <a:gd name="connsiteY198" fmla="*/ 46024 h 248370"/>
                  <a:gd name="connsiteX199" fmla="*/ 61365 w 186564"/>
                  <a:gd name="connsiteY199" fmla="*/ 46906 h 248370"/>
                  <a:gd name="connsiteX200" fmla="*/ 61101 w 186564"/>
                  <a:gd name="connsiteY200" fmla="*/ 47787 h 248370"/>
                  <a:gd name="connsiteX201" fmla="*/ 61982 w 186564"/>
                  <a:gd name="connsiteY201" fmla="*/ 48052 h 248370"/>
                  <a:gd name="connsiteX202" fmla="*/ 62600 w 186564"/>
                  <a:gd name="connsiteY202" fmla="*/ 48669 h 248370"/>
                  <a:gd name="connsiteX203" fmla="*/ 61101 w 186564"/>
                  <a:gd name="connsiteY203" fmla="*/ 49286 h 248370"/>
                  <a:gd name="connsiteX204" fmla="*/ 62247 w 186564"/>
                  <a:gd name="connsiteY204" fmla="*/ 49286 h 248370"/>
                  <a:gd name="connsiteX205" fmla="*/ 62511 w 186564"/>
                  <a:gd name="connsiteY205" fmla="*/ 49903 h 248370"/>
                  <a:gd name="connsiteX206" fmla="*/ 61013 w 186564"/>
                  <a:gd name="connsiteY206" fmla="*/ 49639 h 248370"/>
                  <a:gd name="connsiteX207" fmla="*/ 62511 w 186564"/>
                  <a:gd name="connsiteY207" fmla="*/ 49903 h 248370"/>
                  <a:gd name="connsiteX208" fmla="*/ 62511 w 186564"/>
                  <a:gd name="connsiteY208" fmla="*/ 50521 h 248370"/>
                  <a:gd name="connsiteX209" fmla="*/ 61894 w 186564"/>
                  <a:gd name="connsiteY209" fmla="*/ 50521 h 248370"/>
                  <a:gd name="connsiteX210" fmla="*/ 60748 w 186564"/>
                  <a:gd name="connsiteY210" fmla="*/ 50256 h 248370"/>
                  <a:gd name="connsiteX211" fmla="*/ 61013 w 186564"/>
                  <a:gd name="connsiteY211" fmla="*/ 51138 h 248370"/>
                  <a:gd name="connsiteX212" fmla="*/ 60748 w 186564"/>
                  <a:gd name="connsiteY212" fmla="*/ 51755 h 248370"/>
                  <a:gd name="connsiteX213" fmla="*/ 61013 w 186564"/>
                  <a:gd name="connsiteY213" fmla="*/ 51755 h 248370"/>
                  <a:gd name="connsiteX214" fmla="*/ 60748 w 186564"/>
                  <a:gd name="connsiteY214" fmla="*/ 52372 h 248370"/>
                  <a:gd name="connsiteX215" fmla="*/ 61013 w 186564"/>
                  <a:gd name="connsiteY215" fmla="*/ 52989 h 248370"/>
                  <a:gd name="connsiteX216" fmla="*/ 60748 w 186564"/>
                  <a:gd name="connsiteY216" fmla="*/ 53254 h 248370"/>
                  <a:gd name="connsiteX217" fmla="*/ 60748 w 186564"/>
                  <a:gd name="connsiteY217" fmla="*/ 54135 h 248370"/>
                  <a:gd name="connsiteX218" fmla="*/ 59249 w 186564"/>
                  <a:gd name="connsiteY218" fmla="*/ 53518 h 248370"/>
                  <a:gd name="connsiteX219" fmla="*/ 58103 w 186564"/>
                  <a:gd name="connsiteY219" fmla="*/ 54664 h 248370"/>
                  <a:gd name="connsiteX220" fmla="*/ 56957 w 186564"/>
                  <a:gd name="connsiteY220" fmla="*/ 53518 h 248370"/>
                  <a:gd name="connsiteX221" fmla="*/ 56957 w 186564"/>
                  <a:gd name="connsiteY221" fmla="*/ 54135 h 248370"/>
                  <a:gd name="connsiteX222" fmla="*/ 57574 w 186564"/>
                  <a:gd name="connsiteY222" fmla="*/ 54753 h 248370"/>
                  <a:gd name="connsiteX223" fmla="*/ 57574 w 186564"/>
                  <a:gd name="connsiteY223" fmla="*/ 55282 h 248370"/>
                  <a:gd name="connsiteX224" fmla="*/ 58191 w 186564"/>
                  <a:gd name="connsiteY224" fmla="*/ 55899 h 248370"/>
                  <a:gd name="connsiteX225" fmla="*/ 59073 w 186564"/>
                  <a:gd name="connsiteY225" fmla="*/ 55899 h 248370"/>
                  <a:gd name="connsiteX226" fmla="*/ 59337 w 186564"/>
                  <a:gd name="connsiteY226" fmla="*/ 56516 h 248370"/>
                  <a:gd name="connsiteX227" fmla="*/ 59073 w 186564"/>
                  <a:gd name="connsiteY227" fmla="*/ 56780 h 248370"/>
                  <a:gd name="connsiteX228" fmla="*/ 59337 w 186564"/>
                  <a:gd name="connsiteY228" fmla="*/ 57045 h 248370"/>
                  <a:gd name="connsiteX229" fmla="*/ 58720 w 186564"/>
                  <a:gd name="connsiteY229" fmla="*/ 57309 h 248370"/>
                  <a:gd name="connsiteX230" fmla="*/ 59337 w 186564"/>
                  <a:gd name="connsiteY230" fmla="*/ 57574 h 248370"/>
                  <a:gd name="connsiteX231" fmla="*/ 59073 w 186564"/>
                  <a:gd name="connsiteY231" fmla="*/ 57838 h 248370"/>
                  <a:gd name="connsiteX232" fmla="*/ 57927 w 186564"/>
                  <a:gd name="connsiteY232" fmla="*/ 57838 h 248370"/>
                  <a:gd name="connsiteX233" fmla="*/ 57045 w 186564"/>
                  <a:gd name="connsiteY233" fmla="*/ 57574 h 248370"/>
                  <a:gd name="connsiteX234" fmla="*/ 56428 w 186564"/>
                  <a:gd name="connsiteY234" fmla="*/ 56957 h 248370"/>
                  <a:gd name="connsiteX235" fmla="*/ 55546 w 186564"/>
                  <a:gd name="connsiteY235" fmla="*/ 56692 h 248370"/>
                  <a:gd name="connsiteX236" fmla="*/ 54929 w 186564"/>
                  <a:gd name="connsiteY236" fmla="*/ 57574 h 248370"/>
                  <a:gd name="connsiteX237" fmla="*/ 55546 w 186564"/>
                  <a:gd name="connsiteY237" fmla="*/ 57838 h 248370"/>
                  <a:gd name="connsiteX238" fmla="*/ 56428 w 186564"/>
                  <a:gd name="connsiteY238" fmla="*/ 58103 h 248370"/>
                  <a:gd name="connsiteX239" fmla="*/ 56692 w 186564"/>
                  <a:gd name="connsiteY239" fmla="*/ 59249 h 248370"/>
                  <a:gd name="connsiteX240" fmla="*/ 57574 w 186564"/>
                  <a:gd name="connsiteY240" fmla="*/ 59514 h 248370"/>
                  <a:gd name="connsiteX241" fmla="*/ 58191 w 186564"/>
                  <a:gd name="connsiteY241" fmla="*/ 60395 h 248370"/>
                  <a:gd name="connsiteX242" fmla="*/ 59073 w 186564"/>
                  <a:gd name="connsiteY242" fmla="*/ 61277 h 248370"/>
                  <a:gd name="connsiteX243" fmla="*/ 59602 w 186564"/>
                  <a:gd name="connsiteY243" fmla="*/ 61542 h 248370"/>
                  <a:gd name="connsiteX244" fmla="*/ 59866 w 186564"/>
                  <a:gd name="connsiteY244" fmla="*/ 61806 h 248370"/>
                  <a:gd name="connsiteX245" fmla="*/ 58985 w 186564"/>
                  <a:gd name="connsiteY245" fmla="*/ 62423 h 248370"/>
                  <a:gd name="connsiteX246" fmla="*/ 60131 w 186564"/>
                  <a:gd name="connsiteY246" fmla="*/ 63040 h 248370"/>
                  <a:gd name="connsiteX247" fmla="*/ 58103 w 186564"/>
                  <a:gd name="connsiteY247" fmla="*/ 62423 h 248370"/>
                  <a:gd name="connsiteX248" fmla="*/ 56604 w 186564"/>
                  <a:gd name="connsiteY248" fmla="*/ 61542 h 248370"/>
                  <a:gd name="connsiteX249" fmla="*/ 56604 w 186564"/>
                  <a:gd name="connsiteY249" fmla="*/ 62423 h 248370"/>
                  <a:gd name="connsiteX250" fmla="*/ 58632 w 186564"/>
                  <a:gd name="connsiteY250" fmla="*/ 63040 h 248370"/>
                  <a:gd name="connsiteX251" fmla="*/ 58896 w 186564"/>
                  <a:gd name="connsiteY251" fmla="*/ 63658 h 248370"/>
                  <a:gd name="connsiteX252" fmla="*/ 55987 w 186564"/>
                  <a:gd name="connsiteY252" fmla="*/ 62511 h 248370"/>
                  <a:gd name="connsiteX253" fmla="*/ 54488 w 186564"/>
                  <a:gd name="connsiteY253" fmla="*/ 63658 h 248370"/>
                  <a:gd name="connsiteX254" fmla="*/ 53871 w 186564"/>
                  <a:gd name="connsiteY254" fmla="*/ 63922 h 248370"/>
                  <a:gd name="connsiteX255" fmla="*/ 52989 w 186564"/>
                  <a:gd name="connsiteY255" fmla="*/ 62776 h 248370"/>
                  <a:gd name="connsiteX256" fmla="*/ 52108 w 186564"/>
                  <a:gd name="connsiteY256" fmla="*/ 62511 h 248370"/>
                  <a:gd name="connsiteX257" fmla="*/ 51226 w 186564"/>
                  <a:gd name="connsiteY257" fmla="*/ 62511 h 248370"/>
                  <a:gd name="connsiteX258" fmla="*/ 51226 w 186564"/>
                  <a:gd name="connsiteY258" fmla="*/ 62776 h 248370"/>
                  <a:gd name="connsiteX259" fmla="*/ 52989 w 186564"/>
                  <a:gd name="connsiteY259" fmla="*/ 63658 h 248370"/>
                  <a:gd name="connsiteX260" fmla="*/ 52372 w 186564"/>
                  <a:gd name="connsiteY260" fmla="*/ 64275 h 248370"/>
                  <a:gd name="connsiteX261" fmla="*/ 52989 w 186564"/>
                  <a:gd name="connsiteY261" fmla="*/ 64804 h 248370"/>
                  <a:gd name="connsiteX262" fmla="*/ 52372 w 186564"/>
                  <a:gd name="connsiteY262" fmla="*/ 64804 h 248370"/>
                  <a:gd name="connsiteX263" fmla="*/ 51226 w 186564"/>
                  <a:gd name="connsiteY263" fmla="*/ 64804 h 248370"/>
                  <a:gd name="connsiteX264" fmla="*/ 50961 w 186564"/>
                  <a:gd name="connsiteY264" fmla="*/ 65068 h 248370"/>
                  <a:gd name="connsiteX265" fmla="*/ 50344 w 186564"/>
                  <a:gd name="connsiteY265" fmla="*/ 64539 h 248370"/>
                  <a:gd name="connsiteX266" fmla="*/ 49727 w 186564"/>
                  <a:gd name="connsiteY266" fmla="*/ 63658 h 248370"/>
                  <a:gd name="connsiteX267" fmla="*/ 49110 w 186564"/>
                  <a:gd name="connsiteY267" fmla="*/ 63040 h 248370"/>
                  <a:gd name="connsiteX268" fmla="*/ 48581 w 186564"/>
                  <a:gd name="connsiteY268" fmla="*/ 62776 h 248370"/>
                  <a:gd name="connsiteX269" fmla="*/ 48316 w 186564"/>
                  <a:gd name="connsiteY269" fmla="*/ 63658 h 248370"/>
                  <a:gd name="connsiteX270" fmla="*/ 48581 w 186564"/>
                  <a:gd name="connsiteY270" fmla="*/ 64804 h 248370"/>
                  <a:gd name="connsiteX271" fmla="*/ 48581 w 186564"/>
                  <a:gd name="connsiteY271" fmla="*/ 65068 h 248370"/>
                  <a:gd name="connsiteX272" fmla="*/ 49727 w 186564"/>
                  <a:gd name="connsiteY272" fmla="*/ 65685 h 248370"/>
                  <a:gd name="connsiteX273" fmla="*/ 49462 w 186564"/>
                  <a:gd name="connsiteY273" fmla="*/ 66303 h 248370"/>
                  <a:gd name="connsiteX274" fmla="*/ 48581 w 186564"/>
                  <a:gd name="connsiteY274" fmla="*/ 66038 h 248370"/>
                  <a:gd name="connsiteX275" fmla="*/ 47964 w 186564"/>
                  <a:gd name="connsiteY275" fmla="*/ 66655 h 248370"/>
                  <a:gd name="connsiteX276" fmla="*/ 48581 w 186564"/>
                  <a:gd name="connsiteY276" fmla="*/ 67537 h 248370"/>
                  <a:gd name="connsiteX277" fmla="*/ 49110 w 186564"/>
                  <a:gd name="connsiteY277" fmla="*/ 67537 h 248370"/>
                  <a:gd name="connsiteX278" fmla="*/ 49374 w 186564"/>
                  <a:gd name="connsiteY278" fmla="*/ 68419 h 248370"/>
                  <a:gd name="connsiteX279" fmla="*/ 49639 w 186564"/>
                  <a:gd name="connsiteY279" fmla="*/ 68683 h 248370"/>
                  <a:gd name="connsiteX280" fmla="*/ 49374 w 186564"/>
                  <a:gd name="connsiteY280" fmla="*/ 69565 h 248370"/>
                  <a:gd name="connsiteX281" fmla="*/ 50873 w 186564"/>
                  <a:gd name="connsiteY281" fmla="*/ 69565 h 248370"/>
                  <a:gd name="connsiteX282" fmla="*/ 50873 w 186564"/>
                  <a:gd name="connsiteY282" fmla="*/ 70447 h 248370"/>
                  <a:gd name="connsiteX283" fmla="*/ 52637 w 186564"/>
                  <a:gd name="connsiteY283" fmla="*/ 70182 h 248370"/>
                  <a:gd name="connsiteX284" fmla="*/ 52637 w 186564"/>
                  <a:gd name="connsiteY284" fmla="*/ 70799 h 248370"/>
                  <a:gd name="connsiteX285" fmla="*/ 50873 w 186564"/>
                  <a:gd name="connsiteY285" fmla="*/ 71064 h 248370"/>
                  <a:gd name="connsiteX286" fmla="*/ 49374 w 186564"/>
                  <a:gd name="connsiteY286" fmla="*/ 70182 h 248370"/>
                  <a:gd name="connsiteX287" fmla="*/ 49374 w 186564"/>
                  <a:gd name="connsiteY287" fmla="*/ 70799 h 248370"/>
                  <a:gd name="connsiteX288" fmla="*/ 48228 w 186564"/>
                  <a:gd name="connsiteY288" fmla="*/ 69653 h 248370"/>
                  <a:gd name="connsiteX289" fmla="*/ 47964 w 186564"/>
                  <a:gd name="connsiteY289" fmla="*/ 69653 h 248370"/>
                  <a:gd name="connsiteX290" fmla="*/ 46817 w 186564"/>
                  <a:gd name="connsiteY290" fmla="*/ 71416 h 248370"/>
                  <a:gd name="connsiteX291" fmla="*/ 47082 w 186564"/>
                  <a:gd name="connsiteY291" fmla="*/ 71681 h 248370"/>
                  <a:gd name="connsiteX292" fmla="*/ 46817 w 186564"/>
                  <a:gd name="connsiteY292" fmla="*/ 72563 h 248370"/>
                  <a:gd name="connsiteX293" fmla="*/ 47699 w 186564"/>
                  <a:gd name="connsiteY293" fmla="*/ 72563 h 248370"/>
                  <a:gd name="connsiteX294" fmla="*/ 48316 w 186564"/>
                  <a:gd name="connsiteY294" fmla="*/ 72563 h 248370"/>
                  <a:gd name="connsiteX295" fmla="*/ 47699 w 186564"/>
                  <a:gd name="connsiteY295" fmla="*/ 73180 h 248370"/>
                  <a:gd name="connsiteX296" fmla="*/ 48316 w 186564"/>
                  <a:gd name="connsiteY296" fmla="*/ 73180 h 248370"/>
                  <a:gd name="connsiteX297" fmla="*/ 48581 w 186564"/>
                  <a:gd name="connsiteY297" fmla="*/ 73444 h 248370"/>
                  <a:gd name="connsiteX298" fmla="*/ 48316 w 186564"/>
                  <a:gd name="connsiteY298" fmla="*/ 73709 h 248370"/>
                  <a:gd name="connsiteX299" fmla="*/ 48052 w 186564"/>
                  <a:gd name="connsiteY299" fmla="*/ 73973 h 248370"/>
                  <a:gd name="connsiteX300" fmla="*/ 48316 w 186564"/>
                  <a:gd name="connsiteY300" fmla="*/ 74238 h 248370"/>
                  <a:gd name="connsiteX301" fmla="*/ 48316 w 186564"/>
                  <a:gd name="connsiteY301" fmla="*/ 74855 h 248370"/>
                  <a:gd name="connsiteX302" fmla="*/ 49198 w 186564"/>
                  <a:gd name="connsiteY302" fmla="*/ 74855 h 248370"/>
                  <a:gd name="connsiteX303" fmla="*/ 49815 w 186564"/>
                  <a:gd name="connsiteY303" fmla="*/ 73709 h 248370"/>
                  <a:gd name="connsiteX304" fmla="*/ 50961 w 186564"/>
                  <a:gd name="connsiteY304" fmla="*/ 73709 h 248370"/>
                  <a:gd name="connsiteX305" fmla="*/ 50961 w 186564"/>
                  <a:gd name="connsiteY305" fmla="*/ 74326 h 248370"/>
                  <a:gd name="connsiteX306" fmla="*/ 50697 w 186564"/>
                  <a:gd name="connsiteY306" fmla="*/ 74943 h 248370"/>
                  <a:gd name="connsiteX307" fmla="*/ 52460 w 186564"/>
                  <a:gd name="connsiteY307" fmla="*/ 74326 h 248370"/>
                  <a:gd name="connsiteX308" fmla="*/ 53077 w 186564"/>
                  <a:gd name="connsiteY308" fmla="*/ 74590 h 248370"/>
                  <a:gd name="connsiteX309" fmla="*/ 52196 w 186564"/>
                  <a:gd name="connsiteY309" fmla="*/ 75208 h 248370"/>
                  <a:gd name="connsiteX310" fmla="*/ 50697 w 186564"/>
                  <a:gd name="connsiteY310" fmla="*/ 75472 h 248370"/>
                  <a:gd name="connsiteX311" fmla="*/ 49198 w 186564"/>
                  <a:gd name="connsiteY311" fmla="*/ 76089 h 248370"/>
                  <a:gd name="connsiteX312" fmla="*/ 50961 w 186564"/>
                  <a:gd name="connsiteY312" fmla="*/ 76089 h 248370"/>
                  <a:gd name="connsiteX313" fmla="*/ 52460 w 186564"/>
                  <a:gd name="connsiteY313" fmla="*/ 76089 h 248370"/>
                  <a:gd name="connsiteX314" fmla="*/ 53959 w 186564"/>
                  <a:gd name="connsiteY314" fmla="*/ 77236 h 248370"/>
                  <a:gd name="connsiteX315" fmla="*/ 55987 w 186564"/>
                  <a:gd name="connsiteY315" fmla="*/ 77236 h 248370"/>
                  <a:gd name="connsiteX316" fmla="*/ 54841 w 186564"/>
                  <a:gd name="connsiteY316" fmla="*/ 78117 h 248370"/>
                  <a:gd name="connsiteX317" fmla="*/ 52548 w 186564"/>
                  <a:gd name="connsiteY317" fmla="*/ 77236 h 248370"/>
                  <a:gd name="connsiteX318" fmla="*/ 52284 w 186564"/>
                  <a:gd name="connsiteY318" fmla="*/ 76618 h 248370"/>
                  <a:gd name="connsiteX319" fmla="*/ 50785 w 186564"/>
                  <a:gd name="connsiteY319" fmla="*/ 77236 h 248370"/>
                  <a:gd name="connsiteX320" fmla="*/ 50785 w 186564"/>
                  <a:gd name="connsiteY320" fmla="*/ 77853 h 248370"/>
                  <a:gd name="connsiteX321" fmla="*/ 50785 w 186564"/>
                  <a:gd name="connsiteY321" fmla="*/ 78470 h 248370"/>
                  <a:gd name="connsiteX322" fmla="*/ 49903 w 186564"/>
                  <a:gd name="connsiteY322" fmla="*/ 79352 h 248370"/>
                  <a:gd name="connsiteX323" fmla="*/ 50785 w 186564"/>
                  <a:gd name="connsiteY323" fmla="*/ 80233 h 248370"/>
                  <a:gd name="connsiteX324" fmla="*/ 52284 w 186564"/>
                  <a:gd name="connsiteY324" fmla="*/ 80233 h 248370"/>
                  <a:gd name="connsiteX325" fmla="*/ 52284 w 186564"/>
                  <a:gd name="connsiteY325" fmla="*/ 81379 h 248370"/>
                  <a:gd name="connsiteX326" fmla="*/ 51402 w 186564"/>
                  <a:gd name="connsiteY326" fmla="*/ 80762 h 248370"/>
                  <a:gd name="connsiteX327" fmla="*/ 50785 w 186564"/>
                  <a:gd name="connsiteY327" fmla="*/ 81027 h 248370"/>
                  <a:gd name="connsiteX328" fmla="*/ 49286 w 186564"/>
                  <a:gd name="connsiteY328" fmla="*/ 81027 h 248370"/>
                  <a:gd name="connsiteX329" fmla="*/ 48140 w 186564"/>
                  <a:gd name="connsiteY329" fmla="*/ 81291 h 248370"/>
                  <a:gd name="connsiteX330" fmla="*/ 48140 w 186564"/>
                  <a:gd name="connsiteY330" fmla="*/ 82790 h 248370"/>
                  <a:gd name="connsiteX331" fmla="*/ 49022 w 186564"/>
                  <a:gd name="connsiteY331" fmla="*/ 82790 h 248370"/>
                  <a:gd name="connsiteX332" fmla="*/ 49022 w 186564"/>
                  <a:gd name="connsiteY332" fmla="*/ 83319 h 248370"/>
                  <a:gd name="connsiteX333" fmla="*/ 47523 w 186564"/>
                  <a:gd name="connsiteY333" fmla="*/ 83319 h 248370"/>
                  <a:gd name="connsiteX334" fmla="*/ 46377 w 186564"/>
                  <a:gd name="connsiteY334" fmla="*/ 85083 h 248370"/>
                  <a:gd name="connsiteX335" fmla="*/ 45759 w 186564"/>
                  <a:gd name="connsiteY335" fmla="*/ 85700 h 248370"/>
                  <a:gd name="connsiteX336" fmla="*/ 48933 w 186564"/>
                  <a:gd name="connsiteY336" fmla="*/ 85700 h 248370"/>
                  <a:gd name="connsiteX337" fmla="*/ 50432 w 186564"/>
                  <a:gd name="connsiteY337" fmla="*/ 85700 h 248370"/>
                  <a:gd name="connsiteX338" fmla="*/ 49286 w 186564"/>
                  <a:gd name="connsiteY338" fmla="*/ 86846 h 248370"/>
                  <a:gd name="connsiteX339" fmla="*/ 47875 w 186564"/>
                  <a:gd name="connsiteY339" fmla="*/ 86229 h 248370"/>
                  <a:gd name="connsiteX340" fmla="*/ 46377 w 186564"/>
                  <a:gd name="connsiteY340" fmla="*/ 86846 h 248370"/>
                  <a:gd name="connsiteX341" fmla="*/ 47875 w 186564"/>
                  <a:gd name="connsiteY341" fmla="*/ 87992 h 248370"/>
                  <a:gd name="connsiteX342" fmla="*/ 46377 w 186564"/>
                  <a:gd name="connsiteY342" fmla="*/ 88521 h 248370"/>
                  <a:gd name="connsiteX343" fmla="*/ 45759 w 186564"/>
                  <a:gd name="connsiteY343" fmla="*/ 88521 h 248370"/>
                  <a:gd name="connsiteX344" fmla="*/ 44613 w 186564"/>
                  <a:gd name="connsiteY344" fmla="*/ 88521 h 248370"/>
                  <a:gd name="connsiteX345" fmla="*/ 43114 w 186564"/>
                  <a:gd name="connsiteY345" fmla="*/ 88521 h 248370"/>
                  <a:gd name="connsiteX346" fmla="*/ 41351 w 186564"/>
                  <a:gd name="connsiteY346" fmla="*/ 88521 h 248370"/>
                  <a:gd name="connsiteX347" fmla="*/ 39588 w 186564"/>
                  <a:gd name="connsiteY347" fmla="*/ 89050 h 248370"/>
                  <a:gd name="connsiteX348" fmla="*/ 39588 w 186564"/>
                  <a:gd name="connsiteY348" fmla="*/ 90196 h 248370"/>
                  <a:gd name="connsiteX349" fmla="*/ 43026 w 186564"/>
                  <a:gd name="connsiteY349" fmla="*/ 89932 h 248370"/>
                  <a:gd name="connsiteX350" fmla="*/ 47082 w 186564"/>
                  <a:gd name="connsiteY350" fmla="*/ 90196 h 248370"/>
                  <a:gd name="connsiteX351" fmla="*/ 48228 w 186564"/>
                  <a:gd name="connsiteY351" fmla="*/ 89932 h 248370"/>
                  <a:gd name="connsiteX352" fmla="*/ 49374 w 186564"/>
                  <a:gd name="connsiteY352" fmla="*/ 89579 h 248370"/>
                  <a:gd name="connsiteX353" fmla="*/ 48493 w 186564"/>
                  <a:gd name="connsiteY353" fmla="*/ 90725 h 248370"/>
                  <a:gd name="connsiteX354" fmla="*/ 45848 w 186564"/>
                  <a:gd name="connsiteY354" fmla="*/ 90725 h 248370"/>
                  <a:gd name="connsiteX355" fmla="*/ 44349 w 186564"/>
                  <a:gd name="connsiteY355" fmla="*/ 90725 h 248370"/>
                  <a:gd name="connsiteX356" fmla="*/ 43731 w 186564"/>
                  <a:gd name="connsiteY356" fmla="*/ 91342 h 248370"/>
                  <a:gd name="connsiteX357" fmla="*/ 43996 w 186564"/>
                  <a:gd name="connsiteY357" fmla="*/ 92489 h 248370"/>
                  <a:gd name="connsiteX358" fmla="*/ 45759 w 186564"/>
                  <a:gd name="connsiteY358" fmla="*/ 93106 h 248370"/>
                  <a:gd name="connsiteX359" fmla="*/ 47170 w 186564"/>
                  <a:gd name="connsiteY359" fmla="*/ 93988 h 248370"/>
                  <a:gd name="connsiteX360" fmla="*/ 47170 w 186564"/>
                  <a:gd name="connsiteY360" fmla="*/ 94252 h 248370"/>
                  <a:gd name="connsiteX361" fmla="*/ 48316 w 186564"/>
                  <a:gd name="connsiteY361" fmla="*/ 94252 h 248370"/>
                  <a:gd name="connsiteX362" fmla="*/ 48316 w 186564"/>
                  <a:gd name="connsiteY362" fmla="*/ 95134 h 248370"/>
                  <a:gd name="connsiteX363" fmla="*/ 51579 w 186564"/>
                  <a:gd name="connsiteY363" fmla="*/ 93988 h 248370"/>
                  <a:gd name="connsiteX364" fmla="*/ 52989 w 186564"/>
                  <a:gd name="connsiteY364" fmla="*/ 91960 h 248370"/>
                  <a:gd name="connsiteX365" fmla="*/ 55017 w 186564"/>
                  <a:gd name="connsiteY365" fmla="*/ 90196 h 248370"/>
                  <a:gd name="connsiteX366" fmla="*/ 55634 w 186564"/>
                  <a:gd name="connsiteY366" fmla="*/ 90461 h 248370"/>
                  <a:gd name="connsiteX367" fmla="*/ 56516 w 186564"/>
                  <a:gd name="connsiteY367" fmla="*/ 89579 h 248370"/>
                  <a:gd name="connsiteX368" fmla="*/ 57662 w 186564"/>
                  <a:gd name="connsiteY368" fmla="*/ 88433 h 248370"/>
                  <a:gd name="connsiteX369" fmla="*/ 59073 w 186564"/>
                  <a:gd name="connsiteY369" fmla="*/ 86670 h 248370"/>
                  <a:gd name="connsiteX370" fmla="*/ 57662 w 186564"/>
                  <a:gd name="connsiteY370" fmla="*/ 89579 h 248370"/>
                  <a:gd name="connsiteX371" fmla="*/ 58808 w 186564"/>
                  <a:gd name="connsiteY371" fmla="*/ 90461 h 248370"/>
                  <a:gd name="connsiteX372" fmla="*/ 57662 w 186564"/>
                  <a:gd name="connsiteY372" fmla="*/ 90461 h 248370"/>
                  <a:gd name="connsiteX373" fmla="*/ 56516 w 186564"/>
                  <a:gd name="connsiteY373" fmla="*/ 90725 h 248370"/>
                  <a:gd name="connsiteX374" fmla="*/ 56516 w 186564"/>
                  <a:gd name="connsiteY374" fmla="*/ 91342 h 248370"/>
                  <a:gd name="connsiteX375" fmla="*/ 55634 w 186564"/>
                  <a:gd name="connsiteY375" fmla="*/ 91960 h 248370"/>
                  <a:gd name="connsiteX376" fmla="*/ 54752 w 186564"/>
                  <a:gd name="connsiteY376" fmla="*/ 93106 h 248370"/>
                  <a:gd name="connsiteX377" fmla="*/ 55370 w 186564"/>
                  <a:gd name="connsiteY377" fmla="*/ 93723 h 248370"/>
                  <a:gd name="connsiteX378" fmla="*/ 54752 w 186564"/>
                  <a:gd name="connsiteY378" fmla="*/ 94340 h 248370"/>
                  <a:gd name="connsiteX379" fmla="*/ 55017 w 186564"/>
                  <a:gd name="connsiteY379" fmla="*/ 95486 h 248370"/>
                  <a:gd name="connsiteX380" fmla="*/ 55634 w 186564"/>
                  <a:gd name="connsiteY380" fmla="*/ 95222 h 248370"/>
                  <a:gd name="connsiteX381" fmla="*/ 57045 w 186564"/>
                  <a:gd name="connsiteY381" fmla="*/ 96368 h 248370"/>
                  <a:gd name="connsiteX382" fmla="*/ 52989 w 186564"/>
                  <a:gd name="connsiteY382" fmla="*/ 95486 h 248370"/>
                  <a:gd name="connsiteX383" fmla="*/ 52725 w 186564"/>
                  <a:gd name="connsiteY383" fmla="*/ 97250 h 248370"/>
                  <a:gd name="connsiteX384" fmla="*/ 51314 w 186564"/>
                  <a:gd name="connsiteY384" fmla="*/ 98396 h 248370"/>
                  <a:gd name="connsiteX385" fmla="*/ 51314 w 186564"/>
                  <a:gd name="connsiteY385" fmla="*/ 99013 h 248370"/>
                  <a:gd name="connsiteX386" fmla="*/ 49551 w 186564"/>
                  <a:gd name="connsiteY386" fmla="*/ 101658 h 248370"/>
                  <a:gd name="connsiteX387" fmla="*/ 50168 w 186564"/>
                  <a:gd name="connsiteY387" fmla="*/ 102275 h 248370"/>
                  <a:gd name="connsiteX388" fmla="*/ 49551 w 186564"/>
                  <a:gd name="connsiteY388" fmla="*/ 103157 h 248370"/>
                  <a:gd name="connsiteX389" fmla="*/ 51314 w 186564"/>
                  <a:gd name="connsiteY389" fmla="*/ 102892 h 248370"/>
                  <a:gd name="connsiteX390" fmla="*/ 50961 w 186564"/>
                  <a:gd name="connsiteY390" fmla="*/ 103157 h 248370"/>
                  <a:gd name="connsiteX391" fmla="*/ 50961 w 186564"/>
                  <a:gd name="connsiteY391" fmla="*/ 104303 h 248370"/>
                  <a:gd name="connsiteX392" fmla="*/ 49198 w 186564"/>
                  <a:gd name="connsiteY392" fmla="*/ 105185 h 248370"/>
                  <a:gd name="connsiteX393" fmla="*/ 49198 w 186564"/>
                  <a:gd name="connsiteY393" fmla="*/ 105714 h 248370"/>
                  <a:gd name="connsiteX394" fmla="*/ 47787 w 186564"/>
                  <a:gd name="connsiteY394" fmla="*/ 107477 h 248370"/>
                  <a:gd name="connsiteX395" fmla="*/ 47787 w 186564"/>
                  <a:gd name="connsiteY395" fmla="*/ 108623 h 248370"/>
                  <a:gd name="connsiteX396" fmla="*/ 49815 w 186564"/>
                  <a:gd name="connsiteY396" fmla="*/ 108006 h 248370"/>
                  <a:gd name="connsiteX397" fmla="*/ 49198 w 186564"/>
                  <a:gd name="connsiteY397" fmla="*/ 109770 h 248370"/>
                  <a:gd name="connsiteX398" fmla="*/ 49198 w 186564"/>
                  <a:gd name="connsiteY398" fmla="*/ 110916 h 248370"/>
                  <a:gd name="connsiteX399" fmla="*/ 49198 w 186564"/>
                  <a:gd name="connsiteY399" fmla="*/ 111533 h 248370"/>
                  <a:gd name="connsiteX400" fmla="*/ 51226 w 186564"/>
                  <a:gd name="connsiteY400" fmla="*/ 110651 h 248370"/>
                  <a:gd name="connsiteX401" fmla="*/ 49462 w 186564"/>
                  <a:gd name="connsiteY401" fmla="*/ 112415 h 248370"/>
                  <a:gd name="connsiteX402" fmla="*/ 47082 w 186564"/>
                  <a:gd name="connsiteY402" fmla="*/ 113561 h 248370"/>
                  <a:gd name="connsiteX403" fmla="*/ 47346 w 186564"/>
                  <a:gd name="connsiteY403" fmla="*/ 115060 h 248370"/>
                  <a:gd name="connsiteX404" fmla="*/ 47611 w 186564"/>
                  <a:gd name="connsiteY404" fmla="*/ 115941 h 248370"/>
                  <a:gd name="connsiteX405" fmla="*/ 47346 w 186564"/>
                  <a:gd name="connsiteY405" fmla="*/ 117088 h 248370"/>
                  <a:gd name="connsiteX406" fmla="*/ 47346 w 186564"/>
                  <a:gd name="connsiteY406" fmla="*/ 118234 h 248370"/>
                  <a:gd name="connsiteX407" fmla="*/ 47082 w 186564"/>
                  <a:gd name="connsiteY407" fmla="*/ 119997 h 248370"/>
                  <a:gd name="connsiteX408" fmla="*/ 46200 w 186564"/>
                  <a:gd name="connsiteY408" fmla="*/ 120526 h 248370"/>
                  <a:gd name="connsiteX409" fmla="*/ 45936 w 186564"/>
                  <a:gd name="connsiteY409" fmla="*/ 122290 h 248370"/>
                  <a:gd name="connsiteX410" fmla="*/ 47082 w 186564"/>
                  <a:gd name="connsiteY410" fmla="*/ 122907 h 248370"/>
                  <a:gd name="connsiteX411" fmla="*/ 48581 w 186564"/>
                  <a:gd name="connsiteY411" fmla="*/ 122290 h 248370"/>
                  <a:gd name="connsiteX412" fmla="*/ 50344 w 186564"/>
                  <a:gd name="connsiteY412" fmla="*/ 121672 h 248370"/>
                  <a:gd name="connsiteX413" fmla="*/ 50609 w 186564"/>
                  <a:gd name="connsiteY413" fmla="*/ 120791 h 248370"/>
                  <a:gd name="connsiteX414" fmla="*/ 50344 w 186564"/>
                  <a:gd name="connsiteY414" fmla="*/ 119909 h 248370"/>
                  <a:gd name="connsiteX415" fmla="*/ 51843 w 186564"/>
                  <a:gd name="connsiteY415" fmla="*/ 118410 h 248370"/>
                  <a:gd name="connsiteX416" fmla="*/ 52108 w 186564"/>
                  <a:gd name="connsiteY416" fmla="*/ 116911 h 248370"/>
                  <a:gd name="connsiteX417" fmla="*/ 51226 w 186564"/>
                  <a:gd name="connsiteY417" fmla="*/ 116647 h 248370"/>
                  <a:gd name="connsiteX418" fmla="*/ 52108 w 186564"/>
                  <a:gd name="connsiteY418" fmla="*/ 115501 h 248370"/>
                  <a:gd name="connsiteX419" fmla="*/ 52108 w 186564"/>
                  <a:gd name="connsiteY419" fmla="*/ 114619 h 248370"/>
                  <a:gd name="connsiteX420" fmla="*/ 52108 w 186564"/>
                  <a:gd name="connsiteY420" fmla="*/ 112591 h 248370"/>
                  <a:gd name="connsiteX421" fmla="*/ 53254 w 186564"/>
                  <a:gd name="connsiteY421" fmla="*/ 111974 h 248370"/>
                  <a:gd name="connsiteX422" fmla="*/ 54400 w 186564"/>
                  <a:gd name="connsiteY422" fmla="*/ 111974 h 248370"/>
                  <a:gd name="connsiteX423" fmla="*/ 55017 w 186564"/>
                  <a:gd name="connsiteY423" fmla="*/ 111357 h 248370"/>
                  <a:gd name="connsiteX424" fmla="*/ 55634 w 186564"/>
                  <a:gd name="connsiteY424" fmla="*/ 110740 h 248370"/>
                  <a:gd name="connsiteX425" fmla="*/ 54488 w 186564"/>
                  <a:gd name="connsiteY425" fmla="*/ 108976 h 248370"/>
                  <a:gd name="connsiteX426" fmla="*/ 53959 w 186564"/>
                  <a:gd name="connsiteY426" fmla="*/ 108094 h 248370"/>
                  <a:gd name="connsiteX427" fmla="*/ 54224 w 186564"/>
                  <a:gd name="connsiteY427" fmla="*/ 107213 h 248370"/>
                  <a:gd name="connsiteX428" fmla="*/ 52460 w 186564"/>
                  <a:gd name="connsiteY428" fmla="*/ 106684 h 248370"/>
                  <a:gd name="connsiteX429" fmla="*/ 52460 w 186564"/>
                  <a:gd name="connsiteY429" fmla="*/ 105538 h 248370"/>
                  <a:gd name="connsiteX430" fmla="*/ 53959 w 186564"/>
                  <a:gd name="connsiteY430" fmla="*/ 105802 h 248370"/>
                  <a:gd name="connsiteX431" fmla="*/ 54841 w 186564"/>
                  <a:gd name="connsiteY431" fmla="*/ 106067 h 248370"/>
                  <a:gd name="connsiteX432" fmla="*/ 57133 w 186564"/>
                  <a:gd name="connsiteY432" fmla="*/ 102804 h 248370"/>
                  <a:gd name="connsiteX433" fmla="*/ 58015 w 186564"/>
                  <a:gd name="connsiteY433" fmla="*/ 101658 h 248370"/>
                  <a:gd name="connsiteX434" fmla="*/ 60395 w 186564"/>
                  <a:gd name="connsiteY434" fmla="*/ 101305 h 248370"/>
                  <a:gd name="connsiteX435" fmla="*/ 63305 w 186564"/>
                  <a:gd name="connsiteY435" fmla="*/ 99895 h 248370"/>
                  <a:gd name="connsiteX436" fmla="*/ 61806 w 186564"/>
                  <a:gd name="connsiteY436" fmla="*/ 101305 h 248370"/>
                  <a:gd name="connsiteX437" fmla="*/ 60043 w 186564"/>
                  <a:gd name="connsiteY437" fmla="*/ 101923 h 248370"/>
                  <a:gd name="connsiteX438" fmla="*/ 59161 w 186564"/>
                  <a:gd name="connsiteY438" fmla="*/ 102804 h 248370"/>
                  <a:gd name="connsiteX439" fmla="*/ 58015 w 186564"/>
                  <a:gd name="connsiteY439" fmla="*/ 103069 h 248370"/>
                  <a:gd name="connsiteX440" fmla="*/ 57133 w 186564"/>
                  <a:gd name="connsiteY440" fmla="*/ 103686 h 248370"/>
                  <a:gd name="connsiteX441" fmla="*/ 55987 w 186564"/>
                  <a:gd name="connsiteY441" fmla="*/ 104832 h 248370"/>
                  <a:gd name="connsiteX442" fmla="*/ 55370 w 186564"/>
                  <a:gd name="connsiteY442" fmla="*/ 105978 h 248370"/>
                  <a:gd name="connsiteX443" fmla="*/ 55105 w 186564"/>
                  <a:gd name="connsiteY443" fmla="*/ 107742 h 248370"/>
                  <a:gd name="connsiteX444" fmla="*/ 55722 w 186564"/>
                  <a:gd name="connsiteY444" fmla="*/ 109505 h 248370"/>
                  <a:gd name="connsiteX445" fmla="*/ 56869 w 186564"/>
                  <a:gd name="connsiteY445" fmla="*/ 109505 h 248370"/>
                  <a:gd name="connsiteX446" fmla="*/ 56869 w 186564"/>
                  <a:gd name="connsiteY446" fmla="*/ 108359 h 248370"/>
                  <a:gd name="connsiteX447" fmla="*/ 56869 w 186564"/>
                  <a:gd name="connsiteY447" fmla="*/ 107742 h 248370"/>
                  <a:gd name="connsiteX448" fmla="*/ 56869 w 186564"/>
                  <a:gd name="connsiteY448" fmla="*/ 106596 h 248370"/>
                  <a:gd name="connsiteX449" fmla="*/ 58632 w 186564"/>
                  <a:gd name="connsiteY449" fmla="*/ 107125 h 248370"/>
                  <a:gd name="connsiteX450" fmla="*/ 58367 w 186564"/>
                  <a:gd name="connsiteY450" fmla="*/ 107742 h 248370"/>
                  <a:gd name="connsiteX451" fmla="*/ 58632 w 186564"/>
                  <a:gd name="connsiteY451" fmla="*/ 106596 h 248370"/>
                  <a:gd name="connsiteX452" fmla="*/ 60043 w 186564"/>
                  <a:gd name="connsiteY452" fmla="*/ 107125 h 248370"/>
                  <a:gd name="connsiteX453" fmla="*/ 60043 w 186564"/>
                  <a:gd name="connsiteY453" fmla="*/ 108888 h 248370"/>
                  <a:gd name="connsiteX454" fmla="*/ 61542 w 186564"/>
                  <a:gd name="connsiteY454" fmla="*/ 108888 h 248370"/>
                  <a:gd name="connsiteX455" fmla="*/ 61806 w 186564"/>
                  <a:gd name="connsiteY455" fmla="*/ 107125 h 248370"/>
                  <a:gd name="connsiteX456" fmla="*/ 62952 w 186564"/>
                  <a:gd name="connsiteY456" fmla="*/ 106596 h 248370"/>
                  <a:gd name="connsiteX457" fmla="*/ 61806 w 186564"/>
                  <a:gd name="connsiteY457" fmla="*/ 105978 h 248370"/>
                  <a:gd name="connsiteX458" fmla="*/ 63569 w 186564"/>
                  <a:gd name="connsiteY458" fmla="*/ 106243 h 248370"/>
                  <a:gd name="connsiteX459" fmla="*/ 64716 w 186564"/>
                  <a:gd name="connsiteY459" fmla="*/ 105097 h 248370"/>
                  <a:gd name="connsiteX460" fmla="*/ 65333 w 186564"/>
                  <a:gd name="connsiteY460" fmla="*/ 104832 h 248370"/>
                  <a:gd name="connsiteX461" fmla="*/ 66215 w 186564"/>
                  <a:gd name="connsiteY461" fmla="*/ 105097 h 248370"/>
                  <a:gd name="connsiteX462" fmla="*/ 67361 w 186564"/>
                  <a:gd name="connsiteY462" fmla="*/ 106596 h 248370"/>
                  <a:gd name="connsiteX463" fmla="*/ 68507 w 186564"/>
                  <a:gd name="connsiteY463" fmla="*/ 106331 h 248370"/>
                  <a:gd name="connsiteX464" fmla="*/ 71416 w 186564"/>
                  <a:gd name="connsiteY464" fmla="*/ 107830 h 248370"/>
                  <a:gd name="connsiteX465" fmla="*/ 66479 w 186564"/>
                  <a:gd name="connsiteY465" fmla="*/ 107213 h 248370"/>
                  <a:gd name="connsiteX466" fmla="*/ 65068 w 186564"/>
                  <a:gd name="connsiteY466" fmla="*/ 106684 h 248370"/>
                  <a:gd name="connsiteX467" fmla="*/ 63305 w 186564"/>
                  <a:gd name="connsiteY467" fmla="*/ 107213 h 248370"/>
                  <a:gd name="connsiteX468" fmla="*/ 63569 w 186564"/>
                  <a:gd name="connsiteY468" fmla="*/ 108712 h 248370"/>
                  <a:gd name="connsiteX469" fmla="*/ 63305 w 186564"/>
                  <a:gd name="connsiteY469" fmla="*/ 110211 h 248370"/>
                  <a:gd name="connsiteX470" fmla="*/ 63305 w 186564"/>
                  <a:gd name="connsiteY470" fmla="*/ 111974 h 248370"/>
                  <a:gd name="connsiteX471" fmla="*/ 62688 w 186564"/>
                  <a:gd name="connsiteY471" fmla="*/ 113120 h 248370"/>
                  <a:gd name="connsiteX472" fmla="*/ 62688 w 186564"/>
                  <a:gd name="connsiteY472" fmla="*/ 114883 h 248370"/>
                  <a:gd name="connsiteX473" fmla="*/ 63834 w 186564"/>
                  <a:gd name="connsiteY473" fmla="*/ 115501 h 248370"/>
                  <a:gd name="connsiteX474" fmla="*/ 64980 w 186564"/>
                  <a:gd name="connsiteY474" fmla="*/ 116118 h 248370"/>
                  <a:gd name="connsiteX475" fmla="*/ 66126 w 186564"/>
                  <a:gd name="connsiteY475" fmla="*/ 115853 h 248370"/>
                  <a:gd name="connsiteX476" fmla="*/ 67008 w 186564"/>
                  <a:gd name="connsiteY476" fmla="*/ 115853 h 248370"/>
                  <a:gd name="connsiteX477" fmla="*/ 67273 w 186564"/>
                  <a:gd name="connsiteY477" fmla="*/ 116118 h 248370"/>
                  <a:gd name="connsiteX478" fmla="*/ 66126 w 186564"/>
                  <a:gd name="connsiteY478" fmla="*/ 117264 h 248370"/>
                  <a:gd name="connsiteX479" fmla="*/ 67273 w 186564"/>
                  <a:gd name="connsiteY479" fmla="*/ 116999 h 248370"/>
                  <a:gd name="connsiteX480" fmla="*/ 67537 w 186564"/>
                  <a:gd name="connsiteY480" fmla="*/ 117881 h 248370"/>
                  <a:gd name="connsiteX481" fmla="*/ 67273 w 186564"/>
                  <a:gd name="connsiteY481" fmla="*/ 118498 h 248370"/>
                  <a:gd name="connsiteX482" fmla="*/ 67273 w 186564"/>
                  <a:gd name="connsiteY482" fmla="*/ 119997 h 248370"/>
                  <a:gd name="connsiteX483" fmla="*/ 65509 w 186564"/>
                  <a:gd name="connsiteY483" fmla="*/ 120526 h 248370"/>
                  <a:gd name="connsiteX484" fmla="*/ 64627 w 186564"/>
                  <a:gd name="connsiteY484" fmla="*/ 121672 h 248370"/>
                  <a:gd name="connsiteX485" fmla="*/ 64098 w 186564"/>
                  <a:gd name="connsiteY485" fmla="*/ 121055 h 248370"/>
                  <a:gd name="connsiteX486" fmla="*/ 62952 w 186564"/>
                  <a:gd name="connsiteY486" fmla="*/ 121672 h 248370"/>
                  <a:gd name="connsiteX487" fmla="*/ 62688 w 186564"/>
                  <a:gd name="connsiteY487" fmla="*/ 124053 h 248370"/>
                  <a:gd name="connsiteX488" fmla="*/ 61806 w 186564"/>
                  <a:gd name="connsiteY488" fmla="*/ 124670 h 248370"/>
                  <a:gd name="connsiteX489" fmla="*/ 60307 w 186564"/>
                  <a:gd name="connsiteY489" fmla="*/ 124935 h 248370"/>
                  <a:gd name="connsiteX490" fmla="*/ 59425 w 186564"/>
                  <a:gd name="connsiteY490" fmla="*/ 126698 h 248370"/>
                  <a:gd name="connsiteX491" fmla="*/ 59425 w 186564"/>
                  <a:gd name="connsiteY491" fmla="*/ 128990 h 248370"/>
                  <a:gd name="connsiteX492" fmla="*/ 59425 w 186564"/>
                  <a:gd name="connsiteY492" fmla="*/ 129519 h 248370"/>
                  <a:gd name="connsiteX493" fmla="*/ 60836 w 186564"/>
                  <a:gd name="connsiteY493" fmla="*/ 131283 h 248370"/>
                  <a:gd name="connsiteX494" fmla="*/ 59425 w 186564"/>
                  <a:gd name="connsiteY494" fmla="*/ 131900 h 248370"/>
                  <a:gd name="connsiteX495" fmla="*/ 59425 w 186564"/>
                  <a:gd name="connsiteY495" fmla="*/ 131283 h 248370"/>
                  <a:gd name="connsiteX496" fmla="*/ 58808 w 186564"/>
                  <a:gd name="connsiteY496" fmla="*/ 130137 h 248370"/>
                  <a:gd name="connsiteX497" fmla="*/ 57662 w 186564"/>
                  <a:gd name="connsiteY497" fmla="*/ 129519 h 248370"/>
                  <a:gd name="connsiteX498" fmla="*/ 56163 w 186564"/>
                  <a:gd name="connsiteY498" fmla="*/ 131283 h 248370"/>
                  <a:gd name="connsiteX499" fmla="*/ 57045 w 186564"/>
                  <a:gd name="connsiteY499" fmla="*/ 132164 h 248370"/>
                  <a:gd name="connsiteX500" fmla="*/ 57309 w 186564"/>
                  <a:gd name="connsiteY500" fmla="*/ 133575 h 248370"/>
                  <a:gd name="connsiteX501" fmla="*/ 58456 w 186564"/>
                  <a:gd name="connsiteY501" fmla="*/ 135603 h 248370"/>
                  <a:gd name="connsiteX502" fmla="*/ 60483 w 186564"/>
                  <a:gd name="connsiteY502" fmla="*/ 135867 h 248370"/>
                  <a:gd name="connsiteX503" fmla="*/ 61365 w 186564"/>
                  <a:gd name="connsiteY503" fmla="*/ 139042 h 248370"/>
                  <a:gd name="connsiteX504" fmla="*/ 62247 w 186564"/>
                  <a:gd name="connsiteY504" fmla="*/ 138424 h 248370"/>
                  <a:gd name="connsiteX505" fmla="*/ 61630 w 186564"/>
                  <a:gd name="connsiteY505" fmla="*/ 137807 h 248370"/>
                  <a:gd name="connsiteX506" fmla="*/ 62247 w 186564"/>
                  <a:gd name="connsiteY506" fmla="*/ 137190 h 248370"/>
                  <a:gd name="connsiteX507" fmla="*/ 62247 w 186564"/>
                  <a:gd name="connsiteY507" fmla="*/ 135427 h 248370"/>
                  <a:gd name="connsiteX508" fmla="*/ 60483 w 186564"/>
                  <a:gd name="connsiteY508" fmla="*/ 134280 h 248370"/>
                  <a:gd name="connsiteX509" fmla="*/ 61982 w 186564"/>
                  <a:gd name="connsiteY509" fmla="*/ 133399 h 248370"/>
                  <a:gd name="connsiteX510" fmla="*/ 62511 w 186564"/>
                  <a:gd name="connsiteY510" fmla="*/ 132253 h 248370"/>
                  <a:gd name="connsiteX511" fmla="*/ 63393 w 186564"/>
                  <a:gd name="connsiteY511" fmla="*/ 131988 h 248370"/>
                  <a:gd name="connsiteX512" fmla="*/ 64010 w 186564"/>
                  <a:gd name="connsiteY512" fmla="*/ 132253 h 248370"/>
                  <a:gd name="connsiteX513" fmla="*/ 64010 w 186564"/>
                  <a:gd name="connsiteY513" fmla="*/ 133399 h 248370"/>
                  <a:gd name="connsiteX514" fmla="*/ 65509 w 186564"/>
                  <a:gd name="connsiteY514" fmla="*/ 135427 h 248370"/>
                  <a:gd name="connsiteX515" fmla="*/ 66655 w 186564"/>
                  <a:gd name="connsiteY515" fmla="*/ 136926 h 248370"/>
                  <a:gd name="connsiteX516" fmla="*/ 67802 w 186564"/>
                  <a:gd name="connsiteY516" fmla="*/ 138424 h 248370"/>
                  <a:gd name="connsiteX517" fmla="*/ 68948 w 186564"/>
                  <a:gd name="connsiteY517" fmla="*/ 137807 h 248370"/>
                  <a:gd name="connsiteX518" fmla="*/ 70446 w 186564"/>
                  <a:gd name="connsiteY518" fmla="*/ 137190 h 248370"/>
                  <a:gd name="connsiteX519" fmla="*/ 71593 w 186564"/>
                  <a:gd name="connsiteY519" fmla="*/ 135691 h 248370"/>
                  <a:gd name="connsiteX520" fmla="*/ 72210 w 186564"/>
                  <a:gd name="connsiteY520" fmla="*/ 134809 h 248370"/>
                  <a:gd name="connsiteX521" fmla="*/ 72739 w 186564"/>
                  <a:gd name="connsiteY521" fmla="*/ 134192 h 248370"/>
                  <a:gd name="connsiteX522" fmla="*/ 70446 w 186564"/>
                  <a:gd name="connsiteY522" fmla="*/ 133311 h 248370"/>
                  <a:gd name="connsiteX523" fmla="*/ 70711 w 186564"/>
                  <a:gd name="connsiteY523" fmla="*/ 132164 h 248370"/>
                  <a:gd name="connsiteX524" fmla="*/ 71593 w 186564"/>
                  <a:gd name="connsiteY524" fmla="*/ 132429 h 248370"/>
                  <a:gd name="connsiteX525" fmla="*/ 72210 w 186564"/>
                  <a:gd name="connsiteY525" fmla="*/ 132164 h 248370"/>
                  <a:gd name="connsiteX526" fmla="*/ 73356 w 186564"/>
                  <a:gd name="connsiteY526" fmla="*/ 133311 h 248370"/>
                  <a:gd name="connsiteX527" fmla="*/ 74238 w 186564"/>
                  <a:gd name="connsiteY527" fmla="*/ 133046 h 248370"/>
                  <a:gd name="connsiteX528" fmla="*/ 74855 w 186564"/>
                  <a:gd name="connsiteY528" fmla="*/ 132164 h 248370"/>
                  <a:gd name="connsiteX529" fmla="*/ 74855 w 186564"/>
                  <a:gd name="connsiteY529" fmla="*/ 133311 h 248370"/>
                  <a:gd name="connsiteX530" fmla="*/ 76266 w 186564"/>
                  <a:gd name="connsiteY530" fmla="*/ 135603 h 248370"/>
                  <a:gd name="connsiteX531" fmla="*/ 77412 w 186564"/>
                  <a:gd name="connsiteY531" fmla="*/ 136220 h 248370"/>
                  <a:gd name="connsiteX532" fmla="*/ 78558 w 186564"/>
                  <a:gd name="connsiteY532" fmla="*/ 135603 h 248370"/>
                  <a:gd name="connsiteX533" fmla="*/ 80057 w 186564"/>
                  <a:gd name="connsiteY533" fmla="*/ 135338 h 248370"/>
                  <a:gd name="connsiteX534" fmla="*/ 80674 w 186564"/>
                  <a:gd name="connsiteY534" fmla="*/ 133928 h 248370"/>
                  <a:gd name="connsiteX535" fmla="*/ 80939 w 186564"/>
                  <a:gd name="connsiteY535" fmla="*/ 132782 h 248370"/>
                  <a:gd name="connsiteX536" fmla="*/ 82437 w 186564"/>
                  <a:gd name="connsiteY536" fmla="*/ 133399 h 248370"/>
                  <a:gd name="connsiteX537" fmla="*/ 83584 w 186564"/>
                  <a:gd name="connsiteY537" fmla="*/ 132253 h 248370"/>
                  <a:gd name="connsiteX538" fmla="*/ 84201 w 186564"/>
                  <a:gd name="connsiteY538" fmla="*/ 132253 h 248370"/>
                  <a:gd name="connsiteX539" fmla="*/ 86229 w 186564"/>
                  <a:gd name="connsiteY539" fmla="*/ 132253 h 248370"/>
                  <a:gd name="connsiteX540" fmla="*/ 87110 w 186564"/>
                  <a:gd name="connsiteY540" fmla="*/ 130225 h 248370"/>
                  <a:gd name="connsiteX541" fmla="*/ 87992 w 186564"/>
                  <a:gd name="connsiteY541" fmla="*/ 130842 h 248370"/>
                  <a:gd name="connsiteX542" fmla="*/ 88609 w 186564"/>
                  <a:gd name="connsiteY542" fmla="*/ 129960 h 248370"/>
                  <a:gd name="connsiteX543" fmla="*/ 91519 w 186564"/>
                  <a:gd name="connsiteY543" fmla="*/ 129343 h 248370"/>
                  <a:gd name="connsiteX544" fmla="*/ 93282 w 186564"/>
                  <a:gd name="connsiteY544" fmla="*/ 129079 h 248370"/>
                  <a:gd name="connsiteX545" fmla="*/ 95046 w 186564"/>
                  <a:gd name="connsiteY545" fmla="*/ 129960 h 248370"/>
                  <a:gd name="connsiteX546" fmla="*/ 95310 w 186564"/>
                  <a:gd name="connsiteY546" fmla="*/ 130577 h 248370"/>
                  <a:gd name="connsiteX547" fmla="*/ 96721 w 186564"/>
                  <a:gd name="connsiteY547" fmla="*/ 130577 h 248370"/>
                  <a:gd name="connsiteX548" fmla="*/ 97602 w 186564"/>
                  <a:gd name="connsiteY548" fmla="*/ 131459 h 248370"/>
                  <a:gd name="connsiteX549" fmla="*/ 95574 w 186564"/>
                  <a:gd name="connsiteY549" fmla="*/ 131459 h 248370"/>
                  <a:gd name="connsiteX550" fmla="*/ 93547 w 186564"/>
                  <a:gd name="connsiteY550" fmla="*/ 130577 h 248370"/>
                  <a:gd name="connsiteX551" fmla="*/ 91783 w 186564"/>
                  <a:gd name="connsiteY551" fmla="*/ 131106 h 248370"/>
                  <a:gd name="connsiteX552" fmla="*/ 91783 w 186564"/>
                  <a:gd name="connsiteY552" fmla="*/ 131724 h 248370"/>
                  <a:gd name="connsiteX553" fmla="*/ 90902 w 186564"/>
                  <a:gd name="connsiteY553" fmla="*/ 132341 h 248370"/>
                  <a:gd name="connsiteX554" fmla="*/ 89755 w 186564"/>
                  <a:gd name="connsiteY554" fmla="*/ 132341 h 248370"/>
                  <a:gd name="connsiteX555" fmla="*/ 89755 w 186564"/>
                  <a:gd name="connsiteY555" fmla="*/ 133487 h 248370"/>
                  <a:gd name="connsiteX556" fmla="*/ 88609 w 186564"/>
                  <a:gd name="connsiteY556" fmla="*/ 134369 h 248370"/>
                  <a:gd name="connsiteX557" fmla="*/ 88609 w 186564"/>
                  <a:gd name="connsiteY557" fmla="*/ 134633 h 248370"/>
                  <a:gd name="connsiteX558" fmla="*/ 88609 w 186564"/>
                  <a:gd name="connsiteY558" fmla="*/ 135779 h 248370"/>
                  <a:gd name="connsiteX559" fmla="*/ 88345 w 186564"/>
                  <a:gd name="connsiteY559" fmla="*/ 137278 h 248370"/>
                  <a:gd name="connsiteX560" fmla="*/ 87728 w 186564"/>
                  <a:gd name="connsiteY560" fmla="*/ 137543 h 248370"/>
                  <a:gd name="connsiteX561" fmla="*/ 86229 w 186564"/>
                  <a:gd name="connsiteY561" fmla="*/ 138424 h 248370"/>
                  <a:gd name="connsiteX562" fmla="*/ 85082 w 186564"/>
                  <a:gd name="connsiteY562" fmla="*/ 139923 h 248370"/>
                  <a:gd name="connsiteX563" fmla="*/ 85347 w 186564"/>
                  <a:gd name="connsiteY563" fmla="*/ 141334 h 248370"/>
                  <a:gd name="connsiteX564" fmla="*/ 86229 w 186564"/>
                  <a:gd name="connsiteY564" fmla="*/ 142480 h 248370"/>
                  <a:gd name="connsiteX565" fmla="*/ 85964 w 186564"/>
                  <a:gd name="connsiteY565" fmla="*/ 144508 h 248370"/>
                  <a:gd name="connsiteX566" fmla="*/ 87463 w 186564"/>
                  <a:gd name="connsiteY566" fmla="*/ 145390 h 248370"/>
                  <a:gd name="connsiteX567" fmla="*/ 88345 w 186564"/>
                  <a:gd name="connsiteY567" fmla="*/ 146271 h 248370"/>
                  <a:gd name="connsiteX568" fmla="*/ 88609 w 186564"/>
                  <a:gd name="connsiteY568" fmla="*/ 148035 h 248370"/>
                  <a:gd name="connsiteX569" fmla="*/ 89755 w 186564"/>
                  <a:gd name="connsiteY569" fmla="*/ 149445 h 248370"/>
                  <a:gd name="connsiteX570" fmla="*/ 90902 w 186564"/>
                  <a:gd name="connsiteY570" fmla="*/ 149445 h 248370"/>
                  <a:gd name="connsiteX571" fmla="*/ 91783 w 186564"/>
                  <a:gd name="connsiteY571" fmla="*/ 150063 h 248370"/>
                  <a:gd name="connsiteX572" fmla="*/ 92930 w 186564"/>
                  <a:gd name="connsiteY572" fmla="*/ 150680 h 248370"/>
                  <a:gd name="connsiteX573" fmla="*/ 93282 w 186564"/>
                  <a:gd name="connsiteY573" fmla="*/ 150680 h 248370"/>
                  <a:gd name="connsiteX574" fmla="*/ 94428 w 186564"/>
                  <a:gd name="connsiteY574" fmla="*/ 150680 h 248370"/>
                  <a:gd name="connsiteX575" fmla="*/ 95310 w 186564"/>
                  <a:gd name="connsiteY575" fmla="*/ 150063 h 248370"/>
                  <a:gd name="connsiteX576" fmla="*/ 96192 w 186564"/>
                  <a:gd name="connsiteY576" fmla="*/ 150327 h 248370"/>
                  <a:gd name="connsiteX577" fmla="*/ 97073 w 186564"/>
                  <a:gd name="connsiteY577" fmla="*/ 150327 h 248370"/>
                  <a:gd name="connsiteX578" fmla="*/ 98219 w 186564"/>
                  <a:gd name="connsiteY578" fmla="*/ 149445 h 248370"/>
                  <a:gd name="connsiteX579" fmla="*/ 99101 w 186564"/>
                  <a:gd name="connsiteY579" fmla="*/ 149181 h 248370"/>
                  <a:gd name="connsiteX580" fmla="*/ 99718 w 186564"/>
                  <a:gd name="connsiteY580" fmla="*/ 149445 h 248370"/>
                  <a:gd name="connsiteX581" fmla="*/ 99983 w 186564"/>
                  <a:gd name="connsiteY581" fmla="*/ 149710 h 248370"/>
                  <a:gd name="connsiteX582" fmla="*/ 100247 w 186564"/>
                  <a:gd name="connsiteY582" fmla="*/ 149093 h 248370"/>
                  <a:gd name="connsiteX583" fmla="*/ 99101 w 186564"/>
                  <a:gd name="connsiteY583" fmla="*/ 150856 h 248370"/>
                  <a:gd name="connsiteX584" fmla="*/ 98484 w 186564"/>
                  <a:gd name="connsiteY584" fmla="*/ 151738 h 248370"/>
                  <a:gd name="connsiteX585" fmla="*/ 99101 w 186564"/>
                  <a:gd name="connsiteY585" fmla="*/ 152002 h 248370"/>
                  <a:gd name="connsiteX586" fmla="*/ 98219 w 186564"/>
                  <a:gd name="connsiteY586" fmla="*/ 152267 h 248370"/>
                  <a:gd name="connsiteX587" fmla="*/ 98484 w 186564"/>
                  <a:gd name="connsiteY587" fmla="*/ 153149 h 248370"/>
                  <a:gd name="connsiteX588" fmla="*/ 99366 w 186564"/>
                  <a:gd name="connsiteY588" fmla="*/ 153766 h 248370"/>
                  <a:gd name="connsiteX589" fmla="*/ 98484 w 186564"/>
                  <a:gd name="connsiteY589" fmla="*/ 154383 h 248370"/>
                  <a:gd name="connsiteX590" fmla="*/ 97602 w 186564"/>
                  <a:gd name="connsiteY590" fmla="*/ 154118 h 248370"/>
                  <a:gd name="connsiteX591" fmla="*/ 96103 w 186564"/>
                  <a:gd name="connsiteY591" fmla="*/ 155000 h 248370"/>
                  <a:gd name="connsiteX592" fmla="*/ 95839 w 186564"/>
                  <a:gd name="connsiteY592" fmla="*/ 154735 h 248370"/>
                  <a:gd name="connsiteX593" fmla="*/ 94957 w 186564"/>
                  <a:gd name="connsiteY593" fmla="*/ 156234 h 248370"/>
                  <a:gd name="connsiteX594" fmla="*/ 94340 w 186564"/>
                  <a:gd name="connsiteY594" fmla="*/ 156499 h 248370"/>
                  <a:gd name="connsiteX595" fmla="*/ 94076 w 186564"/>
                  <a:gd name="connsiteY595" fmla="*/ 157116 h 248370"/>
                  <a:gd name="connsiteX596" fmla="*/ 94340 w 186564"/>
                  <a:gd name="connsiteY596" fmla="*/ 157998 h 248370"/>
                  <a:gd name="connsiteX597" fmla="*/ 94340 w 186564"/>
                  <a:gd name="connsiteY597" fmla="*/ 158879 h 248370"/>
                  <a:gd name="connsiteX598" fmla="*/ 95222 w 186564"/>
                  <a:gd name="connsiteY598" fmla="*/ 159497 h 248370"/>
                  <a:gd name="connsiteX599" fmla="*/ 96103 w 186564"/>
                  <a:gd name="connsiteY599" fmla="*/ 160114 h 248370"/>
                  <a:gd name="connsiteX600" fmla="*/ 98484 w 186564"/>
                  <a:gd name="connsiteY600" fmla="*/ 159497 h 248370"/>
                  <a:gd name="connsiteX601" fmla="*/ 98749 w 186564"/>
                  <a:gd name="connsiteY601" fmla="*/ 159761 h 248370"/>
                  <a:gd name="connsiteX602" fmla="*/ 98131 w 186564"/>
                  <a:gd name="connsiteY602" fmla="*/ 160026 h 248370"/>
                  <a:gd name="connsiteX603" fmla="*/ 96368 w 186564"/>
                  <a:gd name="connsiteY603" fmla="*/ 160643 h 248370"/>
                  <a:gd name="connsiteX604" fmla="*/ 95751 w 186564"/>
                  <a:gd name="connsiteY604" fmla="*/ 161524 h 248370"/>
                  <a:gd name="connsiteX605" fmla="*/ 94869 w 186564"/>
                  <a:gd name="connsiteY605" fmla="*/ 160907 h 248370"/>
                  <a:gd name="connsiteX606" fmla="*/ 94252 w 186564"/>
                  <a:gd name="connsiteY606" fmla="*/ 161789 h 248370"/>
                  <a:gd name="connsiteX607" fmla="*/ 93988 w 186564"/>
                  <a:gd name="connsiteY607" fmla="*/ 162935 h 248370"/>
                  <a:gd name="connsiteX608" fmla="*/ 94252 w 186564"/>
                  <a:gd name="connsiteY608" fmla="*/ 163552 h 248370"/>
                  <a:gd name="connsiteX609" fmla="*/ 94252 w 186564"/>
                  <a:gd name="connsiteY609" fmla="*/ 164699 h 248370"/>
                  <a:gd name="connsiteX610" fmla="*/ 96280 w 186564"/>
                  <a:gd name="connsiteY610" fmla="*/ 165580 h 248370"/>
                  <a:gd name="connsiteX611" fmla="*/ 96544 w 186564"/>
                  <a:gd name="connsiteY611" fmla="*/ 166197 h 248370"/>
                  <a:gd name="connsiteX612" fmla="*/ 97690 w 186564"/>
                  <a:gd name="connsiteY612" fmla="*/ 166462 h 248370"/>
                  <a:gd name="connsiteX613" fmla="*/ 98308 w 186564"/>
                  <a:gd name="connsiteY613" fmla="*/ 167344 h 248370"/>
                  <a:gd name="connsiteX614" fmla="*/ 99807 w 186564"/>
                  <a:gd name="connsiteY614" fmla="*/ 169371 h 248370"/>
                  <a:gd name="connsiteX615" fmla="*/ 101305 w 186564"/>
                  <a:gd name="connsiteY615" fmla="*/ 169371 h 248370"/>
                  <a:gd name="connsiteX616" fmla="*/ 101305 w 186564"/>
                  <a:gd name="connsiteY616" fmla="*/ 169636 h 248370"/>
                  <a:gd name="connsiteX617" fmla="*/ 99278 w 186564"/>
                  <a:gd name="connsiteY617" fmla="*/ 170518 h 248370"/>
                  <a:gd name="connsiteX618" fmla="*/ 98396 w 186564"/>
                  <a:gd name="connsiteY618" fmla="*/ 169019 h 248370"/>
                  <a:gd name="connsiteX619" fmla="*/ 96897 w 186564"/>
                  <a:gd name="connsiteY619" fmla="*/ 167873 h 248370"/>
                  <a:gd name="connsiteX620" fmla="*/ 95751 w 186564"/>
                  <a:gd name="connsiteY620" fmla="*/ 167608 h 248370"/>
                  <a:gd name="connsiteX621" fmla="*/ 95134 w 186564"/>
                  <a:gd name="connsiteY621" fmla="*/ 166726 h 248370"/>
                  <a:gd name="connsiteX622" fmla="*/ 93988 w 186564"/>
                  <a:gd name="connsiteY622" fmla="*/ 166197 h 248370"/>
                  <a:gd name="connsiteX623" fmla="*/ 92841 w 186564"/>
                  <a:gd name="connsiteY623" fmla="*/ 166197 h 248370"/>
                  <a:gd name="connsiteX624" fmla="*/ 92577 w 186564"/>
                  <a:gd name="connsiteY624" fmla="*/ 167344 h 248370"/>
                  <a:gd name="connsiteX625" fmla="*/ 94076 w 186564"/>
                  <a:gd name="connsiteY625" fmla="*/ 169107 h 248370"/>
                  <a:gd name="connsiteX626" fmla="*/ 94076 w 186564"/>
                  <a:gd name="connsiteY626" fmla="*/ 170606 h 248370"/>
                  <a:gd name="connsiteX627" fmla="*/ 92930 w 186564"/>
                  <a:gd name="connsiteY627" fmla="*/ 170870 h 248370"/>
                  <a:gd name="connsiteX628" fmla="*/ 90902 w 186564"/>
                  <a:gd name="connsiteY628" fmla="*/ 169371 h 248370"/>
                  <a:gd name="connsiteX629" fmla="*/ 90902 w 186564"/>
                  <a:gd name="connsiteY629" fmla="*/ 168490 h 248370"/>
                  <a:gd name="connsiteX630" fmla="*/ 90637 w 186564"/>
                  <a:gd name="connsiteY630" fmla="*/ 167873 h 248370"/>
                  <a:gd name="connsiteX631" fmla="*/ 88874 w 186564"/>
                  <a:gd name="connsiteY631" fmla="*/ 168490 h 248370"/>
                  <a:gd name="connsiteX632" fmla="*/ 86846 w 186564"/>
                  <a:gd name="connsiteY632" fmla="*/ 169636 h 248370"/>
                  <a:gd name="connsiteX633" fmla="*/ 84818 w 186564"/>
                  <a:gd name="connsiteY633" fmla="*/ 169636 h 248370"/>
                  <a:gd name="connsiteX634" fmla="*/ 83407 w 186564"/>
                  <a:gd name="connsiteY634" fmla="*/ 169636 h 248370"/>
                  <a:gd name="connsiteX635" fmla="*/ 82261 w 186564"/>
                  <a:gd name="connsiteY635" fmla="*/ 169900 h 248370"/>
                  <a:gd name="connsiteX636" fmla="*/ 81732 w 186564"/>
                  <a:gd name="connsiteY636" fmla="*/ 170165 h 248370"/>
                  <a:gd name="connsiteX637" fmla="*/ 81115 w 186564"/>
                  <a:gd name="connsiteY637" fmla="*/ 169548 h 248370"/>
                  <a:gd name="connsiteX638" fmla="*/ 80498 w 186564"/>
                  <a:gd name="connsiteY638" fmla="*/ 169812 h 248370"/>
                  <a:gd name="connsiteX639" fmla="*/ 79881 w 186564"/>
                  <a:gd name="connsiteY639" fmla="*/ 169548 h 248370"/>
                  <a:gd name="connsiteX640" fmla="*/ 78999 w 186564"/>
                  <a:gd name="connsiteY640" fmla="*/ 170165 h 248370"/>
                  <a:gd name="connsiteX641" fmla="*/ 78470 w 186564"/>
                  <a:gd name="connsiteY641" fmla="*/ 170429 h 248370"/>
                  <a:gd name="connsiteX642" fmla="*/ 77588 w 186564"/>
                  <a:gd name="connsiteY642" fmla="*/ 170694 h 248370"/>
                  <a:gd name="connsiteX643" fmla="*/ 76707 w 186564"/>
                  <a:gd name="connsiteY643" fmla="*/ 170694 h 248370"/>
                  <a:gd name="connsiteX644" fmla="*/ 75825 w 186564"/>
                  <a:gd name="connsiteY644" fmla="*/ 170694 h 248370"/>
                  <a:gd name="connsiteX645" fmla="*/ 74679 w 186564"/>
                  <a:gd name="connsiteY645" fmla="*/ 170959 h 248370"/>
                  <a:gd name="connsiteX646" fmla="*/ 74414 w 186564"/>
                  <a:gd name="connsiteY646" fmla="*/ 171223 h 248370"/>
                  <a:gd name="connsiteX647" fmla="*/ 74414 w 186564"/>
                  <a:gd name="connsiteY647" fmla="*/ 171488 h 248370"/>
                  <a:gd name="connsiteX648" fmla="*/ 74414 w 186564"/>
                  <a:gd name="connsiteY648" fmla="*/ 172105 h 248370"/>
                  <a:gd name="connsiteX649" fmla="*/ 74150 w 186564"/>
                  <a:gd name="connsiteY649" fmla="*/ 171488 h 248370"/>
                  <a:gd name="connsiteX650" fmla="*/ 73885 w 186564"/>
                  <a:gd name="connsiteY650" fmla="*/ 171488 h 248370"/>
                  <a:gd name="connsiteX651" fmla="*/ 73885 w 186564"/>
                  <a:gd name="connsiteY651" fmla="*/ 172105 h 248370"/>
                  <a:gd name="connsiteX652" fmla="*/ 73621 w 186564"/>
                  <a:gd name="connsiteY652" fmla="*/ 172634 h 248370"/>
                  <a:gd name="connsiteX653" fmla="*/ 73356 w 186564"/>
                  <a:gd name="connsiteY653" fmla="*/ 173251 h 248370"/>
                  <a:gd name="connsiteX654" fmla="*/ 73092 w 186564"/>
                  <a:gd name="connsiteY654" fmla="*/ 173515 h 248370"/>
                  <a:gd name="connsiteX655" fmla="*/ 72563 w 186564"/>
                  <a:gd name="connsiteY655" fmla="*/ 173868 h 248370"/>
                  <a:gd name="connsiteX656" fmla="*/ 71945 w 186564"/>
                  <a:gd name="connsiteY656" fmla="*/ 173868 h 248370"/>
                  <a:gd name="connsiteX657" fmla="*/ 71328 w 186564"/>
                  <a:gd name="connsiteY657" fmla="*/ 173868 h 248370"/>
                  <a:gd name="connsiteX658" fmla="*/ 71064 w 186564"/>
                  <a:gd name="connsiteY658" fmla="*/ 174750 h 248370"/>
                  <a:gd name="connsiteX659" fmla="*/ 69653 w 186564"/>
                  <a:gd name="connsiteY659" fmla="*/ 174485 h 248370"/>
                  <a:gd name="connsiteX660" fmla="*/ 68507 w 186564"/>
                  <a:gd name="connsiteY660" fmla="*/ 175367 h 248370"/>
                  <a:gd name="connsiteX661" fmla="*/ 67625 w 186564"/>
                  <a:gd name="connsiteY661" fmla="*/ 175367 h 248370"/>
                  <a:gd name="connsiteX662" fmla="*/ 67361 w 186564"/>
                  <a:gd name="connsiteY662" fmla="*/ 176513 h 248370"/>
                  <a:gd name="connsiteX663" fmla="*/ 66479 w 186564"/>
                  <a:gd name="connsiteY663" fmla="*/ 177395 h 248370"/>
                  <a:gd name="connsiteX664" fmla="*/ 66215 w 186564"/>
                  <a:gd name="connsiteY664" fmla="*/ 178012 h 248370"/>
                  <a:gd name="connsiteX665" fmla="*/ 65333 w 186564"/>
                  <a:gd name="connsiteY665" fmla="*/ 178541 h 248370"/>
                  <a:gd name="connsiteX666" fmla="*/ 64187 w 186564"/>
                  <a:gd name="connsiteY666" fmla="*/ 178806 h 248370"/>
                  <a:gd name="connsiteX667" fmla="*/ 63922 w 186564"/>
                  <a:gd name="connsiteY667" fmla="*/ 179070 h 248370"/>
                  <a:gd name="connsiteX668" fmla="*/ 63658 w 186564"/>
                  <a:gd name="connsiteY668" fmla="*/ 179335 h 248370"/>
                  <a:gd name="connsiteX669" fmla="*/ 63040 w 186564"/>
                  <a:gd name="connsiteY669" fmla="*/ 180216 h 248370"/>
                  <a:gd name="connsiteX670" fmla="*/ 62511 w 186564"/>
                  <a:gd name="connsiteY670" fmla="*/ 180833 h 248370"/>
                  <a:gd name="connsiteX671" fmla="*/ 61630 w 186564"/>
                  <a:gd name="connsiteY671" fmla="*/ 181450 h 248370"/>
                  <a:gd name="connsiteX672" fmla="*/ 61365 w 186564"/>
                  <a:gd name="connsiteY672" fmla="*/ 182068 h 248370"/>
                  <a:gd name="connsiteX673" fmla="*/ 62247 w 186564"/>
                  <a:gd name="connsiteY673" fmla="*/ 182332 h 248370"/>
                  <a:gd name="connsiteX674" fmla="*/ 63129 w 186564"/>
                  <a:gd name="connsiteY674" fmla="*/ 182068 h 248370"/>
                  <a:gd name="connsiteX675" fmla="*/ 64275 w 186564"/>
                  <a:gd name="connsiteY675" fmla="*/ 181715 h 248370"/>
                  <a:gd name="connsiteX676" fmla="*/ 64539 w 186564"/>
                  <a:gd name="connsiteY676" fmla="*/ 182332 h 248370"/>
                  <a:gd name="connsiteX677" fmla="*/ 65068 w 186564"/>
                  <a:gd name="connsiteY677" fmla="*/ 182597 h 248370"/>
                  <a:gd name="connsiteX678" fmla="*/ 65686 w 186564"/>
                  <a:gd name="connsiteY678" fmla="*/ 182332 h 248370"/>
                  <a:gd name="connsiteX679" fmla="*/ 65686 w 186564"/>
                  <a:gd name="connsiteY679" fmla="*/ 181715 h 248370"/>
                  <a:gd name="connsiteX680" fmla="*/ 67449 w 186564"/>
                  <a:gd name="connsiteY680" fmla="*/ 180833 h 248370"/>
                  <a:gd name="connsiteX681" fmla="*/ 68595 w 186564"/>
                  <a:gd name="connsiteY681" fmla="*/ 180216 h 248370"/>
                  <a:gd name="connsiteX682" fmla="*/ 69212 w 186564"/>
                  <a:gd name="connsiteY682" fmla="*/ 179599 h 248370"/>
                  <a:gd name="connsiteX683" fmla="*/ 68948 w 186564"/>
                  <a:gd name="connsiteY683" fmla="*/ 180481 h 248370"/>
                  <a:gd name="connsiteX684" fmla="*/ 69829 w 186564"/>
                  <a:gd name="connsiteY684" fmla="*/ 180481 h 248370"/>
                  <a:gd name="connsiteX685" fmla="*/ 71593 w 186564"/>
                  <a:gd name="connsiteY685" fmla="*/ 179864 h 248370"/>
                  <a:gd name="connsiteX686" fmla="*/ 73356 w 186564"/>
                  <a:gd name="connsiteY686" fmla="*/ 178982 h 248370"/>
                  <a:gd name="connsiteX687" fmla="*/ 75384 w 186564"/>
                  <a:gd name="connsiteY687" fmla="*/ 178982 h 248370"/>
                  <a:gd name="connsiteX688" fmla="*/ 76266 w 186564"/>
                  <a:gd name="connsiteY688" fmla="*/ 178982 h 248370"/>
                  <a:gd name="connsiteX689" fmla="*/ 75648 w 186564"/>
                  <a:gd name="connsiteY689" fmla="*/ 179599 h 248370"/>
                  <a:gd name="connsiteX690" fmla="*/ 75913 w 186564"/>
                  <a:gd name="connsiteY690" fmla="*/ 181098 h 248370"/>
                  <a:gd name="connsiteX691" fmla="*/ 75031 w 186564"/>
                  <a:gd name="connsiteY691" fmla="*/ 182244 h 248370"/>
                  <a:gd name="connsiteX692" fmla="*/ 75913 w 186564"/>
                  <a:gd name="connsiteY692" fmla="*/ 182244 h 248370"/>
                  <a:gd name="connsiteX693" fmla="*/ 76795 w 186564"/>
                  <a:gd name="connsiteY693" fmla="*/ 183390 h 248370"/>
                  <a:gd name="connsiteX694" fmla="*/ 77412 w 186564"/>
                  <a:gd name="connsiteY694" fmla="*/ 183126 h 248370"/>
                  <a:gd name="connsiteX695" fmla="*/ 77676 w 186564"/>
                  <a:gd name="connsiteY695" fmla="*/ 183390 h 248370"/>
                  <a:gd name="connsiteX696" fmla="*/ 76795 w 186564"/>
                  <a:gd name="connsiteY696" fmla="*/ 184272 h 248370"/>
                  <a:gd name="connsiteX697" fmla="*/ 76795 w 186564"/>
                  <a:gd name="connsiteY697" fmla="*/ 185418 h 248370"/>
                  <a:gd name="connsiteX698" fmla="*/ 75648 w 186564"/>
                  <a:gd name="connsiteY698" fmla="*/ 187182 h 248370"/>
                  <a:gd name="connsiteX699" fmla="*/ 76795 w 186564"/>
                  <a:gd name="connsiteY699" fmla="*/ 188328 h 248370"/>
                  <a:gd name="connsiteX700" fmla="*/ 76795 w 186564"/>
                  <a:gd name="connsiteY700" fmla="*/ 189474 h 248370"/>
                  <a:gd name="connsiteX701" fmla="*/ 75384 w 186564"/>
                  <a:gd name="connsiteY701" fmla="*/ 191237 h 248370"/>
                  <a:gd name="connsiteX702" fmla="*/ 75648 w 186564"/>
                  <a:gd name="connsiteY702" fmla="*/ 192119 h 248370"/>
                  <a:gd name="connsiteX703" fmla="*/ 74767 w 186564"/>
                  <a:gd name="connsiteY703" fmla="*/ 193265 h 248370"/>
                  <a:gd name="connsiteX704" fmla="*/ 74502 w 186564"/>
                  <a:gd name="connsiteY704" fmla="*/ 194411 h 248370"/>
                  <a:gd name="connsiteX705" fmla="*/ 73356 w 186564"/>
                  <a:gd name="connsiteY705" fmla="*/ 195557 h 248370"/>
                  <a:gd name="connsiteX706" fmla="*/ 71593 w 186564"/>
                  <a:gd name="connsiteY706" fmla="*/ 196175 h 248370"/>
                  <a:gd name="connsiteX707" fmla="*/ 70975 w 186564"/>
                  <a:gd name="connsiteY707" fmla="*/ 196175 h 248370"/>
                  <a:gd name="connsiteX708" fmla="*/ 70711 w 186564"/>
                  <a:gd name="connsiteY708" fmla="*/ 197056 h 248370"/>
                  <a:gd name="connsiteX709" fmla="*/ 70711 w 186564"/>
                  <a:gd name="connsiteY709" fmla="*/ 198203 h 248370"/>
                  <a:gd name="connsiteX710" fmla="*/ 69212 w 186564"/>
                  <a:gd name="connsiteY710" fmla="*/ 198820 h 248370"/>
                  <a:gd name="connsiteX711" fmla="*/ 65686 w 186564"/>
                  <a:gd name="connsiteY711" fmla="*/ 198555 h 248370"/>
                  <a:gd name="connsiteX712" fmla="*/ 64275 w 186564"/>
                  <a:gd name="connsiteY712" fmla="*/ 198820 h 248370"/>
                  <a:gd name="connsiteX713" fmla="*/ 64275 w 186564"/>
                  <a:gd name="connsiteY713" fmla="*/ 199084 h 248370"/>
                  <a:gd name="connsiteX714" fmla="*/ 64010 w 186564"/>
                  <a:gd name="connsiteY714" fmla="*/ 199701 h 248370"/>
                  <a:gd name="connsiteX715" fmla="*/ 63746 w 186564"/>
                  <a:gd name="connsiteY715" fmla="*/ 199084 h 248370"/>
                  <a:gd name="connsiteX716" fmla="*/ 62600 w 186564"/>
                  <a:gd name="connsiteY716" fmla="*/ 199966 h 248370"/>
                  <a:gd name="connsiteX717" fmla="*/ 61982 w 186564"/>
                  <a:gd name="connsiteY717" fmla="*/ 199349 h 248370"/>
                  <a:gd name="connsiteX718" fmla="*/ 60836 w 186564"/>
                  <a:gd name="connsiteY718" fmla="*/ 199966 h 248370"/>
                  <a:gd name="connsiteX719" fmla="*/ 60836 w 186564"/>
                  <a:gd name="connsiteY719" fmla="*/ 200583 h 248370"/>
                  <a:gd name="connsiteX720" fmla="*/ 60572 w 186564"/>
                  <a:gd name="connsiteY720" fmla="*/ 200583 h 248370"/>
                  <a:gd name="connsiteX721" fmla="*/ 59690 w 186564"/>
                  <a:gd name="connsiteY721" fmla="*/ 199701 h 248370"/>
                  <a:gd name="connsiteX722" fmla="*/ 59161 w 186564"/>
                  <a:gd name="connsiteY722" fmla="*/ 200848 h 248370"/>
                  <a:gd name="connsiteX723" fmla="*/ 58279 w 186564"/>
                  <a:gd name="connsiteY723" fmla="*/ 199701 h 248370"/>
                  <a:gd name="connsiteX724" fmla="*/ 57133 w 186564"/>
                  <a:gd name="connsiteY724" fmla="*/ 199966 h 248370"/>
                  <a:gd name="connsiteX725" fmla="*/ 55987 w 186564"/>
                  <a:gd name="connsiteY725" fmla="*/ 200583 h 248370"/>
                  <a:gd name="connsiteX726" fmla="*/ 55987 w 186564"/>
                  <a:gd name="connsiteY726" fmla="*/ 201729 h 248370"/>
                  <a:gd name="connsiteX727" fmla="*/ 55370 w 186564"/>
                  <a:gd name="connsiteY727" fmla="*/ 202082 h 248370"/>
                  <a:gd name="connsiteX728" fmla="*/ 54224 w 186564"/>
                  <a:gd name="connsiteY728" fmla="*/ 202346 h 248370"/>
                  <a:gd name="connsiteX729" fmla="*/ 54224 w 186564"/>
                  <a:gd name="connsiteY729" fmla="*/ 202875 h 248370"/>
                  <a:gd name="connsiteX730" fmla="*/ 53959 w 186564"/>
                  <a:gd name="connsiteY730" fmla="*/ 203140 h 248370"/>
                  <a:gd name="connsiteX731" fmla="*/ 53342 w 186564"/>
                  <a:gd name="connsiteY731" fmla="*/ 202875 h 248370"/>
                  <a:gd name="connsiteX732" fmla="*/ 52725 w 186564"/>
                  <a:gd name="connsiteY732" fmla="*/ 203493 h 248370"/>
                  <a:gd name="connsiteX733" fmla="*/ 52989 w 186564"/>
                  <a:gd name="connsiteY733" fmla="*/ 204110 h 248370"/>
                  <a:gd name="connsiteX734" fmla="*/ 54135 w 186564"/>
                  <a:gd name="connsiteY734" fmla="*/ 204110 h 248370"/>
                  <a:gd name="connsiteX735" fmla="*/ 55899 w 186564"/>
                  <a:gd name="connsiteY735" fmla="*/ 204110 h 248370"/>
                  <a:gd name="connsiteX736" fmla="*/ 56780 w 186564"/>
                  <a:gd name="connsiteY736" fmla="*/ 204374 h 248370"/>
                  <a:gd name="connsiteX737" fmla="*/ 57045 w 186564"/>
                  <a:gd name="connsiteY737" fmla="*/ 205521 h 248370"/>
                  <a:gd name="connsiteX738" fmla="*/ 56780 w 186564"/>
                  <a:gd name="connsiteY738" fmla="*/ 206402 h 248370"/>
                  <a:gd name="connsiteX739" fmla="*/ 55634 w 186564"/>
                  <a:gd name="connsiteY739" fmla="*/ 206667 h 248370"/>
                  <a:gd name="connsiteX740" fmla="*/ 54488 w 186564"/>
                  <a:gd name="connsiteY740" fmla="*/ 206050 h 248370"/>
                  <a:gd name="connsiteX741" fmla="*/ 53342 w 186564"/>
                  <a:gd name="connsiteY741" fmla="*/ 206314 h 248370"/>
                  <a:gd name="connsiteX742" fmla="*/ 53342 w 186564"/>
                  <a:gd name="connsiteY742" fmla="*/ 207460 h 248370"/>
                  <a:gd name="connsiteX743" fmla="*/ 53959 w 186564"/>
                  <a:gd name="connsiteY743" fmla="*/ 208606 h 248370"/>
                  <a:gd name="connsiteX744" fmla="*/ 55722 w 186564"/>
                  <a:gd name="connsiteY744" fmla="*/ 208871 h 248370"/>
                  <a:gd name="connsiteX745" fmla="*/ 56339 w 186564"/>
                  <a:gd name="connsiteY745" fmla="*/ 208342 h 248370"/>
                  <a:gd name="connsiteX746" fmla="*/ 55722 w 186564"/>
                  <a:gd name="connsiteY746" fmla="*/ 207725 h 248370"/>
                  <a:gd name="connsiteX747" fmla="*/ 56869 w 186564"/>
                  <a:gd name="connsiteY747" fmla="*/ 207108 h 248370"/>
                  <a:gd name="connsiteX748" fmla="*/ 58367 w 186564"/>
                  <a:gd name="connsiteY748" fmla="*/ 207108 h 248370"/>
                  <a:gd name="connsiteX749" fmla="*/ 58985 w 186564"/>
                  <a:gd name="connsiteY749" fmla="*/ 207725 h 248370"/>
                  <a:gd name="connsiteX750" fmla="*/ 60131 w 186564"/>
                  <a:gd name="connsiteY750" fmla="*/ 207460 h 248370"/>
                  <a:gd name="connsiteX751" fmla="*/ 61013 w 186564"/>
                  <a:gd name="connsiteY751" fmla="*/ 207725 h 248370"/>
                  <a:gd name="connsiteX752" fmla="*/ 58985 w 186564"/>
                  <a:gd name="connsiteY752" fmla="*/ 208871 h 248370"/>
                  <a:gd name="connsiteX753" fmla="*/ 58367 w 186564"/>
                  <a:gd name="connsiteY753" fmla="*/ 209488 h 248370"/>
                  <a:gd name="connsiteX754" fmla="*/ 57486 w 186564"/>
                  <a:gd name="connsiteY754" fmla="*/ 208871 h 248370"/>
                  <a:gd name="connsiteX755" fmla="*/ 56339 w 186564"/>
                  <a:gd name="connsiteY755" fmla="*/ 209135 h 248370"/>
                  <a:gd name="connsiteX756" fmla="*/ 56957 w 186564"/>
                  <a:gd name="connsiteY756" fmla="*/ 209400 h 248370"/>
                  <a:gd name="connsiteX757" fmla="*/ 57486 w 186564"/>
                  <a:gd name="connsiteY757" fmla="*/ 209400 h 248370"/>
                  <a:gd name="connsiteX758" fmla="*/ 57221 w 186564"/>
                  <a:gd name="connsiteY758" fmla="*/ 210017 h 248370"/>
                  <a:gd name="connsiteX759" fmla="*/ 57486 w 186564"/>
                  <a:gd name="connsiteY759" fmla="*/ 210017 h 248370"/>
                  <a:gd name="connsiteX760" fmla="*/ 58367 w 186564"/>
                  <a:gd name="connsiteY760" fmla="*/ 210282 h 248370"/>
                  <a:gd name="connsiteX761" fmla="*/ 59514 w 186564"/>
                  <a:gd name="connsiteY761" fmla="*/ 210282 h 248370"/>
                  <a:gd name="connsiteX762" fmla="*/ 60395 w 186564"/>
                  <a:gd name="connsiteY762" fmla="*/ 210546 h 248370"/>
                  <a:gd name="connsiteX763" fmla="*/ 60660 w 186564"/>
                  <a:gd name="connsiteY763" fmla="*/ 210017 h 248370"/>
                  <a:gd name="connsiteX764" fmla="*/ 62423 w 186564"/>
                  <a:gd name="connsiteY764" fmla="*/ 210017 h 248370"/>
                  <a:gd name="connsiteX765" fmla="*/ 63569 w 186564"/>
                  <a:gd name="connsiteY765" fmla="*/ 209400 h 248370"/>
                  <a:gd name="connsiteX766" fmla="*/ 64187 w 186564"/>
                  <a:gd name="connsiteY766" fmla="*/ 209400 h 248370"/>
                  <a:gd name="connsiteX767" fmla="*/ 65333 w 186564"/>
                  <a:gd name="connsiteY767" fmla="*/ 207637 h 248370"/>
                  <a:gd name="connsiteX768" fmla="*/ 67361 w 186564"/>
                  <a:gd name="connsiteY768" fmla="*/ 207372 h 248370"/>
                  <a:gd name="connsiteX769" fmla="*/ 69124 w 186564"/>
                  <a:gd name="connsiteY769" fmla="*/ 206755 h 248370"/>
                  <a:gd name="connsiteX770" fmla="*/ 69124 w 186564"/>
                  <a:gd name="connsiteY770" fmla="*/ 206490 h 248370"/>
                  <a:gd name="connsiteX771" fmla="*/ 70623 w 186564"/>
                  <a:gd name="connsiteY771" fmla="*/ 205344 h 248370"/>
                  <a:gd name="connsiteX772" fmla="*/ 70887 w 186564"/>
                  <a:gd name="connsiteY772" fmla="*/ 205080 h 248370"/>
                  <a:gd name="connsiteX773" fmla="*/ 71504 w 186564"/>
                  <a:gd name="connsiteY773" fmla="*/ 205344 h 248370"/>
                  <a:gd name="connsiteX774" fmla="*/ 71504 w 186564"/>
                  <a:gd name="connsiteY774" fmla="*/ 205697 h 248370"/>
                  <a:gd name="connsiteX775" fmla="*/ 70887 w 186564"/>
                  <a:gd name="connsiteY775" fmla="*/ 206579 h 248370"/>
                  <a:gd name="connsiteX776" fmla="*/ 70887 w 186564"/>
                  <a:gd name="connsiteY776" fmla="*/ 206843 h 248370"/>
                  <a:gd name="connsiteX777" fmla="*/ 71504 w 186564"/>
                  <a:gd name="connsiteY777" fmla="*/ 207725 h 248370"/>
                  <a:gd name="connsiteX778" fmla="*/ 72122 w 186564"/>
                  <a:gd name="connsiteY778" fmla="*/ 208871 h 248370"/>
                  <a:gd name="connsiteX779" fmla="*/ 73532 w 186564"/>
                  <a:gd name="connsiteY779" fmla="*/ 208871 h 248370"/>
                  <a:gd name="connsiteX780" fmla="*/ 75296 w 186564"/>
                  <a:gd name="connsiteY780" fmla="*/ 209488 h 248370"/>
                  <a:gd name="connsiteX781" fmla="*/ 75560 w 186564"/>
                  <a:gd name="connsiteY781" fmla="*/ 209841 h 248370"/>
                  <a:gd name="connsiteX782" fmla="*/ 75296 w 186564"/>
                  <a:gd name="connsiteY782" fmla="*/ 210105 h 248370"/>
                  <a:gd name="connsiteX783" fmla="*/ 73532 w 186564"/>
                  <a:gd name="connsiteY783" fmla="*/ 210105 h 248370"/>
                  <a:gd name="connsiteX784" fmla="*/ 73003 w 186564"/>
                  <a:gd name="connsiteY784" fmla="*/ 210105 h 248370"/>
                  <a:gd name="connsiteX785" fmla="*/ 71857 w 186564"/>
                  <a:gd name="connsiteY785" fmla="*/ 210105 h 248370"/>
                  <a:gd name="connsiteX786" fmla="*/ 71857 w 186564"/>
                  <a:gd name="connsiteY786" fmla="*/ 210634 h 248370"/>
                  <a:gd name="connsiteX787" fmla="*/ 71593 w 186564"/>
                  <a:gd name="connsiteY787" fmla="*/ 210634 h 248370"/>
                  <a:gd name="connsiteX788" fmla="*/ 71857 w 186564"/>
                  <a:gd name="connsiteY788" fmla="*/ 211251 h 248370"/>
                  <a:gd name="connsiteX789" fmla="*/ 72474 w 186564"/>
                  <a:gd name="connsiteY789" fmla="*/ 212133 h 248370"/>
                  <a:gd name="connsiteX790" fmla="*/ 73356 w 186564"/>
                  <a:gd name="connsiteY790" fmla="*/ 212398 h 248370"/>
                  <a:gd name="connsiteX791" fmla="*/ 73973 w 186564"/>
                  <a:gd name="connsiteY791" fmla="*/ 212662 h 248370"/>
                  <a:gd name="connsiteX792" fmla="*/ 74590 w 186564"/>
                  <a:gd name="connsiteY792" fmla="*/ 212398 h 248370"/>
                  <a:gd name="connsiteX793" fmla="*/ 74590 w 186564"/>
                  <a:gd name="connsiteY793" fmla="*/ 211251 h 248370"/>
                  <a:gd name="connsiteX794" fmla="*/ 75472 w 186564"/>
                  <a:gd name="connsiteY794" fmla="*/ 211869 h 248370"/>
                  <a:gd name="connsiteX795" fmla="*/ 76883 w 186564"/>
                  <a:gd name="connsiteY795" fmla="*/ 211251 h 248370"/>
                  <a:gd name="connsiteX796" fmla="*/ 76266 w 186564"/>
                  <a:gd name="connsiteY796" fmla="*/ 210634 h 248370"/>
                  <a:gd name="connsiteX797" fmla="*/ 76883 w 186564"/>
                  <a:gd name="connsiteY797" fmla="*/ 210634 h 248370"/>
                  <a:gd name="connsiteX798" fmla="*/ 78029 w 186564"/>
                  <a:gd name="connsiteY798" fmla="*/ 210105 h 248370"/>
                  <a:gd name="connsiteX799" fmla="*/ 79792 w 186564"/>
                  <a:gd name="connsiteY799" fmla="*/ 209841 h 248370"/>
                  <a:gd name="connsiteX800" fmla="*/ 80410 w 186564"/>
                  <a:gd name="connsiteY800" fmla="*/ 210105 h 248370"/>
                  <a:gd name="connsiteX801" fmla="*/ 81291 w 186564"/>
                  <a:gd name="connsiteY801" fmla="*/ 211251 h 248370"/>
                  <a:gd name="connsiteX802" fmla="*/ 81027 w 186564"/>
                  <a:gd name="connsiteY802" fmla="*/ 213015 h 248370"/>
                  <a:gd name="connsiteX803" fmla="*/ 85082 w 186564"/>
                  <a:gd name="connsiteY803" fmla="*/ 213897 h 248370"/>
                  <a:gd name="connsiteX804" fmla="*/ 87110 w 186564"/>
                  <a:gd name="connsiteY804" fmla="*/ 215043 h 248370"/>
                  <a:gd name="connsiteX805" fmla="*/ 90373 w 186564"/>
                  <a:gd name="connsiteY805" fmla="*/ 215043 h 248370"/>
                  <a:gd name="connsiteX806" fmla="*/ 92401 w 186564"/>
                  <a:gd name="connsiteY806" fmla="*/ 215307 h 248370"/>
                  <a:gd name="connsiteX807" fmla="*/ 92665 w 186564"/>
                  <a:gd name="connsiteY807" fmla="*/ 214690 h 248370"/>
                  <a:gd name="connsiteX808" fmla="*/ 92401 w 186564"/>
                  <a:gd name="connsiteY808" fmla="*/ 213808 h 248370"/>
                  <a:gd name="connsiteX809" fmla="*/ 92665 w 186564"/>
                  <a:gd name="connsiteY809" fmla="*/ 213191 h 248370"/>
                  <a:gd name="connsiteX810" fmla="*/ 93811 w 186564"/>
                  <a:gd name="connsiteY810" fmla="*/ 212927 h 248370"/>
                  <a:gd name="connsiteX811" fmla="*/ 95839 w 186564"/>
                  <a:gd name="connsiteY811" fmla="*/ 212398 h 248370"/>
                  <a:gd name="connsiteX812" fmla="*/ 95574 w 186564"/>
                  <a:gd name="connsiteY812" fmla="*/ 211516 h 248370"/>
                  <a:gd name="connsiteX813" fmla="*/ 96192 w 186564"/>
                  <a:gd name="connsiteY813" fmla="*/ 211251 h 248370"/>
                  <a:gd name="connsiteX814" fmla="*/ 96456 w 186564"/>
                  <a:gd name="connsiteY814" fmla="*/ 212398 h 248370"/>
                  <a:gd name="connsiteX815" fmla="*/ 97338 w 186564"/>
                  <a:gd name="connsiteY815" fmla="*/ 211780 h 248370"/>
                  <a:gd name="connsiteX816" fmla="*/ 97955 w 186564"/>
                  <a:gd name="connsiteY816" fmla="*/ 212398 h 248370"/>
                  <a:gd name="connsiteX817" fmla="*/ 102011 w 186564"/>
                  <a:gd name="connsiteY817" fmla="*/ 210634 h 248370"/>
                  <a:gd name="connsiteX818" fmla="*/ 106067 w 186564"/>
                  <a:gd name="connsiteY818" fmla="*/ 206843 h 248370"/>
                  <a:gd name="connsiteX819" fmla="*/ 107566 w 186564"/>
                  <a:gd name="connsiteY819" fmla="*/ 206579 h 248370"/>
                  <a:gd name="connsiteX820" fmla="*/ 106067 w 186564"/>
                  <a:gd name="connsiteY820" fmla="*/ 207725 h 248370"/>
                  <a:gd name="connsiteX821" fmla="*/ 106331 w 186564"/>
                  <a:gd name="connsiteY821" fmla="*/ 209135 h 248370"/>
                  <a:gd name="connsiteX822" fmla="*/ 105714 w 186564"/>
                  <a:gd name="connsiteY822" fmla="*/ 212045 h 248370"/>
                  <a:gd name="connsiteX823" fmla="*/ 101923 w 186564"/>
                  <a:gd name="connsiteY823" fmla="*/ 212927 h 248370"/>
                  <a:gd name="connsiteX824" fmla="*/ 99542 w 186564"/>
                  <a:gd name="connsiteY824" fmla="*/ 212927 h 248370"/>
                  <a:gd name="connsiteX825" fmla="*/ 97779 w 186564"/>
                  <a:gd name="connsiteY825" fmla="*/ 215307 h 248370"/>
                  <a:gd name="connsiteX826" fmla="*/ 97426 w 186564"/>
                  <a:gd name="connsiteY826" fmla="*/ 215924 h 248370"/>
                  <a:gd name="connsiteX827" fmla="*/ 96897 w 186564"/>
                  <a:gd name="connsiteY827" fmla="*/ 216453 h 248370"/>
                  <a:gd name="connsiteX828" fmla="*/ 96015 w 186564"/>
                  <a:gd name="connsiteY828" fmla="*/ 216189 h 248370"/>
                  <a:gd name="connsiteX829" fmla="*/ 96280 w 186564"/>
                  <a:gd name="connsiteY829" fmla="*/ 217335 h 248370"/>
                  <a:gd name="connsiteX830" fmla="*/ 95398 w 186564"/>
                  <a:gd name="connsiteY830" fmla="*/ 217952 h 248370"/>
                  <a:gd name="connsiteX831" fmla="*/ 96015 w 186564"/>
                  <a:gd name="connsiteY831" fmla="*/ 219716 h 248370"/>
                  <a:gd name="connsiteX832" fmla="*/ 95134 w 186564"/>
                  <a:gd name="connsiteY832" fmla="*/ 220862 h 248370"/>
                  <a:gd name="connsiteX833" fmla="*/ 93723 w 186564"/>
                  <a:gd name="connsiteY833" fmla="*/ 219716 h 248370"/>
                  <a:gd name="connsiteX834" fmla="*/ 92224 w 186564"/>
                  <a:gd name="connsiteY834" fmla="*/ 219716 h 248370"/>
                  <a:gd name="connsiteX835" fmla="*/ 91960 w 186564"/>
                  <a:gd name="connsiteY835" fmla="*/ 220862 h 248370"/>
                  <a:gd name="connsiteX836" fmla="*/ 90461 w 186564"/>
                  <a:gd name="connsiteY836" fmla="*/ 221126 h 248370"/>
                  <a:gd name="connsiteX837" fmla="*/ 88168 w 186564"/>
                  <a:gd name="connsiteY837" fmla="*/ 220245 h 248370"/>
                  <a:gd name="connsiteX838" fmla="*/ 87022 w 186564"/>
                  <a:gd name="connsiteY838" fmla="*/ 219627 h 248370"/>
                  <a:gd name="connsiteX839" fmla="*/ 84994 w 186564"/>
                  <a:gd name="connsiteY839" fmla="*/ 219627 h 248370"/>
                  <a:gd name="connsiteX840" fmla="*/ 81820 w 186564"/>
                  <a:gd name="connsiteY840" fmla="*/ 219010 h 248370"/>
                  <a:gd name="connsiteX841" fmla="*/ 79792 w 186564"/>
                  <a:gd name="connsiteY841" fmla="*/ 218746 h 248370"/>
                  <a:gd name="connsiteX842" fmla="*/ 78294 w 186564"/>
                  <a:gd name="connsiteY842" fmla="*/ 217864 h 248370"/>
                  <a:gd name="connsiteX843" fmla="*/ 76266 w 186564"/>
                  <a:gd name="connsiteY843" fmla="*/ 218393 h 248370"/>
                  <a:gd name="connsiteX844" fmla="*/ 74502 w 186564"/>
                  <a:gd name="connsiteY844" fmla="*/ 219539 h 248370"/>
                  <a:gd name="connsiteX845" fmla="*/ 73003 w 186564"/>
                  <a:gd name="connsiteY845" fmla="*/ 220156 h 248370"/>
                  <a:gd name="connsiteX846" fmla="*/ 73003 w 186564"/>
                  <a:gd name="connsiteY846" fmla="*/ 221038 h 248370"/>
                  <a:gd name="connsiteX847" fmla="*/ 72739 w 186564"/>
                  <a:gd name="connsiteY847" fmla="*/ 221303 h 248370"/>
                  <a:gd name="connsiteX848" fmla="*/ 73003 w 186564"/>
                  <a:gd name="connsiteY848" fmla="*/ 223330 h 248370"/>
                  <a:gd name="connsiteX849" fmla="*/ 72739 w 186564"/>
                  <a:gd name="connsiteY849" fmla="*/ 223948 h 248370"/>
                  <a:gd name="connsiteX850" fmla="*/ 70711 w 186564"/>
                  <a:gd name="connsiteY850" fmla="*/ 224565 h 248370"/>
                  <a:gd name="connsiteX851" fmla="*/ 70446 w 186564"/>
                  <a:gd name="connsiteY851" fmla="*/ 224565 h 248370"/>
                  <a:gd name="connsiteX852" fmla="*/ 68683 w 186564"/>
                  <a:gd name="connsiteY852" fmla="*/ 224565 h 248370"/>
                  <a:gd name="connsiteX853" fmla="*/ 67184 w 186564"/>
                  <a:gd name="connsiteY853" fmla="*/ 224565 h 248370"/>
                  <a:gd name="connsiteX854" fmla="*/ 66920 w 186564"/>
                  <a:gd name="connsiteY854" fmla="*/ 224829 h 248370"/>
                  <a:gd name="connsiteX855" fmla="*/ 65774 w 186564"/>
                  <a:gd name="connsiteY855" fmla="*/ 225094 h 248370"/>
                  <a:gd name="connsiteX856" fmla="*/ 65509 w 186564"/>
                  <a:gd name="connsiteY856" fmla="*/ 225976 h 248370"/>
                  <a:gd name="connsiteX857" fmla="*/ 65245 w 186564"/>
                  <a:gd name="connsiteY857" fmla="*/ 226857 h 248370"/>
                  <a:gd name="connsiteX858" fmla="*/ 64980 w 186564"/>
                  <a:gd name="connsiteY858" fmla="*/ 227739 h 248370"/>
                  <a:gd name="connsiteX859" fmla="*/ 65245 w 186564"/>
                  <a:gd name="connsiteY859" fmla="*/ 228621 h 248370"/>
                  <a:gd name="connsiteX860" fmla="*/ 67008 w 186564"/>
                  <a:gd name="connsiteY860" fmla="*/ 229238 h 248370"/>
                  <a:gd name="connsiteX861" fmla="*/ 66479 w 186564"/>
                  <a:gd name="connsiteY861" fmla="*/ 230119 h 248370"/>
                  <a:gd name="connsiteX862" fmla="*/ 64980 w 186564"/>
                  <a:gd name="connsiteY862" fmla="*/ 230384 h 248370"/>
                  <a:gd name="connsiteX863" fmla="*/ 64451 w 186564"/>
                  <a:gd name="connsiteY863" fmla="*/ 231530 h 248370"/>
                  <a:gd name="connsiteX864" fmla="*/ 63569 w 186564"/>
                  <a:gd name="connsiteY864" fmla="*/ 231883 h 248370"/>
                  <a:gd name="connsiteX865" fmla="*/ 63040 w 186564"/>
                  <a:gd name="connsiteY865" fmla="*/ 232765 h 248370"/>
                  <a:gd name="connsiteX866" fmla="*/ 61894 w 186564"/>
                  <a:gd name="connsiteY866" fmla="*/ 235145 h 248370"/>
                  <a:gd name="connsiteX867" fmla="*/ 60483 w 186564"/>
                  <a:gd name="connsiteY867" fmla="*/ 235762 h 248370"/>
                  <a:gd name="connsiteX868" fmla="*/ 60483 w 186564"/>
                  <a:gd name="connsiteY868" fmla="*/ 235145 h 248370"/>
                  <a:gd name="connsiteX869" fmla="*/ 59602 w 186564"/>
                  <a:gd name="connsiteY869" fmla="*/ 235145 h 248370"/>
                  <a:gd name="connsiteX870" fmla="*/ 59602 w 186564"/>
                  <a:gd name="connsiteY870" fmla="*/ 236291 h 248370"/>
                  <a:gd name="connsiteX871" fmla="*/ 58720 w 186564"/>
                  <a:gd name="connsiteY871" fmla="*/ 236291 h 248370"/>
                  <a:gd name="connsiteX872" fmla="*/ 58456 w 186564"/>
                  <a:gd name="connsiteY872" fmla="*/ 235674 h 248370"/>
                  <a:gd name="connsiteX873" fmla="*/ 58456 w 186564"/>
                  <a:gd name="connsiteY873" fmla="*/ 236291 h 248370"/>
                  <a:gd name="connsiteX874" fmla="*/ 57574 w 186564"/>
                  <a:gd name="connsiteY874" fmla="*/ 236027 h 248370"/>
                  <a:gd name="connsiteX875" fmla="*/ 56692 w 186564"/>
                  <a:gd name="connsiteY875" fmla="*/ 236291 h 248370"/>
                  <a:gd name="connsiteX876" fmla="*/ 56692 w 186564"/>
                  <a:gd name="connsiteY876" fmla="*/ 237702 h 248370"/>
                  <a:gd name="connsiteX877" fmla="*/ 56692 w 186564"/>
                  <a:gd name="connsiteY877" fmla="*/ 237966 h 248370"/>
                  <a:gd name="connsiteX878" fmla="*/ 56957 w 186564"/>
                  <a:gd name="connsiteY878" fmla="*/ 238848 h 248370"/>
                  <a:gd name="connsiteX879" fmla="*/ 56692 w 186564"/>
                  <a:gd name="connsiteY879" fmla="*/ 239465 h 248370"/>
                  <a:gd name="connsiteX880" fmla="*/ 56075 w 186564"/>
                  <a:gd name="connsiteY880" fmla="*/ 239730 h 248370"/>
                  <a:gd name="connsiteX881" fmla="*/ 54929 w 186564"/>
                  <a:gd name="connsiteY881" fmla="*/ 239465 h 248370"/>
                  <a:gd name="connsiteX882" fmla="*/ 54665 w 186564"/>
                  <a:gd name="connsiteY882" fmla="*/ 239730 h 248370"/>
                  <a:gd name="connsiteX883" fmla="*/ 54400 w 186564"/>
                  <a:gd name="connsiteY883" fmla="*/ 240612 h 248370"/>
                  <a:gd name="connsiteX884" fmla="*/ 52901 w 186564"/>
                  <a:gd name="connsiteY884" fmla="*/ 240083 h 248370"/>
                  <a:gd name="connsiteX885" fmla="*/ 53166 w 186564"/>
                  <a:gd name="connsiteY885" fmla="*/ 241229 h 248370"/>
                  <a:gd name="connsiteX886" fmla="*/ 52019 w 186564"/>
                  <a:gd name="connsiteY886" fmla="*/ 242375 h 248370"/>
                  <a:gd name="connsiteX887" fmla="*/ 51402 w 186564"/>
                  <a:gd name="connsiteY887" fmla="*/ 242904 h 248370"/>
                  <a:gd name="connsiteX888" fmla="*/ 50256 w 186564"/>
                  <a:gd name="connsiteY888" fmla="*/ 242904 h 248370"/>
                  <a:gd name="connsiteX889" fmla="*/ 49110 w 186564"/>
                  <a:gd name="connsiteY889" fmla="*/ 242375 h 248370"/>
                  <a:gd name="connsiteX890" fmla="*/ 48228 w 186564"/>
                  <a:gd name="connsiteY890" fmla="*/ 241758 h 248370"/>
                  <a:gd name="connsiteX891" fmla="*/ 47611 w 186564"/>
                  <a:gd name="connsiteY891" fmla="*/ 242904 h 248370"/>
                  <a:gd name="connsiteX892" fmla="*/ 46465 w 186564"/>
                  <a:gd name="connsiteY892" fmla="*/ 242022 h 248370"/>
                  <a:gd name="connsiteX893" fmla="*/ 45318 w 186564"/>
                  <a:gd name="connsiteY893" fmla="*/ 242022 h 248370"/>
                  <a:gd name="connsiteX894" fmla="*/ 45936 w 186564"/>
                  <a:gd name="connsiteY894" fmla="*/ 243168 h 248370"/>
                  <a:gd name="connsiteX895" fmla="*/ 44525 w 186564"/>
                  <a:gd name="connsiteY895" fmla="*/ 243168 h 248370"/>
                  <a:gd name="connsiteX896" fmla="*/ 43643 w 186564"/>
                  <a:gd name="connsiteY896" fmla="*/ 245461 h 248370"/>
                  <a:gd name="connsiteX897" fmla="*/ 43026 w 186564"/>
                  <a:gd name="connsiteY897" fmla="*/ 245196 h 248370"/>
                  <a:gd name="connsiteX898" fmla="*/ 42409 w 186564"/>
                  <a:gd name="connsiteY898" fmla="*/ 245813 h 248370"/>
                  <a:gd name="connsiteX899" fmla="*/ 42409 w 186564"/>
                  <a:gd name="connsiteY899" fmla="*/ 246960 h 248370"/>
                  <a:gd name="connsiteX900" fmla="*/ 43555 w 186564"/>
                  <a:gd name="connsiteY900" fmla="*/ 246960 h 248370"/>
                  <a:gd name="connsiteX901" fmla="*/ 43555 w 186564"/>
                  <a:gd name="connsiteY901" fmla="*/ 247224 h 248370"/>
                  <a:gd name="connsiteX902" fmla="*/ 45054 w 186564"/>
                  <a:gd name="connsiteY902" fmla="*/ 248106 h 248370"/>
                  <a:gd name="connsiteX903" fmla="*/ 46200 w 186564"/>
                  <a:gd name="connsiteY903" fmla="*/ 248106 h 248370"/>
                  <a:gd name="connsiteX904" fmla="*/ 46817 w 186564"/>
                  <a:gd name="connsiteY904" fmla="*/ 247224 h 248370"/>
                  <a:gd name="connsiteX905" fmla="*/ 46817 w 186564"/>
                  <a:gd name="connsiteY905" fmla="*/ 246960 h 248370"/>
                  <a:gd name="connsiteX906" fmla="*/ 47699 w 186564"/>
                  <a:gd name="connsiteY906" fmla="*/ 246960 h 248370"/>
                  <a:gd name="connsiteX907" fmla="*/ 48581 w 186564"/>
                  <a:gd name="connsiteY907" fmla="*/ 246342 h 248370"/>
                  <a:gd name="connsiteX908" fmla="*/ 49727 w 186564"/>
                  <a:gd name="connsiteY908" fmla="*/ 246342 h 248370"/>
                  <a:gd name="connsiteX909" fmla="*/ 51490 w 186564"/>
                  <a:gd name="connsiteY909" fmla="*/ 246960 h 248370"/>
                  <a:gd name="connsiteX910" fmla="*/ 52108 w 186564"/>
                  <a:gd name="connsiteY910" fmla="*/ 247224 h 248370"/>
                  <a:gd name="connsiteX911" fmla="*/ 51490 w 186564"/>
                  <a:gd name="connsiteY911" fmla="*/ 248370 h 248370"/>
                  <a:gd name="connsiteX912" fmla="*/ 52108 w 186564"/>
                  <a:gd name="connsiteY912" fmla="*/ 248370 h 248370"/>
                  <a:gd name="connsiteX913" fmla="*/ 53254 w 186564"/>
                  <a:gd name="connsiteY913" fmla="*/ 248370 h 248370"/>
                  <a:gd name="connsiteX914" fmla="*/ 53871 w 186564"/>
                  <a:gd name="connsiteY914" fmla="*/ 247753 h 248370"/>
                  <a:gd name="connsiteX915" fmla="*/ 54752 w 186564"/>
                  <a:gd name="connsiteY915" fmla="*/ 248370 h 248370"/>
                  <a:gd name="connsiteX916" fmla="*/ 56163 w 186564"/>
                  <a:gd name="connsiteY916" fmla="*/ 248106 h 248370"/>
                  <a:gd name="connsiteX917" fmla="*/ 56428 w 186564"/>
                  <a:gd name="connsiteY917" fmla="*/ 247224 h 248370"/>
                  <a:gd name="connsiteX918" fmla="*/ 57574 w 186564"/>
                  <a:gd name="connsiteY918" fmla="*/ 247841 h 248370"/>
                  <a:gd name="connsiteX919" fmla="*/ 57838 w 186564"/>
                  <a:gd name="connsiteY919" fmla="*/ 246960 h 248370"/>
                  <a:gd name="connsiteX920" fmla="*/ 57221 w 186564"/>
                  <a:gd name="connsiteY920" fmla="*/ 246342 h 248370"/>
                  <a:gd name="connsiteX921" fmla="*/ 56339 w 186564"/>
                  <a:gd name="connsiteY921" fmla="*/ 246960 h 248370"/>
                  <a:gd name="connsiteX922" fmla="*/ 56604 w 186564"/>
                  <a:gd name="connsiteY922" fmla="*/ 246078 h 248370"/>
                  <a:gd name="connsiteX923" fmla="*/ 54576 w 186564"/>
                  <a:gd name="connsiteY923" fmla="*/ 246078 h 248370"/>
                  <a:gd name="connsiteX924" fmla="*/ 54576 w 186564"/>
                  <a:gd name="connsiteY924" fmla="*/ 245461 h 248370"/>
                  <a:gd name="connsiteX925" fmla="*/ 55458 w 186564"/>
                  <a:gd name="connsiteY925" fmla="*/ 245461 h 248370"/>
                  <a:gd name="connsiteX926" fmla="*/ 56339 w 186564"/>
                  <a:gd name="connsiteY926" fmla="*/ 245461 h 248370"/>
                  <a:gd name="connsiteX927" fmla="*/ 56957 w 186564"/>
                  <a:gd name="connsiteY927" fmla="*/ 245196 h 248370"/>
                  <a:gd name="connsiteX928" fmla="*/ 58103 w 186564"/>
                  <a:gd name="connsiteY928" fmla="*/ 245461 h 248370"/>
                  <a:gd name="connsiteX929" fmla="*/ 57486 w 186564"/>
                  <a:gd name="connsiteY929" fmla="*/ 244315 h 248370"/>
                  <a:gd name="connsiteX930" fmla="*/ 58103 w 186564"/>
                  <a:gd name="connsiteY930" fmla="*/ 243697 h 248370"/>
                  <a:gd name="connsiteX931" fmla="*/ 58985 w 186564"/>
                  <a:gd name="connsiteY931" fmla="*/ 243080 h 248370"/>
                  <a:gd name="connsiteX932" fmla="*/ 59866 w 186564"/>
                  <a:gd name="connsiteY932" fmla="*/ 243697 h 248370"/>
                  <a:gd name="connsiteX933" fmla="*/ 59866 w 186564"/>
                  <a:gd name="connsiteY933" fmla="*/ 242816 h 248370"/>
                  <a:gd name="connsiteX934" fmla="*/ 60748 w 186564"/>
                  <a:gd name="connsiteY934" fmla="*/ 242816 h 248370"/>
                  <a:gd name="connsiteX935" fmla="*/ 61630 w 186564"/>
                  <a:gd name="connsiteY935" fmla="*/ 242816 h 248370"/>
                  <a:gd name="connsiteX936" fmla="*/ 61894 w 186564"/>
                  <a:gd name="connsiteY936" fmla="*/ 241670 h 248370"/>
                  <a:gd name="connsiteX937" fmla="*/ 62776 w 186564"/>
                  <a:gd name="connsiteY937" fmla="*/ 240523 h 248370"/>
                  <a:gd name="connsiteX938" fmla="*/ 63658 w 186564"/>
                  <a:gd name="connsiteY938" fmla="*/ 240259 h 248370"/>
                  <a:gd name="connsiteX939" fmla="*/ 64539 w 186564"/>
                  <a:gd name="connsiteY939" fmla="*/ 241141 h 248370"/>
                  <a:gd name="connsiteX940" fmla="*/ 64539 w 186564"/>
                  <a:gd name="connsiteY940" fmla="*/ 242022 h 248370"/>
                  <a:gd name="connsiteX941" fmla="*/ 65950 w 186564"/>
                  <a:gd name="connsiteY941" fmla="*/ 241405 h 248370"/>
                  <a:gd name="connsiteX942" fmla="*/ 66832 w 186564"/>
                  <a:gd name="connsiteY942" fmla="*/ 240788 h 248370"/>
                  <a:gd name="connsiteX943" fmla="*/ 68330 w 186564"/>
                  <a:gd name="connsiteY943" fmla="*/ 239289 h 248370"/>
                  <a:gd name="connsiteX944" fmla="*/ 70358 w 186564"/>
                  <a:gd name="connsiteY944" fmla="*/ 239554 h 248370"/>
                  <a:gd name="connsiteX945" fmla="*/ 71240 w 186564"/>
                  <a:gd name="connsiteY945" fmla="*/ 240435 h 248370"/>
                  <a:gd name="connsiteX946" fmla="*/ 71857 w 186564"/>
                  <a:gd name="connsiteY946" fmla="*/ 239906 h 248370"/>
                  <a:gd name="connsiteX947" fmla="*/ 71857 w 186564"/>
                  <a:gd name="connsiteY947" fmla="*/ 241052 h 248370"/>
                  <a:gd name="connsiteX948" fmla="*/ 73003 w 186564"/>
                  <a:gd name="connsiteY948" fmla="*/ 241052 h 248370"/>
                  <a:gd name="connsiteX949" fmla="*/ 73532 w 186564"/>
                  <a:gd name="connsiteY949" fmla="*/ 240788 h 248370"/>
                  <a:gd name="connsiteX950" fmla="*/ 73003 w 186564"/>
                  <a:gd name="connsiteY950" fmla="*/ 240523 h 248370"/>
                  <a:gd name="connsiteX951" fmla="*/ 73003 w 186564"/>
                  <a:gd name="connsiteY951" fmla="*/ 239642 h 248370"/>
                  <a:gd name="connsiteX952" fmla="*/ 73885 w 186564"/>
                  <a:gd name="connsiteY952" fmla="*/ 239642 h 248370"/>
                  <a:gd name="connsiteX953" fmla="*/ 74767 w 186564"/>
                  <a:gd name="connsiteY953" fmla="*/ 240523 h 248370"/>
                  <a:gd name="connsiteX954" fmla="*/ 74502 w 186564"/>
                  <a:gd name="connsiteY954" fmla="*/ 241141 h 248370"/>
                  <a:gd name="connsiteX955" fmla="*/ 73356 w 186564"/>
                  <a:gd name="connsiteY955" fmla="*/ 242022 h 248370"/>
                  <a:gd name="connsiteX956" fmla="*/ 74855 w 186564"/>
                  <a:gd name="connsiteY956" fmla="*/ 242022 h 248370"/>
                  <a:gd name="connsiteX957" fmla="*/ 75737 w 186564"/>
                  <a:gd name="connsiteY957" fmla="*/ 241758 h 248370"/>
                  <a:gd name="connsiteX958" fmla="*/ 76883 w 186564"/>
                  <a:gd name="connsiteY958" fmla="*/ 241758 h 248370"/>
                  <a:gd name="connsiteX959" fmla="*/ 78382 w 186564"/>
                  <a:gd name="connsiteY959" fmla="*/ 242904 h 248370"/>
                  <a:gd name="connsiteX960" fmla="*/ 79263 w 186564"/>
                  <a:gd name="connsiteY960" fmla="*/ 242375 h 248370"/>
                  <a:gd name="connsiteX961" fmla="*/ 80674 w 186564"/>
                  <a:gd name="connsiteY961" fmla="*/ 242904 h 248370"/>
                  <a:gd name="connsiteX962" fmla="*/ 81291 w 186564"/>
                  <a:gd name="connsiteY962" fmla="*/ 242022 h 248370"/>
                  <a:gd name="connsiteX963" fmla="*/ 82173 w 186564"/>
                  <a:gd name="connsiteY963" fmla="*/ 242904 h 248370"/>
                  <a:gd name="connsiteX964" fmla="*/ 82437 w 186564"/>
                  <a:gd name="connsiteY964" fmla="*/ 242375 h 248370"/>
                  <a:gd name="connsiteX965" fmla="*/ 82702 w 186564"/>
                  <a:gd name="connsiteY965" fmla="*/ 240876 h 248370"/>
                  <a:gd name="connsiteX966" fmla="*/ 84201 w 186564"/>
                  <a:gd name="connsiteY966" fmla="*/ 240876 h 248370"/>
                  <a:gd name="connsiteX967" fmla="*/ 84730 w 186564"/>
                  <a:gd name="connsiteY967" fmla="*/ 240612 h 248370"/>
                  <a:gd name="connsiteX968" fmla="*/ 85347 w 186564"/>
                  <a:gd name="connsiteY968" fmla="*/ 239465 h 248370"/>
                  <a:gd name="connsiteX969" fmla="*/ 86229 w 186564"/>
                  <a:gd name="connsiteY969" fmla="*/ 239730 h 248370"/>
                  <a:gd name="connsiteX970" fmla="*/ 87110 w 186564"/>
                  <a:gd name="connsiteY970" fmla="*/ 240612 h 248370"/>
                  <a:gd name="connsiteX971" fmla="*/ 87375 w 186564"/>
                  <a:gd name="connsiteY971" fmla="*/ 239730 h 248370"/>
                  <a:gd name="connsiteX972" fmla="*/ 87375 w 186564"/>
                  <a:gd name="connsiteY972" fmla="*/ 239113 h 248370"/>
                  <a:gd name="connsiteX973" fmla="*/ 85876 w 186564"/>
                  <a:gd name="connsiteY973" fmla="*/ 239113 h 248370"/>
                  <a:gd name="connsiteX974" fmla="*/ 84730 w 186564"/>
                  <a:gd name="connsiteY974" fmla="*/ 238848 h 248370"/>
                  <a:gd name="connsiteX975" fmla="*/ 85611 w 186564"/>
                  <a:gd name="connsiteY975" fmla="*/ 237349 h 248370"/>
                  <a:gd name="connsiteX976" fmla="*/ 87110 w 186564"/>
                  <a:gd name="connsiteY976" fmla="*/ 237966 h 248370"/>
                  <a:gd name="connsiteX977" fmla="*/ 87110 w 186564"/>
                  <a:gd name="connsiteY977" fmla="*/ 236820 h 248370"/>
                  <a:gd name="connsiteX978" fmla="*/ 86229 w 186564"/>
                  <a:gd name="connsiteY978" fmla="*/ 235939 h 248370"/>
                  <a:gd name="connsiteX979" fmla="*/ 87110 w 186564"/>
                  <a:gd name="connsiteY979" fmla="*/ 235057 h 248370"/>
                  <a:gd name="connsiteX980" fmla="*/ 86229 w 186564"/>
                  <a:gd name="connsiteY980" fmla="*/ 233646 h 248370"/>
                  <a:gd name="connsiteX981" fmla="*/ 87110 w 186564"/>
                  <a:gd name="connsiteY981" fmla="*/ 232765 h 248370"/>
                  <a:gd name="connsiteX982" fmla="*/ 88257 w 186564"/>
                  <a:gd name="connsiteY982" fmla="*/ 233911 h 248370"/>
                  <a:gd name="connsiteX983" fmla="*/ 88874 w 186564"/>
                  <a:gd name="connsiteY983" fmla="*/ 234528 h 248370"/>
                  <a:gd name="connsiteX984" fmla="*/ 89755 w 186564"/>
                  <a:gd name="connsiteY984" fmla="*/ 235145 h 248370"/>
                  <a:gd name="connsiteX985" fmla="*/ 90902 w 186564"/>
                  <a:gd name="connsiteY985" fmla="*/ 234263 h 248370"/>
                  <a:gd name="connsiteX986" fmla="*/ 91166 w 186564"/>
                  <a:gd name="connsiteY986" fmla="*/ 233382 h 248370"/>
                  <a:gd name="connsiteX987" fmla="*/ 90902 w 186564"/>
                  <a:gd name="connsiteY987" fmla="*/ 232765 h 248370"/>
                  <a:gd name="connsiteX988" fmla="*/ 91783 w 186564"/>
                  <a:gd name="connsiteY988" fmla="*/ 231883 h 248370"/>
                  <a:gd name="connsiteX989" fmla="*/ 92401 w 186564"/>
                  <a:gd name="connsiteY989" fmla="*/ 232765 h 248370"/>
                  <a:gd name="connsiteX990" fmla="*/ 93018 w 186564"/>
                  <a:gd name="connsiteY990" fmla="*/ 233029 h 248370"/>
                  <a:gd name="connsiteX991" fmla="*/ 93899 w 186564"/>
                  <a:gd name="connsiteY991" fmla="*/ 232765 h 248370"/>
                  <a:gd name="connsiteX992" fmla="*/ 94781 w 186564"/>
                  <a:gd name="connsiteY992" fmla="*/ 231883 h 248370"/>
                  <a:gd name="connsiteX993" fmla="*/ 96280 w 186564"/>
                  <a:gd name="connsiteY993" fmla="*/ 231883 h 248370"/>
                  <a:gd name="connsiteX994" fmla="*/ 98043 w 186564"/>
                  <a:gd name="connsiteY994" fmla="*/ 231530 h 248370"/>
                  <a:gd name="connsiteX995" fmla="*/ 99807 w 186564"/>
                  <a:gd name="connsiteY995" fmla="*/ 231883 h 248370"/>
                  <a:gd name="connsiteX996" fmla="*/ 101305 w 186564"/>
                  <a:gd name="connsiteY996" fmla="*/ 231883 h 248370"/>
                  <a:gd name="connsiteX997" fmla="*/ 103598 w 186564"/>
                  <a:gd name="connsiteY997" fmla="*/ 233294 h 248370"/>
                  <a:gd name="connsiteX998" fmla="*/ 105626 w 186564"/>
                  <a:gd name="connsiteY998" fmla="*/ 233911 h 248370"/>
                  <a:gd name="connsiteX999" fmla="*/ 106243 w 186564"/>
                  <a:gd name="connsiteY999" fmla="*/ 235057 h 248370"/>
                  <a:gd name="connsiteX1000" fmla="*/ 105890 w 186564"/>
                  <a:gd name="connsiteY1000" fmla="*/ 235939 h 248370"/>
                  <a:gd name="connsiteX1001" fmla="*/ 106243 w 186564"/>
                  <a:gd name="connsiteY1001" fmla="*/ 236820 h 248370"/>
                  <a:gd name="connsiteX1002" fmla="*/ 107125 w 186564"/>
                  <a:gd name="connsiteY1002" fmla="*/ 235674 h 248370"/>
                  <a:gd name="connsiteX1003" fmla="*/ 107389 w 186564"/>
                  <a:gd name="connsiteY1003" fmla="*/ 234792 h 248370"/>
                  <a:gd name="connsiteX1004" fmla="*/ 107654 w 186564"/>
                  <a:gd name="connsiteY1004" fmla="*/ 233911 h 248370"/>
                  <a:gd name="connsiteX1005" fmla="*/ 109417 w 186564"/>
                  <a:gd name="connsiteY1005" fmla="*/ 233646 h 248370"/>
                  <a:gd name="connsiteX1006" fmla="*/ 110916 w 186564"/>
                  <a:gd name="connsiteY1006" fmla="*/ 233911 h 248370"/>
                  <a:gd name="connsiteX1007" fmla="*/ 112679 w 186564"/>
                  <a:gd name="connsiteY1007" fmla="*/ 233294 h 248370"/>
                  <a:gd name="connsiteX1008" fmla="*/ 113825 w 186564"/>
                  <a:gd name="connsiteY1008" fmla="*/ 233558 h 248370"/>
                  <a:gd name="connsiteX1009" fmla="*/ 115324 w 186564"/>
                  <a:gd name="connsiteY1009" fmla="*/ 234175 h 248370"/>
                  <a:gd name="connsiteX1010" fmla="*/ 116470 w 186564"/>
                  <a:gd name="connsiteY1010" fmla="*/ 233911 h 248370"/>
                  <a:gd name="connsiteX1011" fmla="*/ 116206 w 186564"/>
                  <a:gd name="connsiteY1011" fmla="*/ 233294 h 248370"/>
                  <a:gd name="connsiteX1012" fmla="*/ 114707 w 186564"/>
                  <a:gd name="connsiteY1012" fmla="*/ 233294 h 248370"/>
                  <a:gd name="connsiteX1013" fmla="*/ 115324 w 186564"/>
                  <a:gd name="connsiteY1013" fmla="*/ 232676 h 248370"/>
                  <a:gd name="connsiteX1014" fmla="*/ 114707 w 186564"/>
                  <a:gd name="connsiteY1014" fmla="*/ 232412 h 248370"/>
                  <a:gd name="connsiteX1015" fmla="*/ 114707 w 186564"/>
                  <a:gd name="connsiteY1015" fmla="*/ 231530 h 248370"/>
                  <a:gd name="connsiteX1016" fmla="*/ 115853 w 186564"/>
                  <a:gd name="connsiteY1016" fmla="*/ 231530 h 248370"/>
                  <a:gd name="connsiteX1017" fmla="*/ 116735 w 186564"/>
                  <a:gd name="connsiteY1017" fmla="*/ 232412 h 248370"/>
                  <a:gd name="connsiteX1018" fmla="*/ 118234 w 186564"/>
                  <a:gd name="connsiteY1018" fmla="*/ 231530 h 248370"/>
                  <a:gd name="connsiteX1019" fmla="*/ 119645 w 186564"/>
                  <a:gd name="connsiteY1019" fmla="*/ 232147 h 248370"/>
                  <a:gd name="connsiteX1020" fmla="*/ 120526 w 186564"/>
                  <a:gd name="connsiteY1020" fmla="*/ 232147 h 248370"/>
                  <a:gd name="connsiteX1021" fmla="*/ 121143 w 186564"/>
                  <a:gd name="connsiteY1021" fmla="*/ 231530 h 248370"/>
                  <a:gd name="connsiteX1022" fmla="*/ 122642 w 186564"/>
                  <a:gd name="connsiteY1022" fmla="*/ 230913 h 248370"/>
                  <a:gd name="connsiteX1023" fmla="*/ 124405 w 186564"/>
                  <a:gd name="connsiteY1023" fmla="*/ 231530 h 248370"/>
                  <a:gd name="connsiteX1024" fmla="*/ 125552 w 186564"/>
                  <a:gd name="connsiteY1024" fmla="*/ 231883 h 248370"/>
                  <a:gd name="connsiteX1025" fmla="*/ 127315 w 186564"/>
                  <a:gd name="connsiteY1025" fmla="*/ 231266 h 248370"/>
                  <a:gd name="connsiteX1026" fmla="*/ 128461 w 186564"/>
                  <a:gd name="connsiteY1026" fmla="*/ 231001 h 248370"/>
                  <a:gd name="connsiteX1027" fmla="*/ 128197 w 186564"/>
                  <a:gd name="connsiteY1027" fmla="*/ 232147 h 248370"/>
                  <a:gd name="connsiteX1028" fmla="*/ 127580 w 186564"/>
                  <a:gd name="connsiteY1028" fmla="*/ 232676 h 248370"/>
                  <a:gd name="connsiteX1029" fmla="*/ 126433 w 186564"/>
                  <a:gd name="connsiteY1029" fmla="*/ 232412 h 248370"/>
                  <a:gd name="connsiteX1030" fmla="*/ 125552 w 186564"/>
                  <a:gd name="connsiteY1030" fmla="*/ 232941 h 248370"/>
                  <a:gd name="connsiteX1031" fmla="*/ 126169 w 186564"/>
                  <a:gd name="connsiteY1031" fmla="*/ 234087 h 248370"/>
                  <a:gd name="connsiteX1032" fmla="*/ 126786 w 186564"/>
                  <a:gd name="connsiteY1032" fmla="*/ 234352 h 248370"/>
                  <a:gd name="connsiteX1033" fmla="*/ 128549 w 186564"/>
                  <a:gd name="connsiteY1033" fmla="*/ 235233 h 248370"/>
                  <a:gd name="connsiteX1034" fmla="*/ 129696 w 186564"/>
                  <a:gd name="connsiteY1034" fmla="*/ 234969 h 248370"/>
                  <a:gd name="connsiteX1035" fmla="*/ 130577 w 186564"/>
                  <a:gd name="connsiteY1035" fmla="*/ 234352 h 248370"/>
                  <a:gd name="connsiteX1036" fmla="*/ 130842 w 186564"/>
                  <a:gd name="connsiteY1036" fmla="*/ 234087 h 248370"/>
                  <a:gd name="connsiteX1037" fmla="*/ 130842 w 186564"/>
                  <a:gd name="connsiteY1037" fmla="*/ 233205 h 248370"/>
                  <a:gd name="connsiteX1038" fmla="*/ 130225 w 186564"/>
                  <a:gd name="connsiteY1038" fmla="*/ 233205 h 248370"/>
                  <a:gd name="connsiteX1039" fmla="*/ 130489 w 186564"/>
                  <a:gd name="connsiteY1039" fmla="*/ 232324 h 248370"/>
                  <a:gd name="connsiteX1040" fmla="*/ 131106 w 186564"/>
                  <a:gd name="connsiteY1040" fmla="*/ 232324 h 248370"/>
                  <a:gd name="connsiteX1041" fmla="*/ 131988 w 186564"/>
                  <a:gd name="connsiteY1041" fmla="*/ 232059 h 248370"/>
                  <a:gd name="connsiteX1042" fmla="*/ 131724 w 186564"/>
                  <a:gd name="connsiteY1042" fmla="*/ 231795 h 248370"/>
                  <a:gd name="connsiteX1043" fmla="*/ 131195 w 186564"/>
                  <a:gd name="connsiteY1043" fmla="*/ 232059 h 248370"/>
                  <a:gd name="connsiteX1044" fmla="*/ 130313 w 186564"/>
                  <a:gd name="connsiteY1044" fmla="*/ 232059 h 248370"/>
                  <a:gd name="connsiteX1045" fmla="*/ 129696 w 186564"/>
                  <a:gd name="connsiteY1045" fmla="*/ 232059 h 248370"/>
                  <a:gd name="connsiteX1046" fmla="*/ 129078 w 186564"/>
                  <a:gd name="connsiteY1046" fmla="*/ 232059 h 248370"/>
                  <a:gd name="connsiteX1047" fmla="*/ 128461 w 186564"/>
                  <a:gd name="connsiteY1047" fmla="*/ 232324 h 248370"/>
                  <a:gd name="connsiteX1048" fmla="*/ 129078 w 186564"/>
                  <a:gd name="connsiteY1048" fmla="*/ 231177 h 248370"/>
                  <a:gd name="connsiteX1049" fmla="*/ 129078 w 186564"/>
                  <a:gd name="connsiteY1049" fmla="*/ 230296 h 248370"/>
                  <a:gd name="connsiteX1050" fmla="*/ 127315 w 186564"/>
                  <a:gd name="connsiteY1050" fmla="*/ 228797 h 248370"/>
                  <a:gd name="connsiteX1051" fmla="*/ 126698 w 186564"/>
                  <a:gd name="connsiteY1051" fmla="*/ 227651 h 248370"/>
                  <a:gd name="connsiteX1052" fmla="*/ 128726 w 186564"/>
                  <a:gd name="connsiteY1052" fmla="*/ 229150 h 248370"/>
                  <a:gd name="connsiteX1053" fmla="*/ 129872 w 186564"/>
                  <a:gd name="connsiteY1053" fmla="*/ 230648 h 248370"/>
                  <a:gd name="connsiteX1054" fmla="*/ 130225 w 186564"/>
                  <a:gd name="connsiteY1054" fmla="*/ 230648 h 248370"/>
                  <a:gd name="connsiteX1055" fmla="*/ 131106 w 186564"/>
                  <a:gd name="connsiteY1055" fmla="*/ 230031 h 248370"/>
                  <a:gd name="connsiteX1056" fmla="*/ 131988 w 186564"/>
                  <a:gd name="connsiteY1056" fmla="*/ 228885 h 248370"/>
                  <a:gd name="connsiteX1057" fmla="*/ 132253 w 186564"/>
                  <a:gd name="connsiteY1057" fmla="*/ 230384 h 248370"/>
                  <a:gd name="connsiteX1058" fmla="*/ 132782 w 186564"/>
                  <a:gd name="connsiteY1058" fmla="*/ 229502 h 248370"/>
                  <a:gd name="connsiteX1059" fmla="*/ 133399 w 186564"/>
                  <a:gd name="connsiteY1059" fmla="*/ 228885 h 248370"/>
                  <a:gd name="connsiteX1060" fmla="*/ 135162 w 186564"/>
                  <a:gd name="connsiteY1060" fmla="*/ 228268 h 248370"/>
                  <a:gd name="connsiteX1061" fmla="*/ 136308 w 186564"/>
                  <a:gd name="connsiteY1061" fmla="*/ 229150 h 248370"/>
                  <a:gd name="connsiteX1062" fmla="*/ 133399 w 186564"/>
                  <a:gd name="connsiteY1062" fmla="*/ 230031 h 248370"/>
                  <a:gd name="connsiteX1063" fmla="*/ 135162 w 186564"/>
                  <a:gd name="connsiteY1063" fmla="*/ 230031 h 248370"/>
                  <a:gd name="connsiteX1064" fmla="*/ 136308 w 186564"/>
                  <a:gd name="connsiteY1064" fmla="*/ 230913 h 248370"/>
                  <a:gd name="connsiteX1065" fmla="*/ 137807 w 186564"/>
                  <a:gd name="connsiteY1065" fmla="*/ 231530 h 248370"/>
                  <a:gd name="connsiteX1066" fmla="*/ 138953 w 186564"/>
                  <a:gd name="connsiteY1066" fmla="*/ 231530 h 248370"/>
                  <a:gd name="connsiteX1067" fmla="*/ 138689 w 186564"/>
                  <a:gd name="connsiteY1067" fmla="*/ 230648 h 248370"/>
                  <a:gd name="connsiteX1068" fmla="*/ 140188 w 186564"/>
                  <a:gd name="connsiteY1068" fmla="*/ 230031 h 248370"/>
                  <a:gd name="connsiteX1069" fmla="*/ 141069 w 186564"/>
                  <a:gd name="connsiteY1069" fmla="*/ 229767 h 248370"/>
                  <a:gd name="connsiteX1070" fmla="*/ 141334 w 186564"/>
                  <a:gd name="connsiteY1070" fmla="*/ 228885 h 248370"/>
                  <a:gd name="connsiteX1071" fmla="*/ 142833 w 186564"/>
                  <a:gd name="connsiteY1071" fmla="*/ 227739 h 248370"/>
                  <a:gd name="connsiteX1072" fmla="*/ 146889 w 186564"/>
                  <a:gd name="connsiteY1072" fmla="*/ 228004 h 248370"/>
                  <a:gd name="connsiteX1073" fmla="*/ 148299 w 186564"/>
                  <a:gd name="connsiteY1073" fmla="*/ 228885 h 248370"/>
                  <a:gd name="connsiteX1074" fmla="*/ 152708 w 186564"/>
                  <a:gd name="connsiteY1074" fmla="*/ 229502 h 248370"/>
                  <a:gd name="connsiteX1075" fmla="*/ 154735 w 186564"/>
                  <a:gd name="connsiteY1075" fmla="*/ 228621 h 248370"/>
                  <a:gd name="connsiteX1076" fmla="*/ 156763 w 186564"/>
                  <a:gd name="connsiteY1076" fmla="*/ 230119 h 248370"/>
                  <a:gd name="connsiteX1077" fmla="*/ 157381 w 186564"/>
                  <a:gd name="connsiteY1077" fmla="*/ 228973 h 248370"/>
                  <a:gd name="connsiteX1078" fmla="*/ 159144 w 186564"/>
                  <a:gd name="connsiteY1078" fmla="*/ 229590 h 248370"/>
                  <a:gd name="connsiteX1079" fmla="*/ 160907 w 186564"/>
                  <a:gd name="connsiteY1079" fmla="*/ 228444 h 248370"/>
                  <a:gd name="connsiteX1080" fmla="*/ 166197 w 186564"/>
                  <a:gd name="connsiteY1080" fmla="*/ 227827 h 248370"/>
                  <a:gd name="connsiteX1081" fmla="*/ 166726 w 186564"/>
                  <a:gd name="connsiteY1081" fmla="*/ 227210 h 248370"/>
                  <a:gd name="connsiteX1082" fmla="*/ 167608 w 186564"/>
                  <a:gd name="connsiteY1082" fmla="*/ 226064 h 248370"/>
                  <a:gd name="connsiteX1083" fmla="*/ 168754 w 186564"/>
                  <a:gd name="connsiteY1083" fmla="*/ 225799 h 248370"/>
                  <a:gd name="connsiteX1084" fmla="*/ 170518 w 186564"/>
                  <a:gd name="connsiteY1084" fmla="*/ 224918 h 248370"/>
                  <a:gd name="connsiteX1085" fmla="*/ 171135 w 186564"/>
                  <a:gd name="connsiteY1085" fmla="*/ 225535 h 248370"/>
                  <a:gd name="connsiteX1086" fmla="*/ 173163 w 186564"/>
                  <a:gd name="connsiteY1086" fmla="*/ 226416 h 248370"/>
                  <a:gd name="connsiteX1087" fmla="*/ 172281 w 186564"/>
                  <a:gd name="connsiteY1087" fmla="*/ 225270 h 248370"/>
                  <a:gd name="connsiteX1088" fmla="*/ 173163 w 186564"/>
                  <a:gd name="connsiteY1088" fmla="*/ 223860 h 248370"/>
                  <a:gd name="connsiteX1089" fmla="*/ 174309 w 186564"/>
                  <a:gd name="connsiteY1089" fmla="*/ 223507 h 248370"/>
                  <a:gd name="connsiteX1090" fmla="*/ 175455 w 186564"/>
                  <a:gd name="connsiteY1090" fmla="*/ 222890 h 248370"/>
                  <a:gd name="connsiteX1091" fmla="*/ 176601 w 186564"/>
                  <a:gd name="connsiteY1091" fmla="*/ 222272 h 248370"/>
                  <a:gd name="connsiteX1092" fmla="*/ 177747 w 186564"/>
                  <a:gd name="connsiteY1092" fmla="*/ 221391 h 248370"/>
                  <a:gd name="connsiteX1093" fmla="*/ 178629 w 186564"/>
                  <a:gd name="connsiteY1093" fmla="*/ 221126 h 248370"/>
                  <a:gd name="connsiteX1094" fmla="*/ 179511 w 186564"/>
                  <a:gd name="connsiteY1094" fmla="*/ 221391 h 248370"/>
                  <a:gd name="connsiteX1095" fmla="*/ 179863 w 186564"/>
                  <a:gd name="connsiteY1095" fmla="*/ 221126 h 248370"/>
                  <a:gd name="connsiteX1096" fmla="*/ 179863 w 186564"/>
                  <a:gd name="connsiteY1096" fmla="*/ 219716 h 248370"/>
                  <a:gd name="connsiteX1097" fmla="*/ 180745 w 186564"/>
                  <a:gd name="connsiteY1097" fmla="*/ 218569 h 248370"/>
                  <a:gd name="connsiteX1098" fmla="*/ 179599 w 186564"/>
                  <a:gd name="connsiteY1098" fmla="*/ 218040 h 248370"/>
                  <a:gd name="connsiteX1099" fmla="*/ 179952 w 186564"/>
                  <a:gd name="connsiteY1099" fmla="*/ 216894 h 248370"/>
                  <a:gd name="connsiteX1100" fmla="*/ 181098 w 186564"/>
                  <a:gd name="connsiteY1100" fmla="*/ 215483 h 248370"/>
                  <a:gd name="connsiteX1101" fmla="*/ 179599 w 186564"/>
                  <a:gd name="connsiteY1101" fmla="*/ 215483 h 248370"/>
                  <a:gd name="connsiteX1102" fmla="*/ 178717 w 186564"/>
                  <a:gd name="connsiteY1102" fmla="*/ 214866 h 248370"/>
                  <a:gd name="connsiteX1103" fmla="*/ 177306 w 186564"/>
                  <a:gd name="connsiteY1103" fmla="*/ 214249 h 248370"/>
                  <a:gd name="connsiteX1104" fmla="*/ 176161 w 186564"/>
                  <a:gd name="connsiteY1104" fmla="*/ 213632 h 248370"/>
                  <a:gd name="connsiteX1105" fmla="*/ 174750 w 186564"/>
                  <a:gd name="connsiteY1105" fmla="*/ 214249 h 248370"/>
                  <a:gd name="connsiteX1106" fmla="*/ 173604 w 186564"/>
                  <a:gd name="connsiteY1106" fmla="*/ 214514 h 248370"/>
                  <a:gd name="connsiteX1107" fmla="*/ 172105 w 186564"/>
                  <a:gd name="connsiteY1107" fmla="*/ 213897 h 248370"/>
                  <a:gd name="connsiteX1108" fmla="*/ 170694 w 186564"/>
                  <a:gd name="connsiteY1108" fmla="*/ 214514 h 248370"/>
                  <a:gd name="connsiteX1109" fmla="*/ 169195 w 186564"/>
                  <a:gd name="connsiteY1109" fmla="*/ 213897 h 248370"/>
                  <a:gd name="connsiteX1110" fmla="*/ 166815 w 186564"/>
                  <a:gd name="connsiteY1110" fmla="*/ 213897 h 248370"/>
                  <a:gd name="connsiteX1111" fmla="*/ 163905 w 186564"/>
                  <a:gd name="connsiteY1111" fmla="*/ 213015 h 248370"/>
                  <a:gd name="connsiteX1112" fmla="*/ 165933 w 186564"/>
                  <a:gd name="connsiteY1112" fmla="*/ 212486 h 248370"/>
                  <a:gd name="connsiteX1113" fmla="*/ 168842 w 186564"/>
                  <a:gd name="connsiteY1113" fmla="*/ 212486 h 248370"/>
                  <a:gd name="connsiteX1114" fmla="*/ 171752 w 186564"/>
                  <a:gd name="connsiteY1114" fmla="*/ 210722 h 248370"/>
                  <a:gd name="connsiteX1115" fmla="*/ 171752 w 186564"/>
                  <a:gd name="connsiteY1115" fmla="*/ 210193 h 248370"/>
                  <a:gd name="connsiteX1116" fmla="*/ 172369 w 186564"/>
                  <a:gd name="connsiteY1116" fmla="*/ 209047 h 248370"/>
                  <a:gd name="connsiteX1117" fmla="*/ 171752 w 186564"/>
                  <a:gd name="connsiteY1117" fmla="*/ 207019 h 248370"/>
                  <a:gd name="connsiteX1118" fmla="*/ 169989 w 186564"/>
                  <a:gd name="connsiteY1118" fmla="*/ 207637 h 248370"/>
                  <a:gd name="connsiteX1119" fmla="*/ 168842 w 186564"/>
                  <a:gd name="connsiteY1119" fmla="*/ 207901 h 248370"/>
                  <a:gd name="connsiteX1120" fmla="*/ 165933 w 186564"/>
                  <a:gd name="connsiteY1120" fmla="*/ 208783 h 248370"/>
                  <a:gd name="connsiteX1121" fmla="*/ 166815 w 186564"/>
                  <a:gd name="connsiteY1121" fmla="*/ 207019 h 248370"/>
                  <a:gd name="connsiteX1122" fmla="*/ 169460 w 186564"/>
                  <a:gd name="connsiteY1122" fmla="*/ 206755 h 248370"/>
                  <a:gd name="connsiteX1123" fmla="*/ 171752 w 186564"/>
                  <a:gd name="connsiteY1123" fmla="*/ 206138 h 248370"/>
                  <a:gd name="connsiteX1124" fmla="*/ 172017 w 186564"/>
                  <a:gd name="connsiteY1124" fmla="*/ 206138 h 248370"/>
                  <a:gd name="connsiteX1125" fmla="*/ 172017 w 186564"/>
                  <a:gd name="connsiteY1125" fmla="*/ 206755 h 248370"/>
                  <a:gd name="connsiteX1126" fmla="*/ 174397 w 186564"/>
                  <a:gd name="connsiteY1126" fmla="*/ 206755 h 248370"/>
                  <a:gd name="connsiteX1127" fmla="*/ 176690 w 186564"/>
                  <a:gd name="connsiteY1127" fmla="*/ 206138 h 248370"/>
                  <a:gd name="connsiteX1128" fmla="*/ 176690 w 186564"/>
                  <a:gd name="connsiteY1128" fmla="*/ 205521 h 248370"/>
                  <a:gd name="connsiteX1129" fmla="*/ 177571 w 186564"/>
                  <a:gd name="connsiteY1129" fmla="*/ 204639 h 248370"/>
                  <a:gd name="connsiteX1130" fmla="*/ 178453 w 186564"/>
                  <a:gd name="connsiteY1130" fmla="*/ 204022 h 248370"/>
                  <a:gd name="connsiteX1131" fmla="*/ 176690 w 186564"/>
                  <a:gd name="connsiteY1131" fmla="*/ 204022 h 248370"/>
                  <a:gd name="connsiteX1132" fmla="*/ 177571 w 186564"/>
                  <a:gd name="connsiteY1132" fmla="*/ 202523 h 248370"/>
                  <a:gd name="connsiteX1133" fmla="*/ 177571 w 186564"/>
                  <a:gd name="connsiteY1133" fmla="*/ 201024 h 248370"/>
                  <a:gd name="connsiteX1134" fmla="*/ 178717 w 186564"/>
                  <a:gd name="connsiteY1134" fmla="*/ 202787 h 248370"/>
                  <a:gd name="connsiteX1135" fmla="*/ 179334 w 186564"/>
                  <a:gd name="connsiteY1135" fmla="*/ 201024 h 248370"/>
                  <a:gd name="connsiteX1136" fmla="*/ 179334 w 186564"/>
                  <a:gd name="connsiteY1136" fmla="*/ 199878 h 248370"/>
                  <a:gd name="connsiteX1137" fmla="*/ 180833 w 186564"/>
                  <a:gd name="connsiteY1137" fmla="*/ 199261 h 248370"/>
                  <a:gd name="connsiteX1138" fmla="*/ 181979 w 186564"/>
                  <a:gd name="connsiteY1138" fmla="*/ 199261 h 248370"/>
                  <a:gd name="connsiteX1139" fmla="*/ 183126 w 186564"/>
                  <a:gd name="connsiteY1139" fmla="*/ 198379 h 248370"/>
                  <a:gd name="connsiteX1140" fmla="*/ 183743 w 186564"/>
                  <a:gd name="connsiteY1140" fmla="*/ 197497 h 248370"/>
                  <a:gd name="connsiteX1141" fmla="*/ 183126 w 186564"/>
                  <a:gd name="connsiteY1141" fmla="*/ 195734 h 248370"/>
                  <a:gd name="connsiteX1142" fmla="*/ 183390 w 186564"/>
                  <a:gd name="connsiteY1142" fmla="*/ 194235 h 248370"/>
                  <a:gd name="connsiteX1143" fmla="*/ 184889 w 186564"/>
                  <a:gd name="connsiteY1143" fmla="*/ 193618 h 248370"/>
                  <a:gd name="connsiteX1144" fmla="*/ 185154 w 186564"/>
                  <a:gd name="connsiteY1144" fmla="*/ 192472 h 248370"/>
                  <a:gd name="connsiteX1145" fmla="*/ 186300 w 186564"/>
                  <a:gd name="connsiteY1145" fmla="*/ 191854 h 248370"/>
                  <a:gd name="connsiteX1146" fmla="*/ 186300 w 186564"/>
                  <a:gd name="connsiteY1146" fmla="*/ 190356 h 248370"/>
                  <a:gd name="connsiteX1147" fmla="*/ 186300 w 186564"/>
                  <a:gd name="connsiteY1147" fmla="*/ 189209 h 248370"/>
                  <a:gd name="connsiteX1148" fmla="*/ 186300 w 186564"/>
                  <a:gd name="connsiteY1148" fmla="*/ 188063 h 248370"/>
                  <a:gd name="connsiteX1149" fmla="*/ 186564 w 186564"/>
                  <a:gd name="connsiteY1149" fmla="*/ 186564 h 248370"/>
                  <a:gd name="connsiteX1150" fmla="*/ 186300 w 186564"/>
                  <a:gd name="connsiteY1150" fmla="*/ 185683 h 248370"/>
                  <a:gd name="connsiteX1151" fmla="*/ 185418 w 186564"/>
                  <a:gd name="connsiteY1151" fmla="*/ 184184 h 248370"/>
                  <a:gd name="connsiteX1152" fmla="*/ 185154 w 186564"/>
                  <a:gd name="connsiteY1152" fmla="*/ 183038 h 248370"/>
                  <a:gd name="connsiteX1153" fmla="*/ 184625 w 186564"/>
                  <a:gd name="connsiteY1153" fmla="*/ 182509 h 248370"/>
                  <a:gd name="connsiteX1154" fmla="*/ 181979 w 186564"/>
                  <a:gd name="connsiteY1154" fmla="*/ 180745 h 248370"/>
                  <a:gd name="connsiteX1155" fmla="*/ 181362 w 186564"/>
                  <a:gd name="connsiteY1155" fmla="*/ 179864 h 248370"/>
                  <a:gd name="connsiteX1156" fmla="*/ 180481 w 186564"/>
                  <a:gd name="connsiteY1156" fmla="*/ 179599 h 248370"/>
                  <a:gd name="connsiteX1157" fmla="*/ 178982 w 186564"/>
                  <a:gd name="connsiteY1157" fmla="*/ 178982 h 248370"/>
                  <a:gd name="connsiteX1158" fmla="*/ 178365 w 186564"/>
                  <a:gd name="connsiteY1158" fmla="*/ 178717 h 248370"/>
                  <a:gd name="connsiteX1159" fmla="*/ 177483 w 186564"/>
                  <a:gd name="connsiteY1159" fmla="*/ 178453 h 248370"/>
                  <a:gd name="connsiteX1160" fmla="*/ 176601 w 186564"/>
                  <a:gd name="connsiteY1160" fmla="*/ 177571 h 248370"/>
                  <a:gd name="connsiteX1161" fmla="*/ 176601 w 186564"/>
                  <a:gd name="connsiteY1161" fmla="*/ 176689 h 248370"/>
                  <a:gd name="connsiteX1162" fmla="*/ 175720 w 186564"/>
                  <a:gd name="connsiteY1162" fmla="*/ 176072 h 248370"/>
                  <a:gd name="connsiteX1163" fmla="*/ 175455 w 186564"/>
                  <a:gd name="connsiteY1163" fmla="*/ 177218 h 248370"/>
                  <a:gd name="connsiteX1164" fmla="*/ 174838 w 186564"/>
                  <a:gd name="connsiteY1164" fmla="*/ 176601 h 248370"/>
                  <a:gd name="connsiteX1165" fmla="*/ 174221 w 186564"/>
                  <a:gd name="connsiteY1165" fmla="*/ 176866 h 248370"/>
                  <a:gd name="connsiteX1166" fmla="*/ 173604 w 186564"/>
                  <a:gd name="connsiteY1166" fmla="*/ 176249 h 248370"/>
                  <a:gd name="connsiteX1167" fmla="*/ 172457 w 186564"/>
                  <a:gd name="connsiteY1167" fmla="*/ 176513 h 248370"/>
                  <a:gd name="connsiteX1168" fmla="*/ 171840 w 186564"/>
                  <a:gd name="connsiteY1168" fmla="*/ 176778 h 248370"/>
                  <a:gd name="connsiteX1169" fmla="*/ 171576 w 186564"/>
                  <a:gd name="connsiteY1169" fmla="*/ 176513 h 248370"/>
                  <a:gd name="connsiteX1170" fmla="*/ 170958 w 186564"/>
                  <a:gd name="connsiteY1170" fmla="*/ 176778 h 248370"/>
                  <a:gd name="connsiteX1171" fmla="*/ 170077 w 186564"/>
                  <a:gd name="connsiteY1171" fmla="*/ 176160 h 248370"/>
                  <a:gd name="connsiteX1172" fmla="*/ 169812 w 186564"/>
                  <a:gd name="connsiteY1172" fmla="*/ 176778 h 248370"/>
                  <a:gd name="connsiteX1173" fmla="*/ 169195 w 186564"/>
                  <a:gd name="connsiteY1173" fmla="*/ 177659 h 248370"/>
                  <a:gd name="connsiteX1174" fmla="*/ 168931 w 186564"/>
                  <a:gd name="connsiteY1174" fmla="*/ 176778 h 248370"/>
                  <a:gd name="connsiteX1175" fmla="*/ 168313 w 186564"/>
                  <a:gd name="connsiteY1175" fmla="*/ 176513 h 248370"/>
                  <a:gd name="connsiteX1176" fmla="*/ 167432 w 186564"/>
                  <a:gd name="connsiteY1176" fmla="*/ 176249 h 248370"/>
                  <a:gd name="connsiteX1177" fmla="*/ 166285 w 186564"/>
                  <a:gd name="connsiteY1177" fmla="*/ 175984 h 248370"/>
                  <a:gd name="connsiteX1178" fmla="*/ 164522 w 186564"/>
                  <a:gd name="connsiteY1178" fmla="*/ 176601 h 248370"/>
                  <a:gd name="connsiteX1179" fmla="*/ 163376 w 186564"/>
                  <a:gd name="connsiteY1179" fmla="*/ 177483 h 248370"/>
                  <a:gd name="connsiteX1180" fmla="*/ 161348 w 186564"/>
                  <a:gd name="connsiteY1180" fmla="*/ 178365 h 248370"/>
                  <a:gd name="connsiteX1181" fmla="*/ 161965 w 186564"/>
                  <a:gd name="connsiteY1181" fmla="*/ 179246 h 248370"/>
                  <a:gd name="connsiteX1182" fmla="*/ 161348 w 186564"/>
                  <a:gd name="connsiteY1182" fmla="*/ 180745 h 248370"/>
                  <a:gd name="connsiteX1183" fmla="*/ 160819 w 186564"/>
                  <a:gd name="connsiteY1183" fmla="*/ 181891 h 248370"/>
                  <a:gd name="connsiteX1184" fmla="*/ 160819 w 186564"/>
                  <a:gd name="connsiteY1184" fmla="*/ 182420 h 248370"/>
                  <a:gd name="connsiteX1185" fmla="*/ 159056 w 186564"/>
                  <a:gd name="connsiteY1185" fmla="*/ 181891 h 248370"/>
                  <a:gd name="connsiteX1186" fmla="*/ 158791 w 186564"/>
                  <a:gd name="connsiteY1186" fmla="*/ 182773 h 248370"/>
                  <a:gd name="connsiteX1187" fmla="*/ 157028 w 186564"/>
                  <a:gd name="connsiteY1187" fmla="*/ 181891 h 248370"/>
                  <a:gd name="connsiteX1188" fmla="*/ 156411 w 186564"/>
                  <a:gd name="connsiteY1188" fmla="*/ 180128 h 248370"/>
                  <a:gd name="connsiteX1189" fmla="*/ 155264 w 186564"/>
                  <a:gd name="connsiteY1189" fmla="*/ 179511 h 248370"/>
                  <a:gd name="connsiteX1190" fmla="*/ 153237 w 186564"/>
                  <a:gd name="connsiteY1190" fmla="*/ 179511 h 248370"/>
                  <a:gd name="connsiteX1191" fmla="*/ 152355 w 186564"/>
                  <a:gd name="connsiteY1191" fmla="*/ 179511 h 248370"/>
                  <a:gd name="connsiteX1192" fmla="*/ 152972 w 186564"/>
                  <a:gd name="connsiteY1192" fmla="*/ 178629 h 248370"/>
                  <a:gd name="connsiteX1193" fmla="*/ 154735 w 186564"/>
                  <a:gd name="connsiteY1193" fmla="*/ 178629 h 248370"/>
                  <a:gd name="connsiteX1194" fmla="*/ 155353 w 186564"/>
                  <a:gd name="connsiteY1194" fmla="*/ 176866 h 248370"/>
                  <a:gd name="connsiteX1195" fmla="*/ 156499 w 186564"/>
                  <a:gd name="connsiteY1195" fmla="*/ 176249 h 248370"/>
                  <a:gd name="connsiteX1196" fmla="*/ 157381 w 186564"/>
                  <a:gd name="connsiteY1196" fmla="*/ 173604 h 248370"/>
                  <a:gd name="connsiteX1197" fmla="*/ 159144 w 186564"/>
                  <a:gd name="connsiteY1197" fmla="*/ 173868 h 248370"/>
                  <a:gd name="connsiteX1198" fmla="*/ 160290 w 186564"/>
                  <a:gd name="connsiteY1198" fmla="*/ 173251 h 248370"/>
                  <a:gd name="connsiteX1199" fmla="*/ 160907 w 186564"/>
                  <a:gd name="connsiteY1199" fmla="*/ 172634 h 248370"/>
                  <a:gd name="connsiteX1200" fmla="*/ 160555 w 186564"/>
                  <a:gd name="connsiteY1200" fmla="*/ 171223 h 248370"/>
                  <a:gd name="connsiteX1201" fmla="*/ 159056 w 186564"/>
                  <a:gd name="connsiteY1201" fmla="*/ 170077 h 248370"/>
                  <a:gd name="connsiteX1202" fmla="*/ 157028 w 186564"/>
                  <a:gd name="connsiteY1202" fmla="*/ 166550 h 248370"/>
                  <a:gd name="connsiteX1203" fmla="*/ 157028 w 186564"/>
                  <a:gd name="connsiteY1203" fmla="*/ 165404 h 248370"/>
                  <a:gd name="connsiteX1204" fmla="*/ 156411 w 186564"/>
                  <a:gd name="connsiteY1204" fmla="*/ 164787 h 248370"/>
                  <a:gd name="connsiteX1205" fmla="*/ 155264 w 186564"/>
                  <a:gd name="connsiteY1205" fmla="*/ 164170 h 248370"/>
                  <a:gd name="connsiteX1206" fmla="*/ 152355 w 186564"/>
                  <a:gd name="connsiteY1206" fmla="*/ 162759 h 248370"/>
                  <a:gd name="connsiteX1207" fmla="*/ 152355 w 186564"/>
                  <a:gd name="connsiteY1207" fmla="*/ 162494 h 248370"/>
                  <a:gd name="connsiteX1208" fmla="*/ 151473 w 186564"/>
                  <a:gd name="connsiteY1208" fmla="*/ 162494 h 248370"/>
                  <a:gd name="connsiteX1209" fmla="*/ 149181 w 186564"/>
                  <a:gd name="connsiteY1209" fmla="*/ 160995 h 248370"/>
                  <a:gd name="connsiteX1210" fmla="*/ 148564 w 186564"/>
                  <a:gd name="connsiteY1210" fmla="*/ 159849 h 248370"/>
                  <a:gd name="connsiteX1211" fmla="*/ 146800 w 186564"/>
                  <a:gd name="connsiteY1211" fmla="*/ 160114 h 248370"/>
                  <a:gd name="connsiteX1212" fmla="*/ 145037 w 186564"/>
                  <a:gd name="connsiteY1212" fmla="*/ 159849 h 248370"/>
                  <a:gd name="connsiteX1213" fmla="*/ 143538 w 186564"/>
                  <a:gd name="connsiteY1213" fmla="*/ 160114 h 248370"/>
                  <a:gd name="connsiteX1214" fmla="*/ 142127 w 186564"/>
                  <a:gd name="connsiteY1214" fmla="*/ 159849 h 248370"/>
                  <a:gd name="connsiteX1215" fmla="*/ 140364 w 186564"/>
                  <a:gd name="connsiteY1215" fmla="*/ 159849 h 248370"/>
                  <a:gd name="connsiteX1216" fmla="*/ 141510 w 186564"/>
                  <a:gd name="connsiteY1216" fmla="*/ 158968 h 248370"/>
                  <a:gd name="connsiteX1217" fmla="*/ 142921 w 186564"/>
                  <a:gd name="connsiteY1217" fmla="*/ 158703 h 248370"/>
                  <a:gd name="connsiteX1218" fmla="*/ 145213 w 186564"/>
                  <a:gd name="connsiteY1218" fmla="*/ 159320 h 248370"/>
                  <a:gd name="connsiteX1219" fmla="*/ 147241 w 186564"/>
                  <a:gd name="connsiteY1219" fmla="*/ 159320 h 248370"/>
                  <a:gd name="connsiteX1220" fmla="*/ 148387 w 186564"/>
                  <a:gd name="connsiteY1220" fmla="*/ 159320 h 248370"/>
                  <a:gd name="connsiteX1221" fmla="*/ 150680 w 186564"/>
                  <a:gd name="connsiteY1221" fmla="*/ 160819 h 248370"/>
                  <a:gd name="connsiteX1222" fmla="*/ 151297 w 186564"/>
                  <a:gd name="connsiteY1222" fmla="*/ 161701 h 248370"/>
                  <a:gd name="connsiteX1223" fmla="*/ 152179 w 186564"/>
                  <a:gd name="connsiteY1223" fmla="*/ 161084 h 248370"/>
                  <a:gd name="connsiteX1224" fmla="*/ 152355 w 186564"/>
                  <a:gd name="connsiteY1224" fmla="*/ 161084 h 248370"/>
                  <a:gd name="connsiteX1225" fmla="*/ 154735 w 186564"/>
                  <a:gd name="connsiteY1225" fmla="*/ 161701 h 248370"/>
                  <a:gd name="connsiteX1226" fmla="*/ 155353 w 186564"/>
                  <a:gd name="connsiteY1226" fmla="*/ 161436 h 248370"/>
                  <a:gd name="connsiteX1227" fmla="*/ 154735 w 186564"/>
                  <a:gd name="connsiteY1227" fmla="*/ 161172 h 248370"/>
                  <a:gd name="connsiteX1228" fmla="*/ 151826 w 186564"/>
                  <a:gd name="connsiteY1228" fmla="*/ 158879 h 248370"/>
                  <a:gd name="connsiteX1229" fmla="*/ 150944 w 186564"/>
                  <a:gd name="connsiteY1229" fmla="*/ 155970 h 248370"/>
                  <a:gd name="connsiteX1230" fmla="*/ 148035 w 186564"/>
                  <a:gd name="connsiteY1230" fmla="*/ 152179 h 248370"/>
                  <a:gd name="connsiteX1231" fmla="*/ 150327 w 186564"/>
                  <a:gd name="connsiteY1231" fmla="*/ 151297 h 248370"/>
                  <a:gd name="connsiteX1232" fmla="*/ 150944 w 186564"/>
                  <a:gd name="connsiteY1232" fmla="*/ 150151 h 248370"/>
                  <a:gd name="connsiteX1233" fmla="*/ 148035 w 186564"/>
                  <a:gd name="connsiteY1233" fmla="*/ 149005 h 248370"/>
                  <a:gd name="connsiteX1234" fmla="*/ 148035 w 186564"/>
                  <a:gd name="connsiteY1234" fmla="*/ 147858 h 248370"/>
                  <a:gd name="connsiteX1235" fmla="*/ 145742 w 186564"/>
                  <a:gd name="connsiteY1235" fmla="*/ 146360 h 248370"/>
                  <a:gd name="connsiteX1236" fmla="*/ 144861 w 186564"/>
                  <a:gd name="connsiteY1236" fmla="*/ 145478 h 248370"/>
                  <a:gd name="connsiteX1237" fmla="*/ 144596 w 186564"/>
                  <a:gd name="connsiteY1237" fmla="*/ 143979 h 248370"/>
                  <a:gd name="connsiteX1238" fmla="*/ 143450 w 186564"/>
                  <a:gd name="connsiteY1238" fmla="*/ 142833 h 248370"/>
                  <a:gd name="connsiteX1239" fmla="*/ 143450 w 186564"/>
                  <a:gd name="connsiteY1239" fmla="*/ 142216 h 248370"/>
                  <a:gd name="connsiteX1240" fmla="*/ 142833 w 186564"/>
                  <a:gd name="connsiteY1240" fmla="*/ 141598 h 248370"/>
                  <a:gd name="connsiteX1241" fmla="*/ 141951 w 186564"/>
                  <a:gd name="connsiteY1241" fmla="*/ 140717 h 248370"/>
                  <a:gd name="connsiteX1242" fmla="*/ 137895 w 186564"/>
                  <a:gd name="connsiteY1242" fmla="*/ 140100 h 248370"/>
                  <a:gd name="connsiteX1243" fmla="*/ 136396 w 186564"/>
                  <a:gd name="connsiteY1243" fmla="*/ 138953 h 248370"/>
                  <a:gd name="connsiteX1244" fmla="*/ 135250 w 186564"/>
                  <a:gd name="connsiteY1244" fmla="*/ 138953 h 248370"/>
                  <a:gd name="connsiteX1245" fmla="*/ 130842 w 186564"/>
                  <a:gd name="connsiteY1245" fmla="*/ 137807 h 248370"/>
                  <a:gd name="connsiteX1246" fmla="*/ 130313 w 186564"/>
                  <a:gd name="connsiteY1246" fmla="*/ 138424 h 248370"/>
                  <a:gd name="connsiteX1247" fmla="*/ 130048 w 186564"/>
                  <a:gd name="connsiteY1247" fmla="*/ 137807 h 248370"/>
                  <a:gd name="connsiteX1248" fmla="*/ 129431 w 186564"/>
                  <a:gd name="connsiteY1248" fmla="*/ 137190 h 248370"/>
                  <a:gd name="connsiteX1249" fmla="*/ 130930 w 186564"/>
                  <a:gd name="connsiteY1249" fmla="*/ 136573 h 248370"/>
                  <a:gd name="connsiteX1250" fmla="*/ 129784 w 186564"/>
                  <a:gd name="connsiteY1250" fmla="*/ 135074 h 248370"/>
                  <a:gd name="connsiteX1251" fmla="*/ 128285 w 186564"/>
                  <a:gd name="connsiteY1251" fmla="*/ 133928 h 248370"/>
                  <a:gd name="connsiteX1252" fmla="*/ 127139 w 186564"/>
                  <a:gd name="connsiteY1252" fmla="*/ 130401 h 248370"/>
                  <a:gd name="connsiteX1253" fmla="*/ 128285 w 186564"/>
                  <a:gd name="connsiteY1253" fmla="*/ 129255 h 248370"/>
                  <a:gd name="connsiteX1254" fmla="*/ 127139 w 186564"/>
                  <a:gd name="connsiteY1254" fmla="*/ 128638 h 248370"/>
                  <a:gd name="connsiteX1255" fmla="*/ 125111 w 186564"/>
                  <a:gd name="connsiteY1255" fmla="*/ 125199 h 248370"/>
                  <a:gd name="connsiteX1256" fmla="*/ 125728 w 186564"/>
                  <a:gd name="connsiteY1256" fmla="*/ 124053 h 248370"/>
                  <a:gd name="connsiteX1257" fmla="*/ 125111 w 186564"/>
                  <a:gd name="connsiteY1257" fmla="*/ 122025 h 248370"/>
                  <a:gd name="connsiteX1258" fmla="*/ 125111 w 186564"/>
                  <a:gd name="connsiteY1258" fmla="*/ 120879 h 248370"/>
                  <a:gd name="connsiteX1259" fmla="*/ 124229 w 186564"/>
                  <a:gd name="connsiteY1259" fmla="*/ 121143 h 248370"/>
                  <a:gd name="connsiteX1260" fmla="*/ 122731 w 186564"/>
                  <a:gd name="connsiteY1260" fmla="*/ 120262 h 248370"/>
                  <a:gd name="connsiteX1261" fmla="*/ 125023 w 186564"/>
                  <a:gd name="connsiteY1261" fmla="*/ 119644 h 248370"/>
                  <a:gd name="connsiteX1262" fmla="*/ 123612 w 186564"/>
                  <a:gd name="connsiteY1262" fmla="*/ 118498 h 248370"/>
                  <a:gd name="connsiteX1263" fmla="*/ 122731 w 186564"/>
                  <a:gd name="connsiteY1263" fmla="*/ 117617 h 248370"/>
                  <a:gd name="connsiteX1264" fmla="*/ 123612 w 186564"/>
                  <a:gd name="connsiteY1264" fmla="*/ 116118 h 248370"/>
                  <a:gd name="connsiteX1265" fmla="*/ 122995 w 186564"/>
                  <a:gd name="connsiteY1265" fmla="*/ 114972 h 248370"/>
                  <a:gd name="connsiteX1266" fmla="*/ 121849 w 186564"/>
                  <a:gd name="connsiteY1266" fmla="*/ 115589 h 248370"/>
                  <a:gd name="connsiteX1267" fmla="*/ 120703 w 186564"/>
                  <a:gd name="connsiteY1267" fmla="*/ 114972 h 248370"/>
                  <a:gd name="connsiteX1268" fmla="*/ 120438 w 186564"/>
                  <a:gd name="connsiteY1268" fmla="*/ 114090 h 248370"/>
                  <a:gd name="connsiteX1269" fmla="*/ 120703 w 186564"/>
                  <a:gd name="connsiteY1269" fmla="*/ 113825 h 248370"/>
                  <a:gd name="connsiteX1270" fmla="*/ 120085 w 186564"/>
                  <a:gd name="connsiteY1270" fmla="*/ 112944 h 248370"/>
                  <a:gd name="connsiteX1271" fmla="*/ 118939 w 186564"/>
                  <a:gd name="connsiteY1271" fmla="*/ 113825 h 248370"/>
                  <a:gd name="connsiteX1272" fmla="*/ 118675 w 186564"/>
                  <a:gd name="connsiteY1272" fmla="*/ 112327 h 248370"/>
                  <a:gd name="connsiteX1273" fmla="*/ 116030 w 186564"/>
                  <a:gd name="connsiteY1273" fmla="*/ 111180 h 248370"/>
                  <a:gd name="connsiteX1274" fmla="*/ 116294 w 186564"/>
                  <a:gd name="connsiteY1274" fmla="*/ 109417 h 248370"/>
                  <a:gd name="connsiteX1275" fmla="*/ 114531 w 186564"/>
                  <a:gd name="connsiteY1275" fmla="*/ 108271 h 248370"/>
                  <a:gd name="connsiteX1276" fmla="*/ 113914 w 186564"/>
                  <a:gd name="connsiteY1276" fmla="*/ 107654 h 248370"/>
                  <a:gd name="connsiteX1277" fmla="*/ 114178 w 186564"/>
                  <a:gd name="connsiteY1277" fmla="*/ 107389 h 248370"/>
                  <a:gd name="connsiteX1278" fmla="*/ 113914 w 186564"/>
                  <a:gd name="connsiteY1278" fmla="*/ 107125 h 248370"/>
                  <a:gd name="connsiteX1279" fmla="*/ 112767 w 186564"/>
                  <a:gd name="connsiteY1279" fmla="*/ 106507 h 248370"/>
                  <a:gd name="connsiteX1280" fmla="*/ 110739 w 186564"/>
                  <a:gd name="connsiteY1280" fmla="*/ 106507 h 248370"/>
                  <a:gd name="connsiteX1281" fmla="*/ 107566 w 186564"/>
                  <a:gd name="connsiteY1281" fmla="*/ 105361 h 248370"/>
                  <a:gd name="connsiteX1282" fmla="*/ 105802 w 186564"/>
                  <a:gd name="connsiteY1282" fmla="*/ 105626 h 248370"/>
                  <a:gd name="connsiteX1283" fmla="*/ 105185 w 186564"/>
                  <a:gd name="connsiteY1283" fmla="*/ 105361 h 248370"/>
                  <a:gd name="connsiteX1284" fmla="*/ 105185 w 186564"/>
                  <a:gd name="connsiteY1284" fmla="*/ 104744 h 248370"/>
                  <a:gd name="connsiteX1285" fmla="*/ 104920 w 186564"/>
                  <a:gd name="connsiteY1285" fmla="*/ 103333 h 248370"/>
                  <a:gd name="connsiteX1286" fmla="*/ 104303 w 186564"/>
                  <a:gd name="connsiteY1286" fmla="*/ 104215 h 248370"/>
                  <a:gd name="connsiteX1287" fmla="*/ 102275 w 186564"/>
                  <a:gd name="connsiteY1287" fmla="*/ 103598 h 248370"/>
                  <a:gd name="connsiteX1288" fmla="*/ 100512 w 186564"/>
                  <a:gd name="connsiteY1288" fmla="*/ 104215 h 248370"/>
                  <a:gd name="connsiteX1289" fmla="*/ 99895 w 186564"/>
                  <a:gd name="connsiteY1289" fmla="*/ 104744 h 248370"/>
                  <a:gd name="connsiteX1290" fmla="*/ 100159 w 186564"/>
                  <a:gd name="connsiteY1290" fmla="*/ 105361 h 248370"/>
                  <a:gd name="connsiteX1291" fmla="*/ 99895 w 186564"/>
                  <a:gd name="connsiteY1291" fmla="*/ 105978 h 248370"/>
                  <a:gd name="connsiteX1292" fmla="*/ 99630 w 186564"/>
                  <a:gd name="connsiteY1292" fmla="*/ 105978 h 248370"/>
                  <a:gd name="connsiteX1293" fmla="*/ 99013 w 186564"/>
                  <a:gd name="connsiteY1293" fmla="*/ 106243 h 248370"/>
                  <a:gd name="connsiteX1294" fmla="*/ 98131 w 186564"/>
                  <a:gd name="connsiteY1294" fmla="*/ 105978 h 248370"/>
                  <a:gd name="connsiteX1295" fmla="*/ 97867 w 186564"/>
                  <a:gd name="connsiteY1295" fmla="*/ 106507 h 248370"/>
                  <a:gd name="connsiteX1296" fmla="*/ 96103 w 186564"/>
                  <a:gd name="connsiteY1296" fmla="*/ 105978 h 248370"/>
                  <a:gd name="connsiteX1297" fmla="*/ 95222 w 186564"/>
                  <a:gd name="connsiteY1297" fmla="*/ 105978 h 248370"/>
                  <a:gd name="connsiteX1298" fmla="*/ 94605 w 186564"/>
                  <a:gd name="connsiteY1298" fmla="*/ 105978 h 248370"/>
                  <a:gd name="connsiteX1299" fmla="*/ 93459 w 186564"/>
                  <a:gd name="connsiteY1299" fmla="*/ 105097 h 248370"/>
                  <a:gd name="connsiteX1300" fmla="*/ 92841 w 186564"/>
                  <a:gd name="connsiteY1300" fmla="*/ 105361 h 248370"/>
                  <a:gd name="connsiteX1301" fmla="*/ 92312 w 186564"/>
                  <a:gd name="connsiteY1301" fmla="*/ 105626 h 248370"/>
                  <a:gd name="connsiteX1302" fmla="*/ 90813 w 186564"/>
                  <a:gd name="connsiteY1302" fmla="*/ 105361 h 248370"/>
                  <a:gd name="connsiteX1303" fmla="*/ 90196 w 186564"/>
                  <a:gd name="connsiteY1303" fmla="*/ 105626 h 248370"/>
                  <a:gd name="connsiteX1304" fmla="*/ 89579 w 186564"/>
                  <a:gd name="connsiteY1304" fmla="*/ 105361 h 248370"/>
                  <a:gd name="connsiteX1305" fmla="*/ 87198 w 186564"/>
                  <a:gd name="connsiteY1305" fmla="*/ 105626 h 248370"/>
                  <a:gd name="connsiteX1306" fmla="*/ 85171 w 186564"/>
                  <a:gd name="connsiteY1306" fmla="*/ 105361 h 248370"/>
                  <a:gd name="connsiteX1307" fmla="*/ 84289 w 186564"/>
                  <a:gd name="connsiteY1307" fmla="*/ 105097 h 248370"/>
                  <a:gd name="connsiteX1308" fmla="*/ 84553 w 186564"/>
                  <a:gd name="connsiteY1308" fmla="*/ 104480 h 248370"/>
                  <a:gd name="connsiteX1309" fmla="*/ 85171 w 186564"/>
                  <a:gd name="connsiteY1309" fmla="*/ 104215 h 248370"/>
                  <a:gd name="connsiteX1310" fmla="*/ 87463 w 186564"/>
                  <a:gd name="connsiteY1310" fmla="*/ 104215 h 248370"/>
                  <a:gd name="connsiteX1311" fmla="*/ 90637 w 186564"/>
                  <a:gd name="connsiteY1311" fmla="*/ 104744 h 248370"/>
                  <a:gd name="connsiteX1312" fmla="*/ 92665 w 186564"/>
                  <a:gd name="connsiteY1312" fmla="*/ 104215 h 248370"/>
                  <a:gd name="connsiteX1313" fmla="*/ 93282 w 186564"/>
                  <a:gd name="connsiteY1313" fmla="*/ 103951 h 248370"/>
                  <a:gd name="connsiteX1314" fmla="*/ 94428 w 186564"/>
                  <a:gd name="connsiteY1314" fmla="*/ 104215 h 248370"/>
                  <a:gd name="connsiteX1315" fmla="*/ 95574 w 186564"/>
                  <a:gd name="connsiteY1315" fmla="*/ 103333 h 248370"/>
                  <a:gd name="connsiteX1316" fmla="*/ 94428 w 186564"/>
                  <a:gd name="connsiteY1316" fmla="*/ 102187 h 248370"/>
                  <a:gd name="connsiteX1317" fmla="*/ 97338 w 186564"/>
                  <a:gd name="connsiteY1317" fmla="*/ 103069 h 248370"/>
                  <a:gd name="connsiteX1318" fmla="*/ 99366 w 186564"/>
                  <a:gd name="connsiteY1318" fmla="*/ 102452 h 248370"/>
                  <a:gd name="connsiteX1319" fmla="*/ 101394 w 186564"/>
                  <a:gd name="connsiteY1319" fmla="*/ 101835 h 248370"/>
                  <a:gd name="connsiteX1320" fmla="*/ 102804 w 186564"/>
                  <a:gd name="connsiteY1320" fmla="*/ 101570 h 248370"/>
                  <a:gd name="connsiteX1321" fmla="*/ 103422 w 186564"/>
                  <a:gd name="connsiteY1321" fmla="*/ 100688 h 248370"/>
                  <a:gd name="connsiteX1322" fmla="*/ 104039 w 186564"/>
                  <a:gd name="connsiteY1322" fmla="*/ 99542 h 248370"/>
                  <a:gd name="connsiteX1323" fmla="*/ 105185 w 186564"/>
                  <a:gd name="connsiteY1323" fmla="*/ 99278 h 248370"/>
                  <a:gd name="connsiteX1324" fmla="*/ 105802 w 186564"/>
                  <a:gd name="connsiteY1324" fmla="*/ 98396 h 248370"/>
                  <a:gd name="connsiteX1325" fmla="*/ 105185 w 186564"/>
                  <a:gd name="connsiteY1325" fmla="*/ 98131 h 248370"/>
                  <a:gd name="connsiteX1326" fmla="*/ 103686 w 186564"/>
                  <a:gd name="connsiteY1326" fmla="*/ 98396 h 248370"/>
                  <a:gd name="connsiteX1327" fmla="*/ 101394 w 186564"/>
                  <a:gd name="connsiteY1327" fmla="*/ 98131 h 248370"/>
                  <a:gd name="connsiteX1328" fmla="*/ 101129 w 186564"/>
                  <a:gd name="connsiteY1328" fmla="*/ 97250 h 248370"/>
                  <a:gd name="connsiteX1329" fmla="*/ 101394 w 186564"/>
                  <a:gd name="connsiteY1329" fmla="*/ 96633 h 248370"/>
                  <a:gd name="connsiteX1330" fmla="*/ 102540 w 186564"/>
                  <a:gd name="connsiteY1330" fmla="*/ 96368 h 248370"/>
                  <a:gd name="connsiteX1331" fmla="*/ 101658 w 186564"/>
                  <a:gd name="connsiteY1331" fmla="*/ 95486 h 248370"/>
                  <a:gd name="connsiteX1332" fmla="*/ 99895 w 186564"/>
                  <a:gd name="connsiteY1332" fmla="*/ 94605 h 248370"/>
                  <a:gd name="connsiteX1333" fmla="*/ 94340 w 186564"/>
                  <a:gd name="connsiteY1333" fmla="*/ 96633 h 248370"/>
                  <a:gd name="connsiteX1334" fmla="*/ 93723 w 186564"/>
                  <a:gd name="connsiteY1334" fmla="*/ 97514 h 248370"/>
                  <a:gd name="connsiteX1335" fmla="*/ 92841 w 186564"/>
                  <a:gd name="connsiteY1335" fmla="*/ 97514 h 248370"/>
                  <a:gd name="connsiteX1336" fmla="*/ 92224 w 186564"/>
                  <a:gd name="connsiteY1336" fmla="*/ 97250 h 248370"/>
                  <a:gd name="connsiteX1337" fmla="*/ 92841 w 186564"/>
                  <a:gd name="connsiteY1337" fmla="*/ 96633 h 248370"/>
                  <a:gd name="connsiteX1338" fmla="*/ 93723 w 186564"/>
                  <a:gd name="connsiteY1338" fmla="*/ 96633 h 248370"/>
                  <a:gd name="connsiteX1339" fmla="*/ 96015 w 186564"/>
                  <a:gd name="connsiteY1339" fmla="*/ 95222 h 248370"/>
                  <a:gd name="connsiteX1340" fmla="*/ 97514 w 186564"/>
                  <a:gd name="connsiteY1340" fmla="*/ 94605 h 248370"/>
                  <a:gd name="connsiteX1341" fmla="*/ 98043 w 186564"/>
                  <a:gd name="connsiteY1341" fmla="*/ 94605 h 248370"/>
                  <a:gd name="connsiteX1342" fmla="*/ 99807 w 186564"/>
                  <a:gd name="connsiteY1342" fmla="*/ 94340 h 248370"/>
                  <a:gd name="connsiteX1343" fmla="*/ 100071 w 186564"/>
                  <a:gd name="connsiteY1343" fmla="*/ 94076 h 248370"/>
                  <a:gd name="connsiteX1344" fmla="*/ 100688 w 186564"/>
                  <a:gd name="connsiteY1344" fmla="*/ 94340 h 248370"/>
                  <a:gd name="connsiteX1345" fmla="*/ 101570 w 186564"/>
                  <a:gd name="connsiteY1345" fmla="*/ 94340 h 248370"/>
                  <a:gd name="connsiteX1346" fmla="*/ 102981 w 186564"/>
                  <a:gd name="connsiteY1346" fmla="*/ 94340 h 248370"/>
                  <a:gd name="connsiteX1347" fmla="*/ 103598 w 186564"/>
                  <a:gd name="connsiteY1347" fmla="*/ 93458 h 248370"/>
                  <a:gd name="connsiteX1348" fmla="*/ 104744 w 186564"/>
                  <a:gd name="connsiteY1348" fmla="*/ 92841 h 248370"/>
                  <a:gd name="connsiteX1349" fmla="*/ 107389 w 186564"/>
                  <a:gd name="connsiteY1349" fmla="*/ 92224 h 248370"/>
                  <a:gd name="connsiteX1350" fmla="*/ 107389 w 186564"/>
                  <a:gd name="connsiteY1350" fmla="*/ 91078 h 248370"/>
                  <a:gd name="connsiteX1351" fmla="*/ 107389 w 186564"/>
                  <a:gd name="connsiteY1351" fmla="*/ 89932 h 248370"/>
                  <a:gd name="connsiteX1352" fmla="*/ 108535 w 186564"/>
                  <a:gd name="connsiteY1352" fmla="*/ 89932 h 248370"/>
                  <a:gd name="connsiteX1353" fmla="*/ 108800 w 186564"/>
                  <a:gd name="connsiteY1353" fmla="*/ 89315 h 248370"/>
                  <a:gd name="connsiteX1354" fmla="*/ 108800 w 186564"/>
                  <a:gd name="connsiteY1354" fmla="*/ 88697 h 248370"/>
                  <a:gd name="connsiteX1355" fmla="*/ 109417 w 186564"/>
                  <a:gd name="connsiteY1355" fmla="*/ 88080 h 248370"/>
                  <a:gd name="connsiteX1356" fmla="*/ 108800 w 186564"/>
                  <a:gd name="connsiteY1356" fmla="*/ 87551 h 248370"/>
                  <a:gd name="connsiteX1357" fmla="*/ 109064 w 186564"/>
                  <a:gd name="connsiteY1357" fmla="*/ 86670 h 248370"/>
                  <a:gd name="connsiteX1358" fmla="*/ 110563 w 186564"/>
                  <a:gd name="connsiteY1358" fmla="*/ 85788 h 248370"/>
                  <a:gd name="connsiteX1359" fmla="*/ 112326 w 186564"/>
                  <a:gd name="connsiteY1359" fmla="*/ 84024 h 248370"/>
                  <a:gd name="connsiteX1360" fmla="*/ 112326 w 186564"/>
                  <a:gd name="connsiteY1360" fmla="*/ 82878 h 248370"/>
                  <a:gd name="connsiteX1361" fmla="*/ 115853 w 186564"/>
                  <a:gd name="connsiteY1361" fmla="*/ 79969 h 248370"/>
                  <a:gd name="connsiteX1362" fmla="*/ 115589 w 186564"/>
                  <a:gd name="connsiteY1362" fmla="*/ 79087 h 248370"/>
                  <a:gd name="connsiteX1363" fmla="*/ 116118 w 186564"/>
                  <a:gd name="connsiteY1363" fmla="*/ 77059 h 248370"/>
                  <a:gd name="connsiteX1364" fmla="*/ 117617 w 186564"/>
                  <a:gd name="connsiteY1364" fmla="*/ 76442 h 248370"/>
                  <a:gd name="connsiteX1365" fmla="*/ 118498 w 186564"/>
                  <a:gd name="connsiteY1365" fmla="*/ 75296 h 248370"/>
                  <a:gd name="connsiteX1366" fmla="*/ 119645 w 186564"/>
                  <a:gd name="connsiteY1366" fmla="*/ 74150 h 248370"/>
                  <a:gd name="connsiteX1367" fmla="*/ 120262 w 186564"/>
                  <a:gd name="connsiteY1367" fmla="*/ 73003 h 248370"/>
                  <a:gd name="connsiteX1368" fmla="*/ 119380 w 186564"/>
                  <a:gd name="connsiteY1368" fmla="*/ 71857 h 248370"/>
                  <a:gd name="connsiteX1369" fmla="*/ 120879 w 186564"/>
                  <a:gd name="connsiteY1369" fmla="*/ 70976 h 248370"/>
                  <a:gd name="connsiteX1370" fmla="*/ 120614 w 186564"/>
                  <a:gd name="connsiteY1370" fmla="*/ 70976 h 248370"/>
                  <a:gd name="connsiteX1371" fmla="*/ 119997 w 186564"/>
                  <a:gd name="connsiteY1371" fmla="*/ 70711 h 248370"/>
                  <a:gd name="connsiteX1372" fmla="*/ 120614 w 186564"/>
                  <a:gd name="connsiteY1372" fmla="*/ 70447 h 248370"/>
                  <a:gd name="connsiteX1373" fmla="*/ 120879 w 186564"/>
                  <a:gd name="connsiteY1373" fmla="*/ 70447 h 248370"/>
                  <a:gd name="connsiteX1374" fmla="*/ 119997 w 186564"/>
                  <a:gd name="connsiteY1374" fmla="*/ 69565 h 248370"/>
                  <a:gd name="connsiteX1375" fmla="*/ 119116 w 186564"/>
                  <a:gd name="connsiteY1375" fmla="*/ 68683 h 248370"/>
                  <a:gd name="connsiteX1376" fmla="*/ 119733 w 186564"/>
                  <a:gd name="connsiteY1376" fmla="*/ 68066 h 248370"/>
                  <a:gd name="connsiteX1377" fmla="*/ 119116 w 186564"/>
                  <a:gd name="connsiteY1377" fmla="*/ 68066 h 248370"/>
                  <a:gd name="connsiteX1378" fmla="*/ 119380 w 186564"/>
                  <a:gd name="connsiteY1378" fmla="*/ 67537 h 248370"/>
                  <a:gd name="connsiteX1379" fmla="*/ 118234 w 186564"/>
                  <a:gd name="connsiteY1379" fmla="*/ 66391 h 248370"/>
                  <a:gd name="connsiteX1380" fmla="*/ 116999 w 186564"/>
                  <a:gd name="connsiteY1380" fmla="*/ 66655 h 248370"/>
                  <a:gd name="connsiteX1381" fmla="*/ 116470 w 186564"/>
                  <a:gd name="connsiteY1381" fmla="*/ 65774 h 248370"/>
                  <a:gd name="connsiteX1382" fmla="*/ 116206 w 186564"/>
                  <a:gd name="connsiteY1382" fmla="*/ 65509 h 248370"/>
                  <a:gd name="connsiteX1383" fmla="*/ 115324 w 186564"/>
                  <a:gd name="connsiteY1383" fmla="*/ 65774 h 248370"/>
                  <a:gd name="connsiteX1384" fmla="*/ 115060 w 186564"/>
                  <a:gd name="connsiteY1384" fmla="*/ 66303 h 248370"/>
                  <a:gd name="connsiteX1385" fmla="*/ 113914 w 186564"/>
                  <a:gd name="connsiteY1385" fmla="*/ 66567 h 248370"/>
                  <a:gd name="connsiteX1386" fmla="*/ 112767 w 186564"/>
                  <a:gd name="connsiteY1386" fmla="*/ 66303 h 248370"/>
                  <a:gd name="connsiteX1387" fmla="*/ 112150 w 186564"/>
                  <a:gd name="connsiteY1387" fmla="*/ 66303 h 248370"/>
                  <a:gd name="connsiteX1388" fmla="*/ 110387 w 186564"/>
                  <a:gd name="connsiteY1388" fmla="*/ 66303 h 248370"/>
                  <a:gd name="connsiteX1389" fmla="*/ 109505 w 186564"/>
                  <a:gd name="connsiteY1389" fmla="*/ 66567 h 248370"/>
                  <a:gd name="connsiteX1390" fmla="*/ 108888 w 186564"/>
                  <a:gd name="connsiteY1390" fmla="*/ 65685 h 248370"/>
                  <a:gd name="connsiteX1391" fmla="*/ 107742 w 186564"/>
                  <a:gd name="connsiteY1391" fmla="*/ 65950 h 248370"/>
                  <a:gd name="connsiteX1392" fmla="*/ 105978 w 186564"/>
                  <a:gd name="connsiteY1392" fmla="*/ 65950 h 248370"/>
                  <a:gd name="connsiteX1393" fmla="*/ 103951 w 186564"/>
                  <a:gd name="connsiteY1393" fmla="*/ 67096 h 248370"/>
                  <a:gd name="connsiteX1394" fmla="*/ 102804 w 186564"/>
                  <a:gd name="connsiteY1394" fmla="*/ 66479 h 248370"/>
                  <a:gd name="connsiteX1395" fmla="*/ 100776 w 186564"/>
                  <a:gd name="connsiteY1395" fmla="*/ 67625 h 248370"/>
                  <a:gd name="connsiteX1396" fmla="*/ 97867 w 186564"/>
                  <a:gd name="connsiteY1396" fmla="*/ 67008 h 248370"/>
                  <a:gd name="connsiteX1397" fmla="*/ 95222 w 186564"/>
                  <a:gd name="connsiteY1397" fmla="*/ 66743 h 248370"/>
                  <a:gd name="connsiteX1398" fmla="*/ 93723 w 186564"/>
                  <a:gd name="connsiteY1398" fmla="*/ 65862 h 248370"/>
                  <a:gd name="connsiteX1399" fmla="*/ 92224 w 186564"/>
                  <a:gd name="connsiteY1399" fmla="*/ 66479 h 248370"/>
                  <a:gd name="connsiteX1400" fmla="*/ 91342 w 186564"/>
                  <a:gd name="connsiteY1400" fmla="*/ 66479 h 248370"/>
                  <a:gd name="connsiteX1401" fmla="*/ 90196 w 186564"/>
                  <a:gd name="connsiteY1401" fmla="*/ 67625 h 248370"/>
                  <a:gd name="connsiteX1402" fmla="*/ 88697 w 186564"/>
                  <a:gd name="connsiteY1402" fmla="*/ 67625 h 248370"/>
                  <a:gd name="connsiteX1403" fmla="*/ 86405 w 186564"/>
                  <a:gd name="connsiteY1403" fmla="*/ 68242 h 248370"/>
                  <a:gd name="connsiteX1404" fmla="*/ 84642 w 186564"/>
                  <a:gd name="connsiteY1404" fmla="*/ 67978 h 248370"/>
                  <a:gd name="connsiteX1405" fmla="*/ 83231 w 186564"/>
                  <a:gd name="connsiteY1405" fmla="*/ 68242 h 248370"/>
                  <a:gd name="connsiteX1406" fmla="*/ 82614 w 186564"/>
                  <a:gd name="connsiteY1406" fmla="*/ 67978 h 248370"/>
                  <a:gd name="connsiteX1407" fmla="*/ 79704 w 186564"/>
                  <a:gd name="connsiteY1407" fmla="*/ 67713 h 248370"/>
                  <a:gd name="connsiteX1408" fmla="*/ 78558 w 186564"/>
                  <a:gd name="connsiteY1408" fmla="*/ 67978 h 248370"/>
                  <a:gd name="connsiteX1409" fmla="*/ 79704 w 186564"/>
                  <a:gd name="connsiteY1409" fmla="*/ 68595 h 248370"/>
                  <a:gd name="connsiteX1410" fmla="*/ 79704 w 186564"/>
                  <a:gd name="connsiteY1410" fmla="*/ 69124 h 248370"/>
                  <a:gd name="connsiteX1411" fmla="*/ 79087 w 186564"/>
                  <a:gd name="connsiteY1411" fmla="*/ 69741 h 248370"/>
                  <a:gd name="connsiteX1412" fmla="*/ 77941 w 186564"/>
                  <a:gd name="connsiteY1412" fmla="*/ 70358 h 248370"/>
                  <a:gd name="connsiteX1413" fmla="*/ 76795 w 186564"/>
                  <a:gd name="connsiteY1413" fmla="*/ 70358 h 248370"/>
                  <a:gd name="connsiteX1414" fmla="*/ 76530 w 186564"/>
                  <a:gd name="connsiteY1414" fmla="*/ 70358 h 248370"/>
                  <a:gd name="connsiteX1415" fmla="*/ 76795 w 186564"/>
                  <a:gd name="connsiteY1415" fmla="*/ 69741 h 248370"/>
                  <a:gd name="connsiteX1416" fmla="*/ 75648 w 186564"/>
                  <a:gd name="connsiteY1416" fmla="*/ 69741 h 248370"/>
                  <a:gd name="connsiteX1417" fmla="*/ 75384 w 186564"/>
                  <a:gd name="connsiteY1417" fmla="*/ 69124 h 248370"/>
                  <a:gd name="connsiteX1418" fmla="*/ 76001 w 186564"/>
                  <a:gd name="connsiteY1418" fmla="*/ 68859 h 248370"/>
                  <a:gd name="connsiteX1419" fmla="*/ 76883 w 186564"/>
                  <a:gd name="connsiteY1419" fmla="*/ 69124 h 248370"/>
                  <a:gd name="connsiteX1420" fmla="*/ 78029 w 186564"/>
                  <a:gd name="connsiteY1420" fmla="*/ 68595 h 248370"/>
                  <a:gd name="connsiteX1421" fmla="*/ 78646 w 186564"/>
                  <a:gd name="connsiteY1421" fmla="*/ 68595 h 248370"/>
                  <a:gd name="connsiteX1422" fmla="*/ 78382 w 186564"/>
                  <a:gd name="connsiteY1422" fmla="*/ 67713 h 248370"/>
                  <a:gd name="connsiteX1423" fmla="*/ 79881 w 186564"/>
                  <a:gd name="connsiteY1423" fmla="*/ 66214 h 248370"/>
                  <a:gd name="connsiteX1424" fmla="*/ 79881 w 186564"/>
                  <a:gd name="connsiteY1424" fmla="*/ 65333 h 248370"/>
                  <a:gd name="connsiteX1425" fmla="*/ 78999 w 186564"/>
                  <a:gd name="connsiteY1425" fmla="*/ 66214 h 248370"/>
                  <a:gd name="connsiteX1426" fmla="*/ 76618 w 186564"/>
                  <a:gd name="connsiteY1426" fmla="*/ 66214 h 248370"/>
                  <a:gd name="connsiteX1427" fmla="*/ 76001 w 186564"/>
                  <a:gd name="connsiteY1427" fmla="*/ 67361 h 248370"/>
                  <a:gd name="connsiteX1428" fmla="*/ 74238 w 186564"/>
                  <a:gd name="connsiteY1428" fmla="*/ 68242 h 248370"/>
                  <a:gd name="connsiteX1429" fmla="*/ 72739 w 186564"/>
                  <a:gd name="connsiteY1429" fmla="*/ 68507 h 248370"/>
                  <a:gd name="connsiteX1430" fmla="*/ 72739 w 186564"/>
                  <a:gd name="connsiteY1430" fmla="*/ 67890 h 248370"/>
                  <a:gd name="connsiteX1431" fmla="*/ 75648 w 186564"/>
                  <a:gd name="connsiteY1431" fmla="*/ 66391 h 248370"/>
                  <a:gd name="connsiteX1432" fmla="*/ 75031 w 186564"/>
                  <a:gd name="connsiteY1432" fmla="*/ 65774 h 248370"/>
                  <a:gd name="connsiteX1433" fmla="*/ 75648 w 186564"/>
                  <a:gd name="connsiteY1433" fmla="*/ 65156 h 248370"/>
                  <a:gd name="connsiteX1434" fmla="*/ 76530 w 186564"/>
                  <a:gd name="connsiteY1434" fmla="*/ 65156 h 248370"/>
                  <a:gd name="connsiteX1435" fmla="*/ 78029 w 186564"/>
                  <a:gd name="connsiteY1435" fmla="*/ 65156 h 248370"/>
                  <a:gd name="connsiteX1436" fmla="*/ 78911 w 186564"/>
                  <a:gd name="connsiteY1436" fmla="*/ 65156 h 248370"/>
                  <a:gd name="connsiteX1437" fmla="*/ 79792 w 186564"/>
                  <a:gd name="connsiteY1437" fmla="*/ 64892 h 248370"/>
                  <a:gd name="connsiteX1438" fmla="*/ 80057 w 186564"/>
                  <a:gd name="connsiteY1438" fmla="*/ 65156 h 248370"/>
                  <a:gd name="connsiteX1439" fmla="*/ 80939 w 186564"/>
                  <a:gd name="connsiteY1439" fmla="*/ 65421 h 248370"/>
                  <a:gd name="connsiteX1440" fmla="*/ 81203 w 186564"/>
                  <a:gd name="connsiteY1440" fmla="*/ 65156 h 248370"/>
                  <a:gd name="connsiteX1441" fmla="*/ 82702 w 186564"/>
                  <a:gd name="connsiteY1441" fmla="*/ 64010 h 248370"/>
                  <a:gd name="connsiteX1442" fmla="*/ 84465 w 186564"/>
                  <a:gd name="connsiteY1442" fmla="*/ 62600 h 248370"/>
                  <a:gd name="connsiteX1443" fmla="*/ 84730 w 186564"/>
                  <a:gd name="connsiteY1443" fmla="*/ 61982 h 248370"/>
                  <a:gd name="connsiteX1444" fmla="*/ 84465 w 186564"/>
                  <a:gd name="connsiteY1444" fmla="*/ 61718 h 248370"/>
                  <a:gd name="connsiteX1445" fmla="*/ 83055 w 186564"/>
                  <a:gd name="connsiteY1445" fmla="*/ 62864 h 248370"/>
                  <a:gd name="connsiteX1446" fmla="*/ 82437 w 186564"/>
                  <a:gd name="connsiteY1446" fmla="*/ 63129 h 248370"/>
                  <a:gd name="connsiteX1447" fmla="*/ 81291 w 186564"/>
                  <a:gd name="connsiteY1447" fmla="*/ 63393 h 248370"/>
                  <a:gd name="connsiteX1448" fmla="*/ 81027 w 186564"/>
                  <a:gd name="connsiteY1448" fmla="*/ 62776 h 248370"/>
                  <a:gd name="connsiteX1449" fmla="*/ 82790 w 186564"/>
                  <a:gd name="connsiteY1449" fmla="*/ 62511 h 248370"/>
                  <a:gd name="connsiteX1450" fmla="*/ 81644 w 186564"/>
                  <a:gd name="connsiteY1450" fmla="*/ 62247 h 248370"/>
                  <a:gd name="connsiteX1451" fmla="*/ 80762 w 186564"/>
                  <a:gd name="connsiteY1451" fmla="*/ 62511 h 248370"/>
                  <a:gd name="connsiteX1452" fmla="*/ 79881 w 186564"/>
                  <a:gd name="connsiteY1452" fmla="*/ 62776 h 248370"/>
                  <a:gd name="connsiteX1453" fmla="*/ 79263 w 186564"/>
                  <a:gd name="connsiteY1453" fmla="*/ 63040 h 248370"/>
                  <a:gd name="connsiteX1454" fmla="*/ 77853 w 186564"/>
                  <a:gd name="connsiteY1454" fmla="*/ 63040 h 248370"/>
                  <a:gd name="connsiteX1455" fmla="*/ 77236 w 186564"/>
                  <a:gd name="connsiteY1455" fmla="*/ 62423 h 248370"/>
                  <a:gd name="connsiteX1456" fmla="*/ 77853 w 186564"/>
                  <a:gd name="connsiteY1456" fmla="*/ 61806 h 248370"/>
                  <a:gd name="connsiteX1457" fmla="*/ 78999 w 186564"/>
                  <a:gd name="connsiteY1457" fmla="*/ 62423 h 248370"/>
                  <a:gd name="connsiteX1458" fmla="*/ 79263 w 186564"/>
                  <a:gd name="connsiteY1458" fmla="*/ 62159 h 248370"/>
                  <a:gd name="connsiteX1459" fmla="*/ 78999 w 186564"/>
                  <a:gd name="connsiteY1459" fmla="*/ 61630 h 248370"/>
                  <a:gd name="connsiteX1460" fmla="*/ 79263 w 186564"/>
                  <a:gd name="connsiteY1460" fmla="*/ 61365 h 248370"/>
                  <a:gd name="connsiteX1461" fmla="*/ 80145 w 186564"/>
                  <a:gd name="connsiteY1461" fmla="*/ 61630 h 248370"/>
                  <a:gd name="connsiteX1462" fmla="*/ 80762 w 186564"/>
                  <a:gd name="connsiteY1462" fmla="*/ 60131 h 248370"/>
                  <a:gd name="connsiteX1463" fmla="*/ 81027 w 186564"/>
                  <a:gd name="connsiteY1463" fmla="*/ 59866 h 248370"/>
                  <a:gd name="connsiteX1464" fmla="*/ 83055 w 186564"/>
                  <a:gd name="connsiteY1464" fmla="*/ 58985 h 248370"/>
                  <a:gd name="connsiteX1465" fmla="*/ 85082 w 186564"/>
                  <a:gd name="connsiteY1465" fmla="*/ 58456 h 248370"/>
                  <a:gd name="connsiteX1466" fmla="*/ 87110 w 186564"/>
                  <a:gd name="connsiteY1466" fmla="*/ 57838 h 248370"/>
                  <a:gd name="connsiteX1467" fmla="*/ 89491 w 186564"/>
                  <a:gd name="connsiteY1467" fmla="*/ 56428 h 248370"/>
                  <a:gd name="connsiteX1468" fmla="*/ 90902 w 186564"/>
                  <a:gd name="connsiteY1468" fmla="*/ 56428 h 248370"/>
                  <a:gd name="connsiteX1469" fmla="*/ 91783 w 186564"/>
                  <a:gd name="connsiteY1469" fmla="*/ 54929 h 248370"/>
                  <a:gd name="connsiteX1470" fmla="*/ 92930 w 186564"/>
                  <a:gd name="connsiteY1470" fmla="*/ 53783 h 248370"/>
                  <a:gd name="connsiteX1471" fmla="*/ 94428 w 186564"/>
                  <a:gd name="connsiteY1471" fmla="*/ 53518 h 248370"/>
                  <a:gd name="connsiteX1472" fmla="*/ 94428 w 186564"/>
                  <a:gd name="connsiteY1472" fmla="*/ 52637 h 248370"/>
                  <a:gd name="connsiteX1473" fmla="*/ 95574 w 186564"/>
                  <a:gd name="connsiteY1473" fmla="*/ 51755 h 248370"/>
                  <a:gd name="connsiteX1474" fmla="*/ 96456 w 186564"/>
                  <a:gd name="connsiteY1474" fmla="*/ 52019 h 248370"/>
                  <a:gd name="connsiteX1475" fmla="*/ 97073 w 186564"/>
                  <a:gd name="connsiteY1475" fmla="*/ 51755 h 248370"/>
                  <a:gd name="connsiteX1476" fmla="*/ 97955 w 186564"/>
                  <a:gd name="connsiteY1476" fmla="*/ 51138 h 248370"/>
                  <a:gd name="connsiteX1477" fmla="*/ 97073 w 186564"/>
                  <a:gd name="connsiteY1477" fmla="*/ 49991 h 248370"/>
                  <a:gd name="connsiteX1478" fmla="*/ 98572 w 186564"/>
                  <a:gd name="connsiteY1478" fmla="*/ 49374 h 248370"/>
                  <a:gd name="connsiteX1479" fmla="*/ 98837 w 186564"/>
                  <a:gd name="connsiteY1479" fmla="*/ 47611 h 248370"/>
                  <a:gd name="connsiteX1480" fmla="*/ 97955 w 186564"/>
                  <a:gd name="connsiteY1480" fmla="*/ 46994 h 248370"/>
                  <a:gd name="connsiteX1481" fmla="*/ 97073 w 186564"/>
                  <a:gd name="connsiteY1481" fmla="*/ 46729 h 248370"/>
                  <a:gd name="connsiteX1482" fmla="*/ 95663 w 186564"/>
                  <a:gd name="connsiteY1482" fmla="*/ 46465 h 248370"/>
                  <a:gd name="connsiteX1483" fmla="*/ 96809 w 186564"/>
                  <a:gd name="connsiteY1483" fmla="*/ 45583 h 248370"/>
                  <a:gd name="connsiteX1484" fmla="*/ 96809 w 186564"/>
                  <a:gd name="connsiteY1484" fmla="*/ 45319 h 248370"/>
                  <a:gd name="connsiteX1485" fmla="*/ 97955 w 186564"/>
                  <a:gd name="connsiteY1485" fmla="*/ 44701 h 248370"/>
                  <a:gd name="connsiteX1486" fmla="*/ 98837 w 186564"/>
                  <a:gd name="connsiteY1486" fmla="*/ 43555 h 248370"/>
                  <a:gd name="connsiteX1487" fmla="*/ 97955 w 186564"/>
                  <a:gd name="connsiteY1487" fmla="*/ 42674 h 248370"/>
                  <a:gd name="connsiteX1488" fmla="*/ 97073 w 186564"/>
                  <a:gd name="connsiteY1488" fmla="*/ 42938 h 248370"/>
                  <a:gd name="connsiteX1489" fmla="*/ 95927 w 186564"/>
                  <a:gd name="connsiteY1489" fmla="*/ 43820 h 248370"/>
                  <a:gd name="connsiteX1490" fmla="*/ 95046 w 186564"/>
                  <a:gd name="connsiteY1490" fmla="*/ 44084 h 248370"/>
                  <a:gd name="connsiteX1491" fmla="*/ 93018 w 186564"/>
                  <a:gd name="connsiteY1491" fmla="*/ 43467 h 248370"/>
                  <a:gd name="connsiteX1492" fmla="*/ 92136 w 186564"/>
                  <a:gd name="connsiteY1492" fmla="*/ 43467 h 248370"/>
                  <a:gd name="connsiteX1493" fmla="*/ 92401 w 186564"/>
                  <a:gd name="connsiteY1493" fmla="*/ 44084 h 248370"/>
                  <a:gd name="connsiteX1494" fmla="*/ 92136 w 186564"/>
                  <a:gd name="connsiteY1494" fmla="*/ 44349 h 248370"/>
                  <a:gd name="connsiteX1495" fmla="*/ 90990 w 186564"/>
                  <a:gd name="connsiteY1495" fmla="*/ 44349 h 248370"/>
                  <a:gd name="connsiteX1496" fmla="*/ 90373 w 186564"/>
                  <a:gd name="connsiteY1496" fmla="*/ 44349 h 248370"/>
                  <a:gd name="connsiteX1497" fmla="*/ 89844 w 186564"/>
                  <a:gd name="connsiteY1497" fmla="*/ 44613 h 248370"/>
                  <a:gd name="connsiteX1498" fmla="*/ 88962 w 186564"/>
                  <a:gd name="connsiteY1498" fmla="*/ 44349 h 248370"/>
                  <a:gd name="connsiteX1499" fmla="*/ 87816 w 186564"/>
                  <a:gd name="connsiteY1499" fmla="*/ 43732 h 248370"/>
                  <a:gd name="connsiteX1500" fmla="*/ 86934 w 186564"/>
                  <a:gd name="connsiteY1500" fmla="*/ 44349 h 248370"/>
                  <a:gd name="connsiteX1501" fmla="*/ 85788 w 186564"/>
                  <a:gd name="connsiteY1501" fmla="*/ 44349 h 248370"/>
                  <a:gd name="connsiteX1502" fmla="*/ 85171 w 186564"/>
                  <a:gd name="connsiteY1502" fmla="*/ 45230 h 248370"/>
                  <a:gd name="connsiteX1503" fmla="*/ 83143 w 186564"/>
                  <a:gd name="connsiteY1503" fmla="*/ 45230 h 248370"/>
                  <a:gd name="connsiteX1504" fmla="*/ 81115 w 186564"/>
                  <a:gd name="connsiteY1504" fmla="*/ 45848 h 248370"/>
                  <a:gd name="connsiteX1505" fmla="*/ 79704 w 186564"/>
                  <a:gd name="connsiteY1505" fmla="*/ 45230 h 248370"/>
                  <a:gd name="connsiteX1506" fmla="*/ 77941 w 186564"/>
                  <a:gd name="connsiteY1506" fmla="*/ 45495 h 248370"/>
                  <a:gd name="connsiteX1507" fmla="*/ 77676 w 186564"/>
                  <a:gd name="connsiteY1507" fmla="*/ 45230 h 248370"/>
                  <a:gd name="connsiteX1508" fmla="*/ 76795 w 186564"/>
                  <a:gd name="connsiteY1508" fmla="*/ 45848 h 248370"/>
                  <a:gd name="connsiteX1509" fmla="*/ 77412 w 186564"/>
                  <a:gd name="connsiteY1509" fmla="*/ 46465 h 248370"/>
                  <a:gd name="connsiteX1510" fmla="*/ 78558 w 186564"/>
                  <a:gd name="connsiteY1510" fmla="*/ 47082 h 248370"/>
                  <a:gd name="connsiteX1511" fmla="*/ 77059 w 186564"/>
                  <a:gd name="connsiteY1511" fmla="*/ 46465 h 248370"/>
                  <a:gd name="connsiteX1512" fmla="*/ 76442 w 186564"/>
                  <a:gd name="connsiteY1512" fmla="*/ 46465 h 248370"/>
                  <a:gd name="connsiteX1513" fmla="*/ 75296 w 186564"/>
                  <a:gd name="connsiteY1513" fmla="*/ 45583 h 248370"/>
                  <a:gd name="connsiteX1514" fmla="*/ 75031 w 186564"/>
                  <a:gd name="connsiteY1514" fmla="*/ 46112 h 248370"/>
                  <a:gd name="connsiteX1515" fmla="*/ 74767 w 186564"/>
                  <a:gd name="connsiteY1515" fmla="*/ 46994 h 248370"/>
                  <a:gd name="connsiteX1516" fmla="*/ 73621 w 186564"/>
                  <a:gd name="connsiteY1516" fmla="*/ 47611 h 248370"/>
                  <a:gd name="connsiteX1517" fmla="*/ 73003 w 186564"/>
                  <a:gd name="connsiteY1517" fmla="*/ 47346 h 248370"/>
                  <a:gd name="connsiteX1518" fmla="*/ 73003 w 186564"/>
                  <a:gd name="connsiteY1518" fmla="*/ 46465 h 248370"/>
                  <a:gd name="connsiteX1519" fmla="*/ 73885 w 186564"/>
                  <a:gd name="connsiteY1519" fmla="*/ 46112 h 248370"/>
                  <a:gd name="connsiteX1520" fmla="*/ 73885 w 186564"/>
                  <a:gd name="connsiteY1520" fmla="*/ 45230 h 248370"/>
                  <a:gd name="connsiteX1521" fmla="*/ 72739 w 186564"/>
                  <a:gd name="connsiteY1521" fmla="*/ 44966 h 248370"/>
                  <a:gd name="connsiteX1522" fmla="*/ 71593 w 186564"/>
                  <a:gd name="connsiteY1522" fmla="*/ 45230 h 248370"/>
                  <a:gd name="connsiteX1523" fmla="*/ 71328 w 186564"/>
                  <a:gd name="connsiteY1523" fmla="*/ 45848 h 248370"/>
                  <a:gd name="connsiteX1524" fmla="*/ 70182 w 186564"/>
                  <a:gd name="connsiteY1524" fmla="*/ 45848 h 248370"/>
                  <a:gd name="connsiteX1525" fmla="*/ 69036 w 186564"/>
                  <a:gd name="connsiteY1525" fmla="*/ 45583 h 248370"/>
                  <a:gd name="connsiteX1526" fmla="*/ 69653 w 186564"/>
                  <a:gd name="connsiteY1526" fmla="*/ 44966 h 248370"/>
                  <a:gd name="connsiteX1527" fmla="*/ 67625 w 186564"/>
                  <a:gd name="connsiteY1527" fmla="*/ 44349 h 248370"/>
                  <a:gd name="connsiteX1528" fmla="*/ 67625 w 186564"/>
                  <a:gd name="connsiteY1528" fmla="*/ 45230 h 248370"/>
                  <a:gd name="connsiteX1529" fmla="*/ 66744 w 186564"/>
                  <a:gd name="connsiteY1529" fmla="*/ 45848 h 248370"/>
                  <a:gd name="connsiteX1530" fmla="*/ 65862 w 186564"/>
                  <a:gd name="connsiteY1530" fmla="*/ 45230 h 248370"/>
                  <a:gd name="connsiteX1531" fmla="*/ 66126 w 186564"/>
                  <a:gd name="connsiteY1531" fmla="*/ 44349 h 248370"/>
                  <a:gd name="connsiteX1532" fmla="*/ 65245 w 186564"/>
                  <a:gd name="connsiteY1532" fmla="*/ 44084 h 248370"/>
                  <a:gd name="connsiteX1533" fmla="*/ 64363 w 186564"/>
                  <a:gd name="connsiteY1533" fmla="*/ 44349 h 248370"/>
                  <a:gd name="connsiteX1534" fmla="*/ 63481 w 186564"/>
                  <a:gd name="connsiteY1534" fmla="*/ 43732 h 248370"/>
                  <a:gd name="connsiteX1535" fmla="*/ 62864 w 186564"/>
                  <a:gd name="connsiteY1535" fmla="*/ 44525 h 248370"/>
                  <a:gd name="connsiteX1536" fmla="*/ 102187 w 186564"/>
                  <a:gd name="connsiteY1536" fmla="*/ 26451 h 248370"/>
                  <a:gd name="connsiteX1537" fmla="*/ 103686 w 186564"/>
                  <a:gd name="connsiteY1537" fmla="*/ 26715 h 248370"/>
                  <a:gd name="connsiteX1538" fmla="*/ 104303 w 186564"/>
                  <a:gd name="connsiteY1538" fmla="*/ 27597 h 248370"/>
                  <a:gd name="connsiteX1539" fmla="*/ 103686 w 186564"/>
                  <a:gd name="connsiteY1539" fmla="*/ 28743 h 248370"/>
                  <a:gd name="connsiteX1540" fmla="*/ 104832 w 186564"/>
                  <a:gd name="connsiteY1540" fmla="*/ 29360 h 248370"/>
                  <a:gd name="connsiteX1541" fmla="*/ 104215 w 186564"/>
                  <a:gd name="connsiteY1541" fmla="*/ 30242 h 248370"/>
                  <a:gd name="connsiteX1542" fmla="*/ 104215 w 186564"/>
                  <a:gd name="connsiteY1542" fmla="*/ 31388 h 248370"/>
                  <a:gd name="connsiteX1543" fmla="*/ 105978 w 186564"/>
                  <a:gd name="connsiteY1543" fmla="*/ 31388 h 248370"/>
                  <a:gd name="connsiteX1544" fmla="*/ 106860 w 186564"/>
                  <a:gd name="connsiteY1544" fmla="*/ 31123 h 248370"/>
                  <a:gd name="connsiteX1545" fmla="*/ 106860 w 186564"/>
                  <a:gd name="connsiteY1545" fmla="*/ 32005 h 248370"/>
                  <a:gd name="connsiteX1546" fmla="*/ 107477 w 186564"/>
                  <a:gd name="connsiteY1546" fmla="*/ 32622 h 248370"/>
                  <a:gd name="connsiteX1547" fmla="*/ 106331 w 186564"/>
                  <a:gd name="connsiteY1547" fmla="*/ 33504 h 248370"/>
                  <a:gd name="connsiteX1548" fmla="*/ 105714 w 186564"/>
                  <a:gd name="connsiteY1548" fmla="*/ 33504 h 248370"/>
                  <a:gd name="connsiteX1549" fmla="*/ 104832 w 186564"/>
                  <a:gd name="connsiteY1549" fmla="*/ 33240 h 248370"/>
                  <a:gd name="connsiteX1550" fmla="*/ 103951 w 186564"/>
                  <a:gd name="connsiteY1550" fmla="*/ 33504 h 248370"/>
                  <a:gd name="connsiteX1551" fmla="*/ 102804 w 186564"/>
                  <a:gd name="connsiteY1551" fmla="*/ 32622 h 248370"/>
                  <a:gd name="connsiteX1552" fmla="*/ 101305 w 186564"/>
                  <a:gd name="connsiteY1552" fmla="*/ 32622 h 248370"/>
                  <a:gd name="connsiteX1553" fmla="*/ 100688 w 186564"/>
                  <a:gd name="connsiteY1553" fmla="*/ 34386 h 248370"/>
                  <a:gd name="connsiteX1554" fmla="*/ 100688 w 186564"/>
                  <a:gd name="connsiteY1554" fmla="*/ 35267 h 248370"/>
                  <a:gd name="connsiteX1555" fmla="*/ 99542 w 186564"/>
                  <a:gd name="connsiteY1555" fmla="*/ 35885 h 248370"/>
                  <a:gd name="connsiteX1556" fmla="*/ 99542 w 186564"/>
                  <a:gd name="connsiteY1556" fmla="*/ 36766 h 248370"/>
                  <a:gd name="connsiteX1557" fmla="*/ 100424 w 186564"/>
                  <a:gd name="connsiteY1557" fmla="*/ 37295 h 248370"/>
                  <a:gd name="connsiteX1558" fmla="*/ 101923 w 186564"/>
                  <a:gd name="connsiteY1558" fmla="*/ 37912 h 248370"/>
                  <a:gd name="connsiteX1559" fmla="*/ 102804 w 186564"/>
                  <a:gd name="connsiteY1559" fmla="*/ 38177 h 248370"/>
                  <a:gd name="connsiteX1560" fmla="*/ 102540 w 186564"/>
                  <a:gd name="connsiteY1560" fmla="*/ 38706 h 248370"/>
                  <a:gd name="connsiteX1561" fmla="*/ 102804 w 186564"/>
                  <a:gd name="connsiteY1561" fmla="*/ 39588 h 248370"/>
                  <a:gd name="connsiteX1562" fmla="*/ 101923 w 186564"/>
                  <a:gd name="connsiteY1562" fmla="*/ 40205 h 248370"/>
                  <a:gd name="connsiteX1563" fmla="*/ 102187 w 186564"/>
                  <a:gd name="connsiteY1563" fmla="*/ 40822 h 248370"/>
                  <a:gd name="connsiteX1564" fmla="*/ 101305 w 186564"/>
                  <a:gd name="connsiteY1564" fmla="*/ 41086 h 248370"/>
                  <a:gd name="connsiteX1565" fmla="*/ 102187 w 186564"/>
                  <a:gd name="connsiteY1565" fmla="*/ 41968 h 248370"/>
                  <a:gd name="connsiteX1566" fmla="*/ 101305 w 186564"/>
                  <a:gd name="connsiteY1566" fmla="*/ 42233 h 248370"/>
                  <a:gd name="connsiteX1567" fmla="*/ 102187 w 186564"/>
                  <a:gd name="connsiteY1567" fmla="*/ 42850 h 248370"/>
                  <a:gd name="connsiteX1568" fmla="*/ 101305 w 186564"/>
                  <a:gd name="connsiteY1568" fmla="*/ 43732 h 248370"/>
                  <a:gd name="connsiteX1569" fmla="*/ 99542 w 186564"/>
                  <a:gd name="connsiteY1569" fmla="*/ 43114 h 248370"/>
                  <a:gd name="connsiteX1570" fmla="*/ 98925 w 186564"/>
                  <a:gd name="connsiteY1570" fmla="*/ 42233 h 248370"/>
                  <a:gd name="connsiteX1571" fmla="*/ 98660 w 186564"/>
                  <a:gd name="connsiteY1571" fmla="*/ 40734 h 248370"/>
                  <a:gd name="connsiteX1572" fmla="*/ 98925 w 186564"/>
                  <a:gd name="connsiteY1572" fmla="*/ 38970 h 248370"/>
                  <a:gd name="connsiteX1573" fmla="*/ 97779 w 186564"/>
                  <a:gd name="connsiteY1573" fmla="*/ 40117 h 248370"/>
                  <a:gd name="connsiteX1574" fmla="*/ 96897 w 186564"/>
                  <a:gd name="connsiteY1574" fmla="*/ 40998 h 248370"/>
                  <a:gd name="connsiteX1575" fmla="*/ 96897 w 186564"/>
                  <a:gd name="connsiteY1575" fmla="*/ 41880 h 248370"/>
                  <a:gd name="connsiteX1576" fmla="*/ 96015 w 186564"/>
                  <a:gd name="connsiteY1576" fmla="*/ 42409 h 248370"/>
                  <a:gd name="connsiteX1577" fmla="*/ 94517 w 186564"/>
                  <a:gd name="connsiteY1577" fmla="*/ 41880 h 248370"/>
                  <a:gd name="connsiteX1578" fmla="*/ 94252 w 186564"/>
                  <a:gd name="connsiteY1578" fmla="*/ 40734 h 248370"/>
                  <a:gd name="connsiteX1579" fmla="*/ 94252 w 186564"/>
                  <a:gd name="connsiteY1579" fmla="*/ 39588 h 248370"/>
                  <a:gd name="connsiteX1580" fmla="*/ 95398 w 186564"/>
                  <a:gd name="connsiteY1580" fmla="*/ 38441 h 248370"/>
                  <a:gd name="connsiteX1581" fmla="*/ 94517 w 186564"/>
                  <a:gd name="connsiteY1581" fmla="*/ 37295 h 248370"/>
                  <a:gd name="connsiteX1582" fmla="*/ 95134 w 186564"/>
                  <a:gd name="connsiteY1582" fmla="*/ 36149 h 248370"/>
                  <a:gd name="connsiteX1583" fmla="*/ 96280 w 186564"/>
                  <a:gd name="connsiteY1583" fmla="*/ 36149 h 248370"/>
                  <a:gd name="connsiteX1584" fmla="*/ 96280 w 186564"/>
                  <a:gd name="connsiteY1584" fmla="*/ 35267 h 248370"/>
                  <a:gd name="connsiteX1585" fmla="*/ 96897 w 186564"/>
                  <a:gd name="connsiteY1585" fmla="*/ 34386 h 248370"/>
                  <a:gd name="connsiteX1586" fmla="*/ 97426 w 186564"/>
                  <a:gd name="connsiteY1586" fmla="*/ 34650 h 248370"/>
                  <a:gd name="connsiteX1587" fmla="*/ 97779 w 186564"/>
                  <a:gd name="connsiteY1587" fmla="*/ 34650 h 248370"/>
                  <a:gd name="connsiteX1588" fmla="*/ 98308 w 186564"/>
                  <a:gd name="connsiteY1588" fmla="*/ 34033 h 248370"/>
                  <a:gd name="connsiteX1589" fmla="*/ 98572 w 186564"/>
                  <a:gd name="connsiteY1589" fmla="*/ 33151 h 248370"/>
                  <a:gd name="connsiteX1590" fmla="*/ 99454 w 186564"/>
                  <a:gd name="connsiteY1590" fmla="*/ 32887 h 248370"/>
                  <a:gd name="connsiteX1591" fmla="*/ 100071 w 186564"/>
                  <a:gd name="connsiteY1591" fmla="*/ 33504 h 248370"/>
                  <a:gd name="connsiteX1592" fmla="*/ 99454 w 186564"/>
                  <a:gd name="connsiteY1592" fmla="*/ 32358 h 248370"/>
                  <a:gd name="connsiteX1593" fmla="*/ 100865 w 186564"/>
                  <a:gd name="connsiteY1593" fmla="*/ 31212 h 248370"/>
                  <a:gd name="connsiteX1594" fmla="*/ 100865 w 186564"/>
                  <a:gd name="connsiteY1594" fmla="*/ 30947 h 248370"/>
                  <a:gd name="connsiteX1595" fmla="*/ 99983 w 186564"/>
                  <a:gd name="connsiteY1595" fmla="*/ 30065 h 248370"/>
                  <a:gd name="connsiteX1596" fmla="*/ 100600 w 186564"/>
                  <a:gd name="connsiteY1596" fmla="*/ 29448 h 248370"/>
                  <a:gd name="connsiteX1597" fmla="*/ 101217 w 186564"/>
                  <a:gd name="connsiteY1597" fmla="*/ 28831 h 248370"/>
                  <a:gd name="connsiteX1598" fmla="*/ 102099 w 186564"/>
                  <a:gd name="connsiteY1598" fmla="*/ 29448 h 248370"/>
                  <a:gd name="connsiteX1599" fmla="*/ 102716 w 186564"/>
                  <a:gd name="connsiteY1599" fmla="*/ 29184 h 248370"/>
                  <a:gd name="connsiteX1600" fmla="*/ 101834 w 186564"/>
                  <a:gd name="connsiteY1600" fmla="*/ 27420 h 248370"/>
                  <a:gd name="connsiteX1601" fmla="*/ 102187 w 186564"/>
                  <a:gd name="connsiteY1601" fmla="*/ 26451 h 248370"/>
                  <a:gd name="connsiteX1602" fmla="*/ 73356 w 186564"/>
                  <a:gd name="connsiteY1602" fmla="*/ 144596 h 248370"/>
                  <a:gd name="connsiteX1603" fmla="*/ 73092 w 186564"/>
                  <a:gd name="connsiteY1603" fmla="*/ 145742 h 248370"/>
                  <a:gd name="connsiteX1604" fmla="*/ 72827 w 186564"/>
                  <a:gd name="connsiteY1604" fmla="*/ 146007 h 248370"/>
                  <a:gd name="connsiteX1605" fmla="*/ 72563 w 186564"/>
                  <a:gd name="connsiteY1605" fmla="*/ 146271 h 248370"/>
                  <a:gd name="connsiteX1606" fmla="*/ 71945 w 186564"/>
                  <a:gd name="connsiteY1606" fmla="*/ 146888 h 248370"/>
                  <a:gd name="connsiteX1607" fmla="*/ 72563 w 186564"/>
                  <a:gd name="connsiteY1607" fmla="*/ 146888 h 248370"/>
                  <a:gd name="connsiteX1608" fmla="*/ 73092 w 186564"/>
                  <a:gd name="connsiteY1608" fmla="*/ 146624 h 248370"/>
                  <a:gd name="connsiteX1609" fmla="*/ 73356 w 186564"/>
                  <a:gd name="connsiteY1609" fmla="*/ 147506 h 248370"/>
                  <a:gd name="connsiteX1610" fmla="*/ 73092 w 186564"/>
                  <a:gd name="connsiteY1610" fmla="*/ 147858 h 248370"/>
                  <a:gd name="connsiteX1611" fmla="*/ 72827 w 186564"/>
                  <a:gd name="connsiteY1611" fmla="*/ 148740 h 248370"/>
                  <a:gd name="connsiteX1612" fmla="*/ 72563 w 186564"/>
                  <a:gd name="connsiteY1612" fmla="*/ 149357 h 248370"/>
                  <a:gd name="connsiteX1613" fmla="*/ 72298 w 186564"/>
                  <a:gd name="connsiteY1613" fmla="*/ 149622 h 248370"/>
                  <a:gd name="connsiteX1614" fmla="*/ 71681 w 186564"/>
                  <a:gd name="connsiteY1614" fmla="*/ 150503 h 248370"/>
                  <a:gd name="connsiteX1615" fmla="*/ 71064 w 186564"/>
                  <a:gd name="connsiteY1615" fmla="*/ 150503 h 248370"/>
                  <a:gd name="connsiteX1616" fmla="*/ 69917 w 186564"/>
                  <a:gd name="connsiteY1616" fmla="*/ 150768 h 248370"/>
                  <a:gd name="connsiteX1617" fmla="*/ 69036 w 186564"/>
                  <a:gd name="connsiteY1617" fmla="*/ 150151 h 248370"/>
                  <a:gd name="connsiteX1618" fmla="*/ 68419 w 186564"/>
                  <a:gd name="connsiteY1618" fmla="*/ 150415 h 248370"/>
                  <a:gd name="connsiteX1619" fmla="*/ 66920 w 186564"/>
                  <a:gd name="connsiteY1619" fmla="*/ 150151 h 248370"/>
                  <a:gd name="connsiteX1620" fmla="*/ 66391 w 186564"/>
                  <a:gd name="connsiteY1620" fmla="*/ 151032 h 248370"/>
                  <a:gd name="connsiteX1621" fmla="*/ 64892 w 186564"/>
                  <a:gd name="connsiteY1621" fmla="*/ 151032 h 248370"/>
                  <a:gd name="connsiteX1622" fmla="*/ 63746 w 186564"/>
                  <a:gd name="connsiteY1622" fmla="*/ 151650 h 248370"/>
                  <a:gd name="connsiteX1623" fmla="*/ 62600 w 186564"/>
                  <a:gd name="connsiteY1623" fmla="*/ 152267 h 248370"/>
                  <a:gd name="connsiteX1624" fmla="*/ 61718 w 186564"/>
                  <a:gd name="connsiteY1624" fmla="*/ 152267 h 248370"/>
                  <a:gd name="connsiteX1625" fmla="*/ 62600 w 186564"/>
                  <a:gd name="connsiteY1625" fmla="*/ 151385 h 248370"/>
                  <a:gd name="connsiteX1626" fmla="*/ 63481 w 186564"/>
                  <a:gd name="connsiteY1626" fmla="*/ 150239 h 248370"/>
                  <a:gd name="connsiteX1627" fmla="*/ 64980 w 186564"/>
                  <a:gd name="connsiteY1627" fmla="*/ 149974 h 248370"/>
                  <a:gd name="connsiteX1628" fmla="*/ 65862 w 186564"/>
                  <a:gd name="connsiteY1628" fmla="*/ 148211 h 248370"/>
                  <a:gd name="connsiteX1629" fmla="*/ 67008 w 186564"/>
                  <a:gd name="connsiteY1629" fmla="*/ 146712 h 248370"/>
                  <a:gd name="connsiteX1630" fmla="*/ 68507 w 186564"/>
                  <a:gd name="connsiteY1630" fmla="*/ 145831 h 248370"/>
                  <a:gd name="connsiteX1631" fmla="*/ 69124 w 186564"/>
                  <a:gd name="connsiteY1631" fmla="*/ 144949 h 248370"/>
                  <a:gd name="connsiteX1632" fmla="*/ 70887 w 186564"/>
                  <a:gd name="connsiteY1632" fmla="*/ 144332 h 248370"/>
                  <a:gd name="connsiteX1633" fmla="*/ 71769 w 186564"/>
                  <a:gd name="connsiteY1633" fmla="*/ 144067 h 248370"/>
                  <a:gd name="connsiteX1634" fmla="*/ 72915 w 186564"/>
                  <a:gd name="connsiteY1634" fmla="*/ 144067 h 248370"/>
                  <a:gd name="connsiteX1635" fmla="*/ 73797 w 186564"/>
                  <a:gd name="connsiteY1635" fmla="*/ 143714 h 248370"/>
                  <a:gd name="connsiteX1636" fmla="*/ 73797 w 186564"/>
                  <a:gd name="connsiteY1636" fmla="*/ 144332 h 248370"/>
                  <a:gd name="connsiteX1637" fmla="*/ 73356 w 186564"/>
                  <a:gd name="connsiteY1637" fmla="*/ 144596 h 248370"/>
                  <a:gd name="connsiteX1638" fmla="*/ 43026 w 186564"/>
                  <a:gd name="connsiteY1638" fmla="*/ 50080 h 248370"/>
                  <a:gd name="connsiteX1639" fmla="*/ 42409 w 186564"/>
                  <a:gd name="connsiteY1639" fmla="*/ 50961 h 248370"/>
                  <a:gd name="connsiteX1640" fmla="*/ 41263 w 186564"/>
                  <a:gd name="connsiteY1640" fmla="*/ 51226 h 248370"/>
                  <a:gd name="connsiteX1641" fmla="*/ 41527 w 186564"/>
                  <a:gd name="connsiteY1641" fmla="*/ 51843 h 248370"/>
                  <a:gd name="connsiteX1642" fmla="*/ 42673 w 186564"/>
                  <a:gd name="connsiteY1642" fmla="*/ 51843 h 248370"/>
                  <a:gd name="connsiteX1643" fmla="*/ 40029 w 186564"/>
                  <a:gd name="connsiteY1643" fmla="*/ 53606 h 248370"/>
                  <a:gd name="connsiteX1644" fmla="*/ 39764 w 186564"/>
                  <a:gd name="connsiteY1644" fmla="*/ 54224 h 248370"/>
                  <a:gd name="connsiteX1645" fmla="*/ 40029 w 186564"/>
                  <a:gd name="connsiteY1645" fmla="*/ 54841 h 248370"/>
                  <a:gd name="connsiteX1646" fmla="*/ 40645 w 186564"/>
                  <a:gd name="connsiteY1646" fmla="*/ 55105 h 248370"/>
                  <a:gd name="connsiteX1647" fmla="*/ 40910 w 186564"/>
                  <a:gd name="connsiteY1647" fmla="*/ 54841 h 248370"/>
                  <a:gd name="connsiteX1648" fmla="*/ 41792 w 186564"/>
                  <a:gd name="connsiteY1648" fmla="*/ 54576 h 248370"/>
                  <a:gd name="connsiteX1649" fmla="*/ 41792 w 186564"/>
                  <a:gd name="connsiteY1649" fmla="*/ 53959 h 248370"/>
                  <a:gd name="connsiteX1650" fmla="*/ 42673 w 186564"/>
                  <a:gd name="connsiteY1650" fmla="*/ 53695 h 248370"/>
                  <a:gd name="connsiteX1651" fmla="*/ 43291 w 186564"/>
                  <a:gd name="connsiteY1651" fmla="*/ 54576 h 248370"/>
                  <a:gd name="connsiteX1652" fmla="*/ 42673 w 186564"/>
                  <a:gd name="connsiteY1652" fmla="*/ 54841 h 248370"/>
                  <a:gd name="connsiteX1653" fmla="*/ 42409 w 186564"/>
                  <a:gd name="connsiteY1653" fmla="*/ 55987 h 248370"/>
                  <a:gd name="connsiteX1654" fmla="*/ 42144 w 186564"/>
                  <a:gd name="connsiteY1654" fmla="*/ 56604 h 248370"/>
                  <a:gd name="connsiteX1655" fmla="*/ 40998 w 186564"/>
                  <a:gd name="connsiteY1655" fmla="*/ 55987 h 248370"/>
                  <a:gd name="connsiteX1656" fmla="*/ 40117 w 186564"/>
                  <a:gd name="connsiteY1656" fmla="*/ 55370 h 248370"/>
                  <a:gd name="connsiteX1657" fmla="*/ 38971 w 186564"/>
                  <a:gd name="connsiteY1657" fmla="*/ 54753 h 248370"/>
                  <a:gd name="connsiteX1658" fmla="*/ 39235 w 186564"/>
                  <a:gd name="connsiteY1658" fmla="*/ 55634 h 248370"/>
                  <a:gd name="connsiteX1659" fmla="*/ 39852 w 186564"/>
                  <a:gd name="connsiteY1659" fmla="*/ 56516 h 248370"/>
                  <a:gd name="connsiteX1660" fmla="*/ 38353 w 186564"/>
                  <a:gd name="connsiteY1660" fmla="*/ 56251 h 248370"/>
                  <a:gd name="connsiteX1661" fmla="*/ 36061 w 186564"/>
                  <a:gd name="connsiteY1661" fmla="*/ 56869 h 248370"/>
                  <a:gd name="connsiteX1662" fmla="*/ 35179 w 186564"/>
                  <a:gd name="connsiteY1662" fmla="*/ 57750 h 248370"/>
                  <a:gd name="connsiteX1663" fmla="*/ 36061 w 186564"/>
                  <a:gd name="connsiteY1663" fmla="*/ 58015 h 248370"/>
                  <a:gd name="connsiteX1664" fmla="*/ 37824 w 186564"/>
                  <a:gd name="connsiteY1664" fmla="*/ 57750 h 248370"/>
                  <a:gd name="connsiteX1665" fmla="*/ 38971 w 186564"/>
                  <a:gd name="connsiteY1665" fmla="*/ 57133 h 248370"/>
                  <a:gd name="connsiteX1666" fmla="*/ 38971 w 186564"/>
                  <a:gd name="connsiteY1666" fmla="*/ 57750 h 248370"/>
                  <a:gd name="connsiteX1667" fmla="*/ 39235 w 186564"/>
                  <a:gd name="connsiteY1667" fmla="*/ 58896 h 248370"/>
                  <a:gd name="connsiteX1668" fmla="*/ 38618 w 186564"/>
                  <a:gd name="connsiteY1668" fmla="*/ 59514 h 248370"/>
                  <a:gd name="connsiteX1669" fmla="*/ 37736 w 186564"/>
                  <a:gd name="connsiteY1669" fmla="*/ 60043 h 248370"/>
                  <a:gd name="connsiteX1670" fmla="*/ 36854 w 186564"/>
                  <a:gd name="connsiteY1670" fmla="*/ 59161 h 248370"/>
                  <a:gd name="connsiteX1671" fmla="*/ 35708 w 186564"/>
                  <a:gd name="connsiteY1671" fmla="*/ 59161 h 248370"/>
                  <a:gd name="connsiteX1672" fmla="*/ 34827 w 186564"/>
                  <a:gd name="connsiteY1672" fmla="*/ 59425 h 248370"/>
                  <a:gd name="connsiteX1673" fmla="*/ 35356 w 186564"/>
                  <a:gd name="connsiteY1673" fmla="*/ 60307 h 248370"/>
                  <a:gd name="connsiteX1674" fmla="*/ 36502 w 186564"/>
                  <a:gd name="connsiteY1674" fmla="*/ 60924 h 248370"/>
                  <a:gd name="connsiteX1675" fmla="*/ 37383 w 186564"/>
                  <a:gd name="connsiteY1675" fmla="*/ 61542 h 248370"/>
                  <a:gd name="connsiteX1676" fmla="*/ 36502 w 186564"/>
                  <a:gd name="connsiteY1676" fmla="*/ 62159 h 248370"/>
                  <a:gd name="connsiteX1677" fmla="*/ 35885 w 186564"/>
                  <a:gd name="connsiteY1677" fmla="*/ 62159 h 248370"/>
                  <a:gd name="connsiteX1678" fmla="*/ 35620 w 186564"/>
                  <a:gd name="connsiteY1678" fmla="*/ 61542 h 248370"/>
                  <a:gd name="connsiteX1679" fmla="*/ 34738 w 186564"/>
                  <a:gd name="connsiteY1679" fmla="*/ 62159 h 248370"/>
                  <a:gd name="connsiteX1680" fmla="*/ 34738 w 186564"/>
                  <a:gd name="connsiteY1680" fmla="*/ 62776 h 248370"/>
                  <a:gd name="connsiteX1681" fmla="*/ 33592 w 186564"/>
                  <a:gd name="connsiteY1681" fmla="*/ 61277 h 248370"/>
                  <a:gd name="connsiteX1682" fmla="*/ 34209 w 186564"/>
                  <a:gd name="connsiteY1682" fmla="*/ 62776 h 248370"/>
                  <a:gd name="connsiteX1683" fmla="*/ 33592 w 186564"/>
                  <a:gd name="connsiteY1683" fmla="*/ 62511 h 248370"/>
                  <a:gd name="connsiteX1684" fmla="*/ 33328 w 186564"/>
                  <a:gd name="connsiteY1684" fmla="*/ 62247 h 248370"/>
                  <a:gd name="connsiteX1685" fmla="*/ 32446 w 186564"/>
                  <a:gd name="connsiteY1685" fmla="*/ 61630 h 248370"/>
                  <a:gd name="connsiteX1686" fmla="*/ 32181 w 186564"/>
                  <a:gd name="connsiteY1686" fmla="*/ 61013 h 248370"/>
                  <a:gd name="connsiteX1687" fmla="*/ 31917 w 186564"/>
                  <a:gd name="connsiteY1687" fmla="*/ 61013 h 248370"/>
                  <a:gd name="connsiteX1688" fmla="*/ 30771 w 186564"/>
                  <a:gd name="connsiteY1688" fmla="*/ 61630 h 248370"/>
                  <a:gd name="connsiteX1689" fmla="*/ 31652 w 186564"/>
                  <a:gd name="connsiteY1689" fmla="*/ 62247 h 248370"/>
                  <a:gd name="connsiteX1690" fmla="*/ 32270 w 186564"/>
                  <a:gd name="connsiteY1690" fmla="*/ 62864 h 248370"/>
                  <a:gd name="connsiteX1691" fmla="*/ 33416 w 186564"/>
                  <a:gd name="connsiteY1691" fmla="*/ 63393 h 248370"/>
                  <a:gd name="connsiteX1692" fmla="*/ 32799 w 186564"/>
                  <a:gd name="connsiteY1692" fmla="*/ 63658 h 248370"/>
                  <a:gd name="connsiteX1693" fmla="*/ 31652 w 186564"/>
                  <a:gd name="connsiteY1693" fmla="*/ 63658 h 248370"/>
                  <a:gd name="connsiteX1694" fmla="*/ 31035 w 186564"/>
                  <a:gd name="connsiteY1694" fmla="*/ 63393 h 248370"/>
                  <a:gd name="connsiteX1695" fmla="*/ 30154 w 186564"/>
                  <a:gd name="connsiteY1695" fmla="*/ 63393 h 248370"/>
                  <a:gd name="connsiteX1696" fmla="*/ 30154 w 186564"/>
                  <a:gd name="connsiteY1696" fmla="*/ 64010 h 248370"/>
                  <a:gd name="connsiteX1697" fmla="*/ 30154 w 186564"/>
                  <a:gd name="connsiteY1697" fmla="*/ 64627 h 248370"/>
                  <a:gd name="connsiteX1698" fmla="*/ 29272 w 186564"/>
                  <a:gd name="connsiteY1698" fmla="*/ 64363 h 248370"/>
                  <a:gd name="connsiteX1699" fmla="*/ 28390 w 186564"/>
                  <a:gd name="connsiteY1699" fmla="*/ 64627 h 248370"/>
                  <a:gd name="connsiteX1700" fmla="*/ 27773 w 186564"/>
                  <a:gd name="connsiteY1700" fmla="*/ 65156 h 248370"/>
                  <a:gd name="connsiteX1701" fmla="*/ 28390 w 186564"/>
                  <a:gd name="connsiteY1701" fmla="*/ 65774 h 248370"/>
                  <a:gd name="connsiteX1702" fmla="*/ 28126 w 186564"/>
                  <a:gd name="connsiteY1702" fmla="*/ 65774 h 248370"/>
                  <a:gd name="connsiteX1703" fmla="*/ 27244 w 186564"/>
                  <a:gd name="connsiteY1703" fmla="*/ 65774 h 248370"/>
                  <a:gd name="connsiteX1704" fmla="*/ 26627 w 186564"/>
                  <a:gd name="connsiteY1704" fmla="*/ 66655 h 248370"/>
                  <a:gd name="connsiteX1705" fmla="*/ 24864 w 186564"/>
                  <a:gd name="connsiteY1705" fmla="*/ 65509 h 248370"/>
                  <a:gd name="connsiteX1706" fmla="*/ 24335 w 186564"/>
                  <a:gd name="connsiteY1706" fmla="*/ 64892 h 248370"/>
                  <a:gd name="connsiteX1707" fmla="*/ 24335 w 186564"/>
                  <a:gd name="connsiteY1707" fmla="*/ 64010 h 248370"/>
                  <a:gd name="connsiteX1708" fmla="*/ 24864 w 186564"/>
                  <a:gd name="connsiteY1708" fmla="*/ 63746 h 248370"/>
                  <a:gd name="connsiteX1709" fmla="*/ 25128 w 186564"/>
                  <a:gd name="connsiteY1709" fmla="*/ 64010 h 248370"/>
                  <a:gd name="connsiteX1710" fmla="*/ 25745 w 186564"/>
                  <a:gd name="connsiteY1710" fmla="*/ 64627 h 248370"/>
                  <a:gd name="connsiteX1711" fmla="*/ 26627 w 186564"/>
                  <a:gd name="connsiteY1711" fmla="*/ 64010 h 248370"/>
                  <a:gd name="connsiteX1712" fmla="*/ 26627 w 186564"/>
                  <a:gd name="connsiteY1712" fmla="*/ 63393 h 248370"/>
                  <a:gd name="connsiteX1713" fmla="*/ 28655 w 186564"/>
                  <a:gd name="connsiteY1713" fmla="*/ 63393 h 248370"/>
                  <a:gd name="connsiteX1714" fmla="*/ 27508 w 186564"/>
                  <a:gd name="connsiteY1714" fmla="*/ 63393 h 248370"/>
                  <a:gd name="connsiteX1715" fmla="*/ 27508 w 186564"/>
                  <a:gd name="connsiteY1715" fmla="*/ 62864 h 248370"/>
                  <a:gd name="connsiteX1716" fmla="*/ 27861 w 186564"/>
                  <a:gd name="connsiteY1716" fmla="*/ 62247 h 248370"/>
                  <a:gd name="connsiteX1717" fmla="*/ 29624 w 186564"/>
                  <a:gd name="connsiteY1717" fmla="*/ 61982 h 248370"/>
                  <a:gd name="connsiteX1718" fmla="*/ 28214 w 186564"/>
                  <a:gd name="connsiteY1718" fmla="*/ 61982 h 248370"/>
                  <a:gd name="connsiteX1719" fmla="*/ 27597 w 186564"/>
                  <a:gd name="connsiteY1719" fmla="*/ 61718 h 248370"/>
                  <a:gd name="connsiteX1720" fmla="*/ 26715 w 186564"/>
                  <a:gd name="connsiteY1720" fmla="*/ 61982 h 248370"/>
                  <a:gd name="connsiteX1721" fmla="*/ 25833 w 186564"/>
                  <a:gd name="connsiteY1721" fmla="*/ 61718 h 248370"/>
                  <a:gd name="connsiteX1722" fmla="*/ 24423 w 186564"/>
                  <a:gd name="connsiteY1722" fmla="*/ 61101 h 248370"/>
                  <a:gd name="connsiteX1723" fmla="*/ 24952 w 186564"/>
                  <a:gd name="connsiteY1723" fmla="*/ 59955 h 248370"/>
                  <a:gd name="connsiteX1724" fmla="*/ 25569 w 186564"/>
                  <a:gd name="connsiteY1724" fmla="*/ 59690 h 248370"/>
                  <a:gd name="connsiteX1725" fmla="*/ 27068 w 186564"/>
                  <a:gd name="connsiteY1725" fmla="*/ 59073 h 248370"/>
                  <a:gd name="connsiteX1726" fmla="*/ 27068 w 186564"/>
                  <a:gd name="connsiteY1726" fmla="*/ 58544 h 248370"/>
                  <a:gd name="connsiteX1727" fmla="*/ 26803 w 186564"/>
                  <a:gd name="connsiteY1727" fmla="*/ 58279 h 248370"/>
                  <a:gd name="connsiteX1728" fmla="*/ 26274 w 186564"/>
                  <a:gd name="connsiteY1728" fmla="*/ 58544 h 248370"/>
                  <a:gd name="connsiteX1729" fmla="*/ 25657 w 186564"/>
                  <a:gd name="connsiteY1729" fmla="*/ 57927 h 248370"/>
                  <a:gd name="connsiteX1730" fmla="*/ 25657 w 186564"/>
                  <a:gd name="connsiteY1730" fmla="*/ 57309 h 248370"/>
                  <a:gd name="connsiteX1731" fmla="*/ 25393 w 186564"/>
                  <a:gd name="connsiteY1731" fmla="*/ 57574 h 248370"/>
                  <a:gd name="connsiteX1732" fmla="*/ 24775 w 186564"/>
                  <a:gd name="connsiteY1732" fmla="*/ 57309 h 248370"/>
                  <a:gd name="connsiteX1733" fmla="*/ 24775 w 186564"/>
                  <a:gd name="connsiteY1733" fmla="*/ 56780 h 248370"/>
                  <a:gd name="connsiteX1734" fmla="*/ 25040 w 186564"/>
                  <a:gd name="connsiteY1734" fmla="*/ 56163 h 248370"/>
                  <a:gd name="connsiteX1735" fmla="*/ 25922 w 186564"/>
                  <a:gd name="connsiteY1735" fmla="*/ 56163 h 248370"/>
                  <a:gd name="connsiteX1736" fmla="*/ 26803 w 186564"/>
                  <a:gd name="connsiteY1736" fmla="*/ 56428 h 248370"/>
                  <a:gd name="connsiteX1737" fmla="*/ 27420 w 186564"/>
                  <a:gd name="connsiteY1737" fmla="*/ 55546 h 248370"/>
                  <a:gd name="connsiteX1738" fmla="*/ 26274 w 186564"/>
                  <a:gd name="connsiteY1738" fmla="*/ 54929 h 248370"/>
                  <a:gd name="connsiteX1739" fmla="*/ 26010 w 186564"/>
                  <a:gd name="connsiteY1739" fmla="*/ 54664 h 248370"/>
                  <a:gd name="connsiteX1740" fmla="*/ 26274 w 186564"/>
                  <a:gd name="connsiteY1740" fmla="*/ 54400 h 248370"/>
                  <a:gd name="connsiteX1741" fmla="*/ 26803 w 186564"/>
                  <a:gd name="connsiteY1741" fmla="*/ 54135 h 248370"/>
                  <a:gd name="connsiteX1742" fmla="*/ 27420 w 186564"/>
                  <a:gd name="connsiteY1742" fmla="*/ 54400 h 248370"/>
                  <a:gd name="connsiteX1743" fmla="*/ 28037 w 186564"/>
                  <a:gd name="connsiteY1743" fmla="*/ 55017 h 248370"/>
                  <a:gd name="connsiteX1744" fmla="*/ 29184 w 186564"/>
                  <a:gd name="connsiteY1744" fmla="*/ 55017 h 248370"/>
                  <a:gd name="connsiteX1745" fmla="*/ 29184 w 186564"/>
                  <a:gd name="connsiteY1745" fmla="*/ 55634 h 248370"/>
                  <a:gd name="connsiteX1746" fmla="*/ 28566 w 186564"/>
                  <a:gd name="connsiteY1746" fmla="*/ 55899 h 248370"/>
                  <a:gd name="connsiteX1747" fmla="*/ 28831 w 186564"/>
                  <a:gd name="connsiteY1747" fmla="*/ 56163 h 248370"/>
                  <a:gd name="connsiteX1748" fmla="*/ 29977 w 186564"/>
                  <a:gd name="connsiteY1748" fmla="*/ 56163 h 248370"/>
                  <a:gd name="connsiteX1749" fmla="*/ 30594 w 186564"/>
                  <a:gd name="connsiteY1749" fmla="*/ 55546 h 248370"/>
                  <a:gd name="connsiteX1750" fmla="*/ 31212 w 186564"/>
                  <a:gd name="connsiteY1750" fmla="*/ 56163 h 248370"/>
                  <a:gd name="connsiteX1751" fmla="*/ 31829 w 186564"/>
                  <a:gd name="connsiteY1751" fmla="*/ 56163 h 248370"/>
                  <a:gd name="connsiteX1752" fmla="*/ 32093 w 186564"/>
                  <a:gd name="connsiteY1752" fmla="*/ 55546 h 248370"/>
                  <a:gd name="connsiteX1753" fmla="*/ 31476 w 186564"/>
                  <a:gd name="connsiteY1753" fmla="*/ 54664 h 248370"/>
                  <a:gd name="connsiteX1754" fmla="*/ 30594 w 186564"/>
                  <a:gd name="connsiteY1754" fmla="*/ 54400 h 248370"/>
                  <a:gd name="connsiteX1755" fmla="*/ 30859 w 186564"/>
                  <a:gd name="connsiteY1755" fmla="*/ 53783 h 248370"/>
                  <a:gd name="connsiteX1756" fmla="*/ 30594 w 186564"/>
                  <a:gd name="connsiteY1756" fmla="*/ 53518 h 248370"/>
                  <a:gd name="connsiteX1757" fmla="*/ 30859 w 186564"/>
                  <a:gd name="connsiteY1757" fmla="*/ 53254 h 248370"/>
                  <a:gd name="connsiteX1758" fmla="*/ 31388 w 186564"/>
                  <a:gd name="connsiteY1758" fmla="*/ 52637 h 248370"/>
                  <a:gd name="connsiteX1759" fmla="*/ 32270 w 186564"/>
                  <a:gd name="connsiteY1759" fmla="*/ 53254 h 248370"/>
                  <a:gd name="connsiteX1760" fmla="*/ 32887 w 186564"/>
                  <a:gd name="connsiteY1760" fmla="*/ 53254 h 248370"/>
                  <a:gd name="connsiteX1761" fmla="*/ 34033 w 186564"/>
                  <a:gd name="connsiteY1761" fmla="*/ 51490 h 248370"/>
                  <a:gd name="connsiteX1762" fmla="*/ 34650 w 186564"/>
                  <a:gd name="connsiteY1762" fmla="*/ 51226 h 248370"/>
                  <a:gd name="connsiteX1763" fmla="*/ 35532 w 186564"/>
                  <a:gd name="connsiteY1763" fmla="*/ 51490 h 248370"/>
                  <a:gd name="connsiteX1764" fmla="*/ 36149 w 186564"/>
                  <a:gd name="connsiteY1764" fmla="*/ 51490 h 248370"/>
                  <a:gd name="connsiteX1765" fmla="*/ 36414 w 186564"/>
                  <a:gd name="connsiteY1765" fmla="*/ 50873 h 248370"/>
                  <a:gd name="connsiteX1766" fmla="*/ 38706 w 186564"/>
                  <a:gd name="connsiteY1766" fmla="*/ 49374 h 248370"/>
                  <a:gd name="connsiteX1767" fmla="*/ 40205 w 186564"/>
                  <a:gd name="connsiteY1767" fmla="*/ 49110 h 248370"/>
                  <a:gd name="connsiteX1768" fmla="*/ 40205 w 186564"/>
                  <a:gd name="connsiteY1768" fmla="*/ 48493 h 248370"/>
                  <a:gd name="connsiteX1769" fmla="*/ 40469 w 186564"/>
                  <a:gd name="connsiteY1769" fmla="*/ 47875 h 248370"/>
                  <a:gd name="connsiteX1770" fmla="*/ 40734 w 186564"/>
                  <a:gd name="connsiteY1770" fmla="*/ 47611 h 248370"/>
                  <a:gd name="connsiteX1771" fmla="*/ 41263 w 186564"/>
                  <a:gd name="connsiteY1771" fmla="*/ 47875 h 248370"/>
                  <a:gd name="connsiteX1772" fmla="*/ 42144 w 186564"/>
                  <a:gd name="connsiteY1772" fmla="*/ 48140 h 248370"/>
                  <a:gd name="connsiteX1773" fmla="*/ 43026 w 186564"/>
                  <a:gd name="connsiteY1773" fmla="*/ 49022 h 248370"/>
                  <a:gd name="connsiteX1774" fmla="*/ 43026 w 186564"/>
                  <a:gd name="connsiteY1774" fmla="*/ 50080 h 248370"/>
                  <a:gd name="connsiteX1775" fmla="*/ 131988 w 186564"/>
                  <a:gd name="connsiteY1775" fmla="*/ 3703 h 248370"/>
                  <a:gd name="connsiteX1776" fmla="*/ 132253 w 186564"/>
                  <a:gd name="connsiteY1776" fmla="*/ 3703 h 248370"/>
                  <a:gd name="connsiteX1777" fmla="*/ 131988 w 186564"/>
                  <a:gd name="connsiteY1777" fmla="*/ 3439 h 248370"/>
                  <a:gd name="connsiteX1778" fmla="*/ 131106 w 186564"/>
                  <a:gd name="connsiteY1778" fmla="*/ 3703 h 248370"/>
                  <a:gd name="connsiteX1779" fmla="*/ 130842 w 186564"/>
                  <a:gd name="connsiteY1779" fmla="*/ 3439 h 248370"/>
                  <a:gd name="connsiteX1780" fmla="*/ 129960 w 186564"/>
                  <a:gd name="connsiteY1780" fmla="*/ 4056 h 248370"/>
                  <a:gd name="connsiteX1781" fmla="*/ 131106 w 186564"/>
                  <a:gd name="connsiteY1781" fmla="*/ 5202 h 248370"/>
                  <a:gd name="connsiteX1782" fmla="*/ 130842 w 186564"/>
                  <a:gd name="connsiteY1782" fmla="*/ 5466 h 248370"/>
                  <a:gd name="connsiteX1783" fmla="*/ 129696 w 186564"/>
                  <a:gd name="connsiteY1783" fmla="*/ 5466 h 248370"/>
                  <a:gd name="connsiteX1784" fmla="*/ 129343 w 186564"/>
                  <a:gd name="connsiteY1784" fmla="*/ 5995 h 248370"/>
                  <a:gd name="connsiteX1785" fmla="*/ 128814 w 186564"/>
                  <a:gd name="connsiteY1785" fmla="*/ 5466 h 248370"/>
                  <a:gd name="connsiteX1786" fmla="*/ 129696 w 186564"/>
                  <a:gd name="connsiteY1786" fmla="*/ 3439 h 248370"/>
                  <a:gd name="connsiteX1787" fmla="*/ 129343 w 186564"/>
                  <a:gd name="connsiteY1787" fmla="*/ 2292 h 248370"/>
                  <a:gd name="connsiteX1788" fmla="*/ 129696 w 186564"/>
                  <a:gd name="connsiteY1788" fmla="*/ 1675 h 248370"/>
                  <a:gd name="connsiteX1789" fmla="*/ 129960 w 186564"/>
                  <a:gd name="connsiteY1789" fmla="*/ 794 h 248370"/>
                  <a:gd name="connsiteX1790" fmla="*/ 130225 w 186564"/>
                  <a:gd name="connsiteY1790" fmla="*/ 264 h 248370"/>
                  <a:gd name="connsiteX1791" fmla="*/ 129608 w 186564"/>
                  <a:gd name="connsiteY1791" fmla="*/ 0 h 248370"/>
                  <a:gd name="connsiteX1792" fmla="*/ 128990 w 186564"/>
                  <a:gd name="connsiteY1792" fmla="*/ 529 h 248370"/>
                  <a:gd name="connsiteX1793" fmla="*/ 128109 w 186564"/>
                  <a:gd name="connsiteY1793" fmla="*/ 264 h 248370"/>
                  <a:gd name="connsiteX1794" fmla="*/ 127580 w 186564"/>
                  <a:gd name="connsiteY1794" fmla="*/ 794 h 248370"/>
                  <a:gd name="connsiteX1795" fmla="*/ 128109 w 186564"/>
                  <a:gd name="connsiteY1795" fmla="*/ 1411 h 248370"/>
                  <a:gd name="connsiteX1796" fmla="*/ 126962 w 186564"/>
                  <a:gd name="connsiteY1796" fmla="*/ 1940 h 248370"/>
                  <a:gd name="connsiteX1797" fmla="*/ 128109 w 186564"/>
                  <a:gd name="connsiteY1797" fmla="*/ 2469 h 248370"/>
                  <a:gd name="connsiteX1798" fmla="*/ 128109 w 186564"/>
                  <a:gd name="connsiteY1798" fmla="*/ 3350 h 248370"/>
                  <a:gd name="connsiteX1799" fmla="*/ 126698 w 186564"/>
                  <a:gd name="connsiteY1799" fmla="*/ 2469 h 248370"/>
                  <a:gd name="connsiteX1800" fmla="*/ 126081 w 186564"/>
                  <a:gd name="connsiteY1800" fmla="*/ 2204 h 248370"/>
                  <a:gd name="connsiteX1801" fmla="*/ 126081 w 186564"/>
                  <a:gd name="connsiteY1801" fmla="*/ 2469 h 248370"/>
                  <a:gd name="connsiteX1802" fmla="*/ 124317 w 186564"/>
                  <a:gd name="connsiteY1802" fmla="*/ 2733 h 248370"/>
                  <a:gd name="connsiteX1803" fmla="*/ 124053 w 186564"/>
                  <a:gd name="connsiteY1803" fmla="*/ 3615 h 248370"/>
                  <a:gd name="connsiteX1804" fmla="*/ 124670 w 186564"/>
                  <a:gd name="connsiteY1804" fmla="*/ 3879 h 248370"/>
                  <a:gd name="connsiteX1805" fmla="*/ 125199 w 186564"/>
                  <a:gd name="connsiteY1805" fmla="*/ 3879 h 248370"/>
                  <a:gd name="connsiteX1806" fmla="*/ 125816 w 186564"/>
                  <a:gd name="connsiteY1806" fmla="*/ 3262 h 248370"/>
                  <a:gd name="connsiteX1807" fmla="*/ 126433 w 186564"/>
                  <a:gd name="connsiteY1807" fmla="*/ 2998 h 248370"/>
                  <a:gd name="connsiteX1808" fmla="*/ 126698 w 186564"/>
                  <a:gd name="connsiteY1808" fmla="*/ 3615 h 248370"/>
                  <a:gd name="connsiteX1809" fmla="*/ 127227 w 186564"/>
                  <a:gd name="connsiteY1809" fmla="*/ 3350 h 248370"/>
                  <a:gd name="connsiteX1810" fmla="*/ 126962 w 186564"/>
                  <a:gd name="connsiteY1810" fmla="*/ 4232 h 248370"/>
                  <a:gd name="connsiteX1811" fmla="*/ 126345 w 186564"/>
                  <a:gd name="connsiteY1811" fmla="*/ 5378 h 248370"/>
                  <a:gd name="connsiteX1812" fmla="*/ 126610 w 186564"/>
                  <a:gd name="connsiteY1812" fmla="*/ 5907 h 248370"/>
                  <a:gd name="connsiteX1813" fmla="*/ 127491 w 186564"/>
                  <a:gd name="connsiteY1813" fmla="*/ 5643 h 248370"/>
                  <a:gd name="connsiteX1814" fmla="*/ 128020 w 186564"/>
                  <a:gd name="connsiteY1814" fmla="*/ 5907 h 248370"/>
                  <a:gd name="connsiteX1815" fmla="*/ 128285 w 186564"/>
                  <a:gd name="connsiteY1815" fmla="*/ 6524 h 248370"/>
                  <a:gd name="connsiteX1816" fmla="*/ 128285 w 186564"/>
                  <a:gd name="connsiteY1816" fmla="*/ 7142 h 248370"/>
                  <a:gd name="connsiteX1817" fmla="*/ 129167 w 186564"/>
                  <a:gd name="connsiteY1817" fmla="*/ 6877 h 248370"/>
                  <a:gd name="connsiteX1818" fmla="*/ 130666 w 186564"/>
                  <a:gd name="connsiteY1818" fmla="*/ 7142 h 248370"/>
                  <a:gd name="connsiteX1819" fmla="*/ 129784 w 186564"/>
                  <a:gd name="connsiteY1819" fmla="*/ 7406 h 248370"/>
                  <a:gd name="connsiteX1820" fmla="*/ 129167 w 186564"/>
                  <a:gd name="connsiteY1820" fmla="*/ 8023 h 248370"/>
                  <a:gd name="connsiteX1821" fmla="*/ 128285 w 186564"/>
                  <a:gd name="connsiteY1821" fmla="*/ 8023 h 248370"/>
                  <a:gd name="connsiteX1822" fmla="*/ 128020 w 186564"/>
                  <a:gd name="connsiteY1822" fmla="*/ 8023 h 248370"/>
                  <a:gd name="connsiteX1823" fmla="*/ 129167 w 186564"/>
                  <a:gd name="connsiteY1823" fmla="*/ 8023 h 248370"/>
                  <a:gd name="connsiteX1824" fmla="*/ 128020 w 186564"/>
                  <a:gd name="connsiteY1824" fmla="*/ 8023 h 248370"/>
                  <a:gd name="connsiteX1825" fmla="*/ 127491 w 186564"/>
                  <a:gd name="connsiteY1825" fmla="*/ 7759 h 248370"/>
                  <a:gd name="connsiteX1826" fmla="*/ 127139 w 186564"/>
                  <a:gd name="connsiteY1826" fmla="*/ 7142 h 248370"/>
                  <a:gd name="connsiteX1827" fmla="*/ 125993 w 186564"/>
                  <a:gd name="connsiteY1827" fmla="*/ 8023 h 248370"/>
                  <a:gd name="connsiteX1828" fmla="*/ 124494 w 186564"/>
                  <a:gd name="connsiteY1828" fmla="*/ 8023 h 248370"/>
                  <a:gd name="connsiteX1829" fmla="*/ 123876 w 186564"/>
                  <a:gd name="connsiteY1829" fmla="*/ 7759 h 248370"/>
                  <a:gd name="connsiteX1830" fmla="*/ 122731 w 186564"/>
                  <a:gd name="connsiteY1830" fmla="*/ 8023 h 248370"/>
                  <a:gd name="connsiteX1831" fmla="*/ 122995 w 186564"/>
                  <a:gd name="connsiteY1831" fmla="*/ 8641 h 248370"/>
                  <a:gd name="connsiteX1832" fmla="*/ 123876 w 186564"/>
                  <a:gd name="connsiteY1832" fmla="*/ 9258 h 248370"/>
                  <a:gd name="connsiteX1833" fmla="*/ 123876 w 186564"/>
                  <a:gd name="connsiteY1833" fmla="*/ 9522 h 248370"/>
                  <a:gd name="connsiteX1834" fmla="*/ 124494 w 186564"/>
                  <a:gd name="connsiteY1834" fmla="*/ 9787 h 248370"/>
                  <a:gd name="connsiteX1835" fmla="*/ 125640 w 186564"/>
                  <a:gd name="connsiteY1835" fmla="*/ 8641 h 248370"/>
                  <a:gd name="connsiteX1836" fmla="*/ 125375 w 186564"/>
                  <a:gd name="connsiteY1836" fmla="*/ 9522 h 248370"/>
                  <a:gd name="connsiteX1837" fmla="*/ 125993 w 186564"/>
                  <a:gd name="connsiteY1837" fmla="*/ 9258 h 248370"/>
                  <a:gd name="connsiteX1838" fmla="*/ 126610 w 186564"/>
                  <a:gd name="connsiteY1838" fmla="*/ 9258 h 248370"/>
                  <a:gd name="connsiteX1839" fmla="*/ 126610 w 186564"/>
                  <a:gd name="connsiteY1839" fmla="*/ 9522 h 248370"/>
                  <a:gd name="connsiteX1840" fmla="*/ 125464 w 186564"/>
                  <a:gd name="connsiteY1840" fmla="*/ 10404 h 248370"/>
                  <a:gd name="connsiteX1841" fmla="*/ 126081 w 186564"/>
                  <a:gd name="connsiteY1841" fmla="*/ 10933 h 248370"/>
                  <a:gd name="connsiteX1842" fmla="*/ 126698 w 186564"/>
                  <a:gd name="connsiteY1842" fmla="*/ 10668 h 248370"/>
                  <a:gd name="connsiteX1843" fmla="*/ 127227 w 186564"/>
                  <a:gd name="connsiteY1843" fmla="*/ 10051 h 248370"/>
                  <a:gd name="connsiteX1844" fmla="*/ 127580 w 186564"/>
                  <a:gd name="connsiteY1844" fmla="*/ 10668 h 248370"/>
                  <a:gd name="connsiteX1845" fmla="*/ 128109 w 186564"/>
                  <a:gd name="connsiteY1845" fmla="*/ 10668 h 248370"/>
                  <a:gd name="connsiteX1846" fmla="*/ 128109 w 186564"/>
                  <a:gd name="connsiteY1846" fmla="*/ 10404 h 248370"/>
                  <a:gd name="connsiteX1847" fmla="*/ 128109 w 186564"/>
                  <a:gd name="connsiteY1847" fmla="*/ 9522 h 248370"/>
                  <a:gd name="connsiteX1848" fmla="*/ 128990 w 186564"/>
                  <a:gd name="connsiteY1848" fmla="*/ 9787 h 248370"/>
                  <a:gd name="connsiteX1849" fmla="*/ 128726 w 186564"/>
                  <a:gd name="connsiteY1849" fmla="*/ 8905 h 248370"/>
                  <a:gd name="connsiteX1850" fmla="*/ 129255 w 186564"/>
                  <a:gd name="connsiteY1850" fmla="*/ 9258 h 248370"/>
                  <a:gd name="connsiteX1851" fmla="*/ 129255 w 186564"/>
                  <a:gd name="connsiteY1851" fmla="*/ 10404 h 248370"/>
                  <a:gd name="connsiteX1852" fmla="*/ 129255 w 186564"/>
                  <a:gd name="connsiteY1852" fmla="*/ 9258 h 248370"/>
                  <a:gd name="connsiteX1853" fmla="*/ 130754 w 186564"/>
                  <a:gd name="connsiteY1853" fmla="*/ 9258 h 248370"/>
                  <a:gd name="connsiteX1854" fmla="*/ 130225 w 186564"/>
                  <a:gd name="connsiteY1854" fmla="*/ 10668 h 248370"/>
                  <a:gd name="connsiteX1855" fmla="*/ 129960 w 186564"/>
                  <a:gd name="connsiteY1855" fmla="*/ 10051 h 248370"/>
                  <a:gd name="connsiteX1856" fmla="*/ 129343 w 186564"/>
                  <a:gd name="connsiteY1856" fmla="*/ 10316 h 248370"/>
                  <a:gd name="connsiteX1857" fmla="*/ 129343 w 186564"/>
                  <a:gd name="connsiteY1857" fmla="*/ 10580 h 248370"/>
                  <a:gd name="connsiteX1858" fmla="*/ 130225 w 186564"/>
                  <a:gd name="connsiteY1858" fmla="*/ 11462 h 248370"/>
                  <a:gd name="connsiteX1859" fmla="*/ 130754 w 186564"/>
                  <a:gd name="connsiteY1859" fmla="*/ 11462 h 248370"/>
                  <a:gd name="connsiteX1860" fmla="*/ 130489 w 186564"/>
                  <a:gd name="connsiteY1860" fmla="*/ 12344 h 248370"/>
                  <a:gd name="connsiteX1861" fmla="*/ 129608 w 186564"/>
                  <a:gd name="connsiteY1861" fmla="*/ 13490 h 248370"/>
                  <a:gd name="connsiteX1862" fmla="*/ 129255 w 186564"/>
                  <a:gd name="connsiteY1862" fmla="*/ 14900 h 248370"/>
                  <a:gd name="connsiteX1863" fmla="*/ 128990 w 186564"/>
                  <a:gd name="connsiteY1863" fmla="*/ 15518 h 248370"/>
                  <a:gd name="connsiteX1864" fmla="*/ 129255 w 186564"/>
                  <a:gd name="connsiteY1864" fmla="*/ 16135 h 248370"/>
                  <a:gd name="connsiteX1865" fmla="*/ 128373 w 186564"/>
                  <a:gd name="connsiteY1865" fmla="*/ 15870 h 248370"/>
                  <a:gd name="connsiteX1866" fmla="*/ 128109 w 186564"/>
                  <a:gd name="connsiteY1866" fmla="*/ 16488 h 248370"/>
                  <a:gd name="connsiteX1867" fmla="*/ 128726 w 186564"/>
                  <a:gd name="connsiteY1867" fmla="*/ 16752 h 248370"/>
                  <a:gd name="connsiteX1868" fmla="*/ 129255 w 186564"/>
                  <a:gd name="connsiteY1868" fmla="*/ 17369 h 248370"/>
                  <a:gd name="connsiteX1869" fmla="*/ 129255 w 186564"/>
                  <a:gd name="connsiteY1869" fmla="*/ 17634 h 248370"/>
                  <a:gd name="connsiteX1870" fmla="*/ 129255 w 186564"/>
                  <a:gd name="connsiteY1870" fmla="*/ 19133 h 248370"/>
                  <a:gd name="connsiteX1871" fmla="*/ 128726 w 186564"/>
                  <a:gd name="connsiteY1871" fmla="*/ 20279 h 248370"/>
                  <a:gd name="connsiteX1872" fmla="*/ 129255 w 186564"/>
                  <a:gd name="connsiteY1872" fmla="*/ 20279 h 248370"/>
                  <a:gd name="connsiteX1873" fmla="*/ 129872 w 186564"/>
                  <a:gd name="connsiteY1873" fmla="*/ 20014 h 248370"/>
                  <a:gd name="connsiteX1874" fmla="*/ 130489 w 186564"/>
                  <a:gd name="connsiteY1874" fmla="*/ 19750 h 248370"/>
                  <a:gd name="connsiteX1875" fmla="*/ 130754 w 186564"/>
                  <a:gd name="connsiteY1875" fmla="*/ 18604 h 248370"/>
                  <a:gd name="connsiteX1876" fmla="*/ 130754 w 186564"/>
                  <a:gd name="connsiteY1876" fmla="*/ 17457 h 248370"/>
                  <a:gd name="connsiteX1877" fmla="*/ 131371 w 186564"/>
                  <a:gd name="connsiteY1877" fmla="*/ 16576 h 248370"/>
                  <a:gd name="connsiteX1878" fmla="*/ 131106 w 186564"/>
                  <a:gd name="connsiteY1878" fmla="*/ 14548 h 248370"/>
                  <a:gd name="connsiteX1879" fmla="*/ 131988 w 186564"/>
                  <a:gd name="connsiteY1879" fmla="*/ 15077 h 248370"/>
                  <a:gd name="connsiteX1880" fmla="*/ 132253 w 186564"/>
                  <a:gd name="connsiteY1880" fmla="*/ 14548 h 248370"/>
                  <a:gd name="connsiteX1881" fmla="*/ 133134 w 186564"/>
                  <a:gd name="connsiteY1881" fmla="*/ 12784 h 248370"/>
                  <a:gd name="connsiteX1882" fmla="*/ 131988 w 186564"/>
                  <a:gd name="connsiteY1882" fmla="*/ 12784 h 248370"/>
                  <a:gd name="connsiteX1883" fmla="*/ 132253 w 186564"/>
                  <a:gd name="connsiteY1883" fmla="*/ 11903 h 248370"/>
                  <a:gd name="connsiteX1884" fmla="*/ 131988 w 186564"/>
                  <a:gd name="connsiteY1884" fmla="*/ 11638 h 248370"/>
                  <a:gd name="connsiteX1885" fmla="*/ 132253 w 186564"/>
                  <a:gd name="connsiteY1885" fmla="*/ 11021 h 248370"/>
                  <a:gd name="connsiteX1886" fmla="*/ 131988 w 186564"/>
                  <a:gd name="connsiteY1886" fmla="*/ 10492 h 248370"/>
                  <a:gd name="connsiteX1887" fmla="*/ 131988 w 186564"/>
                  <a:gd name="connsiteY1887" fmla="*/ 9610 h 248370"/>
                  <a:gd name="connsiteX1888" fmla="*/ 131988 w 186564"/>
                  <a:gd name="connsiteY1888" fmla="*/ 10492 h 248370"/>
                  <a:gd name="connsiteX1889" fmla="*/ 131988 w 186564"/>
                  <a:gd name="connsiteY1889" fmla="*/ 9346 h 248370"/>
                  <a:gd name="connsiteX1890" fmla="*/ 132870 w 186564"/>
                  <a:gd name="connsiteY1890" fmla="*/ 9610 h 248370"/>
                  <a:gd name="connsiteX1891" fmla="*/ 133134 w 186564"/>
                  <a:gd name="connsiteY1891" fmla="*/ 9346 h 248370"/>
                  <a:gd name="connsiteX1892" fmla="*/ 134281 w 186564"/>
                  <a:gd name="connsiteY1892" fmla="*/ 8464 h 248370"/>
                  <a:gd name="connsiteX1893" fmla="*/ 132517 w 186564"/>
                  <a:gd name="connsiteY1893" fmla="*/ 8729 h 248370"/>
                  <a:gd name="connsiteX1894" fmla="*/ 132517 w 186564"/>
                  <a:gd name="connsiteY1894" fmla="*/ 8111 h 248370"/>
                  <a:gd name="connsiteX1895" fmla="*/ 133134 w 186564"/>
                  <a:gd name="connsiteY1895" fmla="*/ 8376 h 248370"/>
                  <a:gd name="connsiteX1896" fmla="*/ 133752 w 186564"/>
                  <a:gd name="connsiteY1896" fmla="*/ 8111 h 248370"/>
                  <a:gd name="connsiteX1897" fmla="*/ 131988 w 186564"/>
                  <a:gd name="connsiteY1897" fmla="*/ 8111 h 248370"/>
                  <a:gd name="connsiteX1898" fmla="*/ 131988 w 186564"/>
                  <a:gd name="connsiteY1898" fmla="*/ 7230 h 248370"/>
                  <a:gd name="connsiteX1899" fmla="*/ 132870 w 186564"/>
                  <a:gd name="connsiteY1899" fmla="*/ 7494 h 248370"/>
                  <a:gd name="connsiteX1900" fmla="*/ 133752 w 186564"/>
                  <a:gd name="connsiteY1900" fmla="*/ 7230 h 248370"/>
                  <a:gd name="connsiteX1901" fmla="*/ 133752 w 186564"/>
                  <a:gd name="connsiteY1901" fmla="*/ 6965 h 248370"/>
                  <a:gd name="connsiteX1902" fmla="*/ 134633 w 186564"/>
                  <a:gd name="connsiteY1902" fmla="*/ 5819 h 248370"/>
                  <a:gd name="connsiteX1903" fmla="*/ 134898 w 186564"/>
                  <a:gd name="connsiteY1903" fmla="*/ 5202 h 248370"/>
                  <a:gd name="connsiteX1904" fmla="*/ 136396 w 186564"/>
                  <a:gd name="connsiteY1904" fmla="*/ 3703 h 248370"/>
                  <a:gd name="connsiteX1905" fmla="*/ 137543 w 186564"/>
                  <a:gd name="connsiteY1905" fmla="*/ 4320 h 248370"/>
                  <a:gd name="connsiteX1906" fmla="*/ 137543 w 186564"/>
                  <a:gd name="connsiteY1906" fmla="*/ 3703 h 248370"/>
                  <a:gd name="connsiteX1907" fmla="*/ 138424 w 186564"/>
                  <a:gd name="connsiteY1907" fmla="*/ 2557 h 248370"/>
                  <a:gd name="connsiteX1908" fmla="*/ 137807 w 186564"/>
                  <a:gd name="connsiteY1908" fmla="*/ 2292 h 248370"/>
                  <a:gd name="connsiteX1909" fmla="*/ 137190 w 186564"/>
                  <a:gd name="connsiteY1909" fmla="*/ 2292 h 248370"/>
                  <a:gd name="connsiteX1910" fmla="*/ 137190 w 186564"/>
                  <a:gd name="connsiteY1910" fmla="*/ 264 h 248370"/>
                  <a:gd name="connsiteX1911" fmla="*/ 136308 w 186564"/>
                  <a:gd name="connsiteY1911" fmla="*/ 529 h 248370"/>
                  <a:gd name="connsiteX1912" fmla="*/ 135691 w 186564"/>
                  <a:gd name="connsiteY1912" fmla="*/ 1675 h 248370"/>
                  <a:gd name="connsiteX1913" fmla="*/ 135956 w 186564"/>
                  <a:gd name="connsiteY1913" fmla="*/ 1940 h 248370"/>
                  <a:gd name="connsiteX1914" fmla="*/ 134192 w 186564"/>
                  <a:gd name="connsiteY1914" fmla="*/ 2821 h 248370"/>
                  <a:gd name="connsiteX1915" fmla="*/ 133575 w 186564"/>
                  <a:gd name="connsiteY1915" fmla="*/ 2821 h 248370"/>
                  <a:gd name="connsiteX1916" fmla="*/ 132958 w 186564"/>
                  <a:gd name="connsiteY1916" fmla="*/ 3703 h 248370"/>
                  <a:gd name="connsiteX1917" fmla="*/ 133575 w 186564"/>
                  <a:gd name="connsiteY1917" fmla="*/ 4320 h 248370"/>
                  <a:gd name="connsiteX1918" fmla="*/ 133575 w 186564"/>
                  <a:gd name="connsiteY1918" fmla="*/ 5819 h 248370"/>
                  <a:gd name="connsiteX1919" fmla="*/ 133575 w 186564"/>
                  <a:gd name="connsiteY1919" fmla="*/ 6084 h 248370"/>
                  <a:gd name="connsiteX1920" fmla="*/ 132693 w 186564"/>
                  <a:gd name="connsiteY1920" fmla="*/ 6348 h 248370"/>
                  <a:gd name="connsiteX1921" fmla="*/ 131812 w 186564"/>
                  <a:gd name="connsiteY1921" fmla="*/ 6084 h 248370"/>
                  <a:gd name="connsiteX1922" fmla="*/ 130666 w 186564"/>
                  <a:gd name="connsiteY1922" fmla="*/ 6084 h 248370"/>
                  <a:gd name="connsiteX1923" fmla="*/ 131812 w 186564"/>
                  <a:gd name="connsiteY1923" fmla="*/ 6084 h 248370"/>
                  <a:gd name="connsiteX1924" fmla="*/ 132076 w 186564"/>
                  <a:gd name="connsiteY1924" fmla="*/ 4937 h 248370"/>
                  <a:gd name="connsiteX1925" fmla="*/ 131988 w 186564"/>
                  <a:gd name="connsiteY1925" fmla="*/ 3703 h 248370"/>
                  <a:gd name="connsiteX1926" fmla="*/ 40645 w 186564"/>
                  <a:gd name="connsiteY1926" fmla="*/ 107565 h 248370"/>
                  <a:gd name="connsiteX1927" fmla="*/ 42409 w 186564"/>
                  <a:gd name="connsiteY1927" fmla="*/ 106948 h 248370"/>
                  <a:gd name="connsiteX1928" fmla="*/ 43908 w 186564"/>
                  <a:gd name="connsiteY1928" fmla="*/ 105449 h 248370"/>
                  <a:gd name="connsiteX1929" fmla="*/ 47082 w 186564"/>
                  <a:gd name="connsiteY1929" fmla="*/ 105714 h 248370"/>
                  <a:gd name="connsiteX1930" fmla="*/ 45936 w 186564"/>
                  <a:gd name="connsiteY1930" fmla="*/ 107125 h 248370"/>
                  <a:gd name="connsiteX1931" fmla="*/ 45054 w 186564"/>
                  <a:gd name="connsiteY1931" fmla="*/ 108888 h 248370"/>
                  <a:gd name="connsiteX1932" fmla="*/ 42144 w 186564"/>
                  <a:gd name="connsiteY1932" fmla="*/ 109152 h 248370"/>
                  <a:gd name="connsiteX1933" fmla="*/ 42762 w 186564"/>
                  <a:gd name="connsiteY1933" fmla="*/ 110916 h 248370"/>
                  <a:gd name="connsiteX1934" fmla="*/ 42762 w 186564"/>
                  <a:gd name="connsiteY1934" fmla="*/ 112944 h 248370"/>
                  <a:gd name="connsiteX1935" fmla="*/ 41615 w 186564"/>
                  <a:gd name="connsiteY1935" fmla="*/ 114443 h 248370"/>
                  <a:gd name="connsiteX1936" fmla="*/ 37560 w 186564"/>
                  <a:gd name="connsiteY1936" fmla="*/ 115324 h 248370"/>
                  <a:gd name="connsiteX1937" fmla="*/ 35796 w 186564"/>
                  <a:gd name="connsiteY1937" fmla="*/ 113296 h 248370"/>
                  <a:gd name="connsiteX1938" fmla="*/ 34915 w 186564"/>
                  <a:gd name="connsiteY1938" fmla="*/ 112150 h 248370"/>
                  <a:gd name="connsiteX1939" fmla="*/ 35179 w 186564"/>
                  <a:gd name="connsiteY1939" fmla="*/ 111004 h 248370"/>
                  <a:gd name="connsiteX1940" fmla="*/ 36325 w 186564"/>
                  <a:gd name="connsiteY1940" fmla="*/ 109241 h 248370"/>
                  <a:gd name="connsiteX1941" fmla="*/ 38353 w 186564"/>
                  <a:gd name="connsiteY1941" fmla="*/ 106860 h 248370"/>
                  <a:gd name="connsiteX1942" fmla="*/ 40645 w 186564"/>
                  <a:gd name="connsiteY1942" fmla="*/ 107565 h 248370"/>
                  <a:gd name="connsiteX1943" fmla="*/ 71857 w 186564"/>
                  <a:gd name="connsiteY1943" fmla="*/ 170253 h 248370"/>
                  <a:gd name="connsiteX1944" fmla="*/ 71857 w 186564"/>
                  <a:gd name="connsiteY1944" fmla="*/ 171135 h 248370"/>
                  <a:gd name="connsiteX1945" fmla="*/ 72474 w 186564"/>
                  <a:gd name="connsiteY1945" fmla="*/ 171135 h 248370"/>
                  <a:gd name="connsiteX1946" fmla="*/ 73003 w 186564"/>
                  <a:gd name="connsiteY1946" fmla="*/ 171135 h 248370"/>
                  <a:gd name="connsiteX1947" fmla="*/ 73268 w 186564"/>
                  <a:gd name="connsiteY1947" fmla="*/ 170870 h 248370"/>
                  <a:gd name="connsiteX1948" fmla="*/ 73532 w 186564"/>
                  <a:gd name="connsiteY1948" fmla="*/ 171135 h 248370"/>
                  <a:gd name="connsiteX1949" fmla="*/ 73797 w 186564"/>
                  <a:gd name="connsiteY1949" fmla="*/ 171399 h 248370"/>
                  <a:gd name="connsiteX1950" fmla="*/ 74061 w 186564"/>
                  <a:gd name="connsiteY1950" fmla="*/ 171664 h 248370"/>
                  <a:gd name="connsiteX1951" fmla="*/ 73797 w 186564"/>
                  <a:gd name="connsiteY1951" fmla="*/ 171928 h 248370"/>
                  <a:gd name="connsiteX1952" fmla="*/ 73180 w 186564"/>
                  <a:gd name="connsiteY1952" fmla="*/ 172810 h 248370"/>
                  <a:gd name="connsiteX1953" fmla="*/ 72298 w 186564"/>
                  <a:gd name="connsiteY1953" fmla="*/ 173075 h 248370"/>
                  <a:gd name="connsiteX1954" fmla="*/ 71416 w 186564"/>
                  <a:gd name="connsiteY1954" fmla="*/ 173339 h 248370"/>
                  <a:gd name="connsiteX1955" fmla="*/ 70270 w 186564"/>
                  <a:gd name="connsiteY1955" fmla="*/ 173604 h 248370"/>
                  <a:gd name="connsiteX1956" fmla="*/ 69388 w 186564"/>
                  <a:gd name="connsiteY1956" fmla="*/ 173604 h 248370"/>
                  <a:gd name="connsiteX1957" fmla="*/ 68507 w 186564"/>
                  <a:gd name="connsiteY1957" fmla="*/ 173956 h 248370"/>
                  <a:gd name="connsiteX1958" fmla="*/ 67978 w 186564"/>
                  <a:gd name="connsiteY1958" fmla="*/ 174573 h 248370"/>
                  <a:gd name="connsiteX1959" fmla="*/ 67713 w 186564"/>
                  <a:gd name="connsiteY1959" fmla="*/ 173692 h 248370"/>
                  <a:gd name="connsiteX1960" fmla="*/ 67713 w 186564"/>
                  <a:gd name="connsiteY1960" fmla="*/ 173163 h 248370"/>
                  <a:gd name="connsiteX1961" fmla="*/ 67449 w 186564"/>
                  <a:gd name="connsiteY1961" fmla="*/ 173163 h 248370"/>
                  <a:gd name="connsiteX1962" fmla="*/ 67184 w 186564"/>
                  <a:gd name="connsiteY1962" fmla="*/ 172898 h 248370"/>
                  <a:gd name="connsiteX1963" fmla="*/ 66567 w 186564"/>
                  <a:gd name="connsiteY1963" fmla="*/ 172634 h 248370"/>
                  <a:gd name="connsiteX1964" fmla="*/ 66567 w 186564"/>
                  <a:gd name="connsiteY1964" fmla="*/ 172017 h 248370"/>
                  <a:gd name="connsiteX1965" fmla="*/ 66567 w 186564"/>
                  <a:gd name="connsiteY1965" fmla="*/ 171399 h 248370"/>
                  <a:gd name="connsiteX1966" fmla="*/ 66567 w 186564"/>
                  <a:gd name="connsiteY1966" fmla="*/ 170782 h 248370"/>
                  <a:gd name="connsiteX1967" fmla="*/ 66303 w 186564"/>
                  <a:gd name="connsiteY1967" fmla="*/ 170253 h 248370"/>
                  <a:gd name="connsiteX1968" fmla="*/ 66303 w 186564"/>
                  <a:gd name="connsiteY1968" fmla="*/ 169636 h 248370"/>
                  <a:gd name="connsiteX1969" fmla="*/ 66038 w 186564"/>
                  <a:gd name="connsiteY1969" fmla="*/ 169371 h 248370"/>
                  <a:gd name="connsiteX1970" fmla="*/ 65774 w 186564"/>
                  <a:gd name="connsiteY1970" fmla="*/ 169107 h 248370"/>
                  <a:gd name="connsiteX1971" fmla="*/ 66038 w 186564"/>
                  <a:gd name="connsiteY1971" fmla="*/ 168842 h 248370"/>
                  <a:gd name="connsiteX1972" fmla="*/ 66303 w 186564"/>
                  <a:gd name="connsiteY1972" fmla="*/ 168578 h 248370"/>
                  <a:gd name="connsiteX1973" fmla="*/ 66567 w 186564"/>
                  <a:gd name="connsiteY1973" fmla="*/ 169195 h 248370"/>
                  <a:gd name="connsiteX1974" fmla="*/ 66832 w 186564"/>
                  <a:gd name="connsiteY1974" fmla="*/ 169460 h 248370"/>
                  <a:gd name="connsiteX1975" fmla="*/ 66832 w 186564"/>
                  <a:gd name="connsiteY1975" fmla="*/ 169724 h 248370"/>
                  <a:gd name="connsiteX1976" fmla="*/ 67449 w 186564"/>
                  <a:gd name="connsiteY1976" fmla="*/ 169724 h 248370"/>
                  <a:gd name="connsiteX1977" fmla="*/ 67449 w 186564"/>
                  <a:gd name="connsiteY1977" fmla="*/ 169460 h 248370"/>
                  <a:gd name="connsiteX1978" fmla="*/ 66832 w 186564"/>
                  <a:gd name="connsiteY1978" fmla="*/ 168931 h 248370"/>
                  <a:gd name="connsiteX1979" fmla="*/ 66832 w 186564"/>
                  <a:gd name="connsiteY1979" fmla="*/ 168666 h 248370"/>
                  <a:gd name="connsiteX1980" fmla="*/ 66832 w 186564"/>
                  <a:gd name="connsiteY1980" fmla="*/ 167873 h 248370"/>
                  <a:gd name="connsiteX1981" fmla="*/ 66567 w 186564"/>
                  <a:gd name="connsiteY1981" fmla="*/ 167608 h 248370"/>
                  <a:gd name="connsiteX1982" fmla="*/ 66303 w 186564"/>
                  <a:gd name="connsiteY1982" fmla="*/ 167344 h 248370"/>
                  <a:gd name="connsiteX1983" fmla="*/ 66567 w 186564"/>
                  <a:gd name="connsiteY1983" fmla="*/ 167079 h 248370"/>
                  <a:gd name="connsiteX1984" fmla="*/ 66567 w 186564"/>
                  <a:gd name="connsiteY1984" fmla="*/ 166815 h 248370"/>
                  <a:gd name="connsiteX1985" fmla="*/ 66832 w 186564"/>
                  <a:gd name="connsiteY1985" fmla="*/ 166815 h 248370"/>
                  <a:gd name="connsiteX1986" fmla="*/ 67449 w 186564"/>
                  <a:gd name="connsiteY1986" fmla="*/ 167079 h 248370"/>
                  <a:gd name="connsiteX1987" fmla="*/ 68066 w 186564"/>
                  <a:gd name="connsiteY1987" fmla="*/ 166462 h 248370"/>
                  <a:gd name="connsiteX1988" fmla="*/ 68595 w 186564"/>
                  <a:gd name="connsiteY1988" fmla="*/ 166462 h 248370"/>
                  <a:gd name="connsiteX1989" fmla="*/ 69477 w 186564"/>
                  <a:gd name="connsiteY1989" fmla="*/ 166462 h 248370"/>
                  <a:gd name="connsiteX1990" fmla="*/ 70094 w 186564"/>
                  <a:gd name="connsiteY1990" fmla="*/ 166726 h 248370"/>
                  <a:gd name="connsiteX1991" fmla="*/ 70623 w 186564"/>
                  <a:gd name="connsiteY1991" fmla="*/ 166991 h 248370"/>
                  <a:gd name="connsiteX1992" fmla="*/ 70887 w 186564"/>
                  <a:gd name="connsiteY1992" fmla="*/ 167608 h 248370"/>
                  <a:gd name="connsiteX1993" fmla="*/ 71152 w 186564"/>
                  <a:gd name="connsiteY1993" fmla="*/ 168225 h 248370"/>
                  <a:gd name="connsiteX1994" fmla="*/ 71152 w 186564"/>
                  <a:gd name="connsiteY1994" fmla="*/ 168842 h 248370"/>
                  <a:gd name="connsiteX1995" fmla="*/ 71416 w 186564"/>
                  <a:gd name="connsiteY1995" fmla="*/ 169107 h 248370"/>
                  <a:gd name="connsiteX1996" fmla="*/ 71857 w 186564"/>
                  <a:gd name="connsiteY1996" fmla="*/ 170253 h 248370"/>
                  <a:gd name="connsiteX1997" fmla="*/ 22042 w 186564"/>
                  <a:gd name="connsiteY1997" fmla="*/ 69300 h 248370"/>
                  <a:gd name="connsiteX1998" fmla="*/ 22307 w 186564"/>
                  <a:gd name="connsiteY1998" fmla="*/ 66391 h 248370"/>
                  <a:gd name="connsiteX1999" fmla="*/ 23717 w 186564"/>
                  <a:gd name="connsiteY1999" fmla="*/ 71945 h 248370"/>
                  <a:gd name="connsiteX2000" fmla="*/ 20808 w 186564"/>
                  <a:gd name="connsiteY2000" fmla="*/ 74326 h 248370"/>
                  <a:gd name="connsiteX2001" fmla="*/ 20808 w 186564"/>
                  <a:gd name="connsiteY2001" fmla="*/ 77500 h 248370"/>
                  <a:gd name="connsiteX2002" fmla="*/ 20191 w 186564"/>
                  <a:gd name="connsiteY2002" fmla="*/ 81291 h 248370"/>
                  <a:gd name="connsiteX2003" fmla="*/ 18427 w 186564"/>
                  <a:gd name="connsiteY2003" fmla="*/ 78646 h 248370"/>
                  <a:gd name="connsiteX2004" fmla="*/ 17810 w 186564"/>
                  <a:gd name="connsiteY2004" fmla="*/ 76883 h 248370"/>
                  <a:gd name="connsiteX2005" fmla="*/ 18074 w 186564"/>
                  <a:gd name="connsiteY2005" fmla="*/ 75120 h 248370"/>
                  <a:gd name="connsiteX2006" fmla="*/ 18956 w 186564"/>
                  <a:gd name="connsiteY2006" fmla="*/ 72827 h 248370"/>
                  <a:gd name="connsiteX2007" fmla="*/ 20367 w 186564"/>
                  <a:gd name="connsiteY2007" fmla="*/ 69918 h 248370"/>
                  <a:gd name="connsiteX2008" fmla="*/ 22042 w 186564"/>
                  <a:gd name="connsiteY2008" fmla="*/ 69300 h 248370"/>
                  <a:gd name="connsiteX2009" fmla="*/ 31300 w 186564"/>
                  <a:gd name="connsiteY2009" fmla="*/ 90373 h 248370"/>
                  <a:gd name="connsiteX2010" fmla="*/ 31564 w 186564"/>
                  <a:gd name="connsiteY2010" fmla="*/ 88609 h 248370"/>
                  <a:gd name="connsiteX2011" fmla="*/ 32710 w 186564"/>
                  <a:gd name="connsiteY2011" fmla="*/ 91871 h 248370"/>
                  <a:gd name="connsiteX2012" fmla="*/ 30418 w 186564"/>
                  <a:gd name="connsiteY2012" fmla="*/ 93018 h 248370"/>
                  <a:gd name="connsiteX2013" fmla="*/ 30418 w 186564"/>
                  <a:gd name="connsiteY2013" fmla="*/ 94781 h 248370"/>
                  <a:gd name="connsiteX2014" fmla="*/ 29536 w 186564"/>
                  <a:gd name="connsiteY2014" fmla="*/ 96809 h 248370"/>
                  <a:gd name="connsiteX2015" fmla="*/ 28126 w 186564"/>
                  <a:gd name="connsiteY2015" fmla="*/ 95310 h 248370"/>
                  <a:gd name="connsiteX2016" fmla="*/ 27508 w 186564"/>
                  <a:gd name="connsiteY2016" fmla="*/ 94428 h 248370"/>
                  <a:gd name="connsiteX2017" fmla="*/ 27861 w 186564"/>
                  <a:gd name="connsiteY2017" fmla="*/ 93547 h 248370"/>
                  <a:gd name="connsiteX2018" fmla="*/ 28743 w 186564"/>
                  <a:gd name="connsiteY2018" fmla="*/ 92400 h 248370"/>
                  <a:gd name="connsiteX2019" fmla="*/ 30154 w 186564"/>
                  <a:gd name="connsiteY2019" fmla="*/ 90637 h 248370"/>
                  <a:gd name="connsiteX2020" fmla="*/ 31300 w 186564"/>
                  <a:gd name="connsiteY2020" fmla="*/ 90373 h 248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</a:cxnLst>
                <a:rect l="l" t="t" r="r" b="b"/>
                <a:pathLst>
                  <a:path w="186564" h="248370">
                    <a:moveTo>
                      <a:pt x="39235" y="82437"/>
                    </a:moveTo>
                    <a:lnTo>
                      <a:pt x="39235" y="81556"/>
                    </a:lnTo>
                    <a:lnTo>
                      <a:pt x="40117" y="82966"/>
                    </a:lnTo>
                    <a:lnTo>
                      <a:pt x="38618" y="83848"/>
                    </a:lnTo>
                    <a:lnTo>
                      <a:pt x="38618" y="84730"/>
                    </a:lnTo>
                    <a:lnTo>
                      <a:pt x="38353" y="85611"/>
                    </a:lnTo>
                    <a:lnTo>
                      <a:pt x="37472" y="84994"/>
                    </a:lnTo>
                    <a:lnTo>
                      <a:pt x="37207" y="84377"/>
                    </a:lnTo>
                    <a:lnTo>
                      <a:pt x="37207" y="84113"/>
                    </a:lnTo>
                    <a:lnTo>
                      <a:pt x="37824" y="83231"/>
                    </a:lnTo>
                    <a:lnTo>
                      <a:pt x="38706" y="82349"/>
                    </a:lnTo>
                    <a:lnTo>
                      <a:pt x="39235" y="82349"/>
                    </a:lnTo>
                    <a:close/>
                    <a:moveTo>
                      <a:pt x="44172" y="92048"/>
                    </a:moveTo>
                    <a:lnTo>
                      <a:pt x="44172" y="94076"/>
                    </a:lnTo>
                    <a:lnTo>
                      <a:pt x="45936" y="95575"/>
                    </a:lnTo>
                    <a:lnTo>
                      <a:pt x="46553" y="97338"/>
                    </a:lnTo>
                    <a:lnTo>
                      <a:pt x="45671" y="98837"/>
                    </a:lnTo>
                    <a:lnTo>
                      <a:pt x="42233" y="99366"/>
                    </a:lnTo>
                    <a:lnTo>
                      <a:pt x="38971" y="99718"/>
                    </a:lnTo>
                    <a:lnTo>
                      <a:pt x="38089" y="98220"/>
                    </a:lnTo>
                    <a:lnTo>
                      <a:pt x="38353" y="97073"/>
                    </a:lnTo>
                    <a:lnTo>
                      <a:pt x="39500" y="95663"/>
                    </a:lnTo>
                    <a:lnTo>
                      <a:pt x="41527" y="93282"/>
                    </a:lnTo>
                    <a:lnTo>
                      <a:pt x="44172" y="92048"/>
                    </a:lnTo>
                    <a:close/>
                    <a:moveTo>
                      <a:pt x="38089" y="68154"/>
                    </a:moveTo>
                    <a:lnTo>
                      <a:pt x="39500" y="68683"/>
                    </a:lnTo>
                    <a:lnTo>
                      <a:pt x="40381" y="69829"/>
                    </a:lnTo>
                    <a:lnTo>
                      <a:pt x="40645" y="71593"/>
                    </a:lnTo>
                    <a:lnTo>
                      <a:pt x="42673" y="71857"/>
                    </a:lnTo>
                    <a:lnTo>
                      <a:pt x="43820" y="75031"/>
                    </a:lnTo>
                    <a:lnTo>
                      <a:pt x="43467" y="76795"/>
                    </a:lnTo>
                    <a:lnTo>
                      <a:pt x="45495" y="78558"/>
                    </a:lnTo>
                    <a:lnTo>
                      <a:pt x="46641" y="81468"/>
                    </a:lnTo>
                    <a:lnTo>
                      <a:pt x="44878" y="81468"/>
                    </a:lnTo>
                    <a:lnTo>
                      <a:pt x="42850" y="80586"/>
                    </a:lnTo>
                    <a:lnTo>
                      <a:pt x="39676" y="79969"/>
                    </a:lnTo>
                    <a:lnTo>
                      <a:pt x="37295" y="79969"/>
                    </a:lnTo>
                    <a:lnTo>
                      <a:pt x="36678" y="77941"/>
                    </a:lnTo>
                    <a:lnTo>
                      <a:pt x="34650" y="76442"/>
                    </a:lnTo>
                    <a:lnTo>
                      <a:pt x="34033" y="73268"/>
                    </a:lnTo>
                    <a:lnTo>
                      <a:pt x="32270" y="71505"/>
                    </a:lnTo>
                    <a:lnTo>
                      <a:pt x="32270" y="69741"/>
                    </a:lnTo>
                    <a:lnTo>
                      <a:pt x="34033" y="69212"/>
                    </a:lnTo>
                    <a:lnTo>
                      <a:pt x="34650" y="69741"/>
                    </a:lnTo>
                    <a:lnTo>
                      <a:pt x="35796" y="69212"/>
                    </a:lnTo>
                    <a:lnTo>
                      <a:pt x="36943" y="69212"/>
                    </a:lnTo>
                    <a:lnTo>
                      <a:pt x="38089" y="68154"/>
                    </a:lnTo>
                    <a:close/>
                    <a:moveTo>
                      <a:pt x="16752" y="129431"/>
                    </a:moveTo>
                    <a:lnTo>
                      <a:pt x="14989" y="129431"/>
                    </a:lnTo>
                    <a:lnTo>
                      <a:pt x="13225" y="130930"/>
                    </a:lnTo>
                    <a:lnTo>
                      <a:pt x="13225" y="132076"/>
                    </a:lnTo>
                    <a:lnTo>
                      <a:pt x="13225" y="133223"/>
                    </a:lnTo>
                    <a:lnTo>
                      <a:pt x="12079" y="134986"/>
                    </a:lnTo>
                    <a:lnTo>
                      <a:pt x="10580" y="134986"/>
                    </a:lnTo>
                    <a:lnTo>
                      <a:pt x="8552" y="136749"/>
                    </a:lnTo>
                    <a:lnTo>
                      <a:pt x="7053" y="134986"/>
                    </a:lnTo>
                    <a:lnTo>
                      <a:pt x="5555" y="134986"/>
                    </a:lnTo>
                    <a:lnTo>
                      <a:pt x="5290" y="137631"/>
                    </a:lnTo>
                    <a:lnTo>
                      <a:pt x="5290" y="137895"/>
                    </a:lnTo>
                    <a:lnTo>
                      <a:pt x="8464" y="138777"/>
                    </a:lnTo>
                    <a:lnTo>
                      <a:pt x="9610" y="138777"/>
                    </a:lnTo>
                    <a:lnTo>
                      <a:pt x="6701" y="140276"/>
                    </a:lnTo>
                    <a:lnTo>
                      <a:pt x="5290" y="141158"/>
                    </a:lnTo>
                    <a:lnTo>
                      <a:pt x="4144" y="141158"/>
                    </a:lnTo>
                    <a:lnTo>
                      <a:pt x="1763" y="141158"/>
                    </a:lnTo>
                    <a:lnTo>
                      <a:pt x="1763" y="141775"/>
                    </a:lnTo>
                    <a:lnTo>
                      <a:pt x="0" y="142392"/>
                    </a:lnTo>
                    <a:lnTo>
                      <a:pt x="1411" y="144420"/>
                    </a:lnTo>
                    <a:lnTo>
                      <a:pt x="3703" y="144420"/>
                    </a:lnTo>
                    <a:lnTo>
                      <a:pt x="4849" y="145566"/>
                    </a:lnTo>
                    <a:lnTo>
                      <a:pt x="4849" y="145831"/>
                    </a:lnTo>
                    <a:lnTo>
                      <a:pt x="6348" y="147858"/>
                    </a:lnTo>
                    <a:lnTo>
                      <a:pt x="8993" y="147858"/>
                    </a:lnTo>
                    <a:lnTo>
                      <a:pt x="11021" y="149622"/>
                    </a:lnTo>
                    <a:lnTo>
                      <a:pt x="12167" y="150239"/>
                    </a:lnTo>
                    <a:lnTo>
                      <a:pt x="13578" y="149093"/>
                    </a:lnTo>
                    <a:lnTo>
                      <a:pt x="13578" y="149710"/>
                    </a:lnTo>
                    <a:lnTo>
                      <a:pt x="15958" y="150327"/>
                    </a:lnTo>
                    <a:lnTo>
                      <a:pt x="17105" y="148035"/>
                    </a:lnTo>
                    <a:lnTo>
                      <a:pt x="18868" y="148035"/>
                    </a:lnTo>
                    <a:lnTo>
                      <a:pt x="18868" y="146888"/>
                    </a:lnTo>
                    <a:lnTo>
                      <a:pt x="17105" y="145742"/>
                    </a:lnTo>
                    <a:lnTo>
                      <a:pt x="20631" y="143362"/>
                    </a:lnTo>
                    <a:lnTo>
                      <a:pt x="22395" y="143362"/>
                    </a:lnTo>
                    <a:lnTo>
                      <a:pt x="23276" y="144861"/>
                    </a:lnTo>
                    <a:lnTo>
                      <a:pt x="24775" y="148123"/>
                    </a:lnTo>
                    <a:lnTo>
                      <a:pt x="26539" y="148652"/>
                    </a:lnTo>
                    <a:lnTo>
                      <a:pt x="26539" y="148123"/>
                    </a:lnTo>
                    <a:lnTo>
                      <a:pt x="28037" y="148652"/>
                    </a:lnTo>
                    <a:lnTo>
                      <a:pt x="28037" y="149269"/>
                    </a:lnTo>
                    <a:lnTo>
                      <a:pt x="28037" y="151561"/>
                    </a:lnTo>
                    <a:lnTo>
                      <a:pt x="29184" y="151826"/>
                    </a:lnTo>
                    <a:lnTo>
                      <a:pt x="30683" y="151561"/>
                    </a:lnTo>
                    <a:lnTo>
                      <a:pt x="31212" y="151561"/>
                    </a:lnTo>
                    <a:lnTo>
                      <a:pt x="33504" y="151561"/>
                    </a:lnTo>
                    <a:lnTo>
                      <a:pt x="34386" y="151561"/>
                    </a:lnTo>
                    <a:lnTo>
                      <a:pt x="36414" y="151561"/>
                    </a:lnTo>
                    <a:lnTo>
                      <a:pt x="39059" y="151561"/>
                    </a:lnTo>
                    <a:lnTo>
                      <a:pt x="41704" y="151297"/>
                    </a:lnTo>
                    <a:lnTo>
                      <a:pt x="43114" y="149798"/>
                    </a:lnTo>
                    <a:lnTo>
                      <a:pt x="42497" y="148916"/>
                    </a:lnTo>
                    <a:lnTo>
                      <a:pt x="42497" y="148035"/>
                    </a:lnTo>
                    <a:lnTo>
                      <a:pt x="43379" y="147417"/>
                    </a:lnTo>
                    <a:lnTo>
                      <a:pt x="45142" y="146800"/>
                    </a:lnTo>
                    <a:lnTo>
                      <a:pt x="46641" y="147417"/>
                    </a:lnTo>
                    <a:lnTo>
                      <a:pt x="48404" y="146800"/>
                    </a:lnTo>
                    <a:lnTo>
                      <a:pt x="48404" y="145919"/>
                    </a:lnTo>
                    <a:lnTo>
                      <a:pt x="48404" y="145654"/>
                    </a:lnTo>
                    <a:lnTo>
                      <a:pt x="47523" y="144773"/>
                    </a:lnTo>
                    <a:lnTo>
                      <a:pt x="47787" y="144155"/>
                    </a:lnTo>
                    <a:lnTo>
                      <a:pt x="46641" y="144773"/>
                    </a:lnTo>
                    <a:lnTo>
                      <a:pt x="46024" y="144508"/>
                    </a:lnTo>
                    <a:lnTo>
                      <a:pt x="46024" y="143891"/>
                    </a:lnTo>
                    <a:lnTo>
                      <a:pt x="46641" y="143274"/>
                    </a:lnTo>
                    <a:lnTo>
                      <a:pt x="46641" y="141863"/>
                    </a:lnTo>
                    <a:lnTo>
                      <a:pt x="46377" y="141598"/>
                    </a:lnTo>
                    <a:lnTo>
                      <a:pt x="45230" y="141334"/>
                    </a:lnTo>
                    <a:lnTo>
                      <a:pt x="45230" y="140452"/>
                    </a:lnTo>
                    <a:lnTo>
                      <a:pt x="45495" y="140188"/>
                    </a:lnTo>
                    <a:lnTo>
                      <a:pt x="46994" y="140188"/>
                    </a:lnTo>
                    <a:lnTo>
                      <a:pt x="48757" y="141598"/>
                    </a:lnTo>
                    <a:lnTo>
                      <a:pt x="48493" y="142480"/>
                    </a:lnTo>
                    <a:lnTo>
                      <a:pt x="49110" y="143097"/>
                    </a:lnTo>
                    <a:lnTo>
                      <a:pt x="48493" y="144596"/>
                    </a:lnTo>
                    <a:lnTo>
                      <a:pt x="48493" y="144861"/>
                    </a:lnTo>
                    <a:lnTo>
                      <a:pt x="49992" y="144596"/>
                    </a:lnTo>
                    <a:lnTo>
                      <a:pt x="50873" y="143979"/>
                    </a:lnTo>
                    <a:lnTo>
                      <a:pt x="49992" y="143362"/>
                    </a:lnTo>
                    <a:lnTo>
                      <a:pt x="50873" y="143097"/>
                    </a:lnTo>
                    <a:lnTo>
                      <a:pt x="52019" y="141951"/>
                    </a:lnTo>
                    <a:lnTo>
                      <a:pt x="51402" y="141069"/>
                    </a:lnTo>
                    <a:lnTo>
                      <a:pt x="50256" y="140188"/>
                    </a:lnTo>
                    <a:lnTo>
                      <a:pt x="50521" y="139306"/>
                    </a:lnTo>
                    <a:lnTo>
                      <a:pt x="50256" y="138689"/>
                    </a:lnTo>
                    <a:lnTo>
                      <a:pt x="48757" y="138072"/>
                    </a:lnTo>
                    <a:lnTo>
                      <a:pt x="48757" y="137807"/>
                    </a:lnTo>
                    <a:lnTo>
                      <a:pt x="48493" y="138072"/>
                    </a:lnTo>
                    <a:lnTo>
                      <a:pt x="47875" y="138072"/>
                    </a:lnTo>
                    <a:lnTo>
                      <a:pt x="46994" y="137807"/>
                    </a:lnTo>
                    <a:lnTo>
                      <a:pt x="44084" y="138424"/>
                    </a:lnTo>
                    <a:lnTo>
                      <a:pt x="42938" y="138160"/>
                    </a:lnTo>
                    <a:lnTo>
                      <a:pt x="42938" y="139042"/>
                    </a:lnTo>
                    <a:lnTo>
                      <a:pt x="42321" y="138160"/>
                    </a:lnTo>
                    <a:lnTo>
                      <a:pt x="42938" y="137014"/>
                    </a:lnTo>
                    <a:lnTo>
                      <a:pt x="45583" y="135867"/>
                    </a:lnTo>
                    <a:lnTo>
                      <a:pt x="45848" y="134986"/>
                    </a:lnTo>
                    <a:lnTo>
                      <a:pt x="47611" y="133840"/>
                    </a:lnTo>
                    <a:lnTo>
                      <a:pt x="46729" y="133223"/>
                    </a:lnTo>
                    <a:lnTo>
                      <a:pt x="45583" y="133487"/>
                    </a:lnTo>
                    <a:lnTo>
                      <a:pt x="46200" y="133751"/>
                    </a:lnTo>
                    <a:lnTo>
                      <a:pt x="45583" y="134104"/>
                    </a:lnTo>
                    <a:lnTo>
                      <a:pt x="44701" y="133487"/>
                    </a:lnTo>
                    <a:lnTo>
                      <a:pt x="44437" y="132341"/>
                    </a:lnTo>
                    <a:lnTo>
                      <a:pt x="43291" y="131724"/>
                    </a:lnTo>
                    <a:lnTo>
                      <a:pt x="43291" y="130577"/>
                    </a:lnTo>
                    <a:lnTo>
                      <a:pt x="42673" y="129696"/>
                    </a:lnTo>
                    <a:lnTo>
                      <a:pt x="41175" y="129696"/>
                    </a:lnTo>
                    <a:lnTo>
                      <a:pt x="41439" y="128549"/>
                    </a:lnTo>
                    <a:lnTo>
                      <a:pt x="41175" y="128285"/>
                    </a:lnTo>
                    <a:lnTo>
                      <a:pt x="40293" y="128020"/>
                    </a:lnTo>
                    <a:lnTo>
                      <a:pt x="40558" y="127668"/>
                    </a:lnTo>
                    <a:lnTo>
                      <a:pt x="39940" y="126522"/>
                    </a:lnTo>
                    <a:lnTo>
                      <a:pt x="39676" y="126257"/>
                    </a:lnTo>
                    <a:lnTo>
                      <a:pt x="39940" y="126257"/>
                    </a:lnTo>
                    <a:lnTo>
                      <a:pt x="40205" y="126257"/>
                    </a:lnTo>
                    <a:lnTo>
                      <a:pt x="40205" y="125905"/>
                    </a:lnTo>
                    <a:lnTo>
                      <a:pt x="39323" y="125287"/>
                    </a:lnTo>
                    <a:lnTo>
                      <a:pt x="39676" y="125023"/>
                    </a:lnTo>
                    <a:lnTo>
                      <a:pt x="39323" y="124406"/>
                    </a:lnTo>
                    <a:lnTo>
                      <a:pt x="38441" y="123788"/>
                    </a:lnTo>
                    <a:lnTo>
                      <a:pt x="36678" y="124670"/>
                    </a:lnTo>
                    <a:lnTo>
                      <a:pt x="35532" y="123788"/>
                    </a:lnTo>
                    <a:lnTo>
                      <a:pt x="33151" y="124406"/>
                    </a:lnTo>
                    <a:lnTo>
                      <a:pt x="32270" y="123788"/>
                    </a:lnTo>
                    <a:lnTo>
                      <a:pt x="31388" y="122907"/>
                    </a:lnTo>
                    <a:lnTo>
                      <a:pt x="31123" y="123171"/>
                    </a:lnTo>
                    <a:lnTo>
                      <a:pt x="31388" y="123436"/>
                    </a:lnTo>
                    <a:lnTo>
                      <a:pt x="31652" y="123700"/>
                    </a:lnTo>
                    <a:lnTo>
                      <a:pt x="31388" y="124053"/>
                    </a:lnTo>
                    <a:lnTo>
                      <a:pt x="30506" y="123700"/>
                    </a:lnTo>
                    <a:lnTo>
                      <a:pt x="29889" y="124317"/>
                    </a:lnTo>
                    <a:lnTo>
                      <a:pt x="28126" y="124053"/>
                    </a:lnTo>
                    <a:lnTo>
                      <a:pt x="27244" y="124670"/>
                    </a:lnTo>
                    <a:lnTo>
                      <a:pt x="27244" y="124935"/>
                    </a:lnTo>
                    <a:lnTo>
                      <a:pt x="25833" y="124670"/>
                    </a:lnTo>
                    <a:lnTo>
                      <a:pt x="25216" y="124935"/>
                    </a:lnTo>
                    <a:lnTo>
                      <a:pt x="24070" y="124935"/>
                    </a:lnTo>
                    <a:lnTo>
                      <a:pt x="23806" y="124670"/>
                    </a:lnTo>
                    <a:lnTo>
                      <a:pt x="23541" y="124670"/>
                    </a:lnTo>
                    <a:lnTo>
                      <a:pt x="23541" y="125552"/>
                    </a:lnTo>
                    <a:lnTo>
                      <a:pt x="22924" y="125816"/>
                    </a:lnTo>
                    <a:lnTo>
                      <a:pt x="22659" y="126962"/>
                    </a:lnTo>
                    <a:lnTo>
                      <a:pt x="22395" y="127227"/>
                    </a:lnTo>
                    <a:lnTo>
                      <a:pt x="20631" y="127844"/>
                    </a:lnTo>
                    <a:lnTo>
                      <a:pt x="19485" y="127491"/>
                    </a:lnTo>
                    <a:lnTo>
                      <a:pt x="16752" y="129431"/>
                    </a:lnTo>
                    <a:close/>
                    <a:moveTo>
                      <a:pt x="62864" y="44525"/>
                    </a:moveTo>
                    <a:lnTo>
                      <a:pt x="62247" y="45142"/>
                    </a:lnTo>
                    <a:lnTo>
                      <a:pt x="62247" y="46024"/>
                    </a:lnTo>
                    <a:lnTo>
                      <a:pt x="61365" y="46906"/>
                    </a:lnTo>
                    <a:lnTo>
                      <a:pt x="61101" y="47787"/>
                    </a:lnTo>
                    <a:lnTo>
                      <a:pt x="61982" y="48052"/>
                    </a:lnTo>
                    <a:lnTo>
                      <a:pt x="62600" y="48669"/>
                    </a:lnTo>
                    <a:lnTo>
                      <a:pt x="61101" y="49286"/>
                    </a:lnTo>
                    <a:lnTo>
                      <a:pt x="62247" y="49286"/>
                    </a:lnTo>
                    <a:lnTo>
                      <a:pt x="62511" y="49903"/>
                    </a:lnTo>
                    <a:lnTo>
                      <a:pt x="61013" y="49639"/>
                    </a:lnTo>
                    <a:lnTo>
                      <a:pt x="62511" y="49903"/>
                    </a:lnTo>
                    <a:lnTo>
                      <a:pt x="62511" y="50521"/>
                    </a:lnTo>
                    <a:lnTo>
                      <a:pt x="61894" y="50521"/>
                    </a:lnTo>
                    <a:lnTo>
                      <a:pt x="60748" y="50256"/>
                    </a:lnTo>
                    <a:lnTo>
                      <a:pt x="61013" y="51138"/>
                    </a:lnTo>
                    <a:lnTo>
                      <a:pt x="60748" y="51755"/>
                    </a:lnTo>
                    <a:lnTo>
                      <a:pt x="61013" y="51755"/>
                    </a:lnTo>
                    <a:lnTo>
                      <a:pt x="60748" y="52372"/>
                    </a:lnTo>
                    <a:lnTo>
                      <a:pt x="61013" y="52989"/>
                    </a:lnTo>
                    <a:lnTo>
                      <a:pt x="60748" y="53254"/>
                    </a:lnTo>
                    <a:lnTo>
                      <a:pt x="60748" y="54135"/>
                    </a:lnTo>
                    <a:lnTo>
                      <a:pt x="59249" y="53518"/>
                    </a:lnTo>
                    <a:lnTo>
                      <a:pt x="58103" y="54664"/>
                    </a:lnTo>
                    <a:lnTo>
                      <a:pt x="56957" y="53518"/>
                    </a:lnTo>
                    <a:lnTo>
                      <a:pt x="56957" y="54135"/>
                    </a:lnTo>
                    <a:lnTo>
                      <a:pt x="57574" y="54753"/>
                    </a:lnTo>
                    <a:lnTo>
                      <a:pt x="57574" y="55282"/>
                    </a:lnTo>
                    <a:lnTo>
                      <a:pt x="58191" y="55899"/>
                    </a:lnTo>
                    <a:lnTo>
                      <a:pt x="59073" y="55899"/>
                    </a:lnTo>
                    <a:lnTo>
                      <a:pt x="59337" y="56516"/>
                    </a:lnTo>
                    <a:lnTo>
                      <a:pt x="59073" y="56780"/>
                    </a:lnTo>
                    <a:lnTo>
                      <a:pt x="59337" y="57045"/>
                    </a:lnTo>
                    <a:lnTo>
                      <a:pt x="58720" y="57309"/>
                    </a:lnTo>
                    <a:lnTo>
                      <a:pt x="59337" y="57574"/>
                    </a:lnTo>
                    <a:lnTo>
                      <a:pt x="59073" y="57838"/>
                    </a:lnTo>
                    <a:lnTo>
                      <a:pt x="57927" y="57838"/>
                    </a:lnTo>
                    <a:lnTo>
                      <a:pt x="57045" y="57574"/>
                    </a:lnTo>
                    <a:lnTo>
                      <a:pt x="56428" y="56957"/>
                    </a:lnTo>
                    <a:lnTo>
                      <a:pt x="55546" y="56692"/>
                    </a:lnTo>
                    <a:lnTo>
                      <a:pt x="54929" y="57574"/>
                    </a:lnTo>
                    <a:lnTo>
                      <a:pt x="55546" y="57838"/>
                    </a:lnTo>
                    <a:lnTo>
                      <a:pt x="56428" y="58103"/>
                    </a:lnTo>
                    <a:lnTo>
                      <a:pt x="56692" y="59249"/>
                    </a:lnTo>
                    <a:lnTo>
                      <a:pt x="57574" y="59514"/>
                    </a:lnTo>
                    <a:lnTo>
                      <a:pt x="58191" y="60395"/>
                    </a:lnTo>
                    <a:lnTo>
                      <a:pt x="59073" y="61277"/>
                    </a:lnTo>
                    <a:lnTo>
                      <a:pt x="59602" y="61542"/>
                    </a:lnTo>
                    <a:lnTo>
                      <a:pt x="59866" y="61806"/>
                    </a:lnTo>
                    <a:lnTo>
                      <a:pt x="58985" y="62423"/>
                    </a:lnTo>
                    <a:lnTo>
                      <a:pt x="60131" y="63040"/>
                    </a:lnTo>
                    <a:lnTo>
                      <a:pt x="58103" y="62423"/>
                    </a:lnTo>
                    <a:lnTo>
                      <a:pt x="56604" y="61542"/>
                    </a:lnTo>
                    <a:lnTo>
                      <a:pt x="56604" y="62423"/>
                    </a:lnTo>
                    <a:lnTo>
                      <a:pt x="58632" y="63040"/>
                    </a:lnTo>
                    <a:lnTo>
                      <a:pt x="58896" y="63658"/>
                    </a:lnTo>
                    <a:lnTo>
                      <a:pt x="55987" y="62511"/>
                    </a:lnTo>
                    <a:lnTo>
                      <a:pt x="54488" y="63658"/>
                    </a:lnTo>
                    <a:lnTo>
                      <a:pt x="53871" y="63922"/>
                    </a:lnTo>
                    <a:lnTo>
                      <a:pt x="52989" y="62776"/>
                    </a:lnTo>
                    <a:lnTo>
                      <a:pt x="52108" y="62511"/>
                    </a:lnTo>
                    <a:lnTo>
                      <a:pt x="51226" y="62511"/>
                    </a:lnTo>
                    <a:lnTo>
                      <a:pt x="51226" y="62776"/>
                    </a:lnTo>
                    <a:lnTo>
                      <a:pt x="52989" y="63658"/>
                    </a:lnTo>
                    <a:lnTo>
                      <a:pt x="52372" y="64275"/>
                    </a:lnTo>
                    <a:lnTo>
                      <a:pt x="52989" y="64804"/>
                    </a:lnTo>
                    <a:lnTo>
                      <a:pt x="52372" y="64804"/>
                    </a:lnTo>
                    <a:lnTo>
                      <a:pt x="51226" y="64804"/>
                    </a:lnTo>
                    <a:lnTo>
                      <a:pt x="50961" y="65068"/>
                    </a:lnTo>
                    <a:lnTo>
                      <a:pt x="50344" y="64539"/>
                    </a:lnTo>
                    <a:lnTo>
                      <a:pt x="49727" y="63658"/>
                    </a:lnTo>
                    <a:lnTo>
                      <a:pt x="49110" y="63040"/>
                    </a:lnTo>
                    <a:lnTo>
                      <a:pt x="48581" y="62776"/>
                    </a:lnTo>
                    <a:lnTo>
                      <a:pt x="48316" y="63658"/>
                    </a:lnTo>
                    <a:lnTo>
                      <a:pt x="48581" y="64804"/>
                    </a:lnTo>
                    <a:lnTo>
                      <a:pt x="48581" y="65068"/>
                    </a:lnTo>
                    <a:lnTo>
                      <a:pt x="49727" y="65685"/>
                    </a:lnTo>
                    <a:lnTo>
                      <a:pt x="49462" y="66303"/>
                    </a:lnTo>
                    <a:lnTo>
                      <a:pt x="48581" y="66038"/>
                    </a:lnTo>
                    <a:lnTo>
                      <a:pt x="47964" y="66655"/>
                    </a:lnTo>
                    <a:lnTo>
                      <a:pt x="48581" y="67537"/>
                    </a:lnTo>
                    <a:lnTo>
                      <a:pt x="49110" y="67537"/>
                    </a:lnTo>
                    <a:lnTo>
                      <a:pt x="49374" y="68419"/>
                    </a:lnTo>
                    <a:lnTo>
                      <a:pt x="49639" y="68683"/>
                    </a:lnTo>
                    <a:lnTo>
                      <a:pt x="49374" y="69565"/>
                    </a:lnTo>
                    <a:lnTo>
                      <a:pt x="50873" y="69565"/>
                    </a:lnTo>
                    <a:lnTo>
                      <a:pt x="50873" y="70447"/>
                    </a:lnTo>
                    <a:lnTo>
                      <a:pt x="52637" y="70182"/>
                    </a:lnTo>
                    <a:lnTo>
                      <a:pt x="52637" y="70799"/>
                    </a:lnTo>
                    <a:lnTo>
                      <a:pt x="50873" y="71064"/>
                    </a:lnTo>
                    <a:lnTo>
                      <a:pt x="49374" y="70182"/>
                    </a:lnTo>
                    <a:lnTo>
                      <a:pt x="49374" y="70799"/>
                    </a:lnTo>
                    <a:lnTo>
                      <a:pt x="48228" y="69653"/>
                    </a:lnTo>
                    <a:lnTo>
                      <a:pt x="47964" y="69653"/>
                    </a:lnTo>
                    <a:lnTo>
                      <a:pt x="46817" y="71416"/>
                    </a:lnTo>
                    <a:lnTo>
                      <a:pt x="47082" y="71681"/>
                    </a:lnTo>
                    <a:lnTo>
                      <a:pt x="46817" y="72563"/>
                    </a:lnTo>
                    <a:lnTo>
                      <a:pt x="47699" y="72563"/>
                    </a:lnTo>
                    <a:lnTo>
                      <a:pt x="48316" y="72563"/>
                    </a:lnTo>
                    <a:lnTo>
                      <a:pt x="47699" y="73180"/>
                    </a:lnTo>
                    <a:lnTo>
                      <a:pt x="48316" y="73180"/>
                    </a:lnTo>
                    <a:lnTo>
                      <a:pt x="48581" y="73444"/>
                    </a:lnTo>
                    <a:lnTo>
                      <a:pt x="48316" y="73709"/>
                    </a:lnTo>
                    <a:lnTo>
                      <a:pt x="48052" y="73973"/>
                    </a:lnTo>
                    <a:lnTo>
                      <a:pt x="48316" y="74238"/>
                    </a:lnTo>
                    <a:lnTo>
                      <a:pt x="48316" y="74855"/>
                    </a:lnTo>
                    <a:lnTo>
                      <a:pt x="49198" y="74855"/>
                    </a:lnTo>
                    <a:lnTo>
                      <a:pt x="49815" y="73709"/>
                    </a:lnTo>
                    <a:lnTo>
                      <a:pt x="50961" y="73709"/>
                    </a:lnTo>
                    <a:lnTo>
                      <a:pt x="50961" y="74326"/>
                    </a:lnTo>
                    <a:lnTo>
                      <a:pt x="50697" y="74943"/>
                    </a:lnTo>
                    <a:lnTo>
                      <a:pt x="52460" y="74326"/>
                    </a:lnTo>
                    <a:lnTo>
                      <a:pt x="53077" y="74590"/>
                    </a:lnTo>
                    <a:lnTo>
                      <a:pt x="52196" y="75208"/>
                    </a:lnTo>
                    <a:lnTo>
                      <a:pt x="50697" y="75472"/>
                    </a:lnTo>
                    <a:lnTo>
                      <a:pt x="49198" y="76089"/>
                    </a:lnTo>
                    <a:lnTo>
                      <a:pt x="50961" y="76089"/>
                    </a:lnTo>
                    <a:lnTo>
                      <a:pt x="52460" y="76089"/>
                    </a:lnTo>
                    <a:lnTo>
                      <a:pt x="53959" y="77236"/>
                    </a:lnTo>
                    <a:lnTo>
                      <a:pt x="55987" y="77236"/>
                    </a:lnTo>
                    <a:lnTo>
                      <a:pt x="54841" y="78117"/>
                    </a:lnTo>
                    <a:lnTo>
                      <a:pt x="52548" y="77236"/>
                    </a:lnTo>
                    <a:lnTo>
                      <a:pt x="52284" y="76618"/>
                    </a:lnTo>
                    <a:lnTo>
                      <a:pt x="50785" y="77236"/>
                    </a:lnTo>
                    <a:lnTo>
                      <a:pt x="50785" y="77853"/>
                    </a:lnTo>
                    <a:lnTo>
                      <a:pt x="50785" y="78470"/>
                    </a:lnTo>
                    <a:lnTo>
                      <a:pt x="49903" y="79352"/>
                    </a:lnTo>
                    <a:lnTo>
                      <a:pt x="50785" y="80233"/>
                    </a:lnTo>
                    <a:lnTo>
                      <a:pt x="52284" y="80233"/>
                    </a:lnTo>
                    <a:lnTo>
                      <a:pt x="52284" y="81379"/>
                    </a:lnTo>
                    <a:lnTo>
                      <a:pt x="51402" y="80762"/>
                    </a:lnTo>
                    <a:lnTo>
                      <a:pt x="50785" y="81027"/>
                    </a:lnTo>
                    <a:lnTo>
                      <a:pt x="49286" y="81027"/>
                    </a:lnTo>
                    <a:lnTo>
                      <a:pt x="48140" y="81291"/>
                    </a:lnTo>
                    <a:lnTo>
                      <a:pt x="48140" y="82790"/>
                    </a:lnTo>
                    <a:lnTo>
                      <a:pt x="49022" y="82790"/>
                    </a:lnTo>
                    <a:lnTo>
                      <a:pt x="49022" y="83319"/>
                    </a:lnTo>
                    <a:lnTo>
                      <a:pt x="47523" y="83319"/>
                    </a:lnTo>
                    <a:lnTo>
                      <a:pt x="46377" y="85083"/>
                    </a:lnTo>
                    <a:lnTo>
                      <a:pt x="45759" y="85700"/>
                    </a:lnTo>
                    <a:lnTo>
                      <a:pt x="48933" y="85700"/>
                    </a:lnTo>
                    <a:lnTo>
                      <a:pt x="50432" y="85700"/>
                    </a:lnTo>
                    <a:lnTo>
                      <a:pt x="49286" y="86846"/>
                    </a:lnTo>
                    <a:lnTo>
                      <a:pt x="47875" y="86229"/>
                    </a:lnTo>
                    <a:lnTo>
                      <a:pt x="46377" y="86846"/>
                    </a:lnTo>
                    <a:lnTo>
                      <a:pt x="47875" y="87992"/>
                    </a:lnTo>
                    <a:lnTo>
                      <a:pt x="46377" y="88521"/>
                    </a:lnTo>
                    <a:lnTo>
                      <a:pt x="45759" y="88521"/>
                    </a:lnTo>
                    <a:lnTo>
                      <a:pt x="44613" y="88521"/>
                    </a:lnTo>
                    <a:lnTo>
                      <a:pt x="43114" y="88521"/>
                    </a:lnTo>
                    <a:lnTo>
                      <a:pt x="41351" y="88521"/>
                    </a:lnTo>
                    <a:lnTo>
                      <a:pt x="39588" y="89050"/>
                    </a:lnTo>
                    <a:lnTo>
                      <a:pt x="39588" y="90196"/>
                    </a:lnTo>
                    <a:lnTo>
                      <a:pt x="43026" y="89932"/>
                    </a:lnTo>
                    <a:lnTo>
                      <a:pt x="47082" y="90196"/>
                    </a:lnTo>
                    <a:lnTo>
                      <a:pt x="48228" y="89932"/>
                    </a:lnTo>
                    <a:lnTo>
                      <a:pt x="49374" y="89579"/>
                    </a:lnTo>
                    <a:lnTo>
                      <a:pt x="48493" y="90725"/>
                    </a:lnTo>
                    <a:lnTo>
                      <a:pt x="45848" y="90725"/>
                    </a:lnTo>
                    <a:lnTo>
                      <a:pt x="44349" y="90725"/>
                    </a:lnTo>
                    <a:lnTo>
                      <a:pt x="43731" y="91342"/>
                    </a:lnTo>
                    <a:lnTo>
                      <a:pt x="43996" y="92489"/>
                    </a:lnTo>
                    <a:lnTo>
                      <a:pt x="45759" y="93106"/>
                    </a:lnTo>
                    <a:lnTo>
                      <a:pt x="47170" y="93988"/>
                    </a:lnTo>
                    <a:lnTo>
                      <a:pt x="47170" y="94252"/>
                    </a:lnTo>
                    <a:lnTo>
                      <a:pt x="48316" y="94252"/>
                    </a:lnTo>
                    <a:lnTo>
                      <a:pt x="48316" y="95134"/>
                    </a:lnTo>
                    <a:lnTo>
                      <a:pt x="51579" y="93988"/>
                    </a:lnTo>
                    <a:lnTo>
                      <a:pt x="52989" y="91960"/>
                    </a:lnTo>
                    <a:lnTo>
                      <a:pt x="55017" y="90196"/>
                    </a:lnTo>
                    <a:lnTo>
                      <a:pt x="55634" y="90461"/>
                    </a:lnTo>
                    <a:lnTo>
                      <a:pt x="56516" y="89579"/>
                    </a:lnTo>
                    <a:lnTo>
                      <a:pt x="57662" y="88433"/>
                    </a:lnTo>
                    <a:lnTo>
                      <a:pt x="59073" y="86670"/>
                    </a:lnTo>
                    <a:lnTo>
                      <a:pt x="57662" y="89579"/>
                    </a:lnTo>
                    <a:lnTo>
                      <a:pt x="58808" y="90461"/>
                    </a:lnTo>
                    <a:lnTo>
                      <a:pt x="57662" y="90461"/>
                    </a:lnTo>
                    <a:lnTo>
                      <a:pt x="56516" y="90725"/>
                    </a:lnTo>
                    <a:lnTo>
                      <a:pt x="56516" y="91342"/>
                    </a:lnTo>
                    <a:lnTo>
                      <a:pt x="55634" y="91960"/>
                    </a:lnTo>
                    <a:lnTo>
                      <a:pt x="54752" y="93106"/>
                    </a:lnTo>
                    <a:lnTo>
                      <a:pt x="55370" y="93723"/>
                    </a:lnTo>
                    <a:lnTo>
                      <a:pt x="54752" y="94340"/>
                    </a:lnTo>
                    <a:lnTo>
                      <a:pt x="55017" y="95486"/>
                    </a:lnTo>
                    <a:lnTo>
                      <a:pt x="55634" y="95222"/>
                    </a:lnTo>
                    <a:lnTo>
                      <a:pt x="57045" y="96368"/>
                    </a:lnTo>
                    <a:lnTo>
                      <a:pt x="52989" y="95486"/>
                    </a:lnTo>
                    <a:lnTo>
                      <a:pt x="52725" y="97250"/>
                    </a:lnTo>
                    <a:lnTo>
                      <a:pt x="51314" y="98396"/>
                    </a:lnTo>
                    <a:lnTo>
                      <a:pt x="51314" y="99013"/>
                    </a:lnTo>
                    <a:lnTo>
                      <a:pt x="49551" y="101658"/>
                    </a:lnTo>
                    <a:lnTo>
                      <a:pt x="50168" y="102275"/>
                    </a:lnTo>
                    <a:lnTo>
                      <a:pt x="49551" y="103157"/>
                    </a:lnTo>
                    <a:lnTo>
                      <a:pt x="51314" y="102892"/>
                    </a:lnTo>
                    <a:lnTo>
                      <a:pt x="50961" y="103157"/>
                    </a:lnTo>
                    <a:lnTo>
                      <a:pt x="50961" y="104303"/>
                    </a:lnTo>
                    <a:lnTo>
                      <a:pt x="49198" y="105185"/>
                    </a:lnTo>
                    <a:lnTo>
                      <a:pt x="49198" y="105714"/>
                    </a:lnTo>
                    <a:lnTo>
                      <a:pt x="47787" y="107477"/>
                    </a:lnTo>
                    <a:lnTo>
                      <a:pt x="47787" y="108623"/>
                    </a:lnTo>
                    <a:lnTo>
                      <a:pt x="49815" y="108006"/>
                    </a:lnTo>
                    <a:lnTo>
                      <a:pt x="49198" y="109770"/>
                    </a:lnTo>
                    <a:lnTo>
                      <a:pt x="49198" y="110916"/>
                    </a:lnTo>
                    <a:lnTo>
                      <a:pt x="49198" y="111533"/>
                    </a:lnTo>
                    <a:lnTo>
                      <a:pt x="51226" y="110651"/>
                    </a:lnTo>
                    <a:lnTo>
                      <a:pt x="49462" y="112415"/>
                    </a:lnTo>
                    <a:lnTo>
                      <a:pt x="47082" y="113561"/>
                    </a:lnTo>
                    <a:lnTo>
                      <a:pt x="47346" y="115060"/>
                    </a:lnTo>
                    <a:lnTo>
                      <a:pt x="47611" y="115941"/>
                    </a:lnTo>
                    <a:lnTo>
                      <a:pt x="47346" y="117088"/>
                    </a:lnTo>
                    <a:lnTo>
                      <a:pt x="47346" y="118234"/>
                    </a:lnTo>
                    <a:lnTo>
                      <a:pt x="47082" y="119997"/>
                    </a:lnTo>
                    <a:lnTo>
                      <a:pt x="46200" y="120526"/>
                    </a:lnTo>
                    <a:lnTo>
                      <a:pt x="45936" y="122290"/>
                    </a:lnTo>
                    <a:lnTo>
                      <a:pt x="47082" y="122907"/>
                    </a:lnTo>
                    <a:lnTo>
                      <a:pt x="48581" y="122290"/>
                    </a:lnTo>
                    <a:lnTo>
                      <a:pt x="50344" y="121672"/>
                    </a:lnTo>
                    <a:lnTo>
                      <a:pt x="50609" y="120791"/>
                    </a:lnTo>
                    <a:lnTo>
                      <a:pt x="50344" y="119909"/>
                    </a:lnTo>
                    <a:lnTo>
                      <a:pt x="51843" y="118410"/>
                    </a:lnTo>
                    <a:lnTo>
                      <a:pt x="52108" y="116911"/>
                    </a:lnTo>
                    <a:lnTo>
                      <a:pt x="51226" y="116647"/>
                    </a:lnTo>
                    <a:lnTo>
                      <a:pt x="52108" y="115501"/>
                    </a:lnTo>
                    <a:lnTo>
                      <a:pt x="52108" y="114619"/>
                    </a:lnTo>
                    <a:lnTo>
                      <a:pt x="52108" y="112591"/>
                    </a:lnTo>
                    <a:lnTo>
                      <a:pt x="53254" y="111974"/>
                    </a:lnTo>
                    <a:lnTo>
                      <a:pt x="54400" y="111974"/>
                    </a:lnTo>
                    <a:lnTo>
                      <a:pt x="55017" y="111357"/>
                    </a:lnTo>
                    <a:lnTo>
                      <a:pt x="55634" y="110740"/>
                    </a:lnTo>
                    <a:lnTo>
                      <a:pt x="54488" y="108976"/>
                    </a:lnTo>
                    <a:lnTo>
                      <a:pt x="53959" y="108094"/>
                    </a:lnTo>
                    <a:lnTo>
                      <a:pt x="54224" y="107213"/>
                    </a:lnTo>
                    <a:lnTo>
                      <a:pt x="52460" y="106684"/>
                    </a:lnTo>
                    <a:lnTo>
                      <a:pt x="52460" y="105538"/>
                    </a:lnTo>
                    <a:lnTo>
                      <a:pt x="53959" y="105802"/>
                    </a:lnTo>
                    <a:lnTo>
                      <a:pt x="54841" y="106067"/>
                    </a:lnTo>
                    <a:lnTo>
                      <a:pt x="57133" y="102804"/>
                    </a:lnTo>
                    <a:lnTo>
                      <a:pt x="58015" y="101658"/>
                    </a:lnTo>
                    <a:lnTo>
                      <a:pt x="60395" y="101305"/>
                    </a:lnTo>
                    <a:lnTo>
                      <a:pt x="63305" y="99895"/>
                    </a:lnTo>
                    <a:lnTo>
                      <a:pt x="61806" y="101305"/>
                    </a:lnTo>
                    <a:lnTo>
                      <a:pt x="60043" y="101923"/>
                    </a:lnTo>
                    <a:lnTo>
                      <a:pt x="59161" y="102804"/>
                    </a:lnTo>
                    <a:lnTo>
                      <a:pt x="58015" y="103069"/>
                    </a:lnTo>
                    <a:lnTo>
                      <a:pt x="57133" y="103686"/>
                    </a:lnTo>
                    <a:lnTo>
                      <a:pt x="55987" y="104832"/>
                    </a:lnTo>
                    <a:lnTo>
                      <a:pt x="55370" y="105978"/>
                    </a:lnTo>
                    <a:lnTo>
                      <a:pt x="55105" y="107742"/>
                    </a:lnTo>
                    <a:lnTo>
                      <a:pt x="55722" y="109505"/>
                    </a:lnTo>
                    <a:lnTo>
                      <a:pt x="56869" y="109505"/>
                    </a:lnTo>
                    <a:lnTo>
                      <a:pt x="56869" y="108359"/>
                    </a:lnTo>
                    <a:lnTo>
                      <a:pt x="56869" y="107742"/>
                    </a:lnTo>
                    <a:lnTo>
                      <a:pt x="56869" y="106596"/>
                    </a:lnTo>
                    <a:lnTo>
                      <a:pt x="58632" y="107125"/>
                    </a:lnTo>
                    <a:lnTo>
                      <a:pt x="58367" y="107742"/>
                    </a:lnTo>
                    <a:lnTo>
                      <a:pt x="58632" y="106596"/>
                    </a:lnTo>
                    <a:lnTo>
                      <a:pt x="60043" y="107125"/>
                    </a:lnTo>
                    <a:lnTo>
                      <a:pt x="60043" y="108888"/>
                    </a:lnTo>
                    <a:lnTo>
                      <a:pt x="61542" y="108888"/>
                    </a:lnTo>
                    <a:lnTo>
                      <a:pt x="61806" y="107125"/>
                    </a:lnTo>
                    <a:lnTo>
                      <a:pt x="62952" y="106596"/>
                    </a:lnTo>
                    <a:lnTo>
                      <a:pt x="61806" y="105978"/>
                    </a:lnTo>
                    <a:lnTo>
                      <a:pt x="63569" y="106243"/>
                    </a:lnTo>
                    <a:lnTo>
                      <a:pt x="64716" y="105097"/>
                    </a:lnTo>
                    <a:lnTo>
                      <a:pt x="65333" y="104832"/>
                    </a:lnTo>
                    <a:lnTo>
                      <a:pt x="66215" y="105097"/>
                    </a:lnTo>
                    <a:lnTo>
                      <a:pt x="67361" y="106596"/>
                    </a:lnTo>
                    <a:lnTo>
                      <a:pt x="68507" y="106331"/>
                    </a:lnTo>
                    <a:lnTo>
                      <a:pt x="71416" y="107830"/>
                    </a:lnTo>
                    <a:lnTo>
                      <a:pt x="66479" y="107213"/>
                    </a:lnTo>
                    <a:lnTo>
                      <a:pt x="65068" y="106684"/>
                    </a:lnTo>
                    <a:lnTo>
                      <a:pt x="63305" y="107213"/>
                    </a:lnTo>
                    <a:lnTo>
                      <a:pt x="63569" y="108712"/>
                    </a:lnTo>
                    <a:lnTo>
                      <a:pt x="63305" y="110211"/>
                    </a:lnTo>
                    <a:lnTo>
                      <a:pt x="63305" y="111974"/>
                    </a:lnTo>
                    <a:lnTo>
                      <a:pt x="62688" y="113120"/>
                    </a:lnTo>
                    <a:lnTo>
                      <a:pt x="62688" y="114883"/>
                    </a:lnTo>
                    <a:lnTo>
                      <a:pt x="63834" y="115501"/>
                    </a:lnTo>
                    <a:lnTo>
                      <a:pt x="64980" y="116118"/>
                    </a:lnTo>
                    <a:lnTo>
                      <a:pt x="66126" y="115853"/>
                    </a:lnTo>
                    <a:lnTo>
                      <a:pt x="67008" y="115853"/>
                    </a:lnTo>
                    <a:lnTo>
                      <a:pt x="67273" y="116118"/>
                    </a:lnTo>
                    <a:lnTo>
                      <a:pt x="66126" y="117264"/>
                    </a:lnTo>
                    <a:lnTo>
                      <a:pt x="67273" y="116999"/>
                    </a:lnTo>
                    <a:lnTo>
                      <a:pt x="67537" y="117881"/>
                    </a:lnTo>
                    <a:lnTo>
                      <a:pt x="67273" y="118498"/>
                    </a:lnTo>
                    <a:lnTo>
                      <a:pt x="67273" y="119997"/>
                    </a:lnTo>
                    <a:lnTo>
                      <a:pt x="65509" y="120526"/>
                    </a:lnTo>
                    <a:lnTo>
                      <a:pt x="64627" y="121672"/>
                    </a:lnTo>
                    <a:lnTo>
                      <a:pt x="64098" y="121055"/>
                    </a:lnTo>
                    <a:lnTo>
                      <a:pt x="62952" y="121672"/>
                    </a:lnTo>
                    <a:lnTo>
                      <a:pt x="62688" y="124053"/>
                    </a:lnTo>
                    <a:lnTo>
                      <a:pt x="61806" y="124670"/>
                    </a:lnTo>
                    <a:lnTo>
                      <a:pt x="60307" y="124935"/>
                    </a:lnTo>
                    <a:lnTo>
                      <a:pt x="59425" y="126698"/>
                    </a:lnTo>
                    <a:lnTo>
                      <a:pt x="59425" y="128990"/>
                    </a:lnTo>
                    <a:lnTo>
                      <a:pt x="59425" y="129519"/>
                    </a:lnTo>
                    <a:lnTo>
                      <a:pt x="60836" y="131283"/>
                    </a:lnTo>
                    <a:lnTo>
                      <a:pt x="59425" y="131900"/>
                    </a:lnTo>
                    <a:lnTo>
                      <a:pt x="59425" y="131283"/>
                    </a:lnTo>
                    <a:lnTo>
                      <a:pt x="58808" y="130137"/>
                    </a:lnTo>
                    <a:lnTo>
                      <a:pt x="57662" y="129519"/>
                    </a:lnTo>
                    <a:lnTo>
                      <a:pt x="56163" y="131283"/>
                    </a:lnTo>
                    <a:lnTo>
                      <a:pt x="57045" y="132164"/>
                    </a:lnTo>
                    <a:lnTo>
                      <a:pt x="57309" y="133575"/>
                    </a:lnTo>
                    <a:lnTo>
                      <a:pt x="58456" y="135603"/>
                    </a:lnTo>
                    <a:lnTo>
                      <a:pt x="60483" y="135867"/>
                    </a:lnTo>
                    <a:lnTo>
                      <a:pt x="61365" y="139042"/>
                    </a:lnTo>
                    <a:lnTo>
                      <a:pt x="62247" y="138424"/>
                    </a:lnTo>
                    <a:lnTo>
                      <a:pt x="61630" y="137807"/>
                    </a:lnTo>
                    <a:lnTo>
                      <a:pt x="62247" y="137190"/>
                    </a:lnTo>
                    <a:lnTo>
                      <a:pt x="62247" y="135427"/>
                    </a:lnTo>
                    <a:lnTo>
                      <a:pt x="60483" y="134280"/>
                    </a:lnTo>
                    <a:lnTo>
                      <a:pt x="61982" y="133399"/>
                    </a:lnTo>
                    <a:lnTo>
                      <a:pt x="62511" y="132253"/>
                    </a:lnTo>
                    <a:lnTo>
                      <a:pt x="63393" y="131988"/>
                    </a:lnTo>
                    <a:lnTo>
                      <a:pt x="64010" y="132253"/>
                    </a:lnTo>
                    <a:lnTo>
                      <a:pt x="64010" y="133399"/>
                    </a:lnTo>
                    <a:lnTo>
                      <a:pt x="65509" y="135427"/>
                    </a:lnTo>
                    <a:lnTo>
                      <a:pt x="66655" y="136926"/>
                    </a:lnTo>
                    <a:lnTo>
                      <a:pt x="67802" y="138424"/>
                    </a:lnTo>
                    <a:lnTo>
                      <a:pt x="68948" y="137807"/>
                    </a:lnTo>
                    <a:lnTo>
                      <a:pt x="70446" y="137190"/>
                    </a:lnTo>
                    <a:lnTo>
                      <a:pt x="71593" y="135691"/>
                    </a:lnTo>
                    <a:lnTo>
                      <a:pt x="72210" y="134809"/>
                    </a:lnTo>
                    <a:lnTo>
                      <a:pt x="72739" y="134192"/>
                    </a:lnTo>
                    <a:lnTo>
                      <a:pt x="70446" y="133311"/>
                    </a:lnTo>
                    <a:lnTo>
                      <a:pt x="70711" y="132164"/>
                    </a:lnTo>
                    <a:lnTo>
                      <a:pt x="71593" y="132429"/>
                    </a:lnTo>
                    <a:lnTo>
                      <a:pt x="72210" y="132164"/>
                    </a:lnTo>
                    <a:lnTo>
                      <a:pt x="73356" y="133311"/>
                    </a:lnTo>
                    <a:lnTo>
                      <a:pt x="74238" y="133046"/>
                    </a:lnTo>
                    <a:lnTo>
                      <a:pt x="74855" y="132164"/>
                    </a:lnTo>
                    <a:lnTo>
                      <a:pt x="74855" y="133311"/>
                    </a:lnTo>
                    <a:lnTo>
                      <a:pt x="76266" y="135603"/>
                    </a:lnTo>
                    <a:lnTo>
                      <a:pt x="77412" y="136220"/>
                    </a:lnTo>
                    <a:lnTo>
                      <a:pt x="78558" y="135603"/>
                    </a:lnTo>
                    <a:lnTo>
                      <a:pt x="80057" y="135338"/>
                    </a:lnTo>
                    <a:lnTo>
                      <a:pt x="80674" y="133928"/>
                    </a:lnTo>
                    <a:lnTo>
                      <a:pt x="80939" y="132782"/>
                    </a:lnTo>
                    <a:lnTo>
                      <a:pt x="82437" y="133399"/>
                    </a:lnTo>
                    <a:lnTo>
                      <a:pt x="83584" y="132253"/>
                    </a:lnTo>
                    <a:lnTo>
                      <a:pt x="84201" y="132253"/>
                    </a:lnTo>
                    <a:lnTo>
                      <a:pt x="86229" y="132253"/>
                    </a:lnTo>
                    <a:lnTo>
                      <a:pt x="87110" y="130225"/>
                    </a:lnTo>
                    <a:lnTo>
                      <a:pt x="87992" y="130842"/>
                    </a:lnTo>
                    <a:lnTo>
                      <a:pt x="88609" y="129960"/>
                    </a:lnTo>
                    <a:lnTo>
                      <a:pt x="91519" y="129343"/>
                    </a:lnTo>
                    <a:lnTo>
                      <a:pt x="93282" y="129079"/>
                    </a:lnTo>
                    <a:lnTo>
                      <a:pt x="95046" y="129960"/>
                    </a:lnTo>
                    <a:lnTo>
                      <a:pt x="95310" y="130577"/>
                    </a:lnTo>
                    <a:lnTo>
                      <a:pt x="96721" y="130577"/>
                    </a:lnTo>
                    <a:lnTo>
                      <a:pt x="97602" y="131459"/>
                    </a:lnTo>
                    <a:lnTo>
                      <a:pt x="95574" y="131459"/>
                    </a:lnTo>
                    <a:lnTo>
                      <a:pt x="93547" y="130577"/>
                    </a:lnTo>
                    <a:lnTo>
                      <a:pt x="91783" y="131106"/>
                    </a:lnTo>
                    <a:lnTo>
                      <a:pt x="91783" y="131724"/>
                    </a:lnTo>
                    <a:lnTo>
                      <a:pt x="90902" y="132341"/>
                    </a:lnTo>
                    <a:lnTo>
                      <a:pt x="89755" y="132341"/>
                    </a:lnTo>
                    <a:lnTo>
                      <a:pt x="89755" y="133487"/>
                    </a:lnTo>
                    <a:lnTo>
                      <a:pt x="88609" y="134369"/>
                    </a:lnTo>
                    <a:lnTo>
                      <a:pt x="88609" y="134633"/>
                    </a:lnTo>
                    <a:lnTo>
                      <a:pt x="88609" y="135779"/>
                    </a:lnTo>
                    <a:lnTo>
                      <a:pt x="88345" y="137278"/>
                    </a:lnTo>
                    <a:lnTo>
                      <a:pt x="87728" y="137543"/>
                    </a:lnTo>
                    <a:lnTo>
                      <a:pt x="86229" y="138424"/>
                    </a:lnTo>
                    <a:lnTo>
                      <a:pt x="85082" y="139923"/>
                    </a:lnTo>
                    <a:lnTo>
                      <a:pt x="85347" y="141334"/>
                    </a:lnTo>
                    <a:lnTo>
                      <a:pt x="86229" y="142480"/>
                    </a:lnTo>
                    <a:lnTo>
                      <a:pt x="85964" y="144508"/>
                    </a:lnTo>
                    <a:lnTo>
                      <a:pt x="87463" y="145390"/>
                    </a:lnTo>
                    <a:lnTo>
                      <a:pt x="88345" y="146271"/>
                    </a:lnTo>
                    <a:lnTo>
                      <a:pt x="88609" y="148035"/>
                    </a:lnTo>
                    <a:lnTo>
                      <a:pt x="89755" y="149445"/>
                    </a:lnTo>
                    <a:lnTo>
                      <a:pt x="90902" y="149445"/>
                    </a:lnTo>
                    <a:lnTo>
                      <a:pt x="91783" y="150063"/>
                    </a:lnTo>
                    <a:lnTo>
                      <a:pt x="92930" y="150680"/>
                    </a:lnTo>
                    <a:lnTo>
                      <a:pt x="93282" y="150680"/>
                    </a:lnTo>
                    <a:lnTo>
                      <a:pt x="94428" y="150680"/>
                    </a:lnTo>
                    <a:lnTo>
                      <a:pt x="95310" y="150063"/>
                    </a:lnTo>
                    <a:lnTo>
                      <a:pt x="96192" y="150327"/>
                    </a:lnTo>
                    <a:lnTo>
                      <a:pt x="97073" y="150327"/>
                    </a:lnTo>
                    <a:lnTo>
                      <a:pt x="98219" y="149445"/>
                    </a:lnTo>
                    <a:lnTo>
                      <a:pt x="99101" y="149181"/>
                    </a:lnTo>
                    <a:lnTo>
                      <a:pt x="99718" y="149445"/>
                    </a:lnTo>
                    <a:lnTo>
                      <a:pt x="99983" y="149710"/>
                    </a:lnTo>
                    <a:lnTo>
                      <a:pt x="100247" y="149093"/>
                    </a:lnTo>
                    <a:lnTo>
                      <a:pt x="99101" y="150856"/>
                    </a:lnTo>
                    <a:lnTo>
                      <a:pt x="98484" y="151738"/>
                    </a:lnTo>
                    <a:lnTo>
                      <a:pt x="99101" y="152002"/>
                    </a:lnTo>
                    <a:lnTo>
                      <a:pt x="98219" y="152267"/>
                    </a:lnTo>
                    <a:lnTo>
                      <a:pt x="98484" y="153149"/>
                    </a:lnTo>
                    <a:lnTo>
                      <a:pt x="99366" y="153766"/>
                    </a:lnTo>
                    <a:lnTo>
                      <a:pt x="98484" y="154383"/>
                    </a:lnTo>
                    <a:lnTo>
                      <a:pt x="97602" y="154118"/>
                    </a:lnTo>
                    <a:lnTo>
                      <a:pt x="96103" y="155000"/>
                    </a:lnTo>
                    <a:lnTo>
                      <a:pt x="95839" y="154735"/>
                    </a:lnTo>
                    <a:lnTo>
                      <a:pt x="94957" y="156234"/>
                    </a:lnTo>
                    <a:lnTo>
                      <a:pt x="94340" y="156499"/>
                    </a:lnTo>
                    <a:lnTo>
                      <a:pt x="94076" y="157116"/>
                    </a:lnTo>
                    <a:lnTo>
                      <a:pt x="94340" y="157998"/>
                    </a:lnTo>
                    <a:lnTo>
                      <a:pt x="94340" y="158879"/>
                    </a:lnTo>
                    <a:lnTo>
                      <a:pt x="95222" y="159497"/>
                    </a:lnTo>
                    <a:lnTo>
                      <a:pt x="96103" y="160114"/>
                    </a:lnTo>
                    <a:lnTo>
                      <a:pt x="98484" y="159497"/>
                    </a:lnTo>
                    <a:lnTo>
                      <a:pt x="98749" y="159761"/>
                    </a:lnTo>
                    <a:lnTo>
                      <a:pt x="98131" y="160026"/>
                    </a:lnTo>
                    <a:lnTo>
                      <a:pt x="96368" y="160643"/>
                    </a:lnTo>
                    <a:lnTo>
                      <a:pt x="95751" y="161524"/>
                    </a:lnTo>
                    <a:lnTo>
                      <a:pt x="94869" y="160907"/>
                    </a:lnTo>
                    <a:lnTo>
                      <a:pt x="94252" y="161789"/>
                    </a:lnTo>
                    <a:lnTo>
                      <a:pt x="93988" y="162935"/>
                    </a:lnTo>
                    <a:lnTo>
                      <a:pt x="94252" y="163552"/>
                    </a:lnTo>
                    <a:lnTo>
                      <a:pt x="94252" y="164699"/>
                    </a:lnTo>
                    <a:lnTo>
                      <a:pt x="96280" y="165580"/>
                    </a:lnTo>
                    <a:lnTo>
                      <a:pt x="96544" y="166197"/>
                    </a:lnTo>
                    <a:lnTo>
                      <a:pt x="97690" y="166462"/>
                    </a:lnTo>
                    <a:lnTo>
                      <a:pt x="98308" y="167344"/>
                    </a:lnTo>
                    <a:lnTo>
                      <a:pt x="99807" y="169371"/>
                    </a:lnTo>
                    <a:lnTo>
                      <a:pt x="101305" y="169371"/>
                    </a:lnTo>
                    <a:lnTo>
                      <a:pt x="101305" y="169636"/>
                    </a:lnTo>
                    <a:lnTo>
                      <a:pt x="99278" y="170518"/>
                    </a:lnTo>
                    <a:lnTo>
                      <a:pt x="98396" y="169019"/>
                    </a:lnTo>
                    <a:lnTo>
                      <a:pt x="96897" y="167873"/>
                    </a:lnTo>
                    <a:lnTo>
                      <a:pt x="95751" y="167608"/>
                    </a:lnTo>
                    <a:lnTo>
                      <a:pt x="95134" y="166726"/>
                    </a:lnTo>
                    <a:lnTo>
                      <a:pt x="93988" y="166197"/>
                    </a:lnTo>
                    <a:lnTo>
                      <a:pt x="92841" y="166197"/>
                    </a:lnTo>
                    <a:lnTo>
                      <a:pt x="92577" y="167344"/>
                    </a:lnTo>
                    <a:lnTo>
                      <a:pt x="94076" y="169107"/>
                    </a:lnTo>
                    <a:lnTo>
                      <a:pt x="94076" y="170606"/>
                    </a:lnTo>
                    <a:lnTo>
                      <a:pt x="92930" y="170870"/>
                    </a:lnTo>
                    <a:lnTo>
                      <a:pt x="90902" y="169371"/>
                    </a:lnTo>
                    <a:lnTo>
                      <a:pt x="90902" y="168490"/>
                    </a:lnTo>
                    <a:lnTo>
                      <a:pt x="90637" y="167873"/>
                    </a:lnTo>
                    <a:lnTo>
                      <a:pt x="88874" y="168490"/>
                    </a:lnTo>
                    <a:lnTo>
                      <a:pt x="86846" y="169636"/>
                    </a:lnTo>
                    <a:lnTo>
                      <a:pt x="84818" y="169636"/>
                    </a:lnTo>
                    <a:lnTo>
                      <a:pt x="83407" y="169636"/>
                    </a:lnTo>
                    <a:lnTo>
                      <a:pt x="82261" y="169900"/>
                    </a:lnTo>
                    <a:lnTo>
                      <a:pt x="81732" y="170165"/>
                    </a:lnTo>
                    <a:lnTo>
                      <a:pt x="81115" y="169548"/>
                    </a:lnTo>
                    <a:lnTo>
                      <a:pt x="80498" y="169812"/>
                    </a:lnTo>
                    <a:lnTo>
                      <a:pt x="79881" y="169548"/>
                    </a:lnTo>
                    <a:lnTo>
                      <a:pt x="78999" y="170165"/>
                    </a:lnTo>
                    <a:lnTo>
                      <a:pt x="78470" y="170429"/>
                    </a:lnTo>
                    <a:lnTo>
                      <a:pt x="77588" y="170694"/>
                    </a:lnTo>
                    <a:lnTo>
                      <a:pt x="76707" y="170694"/>
                    </a:lnTo>
                    <a:lnTo>
                      <a:pt x="75825" y="170694"/>
                    </a:lnTo>
                    <a:lnTo>
                      <a:pt x="74679" y="170959"/>
                    </a:lnTo>
                    <a:lnTo>
                      <a:pt x="74414" y="171223"/>
                    </a:lnTo>
                    <a:lnTo>
                      <a:pt x="74414" y="171488"/>
                    </a:lnTo>
                    <a:lnTo>
                      <a:pt x="74414" y="172105"/>
                    </a:lnTo>
                    <a:lnTo>
                      <a:pt x="74150" y="171488"/>
                    </a:lnTo>
                    <a:lnTo>
                      <a:pt x="73885" y="171488"/>
                    </a:lnTo>
                    <a:lnTo>
                      <a:pt x="73885" y="172105"/>
                    </a:lnTo>
                    <a:lnTo>
                      <a:pt x="73621" y="172634"/>
                    </a:lnTo>
                    <a:lnTo>
                      <a:pt x="73356" y="173251"/>
                    </a:lnTo>
                    <a:lnTo>
                      <a:pt x="73092" y="173515"/>
                    </a:lnTo>
                    <a:lnTo>
                      <a:pt x="72563" y="173868"/>
                    </a:lnTo>
                    <a:lnTo>
                      <a:pt x="71945" y="173868"/>
                    </a:lnTo>
                    <a:lnTo>
                      <a:pt x="71328" y="173868"/>
                    </a:lnTo>
                    <a:lnTo>
                      <a:pt x="71064" y="174750"/>
                    </a:lnTo>
                    <a:lnTo>
                      <a:pt x="69653" y="174485"/>
                    </a:lnTo>
                    <a:lnTo>
                      <a:pt x="68507" y="175367"/>
                    </a:lnTo>
                    <a:lnTo>
                      <a:pt x="67625" y="175367"/>
                    </a:lnTo>
                    <a:lnTo>
                      <a:pt x="67361" y="176513"/>
                    </a:lnTo>
                    <a:lnTo>
                      <a:pt x="66479" y="177395"/>
                    </a:lnTo>
                    <a:lnTo>
                      <a:pt x="66215" y="178012"/>
                    </a:lnTo>
                    <a:lnTo>
                      <a:pt x="65333" y="178541"/>
                    </a:lnTo>
                    <a:lnTo>
                      <a:pt x="64187" y="178806"/>
                    </a:lnTo>
                    <a:lnTo>
                      <a:pt x="63922" y="179070"/>
                    </a:lnTo>
                    <a:lnTo>
                      <a:pt x="63658" y="179335"/>
                    </a:lnTo>
                    <a:lnTo>
                      <a:pt x="63040" y="180216"/>
                    </a:lnTo>
                    <a:lnTo>
                      <a:pt x="62511" y="180833"/>
                    </a:lnTo>
                    <a:lnTo>
                      <a:pt x="61630" y="181450"/>
                    </a:lnTo>
                    <a:lnTo>
                      <a:pt x="61365" y="182068"/>
                    </a:lnTo>
                    <a:lnTo>
                      <a:pt x="62247" y="182332"/>
                    </a:lnTo>
                    <a:lnTo>
                      <a:pt x="63129" y="182068"/>
                    </a:lnTo>
                    <a:lnTo>
                      <a:pt x="64275" y="181715"/>
                    </a:lnTo>
                    <a:lnTo>
                      <a:pt x="64539" y="182332"/>
                    </a:lnTo>
                    <a:lnTo>
                      <a:pt x="65068" y="182597"/>
                    </a:lnTo>
                    <a:lnTo>
                      <a:pt x="65686" y="182332"/>
                    </a:lnTo>
                    <a:lnTo>
                      <a:pt x="65686" y="181715"/>
                    </a:lnTo>
                    <a:lnTo>
                      <a:pt x="67449" y="180833"/>
                    </a:lnTo>
                    <a:lnTo>
                      <a:pt x="68595" y="180216"/>
                    </a:lnTo>
                    <a:lnTo>
                      <a:pt x="69212" y="179599"/>
                    </a:lnTo>
                    <a:lnTo>
                      <a:pt x="68948" y="180481"/>
                    </a:lnTo>
                    <a:lnTo>
                      <a:pt x="69829" y="180481"/>
                    </a:lnTo>
                    <a:lnTo>
                      <a:pt x="71593" y="179864"/>
                    </a:lnTo>
                    <a:lnTo>
                      <a:pt x="73356" y="178982"/>
                    </a:lnTo>
                    <a:lnTo>
                      <a:pt x="75384" y="178982"/>
                    </a:lnTo>
                    <a:lnTo>
                      <a:pt x="76266" y="178982"/>
                    </a:lnTo>
                    <a:lnTo>
                      <a:pt x="75648" y="179599"/>
                    </a:lnTo>
                    <a:lnTo>
                      <a:pt x="75913" y="181098"/>
                    </a:lnTo>
                    <a:lnTo>
                      <a:pt x="75031" y="182244"/>
                    </a:lnTo>
                    <a:lnTo>
                      <a:pt x="75913" y="182244"/>
                    </a:lnTo>
                    <a:lnTo>
                      <a:pt x="76795" y="183390"/>
                    </a:lnTo>
                    <a:lnTo>
                      <a:pt x="77412" y="183126"/>
                    </a:lnTo>
                    <a:lnTo>
                      <a:pt x="77676" y="183390"/>
                    </a:lnTo>
                    <a:lnTo>
                      <a:pt x="76795" y="184272"/>
                    </a:lnTo>
                    <a:lnTo>
                      <a:pt x="76795" y="185418"/>
                    </a:lnTo>
                    <a:lnTo>
                      <a:pt x="75648" y="187182"/>
                    </a:lnTo>
                    <a:lnTo>
                      <a:pt x="76795" y="188328"/>
                    </a:lnTo>
                    <a:lnTo>
                      <a:pt x="76795" y="189474"/>
                    </a:lnTo>
                    <a:lnTo>
                      <a:pt x="75384" y="191237"/>
                    </a:lnTo>
                    <a:lnTo>
                      <a:pt x="75648" y="192119"/>
                    </a:lnTo>
                    <a:lnTo>
                      <a:pt x="74767" y="193265"/>
                    </a:lnTo>
                    <a:lnTo>
                      <a:pt x="74502" y="194411"/>
                    </a:lnTo>
                    <a:lnTo>
                      <a:pt x="73356" y="195557"/>
                    </a:lnTo>
                    <a:lnTo>
                      <a:pt x="71593" y="196175"/>
                    </a:lnTo>
                    <a:lnTo>
                      <a:pt x="70975" y="196175"/>
                    </a:lnTo>
                    <a:lnTo>
                      <a:pt x="70711" y="197056"/>
                    </a:lnTo>
                    <a:lnTo>
                      <a:pt x="70711" y="198203"/>
                    </a:lnTo>
                    <a:lnTo>
                      <a:pt x="69212" y="198820"/>
                    </a:lnTo>
                    <a:lnTo>
                      <a:pt x="65686" y="198555"/>
                    </a:lnTo>
                    <a:lnTo>
                      <a:pt x="64275" y="198820"/>
                    </a:lnTo>
                    <a:lnTo>
                      <a:pt x="64275" y="199084"/>
                    </a:lnTo>
                    <a:lnTo>
                      <a:pt x="64010" y="199701"/>
                    </a:lnTo>
                    <a:lnTo>
                      <a:pt x="63746" y="199084"/>
                    </a:lnTo>
                    <a:lnTo>
                      <a:pt x="62600" y="199966"/>
                    </a:lnTo>
                    <a:lnTo>
                      <a:pt x="61982" y="199349"/>
                    </a:lnTo>
                    <a:lnTo>
                      <a:pt x="60836" y="199966"/>
                    </a:lnTo>
                    <a:lnTo>
                      <a:pt x="60836" y="200583"/>
                    </a:lnTo>
                    <a:lnTo>
                      <a:pt x="60572" y="200583"/>
                    </a:lnTo>
                    <a:lnTo>
                      <a:pt x="59690" y="199701"/>
                    </a:lnTo>
                    <a:lnTo>
                      <a:pt x="59161" y="200848"/>
                    </a:lnTo>
                    <a:lnTo>
                      <a:pt x="58279" y="199701"/>
                    </a:lnTo>
                    <a:lnTo>
                      <a:pt x="57133" y="199966"/>
                    </a:lnTo>
                    <a:lnTo>
                      <a:pt x="55987" y="200583"/>
                    </a:lnTo>
                    <a:lnTo>
                      <a:pt x="55987" y="201729"/>
                    </a:lnTo>
                    <a:lnTo>
                      <a:pt x="55370" y="202082"/>
                    </a:lnTo>
                    <a:lnTo>
                      <a:pt x="54224" y="202346"/>
                    </a:lnTo>
                    <a:lnTo>
                      <a:pt x="54224" y="202875"/>
                    </a:lnTo>
                    <a:lnTo>
                      <a:pt x="53959" y="203140"/>
                    </a:lnTo>
                    <a:lnTo>
                      <a:pt x="53342" y="202875"/>
                    </a:lnTo>
                    <a:lnTo>
                      <a:pt x="52725" y="203493"/>
                    </a:lnTo>
                    <a:lnTo>
                      <a:pt x="52989" y="204110"/>
                    </a:lnTo>
                    <a:lnTo>
                      <a:pt x="54135" y="204110"/>
                    </a:lnTo>
                    <a:lnTo>
                      <a:pt x="55899" y="204110"/>
                    </a:lnTo>
                    <a:lnTo>
                      <a:pt x="56780" y="204374"/>
                    </a:lnTo>
                    <a:lnTo>
                      <a:pt x="57045" y="205521"/>
                    </a:lnTo>
                    <a:lnTo>
                      <a:pt x="56780" y="206402"/>
                    </a:lnTo>
                    <a:lnTo>
                      <a:pt x="55634" y="206667"/>
                    </a:lnTo>
                    <a:lnTo>
                      <a:pt x="54488" y="206050"/>
                    </a:lnTo>
                    <a:lnTo>
                      <a:pt x="53342" y="206314"/>
                    </a:lnTo>
                    <a:lnTo>
                      <a:pt x="53342" y="207460"/>
                    </a:lnTo>
                    <a:lnTo>
                      <a:pt x="53959" y="208606"/>
                    </a:lnTo>
                    <a:lnTo>
                      <a:pt x="55722" y="208871"/>
                    </a:lnTo>
                    <a:lnTo>
                      <a:pt x="56339" y="208342"/>
                    </a:lnTo>
                    <a:lnTo>
                      <a:pt x="55722" y="207725"/>
                    </a:lnTo>
                    <a:lnTo>
                      <a:pt x="56869" y="207108"/>
                    </a:lnTo>
                    <a:lnTo>
                      <a:pt x="58367" y="207108"/>
                    </a:lnTo>
                    <a:lnTo>
                      <a:pt x="58985" y="207725"/>
                    </a:lnTo>
                    <a:lnTo>
                      <a:pt x="60131" y="207460"/>
                    </a:lnTo>
                    <a:lnTo>
                      <a:pt x="61013" y="207725"/>
                    </a:lnTo>
                    <a:lnTo>
                      <a:pt x="58985" y="208871"/>
                    </a:lnTo>
                    <a:lnTo>
                      <a:pt x="58367" y="209488"/>
                    </a:lnTo>
                    <a:lnTo>
                      <a:pt x="57486" y="208871"/>
                    </a:lnTo>
                    <a:lnTo>
                      <a:pt x="56339" y="209135"/>
                    </a:lnTo>
                    <a:lnTo>
                      <a:pt x="56957" y="209400"/>
                    </a:lnTo>
                    <a:lnTo>
                      <a:pt x="57486" y="209400"/>
                    </a:lnTo>
                    <a:lnTo>
                      <a:pt x="57221" y="210017"/>
                    </a:lnTo>
                    <a:lnTo>
                      <a:pt x="57486" y="210017"/>
                    </a:lnTo>
                    <a:lnTo>
                      <a:pt x="58367" y="210282"/>
                    </a:lnTo>
                    <a:lnTo>
                      <a:pt x="59514" y="210282"/>
                    </a:lnTo>
                    <a:lnTo>
                      <a:pt x="60395" y="210546"/>
                    </a:lnTo>
                    <a:lnTo>
                      <a:pt x="60660" y="210017"/>
                    </a:lnTo>
                    <a:lnTo>
                      <a:pt x="62423" y="210017"/>
                    </a:lnTo>
                    <a:lnTo>
                      <a:pt x="63569" y="209400"/>
                    </a:lnTo>
                    <a:lnTo>
                      <a:pt x="64187" y="209400"/>
                    </a:lnTo>
                    <a:lnTo>
                      <a:pt x="65333" y="207637"/>
                    </a:lnTo>
                    <a:lnTo>
                      <a:pt x="67361" y="207372"/>
                    </a:lnTo>
                    <a:lnTo>
                      <a:pt x="69124" y="206755"/>
                    </a:lnTo>
                    <a:lnTo>
                      <a:pt x="69124" y="206490"/>
                    </a:lnTo>
                    <a:lnTo>
                      <a:pt x="70623" y="205344"/>
                    </a:lnTo>
                    <a:lnTo>
                      <a:pt x="70887" y="205080"/>
                    </a:lnTo>
                    <a:lnTo>
                      <a:pt x="71504" y="205344"/>
                    </a:lnTo>
                    <a:lnTo>
                      <a:pt x="71504" y="205697"/>
                    </a:lnTo>
                    <a:lnTo>
                      <a:pt x="70887" y="206579"/>
                    </a:lnTo>
                    <a:lnTo>
                      <a:pt x="70887" y="206843"/>
                    </a:lnTo>
                    <a:lnTo>
                      <a:pt x="71504" y="207725"/>
                    </a:lnTo>
                    <a:lnTo>
                      <a:pt x="72122" y="208871"/>
                    </a:lnTo>
                    <a:lnTo>
                      <a:pt x="73532" y="208871"/>
                    </a:lnTo>
                    <a:lnTo>
                      <a:pt x="75296" y="209488"/>
                    </a:lnTo>
                    <a:lnTo>
                      <a:pt x="75560" y="209841"/>
                    </a:lnTo>
                    <a:lnTo>
                      <a:pt x="75296" y="210105"/>
                    </a:lnTo>
                    <a:lnTo>
                      <a:pt x="73532" y="210105"/>
                    </a:lnTo>
                    <a:lnTo>
                      <a:pt x="73003" y="210105"/>
                    </a:lnTo>
                    <a:lnTo>
                      <a:pt x="71857" y="210105"/>
                    </a:lnTo>
                    <a:lnTo>
                      <a:pt x="71857" y="210634"/>
                    </a:lnTo>
                    <a:lnTo>
                      <a:pt x="71593" y="210634"/>
                    </a:lnTo>
                    <a:lnTo>
                      <a:pt x="71857" y="211251"/>
                    </a:lnTo>
                    <a:lnTo>
                      <a:pt x="72474" y="212133"/>
                    </a:lnTo>
                    <a:lnTo>
                      <a:pt x="73356" y="212398"/>
                    </a:lnTo>
                    <a:lnTo>
                      <a:pt x="73973" y="212662"/>
                    </a:lnTo>
                    <a:lnTo>
                      <a:pt x="74590" y="212398"/>
                    </a:lnTo>
                    <a:lnTo>
                      <a:pt x="74590" y="211251"/>
                    </a:lnTo>
                    <a:lnTo>
                      <a:pt x="75472" y="211869"/>
                    </a:lnTo>
                    <a:lnTo>
                      <a:pt x="76883" y="211251"/>
                    </a:lnTo>
                    <a:lnTo>
                      <a:pt x="76266" y="210634"/>
                    </a:lnTo>
                    <a:lnTo>
                      <a:pt x="76883" y="210634"/>
                    </a:lnTo>
                    <a:lnTo>
                      <a:pt x="78029" y="210105"/>
                    </a:lnTo>
                    <a:lnTo>
                      <a:pt x="79792" y="209841"/>
                    </a:lnTo>
                    <a:lnTo>
                      <a:pt x="80410" y="210105"/>
                    </a:lnTo>
                    <a:lnTo>
                      <a:pt x="81291" y="211251"/>
                    </a:lnTo>
                    <a:lnTo>
                      <a:pt x="81027" y="213015"/>
                    </a:lnTo>
                    <a:lnTo>
                      <a:pt x="85082" y="213897"/>
                    </a:lnTo>
                    <a:lnTo>
                      <a:pt x="87110" y="215043"/>
                    </a:lnTo>
                    <a:lnTo>
                      <a:pt x="90373" y="215043"/>
                    </a:lnTo>
                    <a:lnTo>
                      <a:pt x="92401" y="215307"/>
                    </a:lnTo>
                    <a:lnTo>
                      <a:pt x="92665" y="214690"/>
                    </a:lnTo>
                    <a:lnTo>
                      <a:pt x="92401" y="213808"/>
                    </a:lnTo>
                    <a:lnTo>
                      <a:pt x="92665" y="213191"/>
                    </a:lnTo>
                    <a:lnTo>
                      <a:pt x="93811" y="212927"/>
                    </a:lnTo>
                    <a:lnTo>
                      <a:pt x="95839" y="212398"/>
                    </a:lnTo>
                    <a:lnTo>
                      <a:pt x="95574" y="211516"/>
                    </a:lnTo>
                    <a:lnTo>
                      <a:pt x="96192" y="211251"/>
                    </a:lnTo>
                    <a:lnTo>
                      <a:pt x="96456" y="212398"/>
                    </a:lnTo>
                    <a:lnTo>
                      <a:pt x="97338" y="211780"/>
                    </a:lnTo>
                    <a:lnTo>
                      <a:pt x="97955" y="212398"/>
                    </a:lnTo>
                    <a:lnTo>
                      <a:pt x="102011" y="210634"/>
                    </a:lnTo>
                    <a:lnTo>
                      <a:pt x="106067" y="206843"/>
                    </a:lnTo>
                    <a:lnTo>
                      <a:pt x="107566" y="206579"/>
                    </a:lnTo>
                    <a:lnTo>
                      <a:pt x="106067" y="207725"/>
                    </a:lnTo>
                    <a:lnTo>
                      <a:pt x="106331" y="209135"/>
                    </a:lnTo>
                    <a:lnTo>
                      <a:pt x="105714" y="212045"/>
                    </a:lnTo>
                    <a:lnTo>
                      <a:pt x="101923" y="212927"/>
                    </a:lnTo>
                    <a:lnTo>
                      <a:pt x="99542" y="212927"/>
                    </a:lnTo>
                    <a:lnTo>
                      <a:pt x="97779" y="215307"/>
                    </a:lnTo>
                    <a:lnTo>
                      <a:pt x="97426" y="215924"/>
                    </a:lnTo>
                    <a:lnTo>
                      <a:pt x="96897" y="216453"/>
                    </a:lnTo>
                    <a:lnTo>
                      <a:pt x="96015" y="216189"/>
                    </a:lnTo>
                    <a:lnTo>
                      <a:pt x="96280" y="217335"/>
                    </a:lnTo>
                    <a:lnTo>
                      <a:pt x="95398" y="217952"/>
                    </a:lnTo>
                    <a:lnTo>
                      <a:pt x="96015" y="219716"/>
                    </a:lnTo>
                    <a:lnTo>
                      <a:pt x="95134" y="220862"/>
                    </a:lnTo>
                    <a:lnTo>
                      <a:pt x="93723" y="219716"/>
                    </a:lnTo>
                    <a:lnTo>
                      <a:pt x="92224" y="219716"/>
                    </a:lnTo>
                    <a:lnTo>
                      <a:pt x="91960" y="220862"/>
                    </a:lnTo>
                    <a:lnTo>
                      <a:pt x="90461" y="221126"/>
                    </a:lnTo>
                    <a:lnTo>
                      <a:pt x="88168" y="220245"/>
                    </a:lnTo>
                    <a:lnTo>
                      <a:pt x="87022" y="219627"/>
                    </a:lnTo>
                    <a:lnTo>
                      <a:pt x="84994" y="219627"/>
                    </a:lnTo>
                    <a:lnTo>
                      <a:pt x="81820" y="219010"/>
                    </a:lnTo>
                    <a:lnTo>
                      <a:pt x="79792" y="218746"/>
                    </a:lnTo>
                    <a:lnTo>
                      <a:pt x="78294" y="217864"/>
                    </a:lnTo>
                    <a:lnTo>
                      <a:pt x="76266" y="218393"/>
                    </a:lnTo>
                    <a:lnTo>
                      <a:pt x="74502" y="219539"/>
                    </a:lnTo>
                    <a:lnTo>
                      <a:pt x="73003" y="220156"/>
                    </a:lnTo>
                    <a:lnTo>
                      <a:pt x="73003" y="221038"/>
                    </a:lnTo>
                    <a:lnTo>
                      <a:pt x="72739" y="221303"/>
                    </a:lnTo>
                    <a:lnTo>
                      <a:pt x="73003" y="223330"/>
                    </a:lnTo>
                    <a:lnTo>
                      <a:pt x="72739" y="223948"/>
                    </a:lnTo>
                    <a:lnTo>
                      <a:pt x="70711" y="224565"/>
                    </a:lnTo>
                    <a:lnTo>
                      <a:pt x="70446" y="224565"/>
                    </a:lnTo>
                    <a:lnTo>
                      <a:pt x="68683" y="224565"/>
                    </a:lnTo>
                    <a:lnTo>
                      <a:pt x="67184" y="224565"/>
                    </a:lnTo>
                    <a:lnTo>
                      <a:pt x="66920" y="224829"/>
                    </a:lnTo>
                    <a:lnTo>
                      <a:pt x="65774" y="225094"/>
                    </a:lnTo>
                    <a:lnTo>
                      <a:pt x="65509" y="225976"/>
                    </a:lnTo>
                    <a:lnTo>
                      <a:pt x="65245" y="226857"/>
                    </a:lnTo>
                    <a:lnTo>
                      <a:pt x="64980" y="227739"/>
                    </a:lnTo>
                    <a:lnTo>
                      <a:pt x="65245" y="228621"/>
                    </a:lnTo>
                    <a:lnTo>
                      <a:pt x="67008" y="229238"/>
                    </a:lnTo>
                    <a:lnTo>
                      <a:pt x="66479" y="230119"/>
                    </a:lnTo>
                    <a:lnTo>
                      <a:pt x="64980" y="230384"/>
                    </a:lnTo>
                    <a:lnTo>
                      <a:pt x="64451" y="231530"/>
                    </a:lnTo>
                    <a:lnTo>
                      <a:pt x="63569" y="231883"/>
                    </a:lnTo>
                    <a:lnTo>
                      <a:pt x="63040" y="232765"/>
                    </a:lnTo>
                    <a:lnTo>
                      <a:pt x="61894" y="235145"/>
                    </a:lnTo>
                    <a:lnTo>
                      <a:pt x="60483" y="235762"/>
                    </a:lnTo>
                    <a:lnTo>
                      <a:pt x="60483" y="235145"/>
                    </a:lnTo>
                    <a:lnTo>
                      <a:pt x="59602" y="235145"/>
                    </a:lnTo>
                    <a:lnTo>
                      <a:pt x="59602" y="236291"/>
                    </a:lnTo>
                    <a:lnTo>
                      <a:pt x="58720" y="236291"/>
                    </a:lnTo>
                    <a:lnTo>
                      <a:pt x="58456" y="235674"/>
                    </a:lnTo>
                    <a:lnTo>
                      <a:pt x="58456" y="236291"/>
                    </a:lnTo>
                    <a:lnTo>
                      <a:pt x="57574" y="236027"/>
                    </a:lnTo>
                    <a:lnTo>
                      <a:pt x="56692" y="236291"/>
                    </a:lnTo>
                    <a:lnTo>
                      <a:pt x="56692" y="237702"/>
                    </a:lnTo>
                    <a:lnTo>
                      <a:pt x="56692" y="237966"/>
                    </a:lnTo>
                    <a:lnTo>
                      <a:pt x="56957" y="238848"/>
                    </a:lnTo>
                    <a:lnTo>
                      <a:pt x="56692" y="239465"/>
                    </a:lnTo>
                    <a:lnTo>
                      <a:pt x="56075" y="239730"/>
                    </a:lnTo>
                    <a:lnTo>
                      <a:pt x="54929" y="239465"/>
                    </a:lnTo>
                    <a:lnTo>
                      <a:pt x="54665" y="239730"/>
                    </a:lnTo>
                    <a:lnTo>
                      <a:pt x="54400" y="240612"/>
                    </a:lnTo>
                    <a:lnTo>
                      <a:pt x="52901" y="240083"/>
                    </a:lnTo>
                    <a:lnTo>
                      <a:pt x="53166" y="241229"/>
                    </a:lnTo>
                    <a:lnTo>
                      <a:pt x="52019" y="242375"/>
                    </a:lnTo>
                    <a:lnTo>
                      <a:pt x="51402" y="242904"/>
                    </a:lnTo>
                    <a:lnTo>
                      <a:pt x="50256" y="242904"/>
                    </a:lnTo>
                    <a:lnTo>
                      <a:pt x="49110" y="242375"/>
                    </a:lnTo>
                    <a:lnTo>
                      <a:pt x="48228" y="241758"/>
                    </a:lnTo>
                    <a:lnTo>
                      <a:pt x="47611" y="242904"/>
                    </a:lnTo>
                    <a:lnTo>
                      <a:pt x="46465" y="242022"/>
                    </a:lnTo>
                    <a:lnTo>
                      <a:pt x="45318" y="242022"/>
                    </a:lnTo>
                    <a:lnTo>
                      <a:pt x="45936" y="243168"/>
                    </a:lnTo>
                    <a:lnTo>
                      <a:pt x="44525" y="243168"/>
                    </a:lnTo>
                    <a:lnTo>
                      <a:pt x="43643" y="245461"/>
                    </a:lnTo>
                    <a:lnTo>
                      <a:pt x="43026" y="245196"/>
                    </a:lnTo>
                    <a:lnTo>
                      <a:pt x="42409" y="245813"/>
                    </a:lnTo>
                    <a:lnTo>
                      <a:pt x="42409" y="246960"/>
                    </a:lnTo>
                    <a:lnTo>
                      <a:pt x="43555" y="246960"/>
                    </a:lnTo>
                    <a:lnTo>
                      <a:pt x="43555" y="247224"/>
                    </a:lnTo>
                    <a:lnTo>
                      <a:pt x="45054" y="248106"/>
                    </a:lnTo>
                    <a:lnTo>
                      <a:pt x="46200" y="248106"/>
                    </a:lnTo>
                    <a:lnTo>
                      <a:pt x="46817" y="247224"/>
                    </a:lnTo>
                    <a:lnTo>
                      <a:pt x="46817" y="246960"/>
                    </a:lnTo>
                    <a:lnTo>
                      <a:pt x="47699" y="246960"/>
                    </a:lnTo>
                    <a:lnTo>
                      <a:pt x="48581" y="246342"/>
                    </a:lnTo>
                    <a:lnTo>
                      <a:pt x="49727" y="246342"/>
                    </a:lnTo>
                    <a:lnTo>
                      <a:pt x="51490" y="246960"/>
                    </a:lnTo>
                    <a:lnTo>
                      <a:pt x="52108" y="247224"/>
                    </a:lnTo>
                    <a:lnTo>
                      <a:pt x="51490" y="248370"/>
                    </a:lnTo>
                    <a:lnTo>
                      <a:pt x="52108" y="248370"/>
                    </a:lnTo>
                    <a:lnTo>
                      <a:pt x="53254" y="248370"/>
                    </a:lnTo>
                    <a:lnTo>
                      <a:pt x="53871" y="247753"/>
                    </a:lnTo>
                    <a:lnTo>
                      <a:pt x="54752" y="248370"/>
                    </a:lnTo>
                    <a:lnTo>
                      <a:pt x="56163" y="248106"/>
                    </a:lnTo>
                    <a:lnTo>
                      <a:pt x="56428" y="247224"/>
                    </a:lnTo>
                    <a:lnTo>
                      <a:pt x="57574" y="247841"/>
                    </a:lnTo>
                    <a:lnTo>
                      <a:pt x="57838" y="246960"/>
                    </a:lnTo>
                    <a:lnTo>
                      <a:pt x="57221" y="246342"/>
                    </a:lnTo>
                    <a:lnTo>
                      <a:pt x="56339" y="246960"/>
                    </a:lnTo>
                    <a:lnTo>
                      <a:pt x="56604" y="246078"/>
                    </a:lnTo>
                    <a:lnTo>
                      <a:pt x="54576" y="246078"/>
                    </a:lnTo>
                    <a:lnTo>
                      <a:pt x="54576" y="245461"/>
                    </a:lnTo>
                    <a:lnTo>
                      <a:pt x="55458" y="245461"/>
                    </a:lnTo>
                    <a:lnTo>
                      <a:pt x="56339" y="245461"/>
                    </a:lnTo>
                    <a:lnTo>
                      <a:pt x="56957" y="245196"/>
                    </a:lnTo>
                    <a:lnTo>
                      <a:pt x="58103" y="245461"/>
                    </a:lnTo>
                    <a:lnTo>
                      <a:pt x="57486" y="244315"/>
                    </a:lnTo>
                    <a:lnTo>
                      <a:pt x="58103" y="243697"/>
                    </a:lnTo>
                    <a:lnTo>
                      <a:pt x="58985" y="243080"/>
                    </a:lnTo>
                    <a:lnTo>
                      <a:pt x="59866" y="243697"/>
                    </a:lnTo>
                    <a:lnTo>
                      <a:pt x="59866" y="242816"/>
                    </a:lnTo>
                    <a:lnTo>
                      <a:pt x="60748" y="242816"/>
                    </a:lnTo>
                    <a:lnTo>
                      <a:pt x="61630" y="242816"/>
                    </a:lnTo>
                    <a:lnTo>
                      <a:pt x="61894" y="241670"/>
                    </a:lnTo>
                    <a:lnTo>
                      <a:pt x="62776" y="240523"/>
                    </a:lnTo>
                    <a:lnTo>
                      <a:pt x="63658" y="240259"/>
                    </a:lnTo>
                    <a:lnTo>
                      <a:pt x="64539" y="241141"/>
                    </a:lnTo>
                    <a:lnTo>
                      <a:pt x="64539" y="242022"/>
                    </a:lnTo>
                    <a:lnTo>
                      <a:pt x="65950" y="241405"/>
                    </a:lnTo>
                    <a:lnTo>
                      <a:pt x="66832" y="240788"/>
                    </a:lnTo>
                    <a:lnTo>
                      <a:pt x="68330" y="239289"/>
                    </a:lnTo>
                    <a:lnTo>
                      <a:pt x="70358" y="239554"/>
                    </a:lnTo>
                    <a:lnTo>
                      <a:pt x="71240" y="240435"/>
                    </a:lnTo>
                    <a:lnTo>
                      <a:pt x="71857" y="239906"/>
                    </a:lnTo>
                    <a:lnTo>
                      <a:pt x="71857" y="241052"/>
                    </a:lnTo>
                    <a:lnTo>
                      <a:pt x="73003" y="241052"/>
                    </a:lnTo>
                    <a:lnTo>
                      <a:pt x="73532" y="240788"/>
                    </a:lnTo>
                    <a:lnTo>
                      <a:pt x="73003" y="240523"/>
                    </a:lnTo>
                    <a:lnTo>
                      <a:pt x="73003" y="239642"/>
                    </a:lnTo>
                    <a:lnTo>
                      <a:pt x="73885" y="239642"/>
                    </a:lnTo>
                    <a:lnTo>
                      <a:pt x="74767" y="240523"/>
                    </a:lnTo>
                    <a:lnTo>
                      <a:pt x="74502" y="241141"/>
                    </a:lnTo>
                    <a:lnTo>
                      <a:pt x="73356" y="242022"/>
                    </a:lnTo>
                    <a:lnTo>
                      <a:pt x="74855" y="242022"/>
                    </a:lnTo>
                    <a:lnTo>
                      <a:pt x="75737" y="241758"/>
                    </a:lnTo>
                    <a:lnTo>
                      <a:pt x="76883" y="241758"/>
                    </a:lnTo>
                    <a:lnTo>
                      <a:pt x="78382" y="242904"/>
                    </a:lnTo>
                    <a:lnTo>
                      <a:pt x="79263" y="242375"/>
                    </a:lnTo>
                    <a:lnTo>
                      <a:pt x="80674" y="242904"/>
                    </a:lnTo>
                    <a:lnTo>
                      <a:pt x="81291" y="242022"/>
                    </a:lnTo>
                    <a:lnTo>
                      <a:pt x="82173" y="242904"/>
                    </a:lnTo>
                    <a:lnTo>
                      <a:pt x="82437" y="242375"/>
                    </a:lnTo>
                    <a:lnTo>
                      <a:pt x="82702" y="240876"/>
                    </a:lnTo>
                    <a:lnTo>
                      <a:pt x="84201" y="240876"/>
                    </a:lnTo>
                    <a:lnTo>
                      <a:pt x="84730" y="240612"/>
                    </a:lnTo>
                    <a:lnTo>
                      <a:pt x="85347" y="239465"/>
                    </a:lnTo>
                    <a:lnTo>
                      <a:pt x="86229" y="239730"/>
                    </a:lnTo>
                    <a:lnTo>
                      <a:pt x="87110" y="240612"/>
                    </a:lnTo>
                    <a:lnTo>
                      <a:pt x="87375" y="239730"/>
                    </a:lnTo>
                    <a:lnTo>
                      <a:pt x="87375" y="239113"/>
                    </a:lnTo>
                    <a:lnTo>
                      <a:pt x="85876" y="239113"/>
                    </a:lnTo>
                    <a:lnTo>
                      <a:pt x="84730" y="238848"/>
                    </a:lnTo>
                    <a:lnTo>
                      <a:pt x="85611" y="237349"/>
                    </a:lnTo>
                    <a:lnTo>
                      <a:pt x="87110" y="237966"/>
                    </a:lnTo>
                    <a:lnTo>
                      <a:pt x="87110" y="236820"/>
                    </a:lnTo>
                    <a:lnTo>
                      <a:pt x="86229" y="235939"/>
                    </a:lnTo>
                    <a:lnTo>
                      <a:pt x="87110" y="235057"/>
                    </a:lnTo>
                    <a:lnTo>
                      <a:pt x="86229" y="233646"/>
                    </a:lnTo>
                    <a:lnTo>
                      <a:pt x="87110" y="232765"/>
                    </a:lnTo>
                    <a:lnTo>
                      <a:pt x="88257" y="233911"/>
                    </a:lnTo>
                    <a:lnTo>
                      <a:pt x="88874" y="234528"/>
                    </a:lnTo>
                    <a:lnTo>
                      <a:pt x="89755" y="235145"/>
                    </a:lnTo>
                    <a:lnTo>
                      <a:pt x="90902" y="234263"/>
                    </a:lnTo>
                    <a:lnTo>
                      <a:pt x="91166" y="233382"/>
                    </a:lnTo>
                    <a:lnTo>
                      <a:pt x="90902" y="232765"/>
                    </a:lnTo>
                    <a:lnTo>
                      <a:pt x="91783" y="231883"/>
                    </a:lnTo>
                    <a:lnTo>
                      <a:pt x="92401" y="232765"/>
                    </a:lnTo>
                    <a:lnTo>
                      <a:pt x="93018" y="233029"/>
                    </a:lnTo>
                    <a:lnTo>
                      <a:pt x="93899" y="232765"/>
                    </a:lnTo>
                    <a:lnTo>
                      <a:pt x="94781" y="231883"/>
                    </a:lnTo>
                    <a:lnTo>
                      <a:pt x="96280" y="231883"/>
                    </a:lnTo>
                    <a:lnTo>
                      <a:pt x="98043" y="231530"/>
                    </a:lnTo>
                    <a:lnTo>
                      <a:pt x="99807" y="231883"/>
                    </a:lnTo>
                    <a:lnTo>
                      <a:pt x="101305" y="231883"/>
                    </a:lnTo>
                    <a:lnTo>
                      <a:pt x="103598" y="233294"/>
                    </a:lnTo>
                    <a:lnTo>
                      <a:pt x="105626" y="233911"/>
                    </a:lnTo>
                    <a:lnTo>
                      <a:pt x="106243" y="235057"/>
                    </a:lnTo>
                    <a:lnTo>
                      <a:pt x="105890" y="235939"/>
                    </a:lnTo>
                    <a:lnTo>
                      <a:pt x="106243" y="236820"/>
                    </a:lnTo>
                    <a:lnTo>
                      <a:pt x="107125" y="235674"/>
                    </a:lnTo>
                    <a:lnTo>
                      <a:pt x="107389" y="234792"/>
                    </a:lnTo>
                    <a:lnTo>
                      <a:pt x="107654" y="233911"/>
                    </a:lnTo>
                    <a:lnTo>
                      <a:pt x="109417" y="233646"/>
                    </a:lnTo>
                    <a:lnTo>
                      <a:pt x="110916" y="233911"/>
                    </a:lnTo>
                    <a:lnTo>
                      <a:pt x="112679" y="233294"/>
                    </a:lnTo>
                    <a:lnTo>
                      <a:pt x="113825" y="233558"/>
                    </a:lnTo>
                    <a:lnTo>
                      <a:pt x="115324" y="234175"/>
                    </a:lnTo>
                    <a:lnTo>
                      <a:pt x="116470" y="233911"/>
                    </a:lnTo>
                    <a:lnTo>
                      <a:pt x="116206" y="233294"/>
                    </a:lnTo>
                    <a:lnTo>
                      <a:pt x="114707" y="233294"/>
                    </a:lnTo>
                    <a:lnTo>
                      <a:pt x="115324" y="232676"/>
                    </a:lnTo>
                    <a:lnTo>
                      <a:pt x="114707" y="232412"/>
                    </a:lnTo>
                    <a:lnTo>
                      <a:pt x="114707" y="231530"/>
                    </a:lnTo>
                    <a:lnTo>
                      <a:pt x="115853" y="231530"/>
                    </a:lnTo>
                    <a:lnTo>
                      <a:pt x="116735" y="232412"/>
                    </a:lnTo>
                    <a:lnTo>
                      <a:pt x="118234" y="231530"/>
                    </a:lnTo>
                    <a:lnTo>
                      <a:pt x="119645" y="232147"/>
                    </a:lnTo>
                    <a:lnTo>
                      <a:pt x="120526" y="232147"/>
                    </a:lnTo>
                    <a:lnTo>
                      <a:pt x="121143" y="231530"/>
                    </a:lnTo>
                    <a:lnTo>
                      <a:pt x="122642" y="230913"/>
                    </a:lnTo>
                    <a:lnTo>
                      <a:pt x="124405" y="231530"/>
                    </a:lnTo>
                    <a:lnTo>
                      <a:pt x="125552" y="231883"/>
                    </a:lnTo>
                    <a:lnTo>
                      <a:pt x="127315" y="231266"/>
                    </a:lnTo>
                    <a:lnTo>
                      <a:pt x="128461" y="231001"/>
                    </a:lnTo>
                    <a:lnTo>
                      <a:pt x="128197" y="232147"/>
                    </a:lnTo>
                    <a:lnTo>
                      <a:pt x="127580" y="232676"/>
                    </a:lnTo>
                    <a:lnTo>
                      <a:pt x="126433" y="232412"/>
                    </a:lnTo>
                    <a:lnTo>
                      <a:pt x="125552" y="232941"/>
                    </a:lnTo>
                    <a:lnTo>
                      <a:pt x="126169" y="234087"/>
                    </a:lnTo>
                    <a:lnTo>
                      <a:pt x="126786" y="234352"/>
                    </a:lnTo>
                    <a:lnTo>
                      <a:pt x="128549" y="235233"/>
                    </a:lnTo>
                    <a:lnTo>
                      <a:pt x="129696" y="234969"/>
                    </a:lnTo>
                    <a:lnTo>
                      <a:pt x="130577" y="234352"/>
                    </a:lnTo>
                    <a:lnTo>
                      <a:pt x="130842" y="234087"/>
                    </a:lnTo>
                    <a:lnTo>
                      <a:pt x="130842" y="233205"/>
                    </a:lnTo>
                    <a:lnTo>
                      <a:pt x="130225" y="233205"/>
                    </a:lnTo>
                    <a:lnTo>
                      <a:pt x="130489" y="232324"/>
                    </a:lnTo>
                    <a:lnTo>
                      <a:pt x="131106" y="232324"/>
                    </a:lnTo>
                    <a:lnTo>
                      <a:pt x="131988" y="232059"/>
                    </a:lnTo>
                    <a:lnTo>
                      <a:pt x="131724" y="231795"/>
                    </a:lnTo>
                    <a:lnTo>
                      <a:pt x="131195" y="232059"/>
                    </a:lnTo>
                    <a:lnTo>
                      <a:pt x="130313" y="232059"/>
                    </a:lnTo>
                    <a:lnTo>
                      <a:pt x="129696" y="232059"/>
                    </a:lnTo>
                    <a:lnTo>
                      <a:pt x="129078" y="232059"/>
                    </a:lnTo>
                    <a:lnTo>
                      <a:pt x="128461" y="232324"/>
                    </a:lnTo>
                    <a:lnTo>
                      <a:pt x="129078" y="231177"/>
                    </a:lnTo>
                    <a:lnTo>
                      <a:pt x="129078" y="230296"/>
                    </a:lnTo>
                    <a:lnTo>
                      <a:pt x="127315" y="228797"/>
                    </a:lnTo>
                    <a:lnTo>
                      <a:pt x="126698" y="227651"/>
                    </a:lnTo>
                    <a:lnTo>
                      <a:pt x="128726" y="229150"/>
                    </a:lnTo>
                    <a:lnTo>
                      <a:pt x="129872" y="230648"/>
                    </a:lnTo>
                    <a:lnTo>
                      <a:pt x="130225" y="230648"/>
                    </a:lnTo>
                    <a:lnTo>
                      <a:pt x="131106" y="230031"/>
                    </a:lnTo>
                    <a:lnTo>
                      <a:pt x="131988" y="228885"/>
                    </a:lnTo>
                    <a:lnTo>
                      <a:pt x="132253" y="230384"/>
                    </a:lnTo>
                    <a:lnTo>
                      <a:pt x="132782" y="229502"/>
                    </a:lnTo>
                    <a:lnTo>
                      <a:pt x="133399" y="228885"/>
                    </a:lnTo>
                    <a:lnTo>
                      <a:pt x="135162" y="228268"/>
                    </a:lnTo>
                    <a:lnTo>
                      <a:pt x="136308" y="229150"/>
                    </a:lnTo>
                    <a:lnTo>
                      <a:pt x="133399" y="230031"/>
                    </a:lnTo>
                    <a:lnTo>
                      <a:pt x="135162" y="230031"/>
                    </a:lnTo>
                    <a:lnTo>
                      <a:pt x="136308" y="230913"/>
                    </a:lnTo>
                    <a:lnTo>
                      <a:pt x="137807" y="231530"/>
                    </a:lnTo>
                    <a:lnTo>
                      <a:pt x="138953" y="231530"/>
                    </a:lnTo>
                    <a:lnTo>
                      <a:pt x="138689" y="230648"/>
                    </a:lnTo>
                    <a:lnTo>
                      <a:pt x="140188" y="230031"/>
                    </a:lnTo>
                    <a:lnTo>
                      <a:pt x="141069" y="229767"/>
                    </a:lnTo>
                    <a:lnTo>
                      <a:pt x="141334" y="228885"/>
                    </a:lnTo>
                    <a:lnTo>
                      <a:pt x="142833" y="227739"/>
                    </a:lnTo>
                    <a:lnTo>
                      <a:pt x="146889" y="228004"/>
                    </a:lnTo>
                    <a:lnTo>
                      <a:pt x="148299" y="228885"/>
                    </a:lnTo>
                    <a:lnTo>
                      <a:pt x="152708" y="229502"/>
                    </a:lnTo>
                    <a:lnTo>
                      <a:pt x="154735" y="228621"/>
                    </a:lnTo>
                    <a:lnTo>
                      <a:pt x="156763" y="230119"/>
                    </a:lnTo>
                    <a:lnTo>
                      <a:pt x="157381" y="228973"/>
                    </a:lnTo>
                    <a:lnTo>
                      <a:pt x="159144" y="229590"/>
                    </a:lnTo>
                    <a:lnTo>
                      <a:pt x="160907" y="228444"/>
                    </a:lnTo>
                    <a:lnTo>
                      <a:pt x="166197" y="227827"/>
                    </a:lnTo>
                    <a:lnTo>
                      <a:pt x="166726" y="227210"/>
                    </a:lnTo>
                    <a:lnTo>
                      <a:pt x="167608" y="226064"/>
                    </a:lnTo>
                    <a:lnTo>
                      <a:pt x="168754" y="225799"/>
                    </a:lnTo>
                    <a:lnTo>
                      <a:pt x="170518" y="224918"/>
                    </a:lnTo>
                    <a:lnTo>
                      <a:pt x="171135" y="225535"/>
                    </a:lnTo>
                    <a:lnTo>
                      <a:pt x="173163" y="226416"/>
                    </a:lnTo>
                    <a:lnTo>
                      <a:pt x="172281" y="225270"/>
                    </a:lnTo>
                    <a:lnTo>
                      <a:pt x="173163" y="223860"/>
                    </a:lnTo>
                    <a:lnTo>
                      <a:pt x="174309" y="223507"/>
                    </a:lnTo>
                    <a:lnTo>
                      <a:pt x="175455" y="222890"/>
                    </a:lnTo>
                    <a:lnTo>
                      <a:pt x="176601" y="222272"/>
                    </a:lnTo>
                    <a:lnTo>
                      <a:pt x="177747" y="221391"/>
                    </a:lnTo>
                    <a:lnTo>
                      <a:pt x="178629" y="221126"/>
                    </a:lnTo>
                    <a:lnTo>
                      <a:pt x="179511" y="221391"/>
                    </a:lnTo>
                    <a:lnTo>
                      <a:pt x="179863" y="221126"/>
                    </a:lnTo>
                    <a:lnTo>
                      <a:pt x="179863" y="219716"/>
                    </a:lnTo>
                    <a:lnTo>
                      <a:pt x="180745" y="218569"/>
                    </a:lnTo>
                    <a:lnTo>
                      <a:pt x="179599" y="218040"/>
                    </a:lnTo>
                    <a:lnTo>
                      <a:pt x="179952" y="216894"/>
                    </a:lnTo>
                    <a:lnTo>
                      <a:pt x="181098" y="215483"/>
                    </a:lnTo>
                    <a:lnTo>
                      <a:pt x="179599" y="215483"/>
                    </a:lnTo>
                    <a:lnTo>
                      <a:pt x="178717" y="214866"/>
                    </a:lnTo>
                    <a:lnTo>
                      <a:pt x="177306" y="214249"/>
                    </a:lnTo>
                    <a:lnTo>
                      <a:pt x="176161" y="213632"/>
                    </a:lnTo>
                    <a:lnTo>
                      <a:pt x="174750" y="214249"/>
                    </a:lnTo>
                    <a:lnTo>
                      <a:pt x="173604" y="214514"/>
                    </a:lnTo>
                    <a:lnTo>
                      <a:pt x="172105" y="213897"/>
                    </a:lnTo>
                    <a:lnTo>
                      <a:pt x="170694" y="214514"/>
                    </a:lnTo>
                    <a:lnTo>
                      <a:pt x="169195" y="213897"/>
                    </a:lnTo>
                    <a:lnTo>
                      <a:pt x="166815" y="213897"/>
                    </a:lnTo>
                    <a:lnTo>
                      <a:pt x="163905" y="213015"/>
                    </a:lnTo>
                    <a:lnTo>
                      <a:pt x="165933" y="212486"/>
                    </a:lnTo>
                    <a:lnTo>
                      <a:pt x="168842" y="212486"/>
                    </a:lnTo>
                    <a:lnTo>
                      <a:pt x="171752" y="210722"/>
                    </a:lnTo>
                    <a:lnTo>
                      <a:pt x="171752" y="210193"/>
                    </a:lnTo>
                    <a:lnTo>
                      <a:pt x="172369" y="209047"/>
                    </a:lnTo>
                    <a:lnTo>
                      <a:pt x="171752" y="207019"/>
                    </a:lnTo>
                    <a:lnTo>
                      <a:pt x="169989" y="207637"/>
                    </a:lnTo>
                    <a:lnTo>
                      <a:pt x="168842" y="207901"/>
                    </a:lnTo>
                    <a:lnTo>
                      <a:pt x="165933" y="208783"/>
                    </a:lnTo>
                    <a:lnTo>
                      <a:pt x="166815" y="207019"/>
                    </a:lnTo>
                    <a:lnTo>
                      <a:pt x="169460" y="206755"/>
                    </a:lnTo>
                    <a:lnTo>
                      <a:pt x="171752" y="206138"/>
                    </a:lnTo>
                    <a:lnTo>
                      <a:pt x="172017" y="206138"/>
                    </a:lnTo>
                    <a:lnTo>
                      <a:pt x="172017" y="206755"/>
                    </a:lnTo>
                    <a:lnTo>
                      <a:pt x="174397" y="206755"/>
                    </a:lnTo>
                    <a:lnTo>
                      <a:pt x="176690" y="206138"/>
                    </a:lnTo>
                    <a:lnTo>
                      <a:pt x="176690" y="205521"/>
                    </a:lnTo>
                    <a:lnTo>
                      <a:pt x="177571" y="204639"/>
                    </a:lnTo>
                    <a:lnTo>
                      <a:pt x="178453" y="204022"/>
                    </a:lnTo>
                    <a:lnTo>
                      <a:pt x="176690" y="204022"/>
                    </a:lnTo>
                    <a:lnTo>
                      <a:pt x="177571" y="202523"/>
                    </a:lnTo>
                    <a:lnTo>
                      <a:pt x="177571" y="201024"/>
                    </a:lnTo>
                    <a:lnTo>
                      <a:pt x="178717" y="202787"/>
                    </a:lnTo>
                    <a:lnTo>
                      <a:pt x="179334" y="201024"/>
                    </a:lnTo>
                    <a:lnTo>
                      <a:pt x="179334" y="199878"/>
                    </a:lnTo>
                    <a:lnTo>
                      <a:pt x="180833" y="199261"/>
                    </a:lnTo>
                    <a:lnTo>
                      <a:pt x="181979" y="199261"/>
                    </a:lnTo>
                    <a:lnTo>
                      <a:pt x="183126" y="198379"/>
                    </a:lnTo>
                    <a:lnTo>
                      <a:pt x="183743" y="197497"/>
                    </a:lnTo>
                    <a:lnTo>
                      <a:pt x="183126" y="195734"/>
                    </a:lnTo>
                    <a:lnTo>
                      <a:pt x="183390" y="194235"/>
                    </a:lnTo>
                    <a:lnTo>
                      <a:pt x="184889" y="193618"/>
                    </a:lnTo>
                    <a:lnTo>
                      <a:pt x="185154" y="192472"/>
                    </a:lnTo>
                    <a:lnTo>
                      <a:pt x="186300" y="191854"/>
                    </a:lnTo>
                    <a:lnTo>
                      <a:pt x="186300" y="190356"/>
                    </a:lnTo>
                    <a:lnTo>
                      <a:pt x="186300" y="189209"/>
                    </a:lnTo>
                    <a:lnTo>
                      <a:pt x="186300" y="188063"/>
                    </a:lnTo>
                    <a:lnTo>
                      <a:pt x="186564" y="186564"/>
                    </a:lnTo>
                    <a:lnTo>
                      <a:pt x="186300" y="185683"/>
                    </a:lnTo>
                    <a:lnTo>
                      <a:pt x="185418" y="184184"/>
                    </a:lnTo>
                    <a:lnTo>
                      <a:pt x="185154" y="183038"/>
                    </a:lnTo>
                    <a:lnTo>
                      <a:pt x="184625" y="182509"/>
                    </a:lnTo>
                    <a:lnTo>
                      <a:pt x="181979" y="180745"/>
                    </a:lnTo>
                    <a:lnTo>
                      <a:pt x="181362" y="179864"/>
                    </a:lnTo>
                    <a:lnTo>
                      <a:pt x="180481" y="179599"/>
                    </a:lnTo>
                    <a:lnTo>
                      <a:pt x="178982" y="178982"/>
                    </a:lnTo>
                    <a:lnTo>
                      <a:pt x="178365" y="178717"/>
                    </a:lnTo>
                    <a:lnTo>
                      <a:pt x="177483" y="178453"/>
                    </a:lnTo>
                    <a:lnTo>
                      <a:pt x="176601" y="177571"/>
                    </a:lnTo>
                    <a:lnTo>
                      <a:pt x="176601" y="176689"/>
                    </a:lnTo>
                    <a:lnTo>
                      <a:pt x="175720" y="176072"/>
                    </a:lnTo>
                    <a:lnTo>
                      <a:pt x="175455" y="177218"/>
                    </a:lnTo>
                    <a:lnTo>
                      <a:pt x="174838" y="176601"/>
                    </a:lnTo>
                    <a:lnTo>
                      <a:pt x="174221" y="176866"/>
                    </a:lnTo>
                    <a:lnTo>
                      <a:pt x="173604" y="176249"/>
                    </a:lnTo>
                    <a:lnTo>
                      <a:pt x="172457" y="176513"/>
                    </a:lnTo>
                    <a:lnTo>
                      <a:pt x="171840" y="176778"/>
                    </a:lnTo>
                    <a:lnTo>
                      <a:pt x="171576" y="176513"/>
                    </a:lnTo>
                    <a:lnTo>
                      <a:pt x="170958" y="176778"/>
                    </a:lnTo>
                    <a:lnTo>
                      <a:pt x="170077" y="176160"/>
                    </a:lnTo>
                    <a:lnTo>
                      <a:pt x="169812" y="176778"/>
                    </a:lnTo>
                    <a:lnTo>
                      <a:pt x="169195" y="177659"/>
                    </a:lnTo>
                    <a:lnTo>
                      <a:pt x="168931" y="176778"/>
                    </a:lnTo>
                    <a:lnTo>
                      <a:pt x="168313" y="176513"/>
                    </a:lnTo>
                    <a:lnTo>
                      <a:pt x="167432" y="176249"/>
                    </a:lnTo>
                    <a:lnTo>
                      <a:pt x="166285" y="175984"/>
                    </a:lnTo>
                    <a:lnTo>
                      <a:pt x="164522" y="176601"/>
                    </a:lnTo>
                    <a:lnTo>
                      <a:pt x="163376" y="177483"/>
                    </a:lnTo>
                    <a:lnTo>
                      <a:pt x="161348" y="178365"/>
                    </a:lnTo>
                    <a:lnTo>
                      <a:pt x="161965" y="179246"/>
                    </a:lnTo>
                    <a:lnTo>
                      <a:pt x="161348" y="180745"/>
                    </a:lnTo>
                    <a:lnTo>
                      <a:pt x="160819" y="181891"/>
                    </a:lnTo>
                    <a:lnTo>
                      <a:pt x="160819" y="182420"/>
                    </a:lnTo>
                    <a:lnTo>
                      <a:pt x="159056" y="181891"/>
                    </a:lnTo>
                    <a:lnTo>
                      <a:pt x="158791" y="182773"/>
                    </a:lnTo>
                    <a:lnTo>
                      <a:pt x="157028" y="181891"/>
                    </a:lnTo>
                    <a:lnTo>
                      <a:pt x="156411" y="180128"/>
                    </a:lnTo>
                    <a:lnTo>
                      <a:pt x="155264" y="179511"/>
                    </a:lnTo>
                    <a:lnTo>
                      <a:pt x="153237" y="179511"/>
                    </a:lnTo>
                    <a:lnTo>
                      <a:pt x="152355" y="179511"/>
                    </a:lnTo>
                    <a:lnTo>
                      <a:pt x="152972" y="178629"/>
                    </a:lnTo>
                    <a:lnTo>
                      <a:pt x="154735" y="178629"/>
                    </a:lnTo>
                    <a:lnTo>
                      <a:pt x="155353" y="176866"/>
                    </a:lnTo>
                    <a:lnTo>
                      <a:pt x="156499" y="176249"/>
                    </a:lnTo>
                    <a:lnTo>
                      <a:pt x="157381" y="173604"/>
                    </a:lnTo>
                    <a:lnTo>
                      <a:pt x="159144" y="173868"/>
                    </a:lnTo>
                    <a:lnTo>
                      <a:pt x="160290" y="173251"/>
                    </a:lnTo>
                    <a:lnTo>
                      <a:pt x="160907" y="172634"/>
                    </a:lnTo>
                    <a:lnTo>
                      <a:pt x="160555" y="171223"/>
                    </a:lnTo>
                    <a:lnTo>
                      <a:pt x="159056" y="170077"/>
                    </a:lnTo>
                    <a:lnTo>
                      <a:pt x="157028" y="166550"/>
                    </a:lnTo>
                    <a:lnTo>
                      <a:pt x="157028" y="165404"/>
                    </a:lnTo>
                    <a:lnTo>
                      <a:pt x="156411" y="164787"/>
                    </a:lnTo>
                    <a:lnTo>
                      <a:pt x="155264" y="164170"/>
                    </a:lnTo>
                    <a:lnTo>
                      <a:pt x="152355" y="162759"/>
                    </a:lnTo>
                    <a:lnTo>
                      <a:pt x="152355" y="162494"/>
                    </a:lnTo>
                    <a:lnTo>
                      <a:pt x="151473" y="162494"/>
                    </a:lnTo>
                    <a:lnTo>
                      <a:pt x="149181" y="160995"/>
                    </a:lnTo>
                    <a:lnTo>
                      <a:pt x="148564" y="159849"/>
                    </a:lnTo>
                    <a:lnTo>
                      <a:pt x="146800" y="160114"/>
                    </a:lnTo>
                    <a:lnTo>
                      <a:pt x="145037" y="159849"/>
                    </a:lnTo>
                    <a:lnTo>
                      <a:pt x="143538" y="160114"/>
                    </a:lnTo>
                    <a:lnTo>
                      <a:pt x="142127" y="159849"/>
                    </a:lnTo>
                    <a:lnTo>
                      <a:pt x="140364" y="159849"/>
                    </a:lnTo>
                    <a:lnTo>
                      <a:pt x="141510" y="158968"/>
                    </a:lnTo>
                    <a:lnTo>
                      <a:pt x="142921" y="158703"/>
                    </a:lnTo>
                    <a:lnTo>
                      <a:pt x="145213" y="159320"/>
                    </a:lnTo>
                    <a:lnTo>
                      <a:pt x="147241" y="159320"/>
                    </a:lnTo>
                    <a:lnTo>
                      <a:pt x="148387" y="159320"/>
                    </a:lnTo>
                    <a:lnTo>
                      <a:pt x="150680" y="160819"/>
                    </a:lnTo>
                    <a:lnTo>
                      <a:pt x="151297" y="161701"/>
                    </a:lnTo>
                    <a:lnTo>
                      <a:pt x="152179" y="161084"/>
                    </a:lnTo>
                    <a:lnTo>
                      <a:pt x="152355" y="161084"/>
                    </a:lnTo>
                    <a:lnTo>
                      <a:pt x="154735" y="161701"/>
                    </a:lnTo>
                    <a:lnTo>
                      <a:pt x="155353" y="161436"/>
                    </a:lnTo>
                    <a:lnTo>
                      <a:pt x="154735" y="161172"/>
                    </a:lnTo>
                    <a:lnTo>
                      <a:pt x="151826" y="158879"/>
                    </a:lnTo>
                    <a:lnTo>
                      <a:pt x="150944" y="155970"/>
                    </a:lnTo>
                    <a:lnTo>
                      <a:pt x="148035" y="152179"/>
                    </a:lnTo>
                    <a:lnTo>
                      <a:pt x="150327" y="151297"/>
                    </a:lnTo>
                    <a:lnTo>
                      <a:pt x="150944" y="150151"/>
                    </a:lnTo>
                    <a:lnTo>
                      <a:pt x="148035" y="149005"/>
                    </a:lnTo>
                    <a:lnTo>
                      <a:pt x="148035" y="147858"/>
                    </a:lnTo>
                    <a:lnTo>
                      <a:pt x="145742" y="146360"/>
                    </a:lnTo>
                    <a:lnTo>
                      <a:pt x="144861" y="145478"/>
                    </a:lnTo>
                    <a:lnTo>
                      <a:pt x="144596" y="143979"/>
                    </a:lnTo>
                    <a:lnTo>
                      <a:pt x="143450" y="142833"/>
                    </a:lnTo>
                    <a:lnTo>
                      <a:pt x="143450" y="142216"/>
                    </a:lnTo>
                    <a:lnTo>
                      <a:pt x="142833" y="141598"/>
                    </a:lnTo>
                    <a:lnTo>
                      <a:pt x="141951" y="140717"/>
                    </a:lnTo>
                    <a:lnTo>
                      <a:pt x="137895" y="140100"/>
                    </a:lnTo>
                    <a:lnTo>
                      <a:pt x="136396" y="138953"/>
                    </a:lnTo>
                    <a:lnTo>
                      <a:pt x="135250" y="138953"/>
                    </a:lnTo>
                    <a:lnTo>
                      <a:pt x="130842" y="137807"/>
                    </a:lnTo>
                    <a:lnTo>
                      <a:pt x="130313" y="138424"/>
                    </a:lnTo>
                    <a:lnTo>
                      <a:pt x="130048" y="137807"/>
                    </a:lnTo>
                    <a:lnTo>
                      <a:pt x="129431" y="137190"/>
                    </a:lnTo>
                    <a:lnTo>
                      <a:pt x="130930" y="136573"/>
                    </a:lnTo>
                    <a:lnTo>
                      <a:pt x="129784" y="135074"/>
                    </a:lnTo>
                    <a:lnTo>
                      <a:pt x="128285" y="133928"/>
                    </a:lnTo>
                    <a:lnTo>
                      <a:pt x="127139" y="130401"/>
                    </a:lnTo>
                    <a:lnTo>
                      <a:pt x="128285" y="129255"/>
                    </a:lnTo>
                    <a:lnTo>
                      <a:pt x="127139" y="128638"/>
                    </a:lnTo>
                    <a:lnTo>
                      <a:pt x="125111" y="125199"/>
                    </a:lnTo>
                    <a:lnTo>
                      <a:pt x="125728" y="124053"/>
                    </a:lnTo>
                    <a:lnTo>
                      <a:pt x="125111" y="122025"/>
                    </a:lnTo>
                    <a:lnTo>
                      <a:pt x="125111" y="120879"/>
                    </a:lnTo>
                    <a:lnTo>
                      <a:pt x="124229" y="121143"/>
                    </a:lnTo>
                    <a:lnTo>
                      <a:pt x="122731" y="120262"/>
                    </a:lnTo>
                    <a:lnTo>
                      <a:pt x="125023" y="119644"/>
                    </a:lnTo>
                    <a:lnTo>
                      <a:pt x="123612" y="118498"/>
                    </a:lnTo>
                    <a:lnTo>
                      <a:pt x="122731" y="117617"/>
                    </a:lnTo>
                    <a:lnTo>
                      <a:pt x="123612" y="116118"/>
                    </a:lnTo>
                    <a:lnTo>
                      <a:pt x="122995" y="114972"/>
                    </a:lnTo>
                    <a:lnTo>
                      <a:pt x="121849" y="115589"/>
                    </a:lnTo>
                    <a:lnTo>
                      <a:pt x="120703" y="114972"/>
                    </a:lnTo>
                    <a:lnTo>
                      <a:pt x="120438" y="114090"/>
                    </a:lnTo>
                    <a:lnTo>
                      <a:pt x="120703" y="113825"/>
                    </a:lnTo>
                    <a:lnTo>
                      <a:pt x="120085" y="112944"/>
                    </a:lnTo>
                    <a:lnTo>
                      <a:pt x="118939" y="113825"/>
                    </a:lnTo>
                    <a:lnTo>
                      <a:pt x="118675" y="112327"/>
                    </a:lnTo>
                    <a:lnTo>
                      <a:pt x="116030" y="111180"/>
                    </a:lnTo>
                    <a:lnTo>
                      <a:pt x="116294" y="109417"/>
                    </a:lnTo>
                    <a:lnTo>
                      <a:pt x="114531" y="108271"/>
                    </a:lnTo>
                    <a:lnTo>
                      <a:pt x="113914" y="107654"/>
                    </a:lnTo>
                    <a:lnTo>
                      <a:pt x="114178" y="107389"/>
                    </a:lnTo>
                    <a:lnTo>
                      <a:pt x="113914" y="107125"/>
                    </a:lnTo>
                    <a:lnTo>
                      <a:pt x="112767" y="106507"/>
                    </a:lnTo>
                    <a:lnTo>
                      <a:pt x="110739" y="106507"/>
                    </a:lnTo>
                    <a:lnTo>
                      <a:pt x="107566" y="105361"/>
                    </a:lnTo>
                    <a:lnTo>
                      <a:pt x="105802" y="105626"/>
                    </a:lnTo>
                    <a:lnTo>
                      <a:pt x="105185" y="105361"/>
                    </a:lnTo>
                    <a:lnTo>
                      <a:pt x="105185" y="104744"/>
                    </a:lnTo>
                    <a:lnTo>
                      <a:pt x="104920" y="103333"/>
                    </a:lnTo>
                    <a:lnTo>
                      <a:pt x="104303" y="104215"/>
                    </a:lnTo>
                    <a:lnTo>
                      <a:pt x="102275" y="103598"/>
                    </a:lnTo>
                    <a:lnTo>
                      <a:pt x="100512" y="104215"/>
                    </a:lnTo>
                    <a:lnTo>
                      <a:pt x="99895" y="104744"/>
                    </a:lnTo>
                    <a:lnTo>
                      <a:pt x="100159" y="105361"/>
                    </a:lnTo>
                    <a:lnTo>
                      <a:pt x="99895" y="105978"/>
                    </a:lnTo>
                    <a:lnTo>
                      <a:pt x="99630" y="105978"/>
                    </a:lnTo>
                    <a:lnTo>
                      <a:pt x="99013" y="106243"/>
                    </a:lnTo>
                    <a:lnTo>
                      <a:pt x="98131" y="105978"/>
                    </a:lnTo>
                    <a:lnTo>
                      <a:pt x="97867" y="106507"/>
                    </a:lnTo>
                    <a:lnTo>
                      <a:pt x="96103" y="105978"/>
                    </a:lnTo>
                    <a:lnTo>
                      <a:pt x="95222" y="105978"/>
                    </a:lnTo>
                    <a:lnTo>
                      <a:pt x="94605" y="105978"/>
                    </a:lnTo>
                    <a:lnTo>
                      <a:pt x="93459" y="105097"/>
                    </a:lnTo>
                    <a:lnTo>
                      <a:pt x="92841" y="105361"/>
                    </a:lnTo>
                    <a:lnTo>
                      <a:pt x="92312" y="105626"/>
                    </a:lnTo>
                    <a:lnTo>
                      <a:pt x="90813" y="105361"/>
                    </a:lnTo>
                    <a:lnTo>
                      <a:pt x="90196" y="105626"/>
                    </a:lnTo>
                    <a:lnTo>
                      <a:pt x="89579" y="105361"/>
                    </a:lnTo>
                    <a:lnTo>
                      <a:pt x="87198" y="105626"/>
                    </a:lnTo>
                    <a:lnTo>
                      <a:pt x="85171" y="105361"/>
                    </a:lnTo>
                    <a:lnTo>
                      <a:pt x="84289" y="105097"/>
                    </a:lnTo>
                    <a:lnTo>
                      <a:pt x="84553" y="104480"/>
                    </a:lnTo>
                    <a:lnTo>
                      <a:pt x="85171" y="104215"/>
                    </a:lnTo>
                    <a:lnTo>
                      <a:pt x="87463" y="104215"/>
                    </a:lnTo>
                    <a:lnTo>
                      <a:pt x="90637" y="104744"/>
                    </a:lnTo>
                    <a:lnTo>
                      <a:pt x="92665" y="104215"/>
                    </a:lnTo>
                    <a:lnTo>
                      <a:pt x="93282" y="103951"/>
                    </a:lnTo>
                    <a:lnTo>
                      <a:pt x="94428" y="104215"/>
                    </a:lnTo>
                    <a:lnTo>
                      <a:pt x="95574" y="103333"/>
                    </a:lnTo>
                    <a:lnTo>
                      <a:pt x="94428" y="102187"/>
                    </a:lnTo>
                    <a:lnTo>
                      <a:pt x="97338" y="103069"/>
                    </a:lnTo>
                    <a:lnTo>
                      <a:pt x="99366" y="102452"/>
                    </a:lnTo>
                    <a:lnTo>
                      <a:pt x="101394" y="101835"/>
                    </a:lnTo>
                    <a:lnTo>
                      <a:pt x="102804" y="101570"/>
                    </a:lnTo>
                    <a:lnTo>
                      <a:pt x="103422" y="100688"/>
                    </a:lnTo>
                    <a:lnTo>
                      <a:pt x="104039" y="99542"/>
                    </a:lnTo>
                    <a:lnTo>
                      <a:pt x="105185" y="99278"/>
                    </a:lnTo>
                    <a:lnTo>
                      <a:pt x="105802" y="98396"/>
                    </a:lnTo>
                    <a:lnTo>
                      <a:pt x="105185" y="98131"/>
                    </a:lnTo>
                    <a:lnTo>
                      <a:pt x="103686" y="98396"/>
                    </a:lnTo>
                    <a:lnTo>
                      <a:pt x="101394" y="98131"/>
                    </a:lnTo>
                    <a:lnTo>
                      <a:pt x="101129" y="97250"/>
                    </a:lnTo>
                    <a:lnTo>
                      <a:pt x="101394" y="96633"/>
                    </a:lnTo>
                    <a:lnTo>
                      <a:pt x="102540" y="96368"/>
                    </a:lnTo>
                    <a:lnTo>
                      <a:pt x="101658" y="95486"/>
                    </a:lnTo>
                    <a:lnTo>
                      <a:pt x="99895" y="94605"/>
                    </a:lnTo>
                    <a:lnTo>
                      <a:pt x="94340" y="96633"/>
                    </a:lnTo>
                    <a:lnTo>
                      <a:pt x="93723" y="97514"/>
                    </a:lnTo>
                    <a:lnTo>
                      <a:pt x="92841" y="97514"/>
                    </a:lnTo>
                    <a:lnTo>
                      <a:pt x="92224" y="97250"/>
                    </a:lnTo>
                    <a:lnTo>
                      <a:pt x="92841" y="96633"/>
                    </a:lnTo>
                    <a:lnTo>
                      <a:pt x="93723" y="96633"/>
                    </a:lnTo>
                    <a:lnTo>
                      <a:pt x="96015" y="95222"/>
                    </a:lnTo>
                    <a:lnTo>
                      <a:pt x="97514" y="94605"/>
                    </a:lnTo>
                    <a:lnTo>
                      <a:pt x="98043" y="94605"/>
                    </a:lnTo>
                    <a:lnTo>
                      <a:pt x="99807" y="94340"/>
                    </a:lnTo>
                    <a:lnTo>
                      <a:pt x="100071" y="94076"/>
                    </a:lnTo>
                    <a:lnTo>
                      <a:pt x="100688" y="94340"/>
                    </a:lnTo>
                    <a:lnTo>
                      <a:pt x="101570" y="94340"/>
                    </a:lnTo>
                    <a:lnTo>
                      <a:pt x="102981" y="94340"/>
                    </a:lnTo>
                    <a:lnTo>
                      <a:pt x="103598" y="93458"/>
                    </a:lnTo>
                    <a:lnTo>
                      <a:pt x="104744" y="92841"/>
                    </a:lnTo>
                    <a:lnTo>
                      <a:pt x="107389" y="92224"/>
                    </a:lnTo>
                    <a:lnTo>
                      <a:pt x="107389" y="91078"/>
                    </a:lnTo>
                    <a:lnTo>
                      <a:pt x="107389" y="89932"/>
                    </a:lnTo>
                    <a:lnTo>
                      <a:pt x="108535" y="89932"/>
                    </a:lnTo>
                    <a:lnTo>
                      <a:pt x="108800" y="89315"/>
                    </a:lnTo>
                    <a:lnTo>
                      <a:pt x="108800" y="88697"/>
                    </a:lnTo>
                    <a:lnTo>
                      <a:pt x="109417" y="88080"/>
                    </a:lnTo>
                    <a:lnTo>
                      <a:pt x="108800" y="87551"/>
                    </a:lnTo>
                    <a:lnTo>
                      <a:pt x="109064" y="86670"/>
                    </a:lnTo>
                    <a:lnTo>
                      <a:pt x="110563" y="85788"/>
                    </a:lnTo>
                    <a:lnTo>
                      <a:pt x="112326" y="84024"/>
                    </a:lnTo>
                    <a:lnTo>
                      <a:pt x="112326" y="82878"/>
                    </a:lnTo>
                    <a:lnTo>
                      <a:pt x="115853" y="79969"/>
                    </a:lnTo>
                    <a:lnTo>
                      <a:pt x="115589" y="79087"/>
                    </a:lnTo>
                    <a:lnTo>
                      <a:pt x="116118" y="77059"/>
                    </a:lnTo>
                    <a:lnTo>
                      <a:pt x="117617" y="76442"/>
                    </a:lnTo>
                    <a:lnTo>
                      <a:pt x="118498" y="75296"/>
                    </a:lnTo>
                    <a:lnTo>
                      <a:pt x="119645" y="74150"/>
                    </a:lnTo>
                    <a:lnTo>
                      <a:pt x="120262" y="73003"/>
                    </a:lnTo>
                    <a:lnTo>
                      <a:pt x="119380" y="71857"/>
                    </a:lnTo>
                    <a:lnTo>
                      <a:pt x="120879" y="70976"/>
                    </a:lnTo>
                    <a:lnTo>
                      <a:pt x="120614" y="70976"/>
                    </a:lnTo>
                    <a:lnTo>
                      <a:pt x="119997" y="70711"/>
                    </a:lnTo>
                    <a:lnTo>
                      <a:pt x="120614" y="70447"/>
                    </a:lnTo>
                    <a:lnTo>
                      <a:pt x="120879" y="70447"/>
                    </a:lnTo>
                    <a:lnTo>
                      <a:pt x="119997" y="69565"/>
                    </a:lnTo>
                    <a:lnTo>
                      <a:pt x="119116" y="68683"/>
                    </a:lnTo>
                    <a:lnTo>
                      <a:pt x="119733" y="68066"/>
                    </a:lnTo>
                    <a:lnTo>
                      <a:pt x="119116" y="68066"/>
                    </a:lnTo>
                    <a:lnTo>
                      <a:pt x="119380" y="67537"/>
                    </a:lnTo>
                    <a:lnTo>
                      <a:pt x="118234" y="66391"/>
                    </a:lnTo>
                    <a:lnTo>
                      <a:pt x="116999" y="66655"/>
                    </a:lnTo>
                    <a:lnTo>
                      <a:pt x="116470" y="65774"/>
                    </a:lnTo>
                    <a:lnTo>
                      <a:pt x="116206" y="65509"/>
                    </a:lnTo>
                    <a:lnTo>
                      <a:pt x="115324" y="65774"/>
                    </a:lnTo>
                    <a:lnTo>
                      <a:pt x="115060" y="66303"/>
                    </a:lnTo>
                    <a:lnTo>
                      <a:pt x="113914" y="66567"/>
                    </a:lnTo>
                    <a:lnTo>
                      <a:pt x="112767" y="66303"/>
                    </a:lnTo>
                    <a:lnTo>
                      <a:pt x="112150" y="66303"/>
                    </a:lnTo>
                    <a:lnTo>
                      <a:pt x="110387" y="66303"/>
                    </a:lnTo>
                    <a:lnTo>
                      <a:pt x="109505" y="66567"/>
                    </a:lnTo>
                    <a:lnTo>
                      <a:pt x="108888" y="65685"/>
                    </a:lnTo>
                    <a:lnTo>
                      <a:pt x="107742" y="65950"/>
                    </a:lnTo>
                    <a:lnTo>
                      <a:pt x="105978" y="65950"/>
                    </a:lnTo>
                    <a:lnTo>
                      <a:pt x="103951" y="67096"/>
                    </a:lnTo>
                    <a:lnTo>
                      <a:pt x="102804" y="66479"/>
                    </a:lnTo>
                    <a:lnTo>
                      <a:pt x="100776" y="67625"/>
                    </a:lnTo>
                    <a:lnTo>
                      <a:pt x="97867" y="67008"/>
                    </a:lnTo>
                    <a:lnTo>
                      <a:pt x="95222" y="66743"/>
                    </a:lnTo>
                    <a:lnTo>
                      <a:pt x="93723" y="65862"/>
                    </a:lnTo>
                    <a:lnTo>
                      <a:pt x="92224" y="66479"/>
                    </a:lnTo>
                    <a:lnTo>
                      <a:pt x="91342" y="66479"/>
                    </a:lnTo>
                    <a:lnTo>
                      <a:pt x="90196" y="67625"/>
                    </a:lnTo>
                    <a:lnTo>
                      <a:pt x="88697" y="67625"/>
                    </a:lnTo>
                    <a:lnTo>
                      <a:pt x="86405" y="68242"/>
                    </a:lnTo>
                    <a:lnTo>
                      <a:pt x="84642" y="67978"/>
                    </a:lnTo>
                    <a:lnTo>
                      <a:pt x="83231" y="68242"/>
                    </a:lnTo>
                    <a:lnTo>
                      <a:pt x="82614" y="67978"/>
                    </a:lnTo>
                    <a:lnTo>
                      <a:pt x="79704" y="67713"/>
                    </a:lnTo>
                    <a:lnTo>
                      <a:pt x="78558" y="67978"/>
                    </a:lnTo>
                    <a:lnTo>
                      <a:pt x="79704" y="68595"/>
                    </a:lnTo>
                    <a:lnTo>
                      <a:pt x="79704" y="69124"/>
                    </a:lnTo>
                    <a:lnTo>
                      <a:pt x="79087" y="69741"/>
                    </a:lnTo>
                    <a:lnTo>
                      <a:pt x="77941" y="70358"/>
                    </a:lnTo>
                    <a:lnTo>
                      <a:pt x="76795" y="70358"/>
                    </a:lnTo>
                    <a:lnTo>
                      <a:pt x="76530" y="70358"/>
                    </a:lnTo>
                    <a:lnTo>
                      <a:pt x="76795" y="69741"/>
                    </a:lnTo>
                    <a:lnTo>
                      <a:pt x="75648" y="69741"/>
                    </a:lnTo>
                    <a:lnTo>
                      <a:pt x="75384" y="69124"/>
                    </a:lnTo>
                    <a:lnTo>
                      <a:pt x="76001" y="68859"/>
                    </a:lnTo>
                    <a:lnTo>
                      <a:pt x="76883" y="69124"/>
                    </a:lnTo>
                    <a:lnTo>
                      <a:pt x="78029" y="68595"/>
                    </a:lnTo>
                    <a:lnTo>
                      <a:pt x="78646" y="68595"/>
                    </a:lnTo>
                    <a:lnTo>
                      <a:pt x="78382" y="67713"/>
                    </a:lnTo>
                    <a:lnTo>
                      <a:pt x="79881" y="66214"/>
                    </a:lnTo>
                    <a:lnTo>
                      <a:pt x="79881" y="65333"/>
                    </a:lnTo>
                    <a:lnTo>
                      <a:pt x="78999" y="66214"/>
                    </a:lnTo>
                    <a:lnTo>
                      <a:pt x="76618" y="66214"/>
                    </a:lnTo>
                    <a:lnTo>
                      <a:pt x="76001" y="67361"/>
                    </a:lnTo>
                    <a:lnTo>
                      <a:pt x="74238" y="68242"/>
                    </a:lnTo>
                    <a:lnTo>
                      <a:pt x="72739" y="68507"/>
                    </a:lnTo>
                    <a:lnTo>
                      <a:pt x="72739" y="67890"/>
                    </a:lnTo>
                    <a:lnTo>
                      <a:pt x="75648" y="66391"/>
                    </a:lnTo>
                    <a:lnTo>
                      <a:pt x="75031" y="65774"/>
                    </a:lnTo>
                    <a:lnTo>
                      <a:pt x="75648" y="65156"/>
                    </a:lnTo>
                    <a:lnTo>
                      <a:pt x="76530" y="65156"/>
                    </a:lnTo>
                    <a:lnTo>
                      <a:pt x="78029" y="65156"/>
                    </a:lnTo>
                    <a:lnTo>
                      <a:pt x="78911" y="65156"/>
                    </a:lnTo>
                    <a:lnTo>
                      <a:pt x="79792" y="64892"/>
                    </a:lnTo>
                    <a:lnTo>
                      <a:pt x="80057" y="65156"/>
                    </a:lnTo>
                    <a:lnTo>
                      <a:pt x="80939" y="65421"/>
                    </a:lnTo>
                    <a:lnTo>
                      <a:pt x="81203" y="65156"/>
                    </a:lnTo>
                    <a:lnTo>
                      <a:pt x="82702" y="64010"/>
                    </a:lnTo>
                    <a:lnTo>
                      <a:pt x="84465" y="62600"/>
                    </a:lnTo>
                    <a:lnTo>
                      <a:pt x="84730" y="61982"/>
                    </a:lnTo>
                    <a:lnTo>
                      <a:pt x="84465" y="61718"/>
                    </a:lnTo>
                    <a:lnTo>
                      <a:pt x="83055" y="62864"/>
                    </a:lnTo>
                    <a:lnTo>
                      <a:pt x="82437" y="63129"/>
                    </a:lnTo>
                    <a:lnTo>
                      <a:pt x="81291" y="63393"/>
                    </a:lnTo>
                    <a:lnTo>
                      <a:pt x="81027" y="62776"/>
                    </a:lnTo>
                    <a:lnTo>
                      <a:pt x="82790" y="62511"/>
                    </a:lnTo>
                    <a:lnTo>
                      <a:pt x="81644" y="62247"/>
                    </a:lnTo>
                    <a:lnTo>
                      <a:pt x="80762" y="62511"/>
                    </a:lnTo>
                    <a:lnTo>
                      <a:pt x="79881" y="62776"/>
                    </a:lnTo>
                    <a:lnTo>
                      <a:pt x="79263" y="63040"/>
                    </a:lnTo>
                    <a:lnTo>
                      <a:pt x="77853" y="63040"/>
                    </a:lnTo>
                    <a:lnTo>
                      <a:pt x="77236" y="62423"/>
                    </a:lnTo>
                    <a:lnTo>
                      <a:pt x="77853" y="61806"/>
                    </a:lnTo>
                    <a:lnTo>
                      <a:pt x="78999" y="62423"/>
                    </a:lnTo>
                    <a:lnTo>
                      <a:pt x="79263" y="62159"/>
                    </a:lnTo>
                    <a:lnTo>
                      <a:pt x="78999" y="61630"/>
                    </a:lnTo>
                    <a:lnTo>
                      <a:pt x="79263" y="61365"/>
                    </a:lnTo>
                    <a:lnTo>
                      <a:pt x="80145" y="61630"/>
                    </a:lnTo>
                    <a:lnTo>
                      <a:pt x="80762" y="60131"/>
                    </a:lnTo>
                    <a:lnTo>
                      <a:pt x="81027" y="59866"/>
                    </a:lnTo>
                    <a:lnTo>
                      <a:pt x="83055" y="58985"/>
                    </a:lnTo>
                    <a:lnTo>
                      <a:pt x="85082" y="58456"/>
                    </a:lnTo>
                    <a:lnTo>
                      <a:pt x="87110" y="57838"/>
                    </a:lnTo>
                    <a:lnTo>
                      <a:pt x="89491" y="56428"/>
                    </a:lnTo>
                    <a:lnTo>
                      <a:pt x="90902" y="56428"/>
                    </a:lnTo>
                    <a:lnTo>
                      <a:pt x="91783" y="54929"/>
                    </a:lnTo>
                    <a:lnTo>
                      <a:pt x="92930" y="53783"/>
                    </a:lnTo>
                    <a:lnTo>
                      <a:pt x="94428" y="53518"/>
                    </a:lnTo>
                    <a:lnTo>
                      <a:pt x="94428" y="52637"/>
                    </a:lnTo>
                    <a:lnTo>
                      <a:pt x="95574" y="51755"/>
                    </a:lnTo>
                    <a:lnTo>
                      <a:pt x="96456" y="52019"/>
                    </a:lnTo>
                    <a:lnTo>
                      <a:pt x="97073" y="51755"/>
                    </a:lnTo>
                    <a:lnTo>
                      <a:pt x="97955" y="51138"/>
                    </a:lnTo>
                    <a:lnTo>
                      <a:pt x="97073" y="49991"/>
                    </a:lnTo>
                    <a:lnTo>
                      <a:pt x="98572" y="49374"/>
                    </a:lnTo>
                    <a:lnTo>
                      <a:pt x="98837" y="47611"/>
                    </a:lnTo>
                    <a:lnTo>
                      <a:pt x="97955" y="46994"/>
                    </a:lnTo>
                    <a:lnTo>
                      <a:pt x="97073" y="46729"/>
                    </a:lnTo>
                    <a:lnTo>
                      <a:pt x="95663" y="46465"/>
                    </a:lnTo>
                    <a:lnTo>
                      <a:pt x="96809" y="45583"/>
                    </a:lnTo>
                    <a:lnTo>
                      <a:pt x="96809" y="45319"/>
                    </a:lnTo>
                    <a:lnTo>
                      <a:pt x="97955" y="44701"/>
                    </a:lnTo>
                    <a:lnTo>
                      <a:pt x="98837" y="43555"/>
                    </a:lnTo>
                    <a:lnTo>
                      <a:pt x="97955" y="42674"/>
                    </a:lnTo>
                    <a:lnTo>
                      <a:pt x="97073" y="42938"/>
                    </a:lnTo>
                    <a:lnTo>
                      <a:pt x="95927" y="43820"/>
                    </a:lnTo>
                    <a:lnTo>
                      <a:pt x="95046" y="44084"/>
                    </a:lnTo>
                    <a:lnTo>
                      <a:pt x="93018" y="43467"/>
                    </a:lnTo>
                    <a:lnTo>
                      <a:pt x="92136" y="43467"/>
                    </a:lnTo>
                    <a:lnTo>
                      <a:pt x="92401" y="44084"/>
                    </a:lnTo>
                    <a:lnTo>
                      <a:pt x="92136" y="44349"/>
                    </a:lnTo>
                    <a:lnTo>
                      <a:pt x="90990" y="44349"/>
                    </a:lnTo>
                    <a:lnTo>
                      <a:pt x="90373" y="44349"/>
                    </a:lnTo>
                    <a:lnTo>
                      <a:pt x="89844" y="44613"/>
                    </a:lnTo>
                    <a:lnTo>
                      <a:pt x="88962" y="44349"/>
                    </a:lnTo>
                    <a:lnTo>
                      <a:pt x="87816" y="43732"/>
                    </a:lnTo>
                    <a:lnTo>
                      <a:pt x="86934" y="44349"/>
                    </a:lnTo>
                    <a:lnTo>
                      <a:pt x="85788" y="44349"/>
                    </a:lnTo>
                    <a:lnTo>
                      <a:pt x="85171" y="45230"/>
                    </a:lnTo>
                    <a:lnTo>
                      <a:pt x="83143" y="45230"/>
                    </a:lnTo>
                    <a:lnTo>
                      <a:pt x="81115" y="45848"/>
                    </a:lnTo>
                    <a:lnTo>
                      <a:pt x="79704" y="45230"/>
                    </a:lnTo>
                    <a:lnTo>
                      <a:pt x="77941" y="45495"/>
                    </a:lnTo>
                    <a:lnTo>
                      <a:pt x="77676" y="45230"/>
                    </a:lnTo>
                    <a:lnTo>
                      <a:pt x="76795" y="45848"/>
                    </a:lnTo>
                    <a:lnTo>
                      <a:pt x="77412" y="46465"/>
                    </a:lnTo>
                    <a:lnTo>
                      <a:pt x="78558" y="47082"/>
                    </a:lnTo>
                    <a:lnTo>
                      <a:pt x="77059" y="46465"/>
                    </a:lnTo>
                    <a:lnTo>
                      <a:pt x="76442" y="46465"/>
                    </a:lnTo>
                    <a:lnTo>
                      <a:pt x="75296" y="45583"/>
                    </a:lnTo>
                    <a:lnTo>
                      <a:pt x="75031" y="46112"/>
                    </a:lnTo>
                    <a:lnTo>
                      <a:pt x="74767" y="46994"/>
                    </a:lnTo>
                    <a:lnTo>
                      <a:pt x="73621" y="47611"/>
                    </a:lnTo>
                    <a:lnTo>
                      <a:pt x="73003" y="47346"/>
                    </a:lnTo>
                    <a:lnTo>
                      <a:pt x="73003" y="46465"/>
                    </a:lnTo>
                    <a:lnTo>
                      <a:pt x="73885" y="46112"/>
                    </a:lnTo>
                    <a:lnTo>
                      <a:pt x="73885" y="45230"/>
                    </a:lnTo>
                    <a:lnTo>
                      <a:pt x="72739" y="44966"/>
                    </a:lnTo>
                    <a:lnTo>
                      <a:pt x="71593" y="45230"/>
                    </a:lnTo>
                    <a:lnTo>
                      <a:pt x="71328" y="45848"/>
                    </a:lnTo>
                    <a:lnTo>
                      <a:pt x="70182" y="45848"/>
                    </a:lnTo>
                    <a:lnTo>
                      <a:pt x="69036" y="45583"/>
                    </a:lnTo>
                    <a:lnTo>
                      <a:pt x="69653" y="44966"/>
                    </a:lnTo>
                    <a:lnTo>
                      <a:pt x="67625" y="44349"/>
                    </a:lnTo>
                    <a:lnTo>
                      <a:pt x="67625" y="45230"/>
                    </a:lnTo>
                    <a:lnTo>
                      <a:pt x="66744" y="45848"/>
                    </a:lnTo>
                    <a:lnTo>
                      <a:pt x="65862" y="45230"/>
                    </a:lnTo>
                    <a:lnTo>
                      <a:pt x="66126" y="44349"/>
                    </a:lnTo>
                    <a:lnTo>
                      <a:pt x="65245" y="44084"/>
                    </a:lnTo>
                    <a:lnTo>
                      <a:pt x="64363" y="44349"/>
                    </a:lnTo>
                    <a:lnTo>
                      <a:pt x="63481" y="43732"/>
                    </a:lnTo>
                    <a:lnTo>
                      <a:pt x="62864" y="44525"/>
                    </a:lnTo>
                    <a:close/>
                    <a:moveTo>
                      <a:pt x="102187" y="26451"/>
                    </a:moveTo>
                    <a:lnTo>
                      <a:pt x="103686" y="26715"/>
                    </a:lnTo>
                    <a:lnTo>
                      <a:pt x="104303" y="27597"/>
                    </a:lnTo>
                    <a:lnTo>
                      <a:pt x="103686" y="28743"/>
                    </a:lnTo>
                    <a:lnTo>
                      <a:pt x="104832" y="29360"/>
                    </a:lnTo>
                    <a:lnTo>
                      <a:pt x="104215" y="30242"/>
                    </a:lnTo>
                    <a:lnTo>
                      <a:pt x="104215" y="31388"/>
                    </a:lnTo>
                    <a:lnTo>
                      <a:pt x="105978" y="31388"/>
                    </a:lnTo>
                    <a:lnTo>
                      <a:pt x="106860" y="31123"/>
                    </a:lnTo>
                    <a:lnTo>
                      <a:pt x="106860" y="32005"/>
                    </a:lnTo>
                    <a:lnTo>
                      <a:pt x="107477" y="32622"/>
                    </a:lnTo>
                    <a:lnTo>
                      <a:pt x="106331" y="33504"/>
                    </a:lnTo>
                    <a:lnTo>
                      <a:pt x="105714" y="33504"/>
                    </a:lnTo>
                    <a:lnTo>
                      <a:pt x="104832" y="33240"/>
                    </a:lnTo>
                    <a:lnTo>
                      <a:pt x="103951" y="33504"/>
                    </a:lnTo>
                    <a:lnTo>
                      <a:pt x="102804" y="32622"/>
                    </a:lnTo>
                    <a:lnTo>
                      <a:pt x="101305" y="32622"/>
                    </a:lnTo>
                    <a:lnTo>
                      <a:pt x="100688" y="34386"/>
                    </a:lnTo>
                    <a:lnTo>
                      <a:pt x="100688" y="35267"/>
                    </a:lnTo>
                    <a:lnTo>
                      <a:pt x="99542" y="35885"/>
                    </a:lnTo>
                    <a:lnTo>
                      <a:pt x="99542" y="36766"/>
                    </a:lnTo>
                    <a:lnTo>
                      <a:pt x="100424" y="37295"/>
                    </a:lnTo>
                    <a:lnTo>
                      <a:pt x="101923" y="37912"/>
                    </a:lnTo>
                    <a:lnTo>
                      <a:pt x="102804" y="38177"/>
                    </a:lnTo>
                    <a:lnTo>
                      <a:pt x="102540" y="38706"/>
                    </a:lnTo>
                    <a:lnTo>
                      <a:pt x="102804" y="39588"/>
                    </a:lnTo>
                    <a:lnTo>
                      <a:pt x="101923" y="40205"/>
                    </a:lnTo>
                    <a:lnTo>
                      <a:pt x="102187" y="40822"/>
                    </a:lnTo>
                    <a:lnTo>
                      <a:pt x="101305" y="41086"/>
                    </a:lnTo>
                    <a:lnTo>
                      <a:pt x="102187" y="41968"/>
                    </a:lnTo>
                    <a:lnTo>
                      <a:pt x="101305" y="42233"/>
                    </a:lnTo>
                    <a:lnTo>
                      <a:pt x="102187" y="42850"/>
                    </a:lnTo>
                    <a:lnTo>
                      <a:pt x="101305" y="43732"/>
                    </a:lnTo>
                    <a:lnTo>
                      <a:pt x="99542" y="43114"/>
                    </a:lnTo>
                    <a:lnTo>
                      <a:pt x="98925" y="42233"/>
                    </a:lnTo>
                    <a:lnTo>
                      <a:pt x="98660" y="40734"/>
                    </a:lnTo>
                    <a:lnTo>
                      <a:pt x="98925" y="38970"/>
                    </a:lnTo>
                    <a:lnTo>
                      <a:pt x="97779" y="40117"/>
                    </a:lnTo>
                    <a:lnTo>
                      <a:pt x="96897" y="40998"/>
                    </a:lnTo>
                    <a:lnTo>
                      <a:pt x="96897" y="41880"/>
                    </a:lnTo>
                    <a:lnTo>
                      <a:pt x="96015" y="42409"/>
                    </a:lnTo>
                    <a:lnTo>
                      <a:pt x="94517" y="41880"/>
                    </a:lnTo>
                    <a:lnTo>
                      <a:pt x="94252" y="40734"/>
                    </a:lnTo>
                    <a:lnTo>
                      <a:pt x="94252" y="39588"/>
                    </a:lnTo>
                    <a:lnTo>
                      <a:pt x="95398" y="38441"/>
                    </a:lnTo>
                    <a:lnTo>
                      <a:pt x="94517" y="37295"/>
                    </a:lnTo>
                    <a:lnTo>
                      <a:pt x="95134" y="36149"/>
                    </a:lnTo>
                    <a:lnTo>
                      <a:pt x="96280" y="36149"/>
                    </a:lnTo>
                    <a:lnTo>
                      <a:pt x="96280" y="35267"/>
                    </a:lnTo>
                    <a:lnTo>
                      <a:pt x="96897" y="34386"/>
                    </a:lnTo>
                    <a:lnTo>
                      <a:pt x="97426" y="34650"/>
                    </a:lnTo>
                    <a:lnTo>
                      <a:pt x="97779" y="34650"/>
                    </a:lnTo>
                    <a:lnTo>
                      <a:pt x="98308" y="34033"/>
                    </a:lnTo>
                    <a:lnTo>
                      <a:pt x="98572" y="33151"/>
                    </a:lnTo>
                    <a:lnTo>
                      <a:pt x="99454" y="32887"/>
                    </a:lnTo>
                    <a:lnTo>
                      <a:pt x="100071" y="33504"/>
                    </a:lnTo>
                    <a:lnTo>
                      <a:pt x="99454" y="32358"/>
                    </a:lnTo>
                    <a:lnTo>
                      <a:pt x="100865" y="31212"/>
                    </a:lnTo>
                    <a:lnTo>
                      <a:pt x="100865" y="30947"/>
                    </a:lnTo>
                    <a:lnTo>
                      <a:pt x="99983" y="30065"/>
                    </a:lnTo>
                    <a:lnTo>
                      <a:pt x="100600" y="29448"/>
                    </a:lnTo>
                    <a:lnTo>
                      <a:pt x="101217" y="28831"/>
                    </a:lnTo>
                    <a:lnTo>
                      <a:pt x="102099" y="29448"/>
                    </a:lnTo>
                    <a:lnTo>
                      <a:pt x="102716" y="29184"/>
                    </a:lnTo>
                    <a:lnTo>
                      <a:pt x="101834" y="27420"/>
                    </a:lnTo>
                    <a:lnTo>
                      <a:pt x="102187" y="26451"/>
                    </a:lnTo>
                    <a:close/>
                    <a:moveTo>
                      <a:pt x="73356" y="144596"/>
                    </a:moveTo>
                    <a:lnTo>
                      <a:pt x="73092" y="145742"/>
                    </a:lnTo>
                    <a:lnTo>
                      <a:pt x="72827" y="146007"/>
                    </a:lnTo>
                    <a:lnTo>
                      <a:pt x="72563" y="146271"/>
                    </a:lnTo>
                    <a:lnTo>
                      <a:pt x="71945" y="146888"/>
                    </a:lnTo>
                    <a:lnTo>
                      <a:pt x="72563" y="146888"/>
                    </a:lnTo>
                    <a:lnTo>
                      <a:pt x="73092" y="146624"/>
                    </a:lnTo>
                    <a:lnTo>
                      <a:pt x="73356" y="147506"/>
                    </a:lnTo>
                    <a:lnTo>
                      <a:pt x="73092" y="147858"/>
                    </a:lnTo>
                    <a:lnTo>
                      <a:pt x="72827" y="148740"/>
                    </a:lnTo>
                    <a:lnTo>
                      <a:pt x="72563" y="149357"/>
                    </a:lnTo>
                    <a:lnTo>
                      <a:pt x="72298" y="149622"/>
                    </a:lnTo>
                    <a:lnTo>
                      <a:pt x="71681" y="150503"/>
                    </a:lnTo>
                    <a:lnTo>
                      <a:pt x="71064" y="150503"/>
                    </a:lnTo>
                    <a:lnTo>
                      <a:pt x="69917" y="150768"/>
                    </a:lnTo>
                    <a:lnTo>
                      <a:pt x="69036" y="150151"/>
                    </a:lnTo>
                    <a:lnTo>
                      <a:pt x="68419" y="150415"/>
                    </a:lnTo>
                    <a:lnTo>
                      <a:pt x="66920" y="150151"/>
                    </a:lnTo>
                    <a:lnTo>
                      <a:pt x="66391" y="151032"/>
                    </a:lnTo>
                    <a:lnTo>
                      <a:pt x="64892" y="151032"/>
                    </a:lnTo>
                    <a:lnTo>
                      <a:pt x="63746" y="151650"/>
                    </a:lnTo>
                    <a:lnTo>
                      <a:pt x="62600" y="152267"/>
                    </a:lnTo>
                    <a:lnTo>
                      <a:pt x="61718" y="152267"/>
                    </a:lnTo>
                    <a:lnTo>
                      <a:pt x="62600" y="151385"/>
                    </a:lnTo>
                    <a:lnTo>
                      <a:pt x="63481" y="150239"/>
                    </a:lnTo>
                    <a:lnTo>
                      <a:pt x="64980" y="149974"/>
                    </a:lnTo>
                    <a:lnTo>
                      <a:pt x="65862" y="148211"/>
                    </a:lnTo>
                    <a:lnTo>
                      <a:pt x="67008" y="146712"/>
                    </a:lnTo>
                    <a:lnTo>
                      <a:pt x="68507" y="145831"/>
                    </a:lnTo>
                    <a:lnTo>
                      <a:pt x="69124" y="144949"/>
                    </a:lnTo>
                    <a:lnTo>
                      <a:pt x="70887" y="144332"/>
                    </a:lnTo>
                    <a:lnTo>
                      <a:pt x="71769" y="144067"/>
                    </a:lnTo>
                    <a:lnTo>
                      <a:pt x="72915" y="144067"/>
                    </a:lnTo>
                    <a:lnTo>
                      <a:pt x="73797" y="143714"/>
                    </a:lnTo>
                    <a:lnTo>
                      <a:pt x="73797" y="144332"/>
                    </a:lnTo>
                    <a:lnTo>
                      <a:pt x="73356" y="144596"/>
                    </a:lnTo>
                    <a:close/>
                    <a:moveTo>
                      <a:pt x="43026" y="50080"/>
                    </a:moveTo>
                    <a:lnTo>
                      <a:pt x="42409" y="50961"/>
                    </a:lnTo>
                    <a:lnTo>
                      <a:pt x="41263" y="51226"/>
                    </a:lnTo>
                    <a:lnTo>
                      <a:pt x="41527" y="51843"/>
                    </a:lnTo>
                    <a:lnTo>
                      <a:pt x="42673" y="51843"/>
                    </a:lnTo>
                    <a:lnTo>
                      <a:pt x="40029" y="53606"/>
                    </a:lnTo>
                    <a:lnTo>
                      <a:pt x="39764" y="54224"/>
                    </a:lnTo>
                    <a:lnTo>
                      <a:pt x="40029" y="54841"/>
                    </a:lnTo>
                    <a:lnTo>
                      <a:pt x="40645" y="55105"/>
                    </a:lnTo>
                    <a:lnTo>
                      <a:pt x="40910" y="54841"/>
                    </a:lnTo>
                    <a:lnTo>
                      <a:pt x="41792" y="54576"/>
                    </a:lnTo>
                    <a:lnTo>
                      <a:pt x="41792" y="53959"/>
                    </a:lnTo>
                    <a:lnTo>
                      <a:pt x="42673" y="53695"/>
                    </a:lnTo>
                    <a:lnTo>
                      <a:pt x="43291" y="54576"/>
                    </a:lnTo>
                    <a:lnTo>
                      <a:pt x="42673" y="54841"/>
                    </a:lnTo>
                    <a:lnTo>
                      <a:pt x="42409" y="55987"/>
                    </a:lnTo>
                    <a:lnTo>
                      <a:pt x="42144" y="56604"/>
                    </a:lnTo>
                    <a:lnTo>
                      <a:pt x="40998" y="55987"/>
                    </a:lnTo>
                    <a:lnTo>
                      <a:pt x="40117" y="55370"/>
                    </a:lnTo>
                    <a:lnTo>
                      <a:pt x="38971" y="54753"/>
                    </a:lnTo>
                    <a:lnTo>
                      <a:pt x="39235" y="55634"/>
                    </a:lnTo>
                    <a:lnTo>
                      <a:pt x="39852" y="56516"/>
                    </a:lnTo>
                    <a:lnTo>
                      <a:pt x="38353" y="56251"/>
                    </a:lnTo>
                    <a:lnTo>
                      <a:pt x="36061" y="56869"/>
                    </a:lnTo>
                    <a:lnTo>
                      <a:pt x="35179" y="57750"/>
                    </a:lnTo>
                    <a:lnTo>
                      <a:pt x="36061" y="58015"/>
                    </a:lnTo>
                    <a:lnTo>
                      <a:pt x="37824" y="57750"/>
                    </a:lnTo>
                    <a:lnTo>
                      <a:pt x="38971" y="57133"/>
                    </a:lnTo>
                    <a:lnTo>
                      <a:pt x="38971" y="57750"/>
                    </a:lnTo>
                    <a:lnTo>
                      <a:pt x="39235" y="58896"/>
                    </a:lnTo>
                    <a:lnTo>
                      <a:pt x="38618" y="59514"/>
                    </a:lnTo>
                    <a:lnTo>
                      <a:pt x="37736" y="60043"/>
                    </a:lnTo>
                    <a:lnTo>
                      <a:pt x="36854" y="59161"/>
                    </a:lnTo>
                    <a:lnTo>
                      <a:pt x="35708" y="59161"/>
                    </a:lnTo>
                    <a:lnTo>
                      <a:pt x="34827" y="59425"/>
                    </a:lnTo>
                    <a:lnTo>
                      <a:pt x="35356" y="60307"/>
                    </a:lnTo>
                    <a:lnTo>
                      <a:pt x="36502" y="60924"/>
                    </a:lnTo>
                    <a:lnTo>
                      <a:pt x="37383" y="61542"/>
                    </a:lnTo>
                    <a:lnTo>
                      <a:pt x="36502" y="62159"/>
                    </a:lnTo>
                    <a:lnTo>
                      <a:pt x="35885" y="62159"/>
                    </a:lnTo>
                    <a:lnTo>
                      <a:pt x="35620" y="61542"/>
                    </a:lnTo>
                    <a:lnTo>
                      <a:pt x="34738" y="62159"/>
                    </a:lnTo>
                    <a:lnTo>
                      <a:pt x="34738" y="62776"/>
                    </a:lnTo>
                    <a:lnTo>
                      <a:pt x="33592" y="61277"/>
                    </a:lnTo>
                    <a:lnTo>
                      <a:pt x="34209" y="62776"/>
                    </a:lnTo>
                    <a:lnTo>
                      <a:pt x="33592" y="62511"/>
                    </a:lnTo>
                    <a:lnTo>
                      <a:pt x="33328" y="62247"/>
                    </a:lnTo>
                    <a:lnTo>
                      <a:pt x="32446" y="61630"/>
                    </a:lnTo>
                    <a:lnTo>
                      <a:pt x="32181" y="61013"/>
                    </a:lnTo>
                    <a:lnTo>
                      <a:pt x="31917" y="61013"/>
                    </a:lnTo>
                    <a:lnTo>
                      <a:pt x="30771" y="61630"/>
                    </a:lnTo>
                    <a:lnTo>
                      <a:pt x="31652" y="62247"/>
                    </a:lnTo>
                    <a:lnTo>
                      <a:pt x="32270" y="62864"/>
                    </a:lnTo>
                    <a:lnTo>
                      <a:pt x="33416" y="63393"/>
                    </a:lnTo>
                    <a:lnTo>
                      <a:pt x="32799" y="63658"/>
                    </a:lnTo>
                    <a:lnTo>
                      <a:pt x="31652" y="63658"/>
                    </a:lnTo>
                    <a:lnTo>
                      <a:pt x="31035" y="63393"/>
                    </a:lnTo>
                    <a:lnTo>
                      <a:pt x="30154" y="63393"/>
                    </a:lnTo>
                    <a:lnTo>
                      <a:pt x="30154" y="64010"/>
                    </a:lnTo>
                    <a:lnTo>
                      <a:pt x="30154" y="64627"/>
                    </a:lnTo>
                    <a:lnTo>
                      <a:pt x="29272" y="64363"/>
                    </a:lnTo>
                    <a:lnTo>
                      <a:pt x="28390" y="64627"/>
                    </a:lnTo>
                    <a:lnTo>
                      <a:pt x="27773" y="65156"/>
                    </a:lnTo>
                    <a:lnTo>
                      <a:pt x="28390" y="65774"/>
                    </a:lnTo>
                    <a:lnTo>
                      <a:pt x="28126" y="65774"/>
                    </a:lnTo>
                    <a:lnTo>
                      <a:pt x="27244" y="65774"/>
                    </a:lnTo>
                    <a:lnTo>
                      <a:pt x="26627" y="66655"/>
                    </a:lnTo>
                    <a:lnTo>
                      <a:pt x="24864" y="65509"/>
                    </a:lnTo>
                    <a:lnTo>
                      <a:pt x="24335" y="64892"/>
                    </a:lnTo>
                    <a:lnTo>
                      <a:pt x="24335" y="64010"/>
                    </a:lnTo>
                    <a:lnTo>
                      <a:pt x="24864" y="63746"/>
                    </a:lnTo>
                    <a:lnTo>
                      <a:pt x="25128" y="64010"/>
                    </a:lnTo>
                    <a:lnTo>
                      <a:pt x="25745" y="64627"/>
                    </a:lnTo>
                    <a:lnTo>
                      <a:pt x="26627" y="64010"/>
                    </a:lnTo>
                    <a:lnTo>
                      <a:pt x="26627" y="63393"/>
                    </a:lnTo>
                    <a:lnTo>
                      <a:pt x="28655" y="63393"/>
                    </a:lnTo>
                    <a:lnTo>
                      <a:pt x="27508" y="63393"/>
                    </a:lnTo>
                    <a:lnTo>
                      <a:pt x="27508" y="62864"/>
                    </a:lnTo>
                    <a:lnTo>
                      <a:pt x="27861" y="62247"/>
                    </a:lnTo>
                    <a:lnTo>
                      <a:pt x="29624" y="61982"/>
                    </a:lnTo>
                    <a:lnTo>
                      <a:pt x="28214" y="61982"/>
                    </a:lnTo>
                    <a:lnTo>
                      <a:pt x="27597" y="61718"/>
                    </a:lnTo>
                    <a:lnTo>
                      <a:pt x="26715" y="61982"/>
                    </a:lnTo>
                    <a:lnTo>
                      <a:pt x="25833" y="61718"/>
                    </a:lnTo>
                    <a:lnTo>
                      <a:pt x="24423" y="61101"/>
                    </a:lnTo>
                    <a:lnTo>
                      <a:pt x="24952" y="59955"/>
                    </a:lnTo>
                    <a:lnTo>
                      <a:pt x="25569" y="59690"/>
                    </a:lnTo>
                    <a:lnTo>
                      <a:pt x="27068" y="59073"/>
                    </a:lnTo>
                    <a:lnTo>
                      <a:pt x="27068" y="58544"/>
                    </a:lnTo>
                    <a:lnTo>
                      <a:pt x="26803" y="58279"/>
                    </a:lnTo>
                    <a:lnTo>
                      <a:pt x="26274" y="58544"/>
                    </a:lnTo>
                    <a:lnTo>
                      <a:pt x="25657" y="57927"/>
                    </a:lnTo>
                    <a:lnTo>
                      <a:pt x="25657" y="57309"/>
                    </a:lnTo>
                    <a:lnTo>
                      <a:pt x="25393" y="57574"/>
                    </a:lnTo>
                    <a:lnTo>
                      <a:pt x="24775" y="57309"/>
                    </a:lnTo>
                    <a:lnTo>
                      <a:pt x="24775" y="56780"/>
                    </a:lnTo>
                    <a:lnTo>
                      <a:pt x="25040" y="56163"/>
                    </a:lnTo>
                    <a:lnTo>
                      <a:pt x="25922" y="56163"/>
                    </a:lnTo>
                    <a:lnTo>
                      <a:pt x="26803" y="56428"/>
                    </a:lnTo>
                    <a:lnTo>
                      <a:pt x="27420" y="55546"/>
                    </a:lnTo>
                    <a:lnTo>
                      <a:pt x="26274" y="54929"/>
                    </a:lnTo>
                    <a:lnTo>
                      <a:pt x="26010" y="54664"/>
                    </a:lnTo>
                    <a:lnTo>
                      <a:pt x="26274" y="54400"/>
                    </a:lnTo>
                    <a:lnTo>
                      <a:pt x="26803" y="54135"/>
                    </a:lnTo>
                    <a:lnTo>
                      <a:pt x="27420" y="54400"/>
                    </a:lnTo>
                    <a:lnTo>
                      <a:pt x="28037" y="55017"/>
                    </a:lnTo>
                    <a:lnTo>
                      <a:pt x="29184" y="55017"/>
                    </a:lnTo>
                    <a:lnTo>
                      <a:pt x="29184" y="55634"/>
                    </a:lnTo>
                    <a:lnTo>
                      <a:pt x="28566" y="55899"/>
                    </a:lnTo>
                    <a:lnTo>
                      <a:pt x="28831" y="56163"/>
                    </a:lnTo>
                    <a:lnTo>
                      <a:pt x="29977" y="56163"/>
                    </a:lnTo>
                    <a:lnTo>
                      <a:pt x="30594" y="55546"/>
                    </a:lnTo>
                    <a:lnTo>
                      <a:pt x="31212" y="56163"/>
                    </a:lnTo>
                    <a:lnTo>
                      <a:pt x="31829" y="56163"/>
                    </a:lnTo>
                    <a:lnTo>
                      <a:pt x="32093" y="55546"/>
                    </a:lnTo>
                    <a:lnTo>
                      <a:pt x="31476" y="54664"/>
                    </a:lnTo>
                    <a:lnTo>
                      <a:pt x="30594" y="54400"/>
                    </a:lnTo>
                    <a:lnTo>
                      <a:pt x="30859" y="53783"/>
                    </a:lnTo>
                    <a:lnTo>
                      <a:pt x="30594" y="53518"/>
                    </a:lnTo>
                    <a:lnTo>
                      <a:pt x="30859" y="53254"/>
                    </a:lnTo>
                    <a:lnTo>
                      <a:pt x="31388" y="52637"/>
                    </a:lnTo>
                    <a:lnTo>
                      <a:pt x="32270" y="53254"/>
                    </a:lnTo>
                    <a:lnTo>
                      <a:pt x="32887" y="53254"/>
                    </a:lnTo>
                    <a:lnTo>
                      <a:pt x="34033" y="51490"/>
                    </a:lnTo>
                    <a:lnTo>
                      <a:pt x="34650" y="51226"/>
                    </a:lnTo>
                    <a:lnTo>
                      <a:pt x="35532" y="51490"/>
                    </a:lnTo>
                    <a:lnTo>
                      <a:pt x="36149" y="51490"/>
                    </a:lnTo>
                    <a:lnTo>
                      <a:pt x="36414" y="50873"/>
                    </a:lnTo>
                    <a:lnTo>
                      <a:pt x="38706" y="49374"/>
                    </a:lnTo>
                    <a:lnTo>
                      <a:pt x="40205" y="49110"/>
                    </a:lnTo>
                    <a:lnTo>
                      <a:pt x="40205" y="48493"/>
                    </a:lnTo>
                    <a:lnTo>
                      <a:pt x="40469" y="47875"/>
                    </a:lnTo>
                    <a:lnTo>
                      <a:pt x="40734" y="47611"/>
                    </a:lnTo>
                    <a:lnTo>
                      <a:pt x="41263" y="47875"/>
                    </a:lnTo>
                    <a:lnTo>
                      <a:pt x="42144" y="48140"/>
                    </a:lnTo>
                    <a:lnTo>
                      <a:pt x="43026" y="49022"/>
                    </a:lnTo>
                    <a:lnTo>
                      <a:pt x="43026" y="50080"/>
                    </a:lnTo>
                    <a:close/>
                    <a:moveTo>
                      <a:pt x="131988" y="3703"/>
                    </a:moveTo>
                    <a:lnTo>
                      <a:pt x="132253" y="3703"/>
                    </a:lnTo>
                    <a:lnTo>
                      <a:pt x="131988" y="3439"/>
                    </a:lnTo>
                    <a:lnTo>
                      <a:pt x="131106" y="3703"/>
                    </a:lnTo>
                    <a:lnTo>
                      <a:pt x="130842" y="3439"/>
                    </a:lnTo>
                    <a:lnTo>
                      <a:pt x="129960" y="4056"/>
                    </a:lnTo>
                    <a:lnTo>
                      <a:pt x="131106" y="5202"/>
                    </a:lnTo>
                    <a:lnTo>
                      <a:pt x="130842" y="5466"/>
                    </a:lnTo>
                    <a:lnTo>
                      <a:pt x="129696" y="5466"/>
                    </a:lnTo>
                    <a:lnTo>
                      <a:pt x="129343" y="5995"/>
                    </a:lnTo>
                    <a:lnTo>
                      <a:pt x="128814" y="5466"/>
                    </a:lnTo>
                    <a:lnTo>
                      <a:pt x="129696" y="3439"/>
                    </a:lnTo>
                    <a:lnTo>
                      <a:pt x="129343" y="2292"/>
                    </a:lnTo>
                    <a:lnTo>
                      <a:pt x="129696" y="1675"/>
                    </a:lnTo>
                    <a:lnTo>
                      <a:pt x="129960" y="794"/>
                    </a:lnTo>
                    <a:lnTo>
                      <a:pt x="130225" y="264"/>
                    </a:lnTo>
                    <a:lnTo>
                      <a:pt x="129608" y="0"/>
                    </a:lnTo>
                    <a:lnTo>
                      <a:pt x="128990" y="529"/>
                    </a:lnTo>
                    <a:lnTo>
                      <a:pt x="128109" y="264"/>
                    </a:lnTo>
                    <a:lnTo>
                      <a:pt x="127580" y="794"/>
                    </a:lnTo>
                    <a:lnTo>
                      <a:pt x="128109" y="1411"/>
                    </a:lnTo>
                    <a:lnTo>
                      <a:pt x="126962" y="1940"/>
                    </a:lnTo>
                    <a:lnTo>
                      <a:pt x="128109" y="2469"/>
                    </a:lnTo>
                    <a:lnTo>
                      <a:pt x="128109" y="3350"/>
                    </a:lnTo>
                    <a:lnTo>
                      <a:pt x="126698" y="2469"/>
                    </a:lnTo>
                    <a:lnTo>
                      <a:pt x="126081" y="2204"/>
                    </a:lnTo>
                    <a:lnTo>
                      <a:pt x="126081" y="2469"/>
                    </a:lnTo>
                    <a:lnTo>
                      <a:pt x="124317" y="2733"/>
                    </a:lnTo>
                    <a:lnTo>
                      <a:pt x="124053" y="3615"/>
                    </a:lnTo>
                    <a:lnTo>
                      <a:pt x="124670" y="3879"/>
                    </a:lnTo>
                    <a:lnTo>
                      <a:pt x="125199" y="3879"/>
                    </a:lnTo>
                    <a:lnTo>
                      <a:pt x="125816" y="3262"/>
                    </a:lnTo>
                    <a:lnTo>
                      <a:pt x="126433" y="2998"/>
                    </a:lnTo>
                    <a:lnTo>
                      <a:pt x="126698" y="3615"/>
                    </a:lnTo>
                    <a:lnTo>
                      <a:pt x="127227" y="3350"/>
                    </a:lnTo>
                    <a:lnTo>
                      <a:pt x="126962" y="4232"/>
                    </a:lnTo>
                    <a:lnTo>
                      <a:pt x="126345" y="5378"/>
                    </a:lnTo>
                    <a:lnTo>
                      <a:pt x="126610" y="5907"/>
                    </a:lnTo>
                    <a:lnTo>
                      <a:pt x="127491" y="5643"/>
                    </a:lnTo>
                    <a:lnTo>
                      <a:pt x="128020" y="5907"/>
                    </a:lnTo>
                    <a:lnTo>
                      <a:pt x="128285" y="6524"/>
                    </a:lnTo>
                    <a:lnTo>
                      <a:pt x="128285" y="7142"/>
                    </a:lnTo>
                    <a:lnTo>
                      <a:pt x="129167" y="6877"/>
                    </a:lnTo>
                    <a:lnTo>
                      <a:pt x="130666" y="7142"/>
                    </a:lnTo>
                    <a:lnTo>
                      <a:pt x="129784" y="7406"/>
                    </a:lnTo>
                    <a:lnTo>
                      <a:pt x="129167" y="8023"/>
                    </a:lnTo>
                    <a:lnTo>
                      <a:pt x="128285" y="8023"/>
                    </a:lnTo>
                    <a:lnTo>
                      <a:pt x="128020" y="8023"/>
                    </a:lnTo>
                    <a:lnTo>
                      <a:pt x="129167" y="8023"/>
                    </a:lnTo>
                    <a:lnTo>
                      <a:pt x="128020" y="8023"/>
                    </a:lnTo>
                    <a:lnTo>
                      <a:pt x="127491" y="7759"/>
                    </a:lnTo>
                    <a:lnTo>
                      <a:pt x="127139" y="7142"/>
                    </a:lnTo>
                    <a:lnTo>
                      <a:pt x="125993" y="8023"/>
                    </a:lnTo>
                    <a:lnTo>
                      <a:pt x="124494" y="8023"/>
                    </a:lnTo>
                    <a:lnTo>
                      <a:pt x="123876" y="7759"/>
                    </a:lnTo>
                    <a:lnTo>
                      <a:pt x="122731" y="8023"/>
                    </a:lnTo>
                    <a:lnTo>
                      <a:pt x="122995" y="8641"/>
                    </a:lnTo>
                    <a:lnTo>
                      <a:pt x="123876" y="9258"/>
                    </a:lnTo>
                    <a:lnTo>
                      <a:pt x="123876" y="9522"/>
                    </a:lnTo>
                    <a:lnTo>
                      <a:pt x="124494" y="9787"/>
                    </a:lnTo>
                    <a:lnTo>
                      <a:pt x="125640" y="8641"/>
                    </a:lnTo>
                    <a:lnTo>
                      <a:pt x="125375" y="9522"/>
                    </a:lnTo>
                    <a:lnTo>
                      <a:pt x="125993" y="9258"/>
                    </a:lnTo>
                    <a:lnTo>
                      <a:pt x="126610" y="9258"/>
                    </a:lnTo>
                    <a:lnTo>
                      <a:pt x="126610" y="9522"/>
                    </a:lnTo>
                    <a:lnTo>
                      <a:pt x="125464" y="10404"/>
                    </a:lnTo>
                    <a:lnTo>
                      <a:pt x="126081" y="10933"/>
                    </a:lnTo>
                    <a:lnTo>
                      <a:pt x="126698" y="10668"/>
                    </a:lnTo>
                    <a:lnTo>
                      <a:pt x="127227" y="10051"/>
                    </a:lnTo>
                    <a:lnTo>
                      <a:pt x="127580" y="10668"/>
                    </a:lnTo>
                    <a:lnTo>
                      <a:pt x="128109" y="10668"/>
                    </a:lnTo>
                    <a:lnTo>
                      <a:pt x="128109" y="10404"/>
                    </a:lnTo>
                    <a:lnTo>
                      <a:pt x="128109" y="9522"/>
                    </a:lnTo>
                    <a:lnTo>
                      <a:pt x="128990" y="9787"/>
                    </a:lnTo>
                    <a:lnTo>
                      <a:pt x="128726" y="8905"/>
                    </a:lnTo>
                    <a:lnTo>
                      <a:pt x="129255" y="9258"/>
                    </a:lnTo>
                    <a:lnTo>
                      <a:pt x="129255" y="10404"/>
                    </a:lnTo>
                    <a:lnTo>
                      <a:pt x="129255" y="9258"/>
                    </a:lnTo>
                    <a:lnTo>
                      <a:pt x="130754" y="9258"/>
                    </a:lnTo>
                    <a:lnTo>
                      <a:pt x="130225" y="10668"/>
                    </a:lnTo>
                    <a:lnTo>
                      <a:pt x="129960" y="10051"/>
                    </a:lnTo>
                    <a:lnTo>
                      <a:pt x="129343" y="10316"/>
                    </a:lnTo>
                    <a:lnTo>
                      <a:pt x="129343" y="10580"/>
                    </a:lnTo>
                    <a:lnTo>
                      <a:pt x="130225" y="11462"/>
                    </a:lnTo>
                    <a:lnTo>
                      <a:pt x="130754" y="11462"/>
                    </a:lnTo>
                    <a:lnTo>
                      <a:pt x="130489" y="12344"/>
                    </a:lnTo>
                    <a:lnTo>
                      <a:pt x="129608" y="13490"/>
                    </a:lnTo>
                    <a:lnTo>
                      <a:pt x="129255" y="14900"/>
                    </a:lnTo>
                    <a:lnTo>
                      <a:pt x="128990" y="15518"/>
                    </a:lnTo>
                    <a:lnTo>
                      <a:pt x="129255" y="16135"/>
                    </a:lnTo>
                    <a:lnTo>
                      <a:pt x="128373" y="15870"/>
                    </a:lnTo>
                    <a:lnTo>
                      <a:pt x="128109" y="16488"/>
                    </a:lnTo>
                    <a:lnTo>
                      <a:pt x="128726" y="16752"/>
                    </a:lnTo>
                    <a:lnTo>
                      <a:pt x="129255" y="17369"/>
                    </a:lnTo>
                    <a:lnTo>
                      <a:pt x="129255" y="17634"/>
                    </a:lnTo>
                    <a:lnTo>
                      <a:pt x="129255" y="19133"/>
                    </a:lnTo>
                    <a:lnTo>
                      <a:pt x="128726" y="20279"/>
                    </a:lnTo>
                    <a:lnTo>
                      <a:pt x="129255" y="20279"/>
                    </a:lnTo>
                    <a:lnTo>
                      <a:pt x="129872" y="20014"/>
                    </a:lnTo>
                    <a:lnTo>
                      <a:pt x="130489" y="19750"/>
                    </a:lnTo>
                    <a:lnTo>
                      <a:pt x="130754" y="18604"/>
                    </a:lnTo>
                    <a:lnTo>
                      <a:pt x="130754" y="17457"/>
                    </a:lnTo>
                    <a:lnTo>
                      <a:pt x="131371" y="16576"/>
                    </a:lnTo>
                    <a:lnTo>
                      <a:pt x="131106" y="14548"/>
                    </a:lnTo>
                    <a:lnTo>
                      <a:pt x="131988" y="15077"/>
                    </a:lnTo>
                    <a:lnTo>
                      <a:pt x="132253" y="14548"/>
                    </a:lnTo>
                    <a:lnTo>
                      <a:pt x="133134" y="12784"/>
                    </a:lnTo>
                    <a:lnTo>
                      <a:pt x="131988" y="12784"/>
                    </a:lnTo>
                    <a:lnTo>
                      <a:pt x="132253" y="11903"/>
                    </a:lnTo>
                    <a:lnTo>
                      <a:pt x="131988" y="11638"/>
                    </a:lnTo>
                    <a:lnTo>
                      <a:pt x="132253" y="11021"/>
                    </a:lnTo>
                    <a:lnTo>
                      <a:pt x="131988" y="10492"/>
                    </a:lnTo>
                    <a:lnTo>
                      <a:pt x="131988" y="9610"/>
                    </a:lnTo>
                    <a:lnTo>
                      <a:pt x="131988" y="10492"/>
                    </a:lnTo>
                    <a:lnTo>
                      <a:pt x="131988" y="9346"/>
                    </a:lnTo>
                    <a:lnTo>
                      <a:pt x="132870" y="9610"/>
                    </a:lnTo>
                    <a:lnTo>
                      <a:pt x="133134" y="9346"/>
                    </a:lnTo>
                    <a:lnTo>
                      <a:pt x="134281" y="8464"/>
                    </a:lnTo>
                    <a:lnTo>
                      <a:pt x="132517" y="8729"/>
                    </a:lnTo>
                    <a:lnTo>
                      <a:pt x="132517" y="8111"/>
                    </a:lnTo>
                    <a:lnTo>
                      <a:pt x="133134" y="8376"/>
                    </a:lnTo>
                    <a:lnTo>
                      <a:pt x="133752" y="8111"/>
                    </a:lnTo>
                    <a:lnTo>
                      <a:pt x="131988" y="8111"/>
                    </a:lnTo>
                    <a:lnTo>
                      <a:pt x="131988" y="7230"/>
                    </a:lnTo>
                    <a:lnTo>
                      <a:pt x="132870" y="7494"/>
                    </a:lnTo>
                    <a:lnTo>
                      <a:pt x="133752" y="7230"/>
                    </a:lnTo>
                    <a:lnTo>
                      <a:pt x="133752" y="6965"/>
                    </a:lnTo>
                    <a:lnTo>
                      <a:pt x="134633" y="5819"/>
                    </a:lnTo>
                    <a:lnTo>
                      <a:pt x="134898" y="5202"/>
                    </a:lnTo>
                    <a:lnTo>
                      <a:pt x="136396" y="3703"/>
                    </a:lnTo>
                    <a:lnTo>
                      <a:pt x="137543" y="4320"/>
                    </a:lnTo>
                    <a:lnTo>
                      <a:pt x="137543" y="3703"/>
                    </a:lnTo>
                    <a:lnTo>
                      <a:pt x="138424" y="2557"/>
                    </a:lnTo>
                    <a:lnTo>
                      <a:pt x="137807" y="2292"/>
                    </a:lnTo>
                    <a:lnTo>
                      <a:pt x="137190" y="2292"/>
                    </a:lnTo>
                    <a:lnTo>
                      <a:pt x="137190" y="264"/>
                    </a:lnTo>
                    <a:lnTo>
                      <a:pt x="136308" y="529"/>
                    </a:lnTo>
                    <a:lnTo>
                      <a:pt x="135691" y="1675"/>
                    </a:lnTo>
                    <a:lnTo>
                      <a:pt x="135956" y="1940"/>
                    </a:lnTo>
                    <a:lnTo>
                      <a:pt x="134192" y="2821"/>
                    </a:lnTo>
                    <a:lnTo>
                      <a:pt x="133575" y="2821"/>
                    </a:lnTo>
                    <a:lnTo>
                      <a:pt x="132958" y="3703"/>
                    </a:lnTo>
                    <a:lnTo>
                      <a:pt x="133575" y="4320"/>
                    </a:lnTo>
                    <a:lnTo>
                      <a:pt x="133575" y="5819"/>
                    </a:lnTo>
                    <a:lnTo>
                      <a:pt x="133575" y="6084"/>
                    </a:lnTo>
                    <a:lnTo>
                      <a:pt x="132693" y="6348"/>
                    </a:lnTo>
                    <a:lnTo>
                      <a:pt x="131812" y="6084"/>
                    </a:lnTo>
                    <a:lnTo>
                      <a:pt x="130666" y="6084"/>
                    </a:lnTo>
                    <a:lnTo>
                      <a:pt x="131812" y="6084"/>
                    </a:lnTo>
                    <a:lnTo>
                      <a:pt x="132076" y="4937"/>
                    </a:lnTo>
                    <a:lnTo>
                      <a:pt x="131988" y="3703"/>
                    </a:lnTo>
                    <a:close/>
                    <a:moveTo>
                      <a:pt x="40645" y="107565"/>
                    </a:moveTo>
                    <a:lnTo>
                      <a:pt x="42409" y="106948"/>
                    </a:lnTo>
                    <a:lnTo>
                      <a:pt x="43908" y="105449"/>
                    </a:lnTo>
                    <a:lnTo>
                      <a:pt x="47082" y="105714"/>
                    </a:lnTo>
                    <a:lnTo>
                      <a:pt x="45936" y="107125"/>
                    </a:lnTo>
                    <a:lnTo>
                      <a:pt x="45054" y="108888"/>
                    </a:lnTo>
                    <a:lnTo>
                      <a:pt x="42144" y="109152"/>
                    </a:lnTo>
                    <a:lnTo>
                      <a:pt x="42762" y="110916"/>
                    </a:lnTo>
                    <a:lnTo>
                      <a:pt x="42762" y="112944"/>
                    </a:lnTo>
                    <a:lnTo>
                      <a:pt x="41615" y="114443"/>
                    </a:lnTo>
                    <a:lnTo>
                      <a:pt x="37560" y="115324"/>
                    </a:lnTo>
                    <a:lnTo>
                      <a:pt x="35796" y="113296"/>
                    </a:lnTo>
                    <a:lnTo>
                      <a:pt x="34915" y="112150"/>
                    </a:lnTo>
                    <a:lnTo>
                      <a:pt x="35179" y="111004"/>
                    </a:lnTo>
                    <a:lnTo>
                      <a:pt x="36325" y="109241"/>
                    </a:lnTo>
                    <a:lnTo>
                      <a:pt x="38353" y="106860"/>
                    </a:lnTo>
                    <a:lnTo>
                      <a:pt x="40645" y="107565"/>
                    </a:lnTo>
                    <a:close/>
                    <a:moveTo>
                      <a:pt x="71857" y="170253"/>
                    </a:moveTo>
                    <a:lnTo>
                      <a:pt x="71857" y="171135"/>
                    </a:lnTo>
                    <a:lnTo>
                      <a:pt x="72474" y="171135"/>
                    </a:lnTo>
                    <a:lnTo>
                      <a:pt x="73003" y="171135"/>
                    </a:lnTo>
                    <a:lnTo>
                      <a:pt x="73268" y="170870"/>
                    </a:lnTo>
                    <a:lnTo>
                      <a:pt x="73532" y="171135"/>
                    </a:lnTo>
                    <a:lnTo>
                      <a:pt x="73797" y="171399"/>
                    </a:lnTo>
                    <a:lnTo>
                      <a:pt x="74061" y="171664"/>
                    </a:lnTo>
                    <a:lnTo>
                      <a:pt x="73797" y="171928"/>
                    </a:lnTo>
                    <a:lnTo>
                      <a:pt x="73180" y="172810"/>
                    </a:lnTo>
                    <a:lnTo>
                      <a:pt x="72298" y="173075"/>
                    </a:lnTo>
                    <a:lnTo>
                      <a:pt x="71416" y="173339"/>
                    </a:lnTo>
                    <a:lnTo>
                      <a:pt x="70270" y="173604"/>
                    </a:lnTo>
                    <a:lnTo>
                      <a:pt x="69388" y="173604"/>
                    </a:lnTo>
                    <a:lnTo>
                      <a:pt x="68507" y="173956"/>
                    </a:lnTo>
                    <a:lnTo>
                      <a:pt x="67978" y="174573"/>
                    </a:lnTo>
                    <a:lnTo>
                      <a:pt x="67713" y="173692"/>
                    </a:lnTo>
                    <a:lnTo>
                      <a:pt x="67713" y="173163"/>
                    </a:lnTo>
                    <a:lnTo>
                      <a:pt x="67449" y="173163"/>
                    </a:lnTo>
                    <a:lnTo>
                      <a:pt x="67184" y="172898"/>
                    </a:lnTo>
                    <a:lnTo>
                      <a:pt x="66567" y="172634"/>
                    </a:lnTo>
                    <a:lnTo>
                      <a:pt x="66567" y="172017"/>
                    </a:lnTo>
                    <a:lnTo>
                      <a:pt x="66567" y="171399"/>
                    </a:lnTo>
                    <a:lnTo>
                      <a:pt x="66567" y="170782"/>
                    </a:lnTo>
                    <a:lnTo>
                      <a:pt x="66303" y="170253"/>
                    </a:lnTo>
                    <a:lnTo>
                      <a:pt x="66303" y="169636"/>
                    </a:lnTo>
                    <a:lnTo>
                      <a:pt x="66038" y="169371"/>
                    </a:lnTo>
                    <a:lnTo>
                      <a:pt x="65774" y="169107"/>
                    </a:lnTo>
                    <a:lnTo>
                      <a:pt x="66038" y="168842"/>
                    </a:lnTo>
                    <a:lnTo>
                      <a:pt x="66303" y="168578"/>
                    </a:lnTo>
                    <a:lnTo>
                      <a:pt x="66567" y="169195"/>
                    </a:lnTo>
                    <a:lnTo>
                      <a:pt x="66832" y="169460"/>
                    </a:lnTo>
                    <a:lnTo>
                      <a:pt x="66832" y="169724"/>
                    </a:lnTo>
                    <a:lnTo>
                      <a:pt x="67449" y="169724"/>
                    </a:lnTo>
                    <a:lnTo>
                      <a:pt x="67449" y="169460"/>
                    </a:lnTo>
                    <a:lnTo>
                      <a:pt x="66832" y="168931"/>
                    </a:lnTo>
                    <a:lnTo>
                      <a:pt x="66832" y="168666"/>
                    </a:lnTo>
                    <a:lnTo>
                      <a:pt x="66832" y="167873"/>
                    </a:lnTo>
                    <a:lnTo>
                      <a:pt x="66567" y="167608"/>
                    </a:lnTo>
                    <a:lnTo>
                      <a:pt x="66303" y="167344"/>
                    </a:lnTo>
                    <a:lnTo>
                      <a:pt x="66567" y="167079"/>
                    </a:lnTo>
                    <a:lnTo>
                      <a:pt x="66567" y="166815"/>
                    </a:lnTo>
                    <a:lnTo>
                      <a:pt x="66832" y="166815"/>
                    </a:lnTo>
                    <a:lnTo>
                      <a:pt x="67449" y="167079"/>
                    </a:lnTo>
                    <a:lnTo>
                      <a:pt x="68066" y="166462"/>
                    </a:lnTo>
                    <a:lnTo>
                      <a:pt x="68595" y="166462"/>
                    </a:lnTo>
                    <a:lnTo>
                      <a:pt x="69477" y="166462"/>
                    </a:lnTo>
                    <a:lnTo>
                      <a:pt x="70094" y="166726"/>
                    </a:lnTo>
                    <a:lnTo>
                      <a:pt x="70623" y="166991"/>
                    </a:lnTo>
                    <a:lnTo>
                      <a:pt x="70887" y="167608"/>
                    </a:lnTo>
                    <a:lnTo>
                      <a:pt x="71152" y="168225"/>
                    </a:lnTo>
                    <a:lnTo>
                      <a:pt x="71152" y="168842"/>
                    </a:lnTo>
                    <a:lnTo>
                      <a:pt x="71416" y="169107"/>
                    </a:lnTo>
                    <a:lnTo>
                      <a:pt x="71857" y="170253"/>
                    </a:lnTo>
                    <a:close/>
                    <a:moveTo>
                      <a:pt x="22042" y="69300"/>
                    </a:moveTo>
                    <a:lnTo>
                      <a:pt x="22307" y="66391"/>
                    </a:lnTo>
                    <a:lnTo>
                      <a:pt x="23717" y="71945"/>
                    </a:lnTo>
                    <a:lnTo>
                      <a:pt x="20808" y="74326"/>
                    </a:lnTo>
                    <a:lnTo>
                      <a:pt x="20808" y="77500"/>
                    </a:lnTo>
                    <a:lnTo>
                      <a:pt x="20191" y="81291"/>
                    </a:lnTo>
                    <a:lnTo>
                      <a:pt x="18427" y="78646"/>
                    </a:lnTo>
                    <a:lnTo>
                      <a:pt x="17810" y="76883"/>
                    </a:lnTo>
                    <a:lnTo>
                      <a:pt x="18074" y="75120"/>
                    </a:lnTo>
                    <a:lnTo>
                      <a:pt x="18956" y="72827"/>
                    </a:lnTo>
                    <a:lnTo>
                      <a:pt x="20367" y="69918"/>
                    </a:lnTo>
                    <a:lnTo>
                      <a:pt x="22042" y="69300"/>
                    </a:lnTo>
                    <a:close/>
                    <a:moveTo>
                      <a:pt x="31300" y="90373"/>
                    </a:moveTo>
                    <a:lnTo>
                      <a:pt x="31564" y="88609"/>
                    </a:lnTo>
                    <a:lnTo>
                      <a:pt x="32710" y="91871"/>
                    </a:lnTo>
                    <a:lnTo>
                      <a:pt x="30418" y="93018"/>
                    </a:lnTo>
                    <a:lnTo>
                      <a:pt x="30418" y="94781"/>
                    </a:lnTo>
                    <a:lnTo>
                      <a:pt x="29536" y="96809"/>
                    </a:lnTo>
                    <a:lnTo>
                      <a:pt x="28126" y="95310"/>
                    </a:lnTo>
                    <a:lnTo>
                      <a:pt x="27508" y="94428"/>
                    </a:lnTo>
                    <a:lnTo>
                      <a:pt x="27861" y="93547"/>
                    </a:lnTo>
                    <a:lnTo>
                      <a:pt x="28743" y="92400"/>
                    </a:lnTo>
                    <a:lnTo>
                      <a:pt x="30154" y="90637"/>
                    </a:lnTo>
                    <a:lnTo>
                      <a:pt x="31300" y="90373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0" name="Freihandform: Form 1569">
                <a:extLst>
                  <a:ext uri="{FF2B5EF4-FFF2-40B4-BE49-F238E27FC236}">
                    <a16:creationId xmlns:a16="http://schemas.microsoft.com/office/drawing/2014/main" id="{CD656989-C64C-242E-C573-AD65D0A2414C}"/>
                  </a:ext>
                </a:extLst>
              </p:cNvPr>
              <p:cNvSpPr/>
              <p:nvPr/>
            </p:nvSpPr>
            <p:spPr>
              <a:xfrm>
                <a:off x="4153953" y="2429082"/>
                <a:ext cx="406368" cy="290514"/>
              </a:xfrm>
              <a:custGeom>
                <a:avLst/>
                <a:gdLst>
                  <a:gd name="connsiteX0" fmla="*/ 148387 w 406368"/>
                  <a:gd name="connsiteY0" fmla="*/ 65421 h 290514"/>
                  <a:gd name="connsiteX1" fmla="*/ 147506 w 406368"/>
                  <a:gd name="connsiteY1" fmla="*/ 66038 h 290514"/>
                  <a:gd name="connsiteX2" fmla="*/ 145478 w 406368"/>
                  <a:gd name="connsiteY2" fmla="*/ 65774 h 290514"/>
                  <a:gd name="connsiteX3" fmla="*/ 143714 w 406368"/>
                  <a:gd name="connsiteY3" fmla="*/ 66655 h 290514"/>
                  <a:gd name="connsiteX4" fmla="*/ 141686 w 406368"/>
                  <a:gd name="connsiteY4" fmla="*/ 65774 h 290514"/>
                  <a:gd name="connsiteX5" fmla="*/ 139923 w 406368"/>
                  <a:gd name="connsiteY5" fmla="*/ 66920 h 290514"/>
                  <a:gd name="connsiteX6" fmla="*/ 137013 w 406368"/>
                  <a:gd name="connsiteY6" fmla="*/ 66655 h 290514"/>
                  <a:gd name="connsiteX7" fmla="*/ 135515 w 406368"/>
                  <a:gd name="connsiteY7" fmla="*/ 68683 h 290514"/>
                  <a:gd name="connsiteX8" fmla="*/ 132341 w 406368"/>
                  <a:gd name="connsiteY8" fmla="*/ 69565 h 290514"/>
                  <a:gd name="connsiteX9" fmla="*/ 130313 w 406368"/>
                  <a:gd name="connsiteY9" fmla="*/ 71945 h 290514"/>
                  <a:gd name="connsiteX10" fmla="*/ 128285 w 406368"/>
                  <a:gd name="connsiteY10" fmla="*/ 71593 h 290514"/>
                  <a:gd name="connsiteX11" fmla="*/ 127668 w 406368"/>
                  <a:gd name="connsiteY11" fmla="*/ 69829 h 290514"/>
                  <a:gd name="connsiteX12" fmla="*/ 129696 w 406368"/>
                  <a:gd name="connsiteY12" fmla="*/ 68683 h 290514"/>
                  <a:gd name="connsiteX13" fmla="*/ 129078 w 406368"/>
                  <a:gd name="connsiteY13" fmla="*/ 66920 h 290514"/>
                  <a:gd name="connsiteX14" fmla="*/ 130225 w 406368"/>
                  <a:gd name="connsiteY14" fmla="*/ 65421 h 290514"/>
                  <a:gd name="connsiteX15" fmla="*/ 131635 w 406368"/>
                  <a:gd name="connsiteY15" fmla="*/ 65685 h 290514"/>
                  <a:gd name="connsiteX16" fmla="*/ 132253 w 406368"/>
                  <a:gd name="connsiteY16" fmla="*/ 63658 h 290514"/>
                  <a:gd name="connsiteX17" fmla="*/ 135779 w 406368"/>
                  <a:gd name="connsiteY17" fmla="*/ 63393 h 290514"/>
                  <a:gd name="connsiteX18" fmla="*/ 136925 w 406368"/>
                  <a:gd name="connsiteY18" fmla="*/ 61101 h 290514"/>
                  <a:gd name="connsiteX19" fmla="*/ 141334 w 406368"/>
                  <a:gd name="connsiteY19" fmla="*/ 60219 h 290514"/>
                  <a:gd name="connsiteX20" fmla="*/ 144861 w 406368"/>
                  <a:gd name="connsiteY20" fmla="*/ 59337 h 290514"/>
                  <a:gd name="connsiteX21" fmla="*/ 146359 w 406368"/>
                  <a:gd name="connsiteY21" fmla="*/ 60219 h 290514"/>
                  <a:gd name="connsiteX22" fmla="*/ 148387 w 406368"/>
                  <a:gd name="connsiteY22" fmla="*/ 59954 h 290514"/>
                  <a:gd name="connsiteX23" fmla="*/ 149269 w 406368"/>
                  <a:gd name="connsiteY23" fmla="*/ 61982 h 290514"/>
                  <a:gd name="connsiteX24" fmla="*/ 148387 w 406368"/>
                  <a:gd name="connsiteY24" fmla="*/ 62864 h 290514"/>
                  <a:gd name="connsiteX25" fmla="*/ 149269 w 406368"/>
                  <a:gd name="connsiteY25" fmla="*/ 63746 h 290514"/>
                  <a:gd name="connsiteX26" fmla="*/ 148387 w 406368"/>
                  <a:gd name="connsiteY26" fmla="*/ 65421 h 290514"/>
                  <a:gd name="connsiteX27" fmla="*/ 199701 w 406368"/>
                  <a:gd name="connsiteY27" fmla="*/ 39764 h 290514"/>
                  <a:gd name="connsiteX28" fmla="*/ 196527 w 406368"/>
                  <a:gd name="connsiteY28" fmla="*/ 40910 h 290514"/>
                  <a:gd name="connsiteX29" fmla="*/ 195646 w 406368"/>
                  <a:gd name="connsiteY29" fmla="*/ 42056 h 290514"/>
                  <a:gd name="connsiteX30" fmla="*/ 193882 w 406368"/>
                  <a:gd name="connsiteY30" fmla="*/ 42938 h 290514"/>
                  <a:gd name="connsiteX31" fmla="*/ 190708 w 406368"/>
                  <a:gd name="connsiteY31" fmla="*/ 42938 h 290514"/>
                  <a:gd name="connsiteX32" fmla="*/ 189827 w 406368"/>
                  <a:gd name="connsiteY32" fmla="*/ 41175 h 290514"/>
                  <a:gd name="connsiteX33" fmla="*/ 191325 w 406368"/>
                  <a:gd name="connsiteY33" fmla="*/ 40910 h 290514"/>
                  <a:gd name="connsiteX34" fmla="*/ 192207 w 406368"/>
                  <a:gd name="connsiteY34" fmla="*/ 39764 h 290514"/>
                  <a:gd name="connsiteX35" fmla="*/ 194235 w 406368"/>
                  <a:gd name="connsiteY35" fmla="*/ 38618 h 290514"/>
                  <a:gd name="connsiteX36" fmla="*/ 197409 w 406368"/>
                  <a:gd name="connsiteY36" fmla="*/ 36590 h 290514"/>
                  <a:gd name="connsiteX37" fmla="*/ 200583 w 406368"/>
                  <a:gd name="connsiteY37" fmla="*/ 34297 h 290514"/>
                  <a:gd name="connsiteX38" fmla="*/ 202611 w 406368"/>
                  <a:gd name="connsiteY38" fmla="*/ 35179 h 290514"/>
                  <a:gd name="connsiteX39" fmla="*/ 202875 w 406368"/>
                  <a:gd name="connsiteY39" fmla="*/ 36325 h 290514"/>
                  <a:gd name="connsiteX40" fmla="*/ 199701 w 406368"/>
                  <a:gd name="connsiteY40" fmla="*/ 39764 h 290514"/>
                  <a:gd name="connsiteX41" fmla="*/ 207901 w 406368"/>
                  <a:gd name="connsiteY41" fmla="*/ 33063 h 290514"/>
                  <a:gd name="connsiteX42" fmla="*/ 209929 w 406368"/>
                  <a:gd name="connsiteY42" fmla="*/ 31300 h 290514"/>
                  <a:gd name="connsiteX43" fmla="*/ 213367 w 406368"/>
                  <a:gd name="connsiteY43" fmla="*/ 31300 h 290514"/>
                  <a:gd name="connsiteX44" fmla="*/ 213985 w 406368"/>
                  <a:gd name="connsiteY44" fmla="*/ 29272 h 290514"/>
                  <a:gd name="connsiteX45" fmla="*/ 211957 w 406368"/>
                  <a:gd name="connsiteY45" fmla="*/ 29007 h 290514"/>
                  <a:gd name="connsiteX46" fmla="*/ 209576 w 406368"/>
                  <a:gd name="connsiteY46" fmla="*/ 29007 h 290514"/>
                  <a:gd name="connsiteX47" fmla="*/ 206314 w 406368"/>
                  <a:gd name="connsiteY47" fmla="*/ 30771 h 290514"/>
                  <a:gd name="connsiteX48" fmla="*/ 204286 w 406368"/>
                  <a:gd name="connsiteY48" fmla="*/ 32270 h 290514"/>
                  <a:gd name="connsiteX49" fmla="*/ 207901 w 406368"/>
                  <a:gd name="connsiteY49" fmla="*/ 33063 h 290514"/>
                  <a:gd name="connsiteX50" fmla="*/ 220421 w 406368"/>
                  <a:gd name="connsiteY50" fmla="*/ 22836 h 290514"/>
                  <a:gd name="connsiteX51" fmla="*/ 224477 w 406368"/>
                  <a:gd name="connsiteY51" fmla="*/ 22218 h 290514"/>
                  <a:gd name="connsiteX52" fmla="*/ 228532 w 406368"/>
                  <a:gd name="connsiteY52" fmla="*/ 23982 h 290514"/>
                  <a:gd name="connsiteX53" fmla="*/ 225887 w 406368"/>
                  <a:gd name="connsiteY53" fmla="*/ 25745 h 290514"/>
                  <a:gd name="connsiteX54" fmla="*/ 222625 w 406368"/>
                  <a:gd name="connsiteY54" fmla="*/ 25481 h 290514"/>
                  <a:gd name="connsiteX55" fmla="*/ 219715 w 406368"/>
                  <a:gd name="connsiteY55" fmla="*/ 24863 h 290514"/>
                  <a:gd name="connsiteX56" fmla="*/ 215924 w 406368"/>
                  <a:gd name="connsiteY56" fmla="*/ 24863 h 290514"/>
                  <a:gd name="connsiteX57" fmla="*/ 214778 w 406368"/>
                  <a:gd name="connsiteY57" fmla="*/ 22836 h 290514"/>
                  <a:gd name="connsiteX58" fmla="*/ 217688 w 406368"/>
                  <a:gd name="connsiteY58" fmla="*/ 21954 h 290514"/>
                  <a:gd name="connsiteX59" fmla="*/ 220421 w 406368"/>
                  <a:gd name="connsiteY59" fmla="*/ 22836 h 290514"/>
                  <a:gd name="connsiteX60" fmla="*/ 246342 w 406368"/>
                  <a:gd name="connsiteY60" fmla="*/ 17898 h 290514"/>
                  <a:gd name="connsiteX61" fmla="*/ 247841 w 406368"/>
                  <a:gd name="connsiteY61" fmla="*/ 18780 h 290514"/>
                  <a:gd name="connsiteX62" fmla="*/ 247841 w 406368"/>
                  <a:gd name="connsiteY62" fmla="*/ 20279 h 290514"/>
                  <a:gd name="connsiteX63" fmla="*/ 246342 w 406368"/>
                  <a:gd name="connsiteY63" fmla="*/ 22307 h 290514"/>
                  <a:gd name="connsiteX64" fmla="*/ 246342 w 406368"/>
                  <a:gd name="connsiteY64" fmla="*/ 24334 h 290514"/>
                  <a:gd name="connsiteX65" fmla="*/ 244315 w 406368"/>
                  <a:gd name="connsiteY65" fmla="*/ 23188 h 290514"/>
                  <a:gd name="connsiteX66" fmla="*/ 240788 w 406368"/>
                  <a:gd name="connsiteY66" fmla="*/ 23805 h 290514"/>
                  <a:gd name="connsiteX67" fmla="*/ 239906 w 406368"/>
                  <a:gd name="connsiteY67" fmla="*/ 22307 h 290514"/>
                  <a:gd name="connsiteX68" fmla="*/ 238760 w 406368"/>
                  <a:gd name="connsiteY68" fmla="*/ 22924 h 290514"/>
                  <a:gd name="connsiteX69" fmla="*/ 237614 w 406368"/>
                  <a:gd name="connsiteY69" fmla="*/ 22307 h 290514"/>
                  <a:gd name="connsiteX70" fmla="*/ 235586 w 406368"/>
                  <a:gd name="connsiteY70" fmla="*/ 22307 h 290514"/>
                  <a:gd name="connsiteX71" fmla="*/ 236467 w 406368"/>
                  <a:gd name="connsiteY71" fmla="*/ 21160 h 290514"/>
                  <a:gd name="connsiteX72" fmla="*/ 238495 w 406368"/>
                  <a:gd name="connsiteY72" fmla="*/ 22042 h 290514"/>
                  <a:gd name="connsiteX73" fmla="*/ 240876 w 406368"/>
                  <a:gd name="connsiteY73" fmla="*/ 21160 h 290514"/>
                  <a:gd name="connsiteX74" fmla="*/ 242375 w 406368"/>
                  <a:gd name="connsiteY74" fmla="*/ 20014 h 290514"/>
                  <a:gd name="connsiteX75" fmla="*/ 246342 w 406368"/>
                  <a:gd name="connsiteY75" fmla="*/ 17898 h 290514"/>
                  <a:gd name="connsiteX76" fmla="*/ 267944 w 406368"/>
                  <a:gd name="connsiteY76" fmla="*/ 12961 h 290514"/>
                  <a:gd name="connsiteX77" fmla="*/ 271470 w 406368"/>
                  <a:gd name="connsiteY77" fmla="*/ 14724 h 290514"/>
                  <a:gd name="connsiteX78" fmla="*/ 274380 w 406368"/>
                  <a:gd name="connsiteY78" fmla="*/ 13578 h 290514"/>
                  <a:gd name="connsiteX79" fmla="*/ 279317 w 406368"/>
                  <a:gd name="connsiteY79" fmla="*/ 12432 h 290514"/>
                  <a:gd name="connsiteX80" fmla="*/ 282844 w 406368"/>
                  <a:gd name="connsiteY80" fmla="*/ 11550 h 290514"/>
                  <a:gd name="connsiteX81" fmla="*/ 286106 w 406368"/>
                  <a:gd name="connsiteY81" fmla="*/ 9787 h 290514"/>
                  <a:gd name="connsiteX82" fmla="*/ 284608 w 406368"/>
                  <a:gd name="connsiteY82" fmla="*/ 8288 h 290514"/>
                  <a:gd name="connsiteX83" fmla="*/ 281962 w 406368"/>
                  <a:gd name="connsiteY83" fmla="*/ 7406 h 290514"/>
                  <a:gd name="connsiteX84" fmla="*/ 276143 w 406368"/>
                  <a:gd name="connsiteY84" fmla="*/ 8552 h 290514"/>
                  <a:gd name="connsiteX85" fmla="*/ 273851 w 406368"/>
                  <a:gd name="connsiteY85" fmla="*/ 8552 h 290514"/>
                  <a:gd name="connsiteX86" fmla="*/ 269443 w 406368"/>
                  <a:gd name="connsiteY86" fmla="*/ 10316 h 290514"/>
                  <a:gd name="connsiteX87" fmla="*/ 267415 w 406368"/>
                  <a:gd name="connsiteY87" fmla="*/ 9434 h 290514"/>
                  <a:gd name="connsiteX88" fmla="*/ 265916 w 406368"/>
                  <a:gd name="connsiteY88" fmla="*/ 10933 h 290514"/>
                  <a:gd name="connsiteX89" fmla="*/ 266797 w 406368"/>
                  <a:gd name="connsiteY89" fmla="*/ 12079 h 290514"/>
                  <a:gd name="connsiteX90" fmla="*/ 267944 w 406368"/>
                  <a:gd name="connsiteY90" fmla="*/ 12961 h 290514"/>
                  <a:gd name="connsiteX91" fmla="*/ 281698 w 406368"/>
                  <a:gd name="connsiteY91" fmla="*/ 14371 h 290514"/>
                  <a:gd name="connsiteX92" fmla="*/ 283726 w 406368"/>
                  <a:gd name="connsiteY92" fmla="*/ 12079 h 290514"/>
                  <a:gd name="connsiteX93" fmla="*/ 285225 w 406368"/>
                  <a:gd name="connsiteY93" fmla="*/ 12079 h 290514"/>
                  <a:gd name="connsiteX94" fmla="*/ 286723 w 406368"/>
                  <a:gd name="connsiteY94" fmla="*/ 12079 h 290514"/>
                  <a:gd name="connsiteX95" fmla="*/ 288751 w 406368"/>
                  <a:gd name="connsiteY95" fmla="*/ 11815 h 290514"/>
                  <a:gd name="connsiteX96" fmla="*/ 290515 w 406368"/>
                  <a:gd name="connsiteY96" fmla="*/ 10668 h 290514"/>
                  <a:gd name="connsiteX97" fmla="*/ 293424 w 406368"/>
                  <a:gd name="connsiteY97" fmla="*/ 10404 h 290514"/>
                  <a:gd name="connsiteX98" fmla="*/ 293689 w 406368"/>
                  <a:gd name="connsiteY98" fmla="*/ 11286 h 290514"/>
                  <a:gd name="connsiteX99" fmla="*/ 291925 w 406368"/>
                  <a:gd name="connsiteY99" fmla="*/ 14812 h 290514"/>
                  <a:gd name="connsiteX100" fmla="*/ 288663 w 406368"/>
                  <a:gd name="connsiteY100" fmla="*/ 16576 h 290514"/>
                  <a:gd name="connsiteX101" fmla="*/ 287517 w 406368"/>
                  <a:gd name="connsiteY101" fmla="*/ 16576 h 290514"/>
                  <a:gd name="connsiteX102" fmla="*/ 285137 w 406368"/>
                  <a:gd name="connsiteY102" fmla="*/ 16576 h 290514"/>
                  <a:gd name="connsiteX103" fmla="*/ 283990 w 406368"/>
                  <a:gd name="connsiteY103" fmla="*/ 16840 h 290514"/>
                  <a:gd name="connsiteX104" fmla="*/ 281345 w 406368"/>
                  <a:gd name="connsiteY104" fmla="*/ 17457 h 290514"/>
                  <a:gd name="connsiteX105" fmla="*/ 283373 w 406368"/>
                  <a:gd name="connsiteY105" fmla="*/ 19485 h 290514"/>
                  <a:gd name="connsiteX106" fmla="*/ 279582 w 406368"/>
                  <a:gd name="connsiteY106" fmla="*/ 19485 h 290514"/>
                  <a:gd name="connsiteX107" fmla="*/ 276055 w 406368"/>
                  <a:gd name="connsiteY107" fmla="*/ 17457 h 290514"/>
                  <a:gd name="connsiteX108" fmla="*/ 278965 w 406368"/>
                  <a:gd name="connsiteY108" fmla="*/ 16840 h 290514"/>
                  <a:gd name="connsiteX109" fmla="*/ 279582 w 406368"/>
                  <a:gd name="connsiteY109" fmla="*/ 15341 h 290514"/>
                  <a:gd name="connsiteX110" fmla="*/ 281698 w 406368"/>
                  <a:gd name="connsiteY110" fmla="*/ 14371 h 290514"/>
                  <a:gd name="connsiteX111" fmla="*/ 405310 w 406368"/>
                  <a:gd name="connsiteY111" fmla="*/ 28390 h 290514"/>
                  <a:gd name="connsiteX112" fmla="*/ 401254 w 406368"/>
                  <a:gd name="connsiteY112" fmla="*/ 28390 h 290514"/>
                  <a:gd name="connsiteX113" fmla="*/ 399226 w 406368"/>
                  <a:gd name="connsiteY113" fmla="*/ 29272 h 290514"/>
                  <a:gd name="connsiteX114" fmla="*/ 397198 w 406368"/>
                  <a:gd name="connsiteY114" fmla="*/ 29536 h 290514"/>
                  <a:gd name="connsiteX115" fmla="*/ 396934 w 406368"/>
                  <a:gd name="connsiteY115" fmla="*/ 28038 h 290514"/>
                  <a:gd name="connsiteX116" fmla="*/ 394289 w 406368"/>
                  <a:gd name="connsiteY116" fmla="*/ 27773 h 290514"/>
                  <a:gd name="connsiteX117" fmla="*/ 392878 w 406368"/>
                  <a:gd name="connsiteY117" fmla="*/ 28655 h 290514"/>
                  <a:gd name="connsiteX118" fmla="*/ 391732 w 406368"/>
                  <a:gd name="connsiteY118" fmla="*/ 26627 h 290514"/>
                  <a:gd name="connsiteX119" fmla="*/ 388470 w 406368"/>
                  <a:gd name="connsiteY119" fmla="*/ 26891 h 290514"/>
                  <a:gd name="connsiteX120" fmla="*/ 386177 w 406368"/>
                  <a:gd name="connsiteY120" fmla="*/ 27773 h 290514"/>
                  <a:gd name="connsiteX121" fmla="*/ 383885 w 406368"/>
                  <a:gd name="connsiteY121" fmla="*/ 30683 h 290514"/>
                  <a:gd name="connsiteX122" fmla="*/ 384767 w 406368"/>
                  <a:gd name="connsiteY122" fmla="*/ 28919 h 290514"/>
                  <a:gd name="connsiteX123" fmla="*/ 383356 w 406368"/>
                  <a:gd name="connsiteY123" fmla="*/ 27156 h 290514"/>
                  <a:gd name="connsiteX124" fmla="*/ 381593 w 406368"/>
                  <a:gd name="connsiteY124" fmla="*/ 26891 h 290514"/>
                  <a:gd name="connsiteX125" fmla="*/ 381328 w 406368"/>
                  <a:gd name="connsiteY125" fmla="*/ 25128 h 290514"/>
                  <a:gd name="connsiteX126" fmla="*/ 378948 w 406368"/>
                  <a:gd name="connsiteY126" fmla="*/ 25128 h 290514"/>
                  <a:gd name="connsiteX127" fmla="*/ 374010 w 406368"/>
                  <a:gd name="connsiteY127" fmla="*/ 23982 h 290514"/>
                  <a:gd name="connsiteX128" fmla="*/ 369602 w 406368"/>
                  <a:gd name="connsiteY128" fmla="*/ 22483 h 290514"/>
                  <a:gd name="connsiteX129" fmla="*/ 373658 w 406368"/>
                  <a:gd name="connsiteY129" fmla="*/ 22483 h 290514"/>
                  <a:gd name="connsiteX130" fmla="*/ 377449 w 406368"/>
                  <a:gd name="connsiteY130" fmla="*/ 21866 h 290514"/>
                  <a:gd name="connsiteX131" fmla="*/ 386795 w 406368"/>
                  <a:gd name="connsiteY131" fmla="*/ 23012 h 290514"/>
                  <a:gd name="connsiteX132" fmla="*/ 388205 w 406368"/>
                  <a:gd name="connsiteY132" fmla="*/ 20367 h 290514"/>
                  <a:gd name="connsiteX133" fmla="*/ 391115 w 406368"/>
                  <a:gd name="connsiteY133" fmla="*/ 21866 h 290514"/>
                  <a:gd name="connsiteX134" fmla="*/ 392878 w 406368"/>
                  <a:gd name="connsiteY134" fmla="*/ 22130 h 290514"/>
                  <a:gd name="connsiteX135" fmla="*/ 394289 w 406368"/>
                  <a:gd name="connsiteY135" fmla="*/ 22395 h 290514"/>
                  <a:gd name="connsiteX136" fmla="*/ 395788 w 406368"/>
                  <a:gd name="connsiteY136" fmla="*/ 20631 h 290514"/>
                  <a:gd name="connsiteX137" fmla="*/ 396934 w 406368"/>
                  <a:gd name="connsiteY137" fmla="*/ 20896 h 290514"/>
                  <a:gd name="connsiteX138" fmla="*/ 397551 w 406368"/>
                  <a:gd name="connsiteY138" fmla="*/ 20014 h 290514"/>
                  <a:gd name="connsiteX139" fmla="*/ 398697 w 406368"/>
                  <a:gd name="connsiteY139" fmla="*/ 21160 h 290514"/>
                  <a:gd name="connsiteX140" fmla="*/ 400990 w 406368"/>
                  <a:gd name="connsiteY140" fmla="*/ 19397 h 290514"/>
                  <a:gd name="connsiteX141" fmla="*/ 402136 w 406368"/>
                  <a:gd name="connsiteY141" fmla="*/ 19133 h 290514"/>
                  <a:gd name="connsiteX142" fmla="*/ 402753 w 406368"/>
                  <a:gd name="connsiteY142" fmla="*/ 17369 h 290514"/>
                  <a:gd name="connsiteX143" fmla="*/ 400990 w 406368"/>
                  <a:gd name="connsiteY143" fmla="*/ 17634 h 290514"/>
                  <a:gd name="connsiteX144" fmla="*/ 400990 w 406368"/>
                  <a:gd name="connsiteY144" fmla="*/ 14989 h 290514"/>
                  <a:gd name="connsiteX145" fmla="*/ 400373 w 406368"/>
                  <a:gd name="connsiteY145" fmla="*/ 15870 h 290514"/>
                  <a:gd name="connsiteX146" fmla="*/ 399491 w 406368"/>
                  <a:gd name="connsiteY146" fmla="*/ 15253 h 290514"/>
                  <a:gd name="connsiteX147" fmla="*/ 395964 w 406368"/>
                  <a:gd name="connsiteY147" fmla="*/ 13490 h 290514"/>
                  <a:gd name="connsiteX148" fmla="*/ 395700 w 406368"/>
                  <a:gd name="connsiteY148" fmla="*/ 14107 h 290514"/>
                  <a:gd name="connsiteX149" fmla="*/ 391027 w 406368"/>
                  <a:gd name="connsiteY149" fmla="*/ 13842 h 290514"/>
                  <a:gd name="connsiteX150" fmla="*/ 379653 w 406368"/>
                  <a:gd name="connsiteY150" fmla="*/ 16487 h 290514"/>
                  <a:gd name="connsiteX151" fmla="*/ 388999 w 406368"/>
                  <a:gd name="connsiteY151" fmla="*/ 13313 h 290514"/>
                  <a:gd name="connsiteX152" fmla="*/ 388734 w 406368"/>
                  <a:gd name="connsiteY152" fmla="*/ 11550 h 290514"/>
                  <a:gd name="connsiteX153" fmla="*/ 385825 w 406368"/>
                  <a:gd name="connsiteY153" fmla="*/ 10668 h 290514"/>
                  <a:gd name="connsiteX154" fmla="*/ 382033 w 406368"/>
                  <a:gd name="connsiteY154" fmla="*/ 10668 h 290514"/>
                  <a:gd name="connsiteX155" fmla="*/ 379124 w 406368"/>
                  <a:gd name="connsiteY155" fmla="*/ 10404 h 290514"/>
                  <a:gd name="connsiteX156" fmla="*/ 377713 w 406368"/>
                  <a:gd name="connsiteY156" fmla="*/ 13313 h 290514"/>
                  <a:gd name="connsiteX157" fmla="*/ 375333 w 406368"/>
                  <a:gd name="connsiteY157" fmla="*/ 10668 h 290514"/>
                  <a:gd name="connsiteX158" fmla="*/ 374716 w 406368"/>
                  <a:gd name="connsiteY158" fmla="*/ 10404 h 290514"/>
                  <a:gd name="connsiteX159" fmla="*/ 374451 w 406368"/>
                  <a:gd name="connsiteY159" fmla="*/ 9258 h 290514"/>
                  <a:gd name="connsiteX160" fmla="*/ 372159 w 406368"/>
                  <a:gd name="connsiteY160" fmla="*/ 7494 h 290514"/>
                  <a:gd name="connsiteX161" fmla="*/ 368984 w 406368"/>
                  <a:gd name="connsiteY161" fmla="*/ 7759 h 290514"/>
                  <a:gd name="connsiteX162" fmla="*/ 367486 w 406368"/>
                  <a:gd name="connsiteY162" fmla="*/ 6613 h 290514"/>
                  <a:gd name="connsiteX163" fmla="*/ 366604 w 406368"/>
                  <a:gd name="connsiteY163" fmla="*/ 8376 h 290514"/>
                  <a:gd name="connsiteX164" fmla="*/ 366340 w 406368"/>
                  <a:gd name="connsiteY164" fmla="*/ 11021 h 290514"/>
                  <a:gd name="connsiteX165" fmla="*/ 364312 w 406368"/>
                  <a:gd name="connsiteY165" fmla="*/ 10404 h 290514"/>
                  <a:gd name="connsiteX166" fmla="*/ 363430 w 406368"/>
                  <a:gd name="connsiteY166" fmla="*/ 8376 h 290514"/>
                  <a:gd name="connsiteX167" fmla="*/ 361667 w 406368"/>
                  <a:gd name="connsiteY167" fmla="*/ 11021 h 290514"/>
                  <a:gd name="connsiteX168" fmla="*/ 361667 w 406368"/>
                  <a:gd name="connsiteY168" fmla="*/ 13313 h 290514"/>
                  <a:gd name="connsiteX169" fmla="*/ 360785 w 406368"/>
                  <a:gd name="connsiteY169" fmla="*/ 15077 h 290514"/>
                  <a:gd name="connsiteX170" fmla="*/ 359374 w 406368"/>
                  <a:gd name="connsiteY170" fmla="*/ 19133 h 290514"/>
                  <a:gd name="connsiteX171" fmla="*/ 359110 w 406368"/>
                  <a:gd name="connsiteY171" fmla="*/ 19133 h 290514"/>
                  <a:gd name="connsiteX172" fmla="*/ 357963 w 406368"/>
                  <a:gd name="connsiteY172" fmla="*/ 15341 h 290514"/>
                  <a:gd name="connsiteX173" fmla="*/ 356817 w 406368"/>
                  <a:gd name="connsiteY173" fmla="*/ 15341 h 290514"/>
                  <a:gd name="connsiteX174" fmla="*/ 355671 w 406368"/>
                  <a:gd name="connsiteY174" fmla="*/ 15077 h 290514"/>
                  <a:gd name="connsiteX175" fmla="*/ 355054 w 406368"/>
                  <a:gd name="connsiteY175" fmla="*/ 13578 h 290514"/>
                  <a:gd name="connsiteX176" fmla="*/ 355936 w 406368"/>
                  <a:gd name="connsiteY176" fmla="*/ 10933 h 290514"/>
                  <a:gd name="connsiteX177" fmla="*/ 353290 w 406368"/>
                  <a:gd name="connsiteY177" fmla="*/ 11815 h 290514"/>
                  <a:gd name="connsiteX178" fmla="*/ 351792 w 406368"/>
                  <a:gd name="connsiteY178" fmla="*/ 11197 h 290514"/>
                  <a:gd name="connsiteX179" fmla="*/ 353290 w 406368"/>
                  <a:gd name="connsiteY179" fmla="*/ 10316 h 290514"/>
                  <a:gd name="connsiteX180" fmla="*/ 351263 w 406368"/>
                  <a:gd name="connsiteY180" fmla="*/ 9170 h 290514"/>
                  <a:gd name="connsiteX181" fmla="*/ 352145 w 406368"/>
                  <a:gd name="connsiteY181" fmla="*/ 8288 h 290514"/>
                  <a:gd name="connsiteX182" fmla="*/ 355671 w 406368"/>
                  <a:gd name="connsiteY182" fmla="*/ 8288 h 290514"/>
                  <a:gd name="connsiteX183" fmla="*/ 357434 w 406368"/>
                  <a:gd name="connsiteY183" fmla="*/ 7671 h 290514"/>
                  <a:gd name="connsiteX184" fmla="*/ 359198 w 406368"/>
                  <a:gd name="connsiteY184" fmla="*/ 6789 h 290514"/>
                  <a:gd name="connsiteX185" fmla="*/ 360080 w 406368"/>
                  <a:gd name="connsiteY185" fmla="*/ 5643 h 290514"/>
                  <a:gd name="connsiteX186" fmla="*/ 357699 w 406368"/>
                  <a:gd name="connsiteY186" fmla="*/ 4144 h 290514"/>
                  <a:gd name="connsiteX187" fmla="*/ 355407 w 406368"/>
                  <a:gd name="connsiteY187" fmla="*/ 3615 h 290514"/>
                  <a:gd name="connsiteX188" fmla="*/ 354260 w 406368"/>
                  <a:gd name="connsiteY188" fmla="*/ 2733 h 290514"/>
                  <a:gd name="connsiteX189" fmla="*/ 350469 w 406368"/>
                  <a:gd name="connsiteY189" fmla="*/ 2998 h 290514"/>
                  <a:gd name="connsiteX190" fmla="*/ 350205 w 406368"/>
                  <a:gd name="connsiteY190" fmla="*/ 4761 h 290514"/>
                  <a:gd name="connsiteX191" fmla="*/ 349323 w 406368"/>
                  <a:gd name="connsiteY191" fmla="*/ 6260 h 290514"/>
                  <a:gd name="connsiteX192" fmla="*/ 348177 w 406368"/>
                  <a:gd name="connsiteY192" fmla="*/ 8023 h 290514"/>
                  <a:gd name="connsiteX193" fmla="*/ 347031 w 406368"/>
                  <a:gd name="connsiteY193" fmla="*/ 6524 h 290514"/>
                  <a:gd name="connsiteX194" fmla="*/ 347031 w 406368"/>
                  <a:gd name="connsiteY194" fmla="*/ 8552 h 290514"/>
                  <a:gd name="connsiteX195" fmla="*/ 348530 w 406368"/>
                  <a:gd name="connsiteY195" fmla="*/ 9434 h 290514"/>
                  <a:gd name="connsiteX196" fmla="*/ 349147 w 406368"/>
                  <a:gd name="connsiteY196" fmla="*/ 10051 h 290514"/>
                  <a:gd name="connsiteX197" fmla="*/ 348001 w 406368"/>
                  <a:gd name="connsiteY197" fmla="*/ 10316 h 290514"/>
                  <a:gd name="connsiteX198" fmla="*/ 347736 w 406368"/>
                  <a:gd name="connsiteY198" fmla="*/ 11462 h 290514"/>
                  <a:gd name="connsiteX199" fmla="*/ 346854 w 406368"/>
                  <a:gd name="connsiteY199" fmla="*/ 13225 h 290514"/>
                  <a:gd name="connsiteX200" fmla="*/ 345973 w 406368"/>
                  <a:gd name="connsiteY200" fmla="*/ 14107 h 290514"/>
                  <a:gd name="connsiteX201" fmla="*/ 343328 w 406368"/>
                  <a:gd name="connsiteY201" fmla="*/ 13225 h 290514"/>
                  <a:gd name="connsiteX202" fmla="*/ 340947 w 406368"/>
                  <a:gd name="connsiteY202" fmla="*/ 12961 h 290514"/>
                  <a:gd name="connsiteX203" fmla="*/ 339448 w 406368"/>
                  <a:gd name="connsiteY203" fmla="*/ 14460 h 290514"/>
                  <a:gd name="connsiteX204" fmla="*/ 337685 w 406368"/>
                  <a:gd name="connsiteY204" fmla="*/ 14724 h 290514"/>
                  <a:gd name="connsiteX205" fmla="*/ 334775 w 406368"/>
                  <a:gd name="connsiteY205" fmla="*/ 15341 h 290514"/>
                  <a:gd name="connsiteX206" fmla="*/ 333365 w 406368"/>
                  <a:gd name="connsiteY206" fmla="*/ 16752 h 290514"/>
                  <a:gd name="connsiteX207" fmla="*/ 332483 w 406368"/>
                  <a:gd name="connsiteY207" fmla="*/ 16487 h 290514"/>
                  <a:gd name="connsiteX208" fmla="*/ 326928 w 406368"/>
                  <a:gd name="connsiteY208" fmla="*/ 18868 h 290514"/>
                  <a:gd name="connsiteX209" fmla="*/ 328074 w 406368"/>
                  <a:gd name="connsiteY209" fmla="*/ 15694 h 290514"/>
                  <a:gd name="connsiteX210" fmla="*/ 332130 w 406368"/>
                  <a:gd name="connsiteY210" fmla="*/ 13931 h 290514"/>
                  <a:gd name="connsiteX211" fmla="*/ 335392 w 406368"/>
                  <a:gd name="connsiteY211" fmla="*/ 12432 h 290514"/>
                  <a:gd name="connsiteX212" fmla="*/ 339448 w 406368"/>
                  <a:gd name="connsiteY212" fmla="*/ 11550 h 290514"/>
                  <a:gd name="connsiteX213" fmla="*/ 341829 w 406368"/>
                  <a:gd name="connsiteY213" fmla="*/ 8905 h 290514"/>
                  <a:gd name="connsiteX214" fmla="*/ 341829 w 406368"/>
                  <a:gd name="connsiteY214" fmla="*/ 6877 h 290514"/>
                  <a:gd name="connsiteX215" fmla="*/ 344738 w 406368"/>
                  <a:gd name="connsiteY215" fmla="*/ 5466 h 290514"/>
                  <a:gd name="connsiteX216" fmla="*/ 344121 w 406368"/>
                  <a:gd name="connsiteY216" fmla="*/ 3968 h 290514"/>
                  <a:gd name="connsiteX217" fmla="*/ 344121 w 406368"/>
                  <a:gd name="connsiteY217" fmla="*/ 1675 h 290514"/>
                  <a:gd name="connsiteX218" fmla="*/ 341476 w 406368"/>
                  <a:gd name="connsiteY218" fmla="*/ 1675 h 290514"/>
                  <a:gd name="connsiteX219" fmla="*/ 339977 w 406368"/>
                  <a:gd name="connsiteY219" fmla="*/ 793 h 290514"/>
                  <a:gd name="connsiteX220" fmla="*/ 338478 w 406368"/>
                  <a:gd name="connsiteY220" fmla="*/ 3703 h 290514"/>
                  <a:gd name="connsiteX221" fmla="*/ 337332 w 406368"/>
                  <a:gd name="connsiteY221" fmla="*/ 4585 h 290514"/>
                  <a:gd name="connsiteX222" fmla="*/ 335304 w 406368"/>
                  <a:gd name="connsiteY222" fmla="*/ 5731 h 290514"/>
                  <a:gd name="connsiteX223" fmla="*/ 333805 w 406368"/>
                  <a:gd name="connsiteY223" fmla="*/ 6260 h 290514"/>
                  <a:gd name="connsiteX224" fmla="*/ 333541 w 406368"/>
                  <a:gd name="connsiteY224" fmla="*/ 7759 h 290514"/>
                  <a:gd name="connsiteX225" fmla="*/ 332924 w 406368"/>
                  <a:gd name="connsiteY225" fmla="*/ 10668 h 290514"/>
                  <a:gd name="connsiteX226" fmla="*/ 331513 w 406368"/>
                  <a:gd name="connsiteY226" fmla="*/ 10051 h 290514"/>
                  <a:gd name="connsiteX227" fmla="*/ 330631 w 406368"/>
                  <a:gd name="connsiteY227" fmla="*/ 12079 h 290514"/>
                  <a:gd name="connsiteX228" fmla="*/ 328339 w 406368"/>
                  <a:gd name="connsiteY228" fmla="*/ 12961 h 290514"/>
                  <a:gd name="connsiteX229" fmla="*/ 326311 w 406368"/>
                  <a:gd name="connsiteY229" fmla="*/ 14460 h 290514"/>
                  <a:gd name="connsiteX230" fmla="*/ 323666 w 406368"/>
                  <a:gd name="connsiteY230" fmla="*/ 17105 h 290514"/>
                  <a:gd name="connsiteX231" fmla="*/ 322167 w 406368"/>
                  <a:gd name="connsiteY231" fmla="*/ 20014 h 290514"/>
                  <a:gd name="connsiteX232" fmla="*/ 320404 w 406368"/>
                  <a:gd name="connsiteY232" fmla="*/ 21513 h 290514"/>
                  <a:gd name="connsiteX233" fmla="*/ 318640 w 406368"/>
                  <a:gd name="connsiteY233" fmla="*/ 23012 h 290514"/>
                  <a:gd name="connsiteX234" fmla="*/ 316613 w 406368"/>
                  <a:gd name="connsiteY234" fmla="*/ 22130 h 290514"/>
                  <a:gd name="connsiteX235" fmla="*/ 315731 w 406368"/>
                  <a:gd name="connsiteY235" fmla="*/ 21513 h 290514"/>
                  <a:gd name="connsiteX236" fmla="*/ 314849 w 406368"/>
                  <a:gd name="connsiteY236" fmla="*/ 22659 h 290514"/>
                  <a:gd name="connsiteX237" fmla="*/ 313086 w 406368"/>
                  <a:gd name="connsiteY237" fmla="*/ 22395 h 290514"/>
                  <a:gd name="connsiteX238" fmla="*/ 311323 w 406368"/>
                  <a:gd name="connsiteY238" fmla="*/ 23012 h 290514"/>
                  <a:gd name="connsiteX239" fmla="*/ 314849 w 406368"/>
                  <a:gd name="connsiteY239" fmla="*/ 20720 h 290514"/>
                  <a:gd name="connsiteX240" fmla="*/ 312821 w 406368"/>
                  <a:gd name="connsiteY240" fmla="*/ 20720 h 290514"/>
                  <a:gd name="connsiteX241" fmla="*/ 314849 w 406368"/>
                  <a:gd name="connsiteY241" fmla="*/ 19221 h 290514"/>
                  <a:gd name="connsiteX242" fmla="*/ 315995 w 406368"/>
                  <a:gd name="connsiteY242" fmla="*/ 17457 h 290514"/>
                  <a:gd name="connsiteX243" fmla="*/ 314496 w 406368"/>
                  <a:gd name="connsiteY243" fmla="*/ 16311 h 290514"/>
                  <a:gd name="connsiteX244" fmla="*/ 316524 w 406368"/>
                  <a:gd name="connsiteY244" fmla="*/ 16047 h 290514"/>
                  <a:gd name="connsiteX245" fmla="*/ 318023 w 406368"/>
                  <a:gd name="connsiteY245" fmla="*/ 13666 h 290514"/>
                  <a:gd name="connsiteX246" fmla="*/ 320668 w 406368"/>
                  <a:gd name="connsiteY246" fmla="*/ 12784 h 290514"/>
                  <a:gd name="connsiteX247" fmla="*/ 321550 w 406368"/>
                  <a:gd name="connsiteY247" fmla="*/ 10756 h 290514"/>
                  <a:gd name="connsiteX248" fmla="*/ 325077 w 406368"/>
                  <a:gd name="connsiteY248" fmla="*/ 10492 h 290514"/>
                  <a:gd name="connsiteX249" fmla="*/ 325959 w 406368"/>
                  <a:gd name="connsiteY249" fmla="*/ 8464 h 290514"/>
                  <a:gd name="connsiteX250" fmla="*/ 326575 w 406368"/>
                  <a:gd name="connsiteY250" fmla="*/ 4937 h 290514"/>
                  <a:gd name="connsiteX251" fmla="*/ 328339 w 406368"/>
                  <a:gd name="connsiteY251" fmla="*/ 4673 h 290514"/>
                  <a:gd name="connsiteX252" fmla="*/ 328956 w 406368"/>
                  <a:gd name="connsiteY252" fmla="*/ 2381 h 290514"/>
                  <a:gd name="connsiteX253" fmla="*/ 327193 w 406368"/>
                  <a:gd name="connsiteY253" fmla="*/ 882 h 290514"/>
                  <a:gd name="connsiteX254" fmla="*/ 325430 w 406368"/>
                  <a:gd name="connsiteY254" fmla="*/ 0 h 290514"/>
                  <a:gd name="connsiteX255" fmla="*/ 323402 w 406368"/>
                  <a:gd name="connsiteY255" fmla="*/ 0 h 290514"/>
                  <a:gd name="connsiteX256" fmla="*/ 320227 w 406368"/>
                  <a:gd name="connsiteY256" fmla="*/ 1763 h 290514"/>
                  <a:gd name="connsiteX257" fmla="*/ 317935 w 406368"/>
                  <a:gd name="connsiteY257" fmla="*/ 3527 h 290514"/>
                  <a:gd name="connsiteX258" fmla="*/ 318464 w 406368"/>
                  <a:gd name="connsiteY258" fmla="*/ 4408 h 290514"/>
                  <a:gd name="connsiteX259" fmla="*/ 317053 w 406368"/>
                  <a:gd name="connsiteY259" fmla="*/ 6436 h 290514"/>
                  <a:gd name="connsiteX260" fmla="*/ 315290 w 406368"/>
                  <a:gd name="connsiteY260" fmla="*/ 7318 h 290514"/>
                  <a:gd name="connsiteX261" fmla="*/ 313262 w 406368"/>
                  <a:gd name="connsiteY261" fmla="*/ 7935 h 290514"/>
                  <a:gd name="connsiteX262" fmla="*/ 311499 w 406368"/>
                  <a:gd name="connsiteY262" fmla="*/ 7671 h 290514"/>
                  <a:gd name="connsiteX263" fmla="*/ 308854 w 406368"/>
                  <a:gd name="connsiteY263" fmla="*/ 7406 h 290514"/>
                  <a:gd name="connsiteX264" fmla="*/ 305944 w 406368"/>
                  <a:gd name="connsiteY264" fmla="*/ 8552 h 290514"/>
                  <a:gd name="connsiteX265" fmla="*/ 303652 w 406368"/>
                  <a:gd name="connsiteY265" fmla="*/ 8288 h 290514"/>
                  <a:gd name="connsiteX266" fmla="*/ 304798 w 406368"/>
                  <a:gd name="connsiteY266" fmla="*/ 6260 h 290514"/>
                  <a:gd name="connsiteX267" fmla="*/ 301359 w 406368"/>
                  <a:gd name="connsiteY267" fmla="*/ 5995 h 290514"/>
                  <a:gd name="connsiteX268" fmla="*/ 300213 w 406368"/>
                  <a:gd name="connsiteY268" fmla="*/ 6524 h 290514"/>
                  <a:gd name="connsiteX269" fmla="*/ 300213 w 406368"/>
                  <a:gd name="connsiteY269" fmla="*/ 10051 h 290514"/>
                  <a:gd name="connsiteX270" fmla="*/ 296687 w 406368"/>
                  <a:gd name="connsiteY270" fmla="*/ 8552 h 290514"/>
                  <a:gd name="connsiteX271" fmla="*/ 298185 w 406368"/>
                  <a:gd name="connsiteY271" fmla="*/ 10051 h 290514"/>
                  <a:gd name="connsiteX272" fmla="*/ 300478 w 406368"/>
                  <a:gd name="connsiteY272" fmla="*/ 11197 h 290514"/>
                  <a:gd name="connsiteX273" fmla="*/ 300213 w 406368"/>
                  <a:gd name="connsiteY273" fmla="*/ 11815 h 290514"/>
                  <a:gd name="connsiteX274" fmla="*/ 296687 w 406368"/>
                  <a:gd name="connsiteY274" fmla="*/ 11815 h 290514"/>
                  <a:gd name="connsiteX275" fmla="*/ 295805 w 406368"/>
                  <a:gd name="connsiteY275" fmla="*/ 13842 h 290514"/>
                  <a:gd name="connsiteX276" fmla="*/ 294394 w 406368"/>
                  <a:gd name="connsiteY276" fmla="*/ 14724 h 290514"/>
                  <a:gd name="connsiteX277" fmla="*/ 293777 w 406368"/>
                  <a:gd name="connsiteY277" fmla="*/ 16487 h 290514"/>
                  <a:gd name="connsiteX278" fmla="*/ 293072 w 406368"/>
                  <a:gd name="connsiteY278" fmla="*/ 18780 h 290514"/>
                  <a:gd name="connsiteX279" fmla="*/ 292190 w 406368"/>
                  <a:gd name="connsiteY279" fmla="*/ 21689 h 290514"/>
                  <a:gd name="connsiteX280" fmla="*/ 287252 w 406368"/>
                  <a:gd name="connsiteY280" fmla="*/ 21954 h 290514"/>
                  <a:gd name="connsiteX281" fmla="*/ 285489 w 406368"/>
                  <a:gd name="connsiteY281" fmla="*/ 19044 h 290514"/>
                  <a:gd name="connsiteX282" fmla="*/ 284872 w 406368"/>
                  <a:gd name="connsiteY282" fmla="*/ 20543 h 290514"/>
                  <a:gd name="connsiteX283" fmla="*/ 282227 w 406368"/>
                  <a:gd name="connsiteY283" fmla="*/ 20808 h 290514"/>
                  <a:gd name="connsiteX284" fmla="*/ 282844 w 406368"/>
                  <a:gd name="connsiteY284" fmla="*/ 22218 h 290514"/>
                  <a:gd name="connsiteX285" fmla="*/ 281433 w 406368"/>
                  <a:gd name="connsiteY285" fmla="*/ 21601 h 290514"/>
                  <a:gd name="connsiteX286" fmla="*/ 280816 w 406368"/>
                  <a:gd name="connsiteY286" fmla="*/ 23365 h 290514"/>
                  <a:gd name="connsiteX287" fmla="*/ 279670 w 406368"/>
                  <a:gd name="connsiteY287" fmla="*/ 22747 h 290514"/>
                  <a:gd name="connsiteX288" fmla="*/ 278524 w 406368"/>
                  <a:gd name="connsiteY288" fmla="*/ 23629 h 290514"/>
                  <a:gd name="connsiteX289" fmla="*/ 277642 w 406368"/>
                  <a:gd name="connsiteY289" fmla="*/ 25657 h 290514"/>
                  <a:gd name="connsiteX290" fmla="*/ 274997 w 406368"/>
                  <a:gd name="connsiteY290" fmla="*/ 26539 h 290514"/>
                  <a:gd name="connsiteX291" fmla="*/ 273234 w 406368"/>
                  <a:gd name="connsiteY291" fmla="*/ 22747 h 290514"/>
                  <a:gd name="connsiteX292" fmla="*/ 275879 w 406368"/>
                  <a:gd name="connsiteY292" fmla="*/ 20720 h 290514"/>
                  <a:gd name="connsiteX293" fmla="*/ 272969 w 406368"/>
                  <a:gd name="connsiteY293" fmla="*/ 21337 h 290514"/>
                  <a:gd name="connsiteX294" fmla="*/ 271559 w 406368"/>
                  <a:gd name="connsiteY294" fmla="*/ 19044 h 290514"/>
                  <a:gd name="connsiteX295" fmla="*/ 270060 w 406368"/>
                  <a:gd name="connsiteY295" fmla="*/ 20191 h 290514"/>
                  <a:gd name="connsiteX296" fmla="*/ 268032 w 406368"/>
                  <a:gd name="connsiteY296" fmla="*/ 21072 h 290514"/>
                  <a:gd name="connsiteX297" fmla="*/ 267767 w 406368"/>
                  <a:gd name="connsiteY297" fmla="*/ 21689 h 290514"/>
                  <a:gd name="connsiteX298" fmla="*/ 265387 w 406368"/>
                  <a:gd name="connsiteY298" fmla="*/ 20191 h 290514"/>
                  <a:gd name="connsiteX299" fmla="*/ 262742 w 406368"/>
                  <a:gd name="connsiteY299" fmla="*/ 19573 h 290514"/>
                  <a:gd name="connsiteX300" fmla="*/ 259215 w 406368"/>
                  <a:gd name="connsiteY300" fmla="*/ 19838 h 290514"/>
                  <a:gd name="connsiteX301" fmla="*/ 257452 w 406368"/>
                  <a:gd name="connsiteY301" fmla="*/ 20455 h 290514"/>
                  <a:gd name="connsiteX302" fmla="*/ 255159 w 406368"/>
                  <a:gd name="connsiteY302" fmla="*/ 19838 h 290514"/>
                  <a:gd name="connsiteX303" fmla="*/ 253660 w 406368"/>
                  <a:gd name="connsiteY303" fmla="*/ 19221 h 290514"/>
                  <a:gd name="connsiteX304" fmla="*/ 251897 w 406368"/>
                  <a:gd name="connsiteY304" fmla="*/ 20102 h 290514"/>
                  <a:gd name="connsiteX305" fmla="*/ 251015 w 406368"/>
                  <a:gd name="connsiteY305" fmla="*/ 20720 h 290514"/>
                  <a:gd name="connsiteX306" fmla="*/ 253396 w 406368"/>
                  <a:gd name="connsiteY306" fmla="*/ 21866 h 290514"/>
                  <a:gd name="connsiteX307" fmla="*/ 256305 w 406368"/>
                  <a:gd name="connsiteY307" fmla="*/ 22747 h 290514"/>
                  <a:gd name="connsiteX308" fmla="*/ 259832 w 406368"/>
                  <a:gd name="connsiteY308" fmla="*/ 23012 h 290514"/>
                  <a:gd name="connsiteX309" fmla="*/ 261595 w 406368"/>
                  <a:gd name="connsiteY309" fmla="*/ 23012 h 290514"/>
                  <a:gd name="connsiteX310" fmla="*/ 260978 w 406368"/>
                  <a:gd name="connsiteY310" fmla="*/ 24158 h 290514"/>
                  <a:gd name="connsiteX311" fmla="*/ 262477 w 406368"/>
                  <a:gd name="connsiteY311" fmla="*/ 25040 h 290514"/>
                  <a:gd name="connsiteX312" fmla="*/ 258686 w 406368"/>
                  <a:gd name="connsiteY312" fmla="*/ 25304 h 290514"/>
                  <a:gd name="connsiteX313" fmla="*/ 263359 w 406368"/>
                  <a:gd name="connsiteY313" fmla="*/ 28214 h 290514"/>
                  <a:gd name="connsiteX314" fmla="*/ 263888 w 406368"/>
                  <a:gd name="connsiteY314" fmla="*/ 29360 h 290514"/>
                  <a:gd name="connsiteX315" fmla="*/ 261243 w 406368"/>
                  <a:gd name="connsiteY315" fmla="*/ 28214 h 290514"/>
                  <a:gd name="connsiteX316" fmla="*/ 254807 w 406368"/>
                  <a:gd name="connsiteY316" fmla="*/ 26451 h 290514"/>
                  <a:gd name="connsiteX317" fmla="*/ 253308 w 406368"/>
                  <a:gd name="connsiteY317" fmla="*/ 24952 h 290514"/>
                  <a:gd name="connsiteX318" fmla="*/ 250663 w 406368"/>
                  <a:gd name="connsiteY318" fmla="*/ 26451 h 290514"/>
                  <a:gd name="connsiteX319" fmla="*/ 249164 w 406368"/>
                  <a:gd name="connsiteY319" fmla="*/ 27861 h 290514"/>
                  <a:gd name="connsiteX320" fmla="*/ 247665 w 406368"/>
                  <a:gd name="connsiteY320" fmla="*/ 27861 h 290514"/>
                  <a:gd name="connsiteX321" fmla="*/ 246519 w 406368"/>
                  <a:gd name="connsiteY321" fmla="*/ 28478 h 290514"/>
                  <a:gd name="connsiteX322" fmla="*/ 245372 w 406368"/>
                  <a:gd name="connsiteY322" fmla="*/ 26980 h 290514"/>
                  <a:gd name="connsiteX323" fmla="*/ 243609 w 406368"/>
                  <a:gd name="connsiteY323" fmla="*/ 27861 h 290514"/>
                  <a:gd name="connsiteX324" fmla="*/ 242728 w 406368"/>
                  <a:gd name="connsiteY324" fmla="*/ 26980 h 290514"/>
                  <a:gd name="connsiteX325" fmla="*/ 240082 w 406368"/>
                  <a:gd name="connsiteY325" fmla="*/ 28126 h 290514"/>
                  <a:gd name="connsiteX326" fmla="*/ 241581 w 406368"/>
                  <a:gd name="connsiteY326" fmla="*/ 29889 h 290514"/>
                  <a:gd name="connsiteX327" fmla="*/ 240964 w 406368"/>
                  <a:gd name="connsiteY327" fmla="*/ 31388 h 290514"/>
                  <a:gd name="connsiteX328" fmla="*/ 243874 w 406368"/>
                  <a:gd name="connsiteY328" fmla="*/ 30859 h 290514"/>
                  <a:gd name="connsiteX329" fmla="*/ 245901 w 406368"/>
                  <a:gd name="connsiteY329" fmla="*/ 30242 h 290514"/>
                  <a:gd name="connsiteX330" fmla="*/ 246519 w 406368"/>
                  <a:gd name="connsiteY330" fmla="*/ 31123 h 290514"/>
                  <a:gd name="connsiteX331" fmla="*/ 248018 w 406368"/>
                  <a:gd name="connsiteY331" fmla="*/ 30242 h 290514"/>
                  <a:gd name="connsiteX332" fmla="*/ 249781 w 406368"/>
                  <a:gd name="connsiteY332" fmla="*/ 29625 h 290514"/>
                  <a:gd name="connsiteX333" fmla="*/ 254718 w 406368"/>
                  <a:gd name="connsiteY333" fmla="*/ 31123 h 290514"/>
                  <a:gd name="connsiteX334" fmla="*/ 239553 w 406368"/>
                  <a:gd name="connsiteY334" fmla="*/ 34650 h 290514"/>
                  <a:gd name="connsiteX335" fmla="*/ 242463 w 406368"/>
                  <a:gd name="connsiteY335" fmla="*/ 34915 h 290514"/>
                  <a:gd name="connsiteX336" fmla="*/ 237790 w 406368"/>
                  <a:gd name="connsiteY336" fmla="*/ 36678 h 290514"/>
                  <a:gd name="connsiteX337" fmla="*/ 233382 w 406368"/>
                  <a:gd name="connsiteY337" fmla="*/ 38970 h 290514"/>
                  <a:gd name="connsiteX338" fmla="*/ 233646 w 406368"/>
                  <a:gd name="connsiteY338" fmla="*/ 38089 h 290514"/>
                  <a:gd name="connsiteX339" fmla="*/ 236556 w 406368"/>
                  <a:gd name="connsiteY339" fmla="*/ 35444 h 290514"/>
                  <a:gd name="connsiteX340" fmla="*/ 238055 w 406368"/>
                  <a:gd name="connsiteY340" fmla="*/ 33063 h 290514"/>
                  <a:gd name="connsiteX341" fmla="*/ 236908 w 406368"/>
                  <a:gd name="connsiteY341" fmla="*/ 28390 h 290514"/>
                  <a:gd name="connsiteX342" fmla="*/ 234880 w 406368"/>
                  <a:gd name="connsiteY342" fmla="*/ 26891 h 290514"/>
                  <a:gd name="connsiteX343" fmla="*/ 233117 w 406368"/>
                  <a:gd name="connsiteY343" fmla="*/ 27156 h 290514"/>
                  <a:gd name="connsiteX344" fmla="*/ 230208 w 406368"/>
                  <a:gd name="connsiteY344" fmla="*/ 26891 h 290514"/>
                  <a:gd name="connsiteX345" fmla="*/ 230472 w 406368"/>
                  <a:gd name="connsiteY345" fmla="*/ 29184 h 290514"/>
                  <a:gd name="connsiteX346" fmla="*/ 235409 w 406368"/>
                  <a:gd name="connsiteY346" fmla="*/ 30683 h 290514"/>
                  <a:gd name="connsiteX347" fmla="*/ 234263 w 406368"/>
                  <a:gd name="connsiteY347" fmla="*/ 32446 h 290514"/>
                  <a:gd name="connsiteX348" fmla="*/ 231001 w 406368"/>
                  <a:gd name="connsiteY348" fmla="*/ 32181 h 290514"/>
                  <a:gd name="connsiteX349" fmla="*/ 229238 w 406368"/>
                  <a:gd name="connsiteY349" fmla="*/ 39499 h 290514"/>
                  <a:gd name="connsiteX350" fmla="*/ 227210 w 406368"/>
                  <a:gd name="connsiteY350" fmla="*/ 35444 h 290514"/>
                  <a:gd name="connsiteX351" fmla="*/ 226593 w 406368"/>
                  <a:gd name="connsiteY351" fmla="*/ 35708 h 290514"/>
                  <a:gd name="connsiteX352" fmla="*/ 220773 w 406368"/>
                  <a:gd name="connsiteY352" fmla="*/ 34297 h 290514"/>
                  <a:gd name="connsiteX353" fmla="*/ 222272 w 406368"/>
                  <a:gd name="connsiteY353" fmla="*/ 33416 h 290514"/>
                  <a:gd name="connsiteX354" fmla="*/ 223771 w 406368"/>
                  <a:gd name="connsiteY354" fmla="*/ 34033 h 290514"/>
                  <a:gd name="connsiteX355" fmla="*/ 225799 w 406368"/>
                  <a:gd name="connsiteY355" fmla="*/ 32270 h 290514"/>
                  <a:gd name="connsiteX356" fmla="*/ 226416 w 406368"/>
                  <a:gd name="connsiteY356" fmla="*/ 31123 h 290514"/>
                  <a:gd name="connsiteX357" fmla="*/ 223771 w 406368"/>
                  <a:gd name="connsiteY357" fmla="*/ 28214 h 290514"/>
                  <a:gd name="connsiteX358" fmla="*/ 222272 w 406368"/>
                  <a:gd name="connsiteY358" fmla="*/ 29096 h 290514"/>
                  <a:gd name="connsiteX359" fmla="*/ 221126 w 406368"/>
                  <a:gd name="connsiteY359" fmla="*/ 28831 h 290514"/>
                  <a:gd name="connsiteX360" fmla="*/ 220862 w 406368"/>
                  <a:gd name="connsiteY360" fmla="*/ 29977 h 290514"/>
                  <a:gd name="connsiteX361" fmla="*/ 219451 w 406368"/>
                  <a:gd name="connsiteY361" fmla="*/ 30859 h 290514"/>
                  <a:gd name="connsiteX362" fmla="*/ 217688 w 406368"/>
                  <a:gd name="connsiteY362" fmla="*/ 30594 h 290514"/>
                  <a:gd name="connsiteX363" fmla="*/ 217952 w 406368"/>
                  <a:gd name="connsiteY363" fmla="*/ 32093 h 290514"/>
                  <a:gd name="connsiteX364" fmla="*/ 216806 w 406368"/>
                  <a:gd name="connsiteY364" fmla="*/ 33239 h 290514"/>
                  <a:gd name="connsiteX365" fmla="*/ 218834 w 406368"/>
                  <a:gd name="connsiteY365" fmla="*/ 34386 h 290514"/>
                  <a:gd name="connsiteX366" fmla="*/ 218569 w 406368"/>
                  <a:gd name="connsiteY366" fmla="*/ 35796 h 290514"/>
                  <a:gd name="connsiteX367" fmla="*/ 220068 w 406368"/>
                  <a:gd name="connsiteY367" fmla="*/ 37295 h 290514"/>
                  <a:gd name="connsiteX368" fmla="*/ 224477 w 406368"/>
                  <a:gd name="connsiteY368" fmla="*/ 39323 h 290514"/>
                  <a:gd name="connsiteX369" fmla="*/ 224477 w 406368"/>
                  <a:gd name="connsiteY369" fmla="*/ 41086 h 290514"/>
                  <a:gd name="connsiteX370" fmla="*/ 222449 w 406368"/>
                  <a:gd name="connsiteY370" fmla="*/ 40822 h 290514"/>
                  <a:gd name="connsiteX371" fmla="*/ 221567 w 406368"/>
                  <a:gd name="connsiteY371" fmla="*/ 40205 h 290514"/>
                  <a:gd name="connsiteX372" fmla="*/ 221567 w 406368"/>
                  <a:gd name="connsiteY372" fmla="*/ 39059 h 290514"/>
                  <a:gd name="connsiteX373" fmla="*/ 217511 w 406368"/>
                  <a:gd name="connsiteY373" fmla="*/ 36766 h 290514"/>
                  <a:gd name="connsiteX374" fmla="*/ 212221 w 406368"/>
                  <a:gd name="connsiteY374" fmla="*/ 35003 h 290514"/>
                  <a:gd name="connsiteX375" fmla="*/ 211957 w 406368"/>
                  <a:gd name="connsiteY375" fmla="*/ 36149 h 290514"/>
                  <a:gd name="connsiteX376" fmla="*/ 210193 w 406368"/>
                  <a:gd name="connsiteY376" fmla="*/ 36414 h 290514"/>
                  <a:gd name="connsiteX377" fmla="*/ 214602 w 406368"/>
                  <a:gd name="connsiteY377" fmla="*/ 38794 h 290514"/>
                  <a:gd name="connsiteX378" fmla="*/ 214866 w 406368"/>
                  <a:gd name="connsiteY378" fmla="*/ 39059 h 290514"/>
                  <a:gd name="connsiteX379" fmla="*/ 212221 w 406368"/>
                  <a:gd name="connsiteY379" fmla="*/ 39323 h 290514"/>
                  <a:gd name="connsiteX380" fmla="*/ 209929 w 406368"/>
                  <a:gd name="connsiteY380" fmla="*/ 38441 h 290514"/>
                  <a:gd name="connsiteX381" fmla="*/ 207901 w 406368"/>
                  <a:gd name="connsiteY381" fmla="*/ 39323 h 290514"/>
                  <a:gd name="connsiteX382" fmla="*/ 207284 w 406368"/>
                  <a:gd name="connsiteY382" fmla="*/ 37824 h 290514"/>
                  <a:gd name="connsiteX383" fmla="*/ 205520 w 406368"/>
                  <a:gd name="connsiteY383" fmla="*/ 36678 h 290514"/>
                  <a:gd name="connsiteX384" fmla="*/ 202611 w 406368"/>
                  <a:gd name="connsiteY384" fmla="*/ 38441 h 290514"/>
                  <a:gd name="connsiteX385" fmla="*/ 204374 w 406368"/>
                  <a:gd name="connsiteY385" fmla="*/ 40469 h 290514"/>
                  <a:gd name="connsiteX386" fmla="*/ 202611 w 406368"/>
                  <a:gd name="connsiteY386" fmla="*/ 40734 h 290514"/>
                  <a:gd name="connsiteX387" fmla="*/ 201465 w 406368"/>
                  <a:gd name="connsiteY387" fmla="*/ 41263 h 290514"/>
                  <a:gd name="connsiteX388" fmla="*/ 201200 w 406368"/>
                  <a:gd name="connsiteY388" fmla="*/ 43908 h 290514"/>
                  <a:gd name="connsiteX389" fmla="*/ 198291 w 406368"/>
                  <a:gd name="connsiteY389" fmla="*/ 43908 h 290514"/>
                  <a:gd name="connsiteX390" fmla="*/ 202082 w 406368"/>
                  <a:gd name="connsiteY390" fmla="*/ 46553 h 290514"/>
                  <a:gd name="connsiteX391" fmla="*/ 195646 w 406368"/>
                  <a:gd name="connsiteY391" fmla="*/ 45671 h 290514"/>
                  <a:gd name="connsiteX392" fmla="*/ 195646 w 406368"/>
                  <a:gd name="connsiteY392" fmla="*/ 47170 h 290514"/>
                  <a:gd name="connsiteX393" fmla="*/ 196792 w 406368"/>
                  <a:gd name="connsiteY393" fmla="*/ 47787 h 290514"/>
                  <a:gd name="connsiteX394" fmla="*/ 197938 w 406368"/>
                  <a:gd name="connsiteY394" fmla="*/ 49815 h 290514"/>
                  <a:gd name="connsiteX395" fmla="*/ 195646 w 406368"/>
                  <a:gd name="connsiteY395" fmla="*/ 50697 h 290514"/>
                  <a:gd name="connsiteX396" fmla="*/ 193882 w 406368"/>
                  <a:gd name="connsiteY396" fmla="*/ 51578 h 290514"/>
                  <a:gd name="connsiteX397" fmla="*/ 196792 w 406368"/>
                  <a:gd name="connsiteY397" fmla="*/ 52989 h 290514"/>
                  <a:gd name="connsiteX398" fmla="*/ 193265 w 406368"/>
                  <a:gd name="connsiteY398" fmla="*/ 52372 h 290514"/>
                  <a:gd name="connsiteX399" fmla="*/ 187710 w 406368"/>
                  <a:gd name="connsiteY399" fmla="*/ 54753 h 290514"/>
                  <a:gd name="connsiteX400" fmla="*/ 186212 w 406368"/>
                  <a:gd name="connsiteY400" fmla="*/ 53606 h 290514"/>
                  <a:gd name="connsiteX401" fmla="*/ 186829 w 406368"/>
                  <a:gd name="connsiteY401" fmla="*/ 48669 h 290514"/>
                  <a:gd name="connsiteX402" fmla="*/ 186564 w 406368"/>
                  <a:gd name="connsiteY402" fmla="*/ 46288 h 290514"/>
                  <a:gd name="connsiteX403" fmla="*/ 184536 w 406368"/>
                  <a:gd name="connsiteY403" fmla="*/ 45142 h 290514"/>
                  <a:gd name="connsiteX404" fmla="*/ 183037 w 406368"/>
                  <a:gd name="connsiteY404" fmla="*/ 48316 h 290514"/>
                  <a:gd name="connsiteX405" fmla="*/ 182773 w 406368"/>
                  <a:gd name="connsiteY405" fmla="*/ 50697 h 290514"/>
                  <a:gd name="connsiteX406" fmla="*/ 183655 w 406368"/>
                  <a:gd name="connsiteY406" fmla="*/ 51578 h 290514"/>
                  <a:gd name="connsiteX407" fmla="*/ 181274 w 406368"/>
                  <a:gd name="connsiteY407" fmla="*/ 55105 h 290514"/>
                  <a:gd name="connsiteX408" fmla="*/ 181274 w 406368"/>
                  <a:gd name="connsiteY408" fmla="*/ 56869 h 290514"/>
                  <a:gd name="connsiteX409" fmla="*/ 185683 w 406368"/>
                  <a:gd name="connsiteY409" fmla="*/ 54841 h 290514"/>
                  <a:gd name="connsiteX410" fmla="*/ 187093 w 406368"/>
                  <a:gd name="connsiteY410" fmla="*/ 57486 h 290514"/>
                  <a:gd name="connsiteX411" fmla="*/ 190003 w 406368"/>
                  <a:gd name="connsiteY411" fmla="*/ 57486 h 290514"/>
                  <a:gd name="connsiteX412" fmla="*/ 193529 w 406368"/>
                  <a:gd name="connsiteY412" fmla="*/ 56604 h 290514"/>
                  <a:gd name="connsiteX413" fmla="*/ 198202 w 406368"/>
                  <a:gd name="connsiteY413" fmla="*/ 57221 h 290514"/>
                  <a:gd name="connsiteX414" fmla="*/ 201377 w 406368"/>
                  <a:gd name="connsiteY414" fmla="*/ 58720 h 290514"/>
                  <a:gd name="connsiteX415" fmla="*/ 199084 w 406368"/>
                  <a:gd name="connsiteY415" fmla="*/ 58985 h 290514"/>
                  <a:gd name="connsiteX416" fmla="*/ 195293 w 406368"/>
                  <a:gd name="connsiteY416" fmla="*/ 58985 h 290514"/>
                  <a:gd name="connsiteX417" fmla="*/ 192648 w 406368"/>
                  <a:gd name="connsiteY417" fmla="*/ 59602 h 290514"/>
                  <a:gd name="connsiteX418" fmla="*/ 194147 w 406368"/>
                  <a:gd name="connsiteY418" fmla="*/ 61982 h 290514"/>
                  <a:gd name="connsiteX419" fmla="*/ 193618 w 406368"/>
                  <a:gd name="connsiteY419" fmla="*/ 62600 h 290514"/>
                  <a:gd name="connsiteX420" fmla="*/ 190091 w 406368"/>
                  <a:gd name="connsiteY420" fmla="*/ 60572 h 290514"/>
                  <a:gd name="connsiteX421" fmla="*/ 184801 w 406368"/>
                  <a:gd name="connsiteY421" fmla="*/ 59425 h 290514"/>
                  <a:gd name="connsiteX422" fmla="*/ 178629 w 406368"/>
                  <a:gd name="connsiteY422" fmla="*/ 59690 h 290514"/>
                  <a:gd name="connsiteX423" fmla="*/ 180128 w 406368"/>
                  <a:gd name="connsiteY423" fmla="*/ 61189 h 290514"/>
                  <a:gd name="connsiteX424" fmla="*/ 183919 w 406368"/>
                  <a:gd name="connsiteY424" fmla="*/ 63217 h 290514"/>
                  <a:gd name="connsiteX425" fmla="*/ 181274 w 406368"/>
                  <a:gd name="connsiteY425" fmla="*/ 62600 h 290514"/>
                  <a:gd name="connsiteX426" fmla="*/ 177483 w 406368"/>
                  <a:gd name="connsiteY426" fmla="*/ 61101 h 290514"/>
                  <a:gd name="connsiteX427" fmla="*/ 175720 w 406368"/>
                  <a:gd name="connsiteY427" fmla="*/ 61101 h 290514"/>
                  <a:gd name="connsiteX428" fmla="*/ 176601 w 406368"/>
                  <a:gd name="connsiteY428" fmla="*/ 62247 h 290514"/>
                  <a:gd name="connsiteX429" fmla="*/ 178364 w 406368"/>
                  <a:gd name="connsiteY429" fmla="*/ 62864 h 290514"/>
                  <a:gd name="connsiteX430" fmla="*/ 178893 w 406368"/>
                  <a:gd name="connsiteY430" fmla="*/ 63746 h 290514"/>
                  <a:gd name="connsiteX431" fmla="*/ 178012 w 406368"/>
                  <a:gd name="connsiteY431" fmla="*/ 64892 h 290514"/>
                  <a:gd name="connsiteX432" fmla="*/ 182068 w 406368"/>
                  <a:gd name="connsiteY432" fmla="*/ 65509 h 290514"/>
                  <a:gd name="connsiteX433" fmla="*/ 183214 w 406368"/>
                  <a:gd name="connsiteY433" fmla="*/ 65774 h 290514"/>
                  <a:gd name="connsiteX434" fmla="*/ 180569 w 406368"/>
                  <a:gd name="connsiteY434" fmla="*/ 66038 h 290514"/>
                  <a:gd name="connsiteX435" fmla="*/ 180040 w 406368"/>
                  <a:gd name="connsiteY435" fmla="*/ 66920 h 290514"/>
                  <a:gd name="connsiteX436" fmla="*/ 180040 w 406368"/>
                  <a:gd name="connsiteY436" fmla="*/ 69212 h 290514"/>
                  <a:gd name="connsiteX437" fmla="*/ 178541 w 406368"/>
                  <a:gd name="connsiteY437" fmla="*/ 69212 h 290514"/>
                  <a:gd name="connsiteX438" fmla="*/ 174485 w 406368"/>
                  <a:gd name="connsiteY438" fmla="*/ 65685 h 290514"/>
                  <a:gd name="connsiteX439" fmla="*/ 173339 w 406368"/>
                  <a:gd name="connsiteY439" fmla="*/ 63393 h 290514"/>
                  <a:gd name="connsiteX440" fmla="*/ 171928 w 406368"/>
                  <a:gd name="connsiteY440" fmla="*/ 63129 h 290514"/>
                  <a:gd name="connsiteX441" fmla="*/ 169900 w 406368"/>
                  <a:gd name="connsiteY441" fmla="*/ 64627 h 290514"/>
                  <a:gd name="connsiteX442" fmla="*/ 168137 w 406368"/>
                  <a:gd name="connsiteY442" fmla="*/ 65245 h 290514"/>
                  <a:gd name="connsiteX443" fmla="*/ 165492 w 406368"/>
                  <a:gd name="connsiteY443" fmla="*/ 64980 h 290514"/>
                  <a:gd name="connsiteX444" fmla="*/ 162583 w 406368"/>
                  <a:gd name="connsiteY444" fmla="*/ 66126 h 290514"/>
                  <a:gd name="connsiteX445" fmla="*/ 164610 w 406368"/>
                  <a:gd name="connsiteY445" fmla="*/ 66391 h 290514"/>
                  <a:gd name="connsiteX446" fmla="*/ 168666 w 406368"/>
                  <a:gd name="connsiteY446" fmla="*/ 66391 h 290514"/>
                  <a:gd name="connsiteX447" fmla="*/ 171576 w 406368"/>
                  <a:gd name="connsiteY447" fmla="*/ 67272 h 290514"/>
                  <a:gd name="connsiteX448" fmla="*/ 170165 w 406368"/>
                  <a:gd name="connsiteY448" fmla="*/ 68419 h 290514"/>
                  <a:gd name="connsiteX449" fmla="*/ 167255 w 406368"/>
                  <a:gd name="connsiteY449" fmla="*/ 69036 h 290514"/>
                  <a:gd name="connsiteX450" fmla="*/ 163199 w 406368"/>
                  <a:gd name="connsiteY450" fmla="*/ 70182 h 290514"/>
                  <a:gd name="connsiteX451" fmla="*/ 157645 w 406368"/>
                  <a:gd name="connsiteY451" fmla="*/ 70711 h 290514"/>
                  <a:gd name="connsiteX452" fmla="*/ 154735 w 406368"/>
                  <a:gd name="connsiteY452" fmla="*/ 71593 h 290514"/>
                  <a:gd name="connsiteX453" fmla="*/ 155882 w 406368"/>
                  <a:gd name="connsiteY453" fmla="*/ 72210 h 290514"/>
                  <a:gd name="connsiteX454" fmla="*/ 157380 w 406368"/>
                  <a:gd name="connsiteY454" fmla="*/ 72474 h 290514"/>
                  <a:gd name="connsiteX455" fmla="*/ 155617 w 406368"/>
                  <a:gd name="connsiteY455" fmla="*/ 73621 h 290514"/>
                  <a:gd name="connsiteX456" fmla="*/ 157910 w 406368"/>
                  <a:gd name="connsiteY456" fmla="*/ 73356 h 290514"/>
                  <a:gd name="connsiteX457" fmla="*/ 163112 w 406368"/>
                  <a:gd name="connsiteY457" fmla="*/ 71593 h 290514"/>
                  <a:gd name="connsiteX458" fmla="*/ 166374 w 406368"/>
                  <a:gd name="connsiteY458" fmla="*/ 71593 h 290514"/>
                  <a:gd name="connsiteX459" fmla="*/ 169283 w 406368"/>
                  <a:gd name="connsiteY459" fmla="*/ 72474 h 290514"/>
                  <a:gd name="connsiteX460" fmla="*/ 167520 w 406368"/>
                  <a:gd name="connsiteY460" fmla="*/ 73092 h 290514"/>
                  <a:gd name="connsiteX461" fmla="*/ 166374 w 406368"/>
                  <a:gd name="connsiteY461" fmla="*/ 73356 h 290514"/>
                  <a:gd name="connsiteX462" fmla="*/ 163112 w 406368"/>
                  <a:gd name="connsiteY462" fmla="*/ 74238 h 290514"/>
                  <a:gd name="connsiteX463" fmla="*/ 162583 w 406368"/>
                  <a:gd name="connsiteY463" fmla="*/ 76266 h 290514"/>
                  <a:gd name="connsiteX464" fmla="*/ 166991 w 406368"/>
                  <a:gd name="connsiteY464" fmla="*/ 76883 h 290514"/>
                  <a:gd name="connsiteX465" fmla="*/ 169900 w 406368"/>
                  <a:gd name="connsiteY465" fmla="*/ 76883 h 290514"/>
                  <a:gd name="connsiteX466" fmla="*/ 167872 w 406368"/>
                  <a:gd name="connsiteY466" fmla="*/ 78294 h 290514"/>
                  <a:gd name="connsiteX467" fmla="*/ 169019 w 406368"/>
                  <a:gd name="connsiteY467" fmla="*/ 80321 h 290514"/>
                  <a:gd name="connsiteX468" fmla="*/ 169900 w 406368"/>
                  <a:gd name="connsiteY468" fmla="*/ 82085 h 290514"/>
                  <a:gd name="connsiteX469" fmla="*/ 168137 w 406368"/>
                  <a:gd name="connsiteY469" fmla="*/ 80674 h 290514"/>
                  <a:gd name="connsiteX470" fmla="*/ 164081 w 406368"/>
                  <a:gd name="connsiteY470" fmla="*/ 78911 h 290514"/>
                  <a:gd name="connsiteX471" fmla="*/ 161436 w 406368"/>
                  <a:gd name="connsiteY471" fmla="*/ 78646 h 290514"/>
                  <a:gd name="connsiteX472" fmla="*/ 160555 w 406368"/>
                  <a:gd name="connsiteY472" fmla="*/ 77765 h 290514"/>
                  <a:gd name="connsiteX473" fmla="*/ 159056 w 406368"/>
                  <a:gd name="connsiteY473" fmla="*/ 76883 h 290514"/>
                  <a:gd name="connsiteX474" fmla="*/ 155882 w 406368"/>
                  <a:gd name="connsiteY474" fmla="*/ 77500 h 290514"/>
                  <a:gd name="connsiteX475" fmla="*/ 154383 w 406368"/>
                  <a:gd name="connsiteY475" fmla="*/ 79263 h 290514"/>
                  <a:gd name="connsiteX476" fmla="*/ 151738 w 406368"/>
                  <a:gd name="connsiteY476" fmla="*/ 81027 h 290514"/>
                  <a:gd name="connsiteX477" fmla="*/ 151473 w 406368"/>
                  <a:gd name="connsiteY477" fmla="*/ 82790 h 290514"/>
                  <a:gd name="connsiteX478" fmla="*/ 154383 w 406368"/>
                  <a:gd name="connsiteY478" fmla="*/ 83319 h 290514"/>
                  <a:gd name="connsiteX479" fmla="*/ 155882 w 406368"/>
                  <a:gd name="connsiteY479" fmla="*/ 83055 h 290514"/>
                  <a:gd name="connsiteX480" fmla="*/ 158174 w 406368"/>
                  <a:gd name="connsiteY480" fmla="*/ 82437 h 290514"/>
                  <a:gd name="connsiteX481" fmla="*/ 162230 w 406368"/>
                  <a:gd name="connsiteY481" fmla="*/ 81027 h 290514"/>
                  <a:gd name="connsiteX482" fmla="*/ 165404 w 406368"/>
                  <a:gd name="connsiteY482" fmla="*/ 81291 h 290514"/>
                  <a:gd name="connsiteX483" fmla="*/ 167784 w 406368"/>
                  <a:gd name="connsiteY483" fmla="*/ 83672 h 290514"/>
                  <a:gd name="connsiteX484" fmla="*/ 168401 w 406368"/>
                  <a:gd name="connsiteY484" fmla="*/ 84289 h 290514"/>
                  <a:gd name="connsiteX485" fmla="*/ 166903 w 406368"/>
                  <a:gd name="connsiteY485" fmla="*/ 85435 h 290514"/>
                  <a:gd name="connsiteX486" fmla="*/ 166021 w 406368"/>
                  <a:gd name="connsiteY486" fmla="*/ 86052 h 290514"/>
                  <a:gd name="connsiteX487" fmla="*/ 162847 w 406368"/>
                  <a:gd name="connsiteY487" fmla="*/ 84642 h 290514"/>
                  <a:gd name="connsiteX488" fmla="*/ 159937 w 406368"/>
                  <a:gd name="connsiteY488" fmla="*/ 84642 h 290514"/>
                  <a:gd name="connsiteX489" fmla="*/ 158174 w 406368"/>
                  <a:gd name="connsiteY489" fmla="*/ 85788 h 290514"/>
                  <a:gd name="connsiteX490" fmla="*/ 156763 w 406368"/>
                  <a:gd name="connsiteY490" fmla="*/ 84289 h 290514"/>
                  <a:gd name="connsiteX491" fmla="*/ 154383 w 406368"/>
                  <a:gd name="connsiteY491" fmla="*/ 84553 h 290514"/>
                  <a:gd name="connsiteX492" fmla="*/ 154118 w 406368"/>
                  <a:gd name="connsiteY492" fmla="*/ 85435 h 290514"/>
                  <a:gd name="connsiteX493" fmla="*/ 153501 w 406368"/>
                  <a:gd name="connsiteY493" fmla="*/ 86934 h 290514"/>
                  <a:gd name="connsiteX494" fmla="*/ 152355 w 406368"/>
                  <a:gd name="connsiteY494" fmla="*/ 86669 h 290514"/>
                  <a:gd name="connsiteX495" fmla="*/ 152090 w 406368"/>
                  <a:gd name="connsiteY495" fmla="*/ 88080 h 290514"/>
                  <a:gd name="connsiteX496" fmla="*/ 150944 w 406368"/>
                  <a:gd name="connsiteY496" fmla="*/ 87816 h 290514"/>
                  <a:gd name="connsiteX497" fmla="*/ 148916 w 406368"/>
                  <a:gd name="connsiteY497" fmla="*/ 89579 h 290514"/>
                  <a:gd name="connsiteX498" fmla="*/ 147153 w 406368"/>
                  <a:gd name="connsiteY498" fmla="*/ 91960 h 290514"/>
                  <a:gd name="connsiteX499" fmla="*/ 146007 w 406368"/>
                  <a:gd name="connsiteY499" fmla="*/ 89932 h 290514"/>
                  <a:gd name="connsiteX500" fmla="*/ 147153 w 406368"/>
                  <a:gd name="connsiteY500" fmla="*/ 87287 h 290514"/>
                  <a:gd name="connsiteX501" fmla="*/ 145390 w 406368"/>
                  <a:gd name="connsiteY501" fmla="*/ 88433 h 290514"/>
                  <a:gd name="connsiteX502" fmla="*/ 143362 w 406368"/>
                  <a:gd name="connsiteY502" fmla="*/ 87816 h 290514"/>
                  <a:gd name="connsiteX503" fmla="*/ 143362 w 406368"/>
                  <a:gd name="connsiteY503" fmla="*/ 89844 h 290514"/>
                  <a:gd name="connsiteX504" fmla="*/ 141598 w 406368"/>
                  <a:gd name="connsiteY504" fmla="*/ 89579 h 290514"/>
                  <a:gd name="connsiteX505" fmla="*/ 138424 w 406368"/>
                  <a:gd name="connsiteY505" fmla="*/ 90196 h 290514"/>
                  <a:gd name="connsiteX506" fmla="*/ 138160 w 406368"/>
                  <a:gd name="connsiteY506" fmla="*/ 91342 h 290514"/>
                  <a:gd name="connsiteX507" fmla="*/ 141334 w 406368"/>
                  <a:gd name="connsiteY507" fmla="*/ 92489 h 290514"/>
                  <a:gd name="connsiteX508" fmla="*/ 140452 w 406368"/>
                  <a:gd name="connsiteY508" fmla="*/ 93106 h 290514"/>
                  <a:gd name="connsiteX509" fmla="*/ 136925 w 406368"/>
                  <a:gd name="connsiteY509" fmla="*/ 93723 h 290514"/>
                  <a:gd name="connsiteX510" fmla="*/ 138072 w 406368"/>
                  <a:gd name="connsiteY510" fmla="*/ 94869 h 290514"/>
                  <a:gd name="connsiteX511" fmla="*/ 135691 w 406368"/>
                  <a:gd name="connsiteY511" fmla="*/ 96897 h 290514"/>
                  <a:gd name="connsiteX512" fmla="*/ 135427 w 406368"/>
                  <a:gd name="connsiteY512" fmla="*/ 95134 h 290514"/>
                  <a:gd name="connsiteX513" fmla="*/ 132782 w 406368"/>
                  <a:gd name="connsiteY513" fmla="*/ 95398 h 290514"/>
                  <a:gd name="connsiteX514" fmla="*/ 133046 w 406368"/>
                  <a:gd name="connsiteY514" fmla="*/ 96544 h 290514"/>
                  <a:gd name="connsiteX515" fmla="*/ 133311 w 406368"/>
                  <a:gd name="connsiteY515" fmla="*/ 98043 h 290514"/>
                  <a:gd name="connsiteX516" fmla="*/ 133575 w 406368"/>
                  <a:gd name="connsiteY516" fmla="*/ 98925 h 290514"/>
                  <a:gd name="connsiteX517" fmla="*/ 132958 w 406368"/>
                  <a:gd name="connsiteY517" fmla="*/ 99807 h 290514"/>
                  <a:gd name="connsiteX518" fmla="*/ 131812 w 406368"/>
                  <a:gd name="connsiteY518" fmla="*/ 101305 h 290514"/>
                  <a:gd name="connsiteX519" fmla="*/ 130665 w 406368"/>
                  <a:gd name="connsiteY519" fmla="*/ 99542 h 290514"/>
                  <a:gd name="connsiteX520" fmla="*/ 130136 w 406368"/>
                  <a:gd name="connsiteY520" fmla="*/ 100424 h 290514"/>
                  <a:gd name="connsiteX521" fmla="*/ 129519 w 406368"/>
                  <a:gd name="connsiteY521" fmla="*/ 102187 h 290514"/>
                  <a:gd name="connsiteX522" fmla="*/ 130665 w 406368"/>
                  <a:gd name="connsiteY522" fmla="*/ 103333 h 290514"/>
                  <a:gd name="connsiteX523" fmla="*/ 133575 w 406368"/>
                  <a:gd name="connsiteY523" fmla="*/ 103069 h 290514"/>
                  <a:gd name="connsiteX524" fmla="*/ 134457 w 406368"/>
                  <a:gd name="connsiteY524" fmla="*/ 103686 h 290514"/>
                  <a:gd name="connsiteX525" fmla="*/ 130930 w 406368"/>
                  <a:gd name="connsiteY525" fmla="*/ 105714 h 290514"/>
                  <a:gd name="connsiteX526" fmla="*/ 133840 w 406368"/>
                  <a:gd name="connsiteY526" fmla="*/ 105449 h 290514"/>
                  <a:gd name="connsiteX527" fmla="*/ 138777 w 406368"/>
                  <a:gd name="connsiteY527" fmla="*/ 104568 h 290514"/>
                  <a:gd name="connsiteX528" fmla="*/ 140540 w 406368"/>
                  <a:gd name="connsiteY528" fmla="*/ 104568 h 290514"/>
                  <a:gd name="connsiteX529" fmla="*/ 144067 w 406368"/>
                  <a:gd name="connsiteY529" fmla="*/ 103951 h 290514"/>
                  <a:gd name="connsiteX530" fmla="*/ 144949 w 406368"/>
                  <a:gd name="connsiteY530" fmla="*/ 104568 h 290514"/>
                  <a:gd name="connsiteX531" fmla="*/ 142039 w 406368"/>
                  <a:gd name="connsiteY531" fmla="*/ 106067 h 290514"/>
                  <a:gd name="connsiteX532" fmla="*/ 141422 w 406368"/>
                  <a:gd name="connsiteY532" fmla="*/ 107565 h 290514"/>
                  <a:gd name="connsiteX533" fmla="*/ 139041 w 406368"/>
                  <a:gd name="connsiteY533" fmla="*/ 107830 h 290514"/>
                  <a:gd name="connsiteX534" fmla="*/ 138160 w 406368"/>
                  <a:gd name="connsiteY534" fmla="*/ 106948 h 290514"/>
                  <a:gd name="connsiteX535" fmla="*/ 135868 w 406368"/>
                  <a:gd name="connsiteY535" fmla="*/ 108094 h 290514"/>
                  <a:gd name="connsiteX536" fmla="*/ 134369 w 406368"/>
                  <a:gd name="connsiteY536" fmla="*/ 107565 h 290514"/>
                  <a:gd name="connsiteX537" fmla="*/ 132076 w 406368"/>
                  <a:gd name="connsiteY537" fmla="*/ 107830 h 290514"/>
                  <a:gd name="connsiteX538" fmla="*/ 130048 w 406368"/>
                  <a:gd name="connsiteY538" fmla="*/ 108976 h 290514"/>
                  <a:gd name="connsiteX539" fmla="*/ 128285 w 406368"/>
                  <a:gd name="connsiteY539" fmla="*/ 107830 h 290514"/>
                  <a:gd name="connsiteX540" fmla="*/ 126521 w 406368"/>
                  <a:gd name="connsiteY540" fmla="*/ 106684 h 290514"/>
                  <a:gd name="connsiteX541" fmla="*/ 125375 w 406368"/>
                  <a:gd name="connsiteY541" fmla="*/ 105802 h 290514"/>
                  <a:gd name="connsiteX542" fmla="*/ 125375 w 406368"/>
                  <a:gd name="connsiteY542" fmla="*/ 105185 h 290514"/>
                  <a:gd name="connsiteX543" fmla="*/ 122466 w 406368"/>
                  <a:gd name="connsiteY543" fmla="*/ 104303 h 290514"/>
                  <a:gd name="connsiteX544" fmla="*/ 123083 w 406368"/>
                  <a:gd name="connsiteY544" fmla="*/ 106067 h 290514"/>
                  <a:gd name="connsiteX545" fmla="*/ 122466 w 406368"/>
                  <a:gd name="connsiteY545" fmla="*/ 108447 h 290514"/>
                  <a:gd name="connsiteX546" fmla="*/ 125992 w 406368"/>
                  <a:gd name="connsiteY546" fmla="*/ 108712 h 290514"/>
                  <a:gd name="connsiteX547" fmla="*/ 128285 w 406368"/>
                  <a:gd name="connsiteY547" fmla="*/ 109329 h 290514"/>
                  <a:gd name="connsiteX548" fmla="*/ 129167 w 406368"/>
                  <a:gd name="connsiteY548" fmla="*/ 110739 h 290514"/>
                  <a:gd name="connsiteX549" fmla="*/ 130313 w 406368"/>
                  <a:gd name="connsiteY549" fmla="*/ 112238 h 290514"/>
                  <a:gd name="connsiteX550" fmla="*/ 126521 w 406368"/>
                  <a:gd name="connsiteY550" fmla="*/ 112238 h 290514"/>
                  <a:gd name="connsiteX551" fmla="*/ 124141 w 406368"/>
                  <a:gd name="connsiteY551" fmla="*/ 114266 h 290514"/>
                  <a:gd name="connsiteX552" fmla="*/ 123876 w 406368"/>
                  <a:gd name="connsiteY552" fmla="*/ 115765 h 290514"/>
                  <a:gd name="connsiteX553" fmla="*/ 124758 w 406368"/>
                  <a:gd name="connsiteY553" fmla="*/ 117264 h 290514"/>
                  <a:gd name="connsiteX554" fmla="*/ 124758 w 406368"/>
                  <a:gd name="connsiteY554" fmla="*/ 117528 h 290514"/>
                  <a:gd name="connsiteX555" fmla="*/ 121232 w 406368"/>
                  <a:gd name="connsiteY555" fmla="*/ 116911 h 290514"/>
                  <a:gd name="connsiteX556" fmla="*/ 119468 w 406368"/>
                  <a:gd name="connsiteY556" fmla="*/ 118675 h 290514"/>
                  <a:gd name="connsiteX557" fmla="*/ 120967 w 406368"/>
                  <a:gd name="connsiteY557" fmla="*/ 119821 h 290514"/>
                  <a:gd name="connsiteX558" fmla="*/ 122466 w 406368"/>
                  <a:gd name="connsiteY558" fmla="*/ 120085 h 290514"/>
                  <a:gd name="connsiteX559" fmla="*/ 123612 w 406368"/>
                  <a:gd name="connsiteY559" fmla="*/ 120702 h 290514"/>
                  <a:gd name="connsiteX560" fmla="*/ 124229 w 406368"/>
                  <a:gd name="connsiteY560" fmla="*/ 121584 h 290514"/>
                  <a:gd name="connsiteX561" fmla="*/ 124846 w 406368"/>
                  <a:gd name="connsiteY561" fmla="*/ 122730 h 290514"/>
                  <a:gd name="connsiteX562" fmla="*/ 123700 w 406368"/>
                  <a:gd name="connsiteY562" fmla="*/ 122730 h 290514"/>
                  <a:gd name="connsiteX563" fmla="*/ 123083 w 406368"/>
                  <a:gd name="connsiteY563" fmla="*/ 123877 h 290514"/>
                  <a:gd name="connsiteX564" fmla="*/ 123083 w 406368"/>
                  <a:gd name="connsiteY564" fmla="*/ 125375 h 290514"/>
                  <a:gd name="connsiteX565" fmla="*/ 120174 w 406368"/>
                  <a:gd name="connsiteY565" fmla="*/ 123877 h 290514"/>
                  <a:gd name="connsiteX566" fmla="*/ 120703 w 406368"/>
                  <a:gd name="connsiteY566" fmla="*/ 126257 h 290514"/>
                  <a:gd name="connsiteX567" fmla="*/ 124229 w 406368"/>
                  <a:gd name="connsiteY567" fmla="*/ 126257 h 290514"/>
                  <a:gd name="connsiteX568" fmla="*/ 122466 w 406368"/>
                  <a:gd name="connsiteY568" fmla="*/ 126786 h 290514"/>
                  <a:gd name="connsiteX569" fmla="*/ 120967 w 406368"/>
                  <a:gd name="connsiteY569" fmla="*/ 126786 h 290514"/>
                  <a:gd name="connsiteX570" fmla="*/ 120967 w 406368"/>
                  <a:gd name="connsiteY570" fmla="*/ 127668 h 290514"/>
                  <a:gd name="connsiteX571" fmla="*/ 122113 w 406368"/>
                  <a:gd name="connsiteY571" fmla="*/ 128285 h 290514"/>
                  <a:gd name="connsiteX572" fmla="*/ 127668 w 406368"/>
                  <a:gd name="connsiteY572" fmla="*/ 126522 h 290514"/>
                  <a:gd name="connsiteX573" fmla="*/ 128285 w 406368"/>
                  <a:gd name="connsiteY573" fmla="*/ 126522 h 290514"/>
                  <a:gd name="connsiteX574" fmla="*/ 125640 w 406368"/>
                  <a:gd name="connsiteY574" fmla="*/ 128549 h 290514"/>
                  <a:gd name="connsiteX575" fmla="*/ 122730 w 406368"/>
                  <a:gd name="connsiteY575" fmla="*/ 129696 h 290514"/>
                  <a:gd name="connsiteX576" fmla="*/ 120438 w 406368"/>
                  <a:gd name="connsiteY576" fmla="*/ 129431 h 290514"/>
                  <a:gd name="connsiteX577" fmla="*/ 119292 w 406368"/>
                  <a:gd name="connsiteY577" fmla="*/ 130842 h 290514"/>
                  <a:gd name="connsiteX578" fmla="*/ 116911 w 406368"/>
                  <a:gd name="connsiteY578" fmla="*/ 131195 h 290514"/>
                  <a:gd name="connsiteX579" fmla="*/ 115148 w 406368"/>
                  <a:gd name="connsiteY579" fmla="*/ 131195 h 290514"/>
                  <a:gd name="connsiteX580" fmla="*/ 112238 w 406368"/>
                  <a:gd name="connsiteY580" fmla="*/ 132076 h 290514"/>
                  <a:gd name="connsiteX581" fmla="*/ 109593 w 406368"/>
                  <a:gd name="connsiteY581" fmla="*/ 131812 h 290514"/>
                  <a:gd name="connsiteX582" fmla="*/ 108711 w 406368"/>
                  <a:gd name="connsiteY582" fmla="*/ 133840 h 290514"/>
                  <a:gd name="connsiteX583" fmla="*/ 106684 w 406368"/>
                  <a:gd name="connsiteY583" fmla="*/ 134457 h 290514"/>
                  <a:gd name="connsiteX584" fmla="*/ 106419 w 406368"/>
                  <a:gd name="connsiteY584" fmla="*/ 134721 h 290514"/>
                  <a:gd name="connsiteX585" fmla="*/ 107036 w 406368"/>
                  <a:gd name="connsiteY585" fmla="*/ 135338 h 290514"/>
                  <a:gd name="connsiteX586" fmla="*/ 104127 w 406368"/>
                  <a:gd name="connsiteY586" fmla="*/ 137102 h 290514"/>
                  <a:gd name="connsiteX587" fmla="*/ 106155 w 406368"/>
                  <a:gd name="connsiteY587" fmla="*/ 136485 h 290514"/>
                  <a:gd name="connsiteX588" fmla="*/ 110827 w 406368"/>
                  <a:gd name="connsiteY588" fmla="*/ 134721 h 290514"/>
                  <a:gd name="connsiteX589" fmla="*/ 116118 w 406368"/>
                  <a:gd name="connsiteY589" fmla="*/ 133222 h 290514"/>
                  <a:gd name="connsiteX590" fmla="*/ 116382 w 406368"/>
                  <a:gd name="connsiteY590" fmla="*/ 133487 h 290514"/>
                  <a:gd name="connsiteX591" fmla="*/ 112326 w 406368"/>
                  <a:gd name="connsiteY591" fmla="*/ 134633 h 290514"/>
                  <a:gd name="connsiteX592" fmla="*/ 110827 w 406368"/>
                  <a:gd name="connsiteY592" fmla="*/ 135779 h 290514"/>
                  <a:gd name="connsiteX593" fmla="*/ 110563 w 406368"/>
                  <a:gd name="connsiteY593" fmla="*/ 136396 h 290514"/>
                  <a:gd name="connsiteX594" fmla="*/ 109064 w 406368"/>
                  <a:gd name="connsiteY594" fmla="*/ 137014 h 290514"/>
                  <a:gd name="connsiteX595" fmla="*/ 107036 w 406368"/>
                  <a:gd name="connsiteY595" fmla="*/ 138160 h 290514"/>
                  <a:gd name="connsiteX596" fmla="*/ 106155 w 406368"/>
                  <a:gd name="connsiteY596" fmla="*/ 139923 h 290514"/>
                  <a:gd name="connsiteX597" fmla="*/ 109329 w 406368"/>
                  <a:gd name="connsiteY597" fmla="*/ 141422 h 290514"/>
                  <a:gd name="connsiteX598" fmla="*/ 110210 w 406368"/>
                  <a:gd name="connsiteY598" fmla="*/ 142304 h 290514"/>
                  <a:gd name="connsiteX599" fmla="*/ 107830 w 406368"/>
                  <a:gd name="connsiteY599" fmla="*/ 142921 h 290514"/>
                  <a:gd name="connsiteX600" fmla="*/ 107213 w 406368"/>
                  <a:gd name="connsiteY600" fmla="*/ 144067 h 290514"/>
                  <a:gd name="connsiteX601" fmla="*/ 106067 w 406368"/>
                  <a:gd name="connsiteY601" fmla="*/ 144949 h 290514"/>
                  <a:gd name="connsiteX602" fmla="*/ 104039 w 406368"/>
                  <a:gd name="connsiteY602" fmla="*/ 145566 h 290514"/>
                  <a:gd name="connsiteX603" fmla="*/ 102892 w 406368"/>
                  <a:gd name="connsiteY603" fmla="*/ 144684 h 290514"/>
                  <a:gd name="connsiteX604" fmla="*/ 101129 w 406368"/>
                  <a:gd name="connsiteY604" fmla="*/ 143538 h 290514"/>
                  <a:gd name="connsiteX605" fmla="*/ 99101 w 406368"/>
                  <a:gd name="connsiteY605" fmla="*/ 142392 h 290514"/>
                  <a:gd name="connsiteX606" fmla="*/ 98484 w 406368"/>
                  <a:gd name="connsiteY606" fmla="*/ 143538 h 290514"/>
                  <a:gd name="connsiteX607" fmla="*/ 96456 w 406368"/>
                  <a:gd name="connsiteY607" fmla="*/ 144420 h 290514"/>
                  <a:gd name="connsiteX608" fmla="*/ 94164 w 406368"/>
                  <a:gd name="connsiteY608" fmla="*/ 144684 h 290514"/>
                  <a:gd name="connsiteX609" fmla="*/ 95310 w 406368"/>
                  <a:gd name="connsiteY609" fmla="*/ 145301 h 290514"/>
                  <a:gd name="connsiteX610" fmla="*/ 93899 w 406368"/>
                  <a:gd name="connsiteY610" fmla="*/ 145301 h 290514"/>
                  <a:gd name="connsiteX611" fmla="*/ 91871 w 406368"/>
                  <a:gd name="connsiteY611" fmla="*/ 145037 h 290514"/>
                  <a:gd name="connsiteX612" fmla="*/ 91254 w 406368"/>
                  <a:gd name="connsiteY612" fmla="*/ 145301 h 290514"/>
                  <a:gd name="connsiteX613" fmla="*/ 92136 w 406368"/>
                  <a:gd name="connsiteY613" fmla="*/ 146183 h 290514"/>
                  <a:gd name="connsiteX614" fmla="*/ 90637 w 406368"/>
                  <a:gd name="connsiteY614" fmla="*/ 146448 h 290514"/>
                  <a:gd name="connsiteX615" fmla="*/ 89755 w 406368"/>
                  <a:gd name="connsiteY615" fmla="*/ 147329 h 290514"/>
                  <a:gd name="connsiteX616" fmla="*/ 89138 w 406368"/>
                  <a:gd name="connsiteY616" fmla="*/ 148476 h 290514"/>
                  <a:gd name="connsiteX617" fmla="*/ 88256 w 406368"/>
                  <a:gd name="connsiteY617" fmla="*/ 149093 h 290514"/>
                  <a:gd name="connsiteX618" fmla="*/ 87727 w 406368"/>
                  <a:gd name="connsiteY618" fmla="*/ 149974 h 290514"/>
                  <a:gd name="connsiteX619" fmla="*/ 85347 w 406368"/>
                  <a:gd name="connsiteY619" fmla="*/ 150592 h 290514"/>
                  <a:gd name="connsiteX620" fmla="*/ 85347 w 406368"/>
                  <a:gd name="connsiteY620" fmla="*/ 151738 h 290514"/>
                  <a:gd name="connsiteX621" fmla="*/ 84818 w 406368"/>
                  <a:gd name="connsiteY621" fmla="*/ 152002 h 290514"/>
                  <a:gd name="connsiteX622" fmla="*/ 83672 w 406368"/>
                  <a:gd name="connsiteY622" fmla="*/ 153501 h 290514"/>
                  <a:gd name="connsiteX623" fmla="*/ 85082 w 406368"/>
                  <a:gd name="connsiteY623" fmla="*/ 154118 h 290514"/>
                  <a:gd name="connsiteX624" fmla="*/ 85082 w 406368"/>
                  <a:gd name="connsiteY624" fmla="*/ 155265 h 290514"/>
                  <a:gd name="connsiteX625" fmla="*/ 85082 w 406368"/>
                  <a:gd name="connsiteY625" fmla="*/ 156146 h 290514"/>
                  <a:gd name="connsiteX626" fmla="*/ 82437 w 406368"/>
                  <a:gd name="connsiteY626" fmla="*/ 157292 h 290514"/>
                  <a:gd name="connsiteX627" fmla="*/ 79792 w 406368"/>
                  <a:gd name="connsiteY627" fmla="*/ 158439 h 290514"/>
                  <a:gd name="connsiteX628" fmla="*/ 77147 w 406368"/>
                  <a:gd name="connsiteY628" fmla="*/ 160819 h 290514"/>
                  <a:gd name="connsiteX629" fmla="*/ 77412 w 406368"/>
                  <a:gd name="connsiteY629" fmla="*/ 161965 h 290514"/>
                  <a:gd name="connsiteX630" fmla="*/ 81467 w 406368"/>
                  <a:gd name="connsiteY630" fmla="*/ 160202 h 290514"/>
                  <a:gd name="connsiteX631" fmla="*/ 83231 w 406368"/>
                  <a:gd name="connsiteY631" fmla="*/ 160202 h 290514"/>
                  <a:gd name="connsiteX632" fmla="*/ 80586 w 406368"/>
                  <a:gd name="connsiteY632" fmla="*/ 162230 h 290514"/>
                  <a:gd name="connsiteX633" fmla="*/ 81203 w 406368"/>
                  <a:gd name="connsiteY633" fmla="*/ 163729 h 290514"/>
                  <a:gd name="connsiteX634" fmla="*/ 84730 w 406368"/>
                  <a:gd name="connsiteY634" fmla="*/ 164875 h 290514"/>
                  <a:gd name="connsiteX635" fmla="*/ 90549 w 406368"/>
                  <a:gd name="connsiteY635" fmla="*/ 163729 h 290514"/>
                  <a:gd name="connsiteX636" fmla="*/ 97514 w 406368"/>
                  <a:gd name="connsiteY636" fmla="*/ 161084 h 290514"/>
                  <a:gd name="connsiteX637" fmla="*/ 100159 w 406368"/>
                  <a:gd name="connsiteY637" fmla="*/ 157910 h 290514"/>
                  <a:gd name="connsiteX638" fmla="*/ 96632 w 406368"/>
                  <a:gd name="connsiteY638" fmla="*/ 157292 h 290514"/>
                  <a:gd name="connsiteX639" fmla="*/ 97514 w 406368"/>
                  <a:gd name="connsiteY639" fmla="*/ 156146 h 290514"/>
                  <a:gd name="connsiteX640" fmla="*/ 103686 w 406368"/>
                  <a:gd name="connsiteY640" fmla="*/ 153237 h 290514"/>
                  <a:gd name="connsiteX641" fmla="*/ 104832 w 406368"/>
                  <a:gd name="connsiteY641" fmla="*/ 152972 h 290514"/>
                  <a:gd name="connsiteX642" fmla="*/ 106331 w 406368"/>
                  <a:gd name="connsiteY642" fmla="*/ 154118 h 290514"/>
                  <a:gd name="connsiteX643" fmla="*/ 104832 w 406368"/>
                  <a:gd name="connsiteY643" fmla="*/ 155265 h 290514"/>
                  <a:gd name="connsiteX644" fmla="*/ 103333 w 406368"/>
                  <a:gd name="connsiteY644" fmla="*/ 157028 h 290514"/>
                  <a:gd name="connsiteX645" fmla="*/ 106243 w 406368"/>
                  <a:gd name="connsiteY645" fmla="*/ 158174 h 290514"/>
                  <a:gd name="connsiteX646" fmla="*/ 102716 w 406368"/>
                  <a:gd name="connsiteY646" fmla="*/ 161084 h 290514"/>
                  <a:gd name="connsiteX647" fmla="*/ 97426 w 406368"/>
                  <a:gd name="connsiteY647" fmla="*/ 163112 h 290514"/>
                  <a:gd name="connsiteX648" fmla="*/ 98308 w 406368"/>
                  <a:gd name="connsiteY648" fmla="*/ 163729 h 290514"/>
                  <a:gd name="connsiteX649" fmla="*/ 99189 w 406368"/>
                  <a:gd name="connsiteY649" fmla="*/ 163993 h 290514"/>
                  <a:gd name="connsiteX650" fmla="*/ 98572 w 406368"/>
                  <a:gd name="connsiteY650" fmla="*/ 165492 h 290514"/>
                  <a:gd name="connsiteX651" fmla="*/ 95662 w 406368"/>
                  <a:gd name="connsiteY651" fmla="*/ 166638 h 290514"/>
                  <a:gd name="connsiteX652" fmla="*/ 89844 w 406368"/>
                  <a:gd name="connsiteY652" fmla="*/ 166638 h 290514"/>
                  <a:gd name="connsiteX653" fmla="*/ 86934 w 406368"/>
                  <a:gd name="connsiteY653" fmla="*/ 167784 h 290514"/>
                  <a:gd name="connsiteX654" fmla="*/ 88080 w 406368"/>
                  <a:gd name="connsiteY654" fmla="*/ 169548 h 290514"/>
                  <a:gd name="connsiteX655" fmla="*/ 85435 w 406368"/>
                  <a:gd name="connsiteY655" fmla="*/ 169548 h 290514"/>
                  <a:gd name="connsiteX656" fmla="*/ 82261 w 406368"/>
                  <a:gd name="connsiteY656" fmla="*/ 167520 h 290514"/>
                  <a:gd name="connsiteX657" fmla="*/ 78470 w 406368"/>
                  <a:gd name="connsiteY657" fmla="*/ 164610 h 290514"/>
                  <a:gd name="connsiteX658" fmla="*/ 76442 w 406368"/>
                  <a:gd name="connsiteY658" fmla="*/ 164875 h 290514"/>
                  <a:gd name="connsiteX659" fmla="*/ 75560 w 406368"/>
                  <a:gd name="connsiteY659" fmla="*/ 163729 h 290514"/>
                  <a:gd name="connsiteX660" fmla="*/ 74061 w 406368"/>
                  <a:gd name="connsiteY660" fmla="*/ 163993 h 290514"/>
                  <a:gd name="connsiteX661" fmla="*/ 72033 w 406368"/>
                  <a:gd name="connsiteY661" fmla="*/ 165139 h 290514"/>
                  <a:gd name="connsiteX662" fmla="*/ 71416 w 406368"/>
                  <a:gd name="connsiteY662" fmla="*/ 166286 h 290514"/>
                  <a:gd name="connsiteX663" fmla="*/ 72298 w 406368"/>
                  <a:gd name="connsiteY663" fmla="*/ 167432 h 290514"/>
                  <a:gd name="connsiteX664" fmla="*/ 72298 w 406368"/>
                  <a:gd name="connsiteY664" fmla="*/ 168578 h 290514"/>
                  <a:gd name="connsiteX665" fmla="*/ 71681 w 406368"/>
                  <a:gd name="connsiteY665" fmla="*/ 168842 h 290514"/>
                  <a:gd name="connsiteX666" fmla="*/ 69036 w 406368"/>
                  <a:gd name="connsiteY666" fmla="*/ 168578 h 290514"/>
                  <a:gd name="connsiteX667" fmla="*/ 68418 w 406368"/>
                  <a:gd name="connsiteY667" fmla="*/ 164787 h 290514"/>
                  <a:gd name="connsiteX668" fmla="*/ 69300 w 406368"/>
                  <a:gd name="connsiteY668" fmla="*/ 162759 h 290514"/>
                  <a:gd name="connsiteX669" fmla="*/ 68683 w 406368"/>
                  <a:gd name="connsiteY669" fmla="*/ 160995 h 290514"/>
                  <a:gd name="connsiteX670" fmla="*/ 66655 w 406368"/>
                  <a:gd name="connsiteY670" fmla="*/ 160114 h 290514"/>
                  <a:gd name="connsiteX671" fmla="*/ 66920 w 406368"/>
                  <a:gd name="connsiteY671" fmla="*/ 156058 h 290514"/>
                  <a:gd name="connsiteX672" fmla="*/ 66038 w 406368"/>
                  <a:gd name="connsiteY672" fmla="*/ 157557 h 290514"/>
                  <a:gd name="connsiteX673" fmla="*/ 65156 w 406368"/>
                  <a:gd name="connsiteY673" fmla="*/ 158439 h 290514"/>
                  <a:gd name="connsiteX674" fmla="*/ 64010 w 406368"/>
                  <a:gd name="connsiteY674" fmla="*/ 160202 h 290514"/>
                  <a:gd name="connsiteX675" fmla="*/ 63393 w 406368"/>
                  <a:gd name="connsiteY675" fmla="*/ 160202 h 290514"/>
                  <a:gd name="connsiteX676" fmla="*/ 62511 w 406368"/>
                  <a:gd name="connsiteY676" fmla="*/ 161701 h 290514"/>
                  <a:gd name="connsiteX677" fmla="*/ 60748 w 406368"/>
                  <a:gd name="connsiteY677" fmla="*/ 162582 h 290514"/>
                  <a:gd name="connsiteX678" fmla="*/ 58985 w 406368"/>
                  <a:gd name="connsiteY678" fmla="*/ 163464 h 290514"/>
                  <a:gd name="connsiteX679" fmla="*/ 58985 w 406368"/>
                  <a:gd name="connsiteY679" fmla="*/ 166109 h 290514"/>
                  <a:gd name="connsiteX680" fmla="*/ 61012 w 406368"/>
                  <a:gd name="connsiteY680" fmla="*/ 167608 h 290514"/>
                  <a:gd name="connsiteX681" fmla="*/ 60131 w 406368"/>
                  <a:gd name="connsiteY681" fmla="*/ 169371 h 290514"/>
                  <a:gd name="connsiteX682" fmla="*/ 61012 w 406368"/>
                  <a:gd name="connsiteY682" fmla="*/ 171752 h 290514"/>
                  <a:gd name="connsiteX683" fmla="*/ 60748 w 406368"/>
                  <a:gd name="connsiteY683" fmla="*/ 173163 h 290514"/>
                  <a:gd name="connsiteX684" fmla="*/ 59866 w 406368"/>
                  <a:gd name="connsiteY684" fmla="*/ 175191 h 290514"/>
                  <a:gd name="connsiteX685" fmla="*/ 58985 w 406368"/>
                  <a:gd name="connsiteY685" fmla="*/ 173780 h 290514"/>
                  <a:gd name="connsiteX686" fmla="*/ 55458 w 406368"/>
                  <a:gd name="connsiteY686" fmla="*/ 170606 h 290514"/>
                  <a:gd name="connsiteX687" fmla="*/ 54312 w 406368"/>
                  <a:gd name="connsiteY687" fmla="*/ 169107 h 290514"/>
                  <a:gd name="connsiteX688" fmla="*/ 53430 w 406368"/>
                  <a:gd name="connsiteY688" fmla="*/ 167696 h 290514"/>
                  <a:gd name="connsiteX689" fmla="*/ 50785 w 406368"/>
                  <a:gd name="connsiteY689" fmla="*/ 167079 h 290514"/>
                  <a:gd name="connsiteX690" fmla="*/ 50520 w 406368"/>
                  <a:gd name="connsiteY690" fmla="*/ 168225 h 290514"/>
                  <a:gd name="connsiteX691" fmla="*/ 52813 w 406368"/>
                  <a:gd name="connsiteY691" fmla="*/ 169724 h 290514"/>
                  <a:gd name="connsiteX692" fmla="*/ 54576 w 406368"/>
                  <a:gd name="connsiteY692" fmla="*/ 173251 h 290514"/>
                  <a:gd name="connsiteX693" fmla="*/ 56339 w 406368"/>
                  <a:gd name="connsiteY693" fmla="*/ 175896 h 290514"/>
                  <a:gd name="connsiteX694" fmla="*/ 58367 w 406368"/>
                  <a:gd name="connsiteY694" fmla="*/ 177395 h 290514"/>
                  <a:gd name="connsiteX695" fmla="*/ 58367 w 406368"/>
                  <a:gd name="connsiteY695" fmla="*/ 179158 h 290514"/>
                  <a:gd name="connsiteX696" fmla="*/ 56604 w 406368"/>
                  <a:gd name="connsiteY696" fmla="*/ 179423 h 290514"/>
                  <a:gd name="connsiteX697" fmla="*/ 53077 w 406368"/>
                  <a:gd name="connsiteY697" fmla="*/ 176513 h 290514"/>
                  <a:gd name="connsiteX698" fmla="*/ 49286 w 406368"/>
                  <a:gd name="connsiteY698" fmla="*/ 173868 h 290514"/>
                  <a:gd name="connsiteX699" fmla="*/ 47258 w 406368"/>
                  <a:gd name="connsiteY699" fmla="*/ 174485 h 290514"/>
                  <a:gd name="connsiteX700" fmla="*/ 51314 w 406368"/>
                  <a:gd name="connsiteY700" fmla="*/ 177130 h 290514"/>
                  <a:gd name="connsiteX701" fmla="*/ 53342 w 406368"/>
                  <a:gd name="connsiteY701" fmla="*/ 179775 h 290514"/>
                  <a:gd name="connsiteX702" fmla="*/ 55987 w 406368"/>
                  <a:gd name="connsiteY702" fmla="*/ 180921 h 290514"/>
                  <a:gd name="connsiteX703" fmla="*/ 53959 w 406368"/>
                  <a:gd name="connsiteY703" fmla="*/ 181539 h 290514"/>
                  <a:gd name="connsiteX704" fmla="*/ 52196 w 406368"/>
                  <a:gd name="connsiteY704" fmla="*/ 180657 h 290514"/>
                  <a:gd name="connsiteX705" fmla="*/ 47787 w 406368"/>
                  <a:gd name="connsiteY705" fmla="*/ 177130 h 290514"/>
                  <a:gd name="connsiteX706" fmla="*/ 44613 w 406368"/>
                  <a:gd name="connsiteY706" fmla="*/ 177747 h 290514"/>
                  <a:gd name="connsiteX707" fmla="*/ 45230 w 406368"/>
                  <a:gd name="connsiteY707" fmla="*/ 177395 h 290514"/>
                  <a:gd name="connsiteX708" fmla="*/ 44349 w 406368"/>
                  <a:gd name="connsiteY708" fmla="*/ 176249 h 290514"/>
                  <a:gd name="connsiteX709" fmla="*/ 42850 w 406368"/>
                  <a:gd name="connsiteY709" fmla="*/ 176513 h 290514"/>
                  <a:gd name="connsiteX710" fmla="*/ 41086 w 406368"/>
                  <a:gd name="connsiteY710" fmla="*/ 176249 h 290514"/>
                  <a:gd name="connsiteX711" fmla="*/ 39940 w 406368"/>
                  <a:gd name="connsiteY711" fmla="*/ 177395 h 290514"/>
                  <a:gd name="connsiteX712" fmla="*/ 37648 w 406368"/>
                  <a:gd name="connsiteY712" fmla="*/ 176778 h 290514"/>
                  <a:gd name="connsiteX713" fmla="*/ 35620 w 406368"/>
                  <a:gd name="connsiteY713" fmla="*/ 177924 h 290514"/>
                  <a:gd name="connsiteX714" fmla="*/ 32975 w 406368"/>
                  <a:gd name="connsiteY714" fmla="*/ 179687 h 290514"/>
                  <a:gd name="connsiteX715" fmla="*/ 35355 w 406368"/>
                  <a:gd name="connsiteY715" fmla="*/ 181098 h 290514"/>
                  <a:gd name="connsiteX716" fmla="*/ 34209 w 406368"/>
                  <a:gd name="connsiteY716" fmla="*/ 181715 h 290514"/>
                  <a:gd name="connsiteX717" fmla="*/ 35973 w 406368"/>
                  <a:gd name="connsiteY717" fmla="*/ 182332 h 290514"/>
                  <a:gd name="connsiteX718" fmla="*/ 42409 w 406368"/>
                  <a:gd name="connsiteY718" fmla="*/ 182068 h 290514"/>
                  <a:gd name="connsiteX719" fmla="*/ 41263 w 406368"/>
                  <a:gd name="connsiteY719" fmla="*/ 182685 h 290514"/>
                  <a:gd name="connsiteX720" fmla="*/ 43908 w 406368"/>
                  <a:gd name="connsiteY720" fmla="*/ 182949 h 290514"/>
                  <a:gd name="connsiteX721" fmla="*/ 50873 w 406368"/>
                  <a:gd name="connsiteY721" fmla="*/ 182685 h 290514"/>
                  <a:gd name="connsiteX722" fmla="*/ 50256 w 406368"/>
                  <a:gd name="connsiteY722" fmla="*/ 182685 h 290514"/>
                  <a:gd name="connsiteX723" fmla="*/ 44172 w 406368"/>
                  <a:gd name="connsiteY723" fmla="*/ 184184 h 290514"/>
                  <a:gd name="connsiteX724" fmla="*/ 43643 w 406368"/>
                  <a:gd name="connsiteY724" fmla="*/ 186212 h 290514"/>
                  <a:gd name="connsiteX725" fmla="*/ 44172 w 406368"/>
                  <a:gd name="connsiteY725" fmla="*/ 186829 h 290514"/>
                  <a:gd name="connsiteX726" fmla="*/ 40381 w 406368"/>
                  <a:gd name="connsiteY726" fmla="*/ 186212 h 290514"/>
                  <a:gd name="connsiteX727" fmla="*/ 38882 w 406368"/>
                  <a:gd name="connsiteY727" fmla="*/ 185065 h 290514"/>
                  <a:gd name="connsiteX728" fmla="*/ 36590 w 406368"/>
                  <a:gd name="connsiteY728" fmla="*/ 185947 h 290514"/>
                  <a:gd name="connsiteX729" fmla="*/ 34826 w 406368"/>
                  <a:gd name="connsiteY729" fmla="*/ 185683 h 290514"/>
                  <a:gd name="connsiteX730" fmla="*/ 31300 w 406368"/>
                  <a:gd name="connsiteY730" fmla="*/ 184801 h 290514"/>
                  <a:gd name="connsiteX731" fmla="*/ 29272 w 406368"/>
                  <a:gd name="connsiteY731" fmla="*/ 184272 h 290514"/>
                  <a:gd name="connsiteX732" fmla="*/ 27861 w 406368"/>
                  <a:gd name="connsiteY732" fmla="*/ 185418 h 290514"/>
                  <a:gd name="connsiteX733" fmla="*/ 26362 w 406368"/>
                  <a:gd name="connsiteY733" fmla="*/ 184536 h 290514"/>
                  <a:gd name="connsiteX734" fmla="*/ 24863 w 406368"/>
                  <a:gd name="connsiteY734" fmla="*/ 185154 h 290514"/>
                  <a:gd name="connsiteX735" fmla="*/ 23717 w 406368"/>
                  <a:gd name="connsiteY735" fmla="*/ 184272 h 290514"/>
                  <a:gd name="connsiteX736" fmla="*/ 22836 w 406368"/>
                  <a:gd name="connsiteY736" fmla="*/ 184536 h 290514"/>
                  <a:gd name="connsiteX737" fmla="*/ 23100 w 406368"/>
                  <a:gd name="connsiteY737" fmla="*/ 186917 h 290514"/>
                  <a:gd name="connsiteX738" fmla="*/ 26274 w 406368"/>
                  <a:gd name="connsiteY738" fmla="*/ 187799 h 290514"/>
                  <a:gd name="connsiteX739" fmla="*/ 24511 w 406368"/>
                  <a:gd name="connsiteY739" fmla="*/ 188416 h 290514"/>
                  <a:gd name="connsiteX740" fmla="*/ 24511 w 406368"/>
                  <a:gd name="connsiteY740" fmla="*/ 189297 h 290514"/>
                  <a:gd name="connsiteX741" fmla="*/ 30065 w 406368"/>
                  <a:gd name="connsiteY741" fmla="*/ 189562 h 290514"/>
                  <a:gd name="connsiteX742" fmla="*/ 33592 w 406368"/>
                  <a:gd name="connsiteY742" fmla="*/ 191325 h 290514"/>
                  <a:gd name="connsiteX743" fmla="*/ 35355 w 406368"/>
                  <a:gd name="connsiteY743" fmla="*/ 193353 h 290514"/>
                  <a:gd name="connsiteX744" fmla="*/ 36502 w 406368"/>
                  <a:gd name="connsiteY744" fmla="*/ 192736 h 290514"/>
                  <a:gd name="connsiteX745" fmla="*/ 37648 w 406368"/>
                  <a:gd name="connsiteY745" fmla="*/ 193353 h 290514"/>
                  <a:gd name="connsiteX746" fmla="*/ 35267 w 406368"/>
                  <a:gd name="connsiteY746" fmla="*/ 195381 h 290514"/>
                  <a:gd name="connsiteX747" fmla="*/ 35884 w 406368"/>
                  <a:gd name="connsiteY747" fmla="*/ 196527 h 290514"/>
                  <a:gd name="connsiteX748" fmla="*/ 35884 w 406368"/>
                  <a:gd name="connsiteY748" fmla="*/ 197409 h 290514"/>
                  <a:gd name="connsiteX749" fmla="*/ 34386 w 406368"/>
                  <a:gd name="connsiteY749" fmla="*/ 197409 h 290514"/>
                  <a:gd name="connsiteX750" fmla="*/ 33239 w 406368"/>
                  <a:gd name="connsiteY750" fmla="*/ 196263 h 290514"/>
                  <a:gd name="connsiteX751" fmla="*/ 33239 w 406368"/>
                  <a:gd name="connsiteY751" fmla="*/ 194764 h 290514"/>
                  <a:gd name="connsiteX752" fmla="*/ 30947 w 406368"/>
                  <a:gd name="connsiteY752" fmla="*/ 190708 h 290514"/>
                  <a:gd name="connsiteX753" fmla="*/ 26274 w 406368"/>
                  <a:gd name="connsiteY753" fmla="*/ 190091 h 290514"/>
                  <a:gd name="connsiteX754" fmla="*/ 24511 w 406368"/>
                  <a:gd name="connsiteY754" fmla="*/ 191854 h 290514"/>
                  <a:gd name="connsiteX755" fmla="*/ 26010 w 406368"/>
                  <a:gd name="connsiteY755" fmla="*/ 195646 h 290514"/>
                  <a:gd name="connsiteX756" fmla="*/ 24246 w 406368"/>
                  <a:gd name="connsiteY756" fmla="*/ 194235 h 290514"/>
                  <a:gd name="connsiteX757" fmla="*/ 20190 w 406368"/>
                  <a:gd name="connsiteY757" fmla="*/ 193089 h 290514"/>
                  <a:gd name="connsiteX758" fmla="*/ 19044 w 406368"/>
                  <a:gd name="connsiteY758" fmla="*/ 191943 h 290514"/>
                  <a:gd name="connsiteX759" fmla="*/ 16664 w 406368"/>
                  <a:gd name="connsiteY759" fmla="*/ 191061 h 290514"/>
                  <a:gd name="connsiteX760" fmla="*/ 15517 w 406368"/>
                  <a:gd name="connsiteY760" fmla="*/ 192207 h 290514"/>
                  <a:gd name="connsiteX761" fmla="*/ 14371 w 406368"/>
                  <a:gd name="connsiteY761" fmla="*/ 193353 h 290514"/>
                  <a:gd name="connsiteX762" fmla="*/ 16135 w 406368"/>
                  <a:gd name="connsiteY762" fmla="*/ 194235 h 290514"/>
                  <a:gd name="connsiteX763" fmla="*/ 17545 w 406368"/>
                  <a:gd name="connsiteY763" fmla="*/ 195646 h 290514"/>
                  <a:gd name="connsiteX764" fmla="*/ 19309 w 406368"/>
                  <a:gd name="connsiteY764" fmla="*/ 196263 h 290514"/>
                  <a:gd name="connsiteX765" fmla="*/ 21072 w 406368"/>
                  <a:gd name="connsiteY765" fmla="*/ 198026 h 290514"/>
                  <a:gd name="connsiteX766" fmla="*/ 19661 w 406368"/>
                  <a:gd name="connsiteY766" fmla="*/ 197762 h 290514"/>
                  <a:gd name="connsiteX767" fmla="*/ 15870 w 406368"/>
                  <a:gd name="connsiteY767" fmla="*/ 198379 h 290514"/>
                  <a:gd name="connsiteX768" fmla="*/ 14724 w 406368"/>
                  <a:gd name="connsiteY768" fmla="*/ 197497 h 290514"/>
                  <a:gd name="connsiteX769" fmla="*/ 13578 w 406368"/>
                  <a:gd name="connsiteY769" fmla="*/ 195734 h 290514"/>
                  <a:gd name="connsiteX770" fmla="*/ 11550 w 406368"/>
                  <a:gd name="connsiteY770" fmla="*/ 196880 h 290514"/>
                  <a:gd name="connsiteX771" fmla="*/ 8905 w 406368"/>
                  <a:gd name="connsiteY771" fmla="*/ 196351 h 290514"/>
                  <a:gd name="connsiteX772" fmla="*/ 6877 w 406368"/>
                  <a:gd name="connsiteY772" fmla="*/ 195469 h 290514"/>
                  <a:gd name="connsiteX773" fmla="*/ 5995 w 406368"/>
                  <a:gd name="connsiteY773" fmla="*/ 197497 h 290514"/>
                  <a:gd name="connsiteX774" fmla="*/ 2821 w 406368"/>
                  <a:gd name="connsiteY774" fmla="*/ 195469 h 290514"/>
                  <a:gd name="connsiteX775" fmla="*/ 2557 w 406368"/>
                  <a:gd name="connsiteY775" fmla="*/ 196615 h 290514"/>
                  <a:gd name="connsiteX776" fmla="*/ 1058 w 406368"/>
                  <a:gd name="connsiteY776" fmla="*/ 197497 h 290514"/>
                  <a:gd name="connsiteX777" fmla="*/ 1940 w 406368"/>
                  <a:gd name="connsiteY777" fmla="*/ 198379 h 290514"/>
                  <a:gd name="connsiteX778" fmla="*/ 4585 w 406368"/>
                  <a:gd name="connsiteY778" fmla="*/ 199261 h 290514"/>
                  <a:gd name="connsiteX779" fmla="*/ 3703 w 406368"/>
                  <a:gd name="connsiteY779" fmla="*/ 200759 h 290514"/>
                  <a:gd name="connsiteX780" fmla="*/ 7847 w 406368"/>
                  <a:gd name="connsiteY780" fmla="*/ 200142 h 290514"/>
                  <a:gd name="connsiteX781" fmla="*/ 12255 w 406368"/>
                  <a:gd name="connsiteY781" fmla="*/ 200407 h 290514"/>
                  <a:gd name="connsiteX782" fmla="*/ 16046 w 406368"/>
                  <a:gd name="connsiteY782" fmla="*/ 201024 h 290514"/>
                  <a:gd name="connsiteX783" fmla="*/ 17810 w 406368"/>
                  <a:gd name="connsiteY783" fmla="*/ 200142 h 290514"/>
                  <a:gd name="connsiteX784" fmla="*/ 19838 w 406368"/>
                  <a:gd name="connsiteY784" fmla="*/ 199878 h 290514"/>
                  <a:gd name="connsiteX785" fmla="*/ 22130 w 406368"/>
                  <a:gd name="connsiteY785" fmla="*/ 201024 h 290514"/>
                  <a:gd name="connsiteX786" fmla="*/ 25040 w 406368"/>
                  <a:gd name="connsiteY786" fmla="*/ 201024 h 290514"/>
                  <a:gd name="connsiteX787" fmla="*/ 27067 w 406368"/>
                  <a:gd name="connsiteY787" fmla="*/ 202523 h 290514"/>
                  <a:gd name="connsiteX788" fmla="*/ 28566 w 406368"/>
                  <a:gd name="connsiteY788" fmla="*/ 201641 h 290514"/>
                  <a:gd name="connsiteX789" fmla="*/ 30065 w 406368"/>
                  <a:gd name="connsiteY789" fmla="*/ 202258 h 290514"/>
                  <a:gd name="connsiteX790" fmla="*/ 29801 w 406368"/>
                  <a:gd name="connsiteY790" fmla="*/ 203140 h 290514"/>
                  <a:gd name="connsiteX791" fmla="*/ 28037 w 406368"/>
                  <a:gd name="connsiteY791" fmla="*/ 203140 h 290514"/>
                  <a:gd name="connsiteX792" fmla="*/ 23365 w 406368"/>
                  <a:gd name="connsiteY792" fmla="*/ 203404 h 290514"/>
                  <a:gd name="connsiteX793" fmla="*/ 20455 w 406368"/>
                  <a:gd name="connsiteY793" fmla="*/ 203669 h 290514"/>
                  <a:gd name="connsiteX794" fmla="*/ 17810 w 406368"/>
                  <a:gd name="connsiteY794" fmla="*/ 203669 h 290514"/>
                  <a:gd name="connsiteX795" fmla="*/ 13401 w 406368"/>
                  <a:gd name="connsiteY795" fmla="*/ 203404 h 290514"/>
                  <a:gd name="connsiteX796" fmla="*/ 11109 w 406368"/>
                  <a:gd name="connsiteY796" fmla="*/ 202523 h 290514"/>
                  <a:gd name="connsiteX797" fmla="*/ 6436 w 406368"/>
                  <a:gd name="connsiteY797" fmla="*/ 203933 h 290514"/>
                  <a:gd name="connsiteX798" fmla="*/ 4144 w 406368"/>
                  <a:gd name="connsiteY798" fmla="*/ 203316 h 290514"/>
                  <a:gd name="connsiteX799" fmla="*/ 2116 w 406368"/>
                  <a:gd name="connsiteY799" fmla="*/ 203581 h 290514"/>
                  <a:gd name="connsiteX800" fmla="*/ 970 w 406368"/>
                  <a:gd name="connsiteY800" fmla="*/ 204462 h 290514"/>
                  <a:gd name="connsiteX801" fmla="*/ 705 w 406368"/>
                  <a:gd name="connsiteY801" fmla="*/ 205344 h 290514"/>
                  <a:gd name="connsiteX802" fmla="*/ 1322 w 406368"/>
                  <a:gd name="connsiteY802" fmla="*/ 206226 h 290514"/>
                  <a:gd name="connsiteX803" fmla="*/ 1587 w 406368"/>
                  <a:gd name="connsiteY803" fmla="*/ 207725 h 290514"/>
                  <a:gd name="connsiteX804" fmla="*/ 3615 w 406368"/>
                  <a:gd name="connsiteY804" fmla="*/ 207725 h 290514"/>
                  <a:gd name="connsiteX805" fmla="*/ 5378 w 406368"/>
                  <a:gd name="connsiteY805" fmla="*/ 208606 h 290514"/>
                  <a:gd name="connsiteX806" fmla="*/ 5378 w 406368"/>
                  <a:gd name="connsiteY806" fmla="*/ 208871 h 290514"/>
                  <a:gd name="connsiteX807" fmla="*/ 4232 w 406368"/>
                  <a:gd name="connsiteY807" fmla="*/ 209400 h 290514"/>
                  <a:gd name="connsiteX808" fmla="*/ 6877 w 406368"/>
                  <a:gd name="connsiteY808" fmla="*/ 210017 h 290514"/>
                  <a:gd name="connsiteX809" fmla="*/ 10404 w 406368"/>
                  <a:gd name="connsiteY809" fmla="*/ 211516 h 290514"/>
                  <a:gd name="connsiteX810" fmla="*/ 13313 w 406368"/>
                  <a:gd name="connsiteY810" fmla="*/ 211251 h 290514"/>
                  <a:gd name="connsiteX811" fmla="*/ 10933 w 406368"/>
                  <a:gd name="connsiteY811" fmla="*/ 211869 h 290514"/>
                  <a:gd name="connsiteX812" fmla="*/ 5995 w 406368"/>
                  <a:gd name="connsiteY812" fmla="*/ 211869 h 290514"/>
                  <a:gd name="connsiteX813" fmla="*/ 2204 w 406368"/>
                  <a:gd name="connsiteY813" fmla="*/ 212486 h 290514"/>
                  <a:gd name="connsiteX814" fmla="*/ 793 w 406368"/>
                  <a:gd name="connsiteY814" fmla="*/ 212750 h 290514"/>
                  <a:gd name="connsiteX815" fmla="*/ 529 w 406368"/>
                  <a:gd name="connsiteY815" fmla="*/ 213367 h 290514"/>
                  <a:gd name="connsiteX816" fmla="*/ 1940 w 406368"/>
                  <a:gd name="connsiteY816" fmla="*/ 214514 h 290514"/>
                  <a:gd name="connsiteX817" fmla="*/ 4849 w 406368"/>
                  <a:gd name="connsiteY817" fmla="*/ 213632 h 290514"/>
                  <a:gd name="connsiteX818" fmla="*/ 8023 w 406368"/>
                  <a:gd name="connsiteY818" fmla="*/ 213896 h 290514"/>
                  <a:gd name="connsiteX819" fmla="*/ 4496 w 406368"/>
                  <a:gd name="connsiteY819" fmla="*/ 214514 h 290514"/>
                  <a:gd name="connsiteX820" fmla="*/ 3615 w 406368"/>
                  <a:gd name="connsiteY820" fmla="*/ 215660 h 290514"/>
                  <a:gd name="connsiteX821" fmla="*/ 2469 w 406368"/>
                  <a:gd name="connsiteY821" fmla="*/ 215924 h 290514"/>
                  <a:gd name="connsiteX822" fmla="*/ 1587 w 406368"/>
                  <a:gd name="connsiteY822" fmla="*/ 217688 h 290514"/>
                  <a:gd name="connsiteX823" fmla="*/ 3615 w 406368"/>
                  <a:gd name="connsiteY823" fmla="*/ 218305 h 290514"/>
                  <a:gd name="connsiteX824" fmla="*/ 3615 w 406368"/>
                  <a:gd name="connsiteY824" fmla="*/ 218922 h 290514"/>
                  <a:gd name="connsiteX825" fmla="*/ 4232 w 406368"/>
                  <a:gd name="connsiteY825" fmla="*/ 219187 h 290514"/>
                  <a:gd name="connsiteX826" fmla="*/ 6524 w 406368"/>
                  <a:gd name="connsiteY826" fmla="*/ 219716 h 290514"/>
                  <a:gd name="connsiteX827" fmla="*/ 10933 w 406368"/>
                  <a:gd name="connsiteY827" fmla="*/ 219451 h 290514"/>
                  <a:gd name="connsiteX828" fmla="*/ 14724 w 406368"/>
                  <a:gd name="connsiteY828" fmla="*/ 218922 h 290514"/>
                  <a:gd name="connsiteX829" fmla="*/ 18251 w 406368"/>
                  <a:gd name="connsiteY829" fmla="*/ 218922 h 290514"/>
                  <a:gd name="connsiteX830" fmla="*/ 21160 w 406368"/>
                  <a:gd name="connsiteY830" fmla="*/ 218922 h 290514"/>
                  <a:gd name="connsiteX831" fmla="*/ 24070 w 406368"/>
                  <a:gd name="connsiteY831" fmla="*/ 219451 h 290514"/>
                  <a:gd name="connsiteX832" fmla="*/ 26362 w 406368"/>
                  <a:gd name="connsiteY832" fmla="*/ 217952 h 290514"/>
                  <a:gd name="connsiteX833" fmla="*/ 28126 w 406368"/>
                  <a:gd name="connsiteY833" fmla="*/ 215924 h 290514"/>
                  <a:gd name="connsiteX834" fmla="*/ 29536 w 406368"/>
                  <a:gd name="connsiteY834" fmla="*/ 215660 h 290514"/>
                  <a:gd name="connsiteX835" fmla="*/ 30153 w 406368"/>
                  <a:gd name="connsiteY835" fmla="*/ 217688 h 290514"/>
                  <a:gd name="connsiteX836" fmla="*/ 33680 w 406368"/>
                  <a:gd name="connsiteY836" fmla="*/ 218834 h 290514"/>
                  <a:gd name="connsiteX837" fmla="*/ 37736 w 406368"/>
                  <a:gd name="connsiteY837" fmla="*/ 219098 h 290514"/>
                  <a:gd name="connsiteX838" fmla="*/ 39235 w 406368"/>
                  <a:gd name="connsiteY838" fmla="*/ 217952 h 290514"/>
                  <a:gd name="connsiteX839" fmla="*/ 40381 w 406368"/>
                  <a:gd name="connsiteY839" fmla="*/ 215660 h 290514"/>
                  <a:gd name="connsiteX840" fmla="*/ 41527 w 406368"/>
                  <a:gd name="connsiteY840" fmla="*/ 215395 h 290514"/>
                  <a:gd name="connsiteX841" fmla="*/ 42144 w 406368"/>
                  <a:gd name="connsiteY841" fmla="*/ 214514 h 290514"/>
                  <a:gd name="connsiteX842" fmla="*/ 43026 w 406368"/>
                  <a:gd name="connsiteY842" fmla="*/ 215395 h 290514"/>
                  <a:gd name="connsiteX843" fmla="*/ 43291 w 406368"/>
                  <a:gd name="connsiteY843" fmla="*/ 216542 h 290514"/>
                  <a:gd name="connsiteX844" fmla="*/ 42409 w 406368"/>
                  <a:gd name="connsiteY844" fmla="*/ 217688 h 290514"/>
                  <a:gd name="connsiteX845" fmla="*/ 45583 w 406368"/>
                  <a:gd name="connsiteY845" fmla="*/ 217952 h 290514"/>
                  <a:gd name="connsiteX846" fmla="*/ 44437 w 406368"/>
                  <a:gd name="connsiteY846" fmla="*/ 218569 h 290514"/>
                  <a:gd name="connsiteX847" fmla="*/ 43291 w 406368"/>
                  <a:gd name="connsiteY847" fmla="*/ 219451 h 290514"/>
                  <a:gd name="connsiteX848" fmla="*/ 41263 w 406368"/>
                  <a:gd name="connsiteY848" fmla="*/ 219451 h 290514"/>
                  <a:gd name="connsiteX849" fmla="*/ 39764 w 406368"/>
                  <a:gd name="connsiteY849" fmla="*/ 220333 h 290514"/>
                  <a:gd name="connsiteX850" fmla="*/ 38265 w 406368"/>
                  <a:gd name="connsiteY850" fmla="*/ 220950 h 290514"/>
                  <a:gd name="connsiteX851" fmla="*/ 38001 w 406368"/>
                  <a:gd name="connsiteY851" fmla="*/ 222096 h 290514"/>
                  <a:gd name="connsiteX852" fmla="*/ 38001 w 406368"/>
                  <a:gd name="connsiteY852" fmla="*/ 223860 h 290514"/>
                  <a:gd name="connsiteX853" fmla="*/ 36502 w 406368"/>
                  <a:gd name="connsiteY853" fmla="*/ 223595 h 290514"/>
                  <a:gd name="connsiteX854" fmla="*/ 35091 w 406368"/>
                  <a:gd name="connsiteY854" fmla="*/ 222978 h 290514"/>
                  <a:gd name="connsiteX855" fmla="*/ 33945 w 406368"/>
                  <a:gd name="connsiteY855" fmla="*/ 220950 h 290514"/>
                  <a:gd name="connsiteX856" fmla="*/ 32181 w 406368"/>
                  <a:gd name="connsiteY856" fmla="*/ 220333 h 290514"/>
                  <a:gd name="connsiteX857" fmla="*/ 31564 w 406368"/>
                  <a:gd name="connsiteY857" fmla="*/ 219451 h 290514"/>
                  <a:gd name="connsiteX858" fmla="*/ 29536 w 406368"/>
                  <a:gd name="connsiteY858" fmla="*/ 220068 h 290514"/>
                  <a:gd name="connsiteX859" fmla="*/ 27508 w 406368"/>
                  <a:gd name="connsiteY859" fmla="*/ 220068 h 290514"/>
                  <a:gd name="connsiteX860" fmla="*/ 24599 w 406368"/>
                  <a:gd name="connsiteY860" fmla="*/ 220950 h 290514"/>
                  <a:gd name="connsiteX861" fmla="*/ 23717 w 406368"/>
                  <a:gd name="connsiteY861" fmla="*/ 220950 h 290514"/>
                  <a:gd name="connsiteX862" fmla="*/ 22218 w 406368"/>
                  <a:gd name="connsiteY862" fmla="*/ 220685 h 290514"/>
                  <a:gd name="connsiteX863" fmla="*/ 21072 w 406368"/>
                  <a:gd name="connsiteY863" fmla="*/ 220068 h 290514"/>
                  <a:gd name="connsiteX864" fmla="*/ 15517 w 406368"/>
                  <a:gd name="connsiteY864" fmla="*/ 219804 h 290514"/>
                  <a:gd name="connsiteX865" fmla="*/ 11462 w 406368"/>
                  <a:gd name="connsiteY865" fmla="*/ 220421 h 290514"/>
                  <a:gd name="connsiteX866" fmla="*/ 8817 w 406368"/>
                  <a:gd name="connsiteY866" fmla="*/ 221303 h 290514"/>
                  <a:gd name="connsiteX867" fmla="*/ 4408 w 406368"/>
                  <a:gd name="connsiteY867" fmla="*/ 221038 h 290514"/>
                  <a:gd name="connsiteX868" fmla="*/ 2028 w 406368"/>
                  <a:gd name="connsiteY868" fmla="*/ 222184 h 290514"/>
                  <a:gd name="connsiteX869" fmla="*/ 3438 w 406368"/>
                  <a:gd name="connsiteY869" fmla="*/ 223330 h 290514"/>
                  <a:gd name="connsiteX870" fmla="*/ 2557 w 406368"/>
                  <a:gd name="connsiteY870" fmla="*/ 223948 h 290514"/>
                  <a:gd name="connsiteX871" fmla="*/ 2557 w 406368"/>
                  <a:gd name="connsiteY871" fmla="*/ 224829 h 290514"/>
                  <a:gd name="connsiteX872" fmla="*/ 4056 w 406368"/>
                  <a:gd name="connsiteY872" fmla="*/ 225976 h 290514"/>
                  <a:gd name="connsiteX873" fmla="*/ 5202 w 406368"/>
                  <a:gd name="connsiteY873" fmla="*/ 225711 h 290514"/>
                  <a:gd name="connsiteX874" fmla="*/ 8376 w 406368"/>
                  <a:gd name="connsiteY874" fmla="*/ 225094 h 290514"/>
                  <a:gd name="connsiteX875" fmla="*/ 8640 w 406368"/>
                  <a:gd name="connsiteY875" fmla="*/ 225358 h 290514"/>
                  <a:gd name="connsiteX876" fmla="*/ 5995 w 406368"/>
                  <a:gd name="connsiteY876" fmla="*/ 226505 h 290514"/>
                  <a:gd name="connsiteX877" fmla="*/ 7142 w 406368"/>
                  <a:gd name="connsiteY877" fmla="*/ 227651 h 290514"/>
                  <a:gd name="connsiteX878" fmla="*/ 6524 w 406368"/>
                  <a:gd name="connsiteY878" fmla="*/ 228532 h 290514"/>
                  <a:gd name="connsiteX879" fmla="*/ 6524 w 406368"/>
                  <a:gd name="connsiteY879" fmla="*/ 229414 h 290514"/>
                  <a:gd name="connsiteX880" fmla="*/ 4496 w 406368"/>
                  <a:gd name="connsiteY880" fmla="*/ 227651 h 290514"/>
                  <a:gd name="connsiteX881" fmla="*/ 2998 w 406368"/>
                  <a:gd name="connsiteY881" fmla="*/ 227651 h 290514"/>
                  <a:gd name="connsiteX882" fmla="*/ 1851 w 406368"/>
                  <a:gd name="connsiteY882" fmla="*/ 227386 h 290514"/>
                  <a:gd name="connsiteX883" fmla="*/ 88 w 406368"/>
                  <a:gd name="connsiteY883" fmla="*/ 229150 h 290514"/>
                  <a:gd name="connsiteX884" fmla="*/ 970 w 406368"/>
                  <a:gd name="connsiteY884" fmla="*/ 229767 h 290514"/>
                  <a:gd name="connsiteX885" fmla="*/ 1587 w 406368"/>
                  <a:gd name="connsiteY885" fmla="*/ 228621 h 290514"/>
                  <a:gd name="connsiteX886" fmla="*/ 3615 w 406368"/>
                  <a:gd name="connsiteY886" fmla="*/ 228621 h 290514"/>
                  <a:gd name="connsiteX887" fmla="*/ 3615 w 406368"/>
                  <a:gd name="connsiteY887" fmla="*/ 229767 h 290514"/>
                  <a:gd name="connsiteX888" fmla="*/ 5114 w 406368"/>
                  <a:gd name="connsiteY888" fmla="*/ 230913 h 290514"/>
                  <a:gd name="connsiteX889" fmla="*/ 9522 w 406368"/>
                  <a:gd name="connsiteY889" fmla="*/ 230384 h 290514"/>
                  <a:gd name="connsiteX890" fmla="*/ 12167 w 406368"/>
                  <a:gd name="connsiteY890" fmla="*/ 228621 h 290514"/>
                  <a:gd name="connsiteX891" fmla="*/ 13578 w 406368"/>
                  <a:gd name="connsiteY891" fmla="*/ 229502 h 290514"/>
                  <a:gd name="connsiteX892" fmla="*/ 13578 w 406368"/>
                  <a:gd name="connsiteY892" fmla="*/ 233029 h 290514"/>
                  <a:gd name="connsiteX893" fmla="*/ 11815 w 406368"/>
                  <a:gd name="connsiteY893" fmla="*/ 233294 h 290514"/>
                  <a:gd name="connsiteX894" fmla="*/ 11462 w 406368"/>
                  <a:gd name="connsiteY894" fmla="*/ 235057 h 290514"/>
                  <a:gd name="connsiteX895" fmla="*/ 8817 w 406368"/>
                  <a:gd name="connsiteY895" fmla="*/ 233558 h 290514"/>
                  <a:gd name="connsiteX896" fmla="*/ 6436 w 406368"/>
                  <a:gd name="connsiteY896" fmla="*/ 233294 h 290514"/>
                  <a:gd name="connsiteX897" fmla="*/ 2909 w 406368"/>
                  <a:gd name="connsiteY897" fmla="*/ 233558 h 290514"/>
                  <a:gd name="connsiteX898" fmla="*/ 881 w 406368"/>
                  <a:gd name="connsiteY898" fmla="*/ 232676 h 290514"/>
                  <a:gd name="connsiteX899" fmla="*/ 0 w 406368"/>
                  <a:gd name="connsiteY899" fmla="*/ 234440 h 290514"/>
                  <a:gd name="connsiteX900" fmla="*/ 881 w 406368"/>
                  <a:gd name="connsiteY900" fmla="*/ 236732 h 290514"/>
                  <a:gd name="connsiteX901" fmla="*/ 2645 w 406368"/>
                  <a:gd name="connsiteY901" fmla="*/ 237878 h 290514"/>
                  <a:gd name="connsiteX902" fmla="*/ 5025 w 406368"/>
                  <a:gd name="connsiteY902" fmla="*/ 236997 h 290514"/>
                  <a:gd name="connsiteX903" fmla="*/ 5025 w 406368"/>
                  <a:gd name="connsiteY903" fmla="*/ 237878 h 290514"/>
                  <a:gd name="connsiteX904" fmla="*/ 5907 w 406368"/>
                  <a:gd name="connsiteY904" fmla="*/ 239377 h 290514"/>
                  <a:gd name="connsiteX905" fmla="*/ 7318 w 406368"/>
                  <a:gd name="connsiteY905" fmla="*/ 240876 h 290514"/>
                  <a:gd name="connsiteX906" fmla="*/ 10845 w 406368"/>
                  <a:gd name="connsiteY906" fmla="*/ 239377 h 290514"/>
                  <a:gd name="connsiteX907" fmla="*/ 13490 w 406368"/>
                  <a:gd name="connsiteY907" fmla="*/ 236997 h 290514"/>
                  <a:gd name="connsiteX908" fmla="*/ 12608 w 406368"/>
                  <a:gd name="connsiteY908" fmla="*/ 238760 h 290514"/>
                  <a:gd name="connsiteX909" fmla="*/ 12344 w 406368"/>
                  <a:gd name="connsiteY909" fmla="*/ 240523 h 290514"/>
                  <a:gd name="connsiteX910" fmla="*/ 13490 w 406368"/>
                  <a:gd name="connsiteY910" fmla="*/ 240788 h 290514"/>
                  <a:gd name="connsiteX911" fmla="*/ 14636 w 406368"/>
                  <a:gd name="connsiteY911" fmla="*/ 241670 h 290514"/>
                  <a:gd name="connsiteX912" fmla="*/ 14636 w 406368"/>
                  <a:gd name="connsiteY912" fmla="*/ 242816 h 290514"/>
                  <a:gd name="connsiteX913" fmla="*/ 10580 w 406368"/>
                  <a:gd name="connsiteY913" fmla="*/ 244579 h 290514"/>
                  <a:gd name="connsiteX914" fmla="*/ 9698 w 406368"/>
                  <a:gd name="connsiteY914" fmla="*/ 246607 h 290514"/>
                  <a:gd name="connsiteX915" fmla="*/ 8552 w 406368"/>
                  <a:gd name="connsiteY915" fmla="*/ 246871 h 290514"/>
                  <a:gd name="connsiteX916" fmla="*/ 7053 w 406368"/>
                  <a:gd name="connsiteY916" fmla="*/ 247489 h 290514"/>
                  <a:gd name="connsiteX917" fmla="*/ 6436 w 406368"/>
                  <a:gd name="connsiteY917" fmla="*/ 249781 h 290514"/>
                  <a:gd name="connsiteX918" fmla="*/ 6701 w 406368"/>
                  <a:gd name="connsiteY918" fmla="*/ 249516 h 290514"/>
                  <a:gd name="connsiteX919" fmla="*/ 7582 w 406368"/>
                  <a:gd name="connsiteY919" fmla="*/ 249252 h 290514"/>
                  <a:gd name="connsiteX920" fmla="*/ 8729 w 406368"/>
                  <a:gd name="connsiteY920" fmla="*/ 248635 h 290514"/>
                  <a:gd name="connsiteX921" fmla="*/ 11021 w 406368"/>
                  <a:gd name="connsiteY921" fmla="*/ 248018 h 290514"/>
                  <a:gd name="connsiteX922" fmla="*/ 12520 w 406368"/>
                  <a:gd name="connsiteY922" fmla="*/ 247136 h 290514"/>
                  <a:gd name="connsiteX923" fmla="*/ 12255 w 406368"/>
                  <a:gd name="connsiteY923" fmla="*/ 246254 h 290514"/>
                  <a:gd name="connsiteX924" fmla="*/ 12520 w 406368"/>
                  <a:gd name="connsiteY924" fmla="*/ 244844 h 290514"/>
                  <a:gd name="connsiteX925" fmla="*/ 14019 w 406368"/>
                  <a:gd name="connsiteY925" fmla="*/ 245108 h 290514"/>
                  <a:gd name="connsiteX926" fmla="*/ 14019 w 406368"/>
                  <a:gd name="connsiteY926" fmla="*/ 244491 h 290514"/>
                  <a:gd name="connsiteX927" fmla="*/ 15165 w 406368"/>
                  <a:gd name="connsiteY927" fmla="*/ 243874 h 290514"/>
                  <a:gd name="connsiteX928" fmla="*/ 16928 w 406368"/>
                  <a:gd name="connsiteY928" fmla="*/ 241581 h 290514"/>
                  <a:gd name="connsiteX929" fmla="*/ 20455 w 406368"/>
                  <a:gd name="connsiteY929" fmla="*/ 238672 h 290514"/>
                  <a:gd name="connsiteX930" fmla="*/ 22218 w 406368"/>
                  <a:gd name="connsiteY930" fmla="*/ 236908 h 290514"/>
                  <a:gd name="connsiteX931" fmla="*/ 23100 w 406368"/>
                  <a:gd name="connsiteY931" fmla="*/ 235762 h 290514"/>
                  <a:gd name="connsiteX932" fmla="*/ 26274 w 406368"/>
                  <a:gd name="connsiteY932" fmla="*/ 235145 h 290514"/>
                  <a:gd name="connsiteX933" fmla="*/ 29448 w 406368"/>
                  <a:gd name="connsiteY933" fmla="*/ 233646 h 290514"/>
                  <a:gd name="connsiteX934" fmla="*/ 30065 w 406368"/>
                  <a:gd name="connsiteY934" fmla="*/ 234528 h 290514"/>
                  <a:gd name="connsiteX935" fmla="*/ 33239 w 406368"/>
                  <a:gd name="connsiteY935" fmla="*/ 233029 h 290514"/>
                  <a:gd name="connsiteX936" fmla="*/ 36149 w 406368"/>
                  <a:gd name="connsiteY936" fmla="*/ 232764 h 290514"/>
                  <a:gd name="connsiteX937" fmla="*/ 35003 w 406368"/>
                  <a:gd name="connsiteY937" fmla="*/ 233911 h 290514"/>
                  <a:gd name="connsiteX938" fmla="*/ 30947 w 406368"/>
                  <a:gd name="connsiteY938" fmla="*/ 236291 h 290514"/>
                  <a:gd name="connsiteX939" fmla="*/ 28566 w 406368"/>
                  <a:gd name="connsiteY939" fmla="*/ 238672 h 290514"/>
                  <a:gd name="connsiteX940" fmla="*/ 27685 w 406368"/>
                  <a:gd name="connsiteY940" fmla="*/ 237526 h 290514"/>
                  <a:gd name="connsiteX941" fmla="*/ 24775 w 406368"/>
                  <a:gd name="connsiteY941" fmla="*/ 236908 h 290514"/>
                  <a:gd name="connsiteX942" fmla="*/ 23012 w 406368"/>
                  <a:gd name="connsiteY942" fmla="*/ 238407 h 290514"/>
                  <a:gd name="connsiteX943" fmla="*/ 22130 w 406368"/>
                  <a:gd name="connsiteY943" fmla="*/ 240788 h 290514"/>
                  <a:gd name="connsiteX944" fmla="*/ 23012 w 406368"/>
                  <a:gd name="connsiteY944" fmla="*/ 241670 h 290514"/>
                  <a:gd name="connsiteX945" fmla="*/ 20984 w 406368"/>
                  <a:gd name="connsiteY945" fmla="*/ 243433 h 290514"/>
                  <a:gd name="connsiteX946" fmla="*/ 16928 w 406368"/>
                  <a:gd name="connsiteY946" fmla="*/ 246078 h 290514"/>
                  <a:gd name="connsiteX947" fmla="*/ 14283 w 406368"/>
                  <a:gd name="connsiteY947" fmla="*/ 247841 h 290514"/>
                  <a:gd name="connsiteX948" fmla="*/ 15782 w 406368"/>
                  <a:gd name="connsiteY948" fmla="*/ 249605 h 290514"/>
                  <a:gd name="connsiteX949" fmla="*/ 19573 w 406368"/>
                  <a:gd name="connsiteY949" fmla="*/ 249869 h 290514"/>
                  <a:gd name="connsiteX950" fmla="*/ 22747 w 406368"/>
                  <a:gd name="connsiteY950" fmla="*/ 249252 h 290514"/>
                  <a:gd name="connsiteX951" fmla="*/ 25393 w 406368"/>
                  <a:gd name="connsiteY951" fmla="*/ 250751 h 290514"/>
                  <a:gd name="connsiteX952" fmla="*/ 23629 w 406368"/>
                  <a:gd name="connsiteY952" fmla="*/ 251368 h 290514"/>
                  <a:gd name="connsiteX953" fmla="*/ 19221 w 406368"/>
                  <a:gd name="connsiteY953" fmla="*/ 252514 h 290514"/>
                  <a:gd name="connsiteX954" fmla="*/ 16311 w 406368"/>
                  <a:gd name="connsiteY954" fmla="*/ 251368 h 290514"/>
                  <a:gd name="connsiteX955" fmla="*/ 16311 w 406368"/>
                  <a:gd name="connsiteY955" fmla="*/ 253131 h 290514"/>
                  <a:gd name="connsiteX956" fmla="*/ 15429 w 406368"/>
                  <a:gd name="connsiteY956" fmla="*/ 254013 h 290514"/>
                  <a:gd name="connsiteX957" fmla="*/ 13401 w 406368"/>
                  <a:gd name="connsiteY957" fmla="*/ 253749 h 290514"/>
                  <a:gd name="connsiteX958" fmla="*/ 11021 w 406368"/>
                  <a:gd name="connsiteY958" fmla="*/ 254895 h 290514"/>
                  <a:gd name="connsiteX959" fmla="*/ 10139 w 406368"/>
                  <a:gd name="connsiteY959" fmla="*/ 256041 h 290514"/>
                  <a:gd name="connsiteX960" fmla="*/ 10757 w 406368"/>
                  <a:gd name="connsiteY960" fmla="*/ 253749 h 290514"/>
                  <a:gd name="connsiteX961" fmla="*/ 9258 w 406368"/>
                  <a:gd name="connsiteY961" fmla="*/ 252867 h 290514"/>
                  <a:gd name="connsiteX962" fmla="*/ 8111 w 406368"/>
                  <a:gd name="connsiteY962" fmla="*/ 254630 h 290514"/>
                  <a:gd name="connsiteX963" fmla="*/ 6613 w 406368"/>
                  <a:gd name="connsiteY963" fmla="*/ 255247 h 290514"/>
                  <a:gd name="connsiteX964" fmla="*/ 5466 w 406368"/>
                  <a:gd name="connsiteY964" fmla="*/ 257275 h 290514"/>
                  <a:gd name="connsiteX965" fmla="*/ 6613 w 406368"/>
                  <a:gd name="connsiteY965" fmla="*/ 259303 h 290514"/>
                  <a:gd name="connsiteX966" fmla="*/ 8111 w 406368"/>
                  <a:gd name="connsiteY966" fmla="*/ 259920 h 290514"/>
                  <a:gd name="connsiteX967" fmla="*/ 9258 w 406368"/>
                  <a:gd name="connsiteY967" fmla="*/ 260185 h 290514"/>
                  <a:gd name="connsiteX968" fmla="*/ 11638 w 406368"/>
                  <a:gd name="connsiteY968" fmla="*/ 260185 h 290514"/>
                  <a:gd name="connsiteX969" fmla="*/ 13401 w 406368"/>
                  <a:gd name="connsiteY969" fmla="*/ 260185 h 290514"/>
                  <a:gd name="connsiteX970" fmla="*/ 15782 w 406368"/>
                  <a:gd name="connsiteY970" fmla="*/ 259656 h 290514"/>
                  <a:gd name="connsiteX971" fmla="*/ 15517 w 406368"/>
                  <a:gd name="connsiteY971" fmla="*/ 258157 h 290514"/>
                  <a:gd name="connsiteX972" fmla="*/ 15517 w 406368"/>
                  <a:gd name="connsiteY972" fmla="*/ 257540 h 290514"/>
                  <a:gd name="connsiteX973" fmla="*/ 17898 w 406368"/>
                  <a:gd name="connsiteY973" fmla="*/ 256658 h 290514"/>
                  <a:gd name="connsiteX974" fmla="*/ 19397 w 406368"/>
                  <a:gd name="connsiteY974" fmla="*/ 257540 h 290514"/>
                  <a:gd name="connsiteX975" fmla="*/ 18515 w 406368"/>
                  <a:gd name="connsiteY975" fmla="*/ 258686 h 290514"/>
                  <a:gd name="connsiteX976" fmla="*/ 21160 w 406368"/>
                  <a:gd name="connsiteY976" fmla="*/ 258422 h 290514"/>
                  <a:gd name="connsiteX977" fmla="*/ 23805 w 406368"/>
                  <a:gd name="connsiteY977" fmla="*/ 256658 h 290514"/>
                  <a:gd name="connsiteX978" fmla="*/ 26451 w 406368"/>
                  <a:gd name="connsiteY978" fmla="*/ 255512 h 290514"/>
                  <a:gd name="connsiteX979" fmla="*/ 24952 w 406368"/>
                  <a:gd name="connsiteY979" fmla="*/ 257011 h 290514"/>
                  <a:gd name="connsiteX980" fmla="*/ 21425 w 406368"/>
                  <a:gd name="connsiteY980" fmla="*/ 259656 h 290514"/>
                  <a:gd name="connsiteX981" fmla="*/ 22571 w 406368"/>
                  <a:gd name="connsiteY981" fmla="*/ 260185 h 290514"/>
                  <a:gd name="connsiteX982" fmla="*/ 24070 w 406368"/>
                  <a:gd name="connsiteY982" fmla="*/ 260185 h 290514"/>
                  <a:gd name="connsiteX983" fmla="*/ 23453 w 406368"/>
                  <a:gd name="connsiteY983" fmla="*/ 261331 h 290514"/>
                  <a:gd name="connsiteX984" fmla="*/ 24599 w 406368"/>
                  <a:gd name="connsiteY984" fmla="*/ 261331 h 290514"/>
                  <a:gd name="connsiteX985" fmla="*/ 22836 w 406368"/>
                  <a:gd name="connsiteY985" fmla="*/ 262477 h 290514"/>
                  <a:gd name="connsiteX986" fmla="*/ 20190 w 406368"/>
                  <a:gd name="connsiteY986" fmla="*/ 264858 h 290514"/>
                  <a:gd name="connsiteX987" fmla="*/ 19573 w 406368"/>
                  <a:gd name="connsiteY987" fmla="*/ 266886 h 290514"/>
                  <a:gd name="connsiteX988" fmla="*/ 20984 w 406368"/>
                  <a:gd name="connsiteY988" fmla="*/ 268296 h 290514"/>
                  <a:gd name="connsiteX989" fmla="*/ 23012 w 406368"/>
                  <a:gd name="connsiteY989" fmla="*/ 268296 h 290514"/>
                  <a:gd name="connsiteX990" fmla="*/ 26186 w 406368"/>
                  <a:gd name="connsiteY990" fmla="*/ 267679 h 290514"/>
                  <a:gd name="connsiteX991" fmla="*/ 23276 w 406368"/>
                  <a:gd name="connsiteY991" fmla="*/ 269972 h 290514"/>
                  <a:gd name="connsiteX992" fmla="*/ 19750 w 406368"/>
                  <a:gd name="connsiteY992" fmla="*/ 269972 h 290514"/>
                  <a:gd name="connsiteX993" fmla="*/ 16840 w 406368"/>
                  <a:gd name="connsiteY993" fmla="*/ 269090 h 290514"/>
                  <a:gd name="connsiteX994" fmla="*/ 14812 w 406368"/>
                  <a:gd name="connsiteY994" fmla="*/ 269090 h 290514"/>
                  <a:gd name="connsiteX995" fmla="*/ 14548 w 406368"/>
                  <a:gd name="connsiteY995" fmla="*/ 267591 h 290514"/>
                  <a:gd name="connsiteX996" fmla="*/ 13666 w 406368"/>
                  <a:gd name="connsiteY996" fmla="*/ 266709 h 290514"/>
                  <a:gd name="connsiteX997" fmla="*/ 13049 w 406368"/>
                  <a:gd name="connsiteY997" fmla="*/ 268120 h 290514"/>
                  <a:gd name="connsiteX998" fmla="*/ 12784 w 406368"/>
                  <a:gd name="connsiteY998" fmla="*/ 269266 h 290514"/>
                  <a:gd name="connsiteX999" fmla="*/ 11903 w 406368"/>
                  <a:gd name="connsiteY999" fmla="*/ 272176 h 290514"/>
                  <a:gd name="connsiteX1000" fmla="*/ 12520 w 406368"/>
                  <a:gd name="connsiteY1000" fmla="*/ 275703 h 290514"/>
                  <a:gd name="connsiteX1001" fmla="*/ 13401 w 406368"/>
                  <a:gd name="connsiteY1001" fmla="*/ 277201 h 290514"/>
                  <a:gd name="connsiteX1002" fmla="*/ 15429 w 406368"/>
                  <a:gd name="connsiteY1002" fmla="*/ 278348 h 290514"/>
                  <a:gd name="connsiteX1003" fmla="*/ 18074 w 406368"/>
                  <a:gd name="connsiteY1003" fmla="*/ 279229 h 290514"/>
                  <a:gd name="connsiteX1004" fmla="*/ 20719 w 406368"/>
                  <a:gd name="connsiteY1004" fmla="*/ 281257 h 290514"/>
                  <a:gd name="connsiteX1005" fmla="*/ 22218 w 406368"/>
                  <a:gd name="connsiteY1005" fmla="*/ 283021 h 290514"/>
                  <a:gd name="connsiteX1006" fmla="*/ 24511 w 406368"/>
                  <a:gd name="connsiteY1006" fmla="*/ 282756 h 290514"/>
                  <a:gd name="connsiteX1007" fmla="*/ 25657 w 406368"/>
                  <a:gd name="connsiteY1007" fmla="*/ 283373 h 290514"/>
                  <a:gd name="connsiteX1008" fmla="*/ 27156 w 406368"/>
                  <a:gd name="connsiteY1008" fmla="*/ 283990 h 290514"/>
                  <a:gd name="connsiteX1009" fmla="*/ 29184 w 406368"/>
                  <a:gd name="connsiteY1009" fmla="*/ 284608 h 290514"/>
                  <a:gd name="connsiteX1010" fmla="*/ 30947 w 406368"/>
                  <a:gd name="connsiteY1010" fmla="*/ 284872 h 290514"/>
                  <a:gd name="connsiteX1011" fmla="*/ 31829 w 406368"/>
                  <a:gd name="connsiteY1011" fmla="*/ 284255 h 290514"/>
                  <a:gd name="connsiteX1012" fmla="*/ 32446 w 406368"/>
                  <a:gd name="connsiteY1012" fmla="*/ 283638 h 290514"/>
                  <a:gd name="connsiteX1013" fmla="*/ 32975 w 406368"/>
                  <a:gd name="connsiteY1013" fmla="*/ 284255 h 290514"/>
                  <a:gd name="connsiteX1014" fmla="*/ 32975 w 406368"/>
                  <a:gd name="connsiteY1014" fmla="*/ 285137 h 290514"/>
                  <a:gd name="connsiteX1015" fmla="*/ 32710 w 406368"/>
                  <a:gd name="connsiteY1015" fmla="*/ 286018 h 290514"/>
                  <a:gd name="connsiteX1016" fmla="*/ 31564 w 406368"/>
                  <a:gd name="connsiteY1016" fmla="*/ 287164 h 290514"/>
                  <a:gd name="connsiteX1017" fmla="*/ 32446 w 406368"/>
                  <a:gd name="connsiteY1017" fmla="*/ 288663 h 290514"/>
                  <a:gd name="connsiteX1018" fmla="*/ 34209 w 406368"/>
                  <a:gd name="connsiteY1018" fmla="*/ 288046 h 290514"/>
                  <a:gd name="connsiteX1019" fmla="*/ 34826 w 406368"/>
                  <a:gd name="connsiteY1019" fmla="*/ 287164 h 290514"/>
                  <a:gd name="connsiteX1020" fmla="*/ 36237 w 406368"/>
                  <a:gd name="connsiteY1020" fmla="*/ 287782 h 290514"/>
                  <a:gd name="connsiteX1021" fmla="*/ 36502 w 406368"/>
                  <a:gd name="connsiteY1021" fmla="*/ 288311 h 290514"/>
                  <a:gd name="connsiteX1022" fmla="*/ 37383 w 406368"/>
                  <a:gd name="connsiteY1022" fmla="*/ 288575 h 290514"/>
                  <a:gd name="connsiteX1023" fmla="*/ 38882 w 406368"/>
                  <a:gd name="connsiteY1023" fmla="*/ 288840 h 290514"/>
                  <a:gd name="connsiteX1024" fmla="*/ 40028 w 406368"/>
                  <a:gd name="connsiteY1024" fmla="*/ 288840 h 290514"/>
                  <a:gd name="connsiteX1025" fmla="*/ 40645 w 406368"/>
                  <a:gd name="connsiteY1025" fmla="*/ 289104 h 290514"/>
                  <a:gd name="connsiteX1026" fmla="*/ 40028 w 406368"/>
                  <a:gd name="connsiteY1026" fmla="*/ 289986 h 290514"/>
                  <a:gd name="connsiteX1027" fmla="*/ 41174 w 406368"/>
                  <a:gd name="connsiteY1027" fmla="*/ 289986 h 290514"/>
                  <a:gd name="connsiteX1028" fmla="*/ 43202 w 406368"/>
                  <a:gd name="connsiteY1028" fmla="*/ 290250 h 290514"/>
                  <a:gd name="connsiteX1029" fmla="*/ 45230 w 406368"/>
                  <a:gd name="connsiteY1029" fmla="*/ 290515 h 290514"/>
                  <a:gd name="connsiteX1030" fmla="*/ 46112 w 406368"/>
                  <a:gd name="connsiteY1030" fmla="*/ 289633 h 290514"/>
                  <a:gd name="connsiteX1031" fmla="*/ 48140 w 406368"/>
                  <a:gd name="connsiteY1031" fmla="*/ 290250 h 290514"/>
                  <a:gd name="connsiteX1032" fmla="*/ 49551 w 406368"/>
                  <a:gd name="connsiteY1032" fmla="*/ 289633 h 290514"/>
                  <a:gd name="connsiteX1033" fmla="*/ 50697 w 406368"/>
                  <a:gd name="connsiteY1033" fmla="*/ 289898 h 290514"/>
                  <a:gd name="connsiteX1034" fmla="*/ 51578 w 406368"/>
                  <a:gd name="connsiteY1034" fmla="*/ 289016 h 290514"/>
                  <a:gd name="connsiteX1035" fmla="*/ 53342 w 406368"/>
                  <a:gd name="connsiteY1035" fmla="*/ 288399 h 290514"/>
                  <a:gd name="connsiteX1036" fmla="*/ 54752 w 406368"/>
                  <a:gd name="connsiteY1036" fmla="*/ 288663 h 290514"/>
                  <a:gd name="connsiteX1037" fmla="*/ 55370 w 406368"/>
                  <a:gd name="connsiteY1037" fmla="*/ 288046 h 290514"/>
                  <a:gd name="connsiteX1038" fmla="*/ 56780 w 406368"/>
                  <a:gd name="connsiteY1038" fmla="*/ 288311 h 290514"/>
                  <a:gd name="connsiteX1039" fmla="*/ 57662 w 406368"/>
                  <a:gd name="connsiteY1039" fmla="*/ 288046 h 290514"/>
                  <a:gd name="connsiteX1040" fmla="*/ 57397 w 406368"/>
                  <a:gd name="connsiteY1040" fmla="*/ 287517 h 290514"/>
                  <a:gd name="connsiteX1041" fmla="*/ 57662 w 406368"/>
                  <a:gd name="connsiteY1041" fmla="*/ 286900 h 290514"/>
                  <a:gd name="connsiteX1042" fmla="*/ 58544 w 406368"/>
                  <a:gd name="connsiteY1042" fmla="*/ 286635 h 290514"/>
                  <a:gd name="connsiteX1043" fmla="*/ 59425 w 406368"/>
                  <a:gd name="connsiteY1043" fmla="*/ 287517 h 290514"/>
                  <a:gd name="connsiteX1044" fmla="*/ 60836 w 406368"/>
                  <a:gd name="connsiteY1044" fmla="*/ 286635 h 290514"/>
                  <a:gd name="connsiteX1045" fmla="*/ 61982 w 406368"/>
                  <a:gd name="connsiteY1045" fmla="*/ 286371 h 290514"/>
                  <a:gd name="connsiteX1046" fmla="*/ 62511 w 406368"/>
                  <a:gd name="connsiteY1046" fmla="*/ 285225 h 290514"/>
                  <a:gd name="connsiteX1047" fmla="*/ 64539 w 406368"/>
                  <a:gd name="connsiteY1047" fmla="*/ 285225 h 290514"/>
                  <a:gd name="connsiteX1048" fmla="*/ 65685 w 406368"/>
                  <a:gd name="connsiteY1048" fmla="*/ 283726 h 290514"/>
                  <a:gd name="connsiteX1049" fmla="*/ 66832 w 406368"/>
                  <a:gd name="connsiteY1049" fmla="*/ 283461 h 290514"/>
                  <a:gd name="connsiteX1050" fmla="*/ 68330 w 406368"/>
                  <a:gd name="connsiteY1050" fmla="*/ 282844 h 290514"/>
                  <a:gd name="connsiteX1051" fmla="*/ 68947 w 406368"/>
                  <a:gd name="connsiteY1051" fmla="*/ 281345 h 290514"/>
                  <a:gd name="connsiteX1052" fmla="*/ 69565 w 406368"/>
                  <a:gd name="connsiteY1052" fmla="*/ 280199 h 290514"/>
                  <a:gd name="connsiteX1053" fmla="*/ 70446 w 406368"/>
                  <a:gd name="connsiteY1053" fmla="*/ 280199 h 290514"/>
                  <a:gd name="connsiteX1054" fmla="*/ 71857 w 406368"/>
                  <a:gd name="connsiteY1054" fmla="*/ 279935 h 290514"/>
                  <a:gd name="connsiteX1055" fmla="*/ 72474 w 406368"/>
                  <a:gd name="connsiteY1055" fmla="*/ 279317 h 290514"/>
                  <a:gd name="connsiteX1056" fmla="*/ 71857 w 406368"/>
                  <a:gd name="connsiteY1056" fmla="*/ 278171 h 290514"/>
                  <a:gd name="connsiteX1057" fmla="*/ 73003 w 406368"/>
                  <a:gd name="connsiteY1057" fmla="*/ 278171 h 290514"/>
                  <a:gd name="connsiteX1058" fmla="*/ 74414 w 406368"/>
                  <a:gd name="connsiteY1058" fmla="*/ 277907 h 290514"/>
                  <a:gd name="connsiteX1059" fmla="*/ 75913 w 406368"/>
                  <a:gd name="connsiteY1059" fmla="*/ 279053 h 290514"/>
                  <a:gd name="connsiteX1060" fmla="*/ 76530 w 406368"/>
                  <a:gd name="connsiteY1060" fmla="*/ 278171 h 290514"/>
                  <a:gd name="connsiteX1061" fmla="*/ 77147 w 406368"/>
                  <a:gd name="connsiteY1061" fmla="*/ 277025 h 290514"/>
                  <a:gd name="connsiteX1062" fmla="*/ 77147 w 406368"/>
                  <a:gd name="connsiteY1062" fmla="*/ 274997 h 290514"/>
                  <a:gd name="connsiteX1063" fmla="*/ 79440 w 406368"/>
                  <a:gd name="connsiteY1063" fmla="*/ 273498 h 290514"/>
                  <a:gd name="connsiteX1064" fmla="*/ 80057 w 406368"/>
                  <a:gd name="connsiteY1064" fmla="*/ 272617 h 290514"/>
                  <a:gd name="connsiteX1065" fmla="*/ 79175 w 406368"/>
                  <a:gd name="connsiteY1065" fmla="*/ 272352 h 290514"/>
                  <a:gd name="connsiteX1066" fmla="*/ 79792 w 406368"/>
                  <a:gd name="connsiteY1066" fmla="*/ 272352 h 290514"/>
                  <a:gd name="connsiteX1067" fmla="*/ 80410 w 406368"/>
                  <a:gd name="connsiteY1067" fmla="*/ 271735 h 290514"/>
                  <a:gd name="connsiteX1068" fmla="*/ 80410 w 406368"/>
                  <a:gd name="connsiteY1068" fmla="*/ 270589 h 290514"/>
                  <a:gd name="connsiteX1069" fmla="*/ 80674 w 406368"/>
                  <a:gd name="connsiteY1069" fmla="*/ 269972 h 290514"/>
                  <a:gd name="connsiteX1070" fmla="*/ 81820 w 406368"/>
                  <a:gd name="connsiteY1070" fmla="*/ 269354 h 290514"/>
                  <a:gd name="connsiteX1071" fmla="*/ 82702 w 406368"/>
                  <a:gd name="connsiteY1071" fmla="*/ 268737 h 290514"/>
                  <a:gd name="connsiteX1072" fmla="*/ 83583 w 406368"/>
                  <a:gd name="connsiteY1072" fmla="*/ 268473 h 290514"/>
                  <a:gd name="connsiteX1073" fmla="*/ 84994 w 406368"/>
                  <a:gd name="connsiteY1073" fmla="*/ 267591 h 290514"/>
                  <a:gd name="connsiteX1074" fmla="*/ 84730 w 406368"/>
                  <a:gd name="connsiteY1074" fmla="*/ 266974 h 290514"/>
                  <a:gd name="connsiteX1075" fmla="*/ 84994 w 406368"/>
                  <a:gd name="connsiteY1075" fmla="*/ 266092 h 290514"/>
                  <a:gd name="connsiteX1076" fmla="*/ 86140 w 406368"/>
                  <a:gd name="connsiteY1076" fmla="*/ 266357 h 290514"/>
                  <a:gd name="connsiteX1077" fmla="*/ 87022 w 406368"/>
                  <a:gd name="connsiteY1077" fmla="*/ 267503 h 290514"/>
                  <a:gd name="connsiteX1078" fmla="*/ 87904 w 406368"/>
                  <a:gd name="connsiteY1078" fmla="*/ 268032 h 290514"/>
                  <a:gd name="connsiteX1079" fmla="*/ 89403 w 406368"/>
                  <a:gd name="connsiteY1079" fmla="*/ 268385 h 290514"/>
                  <a:gd name="connsiteX1080" fmla="*/ 89667 w 406368"/>
                  <a:gd name="connsiteY1080" fmla="*/ 267503 h 290514"/>
                  <a:gd name="connsiteX1081" fmla="*/ 90813 w 406368"/>
                  <a:gd name="connsiteY1081" fmla="*/ 266886 h 290514"/>
                  <a:gd name="connsiteX1082" fmla="*/ 91695 w 406368"/>
                  <a:gd name="connsiteY1082" fmla="*/ 267150 h 290514"/>
                  <a:gd name="connsiteX1083" fmla="*/ 92577 w 406368"/>
                  <a:gd name="connsiteY1083" fmla="*/ 266533 h 290514"/>
                  <a:gd name="connsiteX1084" fmla="*/ 93723 w 406368"/>
                  <a:gd name="connsiteY1084" fmla="*/ 265916 h 290514"/>
                  <a:gd name="connsiteX1085" fmla="*/ 94869 w 406368"/>
                  <a:gd name="connsiteY1085" fmla="*/ 266533 h 290514"/>
                  <a:gd name="connsiteX1086" fmla="*/ 95133 w 406368"/>
                  <a:gd name="connsiteY1086" fmla="*/ 265387 h 290514"/>
                  <a:gd name="connsiteX1087" fmla="*/ 95398 w 406368"/>
                  <a:gd name="connsiteY1087" fmla="*/ 264505 h 290514"/>
                  <a:gd name="connsiteX1088" fmla="*/ 95662 w 406368"/>
                  <a:gd name="connsiteY1088" fmla="*/ 263888 h 290514"/>
                  <a:gd name="connsiteX1089" fmla="*/ 96809 w 406368"/>
                  <a:gd name="connsiteY1089" fmla="*/ 263623 h 290514"/>
                  <a:gd name="connsiteX1090" fmla="*/ 97073 w 406368"/>
                  <a:gd name="connsiteY1090" fmla="*/ 261860 h 290514"/>
                  <a:gd name="connsiteX1091" fmla="*/ 97955 w 406368"/>
                  <a:gd name="connsiteY1091" fmla="*/ 260714 h 290514"/>
                  <a:gd name="connsiteX1092" fmla="*/ 97690 w 406368"/>
                  <a:gd name="connsiteY1092" fmla="*/ 258422 h 290514"/>
                  <a:gd name="connsiteX1093" fmla="*/ 96192 w 406368"/>
                  <a:gd name="connsiteY1093" fmla="*/ 256041 h 290514"/>
                  <a:gd name="connsiteX1094" fmla="*/ 96456 w 406368"/>
                  <a:gd name="connsiteY1094" fmla="*/ 255159 h 290514"/>
                  <a:gd name="connsiteX1095" fmla="*/ 96721 w 406368"/>
                  <a:gd name="connsiteY1095" fmla="*/ 254278 h 290514"/>
                  <a:gd name="connsiteX1096" fmla="*/ 96103 w 406368"/>
                  <a:gd name="connsiteY1096" fmla="*/ 253660 h 290514"/>
                  <a:gd name="connsiteX1097" fmla="*/ 95839 w 406368"/>
                  <a:gd name="connsiteY1097" fmla="*/ 253043 h 290514"/>
                  <a:gd name="connsiteX1098" fmla="*/ 94340 w 406368"/>
                  <a:gd name="connsiteY1098" fmla="*/ 251544 h 290514"/>
                  <a:gd name="connsiteX1099" fmla="*/ 94340 w 406368"/>
                  <a:gd name="connsiteY1099" fmla="*/ 251015 h 290514"/>
                  <a:gd name="connsiteX1100" fmla="*/ 94957 w 406368"/>
                  <a:gd name="connsiteY1100" fmla="*/ 251015 h 290514"/>
                  <a:gd name="connsiteX1101" fmla="*/ 95839 w 406368"/>
                  <a:gd name="connsiteY1101" fmla="*/ 251897 h 290514"/>
                  <a:gd name="connsiteX1102" fmla="*/ 98219 w 406368"/>
                  <a:gd name="connsiteY1102" fmla="*/ 254542 h 290514"/>
                  <a:gd name="connsiteX1103" fmla="*/ 99101 w 406368"/>
                  <a:gd name="connsiteY1103" fmla="*/ 253660 h 290514"/>
                  <a:gd name="connsiteX1104" fmla="*/ 98837 w 406368"/>
                  <a:gd name="connsiteY1104" fmla="*/ 252779 h 290514"/>
                  <a:gd name="connsiteX1105" fmla="*/ 97426 w 406368"/>
                  <a:gd name="connsiteY1105" fmla="*/ 248987 h 290514"/>
                  <a:gd name="connsiteX1106" fmla="*/ 98572 w 406368"/>
                  <a:gd name="connsiteY1106" fmla="*/ 247224 h 290514"/>
                  <a:gd name="connsiteX1107" fmla="*/ 100071 w 406368"/>
                  <a:gd name="connsiteY1107" fmla="*/ 246607 h 290514"/>
                  <a:gd name="connsiteX1108" fmla="*/ 101217 w 406368"/>
                  <a:gd name="connsiteY1108" fmla="*/ 247224 h 290514"/>
                  <a:gd name="connsiteX1109" fmla="*/ 101482 w 406368"/>
                  <a:gd name="connsiteY1109" fmla="*/ 248723 h 290514"/>
                  <a:gd name="connsiteX1110" fmla="*/ 99983 w 406368"/>
                  <a:gd name="connsiteY1110" fmla="*/ 251368 h 290514"/>
                  <a:gd name="connsiteX1111" fmla="*/ 100600 w 406368"/>
                  <a:gd name="connsiteY1111" fmla="*/ 255776 h 290514"/>
                  <a:gd name="connsiteX1112" fmla="*/ 100953 w 406368"/>
                  <a:gd name="connsiteY1112" fmla="*/ 258157 h 290514"/>
                  <a:gd name="connsiteX1113" fmla="*/ 102716 w 406368"/>
                  <a:gd name="connsiteY1113" fmla="*/ 259568 h 290514"/>
                  <a:gd name="connsiteX1114" fmla="*/ 103333 w 406368"/>
                  <a:gd name="connsiteY1114" fmla="*/ 260449 h 290514"/>
                  <a:gd name="connsiteX1115" fmla="*/ 104215 w 406368"/>
                  <a:gd name="connsiteY1115" fmla="*/ 260714 h 290514"/>
                  <a:gd name="connsiteX1116" fmla="*/ 104832 w 406368"/>
                  <a:gd name="connsiteY1116" fmla="*/ 262477 h 290514"/>
                  <a:gd name="connsiteX1117" fmla="*/ 105978 w 406368"/>
                  <a:gd name="connsiteY1117" fmla="*/ 263359 h 290514"/>
                  <a:gd name="connsiteX1118" fmla="*/ 107389 w 406368"/>
                  <a:gd name="connsiteY1118" fmla="*/ 263359 h 290514"/>
                  <a:gd name="connsiteX1119" fmla="*/ 108006 w 406368"/>
                  <a:gd name="connsiteY1119" fmla="*/ 263623 h 290514"/>
                  <a:gd name="connsiteX1120" fmla="*/ 109769 w 406368"/>
                  <a:gd name="connsiteY1120" fmla="*/ 264241 h 290514"/>
                  <a:gd name="connsiteX1121" fmla="*/ 110387 w 406368"/>
                  <a:gd name="connsiteY1121" fmla="*/ 263094 h 290514"/>
                  <a:gd name="connsiteX1122" fmla="*/ 111004 w 406368"/>
                  <a:gd name="connsiteY1122" fmla="*/ 263712 h 290514"/>
                  <a:gd name="connsiteX1123" fmla="*/ 112503 w 406368"/>
                  <a:gd name="connsiteY1123" fmla="*/ 264593 h 290514"/>
                  <a:gd name="connsiteX1124" fmla="*/ 114002 w 406368"/>
                  <a:gd name="connsiteY1124" fmla="*/ 264329 h 290514"/>
                  <a:gd name="connsiteX1125" fmla="*/ 114002 w 406368"/>
                  <a:gd name="connsiteY1125" fmla="*/ 265475 h 290514"/>
                  <a:gd name="connsiteX1126" fmla="*/ 115765 w 406368"/>
                  <a:gd name="connsiteY1126" fmla="*/ 268120 h 290514"/>
                  <a:gd name="connsiteX1127" fmla="*/ 116030 w 406368"/>
                  <a:gd name="connsiteY1127" fmla="*/ 270501 h 290514"/>
                  <a:gd name="connsiteX1128" fmla="*/ 117176 w 406368"/>
                  <a:gd name="connsiteY1128" fmla="*/ 270765 h 290514"/>
                  <a:gd name="connsiteX1129" fmla="*/ 119821 w 406368"/>
                  <a:gd name="connsiteY1129" fmla="*/ 270148 h 290514"/>
                  <a:gd name="connsiteX1130" fmla="*/ 121584 w 406368"/>
                  <a:gd name="connsiteY1130" fmla="*/ 265740 h 290514"/>
                  <a:gd name="connsiteX1131" fmla="*/ 120967 w 406368"/>
                  <a:gd name="connsiteY1131" fmla="*/ 265122 h 290514"/>
                  <a:gd name="connsiteX1132" fmla="*/ 121232 w 406368"/>
                  <a:gd name="connsiteY1132" fmla="*/ 263359 h 290514"/>
                  <a:gd name="connsiteX1133" fmla="*/ 122113 w 406368"/>
                  <a:gd name="connsiteY1133" fmla="*/ 262213 h 290514"/>
                  <a:gd name="connsiteX1134" fmla="*/ 119204 w 406368"/>
                  <a:gd name="connsiteY1134" fmla="*/ 254366 h 290514"/>
                  <a:gd name="connsiteX1135" fmla="*/ 122995 w 406368"/>
                  <a:gd name="connsiteY1135" fmla="*/ 252073 h 290514"/>
                  <a:gd name="connsiteX1136" fmla="*/ 122995 w 406368"/>
                  <a:gd name="connsiteY1136" fmla="*/ 250046 h 290514"/>
                  <a:gd name="connsiteX1137" fmla="*/ 121232 w 406368"/>
                  <a:gd name="connsiteY1137" fmla="*/ 248547 h 290514"/>
                  <a:gd name="connsiteX1138" fmla="*/ 123524 w 406368"/>
                  <a:gd name="connsiteY1138" fmla="*/ 247400 h 290514"/>
                  <a:gd name="connsiteX1139" fmla="*/ 126433 w 406368"/>
                  <a:gd name="connsiteY1139" fmla="*/ 247665 h 290514"/>
                  <a:gd name="connsiteX1140" fmla="*/ 131371 w 406368"/>
                  <a:gd name="connsiteY1140" fmla="*/ 244138 h 290514"/>
                  <a:gd name="connsiteX1141" fmla="*/ 132517 w 406368"/>
                  <a:gd name="connsiteY1141" fmla="*/ 241758 h 290514"/>
                  <a:gd name="connsiteX1142" fmla="*/ 132517 w 406368"/>
                  <a:gd name="connsiteY1142" fmla="*/ 238319 h 290514"/>
                  <a:gd name="connsiteX1143" fmla="*/ 133663 w 406368"/>
                  <a:gd name="connsiteY1143" fmla="*/ 234792 h 290514"/>
                  <a:gd name="connsiteX1144" fmla="*/ 133399 w 406368"/>
                  <a:gd name="connsiteY1144" fmla="*/ 233294 h 290514"/>
                  <a:gd name="connsiteX1145" fmla="*/ 129343 w 406368"/>
                  <a:gd name="connsiteY1145" fmla="*/ 227210 h 290514"/>
                  <a:gd name="connsiteX1146" fmla="*/ 125816 w 406368"/>
                  <a:gd name="connsiteY1146" fmla="*/ 221920 h 290514"/>
                  <a:gd name="connsiteX1147" fmla="*/ 128990 w 406368"/>
                  <a:gd name="connsiteY1147" fmla="*/ 220774 h 290514"/>
                  <a:gd name="connsiteX1148" fmla="*/ 133399 w 406368"/>
                  <a:gd name="connsiteY1148" fmla="*/ 220774 h 290514"/>
                  <a:gd name="connsiteX1149" fmla="*/ 136308 w 406368"/>
                  <a:gd name="connsiteY1149" fmla="*/ 214073 h 290514"/>
                  <a:gd name="connsiteX1150" fmla="*/ 129872 w 406368"/>
                  <a:gd name="connsiteY1150" fmla="*/ 208871 h 290514"/>
                  <a:gd name="connsiteX1151" fmla="*/ 127844 w 406368"/>
                  <a:gd name="connsiteY1151" fmla="*/ 209135 h 290514"/>
                  <a:gd name="connsiteX1152" fmla="*/ 122907 w 406368"/>
                  <a:gd name="connsiteY1152" fmla="*/ 205609 h 290514"/>
                  <a:gd name="connsiteX1153" fmla="*/ 124317 w 406368"/>
                  <a:gd name="connsiteY1153" fmla="*/ 193618 h 290514"/>
                  <a:gd name="connsiteX1154" fmla="*/ 122025 w 406368"/>
                  <a:gd name="connsiteY1154" fmla="*/ 189562 h 290514"/>
                  <a:gd name="connsiteX1155" fmla="*/ 119733 w 406368"/>
                  <a:gd name="connsiteY1155" fmla="*/ 186652 h 290514"/>
                  <a:gd name="connsiteX1156" fmla="*/ 119733 w 406368"/>
                  <a:gd name="connsiteY1156" fmla="*/ 184625 h 290514"/>
                  <a:gd name="connsiteX1157" fmla="*/ 120614 w 406368"/>
                  <a:gd name="connsiteY1157" fmla="*/ 182861 h 290514"/>
                  <a:gd name="connsiteX1158" fmla="*/ 118586 w 406368"/>
                  <a:gd name="connsiteY1158" fmla="*/ 179687 h 290514"/>
                  <a:gd name="connsiteX1159" fmla="*/ 120967 w 406368"/>
                  <a:gd name="connsiteY1159" fmla="*/ 177042 h 290514"/>
                  <a:gd name="connsiteX1160" fmla="*/ 116911 w 406368"/>
                  <a:gd name="connsiteY1160" fmla="*/ 171223 h 290514"/>
                  <a:gd name="connsiteX1161" fmla="*/ 120438 w 406368"/>
                  <a:gd name="connsiteY1161" fmla="*/ 166286 h 290514"/>
                  <a:gd name="connsiteX1162" fmla="*/ 119556 w 406368"/>
                  <a:gd name="connsiteY1162" fmla="*/ 164258 h 290514"/>
                  <a:gd name="connsiteX1163" fmla="*/ 122730 w 406368"/>
                  <a:gd name="connsiteY1163" fmla="*/ 160466 h 290514"/>
                  <a:gd name="connsiteX1164" fmla="*/ 127139 w 406368"/>
                  <a:gd name="connsiteY1164" fmla="*/ 155794 h 290514"/>
                  <a:gd name="connsiteX1165" fmla="*/ 134104 w 406368"/>
                  <a:gd name="connsiteY1165" fmla="*/ 153413 h 290514"/>
                  <a:gd name="connsiteX1166" fmla="*/ 136749 w 406368"/>
                  <a:gd name="connsiteY1166" fmla="*/ 152796 h 290514"/>
                  <a:gd name="connsiteX1167" fmla="*/ 139923 w 406368"/>
                  <a:gd name="connsiteY1167" fmla="*/ 153060 h 290514"/>
                  <a:gd name="connsiteX1168" fmla="*/ 146977 w 406368"/>
                  <a:gd name="connsiteY1168" fmla="*/ 154206 h 290514"/>
                  <a:gd name="connsiteX1169" fmla="*/ 149886 w 406368"/>
                  <a:gd name="connsiteY1169" fmla="*/ 154471 h 290514"/>
                  <a:gd name="connsiteX1170" fmla="*/ 152531 w 406368"/>
                  <a:gd name="connsiteY1170" fmla="*/ 150680 h 290514"/>
                  <a:gd name="connsiteX1171" fmla="*/ 152002 w 406368"/>
                  <a:gd name="connsiteY1171" fmla="*/ 146888 h 290514"/>
                  <a:gd name="connsiteX1172" fmla="*/ 150503 w 406368"/>
                  <a:gd name="connsiteY1172" fmla="*/ 143979 h 290514"/>
                  <a:gd name="connsiteX1173" fmla="*/ 146977 w 406368"/>
                  <a:gd name="connsiteY1173" fmla="*/ 143714 h 290514"/>
                  <a:gd name="connsiteX1174" fmla="*/ 142921 w 406368"/>
                  <a:gd name="connsiteY1174" fmla="*/ 142216 h 290514"/>
                  <a:gd name="connsiteX1175" fmla="*/ 143538 w 406368"/>
                  <a:gd name="connsiteY1175" fmla="*/ 140188 h 290514"/>
                  <a:gd name="connsiteX1176" fmla="*/ 152267 w 406368"/>
                  <a:gd name="connsiteY1176" fmla="*/ 130842 h 290514"/>
                  <a:gd name="connsiteX1177" fmla="*/ 152884 w 406368"/>
                  <a:gd name="connsiteY1177" fmla="*/ 127668 h 290514"/>
                  <a:gd name="connsiteX1178" fmla="*/ 155264 w 406368"/>
                  <a:gd name="connsiteY1178" fmla="*/ 126169 h 290514"/>
                  <a:gd name="connsiteX1179" fmla="*/ 154383 w 406368"/>
                  <a:gd name="connsiteY1179" fmla="*/ 120085 h 290514"/>
                  <a:gd name="connsiteX1180" fmla="*/ 155000 w 406368"/>
                  <a:gd name="connsiteY1180" fmla="*/ 117440 h 290514"/>
                  <a:gd name="connsiteX1181" fmla="*/ 156146 w 406368"/>
                  <a:gd name="connsiteY1181" fmla="*/ 115060 h 290514"/>
                  <a:gd name="connsiteX1182" fmla="*/ 153237 w 406368"/>
                  <a:gd name="connsiteY1182" fmla="*/ 108094 h 290514"/>
                  <a:gd name="connsiteX1183" fmla="*/ 161965 w 406368"/>
                  <a:gd name="connsiteY1183" fmla="*/ 107830 h 290514"/>
                  <a:gd name="connsiteX1184" fmla="*/ 168666 w 406368"/>
                  <a:gd name="connsiteY1184" fmla="*/ 104920 h 290514"/>
                  <a:gd name="connsiteX1185" fmla="*/ 166374 w 406368"/>
                  <a:gd name="connsiteY1185" fmla="*/ 100865 h 290514"/>
                  <a:gd name="connsiteX1186" fmla="*/ 170429 w 406368"/>
                  <a:gd name="connsiteY1186" fmla="*/ 97691 h 290514"/>
                  <a:gd name="connsiteX1187" fmla="*/ 175984 w 406368"/>
                  <a:gd name="connsiteY1187" fmla="*/ 91871 h 290514"/>
                  <a:gd name="connsiteX1188" fmla="*/ 180921 w 406368"/>
                  <a:gd name="connsiteY1188" fmla="*/ 89226 h 290514"/>
                  <a:gd name="connsiteX1189" fmla="*/ 181539 w 406368"/>
                  <a:gd name="connsiteY1189" fmla="*/ 85964 h 290514"/>
                  <a:gd name="connsiteX1190" fmla="*/ 178012 w 406368"/>
                  <a:gd name="connsiteY1190" fmla="*/ 81908 h 290514"/>
                  <a:gd name="connsiteX1191" fmla="*/ 175720 w 406368"/>
                  <a:gd name="connsiteY1191" fmla="*/ 80762 h 290514"/>
                  <a:gd name="connsiteX1192" fmla="*/ 176866 w 406368"/>
                  <a:gd name="connsiteY1192" fmla="*/ 78734 h 290514"/>
                  <a:gd name="connsiteX1193" fmla="*/ 180128 w 406368"/>
                  <a:gd name="connsiteY1193" fmla="*/ 78470 h 290514"/>
                  <a:gd name="connsiteX1194" fmla="*/ 182773 w 406368"/>
                  <a:gd name="connsiteY1194" fmla="*/ 75296 h 290514"/>
                  <a:gd name="connsiteX1195" fmla="*/ 184536 w 406368"/>
                  <a:gd name="connsiteY1195" fmla="*/ 70623 h 290514"/>
                  <a:gd name="connsiteX1196" fmla="*/ 191590 w 406368"/>
                  <a:gd name="connsiteY1196" fmla="*/ 67449 h 290514"/>
                  <a:gd name="connsiteX1197" fmla="*/ 192736 w 406368"/>
                  <a:gd name="connsiteY1197" fmla="*/ 66303 h 290514"/>
                  <a:gd name="connsiteX1198" fmla="*/ 203581 w 406368"/>
                  <a:gd name="connsiteY1198" fmla="*/ 69212 h 290514"/>
                  <a:gd name="connsiteX1199" fmla="*/ 207107 w 406368"/>
                  <a:gd name="connsiteY1199" fmla="*/ 64539 h 290514"/>
                  <a:gd name="connsiteX1200" fmla="*/ 204462 w 406368"/>
                  <a:gd name="connsiteY1200" fmla="*/ 59602 h 290514"/>
                  <a:gd name="connsiteX1201" fmla="*/ 204462 w 406368"/>
                  <a:gd name="connsiteY1201" fmla="*/ 57221 h 290514"/>
                  <a:gd name="connsiteX1202" fmla="*/ 208871 w 406368"/>
                  <a:gd name="connsiteY1202" fmla="*/ 56604 h 290514"/>
                  <a:gd name="connsiteX1203" fmla="*/ 213544 w 406368"/>
                  <a:gd name="connsiteY1203" fmla="*/ 58103 h 290514"/>
                  <a:gd name="connsiteX1204" fmla="*/ 218746 w 406368"/>
                  <a:gd name="connsiteY1204" fmla="*/ 57838 h 290514"/>
                  <a:gd name="connsiteX1205" fmla="*/ 235409 w 406368"/>
                  <a:gd name="connsiteY1205" fmla="*/ 61013 h 290514"/>
                  <a:gd name="connsiteX1206" fmla="*/ 236908 w 406368"/>
                  <a:gd name="connsiteY1206" fmla="*/ 59249 h 290514"/>
                  <a:gd name="connsiteX1207" fmla="*/ 238936 w 406368"/>
                  <a:gd name="connsiteY1207" fmla="*/ 58720 h 290514"/>
                  <a:gd name="connsiteX1208" fmla="*/ 238936 w 406368"/>
                  <a:gd name="connsiteY1208" fmla="*/ 58103 h 290514"/>
                  <a:gd name="connsiteX1209" fmla="*/ 236908 w 406368"/>
                  <a:gd name="connsiteY1209" fmla="*/ 57486 h 290514"/>
                  <a:gd name="connsiteX1210" fmla="*/ 234880 w 406368"/>
                  <a:gd name="connsiteY1210" fmla="*/ 56604 h 290514"/>
                  <a:gd name="connsiteX1211" fmla="*/ 237526 w 406368"/>
                  <a:gd name="connsiteY1211" fmla="*/ 54841 h 290514"/>
                  <a:gd name="connsiteX1212" fmla="*/ 240435 w 406368"/>
                  <a:gd name="connsiteY1212" fmla="*/ 51667 h 290514"/>
                  <a:gd name="connsiteX1213" fmla="*/ 239553 w 406368"/>
                  <a:gd name="connsiteY1213" fmla="*/ 48757 h 290514"/>
                  <a:gd name="connsiteX1214" fmla="*/ 235145 w 406368"/>
                  <a:gd name="connsiteY1214" fmla="*/ 46112 h 290514"/>
                  <a:gd name="connsiteX1215" fmla="*/ 243609 w 406368"/>
                  <a:gd name="connsiteY1215" fmla="*/ 45495 h 290514"/>
                  <a:gd name="connsiteX1216" fmla="*/ 242110 w 406368"/>
                  <a:gd name="connsiteY1216" fmla="*/ 43732 h 290514"/>
                  <a:gd name="connsiteX1217" fmla="*/ 243257 w 406368"/>
                  <a:gd name="connsiteY1217" fmla="*/ 44349 h 290514"/>
                  <a:gd name="connsiteX1218" fmla="*/ 246430 w 406368"/>
                  <a:gd name="connsiteY1218" fmla="*/ 43202 h 290514"/>
                  <a:gd name="connsiteX1219" fmla="*/ 250486 w 406368"/>
                  <a:gd name="connsiteY1219" fmla="*/ 43202 h 290514"/>
                  <a:gd name="connsiteX1220" fmla="*/ 248723 w 406368"/>
                  <a:gd name="connsiteY1220" fmla="*/ 40293 h 290514"/>
                  <a:gd name="connsiteX1221" fmla="*/ 252250 w 406368"/>
                  <a:gd name="connsiteY1221" fmla="*/ 38530 h 290514"/>
                  <a:gd name="connsiteX1222" fmla="*/ 259832 w 406368"/>
                  <a:gd name="connsiteY1222" fmla="*/ 39147 h 290514"/>
                  <a:gd name="connsiteX1223" fmla="*/ 268825 w 406368"/>
                  <a:gd name="connsiteY1223" fmla="*/ 46729 h 290514"/>
                  <a:gd name="connsiteX1224" fmla="*/ 271999 w 406368"/>
                  <a:gd name="connsiteY1224" fmla="*/ 49022 h 290514"/>
                  <a:gd name="connsiteX1225" fmla="*/ 272881 w 406368"/>
                  <a:gd name="connsiteY1225" fmla="*/ 51667 h 290514"/>
                  <a:gd name="connsiteX1226" fmla="*/ 279846 w 406368"/>
                  <a:gd name="connsiteY1226" fmla="*/ 52196 h 290514"/>
                  <a:gd name="connsiteX1227" fmla="*/ 283638 w 406368"/>
                  <a:gd name="connsiteY1227" fmla="*/ 51931 h 290514"/>
                  <a:gd name="connsiteX1228" fmla="*/ 285930 w 406368"/>
                  <a:gd name="connsiteY1228" fmla="*/ 53342 h 290514"/>
                  <a:gd name="connsiteX1229" fmla="*/ 291220 w 406368"/>
                  <a:gd name="connsiteY1229" fmla="*/ 51314 h 290514"/>
                  <a:gd name="connsiteX1230" fmla="*/ 295011 w 406368"/>
                  <a:gd name="connsiteY1230" fmla="*/ 51314 h 290514"/>
                  <a:gd name="connsiteX1231" fmla="*/ 295276 w 406368"/>
                  <a:gd name="connsiteY1231" fmla="*/ 49903 h 290514"/>
                  <a:gd name="connsiteX1232" fmla="*/ 297921 w 406368"/>
                  <a:gd name="connsiteY1232" fmla="*/ 48757 h 290514"/>
                  <a:gd name="connsiteX1233" fmla="*/ 303475 w 406368"/>
                  <a:gd name="connsiteY1233" fmla="*/ 52284 h 290514"/>
                  <a:gd name="connsiteX1234" fmla="*/ 310794 w 406368"/>
                  <a:gd name="connsiteY1234" fmla="*/ 52548 h 290514"/>
                  <a:gd name="connsiteX1235" fmla="*/ 313174 w 406368"/>
                  <a:gd name="connsiteY1235" fmla="*/ 53959 h 290514"/>
                  <a:gd name="connsiteX1236" fmla="*/ 316348 w 406368"/>
                  <a:gd name="connsiteY1236" fmla="*/ 53695 h 290514"/>
                  <a:gd name="connsiteX1237" fmla="*/ 317494 w 406368"/>
                  <a:gd name="connsiteY1237" fmla="*/ 49022 h 290514"/>
                  <a:gd name="connsiteX1238" fmla="*/ 320668 w 406368"/>
                  <a:gd name="connsiteY1238" fmla="*/ 47875 h 290514"/>
                  <a:gd name="connsiteX1239" fmla="*/ 321815 w 406368"/>
                  <a:gd name="connsiteY1239" fmla="*/ 48140 h 290514"/>
                  <a:gd name="connsiteX1240" fmla="*/ 323578 w 406368"/>
                  <a:gd name="connsiteY1240" fmla="*/ 47523 h 290514"/>
                  <a:gd name="connsiteX1241" fmla="*/ 325077 w 406368"/>
                  <a:gd name="connsiteY1241" fmla="*/ 47787 h 290514"/>
                  <a:gd name="connsiteX1242" fmla="*/ 325959 w 406368"/>
                  <a:gd name="connsiteY1242" fmla="*/ 43732 h 290514"/>
                  <a:gd name="connsiteX1243" fmla="*/ 323931 w 406368"/>
                  <a:gd name="connsiteY1243" fmla="*/ 40205 h 290514"/>
                  <a:gd name="connsiteX1244" fmla="*/ 323931 w 406368"/>
                  <a:gd name="connsiteY1244" fmla="*/ 37824 h 290514"/>
                  <a:gd name="connsiteX1245" fmla="*/ 325694 w 406368"/>
                  <a:gd name="connsiteY1245" fmla="*/ 36678 h 290514"/>
                  <a:gd name="connsiteX1246" fmla="*/ 325959 w 406368"/>
                  <a:gd name="connsiteY1246" fmla="*/ 33504 h 290514"/>
                  <a:gd name="connsiteX1247" fmla="*/ 326488 w 406368"/>
                  <a:gd name="connsiteY1247" fmla="*/ 32005 h 290514"/>
                  <a:gd name="connsiteX1248" fmla="*/ 326223 w 406368"/>
                  <a:gd name="connsiteY1248" fmla="*/ 30242 h 290514"/>
                  <a:gd name="connsiteX1249" fmla="*/ 328515 w 406368"/>
                  <a:gd name="connsiteY1249" fmla="*/ 29096 h 290514"/>
                  <a:gd name="connsiteX1250" fmla="*/ 333453 w 406368"/>
                  <a:gd name="connsiteY1250" fmla="*/ 27949 h 290514"/>
                  <a:gd name="connsiteX1251" fmla="*/ 336980 w 406368"/>
                  <a:gd name="connsiteY1251" fmla="*/ 27068 h 290514"/>
                  <a:gd name="connsiteX1252" fmla="*/ 341652 w 406368"/>
                  <a:gd name="connsiteY1252" fmla="*/ 27068 h 290514"/>
                  <a:gd name="connsiteX1253" fmla="*/ 346590 w 406368"/>
                  <a:gd name="connsiteY1253" fmla="*/ 25921 h 290514"/>
                  <a:gd name="connsiteX1254" fmla="*/ 352145 w 406368"/>
                  <a:gd name="connsiteY1254" fmla="*/ 23629 h 290514"/>
                  <a:gd name="connsiteX1255" fmla="*/ 357699 w 406368"/>
                  <a:gd name="connsiteY1255" fmla="*/ 25921 h 290514"/>
                  <a:gd name="connsiteX1256" fmla="*/ 367310 w 406368"/>
                  <a:gd name="connsiteY1256" fmla="*/ 29713 h 290514"/>
                  <a:gd name="connsiteX1257" fmla="*/ 376391 w 406368"/>
                  <a:gd name="connsiteY1257" fmla="*/ 29977 h 290514"/>
                  <a:gd name="connsiteX1258" fmla="*/ 380182 w 406368"/>
                  <a:gd name="connsiteY1258" fmla="*/ 34915 h 290514"/>
                  <a:gd name="connsiteX1259" fmla="*/ 377801 w 406368"/>
                  <a:gd name="connsiteY1259" fmla="*/ 39323 h 290514"/>
                  <a:gd name="connsiteX1260" fmla="*/ 389175 w 406368"/>
                  <a:gd name="connsiteY1260" fmla="*/ 38177 h 290514"/>
                  <a:gd name="connsiteX1261" fmla="*/ 393231 w 406368"/>
                  <a:gd name="connsiteY1261" fmla="*/ 32005 h 290514"/>
                  <a:gd name="connsiteX1262" fmla="*/ 406368 w 406368"/>
                  <a:gd name="connsiteY1262" fmla="*/ 34033 h 290514"/>
                  <a:gd name="connsiteX1263" fmla="*/ 405310 w 406368"/>
                  <a:gd name="connsiteY1263" fmla="*/ 28390 h 290514"/>
                  <a:gd name="connsiteX1264" fmla="*/ 170518 w 406368"/>
                  <a:gd name="connsiteY1264" fmla="*/ 45936 h 290514"/>
                  <a:gd name="connsiteX1265" fmla="*/ 172545 w 406368"/>
                  <a:gd name="connsiteY1265" fmla="*/ 43643 h 290514"/>
                  <a:gd name="connsiteX1266" fmla="*/ 173427 w 406368"/>
                  <a:gd name="connsiteY1266" fmla="*/ 41880 h 290514"/>
                  <a:gd name="connsiteX1267" fmla="*/ 175808 w 406368"/>
                  <a:gd name="connsiteY1267" fmla="*/ 40998 h 290514"/>
                  <a:gd name="connsiteX1268" fmla="*/ 177835 w 406368"/>
                  <a:gd name="connsiteY1268" fmla="*/ 38970 h 290514"/>
                  <a:gd name="connsiteX1269" fmla="*/ 178717 w 406368"/>
                  <a:gd name="connsiteY1269" fmla="*/ 40734 h 290514"/>
                  <a:gd name="connsiteX1270" fmla="*/ 177835 w 406368"/>
                  <a:gd name="connsiteY1270" fmla="*/ 41615 h 290514"/>
                  <a:gd name="connsiteX1271" fmla="*/ 176072 w 406368"/>
                  <a:gd name="connsiteY1271" fmla="*/ 45407 h 290514"/>
                  <a:gd name="connsiteX1272" fmla="*/ 176337 w 406368"/>
                  <a:gd name="connsiteY1272" fmla="*/ 46906 h 290514"/>
                  <a:gd name="connsiteX1273" fmla="*/ 174309 w 406368"/>
                  <a:gd name="connsiteY1273" fmla="*/ 46906 h 290514"/>
                  <a:gd name="connsiteX1274" fmla="*/ 172810 w 406368"/>
                  <a:gd name="connsiteY1274" fmla="*/ 45142 h 290514"/>
                  <a:gd name="connsiteX1275" fmla="*/ 171664 w 406368"/>
                  <a:gd name="connsiteY1275" fmla="*/ 45759 h 290514"/>
                  <a:gd name="connsiteX1276" fmla="*/ 170518 w 406368"/>
                  <a:gd name="connsiteY1276" fmla="*/ 45936 h 290514"/>
                  <a:gd name="connsiteX1277" fmla="*/ 154206 w 406368"/>
                  <a:gd name="connsiteY1277" fmla="*/ 62247 h 290514"/>
                  <a:gd name="connsiteX1278" fmla="*/ 152443 w 406368"/>
                  <a:gd name="connsiteY1278" fmla="*/ 61365 h 290514"/>
                  <a:gd name="connsiteX1279" fmla="*/ 153325 w 406368"/>
                  <a:gd name="connsiteY1279" fmla="*/ 57838 h 290514"/>
                  <a:gd name="connsiteX1280" fmla="*/ 155353 w 406368"/>
                  <a:gd name="connsiteY1280" fmla="*/ 56075 h 290514"/>
                  <a:gd name="connsiteX1281" fmla="*/ 153589 w 406368"/>
                  <a:gd name="connsiteY1281" fmla="*/ 54047 h 290514"/>
                  <a:gd name="connsiteX1282" fmla="*/ 152090 w 406368"/>
                  <a:gd name="connsiteY1282" fmla="*/ 52019 h 290514"/>
                  <a:gd name="connsiteX1283" fmla="*/ 152090 w 406368"/>
                  <a:gd name="connsiteY1283" fmla="*/ 50256 h 290514"/>
                  <a:gd name="connsiteX1284" fmla="*/ 153589 w 406368"/>
                  <a:gd name="connsiteY1284" fmla="*/ 50256 h 290514"/>
                  <a:gd name="connsiteX1285" fmla="*/ 157645 w 406368"/>
                  <a:gd name="connsiteY1285" fmla="*/ 52284 h 290514"/>
                  <a:gd name="connsiteX1286" fmla="*/ 156763 w 406368"/>
                  <a:gd name="connsiteY1286" fmla="*/ 49374 h 290514"/>
                  <a:gd name="connsiteX1287" fmla="*/ 158174 w 406368"/>
                  <a:gd name="connsiteY1287" fmla="*/ 48757 h 290514"/>
                  <a:gd name="connsiteX1288" fmla="*/ 160819 w 406368"/>
                  <a:gd name="connsiteY1288" fmla="*/ 47258 h 290514"/>
                  <a:gd name="connsiteX1289" fmla="*/ 162583 w 406368"/>
                  <a:gd name="connsiteY1289" fmla="*/ 44349 h 290514"/>
                  <a:gd name="connsiteX1290" fmla="*/ 163464 w 406368"/>
                  <a:gd name="connsiteY1290" fmla="*/ 45230 h 290514"/>
                  <a:gd name="connsiteX1291" fmla="*/ 162583 w 406368"/>
                  <a:gd name="connsiteY1291" fmla="*/ 49286 h 290514"/>
                  <a:gd name="connsiteX1292" fmla="*/ 164610 w 406368"/>
                  <a:gd name="connsiteY1292" fmla="*/ 49903 h 290514"/>
                  <a:gd name="connsiteX1293" fmla="*/ 163464 w 406368"/>
                  <a:gd name="connsiteY1293" fmla="*/ 48140 h 290514"/>
                  <a:gd name="connsiteX1294" fmla="*/ 165492 w 406368"/>
                  <a:gd name="connsiteY1294" fmla="*/ 46112 h 290514"/>
                  <a:gd name="connsiteX1295" fmla="*/ 166638 w 406368"/>
                  <a:gd name="connsiteY1295" fmla="*/ 44349 h 290514"/>
                  <a:gd name="connsiteX1296" fmla="*/ 167255 w 406368"/>
                  <a:gd name="connsiteY1296" fmla="*/ 46112 h 290514"/>
                  <a:gd name="connsiteX1297" fmla="*/ 166638 w 406368"/>
                  <a:gd name="connsiteY1297" fmla="*/ 49286 h 290514"/>
                  <a:gd name="connsiteX1298" fmla="*/ 167520 w 406368"/>
                  <a:gd name="connsiteY1298" fmla="*/ 51050 h 290514"/>
                  <a:gd name="connsiteX1299" fmla="*/ 167784 w 406368"/>
                  <a:gd name="connsiteY1299" fmla="*/ 53077 h 290514"/>
                  <a:gd name="connsiteX1300" fmla="*/ 166021 w 406368"/>
                  <a:gd name="connsiteY1300" fmla="*/ 55105 h 290514"/>
                  <a:gd name="connsiteX1301" fmla="*/ 168666 w 406368"/>
                  <a:gd name="connsiteY1301" fmla="*/ 54841 h 290514"/>
                  <a:gd name="connsiteX1302" fmla="*/ 170429 w 406368"/>
                  <a:gd name="connsiteY1302" fmla="*/ 53959 h 290514"/>
                  <a:gd name="connsiteX1303" fmla="*/ 171047 w 406368"/>
                  <a:gd name="connsiteY1303" fmla="*/ 51931 h 290514"/>
                  <a:gd name="connsiteX1304" fmla="*/ 171664 w 406368"/>
                  <a:gd name="connsiteY1304" fmla="*/ 50785 h 290514"/>
                  <a:gd name="connsiteX1305" fmla="*/ 173427 w 406368"/>
                  <a:gd name="connsiteY1305" fmla="*/ 51314 h 290514"/>
                  <a:gd name="connsiteX1306" fmla="*/ 172545 w 406368"/>
                  <a:gd name="connsiteY1306" fmla="*/ 49286 h 290514"/>
                  <a:gd name="connsiteX1307" fmla="*/ 175455 w 406368"/>
                  <a:gd name="connsiteY1307" fmla="*/ 49551 h 290514"/>
                  <a:gd name="connsiteX1308" fmla="*/ 177218 w 406368"/>
                  <a:gd name="connsiteY1308" fmla="*/ 48669 h 290514"/>
                  <a:gd name="connsiteX1309" fmla="*/ 177835 w 406368"/>
                  <a:gd name="connsiteY1309" fmla="*/ 50961 h 290514"/>
                  <a:gd name="connsiteX1310" fmla="*/ 180216 w 406368"/>
                  <a:gd name="connsiteY1310" fmla="*/ 51226 h 290514"/>
                  <a:gd name="connsiteX1311" fmla="*/ 179952 w 406368"/>
                  <a:gd name="connsiteY1311" fmla="*/ 53871 h 290514"/>
                  <a:gd name="connsiteX1312" fmla="*/ 177306 w 406368"/>
                  <a:gd name="connsiteY1312" fmla="*/ 56780 h 290514"/>
                  <a:gd name="connsiteX1313" fmla="*/ 174133 w 406368"/>
                  <a:gd name="connsiteY1313" fmla="*/ 57662 h 290514"/>
                  <a:gd name="connsiteX1314" fmla="*/ 170958 w 406368"/>
                  <a:gd name="connsiteY1314" fmla="*/ 57398 h 290514"/>
                  <a:gd name="connsiteX1315" fmla="*/ 170694 w 406368"/>
                  <a:gd name="connsiteY1315" fmla="*/ 58544 h 290514"/>
                  <a:gd name="connsiteX1316" fmla="*/ 169548 w 406368"/>
                  <a:gd name="connsiteY1316" fmla="*/ 59073 h 290514"/>
                  <a:gd name="connsiteX1317" fmla="*/ 166638 w 406368"/>
                  <a:gd name="connsiteY1317" fmla="*/ 58808 h 290514"/>
                  <a:gd name="connsiteX1318" fmla="*/ 163728 w 406368"/>
                  <a:gd name="connsiteY1318" fmla="*/ 61101 h 290514"/>
                  <a:gd name="connsiteX1319" fmla="*/ 163464 w 406368"/>
                  <a:gd name="connsiteY1319" fmla="*/ 59954 h 290514"/>
                  <a:gd name="connsiteX1320" fmla="*/ 162318 w 406368"/>
                  <a:gd name="connsiteY1320" fmla="*/ 58191 h 290514"/>
                  <a:gd name="connsiteX1321" fmla="*/ 159937 w 406368"/>
                  <a:gd name="connsiteY1321" fmla="*/ 58808 h 290514"/>
                  <a:gd name="connsiteX1322" fmla="*/ 159673 w 406368"/>
                  <a:gd name="connsiteY1322" fmla="*/ 60572 h 290514"/>
                  <a:gd name="connsiteX1323" fmla="*/ 159408 w 406368"/>
                  <a:gd name="connsiteY1323" fmla="*/ 62600 h 290514"/>
                  <a:gd name="connsiteX1324" fmla="*/ 157116 w 406368"/>
                  <a:gd name="connsiteY1324" fmla="*/ 62600 h 290514"/>
                  <a:gd name="connsiteX1325" fmla="*/ 154206 w 406368"/>
                  <a:gd name="connsiteY1325" fmla="*/ 62247 h 290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</a:cxnLst>
                <a:rect l="l" t="t" r="r" b="b"/>
                <a:pathLst>
                  <a:path w="406368" h="290514">
                    <a:moveTo>
                      <a:pt x="148387" y="65421"/>
                    </a:moveTo>
                    <a:lnTo>
                      <a:pt x="147506" y="66038"/>
                    </a:lnTo>
                    <a:lnTo>
                      <a:pt x="145478" y="65774"/>
                    </a:lnTo>
                    <a:lnTo>
                      <a:pt x="143714" y="66655"/>
                    </a:lnTo>
                    <a:lnTo>
                      <a:pt x="141686" y="65774"/>
                    </a:lnTo>
                    <a:lnTo>
                      <a:pt x="139923" y="66920"/>
                    </a:lnTo>
                    <a:lnTo>
                      <a:pt x="137013" y="66655"/>
                    </a:lnTo>
                    <a:lnTo>
                      <a:pt x="135515" y="68683"/>
                    </a:lnTo>
                    <a:lnTo>
                      <a:pt x="132341" y="69565"/>
                    </a:lnTo>
                    <a:lnTo>
                      <a:pt x="130313" y="71945"/>
                    </a:lnTo>
                    <a:lnTo>
                      <a:pt x="128285" y="71593"/>
                    </a:lnTo>
                    <a:lnTo>
                      <a:pt x="127668" y="69829"/>
                    </a:lnTo>
                    <a:lnTo>
                      <a:pt x="129696" y="68683"/>
                    </a:lnTo>
                    <a:lnTo>
                      <a:pt x="129078" y="66920"/>
                    </a:lnTo>
                    <a:lnTo>
                      <a:pt x="130225" y="65421"/>
                    </a:lnTo>
                    <a:lnTo>
                      <a:pt x="131635" y="65685"/>
                    </a:lnTo>
                    <a:lnTo>
                      <a:pt x="132253" y="63658"/>
                    </a:lnTo>
                    <a:lnTo>
                      <a:pt x="135779" y="63393"/>
                    </a:lnTo>
                    <a:lnTo>
                      <a:pt x="136925" y="61101"/>
                    </a:lnTo>
                    <a:lnTo>
                      <a:pt x="141334" y="60219"/>
                    </a:lnTo>
                    <a:lnTo>
                      <a:pt x="144861" y="59337"/>
                    </a:lnTo>
                    <a:lnTo>
                      <a:pt x="146359" y="60219"/>
                    </a:lnTo>
                    <a:lnTo>
                      <a:pt x="148387" y="59954"/>
                    </a:lnTo>
                    <a:lnTo>
                      <a:pt x="149269" y="61982"/>
                    </a:lnTo>
                    <a:lnTo>
                      <a:pt x="148387" y="62864"/>
                    </a:lnTo>
                    <a:lnTo>
                      <a:pt x="149269" y="63746"/>
                    </a:lnTo>
                    <a:lnTo>
                      <a:pt x="148387" y="65421"/>
                    </a:lnTo>
                    <a:close/>
                    <a:moveTo>
                      <a:pt x="199701" y="39764"/>
                    </a:moveTo>
                    <a:lnTo>
                      <a:pt x="196527" y="40910"/>
                    </a:lnTo>
                    <a:lnTo>
                      <a:pt x="195646" y="42056"/>
                    </a:lnTo>
                    <a:lnTo>
                      <a:pt x="193882" y="42938"/>
                    </a:lnTo>
                    <a:lnTo>
                      <a:pt x="190708" y="42938"/>
                    </a:lnTo>
                    <a:lnTo>
                      <a:pt x="189827" y="41175"/>
                    </a:lnTo>
                    <a:lnTo>
                      <a:pt x="191325" y="40910"/>
                    </a:lnTo>
                    <a:lnTo>
                      <a:pt x="192207" y="39764"/>
                    </a:lnTo>
                    <a:lnTo>
                      <a:pt x="194235" y="38618"/>
                    </a:lnTo>
                    <a:lnTo>
                      <a:pt x="197409" y="36590"/>
                    </a:lnTo>
                    <a:lnTo>
                      <a:pt x="200583" y="34297"/>
                    </a:lnTo>
                    <a:lnTo>
                      <a:pt x="202611" y="35179"/>
                    </a:lnTo>
                    <a:lnTo>
                      <a:pt x="202875" y="36325"/>
                    </a:lnTo>
                    <a:lnTo>
                      <a:pt x="199701" y="39764"/>
                    </a:lnTo>
                    <a:close/>
                    <a:moveTo>
                      <a:pt x="207901" y="33063"/>
                    </a:moveTo>
                    <a:lnTo>
                      <a:pt x="209929" y="31300"/>
                    </a:lnTo>
                    <a:lnTo>
                      <a:pt x="213367" y="31300"/>
                    </a:lnTo>
                    <a:lnTo>
                      <a:pt x="213985" y="29272"/>
                    </a:lnTo>
                    <a:lnTo>
                      <a:pt x="211957" y="29007"/>
                    </a:lnTo>
                    <a:lnTo>
                      <a:pt x="209576" y="29007"/>
                    </a:lnTo>
                    <a:lnTo>
                      <a:pt x="206314" y="30771"/>
                    </a:lnTo>
                    <a:lnTo>
                      <a:pt x="204286" y="32270"/>
                    </a:lnTo>
                    <a:lnTo>
                      <a:pt x="207901" y="33063"/>
                    </a:lnTo>
                    <a:close/>
                    <a:moveTo>
                      <a:pt x="220421" y="22836"/>
                    </a:moveTo>
                    <a:lnTo>
                      <a:pt x="224477" y="22218"/>
                    </a:lnTo>
                    <a:lnTo>
                      <a:pt x="228532" y="23982"/>
                    </a:lnTo>
                    <a:lnTo>
                      <a:pt x="225887" y="25745"/>
                    </a:lnTo>
                    <a:lnTo>
                      <a:pt x="222625" y="25481"/>
                    </a:lnTo>
                    <a:lnTo>
                      <a:pt x="219715" y="24863"/>
                    </a:lnTo>
                    <a:lnTo>
                      <a:pt x="215924" y="24863"/>
                    </a:lnTo>
                    <a:lnTo>
                      <a:pt x="214778" y="22836"/>
                    </a:lnTo>
                    <a:lnTo>
                      <a:pt x="217688" y="21954"/>
                    </a:lnTo>
                    <a:lnTo>
                      <a:pt x="220421" y="22836"/>
                    </a:lnTo>
                    <a:close/>
                    <a:moveTo>
                      <a:pt x="246342" y="17898"/>
                    </a:moveTo>
                    <a:lnTo>
                      <a:pt x="247841" y="18780"/>
                    </a:lnTo>
                    <a:lnTo>
                      <a:pt x="247841" y="20279"/>
                    </a:lnTo>
                    <a:lnTo>
                      <a:pt x="246342" y="22307"/>
                    </a:lnTo>
                    <a:lnTo>
                      <a:pt x="246342" y="24334"/>
                    </a:lnTo>
                    <a:lnTo>
                      <a:pt x="244315" y="23188"/>
                    </a:lnTo>
                    <a:lnTo>
                      <a:pt x="240788" y="23805"/>
                    </a:lnTo>
                    <a:lnTo>
                      <a:pt x="239906" y="22307"/>
                    </a:lnTo>
                    <a:lnTo>
                      <a:pt x="238760" y="22924"/>
                    </a:lnTo>
                    <a:lnTo>
                      <a:pt x="237614" y="22307"/>
                    </a:lnTo>
                    <a:lnTo>
                      <a:pt x="235586" y="22307"/>
                    </a:lnTo>
                    <a:lnTo>
                      <a:pt x="236467" y="21160"/>
                    </a:lnTo>
                    <a:lnTo>
                      <a:pt x="238495" y="22042"/>
                    </a:lnTo>
                    <a:lnTo>
                      <a:pt x="240876" y="21160"/>
                    </a:lnTo>
                    <a:lnTo>
                      <a:pt x="242375" y="20014"/>
                    </a:lnTo>
                    <a:lnTo>
                      <a:pt x="246342" y="17898"/>
                    </a:lnTo>
                    <a:close/>
                    <a:moveTo>
                      <a:pt x="267944" y="12961"/>
                    </a:moveTo>
                    <a:lnTo>
                      <a:pt x="271470" y="14724"/>
                    </a:lnTo>
                    <a:lnTo>
                      <a:pt x="274380" y="13578"/>
                    </a:lnTo>
                    <a:lnTo>
                      <a:pt x="279317" y="12432"/>
                    </a:lnTo>
                    <a:lnTo>
                      <a:pt x="282844" y="11550"/>
                    </a:lnTo>
                    <a:lnTo>
                      <a:pt x="286106" y="9787"/>
                    </a:lnTo>
                    <a:lnTo>
                      <a:pt x="284608" y="8288"/>
                    </a:lnTo>
                    <a:lnTo>
                      <a:pt x="281962" y="7406"/>
                    </a:lnTo>
                    <a:lnTo>
                      <a:pt x="276143" y="8552"/>
                    </a:lnTo>
                    <a:lnTo>
                      <a:pt x="273851" y="8552"/>
                    </a:lnTo>
                    <a:lnTo>
                      <a:pt x="269443" y="10316"/>
                    </a:lnTo>
                    <a:lnTo>
                      <a:pt x="267415" y="9434"/>
                    </a:lnTo>
                    <a:lnTo>
                      <a:pt x="265916" y="10933"/>
                    </a:lnTo>
                    <a:lnTo>
                      <a:pt x="266797" y="12079"/>
                    </a:lnTo>
                    <a:lnTo>
                      <a:pt x="267944" y="12961"/>
                    </a:lnTo>
                    <a:close/>
                    <a:moveTo>
                      <a:pt x="281698" y="14371"/>
                    </a:moveTo>
                    <a:lnTo>
                      <a:pt x="283726" y="12079"/>
                    </a:lnTo>
                    <a:lnTo>
                      <a:pt x="285225" y="12079"/>
                    </a:lnTo>
                    <a:lnTo>
                      <a:pt x="286723" y="12079"/>
                    </a:lnTo>
                    <a:lnTo>
                      <a:pt x="288751" y="11815"/>
                    </a:lnTo>
                    <a:lnTo>
                      <a:pt x="290515" y="10668"/>
                    </a:lnTo>
                    <a:lnTo>
                      <a:pt x="293424" y="10404"/>
                    </a:lnTo>
                    <a:lnTo>
                      <a:pt x="293689" y="11286"/>
                    </a:lnTo>
                    <a:lnTo>
                      <a:pt x="291925" y="14812"/>
                    </a:lnTo>
                    <a:lnTo>
                      <a:pt x="288663" y="16576"/>
                    </a:lnTo>
                    <a:lnTo>
                      <a:pt x="287517" y="16576"/>
                    </a:lnTo>
                    <a:lnTo>
                      <a:pt x="285137" y="16576"/>
                    </a:lnTo>
                    <a:lnTo>
                      <a:pt x="283990" y="16840"/>
                    </a:lnTo>
                    <a:lnTo>
                      <a:pt x="281345" y="17457"/>
                    </a:lnTo>
                    <a:lnTo>
                      <a:pt x="283373" y="19485"/>
                    </a:lnTo>
                    <a:lnTo>
                      <a:pt x="279582" y="19485"/>
                    </a:lnTo>
                    <a:lnTo>
                      <a:pt x="276055" y="17457"/>
                    </a:lnTo>
                    <a:lnTo>
                      <a:pt x="278965" y="16840"/>
                    </a:lnTo>
                    <a:lnTo>
                      <a:pt x="279582" y="15341"/>
                    </a:lnTo>
                    <a:lnTo>
                      <a:pt x="281698" y="14371"/>
                    </a:lnTo>
                    <a:close/>
                    <a:moveTo>
                      <a:pt x="405310" y="28390"/>
                    </a:moveTo>
                    <a:lnTo>
                      <a:pt x="401254" y="28390"/>
                    </a:lnTo>
                    <a:lnTo>
                      <a:pt x="399226" y="29272"/>
                    </a:lnTo>
                    <a:lnTo>
                      <a:pt x="397198" y="29536"/>
                    </a:lnTo>
                    <a:lnTo>
                      <a:pt x="396934" y="28038"/>
                    </a:lnTo>
                    <a:lnTo>
                      <a:pt x="394289" y="27773"/>
                    </a:lnTo>
                    <a:lnTo>
                      <a:pt x="392878" y="28655"/>
                    </a:lnTo>
                    <a:lnTo>
                      <a:pt x="391732" y="26627"/>
                    </a:lnTo>
                    <a:lnTo>
                      <a:pt x="388470" y="26891"/>
                    </a:lnTo>
                    <a:lnTo>
                      <a:pt x="386177" y="27773"/>
                    </a:lnTo>
                    <a:lnTo>
                      <a:pt x="383885" y="30683"/>
                    </a:lnTo>
                    <a:lnTo>
                      <a:pt x="384767" y="28919"/>
                    </a:lnTo>
                    <a:lnTo>
                      <a:pt x="383356" y="27156"/>
                    </a:lnTo>
                    <a:lnTo>
                      <a:pt x="381593" y="26891"/>
                    </a:lnTo>
                    <a:lnTo>
                      <a:pt x="381328" y="25128"/>
                    </a:lnTo>
                    <a:lnTo>
                      <a:pt x="378948" y="25128"/>
                    </a:lnTo>
                    <a:lnTo>
                      <a:pt x="374010" y="23982"/>
                    </a:lnTo>
                    <a:lnTo>
                      <a:pt x="369602" y="22483"/>
                    </a:lnTo>
                    <a:lnTo>
                      <a:pt x="373658" y="22483"/>
                    </a:lnTo>
                    <a:lnTo>
                      <a:pt x="377449" y="21866"/>
                    </a:lnTo>
                    <a:lnTo>
                      <a:pt x="386795" y="23012"/>
                    </a:lnTo>
                    <a:lnTo>
                      <a:pt x="388205" y="20367"/>
                    </a:lnTo>
                    <a:lnTo>
                      <a:pt x="391115" y="21866"/>
                    </a:lnTo>
                    <a:lnTo>
                      <a:pt x="392878" y="22130"/>
                    </a:lnTo>
                    <a:lnTo>
                      <a:pt x="394289" y="22395"/>
                    </a:lnTo>
                    <a:lnTo>
                      <a:pt x="395788" y="20631"/>
                    </a:lnTo>
                    <a:lnTo>
                      <a:pt x="396934" y="20896"/>
                    </a:lnTo>
                    <a:lnTo>
                      <a:pt x="397551" y="20014"/>
                    </a:lnTo>
                    <a:lnTo>
                      <a:pt x="398697" y="21160"/>
                    </a:lnTo>
                    <a:lnTo>
                      <a:pt x="400990" y="19397"/>
                    </a:lnTo>
                    <a:lnTo>
                      <a:pt x="402136" y="19133"/>
                    </a:lnTo>
                    <a:lnTo>
                      <a:pt x="402753" y="17369"/>
                    </a:lnTo>
                    <a:lnTo>
                      <a:pt x="400990" y="17634"/>
                    </a:lnTo>
                    <a:lnTo>
                      <a:pt x="400990" y="14989"/>
                    </a:lnTo>
                    <a:lnTo>
                      <a:pt x="400373" y="15870"/>
                    </a:lnTo>
                    <a:lnTo>
                      <a:pt x="399491" y="15253"/>
                    </a:lnTo>
                    <a:lnTo>
                      <a:pt x="395964" y="13490"/>
                    </a:lnTo>
                    <a:lnTo>
                      <a:pt x="395700" y="14107"/>
                    </a:lnTo>
                    <a:lnTo>
                      <a:pt x="391027" y="13842"/>
                    </a:lnTo>
                    <a:lnTo>
                      <a:pt x="379653" y="16487"/>
                    </a:lnTo>
                    <a:lnTo>
                      <a:pt x="388999" y="13313"/>
                    </a:lnTo>
                    <a:lnTo>
                      <a:pt x="388734" y="11550"/>
                    </a:lnTo>
                    <a:lnTo>
                      <a:pt x="385825" y="10668"/>
                    </a:lnTo>
                    <a:lnTo>
                      <a:pt x="382033" y="10668"/>
                    </a:lnTo>
                    <a:lnTo>
                      <a:pt x="379124" y="10404"/>
                    </a:lnTo>
                    <a:lnTo>
                      <a:pt x="377713" y="13313"/>
                    </a:lnTo>
                    <a:lnTo>
                      <a:pt x="375333" y="10668"/>
                    </a:lnTo>
                    <a:lnTo>
                      <a:pt x="374716" y="10404"/>
                    </a:lnTo>
                    <a:lnTo>
                      <a:pt x="374451" y="9258"/>
                    </a:lnTo>
                    <a:lnTo>
                      <a:pt x="372159" y="7494"/>
                    </a:lnTo>
                    <a:lnTo>
                      <a:pt x="368984" y="7759"/>
                    </a:lnTo>
                    <a:lnTo>
                      <a:pt x="367486" y="6613"/>
                    </a:lnTo>
                    <a:lnTo>
                      <a:pt x="366604" y="8376"/>
                    </a:lnTo>
                    <a:lnTo>
                      <a:pt x="366340" y="11021"/>
                    </a:lnTo>
                    <a:lnTo>
                      <a:pt x="364312" y="10404"/>
                    </a:lnTo>
                    <a:lnTo>
                      <a:pt x="363430" y="8376"/>
                    </a:lnTo>
                    <a:lnTo>
                      <a:pt x="361667" y="11021"/>
                    </a:lnTo>
                    <a:lnTo>
                      <a:pt x="361667" y="13313"/>
                    </a:lnTo>
                    <a:lnTo>
                      <a:pt x="360785" y="15077"/>
                    </a:lnTo>
                    <a:lnTo>
                      <a:pt x="359374" y="19133"/>
                    </a:lnTo>
                    <a:lnTo>
                      <a:pt x="359110" y="19133"/>
                    </a:lnTo>
                    <a:lnTo>
                      <a:pt x="357963" y="15341"/>
                    </a:lnTo>
                    <a:lnTo>
                      <a:pt x="356817" y="15341"/>
                    </a:lnTo>
                    <a:lnTo>
                      <a:pt x="355671" y="15077"/>
                    </a:lnTo>
                    <a:lnTo>
                      <a:pt x="355054" y="13578"/>
                    </a:lnTo>
                    <a:lnTo>
                      <a:pt x="355936" y="10933"/>
                    </a:lnTo>
                    <a:lnTo>
                      <a:pt x="353290" y="11815"/>
                    </a:lnTo>
                    <a:lnTo>
                      <a:pt x="351792" y="11197"/>
                    </a:lnTo>
                    <a:lnTo>
                      <a:pt x="353290" y="10316"/>
                    </a:lnTo>
                    <a:lnTo>
                      <a:pt x="351263" y="9170"/>
                    </a:lnTo>
                    <a:lnTo>
                      <a:pt x="352145" y="8288"/>
                    </a:lnTo>
                    <a:lnTo>
                      <a:pt x="355671" y="8288"/>
                    </a:lnTo>
                    <a:lnTo>
                      <a:pt x="357434" y="7671"/>
                    </a:lnTo>
                    <a:lnTo>
                      <a:pt x="359198" y="6789"/>
                    </a:lnTo>
                    <a:lnTo>
                      <a:pt x="360080" y="5643"/>
                    </a:lnTo>
                    <a:lnTo>
                      <a:pt x="357699" y="4144"/>
                    </a:lnTo>
                    <a:lnTo>
                      <a:pt x="355407" y="3615"/>
                    </a:lnTo>
                    <a:lnTo>
                      <a:pt x="354260" y="2733"/>
                    </a:lnTo>
                    <a:lnTo>
                      <a:pt x="350469" y="2998"/>
                    </a:lnTo>
                    <a:lnTo>
                      <a:pt x="350205" y="4761"/>
                    </a:lnTo>
                    <a:lnTo>
                      <a:pt x="349323" y="6260"/>
                    </a:lnTo>
                    <a:lnTo>
                      <a:pt x="348177" y="8023"/>
                    </a:lnTo>
                    <a:lnTo>
                      <a:pt x="347031" y="6524"/>
                    </a:lnTo>
                    <a:lnTo>
                      <a:pt x="347031" y="8552"/>
                    </a:lnTo>
                    <a:lnTo>
                      <a:pt x="348530" y="9434"/>
                    </a:lnTo>
                    <a:lnTo>
                      <a:pt x="349147" y="10051"/>
                    </a:lnTo>
                    <a:lnTo>
                      <a:pt x="348001" y="10316"/>
                    </a:lnTo>
                    <a:lnTo>
                      <a:pt x="347736" y="11462"/>
                    </a:lnTo>
                    <a:lnTo>
                      <a:pt x="346854" y="13225"/>
                    </a:lnTo>
                    <a:lnTo>
                      <a:pt x="345973" y="14107"/>
                    </a:lnTo>
                    <a:lnTo>
                      <a:pt x="343328" y="13225"/>
                    </a:lnTo>
                    <a:lnTo>
                      <a:pt x="340947" y="12961"/>
                    </a:lnTo>
                    <a:lnTo>
                      <a:pt x="339448" y="14460"/>
                    </a:lnTo>
                    <a:lnTo>
                      <a:pt x="337685" y="14724"/>
                    </a:lnTo>
                    <a:lnTo>
                      <a:pt x="334775" y="15341"/>
                    </a:lnTo>
                    <a:lnTo>
                      <a:pt x="333365" y="16752"/>
                    </a:lnTo>
                    <a:lnTo>
                      <a:pt x="332483" y="16487"/>
                    </a:lnTo>
                    <a:lnTo>
                      <a:pt x="326928" y="18868"/>
                    </a:lnTo>
                    <a:lnTo>
                      <a:pt x="328074" y="15694"/>
                    </a:lnTo>
                    <a:lnTo>
                      <a:pt x="332130" y="13931"/>
                    </a:lnTo>
                    <a:lnTo>
                      <a:pt x="335392" y="12432"/>
                    </a:lnTo>
                    <a:lnTo>
                      <a:pt x="339448" y="11550"/>
                    </a:lnTo>
                    <a:lnTo>
                      <a:pt x="341829" y="8905"/>
                    </a:lnTo>
                    <a:lnTo>
                      <a:pt x="341829" y="6877"/>
                    </a:lnTo>
                    <a:lnTo>
                      <a:pt x="344738" y="5466"/>
                    </a:lnTo>
                    <a:lnTo>
                      <a:pt x="344121" y="3968"/>
                    </a:lnTo>
                    <a:lnTo>
                      <a:pt x="344121" y="1675"/>
                    </a:lnTo>
                    <a:lnTo>
                      <a:pt x="341476" y="1675"/>
                    </a:lnTo>
                    <a:lnTo>
                      <a:pt x="339977" y="793"/>
                    </a:lnTo>
                    <a:lnTo>
                      <a:pt x="338478" y="3703"/>
                    </a:lnTo>
                    <a:lnTo>
                      <a:pt x="337332" y="4585"/>
                    </a:lnTo>
                    <a:lnTo>
                      <a:pt x="335304" y="5731"/>
                    </a:lnTo>
                    <a:lnTo>
                      <a:pt x="333805" y="6260"/>
                    </a:lnTo>
                    <a:lnTo>
                      <a:pt x="333541" y="7759"/>
                    </a:lnTo>
                    <a:lnTo>
                      <a:pt x="332924" y="10668"/>
                    </a:lnTo>
                    <a:lnTo>
                      <a:pt x="331513" y="10051"/>
                    </a:lnTo>
                    <a:lnTo>
                      <a:pt x="330631" y="12079"/>
                    </a:lnTo>
                    <a:lnTo>
                      <a:pt x="328339" y="12961"/>
                    </a:lnTo>
                    <a:lnTo>
                      <a:pt x="326311" y="14460"/>
                    </a:lnTo>
                    <a:lnTo>
                      <a:pt x="323666" y="17105"/>
                    </a:lnTo>
                    <a:lnTo>
                      <a:pt x="322167" y="20014"/>
                    </a:lnTo>
                    <a:lnTo>
                      <a:pt x="320404" y="21513"/>
                    </a:lnTo>
                    <a:lnTo>
                      <a:pt x="318640" y="23012"/>
                    </a:lnTo>
                    <a:lnTo>
                      <a:pt x="316613" y="22130"/>
                    </a:lnTo>
                    <a:lnTo>
                      <a:pt x="315731" y="21513"/>
                    </a:lnTo>
                    <a:lnTo>
                      <a:pt x="314849" y="22659"/>
                    </a:lnTo>
                    <a:lnTo>
                      <a:pt x="313086" y="22395"/>
                    </a:lnTo>
                    <a:lnTo>
                      <a:pt x="311323" y="23012"/>
                    </a:lnTo>
                    <a:lnTo>
                      <a:pt x="314849" y="20720"/>
                    </a:lnTo>
                    <a:lnTo>
                      <a:pt x="312821" y="20720"/>
                    </a:lnTo>
                    <a:lnTo>
                      <a:pt x="314849" y="19221"/>
                    </a:lnTo>
                    <a:lnTo>
                      <a:pt x="315995" y="17457"/>
                    </a:lnTo>
                    <a:lnTo>
                      <a:pt x="314496" y="16311"/>
                    </a:lnTo>
                    <a:lnTo>
                      <a:pt x="316524" y="16047"/>
                    </a:lnTo>
                    <a:lnTo>
                      <a:pt x="318023" y="13666"/>
                    </a:lnTo>
                    <a:lnTo>
                      <a:pt x="320668" y="12784"/>
                    </a:lnTo>
                    <a:lnTo>
                      <a:pt x="321550" y="10756"/>
                    </a:lnTo>
                    <a:lnTo>
                      <a:pt x="325077" y="10492"/>
                    </a:lnTo>
                    <a:lnTo>
                      <a:pt x="325959" y="8464"/>
                    </a:lnTo>
                    <a:lnTo>
                      <a:pt x="326575" y="4937"/>
                    </a:lnTo>
                    <a:lnTo>
                      <a:pt x="328339" y="4673"/>
                    </a:lnTo>
                    <a:lnTo>
                      <a:pt x="328956" y="2381"/>
                    </a:lnTo>
                    <a:lnTo>
                      <a:pt x="327193" y="882"/>
                    </a:lnTo>
                    <a:lnTo>
                      <a:pt x="325430" y="0"/>
                    </a:lnTo>
                    <a:lnTo>
                      <a:pt x="323402" y="0"/>
                    </a:lnTo>
                    <a:lnTo>
                      <a:pt x="320227" y="1763"/>
                    </a:lnTo>
                    <a:lnTo>
                      <a:pt x="317935" y="3527"/>
                    </a:lnTo>
                    <a:lnTo>
                      <a:pt x="318464" y="4408"/>
                    </a:lnTo>
                    <a:lnTo>
                      <a:pt x="317053" y="6436"/>
                    </a:lnTo>
                    <a:lnTo>
                      <a:pt x="315290" y="7318"/>
                    </a:lnTo>
                    <a:lnTo>
                      <a:pt x="313262" y="7935"/>
                    </a:lnTo>
                    <a:lnTo>
                      <a:pt x="311499" y="7671"/>
                    </a:lnTo>
                    <a:lnTo>
                      <a:pt x="308854" y="7406"/>
                    </a:lnTo>
                    <a:lnTo>
                      <a:pt x="305944" y="8552"/>
                    </a:lnTo>
                    <a:lnTo>
                      <a:pt x="303652" y="8288"/>
                    </a:lnTo>
                    <a:lnTo>
                      <a:pt x="304798" y="6260"/>
                    </a:lnTo>
                    <a:lnTo>
                      <a:pt x="301359" y="5995"/>
                    </a:lnTo>
                    <a:lnTo>
                      <a:pt x="300213" y="6524"/>
                    </a:lnTo>
                    <a:lnTo>
                      <a:pt x="300213" y="10051"/>
                    </a:lnTo>
                    <a:lnTo>
                      <a:pt x="296687" y="8552"/>
                    </a:lnTo>
                    <a:lnTo>
                      <a:pt x="298185" y="10051"/>
                    </a:lnTo>
                    <a:lnTo>
                      <a:pt x="300478" y="11197"/>
                    </a:lnTo>
                    <a:lnTo>
                      <a:pt x="300213" y="11815"/>
                    </a:lnTo>
                    <a:lnTo>
                      <a:pt x="296687" y="11815"/>
                    </a:lnTo>
                    <a:lnTo>
                      <a:pt x="295805" y="13842"/>
                    </a:lnTo>
                    <a:lnTo>
                      <a:pt x="294394" y="14724"/>
                    </a:lnTo>
                    <a:lnTo>
                      <a:pt x="293777" y="16487"/>
                    </a:lnTo>
                    <a:lnTo>
                      <a:pt x="293072" y="18780"/>
                    </a:lnTo>
                    <a:lnTo>
                      <a:pt x="292190" y="21689"/>
                    </a:lnTo>
                    <a:lnTo>
                      <a:pt x="287252" y="21954"/>
                    </a:lnTo>
                    <a:lnTo>
                      <a:pt x="285489" y="19044"/>
                    </a:lnTo>
                    <a:lnTo>
                      <a:pt x="284872" y="20543"/>
                    </a:lnTo>
                    <a:lnTo>
                      <a:pt x="282227" y="20808"/>
                    </a:lnTo>
                    <a:lnTo>
                      <a:pt x="282844" y="22218"/>
                    </a:lnTo>
                    <a:lnTo>
                      <a:pt x="281433" y="21601"/>
                    </a:lnTo>
                    <a:lnTo>
                      <a:pt x="280816" y="23365"/>
                    </a:lnTo>
                    <a:lnTo>
                      <a:pt x="279670" y="22747"/>
                    </a:lnTo>
                    <a:lnTo>
                      <a:pt x="278524" y="23629"/>
                    </a:lnTo>
                    <a:lnTo>
                      <a:pt x="277642" y="25657"/>
                    </a:lnTo>
                    <a:lnTo>
                      <a:pt x="274997" y="26539"/>
                    </a:lnTo>
                    <a:lnTo>
                      <a:pt x="273234" y="22747"/>
                    </a:lnTo>
                    <a:lnTo>
                      <a:pt x="275879" y="20720"/>
                    </a:lnTo>
                    <a:lnTo>
                      <a:pt x="272969" y="21337"/>
                    </a:lnTo>
                    <a:lnTo>
                      <a:pt x="271559" y="19044"/>
                    </a:lnTo>
                    <a:lnTo>
                      <a:pt x="270060" y="20191"/>
                    </a:lnTo>
                    <a:lnTo>
                      <a:pt x="268032" y="21072"/>
                    </a:lnTo>
                    <a:lnTo>
                      <a:pt x="267767" y="21689"/>
                    </a:lnTo>
                    <a:lnTo>
                      <a:pt x="265387" y="20191"/>
                    </a:lnTo>
                    <a:lnTo>
                      <a:pt x="262742" y="19573"/>
                    </a:lnTo>
                    <a:lnTo>
                      <a:pt x="259215" y="19838"/>
                    </a:lnTo>
                    <a:lnTo>
                      <a:pt x="257452" y="20455"/>
                    </a:lnTo>
                    <a:lnTo>
                      <a:pt x="255159" y="19838"/>
                    </a:lnTo>
                    <a:lnTo>
                      <a:pt x="253660" y="19221"/>
                    </a:lnTo>
                    <a:lnTo>
                      <a:pt x="251897" y="20102"/>
                    </a:lnTo>
                    <a:lnTo>
                      <a:pt x="251015" y="20720"/>
                    </a:lnTo>
                    <a:lnTo>
                      <a:pt x="253396" y="21866"/>
                    </a:lnTo>
                    <a:lnTo>
                      <a:pt x="256305" y="22747"/>
                    </a:lnTo>
                    <a:lnTo>
                      <a:pt x="259832" y="23012"/>
                    </a:lnTo>
                    <a:lnTo>
                      <a:pt x="261595" y="23012"/>
                    </a:lnTo>
                    <a:lnTo>
                      <a:pt x="260978" y="24158"/>
                    </a:lnTo>
                    <a:lnTo>
                      <a:pt x="262477" y="25040"/>
                    </a:lnTo>
                    <a:lnTo>
                      <a:pt x="258686" y="25304"/>
                    </a:lnTo>
                    <a:lnTo>
                      <a:pt x="263359" y="28214"/>
                    </a:lnTo>
                    <a:lnTo>
                      <a:pt x="263888" y="29360"/>
                    </a:lnTo>
                    <a:lnTo>
                      <a:pt x="261243" y="28214"/>
                    </a:lnTo>
                    <a:lnTo>
                      <a:pt x="254807" y="26451"/>
                    </a:lnTo>
                    <a:lnTo>
                      <a:pt x="253308" y="24952"/>
                    </a:lnTo>
                    <a:lnTo>
                      <a:pt x="250663" y="26451"/>
                    </a:lnTo>
                    <a:lnTo>
                      <a:pt x="249164" y="27861"/>
                    </a:lnTo>
                    <a:lnTo>
                      <a:pt x="247665" y="27861"/>
                    </a:lnTo>
                    <a:lnTo>
                      <a:pt x="246519" y="28478"/>
                    </a:lnTo>
                    <a:lnTo>
                      <a:pt x="245372" y="26980"/>
                    </a:lnTo>
                    <a:lnTo>
                      <a:pt x="243609" y="27861"/>
                    </a:lnTo>
                    <a:lnTo>
                      <a:pt x="242728" y="26980"/>
                    </a:lnTo>
                    <a:lnTo>
                      <a:pt x="240082" y="28126"/>
                    </a:lnTo>
                    <a:lnTo>
                      <a:pt x="241581" y="29889"/>
                    </a:lnTo>
                    <a:lnTo>
                      <a:pt x="240964" y="31388"/>
                    </a:lnTo>
                    <a:lnTo>
                      <a:pt x="243874" y="30859"/>
                    </a:lnTo>
                    <a:lnTo>
                      <a:pt x="245901" y="30242"/>
                    </a:lnTo>
                    <a:lnTo>
                      <a:pt x="246519" y="31123"/>
                    </a:lnTo>
                    <a:lnTo>
                      <a:pt x="248018" y="30242"/>
                    </a:lnTo>
                    <a:lnTo>
                      <a:pt x="249781" y="29625"/>
                    </a:lnTo>
                    <a:lnTo>
                      <a:pt x="254718" y="31123"/>
                    </a:lnTo>
                    <a:lnTo>
                      <a:pt x="239553" y="34650"/>
                    </a:lnTo>
                    <a:lnTo>
                      <a:pt x="242463" y="34915"/>
                    </a:lnTo>
                    <a:lnTo>
                      <a:pt x="237790" y="36678"/>
                    </a:lnTo>
                    <a:lnTo>
                      <a:pt x="233382" y="38970"/>
                    </a:lnTo>
                    <a:lnTo>
                      <a:pt x="233646" y="38089"/>
                    </a:lnTo>
                    <a:lnTo>
                      <a:pt x="236556" y="35444"/>
                    </a:lnTo>
                    <a:lnTo>
                      <a:pt x="238055" y="33063"/>
                    </a:lnTo>
                    <a:lnTo>
                      <a:pt x="236908" y="28390"/>
                    </a:lnTo>
                    <a:lnTo>
                      <a:pt x="234880" y="26891"/>
                    </a:lnTo>
                    <a:lnTo>
                      <a:pt x="233117" y="27156"/>
                    </a:lnTo>
                    <a:lnTo>
                      <a:pt x="230208" y="26891"/>
                    </a:lnTo>
                    <a:lnTo>
                      <a:pt x="230472" y="29184"/>
                    </a:lnTo>
                    <a:lnTo>
                      <a:pt x="235409" y="30683"/>
                    </a:lnTo>
                    <a:lnTo>
                      <a:pt x="234263" y="32446"/>
                    </a:lnTo>
                    <a:lnTo>
                      <a:pt x="231001" y="32181"/>
                    </a:lnTo>
                    <a:lnTo>
                      <a:pt x="229238" y="39499"/>
                    </a:lnTo>
                    <a:lnTo>
                      <a:pt x="227210" y="35444"/>
                    </a:lnTo>
                    <a:lnTo>
                      <a:pt x="226593" y="35708"/>
                    </a:lnTo>
                    <a:lnTo>
                      <a:pt x="220773" y="34297"/>
                    </a:lnTo>
                    <a:lnTo>
                      <a:pt x="222272" y="33416"/>
                    </a:lnTo>
                    <a:lnTo>
                      <a:pt x="223771" y="34033"/>
                    </a:lnTo>
                    <a:lnTo>
                      <a:pt x="225799" y="32270"/>
                    </a:lnTo>
                    <a:lnTo>
                      <a:pt x="226416" y="31123"/>
                    </a:lnTo>
                    <a:lnTo>
                      <a:pt x="223771" y="28214"/>
                    </a:lnTo>
                    <a:lnTo>
                      <a:pt x="222272" y="29096"/>
                    </a:lnTo>
                    <a:lnTo>
                      <a:pt x="221126" y="28831"/>
                    </a:lnTo>
                    <a:lnTo>
                      <a:pt x="220862" y="29977"/>
                    </a:lnTo>
                    <a:lnTo>
                      <a:pt x="219451" y="30859"/>
                    </a:lnTo>
                    <a:lnTo>
                      <a:pt x="217688" y="30594"/>
                    </a:lnTo>
                    <a:lnTo>
                      <a:pt x="217952" y="32093"/>
                    </a:lnTo>
                    <a:lnTo>
                      <a:pt x="216806" y="33239"/>
                    </a:lnTo>
                    <a:lnTo>
                      <a:pt x="218834" y="34386"/>
                    </a:lnTo>
                    <a:lnTo>
                      <a:pt x="218569" y="35796"/>
                    </a:lnTo>
                    <a:lnTo>
                      <a:pt x="220068" y="37295"/>
                    </a:lnTo>
                    <a:lnTo>
                      <a:pt x="224477" y="39323"/>
                    </a:lnTo>
                    <a:lnTo>
                      <a:pt x="224477" y="41086"/>
                    </a:lnTo>
                    <a:lnTo>
                      <a:pt x="222449" y="40822"/>
                    </a:lnTo>
                    <a:lnTo>
                      <a:pt x="221567" y="40205"/>
                    </a:lnTo>
                    <a:lnTo>
                      <a:pt x="221567" y="39059"/>
                    </a:lnTo>
                    <a:lnTo>
                      <a:pt x="217511" y="36766"/>
                    </a:lnTo>
                    <a:lnTo>
                      <a:pt x="212221" y="35003"/>
                    </a:lnTo>
                    <a:lnTo>
                      <a:pt x="211957" y="36149"/>
                    </a:lnTo>
                    <a:lnTo>
                      <a:pt x="210193" y="36414"/>
                    </a:lnTo>
                    <a:lnTo>
                      <a:pt x="214602" y="38794"/>
                    </a:lnTo>
                    <a:lnTo>
                      <a:pt x="214866" y="39059"/>
                    </a:lnTo>
                    <a:lnTo>
                      <a:pt x="212221" y="39323"/>
                    </a:lnTo>
                    <a:lnTo>
                      <a:pt x="209929" y="38441"/>
                    </a:lnTo>
                    <a:lnTo>
                      <a:pt x="207901" y="39323"/>
                    </a:lnTo>
                    <a:lnTo>
                      <a:pt x="207284" y="37824"/>
                    </a:lnTo>
                    <a:lnTo>
                      <a:pt x="205520" y="36678"/>
                    </a:lnTo>
                    <a:lnTo>
                      <a:pt x="202611" y="38441"/>
                    </a:lnTo>
                    <a:lnTo>
                      <a:pt x="204374" y="40469"/>
                    </a:lnTo>
                    <a:lnTo>
                      <a:pt x="202611" y="40734"/>
                    </a:lnTo>
                    <a:lnTo>
                      <a:pt x="201465" y="41263"/>
                    </a:lnTo>
                    <a:lnTo>
                      <a:pt x="201200" y="43908"/>
                    </a:lnTo>
                    <a:lnTo>
                      <a:pt x="198291" y="43908"/>
                    </a:lnTo>
                    <a:lnTo>
                      <a:pt x="202082" y="46553"/>
                    </a:lnTo>
                    <a:lnTo>
                      <a:pt x="195646" y="45671"/>
                    </a:lnTo>
                    <a:lnTo>
                      <a:pt x="195646" y="47170"/>
                    </a:lnTo>
                    <a:lnTo>
                      <a:pt x="196792" y="47787"/>
                    </a:lnTo>
                    <a:lnTo>
                      <a:pt x="197938" y="49815"/>
                    </a:lnTo>
                    <a:lnTo>
                      <a:pt x="195646" y="50697"/>
                    </a:lnTo>
                    <a:lnTo>
                      <a:pt x="193882" y="51578"/>
                    </a:lnTo>
                    <a:lnTo>
                      <a:pt x="196792" y="52989"/>
                    </a:lnTo>
                    <a:lnTo>
                      <a:pt x="193265" y="52372"/>
                    </a:lnTo>
                    <a:lnTo>
                      <a:pt x="187710" y="54753"/>
                    </a:lnTo>
                    <a:lnTo>
                      <a:pt x="186212" y="53606"/>
                    </a:lnTo>
                    <a:lnTo>
                      <a:pt x="186829" y="48669"/>
                    </a:lnTo>
                    <a:lnTo>
                      <a:pt x="186564" y="46288"/>
                    </a:lnTo>
                    <a:lnTo>
                      <a:pt x="184536" y="45142"/>
                    </a:lnTo>
                    <a:lnTo>
                      <a:pt x="183037" y="48316"/>
                    </a:lnTo>
                    <a:lnTo>
                      <a:pt x="182773" y="50697"/>
                    </a:lnTo>
                    <a:lnTo>
                      <a:pt x="183655" y="51578"/>
                    </a:lnTo>
                    <a:lnTo>
                      <a:pt x="181274" y="55105"/>
                    </a:lnTo>
                    <a:lnTo>
                      <a:pt x="181274" y="56869"/>
                    </a:lnTo>
                    <a:lnTo>
                      <a:pt x="185683" y="54841"/>
                    </a:lnTo>
                    <a:lnTo>
                      <a:pt x="187093" y="57486"/>
                    </a:lnTo>
                    <a:lnTo>
                      <a:pt x="190003" y="57486"/>
                    </a:lnTo>
                    <a:lnTo>
                      <a:pt x="193529" y="56604"/>
                    </a:lnTo>
                    <a:lnTo>
                      <a:pt x="198202" y="57221"/>
                    </a:lnTo>
                    <a:lnTo>
                      <a:pt x="201377" y="58720"/>
                    </a:lnTo>
                    <a:lnTo>
                      <a:pt x="199084" y="58985"/>
                    </a:lnTo>
                    <a:lnTo>
                      <a:pt x="195293" y="58985"/>
                    </a:lnTo>
                    <a:lnTo>
                      <a:pt x="192648" y="59602"/>
                    </a:lnTo>
                    <a:lnTo>
                      <a:pt x="194147" y="61982"/>
                    </a:lnTo>
                    <a:lnTo>
                      <a:pt x="193618" y="62600"/>
                    </a:lnTo>
                    <a:lnTo>
                      <a:pt x="190091" y="60572"/>
                    </a:lnTo>
                    <a:lnTo>
                      <a:pt x="184801" y="59425"/>
                    </a:lnTo>
                    <a:lnTo>
                      <a:pt x="178629" y="59690"/>
                    </a:lnTo>
                    <a:lnTo>
                      <a:pt x="180128" y="61189"/>
                    </a:lnTo>
                    <a:lnTo>
                      <a:pt x="183919" y="63217"/>
                    </a:lnTo>
                    <a:lnTo>
                      <a:pt x="181274" y="62600"/>
                    </a:lnTo>
                    <a:lnTo>
                      <a:pt x="177483" y="61101"/>
                    </a:lnTo>
                    <a:lnTo>
                      <a:pt x="175720" y="61101"/>
                    </a:lnTo>
                    <a:lnTo>
                      <a:pt x="176601" y="62247"/>
                    </a:lnTo>
                    <a:lnTo>
                      <a:pt x="178364" y="62864"/>
                    </a:lnTo>
                    <a:lnTo>
                      <a:pt x="178893" y="63746"/>
                    </a:lnTo>
                    <a:lnTo>
                      <a:pt x="178012" y="64892"/>
                    </a:lnTo>
                    <a:lnTo>
                      <a:pt x="182068" y="65509"/>
                    </a:lnTo>
                    <a:lnTo>
                      <a:pt x="183214" y="65774"/>
                    </a:lnTo>
                    <a:lnTo>
                      <a:pt x="180569" y="66038"/>
                    </a:lnTo>
                    <a:lnTo>
                      <a:pt x="180040" y="66920"/>
                    </a:lnTo>
                    <a:lnTo>
                      <a:pt x="180040" y="69212"/>
                    </a:lnTo>
                    <a:lnTo>
                      <a:pt x="178541" y="69212"/>
                    </a:lnTo>
                    <a:lnTo>
                      <a:pt x="174485" y="65685"/>
                    </a:lnTo>
                    <a:lnTo>
                      <a:pt x="173339" y="63393"/>
                    </a:lnTo>
                    <a:lnTo>
                      <a:pt x="171928" y="63129"/>
                    </a:lnTo>
                    <a:lnTo>
                      <a:pt x="169900" y="64627"/>
                    </a:lnTo>
                    <a:lnTo>
                      <a:pt x="168137" y="65245"/>
                    </a:lnTo>
                    <a:lnTo>
                      <a:pt x="165492" y="64980"/>
                    </a:lnTo>
                    <a:lnTo>
                      <a:pt x="162583" y="66126"/>
                    </a:lnTo>
                    <a:lnTo>
                      <a:pt x="164610" y="66391"/>
                    </a:lnTo>
                    <a:lnTo>
                      <a:pt x="168666" y="66391"/>
                    </a:lnTo>
                    <a:lnTo>
                      <a:pt x="171576" y="67272"/>
                    </a:lnTo>
                    <a:lnTo>
                      <a:pt x="170165" y="68419"/>
                    </a:lnTo>
                    <a:lnTo>
                      <a:pt x="167255" y="69036"/>
                    </a:lnTo>
                    <a:lnTo>
                      <a:pt x="163199" y="70182"/>
                    </a:lnTo>
                    <a:lnTo>
                      <a:pt x="157645" y="70711"/>
                    </a:lnTo>
                    <a:lnTo>
                      <a:pt x="154735" y="71593"/>
                    </a:lnTo>
                    <a:lnTo>
                      <a:pt x="155882" y="72210"/>
                    </a:lnTo>
                    <a:lnTo>
                      <a:pt x="157380" y="72474"/>
                    </a:lnTo>
                    <a:lnTo>
                      <a:pt x="155617" y="73621"/>
                    </a:lnTo>
                    <a:lnTo>
                      <a:pt x="157910" y="73356"/>
                    </a:lnTo>
                    <a:lnTo>
                      <a:pt x="163112" y="71593"/>
                    </a:lnTo>
                    <a:lnTo>
                      <a:pt x="166374" y="71593"/>
                    </a:lnTo>
                    <a:lnTo>
                      <a:pt x="169283" y="72474"/>
                    </a:lnTo>
                    <a:lnTo>
                      <a:pt x="167520" y="73092"/>
                    </a:lnTo>
                    <a:lnTo>
                      <a:pt x="166374" y="73356"/>
                    </a:lnTo>
                    <a:lnTo>
                      <a:pt x="163112" y="74238"/>
                    </a:lnTo>
                    <a:lnTo>
                      <a:pt x="162583" y="76266"/>
                    </a:lnTo>
                    <a:lnTo>
                      <a:pt x="166991" y="76883"/>
                    </a:lnTo>
                    <a:lnTo>
                      <a:pt x="169900" y="76883"/>
                    </a:lnTo>
                    <a:lnTo>
                      <a:pt x="167872" y="78294"/>
                    </a:lnTo>
                    <a:lnTo>
                      <a:pt x="169019" y="80321"/>
                    </a:lnTo>
                    <a:lnTo>
                      <a:pt x="169900" y="82085"/>
                    </a:lnTo>
                    <a:lnTo>
                      <a:pt x="168137" y="80674"/>
                    </a:lnTo>
                    <a:lnTo>
                      <a:pt x="164081" y="78911"/>
                    </a:lnTo>
                    <a:lnTo>
                      <a:pt x="161436" y="78646"/>
                    </a:lnTo>
                    <a:lnTo>
                      <a:pt x="160555" y="77765"/>
                    </a:lnTo>
                    <a:lnTo>
                      <a:pt x="159056" y="76883"/>
                    </a:lnTo>
                    <a:lnTo>
                      <a:pt x="155882" y="77500"/>
                    </a:lnTo>
                    <a:lnTo>
                      <a:pt x="154383" y="79263"/>
                    </a:lnTo>
                    <a:lnTo>
                      <a:pt x="151738" y="81027"/>
                    </a:lnTo>
                    <a:lnTo>
                      <a:pt x="151473" y="82790"/>
                    </a:lnTo>
                    <a:lnTo>
                      <a:pt x="154383" y="83319"/>
                    </a:lnTo>
                    <a:lnTo>
                      <a:pt x="155882" y="83055"/>
                    </a:lnTo>
                    <a:lnTo>
                      <a:pt x="158174" y="82437"/>
                    </a:lnTo>
                    <a:lnTo>
                      <a:pt x="162230" y="81027"/>
                    </a:lnTo>
                    <a:lnTo>
                      <a:pt x="165404" y="81291"/>
                    </a:lnTo>
                    <a:lnTo>
                      <a:pt x="167784" y="83672"/>
                    </a:lnTo>
                    <a:lnTo>
                      <a:pt x="168401" y="84289"/>
                    </a:lnTo>
                    <a:lnTo>
                      <a:pt x="166903" y="85435"/>
                    </a:lnTo>
                    <a:lnTo>
                      <a:pt x="166021" y="86052"/>
                    </a:lnTo>
                    <a:lnTo>
                      <a:pt x="162847" y="84642"/>
                    </a:lnTo>
                    <a:lnTo>
                      <a:pt x="159937" y="84642"/>
                    </a:lnTo>
                    <a:lnTo>
                      <a:pt x="158174" y="85788"/>
                    </a:lnTo>
                    <a:lnTo>
                      <a:pt x="156763" y="84289"/>
                    </a:lnTo>
                    <a:lnTo>
                      <a:pt x="154383" y="84553"/>
                    </a:lnTo>
                    <a:lnTo>
                      <a:pt x="154118" y="85435"/>
                    </a:lnTo>
                    <a:lnTo>
                      <a:pt x="153501" y="86934"/>
                    </a:lnTo>
                    <a:lnTo>
                      <a:pt x="152355" y="86669"/>
                    </a:lnTo>
                    <a:lnTo>
                      <a:pt x="152090" y="88080"/>
                    </a:lnTo>
                    <a:lnTo>
                      <a:pt x="150944" y="87816"/>
                    </a:lnTo>
                    <a:lnTo>
                      <a:pt x="148916" y="89579"/>
                    </a:lnTo>
                    <a:lnTo>
                      <a:pt x="147153" y="91960"/>
                    </a:lnTo>
                    <a:lnTo>
                      <a:pt x="146007" y="89932"/>
                    </a:lnTo>
                    <a:lnTo>
                      <a:pt x="147153" y="87287"/>
                    </a:lnTo>
                    <a:lnTo>
                      <a:pt x="145390" y="88433"/>
                    </a:lnTo>
                    <a:lnTo>
                      <a:pt x="143362" y="87816"/>
                    </a:lnTo>
                    <a:lnTo>
                      <a:pt x="143362" y="89844"/>
                    </a:lnTo>
                    <a:lnTo>
                      <a:pt x="141598" y="89579"/>
                    </a:lnTo>
                    <a:lnTo>
                      <a:pt x="138424" y="90196"/>
                    </a:lnTo>
                    <a:lnTo>
                      <a:pt x="138160" y="91342"/>
                    </a:lnTo>
                    <a:lnTo>
                      <a:pt x="141334" y="92489"/>
                    </a:lnTo>
                    <a:lnTo>
                      <a:pt x="140452" y="93106"/>
                    </a:lnTo>
                    <a:lnTo>
                      <a:pt x="136925" y="93723"/>
                    </a:lnTo>
                    <a:lnTo>
                      <a:pt x="138072" y="94869"/>
                    </a:lnTo>
                    <a:lnTo>
                      <a:pt x="135691" y="96897"/>
                    </a:lnTo>
                    <a:lnTo>
                      <a:pt x="135427" y="95134"/>
                    </a:lnTo>
                    <a:lnTo>
                      <a:pt x="132782" y="95398"/>
                    </a:lnTo>
                    <a:lnTo>
                      <a:pt x="133046" y="96544"/>
                    </a:lnTo>
                    <a:lnTo>
                      <a:pt x="133311" y="98043"/>
                    </a:lnTo>
                    <a:lnTo>
                      <a:pt x="133575" y="98925"/>
                    </a:lnTo>
                    <a:lnTo>
                      <a:pt x="132958" y="99807"/>
                    </a:lnTo>
                    <a:lnTo>
                      <a:pt x="131812" y="101305"/>
                    </a:lnTo>
                    <a:lnTo>
                      <a:pt x="130665" y="99542"/>
                    </a:lnTo>
                    <a:lnTo>
                      <a:pt x="130136" y="100424"/>
                    </a:lnTo>
                    <a:lnTo>
                      <a:pt x="129519" y="102187"/>
                    </a:lnTo>
                    <a:lnTo>
                      <a:pt x="130665" y="103333"/>
                    </a:lnTo>
                    <a:lnTo>
                      <a:pt x="133575" y="103069"/>
                    </a:lnTo>
                    <a:lnTo>
                      <a:pt x="134457" y="103686"/>
                    </a:lnTo>
                    <a:lnTo>
                      <a:pt x="130930" y="105714"/>
                    </a:lnTo>
                    <a:lnTo>
                      <a:pt x="133840" y="105449"/>
                    </a:lnTo>
                    <a:lnTo>
                      <a:pt x="138777" y="104568"/>
                    </a:lnTo>
                    <a:lnTo>
                      <a:pt x="140540" y="104568"/>
                    </a:lnTo>
                    <a:lnTo>
                      <a:pt x="144067" y="103951"/>
                    </a:lnTo>
                    <a:lnTo>
                      <a:pt x="144949" y="104568"/>
                    </a:lnTo>
                    <a:lnTo>
                      <a:pt x="142039" y="106067"/>
                    </a:lnTo>
                    <a:lnTo>
                      <a:pt x="141422" y="107565"/>
                    </a:lnTo>
                    <a:lnTo>
                      <a:pt x="139041" y="107830"/>
                    </a:lnTo>
                    <a:lnTo>
                      <a:pt x="138160" y="106948"/>
                    </a:lnTo>
                    <a:lnTo>
                      <a:pt x="135868" y="108094"/>
                    </a:lnTo>
                    <a:lnTo>
                      <a:pt x="134369" y="107565"/>
                    </a:lnTo>
                    <a:lnTo>
                      <a:pt x="132076" y="107830"/>
                    </a:lnTo>
                    <a:lnTo>
                      <a:pt x="130048" y="108976"/>
                    </a:lnTo>
                    <a:lnTo>
                      <a:pt x="128285" y="107830"/>
                    </a:lnTo>
                    <a:lnTo>
                      <a:pt x="126521" y="106684"/>
                    </a:lnTo>
                    <a:lnTo>
                      <a:pt x="125375" y="105802"/>
                    </a:lnTo>
                    <a:lnTo>
                      <a:pt x="125375" y="105185"/>
                    </a:lnTo>
                    <a:lnTo>
                      <a:pt x="122466" y="104303"/>
                    </a:lnTo>
                    <a:lnTo>
                      <a:pt x="123083" y="106067"/>
                    </a:lnTo>
                    <a:lnTo>
                      <a:pt x="122466" y="108447"/>
                    </a:lnTo>
                    <a:lnTo>
                      <a:pt x="125992" y="108712"/>
                    </a:lnTo>
                    <a:lnTo>
                      <a:pt x="128285" y="109329"/>
                    </a:lnTo>
                    <a:lnTo>
                      <a:pt x="129167" y="110739"/>
                    </a:lnTo>
                    <a:lnTo>
                      <a:pt x="130313" y="112238"/>
                    </a:lnTo>
                    <a:lnTo>
                      <a:pt x="126521" y="112238"/>
                    </a:lnTo>
                    <a:lnTo>
                      <a:pt x="124141" y="114266"/>
                    </a:lnTo>
                    <a:lnTo>
                      <a:pt x="123876" y="115765"/>
                    </a:lnTo>
                    <a:lnTo>
                      <a:pt x="124758" y="117264"/>
                    </a:lnTo>
                    <a:lnTo>
                      <a:pt x="124758" y="117528"/>
                    </a:lnTo>
                    <a:lnTo>
                      <a:pt x="121232" y="116911"/>
                    </a:lnTo>
                    <a:lnTo>
                      <a:pt x="119468" y="118675"/>
                    </a:lnTo>
                    <a:lnTo>
                      <a:pt x="120967" y="119821"/>
                    </a:lnTo>
                    <a:lnTo>
                      <a:pt x="122466" y="120085"/>
                    </a:lnTo>
                    <a:lnTo>
                      <a:pt x="123612" y="120702"/>
                    </a:lnTo>
                    <a:lnTo>
                      <a:pt x="124229" y="121584"/>
                    </a:lnTo>
                    <a:lnTo>
                      <a:pt x="124846" y="122730"/>
                    </a:lnTo>
                    <a:lnTo>
                      <a:pt x="123700" y="122730"/>
                    </a:lnTo>
                    <a:lnTo>
                      <a:pt x="123083" y="123877"/>
                    </a:lnTo>
                    <a:lnTo>
                      <a:pt x="123083" y="125375"/>
                    </a:lnTo>
                    <a:lnTo>
                      <a:pt x="120174" y="123877"/>
                    </a:lnTo>
                    <a:lnTo>
                      <a:pt x="120703" y="126257"/>
                    </a:lnTo>
                    <a:lnTo>
                      <a:pt x="124229" y="126257"/>
                    </a:lnTo>
                    <a:lnTo>
                      <a:pt x="122466" y="126786"/>
                    </a:lnTo>
                    <a:lnTo>
                      <a:pt x="120967" y="126786"/>
                    </a:lnTo>
                    <a:lnTo>
                      <a:pt x="120967" y="127668"/>
                    </a:lnTo>
                    <a:lnTo>
                      <a:pt x="122113" y="128285"/>
                    </a:lnTo>
                    <a:lnTo>
                      <a:pt x="127668" y="126522"/>
                    </a:lnTo>
                    <a:lnTo>
                      <a:pt x="128285" y="126522"/>
                    </a:lnTo>
                    <a:lnTo>
                      <a:pt x="125640" y="128549"/>
                    </a:lnTo>
                    <a:lnTo>
                      <a:pt x="122730" y="129696"/>
                    </a:lnTo>
                    <a:lnTo>
                      <a:pt x="120438" y="129431"/>
                    </a:lnTo>
                    <a:lnTo>
                      <a:pt x="119292" y="130842"/>
                    </a:lnTo>
                    <a:lnTo>
                      <a:pt x="116911" y="131195"/>
                    </a:lnTo>
                    <a:lnTo>
                      <a:pt x="115148" y="131195"/>
                    </a:lnTo>
                    <a:lnTo>
                      <a:pt x="112238" y="132076"/>
                    </a:lnTo>
                    <a:lnTo>
                      <a:pt x="109593" y="131812"/>
                    </a:lnTo>
                    <a:lnTo>
                      <a:pt x="108711" y="133840"/>
                    </a:lnTo>
                    <a:lnTo>
                      <a:pt x="106684" y="134457"/>
                    </a:lnTo>
                    <a:lnTo>
                      <a:pt x="106419" y="134721"/>
                    </a:lnTo>
                    <a:lnTo>
                      <a:pt x="107036" y="135338"/>
                    </a:lnTo>
                    <a:lnTo>
                      <a:pt x="104127" y="137102"/>
                    </a:lnTo>
                    <a:lnTo>
                      <a:pt x="106155" y="136485"/>
                    </a:lnTo>
                    <a:lnTo>
                      <a:pt x="110827" y="134721"/>
                    </a:lnTo>
                    <a:lnTo>
                      <a:pt x="116118" y="133222"/>
                    </a:lnTo>
                    <a:lnTo>
                      <a:pt x="116382" y="133487"/>
                    </a:lnTo>
                    <a:lnTo>
                      <a:pt x="112326" y="134633"/>
                    </a:lnTo>
                    <a:lnTo>
                      <a:pt x="110827" y="135779"/>
                    </a:lnTo>
                    <a:lnTo>
                      <a:pt x="110563" y="136396"/>
                    </a:lnTo>
                    <a:lnTo>
                      <a:pt x="109064" y="137014"/>
                    </a:lnTo>
                    <a:lnTo>
                      <a:pt x="107036" y="138160"/>
                    </a:lnTo>
                    <a:lnTo>
                      <a:pt x="106155" y="139923"/>
                    </a:lnTo>
                    <a:lnTo>
                      <a:pt x="109329" y="141422"/>
                    </a:lnTo>
                    <a:lnTo>
                      <a:pt x="110210" y="142304"/>
                    </a:lnTo>
                    <a:lnTo>
                      <a:pt x="107830" y="142921"/>
                    </a:lnTo>
                    <a:lnTo>
                      <a:pt x="107213" y="144067"/>
                    </a:lnTo>
                    <a:lnTo>
                      <a:pt x="106067" y="144949"/>
                    </a:lnTo>
                    <a:lnTo>
                      <a:pt x="104039" y="145566"/>
                    </a:lnTo>
                    <a:lnTo>
                      <a:pt x="102892" y="144684"/>
                    </a:lnTo>
                    <a:lnTo>
                      <a:pt x="101129" y="143538"/>
                    </a:lnTo>
                    <a:lnTo>
                      <a:pt x="99101" y="142392"/>
                    </a:lnTo>
                    <a:lnTo>
                      <a:pt x="98484" y="143538"/>
                    </a:lnTo>
                    <a:lnTo>
                      <a:pt x="96456" y="144420"/>
                    </a:lnTo>
                    <a:lnTo>
                      <a:pt x="94164" y="144684"/>
                    </a:lnTo>
                    <a:lnTo>
                      <a:pt x="95310" y="145301"/>
                    </a:lnTo>
                    <a:lnTo>
                      <a:pt x="93899" y="145301"/>
                    </a:lnTo>
                    <a:lnTo>
                      <a:pt x="91871" y="145037"/>
                    </a:lnTo>
                    <a:lnTo>
                      <a:pt x="91254" y="145301"/>
                    </a:lnTo>
                    <a:lnTo>
                      <a:pt x="92136" y="146183"/>
                    </a:lnTo>
                    <a:lnTo>
                      <a:pt x="90637" y="146448"/>
                    </a:lnTo>
                    <a:lnTo>
                      <a:pt x="89755" y="147329"/>
                    </a:lnTo>
                    <a:lnTo>
                      <a:pt x="89138" y="148476"/>
                    </a:lnTo>
                    <a:lnTo>
                      <a:pt x="88256" y="149093"/>
                    </a:lnTo>
                    <a:lnTo>
                      <a:pt x="87727" y="149974"/>
                    </a:lnTo>
                    <a:lnTo>
                      <a:pt x="85347" y="150592"/>
                    </a:lnTo>
                    <a:lnTo>
                      <a:pt x="85347" y="151738"/>
                    </a:lnTo>
                    <a:lnTo>
                      <a:pt x="84818" y="152002"/>
                    </a:lnTo>
                    <a:lnTo>
                      <a:pt x="83672" y="153501"/>
                    </a:lnTo>
                    <a:lnTo>
                      <a:pt x="85082" y="154118"/>
                    </a:lnTo>
                    <a:lnTo>
                      <a:pt x="85082" y="155265"/>
                    </a:lnTo>
                    <a:lnTo>
                      <a:pt x="85082" y="156146"/>
                    </a:lnTo>
                    <a:lnTo>
                      <a:pt x="82437" y="157292"/>
                    </a:lnTo>
                    <a:lnTo>
                      <a:pt x="79792" y="158439"/>
                    </a:lnTo>
                    <a:lnTo>
                      <a:pt x="77147" y="160819"/>
                    </a:lnTo>
                    <a:lnTo>
                      <a:pt x="77412" y="161965"/>
                    </a:lnTo>
                    <a:lnTo>
                      <a:pt x="81467" y="160202"/>
                    </a:lnTo>
                    <a:lnTo>
                      <a:pt x="83231" y="160202"/>
                    </a:lnTo>
                    <a:lnTo>
                      <a:pt x="80586" y="162230"/>
                    </a:lnTo>
                    <a:lnTo>
                      <a:pt x="81203" y="163729"/>
                    </a:lnTo>
                    <a:lnTo>
                      <a:pt x="84730" y="164875"/>
                    </a:lnTo>
                    <a:lnTo>
                      <a:pt x="90549" y="163729"/>
                    </a:lnTo>
                    <a:lnTo>
                      <a:pt x="97514" y="161084"/>
                    </a:lnTo>
                    <a:lnTo>
                      <a:pt x="100159" y="157910"/>
                    </a:lnTo>
                    <a:lnTo>
                      <a:pt x="96632" y="157292"/>
                    </a:lnTo>
                    <a:lnTo>
                      <a:pt x="97514" y="156146"/>
                    </a:lnTo>
                    <a:lnTo>
                      <a:pt x="103686" y="153237"/>
                    </a:lnTo>
                    <a:lnTo>
                      <a:pt x="104832" y="152972"/>
                    </a:lnTo>
                    <a:lnTo>
                      <a:pt x="106331" y="154118"/>
                    </a:lnTo>
                    <a:lnTo>
                      <a:pt x="104832" y="155265"/>
                    </a:lnTo>
                    <a:lnTo>
                      <a:pt x="103333" y="157028"/>
                    </a:lnTo>
                    <a:lnTo>
                      <a:pt x="106243" y="158174"/>
                    </a:lnTo>
                    <a:lnTo>
                      <a:pt x="102716" y="161084"/>
                    </a:lnTo>
                    <a:lnTo>
                      <a:pt x="97426" y="163112"/>
                    </a:lnTo>
                    <a:lnTo>
                      <a:pt x="98308" y="163729"/>
                    </a:lnTo>
                    <a:lnTo>
                      <a:pt x="99189" y="163993"/>
                    </a:lnTo>
                    <a:lnTo>
                      <a:pt x="98572" y="165492"/>
                    </a:lnTo>
                    <a:lnTo>
                      <a:pt x="95662" y="166638"/>
                    </a:lnTo>
                    <a:lnTo>
                      <a:pt x="89844" y="166638"/>
                    </a:lnTo>
                    <a:lnTo>
                      <a:pt x="86934" y="167784"/>
                    </a:lnTo>
                    <a:lnTo>
                      <a:pt x="88080" y="169548"/>
                    </a:lnTo>
                    <a:lnTo>
                      <a:pt x="85435" y="169548"/>
                    </a:lnTo>
                    <a:lnTo>
                      <a:pt x="82261" y="167520"/>
                    </a:lnTo>
                    <a:lnTo>
                      <a:pt x="78470" y="164610"/>
                    </a:lnTo>
                    <a:lnTo>
                      <a:pt x="76442" y="164875"/>
                    </a:lnTo>
                    <a:lnTo>
                      <a:pt x="75560" y="163729"/>
                    </a:lnTo>
                    <a:lnTo>
                      <a:pt x="74061" y="163993"/>
                    </a:lnTo>
                    <a:lnTo>
                      <a:pt x="72033" y="165139"/>
                    </a:lnTo>
                    <a:lnTo>
                      <a:pt x="71416" y="166286"/>
                    </a:lnTo>
                    <a:lnTo>
                      <a:pt x="72298" y="167432"/>
                    </a:lnTo>
                    <a:lnTo>
                      <a:pt x="72298" y="168578"/>
                    </a:lnTo>
                    <a:lnTo>
                      <a:pt x="71681" y="168842"/>
                    </a:lnTo>
                    <a:lnTo>
                      <a:pt x="69036" y="168578"/>
                    </a:lnTo>
                    <a:lnTo>
                      <a:pt x="68418" y="164787"/>
                    </a:lnTo>
                    <a:lnTo>
                      <a:pt x="69300" y="162759"/>
                    </a:lnTo>
                    <a:lnTo>
                      <a:pt x="68683" y="160995"/>
                    </a:lnTo>
                    <a:lnTo>
                      <a:pt x="66655" y="160114"/>
                    </a:lnTo>
                    <a:lnTo>
                      <a:pt x="66920" y="156058"/>
                    </a:lnTo>
                    <a:lnTo>
                      <a:pt x="66038" y="157557"/>
                    </a:lnTo>
                    <a:lnTo>
                      <a:pt x="65156" y="158439"/>
                    </a:lnTo>
                    <a:lnTo>
                      <a:pt x="64010" y="160202"/>
                    </a:lnTo>
                    <a:lnTo>
                      <a:pt x="63393" y="160202"/>
                    </a:lnTo>
                    <a:lnTo>
                      <a:pt x="62511" y="161701"/>
                    </a:lnTo>
                    <a:lnTo>
                      <a:pt x="60748" y="162582"/>
                    </a:lnTo>
                    <a:lnTo>
                      <a:pt x="58985" y="163464"/>
                    </a:lnTo>
                    <a:lnTo>
                      <a:pt x="58985" y="166109"/>
                    </a:lnTo>
                    <a:lnTo>
                      <a:pt x="61012" y="167608"/>
                    </a:lnTo>
                    <a:lnTo>
                      <a:pt x="60131" y="169371"/>
                    </a:lnTo>
                    <a:lnTo>
                      <a:pt x="61012" y="171752"/>
                    </a:lnTo>
                    <a:lnTo>
                      <a:pt x="60748" y="173163"/>
                    </a:lnTo>
                    <a:lnTo>
                      <a:pt x="59866" y="175191"/>
                    </a:lnTo>
                    <a:lnTo>
                      <a:pt x="58985" y="173780"/>
                    </a:lnTo>
                    <a:lnTo>
                      <a:pt x="55458" y="170606"/>
                    </a:lnTo>
                    <a:lnTo>
                      <a:pt x="54312" y="169107"/>
                    </a:lnTo>
                    <a:lnTo>
                      <a:pt x="53430" y="167696"/>
                    </a:lnTo>
                    <a:lnTo>
                      <a:pt x="50785" y="167079"/>
                    </a:lnTo>
                    <a:lnTo>
                      <a:pt x="50520" y="168225"/>
                    </a:lnTo>
                    <a:lnTo>
                      <a:pt x="52813" y="169724"/>
                    </a:lnTo>
                    <a:lnTo>
                      <a:pt x="54576" y="173251"/>
                    </a:lnTo>
                    <a:lnTo>
                      <a:pt x="56339" y="175896"/>
                    </a:lnTo>
                    <a:lnTo>
                      <a:pt x="58367" y="177395"/>
                    </a:lnTo>
                    <a:lnTo>
                      <a:pt x="58367" y="179158"/>
                    </a:lnTo>
                    <a:lnTo>
                      <a:pt x="56604" y="179423"/>
                    </a:lnTo>
                    <a:lnTo>
                      <a:pt x="53077" y="176513"/>
                    </a:lnTo>
                    <a:lnTo>
                      <a:pt x="49286" y="173868"/>
                    </a:lnTo>
                    <a:lnTo>
                      <a:pt x="47258" y="174485"/>
                    </a:lnTo>
                    <a:lnTo>
                      <a:pt x="51314" y="177130"/>
                    </a:lnTo>
                    <a:lnTo>
                      <a:pt x="53342" y="179775"/>
                    </a:lnTo>
                    <a:lnTo>
                      <a:pt x="55987" y="180921"/>
                    </a:lnTo>
                    <a:lnTo>
                      <a:pt x="53959" y="181539"/>
                    </a:lnTo>
                    <a:lnTo>
                      <a:pt x="52196" y="180657"/>
                    </a:lnTo>
                    <a:lnTo>
                      <a:pt x="47787" y="177130"/>
                    </a:lnTo>
                    <a:lnTo>
                      <a:pt x="44613" y="177747"/>
                    </a:lnTo>
                    <a:lnTo>
                      <a:pt x="45230" y="177395"/>
                    </a:lnTo>
                    <a:lnTo>
                      <a:pt x="44349" y="176249"/>
                    </a:lnTo>
                    <a:lnTo>
                      <a:pt x="42850" y="176513"/>
                    </a:lnTo>
                    <a:lnTo>
                      <a:pt x="41086" y="176249"/>
                    </a:lnTo>
                    <a:lnTo>
                      <a:pt x="39940" y="177395"/>
                    </a:lnTo>
                    <a:lnTo>
                      <a:pt x="37648" y="176778"/>
                    </a:lnTo>
                    <a:lnTo>
                      <a:pt x="35620" y="177924"/>
                    </a:lnTo>
                    <a:lnTo>
                      <a:pt x="32975" y="179687"/>
                    </a:lnTo>
                    <a:lnTo>
                      <a:pt x="35355" y="181098"/>
                    </a:lnTo>
                    <a:lnTo>
                      <a:pt x="34209" y="181715"/>
                    </a:lnTo>
                    <a:lnTo>
                      <a:pt x="35973" y="182332"/>
                    </a:lnTo>
                    <a:lnTo>
                      <a:pt x="42409" y="182068"/>
                    </a:lnTo>
                    <a:lnTo>
                      <a:pt x="41263" y="182685"/>
                    </a:lnTo>
                    <a:lnTo>
                      <a:pt x="43908" y="182949"/>
                    </a:lnTo>
                    <a:lnTo>
                      <a:pt x="50873" y="182685"/>
                    </a:lnTo>
                    <a:lnTo>
                      <a:pt x="50256" y="182685"/>
                    </a:lnTo>
                    <a:lnTo>
                      <a:pt x="44172" y="184184"/>
                    </a:lnTo>
                    <a:lnTo>
                      <a:pt x="43643" y="186212"/>
                    </a:lnTo>
                    <a:lnTo>
                      <a:pt x="44172" y="186829"/>
                    </a:lnTo>
                    <a:lnTo>
                      <a:pt x="40381" y="186212"/>
                    </a:lnTo>
                    <a:lnTo>
                      <a:pt x="38882" y="185065"/>
                    </a:lnTo>
                    <a:lnTo>
                      <a:pt x="36590" y="185947"/>
                    </a:lnTo>
                    <a:lnTo>
                      <a:pt x="34826" y="185683"/>
                    </a:lnTo>
                    <a:lnTo>
                      <a:pt x="31300" y="184801"/>
                    </a:lnTo>
                    <a:lnTo>
                      <a:pt x="29272" y="184272"/>
                    </a:lnTo>
                    <a:lnTo>
                      <a:pt x="27861" y="185418"/>
                    </a:lnTo>
                    <a:lnTo>
                      <a:pt x="26362" y="184536"/>
                    </a:lnTo>
                    <a:lnTo>
                      <a:pt x="24863" y="185154"/>
                    </a:lnTo>
                    <a:lnTo>
                      <a:pt x="23717" y="184272"/>
                    </a:lnTo>
                    <a:lnTo>
                      <a:pt x="22836" y="184536"/>
                    </a:lnTo>
                    <a:lnTo>
                      <a:pt x="23100" y="186917"/>
                    </a:lnTo>
                    <a:lnTo>
                      <a:pt x="26274" y="187799"/>
                    </a:lnTo>
                    <a:lnTo>
                      <a:pt x="24511" y="188416"/>
                    </a:lnTo>
                    <a:lnTo>
                      <a:pt x="24511" y="189297"/>
                    </a:lnTo>
                    <a:lnTo>
                      <a:pt x="30065" y="189562"/>
                    </a:lnTo>
                    <a:lnTo>
                      <a:pt x="33592" y="191325"/>
                    </a:lnTo>
                    <a:lnTo>
                      <a:pt x="35355" y="193353"/>
                    </a:lnTo>
                    <a:lnTo>
                      <a:pt x="36502" y="192736"/>
                    </a:lnTo>
                    <a:lnTo>
                      <a:pt x="37648" y="193353"/>
                    </a:lnTo>
                    <a:lnTo>
                      <a:pt x="35267" y="195381"/>
                    </a:lnTo>
                    <a:lnTo>
                      <a:pt x="35884" y="196527"/>
                    </a:lnTo>
                    <a:lnTo>
                      <a:pt x="35884" y="197409"/>
                    </a:lnTo>
                    <a:lnTo>
                      <a:pt x="34386" y="197409"/>
                    </a:lnTo>
                    <a:lnTo>
                      <a:pt x="33239" y="196263"/>
                    </a:lnTo>
                    <a:lnTo>
                      <a:pt x="33239" y="194764"/>
                    </a:lnTo>
                    <a:lnTo>
                      <a:pt x="30947" y="190708"/>
                    </a:lnTo>
                    <a:lnTo>
                      <a:pt x="26274" y="190091"/>
                    </a:lnTo>
                    <a:lnTo>
                      <a:pt x="24511" y="191854"/>
                    </a:lnTo>
                    <a:lnTo>
                      <a:pt x="26010" y="195646"/>
                    </a:lnTo>
                    <a:lnTo>
                      <a:pt x="24246" y="194235"/>
                    </a:lnTo>
                    <a:lnTo>
                      <a:pt x="20190" y="193089"/>
                    </a:lnTo>
                    <a:lnTo>
                      <a:pt x="19044" y="191943"/>
                    </a:lnTo>
                    <a:lnTo>
                      <a:pt x="16664" y="191061"/>
                    </a:lnTo>
                    <a:lnTo>
                      <a:pt x="15517" y="192207"/>
                    </a:lnTo>
                    <a:lnTo>
                      <a:pt x="14371" y="193353"/>
                    </a:lnTo>
                    <a:lnTo>
                      <a:pt x="16135" y="194235"/>
                    </a:lnTo>
                    <a:lnTo>
                      <a:pt x="17545" y="195646"/>
                    </a:lnTo>
                    <a:lnTo>
                      <a:pt x="19309" y="196263"/>
                    </a:lnTo>
                    <a:lnTo>
                      <a:pt x="21072" y="198026"/>
                    </a:lnTo>
                    <a:lnTo>
                      <a:pt x="19661" y="197762"/>
                    </a:lnTo>
                    <a:lnTo>
                      <a:pt x="15870" y="198379"/>
                    </a:lnTo>
                    <a:lnTo>
                      <a:pt x="14724" y="197497"/>
                    </a:lnTo>
                    <a:lnTo>
                      <a:pt x="13578" y="195734"/>
                    </a:lnTo>
                    <a:lnTo>
                      <a:pt x="11550" y="196880"/>
                    </a:lnTo>
                    <a:lnTo>
                      <a:pt x="8905" y="196351"/>
                    </a:lnTo>
                    <a:lnTo>
                      <a:pt x="6877" y="195469"/>
                    </a:lnTo>
                    <a:lnTo>
                      <a:pt x="5995" y="197497"/>
                    </a:lnTo>
                    <a:lnTo>
                      <a:pt x="2821" y="195469"/>
                    </a:lnTo>
                    <a:lnTo>
                      <a:pt x="2557" y="196615"/>
                    </a:lnTo>
                    <a:lnTo>
                      <a:pt x="1058" y="197497"/>
                    </a:lnTo>
                    <a:lnTo>
                      <a:pt x="1940" y="198379"/>
                    </a:lnTo>
                    <a:lnTo>
                      <a:pt x="4585" y="199261"/>
                    </a:lnTo>
                    <a:lnTo>
                      <a:pt x="3703" y="200759"/>
                    </a:lnTo>
                    <a:lnTo>
                      <a:pt x="7847" y="200142"/>
                    </a:lnTo>
                    <a:lnTo>
                      <a:pt x="12255" y="200407"/>
                    </a:lnTo>
                    <a:lnTo>
                      <a:pt x="16046" y="201024"/>
                    </a:lnTo>
                    <a:lnTo>
                      <a:pt x="17810" y="200142"/>
                    </a:lnTo>
                    <a:lnTo>
                      <a:pt x="19838" y="199878"/>
                    </a:lnTo>
                    <a:lnTo>
                      <a:pt x="22130" y="201024"/>
                    </a:lnTo>
                    <a:lnTo>
                      <a:pt x="25040" y="201024"/>
                    </a:lnTo>
                    <a:lnTo>
                      <a:pt x="27067" y="202523"/>
                    </a:lnTo>
                    <a:lnTo>
                      <a:pt x="28566" y="201641"/>
                    </a:lnTo>
                    <a:lnTo>
                      <a:pt x="30065" y="202258"/>
                    </a:lnTo>
                    <a:lnTo>
                      <a:pt x="29801" y="203140"/>
                    </a:lnTo>
                    <a:lnTo>
                      <a:pt x="28037" y="203140"/>
                    </a:lnTo>
                    <a:lnTo>
                      <a:pt x="23365" y="203404"/>
                    </a:lnTo>
                    <a:lnTo>
                      <a:pt x="20455" y="203669"/>
                    </a:lnTo>
                    <a:lnTo>
                      <a:pt x="17810" y="203669"/>
                    </a:lnTo>
                    <a:lnTo>
                      <a:pt x="13401" y="203404"/>
                    </a:lnTo>
                    <a:lnTo>
                      <a:pt x="11109" y="202523"/>
                    </a:lnTo>
                    <a:lnTo>
                      <a:pt x="6436" y="203933"/>
                    </a:lnTo>
                    <a:lnTo>
                      <a:pt x="4144" y="203316"/>
                    </a:lnTo>
                    <a:lnTo>
                      <a:pt x="2116" y="203581"/>
                    </a:lnTo>
                    <a:lnTo>
                      <a:pt x="970" y="204462"/>
                    </a:lnTo>
                    <a:lnTo>
                      <a:pt x="705" y="205344"/>
                    </a:lnTo>
                    <a:lnTo>
                      <a:pt x="1322" y="206226"/>
                    </a:lnTo>
                    <a:lnTo>
                      <a:pt x="1587" y="207725"/>
                    </a:lnTo>
                    <a:lnTo>
                      <a:pt x="3615" y="207725"/>
                    </a:lnTo>
                    <a:lnTo>
                      <a:pt x="5378" y="208606"/>
                    </a:lnTo>
                    <a:lnTo>
                      <a:pt x="5378" y="208871"/>
                    </a:lnTo>
                    <a:lnTo>
                      <a:pt x="4232" y="209400"/>
                    </a:lnTo>
                    <a:lnTo>
                      <a:pt x="6877" y="210017"/>
                    </a:lnTo>
                    <a:lnTo>
                      <a:pt x="10404" y="211516"/>
                    </a:lnTo>
                    <a:lnTo>
                      <a:pt x="13313" y="211251"/>
                    </a:lnTo>
                    <a:lnTo>
                      <a:pt x="10933" y="211869"/>
                    </a:lnTo>
                    <a:lnTo>
                      <a:pt x="5995" y="211869"/>
                    </a:lnTo>
                    <a:lnTo>
                      <a:pt x="2204" y="212486"/>
                    </a:lnTo>
                    <a:lnTo>
                      <a:pt x="793" y="212750"/>
                    </a:lnTo>
                    <a:lnTo>
                      <a:pt x="529" y="213367"/>
                    </a:lnTo>
                    <a:lnTo>
                      <a:pt x="1940" y="214514"/>
                    </a:lnTo>
                    <a:lnTo>
                      <a:pt x="4849" y="213632"/>
                    </a:lnTo>
                    <a:lnTo>
                      <a:pt x="8023" y="213896"/>
                    </a:lnTo>
                    <a:lnTo>
                      <a:pt x="4496" y="214514"/>
                    </a:lnTo>
                    <a:lnTo>
                      <a:pt x="3615" y="215660"/>
                    </a:lnTo>
                    <a:lnTo>
                      <a:pt x="2469" y="215924"/>
                    </a:lnTo>
                    <a:lnTo>
                      <a:pt x="1587" y="217688"/>
                    </a:lnTo>
                    <a:lnTo>
                      <a:pt x="3615" y="218305"/>
                    </a:lnTo>
                    <a:lnTo>
                      <a:pt x="3615" y="218922"/>
                    </a:lnTo>
                    <a:lnTo>
                      <a:pt x="4232" y="219187"/>
                    </a:lnTo>
                    <a:lnTo>
                      <a:pt x="6524" y="219716"/>
                    </a:lnTo>
                    <a:lnTo>
                      <a:pt x="10933" y="219451"/>
                    </a:lnTo>
                    <a:lnTo>
                      <a:pt x="14724" y="218922"/>
                    </a:lnTo>
                    <a:lnTo>
                      <a:pt x="18251" y="218922"/>
                    </a:lnTo>
                    <a:lnTo>
                      <a:pt x="21160" y="218922"/>
                    </a:lnTo>
                    <a:lnTo>
                      <a:pt x="24070" y="219451"/>
                    </a:lnTo>
                    <a:lnTo>
                      <a:pt x="26362" y="217952"/>
                    </a:lnTo>
                    <a:lnTo>
                      <a:pt x="28126" y="215924"/>
                    </a:lnTo>
                    <a:lnTo>
                      <a:pt x="29536" y="215660"/>
                    </a:lnTo>
                    <a:lnTo>
                      <a:pt x="30153" y="217688"/>
                    </a:lnTo>
                    <a:lnTo>
                      <a:pt x="33680" y="218834"/>
                    </a:lnTo>
                    <a:lnTo>
                      <a:pt x="37736" y="219098"/>
                    </a:lnTo>
                    <a:lnTo>
                      <a:pt x="39235" y="217952"/>
                    </a:lnTo>
                    <a:lnTo>
                      <a:pt x="40381" y="215660"/>
                    </a:lnTo>
                    <a:lnTo>
                      <a:pt x="41527" y="215395"/>
                    </a:lnTo>
                    <a:lnTo>
                      <a:pt x="42144" y="214514"/>
                    </a:lnTo>
                    <a:lnTo>
                      <a:pt x="43026" y="215395"/>
                    </a:lnTo>
                    <a:lnTo>
                      <a:pt x="43291" y="216542"/>
                    </a:lnTo>
                    <a:lnTo>
                      <a:pt x="42409" y="217688"/>
                    </a:lnTo>
                    <a:lnTo>
                      <a:pt x="45583" y="217952"/>
                    </a:lnTo>
                    <a:lnTo>
                      <a:pt x="44437" y="218569"/>
                    </a:lnTo>
                    <a:lnTo>
                      <a:pt x="43291" y="219451"/>
                    </a:lnTo>
                    <a:lnTo>
                      <a:pt x="41263" y="219451"/>
                    </a:lnTo>
                    <a:lnTo>
                      <a:pt x="39764" y="220333"/>
                    </a:lnTo>
                    <a:lnTo>
                      <a:pt x="38265" y="220950"/>
                    </a:lnTo>
                    <a:lnTo>
                      <a:pt x="38001" y="222096"/>
                    </a:lnTo>
                    <a:lnTo>
                      <a:pt x="38001" y="223860"/>
                    </a:lnTo>
                    <a:lnTo>
                      <a:pt x="36502" y="223595"/>
                    </a:lnTo>
                    <a:lnTo>
                      <a:pt x="35091" y="222978"/>
                    </a:lnTo>
                    <a:lnTo>
                      <a:pt x="33945" y="220950"/>
                    </a:lnTo>
                    <a:lnTo>
                      <a:pt x="32181" y="220333"/>
                    </a:lnTo>
                    <a:lnTo>
                      <a:pt x="31564" y="219451"/>
                    </a:lnTo>
                    <a:lnTo>
                      <a:pt x="29536" y="220068"/>
                    </a:lnTo>
                    <a:lnTo>
                      <a:pt x="27508" y="220068"/>
                    </a:lnTo>
                    <a:lnTo>
                      <a:pt x="24599" y="220950"/>
                    </a:lnTo>
                    <a:lnTo>
                      <a:pt x="23717" y="220950"/>
                    </a:lnTo>
                    <a:lnTo>
                      <a:pt x="22218" y="220685"/>
                    </a:lnTo>
                    <a:lnTo>
                      <a:pt x="21072" y="220068"/>
                    </a:lnTo>
                    <a:lnTo>
                      <a:pt x="15517" y="219804"/>
                    </a:lnTo>
                    <a:lnTo>
                      <a:pt x="11462" y="220421"/>
                    </a:lnTo>
                    <a:lnTo>
                      <a:pt x="8817" y="221303"/>
                    </a:lnTo>
                    <a:lnTo>
                      <a:pt x="4408" y="221038"/>
                    </a:lnTo>
                    <a:lnTo>
                      <a:pt x="2028" y="222184"/>
                    </a:lnTo>
                    <a:lnTo>
                      <a:pt x="3438" y="223330"/>
                    </a:lnTo>
                    <a:lnTo>
                      <a:pt x="2557" y="223948"/>
                    </a:lnTo>
                    <a:lnTo>
                      <a:pt x="2557" y="224829"/>
                    </a:lnTo>
                    <a:lnTo>
                      <a:pt x="4056" y="225976"/>
                    </a:lnTo>
                    <a:lnTo>
                      <a:pt x="5202" y="225711"/>
                    </a:lnTo>
                    <a:lnTo>
                      <a:pt x="8376" y="225094"/>
                    </a:lnTo>
                    <a:lnTo>
                      <a:pt x="8640" y="225358"/>
                    </a:lnTo>
                    <a:lnTo>
                      <a:pt x="5995" y="226505"/>
                    </a:lnTo>
                    <a:lnTo>
                      <a:pt x="7142" y="227651"/>
                    </a:lnTo>
                    <a:lnTo>
                      <a:pt x="6524" y="228532"/>
                    </a:lnTo>
                    <a:lnTo>
                      <a:pt x="6524" y="229414"/>
                    </a:lnTo>
                    <a:lnTo>
                      <a:pt x="4496" y="227651"/>
                    </a:lnTo>
                    <a:lnTo>
                      <a:pt x="2998" y="227651"/>
                    </a:lnTo>
                    <a:lnTo>
                      <a:pt x="1851" y="227386"/>
                    </a:lnTo>
                    <a:lnTo>
                      <a:pt x="88" y="229150"/>
                    </a:lnTo>
                    <a:lnTo>
                      <a:pt x="970" y="229767"/>
                    </a:lnTo>
                    <a:lnTo>
                      <a:pt x="1587" y="228621"/>
                    </a:lnTo>
                    <a:lnTo>
                      <a:pt x="3615" y="228621"/>
                    </a:lnTo>
                    <a:lnTo>
                      <a:pt x="3615" y="229767"/>
                    </a:lnTo>
                    <a:lnTo>
                      <a:pt x="5114" y="230913"/>
                    </a:lnTo>
                    <a:lnTo>
                      <a:pt x="9522" y="230384"/>
                    </a:lnTo>
                    <a:lnTo>
                      <a:pt x="12167" y="228621"/>
                    </a:lnTo>
                    <a:lnTo>
                      <a:pt x="13578" y="229502"/>
                    </a:lnTo>
                    <a:lnTo>
                      <a:pt x="13578" y="233029"/>
                    </a:lnTo>
                    <a:lnTo>
                      <a:pt x="11815" y="233294"/>
                    </a:lnTo>
                    <a:lnTo>
                      <a:pt x="11462" y="235057"/>
                    </a:lnTo>
                    <a:lnTo>
                      <a:pt x="8817" y="233558"/>
                    </a:lnTo>
                    <a:lnTo>
                      <a:pt x="6436" y="233294"/>
                    </a:lnTo>
                    <a:lnTo>
                      <a:pt x="2909" y="233558"/>
                    </a:lnTo>
                    <a:lnTo>
                      <a:pt x="881" y="232676"/>
                    </a:lnTo>
                    <a:lnTo>
                      <a:pt x="0" y="234440"/>
                    </a:lnTo>
                    <a:lnTo>
                      <a:pt x="881" y="236732"/>
                    </a:lnTo>
                    <a:lnTo>
                      <a:pt x="2645" y="237878"/>
                    </a:lnTo>
                    <a:lnTo>
                      <a:pt x="5025" y="236997"/>
                    </a:lnTo>
                    <a:lnTo>
                      <a:pt x="5025" y="237878"/>
                    </a:lnTo>
                    <a:lnTo>
                      <a:pt x="5907" y="239377"/>
                    </a:lnTo>
                    <a:lnTo>
                      <a:pt x="7318" y="240876"/>
                    </a:lnTo>
                    <a:lnTo>
                      <a:pt x="10845" y="239377"/>
                    </a:lnTo>
                    <a:lnTo>
                      <a:pt x="13490" y="236997"/>
                    </a:lnTo>
                    <a:lnTo>
                      <a:pt x="12608" y="238760"/>
                    </a:lnTo>
                    <a:lnTo>
                      <a:pt x="12344" y="240523"/>
                    </a:lnTo>
                    <a:lnTo>
                      <a:pt x="13490" y="240788"/>
                    </a:lnTo>
                    <a:lnTo>
                      <a:pt x="14636" y="241670"/>
                    </a:lnTo>
                    <a:lnTo>
                      <a:pt x="14636" y="242816"/>
                    </a:lnTo>
                    <a:lnTo>
                      <a:pt x="10580" y="244579"/>
                    </a:lnTo>
                    <a:lnTo>
                      <a:pt x="9698" y="246607"/>
                    </a:lnTo>
                    <a:lnTo>
                      <a:pt x="8552" y="246871"/>
                    </a:lnTo>
                    <a:lnTo>
                      <a:pt x="7053" y="247489"/>
                    </a:lnTo>
                    <a:lnTo>
                      <a:pt x="6436" y="249781"/>
                    </a:lnTo>
                    <a:lnTo>
                      <a:pt x="6701" y="249516"/>
                    </a:lnTo>
                    <a:lnTo>
                      <a:pt x="7582" y="249252"/>
                    </a:lnTo>
                    <a:lnTo>
                      <a:pt x="8729" y="248635"/>
                    </a:lnTo>
                    <a:lnTo>
                      <a:pt x="11021" y="248018"/>
                    </a:lnTo>
                    <a:lnTo>
                      <a:pt x="12520" y="247136"/>
                    </a:lnTo>
                    <a:lnTo>
                      <a:pt x="12255" y="246254"/>
                    </a:lnTo>
                    <a:lnTo>
                      <a:pt x="12520" y="244844"/>
                    </a:lnTo>
                    <a:lnTo>
                      <a:pt x="14019" y="245108"/>
                    </a:lnTo>
                    <a:lnTo>
                      <a:pt x="14019" y="244491"/>
                    </a:lnTo>
                    <a:lnTo>
                      <a:pt x="15165" y="243874"/>
                    </a:lnTo>
                    <a:lnTo>
                      <a:pt x="16928" y="241581"/>
                    </a:lnTo>
                    <a:lnTo>
                      <a:pt x="20455" y="238672"/>
                    </a:lnTo>
                    <a:lnTo>
                      <a:pt x="22218" y="236908"/>
                    </a:lnTo>
                    <a:lnTo>
                      <a:pt x="23100" y="235762"/>
                    </a:lnTo>
                    <a:lnTo>
                      <a:pt x="26274" y="235145"/>
                    </a:lnTo>
                    <a:lnTo>
                      <a:pt x="29448" y="233646"/>
                    </a:lnTo>
                    <a:lnTo>
                      <a:pt x="30065" y="234528"/>
                    </a:lnTo>
                    <a:lnTo>
                      <a:pt x="33239" y="233029"/>
                    </a:lnTo>
                    <a:lnTo>
                      <a:pt x="36149" y="232764"/>
                    </a:lnTo>
                    <a:lnTo>
                      <a:pt x="35003" y="233911"/>
                    </a:lnTo>
                    <a:lnTo>
                      <a:pt x="30947" y="236291"/>
                    </a:lnTo>
                    <a:lnTo>
                      <a:pt x="28566" y="238672"/>
                    </a:lnTo>
                    <a:lnTo>
                      <a:pt x="27685" y="237526"/>
                    </a:lnTo>
                    <a:lnTo>
                      <a:pt x="24775" y="236908"/>
                    </a:lnTo>
                    <a:lnTo>
                      <a:pt x="23012" y="238407"/>
                    </a:lnTo>
                    <a:lnTo>
                      <a:pt x="22130" y="240788"/>
                    </a:lnTo>
                    <a:lnTo>
                      <a:pt x="23012" y="241670"/>
                    </a:lnTo>
                    <a:lnTo>
                      <a:pt x="20984" y="243433"/>
                    </a:lnTo>
                    <a:lnTo>
                      <a:pt x="16928" y="246078"/>
                    </a:lnTo>
                    <a:lnTo>
                      <a:pt x="14283" y="247841"/>
                    </a:lnTo>
                    <a:lnTo>
                      <a:pt x="15782" y="249605"/>
                    </a:lnTo>
                    <a:lnTo>
                      <a:pt x="19573" y="249869"/>
                    </a:lnTo>
                    <a:lnTo>
                      <a:pt x="22747" y="249252"/>
                    </a:lnTo>
                    <a:lnTo>
                      <a:pt x="25393" y="250751"/>
                    </a:lnTo>
                    <a:lnTo>
                      <a:pt x="23629" y="251368"/>
                    </a:lnTo>
                    <a:lnTo>
                      <a:pt x="19221" y="252514"/>
                    </a:lnTo>
                    <a:lnTo>
                      <a:pt x="16311" y="251368"/>
                    </a:lnTo>
                    <a:lnTo>
                      <a:pt x="16311" y="253131"/>
                    </a:lnTo>
                    <a:lnTo>
                      <a:pt x="15429" y="254013"/>
                    </a:lnTo>
                    <a:lnTo>
                      <a:pt x="13401" y="253749"/>
                    </a:lnTo>
                    <a:lnTo>
                      <a:pt x="11021" y="254895"/>
                    </a:lnTo>
                    <a:lnTo>
                      <a:pt x="10139" y="256041"/>
                    </a:lnTo>
                    <a:lnTo>
                      <a:pt x="10757" y="253749"/>
                    </a:lnTo>
                    <a:lnTo>
                      <a:pt x="9258" y="252867"/>
                    </a:lnTo>
                    <a:lnTo>
                      <a:pt x="8111" y="254630"/>
                    </a:lnTo>
                    <a:lnTo>
                      <a:pt x="6613" y="255247"/>
                    </a:lnTo>
                    <a:lnTo>
                      <a:pt x="5466" y="257275"/>
                    </a:lnTo>
                    <a:lnTo>
                      <a:pt x="6613" y="259303"/>
                    </a:lnTo>
                    <a:lnTo>
                      <a:pt x="8111" y="259920"/>
                    </a:lnTo>
                    <a:lnTo>
                      <a:pt x="9258" y="260185"/>
                    </a:lnTo>
                    <a:lnTo>
                      <a:pt x="11638" y="260185"/>
                    </a:lnTo>
                    <a:lnTo>
                      <a:pt x="13401" y="260185"/>
                    </a:lnTo>
                    <a:lnTo>
                      <a:pt x="15782" y="259656"/>
                    </a:lnTo>
                    <a:lnTo>
                      <a:pt x="15517" y="258157"/>
                    </a:lnTo>
                    <a:lnTo>
                      <a:pt x="15517" y="257540"/>
                    </a:lnTo>
                    <a:lnTo>
                      <a:pt x="17898" y="256658"/>
                    </a:lnTo>
                    <a:lnTo>
                      <a:pt x="19397" y="257540"/>
                    </a:lnTo>
                    <a:lnTo>
                      <a:pt x="18515" y="258686"/>
                    </a:lnTo>
                    <a:lnTo>
                      <a:pt x="21160" y="258422"/>
                    </a:lnTo>
                    <a:lnTo>
                      <a:pt x="23805" y="256658"/>
                    </a:lnTo>
                    <a:lnTo>
                      <a:pt x="26451" y="255512"/>
                    </a:lnTo>
                    <a:lnTo>
                      <a:pt x="24952" y="257011"/>
                    </a:lnTo>
                    <a:lnTo>
                      <a:pt x="21425" y="259656"/>
                    </a:lnTo>
                    <a:lnTo>
                      <a:pt x="22571" y="260185"/>
                    </a:lnTo>
                    <a:lnTo>
                      <a:pt x="24070" y="260185"/>
                    </a:lnTo>
                    <a:lnTo>
                      <a:pt x="23453" y="261331"/>
                    </a:lnTo>
                    <a:lnTo>
                      <a:pt x="24599" y="261331"/>
                    </a:lnTo>
                    <a:lnTo>
                      <a:pt x="22836" y="262477"/>
                    </a:lnTo>
                    <a:lnTo>
                      <a:pt x="20190" y="264858"/>
                    </a:lnTo>
                    <a:lnTo>
                      <a:pt x="19573" y="266886"/>
                    </a:lnTo>
                    <a:lnTo>
                      <a:pt x="20984" y="268296"/>
                    </a:lnTo>
                    <a:lnTo>
                      <a:pt x="23012" y="268296"/>
                    </a:lnTo>
                    <a:lnTo>
                      <a:pt x="26186" y="267679"/>
                    </a:lnTo>
                    <a:lnTo>
                      <a:pt x="23276" y="269972"/>
                    </a:lnTo>
                    <a:lnTo>
                      <a:pt x="19750" y="269972"/>
                    </a:lnTo>
                    <a:lnTo>
                      <a:pt x="16840" y="269090"/>
                    </a:lnTo>
                    <a:lnTo>
                      <a:pt x="14812" y="269090"/>
                    </a:lnTo>
                    <a:lnTo>
                      <a:pt x="14548" y="267591"/>
                    </a:lnTo>
                    <a:lnTo>
                      <a:pt x="13666" y="266709"/>
                    </a:lnTo>
                    <a:lnTo>
                      <a:pt x="13049" y="268120"/>
                    </a:lnTo>
                    <a:lnTo>
                      <a:pt x="12784" y="269266"/>
                    </a:lnTo>
                    <a:lnTo>
                      <a:pt x="11903" y="272176"/>
                    </a:lnTo>
                    <a:lnTo>
                      <a:pt x="12520" y="275703"/>
                    </a:lnTo>
                    <a:lnTo>
                      <a:pt x="13401" y="277201"/>
                    </a:lnTo>
                    <a:lnTo>
                      <a:pt x="15429" y="278348"/>
                    </a:lnTo>
                    <a:lnTo>
                      <a:pt x="18074" y="279229"/>
                    </a:lnTo>
                    <a:lnTo>
                      <a:pt x="20719" y="281257"/>
                    </a:lnTo>
                    <a:lnTo>
                      <a:pt x="22218" y="283021"/>
                    </a:lnTo>
                    <a:lnTo>
                      <a:pt x="24511" y="282756"/>
                    </a:lnTo>
                    <a:lnTo>
                      <a:pt x="25657" y="283373"/>
                    </a:lnTo>
                    <a:lnTo>
                      <a:pt x="27156" y="283990"/>
                    </a:lnTo>
                    <a:lnTo>
                      <a:pt x="29184" y="284608"/>
                    </a:lnTo>
                    <a:lnTo>
                      <a:pt x="30947" y="284872"/>
                    </a:lnTo>
                    <a:lnTo>
                      <a:pt x="31829" y="284255"/>
                    </a:lnTo>
                    <a:lnTo>
                      <a:pt x="32446" y="283638"/>
                    </a:lnTo>
                    <a:lnTo>
                      <a:pt x="32975" y="284255"/>
                    </a:lnTo>
                    <a:lnTo>
                      <a:pt x="32975" y="285137"/>
                    </a:lnTo>
                    <a:lnTo>
                      <a:pt x="32710" y="286018"/>
                    </a:lnTo>
                    <a:lnTo>
                      <a:pt x="31564" y="287164"/>
                    </a:lnTo>
                    <a:lnTo>
                      <a:pt x="32446" y="288663"/>
                    </a:lnTo>
                    <a:lnTo>
                      <a:pt x="34209" y="288046"/>
                    </a:lnTo>
                    <a:lnTo>
                      <a:pt x="34826" y="287164"/>
                    </a:lnTo>
                    <a:lnTo>
                      <a:pt x="36237" y="287782"/>
                    </a:lnTo>
                    <a:lnTo>
                      <a:pt x="36502" y="288311"/>
                    </a:lnTo>
                    <a:lnTo>
                      <a:pt x="37383" y="288575"/>
                    </a:lnTo>
                    <a:lnTo>
                      <a:pt x="38882" y="288840"/>
                    </a:lnTo>
                    <a:lnTo>
                      <a:pt x="40028" y="288840"/>
                    </a:lnTo>
                    <a:lnTo>
                      <a:pt x="40645" y="289104"/>
                    </a:lnTo>
                    <a:lnTo>
                      <a:pt x="40028" y="289986"/>
                    </a:lnTo>
                    <a:lnTo>
                      <a:pt x="41174" y="289986"/>
                    </a:lnTo>
                    <a:lnTo>
                      <a:pt x="43202" y="290250"/>
                    </a:lnTo>
                    <a:lnTo>
                      <a:pt x="45230" y="290515"/>
                    </a:lnTo>
                    <a:lnTo>
                      <a:pt x="46112" y="289633"/>
                    </a:lnTo>
                    <a:lnTo>
                      <a:pt x="48140" y="290250"/>
                    </a:lnTo>
                    <a:lnTo>
                      <a:pt x="49551" y="289633"/>
                    </a:lnTo>
                    <a:lnTo>
                      <a:pt x="50697" y="289898"/>
                    </a:lnTo>
                    <a:lnTo>
                      <a:pt x="51578" y="289016"/>
                    </a:lnTo>
                    <a:lnTo>
                      <a:pt x="53342" y="288399"/>
                    </a:lnTo>
                    <a:lnTo>
                      <a:pt x="54752" y="288663"/>
                    </a:lnTo>
                    <a:lnTo>
                      <a:pt x="55370" y="288046"/>
                    </a:lnTo>
                    <a:lnTo>
                      <a:pt x="56780" y="288311"/>
                    </a:lnTo>
                    <a:lnTo>
                      <a:pt x="57662" y="288046"/>
                    </a:lnTo>
                    <a:lnTo>
                      <a:pt x="57397" y="287517"/>
                    </a:lnTo>
                    <a:lnTo>
                      <a:pt x="57662" y="286900"/>
                    </a:lnTo>
                    <a:lnTo>
                      <a:pt x="58544" y="286635"/>
                    </a:lnTo>
                    <a:lnTo>
                      <a:pt x="59425" y="287517"/>
                    </a:lnTo>
                    <a:lnTo>
                      <a:pt x="60836" y="286635"/>
                    </a:lnTo>
                    <a:lnTo>
                      <a:pt x="61982" y="286371"/>
                    </a:lnTo>
                    <a:lnTo>
                      <a:pt x="62511" y="285225"/>
                    </a:lnTo>
                    <a:lnTo>
                      <a:pt x="64539" y="285225"/>
                    </a:lnTo>
                    <a:lnTo>
                      <a:pt x="65685" y="283726"/>
                    </a:lnTo>
                    <a:lnTo>
                      <a:pt x="66832" y="283461"/>
                    </a:lnTo>
                    <a:lnTo>
                      <a:pt x="68330" y="282844"/>
                    </a:lnTo>
                    <a:lnTo>
                      <a:pt x="68947" y="281345"/>
                    </a:lnTo>
                    <a:lnTo>
                      <a:pt x="69565" y="280199"/>
                    </a:lnTo>
                    <a:lnTo>
                      <a:pt x="70446" y="280199"/>
                    </a:lnTo>
                    <a:lnTo>
                      <a:pt x="71857" y="279935"/>
                    </a:lnTo>
                    <a:lnTo>
                      <a:pt x="72474" y="279317"/>
                    </a:lnTo>
                    <a:lnTo>
                      <a:pt x="71857" y="278171"/>
                    </a:lnTo>
                    <a:lnTo>
                      <a:pt x="73003" y="278171"/>
                    </a:lnTo>
                    <a:lnTo>
                      <a:pt x="74414" y="277907"/>
                    </a:lnTo>
                    <a:lnTo>
                      <a:pt x="75913" y="279053"/>
                    </a:lnTo>
                    <a:lnTo>
                      <a:pt x="76530" y="278171"/>
                    </a:lnTo>
                    <a:lnTo>
                      <a:pt x="77147" y="277025"/>
                    </a:lnTo>
                    <a:lnTo>
                      <a:pt x="77147" y="274997"/>
                    </a:lnTo>
                    <a:lnTo>
                      <a:pt x="79440" y="273498"/>
                    </a:lnTo>
                    <a:lnTo>
                      <a:pt x="80057" y="272617"/>
                    </a:lnTo>
                    <a:lnTo>
                      <a:pt x="79175" y="272352"/>
                    </a:lnTo>
                    <a:lnTo>
                      <a:pt x="79792" y="272352"/>
                    </a:lnTo>
                    <a:lnTo>
                      <a:pt x="80410" y="271735"/>
                    </a:lnTo>
                    <a:lnTo>
                      <a:pt x="80410" y="270589"/>
                    </a:lnTo>
                    <a:lnTo>
                      <a:pt x="80674" y="269972"/>
                    </a:lnTo>
                    <a:lnTo>
                      <a:pt x="81820" y="269354"/>
                    </a:lnTo>
                    <a:lnTo>
                      <a:pt x="82702" y="268737"/>
                    </a:lnTo>
                    <a:lnTo>
                      <a:pt x="83583" y="268473"/>
                    </a:lnTo>
                    <a:lnTo>
                      <a:pt x="84994" y="267591"/>
                    </a:lnTo>
                    <a:lnTo>
                      <a:pt x="84730" y="266974"/>
                    </a:lnTo>
                    <a:lnTo>
                      <a:pt x="84994" y="266092"/>
                    </a:lnTo>
                    <a:lnTo>
                      <a:pt x="86140" y="266357"/>
                    </a:lnTo>
                    <a:lnTo>
                      <a:pt x="87022" y="267503"/>
                    </a:lnTo>
                    <a:lnTo>
                      <a:pt x="87904" y="268032"/>
                    </a:lnTo>
                    <a:lnTo>
                      <a:pt x="89403" y="268385"/>
                    </a:lnTo>
                    <a:lnTo>
                      <a:pt x="89667" y="267503"/>
                    </a:lnTo>
                    <a:lnTo>
                      <a:pt x="90813" y="266886"/>
                    </a:lnTo>
                    <a:lnTo>
                      <a:pt x="91695" y="267150"/>
                    </a:lnTo>
                    <a:lnTo>
                      <a:pt x="92577" y="266533"/>
                    </a:lnTo>
                    <a:lnTo>
                      <a:pt x="93723" y="265916"/>
                    </a:lnTo>
                    <a:lnTo>
                      <a:pt x="94869" y="266533"/>
                    </a:lnTo>
                    <a:lnTo>
                      <a:pt x="95133" y="265387"/>
                    </a:lnTo>
                    <a:lnTo>
                      <a:pt x="95398" y="264505"/>
                    </a:lnTo>
                    <a:lnTo>
                      <a:pt x="95662" y="263888"/>
                    </a:lnTo>
                    <a:lnTo>
                      <a:pt x="96809" y="263623"/>
                    </a:lnTo>
                    <a:lnTo>
                      <a:pt x="97073" y="261860"/>
                    </a:lnTo>
                    <a:lnTo>
                      <a:pt x="97955" y="260714"/>
                    </a:lnTo>
                    <a:lnTo>
                      <a:pt x="97690" y="258422"/>
                    </a:lnTo>
                    <a:lnTo>
                      <a:pt x="96192" y="256041"/>
                    </a:lnTo>
                    <a:lnTo>
                      <a:pt x="96456" y="255159"/>
                    </a:lnTo>
                    <a:lnTo>
                      <a:pt x="96721" y="254278"/>
                    </a:lnTo>
                    <a:lnTo>
                      <a:pt x="96103" y="253660"/>
                    </a:lnTo>
                    <a:lnTo>
                      <a:pt x="95839" y="253043"/>
                    </a:lnTo>
                    <a:lnTo>
                      <a:pt x="94340" y="251544"/>
                    </a:lnTo>
                    <a:lnTo>
                      <a:pt x="94340" y="251015"/>
                    </a:lnTo>
                    <a:lnTo>
                      <a:pt x="94957" y="251015"/>
                    </a:lnTo>
                    <a:lnTo>
                      <a:pt x="95839" y="251897"/>
                    </a:lnTo>
                    <a:lnTo>
                      <a:pt x="98219" y="254542"/>
                    </a:lnTo>
                    <a:lnTo>
                      <a:pt x="99101" y="253660"/>
                    </a:lnTo>
                    <a:lnTo>
                      <a:pt x="98837" y="252779"/>
                    </a:lnTo>
                    <a:lnTo>
                      <a:pt x="97426" y="248987"/>
                    </a:lnTo>
                    <a:lnTo>
                      <a:pt x="98572" y="247224"/>
                    </a:lnTo>
                    <a:lnTo>
                      <a:pt x="100071" y="246607"/>
                    </a:lnTo>
                    <a:lnTo>
                      <a:pt x="101217" y="247224"/>
                    </a:lnTo>
                    <a:lnTo>
                      <a:pt x="101482" y="248723"/>
                    </a:lnTo>
                    <a:lnTo>
                      <a:pt x="99983" y="251368"/>
                    </a:lnTo>
                    <a:lnTo>
                      <a:pt x="100600" y="255776"/>
                    </a:lnTo>
                    <a:lnTo>
                      <a:pt x="100953" y="258157"/>
                    </a:lnTo>
                    <a:lnTo>
                      <a:pt x="102716" y="259568"/>
                    </a:lnTo>
                    <a:lnTo>
                      <a:pt x="103333" y="260449"/>
                    </a:lnTo>
                    <a:lnTo>
                      <a:pt x="104215" y="260714"/>
                    </a:lnTo>
                    <a:lnTo>
                      <a:pt x="104832" y="262477"/>
                    </a:lnTo>
                    <a:lnTo>
                      <a:pt x="105978" y="263359"/>
                    </a:lnTo>
                    <a:lnTo>
                      <a:pt x="107389" y="263359"/>
                    </a:lnTo>
                    <a:lnTo>
                      <a:pt x="108006" y="263623"/>
                    </a:lnTo>
                    <a:lnTo>
                      <a:pt x="109769" y="264241"/>
                    </a:lnTo>
                    <a:lnTo>
                      <a:pt x="110387" y="263094"/>
                    </a:lnTo>
                    <a:lnTo>
                      <a:pt x="111004" y="263712"/>
                    </a:lnTo>
                    <a:lnTo>
                      <a:pt x="112503" y="264593"/>
                    </a:lnTo>
                    <a:lnTo>
                      <a:pt x="114002" y="264329"/>
                    </a:lnTo>
                    <a:lnTo>
                      <a:pt x="114002" y="265475"/>
                    </a:lnTo>
                    <a:lnTo>
                      <a:pt x="115765" y="268120"/>
                    </a:lnTo>
                    <a:lnTo>
                      <a:pt x="116030" y="270501"/>
                    </a:lnTo>
                    <a:lnTo>
                      <a:pt x="117176" y="270765"/>
                    </a:lnTo>
                    <a:lnTo>
                      <a:pt x="119821" y="270148"/>
                    </a:lnTo>
                    <a:lnTo>
                      <a:pt x="121584" y="265740"/>
                    </a:lnTo>
                    <a:lnTo>
                      <a:pt x="120967" y="265122"/>
                    </a:lnTo>
                    <a:lnTo>
                      <a:pt x="121232" y="263359"/>
                    </a:lnTo>
                    <a:lnTo>
                      <a:pt x="122113" y="262213"/>
                    </a:lnTo>
                    <a:lnTo>
                      <a:pt x="119204" y="254366"/>
                    </a:lnTo>
                    <a:lnTo>
                      <a:pt x="122995" y="252073"/>
                    </a:lnTo>
                    <a:lnTo>
                      <a:pt x="122995" y="250046"/>
                    </a:lnTo>
                    <a:lnTo>
                      <a:pt x="121232" y="248547"/>
                    </a:lnTo>
                    <a:lnTo>
                      <a:pt x="123524" y="247400"/>
                    </a:lnTo>
                    <a:lnTo>
                      <a:pt x="126433" y="247665"/>
                    </a:lnTo>
                    <a:lnTo>
                      <a:pt x="131371" y="244138"/>
                    </a:lnTo>
                    <a:lnTo>
                      <a:pt x="132517" y="241758"/>
                    </a:lnTo>
                    <a:lnTo>
                      <a:pt x="132517" y="238319"/>
                    </a:lnTo>
                    <a:lnTo>
                      <a:pt x="133663" y="234792"/>
                    </a:lnTo>
                    <a:lnTo>
                      <a:pt x="133399" y="233294"/>
                    </a:lnTo>
                    <a:lnTo>
                      <a:pt x="129343" y="227210"/>
                    </a:lnTo>
                    <a:lnTo>
                      <a:pt x="125816" y="221920"/>
                    </a:lnTo>
                    <a:lnTo>
                      <a:pt x="128990" y="220774"/>
                    </a:lnTo>
                    <a:lnTo>
                      <a:pt x="133399" y="220774"/>
                    </a:lnTo>
                    <a:lnTo>
                      <a:pt x="136308" y="214073"/>
                    </a:lnTo>
                    <a:lnTo>
                      <a:pt x="129872" y="208871"/>
                    </a:lnTo>
                    <a:lnTo>
                      <a:pt x="127844" y="209135"/>
                    </a:lnTo>
                    <a:lnTo>
                      <a:pt x="122907" y="205609"/>
                    </a:lnTo>
                    <a:lnTo>
                      <a:pt x="124317" y="193618"/>
                    </a:lnTo>
                    <a:lnTo>
                      <a:pt x="122025" y="189562"/>
                    </a:lnTo>
                    <a:lnTo>
                      <a:pt x="119733" y="186652"/>
                    </a:lnTo>
                    <a:lnTo>
                      <a:pt x="119733" y="184625"/>
                    </a:lnTo>
                    <a:lnTo>
                      <a:pt x="120614" y="182861"/>
                    </a:lnTo>
                    <a:lnTo>
                      <a:pt x="118586" y="179687"/>
                    </a:lnTo>
                    <a:lnTo>
                      <a:pt x="120967" y="177042"/>
                    </a:lnTo>
                    <a:lnTo>
                      <a:pt x="116911" y="171223"/>
                    </a:lnTo>
                    <a:lnTo>
                      <a:pt x="120438" y="166286"/>
                    </a:lnTo>
                    <a:lnTo>
                      <a:pt x="119556" y="164258"/>
                    </a:lnTo>
                    <a:lnTo>
                      <a:pt x="122730" y="160466"/>
                    </a:lnTo>
                    <a:lnTo>
                      <a:pt x="127139" y="155794"/>
                    </a:lnTo>
                    <a:lnTo>
                      <a:pt x="134104" y="153413"/>
                    </a:lnTo>
                    <a:lnTo>
                      <a:pt x="136749" y="152796"/>
                    </a:lnTo>
                    <a:lnTo>
                      <a:pt x="139923" y="153060"/>
                    </a:lnTo>
                    <a:lnTo>
                      <a:pt x="146977" y="154206"/>
                    </a:lnTo>
                    <a:lnTo>
                      <a:pt x="149886" y="154471"/>
                    </a:lnTo>
                    <a:lnTo>
                      <a:pt x="152531" y="150680"/>
                    </a:lnTo>
                    <a:lnTo>
                      <a:pt x="152002" y="146888"/>
                    </a:lnTo>
                    <a:lnTo>
                      <a:pt x="150503" y="143979"/>
                    </a:lnTo>
                    <a:lnTo>
                      <a:pt x="146977" y="143714"/>
                    </a:lnTo>
                    <a:lnTo>
                      <a:pt x="142921" y="142216"/>
                    </a:lnTo>
                    <a:lnTo>
                      <a:pt x="143538" y="140188"/>
                    </a:lnTo>
                    <a:lnTo>
                      <a:pt x="152267" y="130842"/>
                    </a:lnTo>
                    <a:lnTo>
                      <a:pt x="152884" y="127668"/>
                    </a:lnTo>
                    <a:lnTo>
                      <a:pt x="155264" y="126169"/>
                    </a:lnTo>
                    <a:lnTo>
                      <a:pt x="154383" y="120085"/>
                    </a:lnTo>
                    <a:lnTo>
                      <a:pt x="155000" y="117440"/>
                    </a:lnTo>
                    <a:lnTo>
                      <a:pt x="156146" y="115060"/>
                    </a:lnTo>
                    <a:lnTo>
                      <a:pt x="153237" y="108094"/>
                    </a:lnTo>
                    <a:lnTo>
                      <a:pt x="161965" y="107830"/>
                    </a:lnTo>
                    <a:lnTo>
                      <a:pt x="168666" y="104920"/>
                    </a:lnTo>
                    <a:lnTo>
                      <a:pt x="166374" y="100865"/>
                    </a:lnTo>
                    <a:lnTo>
                      <a:pt x="170429" y="97691"/>
                    </a:lnTo>
                    <a:lnTo>
                      <a:pt x="175984" y="91871"/>
                    </a:lnTo>
                    <a:lnTo>
                      <a:pt x="180921" y="89226"/>
                    </a:lnTo>
                    <a:lnTo>
                      <a:pt x="181539" y="85964"/>
                    </a:lnTo>
                    <a:lnTo>
                      <a:pt x="178012" y="81908"/>
                    </a:lnTo>
                    <a:lnTo>
                      <a:pt x="175720" y="80762"/>
                    </a:lnTo>
                    <a:lnTo>
                      <a:pt x="176866" y="78734"/>
                    </a:lnTo>
                    <a:lnTo>
                      <a:pt x="180128" y="78470"/>
                    </a:lnTo>
                    <a:lnTo>
                      <a:pt x="182773" y="75296"/>
                    </a:lnTo>
                    <a:lnTo>
                      <a:pt x="184536" y="70623"/>
                    </a:lnTo>
                    <a:lnTo>
                      <a:pt x="191590" y="67449"/>
                    </a:lnTo>
                    <a:lnTo>
                      <a:pt x="192736" y="66303"/>
                    </a:lnTo>
                    <a:lnTo>
                      <a:pt x="203581" y="69212"/>
                    </a:lnTo>
                    <a:lnTo>
                      <a:pt x="207107" y="64539"/>
                    </a:lnTo>
                    <a:lnTo>
                      <a:pt x="204462" y="59602"/>
                    </a:lnTo>
                    <a:lnTo>
                      <a:pt x="204462" y="57221"/>
                    </a:lnTo>
                    <a:lnTo>
                      <a:pt x="208871" y="56604"/>
                    </a:lnTo>
                    <a:lnTo>
                      <a:pt x="213544" y="58103"/>
                    </a:lnTo>
                    <a:lnTo>
                      <a:pt x="218746" y="57838"/>
                    </a:lnTo>
                    <a:lnTo>
                      <a:pt x="235409" y="61013"/>
                    </a:lnTo>
                    <a:lnTo>
                      <a:pt x="236908" y="59249"/>
                    </a:lnTo>
                    <a:lnTo>
                      <a:pt x="238936" y="58720"/>
                    </a:lnTo>
                    <a:lnTo>
                      <a:pt x="238936" y="58103"/>
                    </a:lnTo>
                    <a:lnTo>
                      <a:pt x="236908" y="57486"/>
                    </a:lnTo>
                    <a:lnTo>
                      <a:pt x="234880" y="56604"/>
                    </a:lnTo>
                    <a:lnTo>
                      <a:pt x="237526" y="54841"/>
                    </a:lnTo>
                    <a:lnTo>
                      <a:pt x="240435" y="51667"/>
                    </a:lnTo>
                    <a:lnTo>
                      <a:pt x="239553" y="48757"/>
                    </a:lnTo>
                    <a:lnTo>
                      <a:pt x="235145" y="46112"/>
                    </a:lnTo>
                    <a:lnTo>
                      <a:pt x="243609" y="45495"/>
                    </a:lnTo>
                    <a:lnTo>
                      <a:pt x="242110" y="43732"/>
                    </a:lnTo>
                    <a:lnTo>
                      <a:pt x="243257" y="44349"/>
                    </a:lnTo>
                    <a:lnTo>
                      <a:pt x="246430" y="43202"/>
                    </a:lnTo>
                    <a:lnTo>
                      <a:pt x="250486" y="43202"/>
                    </a:lnTo>
                    <a:lnTo>
                      <a:pt x="248723" y="40293"/>
                    </a:lnTo>
                    <a:lnTo>
                      <a:pt x="252250" y="38530"/>
                    </a:lnTo>
                    <a:lnTo>
                      <a:pt x="259832" y="39147"/>
                    </a:lnTo>
                    <a:lnTo>
                      <a:pt x="268825" y="46729"/>
                    </a:lnTo>
                    <a:lnTo>
                      <a:pt x="271999" y="49022"/>
                    </a:lnTo>
                    <a:lnTo>
                      <a:pt x="272881" y="51667"/>
                    </a:lnTo>
                    <a:lnTo>
                      <a:pt x="279846" y="52196"/>
                    </a:lnTo>
                    <a:lnTo>
                      <a:pt x="283638" y="51931"/>
                    </a:lnTo>
                    <a:lnTo>
                      <a:pt x="285930" y="53342"/>
                    </a:lnTo>
                    <a:lnTo>
                      <a:pt x="291220" y="51314"/>
                    </a:lnTo>
                    <a:lnTo>
                      <a:pt x="295011" y="51314"/>
                    </a:lnTo>
                    <a:lnTo>
                      <a:pt x="295276" y="49903"/>
                    </a:lnTo>
                    <a:lnTo>
                      <a:pt x="297921" y="48757"/>
                    </a:lnTo>
                    <a:lnTo>
                      <a:pt x="303475" y="52284"/>
                    </a:lnTo>
                    <a:lnTo>
                      <a:pt x="310794" y="52548"/>
                    </a:lnTo>
                    <a:lnTo>
                      <a:pt x="313174" y="53959"/>
                    </a:lnTo>
                    <a:lnTo>
                      <a:pt x="316348" y="53695"/>
                    </a:lnTo>
                    <a:lnTo>
                      <a:pt x="317494" y="49022"/>
                    </a:lnTo>
                    <a:lnTo>
                      <a:pt x="320668" y="47875"/>
                    </a:lnTo>
                    <a:lnTo>
                      <a:pt x="321815" y="48140"/>
                    </a:lnTo>
                    <a:lnTo>
                      <a:pt x="323578" y="47523"/>
                    </a:lnTo>
                    <a:lnTo>
                      <a:pt x="325077" y="47787"/>
                    </a:lnTo>
                    <a:lnTo>
                      <a:pt x="325959" y="43732"/>
                    </a:lnTo>
                    <a:lnTo>
                      <a:pt x="323931" y="40205"/>
                    </a:lnTo>
                    <a:lnTo>
                      <a:pt x="323931" y="37824"/>
                    </a:lnTo>
                    <a:lnTo>
                      <a:pt x="325694" y="36678"/>
                    </a:lnTo>
                    <a:lnTo>
                      <a:pt x="325959" y="33504"/>
                    </a:lnTo>
                    <a:lnTo>
                      <a:pt x="326488" y="32005"/>
                    </a:lnTo>
                    <a:lnTo>
                      <a:pt x="326223" y="30242"/>
                    </a:lnTo>
                    <a:lnTo>
                      <a:pt x="328515" y="29096"/>
                    </a:lnTo>
                    <a:lnTo>
                      <a:pt x="333453" y="27949"/>
                    </a:lnTo>
                    <a:lnTo>
                      <a:pt x="336980" y="27068"/>
                    </a:lnTo>
                    <a:lnTo>
                      <a:pt x="341652" y="27068"/>
                    </a:lnTo>
                    <a:lnTo>
                      <a:pt x="346590" y="25921"/>
                    </a:lnTo>
                    <a:lnTo>
                      <a:pt x="352145" y="23629"/>
                    </a:lnTo>
                    <a:lnTo>
                      <a:pt x="357699" y="25921"/>
                    </a:lnTo>
                    <a:lnTo>
                      <a:pt x="367310" y="29713"/>
                    </a:lnTo>
                    <a:lnTo>
                      <a:pt x="376391" y="29977"/>
                    </a:lnTo>
                    <a:lnTo>
                      <a:pt x="380182" y="34915"/>
                    </a:lnTo>
                    <a:lnTo>
                      <a:pt x="377801" y="39323"/>
                    </a:lnTo>
                    <a:lnTo>
                      <a:pt x="389175" y="38177"/>
                    </a:lnTo>
                    <a:lnTo>
                      <a:pt x="393231" y="32005"/>
                    </a:lnTo>
                    <a:lnTo>
                      <a:pt x="406368" y="34033"/>
                    </a:lnTo>
                    <a:lnTo>
                      <a:pt x="405310" y="28390"/>
                    </a:lnTo>
                    <a:close/>
                    <a:moveTo>
                      <a:pt x="170518" y="45936"/>
                    </a:moveTo>
                    <a:lnTo>
                      <a:pt x="172545" y="43643"/>
                    </a:lnTo>
                    <a:lnTo>
                      <a:pt x="173427" y="41880"/>
                    </a:lnTo>
                    <a:lnTo>
                      <a:pt x="175808" y="40998"/>
                    </a:lnTo>
                    <a:lnTo>
                      <a:pt x="177835" y="38970"/>
                    </a:lnTo>
                    <a:lnTo>
                      <a:pt x="178717" y="40734"/>
                    </a:lnTo>
                    <a:lnTo>
                      <a:pt x="177835" y="41615"/>
                    </a:lnTo>
                    <a:lnTo>
                      <a:pt x="176072" y="45407"/>
                    </a:lnTo>
                    <a:lnTo>
                      <a:pt x="176337" y="46906"/>
                    </a:lnTo>
                    <a:lnTo>
                      <a:pt x="174309" y="46906"/>
                    </a:lnTo>
                    <a:lnTo>
                      <a:pt x="172810" y="45142"/>
                    </a:lnTo>
                    <a:lnTo>
                      <a:pt x="171664" y="45759"/>
                    </a:lnTo>
                    <a:lnTo>
                      <a:pt x="170518" y="45936"/>
                    </a:lnTo>
                    <a:close/>
                    <a:moveTo>
                      <a:pt x="154206" y="62247"/>
                    </a:moveTo>
                    <a:lnTo>
                      <a:pt x="152443" y="61365"/>
                    </a:lnTo>
                    <a:lnTo>
                      <a:pt x="153325" y="57838"/>
                    </a:lnTo>
                    <a:lnTo>
                      <a:pt x="155353" y="56075"/>
                    </a:lnTo>
                    <a:lnTo>
                      <a:pt x="153589" y="54047"/>
                    </a:lnTo>
                    <a:lnTo>
                      <a:pt x="152090" y="52019"/>
                    </a:lnTo>
                    <a:lnTo>
                      <a:pt x="152090" y="50256"/>
                    </a:lnTo>
                    <a:lnTo>
                      <a:pt x="153589" y="50256"/>
                    </a:lnTo>
                    <a:lnTo>
                      <a:pt x="157645" y="52284"/>
                    </a:lnTo>
                    <a:lnTo>
                      <a:pt x="156763" y="49374"/>
                    </a:lnTo>
                    <a:lnTo>
                      <a:pt x="158174" y="48757"/>
                    </a:lnTo>
                    <a:lnTo>
                      <a:pt x="160819" y="47258"/>
                    </a:lnTo>
                    <a:lnTo>
                      <a:pt x="162583" y="44349"/>
                    </a:lnTo>
                    <a:lnTo>
                      <a:pt x="163464" y="45230"/>
                    </a:lnTo>
                    <a:lnTo>
                      <a:pt x="162583" y="49286"/>
                    </a:lnTo>
                    <a:lnTo>
                      <a:pt x="164610" y="49903"/>
                    </a:lnTo>
                    <a:lnTo>
                      <a:pt x="163464" y="48140"/>
                    </a:lnTo>
                    <a:lnTo>
                      <a:pt x="165492" y="46112"/>
                    </a:lnTo>
                    <a:lnTo>
                      <a:pt x="166638" y="44349"/>
                    </a:lnTo>
                    <a:lnTo>
                      <a:pt x="167255" y="46112"/>
                    </a:lnTo>
                    <a:lnTo>
                      <a:pt x="166638" y="49286"/>
                    </a:lnTo>
                    <a:lnTo>
                      <a:pt x="167520" y="51050"/>
                    </a:lnTo>
                    <a:lnTo>
                      <a:pt x="167784" y="53077"/>
                    </a:lnTo>
                    <a:lnTo>
                      <a:pt x="166021" y="55105"/>
                    </a:lnTo>
                    <a:lnTo>
                      <a:pt x="168666" y="54841"/>
                    </a:lnTo>
                    <a:lnTo>
                      <a:pt x="170429" y="53959"/>
                    </a:lnTo>
                    <a:lnTo>
                      <a:pt x="171047" y="51931"/>
                    </a:lnTo>
                    <a:lnTo>
                      <a:pt x="171664" y="50785"/>
                    </a:lnTo>
                    <a:lnTo>
                      <a:pt x="173427" y="51314"/>
                    </a:lnTo>
                    <a:lnTo>
                      <a:pt x="172545" y="49286"/>
                    </a:lnTo>
                    <a:lnTo>
                      <a:pt x="175455" y="49551"/>
                    </a:lnTo>
                    <a:lnTo>
                      <a:pt x="177218" y="48669"/>
                    </a:lnTo>
                    <a:lnTo>
                      <a:pt x="177835" y="50961"/>
                    </a:lnTo>
                    <a:lnTo>
                      <a:pt x="180216" y="51226"/>
                    </a:lnTo>
                    <a:lnTo>
                      <a:pt x="179952" y="53871"/>
                    </a:lnTo>
                    <a:lnTo>
                      <a:pt x="177306" y="56780"/>
                    </a:lnTo>
                    <a:lnTo>
                      <a:pt x="174133" y="57662"/>
                    </a:lnTo>
                    <a:lnTo>
                      <a:pt x="170958" y="57398"/>
                    </a:lnTo>
                    <a:lnTo>
                      <a:pt x="170694" y="58544"/>
                    </a:lnTo>
                    <a:lnTo>
                      <a:pt x="169548" y="59073"/>
                    </a:lnTo>
                    <a:lnTo>
                      <a:pt x="166638" y="58808"/>
                    </a:lnTo>
                    <a:lnTo>
                      <a:pt x="163728" y="61101"/>
                    </a:lnTo>
                    <a:lnTo>
                      <a:pt x="163464" y="59954"/>
                    </a:lnTo>
                    <a:lnTo>
                      <a:pt x="162318" y="58191"/>
                    </a:lnTo>
                    <a:lnTo>
                      <a:pt x="159937" y="58808"/>
                    </a:lnTo>
                    <a:lnTo>
                      <a:pt x="159673" y="60572"/>
                    </a:lnTo>
                    <a:lnTo>
                      <a:pt x="159408" y="62600"/>
                    </a:lnTo>
                    <a:lnTo>
                      <a:pt x="157116" y="62600"/>
                    </a:lnTo>
                    <a:lnTo>
                      <a:pt x="154206" y="622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1" name="Freihandform: Form 1570">
                <a:extLst>
                  <a:ext uri="{FF2B5EF4-FFF2-40B4-BE49-F238E27FC236}">
                    <a16:creationId xmlns:a16="http://schemas.microsoft.com/office/drawing/2014/main" id="{798F7964-12A7-5C73-50B6-A78D7E0BC7F5}"/>
                  </a:ext>
                </a:extLst>
              </p:cNvPr>
              <p:cNvSpPr/>
              <p:nvPr/>
            </p:nvSpPr>
            <p:spPr>
              <a:xfrm>
                <a:off x="3945523" y="2617586"/>
                <a:ext cx="400813" cy="180657"/>
              </a:xfrm>
              <a:custGeom>
                <a:avLst/>
                <a:gdLst>
                  <a:gd name="connsiteX0" fmla="*/ 5026 w 400813"/>
                  <a:gd name="connsiteY0" fmla="*/ 0 h 180657"/>
                  <a:gd name="connsiteX1" fmla="*/ 5643 w 400813"/>
                  <a:gd name="connsiteY1" fmla="*/ 1763 h 180657"/>
                  <a:gd name="connsiteX2" fmla="*/ 6789 w 400813"/>
                  <a:gd name="connsiteY2" fmla="*/ 1499 h 180657"/>
                  <a:gd name="connsiteX3" fmla="*/ 7054 w 400813"/>
                  <a:gd name="connsiteY3" fmla="*/ 6172 h 180657"/>
                  <a:gd name="connsiteX4" fmla="*/ 7935 w 400813"/>
                  <a:gd name="connsiteY4" fmla="*/ 9346 h 180657"/>
                  <a:gd name="connsiteX5" fmla="*/ 8817 w 400813"/>
                  <a:gd name="connsiteY5" fmla="*/ 10845 h 180657"/>
                  <a:gd name="connsiteX6" fmla="*/ 8817 w 400813"/>
                  <a:gd name="connsiteY6" fmla="*/ 8552 h 180657"/>
                  <a:gd name="connsiteX7" fmla="*/ 8817 w 400813"/>
                  <a:gd name="connsiteY7" fmla="*/ 6524 h 180657"/>
                  <a:gd name="connsiteX8" fmla="*/ 9346 w 400813"/>
                  <a:gd name="connsiteY8" fmla="*/ 5378 h 180657"/>
                  <a:gd name="connsiteX9" fmla="*/ 9963 w 400813"/>
                  <a:gd name="connsiteY9" fmla="*/ 5907 h 180657"/>
                  <a:gd name="connsiteX10" fmla="*/ 10580 w 400813"/>
                  <a:gd name="connsiteY10" fmla="*/ 8288 h 180657"/>
                  <a:gd name="connsiteX11" fmla="*/ 10845 w 400813"/>
                  <a:gd name="connsiteY11" fmla="*/ 12079 h 180657"/>
                  <a:gd name="connsiteX12" fmla="*/ 10580 w 400813"/>
                  <a:gd name="connsiteY12" fmla="*/ 14371 h 180657"/>
                  <a:gd name="connsiteX13" fmla="*/ 10580 w 400813"/>
                  <a:gd name="connsiteY13" fmla="*/ 18427 h 180657"/>
                  <a:gd name="connsiteX14" fmla="*/ 11109 w 400813"/>
                  <a:gd name="connsiteY14" fmla="*/ 21954 h 180657"/>
                  <a:gd name="connsiteX15" fmla="*/ 11109 w 400813"/>
                  <a:gd name="connsiteY15" fmla="*/ 24599 h 180657"/>
                  <a:gd name="connsiteX16" fmla="*/ 10580 w 400813"/>
                  <a:gd name="connsiteY16" fmla="*/ 25481 h 180657"/>
                  <a:gd name="connsiteX17" fmla="*/ 9081 w 400813"/>
                  <a:gd name="connsiteY17" fmla="*/ 19397 h 180657"/>
                  <a:gd name="connsiteX18" fmla="*/ 8200 w 400813"/>
                  <a:gd name="connsiteY18" fmla="*/ 21160 h 180657"/>
                  <a:gd name="connsiteX19" fmla="*/ 6436 w 400813"/>
                  <a:gd name="connsiteY19" fmla="*/ 21160 h 180657"/>
                  <a:gd name="connsiteX20" fmla="*/ 4408 w 400813"/>
                  <a:gd name="connsiteY20" fmla="*/ 22042 h 180657"/>
                  <a:gd name="connsiteX21" fmla="*/ 2645 w 400813"/>
                  <a:gd name="connsiteY21" fmla="*/ 15958 h 180657"/>
                  <a:gd name="connsiteX22" fmla="*/ 2028 w 400813"/>
                  <a:gd name="connsiteY22" fmla="*/ 13049 h 180657"/>
                  <a:gd name="connsiteX23" fmla="*/ 2292 w 400813"/>
                  <a:gd name="connsiteY23" fmla="*/ 11903 h 180657"/>
                  <a:gd name="connsiteX24" fmla="*/ 2292 w 400813"/>
                  <a:gd name="connsiteY24" fmla="*/ 9875 h 180657"/>
                  <a:gd name="connsiteX25" fmla="*/ 2292 w 400813"/>
                  <a:gd name="connsiteY25" fmla="*/ 8376 h 180657"/>
                  <a:gd name="connsiteX26" fmla="*/ 2557 w 400813"/>
                  <a:gd name="connsiteY26" fmla="*/ 5995 h 180657"/>
                  <a:gd name="connsiteX27" fmla="*/ 2557 w 400813"/>
                  <a:gd name="connsiteY27" fmla="*/ 2469 h 180657"/>
                  <a:gd name="connsiteX28" fmla="*/ 3703 w 400813"/>
                  <a:gd name="connsiteY28" fmla="*/ 705 h 180657"/>
                  <a:gd name="connsiteX29" fmla="*/ 5026 w 400813"/>
                  <a:gd name="connsiteY29" fmla="*/ 0 h 180657"/>
                  <a:gd name="connsiteX30" fmla="*/ 316877 w 400813"/>
                  <a:gd name="connsiteY30" fmla="*/ 157204 h 180657"/>
                  <a:gd name="connsiteX31" fmla="*/ 318023 w 400813"/>
                  <a:gd name="connsiteY31" fmla="*/ 159232 h 180657"/>
                  <a:gd name="connsiteX32" fmla="*/ 318288 w 400813"/>
                  <a:gd name="connsiteY32" fmla="*/ 160643 h 180657"/>
                  <a:gd name="connsiteX33" fmla="*/ 318905 w 400813"/>
                  <a:gd name="connsiteY33" fmla="*/ 161789 h 180657"/>
                  <a:gd name="connsiteX34" fmla="*/ 320051 w 400813"/>
                  <a:gd name="connsiteY34" fmla="*/ 162935 h 180657"/>
                  <a:gd name="connsiteX35" fmla="*/ 321197 w 400813"/>
                  <a:gd name="connsiteY35" fmla="*/ 164698 h 180657"/>
                  <a:gd name="connsiteX36" fmla="*/ 320933 w 400813"/>
                  <a:gd name="connsiteY36" fmla="*/ 166462 h 180657"/>
                  <a:gd name="connsiteX37" fmla="*/ 319787 w 400813"/>
                  <a:gd name="connsiteY37" fmla="*/ 167961 h 180657"/>
                  <a:gd name="connsiteX38" fmla="*/ 317759 w 400813"/>
                  <a:gd name="connsiteY38" fmla="*/ 169460 h 180657"/>
                  <a:gd name="connsiteX39" fmla="*/ 314849 w 400813"/>
                  <a:gd name="connsiteY39" fmla="*/ 169460 h 180657"/>
                  <a:gd name="connsiteX40" fmla="*/ 312469 w 400813"/>
                  <a:gd name="connsiteY40" fmla="*/ 169460 h 180657"/>
                  <a:gd name="connsiteX41" fmla="*/ 310441 w 400813"/>
                  <a:gd name="connsiteY41" fmla="*/ 168842 h 180657"/>
                  <a:gd name="connsiteX42" fmla="*/ 309559 w 400813"/>
                  <a:gd name="connsiteY42" fmla="*/ 168842 h 180657"/>
                  <a:gd name="connsiteX43" fmla="*/ 308678 w 400813"/>
                  <a:gd name="connsiteY43" fmla="*/ 169195 h 180657"/>
                  <a:gd name="connsiteX44" fmla="*/ 308413 w 400813"/>
                  <a:gd name="connsiteY44" fmla="*/ 168578 h 180657"/>
                  <a:gd name="connsiteX45" fmla="*/ 308413 w 400813"/>
                  <a:gd name="connsiteY45" fmla="*/ 167696 h 180657"/>
                  <a:gd name="connsiteX46" fmla="*/ 308413 w 400813"/>
                  <a:gd name="connsiteY46" fmla="*/ 166815 h 180657"/>
                  <a:gd name="connsiteX47" fmla="*/ 308149 w 400813"/>
                  <a:gd name="connsiteY47" fmla="*/ 166197 h 180657"/>
                  <a:gd name="connsiteX48" fmla="*/ 307884 w 400813"/>
                  <a:gd name="connsiteY48" fmla="*/ 166815 h 180657"/>
                  <a:gd name="connsiteX49" fmla="*/ 307002 w 400813"/>
                  <a:gd name="connsiteY49" fmla="*/ 167432 h 180657"/>
                  <a:gd name="connsiteX50" fmla="*/ 306385 w 400813"/>
                  <a:gd name="connsiteY50" fmla="*/ 167696 h 180657"/>
                  <a:gd name="connsiteX51" fmla="*/ 305768 w 400813"/>
                  <a:gd name="connsiteY51" fmla="*/ 167079 h 180657"/>
                  <a:gd name="connsiteX52" fmla="*/ 305768 w 400813"/>
                  <a:gd name="connsiteY52" fmla="*/ 166197 h 180657"/>
                  <a:gd name="connsiteX53" fmla="*/ 305151 w 400813"/>
                  <a:gd name="connsiteY53" fmla="*/ 165051 h 180657"/>
                  <a:gd name="connsiteX54" fmla="*/ 304005 w 400813"/>
                  <a:gd name="connsiteY54" fmla="*/ 163905 h 180657"/>
                  <a:gd name="connsiteX55" fmla="*/ 302858 w 400813"/>
                  <a:gd name="connsiteY55" fmla="*/ 163023 h 180657"/>
                  <a:gd name="connsiteX56" fmla="*/ 301977 w 400813"/>
                  <a:gd name="connsiteY56" fmla="*/ 162759 h 180657"/>
                  <a:gd name="connsiteX57" fmla="*/ 301977 w 400813"/>
                  <a:gd name="connsiteY57" fmla="*/ 162494 h 180657"/>
                  <a:gd name="connsiteX58" fmla="*/ 301712 w 400813"/>
                  <a:gd name="connsiteY58" fmla="*/ 161877 h 180657"/>
                  <a:gd name="connsiteX59" fmla="*/ 301448 w 400813"/>
                  <a:gd name="connsiteY59" fmla="*/ 161348 h 180657"/>
                  <a:gd name="connsiteX60" fmla="*/ 301448 w 400813"/>
                  <a:gd name="connsiteY60" fmla="*/ 161084 h 180657"/>
                  <a:gd name="connsiteX61" fmla="*/ 300566 w 400813"/>
                  <a:gd name="connsiteY61" fmla="*/ 160466 h 180657"/>
                  <a:gd name="connsiteX62" fmla="*/ 300830 w 400813"/>
                  <a:gd name="connsiteY62" fmla="*/ 160202 h 180657"/>
                  <a:gd name="connsiteX63" fmla="*/ 300830 w 400813"/>
                  <a:gd name="connsiteY63" fmla="*/ 159320 h 180657"/>
                  <a:gd name="connsiteX64" fmla="*/ 301359 w 400813"/>
                  <a:gd name="connsiteY64" fmla="*/ 158439 h 180657"/>
                  <a:gd name="connsiteX65" fmla="*/ 302241 w 400813"/>
                  <a:gd name="connsiteY65" fmla="*/ 158439 h 180657"/>
                  <a:gd name="connsiteX66" fmla="*/ 303476 w 400813"/>
                  <a:gd name="connsiteY66" fmla="*/ 158968 h 180657"/>
                  <a:gd name="connsiteX67" fmla="*/ 305768 w 400813"/>
                  <a:gd name="connsiteY67" fmla="*/ 158439 h 180657"/>
                  <a:gd name="connsiteX68" fmla="*/ 308060 w 400813"/>
                  <a:gd name="connsiteY68" fmla="*/ 157557 h 180657"/>
                  <a:gd name="connsiteX69" fmla="*/ 310705 w 400813"/>
                  <a:gd name="connsiteY69" fmla="*/ 156058 h 180657"/>
                  <a:gd name="connsiteX70" fmla="*/ 311323 w 400813"/>
                  <a:gd name="connsiteY70" fmla="*/ 156940 h 180657"/>
                  <a:gd name="connsiteX71" fmla="*/ 314232 w 400813"/>
                  <a:gd name="connsiteY71" fmla="*/ 158086 h 180657"/>
                  <a:gd name="connsiteX72" fmla="*/ 314497 w 400813"/>
                  <a:gd name="connsiteY72" fmla="*/ 158968 h 180657"/>
                  <a:gd name="connsiteX73" fmla="*/ 314761 w 400813"/>
                  <a:gd name="connsiteY73" fmla="*/ 159849 h 180657"/>
                  <a:gd name="connsiteX74" fmla="*/ 313879 w 400813"/>
                  <a:gd name="connsiteY74" fmla="*/ 160466 h 180657"/>
                  <a:gd name="connsiteX75" fmla="*/ 313879 w 400813"/>
                  <a:gd name="connsiteY75" fmla="*/ 161084 h 180657"/>
                  <a:gd name="connsiteX76" fmla="*/ 314144 w 400813"/>
                  <a:gd name="connsiteY76" fmla="*/ 161084 h 180657"/>
                  <a:gd name="connsiteX77" fmla="*/ 315290 w 400813"/>
                  <a:gd name="connsiteY77" fmla="*/ 160819 h 180657"/>
                  <a:gd name="connsiteX78" fmla="*/ 315819 w 400813"/>
                  <a:gd name="connsiteY78" fmla="*/ 160202 h 180657"/>
                  <a:gd name="connsiteX79" fmla="*/ 316701 w 400813"/>
                  <a:gd name="connsiteY79" fmla="*/ 159937 h 180657"/>
                  <a:gd name="connsiteX80" fmla="*/ 316701 w 400813"/>
                  <a:gd name="connsiteY80" fmla="*/ 158439 h 180657"/>
                  <a:gd name="connsiteX81" fmla="*/ 316701 w 400813"/>
                  <a:gd name="connsiteY81" fmla="*/ 157821 h 180657"/>
                  <a:gd name="connsiteX82" fmla="*/ 316701 w 400813"/>
                  <a:gd name="connsiteY82" fmla="*/ 157204 h 180657"/>
                  <a:gd name="connsiteX83" fmla="*/ 324107 w 400813"/>
                  <a:gd name="connsiteY83" fmla="*/ 168049 h 180657"/>
                  <a:gd name="connsiteX84" fmla="*/ 323225 w 400813"/>
                  <a:gd name="connsiteY84" fmla="*/ 170077 h 180657"/>
                  <a:gd name="connsiteX85" fmla="*/ 321462 w 400813"/>
                  <a:gd name="connsiteY85" fmla="*/ 173251 h 180657"/>
                  <a:gd name="connsiteX86" fmla="*/ 319963 w 400813"/>
                  <a:gd name="connsiteY86" fmla="*/ 174133 h 180657"/>
                  <a:gd name="connsiteX87" fmla="*/ 319346 w 400813"/>
                  <a:gd name="connsiteY87" fmla="*/ 175631 h 180657"/>
                  <a:gd name="connsiteX88" fmla="*/ 318200 w 400813"/>
                  <a:gd name="connsiteY88" fmla="*/ 177042 h 180657"/>
                  <a:gd name="connsiteX89" fmla="*/ 317935 w 400813"/>
                  <a:gd name="connsiteY89" fmla="*/ 176160 h 180657"/>
                  <a:gd name="connsiteX90" fmla="*/ 317935 w 400813"/>
                  <a:gd name="connsiteY90" fmla="*/ 175014 h 180657"/>
                  <a:gd name="connsiteX91" fmla="*/ 317935 w 400813"/>
                  <a:gd name="connsiteY91" fmla="*/ 174397 h 180657"/>
                  <a:gd name="connsiteX92" fmla="*/ 317935 w 400813"/>
                  <a:gd name="connsiteY92" fmla="*/ 173515 h 180657"/>
                  <a:gd name="connsiteX93" fmla="*/ 319434 w 400813"/>
                  <a:gd name="connsiteY93" fmla="*/ 172016 h 180657"/>
                  <a:gd name="connsiteX94" fmla="*/ 321197 w 400813"/>
                  <a:gd name="connsiteY94" fmla="*/ 171135 h 180657"/>
                  <a:gd name="connsiteX95" fmla="*/ 321197 w 400813"/>
                  <a:gd name="connsiteY95" fmla="*/ 169989 h 180657"/>
                  <a:gd name="connsiteX96" fmla="*/ 323225 w 400813"/>
                  <a:gd name="connsiteY96" fmla="*/ 168225 h 180657"/>
                  <a:gd name="connsiteX97" fmla="*/ 323754 w 400813"/>
                  <a:gd name="connsiteY97" fmla="*/ 167696 h 180657"/>
                  <a:gd name="connsiteX98" fmla="*/ 324107 w 400813"/>
                  <a:gd name="connsiteY98" fmla="*/ 168049 h 180657"/>
                  <a:gd name="connsiteX99" fmla="*/ 350381 w 400813"/>
                  <a:gd name="connsiteY99" fmla="*/ 145831 h 180657"/>
                  <a:gd name="connsiteX100" fmla="*/ 351792 w 400813"/>
                  <a:gd name="connsiteY100" fmla="*/ 146448 h 180657"/>
                  <a:gd name="connsiteX101" fmla="*/ 351527 w 400813"/>
                  <a:gd name="connsiteY101" fmla="*/ 147594 h 180657"/>
                  <a:gd name="connsiteX102" fmla="*/ 352145 w 400813"/>
                  <a:gd name="connsiteY102" fmla="*/ 149622 h 180657"/>
                  <a:gd name="connsiteX103" fmla="*/ 353026 w 400813"/>
                  <a:gd name="connsiteY103" fmla="*/ 152796 h 180657"/>
                  <a:gd name="connsiteX104" fmla="*/ 353908 w 400813"/>
                  <a:gd name="connsiteY104" fmla="*/ 154824 h 180657"/>
                  <a:gd name="connsiteX105" fmla="*/ 353291 w 400813"/>
                  <a:gd name="connsiteY105" fmla="*/ 157469 h 180657"/>
                  <a:gd name="connsiteX106" fmla="*/ 351527 w 400813"/>
                  <a:gd name="connsiteY106" fmla="*/ 157733 h 180657"/>
                  <a:gd name="connsiteX107" fmla="*/ 349147 w 400813"/>
                  <a:gd name="connsiteY107" fmla="*/ 156234 h 180657"/>
                  <a:gd name="connsiteX108" fmla="*/ 347736 w 400813"/>
                  <a:gd name="connsiteY108" fmla="*/ 156851 h 180657"/>
                  <a:gd name="connsiteX109" fmla="*/ 346325 w 400813"/>
                  <a:gd name="connsiteY109" fmla="*/ 157733 h 180657"/>
                  <a:gd name="connsiteX110" fmla="*/ 345444 w 400813"/>
                  <a:gd name="connsiteY110" fmla="*/ 159232 h 180657"/>
                  <a:gd name="connsiteX111" fmla="*/ 345179 w 400813"/>
                  <a:gd name="connsiteY111" fmla="*/ 160378 h 180657"/>
                  <a:gd name="connsiteX112" fmla="*/ 346943 w 400813"/>
                  <a:gd name="connsiteY112" fmla="*/ 161525 h 180657"/>
                  <a:gd name="connsiteX113" fmla="*/ 348706 w 400813"/>
                  <a:gd name="connsiteY113" fmla="*/ 161525 h 180657"/>
                  <a:gd name="connsiteX114" fmla="*/ 349323 w 400813"/>
                  <a:gd name="connsiteY114" fmla="*/ 162671 h 180657"/>
                  <a:gd name="connsiteX115" fmla="*/ 351087 w 400813"/>
                  <a:gd name="connsiteY115" fmla="*/ 164169 h 180657"/>
                  <a:gd name="connsiteX116" fmla="*/ 350205 w 400813"/>
                  <a:gd name="connsiteY116" fmla="*/ 165051 h 180657"/>
                  <a:gd name="connsiteX117" fmla="*/ 349059 w 400813"/>
                  <a:gd name="connsiteY117" fmla="*/ 165404 h 180657"/>
                  <a:gd name="connsiteX118" fmla="*/ 347031 w 400813"/>
                  <a:gd name="connsiteY118" fmla="*/ 165668 h 180657"/>
                  <a:gd name="connsiteX119" fmla="*/ 345532 w 400813"/>
                  <a:gd name="connsiteY119" fmla="*/ 165933 h 180657"/>
                  <a:gd name="connsiteX120" fmla="*/ 344650 w 400813"/>
                  <a:gd name="connsiteY120" fmla="*/ 166550 h 180657"/>
                  <a:gd name="connsiteX121" fmla="*/ 344915 w 400813"/>
                  <a:gd name="connsiteY121" fmla="*/ 166815 h 180657"/>
                  <a:gd name="connsiteX122" fmla="*/ 345179 w 400813"/>
                  <a:gd name="connsiteY122" fmla="*/ 167961 h 180657"/>
                  <a:gd name="connsiteX123" fmla="*/ 345179 w 400813"/>
                  <a:gd name="connsiteY123" fmla="*/ 168578 h 180657"/>
                  <a:gd name="connsiteX124" fmla="*/ 345179 w 400813"/>
                  <a:gd name="connsiteY124" fmla="*/ 169724 h 180657"/>
                  <a:gd name="connsiteX125" fmla="*/ 344298 w 400813"/>
                  <a:gd name="connsiteY125" fmla="*/ 170606 h 180657"/>
                  <a:gd name="connsiteX126" fmla="*/ 343680 w 400813"/>
                  <a:gd name="connsiteY126" fmla="*/ 171135 h 180657"/>
                  <a:gd name="connsiteX127" fmla="*/ 341917 w 400813"/>
                  <a:gd name="connsiteY127" fmla="*/ 171135 h 180657"/>
                  <a:gd name="connsiteX128" fmla="*/ 341035 w 400813"/>
                  <a:gd name="connsiteY128" fmla="*/ 170870 h 180657"/>
                  <a:gd name="connsiteX129" fmla="*/ 340154 w 400813"/>
                  <a:gd name="connsiteY129" fmla="*/ 170606 h 180657"/>
                  <a:gd name="connsiteX130" fmla="*/ 339537 w 400813"/>
                  <a:gd name="connsiteY130" fmla="*/ 169460 h 180657"/>
                  <a:gd name="connsiteX131" fmla="*/ 339537 w 400813"/>
                  <a:gd name="connsiteY131" fmla="*/ 168578 h 180657"/>
                  <a:gd name="connsiteX132" fmla="*/ 338919 w 400813"/>
                  <a:gd name="connsiteY132" fmla="*/ 167696 h 180657"/>
                  <a:gd name="connsiteX133" fmla="*/ 338919 w 400813"/>
                  <a:gd name="connsiteY133" fmla="*/ 167079 h 180657"/>
                  <a:gd name="connsiteX134" fmla="*/ 337773 w 400813"/>
                  <a:gd name="connsiteY134" fmla="*/ 166815 h 180657"/>
                  <a:gd name="connsiteX135" fmla="*/ 335745 w 400813"/>
                  <a:gd name="connsiteY135" fmla="*/ 166197 h 180657"/>
                  <a:gd name="connsiteX136" fmla="*/ 332836 w 400813"/>
                  <a:gd name="connsiteY136" fmla="*/ 166197 h 180657"/>
                  <a:gd name="connsiteX137" fmla="*/ 330543 w 400813"/>
                  <a:gd name="connsiteY137" fmla="*/ 166197 h 180657"/>
                  <a:gd name="connsiteX138" fmla="*/ 329662 w 400813"/>
                  <a:gd name="connsiteY138" fmla="*/ 165933 h 180657"/>
                  <a:gd name="connsiteX139" fmla="*/ 329397 w 400813"/>
                  <a:gd name="connsiteY139" fmla="*/ 165668 h 180657"/>
                  <a:gd name="connsiteX140" fmla="*/ 329397 w 400813"/>
                  <a:gd name="connsiteY140" fmla="*/ 165051 h 180657"/>
                  <a:gd name="connsiteX141" fmla="*/ 328251 w 400813"/>
                  <a:gd name="connsiteY141" fmla="*/ 164434 h 180657"/>
                  <a:gd name="connsiteX142" fmla="*/ 327634 w 400813"/>
                  <a:gd name="connsiteY142" fmla="*/ 163552 h 180657"/>
                  <a:gd name="connsiteX143" fmla="*/ 326752 w 400813"/>
                  <a:gd name="connsiteY143" fmla="*/ 163288 h 180657"/>
                  <a:gd name="connsiteX144" fmla="*/ 326488 w 400813"/>
                  <a:gd name="connsiteY144" fmla="*/ 163023 h 180657"/>
                  <a:gd name="connsiteX145" fmla="*/ 326488 w 400813"/>
                  <a:gd name="connsiteY145" fmla="*/ 162759 h 180657"/>
                  <a:gd name="connsiteX146" fmla="*/ 326488 w 400813"/>
                  <a:gd name="connsiteY146" fmla="*/ 161613 h 180657"/>
                  <a:gd name="connsiteX147" fmla="*/ 326223 w 400813"/>
                  <a:gd name="connsiteY147" fmla="*/ 160466 h 180657"/>
                  <a:gd name="connsiteX148" fmla="*/ 325959 w 400813"/>
                  <a:gd name="connsiteY148" fmla="*/ 159320 h 180657"/>
                  <a:gd name="connsiteX149" fmla="*/ 325959 w 400813"/>
                  <a:gd name="connsiteY149" fmla="*/ 158439 h 180657"/>
                  <a:gd name="connsiteX150" fmla="*/ 325959 w 400813"/>
                  <a:gd name="connsiteY150" fmla="*/ 157821 h 180657"/>
                  <a:gd name="connsiteX151" fmla="*/ 325959 w 400813"/>
                  <a:gd name="connsiteY151" fmla="*/ 156940 h 180657"/>
                  <a:gd name="connsiteX152" fmla="*/ 325077 w 400813"/>
                  <a:gd name="connsiteY152" fmla="*/ 156058 h 180657"/>
                  <a:gd name="connsiteX153" fmla="*/ 324812 w 400813"/>
                  <a:gd name="connsiteY153" fmla="*/ 155441 h 180657"/>
                  <a:gd name="connsiteX154" fmla="*/ 323931 w 400813"/>
                  <a:gd name="connsiteY154" fmla="*/ 155176 h 180657"/>
                  <a:gd name="connsiteX155" fmla="*/ 323931 w 400813"/>
                  <a:gd name="connsiteY155" fmla="*/ 154559 h 180657"/>
                  <a:gd name="connsiteX156" fmla="*/ 322520 w 400813"/>
                  <a:gd name="connsiteY156" fmla="*/ 154295 h 180657"/>
                  <a:gd name="connsiteX157" fmla="*/ 323137 w 400813"/>
                  <a:gd name="connsiteY157" fmla="*/ 153677 h 180657"/>
                  <a:gd name="connsiteX158" fmla="*/ 324019 w 400813"/>
                  <a:gd name="connsiteY158" fmla="*/ 153677 h 180657"/>
                  <a:gd name="connsiteX159" fmla="*/ 325782 w 400813"/>
                  <a:gd name="connsiteY159" fmla="*/ 153677 h 180657"/>
                  <a:gd name="connsiteX160" fmla="*/ 327281 w 400813"/>
                  <a:gd name="connsiteY160" fmla="*/ 153677 h 180657"/>
                  <a:gd name="connsiteX161" fmla="*/ 328427 w 400813"/>
                  <a:gd name="connsiteY161" fmla="*/ 153413 h 180657"/>
                  <a:gd name="connsiteX162" fmla="*/ 329573 w 400813"/>
                  <a:gd name="connsiteY162" fmla="*/ 152796 h 180657"/>
                  <a:gd name="connsiteX163" fmla="*/ 329573 w 400813"/>
                  <a:gd name="connsiteY163" fmla="*/ 152179 h 180657"/>
                  <a:gd name="connsiteX164" fmla="*/ 330191 w 400813"/>
                  <a:gd name="connsiteY164" fmla="*/ 151561 h 180657"/>
                  <a:gd name="connsiteX165" fmla="*/ 330808 w 400813"/>
                  <a:gd name="connsiteY165" fmla="*/ 151297 h 180657"/>
                  <a:gd name="connsiteX166" fmla="*/ 331954 w 400813"/>
                  <a:gd name="connsiteY166" fmla="*/ 151297 h 180657"/>
                  <a:gd name="connsiteX167" fmla="*/ 332218 w 400813"/>
                  <a:gd name="connsiteY167" fmla="*/ 150415 h 180657"/>
                  <a:gd name="connsiteX168" fmla="*/ 332218 w 400813"/>
                  <a:gd name="connsiteY168" fmla="*/ 149798 h 180657"/>
                  <a:gd name="connsiteX169" fmla="*/ 331072 w 400813"/>
                  <a:gd name="connsiteY169" fmla="*/ 148652 h 180657"/>
                  <a:gd name="connsiteX170" fmla="*/ 330808 w 400813"/>
                  <a:gd name="connsiteY170" fmla="*/ 148387 h 180657"/>
                  <a:gd name="connsiteX171" fmla="*/ 331337 w 400813"/>
                  <a:gd name="connsiteY171" fmla="*/ 148123 h 180657"/>
                  <a:gd name="connsiteX172" fmla="*/ 333365 w 400813"/>
                  <a:gd name="connsiteY172" fmla="*/ 148387 h 180657"/>
                  <a:gd name="connsiteX173" fmla="*/ 336010 w 400813"/>
                  <a:gd name="connsiteY173" fmla="*/ 148387 h 180657"/>
                  <a:gd name="connsiteX174" fmla="*/ 337156 w 400813"/>
                  <a:gd name="connsiteY174" fmla="*/ 148652 h 180657"/>
                  <a:gd name="connsiteX175" fmla="*/ 338302 w 400813"/>
                  <a:gd name="connsiteY175" fmla="*/ 148916 h 180657"/>
                  <a:gd name="connsiteX176" fmla="*/ 337156 w 400813"/>
                  <a:gd name="connsiteY176" fmla="*/ 149534 h 180657"/>
                  <a:gd name="connsiteX177" fmla="*/ 336891 w 400813"/>
                  <a:gd name="connsiteY177" fmla="*/ 150415 h 180657"/>
                  <a:gd name="connsiteX178" fmla="*/ 335745 w 400813"/>
                  <a:gd name="connsiteY178" fmla="*/ 151032 h 180657"/>
                  <a:gd name="connsiteX179" fmla="*/ 336010 w 400813"/>
                  <a:gd name="connsiteY179" fmla="*/ 152179 h 180657"/>
                  <a:gd name="connsiteX180" fmla="*/ 336010 w 400813"/>
                  <a:gd name="connsiteY180" fmla="*/ 152443 h 180657"/>
                  <a:gd name="connsiteX181" fmla="*/ 337156 w 400813"/>
                  <a:gd name="connsiteY181" fmla="*/ 152708 h 180657"/>
                  <a:gd name="connsiteX182" fmla="*/ 338302 w 400813"/>
                  <a:gd name="connsiteY182" fmla="*/ 153325 h 180657"/>
                  <a:gd name="connsiteX183" fmla="*/ 339184 w 400813"/>
                  <a:gd name="connsiteY183" fmla="*/ 153942 h 180657"/>
                  <a:gd name="connsiteX184" fmla="*/ 339448 w 400813"/>
                  <a:gd name="connsiteY184" fmla="*/ 153060 h 180657"/>
                  <a:gd name="connsiteX185" fmla="*/ 339713 w 400813"/>
                  <a:gd name="connsiteY185" fmla="*/ 151914 h 180657"/>
                  <a:gd name="connsiteX186" fmla="*/ 340330 w 400813"/>
                  <a:gd name="connsiteY186" fmla="*/ 150768 h 180657"/>
                  <a:gd name="connsiteX187" fmla="*/ 340330 w 400813"/>
                  <a:gd name="connsiteY187" fmla="*/ 149886 h 180657"/>
                  <a:gd name="connsiteX188" fmla="*/ 340947 w 400813"/>
                  <a:gd name="connsiteY188" fmla="*/ 149622 h 180657"/>
                  <a:gd name="connsiteX189" fmla="*/ 341829 w 400813"/>
                  <a:gd name="connsiteY189" fmla="*/ 149886 h 180657"/>
                  <a:gd name="connsiteX190" fmla="*/ 341829 w 400813"/>
                  <a:gd name="connsiteY190" fmla="*/ 151032 h 180657"/>
                  <a:gd name="connsiteX191" fmla="*/ 342093 w 400813"/>
                  <a:gd name="connsiteY191" fmla="*/ 152531 h 180657"/>
                  <a:gd name="connsiteX192" fmla="*/ 342358 w 400813"/>
                  <a:gd name="connsiteY192" fmla="*/ 153677 h 180657"/>
                  <a:gd name="connsiteX193" fmla="*/ 341476 w 400813"/>
                  <a:gd name="connsiteY193" fmla="*/ 154559 h 180657"/>
                  <a:gd name="connsiteX194" fmla="*/ 341476 w 400813"/>
                  <a:gd name="connsiteY194" fmla="*/ 154824 h 180657"/>
                  <a:gd name="connsiteX195" fmla="*/ 342093 w 400813"/>
                  <a:gd name="connsiteY195" fmla="*/ 155441 h 180657"/>
                  <a:gd name="connsiteX196" fmla="*/ 342975 w 400813"/>
                  <a:gd name="connsiteY196" fmla="*/ 154824 h 180657"/>
                  <a:gd name="connsiteX197" fmla="*/ 343592 w 400813"/>
                  <a:gd name="connsiteY197" fmla="*/ 152796 h 180657"/>
                  <a:gd name="connsiteX198" fmla="*/ 342710 w 400813"/>
                  <a:gd name="connsiteY198" fmla="*/ 150151 h 180657"/>
                  <a:gd name="connsiteX199" fmla="*/ 341212 w 400813"/>
                  <a:gd name="connsiteY199" fmla="*/ 148740 h 180657"/>
                  <a:gd name="connsiteX200" fmla="*/ 339448 w 400813"/>
                  <a:gd name="connsiteY200" fmla="*/ 148476 h 180657"/>
                  <a:gd name="connsiteX201" fmla="*/ 340330 w 400813"/>
                  <a:gd name="connsiteY201" fmla="*/ 147594 h 180657"/>
                  <a:gd name="connsiteX202" fmla="*/ 342710 w 400813"/>
                  <a:gd name="connsiteY202" fmla="*/ 146448 h 180657"/>
                  <a:gd name="connsiteX203" fmla="*/ 345356 w 400813"/>
                  <a:gd name="connsiteY203" fmla="*/ 145566 h 180657"/>
                  <a:gd name="connsiteX204" fmla="*/ 347736 w 400813"/>
                  <a:gd name="connsiteY204" fmla="*/ 145566 h 180657"/>
                  <a:gd name="connsiteX205" fmla="*/ 350381 w 400813"/>
                  <a:gd name="connsiteY205" fmla="*/ 145831 h 180657"/>
                  <a:gd name="connsiteX206" fmla="*/ 348618 w 400813"/>
                  <a:gd name="connsiteY206" fmla="*/ 169724 h 180657"/>
                  <a:gd name="connsiteX207" fmla="*/ 349500 w 400813"/>
                  <a:gd name="connsiteY207" fmla="*/ 169989 h 180657"/>
                  <a:gd name="connsiteX208" fmla="*/ 350646 w 400813"/>
                  <a:gd name="connsiteY208" fmla="*/ 170606 h 180657"/>
                  <a:gd name="connsiteX209" fmla="*/ 351527 w 400813"/>
                  <a:gd name="connsiteY209" fmla="*/ 171487 h 180657"/>
                  <a:gd name="connsiteX210" fmla="*/ 351792 w 400813"/>
                  <a:gd name="connsiteY210" fmla="*/ 172105 h 180657"/>
                  <a:gd name="connsiteX211" fmla="*/ 350910 w 400813"/>
                  <a:gd name="connsiteY211" fmla="*/ 172369 h 180657"/>
                  <a:gd name="connsiteX212" fmla="*/ 349411 w 400813"/>
                  <a:gd name="connsiteY212" fmla="*/ 172898 h 180657"/>
                  <a:gd name="connsiteX213" fmla="*/ 347383 w 400813"/>
                  <a:gd name="connsiteY213" fmla="*/ 173163 h 180657"/>
                  <a:gd name="connsiteX214" fmla="*/ 346237 w 400813"/>
                  <a:gd name="connsiteY214" fmla="*/ 173780 h 180657"/>
                  <a:gd name="connsiteX215" fmla="*/ 345356 w 400813"/>
                  <a:gd name="connsiteY215" fmla="*/ 173163 h 180657"/>
                  <a:gd name="connsiteX216" fmla="*/ 345091 w 400813"/>
                  <a:gd name="connsiteY216" fmla="*/ 172898 h 180657"/>
                  <a:gd name="connsiteX217" fmla="*/ 345356 w 400813"/>
                  <a:gd name="connsiteY217" fmla="*/ 172369 h 180657"/>
                  <a:gd name="connsiteX218" fmla="*/ 346237 w 400813"/>
                  <a:gd name="connsiteY218" fmla="*/ 171752 h 180657"/>
                  <a:gd name="connsiteX219" fmla="*/ 346854 w 400813"/>
                  <a:gd name="connsiteY219" fmla="*/ 171135 h 180657"/>
                  <a:gd name="connsiteX220" fmla="*/ 347736 w 400813"/>
                  <a:gd name="connsiteY220" fmla="*/ 170606 h 180657"/>
                  <a:gd name="connsiteX221" fmla="*/ 348001 w 400813"/>
                  <a:gd name="connsiteY221" fmla="*/ 169989 h 180657"/>
                  <a:gd name="connsiteX222" fmla="*/ 348618 w 400813"/>
                  <a:gd name="connsiteY222" fmla="*/ 169724 h 180657"/>
                  <a:gd name="connsiteX223" fmla="*/ 340771 w 400813"/>
                  <a:gd name="connsiteY223" fmla="*/ 172634 h 180657"/>
                  <a:gd name="connsiteX224" fmla="*/ 342270 w 400813"/>
                  <a:gd name="connsiteY224" fmla="*/ 172634 h 180657"/>
                  <a:gd name="connsiteX225" fmla="*/ 342887 w 400813"/>
                  <a:gd name="connsiteY225" fmla="*/ 172898 h 180657"/>
                  <a:gd name="connsiteX226" fmla="*/ 343768 w 400813"/>
                  <a:gd name="connsiteY226" fmla="*/ 173163 h 180657"/>
                  <a:gd name="connsiteX227" fmla="*/ 344650 w 400813"/>
                  <a:gd name="connsiteY227" fmla="*/ 174044 h 180657"/>
                  <a:gd name="connsiteX228" fmla="*/ 344650 w 400813"/>
                  <a:gd name="connsiteY228" fmla="*/ 174926 h 180657"/>
                  <a:gd name="connsiteX229" fmla="*/ 344386 w 400813"/>
                  <a:gd name="connsiteY229" fmla="*/ 176072 h 180657"/>
                  <a:gd name="connsiteX230" fmla="*/ 343239 w 400813"/>
                  <a:gd name="connsiteY230" fmla="*/ 177219 h 180657"/>
                  <a:gd name="connsiteX231" fmla="*/ 343504 w 400813"/>
                  <a:gd name="connsiteY231" fmla="*/ 179246 h 180657"/>
                  <a:gd name="connsiteX232" fmla="*/ 343504 w 400813"/>
                  <a:gd name="connsiteY232" fmla="*/ 180393 h 180657"/>
                  <a:gd name="connsiteX233" fmla="*/ 342622 w 400813"/>
                  <a:gd name="connsiteY233" fmla="*/ 180657 h 180657"/>
                  <a:gd name="connsiteX234" fmla="*/ 341741 w 400813"/>
                  <a:gd name="connsiteY234" fmla="*/ 178894 h 180657"/>
                  <a:gd name="connsiteX235" fmla="*/ 340859 w 400813"/>
                  <a:gd name="connsiteY235" fmla="*/ 176601 h 180657"/>
                  <a:gd name="connsiteX236" fmla="*/ 340595 w 400813"/>
                  <a:gd name="connsiteY236" fmla="*/ 174838 h 180657"/>
                  <a:gd name="connsiteX237" fmla="*/ 340330 w 400813"/>
                  <a:gd name="connsiteY237" fmla="*/ 173427 h 180657"/>
                  <a:gd name="connsiteX238" fmla="*/ 340330 w 400813"/>
                  <a:gd name="connsiteY238" fmla="*/ 172810 h 180657"/>
                  <a:gd name="connsiteX239" fmla="*/ 340771 w 400813"/>
                  <a:gd name="connsiteY239" fmla="*/ 172634 h 180657"/>
                  <a:gd name="connsiteX240" fmla="*/ 330279 w 400813"/>
                  <a:gd name="connsiteY240" fmla="*/ 170606 h 180657"/>
                  <a:gd name="connsiteX241" fmla="*/ 331160 w 400813"/>
                  <a:gd name="connsiteY241" fmla="*/ 172634 h 180657"/>
                  <a:gd name="connsiteX242" fmla="*/ 333188 w 400813"/>
                  <a:gd name="connsiteY242" fmla="*/ 172634 h 180657"/>
                  <a:gd name="connsiteX243" fmla="*/ 333453 w 400813"/>
                  <a:gd name="connsiteY243" fmla="*/ 173780 h 180657"/>
                  <a:gd name="connsiteX244" fmla="*/ 335216 w 400813"/>
                  <a:gd name="connsiteY244" fmla="*/ 174926 h 180657"/>
                  <a:gd name="connsiteX245" fmla="*/ 336362 w 400813"/>
                  <a:gd name="connsiteY245" fmla="*/ 175191 h 180657"/>
                  <a:gd name="connsiteX246" fmla="*/ 336362 w 400813"/>
                  <a:gd name="connsiteY246" fmla="*/ 174573 h 180657"/>
                  <a:gd name="connsiteX247" fmla="*/ 336627 w 400813"/>
                  <a:gd name="connsiteY247" fmla="*/ 173956 h 180657"/>
                  <a:gd name="connsiteX248" fmla="*/ 337509 w 400813"/>
                  <a:gd name="connsiteY248" fmla="*/ 173692 h 180657"/>
                  <a:gd name="connsiteX249" fmla="*/ 338390 w 400813"/>
                  <a:gd name="connsiteY249" fmla="*/ 173692 h 180657"/>
                  <a:gd name="connsiteX250" fmla="*/ 339537 w 400813"/>
                  <a:gd name="connsiteY250" fmla="*/ 174573 h 180657"/>
                  <a:gd name="connsiteX251" fmla="*/ 340154 w 400813"/>
                  <a:gd name="connsiteY251" fmla="*/ 175455 h 180657"/>
                  <a:gd name="connsiteX252" fmla="*/ 339537 w 400813"/>
                  <a:gd name="connsiteY252" fmla="*/ 176337 h 180657"/>
                  <a:gd name="connsiteX253" fmla="*/ 339537 w 400813"/>
                  <a:gd name="connsiteY253" fmla="*/ 177483 h 180657"/>
                  <a:gd name="connsiteX254" fmla="*/ 340683 w 400813"/>
                  <a:gd name="connsiteY254" fmla="*/ 178365 h 180657"/>
                  <a:gd name="connsiteX255" fmla="*/ 340683 w 400813"/>
                  <a:gd name="connsiteY255" fmla="*/ 179246 h 180657"/>
                  <a:gd name="connsiteX256" fmla="*/ 339537 w 400813"/>
                  <a:gd name="connsiteY256" fmla="*/ 179511 h 180657"/>
                  <a:gd name="connsiteX257" fmla="*/ 337156 w 400813"/>
                  <a:gd name="connsiteY257" fmla="*/ 177747 h 180657"/>
                  <a:gd name="connsiteX258" fmla="*/ 335657 w 400813"/>
                  <a:gd name="connsiteY258" fmla="*/ 178012 h 180657"/>
                  <a:gd name="connsiteX259" fmla="*/ 332483 w 400813"/>
                  <a:gd name="connsiteY259" fmla="*/ 178012 h 180657"/>
                  <a:gd name="connsiteX260" fmla="*/ 328956 w 400813"/>
                  <a:gd name="connsiteY260" fmla="*/ 178276 h 180657"/>
                  <a:gd name="connsiteX261" fmla="*/ 325694 w 400813"/>
                  <a:gd name="connsiteY261" fmla="*/ 176513 h 180657"/>
                  <a:gd name="connsiteX262" fmla="*/ 324548 w 400813"/>
                  <a:gd name="connsiteY262" fmla="*/ 175631 h 180657"/>
                  <a:gd name="connsiteX263" fmla="*/ 325165 w 400813"/>
                  <a:gd name="connsiteY263" fmla="*/ 175367 h 180657"/>
                  <a:gd name="connsiteX264" fmla="*/ 326047 w 400813"/>
                  <a:gd name="connsiteY264" fmla="*/ 175102 h 180657"/>
                  <a:gd name="connsiteX265" fmla="*/ 325782 w 400813"/>
                  <a:gd name="connsiteY265" fmla="*/ 174838 h 180657"/>
                  <a:gd name="connsiteX266" fmla="*/ 325782 w 400813"/>
                  <a:gd name="connsiteY266" fmla="*/ 173692 h 180657"/>
                  <a:gd name="connsiteX267" fmla="*/ 325782 w 400813"/>
                  <a:gd name="connsiteY267" fmla="*/ 172810 h 180657"/>
                  <a:gd name="connsiteX268" fmla="*/ 327545 w 400813"/>
                  <a:gd name="connsiteY268" fmla="*/ 171047 h 180657"/>
                  <a:gd name="connsiteX269" fmla="*/ 330279 w 400813"/>
                  <a:gd name="connsiteY269" fmla="*/ 170606 h 180657"/>
                  <a:gd name="connsiteX270" fmla="*/ 394995 w 400813"/>
                  <a:gd name="connsiteY270" fmla="*/ 163023 h 180657"/>
                  <a:gd name="connsiteX271" fmla="*/ 397022 w 400813"/>
                  <a:gd name="connsiteY271" fmla="*/ 164169 h 180657"/>
                  <a:gd name="connsiteX272" fmla="*/ 397287 w 400813"/>
                  <a:gd name="connsiteY272" fmla="*/ 165668 h 180657"/>
                  <a:gd name="connsiteX273" fmla="*/ 398786 w 400813"/>
                  <a:gd name="connsiteY273" fmla="*/ 166815 h 180657"/>
                  <a:gd name="connsiteX274" fmla="*/ 399932 w 400813"/>
                  <a:gd name="connsiteY274" fmla="*/ 168225 h 180657"/>
                  <a:gd name="connsiteX275" fmla="*/ 400813 w 400813"/>
                  <a:gd name="connsiteY275" fmla="*/ 169724 h 180657"/>
                  <a:gd name="connsiteX276" fmla="*/ 399667 w 400813"/>
                  <a:gd name="connsiteY276" fmla="*/ 170606 h 180657"/>
                  <a:gd name="connsiteX277" fmla="*/ 398786 w 400813"/>
                  <a:gd name="connsiteY277" fmla="*/ 169724 h 180657"/>
                  <a:gd name="connsiteX278" fmla="*/ 397639 w 400813"/>
                  <a:gd name="connsiteY278" fmla="*/ 169724 h 180657"/>
                  <a:gd name="connsiteX279" fmla="*/ 395876 w 400813"/>
                  <a:gd name="connsiteY279" fmla="*/ 167961 h 180657"/>
                  <a:gd name="connsiteX280" fmla="*/ 393584 w 400813"/>
                  <a:gd name="connsiteY280" fmla="*/ 167696 h 180657"/>
                  <a:gd name="connsiteX281" fmla="*/ 393319 w 400813"/>
                  <a:gd name="connsiteY281" fmla="*/ 166197 h 180657"/>
                  <a:gd name="connsiteX282" fmla="*/ 393936 w 400813"/>
                  <a:gd name="connsiteY282" fmla="*/ 164698 h 180657"/>
                  <a:gd name="connsiteX283" fmla="*/ 394995 w 400813"/>
                  <a:gd name="connsiteY283" fmla="*/ 163023 h 180657"/>
                  <a:gd name="connsiteX284" fmla="*/ 281257 w 400813"/>
                  <a:gd name="connsiteY284" fmla="*/ 173868 h 180657"/>
                  <a:gd name="connsiteX285" fmla="*/ 282756 w 400813"/>
                  <a:gd name="connsiteY285" fmla="*/ 174133 h 180657"/>
                  <a:gd name="connsiteX286" fmla="*/ 283638 w 400813"/>
                  <a:gd name="connsiteY286" fmla="*/ 174397 h 180657"/>
                  <a:gd name="connsiteX287" fmla="*/ 285666 w 400813"/>
                  <a:gd name="connsiteY287" fmla="*/ 173780 h 180657"/>
                  <a:gd name="connsiteX288" fmla="*/ 288575 w 400813"/>
                  <a:gd name="connsiteY288" fmla="*/ 174044 h 180657"/>
                  <a:gd name="connsiteX289" fmla="*/ 290956 w 400813"/>
                  <a:gd name="connsiteY289" fmla="*/ 174662 h 180657"/>
                  <a:gd name="connsiteX290" fmla="*/ 292984 w 400813"/>
                  <a:gd name="connsiteY290" fmla="*/ 175279 h 180657"/>
                  <a:gd name="connsiteX291" fmla="*/ 292719 w 400813"/>
                  <a:gd name="connsiteY291" fmla="*/ 176160 h 180657"/>
                  <a:gd name="connsiteX292" fmla="*/ 295364 w 400813"/>
                  <a:gd name="connsiteY292" fmla="*/ 176160 h 180657"/>
                  <a:gd name="connsiteX293" fmla="*/ 295981 w 400813"/>
                  <a:gd name="connsiteY293" fmla="*/ 175279 h 180657"/>
                  <a:gd name="connsiteX294" fmla="*/ 296863 w 400813"/>
                  <a:gd name="connsiteY294" fmla="*/ 175896 h 180657"/>
                  <a:gd name="connsiteX295" fmla="*/ 297480 w 400813"/>
                  <a:gd name="connsiteY295" fmla="*/ 176513 h 180657"/>
                  <a:gd name="connsiteX296" fmla="*/ 298626 w 400813"/>
                  <a:gd name="connsiteY296" fmla="*/ 176249 h 180657"/>
                  <a:gd name="connsiteX297" fmla="*/ 299508 w 400813"/>
                  <a:gd name="connsiteY297" fmla="*/ 175631 h 180657"/>
                  <a:gd name="connsiteX298" fmla="*/ 301007 w 400813"/>
                  <a:gd name="connsiteY298" fmla="*/ 175367 h 180657"/>
                  <a:gd name="connsiteX299" fmla="*/ 301888 w 400813"/>
                  <a:gd name="connsiteY299" fmla="*/ 174750 h 180657"/>
                  <a:gd name="connsiteX300" fmla="*/ 302506 w 400813"/>
                  <a:gd name="connsiteY300" fmla="*/ 173604 h 180657"/>
                  <a:gd name="connsiteX301" fmla="*/ 301359 w 400813"/>
                  <a:gd name="connsiteY301" fmla="*/ 172105 h 180657"/>
                  <a:gd name="connsiteX302" fmla="*/ 300478 w 400813"/>
                  <a:gd name="connsiteY302" fmla="*/ 170958 h 180657"/>
                  <a:gd name="connsiteX303" fmla="*/ 299596 w 400813"/>
                  <a:gd name="connsiteY303" fmla="*/ 170430 h 180657"/>
                  <a:gd name="connsiteX304" fmla="*/ 299067 w 400813"/>
                  <a:gd name="connsiteY304" fmla="*/ 170165 h 180657"/>
                  <a:gd name="connsiteX305" fmla="*/ 298186 w 400813"/>
                  <a:gd name="connsiteY305" fmla="*/ 170165 h 180657"/>
                  <a:gd name="connsiteX306" fmla="*/ 297304 w 400813"/>
                  <a:gd name="connsiteY306" fmla="*/ 169901 h 180657"/>
                  <a:gd name="connsiteX307" fmla="*/ 296687 w 400813"/>
                  <a:gd name="connsiteY307" fmla="*/ 169636 h 180657"/>
                  <a:gd name="connsiteX308" fmla="*/ 296687 w 400813"/>
                  <a:gd name="connsiteY308" fmla="*/ 168754 h 180657"/>
                  <a:gd name="connsiteX309" fmla="*/ 296687 w 400813"/>
                  <a:gd name="connsiteY309" fmla="*/ 168137 h 180657"/>
                  <a:gd name="connsiteX310" fmla="*/ 296422 w 400813"/>
                  <a:gd name="connsiteY310" fmla="*/ 167873 h 180657"/>
                  <a:gd name="connsiteX311" fmla="*/ 297568 w 400813"/>
                  <a:gd name="connsiteY311" fmla="*/ 167255 h 180657"/>
                  <a:gd name="connsiteX312" fmla="*/ 298450 w 400813"/>
                  <a:gd name="connsiteY312" fmla="*/ 166991 h 180657"/>
                  <a:gd name="connsiteX313" fmla="*/ 300214 w 400813"/>
                  <a:gd name="connsiteY313" fmla="*/ 166374 h 180657"/>
                  <a:gd name="connsiteX314" fmla="*/ 300214 w 400813"/>
                  <a:gd name="connsiteY314" fmla="*/ 165492 h 180657"/>
                  <a:gd name="connsiteX315" fmla="*/ 299949 w 400813"/>
                  <a:gd name="connsiteY315" fmla="*/ 164610 h 180657"/>
                  <a:gd name="connsiteX316" fmla="*/ 299332 w 400813"/>
                  <a:gd name="connsiteY316" fmla="*/ 163729 h 180657"/>
                  <a:gd name="connsiteX317" fmla="*/ 299332 w 400813"/>
                  <a:gd name="connsiteY317" fmla="*/ 163112 h 180657"/>
                  <a:gd name="connsiteX318" fmla="*/ 299067 w 400813"/>
                  <a:gd name="connsiteY318" fmla="*/ 162230 h 180657"/>
                  <a:gd name="connsiteX319" fmla="*/ 299067 w 400813"/>
                  <a:gd name="connsiteY319" fmla="*/ 161348 h 180657"/>
                  <a:gd name="connsiteX320" fmla="*/ 299332 w 400813"/>
                  <a:gd name="connsiteY320" fmla="*/ 161084 h 180657"/>
                  <a:gd name="connsiteX321" fmla="*/ 299332 w 400813"/>
                  <a:gd name="connsiteY321" fmla="*/ 160466 h 180657"/>
                  <a:gd name="connsiteX322" fmla="*/ 298450 w 400813"/>
                  <a:gd name="connsiteY322" fmla="*/ 160202 h 180657"/>
                  <a:gd name="connsiteX323" fmla="*/ 297304 w 400813"/>
                  <a:gd name="connsiteY323" fmla="*/ 159937 h 180657"/>
                  <a:gd name="connsiteX324" fmla="*/ 296687 w 400813"/>
                  <a:gd name="connsiteY324" fmla="*/ 159937 h 180657"/>
                  <a:gd name="connsiteX325" fmla="*/ 297568 w 400813"/>
                  <a:gd name="connsiteY325" fmla="*/ 159673 h 180657"/>
                  <a:gd name="connsiteX326" fmla="*/ 298450 w 400813"/>
                  <a:gd name="connsiteY326" fmla="*/ 159673 h 180657"/>
                  <a:gd name="connsiteX327" fmla="*/ 299596 w 400813"/>
                  <a:gd name="connsiteY327" fmla="*/ 159408 h 180657"/>
                  <a:gd name="connsiteX328" fmla="*/ 300478 w 400813"/>
                  <a:gd name="connsiteY328" fmla="*/ 158527 h 180657"/>
                  <a:gd name="connsiteX329" fmla="*/ 301359 w 400813"/>
                  <a:gd name="connsiteY329" fmla="*/ 157910 h 180657"/>
                  <a:gd name="connsiteX330" fmla="*/ 302241 w 400813"/>
                  <a:gd name="connsiteY330" fmla="*/ 157292 h 180657"/>
                  <a:gd name="connsiteX331" fmla="*/ 302506 w 400813"/>
                  <a:gd name="connsiteY331" fmla="*/ 157028 h 180657"/>
                  <a:gd name="connsiteX332" fmla="*/ 302241 w 400813"/>
                  <a:gd name="connsiteY332" fmla="*/ 156411 h 180657"/>
                  <a:gd name="connsiteX333" fmla="*/ 300478 w 400813"/>
                  <a:gd name="connsiteY333" fmla="*/ 155794 h 180657"/>
                  <a:gd name="connsiteX334" fmla="*/ 299332 w 400813"/>
                  <a:gd name="connsiteY334" fmla="*/ 155176 h 180657"/>
                  <a:gd name="connsiteX335" fmla="*/ 298186 w 400813"/>
                  <a:gd name="connsiteY335" fmla="*/ 154824 h 180657"/>
                  <a:gd name="connsiteX336" fmla="*/ 298450 w 400813"/>
                  <a:gd name="connsiteY336" fmla="*/ 154559 h 180657"/>
                  <a:gd name="connsiteX337" fmla="*/ 299332 w 400813"/>
                  <a:gd name="connsiteY337" fmla="*/ 154559 h 180657"/>
                  <a:gd name="connsiteX338" fmla="*/ 300742 w 400813"/>
                  <a:gd name="connsiteY338" fmla="*/ 154559 h 180657"/>
                  <a:gd name="connsiteX339" fmla="*/ 302770 w 400813"/>
                  <a:gd name="connsiteY339" fmla="*/ 154824 h 180657"/>
                  <a:gd name="connsiteX340" fmla="*/ 304181 w 400813"/>
                  <a:gd name="connsiteY340" fmla="*/ 154559 h 180657"/>
                  <a:gd name="connsiteX341" fmla="*/ 306209 w 400813"/>
                  <a:gd name="connsiteY341" fmla="*/ 153677 h 180657"/>
                  <a:gd name="connsiteX342" fmla="*/ 306209 w 400813"/>
                  <a:gd name="connsiteY342" fmla="*/ 153148 h 180657"/>
                  <a:gd name="connsiteX343" fmla="*/ 306473 w 400813"/>
                  <a:gd name="connsiteY343" fmla="*/ 152531 h 180657"/>
                  <a:gd name="connsiteX344" fmla="*/ 305856 w 400813"/>
                  <a:gd name="connsiteY344" fmla="*/ 152267 h 180657"/>
                  <a:gd name="connsiteX345" fmla="*/ 305592 w 400813"/>
                  <a:gd name="connsiteY345" fmla="*/ 151650 h 180657"/>
                  <a:gd name="connsiteX346" fmla="*/ 304974 w 400813"/>
                  <a:gd name="connsiteY346" fmla="*/ 151032 h 180657"/>
                  <a:gd name="connsiteX347" fmla="*/ 305856 w 400813"/>
                  <a:gd name="connsiteY347" fmla="*/ 150415 h 180657"/>
                  <a:gd name="connsiteX348" fmla="*/ 306738 w 400813"/>
                  <a:gd name="connsiteY348" fmla="*/ 150151 h 180657"/>
                  <a:gd name="connsiteX349" fmla="*/ 307355 w 400813"/>
                  <a:gd name="connsiteY349" fmla="*/ 150415 h 180657"/>
                  <a:gd name="connsiteX350" fmla="*/ 307620 w 400813"/>
                  <a:gd name="connsiteY350" fmla="*/ 151032 h 180657"/>
                  <a:gd name="connsiteX351" fmla="*/ 307884 w 400813"/>
                  <a:gd name="connsiteY351" fmla="*/ 150768 h 180657"/>
                  <a:gd name="connsiteX352" fmla="*/ 308766 w 400813"/>
                  <a:gd name="connsiteY352" fmla="*/ 150151 h 180657"/>
                  <a:gd name="connsiteX353" fmla="*/ 309383 w 400813"/>
                  <a:gd name="connsiteY353" fmla="*/ 149005 h 180657"/>
                  <a:gd name="connsiteX354" fmla="*/ 309912 w 400813"/>
                  <a:gd name="connsiteY354" fmla="*/ 148123 h 180657"/>
                  <a:gd name="connsiteX355" fmla="*/ 309912 w 400813"/>
                  <a:gd name="connsiteY355" fmla="*/ 147241 h 180657"/>
                  <a:gd name="connsiteX356" fmla="*/ 309912 w 400813"/>
                  <a:gd name="connsiteY356" fmla="*/ 146624 h 180657"/>
                  <a:gd name="connsiteX357" fmla="*/ 309912 w 400813"/>
                  <a:gd name="connsiteY357" fmla="*/ 146095 h 180657"/>
                  <a:gd name="connsiteX358" fmla="*/ 309647 w 400813"/>
                  <a:gd name="connsiteY358" fmla="*/ 145213 h 180657"/>
                  <a:gd name="connsiteX359" fmla="*/ 309647 w 400813"/>
                  <a:gd name="connsiteY359" fmla="*/ 143714 h 180657"/>
                  <a:gd name="connsiteX360" fmla="*/ 310176 w 400813"/>
                  <a:gd name="connsiteY360" fmla="*/ 142568 h 180657"/>
                  <a:gd name="connsiteX361" fmla="*/ 311058 w 400813"/>
                  <a:gd name="connsiteY361" fmla="*/ 141687 h 180657"/>
                  <a:gd name="connsiteX362" fmla="*/ 312204 w 400813"/>
                  <a:gd name="connsiteY362" fmla="*/ 141422 h 180657"/>
                  <a:gd name="connsiteX363" fmla="*/ 312469 w 400813"/>
                  <a:gd name="connsiteY363" fmla="*/ 142039 h 180657"/>
                  <a:gd name="connsiteX364" fmla="*/ 312733 w 400813"/>
                  <a:gd name="connsiteY364" fmla="*/ 142656 h 180657"/>
                  <a:gd name="connsiteX365" fmla="*/ 312469 w 400813"/>
                  <a:gd name="connsiteY365" fmla="*/ 143274 h 180657"/>
                  <a:gd name="connsiteX366" fmla="*/ 311587 w 400813"/>
                  <a:gd name="connsiteY366" fmla="*/ 143538 h 180657"/>
                  <a:gd name="connsiteX367" fmla="*/ 311323 w 400813"/>
                  <a:gd name="connsiteY367" fmla="*/ 143538 h 180657"/>
                  <a:gd name="connsiteX368" fmla="*/ 311940 w 400813"/>
                  <a:gd name="connsiteY368" fmla="*/ 143803 h 180657"/>
                  <a:gd name="connsiteX369" fmla="*/ 313086 w 400813"/>
                  <a:gd name="connsiteY369" fmla="*/ 144420 h 180657"/>
                  <a:gd name="connsiteX370" fmla="*/ 313086 w 400813"/>
                  <a:gd name="connsiteY370" fmla="*/ 144684 h 180657"/>
                  <a:gd name="connsiteX371" fmla="*/ 313703 w 400813"/>
                  <a:gd name="connsiteY371" fmla="*/ 144949 h 180657"/>
                  <a:gd name="connsiteX372" fmla="*/ 314585 w 400813"/>
                  <a:gd name="connsiteY372" fmla="*/ 145566 h 180657"/>
                  <a:gd name="connsiteX373" fmla="*/ 314320 w 400813"/>
                  <a:gd name="connsiteY373" fmla="*/ 144684 h 180657"/>
                  <a:gd name="connsiteX374" fmla="*/ 314585 w 400813"/>
                  <a:gd name="connsiteY374" fmla="*/ 144067 h 180657"/>
                  <a:gd name="connsiteX375" fmla="*/ 315466 w 400813"/>
                  <a:gd name="connsiteY375" fmla="*/ 144332 h 180657"/>
                  <a:gd name="connsiteX376" fmla="*/ 315731 w 400813"/>
                  <a:gd name="connsiteY376" fmla="*/ 143450 h 180657"/>
                  <a:gd name="connsiteX377" fmla="*/ 315995 w 400813"/>
                  <a:gd name="connsiteY377" fmla="*/ 144861 h 180657"/>
                  <a:gd name="connsiteX378" fmla="*/ 316877 w 400813"/>
                  <a:gd name="connsiteY378" fmla="*/ 143979 h 180657"/>
                  <a:gd name="connsiteX379" fmla="*/ 318641 w 400813"/>
                  <a:gd name="connsiteY379" fmla="*/ 142480 h 180657"/>
                  <a:gd name="connsiteX380" fmla="*/ 320404 w 400813"/>
                  <a:gd name="connsiteY380" fmla="*/ 140717 h 180657"/>
                  <a:gd name="connsiteX381" fmla="*/ 321550 w 400813"/>
                  <a:gd name="connsiteY381" fmla="*/ 138689 h 180657"/>
                  <a:gd name="connsiteX382" fmla="*/ 320933 w 400813"/>
                  <a:gd name="connsiteY382" fmla="*/ 137278 h 180657"/>
                  <a:gd name="connsiteX383" fmla="*/ 320051 w 400813"/>
                  <a:gd name="connsiteY383" fmla="*/ 136132 h 180657"/>
                  <a:gd name="connsiteX384" fmla="*/ 319170 w 400813"/>
                  <a:gd name="connsiteY384" fmla="*/ 134986 h 180657"/>
                  <a:gd name="connsiteX385" fmla="*/ 317142 w 400813"/>
                  <a:gd name="connsiteY385" fmla="*/ 134369 h 180657"/>
                  <a:gd name="connsiteX386" fmla="*/ 316877 w 400813"/>
                  <a:gd name="connsiteY386" fmla="*/ 135515 h 180657"/>
                  <a:gd name="connsiteX387" fmla="*/ 314232 w 400813"/>
                  <a:gd name="connsiteY387" fmla="*/ 135250 h 180657"/>
                  <a:gd name="connsiteX388" fmla="*/ 314232 w 400813"/>
                  <a:gd name="connsiteY388" fmla="*/ 134369 h 180657"/>
                  <a:gd name="connsiteX389" fmla="*/ 311058 w 400813"/>
                  <a:gd name="connsiteY389" fmla="*/ 134986 h 180657"/>
                  <a:gd name="connsiteX390" fmla="*/ 309912 w 400813"/>
                  <a:gd name="connsiteY390" fmla="*/ 134721 h 180657"/>
                  <a:gd name="connsiteX391" fmla="*/ 309030 w 400813"/>
                  <a:gd name="connsiteY391" fmla="*/ 134986 h 180657"/>
                  <a:gd name="connsiteX392" fmla="*/ 308413 w 400813"/>
                  <a:gd name="connsiteY392" fmla="*/ 135868 h 180657"/>
                  <a:gd name="connsiteX393" fmla="*/ 308149 w 400813"/>
                  <a:gd name="connsiteY393" fmla="*/ 136132 h 180657"/>
                  <a:gd name="connsiteX394" fmla="*/ 308149 w 400813"/>
                  <a:gd name="connsiteY394" fmla="*/ 135515 h 180657"/>
                  <a:gd name="connsiteX395" fmla="*/ 309295 w 400813"/>
                  <a:gd name="connsiteY395" fmla="*/ 134369 h 180657"/>
                  <a:gd name="connsiteX396" fmla="*/ 309559 w 400813"/>
                  <a:gd name="connsiteY396" fmla="*/ 133487 h 180657"/>
                  <a:gd name="connsiteX397" fmla="*/ 309559 w 400813"/>
                  <a:gd name="connsiteY397" fmla="*/ 132605 h 180657"/>
                  <a:gd name="connsiteX398" fmla="*/ 308060 w 400813"/>
                  <a:gd name="connsiteY398" fmla="*/ 131988 h 180657"/>
                  <a:gd name="connsiteX399" fmla="*/ 307179 w 400813"/>
                  <a:gd name="connsiteY399" fmla="*/ 131459 h 180657"/>
                  <a:gd name="connsiteX400" fmla="*/ 307179 w 400813"/>
                  <a:gd name="connsiteY400" fmla="*/ 131195 h 180657"/>
                  <a:gd name="connsiteX401" fmla="*/ 307796 w 400813"/>
                  <a:gd name="connsiteY401" fmla="*/ 131195 h 180657"/>
                  <a:gd name="connsiteX402" fmla="*/ 308942 w 400813"/>
                  <a:gd name="connsiteY402" fmla="*/ 131195 h 180657"/>
                  <a:gd name="connsiteX403" fmla="*/ 308678 w 400813"/>
                  <a:gd name="connsiteY403" fmla="*/ 130313 h 180657"/>
                  <a:gd name="connsiteX404" fmla="*/ 308678 w 400813"/>
                  <a:gd name="connsiteY404" fmla="*/ 128020 h 180657"/>
                  <a:gd name="connsiteX405" fmla="*/ 307531 w 400813"/>
                  <a:gd name="connsiteY405" fmla="*/ 125993 h 180657"/>
                  <a:gd name="connsiteX406" fmla="*/ 305768 w 400813"/>
                  <a:gd name="connsiteY406" fmla="*/ 124494 h 180657"/>
                  <a:gd name="connsiteX407" fmla="*/ 304005 w 400813"/>
                  <a:gd name="connsiteY407" fmla="*/ 124229 h 180657"/>
                  <a:gd name="connsiteX408" fmla="*/ 303123 w 400813"/>
                  <a:gd name="connsiteY408" fmla="*/ 123612 h 180657"/>
                  <a:gd name="connsiteX409" fmla="*/ 303123 w 400813"/>
                  <a:gd name="connsiteY409" fmla="*/ 122995 h 180657"/>
                  <a:gd name="connsiteX410" fmla="*/ 304005 w 400813"/>
                  <a:gd name="connsiteY410" fmla="*/ 123259 h 180657"/>
                  <a:gd name="connsiteX411" fmla="*/ 305768 w 400813"/>
                  <a:gd name="connsiteY411" fmla="*/ 123877 h 180657"/>
                  <a:gd name="connsiteX412" fmla="*/ 307531 w 400813"/>
                  <a:gd name="connsiteY412" fmla="*/ 124406 h 180657"/>
                  <a:gd name="connsiteX413" fmla="*/ 309295 w 400813"/>
                  <a:gd name="connsiteY413" fmla="*/ 123524 h 180657"/>
                  <a:gd name="connsiteX414" fmla="*/ 311058 w 400813"/>
                  <a:gd name="connsiteY414" fmla="*/ 121761 h 180657"/>
                  <a:gd name="connsiteX415" fmla="*/ 311940 w 400813"/>
                  <a:gd name="connsiteY415" fmla="*/ 118498 h 180657"/>
                  <a:gd name="connsiteX416" fmla="*/ 312204 w 400813"/>
                  <a:gd name="connsiteY416" fmla="*/ 116206 h 180657"/>
                  <a:gd name="connsiteX417" fmla="*/ 311587 w 400813"/>
                  <a:gd name="connsiteY417" fmla="*/ 114178 h 180657"/>
                  <a:gd name="connsiteX418" fmla="*/ 311323 w 400813"/>
                  <a:gd name="connsiteY418" fmla="*/ 113032 h 180657"/>
                  <a:gd name="connsiteX419" fmla="*/ 310705 w 400813"/>
                  <a:gd name="connsiteY419" fmla="*/ 112150 h 180657"/>
                  <a:gd name="connsiteX420" fmla="*/ 310441 w 400813"/>
                  <a:gd name="connsiteY420" fmla="*/ 110739 h 180657"/>
                  <a:gd name="connsiteX421" fmla="*/ 311323 w 400813"/>
                  <a:gd name="connsiteY421" fmla="*/ 109241 h 180657"/>
                  <a:gd name="connsiteX422" fmla="*/ 311940 w 400813"/>
                  <a:gd name="connsiteY422" fmla="*/ 108094 h 180657"/>
                  <a:gd name="connsiteX423" fmla="*/ 312204 w 400813"/>
                  <a:gd name="connsiteY423" fmla="*/ 107477 h 180657"/>
                  <a:gd name="connsiteX424" fmla="*/ 310176 w 400813"/>
                  <a:gd name="connsiteY424" fmla="*/ 108359 h 180657"/>
                  <a:gd name="connsiteX425" fmla="*/ 307531 w 400813"/>
                  <a:gd name="connsiteY425" fmla="*/ 109505 h 180657"/>
                  <a:gd name="connsiteX426" fmla="*/ 306032 w 400813"/>
                  <a:gd name="connsiteY426" fmla="*/ 109770 h 180657"/>
                  <a:gd name="connsiteX427" fmla="*/ 304622 w 400813"/>
                  <a:gd name="connsiteY427" fmla="*/ 110651 h 180657"/>
                  <a:gd name="connsiteX428" fmla="*/ 302241 w 400813"/>
                  <a:gd name="connsiteY428" fmla="*/ 110651 h 180657"/>
                  <a:gd name="connsiteX429" fmla="*/ 301624 w 400813"/>
                  <a:gd name="connsiteY429" fmla="*/ 111798 h 180657"/>
                  <a:gd name="connsiteX430" fmla="*/ 299332 w 400813"/>
                  <a:gd name="connsiteY430" fmla="*/ 110651 h 180657"/>
                  <a:gd name="connsiteX431" fmla="*/ 298803 w 400813"/>
                  <a:gd name="connsiteY431" fmla="*/ 114443 h 180657"/>
                  <a:gd name="connsiteX432" fmla="*/ 296775 w 400813"/>
                  <a:gd name="connsiteY432" fmla="*/ 115060 h 180657"/>
                  <a:gd name="connsiteX433" fmla="*/ 295893 w 400813"/>
                  <a:gd name="connsiteY433" fmla="*/ 117705 h 180657"/>
                  <a:gd name="connsiteX434" fmla="*/ 293513 w 400813"/>
                  <a:gd name="connsiteY434" fmla="*/ 117088 h 180657"/>
                  <a:gd name="connsiteX435" fmla="*/ 292014 w 400813"/>
                  <a:gd name="connsiteY435" fmla="*/ 120262 h 180657"/>
                  <a:gd name="connsiteX436" fmla="*/ 290867 w 400813"/>
                  <a:gd name="connsiteY436" fmla="*/ 119997 h 180657"/>
                  <a:gd name="connsiteX437" fmla="*/ 288487 w 400813"/>
                  <a:gd name="connsiteY437" fmla="*/ 121496 h 180657"/>
                  <a:gd name="connsiteX438" fmla="*/ 284696 w 400813"/>
                  <a:gd name="connsiteY438" fmla="*/ 121761 h 180657"/>
                  <a:gd name="connsiteX439" fmla="*/ 282315 w 400813"/>
                  <a:gd name="connsiteY439" fmla="*/ 122025 h 180657"/>
                  <a:gd name="connsiteX440" fmla="*/ 280023 w 400813"/>
                  <a:gd name="connsiteY440" fmla="*/ 122290 h 180657"/>
                  <a:gd name="connsiteX441" fmla="*/ 277995 w 400813"/>
                  <a:gd name="connsiteY441" fmla="*/ 122554 h 180657"/>
                  <a:gd name="connsiteX442" fmla="*/ 277730 w 400813"/>
                  <a:gd name="connsiteY442" fmla="*/ 123436 h 180657"/>
                  <a:gd name="connsiteX443" fmla="*/ 275703 w 400813"/>
                  <a:gd name="connsiteY443" fmla="*/ 123700 h 180657"/>
                  <a:gd name="connsiteX444" fmla="*/ 274821 w 400813"/>
                  <a:gd name="connsiteY444" fmla="*/ 125199 h 180657"/>
                  <a:gd name="connsiteX445" fmla="*/ 272793 w 400813"/>
                  <a:gd name="connsiteY445" fmla="*/ 128109 h 180657"/>
                  <a:gd name="connsiteX446" fmla="*/ 272176 w 400813"/>
                  <a:gd name="connsiteY446" fmla="*/ 129872 h 180657"/>
                  <a:gd name="connsiteX447" fmla="*/ 272176 w 400813"/>
                  <a:gd name="connsiteY447" fmla="*/ 130489 h 180657"/>
                  <a:gd name="connsiteX448" fmla="*/ 272176 w 400813"/>
                  <a:gd name="connsiteY448" fmla="*/ 130225 h 180657"/>
                  <a:gd name="connsiteX449" fmla="*/ 272440 w 400813"/>
                  <a:gd name="connsiteY449" fmla="*/ 130489 h 180657"/>
                  <a:gd name="connsiteX450" fmla="*/ 273586 w 400813"/>
                  <a:gd name="connsiteY450" fmla="*/ 131635 h 180657"/>
                  <a:gd name="connsiteX451" fmla="*/ 275350 w 400813"/>
                  <a:gd name="connsiteY451" fmla="*/ 132782 h 180657"/>
                  <a:gd name="connsiteX452" fmla="*/ 277113 w 400813"/>
                  <a:gd name="connsiteY452" fmla="*/ 133663 h 180657"/>
                  <a:gd name="connsiteX453" fmla="*/ 277995 w 400813"/>
                  <a:gd name="connsiteY453" fmla="*/ 133928 h 180657"/>
                  <a:gd name="connsiteX454" fmla="*/ 278259 w 400813"/>
                  <a:gd name="connsiteY454" fmla="*/ 133046 h 180657"/>
                  <a:gd name="connsiteX455" fmla="*/ 278259 w 400813"/>
                  <a:gd name="connsiteY455" fmla="*/ 132429 h 180657"/>
                  <a:gd name="connsiteX456" fmla="*/ 277378 w 400813"/>
                  <a:gd name="connsiteY456" fmla="*/ 131812 h 180657"/>
                  <a:gd name="connsiteX457" fmla="*/ 277113 w 400813"/>
                  <a:gd name="connsiteY457" fmla="*/ 131812 h 180657"/>
                  <a:gd name="connsiteX458" fmla="*/ 276849 w 400813"/>
                  <a:gd name="connsiteY458" fmla="*/ 131283 h 180657"/>
                  <a:gd name="connsiteX459" fmla="*/ 276849 w 400813"/>
                  <a:gd name="connsiteY459" fmla="*/ 131018 h 180657"/>
                  <a:gd name="connsiteX460" fmla="*/ 276584 w 400813"/>
                  <a:gd name="connsiteY460" fmla="*/ 130666 h 180657"/>
                  <a:gd name="connsiteX461" fmla="*/ 275703 w 400813"/>
                  <a:gd name="connsiteY461" fmla="*/ 130048 h 180657"/>
                  <a:gd name="connsiteX462" fmla="*/ 276849 w 400813"/>
                  <a:gd name="connsiteY462" fmla="*/ 128902 h 180657"/>
                  <a:gd name="connsiteX463" fmla="*/ 277466 w 400813"/>
                  <a:gd name="connsiteY463" fmla="*/ 127756 h 180657"/>
                  <a:gd name="connsiteX464" fmla="*/ 278965 w 400813"/>
                  <a:gd name="connsiteY464" fmla="*/ 126610 h 180657"/>
                  <a:gd name="connsiteX465" fmla="*/ 279846 w 400813"/>
                  <a:gd name="connsiteY465" fmla="*/ 125993 h 180657"/>
                  <a:gd name="connsiteX466" fmla="*/ 280728 w 400813"/>
                  <a:gd name="connsiteY466" fmla="*/ 125375 h 180657"/>
                  <a:gd name="connsiteX467" fmla="*/ 280993 w 400813"/>
                  <a:gd name="connsiteY467" fmla="*/ 124758 h 180657"/>
                  <a:gd name="connsiteX468" fmla="*/ 282139 w 400813"/>
                  <a:gd name="connsiteY468" fmla="*/ 124494 h 180657"/>
                  <a:gd name="connsiteX469" fmla="*/ 283021 w 400813"/>
                  <a:gd name="connsiteY469" fmla="*/ 124229 h 180657"/>
                  <a:gd name="connsiteX470" fmla="*/ 284167 w 400813"/>
                  <a:gd name="connsiteY470" fmla="*/ 124229 h 180657"/>
                  <a:gd name="connsiteX471" fmla="*/ 285313 w 400813"/>
                  <a:gd name="connsiteY471" fmla="*/ 124494 h 180657"/>
                  <a:gd name="connsiteX472" fmla="*/ 286459 w 400813"/>
                  <a:gd name="connsiteY472" fmla="*/ 124229 h 180657"/>
                  <a:gd name="connsiteX473" fmla="*/ 286459 w 400813"/>
                  <a:gd name="connsiteY473" fmla="*/ 123348 h 180657"/>
                  <a:gd name="connsiteX474" fmla="*/ 286194 w 400813"/>
                  <a:gd name="connsiteY474" fmla="*/ 122466 h 180657"/>
                  <a:gd name="connsiteX475" fmla="*/ 287958 w 400813"/>
                  <a:gd name="connsiteY475" fmla="*/ 123348 h 180657"/>
                  <a:gd name="connsiteX476" fmla="*/ 290250 w 400813"/>
                  <a:gd name="connsiteY476" fmla="*/ 123965 h 180657"/>
                  <a:gd name="connsiteX477" fmla="*/ 292895 w 400813"/>
                  <a:gd name="connsiteY477" fmla="*/ 123965 h 180657"/>
                  <a:gd name="connsiteX478" fmla="*/ 295276 w 400813"/>
                  <a:gd name="connsiteY478" fmla="*/ 123700 h 180657"/>
                  <a:gd name="connsiteX479" fmla="*/ 297039 w 400813"/>
                  <a:gd name="connsiteY479" fmla="*/ 123700 h 180657"/>
                  <a:gd name="connsiteX480" fmla="*/ 298186 w 400813"/>
                  <a:gd name="connsiteY480" fmla="*/ 123083 h 180657"/>
                  <a:gd name="connsiteX481" fmla="*/ 300214 w 400813"/>
                  <a:gd name="connsiteY481" fmla="*/ 122819 h 180657"/>
                  <a:gd name="connsiteX482" fmla="*/ 301359 w 400813"/>
                  <a:gd name="connsiteY482" fmla="*/ 122819 h 180657"/>
                  <a:gd name="connsiteX483" fmla="*/ 302241 w 400813"/>
                  <a:gd name="connsiteY483" fmla="*/ 123436 h 180657"/>
                  <a:gd name="connsiteX484" fmla="*/ 301095 w 400813"/>
                  <a:gd name="connsiteY484" fmla="*/ 123700 h 180657"/>
                  <a:gd name="connsiteX485" fmla="*/ 299067 w 400813"/>
                  <a:gd name="connsiteY485" fmla="*/ 123965 h 180657"/>
                  <a:gd name="connsiteX486" fmla="*/ 297304 w 400813"/>
                  <a:gd name="connsiteY486" fmla="*/ 124494 h 180657"/>
                  <a:gd name="connsiteX487" fmla="*/ 296422 w 400813"/>
                  <a:gd name="connsiteY487" fmla="*/ 125375 h 180657"/>
                  <a:gd name="connsiteX488" fmla="*/ 295805 w 400813"/>
                  <a:gd name="connsiteY488" fmla="*/ 125640 h 180657"/>
                  <a:gd name="connsiteX489" fmla="*/ 296070 w 400813"/>
                  <a:gd name="connsiteY489" fmla="*/ 125375 h 180657"/>
                  <a:gd name="connsiteX490" fmla="*/ 294923 w 400813"/>
                  <a:gd name="connsiteY490" fmla="*/ 124758 h 180657"/>
                  <a:gd name="connsiteX491" fmla="*/ 293424 w 400813"/>
                  <a:gd name="connsiteY491" fmla="*/ 124141 h 180657"/>
                  <a:gd name="connsiteX492" fmla="*/ 290515 w 400813"/>
                  <a:gd name="connsiteY492" fmla="*/ 124758 h 180657"/>
                  <a:gd name="connsiteX493" fmla="*/ 288751 w 400813"/>
                  <a:gd name="connsiteY493" fmla="*/ 125640 h 180657"/>
                  <a:gd name="connsiteX494" fmla="*/ 287870 w 400813"/>
                  <a:gd name="connsiteY494" fmla="*/ 126522 h 180657"/>
                  <a:gd name="connsiteX495" fmla="*/ 287870 w 400813"/>
                  <a:gd name="connsiteY495" fmla="*/ 127668 h 180657"/>
                  <a:gd name="connsiteX496" fmla="*/ 287870 w 400813"/>
                  <a:gd name="connsiteY496" fmla="*/ 128550 h 180657"/>
                  <a:gd name="connsiteX497" fmla="*/ 288751 w 400813"/>
                  <a:gd name="connsiteY497" fmla="*/ 129696 h 180657"/>
                  <a:gd name="connsiteX498" fmla="*/ 288751 w 400813"/>
                  <a:gd name="connsiteY498" fmla="*/ 130313 h 180657"/>
                  <a:gd name="connsiteX499" fmla="*/ 289016 w 400813"/>
                  <a:gd name="connsiteY499" fmla="*/ 131195 h 180657"/>
                  <a:gd name="connsiteX500" fmla="*/ 289280 w 400813"/>
                  <a:gd name="connsiteY500" fmla="*/ 131724 h 180657"/>
                  <a:gd name="connsiteX501" fmla="*/ 290162 w 400813"/>
                  <a:gd name="connsiteY501" fmla="*/ 131988 h 180657"/>
                  <a:gd name="connsiteX502" fmla="*/ 290779 w 400813"/>
                  <a:gd name="connsiteY502" fmla="*/ 132605 h 180657"/>
                  <a:gd name="connsiteX503" fmla="*/ 291044 w 400813"/>
                  <a:gd name="connsiteY503" fmla="*/ 133487 h 180657"/>
                  <a:gd name="connsiteX504" fmla="*/ 291661 w 400813"/>
                  <a:gd name="connsiteY504" fmla="*/ 134104 h 180657"/>
                  <a:gd name="connsiteX505" fmla="*/ 292278 w 400813"/>
                  <a:gd name="connsiteY505" fmla="*/ 134369 h 180657"/>
                  <a:gd name="connsiteX506" fmla="*/ 292278 w 400813"/>
                  <a:gd name="connsiteY506" fmla="*/ 134986 h 180657"/>
                  <a:gd name="connsiteX507" fmla="*/ 291661 w 400813"/>
                  <a:gd name="connsiteY507" fmla="*/ 134986 h 180657"/>
                  <a:gd name="connsiteX508" fmla="*/ 290515 w 400813"/>
                  <a:gd name="connsiteY508" fmla="*/ 134369 h 180657"/>
                  <a:gd name="connsiteX509" fmla="*/ 289898 w 400813"/>
                  <a:gd name="connsiteY509" fmla="*/ 133487 h 180657"/>
                  <a:gd name="connsiteX510" fmla="*/ 289016 w 400813"/>
                  <a:gd name="connsiteY510" fmla="*/ 132958 h 180657"/>
                  <a:gd name="connsiteX511" fmla="*/ 288134 w 400813"/>
                  <a:gd name="connsiteY511" fmla="*/ 132958 h 180657"/>
                  <a:gd name="connsiteX512" fmla="*/ 287870 w 400813"/>
                  <a:gd name="connsiteY512" fmla="*/ 133222 h 180657"/>
                  <a:gd name="connsiteX513" fmla="*/ 287605 w 400813"/>
                  <a:gd name="connsiteY513" fmla="*/ 133840 h 180657"/>
                  <a:gd name="connsiteX514" fmla="*/ 287605 w 400813"/>
                  <a:gd name="connsiteY514" fmla="*/ 134104 h 180657"/>
                  <a:gd name="connsiteX515" fmla="*/ 287341 w 400813"/>
                  <a:gd name="connsiteY515" fmla="*/ 133487 h 180657"/>
                  <a:gd name="connsiteX516" fmla="*/ 287605 w 400813"/>
                  <a:gd name="connsiteY516" fmla="*/ 131988 h 180657"/>
                  <a:gd name="connsiteX517" fmla="*/ 287605 w 400813"/>
                  <a:gd name="connsiteY517" fmla="*/ 130489 h 180657"/>
                  <a:gd name="connsiteX518" fmla="*/ 287341 w 400813"/>
                  <a:gd name="connsiteY518" fmla="*/ 129343 h 180657"/>
                  <a:gd name="connsiteX519" fmla="*/ 286459 w 400813"/>
                  <a:gd name="connsiteY519" fmla="*/ 129079 h 180657"/>
                  <a:gd name="connsiteX520" fmla="*/ 285313 w 400813"/>
                  <a:gd name="connsiteY520" fmla="*/ 129343 h 180657"/>
                  <a:gd name="connsiteX521" fmla="*/ 284696 w 400813"/>
                  <a:gd name="connsiteY521" fmla="*/ 129872 h 180657"/>
                  <a:gd name="connsiteX522" fmla="*/ 284431 w 400813"/>
                  <a:gd name="connsiteY522" fmla="*/ 130754 h 180657"/>
                  <a:gd name="connsiteX523" fmla="*/ 283814 w 400813"/>
                  <a:gd name="connsiteY523" fmla="*/ 131018 h 180657"/>
                  <a:gd name="connsiteX524" fmla="*/ 282668 w 400813"/>
                  <a:gd name="connsiteY524" fmla="*/ 131900 h 180657"/>
                  <a:gd name="connsiteX525" fmla="*/ 281169 w 400813"/>
                  <a:gd name="connsiteY525" fmla="*/ 132517 h 180657"/>
                  <a:gd name="connsiteX526" fmla="*/ 280905 w 400813"/>
                  <a:gd name="connsiteY526" fmla="*/ 133134 h 180657"/>
                  <a:gd name="connsiteX527" fmla="*/ 280905 w 400813"/>
                  <a:gd name="connsiteY527" fmla="*/ 133751 h 180657"/>
                  <a:gd name="connsiteX528" fmla="*/ 281169 w 400813"/>
                  <a:gd name="connsiteY528" fmla="*/ 134280 h 180657"/>
                  <a:gd name="connsiteX529" fmla="*/ 281434 w 400813"/>
                  <a:gd name="connsiteY529" fmla="*/ 135162 h 180657"/>
                  <a:gd name="connsiteX530" fmla="*/ 280552 w 400813"/>
                  <a:gd name="connsiteY530" fmla="*/ 135779 h 180657"/>
                  <a:gd name="connsiteX531" fmla="*/ 279670 w 400813"/>
                  <a:gd name="connsiteY531" fmla="*/ 135515 h 180657"/>
                  <a:gd name="connsiteX532" fmla="*/ 278524 w 400813"/>
                  <a:gd name="connsiteY532" fmla="*/ 134898 h 180657"/>
                  <a:gd name="connsiteX533" fmla="*/ 278171 w 400813"/>
                  <a:gd name="connsiteY533" fmla="*/ 134280 h 180657"/>
                  <a:gd name="connsiteX534" fmla="*/ 277025 w 400813"/>
                  <a:gd name="connsiteY534" fmla="*/ 134280 h 180657"/>
                  <a:gd name="connsiteX535" fmla="*/ 275526 w 400813"/>
                  <a:gd name="connsiteY535" fmla="*/ 134280 h 180657"/>
                  <a:gd name="connsiteX536" fmla="*/ 273763 w 400813"/>
                  <a:gd name="connsiteY536" fmla="*/ 134016 h 180657"/>
                  <a:gd name="connsiteX537" fmla="*/ 272617 w 400813"/>
                  <a:gd name="connsiteY537" fmla="*/ 134016 h 180657"/>
                  <a:gd name="connsiteX538" fmla="*/ 272000 w 400813"/>
                  <a:gd name="connsiteY538" fmla="*/ 133751 h 180657"/>
                  <a:gd name="connsiteX539" fmla="*/ 272000 w 400813"/>
                  <a:gd name="connsiteY539" fmla="*/ 132605 h 180657"/>
                  <a:gd name="connsiteX540" fmla="*/ 271735 w 400813"/>
                  <a:gd name="connsiteY540" fmla="*/ 131988 h 180657"/>
                  <a:gd name="connsiteX541" fmla="*/ 271206 w 400813"/>
                  <a:gd name="connsiteY541" fmla="*/ 131988 h 180657"/>
                  <a:gd name="connsiteX542" fmla="*/ 270324 w 400813"/>
                  <a:gd name="connsiteY542" fmla="*/ 134898 h 180657"/>
                  <a:gd name="connsiteX543" fmla="*/ 268914 w 400813"/>
                  <a:gd name="connsiteY543" fmla="*/ 135515 h 180657"/>
                  <a:gd name="connsiteX544" fmla="*/ 270060 w 400813"/>
                  <a:gd name="connsiteY544" fmla="*/ 136661 h 180657"/>
                  <a:gd name="connsiteX545" fmla="*/ 270677 w 400813"/>
                  <a:gd name="connsiteY545" fmla="*/ 137807 h 180657"/>
                  <a:gd name="connsiteX546" fmla="*/ 271559 w 400813"/>
                  <a:gd name="connsiteY546" fmla="*/ 137543 h 180657"/>
                  <a:gd name="connsiteX547" fmla="*/ 272440 w 400813"/>
                  <a:gd name="connsiteY547" fmla="*/ 137807 h 180657"/>
                  <a:gd name="connsiteX548" fmla="*/ 271823 w 400813"/>
                  <a:gd name="connsiteY548" fmla="*/ 138336 h 180657"/>
                  <a:gd name="connsiteX549" fmla="*/ 271823 w 400813"/>
                  <a:gd name="connsiteY549" fmla="*/ 138953 h 180657"/>
                  <a:gd name="connsiteX550" fmla="*/ 272705 w 400813"/>
                  <a:gd name="connsiteY550" fmla="*/ 139571 h 180657"/>
                  <a:gd name="connsiteX551" fmla="*/ 272969 w 400813"/>
                  <a:gd name="connsiteY551" fmla="*/ 140188 h 180657"/>
                  <a:gd name="connsiteX552" fmla="*/ 271823 w 400813"/>
                  <a:gd name="connsiteY552" fmla="*/ 140188 h 180657"/>
                  <a:gd name="connsiteX553" fmla="*/ 270942 w 400813"/>
                  <a:gd name="connsiteY553" fmla="*/ 139571 h 180657"/>
                  <a:gd name="connsiteX554" fmla="*/ 270324 w 400813"/>
                  <a:gd name="connsiteY554" fmla="*/ 140717 h 180657"/>
                  <a:gd name="connsiteX555" fmla="*/ 270324 w 400813"/>
                  <a:gd name="connsiteY555" fmla="*/ 142480 h 180657"/>
                  <a:gd name="connsiteX556" fmla="*/ 272705 w 400813"/>
                  <a:gd name="connsiteY556" fmla="*/ 142833 h 180657"/>
                  <a:gd name="connsiteX557" fmla="*/ 272969 w 400813"/>
                  <a:gd name="connsiteY557" fmla="*/ 143979 h 180657"/>
                  <a:gd name="connsiteX558" fmla="*/ 270677 w 400813"/>
                  <a:gd name="connsiteY558" fmla="*/ 146007 h 180657"/>
                  <a:gd name="connsiteX559" fmla="*/ 271823 w 400813"/>
                  <a:gd name="connsiteY559" fmla="*/ 145742 h 180657"/>
                  <a:gd name="connsiteX560" fmla="*/ 272088 w 400813"/>
                  <a:gd name="connsiteY560" fmla="*/ 145742 h 180657"/>
                  <a:gd name="connsiteX561" fmla="*/ 274115 w 400813"/>
                  <a:gd name="connsiteY561" fmla="*/ 146889 h 180657"/>
                  <a:gd name="connsiteX562" fmla="*/ 274468 w 400813"/>
                  <a:gd name="connsiteY562" fmla="*/ 148652 h 180657"/>
                  <a:gd name="connsiteX563" fmla="*/ 274115 w 400813"/>
                  <a:gd name="connsiteY563" fmla="*/ 150415 h 180657"/>
                  <a:gd name="connsiteX564" fmla="*/ 272705 w 400813"/>
                  <a:gd name="connsiteY564" fmla="*/ 150680 h 180657"/>
                  <a:gd name="connsiteX565" fmla="*/ 271823 w 400813"/>
                  <a:gd name="connsiteY565" fmla="*/ 149798 h 180657"/>
                  <a:gd name="connsiteX566" fmla="*/ 272088 w 400813"/>
                  <a:gd name="connsiteY566" fmla="*/ 150415 h 180657"/>
                  <a:gd name="connsiteX567" fmla="*/ 271471 w 400813"/>
                  <a:gd name="connsiteY567" fmla="*/ 153060 h 180657"/>
                  <a:gd name="connsiteX568" fmla="*/ 272352 w 400813"/>
                  <a:gd name="connsiteY568" fmla="*/ 156851 h 180657"/>
                  <a:gd name="connsiteX569" fmla="*/ 272969 w 400813"/>
                  <a:gd name="connsiteY569" fmla="*/ 158879 h 180657"/>
                  <a:gd name="connsiteX570" fmla="*/ 273851 w 400813"/>
                  <a:gd name="connsiteY570" fmla="*/ 159497 h 180657"/>
                  <a:gd name="connsiteX571" fmla="*/ 273851 w 400813"/>
                  <a:gd name="connsiteY571" fmla="*/ 159232 h 180657"/>
                  <a:gd name="connsiteX572" fmla="*/ 273851 w 400813"/>
                  <a:gd name="connsiteY572" fmla="*/ 158086 h 180657"/>
                  <a:gd name="connsiteX573" fmla="*/ 273586 w 400813"/>
                  <a:gd name="connsiteY573" fmla="*/ 157469 h 180657"/>
                  <a:gd name="connsiteX574" fmla="*/ 273851 w 400813"/>
                  <a:gd name="connsiteY574" fmla="*/ 156851 h 180657"/>
                  <a:gd name="connsiteX575" fmla="*/ 274997 w 400813"/>
                  <a:gd name="connsiteY575" fmla="*/ 157998 h 180657"/>
                  <a:gd name="connsiteX576" fmla="*/ 277025 w 400813"/>
                  <a:gd name="connsiteY576" fmla="*/ 159497 h 180657"/>
                  <a:gd name="connsiteX577" fmla="*/ 279406 w 400813"/>
                  <a:gd name="connsiteY577" fmla="*/ 160643 h 180657"/>
                  <a:gd name="connsiteX578" fmla="*/ 280287 w 400813"/>
                  <a:gd name="connsiteY578" fmla="*/ 161260 h 180657"/>
                  <a:gd name="connsiteX579" fmla="*/ 280287 w 400813"/>
                  <a:gd name="connsiteY579" fmla="*/ 162406 h 180657"/>
                  <a:gd name="connsiteX580" fmla="*/ 280552 w 400813"/>
                  <a:gd name="connsiteY580" fmla="*/ 163288 h 180657"/>
                  <a:gd name="connsiteX581" fmla="*/ 281169 w 400813"/>
                  <a:gd name="connsiteY581" fmla="*/ 164698 h 180657"/>
                  <a:gd name="connsiteX582" fmla="*/ 281169 w 400813"/>
                  <a:gd name="connsiteY582" fmla="*/ 166462 h 180657"/>
                  <a:gd name="connsiteX583" fmla="*/ 280905 w 400813"/>
                  <a:gd name="connsiteY583" fmla="*/ 167344 h 180657"/>
                  <a:gd name="connsiteX584" fmla="*/ 280287 w 400813"/>
                  <a:gd name="connsiteY584" fmla="*/ 166726 h 180657"/>
                  <a:gd name="connsiteX585" fmla="*/ 279406 w 400813"/>
                  <a:gd name="connsiteY585" fmla="*/ 166109 h 180657"/>
                  <a:gd name="connsiteX586" fmla="*/ 279141 w 400813"/>
                  <a:gd name="connsiteY586" fmla="*/ 166109 h 180657"/>
                  <a:gd name="connsiteX587" fmla="*/ 278877 w 400813"/>
                  <a:gd name="connsiteY587" fmla="*/ 165845 h 180657"/>
                  <a:gd name="connsiteX588" fmla="*/ 277642 w 400813"/>
                  <a:gd name="connsiteY588" fmla="*/ 166462 h 180657"/>
                  <a:gd name="connsiteX589" fmla="*/ 277642 w 400813"/>
                  <a:gd name="connsiteY589" fmla="*/ 167344 h 180657"/>
                  <a:gd name="connsiteX590" fmla="*/ 277907 w 400813"/>
                  <a:gd name="connsiteY590" fmla="*/ 168225 h 180657"/>
                  <a:gd name="connsiteX591" fmla="*/ 278524 w 400813"/>
                  <a:gd name="connsiteY591" fmla="*/ 168842 h 180657"/>
                  <a:gd name="connsiteX592" fmla="*/ 279406 w 400813"/>
                  <a:gd name="connsiteY592" fmla="*/ 168225 h 180657"/>
                  <a:gd name="connsiteX593" fmla="*/ 280023 w 400813"/>
                  <a:gd name="connsiteY593" fmla="*/ 167961 h 180657"/>
                  <a:gd name="connsiteX594" fmla="*/ 280640 w 400813"/>
                  <a:gd name="connsiteY594" fmla="*/ 167696 h 180657"/>
                  <a:gd name="connsiteX595" fmla="*/ 280905 w 400813"/>
                  <a:gd name="connsiteY595" fmla="*/ 168313 h 180657"/>
                  <a:gd name="connsiteX596" fmla="*/ 281786 w 400813"/>
                  <a:gd name="connsiteY596" fmla="*/ 168931 h 180657"/>
                  <a:gd name="connsiteX597" fmla="*/ 281786 w 400813"/>
                  <a:gd name="connsiteY597" fmla="*/ 169812 h 180657"/>
                  <a:gd name="connsiteX598" fmla="*/ 281522 w 400813"/>
                  <a:gd name="connsiteY598" fmla="*/ 171840 h 180657"/>
                  <a:gd name="connsiteX599" fmla="*/ 281522 w 400813"/>
                  <a:gd name="connsiteY599" fmla="*/ 172722 h 180657"/>
                  <a:gd name="connsiteX600" fmla="*/ 281257 w 400813"/>
                  <a:gd name="connsiteY600" fmla="*/ 173868 h 180657"/>
                  <a:gd name="connsiteX601" fmla="*/ 1499 w 400813"/>
                  <a:gd name="connsiteY601" fmla="*/ 7935 h 180657"/>
                  <a:gd name="connsiteX602" fmla="*/ 882 w 400813"/>
                  <a:gd name="connsiteY602" fmla="*/ 9434 h 180657"/>
                  <a:gd name="connsiteX603" fmla="*/ 0 w 400813"/>
                  <a:gd name="connsiteY603" fmla="*/ 6524 h 180657"/>
                  <a:gd name="connsiteX604" fmla="*/ 1499 w 400813"/>
                  <a:gd name="connsiteY604" fmla="*/ 7935 h 180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</a:cxnLst>
                <a:rect l="l" t="t" r="r" b="b"/>
                <a:pathLst>
                  <a:path w="400813" h="180657">
                    <a:moveTo>
                      <a:pt x="5026" y="0"/>
                    </a:moveTo>
                    <a:lnTo>
                      <a:pt x="5643" y="1763"/>
                    </a:lnTo>
                    <a:lnTo>
                      <a:pt x="6789" y="1499"/>
                    </a:lnTo>
                    <a:lnTo>
                      <a:pt x="7054" y="6172"/>
                    </a:lnTo>
                    <a:lnTo>
                      <a:pt x="7935" y="9346"/>
                    </a:lnTo>
                    <a:lnTo>
                      <a:pt x="8817" y="10845"/>
                    </a:lnTo>
                    <a:lnTo>
                      <a:pt x="8817" y="8552"/>
                    </a:lnTo>
                    <a:lnTo>
                      <a:pt x="8817" y="6524"/>
                    </a:lnTo>
                    <a:lnTo>
                      <a:pt x="9346" y="5378"/>
                    </a:lnTo>
                    <a:lnTo>
                      <a:pt x="9963" y="5907"/>
                    </a:lnTo>
                    <a:lnTo>
                      <a:pt x="10580" y="8288"/>
                    </a:lnTo>
                    <a:lnTo>
                      <a:pt x="10845" y="12079"/>
                    </a:lnTo>
                    <a:lnTo>
                      <a:pt x="10580" y="14371"/>
                    </a:lnTo>
                    <a:lnTo>
                      <a:pt x="10580" y="18427"/>
                    </a:lnTo>
                    <a:lnTo>
                      <a:pt x="11109" y="21954"/>
                    </a:lnTo>
                    <a:lnTo>
                      <a:pt x="11109" y="24599"/>
                    </a:lnTo>
                    <a:lnTo>
                      <a:pt x="10580" y="25481"/>
                    </a:lnTo>
                    <a:lnTo>
                      <a:pt x="9081" y="19397"/>
                    </a:lnTo>
                    <a:lnTo>
                      <a:pt x="8200" y="21160"/>
                    </a:lnTo>
                    <a:lnTo>
                      <a:pt x="6436" y="21160"/>
                    </a:lnTo>
                    <a:lnTo>
                      <a:pt x="4408" y="22042"/>
                    </a:lnTo>
                    <a:lnTo>
                      <a:pt x="2645" y="15958"/>
                    </a:lnTo>
                    <a:lnTo>
                      <a:pt x="2028" y="13049"/>
                    </a:lnTo>
                    <a:lnTo>
                      <a:pt x="2292" y="11903"/>
                    </a:lnTo>
                    <a:lnTo>
                      <a:pt x="2292" y="9875"/>
                    </a:lnTo>
                    <a:lnTo>
                      <a:pt x="2292" y="8376"/>
                    </a:lnTo>
                    <a:lnTo>
                      <a:pt x="2557" y="5995"/>
                    </a:lnTo>
                    <a:lnTo>
                      <a:pt x="2557" y="2469"/>
                    </a:lnTo>
                    <a:lnTo>
                      <a:pt x="3703" y="705"/>
                    </a:lnTo>
                    <a:lnTo>
                      <a:pt x="5026" y="0"/>
                    </a:lnTo>
                    <a:close/>
                    <a:moveTo>
                      <a:pt x="316877" y="157204"/>
                    </a:moveTo>
                    <a:lnTo>
                      <a:pt x="318023" y="159232"/>
                    </a:lnTo>
                    <a:lnTo>
                      <a:pt x="318288" y="160643"/>
                    </a:lnTo>
                    <a:lnTo>
                      <a:pt x="318905" y="161789"/>
                    </a:lnTo>
                    <a:lnTo>
                      <a:pt x="320051" y="162935"/>
                    </a:lnTo>
                    <a:lnTo>
                      <a:pt x="321197" y="164698"/>
                    </a:lnTo>
                    <a:lnTo>
                      <a:pt x="320933" y="166462"/>
                    </a:lnTo>
                    <a:lnTo>
                      <a:pt x="319787" y="167961"/>
                    </a:lnTo>
                    <a:lnTo>
                      <a:pt x="317759" y="169460"/>
                    </a:lnTo>
                    <a:lnTo>
                      <a:pt x="314849" y="169460"/>
                    </a:lnTo>
                    <a:lnTo>
                      <a:pt x="312469" y="169460"/>
                    </a:lnTo>
                    <a:lnTo>
                      <a:pt x="310441" y="168842"/>
                    </a:lnTo>
                    <a:lnTo>
                      <a:pt x="309559" y="168842"/>
                    </a:lnTo>
                    <a:lnTo>
                      <a:pt x="308678" y="169195"/>
                    </a:lnTo>
                    <a:lnTo>
                      <a:pt x="308413" y="168578"/>
                    </a:lnTo>
                    <a:lnTo>
                      <a:pt x="308413" y="167696"/>
                    </a:lnTo>
                    <a:lnTo>
                      <a:pt x="308413" y="166815"/>
                    </a:lnTo>
                    <a:lnTo>
                      <a:pt x="308149" y="166197"/>
                    </a:lnTo>
                    <a:lnTo>
                      <a:pt x="307884" y="166815"/>
                    </a:lnTo>
                    <a:lnTo>
                      <a:pt x="307002" y="167432"/>
                    </a:lnTo>
                    <a:lnTo>
                      <a:pt x="306385" y="167696"/>
                    </a:lnTo>
                    <a:lnTo>
                      <a:pt x="305768" y="167079"/>
                    </a:lnTo>
                    <a:lnTo>
                      <a:pt x="305768" y="166197"/>
                    </a:lnTo>
                    <a:lnTo>
                      <a:pt x="305151" y="165051"/>
                    </a:lnTo>
                    <a:lnTo>
                      <a:pt x="304005" y="163905"/>
                    </a:lnTo>
                    <a:lnTo>
                      <a:pt x="302858" y="163023"/>
                    </a:lnTo>
                    <a:lnTo>
                      <a:pt x="301977" y="162759"/>
                    </a:lnTo>
                    <a:lnTo>
                      <a:pt x="301977" y="162494"/>
                    </a:lnTo>
                    <a:lnTo>
                      <a:pt x="301712" y="161877"/>
                    </a:lnTo>
                    <a:lnTo>
                      <a:pt x="301448" y="161348"/>
                    </a:lnTo>
                    <a:lnTo>
                      <a:pt x="301448" y="161084"/>
                    </a:lnTo>
                    <a:lnTo>
                      <a:pt x="300566" y="160466"/>
                    </a:lnTo>
                    <a:lnTo>
                      <a:pt x="300830" y="160202"/>
                    </a:lnTo>
                    <a:lnTo>
                      <a:pt x="300830" y="159320"/>
                    </a:lnTo>
                    <a:lnTo>
                      <a:pt x="301359" y="158439"/>
                    </a:lnTo>
                    <a:lnTo>
                      <a:pt x="302241" y="158439"/>
                    </a:lnTo>
                    <a:lnTo>
                      <a:pt x="303476" y="158968"/>
                    </a:lnTo>
                    <a:lnTo>
                      <a:pt x="305768" y="158439"/>
                    </a:lnTo>
                    <a:lnTo>
                      <a:pt x="308060" y="157557"/>
                    </a:lnTo>
                    <a:lnTo>
                      <a:pt x="310705" y="156058"/>
                    </a:lnTo>
                    <a:lnTo>
                      <a:pt x="311323" y="156940"/>
                    </a:lnTo>
                    <a:lnTo>
                      <a:pt x="314232" y="158086"/>
                    </a:lnTo>
                    <a:lnTo>
                      <a:pt x="314497" y="158968"/>
                    </a:lnTo>
                    <a:lnTo>
                      <a:pt x="314761" y="159849"/>
                    </a:lnTo>
                    <a:lnTo>
                      <a:pt x="313879" y="160466"/>
                    </a:lnTo>
                    <a:lnTo>
                      <a:pt x="313879" y="161084"/>
                    </a:lnTo>
                    <a:lnTo>
                      <a:pt x="314144" y="161084"/>
                    </a:lnTo>
                    <a:lnTo>
                      <a:pt x="315290" y="160819"/>
                    </a:lnTo>
                    <a:lnTo>
                      <a:pt x="315819" y="160202"/>
                    </a:lnTo>
                    <a:lnTo>
                      <a:pt x="316701" y="159937"/>
                    </a:lnTo>
                    <a:lnTo>
                      <a:pt x="316701" y="158439"/>
                    </a:lnTo>
                    <a:lnTo>
                      <a:pt x="316701" y="157821"/>
                    </a:lnTo>
                    <a:lnTo>
                      <a:pt x="316701" y="157204"/>
                    </a:lnTo>
                    <a:close/>
                    <a:moveTo>
                      <a:pt x="324107" y="168049"/>
                    </a:moveTo>
                    <a:lnTo>
                      <a:pt x="323225" y="170077"/>
                    </a:lnTo>
                    <a:lnTo>
                      <a:pt x="321462" y="173251"/>
                    </a:lnTo>
                    <a:lnTo>
                      <a:pt x="319963" y="174133"/>
                    </a:lnTo>
                    <a:lnTo>
                      <a:pt x="319346" y="175631"/>
                    </a:lnTo>
                    <a:lnTo>
                      <a:pt x="318200" y="177042"/>
                    </a:lnTo>
                    <a:lnTo>
                      <a:pt x="317935" y="176160"/>
                    </a:lnTo>
                    <a:lnTo>
                      <a:pt x="317935" y="175014"/>
                    </a:lnTo>
                    <a:lnTo>
                      <a:pt x="317935" y="174397"/>
                    </a:lnTo>
                    <a:lnTo>
                      <a:pt x="317935" y="173515"/>
                    </a:lnTo>
                    <a:lnTo>
                      <a:pt x="319434" y="172016"/>
                    </a:lnTo>
                    <a:lnTo>
                      <a:pt x="321197" y="171135"/>
                    </a:lnTo>
                    <a:lnTo>
                      <a:pt x="321197" y="169989"/>
                    </a:lnTo>
                    <a:lnTo>
                      <a:pt x="323225" y="168225"/>
                    </a:lnTo>
                    <a:lnTo>
                      <a:pt x="323754" y="167696"/>
                    </a:lnTo>
                    <a:lnTo>
                      <a:pt x="324107" y="168049"/>
                    </a:lnTo>
                    <a:close/>
                    <a:moveTo>
                      <a:pt x="350381" y="145831"/>
                    </a:moveTo>
                    <a:lnTo>
                      <a:pt x="351792" y="146448"/>
                    </a:lnTo>
                    <a:lnTo>
                      <a:pt x="351527" y="147594"/>
                    </a:lnTo>
                    <a:lnTo>
                      <a:pt x="352145" y="149622"/>
                    </a:lnTo>
                    <a:lnTo>
                      <a:pt x="353026" y="152796"/>
                    </a:lnTo>
                    <a:lnTo>
                      <a:pt x="353908" y="154824"/>
                    </a:lnTo>
                    <a:lnTo>
                      <a:pt x="353291" y="157469"/>
                    </a:lnTo>
                    <a:lnTo>
                      <a:pt x="351527" y="157733"/>
                    </a:lnTo>
                    <a:lnTo>
                      <a:pt x="349147" y="156234"/>
                    </a:lnTo>
                    <a:lnTo>
                      <a:pt x="347736" y="156851"/>
                    </a:lnTo>
                    <a:lnTo>
                      <a:pt x="346325" y="157733"/>
                    </a:lnTo>
                    <a:lnTo>
                      <a:pt x="345444" y="159232"/>
                    </a:lnTo>
                    <a:lnTo>
                      <a:pt x="345179" y="160378"/>
                    </a:lnTo>
                    <a:lnTo>
                      <a:pt x="346943" y="161525"/>
                    </a:lnTo>
                    <a:lnTo>
                      <a:pt x="348706" y="161525"/>
                    </a:lnTo>
                    <a:lnTo>
                      <a:pt x="349323" y="162671"/>
                    </a:lnTo>
                    <a:lnTo>
                      <a:pt x="351087" y="164169"/>
                    </a:lnTo>
                    <a:lnTo>
                      <a:pt x="350205" y="165051"/>
                    </a:lnTo>
                    <a:lnTo>
                      <a:pt x="349059" y="165404"/>
                    </a:lnTo>
                    <a:lnTo>
                      <a:pt x="347031" y="165668"/>
                    </a:lnTo>
                    <a:lnTo>
                      <a:pt x="345532" y="165933"/>
                    </a:lnTo>
                    <a:lnTo>
                      <a:pt x="344650" y="166550"/>
                    </a:lnTo>
                    <a:lnTo>
                      <a:pt x="344915" y="166815"/>
                    </a:lnTo>
                    <a:lnTo>
                      <a:pt x="345179" y="167961"/>
                    </a:lnTo>
                    <a:lnTo>
                      <a:pt x="345179" y="168578"/>
                    </a:lnTo>
                    <a:lnTo>
                      <a:pt x="345179" y="169724"/>
                    </a:lnTo>
                    <a:lnTo>
                      <a:pt x="344298" y="170606"/>
                    </a:lnTo>
                    <a:lnTo>
                      <a:pt x="343680" y="171135"/>
                    </a:lnTo>
                    <a:lnTo>
                      <a:pt x="341917" y="171135"/>
                    </a:lnTo>
                    <a:lnTo>
                      <a:pt x="341035" y="170870"/>
                    </a:lnTo>
                    <a:lnTo>
                      <a:pt x="340154" y="170606"/>
                    </a:lnTo>
                    <a:lnTo>
                      <a:pt x="339537" y="169460"/>
                    </a:lnTo>
                    <a:lnTo>
                      <a:pt x="339537" y="168578"/>
                    </a:lnTo>
                    <a:lnTo>
                      <a:pt x="338919" y="167696"/>
                    </a:lnTo>
                    <a:lnTo>
                      <a:pt x="338919" y="167079"/>
                    </a:lnTo>
                    <a:lnTo>
                      <a:pt x="337773" y="166815"/>
                    </a:lnTo>
                    <a:lnTo>
                      <a:pt x="335745" y="166197"/>
                    </a:lnTo>
                    <a:lnTo>
                      <a:pt x="332836" y="166197"/>
                    </a:lnTo>
                    <a:lnTo>
                      <a:pt x="330543" y="166197"/>
                    </a:lnTo>
                    <a:lnTo>
                      <a:pt x="329662" y="165933"/>
                    </a:lnTo>
                    <a:lnTo>
                      <a:pt x="329397" y="165668"/>
                    </a:lnTo>
                    <a:lnTo>
                      <a:pt x="329397" y="165051"/>
                    </a:lnTo>
                    <a:lnTo>
                      <a:pt x="328251" y="164434"/>
                    </a:lnTo>
                    <a:lnTo>
                      <a:pt x="327634" y="163552"/>
                    </a:lnTo>
                    <a:lnTo>
                      <a:pt x="326752" y="163288"/>
                    </a:lnTo>
                    <a:lnTo>
                      <a:pt x="326488" y="163023"/>
                    </a:lnTo>
                    <a:lnTo>
                      <a:pt x="326488" y="162759"/>
                    </a:lnTo>
                    <a:lnTo>
                      <a:pt x="326488" y="161613"/>
                    </a:lnTo>
                    <a:lnTo>
                      <a:pt x="326223" y="160466"/>
                    </a:lnTo>
                    <a:lnTo>
                      <a:pt x="325959" y="159320"/>
                    </a:lnTo>
                    <a:lnTo>
                      <a:pt x="325959" y="158439"/>
                    </a:lnTo>
                    <a:lnTo>
                      <a:pt x="325959" y="157821"/>
                    </a:lnTo>
                    <a:lnTo>
                      <a:pt x="325959" y="156940"/>
                    </a:lnTo>
                    <a:lnTo>
                      <a:pt x="325077" y="156058"/>
                    </a:lnTo>
                    <a:lnTo>
                      <a:pt x="324812" y="155441"/>
                    </a:lnTo>
                    <a:lnTo>
                      <a:pt x="323931" y="155176"/>
                    </a:lnTo>
                    <a:lnTo>
                      <a:pt x="323931" y="154559"/>
                    </a:lnTo>
                    <a:lnTo>
                      <a:pt x="322520" y="154295"/>
                    </a:lnTo>
                    <a:lnTo>
                      <a:pt x="323137" y="153677"/>
                    </a:lnTo>
                    <a:lnTo>
                      <a:pt x="324019" y="153677"/>
                    </a:lnTo>
                    <a:lnTo>
                      <a:pt x="325782" y="153677"/>
                    </a:lnTo>
                    <a:lnTo>
                      <a:pt x="327281" y="153677"/>
                    </a:lnTo>
                    <a:lnTo>
                      <a:pt x="328427" y="153413"/>
                    </a:lnTo>
                    <a:lnTo>
                      <a:pt x="329573" y="152796"/>
                    </a:lnTo>
                    <a:lnTo>
                      <a:pt x="329573" y="152179"/>
                    </a:lnTo>
                    <a:lnTo>
                      <a:pt x="330191" y="151561"/>
                    </a:lnTo>
                    <a:lnTo>
                      <a:pt x="330808" y="151297"/>
                    </a:lnTo>
                    <a:lnTo>
                      <a:pt x="331954" y="151297"/>
                    </a:lnTo>
                    <a:lnTo>
                      <a:pt x="332218" y="150415"/>
                    </a:lnTo>
                    <a:lnTo>
                      <a:pt x="332218" y="149798"/>
                    </a:lnTo>
                    <a:lnTo>
                      <a:pt x="331072" y="148652"/>
                    </a:lnTo>
                    <a:lnTo>
                      <a:pt x="330808" y="148387"/>
                    </a:lnTo>
                    <a:lnTo>
                      <a:pt x="331337" y="148123"/>
                    </a:lnTo>
                    <a:lnTo>
                      <a:pt x="333365" y="148387"/>
                    </a:lnTo>
                    <a:lnTo>
                      <a:pt x="336010" y="148387"/>
                    </a:lnTo>
                    <a:lnTo>
                      <a:pt x="337156" y="148652"/>
                    </a:lnTo>
                    <a:lnTo>
                      <a:pt x="338302" y="148916"/>
                    </a:lnTo>
                    <a:lnTo>
                      <a:pt x="337156" y="149534"/>
                    </a:lnTo>
                    <a:lnTo>
                      <a:pt x="336891" y="150415"/>
                    </a:lnTo>
                    <a:lnTo>
                      <a:pt x="335745" y="151032"/>
                    </a:lnTo>
                    <a:lnTo>
                      <a:pt x="336010" y="152179"/>
                    </a:lnTo>
                    <a:lnTo>
                      <a:pt x="336010" y="152443"/>
                    </a:lnTo>
                    <a:lnTo>
                      <a:pt x="337156" y="152708"/>
                    </a:lnTo>
                    <a:lnTo>
                      <a:pt x="338302" y="153325"/>
                    </a:lnTo>
                    <a:lnTo>
                      <a:pt x="339184" y="153942"/>
                    </a:lnTo>
                    <a:lnTo>
                      <a:pt x="339448" y="153060"/>
                    </a:lnTo>
                    <a:lnTo>
                      <a:pt x="339713" y="151914"/>
                    </a:lnTo>
                    <a:lnTo>
                      <a:pt x="340330" y="150768"/>
                    </a:lnTo>
                    <a:lnTo>
                      <a:pt x="340330" y="149886"/>
                    </a:lnTo>
                    <a:lnTo>
                      <a:pt x="340947" y="149622"/>
                    </a:lnTo>
                    <a:lnTo>
                      <a:pt x="341829" y="149886"/>
                    </a:lnTo>
                    <a:lnTo>
                      <a:pt x="341829" y="151032"/>
                    </a:lnTo>
                    <a:lnTo>
                      <a:pt x="342093" y="152531"/>
                    </a:lnTo>
                    <a:lnTo>
                      <a:pt x="342358" y="153677"/>
                    </a:lnTo>
                    <a:lnTo>
                      <a:pt x="341476" y="154559"/>
                    </a:lnTo>
                    <a:lnTo>
                      <a:pt x="341476" y="154824"/>
                    </a:lnTo>
                    <a:lnTo>
                      <a:pt x="342093" y="155441"/>
                    </a:lnTo>
                    <a:lnTo>
                      <a:pt x="342975" y="154824"/>
                    </a:lnTo>
                    <a:lnTo>
                      <a:pt x="343592" y="152796"/>
                    </a:lnTo>
                    <a:lnTo>
                      <a:pt x="342710" y="150151"/>
                    </a:lnTo>
                    <a:lnTo>
                      <a:pt x="341212" y="148740"/>
                    </a:lnTo>
                    <a:lnTo>
                      <a:pt x="339448" y="148476"/>
                    </a:lnTo>
                    <a:lnTo>
                      <a:pt x="340330" y="147594"/>
                    </a:lnTo>
                    <a:lnTo>
                      <a:pt x="342710" y="146448"/>
                    </a:lnTo>
                    <a:lnTo>
                      <a:pt x="345356" y="145566"/>
                    </a:lnTo>
                    <a:lnTo>
                      <a:pt x="347736" y="145566"/>
                    </a:lnTo>
                    <a:lnTo>
                      <a:pt x="350381" y="145831"/>
                    </a:lnTo>
                    <a:close/>
                    <a:moveTo>
                      <a:pt x="348618" y="169724"/>
                    </a:moveTo>
                    <a:lnTo>
                      <a:pt x="349500" y="169989"/>
                    </a:lnTo>
                    <a:lnTo>
                      <a:pt x="350646" y="170606"/>
                    </a:lnTo>
                    <a:lnTo>
                      <a:pt x="351527" y="171487"/>
                    </a:lnTo>
                    <a:lnTo>
                      <a:pt x="351792" y="172105"/>
                    </a:lnTo>
                    <a:lnTo>
                      <a:pt x="350910" y="172369"/>
                    </a:lnTo>
                    <a:lnTo>
                      <a:pt x="349411" y="172898"/>
                    </a:lnTo>
                    <a:lnTo>
                      <a:pt x="347383" y="173163"/>
                    </a:lnTo>
                    <a:lnTo>
                      <a:pt x="346237" y="173780"/>
                    </a:lnTo>
                    <a:lnTo>
                      <a:pt x="345356" y="173163"/>
                    </a:lnTo>
                    <a:lnTo>
                      <a:pt x="345091" y="172898"/>
                    </a:lnTo>
                    <a:lnTo>
                      <a:pt x="345356" y="172369"/>
                    </a:lnTo>
                    <a:lnTo>
                      <a:pt x="346237" y="171752"/>
                    </a:lnTo>
                    <a:lnTo>
                      <a:pt x="346854" y="171135"/>
                    </a:lnTo>
                    <a:lnTo>
                      <a:pt x="347736" y="170606"/>
                    </a:lnTo>
                    <a:lnTo>
                      <a:pt x="348001" y="169989"/>
                    </a:lnTo>
                    <a:lnTo>
                      <a:pt x="348618" y="169724"/>
                    </a:lnTo>
                    <a:close/>
                    <a:moveTo>
                      <a:pt x="340771" y="172634"/>
                    </a:moveTo>
                    <a:lnTo>
                      <a:pt x="342270" y="172634"/>
                    </a:lnTo>
                    <a:lnTo>
                      <a:pt x="342887" y="172898"/>
                    </a:lnTo>
                    <a:lnTo>
                      <a:pt x="343768" y="173163"/>
                    </a:lnTo>
                    <a:lnTo>
                      <a:pt x="344650" y="174044"/>
                    </a:lnTo>
                    <a:lnTo>
                      <a:pt x="344650" y="174926"/>
                    </a:lnTo>
                    <a:lnTo>
                      <a:pt x="344386" y="176072"/>
                    </a:lnTo>
                    <a:lnTo>
                      <a:pt x="343239" y="177219"/>
                    </a:lnTo>
                    <a:lnTo>
                      <a:pt x="343504" y="179246"/>
                    </a:lnTo>
                    <a:lnTo>
                      <a:pt x="343504" y="180393"/>
                    </a:lnTo>
                    <a:lnTo>
                      <a:pt x="342622" y="180657"/>
                    </a:lnTo>
                    <a:lnTo>
                      <a:pt x="341741" y="178894"/>
                    </a:lnTo>
                    <a:lnTo>
                      <a:pt x="340859" y="176601"/>
                    </a:lnTo>
                    <a:lnTo>
                      <a:pt x="340595" y="174838"/>
                    </a:lnTo>
                    <a:lnTo>
                      <a:pt x="340330" y="173427"/>
                    </a:lnTo>
                    <a:lnTo>
                      <a:pt x="340330" y="172810"/>
                    </a:lnTo>
                    <a:lnTo>
                      <a:pt x="340771" y="172634"/>
                    </a:lnTo>
                    <a:close/>
                    <a:moveTo>
                      <a:pt x="330279" y="170606"/>
                    </a:moveTo>
                    <a:lnTo>
                      <a:pt x="331160" y="172634"/>
                    </a:lnTo>
                    <a:lnTo>
                      <a:pt x="333188" y="172634"/>
                    </a:lnTo>
                    <a:lnTo>
                      <a:pt x="333453" y="173780"/>
                    </a:lnTo>
                    <a:lnTo>
                      <a:pt x="335216" y="174926"/>
                    </a:lnTo>
                    <a:lnTo>
                      <a:pt x="336362" y="175191"/>
                    </a:lnTo>
                    <a:lnTo>
                      <a:pt x="336362" y="174573"/>
                    </a:lnTo>
                    <a:lnTo>
                      <a:pt x="336627" y="173956"/>
                    </a:lnTo>
                    <a:lnTo>
                      <a:pt x="337509" y="173692"/>
                    </a:lnTo>
                    <a:lnTo>
                      <a:pt x="338390" y="173692"/>
                    </a:lnTo>
                    <a:lnTo>
                      <a:pt x="339537" y="174573"/>
                    </a:lnTo>
                    <a:lnTo>
                      <a:pt x="340154" y="175455"/>
                    </a:lnTo>
                    <a:lnTo>
                      <a:pt x="339537" y="176337"/>
                    </a:lnTo>
                    <a:lnTo>
                      <a:pt x="339537" y="177483"/>
                    </a:lnTo>
                    <a:lnTo>
                      <a:pt x="340683" y="178365"/>
                    </a:lnTo>
                    <a:lnTo>
                      <a:pt x="340683" y="179246"/>
                    </a:lnTo>
                    <a:lnTo>
                      <a:pt x="339537" y="179511"/>
                    </a:lnTo>
                    <a:lnTo>
                      <a:pt x="337156" y="177747"/>
                    </a:lnTo>
                    <a:lnTo>
                      <a:pt x="335657" y="178012"/>
                    </a:lnTo>
                    <a:lnTo>
                      <a:pt x="332483" y="178012"/>
                    </a:lnTo>
                    <a:lnTo>
                      <a:pt x="328956" y="178276"/>
                    </a:lnTo>
                    <a:lnTo>
                      <a:pt x="325694" y="176513"/>
                    </a:lnTo>
                    <a:lnTo>
                      <a:pt x="324548" y="175631"/>
                    </a:lnTo>
                    <a:lnTo>
                      <a:pt x="325165" y="175367"/>
                    </a:lnTo>
                    <a:lnTo>
                      <a:pt x="326047" y="175102"/>
                    </a:lnTo>
                    <a:lnTo>
                      <a:pt x="325782" y="174838"/>
                    </a:lnTo>
                    <a:lnTo>
                      <a:pt x="325782" y="173692"/>
                    </a:lnTo>
                    <a:lnTo>
                      <a:pt x="325782" y="172810"/>
                    </a:lnTo>
                    <a:lnTo>
                      <a:pt x="327545" y="171047"/>
                    </a:lnTo>
                    <a:lnTo>
                      <a:pt x="330279" y="170606"/>
                    </a:lnTo>
                    <a:close/>
                    <a:moveTo>
                      <a:pt x="394995" y="163023"/>
                    </a:moveTo>
                    <a:lnTo>
                      <a:pt x="397022" y="164169"/>
                    </a:lnTo>
                    <a:lnTo>
                      <a:pt x="397287" y="165668"/>
                    </a:lnTo>
                    <a:lnTo>
                      <a:pt x="398786" y="166815"/>
                    </a:lnTo>
                    <a:lnTo>
                      <a:pt x="399932" y="168225"/>
                    </a:lnTo>
                    <a:lnTo>
                      <a:pt x="400813" y="169724"/>
                    </a:lnTo>
                    <a:lnTo>
                      <a:pt x="399667" y="170606"/>
                    </a:lnTo>
                    <a:lnTo>
                      <a:pt x="398786" y="169724"/>
                    </a:lnTo>
                    <a:lnTo>
                      <a:pt x="397639" y="169724"/>
                    </a:lnTo>
                    <a:lnTo>
                      <a:pt x="395876" y="167961"/>
                    </a:lnTo>
                    <a:lnTo>
                      <a:pt x="393584" y="167696"/>
                    </a:lnTo>
                    <a:lnTo>
                      <a:pt x="393319" y="166197"/>
                    </a:lnTo>
                    <a:lnTo>
                      <a:pt x="393936" y="164698"/>
                    </a:lnTo>
                    <a:lnTo>
                      <a:pt x="394995" y="163023"/>
                    </a:lnTo>
                    <a:close/>
                    <a:moveTo>
                      <a:pt x="281257" y="173868"/>
                    </a:moveTo>
                    <a:lnTo>
                      <a:pt x="282756" y="174133"/>
                    </a:lnTo>
                    <a:lnTo>
                      <a:pt x="283638" y="174397"/>
                    </a:lnTo>
                    <a:lnTo>
                      <a:pt x="285666" y="173780"/>
                    </a:lnTo>
                    <a:lnTo>
                      <a:pt x="288575" y="174044"/>
                    </a:lnTo>
                    <a:lnTo>
                      <a:pt x="290956" y="174662"/>
                    </a:lnTo>
                    <a:lnTo>
                      <a:pt x="292984" y="175279"/>
                    </a:lnTo>
                    <a:lnTo>
                      <a:pt x="292719" y="176160"/>
                    </a:lnTo>
                    <a:lnTo>
                      <a:pt x="295364" y="176160"/>
                    </a:lnTo>
                    <a:lnTo>
                      <a:pt x="295981" y="175279"/>
                    </a:lnTo>
                    <a:lnTo>
                      <a:pt x="296863" y="175896"/>
                    </a:lnTo>
                    <a:lnTo>
                      <a:pt x="297480" y="176513"/>
                    </a:lnTo>
                    <a:lnTo>
                      <a:pt x="298626" y="176249"/>
                    </a:lnTo>
                    <a:lnTo>
                      <a:pt x="299508" y="175631"/>
                    </a:lnTo>
                    <a:lnTo>
                      <a:pt x="301007" y="175367"/>
                    </a:lnTo>
                    <a:lnTo>
                      <a:pt x="301888" y="174750"/>
                    </a:lnTo>
                    <a:lnTo>
                      <a:pt x="302506" y="173604"/>
                    </a:lnTo>
                    <a:lnTo>
                      <a:pt x="301359" y="172105"/>
                    </a:lnTo>
                    <a:lnTo>
                      <a:pt x="300478" y="170958"/>
                    </a:lnTo>
                    <a:lnTo>
                      <a:pt x="299596" y="170430"/>
                    </a:lnTo>
                    <a:lnTo>
                      <a:pt x="299067" y="170165"/>
                    </a:lnTo>
                    <a:lnTo>
                      <a:pt x="298186" y="170165"/>
                    </a:lnTo>
                    <a:lnTo>
                      <a:pt x="297304" y="169901"/>
                    </a:lnTo>
                    <a:lnTo>
                      <a:pt x="296687" y="169636"/>
                    </a:lnTo>
                    <a:lnTo>
                      <a:pt x="296687" y="168754"/>
                    </a:lnTo>
                    <a:lnTo>
                      <a:pt x="296687" y="168137"/>
                    </a:lnTo>
                    <a:lnTo>
                      <a:pt x="296422" y="167873"/>
                    </a:lnTo>
                    <a:lnTo>
                      <a:pt x="297568" y="167255"/>
                    </a:lnTo>
                    <a:lnTo>
                      <a:pt x="298450" y="166991"/>
                    </a:lnTo>
                    <a:lnTo>
                      <a:pt x="300214" y="166374"/>
                    </a:lnTo>
                    <a:lnTo>
                      <a:pt x="300214" y="165492"/>
                    </a:lnTo>
                    <a:lnTo>
                      <a:pt x="299949" y="164610"/>
                    </a:lnTo>
                    <a:lnTo>
                      <a:pt x="299332" y="163729"/>
                    </a:lnTo>
                    <a:lnTo>
                      <a:pt x="299332" y="163112"/>
                    </a:lnTo>
                    <a:lnTo>
                      <a:pt x="299067" y="162230"/>
                    </a:lnTo>
                    <a:lnTo>
                      <a:pt x="299067" y="161348"/>
                    </a:lnTo>
                    <a:lnTo>
                      <a:pt x="299332" y="161084"/>
                    </a:lnTo>
                    <a:lnTo>
                      <a:pt x="299332" y="160466"/>
                    </a:lnTo>
                    <a:lnTo>
                      <a:pt x="298450" y="160202"/>
                    </a:lnTo>
                    <a:lnTo>
                      <a:pt x="297304" y="159937"/>
                    </a:lnTo>
                    <a:lnTo>
                      <a:pt x="296687" y="159937"/>
                    </a:lnTo>
                    <a:lnTo>
                      <a:pt x="297568" y="159673"/>
                    </a:lnTo>
                    <a:lnTo>
                      <a:pt x="298450" y="159673"/>
                    </a:lnTo>
                    <a:lnTo>
                      <a:pt x="299596" y="159408"/>
                    </a:lnTo>
                    <a:lnTo>
                      <a:pt x="300478" y="158527"/>
                    </a:lnTo>
                    <a:lnTo>
                      <a:pt x="301359" y="157910"/>
                    </a:lnTo>
                    <a:lnTo>
                      <a:pt x="302241" y="157292"/>
                    </a:lnTo>
                    <a:lnTo>
                      <a:pt x="302506" y="157028"/>
                    </a:lnTo>
                    <a:lnTo>
                      <a:pt x="302241" y="156411"/>
                    </a:lnTo>
                    <a:lnTo>
                      <a:pt x="300478" y="155794"/>
                    </a:lnTo>
                    <a:lnTo>
                      <a:pt x="299332" y="155176"/>
                    </a:lnTo>
                    <a:lnTo>
                      <a:pt x="298186" y="154824"/>
                    </a:lnTo>
                    <a:lnTo>
                      <a:pt x="298450" y="154559"/>
                    </a:lnTo>
                    <a:lnTo>
                      <a:pt x="299332" y="154559"/>
                    </a:lnTo>
                    <a:lnTo>
                      <a:pt x="300742" y="154559"/>
                    </a:lnTo>
                    <a:lnTo>
                      <a:pt x="302770" y="154824"/>
                    </a:lnTo>
                    <a:lnTo>
                      <a:pt x="304181" y="154559"/>
                    </a:lnTo>
                    <a:lnTo>
                      <a:pt x="306209" y="153677"/>
                    </a:lnTo>
                    <a:lnTo>
                      <a:pt x="306209" y="153148"/>
                    </a:lnTo>
                    <a:lnTo>
                      <a:pt x="306473" y="152531"/>
                    </a:lnTo>
                    <a:lnTo>
                      <a:pt x="305856" y="152267"/>
                    </a:lnTo>
                    <a:lnTo>
                      <a:pt x="305592" y="151650"/>
                    </a:lnTo>
                    <a:lnTo>
                      <a:pt x="304974" y="151032"/>
                    </a:lnTo>
                    <a:lnTo>
                      <a:pt x="305856" y="150415"/>
                    </a:lnTo>
                    <a:lnTo>
                      <a:pt x="306738" y="150151"/>
                    </a:lnTo>
                    <a:lnTo>
                      <a:pt x="307355" y="150415"/>
                    </a:lnTo>
                    <a:lnTo>
                      <a:pt x="307620" y="151032"/>
                    </a:lnTo>
                    <a:lnTo>
                      <a:pt x="307884" y="150768"/>
                    </a:lnTo>
                    <a:lnTo>
                      <a:pt x="308766" y="150151"/>
                    </a:lnTo>
                    <a:lnTo>
                      <a:pt x="309383" y="149005"/>
                    </a:lnTo>
                    <a:lnTo>
                      <a:pt x="309912" y="148123"/>
                    </a:lnTo>
                    <a:lnTo>
                      <a:pt x="309912" y="147241"/>
                    </a:lnTo>
                    <a:lnTo>
                      <a:pt x="309912" y="146624"/>
                    </a:lnTo>
                    <a:lnTo>
                      <a:pt x="309912" y="146095"/>
                    </a:lnTo>
                    <a:lnTo>
                      <a:pt x="309647" y="145213"/>
                    </a:lnTo>
                    <a:lnTo>
                      <a:pt x="309647" y="143714"/>
                    </a:lnTo>
                    <a:lnTo>
                      <a:pt x="310176" y="142568"/>
                    </a:lnTo>
                    <a:lnTo>
                      <a:pt x="311058" y="141687"/>
                    </a:lnTo>
                    <a:lnTo>
                      <a:pt x="312204" y="141422"/>
                    </a:lnTo>
                    <a:lnTo>
                      <a:pt x="312469" y="142039"/>
                    </a:lnTo>
                    <a:lnTo>
                      <a:pt x="312733" y="142656"/>
                    </a:lnTo>
                    <a:lnTo>
                      <a:pt x="312469" y="143274"/>
                    </a:lnTo>
                    <a:lnTo>
                      <a:pt x="311587" y="143538"/>
                    </a:lnTo>
                    <a:lnTo>
                      <a:pt x="311323" y="143538"/>
                    </a:lnTo>
                    <a:lnTo>
                      <a:pt x="311940" y="143803"/>
                    </a:lnTo>
                    <a:lnTo>
                      <a:pt x="313086" y="144420"/>
                    </a:lnTo>
                    <a:lnTo>
                      <a:pt x="313086" y="144684"/>
                    </a:lnTo>
                    <a:lnTo>
                      <a:pt x="313703" y="144949"/>
                    </a:lnTo>
                    <a:lnTo>
                      <a:pt x="314585" y="145566"/>
                    </a:lnTo>
                    <a:lnTo>
                      <a:pt x="314320" y="144684"/>
                    </a:lnTo>
                    <a:lnTo>
                      <a:pt x="314585" y="144067"/>
                    </a:lnTo>
                    <a:lnTo>
                      <a:pt x="315466" y="144332"/>
                    </a:lnTo>
                    <a:lnTo>
                      <a:pt x="315731" y="143450"/>
                    </a:lnTo>
                    <a:lnTo>
                      <a:pt x="315995" y="144861"/>
                    </a:lnTo>
                    <a:lnTo>
                      <a:pt x="316877" y="143979"/>
                    </a:lnTo>
                    <a:lnTo>
                      <a:pt x="318641" y="142480"/>
                    </a:lnTo>
                    <a:lnTo>
                      <a:pt x="320404" y="140717"/>
                    </a:lnTo>
                    <a:lnTo>
                      <a:pt x="321550" y="138689"/>
                    </a:lnTo>
                    <a:lnTo>
                      <a:pt x="320933" y="137278"/>
                    </a:lnTo>
                    <a:lnTo>
                      <a:pt x="320051" y="136132"/>
                    </a:lnTo>
                    <a:lnTo>
                      <a:pt x="319170" y="134986"/>
                    </a:lnTo>
                    <a:lnTo>
                      <a:pt x="317142" y="134369"/>
                    </a:lnTo>
                    <a:lnTo>
                      <a:pt x="316877" y="135515"/>
                    </a:lnTo>
                    <a:lnTo>
                      <a:pt x="314232" y="135250"/>
                    </a:lnTo>
                    <a:lnTo>
                      <a:pt x="314232" y="134369"/>
                    </a:lnTo>
                    <a:lnTo>
                      <a:pt x="311058" y="134986"/>
                    </a:lnTo>
                    <a:lnTo>
                      <a:pt x="309912" y="134721"/>
                    </a:lnTo>
                    <a:lnTo>
                      <a:pt x="309030" y="134986"/>
                    </a:lnTo>
                    <a:lnTo>
                      <a:pt x="308413" y="135868"/>
                    </a:lnTo>
                    <a:lnTo>
                      <a:pt x="308149" y="136132"/>
                    </a:lnTo>
                    <a:lnTo>
                      <a:pt x="308149" y="135515"/>
                    </a:lnTo>
                    <a:lnTo>
                      <a:pt x="309295" y="134369"/>
                    </a:lnTo>
                    <a:lnTo>
                      <a:pt x="309559" y="133487"/>
                    </a:lnTo>
                    <a:lnTo>
                      <a:pt x="309559" y="132605"/>
                    </a:lnTo>
                    <a:lnTo>
                      <a:pt x="308060" y="131988"/>
                    </a:lnTo>
                    <a:lnTo>
                      <a:pt x="307179" y="131459"/>
                    </a:lnTo>
                    <a:lnTo>
                      <a:pt x="307179" y="131195"/>
                    </a:lnTo>
                    <a:lnTo>
                      <a:pt x="307796" y="131195"/>
                    </a:lnTo>
                    <a:lnTo>
                      <a:pt x="308942" y="131195"/>
                    </a:lnTo>
                    <a:lnTo>
                      <a:pt x="308678" y="130313"/>
                    </a:lnTo>
                    <a:lnTo>
                      <a:pt x="308678" y="128020"/>
                    </a:lnTo>
                    <a:lnTo>
                      <a:pt x="307531" y="125993"/>
                    </a:lnTo>
                    <a:lnTo>
                      <a:pt x="305768" y="124494"/>
                    </a:lnTo>
                    <a:lnTo>
                      <a:pt x="304005" y="124229"/>
                    </a:lnTo>
                    <a:lnTo>
                      <a:pt x="303123" y="123612"/>
                    </a:lnTo>
                    <a:lnTo>
                      <a:pt x="303123" y="122995"/>
                    </a:lnTo>
                    <a:lnTo>
                      <a:pt x="304005" y="123259"/>
                    </a:lnTo>
                    <a:lnTo>
                      <a:pt x="305768" y="123877"/>
                    </a:lnTo>
                    <a:lnTo>
                      <a:pt x="307531" y="124406"/>
                    </a:lnTo>
                    <a:lnTo>
                      <a:pt x="309295" y="123524"/>
                    </a:lnTo>
                    <a:lnTo>
                      <a:pt x="311058" y="121761"/>
                    </a:lnTo>
                    <a:lnTo>
                      <a:pt x="311940" y="118498"/>
                    </a:lnTo>
                    <a:lnTo>
                      <a:pt x="312204" y="116206"/>
                    </a:lnTo>
                    <a:lnTo>
                      <a:pt x="311587" y="114178"/>
                    </a:lnTo>
                    <a:lnTo>
                      <a:pt x="311323" y="113032"/>
                    </a:lnTo>
                    <a:lnTo>
                      <a:pt x="310705" y="112150"/>
                    </a:lnTo>
                    <a:lnTo>
                      <a:pt x="310441" y="110739"/>
                    </a:lnTo>
                    <a:lnTo>
                      <a:pt x="311323" y="109241"/>
                    </a:lnTo>
                    <a:lnTo>
                      <a:pt x="311940" y="108094"/>
                    </a:lnTo>
                    <a:lnTo>
                      <a:pt x="312204" y="107477"/>
                    </a:lnTo>
                    <a:lnTo>
                      <a:pt x="310176" y="108359"/>
                    </a:lnTo>
                    <a:lnTo>
                      <a:pt x="307531" y="109505"/>
                    </a:lnTo>
                    <a:lnTo>
                      <a:pt x="306032" y="109770"/>
                    </a:lnTo>
                    <a:lnTo>
                      <a:pt x="304622" y="110651"/>
                    </a:lnTo>
                    <a:lnTo>
                      <a:pt x="302241" y="110651"/>
                    </a:lnTo>
                    <a:lnTo>
                      <a:pt x="301624" y="111798"/>
                    </a:lnTo>
                    <a:lnTo>
                      <a:pt x="299332" y="110651"/>
                    </a:lnTo>
                    <a:lnTo>
                      <a:pt x="298803" y="114443"/>
                    </a:lnTo>
                    <a:lnTo>
                      <a:pt x="296775" y="115060"/>
                    </a:lnTo>
                    <a:lnTo>
                      <a:pt x="295893" y="117705"/>
                    </a:lnTo>
                    <a:lnTo>
                      <a:pt x="293513" y="117088"/>
                    </a:lnTo>
                    <a:lnTo>
                      <a:pt x="292014" y="120262"/>
                    </a:lnTo>
                    <a:lnTo>
                      <a:pt x="290867" y="119997"/>
                    </a:lnTo>
                    <a:lnTo>
                      <a:pt x="288487" y="121496"/>
                    </a:lnTo>
                    <a:lnTo>
                      <a:pt x="284696" y="121761"/>
                    </a:lnTo>
                    <a:lnTo>
                      <a:pt x="282315" y="122025"/>
                    </a:lnTo>
                    <a:lnTo>
                      <a:pt x="280023" y="122290"/>
                    </a:lnTo>
                    <a:lnTo>
                      <a:pt x="277995" y="122554"/>
                    </a:lnTo>
                    <a:lnTo>
                      <a:pt x="277730" y="123436"/>
                    </a:lnTo>
                    <a:lnTo>
                      <a:pt x="275703" y="123700"/>
                    </a:lnTo>
                    <a:lnTo>
                      <a:pt x="274821" y="125199"/>
                    </a:lnTo>
                    <a:lnTo>
                      <a:pt x="272793" y="128109"/>
                    </a:lnTo>
                    <a:lnTo>
                      <a:pt x="272176" y="129872"/>
                    </a:lnTo>
                    <a:lnTo>
                      <a:pt x="272176" y="130489"/>
                    </a:lnTo>
                    <a:lnTo>
                      <a:pt x="272176" y="130225"/>
                    </a:lnTo>
                    <a:lnTo>
                      <a:pt x="272440" y="130489"/>
                    </a:lnTo>
                    <a:lnTo>
                      <a:pt x="273586" y="131635"/>
                    </a:lnTo>
                    <a:lnTo>
                      <a:pt x="275350" y="132782"/>
                    </a:lnTo>
                    <a:lnTo>
                      <a:pt x="277113" y="133663"/>
                    </a:lnTo>
                    <a:lnTo>
                      <a:pt x="277995" y="133928"/>
                    </a:lnTo>
                    <a:lnTo>
                      <a:pt x="278259" y="133046"/>
                    </a:lnTo>
                    <a:lnTo>
                      <a:pt x="278259" y="132429"/>
                    </a:lnTo>
                    <a:lnTo>
                      <a:pt x="277378" y="131812"/>
                    </a:lnTo>
                    <a:lnTo>
                      <a:pt x="277113" y="131812"/>
                    </a:lnTo>
                    <a:lnTo>
                      <a:pt x="276849" y="131283"/>
                    </a:lnTo>
                    <a:lnTo>
                      <a:pt x="276849" y="131018"/>
                    </a:lnTo>
                    <a:lnTo>
                      <a:pt x="276584" y="130666"/>
                    </a:lnTo>
                    <a:lnTo>
                      <a:pt x="275703" y="130048"/>
                    </a:lnTo>
                    <a:lnTo>
                      <a:pt x="276849" y="128902"/>
                    </a:lnTo>
                    <a:lnTo>
                      <a:pt x="277466" y="127756"/>
                    </a:lnTo>
                    <a:lnTo>
                      <a:pt x="278965" y="126610"/>
                    </a:lnTo>
                    <a:lnTo>
                      <a:pt x="279846" y="125993"/>
                    </a:lnTo>
                    <a:lnTo>
                      <a:pt x="280728" y="125375"/>
                    </a:lnTo>
                    <a:lnTo>
                      <a:pt x="280993" y="124758"/>
                    </a:lnTo>
                    <a:lnTo>
                      <a:pt x="282139" y="124494"/>
                    </a:lnTo>
                    <a:lnTo>
                      <a:pt x="283021" y="124229"/>
                    </a:lnTo>
                    <a:lnTo>
                      <a:pt x="284167" y="124229"/>
                    </a:lnTo>
                    <a:lnTo>
                      <a:pt x="285313" y="124494"/>
                    </a:lnTo>
                    <a:lnTo>
                      <a:pt x="286459" y="124229"/>
                    </a:lnTo>
                    <a:lnTo>
                      <a:pt x="286459" y="123348"/>
                    </a:lnTo>
                    <a:lnTo>
                      <a:pt x="286194" y="122466"/>
                    </a:lnTo>
                    <a:lnTo>
                      <a:pt x="287958" y="123348"/>
                    </a:lnTo>
                    <a:lnTo>
                      <a:pt x="290250" y="123965"/>
                    </a:lnTo>
                    <a:lnTo>
                      <a:pt x="292895" y="123965"/>
                    </a:lnTo>
                    <a:lnTo>
                      <a:pt x="295276" y="123700"/>
                    </a:lnTo>
                    <a:lnTo>
                      <a:pt x="297039" y="123700"/>
                    </a:lnTo>
                    <a:lnTo>
                      <a:pt x="298186" y="123083"/>
                    </a:lnTo>
                    <a:lnTo>
                      <a:pt x="300214" y="122819"/>
                    </a:lnTo>
                    <a:lnTo>
                      <a:pt x="301359" y="122819"/>
                    </a:lnTo>
                    <a:lnTo>
                      <a:pt x="302241" y="123436"/>
                    </a:lnTo>
                    <a:lnTo>
                      <a:pt x="301095" y="123700"/>
                    </a:lnTo>
                    <a:lnTo>
                      <a:pt x="299067" y="123965"/>
                    </a:lnTo>
                    <a:lnTo>
                      <a:pt x="297304" y="124494"/>
                    </a:lnTo>
                    <a:lnTo>
                      <a:pt x="296422" y="125375"/>
                    </a:lnTo>
                    <a:lnTo>
                      <a:pt x="295805" y="125640"/>
                    </a:lnTo>
                    <a:lnTo>
                      <a:pt x="296070" y="125375"/>
                    </a:lnTo>
                    <a:lnTo>
                      <a:pt x="294923" y="124758"/>
                    </a:lnTo>
                    <a:lnTo>
                      <a:pt x="293424" y="124141"/>
                    </a:lnTo>
                    <a:lnTo>
                      <a:pt x="290515" y="124758"/>
                    </a:lnTo>
                    <a:lnTo>
                      <a:pt x="288751" y="125640"/>
                    </a:lnTo>
                    <a:lnTo>
                      <a:pt x="287870" y="126522"/>
                    </a:lnTo>
                    <a:lnTo>
                      <a:pt x="287870" y="127668"/>
                    </a:lnTo>
                    <a:lnTo>
                      <a:pt x="287870" y="128550"/>
                    </a:lnTo>
                    <a:lnTo>
                      <a:pt x="288751" y="129696"/>
                    </a:lnTo>
                    <a:lnTo>
                      <a:pt x="288751" y="130313"/>
                    </a:lnTo>
                    <a:lnTo>
                      <a:pt x="289016" y="131195"/>
                    </a:lnTo>
                    <a:lnTo>
                      <a:pt x="289280" y="131724"/>
                    </a:lnTo>
                    <a:lnTo>
                      <a:pt x="290162" y="131988"/>
                    </a:lnTo>
                    <a:lnTo>
                      <a:pt x="290779" y="132605"/>
                    </a:lnTo>
                    <a:lnTo>
                      <a:pt x="291044" y="133487"/>
                    </a:lnTo>
                    <a:lnTo>
                      <a:pt x="291661" y="134104"/>
                    </a:lnTo>
                    <a:lnTo>
                      <a:pt x="292278" y="134369"/>
                    </a:lnTo>
                    <a:lnTo>
                      <a:pt x="292278" y="134986"/>
                    </a:lnTo>
                    <a:lnTo>
                      <a:pt x="291661" y="134986"/>
                    </a:lnTo>
                    <a:lnTo>
                      <a:pt x="290515" y="134369"/>
                    </a:lnTo>
                    <a:lnTo>
                      <a:pt x="289898" y="133487"/>
                    </a:lnTo>
                    <a:lnTo>
                      <a:pt x="289016" y="132958"/>
                    </a:lnTo>
                    <a:lnTo>
                      <a:pt x="288134" y="132958"/>
                    </a:lnTo>
                    <a:lnTo>
                      <a:pt x="287870" y="133222"/>
                    </a:lnTo>
                    <a:lnTo>
                      <a:pt x="287605" y="133840"/>
                    </a:lnTo>
                    <a:lnTo>
                      <a:pt x="287605" y="134104"/>
                    </a:lnTo>
                    <a:lnTo>
                      <a:pt x="287341" y="133487"/>
                    </a:lnTo>
                    <a:lnTo>
                      <a:pt x="287605" y="131988"/>
                    </a:lnTo>
                    <a:lnTo>
                      <a:pt x="287605" y="130489"/>
                    </a:lnTo>
                    <a:lnTo>
                      <a:pt x="287341" y="129343"/>
                    </a:lnTo>
                    <a:lnTo>
                      <a:pt x="286459" y="129079"/>
                    </a:lnTo>
                    <a:lnTo>
                      <a:pt x="285313" y="129343"/>
                    </a:lnTo>
                    <a:lnTo>
                      <a:pt x="284696" y="129872"/>
                    </a:lnTo>
                    <a:lnTo>
                      <a:pt x="284431" y="130754"/>
                    </a:lnTo>
                    <a:lnTo>
                      <a:pt x="283814" y="131018"/>
                    </a:lnTo>
                    <a:lnTo>
                      <a:pt x="282668" y="131900"/>
                    </a:lnTo>
                    <a:lnTo>
                      <a:pt x="281169" y="132517"/>
                    </a:lnTo>
                    <a:lnTo>
                      <a:pt x="280905" y="133134"/>
                    </a:lnTo>
                    <a:lnTo>
                      <a:pt x="280905" y="133751"/>
                    </a:lnTo>
                    <a:lnTo>
                      <a:pt x="281169" y="134280"/>
                    </a:lnTo>
                    <a:lnTo>
                      <a:pt x="281434" y="135162"/>
                    </a:lnTo>
                    <a:lnTo>
                      <a:pt x="280552" y="135779"/>
                    </a:lnTo>
                    <a:lnTo>
                      <a:pt x="279670" y="135515"/>
                    </a:lnTo>
                    <a:lnTo>
                      <a:pt x="278524" y="134898"/>
                    </a:lnTo>
                    <a:lnTo>
                      <a:pt x="278171" y="134280"/>
                    </a:lnTo>
                    <a:lnTo>
                      <a:pt x="277025" y="134280"/>
                    </a:lnTo>
                    <a:lnTo>
                      <a:pt x="275526" y="134280"/>
                    </a:lnTo>
                    <a:lnTo>
                      <a:pt x="273763" y="134016"/>
                    </a:lnTo>
                    <a:lnTo>
                      <a:pt x="272617" y="134016"/>
                    </a:lnTo>
                    <a:lnTo>
                      <a:pt x="272000" y="133751"/>
                    </a:lnTo>
                    <a:lnTo>
                      <a:pt x="272000" y="132605"/>
                    </a:lnTo>
                    <a:lnTo>
                      <a:pt x="271735" y="131988"/>
                    </a:lnTo>
                    <a:lnTo>
                      <a:pt x="271206" y="131988"/>
                    </a:lnTo>
                    <a:lnTo>
                      <a:pt x="270324" y="134898"/>
                    </a:lnTo>
                    <a:lnTo>
                      <a:pt x="268914" y="135515"/>
                    </a:lnTo>
                    <a:lnTo>
                      <a:pt x="270060" y="136661"/>
                    </a:lnTo>
                    <a:lnTo>
                      <a:pt x="270677" y="137807"/>
                    </a:lnTo>
                    <a:lnTo>
                      <a:pt x="271559" y="137543"/>
                    </a:lnTo>
                    <a:lnTo>
                      <a:pt x="272440" y="137807"/>
                    </a:lnTo>
                    <a:lnTo>
                      <a:pt x="271823" y="138336"/>
                    </a:lnTo>
                    <a:lnTo>
                      <a:pt x="271823" y="138953"/>
                    </a:lnTo>
                    <a:lnTo>
                      <a:pt x="272705" y="139571"/>
                    </a:lnTo>
                    <a:lnTo>
                      <a:pt x="272969" y="140188"/>
                    </a:lnTo>
                    <a:lnTo>
                      <a:pt x="271823" y="140188"/>
                    </a:lnTo>
                    <a:lnTo>
                      <a:pt x="270942" y="139571"/>
                    </a:lnTo>
                    <a:lnTo>
                      <a:pt x="270324" y="140717"/>
                    </a:lnTo>
                    <a:lnTo>
                      <a:pt x="270324" y="142480"/>
                    </a:lnTo>
                    <a:lnTo>
                      <a:pt x="272705" y="142833"/>
                    </a:lnTo>
                    <a:lnTo>
                      <a:pt x="272969" y="143979"/>
                    </a:lnTo>
                    <a:lnTo>
                      <a:pt x="270677" y="146007"/>
                    </a:lnTo>
                    <a:lnTo>
                      <a:pt x="271823" y="145742"/>
                    </a:lnTo>
                    <a:lnTo>
                      <a:pt x="272088" y="145742"/>
                    </a:lnTo>
                    <a:lnTo>
                      <a:pt x="274115" y="146889"/>
                    </a:lnTo>
                    <a:lnTo>
                      <a:pt x="274468" y="148652"/>
                    </a:lnTo>
                    <a:lnTo>
                      <a:pt x="274115" y="150415"/>
                    </a:lnTo>
                    <a:lnTo>
                      <a:pt x="272705" y="150680"/>
                    </a:lnTo>
                    <a:lnTo>
                      <a:pt x="271823" y="149798"/>
                    </a:lnTo>
                    <a:lnTo>
                      <a:pt x="272088" y="150415"/>
                    </a:lnTo>
                    <a:lnTo>
                      <a:pt x="271471" y="153060"/>
                    </a:lnTo>
                    <a:lnTo>
                      <a:pt x="272352" y="156851"/>
                    </a:lnTo>
                    <a:lnTo>
                      <a:pt x="272969" y="158879"/>
                    </a:lnTo>
                    <a:lnTo>
                      <a:pt x="273851" y="159497"/>
                    </a:lnTo>
                    <a:lnTo>
                      <a:pt x="273851" y="159232"/>
                    </a:lnTo>
                    <a:lnTo>
                      <a:pt x="273851" y="158086"/>
                    </a:lnTo>
                    <a:lnTo>
                      <a:pt x="273586" y="157469"/>
                    </a:lnTo>
                    <a:lnTo>
                      <a:pt x="273851" y="156851"/>
                    </a:lnTo>
                    <a:lnTo>
                      <a:pt x="274997" y="157998"/>
                    </a:lnTo>
                    <a:lnTo>
                      <a:pt x="277025" y="159497"/>
                    </a:lnTo>
                    <a:lnTo>
                      <a:pt x="279406" y="160643"/>
                    </a:lnTo>
                    <a:lnTo>
                      <a:pt x="280287" y="161260"/>
                    </a:lnTo>
                    <a:lnTo>
                      <a:pt x="280287" y="162406"/>
                    </a:lnTo>
                    <a:lnTo>
                      <a:pt x="280552" y="163288"/>
                    </a:lnTo>
                    <a:lnTo>
                      <a:pt x="281169" y="164698"/>
                    </a:lnTo>
                    <a:lnTo>
                      <a:pt x="281169" y="166462"/>
                    </a:lnTo>
                    <a:lnTo>
                      <a:pt x="280905" y="167344"/>
                    </a:lnTo>
                    <a:lnTo>
                      <a:pt x="280287" y="166726"/>
                    </a:lnTo>
                    <a:lnTo>
                      <a:pt x="279406" y="166109"/>
                    </a:lnTo>
                    <a:lnTo>
                      <a:pt x="279141" y="166109"/>
                    </a:lnTo>
                    <a:lnTo>
                      <a:pt x="278877" y="165845"/>
                    </a:lnTo>
                    <a:lnTo>
                      <a:pt x="277642" y="166462"/>
                    </a:lnTo>
                    <a:lnTo>
                      <a:pt x="277642" y="167344"/>
                    </a:lnTo>
                    <a:lnTo>
                      <a:pt x="277907" y="168225"/>
                    </a:lnTo>
                    <a:lnTo>
                      <a:pt x="278524" y="168842"/>
                    </a:lnTo>
                    <a:lnTo>
                      <a:pt x="279406" y="168225"/>
                    </a:lnTo>
                    <a:lnTo>
                      <a:pt x="280023" y="167961"/>
                    </a:lnTo>
                    <a:lnTo>
                      <a:pt x="280640" y="167696"/>
                    </a:lnTo>
                    <a:lnTo>
                      <a:pt x="280905" y="168313"/>
                    </a:lnTo>
                    <a:lnTo>
                      <a:pt x="281786" y="168931"/>
                    </a:lnTo>
                    <a:lnTo>
                      <a:pt x="281786" y="169812"/>
                    </a:lnTo>
                    <a:lnTo>
                      <a:pt x="281522" y="171840"/>
                    </a:lnTo>
                    <a:lnTo>
                      <a:pt x="281522" y="172722"/>
                    </a:lnTo>
                    <a:lnTo>
                      <a:pt x="281257" y="173868"/>
                    </a:lnTo>
                    <a:close/>
                    <a:moveTo>
                      <a:pt x="1499" y="7935"/>
                    </a:moveTo>
                    <a:lnTo>
                      <a:pt x="882" y="9434"/>
                    </a:lnTo>
                    <a:lnTo>
                      <a:pt x="0" y="6524"/>
                    </a:lnTo>
                    <a:lnTo>
                      <a:pt x="1499" y="793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2" name="Freihandform: Form 1571">
                <a:extLst>
                  <a:ext uri="{FF2B5EF4-FFF2-40B4-BE49-F238E27FC236}">
                    <a16:creationId xmlns:a16="http://schemas.microsoft.com/office/drawing/2014/main" id="{82F55525-A0E8-46CB-E3F0-E8BA7DEC47BD}"/>
                  </a:ext>
                </a:extLst>
              </p:cNvPr>
              <p:cNvSpPr/>
              <p:nvPr/>
            </p:nvSpPr>
            <p:spPr>
              <a:xfrm>
                <a:off x="4265310" y="2473783"/>
                <a:ext cx="204285" cy="307090"/>
              </a:xfrm>
              <a:custGeom>
                <a:avLst/>
                <a:gdLst>
                  <a:gd name="connsiteX0" fmla="*/ 132958 w 204285"/>
                  <a:gd name="connsiteY0" fmla="*/ 0 h 307090"/>
                  <a:gd name="connsiteX1" fmla="*/ 137013 w 204285"/>
                  <a:gd name="connsiteY1" fmla="*/ 1146 h 307090"/>
                  <a:gd name="connsiteX2" fmla="*/ 139041 w 204285"/>
                  <a:gd name="connsiteY2" fmla="*/ 2292 h 307090"/>
                  <a:gd name="connsiteX3" fmla="*/ 137631 w 204285"/>
                  <a:gd name="connsiteY3" fmla="*/ 2292 h 307090"/>
                  <a:gd name="connsiteX4" fmla="*/ 137983 w 204285"/>
                  <a:gd name="connsiteY4" fmla="*/ 3439 h 307090"/>
                  <a:gd name="connsiteX5" fmla="*/ 140011 w 204285"/>
                  <a:gd name="connsiteY5" fmla="*/ 3703 h 307090"/>
                  <a:gd name="connsiteX6" fmla="*/ 145566 w 204285"/>
                  <a:gd name="connsiteY6" fmla="*/ 6348 h 307090"/>
                  <a:gd name="connsiteX7" fmla="*/ 148476 w 204285"/>
                  <a:gd name="connsiteY7" fmla="*/ 7494 h 307090"/>
                  <a:gd name="connsiteX8" fmla="*/ 150503 w 204285"/>
                  <a:gd name="connsiteY8" fmla="*/ 8993 h 307090"/>
                  <a:gd name="connsiteX9" fmla="*/ 152884 w 204285"/>
                  <a:gd name="connsiteY9" fmla="*/ 9522 h 307090"/>
                  <a:gd name="connsiteX10" fmla="*/ 155529 w 204285"/>
                  <a:gd name="connsiteY10" fmla="*/ 10404 h 307090"/>
                  <a:gd name="connsiteX11" fmla="*/ 157909 w 204285"/>
                  <a:gd name="connsiteY11" fmla="*/ 11550 h 307090"/>
                  <a:gd name="connsiteX12" fmla="*/ 160819 w 204285"/>
                  <a:gd name="connsiteY12" fmla="*/ 12432 h 307090"/>
                  <a:gd name="connsiteX13" fmla="*/ 162847 w 204285"/>
                  <a:gd name="connsiteY13" fmla="*/ 12432 h 307090"/>
                  <a:gd name="connsiteX14" fmla="*/ 163993 w 204285"/>
                  <a:gd name="connsiteY14" fmla="*/ 12432 h 307090"/>
                  <a:gd name="connsiteX15" fmla="*/ 163993 w 204285"/>
                  <a:gd name="connsiteY15" fmla="*/ 13049 h 307090"/>
                  <a:gd name="connsiteX16" fmla="*/ 164875 w 204285"/>
                  <a:gd name="connsiteY16" fmla="*/ 13049 h 307090"/>
                  <a:gd name="connsiteX17" fmla="*/ 167167 w 204285"/>
                  <a:gd name="connsiteY17" fmla="*/ 13666 h 307090"/>
                  <a:gd name="connsiteX18" fmla="*/ 168313 w 204285"/>
                  <a:gd name="connsiteY18" fmla="*/ 13666 h 307090"/>
                  <a:gd name="connsiteX19" fmla="*/ 169724 w 204285"/>
                  <a:gd name="connsiteY19" fmla="*/ 13931 h 307090"/>
                  <a:gd name="connsiteX20" fmla="*/ 170870 w 204285"/>
                  <a:gd name="connsiteY20" fmla="*/ 13931 h 307090"/>
                  <a:gd name="connsiteX21" fmla="*/ 171752 w 204285"/>
                  <a:gd name="connsiteY21" fmla="*/ 15077 h 307090"/>
                  <a:gd name="connsiteX22" fmla="*/ 174662 w 204285"/>
                  <a:gd name="connsiteY22" fmla="*/ 16223 h 307090"/>
                  <a:gd name="connsiteX23" fmla="*/ 176160 w 204285"/>
                  <a:gd name="connsiteY23" fmla="*/ 17722 h 307090"/>
                  <a:gd name="connsiteX24" fmla="*/ 176777 w 204285"/>
                  <a:gd name="connsiteY24" fmla="*/ 19485 h 307090"/>
                  <a:gd name="connsiteX25" fmla="*/ 179422 w 204285"/>
                  <a:gd name="connsiteY25" fmla="*/ 18868 h 307090"/>
                  <a:gd name="connsiteX26" fmla="*/ 180569 w 204285"/>
                  <a:gd name="connsiteY26" fmla="*/ 19485 h 307090"/>
                  <a:gd name="connsiteX27" fmla="*/ 181715 w 204285"/>
                  <a:gd name="connsiteY27" fmla="*/ 21513 h 307090"/>
                  <a:gd name="connsiteX28" fmla="*/ 184095 w 204285"/>
                  <a:gd name="connsiteY28" fmla="*/ 22130 h 307090"/>
                  <a:gd name="connsiteX29" fmla="*/ 184095 w 204285"/>
                  <a:gd name="connsiteY29" fmla="*/ 22747 h 307090"/>
                  <a:gd name="connsiteX30" fmla="*/ 186741 w 204285"/>
                  <a:gd name="connsiteY30" fmla="*/ 23629 h 307090"/>
                  <a:gd name="connsiteX31" fmla="*/ 187005 w 204285"/>
                  <a:gd name="connsiteY31" fmla="*/ 24511 h 307090"/>
                  <a:gd name="connsiteX32" fmla="*/ 184360 w 204285"/>
                  <a:gd name="connsiteY32" fmla="*/ 24775 h 307090"/>
                  <a:gd name="connsiteX33" fmla="*/ 183743 w 204285"/>
                  <a:gd name="connsiteY33" fmla="*/ 25921 h 307090"/>
                  <a:gd name="connsiteX34" fmla="*/ 184007 w 204285"/>
                  <a:gd name="connsiteY34" fmla="*/ 27949 h 307090"/>
                  <a:gd name="connsiteX35" fmla="*/ 185771 w 204285"/>
                  <a:gd name="connsiteY35" fmla="*/ 31476 h 307090"/>
                  <a:gd name="connsiteX36" fmla="*/ 184889 w 204285"/>
                  <a:gd name="connsiteY36" fmla="*/ 31829 h 307090"/>
                  <a:gd name="connsiteX37" fmla="*/ 185154 w 204285"/>
                  <a:gd name="connsiteY37" fmla="*/ 33857 h 307090"/>
                  <a:gd name="connsiteX38" fmla="*/ 185418 w 204285"/>
                  <a:gd name="connsiteY38" fmla="*/ 34738 h 307090"/>
                  <a:gd name="connsiteX39" fmla="*/ 186300 w 204285"/>
                  <a:gd name="connsiteY39" fmla="*/ 33857 h 307090"/>
                  <a:gd name="connsiteX40" fmla="*/ 187446 w 204285"/>
                  <a:gd name="connsiteY40" fmla="*/ 34738 h 307090"/>
                  <a:gd name="connsiteX41" fmla="*/ 190091 w 204285"/>
                  <a:gd name="connsiteY41" fmla="*/ 34738 h 307090"/>
                  <a:gd name="connsiteX42" fmla="*/ 190356 w 204285"/>
                  <a:gd name="connsiteY42" fmla="*/ 36766 h 307090"/>
                  <a:gd name="connsiteX43" fmla="*/ 190620 w 204285"/>
                  <a:gd name="connsiteY43" fmla="*/ 37912 h 307090"/>
                  <a:gd name="connsiteX44" fmla="*/ 187975 w 204285"/>
                  <a:gd name="connsiteY44" fmla="*/ 37912 h 307090"/>
                  <a:gd name="connsiteX45" fmla="*/ 188239 w 204285"/>
                  <a:gd name="connsiteY45" fmla="*/ 39059 h 307090"/>
                  <a:gd name="connsiteX46" fmla="*/ 187622 w 204285"/>
                  <a:gd name="connsiteY46" fmla="*/ 41351 h 307090"/>
                  <a:gd name="connsiteX47" fmla="*/ 190003 w 204285"/>
                  <a:gd name="connsiteY47" fmla="*/ 41351 h 307090"/>
                  <a:gd name="connsiteX48" fmla="*/ 191413 w 204285"/>
                  <a:gd name="connsiteY48" fmla="*/ 44260 h 307090"/>
                  <a:gd name="connsiteX49" fmla="*/ 192912 w 204285"/>
                  <a:gd name="connsiteY49" fmla="*/ 44525 h 307090"/>
                  <a:gd name="connsiteX50" fmla="*/ 194676 w 204285"/>
                  <a:gd name="connsiteY50" fmla="*/ 46553 h 307090"/>
                  <a:gd name="connsiteX51" fmla="*/ 196968 w 204285"/>
                  <a:gd name="connsiteY51" fmla="*/ 47699 h 307090"/>
                  <a:gd name="connsiteX52" fmla="*/ 194676 w 204285"/>
                  <a:gd name="connsiteY52" fmla="*/ 48845 h 307090"/>
                  <a:gd name="connsiteX53" fmla="*/ 195822 w 204285"/>
                  <a:gd name="connsiteY53" fmla="*/ 54135 h 307090"/>
                  <a:gd name="connsiteX54" fmla="*/ 194676 w 204285"/>
                  <a:gd name="connsiteY54" fmla="*/ 54400 h 307090"/>
                  <a:gd name="connsiteX55" fmla="*/ 193794 w 204285"/>
                  <a:gd name="connsiteY55" fmla="*/ 54664 h 307090"/>
                  <a:gd name="connsiteX56" fmla="*/ 192031 w 204285"/>
                  <a:gd name="connsiteY56" fmla="*/ 54929 h 307090"/>
                  <a:gd name="connsiteX57" fmla="*/ 192912 w 204285"/>
                  <a:gd name="connsiteY57" fmla="*/ 58720 h 307090"/>
                  <a:gd name="connsiteX58" fmla="*/ 194940 w 204285"/>
                  <a:gd name="connsiteY58" fmla="*/ 61630 h 307090"/>
                  <a:gd name="connsiteX59" fmla="*/ 197585 w 204285"/>
                  <a:gd name="connsiteY59" fmla="*/ 62776 h 307090"/>
                  <a:gd name="connsiteX60" fmla="*/ 204286 w 204285"/>
                  <a:gd name="connsiteY60" fmla="*/ 68948 h 307090"/>
                  <a:gd name="connsiteX61" fmla="*/ 203404 w 204285"/>
                  <a:gd name="connsiteY61" fmla="*/ 68948 h 307090"/>
                  <a:gd name="connsiteX62" fmla="*/ 202787 w 204285"/>
                  <a:gd name="connsiteY62" fmla="*/ 69212 h 307090"/>
                  <a:gd name="connsiteX63" fmla="*/ 202170 w 204285"/>
                  <a:gd name="connsiteY63" fmla="*/ 69477 h 307090"/>
                  <a:gd name="connsiteX64" fmla="*/ 201288 w 204285"/>
                  <a:gd name="connsiteY64" fmla="*/ 69741 h 307090"/>
                  <a:gd name="connsiteX65" fmla="*/ 201288 w 204285"/>
                  <a:gd name="connsiteY65" fmla="*/ 70006 h 307090"/>
                  <a:gd name="connsiteX66" fmla="*/ 200671 w 204285"/>
                  <a:gd name="connsiteY66" fmla="*/ 70270 h 307090"/>
                  <a:gd name="connsiteX67" fmla="*/ 200407 w 204285"/>
                  <a:gd name="connsiteY67" fmla="*/ 69653 h 307090"/>
                  <a:gd name="connsiteX68" fmla="*/ 199789 w 204285"/>
                  <a:gd name="connsiteY68" fmla="*/ 69388 h 307090"/>
                  <a:gd name="connsiteX69" fmla="*/ 200054 w 204285"/>
                  <a:gd name="connsiteY69" fmla="*/ 70270 h 307090"/>
                  <a:gd name="connsiteX70" fmla="*/ 198908 w 204285"/>
                  <a:gd name="connsiteY70" fmla="*/ 70535 h 307090"/>
                  <a:gd name="connsiteX71" fmla="*/ 198908 w 204285"/>
                  <a:gd name="connsiteY71" fmla="*/ 69918 h 307090"/>
                  <a:gd name="connsiteX72" fmla="*/ 198026 w 204285"/>
                  <a:gd name="connsiteY72" fmla="*/ 69918 h 307090"/>
                  <a:gd name="connsiteX73" fmla="*/ 197762 w 204285"/>
                  <a:gd name="connsiteY73" fmla="*/ 69300 h 307090"/>
                  <a:gd name="connsiteX74" fmla="*/ 196880 w 204285"/>
                  <a:gd name="connsiteY74" fmla="*/ 69565 h 307090"/>
                  <a:gd name="connsiteX75" fmla="*/ 196615 w 204285"/>
                  <a:gd name="connsiteY75" fmla="*/ 68683 h 307090"/>
                  <a:gd name="connsiteX76" fmla="*/ 196880 w 204285"/>
                  <a:gd name="connsiteY76" fmla="*/ 69829 h 307090"/>
                  <a:gd name="connsiteX77" fmla="*/ 196615 w 204285"/>
                  <a:gd name="connsiteY77" fmla="*/ 70447 h 307090"/>
                  <a:gd name="connsiteX78" fmla="*/ 195998 w 204285"/>
                  <a:gd name="connsiteY78" fmla="*/ 70711 h 307090"/>
                  <a:gd name="connsiteX79" fmla="*/ 195998 w 204285"/>
                  <a:gd name="connsiteY79" fmla="*/ 69829 h 307090"/>
                  <a:gd name="connsiteX80" fmla="*/ 195381 w 204285"/>
                  <a:gd name="connsiteY80" fmla="*/ 69829 h 307090"/>
                  <a:gd name="connsiteX81" fmla="*/ 195381 w 204285"/>
                  <a:gd name="connsiteY81" fmla="*/ 68683 h 307090"/>
                  <a:gd name="connsiteX82" fmla="*/ 195116 w 204285"/>
                  <a:gd name="connsiteY82" fmla="*/ 69300 h 307090"/>
                  <a:gd name="connsiteX83" fmla="*/ 194235 w 204285"/>
                  <a:gd name="connsiteY83" fmla="*/ 69918 h 307090"/>
                  <a:gd name="connsiteX84" fmla="*/ 194235 w 204285"/>
                  <a:gd name="connsiteY84" fmla="*/ 69653 h 307090"/>
                  <a:gd name="connsiteX85" fmla="*/ 193353 w 204285"/>
                  <a:gd name="connsiteY85" fmla="*/ 69388 h 307090"/>
                  <a:gd name="connsiteX86" fmla="*/ 193089 w 204285"/>
                  <a:gd name="connsiteY86" fmla="*/ 69653 h 307090"/>
                  <a:gd name="connsiteX87" fmla="*/ 192207 w 204285"/>
                  <a:gd name="connsiteY87" fmla="*/ 68771 h 307090"/>
                  <a:gd name="connsiteX88" fmla="*/ 191942 w 204285"/>
                  <a:gd name="connsiteY88" fmla="*/ 68771 h 307090"/>
                  <a:gd name="connsiteX89" fmla="*/ 191325 w 204285"/>
                  <a:gd name="connsiteY89" fmla="*/ 69388 h 307090"/>
                  <a:gd name="connsiteX90" fmla="*/ 192207 w 204285"/>
                  <a:gd name="connsiteY90" fmla="*/ 70535 h 307090"/>
                  <a:gd name="connsiteX91" fmla="*/ 191325 w 204285"/>
                  <a:gd name="connsiteY91" fmla="*/ 70535 h 307090"/>
                  <a:gd name="connsiteX92" fmla="*/ 191590 w 204285"/>
                  <a:gd name="connsiteY92" fmla="*/ 71152 h 307090"/>
                  <a:gd name="connsiteX93" fmla="*/ 191325 w 204285"/>
                  <a:gd name="connsiteY93" fmla="*/ 71769 h 307090"/>
                  <a:gd name="connsiteX94" fmla="*/ 190443 w 204285"/>
                  <a:gd name="connsiteY94" fmla="*/ 71769 h 307090"/>
                  <a:gd name="connsiteX95" fmla="*/ 189827 w 204285"/>
                  <a:gd name="connsiteY95" fmla="*/ 71769 h 307090"/>
                  <a:gd name="connsiteX96" fmla="*/ 189827 w 204285"/>
                  <a:gd name="connsiteY96" fmla="*/ 71152 h 307090"/>
                  <a:gd name="connsiteX97" fmla="*/ 190708 w 204285"/>
                  <a:gd name="connsiteY97" fmla="*/ 70535 h 307090"/>
                  <a:gd name="connsiteX98" fmla="*/ 190972 w 204285"/>
                  <a:gd name="connsiteY98" fmla="*/ 69918 h 307090"/>
                  <a:gd name="connsiteX99" fmla="*/ 190708 w 204285"/>
                  <a:gd name="connsiteY99" fmla="*/ 68771 h 307090"/>
                  <a:gd name="connsiteX100" fmla="*/ 190091 w 204285"/>
                  <a:gd name="connsiteY100" fmla="*/ 68507 h 307090"/>
                  <a:gd name="connsiteX101" fmla="*/ 189827 w 204285"/>
                  <a:gd name="connsiteY101" fmla="*/ 68771 h 307090"/>
                  <a:gd name="connsiteX102" fmla="*/ 190091 w 204285"/>
                  <a:gd name="connsiteY102" fmla="*/ 69918 h 307090"/>
                  <a:gd name="connsiteX103" fmla="*/ 189209 w 204285"/>
                  <a:gd name="connsiteY103" fmla="*/ 69918 h 307090"/>
                  <a:gd name="connsiteX104" fmla="*/ 188328 w 204285"/>
                  <a:gd name="connsiteY104" fmla="*/ 68771 h 307090"/>
                  <a:gd name="connsiteX105" fmla="*/ 187446 w 204285"/>
                  <a:gd name="connsiteY105" fmla="*/ 69388 h 307090"/>
                  <a:gd name="connsiteX106" fmla="*/ 187446 w 204285"/>
                  <a:gd name="connsiteY106" fmla="*/ 70006 h 307090"/>
                  <a:gd name="connsiteX107" fmla="*/ 189209 w 204285"/>
                  <a:gd name="connsiteY107" fmla="*/ 70623 h 307090"/>
                  <a:gd name="connsiteX108" fmla="*/ 188592 w 204285"/>
                  <a:gd name="connsiteY108" fmla="*/ 70887 h 307090"/>
                  <a:gd name="connsiteX109" fmla="*/ 187710 w 204285"/>
                  <a:gd name="connsiteY109" fmla="*/ 70623 h 307090"/>
                  <a:gd name="connsiteX110" fmla="*/ 187093 w 204285"/>
                  <a:gd name="connsiteY110" fmla="*/ 71505 h 307090"/>
                  <a:gd name="connsiteX111" fmla="*/ 186212 w 204285"/>
                  <a:gd name="connsiteY111" fmla="*/ 71240 h 307090"/>
                  <a:gd name="connsiteX112" fmla="*/ 184713 w 204285"/>
                  <a:gd name="connsiteY112" fmla="*/ 71857 h 307090"/>
                  <a:gd name="connsiteX113" fmla="*/ 184713 w 204285"/>
                  <a:gd name="connsiteY113" fmla="*/ 70711 h 307090"/>
                  <a:gd name="connsiteX114" fmla="*/ 183566 w 204285"/>
                  <a:gd name="connsiteY114" fmla="*/ 70094 h 307090"/>
                  <a:gd name="connsiteX115" fmla="*/ 181803 w 204285"/>
                  <a:gd name="connsiteY115" fmla="*/ 69829 h 307090"/>
                  <a:gd name="connsiteX116" fmla="*/ 182068 w 204285"/>
                  <a:gd name="connsiteY116" fmla="*/ 70094 h 307090"/>
                  <a:gd name="connsiteX117" fmla="*/ 180921 w 204285"/>
                  <a:gd name="connsiteY117" fmla="*/ 69829 h 307090"/>
                  <a:gd name="connsiteX118" fmla="*/ 179775 w 204285"/>
                  <a:gd name="connsiteY118" fmla="*/ 68683 h 307090"/>
                  <a:gd name="connsiteX119" fmla="*/ 178012 w 204285"/>
                  <a:gd name="connsiteY119" fmla="*/ 67537 h 307090"/>
                  <a:gd name="connsiteX120" fmla="*/ 177395 w 204285"/>
                  <a:gd name="connsiteY120" fmla="*/ 67008 h 307090"/>
                  <a:gd name="connsiteX121" fmla="*/ 176513 w 204285"/>
                  <a:gd name="connsiteY121" fmla="*/ 66743 h 307090"/>
                  <a:gd name="connsiteX122" fmla="*/ 175631 w 204285"/>
                  <a:gd name="connsiteY122" fmla="*/ 66743 h 307090"/>
                  <a:gd name="connsiteX123" fmla="*/ 175896 w 204285"/>
                  <a:gd name="connsiteY123" fmla="*/ 67272 h 307090"/>
                  <a:gd name="connsiteX124" fmla="*/ 176513 w 204285"/>
                  <a:gd name="connsiteY124" fmla="*/ 67537 h 307090"/>
                  <a:gd name="connsiteX125" fmla="*/ 177130 w 204285"/>
                  <a:gd name="connsiteY125" fmla="*/ 67537 h 307090"/>
                  <a:gd name="connsiteX126" fmla="*/ 178012 w 204285"/>
                  <a:gd name="connsiteY126" fmla="*/ 68154 h 307090"/>
                  <a:gd name="connsiteX127" fmla="*/ 178893 w 204285"/>
                  <a:gd name="connsiteY127" fmla="*/ 68771 h 307090"/>
                  <a:gd name="connsiteX128" fmla="*/ 179511 w 204285"/>
                  <a:gd name="connsiteY128" fmla="*/ 69918 h 307090"/>
                  <a:gd name="connsiteX129" fmla="*/ 179511 w 204285"/>
                  <a:gd name="connsiteY129" fmla="*/ 70182 h 307090"/>
                  <a:gd name="connsiteX130" fmla="*/ 178629 w 204285"/>
                  <a:gd name="connsiteY130" fmla="*/ 70799 h 307090"/>
                  <a:gd name="connsiteX131" fmla="*/ 178100 w 204285"/>
                  <a:gd name="connsiteY131" fmla="*/ 71416 h 307090"/>
                  <a:gd name="connsiteX132" fmla="*/ 177835 w 204285"/>
                  <a:gd name="connsiteY132" fmla="*/ 70799 h 307090"/>
                  <a:gd name="connsiteX133" fmla="*/ 177835 w 204285"/>
                  <a:gd name="connsiteY133" fmla="*/ 70182 h 307090"/>
                  <a:gd name="connsiteX134" fmla="*/ 177571 w 204285"/>
                  <a:gd name="connsiteY134" fmla="*/ 69918 h 307090"/>
                  <a:gd name="connsiteX135" fmla="*/ 176954 w 204285"/>
                  <a:gd name="connsiteY135" fmla="*/ 70182 h 307090"/>
                  <a:gd name="connsiteX136" fmla="*/ 176689 w 204285"/>
                  <a:gd name="connsiteY136" fmla="*/ 70799 h 307090"/>
                  <a:gd name="connsiteX137" fmla="*/ 176425 w 204285"/>
                  <a:gd name="connsiteY137" fmla="*/ 69036 h 307090"/>
                  <a:gd name="connsiteX138" fmla="*/ 175808 w 204285"/>
                  <a:gd name="connsiteY138" fmla="*/ 69036 h 307090"/>
                  <a:gd name="connsiteX139" fmla="*/ 175191 w 204285"/>
                  <a:gd name="connsiteY139" fmla="*/ 69036 h 307090"/>
                  <a:gd name="connsiteX140" fmla="*/ 174926 w 204285"/>
                  <a:gd name="connsiteY140" fmla="*/ 68771 h 307090"/>
                  <a:gd name="connsiteX141" fmla="*/ 174926 w 204285"/>
                  <a:gd name="connsiteY141" fmla="*/ 68154 h 307090"/>
                  <a:gd name="connsiteX142" fmla="*/ 174044 w 204285"/>
                  <a:gd name="connsiteY142" fmla="*/ 68154 h 307090"/>
                  <a:gd name="connsiteX143" fmla="*/ 174044 w 204285"/>
                  <a:gd name="connsiteY143" fmla="*/ 69036 h 307090"/>
                  <a:gd name="connsiteX144" fmla="*/ 173427 w 204285"/>
                  <a:gd name="connsiteY144" fmla="*/ 68771 h 307090"/>
                  <a:gd name="connsiteX145" fmla="*/ 173163 w 204285"/>
                  <a:gd name="connsiteY145" fmla="*/ 69036 h 307090"/>
                  <a:gd name="connsiteX146" fmla="*/ 174309 w 204285"/>
                  <a:gd name="connsiteY146" fmla="*/ 69918 h 307090"/>
                  <a:gd name="connsiteX147" fmla="*/ 173692 w 204285"/>
                  <a:gd name="connsiteY147" fmla="*/ 69918 h 307090"/>
                  <a:gd name="connsiteX148" fmla="*/ 173074 w 204285"/>
                  <a:gd name="connsiteY148" fmla="*/ 69918 h 307090"/>
                  <a:gd name="connsiteX149" fmla="*/ 174221 w 204285"/>
                  <a:gd name="connsiteY149" fmla="*/ 70799 h 307090"/>
                  <a:gd name="connsiteX150" fmla="*/ 173339 w 204285"/>
                  <a:gd name="connsiteY150" fmla="*/ 71416 h 307090"/>
                  <a:gd name="connsiteX151" fmla="*/ 171840 w 204285"/>
                  <a:gd name="connsiteY151" fmla="*/ 70799 h 307090"/>
                  <a:gd name="connsiteX152" fmla="*/ 172457 w 204285"/>
                  <a:gd name="connsiteY152" fmla="*/ 71416 h 307090"/>
                  <a:gd name="connsiteX153" fmla="*/ 174485 w 204285"/>
                  <a:gd name="connsiteY153" fmla="*/ 71416 h 307090"/>
                  <a:gd name="connsiteX154" fmla="*/ 174750 w 204285"/>
                  <a:gd name="connsiteY154" fmla="*/ 72034 h 307090"/>
                  <a:gd name="connsiteX155" fmla="*/ 174485 w 204285"/>
                  <a:gd name="connsiteY155" fmla="*/ 72651 h 307090"/>
                  <a:gd name="connsiteX156" fmla="*/ 172457 w 204285"/>
                  <a:gd name="connsiteY156" fmla="*/ 72034 h 307090"/>
                  <a:gd name="connsiteX157" fmla="*/ 172193 w 204285"/>
                  <a:gd name="connsiteY157" fmla="*/ 72651 h 307090"/>
                  <a:gd name="connsiteX158" fmla="*/ 172810 w 204285"/>
                  <a:gd name="connsiteY158" fmla="*/ 73532 h 307090"/>
                  <a:gd name="connsiteX159" fmla="*/ 171928 w 204285"/>
                  <a:gd name="connsiteY159" fmla="*/ 73532 h 307090"/>
                  <a:gd name="connsiteX160" fmla="*/ 171047 w 204285"/>
                  <a:gd name="connsiteY160" fmla="*/ 73532 h 307090"/>
                  <a:gd name="connsiteX161" fmla="*/ 171928 w 204285"/>
                  <a:gd name="connsiteY161" fmla="*/ 74150 h 307090"/>
                  <a:gd name="connsiteX162" fmla="*/ 173074 w 204285"/>
                  <a:gd name="connsiteY162" fmla="*/ 74414 h 307090"/>
                  <a:gd name="connsiteX163" fmla="*/ 173692 w 204285"/>
                  <a:gd name="connsiteY163" fmla="*/ 74150 h 307090"/>
                  <a:gd name="connsiteX164" fmla="*/ 173692 w 204285"/>
                  <a:gd name="connsiteY164" fmla="*/ 73268 h 307090"/>
                  <a:gd name="connsiteX165" fmla="*/ 172810 w 204285"/>
                  <a:gd name="connsiteY165" fmla="*/ 72651 h 307090"/>
                  <a:gd name="connsiteX166" fmla="*/ 173074 w 204285"/>
                  <a:gd name="connsiteY166" fmla="*/ 72651 h 307090"/>
                  <a:gd name="connsiteX167" fmla="*/ 173692 w 204285"/>
                  <a:gd name="connsiteY167" fmla="*/ 72651 h 307090"/>
                  <a:gd name="connsiteX168" fmla="*/ 173692 w 204285"/>
                  <a:gd name="connsiteY168" fmla="*/ 72915 h 307090"/>
                  <a:gd name="connsiteX169" fmla="*/ 173692 w 204285"/>
                  <a:gd name="connsiteY169" fmla="*/ 73180 h 307090"/>
                  <a:gd name="connsiteX170" fmla="*/ 174309 w 204285"/>
                  <a:gd name="connsiteY170" fmla="*/ 73180 h 307090"/>
                  <a:gd name="connsiteX171" fmla="*/ 174838 w 204285"/>
                  <a:gd name="connsiteY171" fmla="*/ 73180 h 307090"/>
                  <a:gd name="connsiteX172" fmla="*/ 175102 w 204285"/>
                  <a:gd name="connsiteY172" fmla="*/ 73444 h 307090"/>
                  <a:gd name="connsiteX173" fmla="*/ 174573 w 204285"/>
                  <a:gd name="connsiteY173" fmla="*/ 74061 h 307090"/>
                  <a:gd name="connsiteX174" fmla="*/ 173956 w 204285"/>
                  <a:gd name="connsiteY174" fmla="*/ 74326 h 307090"/>
                  <a:gd name="connsiteX175" fmla="*/ 174838 w 204285"/>
                  <a:gd name="connsiteY175" fmla="*/ 74326 h 307090"/>
                  <a:gd name="connsiteX176" fmla="*/ 175102 w 204285"/>
                  <a:gd name="connsiteY176" fmla="*/ 74590 h 307090"/>
                  <a:gd name="connsiteX177" fmla="*/ 175367 w 204285"/>
                  <a:gd name="connsiteY177" fmla="*/ 74855 h 307090"/>
                  <a:gd name="connsiteX178" fmla="*/ 175102 w 204285"/>
                  <a:gd name="connsiteY178" fmla="*/ 75119 h 307090"/>
                  <a:gd name="connsiteX179" fmla="*/ 174838 w 204285"/>
                  <a:gd name="connsiteY179" fmla="*/ 75384 h 307090"/>
                  <a:gd name="connsiteX180" fmla="*/ 174573 w 204285"/>
                  <a:gd name="connsiteY180" fmla="*/ 75119 h 307090"/>
                  <a:gd name="connsiteX181" fmla="*/ 173956 w 204285"/>
                  <a:gd name="connsiteY181" fmla="*/ 74502 h 307090"/>
                  <a:gd name="connsiteX182" fmla="*/ 173339 w 204285"/>
                  <a:gd name="connsiteY182" fmla="*/ 74502 h 307090"/>
                  <a:gd name="connsiteX183" fmla="*/ 173074 w 204285"/>
                  <a:gd name="connsiteY183" fmla="*/ 74502 h 307090"/>
                  <a:gd name="connsiteX184" fmla="*/ 173074 w 204285"/>
                  <a:gd name="connsiteY184" fmla="*/ 75119 h 307090"/>
                  <a:gd name="connsiteX185" fmla="*/ 172810 w 204285"/>
                  <a:gd name="connsiteY185" fmla="*/ 75384 h 307090"/>
                  <a:gd name="connsiteX186" fmla="*/ 171047 w 204285"/>
                  <a:gd name="connsiteY186" fmla="*/ 74238 h 307090"/>
                  <a:gd name="connsiteX187" fmla="*/ 169900 w 204285"/>
                  <a:gd name="connsiteY187" fmla="*/ 73356 h 307090"/>
                  <a:gd name="connsiteX188" fmla="*/ 168754 w 204285"/>
                  <a:gd name="connsiteY188" fmla="*/ 73092 h 307090"/>
                  <a:gd name="connsiteX189" fmla="*/ 167608 w 204285"/>
                  <a:gd name="connsiteY189" fmla="*/ 73092 h 307090"/>
                  <a:gd name="connsiteX190" fmla="*/ 165845 w 204285"/>
                  <a:gd name="connsiteY190" fmla="*/ 72474 h 307090"/>
                  <a:gd name="connsiteX191" fmla="*/ 164963 w 204285"/>
                  <a:gd name="connsiteY191" fmla="*/ 71593 h 307090"/>
                  <a:gd name="connsiteX192" fmla="*/ 163817 w 204285"/>
                  <a:gd name="connsiteY192" fmla="*/ 71328 h 307090"/>
                  <a:gd name="connsiteX193" fmla="*/ 163552 w 204285"/>
                  <a:gd name="connsiteY193" fmla="*/ 71593 h 307090"/>
                  <a:gd name="connsiteX194" fmla="*/ 164081 w 204285"/>
                  <a:gd name="connsiteY194" fmla="*/ 71857 h 307090"/>
                  <a:gd name="connsiteX195" fmla="*/ 166109 w 204285"/>
                  <a:gd name="connsiteY195" fmla="*/ 73003 h 307090"/>
                  <a:gd name="connsiteX196" fmla="*/ 166991 w 204285"/>
                  <a:gd name="connsiteY196" fmla="*/ 73885 h 307090"/>
                  <a:gd name="connsiteX197" fmla="*/ 168754 w 204285"/>
                  <a:gd name="connsiteY197" fmla="*/ 74150 h 307090"/>
                  <a:gd name="connsiteX198" fmla="*/ 170253 w 204285"/>
                  <a:gd name="connsiteY198" fmla="*/ 74414 h 307090"/>
                  <a:gd name="connsiteX199" fmla="*/ 171399 w 204285"/>
                  <a:gd name="connsiteY199" fmla="*/ 75296 h 307090"/>
                  <a:gd name="connsiteX200" fmla="*/ 171928 w 204285"/>
                  <a:gd name="connsiteY200" fmla="*/ 75560 h 307090"/>
                  <a:gd name="connsiteX201" fmla="*/ 170429 w 204285"/>
                  <a:gd name="connsiteY201" fmla="*/ 75296 h 307090"/>
                  <a:gd name="connsiteX202" fmla="*/ 169900 w 204285"/>
                  <a:gd name="connsiteY202" fmla="*/ 75560 h 307090"/>
                  <a:gd name="connsiteX203" fmla="*/ 168754 w 204285"/>
                  <a:gd name="connsiteY203" fmla="*/ 75296 h 307090"/>
                  <a:gd name="connsiteX204" fmla="*/ 168490 w 204285"/>
                  <a:gd name="connsiteY204" fmla="*/ 75031 h 307090"/>
                  <a:gd name="connsiteX205" fmla="*/ 168754 w 204285"/>
                  <a:gd name="connsiteY205" fmla="*/ 75648 h 307090"/>
                  <a:gd name="connsiteX206" fmla="*/ 168137 w 204285"/>
                  <a:gd name="connsiteY206" fmla="*/ 75384 h 307090"/>
                  <a:gd name="connsiteX207" fmla="*/ 167255 w 204285"/>
                  <a:gd name="connsiteY207" fmla="*/ 75119 h 307090"/>
                  <a:gd name="connsiteX208" fmla="*/ 166374 w 204285"/>
                  <a:gd name="connsiteY208" fmla="*/ 75384 h 307090"/>
                  <a:gd name="connsiteX209" fmla="*/ 166374 w 204285"/>
                  <a:gd name="connsiteY209" fmla="*/ 76001 h 307090"/>
                  <a:gd name="connsiteX210" fmla="*/ 166991 w 204285"/>
                  <a:gd name="connsiteY210" fmla="*/ 76266 h 307090"/>
                  <a:gd name="connsiteX211" fmla="*/ 167608 w 204285"/>
                  <a:gd name="connsiteY211" fmla="*/ 76883 h 307090"/>
                  <a:gd name="connsiteX212" fmla="*/ 168225 w 204285"/>
                  <a:gd name="connsiteY212" fmla="*/ 76266 h 307090"/>
                  <a:gd name="connsiteX213" fmla="*/ 167961 w 204285"/>
                  <a:gd name="connsiteY213" fmla="*/ 75648 h 307090"/>
                  <a:gd name="connsiteX214" fmla="*/ 169107 w 204285"/>
                  <a:gd name="connsiteY214" fmla="*/ 76795 h 307090"/>
                  <a:gd name="connsiteX215" fmla="*/ 169371 w 204285"/>
                  <a:gd name="connsiteY215" fmla="*/ 77412 h 307090"/>
                  <a:gd name="connsiteX216" fmla="*/ 169371 w 204285"/>
                  <a:gd name="connsiteY216" fmla="*/ 77676 h 307090"/>
                  <a:gd name="connsiteX217" fmla="*/ 168754 w 204285"/>
                  <a:gd name="connsiteY217" fmla="*/ 77412 h 307090"/>
                  <a:gd name="connsiteX218" fmla="*/ 168137 w 204285"/>
                  <a:gd name="connsiteY218" fmla="*/ 77147 h 307090"/>
                  <a:gd name="connsiteX219" fmla="*/ 168754 w 204285"/>
                  <a:gd name="connsiteY219" fmla="*/ 78294 h 307090"/>
                  <a:gd name="connsiteX220" fmla="*/ 168490 w 204285"/>
                  <a:gd name="connsiteY220" fmla="*/ 78911 h 307090"/>
                  <a:gd name="connsiteX221" fmla="*/ 167961 w 204285"/>
                  <a:gd name="connsiteY221" fmla="*/ 77765 h 307090"/>
                  <a:gd name="connsiteX222" fmla="*/ 167079 w 204285"/>
                  <a:gd name="connsiteY222" fmla="*/ 77765 h 307090"/>
                  <a:gd name="connsiteX223" fmla="*/ 166814 w 204285"/>
                  <a:gd name="connsiteY223" fmla="*/ 78382 h 307090"/>
                  <a:gd name="connsiteX224" fmla="*/ 167079 w 204285"/>
                  <a:gd name="connsiteY224" fmla="*/ 78999 h 307090"/>
                  <a:gd name="connsiteX225" fmla="*/ 166462 w 204285"/>
                  <a:gd name="connsiteY225" fmla="*/ 79263 h 307090"/>
                  <a:gd name="connsiteX226" fmla="*/ 165316 w 204285"/>
                  <a:gd name="connsiteY226" fmla="*/ 78999 h 307090"/>
                  <a:gd name="connsiteX227" fmla="*/ 164698 w 204285"/>
                  <a:gd name="connsiteY227" fmla="*/ 78117 h 307090"/>
                  <a:gd name="connsiteX228" fmla="*/ 164434 w 204285"/>
                  <a:gd name="connsiteY228" fmla="*/ 77853 h 307090"/>
                  <a:gd name="connsiteX229" fmla="*/ 164698 w 204285"/>
                  <a:gd name="connsiteY229" fmla="*/ 78999 h 307090"/>
                  <a:gd name="connsiteX230" fmla="*/ 164081 w 204285"/>
                  <a:gd name="connsiteY230" fmla="*/ 79528 h 307090"/>
                  <a:gd name="connsiteX231" fmla="*/ 163817 w 204285"/>
                  <a:gd name="connsiteY231" fmla="*/ 79528 h 307090"/>
                  <a:gd name="connsiteX232" fmla="*/ 162053 w 204285"/>
                  <a:gd name="connsiteY232" fmla="*/ 78029 h 307090"/>
                  <a:gd name="connsiteX233" fmla="*/ 160907 w 204285"/>
                  <a:gd name="connsiteY233" fmla="*/ 77765 h 307090"/>
                  <a:gd name="connsiteX234" fmla="*/ 160643 w 204285"/>
                  <a:gd name="connsiteY234" fmla="*/ 78382 h 307090"/>
                  <a:gd name="connsiteX235" fmla="*/ 161260 w 204285"/>
                  <a:gd name="connsiteY235" fmla="*/ 78999 h 307090"/>
                  <a:gd name="connsiteX236" fmla="*/ 161877 w 204285"/>
                  <a:gd name="connsiteY236" fmla="*/ 78999 h 307090"/>
                  <a:gd name="connsiteX237" fmla="*/ 162759 w 204285"/>
                  <a:gd name="connsiteY237" fmla="*/ 79528 h 307090"/>
                  <a:gd name="connsiteX238" fmla="*/ 161877 w 204285"/>
                  <a:gd name="connsiteY238" fmla="*/ 79528 h 307090"/>
                  <a:gd name="connsiteX239" fmla="*/ 160995 w 204285"/>
                  <a:gd name="connsiteY239" fmla="*/ 79528 h 307090"/>
                  <a:gd name="connsiteX240" fmla="*/ 160995 w 204285"/>
                  <a:gd name="connsiteY240" fmla="*/ 79881 h 307090"/>
                  <a:gd name="connsiteX241" fmla="*/ 161613 w 204285"/>
                  <a:gd name="connsiteY241" fmla="*/ 80762 h 307090"/>
                  <a:gd name="connsiteX242" fmla="*/ 161348 w 204285"/>
                  <a:gd name="connsiteY242" fmla="*/ 79881 h 307090"/>
                  <a:gd name="connsiteX243" fmla="*/ 163728 w 204285"/>
                  <a:gd name="connsiteY243" fmla="*/ 80498 h 307090"/>
                  <a:gd name="connsiteX244" fmla="*/ 165139 w 204285"/>
                  <a:gd name="connsiteY244" fmla="*/ 81027 h 307090"/>
                  <a:gd name="connsiteX245" fmla="*/ 164522 w 204285"/>
                  <a:gd name="connsiteY245" fmla="*/ 81908 h 307090"/>
                  <a:gd name="connsiteX246" fmla="*/ 164257 w 204285"/>
                  <a:gd name="connsiteY246" fmla="*/ 81908 h 307090"/>
                  <a:gd name="connsiteX247" fmla="*/ 162847 w 204285"/>
                  <a:gd name="connsiteY247" fmla="*/ 81908 h 307090"/>
                  <a:gd name="connsiteX248" fmla="*/ 161701 w 204285"/>
                  <a:gd name="connsiteY248" fmla="*/ 81908 h 307090"/>
                  <a:gd name="connsiteX249" fmla="*/ 161084 w 204285"/>
                  <a:gd name="connsiteY249" fmla="*/ 80762 h 307090"/>
                  <a:gd name="connsiteX250" fmla="*/ 160466 w 204285"/>
                  <a:gd name="connsiteY250" fmla="*/ 80498 h 307090"/>
                  <a:gd name="connsiteX251" fmla="*/ 160202 w 204285"/>
                  <a:gd name="connsiteY251" fmla="*/ 80762 h 307090"/>
                  <a:gd name="connsiteX252" fmla="*/ 158438 w 204285"/>
                  <a:gd name="connsiteY252" fmla="*/ 79616 h 307090"/>
                  <a:gd name="connsiteX253" fmla="*/ 158438 w 204285"/>
                  <a:gd name="connsiteY253" fmla="*/ 79969 h 307090"/>
                  <a:gd name="connsiteX254" fmla="*/ 157557 w 204285"/>
                  <a:gd name="connsiteY254" fmla="*/ 79616 h 307090"/>
                  <a:gd name="connsiteX255" fmla="*/ 156940 w 204285"/>
                  <a:gd name="connsiteY255" fmla="*/ 79969 h 307090"/>
                  <a:gd name="connsiteX256" fmla="*/ 157557 w 204285"/>
                  <a:gd name="connsiteY256" fmla="*/ 80586 h 307090"/>
                  <a:gd name="connsiteX257" fmla="*/ 158968 w 204285"/>
                  <a:gd name="connsiteY257" fmla="*/ 81115 h 307090"/>
                  <a:gd name="connsiteX258" fmla="*/ 160731 w 204285"/>
                  <a:gd name="connsiteY258" fmla="*/ 81115 h 307090"/>
                  <a:gd name="connsiteX259" fmla="*/ 160995 w 204285"/>
                  <a:gd name="connsiteY259" fmla="*/ 82261 h 307090"/>
                  <a:gd name="connsiteX260" fmla="*/ 162142 w 204285"/>
                  <a:gd name="connsiteY260" fmla="*/ 83143 h 307090"/>
                  <a:gd name="connsiteX261" fmla="*/ 162406 w 204285"/>
                  <a:gd name="connsiteY261" fmla="*/ 83143 h 307090"/>
                  <a:gd name="connsiteX262" fmla="*/ 163023 w 204285"/>
                  <a:gd name="connsiteY262" fmla="*/ 83143 h 307090"/>
                  <a:gd name="connsiteX263" fmla="*/ 164786 w 204285"/>
                  <a:gd name="connsiteY263" fmla="*/ 83143 h 307090"/>
                  <a:gd name="connsiteX264" fmla="*/ 165668 w 204285"/>
                  <a:gd name="connsiteY264" fmla="*/ 82526 h 307090"/>
                  <a:gd name="connsiteX265" fmla="*/ 165668 w 204285"/>
                  <a:gd name="connsiteY265" fmla="*/ 83672 h 307090"/>
                  <a:gd name="connsiteX266" fmla="*/ 167167 w 204285"/>
                  <a:gd name="connsiteY266" fmla="*/ 84553 h 307090"/>
                  <a:gd name="connsiteX267" fmla="*/ 166285 w 204285"/>
                  <a:gd name="connsiteY267" fmla="*/ 86052 h 307090"/>
                  <a:gd name="connsiteX268" fmla="*/ 165668 w 204285"/>
                  <a:gd name="connsiteY268" fmla="*/ 86317 h 307090"/>
                  <a:gd name="connsiteX269" fmla="*/ 164786 w 204285"/>
                  <a:gd name="connsiteY269" fmla="*/ 86934 h 307090"/>
                  <a:gd name="connsiteX270" fmla="*/ 164169 w 204285"/>
                  <a:gd name="connsiteY270" fmla="*/ 87816 h 307090"/>
                  <a:gd name="connsiteX271" fmla="*/ 163640 w 204285"/>
                  <a:gd name="connsiteY271" fmla="*/ 87551 h 307090"/>
                  <a:gd name="connsiteX272" fmla="*/ 161613 w 204285"/>
                  <a:gd name="connsiteY272" fmla="*/ 87287 h 307090"/>
                  <a:gd name="connsiteX273" fmla="*/ 161348 w 204285"/>
                  <a:gd name="connsiteY273" fmla="*/ 87022 h 307090"/>
                  <a:gd name="connsiteX274" fmla="*/ 161348 w 204285"/>
                  <a:gd name="connsiteY274" fmla="*/ 87639 h 307090"/>
                  <a:gd name="connsiteX275" fmla="*/ 161348 w 204285"/>
                  <a:gd name="connsiteY275" fmla="*/ 88257 h 307090"/>
                  <a:gd name="connsiteX276" fmla="*/ 159585 w 204285"/>
                  <a:gd name="connsiteY276" fmla="*/ 87639 h 307090"/>
                  <a:gd name="connsiteX277" fmla="*/ 158438 w 204285"/>
                  <a:gd name="connsiteY277" fmla="*/ 88257 h 307090"/>
                  <a:gd name="connsiteX278" fmla="*/ 157821 w 204285"/>
                  <a:gd name="connsiteY278" fmla="*/ 88874 h 307090"/>
                  <a:gd name="connsiteX279" fmla="*/ 158438 w 204285"/>
                  <a:gd name="connsiteY279" fmla="*/ 89491 h 307090"/>
                  <a:gd name="connsiteX280" fmla="*/ 158174 w 204285"/>
                  <a:gd name="connsiteY280" fmla="*/ 89755 h 307090"/>
                  <a:gd name="connsiteX281" fmla="*/ 158438 w 204285"/>
                  <a:gd name="connsiteY281" fmla="*/ 90637 h 307090"/>
                  <a:gd name="connsiteX282" fmla="*/ 157557 w 204285"/>
                  <a:gd name="connsiteY282" fmla="*/ 90902 h 307090"/>
                  <a:gd name="connsiteX283" fmla="*/ 156675 w 204285"/>
                  <a:gd name="connsiteY283" fmla="*/ 91519 h 307090"/>
                  <a:gd name="connsiteX284" fmla="*/ 155793 w 204285"/>
                  <a:gd name="connsiteY284" fmla="*/ 90902 h 307090"/>
                  <a:gd name="connsiteX285" fmla="*/ 154912 w 204285"/>
                  <a:gd name="connsiteY285" fmla="*/ 90902 h 307090"/>
                  <a:gd name="connsiteX286" fmla="*/ 155176 w 204285"/>
                  <a:gd name="connsiteY286" fmla="*/ 91783 h 307090"/>
                  <a:gd name="connsiteX287" fmla="*/ 156675 w 204285"/>
                  <a:gd name="connsiteY287" fmla="*/ 92048 h 307090"/>
                  <a:gd name="connsiteX288" fmla="*/ 158703 w 204285"/>
                  <a:gd name="connsiteY288" fmla="*/ 92048 h 307090"/>
                  <a:gd name="connsiteX289" fmla="*/ 159849 w 204285"/>
                  <a:gd name="connsiteY289" fmla="*/ 91783 h 307090"/>
                  <a:gd name="connsiteX290" fmla="*/ 160466 w 204285"/>
                  <a:gd name="connsiteY290" fmla="*/ 92048 h 307090"/>
                  <a:gd name="connsiteX291" fmla="*/ 160731 w 204285"/>
                  <a:gd name="connsiteY291" fmla="*/ 92312 h 307090"/>
                  <a:gd name="connsiteX292" fmla="*/ 160731 w 204285"/>
                  <a:gd name="connsiteY292" fmla="*/ 92577 h 307090"/>
                  <a:gd name="connsiteX293" fmla="*/ 159849 w 204285"/>
                  <a:gd name="connsiteY293" fmla="*/ 92841 h 307090"/>
                  <a:gd name="connsiteX294" fmla="*/ 158968 w 204285"/>
                  <a:gd name="connsiteY294" fmla="*/ 92577 h 307090"/>
                  <a:gd name="connsiteX295" fmla="*/ 160466 w 204285"/>
                  <a:gd name="connsiteY295" fmla="*/ 93458 h 307090"/>
                  <a:gd name="connsiteX296" fmla="*/ 161084 w 204285"/>
                  <a:gd name="connsiteY296" fmla="*/ 94340 h 307090"/>
                  <a:gd name="connsiteX297" fmla="*/ 161084 w 204285"/>
                  <a:gd name="connsiteY297" fmla="*/ 94957 h 307090"/>
                  <a:gd name="connsiteX298" fmla="*/ 156675 w 204285"/>
                  <a:gd name="connsiteY298" fmla="*/ 93194 h 307090"/>
                  <a:gd name="connsiteX299" fmla="*/ 156940 w 204285"/>
                  <a:gd name="connsiteY299" fmla="*/ 94340 h 307090"/>
                  <a:gd name="connsiteX300" fmla="*/ 159585 w 204285"/>
                  <a:gd name="connsiteY300" fmla="*/ 94957 h 307090"/>
                  <a:gd name="connsiteX301" fmla="*/ 159585 w 204285"/>
                  <a:gd name="connsiteY301" fmla="*/ 95222 h 307090"/>
                  <a:gd name="connsiteX302" fmla="*/ 160202 w 204285"/>
                  <a:gd name="connsiteY302" fmla="*/ 96103 h 307090"/>
                  <a:gd name="connsiteX303" fmla="*/ 161348 w 204285"/>
                  <a:gd name="connsiteY303" fmla="*/ 96103 h 307090"/>
                  <a:gd name="connsiteX304" fmla="*/ 161348 w 204285"/>
                  <a:gd name="connsiteY304" fmla="*/ 97250 h 307090"/>
                  <a:gd name="connsiteX305" fmla="*/ 161965 w 204285"/>
                  <a:gd name="connsiteY305" fmla="*/ 97514 h 307090"/>
                  <a:gd name="connsiteX306" fmla="*/ 163112 w 204285"/>
                  <a:gd name="connsiteY306" fmla="*/ 97250 h 307090"/>
                  <a:gd name="connsiteX307" fmla="*/ 162847 w 204285"/>
                  <a:gd name="connsiteY307" fmla="*/ 96103 h 307090"/>
                  <a:gd name="connsiteX308" fmla="*/ 163728 w 204285"/>
                  <a:gd name="connsiteY308" fmla="*/ 96721 h 307090"/>
                  <a:gd name="connsiteX309" fmla="*/ 163993 w 204285"/>
                  <a:gd name="connsiteY309" fmla="*/ 97602 h 307090"/>
                  <a:gd name="connsiteX310" fmla="*/ 164257 w 204285"/>
                  <a:gd name="connsiteY310" fmla="*/ 97602 h 307090"/>
                  <a:gd name="connsiteX311" fmla="*/ 165139 w 204285"/>
                  <a:gd name="connsiteY311" fmla="*/ 98220 h 307090"/>
                  <a:gd name="connsiteX312" fmla="*/ 165139 w 204285"/>
                  <a:gd name="connsiteY312" fmla="*/ 98484 h 307090"/>
                  <a:gd name="connsiteX313" fmla="*/ 164522 w 204285"/>
                  <a:gd name="connsiteY313" fmla="*/ 98749 h 307090"/>
                  <a:gd name="connsiteX314" fmla="*/ 163905 w 204285"/>
                  <a:gd name="connsiteY314" fmla="*/ 98131 h 307090"/>
                  <a:gd name="connsiteX315" fmla="*/ 163288 w 204285"/>
                  <a:gd name="connsiteY315" fmla="*/ 98396 h 307090"/>
                  <a:gd name="connsiteX316" fmla="*/ 163288 w 204285"/>
                  <a:gd name="connsiteY316" fmla="*/ 98660 h 307090"/>
                  <a:gd name="connsiteX317" fmla="*/ 163905 w 204285"/>
                  <a:gd name="connsiteY317" fmla="*/ 98925 h 307090"/>
                  <a:gd name="connsiteX318" fmla="*/ 164169 w 204285"/>
                  <a:gd name="connsiteY318" fmla="*/ 98660 h 307090"/>
                  <a:gd name="connsiteX319" fmla="*/ 164169 w 204285"/>
                  <a:gd name="connsiteY319" fmla="*/ 99278 h 307090"/>
                  <a:gd name="connsiteX320" fmla="*/ 164786 w 204285"/>
                  <a:gd name="connsiteY320" fmla="*/ 99278 h 307090"/>
                  <a:gd name="connsiteX321" fmla="*/ 165051 w 204285"/>
                  <a:gd name="connsiteY321" fmla="*/ 99013 h 307090"/>
                  <a:gd name="connsiteX322" fmla="*/ 166197 w 204285"/>
                  <a:gd name="connsiteY322" fmla="*/ 99278 h 307090"/>
                  <a:gd name="connsiteX323" fmla="*/ 165933 w 204285"/>
                  <a:gd name="connsiteY323" fmla="*/ 100159 h 307090"/>
                  <a:gd name="connsiteX324" fmla="*/ 165933 w 204285"/>
                  <a:gd name="connsiteY324" fmla="*/ 101305 h 307090"/>
                  <a:gd name="connsiteX325" fmla="*/ 165051 w 204285"/>
                  <a:gd name="connsiteY325" fmla="*/ 101305 h 307090"/>
                  <a:gd name="connsiteX326" fmla="*/ 164434 w 204285"/>
                  <a:gd name="connsiteY326" fmla="*/ 101041 h 307090"/>
                  <a:gd name="connsiteX327" fmla="*/ 163817 w 204285"/>
                  <a:gd name="connsiteY327" fmla="*/ 101305 h 307090"/>
                  <a:gd name="connsiteX328" fmla="*/ 162935 w 204285"/>
                  <a:gd name="connsiteY328" fmla="*/ 101570 h 307090"/>
                  <a:gd name="connsiteX329" fmla="*/ 162318 w 204285"/>
                  <a:gd name="connsiteY329" fmla="*/ 100953 h 307090"/>
                  <a:gd name="connsiteX330" fmla="*/ 161701 w 204285"/>
                  <a:gd name="connsiteY330" fmla="*/ 100953 h 307090"/>
                  <a:gd name="connsiteX331" fmla="*/ 161965 w 204285"/>
                  <a:gd name="connsiteY331" fmla="*/ 101834 h 307090"/>
                  <a:gd name="connsiteX332" fmla="*/ 161084 w 204285"/>
                  <a:gd name="connsiteY332" fmla="*/ 102716 h 307090"/>
                  <a:gd name="connsiteX333" fmla="*/ 160466 w 204285"/>
                  <a:gd name="connsiteY333" fmla="*/ 102716 h 307090"/>
                  <a:gd name="connsiteX334" fmla="*/ 161084 w 204285"/>
                  <a:gd name="connsiteY334" fmla="*/ 103862 h 307090"/>
                  <a:gd name="connsiteX335" fmla="*/ 160819 w 204285"/>
                  <a:gd name="connsiteY335" fmla="*/ 104127 h 307090"/>
                  <a:gd name="connsiteX336" fmla="*/ 160555 w 204285"/>
                  <a:gd name="connsiteY336" fmla="*/ 104744 h 307090"/>
                  <a:gd name="connsiteX337" fmla="*/ 158791 w 204285"/>
                  <a:gd name="connsiteY337" fmla="*/ 103598 h 307090"/>
                  <a:gd name="connsiteX338" fmla="*/ 158527 w 204285"/>
                  <a:gd name="connsiteY338" fmla="*/ 104215 h 307090"/>
                  <a:gd name="connsiteX339" fmla="*/ 160555 w 204285"/>
                  <a:gd name="connsiteY339" fmla="*/ 105626 h 307090"/>
                  <a:gd name="connsiteX340" fmla="*/ 159673 w 204285"/>
                  <a:gd name="connsiteY340" fmla="*/ 106243 h 307090"/>
                  <a:gd name="connsiteX341" fmla="*/ 156763 w 204285"/>
                  <a:gd name="connsiteY341" fmla="*/ 104215 h 307090"/>
                  <a:gd name="connsiteX342" fmla="*/ 156499 w 204285"/>
                  <a:gd name="connsiteY342" fmla="*/ 104480 h 307090"/>
                  <a:gd name="connsiteX343" fmla="*/ 156234 w 204285"/>
                  <a:gd name="connsiteY343" fmla="*/ 105626 h 307090"/>
                  <a:gd name="connsiteX344" fmla="*/ 156499 w 204285"/>
                  <a:gd name="connsiteY344" fmla="*/ 106772 h 307090"/>
                  <a:gd name="connsiteX345" fmla="*/ 156499 w 204285"/>
                  <a:gd name="connsiteY345" fmla="*/ 107036 h 307090"/>
                  <a:gd name="connsiteX346" fmla="*/ 157998 w 204285"/>
                  <a:gd name="connsiteY346" fmla="*/ 108535 h 307090"/>
                  <a:gd name="connsiteX347" fmla="*/ 157998 w 204285"/>
                  <a:gd name="connsiteY347" fmla="*/ 109152 h 307090"/>
                  <a:gd name="connsiteX348" fmla="*/ 158615 w 204285"/>
                  <a:gd name="connsiteY348" fmla="*/ 110299 h 307090"/>
                  <a:gd name="connsiteX349" fmla="*/ 157116 w 204285"/>
                  <a:gd name="connsiteY349" fmla="*/ 110828 h 307090"/>
                  <a:gd name="connsiteX350" fmla="*/ 156234 w 204285"/>
                  <a:gd name="connsiteY350" fmla="*/ 110828 h 307090"/>
                  <a:gd name="connsiteX351" fmla="*/ 155970 w 204285"/>
                  <a:gd name="connsiteY351" fmla="*/ 110563 h 307090"/>
                  <a:gd name="connsiteX352" fmla="*/ 155970 w 204285"/>
                  <a:gd name="connsiteY352" fmla="*/ 109417 h 307090"/>
                  <a:gd name="connsiteX353" fmla="*/ 154471 w 204285"/>
                  <a:gd name="connsiteY353" fmla="*/ 110034 h 307090"/>
                  <a:gd name="connsiteX354" fmla="*/ 154471 w 204285"/>
                  <a:gd name="connsiteY354" fmla="*/ 111798 h 307090"/>
                  <a:gd name="connsiteX355" fmla="*/ 153854 w 204285"/>
                  <a:gd name="connsiteY355" fmla="*/ 112415 h 307090"/>
                  <a:gd name="connsiteX356" fmla="*/ 153854 w 204285"/>
                  <a:gd name="connsiteY356" fmla="*/ 113296 h 307090"/>
                  <a:gd name="connsiteX357" fmla="*/ 152707 w 204285"/>
                  <a:gd name="connsiteY357" fmla="*/ 113032 h 307090"/>
                  <a:gd name="connsiteX358" fmla="*/ 152707 w 204285"/>
                  <a:gd name="connsiteY358" fmla="*/ 113649 h 307090"/>
                  <a:gd name="connsiteX359" fmla="*/ 152707 w 204285"/>
                  <a:gd name="connsiteY359" fmla="*/ 113914 h 307090"/>
                  <a:gd name="connsiteX360" fmla="*/ 152090 w 204285"/>
                  <a:gd name="connsiteY360" fmla="*/ 114178 h 307090"/>
                  <a:gd name="connsiteX361" fmla="*/ 151826 w 204285"/>
                  <a:gd name="connsiteY361" fmla="*/ 113561 h 307090"/>
                  <a:gd name="connsiteX362" fmla="*/ 150944 w 204285"/>
                  <a:gd name="connsiteY362" fmla="*/ 114707 h 307090"/>
                  <a:gd name="connsiteX363" fmla="*/ 150680 w 204285"/>
                  <a:gd name="connsiteY363" fmla="*/ 114090 h 307090"/>
                  <a:gd name="connsiteX364" fmla="*/ 150680 w 204285"/>
                  <a:gd name="connsiteY364" fmla="*/ 113473 h 307090"/>
                  <a:gd name="connsiteX365" fmla="*/ 149798 w 204285"/>
                  <a:gd name="connsiteY365" fmla="*/ 114090 h 307090"/>
                  <a:gd name="connsiteX366" fmla="*/ 149798 w 204285"/>
                  <a:gd name="connsiteY366" fmla="*/ 114707 h 307090"/>
                  <a:gd name="connsiteX367" fmla="*/ 149181 w 204285"/>
                  <a:gd name="connsiteY367" fmla="*/ 114443 h 307090"/>
                  <a:gd name="connsiteX368" fmla="*/ 148652 w 204285"/>
                  <a:gd name="connsiteY368" fmla="*/ 114707 h 307090"/>
                  <a:gd name="connsiteX369" fmla="*/ 149798 w 204285"/>
                  <a:gd name="connsiteY369" fmla="*/ 115589 h 307090"/>
                  <a:gd name="connsiteX370" fmla="*/ 149181 w 204285"/>
                  <a:gd name="connsiteY370" fmla="*/ 115853 h 307090"/>
                  <a:gd name="connsiteX371" fmla="*/ 149181 w 204285"/>
                  <a:gd name="connsiteY371" fmla="*/ 116735 h 307090"/>
                  <a:gd name="connsiteX372" fmla="*/ 149181 w 204285"/>
                  <a:gd name="connsiteY372" fmla="*/ 117264 h 307090"/>
                  <a:gd name="connsiteX373" fmla="*/ 148652 w 204285"/>
                  <a:gd name="connsiteY373" fmla="*/ 116735 h 307090"/>
                  <a:gd name="connsiteX374" fmla="*/ 148652 w 204285"/>
                  <a:gd name="connsiteY374" fmla="*/ 116118 h 307090"/>
                  <a:gd name="connsiteX375" fmla="*/ 147506 w 204285"/>
                  <a:gd name="connsiteY375" fmla="*/ 115853 h 307090"/>
                  <a:gd name="connsiteX376" fmla="*/ 147506 w 204285"/>
                  <a:gd name="connsiteY376" fmla="*/ 116999 h 307090"/>
                  <a:gd name="connsiteX377" fmla="*/ 147770 w 204285"/>
                  <a:gd name="connsiteY377" fmla="*/ 117881 h 307090"/>
                  <a:gd name="connsiteX378" fmla="*/ 147153 w 204285"/>
                  <a:gd name="connsiteY378" fmla="*/ 118234 h 307090"/>
                  <a:gd name="connsiteX379" fmla="*/ 146271 w 204285"/>
                  <a:gd name="connsiteY379" fmla="*/ 117352 h 307090"/>
                  <a:gd name="connsiteX380" fmla="*/ 146271 w 204285"/>
                  <a:gd name="connsiteY380" fmla="*/ 117969 h 307090"/>
                  <a:gd name="connsiteX381" fmla="*/ 144772 w 204285"/>
                  <a:gd name="connsiteY381" fmla="*/ 118322 h 307090"/>
                  <a:gd name="connsiteX382" fmla="*/ 143626 w 204285"/>
                  <a:gd name="connsiteY382" fmla="*/ 117969 h 307090"/>
                  <a:gd name="connsiteX383" fmla="*/ 143009 w 204285"/>
                  <a:gd name="connsiteY383" fmla="*/ 117352 h 307090"/>
                  <a:gd name="connsiteX384" fmla="*/ 142744 w 204285"/>
                  <a:gd name="connsiteY384" fmla="*/ 117352 h 307090"/>
                  <a:gd name="connsiteX385" fmla="*/ 142127 w 204285"/>
                  <a:gd name="connsiteY385" fmla="*/ 117352 h 307090"/>
                  <a:gd name="connsiteX386" fmla="*/ 142392 w 204285"/>
                  <a:gd name="connsiteY386" fmla="*/ 117617 h 307090"/>
                  <a:gd name="connsiteX387" fmla="*/ 142127 w 204285"/>
                  <a:gd name="connsiteY387" fmla="*/ 117881 h 307090"/>
                  <a:gd name="connsiteX388" fmla="*/ 142392 w 204285"/>
                  <a:gd name="connsiteY388" fmla="*/ 118498 h 307090"/>
                  <a:gd name="connsiteX389" fmla="*/ 141246 w 204285"/>
                  <a:gd name="connsiteY389" fmla="*/ 117881 h 307090"/>
                  <a:gd name="connsiteX390" fmla="*/ 140364 w 204285"/>
                  <a:gd name="connsiteY390" fmla="*/ 118498 h 307090"/>
                  <a:gd name="connsiteX391" fmla="*/ 140364 w 204285"/>
                  <a:gd name="connsiteY391" fmla="*/ 117881 h 307090"/>
                  <a:gd name="connsiteX392" fmla="*/ 138865 w 204285"/>
                  <a:gd name="connsiteY392" fmla="*/ 119027 h 307090"/>
                  <a:gd name="connsiteX393" fmla="*/ 137983 w 204285"/>
                  <a:gd name="connsiteY393" fmla="*/ 119292 h 307090"/>
                  <a:gd name="connsiteX394" fmla="*/ 137983 w 204285"/>
                  <a:gd name="connsiteY394" fmla="*/ 120173 h 307090"/>
                  <a:gd name="connsiteX395" fmla="*/ 138512 w 204285"/>
                  <a:gd name="connsiteY395" fmla="*/ 121320 h 307090"/>
                  <a:gd name="connsiteX396" fmla="*/ 138248 w 204285"/>
                  <a:gd name="connsiteY396" fmla="*/ 121584 h 307090"/>
                  <a:gd name="connsiteX397" fmla="*/ 137631 w 204285"/>
                  <a:gd name="connsiteY397" fmla="*/ 122201 h 307090"/>
                  <a:gd name="connsiteX398" fmla="*/ 136484 w 204285"/>
                  <a:gd name="connsiteY398" fmla="*/ 121584 h 307090"/>
                  <a:gd name="connsiteX399" fmla="*/ 135867 w 204285"/>
                  <a:gd name="connsiteY399" fmla="*/ 121320 h 307090"/>
                  <a:gd name="connsiteX400" fmla="*/ 135250 w 204285"/>
                  <a:gd name="connsiteY400" fmla="*/ 120173 h 307090"/>
                  <a:gd name="connsiteX401" fmla="*/ 134369 w 204285"/>
                  <a:gd name="connsiteY401" fmla="*/ 118675 h 307090"/>
                  <a:gd name="connsiteX402" fmla="*/ 132958 w 204285"/>
                  <a:gd name="connsiteY402" fmla="*/ 118410 h 307090"/>
                  <a:gd name="connsiteX403" fmla="*/ 132076 w 204285"/>
                  <a:gd name="connsiteY403" fmla="*/ 119027 h 307090"/>
                  <a:gd name="connsiteX404" fmla="*/ 133222 w 204285"/>
                  <a:gd name="connsiteY404" fmla="*/ 119644 h 307090"/>
                  <a:gd name="connsiteX405" fmla="*/ 133222 w 204285"/>
                  <a:gd name="connsiteY405" fmla="*/ 120262 h 307090"/>
                  <a:gd name="connsiteX406" fmla="*/ 134369 w 204285"/>
                  <a:gd name="connsiteY406" fmla="*/ 120791 h 307090"/>
                  <a:gd name="connsiteX407" fmla="*/ 133487 w 204285"/>
                  <a:gd name="connsiteY407" fmla="*/ 121408 h 307090"/>
                  <a:gd name="connsiteX408" fmla="*/ 134369 w 204285"/>
                  <a:gd name="connsiteY408" fmla="*/ 121937 h 307090"/>
                  <a:gd name="connsiteX409" fmla="*/ 134633 w 204285"/>
                  <a:gd name="connsiteY409" fmla="*/ 122554 h 307090"/>
                  <a:gd name="connsiteX410" fmla="*/ 133487 w 204285"/>
                  <a:gd name="connsiteY410" fmla="*/ 121672 h 307090"/>
                  <a:gd name="connsiteX411" fmla="*/ 132605 w 204285"/>
                  <a:gd name="connsiteY411" fmla="*/ 121672 h 307090"/>
                  <a:gd name="connsiteX412" fmla="*/ 132605 w 204285"/>
                  <a:gd name="connsiteY412" fmla="*/ 121408 h 307090"/>
                  <a:gd name="connsiteX413" fmla="*/ 132605 w 204285"/>
                  <a:gd name="connsiteY413" fmla="*/ 120791 h 307090"/>
                  <a:gd name="connsiteX414" fmla="*/ 131988 w 204285"/>
                  <a:gd name="connsiteY414" fmla="*/ 120791 h 307090"/>
                  <a:gd name="connsiteX415" fmla="*/ 131988 w 204285"/>
                  <a:gd name="connsiteY415" fmla="*/ 121672 h 307090"/>
                  <a:gd name="connsiteX416" fmla="*/ 131723 w 204285"/>
                  <a:gd name="connsiteY416" fmla="*/ 121937 h 307090"/>
                  <a:gd name="connsiteX417" fmla="*/ 130842 w 204285"/>
                  <a:gd name="connsiteY417" fmla="*/ 121055 h 307090"/>
                  <a:gd name="connsiteX418" fmla="*/ 130577 w 204285"/>
                  <a:gd name="connsiteY418" fmla="*/ 121320 h 307090"/>
                  <a:gd name="connsiteX419" fmla="*/ 130048 w 204285"/>
                  <a:gd name="connsiteY419" fmla="*/ 122201 h 307090"/>
                  <a:gd name="connsiteX420" fmla="*/ 130048 w 204285"/>
                  <a:gd name="connsiteY420" fmla="*/ 123965 h 307090"/>
                  <a:gd name="connsiteX421" fmla="*/ 128549 w 204285"/>
                  <a:gd name="connsiteY421" fmla="*/ 124846 h 307090"/>
                  <a:gd name="connsiteX422" fmla="*/ 127668 w 204285"/>
                  <a:gd name="connsiteY422" fmla="*/ 125728 h 307090"/>
                  <a:gd name="connsiteX423" fmla="*/ 127932 w 204285"/>
                  <a:gd name="connsiteY423" fmla="*/ 125728 h 307090"/>
                  <a:gd name="connsiteX424" fmla="*/ 128549 w 204285"/>
                  <a:gd name="connsiteY424" fmla="*/ 125728 h 307090"/>
                  <a:gd name="connsiteX425" fmla="*/ 127668 w 204285"/>
                  <a:gd name="connsiteY425" fmla="*/ 126610 h 307090"/>
                  <a:gd name="connsiteX426" fmla="*/ 126786 w 204285"/>
                  <a:gd name="connsiteY426" fmla="*/ 125728 h 307090"/>
                  <a:gd name="connsiteX427" fmla="*/ 127050 w 204285"/>
                  <a:gd name="connsiteY427" fmla="*/ 126610 h 307090"/>
                  <a:gd name="connsiteX428" fmla="*/ 127050 w 204285"/>
                  <a:gd name="connsiteY428" fmla="*/ 126874 h 307090"/>
                  <a:gd name="connsiteX429" fmla="*/ 127050 w 204285"/>
                  <a:gd name="connsiteY429" fmla="*/ 127139 h 307090"/>
                  <a:gd name="connsiteX430" fmla="*/ 125904 w 204285"/>
                  <a:gd name="connsiteY430" fmla="*/ 127403 h 307090"/>
                  <a:gd name="connsiteX431" fmla="*/ 125375 w 204285"/>
                  <a:gd name="connsiteY431" fmla="*/ 126786 h 307090"/>
                  <a:gd name="connsiteX432" fmla="*/ 125375 w 204285"/>
                  <a:gd name="connsiteY432" fmla="*/ 125904 h 307090"/>
                  <a:gd name="connsiteX433" fmla="*/ 125375 w 204285"/>
                  <a:gd name="connsiteY433" fmla="*/ 125640 h 307090"/>
                  <a:gd name="connsiteX434" fmla="*/ 124229 w 204285"/>
                  <a:gd name="connsiteY434" fmla="*/ 125640 h 307090"/>
                  <a:gd name="connsiteX435" fmla="*/ 123965 w 204285"/>
                  <a:gd name="connsiteY435" fmla="*/ 125640 h 307090"/>
                  <a:gd name="connsiteX436" fmla="*/ 123347 w 204285"/>
                  <a:gd name="connsiteY436" fmla="*/ 125375 h 307090"/>
                  <a:gd name="connsiteX437" fmla="*/ 121848 w 204285"/>
                  <a:gd name="connsiteY437" fmla="*/ 125640 h 307090"/>
                  <a:gd name="connsiteX438" fmla="*/ 124494 w 204285"/>
                  <a:gd name="connsiteY438" fmla="*/ 126786 h 307090"/>
                  <a:gd name="connsiteX439" fmla="*/ 124494 w 204285"/>
                  <a:gd name="connsiteY439" fmla="*/ 127403 h 307090"/>
                  <a:gd name="connsiteX440" fmla="*/ 122995 w 204285"/>
                  <a:gd name="connsiteY440" fmla="*/ 127403 h 307090"/>
                  <a:gd name="connsiteX441" fmla="*/ 121848 w 204285"/>
                  <a:gd name="connsiteY441" fmla="*/ 126786 h 307090"/>
                  <a:gd name="connsiteX442" fmla="*/ 122995 w 204285"/>
                  <a:gd name="connsiteY442" fmla="*/ 126786 h 307090"/>
                  <a:gd name="connsiteX443" fmla="*/ 121232 w 204285"/>
                  <a:gd name="connsiteY443" fmla="*/ 126522 h 307090"/>
                  <a:gd name="connsiteX444" fmla="*/ 120350 w 204285"/>
                  <a:gd name="connsiteY444" fmla="*/ 126786 h 307090"/>
                  <a:gd name="connsiteX445" fmla="*/ 122113 w 204285"/>
                  <a:gd name="connsiteY445" fmla="*/ 127668 h 307090"/>
                  <a:gd name="connsiteX446" fmla="*/ 120614 w 204285"/>
                  <a:gd name="connsiteY446" fmla="*/ 127668 h 307090"/>
                  <a:gd name="connsiteX447" fmla="*/ 118851 w 204285"/>
                  <a:gd name="connsiteY447" fmla="*/ 127403 h 307090"/>
                  <a:gd name="connsiteX448" fmla="*/ 120879 w 204285"/>
                  <a:gd name="connsiteY448" fmla="*/ 128020 h 307090"/>
                  <a:gd name="connsiteX449" fmla="*/ 120614 w 204285"/>
                  <a:gd name="connsiteY449" fmla="*/ 128638 h 307090"/>
                  <a:gd name="connsiteX450" fmla="*/ 120614 w 204285"/>
                  <a:gd name="connsiteY450" fmla="*/ 128902 h 307090"/>
                  <a:gd name="connsiteX451" fmla="*/ 119733 w 204285"/>
                  <a:gd name="connsiteY451" fmla="*/ 128638 h 307090"/>
                  <a:gd name="connsiteX452" fmla="*/ 118851 w 204285"/>
                  <a:gd name="connsiteY452" fmla="*/ 128638 h 307090"/>
                  <a:gd name="connsiteX453" fmla="*/ 119115 w 204285"/>
                  <a:gd name="connsiteY453" fmla="*/ 129784 h 307090"/>
                  <a:gd name="connsiteX454" fmla="*/ 118851 w 204285"/>
                  <a:gd name="connsiteY454" fmla="*/ 130048 h 307090"/>
                  <a:gd name="connsiteX455" fmla="*/ 117969 w 204285"/>
                  <a:gd name="connsiteY455" fmla="*/ 130666 h 307090"/>
                  <a:gd name="connsiteX456" fmla="*/ 117705 w 204285"/>
                  <a:gd name="connsiteY456" fmla="*/ 130048 h 307090"/>
                  <a:gd name="connsiteX457" fmla="*/ 116823 w 204285"/>
                  <a:gd name="connsiteY457" fmla="*/ 129784 h 307090"/>
                  <a:gd name="connsiteX458" fmla="*/ 116206 w 204285"/>
                  <a:gd name="connsiteY458" fmla="*/ 130048 h 307090"/>
                  <a:gd name="connsiteX459" fmla="*/ 117352 w 204285"/>
                  <a:gd name="connsiteY459" fmla="*/ 130666 h 307090"/>
                  <a:gd name="connsiteX460" fmla="*/ 116470 w 204285"/>
                  <a:gd name="connsiteY460" fmla="*/ 131283 h 307090"/>
                  <a:gd name="connsiteX461" fmla="*/ 116206 w 204285"/>
                  <a:gd name="connsiteY461" fmla="*/ 130666 h 307090"/>
                  <a:gd name="connsiteX462" fmla="*/ 115589 w 204285"/>
                  <a:gd name="connsiteY462" fmla="*/ 130048 h 307090"/>
                  <a:gd name="connsiteX463" fmla="*/ 114707 w 204285"/>
                  <a:gd name="connsiteY463" fmla="*/ 130666 h 307090"/>
                  <a:gd name="connsiteX464" fmla="*/ 113825 w 204285"/>
                  <a:gd name="connsiteY464" fmla="*/ 131283 h 307090"/>
                  <a:gd name="connsiteX465" fmla="*/ 114971 w 204285"/>
                  <a:gd name="connsiteY465" fmla="*/ 131547 h 307090"/>
                  <a:gd name="connsiteX466" fmla="*/ 118498 w 204285"/>
                  <a:gd name="connsiteY466" fmla="*/ 131283 h 307090"/>
                  <a:gd name="connsiteX467" fmla="*/ 119380 w 204285"/>
                  <a:gd name="connsiteY467" fmla="*/ 131547 h 307090"/>
                  <a:gd name="connsiteX468" fmla="*/ 119380 w 204285"/>
                  <a:gd name="connsiteY468" fmla="*/ 131812 h 307090"/>
                  <a:gd name="connsiteX469" fmla="*/ 119909 w 204285"/>
                  <a:gd name="connsiteY469" fmla="*/ 132429 h 307090"/>
                  <a:gd name="connsiteX470" fmla="*/ 119380 w 204285"/>
                  <a:gd name="connsiteY470" fmla="*/ 132693 h 307090"/>
                  <a:gd name="connsiteX471" fmla="*/ 118498 w 204285"/>
                  <a:gd name="connsiteY471" fmla="*/ 133222 h 307090"/>
                  <a:gd name="connsiteX472" fmla="*/ 117969 w 204285"/>
                  <a:gd name="connsiteY472" fmla="*/ 132341 h 307090"/>
                  <a:gd name="connsiteX473" fmla="*/ 117705 w 204285"/>
                  <a:gd name="connsiteY473" fmla="*/ 132076 h 307090"/>
                  <a:gd name="connsiteX474" fmla="*/ 116558 w 204285"/>
                  <a:gd name="connsiteY474" fmla="*/ 132341 h 307090"/>
                  <a:gd name="connsiteX475" fmla="*/ 117176 w 204285"/>
                  <a:gd name="connsiteY475" fmla="*/ 133222 h 307090"/>
                  <a:gd name="connsiteX476" fmla="*/ 118057 w 204285"/>
                  <a:gd name="connsiteY476" fmla="*/ 133840 h 307090"/>
                  <a:gd name="connsiteX477" fmla="*/ 118586 w 204285"/>
                  <a:gd name="connsiteY477" fmla="*/ 134457 h 307090"/>
                  <a:gd name="connsiteX478" fmla="*/ 117440 w 204285"/>
                  <a:gd name="connsiteY478" fmla="*/ 134192 h 307090"/>
                  <a:gd name="connsiteX479" fmla="*/ 116823 w 204285"/>
                  <a:gd name="connsiteY479" fmla="*/ 134192 h 307090"/>
                  <a:gd name="connsiteX480" fmla="*/ 117969 w 204285"/>
                  <a:gd name="connsiteY480" fmla="*/ 135074 h 307090"/>
                  <a:gd name="connsiteX481" fmla="*/ 118234 w 204285"/>
                  <a:gd name="connsiteY481" fmla="*/ 135691 h 307090"/>
                  <a:gd name="connsiteX482" fmla="*/ 117617 w 204285"/>
                  <a:gd name="connsiteY482" fmla="*/ 135956 h 307090"/>
                  <a:gd name="connsiteX483" fmla="*/ 116999 w 204285"/>
                  <a:gd name="connsiteY483" fmla="*/ 135956 h 307090"/>
                  <a:gd name="connsiteX484" fmla="*/ 115236 w 204285"/>
                  <a:gd name="connsiteY484" fmla="*/ 134809 h 307090"/>
                  <a:gd name="connsiteX485" fmla="*/ 114619 w 204285"/>
                  <a:gd name="connsiteY485" fmla="*/ 134192 h 307090"/>
                  <a:gd name="connsiteX486" fmla="*/ 114354 w 204285"/>
                  <a:gd name="connsiteY486" fmla="*/ 134809 h 307090"/>
                  <a:gd name="connsiteX487" fmla="*/ 113473 w 204285"/>
                  <a:gd name="connsiteY487" fmla="*/ 134545 h 307090"/>
                  <a:gd name="connsiteX488" fmla="*/ 112591 w 204285"/>
                  <a:gd name="connsiteY488" fmla="*/ 134809 h 307090"/>
                  <a:gd name="connsiteX489" fmla="*/ 112591 w 204285"/>
                  <a:gd name="connsiteY489" fmla="*/ 135338 h 307090"/>
                  <a:gd name="connsiteX490" fmla="*/ 112855 w 204285"/>
                  <a:gd name="connsiteY490" fmla="*/ 135338 h 307090"/>
                  <a:gd name="connsiteX491" fmla="*/ 114619 w 204285"/>
                  <a:gd name="connsiteY491" fmla="*/ 135338 h 307090"/>
                  <a:gd name="connsiteX492" fmla="*/ 115765 w 204285"/>
                  <a:gd name="connsiteY492" fmla="*/ 135338 h 307090"/>
                  <a:gd name="connsiteX493" fmla="*/ 114266 w 204285"/>
                  <a:gd name="connsiteY493" fmla="*/ 135956 h 307090"/>
                  <a:gd name="connsiteX494" fmla="*/ 112767 w 204285"/>
                  <a:gd name="connsiteY494" fmla="*/ 136837 h 307090"/>
                  <a:gd name="connsiteX495" fmla="*/ 112150 w 204285"/>
                  <a:gd name="connsiteY495" fmla="*/ 136220 h 307090"/>
                  <a:gd name="connsiteX496" fmla="*/ 112767 w 204285"/>
                  <a:gd name="connsiteY496" fmla="*/ 136485 h 307090"/>
                  <a:gd name="connsiteX497" fmla="*/ 112767 w 204285"/>
                  <a:gd name="connsiteY497" fmla="*/ 135867 h 307090"/>
                  <a:gd name="connsiteX498" fmla="*/ 110739 w 204285"/>
                  <a:gd name="connsiteY498" fmla="*/ 136485 h 307090"/>
                  <a:gd name="connsiteX499" fmla="*/ 110210 w 204285"/>
                  <a:gd name="connsiteY499" fmla="*/ 135867 h 307090"/>
                  <a:gd name="connsiteX500" fmla="*/ 109593 w 204285"/>
                  <a:gd name="connsiteY500" fmla="*/ 135250 h 307090"/>
                  <a:gd name="connsiteX501" fmla="*/ 109329 w 204285"/>
                  <a:gd name="connsiteY501" fmla="*/ 135867 h 307090"/>
                  <a:gd name="connsiteX502" fmla="*/ 108183 w 204285"/>
                  <a:gd name="connsiteY502" fmla="*/ 135867 h 307090"/>
                  <a:gd name="connsiteX503" fmla="*/ 109064 w 204285"/>
                  <a:gd name="connsiteY503" fmla="*/ 134104 h 307090"/>
                  <a:gd name="connsiteX504" fmla="*/ 108535 w 204285"/>
                  <a:gd name="connsiteY504" fmla="*/ 133487 h 307090"/>
                  <a:gd name="connsiteX505" fmla="*/ 107918 w 204285"/>
                  <a:gd name="connsiteY505" fmla="*/ 134104 h 307090"/>
                  <a:gd name="connsiteX506" fmla="*/ 107654 w 204285"/>
                  <a:gd name="connsiteY506" fmla="*/ 133840 h 307090"/>
                  <a:gd name="connsiteX507" fmla="*/ 106772 w 204285"/>
                  <a:gd name="connsiteY507" fmla="*/ 131812 h 307090"/>
                  <a:gd name="connsiteX508" fmla="*/ 106507 w 204285"/>
                  <a:gd name="connsiteY508" fmla="*/ 131195 h 307090"/>
                  <a:gd name="connsiteX509" fmla="*/ 106243 w 204285"/>
                  <a:gd name="connsiteY509" fmla="*/ 131195 h 307090"/>
                  <a:gd name="connsiteX510" fmla="*/ 106507 w 204285"/>
                  <a:gd name="connsiteY510" fmla="*/ 131812 h 307090"/>
                  <a:gd name="connsiteX511" fmla="*/ 105008 w 204285"/>
                  <a:gd name="connsiteY511" fmla="*/ 131812 h 307090"/>
                  <a:gd name="connsiteX512" fmla="*/ 104744 w 204285"/>
                  <a:gd name="connsiteY512" fmla="*/ 130930 h 307090"/>
                  <a:gd name="connsiteX513" fmla="*/ 104127 w 204285"/>
                  <a:gd name="connsiteY513" fmla="*/ 131195 h 307090"/>
                  <a:gd name="connsiteX514" fmla="*/ 104391 w 204285"/>
                  <a:gd name="connsiteY514" fmla="*/ 131812 h 307090"/>
                  <a:gd name="connsiteX515" fmla="*/ 105273 w 204285"/>
                  <a:gd name="connsiteY515" fmla="*/ 133311 h 307090"/>
                  <a:gd name="connsiteX516" fmla="*/ 106419 w 204285"/>
                  <a:gd name="connsiteY516" fmla="*/ 133575 h 307090"/>
                  <a:gd name="connsiteX517" fmla="*/ 106155 w 204285"/>
                  <a:gd name="connsiteY517" fmla="*/ 134457 h 307090"/>
                  <a:gd name="connsiteX518" fmla="*/ 107301 w 204285"/>
                  <a:gd name="connsiteY518" fmla="*/ 135338 h 307090"/>
                  <a:gd name="connsiteX519" fmla="*/ 108183 w 204285"/>
                  <a:gd name="connsiteY519" fmla="*/ 136220 h 307090"/>
                  <a:gd name="connsiteX520" fmla="*/ 109329 w 204285"/>
                  <a:gd name="connsiteY520" fmla="*/ 136485 h 307090"/>
                  <a:gd name="connsiteX521" fmla="*/ 110475 w 204285"/>
                  <a:gd name="connsiteY521" fmla="*/ 136749 h 307090"/>
                  <a:gd name="connsiteX522" fmla="*/ 110739 w 204285"/>
                  <a:gd name="connsiteY522" fmla="*/ 138248 h 307090"/>
                  <a:gd name="connsiteX523" fmla="*/ 110475 w 204285"/>
                  <a:gd name="connsiteY523" fmla="*/ 138777 h 307090"/>
                  <a:gd name="connsiteX524" fmla="*/ 109593 w 204285"/>
                  <a:gd name="connsiteY524" fmla="*/ 138513 h 307090"/>
                  <a:gd name="connsiteX525" fmla="*/ 108711 w 204285"/>
                  <a:gd name="connsiteY525" fmla="*/ 138777 h 307090"/>
                  <a:gd name="connsiteX526" fmla="*/ 111356 w 204285"/>
                  <a:gd name="connsiteY526" fmla="*/ 139923 h 307090"/>
                  <a:gd name="connsiteX527" fmla="*/ 111356 w 204285"/>
                  <a:gd name="connsiteY527" fmla="*/ 140188 h 307090"/>
                  <a:gd name="connsiteX528" fmla="*/ 111092 w 204285"/>
                  <a:gd name="connsiteY528" fmla="*/ 141069 h 307090"/>
                  <a:gd name="connsiteX529" fmla="*/ 110739 w 204285"/>
                  <a:gd name="connsiteY529" fmla="*/ 141951 h 307090"/>
                  <a:gd name="connsiteX530" fmla="*/ 110210 w 204285"/>
                  <a:gd name="connsiteY530" fmla="*/ 141951 h 307090"/>
                  <a:gd name="connsiteX531" fmla="*/ 109946 w 204285"/>
                  <a:gd name="connsiteY531" fmla="*/ 141334 h 307090"/>
                  <a:gd name="connsiteX532" fmla="*/ 109946 w 204285"/>
                  <a:gd name="connsiteY532" fmla="*/ 140188 h 307090"/>
                  <a:gd name="connsiteX533" fmla="*/ 109681 w 204285"/>
                  <a:gd name="connsiteY533" fmla="*/ 139923 h 307090"/>
                  <a:gd name="connsiteX534" fmla="*/ 109064 w 204285"/>
                  <a:gd name="connsiteY534" fmla="*/ 140805 h 307090"/>
                  <a:gd name="connsiteX535" fmla="*/ 109064 w 204285"/>
                  <a:gd name="connsiteY535" fmla="*/ 141422 h 307090"/>
                  <a:gd name="connsiteX536" fmla="*/ 109064 w 204285"/>
                  <a:gd name="connsiteY536" fmla="*/ 142039 h 307090"/>
                  <a:gd name="connsiteX537" fmla="*/ 108535 w 204285"/>
                  <a:gd name="connsiteY537" fmla="*/ 142921 h 307090"/>
                  <a:gd name="connsiteX538" fmla="*/ 107918 w 204285"/>
                  <a:gd name="connsiteY538" fmla="*/ 142656 h 307090"/>
                  <a:gd name="connsiteX539" fmla="*/ 108183 w 204285"/>
                  <a:gd name="connsiteY539" fmla="*/ 144155 h 307090"/>
                  <a:gd name="connsiteX540" fmla="*/ 107918 w 204285"/>
                  <a:gd name="connsiteY540" fmla="*/ 145037 h 307090"/>
                  <a:gd name="connsiteX541" fmla="*/ 107301 w 204285"/>
                  <a:gd name="connsiteY541" fmla="*/ 145301 h 307090"/>
                  <a:gd name="connsiteX542" fmla="*/ 106684 w 204285"/>
                  <a:gd name="connsiteY542" fmla="*/ 143803 h 307090"/>
                  <a:gd name="connsiteX543" fmla="*/ 106419 w 204285"/>
                  <a:gd name="connsiteY543" fmla="*/ 143185 h 307090"/>
                  <a:gd name="connsiteX544" fmla="*/ 105537 w 204285"/>
                  <a:gd name="connsiteY544" fmla="*/ 142568 h 307090"/>
                  <a:gd name="connsiteX545" fmla="*/ 105273 w 204285"/>
                  <a:gd name="connsiteY545" fmla="*/ 143185 h 307090"/>
                  <a:gd name="connsiteX546" fmla="*/ 105537 w 204285"/>
                  <a:gd name="connsiteY546" fmla="*/ 143185 h 307090"/>
                  <a:gd name="connsiteX547" fmla="*/ 105537 w 204285"/>
                  <a:gd name="connsiteY547" fmla="*/ 143803 h 307090"/>
                  <a:gd name="connsiteX548" fmla="*/ 104920 w 204285"/>
                  <a:gd name="connsiteY548" fmla="*/ 144067 h 307090"/>
                  <a:gd name="connsiteX549" fmla="*/ 103774 w 204285"/>
                  <a:gd name="connsiteY549" fmla="*/ 143803 h 307090"/>
                  <a:gd name="connsiteX550" fmla="*/ 102275 w 204285"/>
                  <a:gd name="connsiteY550" fmla="*/ 142921 h 307090"/>
                  <a:gd name="connsiteX551" fmla="*/ 101129 w 204285"/>
                  <a:gd name="connsiteY551" fmla="*/ 140893 h 307090"/>
                  <a:gd name="connsiteX552" fmla="*/ 99718 w 204285"/>
                  <a:gd name="connsiteY552" fmla="*/ 141158 h 307090"/>
                  <a:gd name="connsiteX553" fmla="*/ 99718 w 204285"/>
                  <a:gd name="connsiteY553" fmla="*/ 142304 h 307090"/>
                  <a:gd name="connsiteX554" fmla="*/ 98837 w 204285"/>
                  <a:gd name="connsiteY554" fmla="*/ 142568 h 307090"/>
                  <a:gd name="connsiteX555" fmla="*/ 99454 w 204285"/>
                  <a:gd name="connsiteY555" fmla="*/ 143185 h 307090"/>
                  <a:gd name="connsiteX556" fmla="*/ 100600 w 204285"/>
                  <a:gd name="connsiteY556" fmla="*/ 143803 h 307090"/>
                  <a:gd name="connsiteX557" fmla="*/ 101129 w 204285"/>
                  <a:gd name="connsiteY557" fmla="*/ 144420 h 307090"/>
                  <a:gd name="connsiteX558" fmla="*/ 100864 w 204285"/>
                  <a:gd name="connsiteY558" fmla="*/ 145301 h 307090"/>
                  <a:gd name="connsiteX559" fmla="*/ 99983 w 204285"/>
                  <a:gd name="connsiteY559" fmla="*/ 145037 h 307090"/>
                  <a:gd name="connsiteX560" fmla="*/ 99101 w 204285"/>
                  <a:gd name="connsiteY560" fmla="*/ 145301 h 307090"/>
                  <a:gd name="connsiteX561" fmla="*/ 99718 w 204285"/>
                  <a:gd name="connsiteY561" fmla="*/ 146448 h 307090"/>
                  <a:gd name="connsiteX562" fmla="*/ 101129 w 204285"/>
                  <a:gd name="connsiteY562" fmla="*/ 146712 h 307090"/>
                  <a:gd name="connsiteX563" fmla="*/ 100864 w 204285"/>
                  <a:gd name="connsiteY563" fmla="*/ 146095 h 307090"/>
                  <a:gd name="connsiteX564" fmla="*/ 102628 w 204285"/>
                  <a:gd name="connsiteY564" fmla="*/ 146712 h 307090"/>
                  <a:gd name="connsiteX565" fmla="*/ 103774 w 204285"/>
                  <a:gd name="connsiteY565" fmla="*/ 147329 h 307090"/>
                  <a:gd name="connsiteX566" fmla="*/ 103510 w 204285"/>
                  <a:gd name="connsiteY566" fmla="*/ 147594 h 307090"/>
                  <a:gd name="connsiteX567" fmla="*/ 104656 w 204285"/>
                  <a:gd name="connsiteY567" fmla="*/ 147329 h 307090"/>
                  <a:gd name="connsiteX568" fmla="*/ 104920 w 204285"/>
                  <a:gd name="connsiteY568" fmla="*/ 148476 h 307090"/>
                  <a:gd name="connsiteX569" fmla="*/ 105537 w 204285"/>
                  <a:gd name="connsiteY569" fmla="*/ 148740 h 307090"/>
                  <a:gd name="connsiteX570" fmla="*/ 106419 w 204285"/>
                  <a:gd name="connsiteY570" fmla="*/ 148476 h 307090"/>
                  <a:gd name="connsiteX571" fmla="*/ 107036 w 204285"/>
                  <a:gd name="connsiteY571" fmla="*/ 150239 h 307090"/>
                  <a:gd name="connsiteX572" fmla="*/ 105890 w 204285"/>
                  <a:gd name="connsiteY572" fmla="*/ 150239 h 307090"/>
                  <a:gd name="connsiteX573" fmla="*/ 105273 w 204285"/>
                  <a:gd name="connsiteY573" fmla="*/ 150856 h 307090"/>
                  <a:gd name="connsiteX574" fmla="*/ 104656 w 204285"/>
                  <a:gd name="connsiteY574" fmla="*/ 151473 h 307090"/>
                  <a:gd name="connsiteX575" fmla="*/ 104391 w 204285"/>
                  <a:gd name="connsiteY575" fmla="*/ 152619 h 307090"/>
                  <a:gd name="connsiteX576" fmla="*/ 103510 w 204285"/>
                  <a:gd name="connsiteY576" fmla="*/ 153237 h 307090"/>
                  <a:gd name="connsiteX577" fmla="*/ 103510 w 204285"/>
                  <a:gd name="connsiteY577" fmla="*/ 153501 h 307090"/>
                  <a:gd name="connsiteX578" fmla="*/ 102892 w 204285"/>
                  <a:gd name="connsiteY578" fmla="*/ 154118 h 307090"/>
                  <a:gd name="connsiteX579" fmla="*/ 103774 w 204285"/>
                  <a:gd name="connsiteY579" fmla="*/ 154383 h 307090"/>
                  <a:gd name="connsiteX580" fmla="*/ 102011 w 204285"/>
                  <a:gd name="connsiteY580" fmla="*/ 154647 h 307090"/>
                  <a:gd name="connsiteX581" fmla="*/ 102275 w 204285"/>
                  <a:gd name="connsiteY581" fmla="*/ 155529 h 307090"/>
                  <a:gd name="connsiteX582" fmla="*/ 101394 w 204285"/>
                  <a:gd name="connsiteY582" fmla="*/ 155265 h 307090"/>
                  <a:gd name="connsiteX583" fmla="*/ 100512 w 204285"/>
                  <a:gd name="connsiteY583" fmla="*/ 155529 h 307090"/>
                  <a:gd name="connsiteX584" fmla="*/ 100247 w 204285"/>
                  <a:gd name="connsiteY584" fmla="*/ 155794 h 307090"/>
                  <a:gd name="connsiteX585" fmla="*/ 100512 w 204285"/>
                  <a:gd name="connsiteY585" fmla="*/ 155794 h 307090"/>
                  <a:gd name="connsiteX586" fmla="*/ 102275 w 204285"/>
                  <a:gd name="connsiteY586" fmla="*/ 156675 h 307090"/>
                  <a:gd name="connsiteX587" fmla="*/ 102363 w 204285"/>
                  <a:gd name="connsiteY587" fmla="*/ 156675 h 307090"/>
                  <a:gd name="connsiteX588" fmla="*/ 101746 w 204285"/>
                  <a:gd name="connsiteY588" fmla="*/ 156675 h 307090"/>
                  <a:gd name="connsiteX589" fmla="*/ 101746 w 204285"/>
                  <a:gd name="connsiteY589" fmla="*/ 156940 h 307090"/>
                  <a:gd name="connsiteX590" fmla="*/ 102363 w 204285"/>
                  <a:gd name="connsiteY590" fmla="*/ 156940 h 307090"/>
                  <a:gd name="connsiteX591" fmla="*/ 101746 w 204285"/>
                  <a:gd name="connsiteY591" fmla="*/ 157821 h 307090"/>
                  <a:gd name="connsiteX592" fmla="*/ 102363 w 204285"/>
                  <a:gd name="connsiteY592" fmla="*/ 157821 h 307090"/>
                  <a:gd name="connsiteX593" fmla="*/ 103510 w 204285"/>
                  <a:gd name="connsiteY593" fmla="*/ 157821 h 307090"/>
                  <a:gd name="connsiteX594" fmla="*/ 103510 w 204285"/>
                  <a:gd name="connsiteY594" fmla="*/ 158086 h 307090"/>
                  <a:gd name="connsiteX595" fmla="*/ 104127 w 204285"/>
                  <a:gd name="connsiteY595" fmla="*/ 158703 h 307090"/>
                  <a:gd name="connsiteX596" fmla="*/ 103510 w 204285"/>
                  <a:gd name="connsiteY596" fmla="*/ 159585 h 307090"/>
                  <a:gd name="connsiteX597" fmla="*/ 103774 w 204285"/>
                  <a:gd name="connsiteY597" fmla="*/ 159849 h 307090"/>
                  <a:gd name="connsiteX598" fmla="*/ 104920 w 204285"/>
                  <a:gd name="connsiteY598" fmla="*/ 160114 h 307090"/>
                  <a:gd name="connsiteX599" fmla="*/ 105802 w 204285"/>
                  <a:gd name="connsiteY599" fmla="*/ 160114 h 307090"/>
                  <a:gd name="connsiteX600" fmla="*/ 106419 w 204285"/>
                  <a:gd name="connsiteY600" fmla="*/ 159849 h 307090"/>
                  <a:gd name="connsiteX601" fmla="*/ 106684 w 204285"/>
                  <a:gd name="connsiteY601" fmla="*/ 160466 h 307090"/>
                  <a:gd name="connsiteX602" fmla="*/ 106948 w 204285"/>
                  <a:gd name="connsiteY602" fmla="*/ 161348 h 307090"/>
                  <a:gd name="connsiteX603" fmla="*/ 106684 w 204285"/>
                  <a:gd name="connsiteY603" fmla="*/ 162230 h 307090"/>
                  <a:gd name="connsiteX604" fmla="*/ 105537 w 204285"/>
                  <a:gd name="connsiteY604" fmla="*/ 162230 h 307090"/>
                  <a:gd name="connsiteX605" fmla="*/ 104920 w 204285"/>
                  <a:gd name="connsiteY605" fmla="*/ 162230 h 307090"/>
                  <a:gd name="connsiteX606" fmla="*/ 103774 w 204285"/>
                  <a:gd name="connsiteY606" fmla="*/ 162494 h 307090"/>
                  <a:gd name="connsiteX607" fmla="*/ 103157 w 204285"/>
                  <a:gd name="connsiteY607" fmla="*/ 162230 h 307090"/>
                  <a:gd name="connsiteX608" fmla="*/ 102275 w 204285"/>
                  <a:gd name="connsiteY608" fmla="*/ 161965 h 307090"/>
                  <a:gd name="connsiteX609" fmla="*/ 102275 w 204285"/>
                  <a:gd name="connsiteY609" fmla="*/ 161084 h 307090"/>
                  <a:gd name="connsiteX610" fmla="*/ 102011 w 204285"/>
                  <a:gd name="connsiteY610" fmla="*/ 159937 h 307090"/>
                  <a:gd name="connsiteX611" fmla="*/ 102011 w 204285"/>
                  <a:gd name="connsiteY611" fmla="*/ 160819 h 307090"/>
                  <a:gd name="connsiteX612" fmla="*/ 101129 w 204285"/>
                  <a:gd name="connsiteY612" fmla="*/ 159937 h 307090"/>
                  <a:gd name="connsiteX613" fmla="*/ 100864 w 204285"/>
                  <a:gd name="connsiteY613" fmla="*/ 159673 h 307090"/>
                  <a:gd name="connsiteX614" fmla="*/ 99718 w 204285"/>
                  <a:gd name="connsiteY614" fmla="*/ 159937 h 307090"/>
                  <a:gd name="connsiteX615" fmla="*/ 99983 w 204285"/>
                  <a:gd name="connsiteY615" fmla="*/ 160555 h 307090"/>
                  <a:gd name="connsiteX616" fmla="*/ 101482 w 204285"/>
                  <a:gd name="connsiteY616" fmla="*/ 161172 h 307090"/>
                  <a:gd name="connsiteX617" fmla="*/ 100864 w 204285"/>
                  <a:gd name="connsiteY617" fmla="*/ 161789 h 307090"/>
                  <a:gd name="connsiteX618" fmla="*/ 99983 w 204285"/>
                  <a:gd name="connsiteY618" fmla="*/ 161524 h 307090"/>
                  <a:gd name="connsiteX619" fmla="*/ 99366 w 204285"/>
                  <a:gd name="connsiteY619" fmla="*/ 161524 h 307090"/>
                  <a:gd name="connsiteX620" fmla="*/ 99983 w 204285"/>
                  <a:gd name="connsiteY620" fmla="*/ 161789 h 307090"/>
                  <a:gd name="connsiteX621" fmla="*/ 98837 w 204285"/>
                  <a:gd name="connsiteY621" fmla="*/ 162053 h 307090"/>
                  <a:gd name="connsiteX622" fmla="*/ 99101 w 204285"/>
                  <a:gd name="connsiteY622" fmla="*/ 162318 h 307090"/>
                  <a:gd name="connsiteX623" fmla="*/ 100600 w 204285"/>
                  <a:gd name="connsiteY623" fmla="*/ 163200 h 307090"/>
                  <a:gd name="connsiteX624" fmla="*/ 98837 w 204285"/>
                  <a:gd name="connsiteY624" fmla="*/ 162935 h 307090"/>
                  <a:gd name="connsiteX625" fmla="*/ 98219 w 204285"/>
                  <a:gd name="connsiteY625" fmla="*/ 163552 h 307090"/>
                  <a:gd name="connsiteX626" fmla="*/ 100247 w 204285"/>
                  <a:gd name="connsiteY626" fmla="*/ 164169 h 307090"/>
                  <a:gd name="connsiteX627" fmla="*/ 99895 w 204285"/>
                  <a:gd name="connsiteY627" fmla="*/ 164169 h 307090"/>
                  <a:gd name="connsiteX628" fmla="*/ 99277 w 204285"/>
                  <a:gd name="connsiteY628" fmla="*/ 164169 h 307090"/>
                  <a:gd name="connsiteX629" fmla="*/ 99542 w 204285"/>
                  <a:gd name="connsiteY629" fmla="*/ 164787 h 307090"/>
                  <a:gd name="connsiteX630" fmla="*/ 100159 w 204285"/>
                  <a:gd name="connsiteY630" fmla="*/ 164787 h 307090"/>
                  <a:gd name="connsiteX631" fmla="*/ 101041 w 204285"/>
                  <a:gd name="connsiteY631" fmla="*/ 165316 h 307090"/>
                  <a:gd name="connsiteX632" fmla="*/ 100512 w 204285"/>
                  <a:gd name="connsiteY632" fmla="*/ 165316 h 307090"/>
                  <a:gd name="connsiteX633" fmla="*/ 101041 w 204285"/>
                  <a:gd name="connsiteY633" fmla="*/ 165933 h 307090"/>
                  <a:gd name="connsiteX634" fmla="*/ 100512 w 204285"/>
                  <a:gd name="connsiteY634" fmla="*/ 166550 h 307090"/>
                  <a:gd name="connsiteX635" fmla="*/ 99630 w 204285"/>
                  <a:gd name="connsiteY635" fmla="*/ 166550 h 307090"/>
                  <a:gd name="connsiteX636" fmla="*/ 100512 w 204285"/>
                  <a:gd name="connsiteY636" fmla="*/ 166550 h 307090"/>
                  <a:gd name="connsiteX637" fmla="*/ 99895 w 204285"/>
                  <a:gd name="connsiteY637" fmla="*/ 166815 h 307090"/>
                  <a:gd name="connsiteX638" fmla="*/ 99630 w 204285"/>
                  <a:gd name="connsiteY638" fmla="*/ 167696 h 307090"/>
                  <a:gd name="connsiteX639" fmla="*/ 100776 w 204285"/>
                  <a:gd name="connsiteY639" fmla="*/ 168842 h 307090"/>
                  <a:gd name="connsiteX640" fmla="*/ 102275 w 204285"/>
                  <a:gd name="connsiteY640" fmla="*/ 169460 h 307090"/>
                  <a:gd name="connsiteX641" fmla="*/ 101658 w 204285"/>
                  <a:gd name="connsiteY641" fmla="*/ 170341 h 307090"/>
                  <a:gd name="connsiteX642" fmla="*/ 101041 w 204285"/>
                  <a:gd name="connsiteY642" fmla="*/ 170606 h 307090"/>
                  <a:gd name="connsiteX643" fmla="*/ 101041 w 204285"/>
                  <a:gd name="connsiteY643" fmla="*/ 169724 h 307090"/>
                  <a:gd name="connsiteX644" fmla="*/ 100512 w 204285"/>
                  <a:gd name="connsiteY644" fmla="*/ 169460 h 307090"/>
                  <a:gd name="connsiteX645" fmla="*/ 99895 w 204285"/>
                  <a:gd name="connsiteY645" fmla="*/ 169460 h 307090"/>
                  <a:gd name="connsiteX646" fmla="*/ 99895 w 204285"/>
                  <a:gd name="connsiteY646" fmla="*/ 170341 h 307090"/>
                  <a:gd name="connsiteX647" fmla="*/ 101394 w 204285"/>
                  <a:gd name="connsiteY647" fmla="*/ 172369 h 307090"/>
                  <a:gd name="connsiteX648" fmla="*/ 101923 w 204285"/>
                  <a:gd name="connsiteY648" fmla="*/ 172986 h 307090"/>
                  <a:gd name="connsiteX649" fmla="*/ 102187 w 204285"/>
                  <a:gd name="connsiteY649" fmla="*/ 173251 h 307090"/>
                  <a:gd name="connsiteX650" fmla="*/ 101305 w 204285"/>
                  <a:gd name="connsiteY650" fmla="*/ 173515 h 307090"/>
                  <a:gd name="connsiteX651" fmla="*/ 101305 w 204285"/>
                  <a:gd name="connsiteY651" fmla="*/ 174044 h 307090"/>
                  <a:gd name="connsiteX652" fmla="*/ 101305 w 204285"/>
                  <a:gd name="connsiteY652" fmla="*/ 174309 h 307090"/>
                  <a:gd name="connsiteX653" fmla="*/ 101570 w 204285"/>
                  <a:gd name="connsiteY653" fmla="*/ 174662 h 307090"/>
                  <a:gd name="connsiteX654" fmla="*/ 101834 w 204285"/>
                  <a:gd name="connsiteY654" fmla="*/ 175279 h 307090"/>
                  <a:gd name="connsiteX655" fmla="*/ 101570 w 204285"/>
                  <a:gd name="connsiteY655" fmla="*/ 175896 h 307090"/>
                  <a:gd name="connsiteX656" fmla="*/ 101834 w 204285"/>
                  <a:gd name="connsiteY656" fmla="*/ 176513 h 307090"/>
                  <a:gd name="connsiteX657" fmla="*/ 102452 w 204285"/>
                  <a:gd name="connsiteY657" fmla="*/ 176249 h 307090"/>
                  <a:gd name="connsiteX658" fmla="*/ 103069 w 204285"/>
                  <a:gd name="connsiteY658" fmla="*/ 176249 h 307090"/>
                  <a:gd name="connsiteX659" fmla="*/ 102187 w 204285"/>
                  <a:gd name="connsiteY659" fmla="*/ 176866 h 307090"/>
                  <a:gd name="connsiteX660" fmla="*/ 101923 w 204285"/>
                  <a:gd name="connsiteY660" fmla="*/ 177483 h 307090"/>
                  <a:gd name="connsiteX661" fmla="*/ 101658 w 204285"/>
                  <a:gd name="connsiteY661" fmla="*/ 178365 h 307090"/>
                  <a:gd name="connsiteX662" fmla="*/ 103157 w 204285"/>
                  <a:gd name="connsiteY662" fmla="*/ 177218 h 307090"/>
                  <a:gd name="connsiteX663" fmla="*/ 103421 w 204285"/>
                  <a:gd name="connsiteY663" fmla="*/ 177483 h 307090"/>
                  <a:gd name="connsiteX664" fmla="*/ 103157 w 204285"/>
                  <a:gd name="connsiteY664" fmla="*/ 178100 h 307090"/>
                  <a:gd name="connsiteX665" fmla="*/ 103421 w 204285"/>
                  <a:gd name="connsiteY665" fmla="*/ 178629 h 307090"/>
                  <a:gd name="connsiteX666" fmla="*/ 104303 w 204285"/>
                  <a:gd name="connsiteY666" fmla="*/ 179246 h 307090"/>
                  <a:gd name="connsiteX667" fmla="*/ 104568 w 204285"/>
                  <a:gd name="connsiteY667" fmla="*/ 180393 h 307090"/>
                  <a:gd name="connsiteX668" fmla="*/ 103686 w 204285"/>
                  <a:gd name="connsiteY668" fmla="*/ 180393 h 307090"/>
                  <a:gd name="connsiteX669" fmla="*/ 103686 w 204285"/>
                  <a:gd name="connsiteY669" fmla="*/ 180657 h 307090"/>
                  <a:gd name="connsiteX670" fmla="*/ 104303 w 204285"/>
                  <a:gd name="connsiteY670" fmla="*/ 181539 h 307090"/>
                  <a:gd name="connsiteX671" fmla="*/ 104568 w 204285"/>
                  <a:gd name="connsiteY671" fmla="*/ 181539 h 307090"/>
                  <a:gd name="connsiteX672" fmla="*/ 104832 w 204285"/>
                  <a:gd name="connsiteY672" fmla="*/ 181803 h 307090"/>
                  <a:gd name="connsiteX673" fmla="*/ 105449 w 204285"/>
                  <a:gd name="connsiteY673" fmla="*/ 182068 h 307090"/>
                  <a:gd name="connsiteX674" fmla="*/ 104832 w 204285"/>
                  <a:gd name="connsiteY674" fmla="*/ 182685 h 307090"/>
                  <a:gd name="connsiteX675" fmla="*/ 103950 w 204285"/>
                  <a:gd name="connsiteY675" fmla="*/ 182685 h 307090"/>
                  <a:gd name="connsiteX676" fmla="*/ 102804 w 204285"/>
                  <a:gd name="connsiteY676" fmla="*/ 183831 h 307090"/>
                  <a:gd name="connsiteX677" fmla="*/ 103686 w 204285"/>
                  <a:gd name="connsiteY677" fmla="*/ 183831 h 307090"/>
                  <a:gd name="connsiteX678" fmla="*/ 104303 w 204285"/>
                  <a:gd name="connsiteY678" fmla="*/ 183831 h 307090"/>
                  <a:gd name="connsiteX679" fmla="*/ 104920 w 204285"/>
                  <a:gd name="connsiteY679" fmla="*/ 183831 h 307090"/>
                  <a:gd name="connsiteX680" fmla="*/ 105185 w 204285"/>
                  <a:gd name="connsiteY680" fmla="*/ 183831 h 307090"/>
                  <a:gd name="connsiteX681" fmla="*/ 106684 w 204285"/>
                  <a:gd name="connsiteY681" fmla="*/ 184096 h 307090"/>
                  <a:gd name="connsiteX682" fmla="*/ 105537 w 204285"/>
                  <a:gd name="connsiteY682" fmla="*/ 184360 h 307090"/>
                  <a:gd name="connsiteX683" fmla="*/ 105273 w 204285"/>
                  <a:gd name="connsiteY683" fmla="*/ 184977 h 307090"/>
                  <a:gd name="connsiteX684" fmla="*/ 105273 w 204285"/>
                  <a:gd name="connsiteY684" fmla="*/ 185242 h 307090"/>
                  <a:gd name="connsiteX685" fmla="*/ 105273 w 204285"/>
                  <a:gd name="connsiteY685" fmla="*/ 185506 h 307090"/>
                  <a:gd name="connsiteX686" fmla="*/ 107301 w 204285"/>
                  <a:gd name="connsiteY686" fmla="*/ 185506 h 307090"/>
                  <a:gd name="connsiteX687" fmla="*/ 106684 w 204285"/>
                  <a:gd name="connsiteY687" fmla="*/ 184889 h 307090"/>
                  <a:gd name="connsiteX688" fmla="*/ 107830 w 204285"/>
                  <a:gd name="connsiteY688" fmla="*/ 184272 h 307090"/>
                  <a:gd name="connsiteX689" fmla="*/ 109858 w 204285"/>
                  <a:gd name="connsiteY689" fmla="*/ 184007 h 307090"/>
                  <a:gd name="connsiteX690" fmla="*/ 111268 w 204285"/>
                  <a:gd name="connsiteY690" fmla="*/ 184272 h 307090"/>
                  <a:gd name="connsiteX691" fmla="*/ 111885 w 204285"/>
                  <a:gd name="connsiteY691" fmla="*/ 184889 h 307090"/>
                  <a:gd name="connsiteX692" fmla="*/ 112503 w 204285"/>
                  <a:gd name="connsiteY692" fmla="*/ 184889 h 307090"/>
                  <a:gd name="connsiteX693" fmla="*/ 111885 w 204285"/>
                  <a:gd name="connsiteY693" fmla="*/ 185506 h 307090"/>
                  <a:gd name="connsiteX694" fmla="*/ 111004 w 204285"/>
                  <a:gd name="connsiteY694" fmla="*/ 186123 h 307090"/>
                  <a:gd name="connsiteX695" fmla="*/ 112503 w 204285"/>
                  <a:gd name="connsiteY695" fmla="*/ 186388 h 307090"/>
                  <a:gd name="connsiteX696" fmla="*/ 112238 w 204285"/>
                  <a:gd name="connsiteY696" fmla="*/ 187270 h 307090"/>
                  <a:gd name="connsiteX697" fmla="*/ 112503 w 204285"/>
                  <a:gd name="connsiteY697" fmla="*/ 188151 h 307090"/>
                  <a:gd name="connsiteX698" fmla="*/ 113384 w 204285"/>
                  <a:gd name="connsiteY698" fmla="*/ 188416 h 307090"/>
                  <a:gd name="connsiteX699" fmla="*/ 113649 w 204285"/>
                  <a:gd name="connsiteY699" fmla="*/ 187270 h 307090"/>
                  <a:gd name="connsiteX700" fmla="*/ 113384 w 204285"/>
                  <a:gd name="connsiteY700" fmla="*/ 187270 h 307090"/>
                  <a:gd name="connsiteX701" fmla="*/ 113120 w 204285"/>
                  <a:gd name="connsiteY701" fmla="*/ 186123 h 307090"/>
                  <a:gd name="connsiteX702" fmla="*/ 114002 w 204285"/>
                  <a:gd name="connsiteY702" fmla="*/ 186388 h 307090"/>
                  <a:gd name="connsiteX703" fmla="*/ 114266 w 204285"/>
                  <a:gd name="connsiteY703" fmla="*/ 185242 h 307090"/>
                  <a:gd name="connsiteX704" fmla="*/ 115677 w 204285"/>
                  <a:gd name="connsiteY704" fmla="*/ 185506 h 307090"/>
                  <a:gd name="connsiteX705" fmla="*/ 116294 w 204285"/>
                  <a:gd name="connsiteY705" fmla="*/ 185242 h 307090"/>
                  <a:gd name="connsiteX706" fmla="*/ 116558 w 204285"/>
                  <a:gd name="connsiteY706" fmla="*/ 185506 h 307090"/>
                  <a:gd name="connsiteX707" fmla="*/ 117440 w 204285"/>
                  <a:gd name="connsiteY707" fmla="*/ 185506 h 307090"/>
                  <a:gd name="connsiteX708" fmla="*/ 117705 w 204285"/>
                  <a:gd name="connsiteY708" fmla="*/ 186652 h 307090"/>
                  <a:gd name="connsiteX709" fmla="*/ 118851 w 204285"/>
                  <a:gd name="connsiteY709" fmla="*/ 185771 h 307090"/>
                  <a:gd name="connsiteX710" fmla="*/ 119733 w 204285"/>
                  <a:gd name="connsiteY710" fmla="*/ 186917 h 307090"/>
                  <a:gd name="connsiteX711" fmla="*/ 120350 w 204285"/>
                  <a:gd name="connsiteY711" fmla="*/ 188328 h 307090"/>
                  <a:gd name="connsiteX712" fmla="*/ 120350 w 204285"/>
                  <a:gd name="connsiteY712" fmla="*/ 189827 h 307090"/>
                  <a:gd name="connsiteX713" fmla="*/ 120350 w 204285"/>
                  <a:gd name="connsiteY713" fmla="*/ 190973 h 307090"/>
                  <a:gd name="connsiteX714" fmla="*/ 121232 w 204285"/>
                  <a:gd name="connsiteY714" fmla="*/ 191237 h 307090"/>
                  <a:gd name="connsiteX715" fmla="*/ 121848 w 204285"/>
                  <a:gd name="connsiteY715" fmla="*/ 190091 h 307090"/>
                  <a:gd name="connsiteX716" fmla="*/ 122730 w 204285"/>
                  <a:gd name="connsiteY716" fmla="*/ 190356 h 307090"/>
                  <a:gd name="connsiteX717" fmla="*/ 122730 w 204285"/>
                  <a:gd name="connsiteY717" fmla="*/ 191237 h 307090"/>
                  <a:gd name="connsiteX718" fmla="*/ 121232 w 204285"/>
                  <a:gd name="connsiteY718" fmla="*/ 191502 h 307090"/>
                  <a:gd name="connsiteX719" fmla="*/ 121848 w 204285"/>
                  <a:gd name="connsiteY719" fmla="*/ 192383 h 307090"/>
                  <a:gd name="connsiteX720" fmla="*/ 122995 w 204285"/>
                  <a:gd name="connsiteY720" fmla="*/ 192383 h 307090"/>
                  <a:gd name="connsiteX721" fmla="*/ 122730 w 204285"/>
                  <a:gd name="connsiteY721" fmla="*/ 191502 h 307090"/>
                  <a:gd name="connsiteX722" fmla="*/ 123612 w 204285"/>
                  <a:gd name="connsiteY722" fmla="*/ 192119 h 307090"/>
                  <a:gd name="connsiteX723" fmla="*/ 123965 w 204285"/>
                  <a:gd name="connsiteY723" fmla="*/ 191502 h 307090"/>
                  <a:gd name="connsiteX724" fmla="*/ 124846 w 204285"/>
                  <a:gd name="connsiteY724" fmla="*/ 191502 h 307090"/>
                  <a:gd name="connsiteX725" fmla="*/ 125111 w 204285"/>
                  <a:gd name="connsiteY725" fmla="*/ 190884 h 307090"/>
                  <a:gd name="connsiteX726" fmla="*/ 127139 w 204285"/>
                  <a:gd name="connsiteY726" fmla="*/ 191502 h 307090"/>
                  <a:gd name="connsiteX727" fmla="*/ 127139 w 204285"/>
                  <a:gd name="connsiteY727" fmla="*/ 192648 h 307090"/>
                  <a:gd name="connsiteX728" fmla="*/ 128020 w 204285"/>
                  <a:gd name="connsiteY728" fmla="*/ 192383 h 307090"/>
                  <a:gd name="connsiteX729" fmla="*/ 128902 w 204285"/>
                  <a:gd name="connsiteY729" fmla="*/ 193001 h 307090"/>
                  <a:gd name="connsiteX730" fmla="*/ 128902 w 204285"/>
                  <a:gd name="connsiteY730" fmla="*/ 193882 h 307090"/>
                  <a:gd name="connsiteX731" fmla="*/ 126874 w 204285"/>
                  <a:gd name="connsiteY731" fmla="*/ 193618 h 307090"/>
                  <a:gd name="connsiteX732" fmla="*/ 123965 w 204285"/>
                  <a:gd name="connsiteY732" fmla="*/ 192472 h 307090"/>
                  <a:gd name="connsiteX733" fmla="*/ 125111 w 204285"/>
                  <a:gd name="connsiteY733" fmla="*/ 193970 h 307090"/>
                  <a:gd name="connsiteX734" fmla="*/ 127403 w 204285"/>
                  <a:gd name="connsiteY734" fmla="*/ 193970 h 307090"/>
                  <a:gd name="connsiteX735" fmla="*/ 127403 w 204285"/>
                  <a:gd name="connsiteY735" fmla="*/ 194852 h 307090"/>
                  <a:gd name="connsiteX736" fmla="*/ 127668 w 204285"/>
                  <a:gd name="connsiteY736" fmla="*/ 195734 h 307090"/>
                  <a:gd name="connsiteX737" fmla="*/ 128549 w 204285"/>
                  <a:gd name="connsiteY737" fmla="*/ 195998 h 307090"/>
                  <a:gd name="connsiteX738" fmla="*/ 128814 w 204285"/>
                  <a:gd name="connsiteY738" fmla="*/ 194852 h 307090"/>
                  <a:gd name="connsiteX739" fmla="*/ 129960 w 204285"/>
                  <a:gd name="connsiteY739" fmla="*/ 197497 h 307090"/>
                  <a:gd name="connsiteX740" fmla="*/ 130225 w 204285"/>
                  <a:gd name="connsiteY740" fmla="*/ 197497 h 307090"/>
                  <a:gd name="connsiteX741" fmla="*/ 130225 w 204285"/>
                  <a:gd name="connsiteY741" fmla="*/ 196351 h 307090"/>
                  <a:gd name="connsiteX742" fmla="*/ 130225 w 204285"/>
                  <a:gd name="connsiteY742" fmla="*/ 196086 h 307090"/>
                  <a:gd name="connsiteX743" fmla="*/ 130225 w 204285"/>
                  <a:gd name="connsiteY743" fmla="*/ 195822 h 307090"/>
                  <a:gd name="connsiteX744" fmla="*/ 130489 w 204285"/>
                  <a:gd name="connsiteY744" fmla="*/ 196086 h 307090"/>
                  <a:gd name="connsiteX745" fmla="*/ 130489 w 204285"/>
                  <a:gd name="connsiteY745" fmla="*/ 196351 h 307090"/>
                  <a:gd name="connsiteX746" fmla="*/ 131371 w 204285"/>
                  <a:gd name="connsiteY746" fmla="*/ 196351 h 307090"/>
                  <a:gd name="connsiteX747" fmla="*/ 132253 w 204285"/>
                  <a:gd name="connsiteY747" fmla="*/ 196351 h 307090"/>
                  <a:gd name="connsiteX748" fmla="*/ 131635 w 204285"/>
                  <a:gd name="connsiteY748" fmla="*/ 197497 h 307090"/>
                  <a:gd name="connsiteX749" fmla="*/ 132517 w 204285"/>
                  <a:gd name="connsiteY749" fmla="*/ 198379 h 307090"/>
                  <a:gd name="connsiteX750" fmla="*/ 133663 w 204285"/>
                  <a:gd name="connsiteY750" fmla="*/ 199525 h 307090"/>
                  <a:gd name="connsiteX751" fmla="*/ 132253 w 204285"/>
                  <a:gd name="connsiteY751" fmla="*/ 197233 h 307090"/>
                  <a:gd name="connsiteX752" fmla="*/ 133134 w 204285"/>
                  <a:gd name="connsiteY752" fmla="*/ 196351 h 307090"/>
                  <a:gd name="connsiteX753" fmla="*/ 133399 w 204285"/>
                  <a:gd name="connsiteY753" fmla="*/ 197497 h 307090"/>
                  <a:gd name="connsiteX754" fmla="*/ 134545 w 204285"/>
                  <a:gd name="connsiteY754" fmla="*/ 198379 h 307090"/>
                  <a:gd name="connsiteX755" fmla="*/ 135427 w 204285"/>
                  <a:gd name="connsiteY755" fmla="*/ 200671 h 307090"/>
                  <a:gd name="connsiteX756" fmla="*/ 136308 w 204285"/>
                  <a:gd name="connsiteY756" fmla="*/ 201024 h 307090"/>
                  <a:gd name="connsiteX757" fmla="*/ 136573 w 204285"/>
                  <a:gd name="connsiteY757" fmla="*/ 200407 h 307090"/>
                  <a:gd name="connsiteX758" fmla="*/ 137454 w 204285"/>
                  <a:gd name="connsiteY758" fmla="*/ 201024 h 307090"/>
                  <a:gd name="connsiteX759" fmla="*/ 137807 w 204285"/>
                  <a:gd name="connsiteY759" fmla="*/ 202170 h 307090"/>
                  <a:gd name="connsiteX760" fmla="*/ 138071 w 204285"/>
                  <a:gd name="connsiteY760" fmla="*/ 202170 h 307090"/>
                  <a:gd name="connsiteX761" fmla="*/ 138336 w 204285"/>
                  <a:gd name="connsiteY761" fmla="*/ 203316 h 307090"/>
                  <a:gd name="connsiteX762" fmla="*/ 136837 w 204285"/>
                  <a:gd name="connsiteY762" fmla="*/ 202435 h 307090"/>
                  <a:gd name="connsiteX763" fmla="*/ 135691 w 204285"/>
                  <a:gd name="connsiteY763" fmla="*/ 202170 h 307090"/>
                  <a:gd name="connsiteX764" fmla="*/ 134809 w 204285"/>
                  <a:gd name="connsiteY764" fmla="*/ 202435 h 307090"/>
                  <a:gd name="connsiteX765" fmla="*/ 135074 w 204285"/>
                  <a:gd name="connsiteY765" fmla="*/ 202699 h 307090"/>
                  <a:gd name="connsiteX766" fmla="*/ 136573 w 204285"/>
                  <a:gd name="connsiteY766" fmla="*/ 202699 h 307090"/>
                  <a:gd name="connsiteX767" fmla="*/ 135691 w 204285"/>
                  <a:gd name="connsiteY767" fmla="*/ 203316 h 307090"/>
                  <a:gd name="connsiteX768" fmla="*/ 134192 w 204285"/>
                  <a:gd name="connsiteY768" fmla="*/ 203316 h 307090"/>
                  <a:gd name="connsiteX769" fmla="*/ 133046 w 204285"/>
                  <a:gd name="connsiteY769" fmla="*/ 203845 h 307090"/>
                  <a:gd name="connsiteX770" fmla="*/ 133311 w 204285"/>
                  <a:gd name="connsiteY770" fmla="*/ 204374 h 307090"/>
                  <a:gd name="connsiteX771" fmla="*/ 136573 w 204285"/>
                  <a:gd name="connsiteY771" fmla="*/ 203845 h 307090"/>
                  <a:gd name="connsiteX772" fmla="*/ 138336 w 204285"/>
                  <a:gd name="connsiteY772" fmla="*/ 204374 h 307090"/>
                  <a:gd name="connsiteX773" fmla="*/ 139218 w 204285"/>
                  <a:gd name="connsiteY773" fmla="*/ 204991 h 307090"/>
                  <a:gd name="connsiteX774" fmla="*/ 138600 w 204285"/>
                  <a:gd name="connsiteY774" fmla="*/ 205873 h 307090"/>
                  <a:gd name="connsiteX775" fmla="*/ 137983 w 204285"/>
                  <a:gd name="connsiteY775" fmla="*/ 206138 h 307090"/>
                  <a:gd name="connsiteX776" fmla="*/ 136837 w 204285"/>
                  <a:gd name="connsiteY776" fmla="*/ 205873 h 307090"/>
                  <a:gd name="connsiteX777" fmla="*/ 136837 w 204285"/>
                  <a:gd name="connsiteY777" fmla="*/ 204991 h 307090"/>
                  <a:gd name="connsiteX778" fmla="*/ 135691 w 204285"/>
                  <a:gd name="connsiteY778" fmla="*/ 204374 h 307090"/>
                  <a:gd name="connsiteX779" fmla="*/ 135338 w 204285"/>
                  <a:gd name="connsiteY779" fmla="*/ 204991 h 307090"/>
                  <a:gd name="connsiteX780" fmla="*/ 135955 w 204285"/>
                  <a:gd name="connsiteY780" fmla="*/ 205873 h 307090"/>
                  <a:gd name="connsiteX781" fmla="*/ 134192 w 204285"/>
                  <a:gd name="connsiteY781" fmla="*/ 205873 h 307090"/>
                  <a:gd name="connsiteX782" fmla="*/ 133575 w 204285"/>
                  <a:gd name="connsiteY782" fmla="*/ 206138 h 307090"/>
                  <a:gd name="connsiteX783" fmla="*/ 133575 w 204285"/>
                  <a:gd name="connsiteY783" fmla="*/ 207019 h 307090"/>
                  <a:gd name="connsiteX784" fmla="*/ 132429 w 204285"/>
                  <a:gd name="connsiteY784" fmla="*/ 206755 h 307090"/>
                  <a:gd name="connsiteX785" fmla="*/ 131812 w 204285"/>
                  <a:gd name="connsiteY785" fmla="*/ 207019 h 307090"/>
                  <a:gd name="connsiteX786" fmla="*/ 131547 w 204285"/>
                  <a:gd name="connsiteY786" fmla="*/ 207637 h 307090"/>
                  <a:gd name="connsiteX787" fmla="*/ 132164 w 204285"/>
                  <a:gd name="connsiteY787" fmla="*/ 208254 h 307090"/>
                  <a:gd name="connsiteX788" fmla="*/ 132782 w 204285"/>
                  <a:gd name="connsiteY788" fmla="*/ 207637 h 307090"/>
                  <a:gd name="connsiteX789" fmla="*/ 133663 w 204285"/>
                  <a:gd name="connsiteY789" fmla="*/ 208254 h 307090"/>
                  <a:gd name="connsiteX790" fmla="*/ 133928 w 204285"/>
                  <a:gd name="connsiteY790" fmla="*/ 208518 h 307090"/>
                  <a:gd name="connsiteX791" fmla="*/ 133046 w 204285"/>
                  <a:gd name="connsiteY791" fmla="*/ 209135 h 307090"/>
                  <a:gd name="connsiteX792" fmla="*/ 132164 w 204285"/>
                  <a:gd name="connsiteY792" fmla="*/ 208518 h 307090"/>
                  <a:gd name="connsiteX793" fmla="*/ 132164 w 204285"/>
                  <a:gd name="connsiteY793" fmla="*/ 209400 h 307090"/>
                  <a:gd name="connsiteX794" fmla="*/ 131018 w 204285"/>
                  <a:gd name="connsiteY794" fmla="*/ 209400 h 307090"/>
                  <a:gd name="connsiteX795" fmla="*/ 129255 w 204285"/>
                  <a:gd name="connsiteY795" fmla="*/ 210546 h 307090"/>
                  <a:gd name="connsiteX796" fmla="*/ 127844 w 204285"/>
                  <a:gd name="connsiteY796" fmla="*/ 211692 h 307090"/>
                  <a:gd name="connsiteX797" fmla="*/ 125463 w 204285"/>
                  <a:gd name="connsiteY797" fmla="*/ 211692 h 307090"/>
                  <a:gd name="connsiteX798" fmla="*/ 126345 w 204285"/>
                  <a:gd name="connsiteY798" fmla="*/ 211957 h 307090"/>
                  <a:gd name="connsiteX799" fmla="*/ 125463 w 204285"/>
                  <a:gd name="connsiteY799" fmla="*/ 211957 h 307090"/>
                  <a:gd name="connsiteX800" fmla="*/ 126610 w 204285"/>
                  <a:gd name="connsiteY800" fmla="*/ 212838 h 307090"/>
                  <a:gd name="connsiteX801" fmla="*/ 126610 w 204285"/>
                  <a:gd name="connsiteY801" fmla="*/ 213103 h 307090"/>
                  <a:gd name="connsiteX802" fmla="*/ 123700 w 204285"/>
                  <a:gd name="connsiteY802" fmla="*/ 212838 h 307090"/>
                  <a:gd name="connsiteX803" fmla="*/ 122818 w 204285"/>
                  <a:gd name="connsiteY803" fmla="*/ 211957 h 307090"/>
                  <a:gd name="connsiteX804" fmla="*/ 122818 w 204285"/>
                  <a:gd name="connsiteY804" fmla="*/ 212838 h 307090"/>
                  <a:gd name="connsiteX805" fmla="*/ 121937 w 204285"/>
                  <a:gd name="connsiteY805" fmla="*/ 213103 h 307090"/>
                  <a:gd name="connsiteX806" fmla="*/ 121672 w 204285"/>
                  <a:gd name="connsiteY806" fmla="*/ 212838 h 307090"/>
                  <a:gd name="connsiteX807" fmla="*/ 122818 w 204285"/>
                  <a:gd name="connsiteY807" fmla="*/ 213103 h 307090"/>
                  <a:gd name="connsiteX808" fmla="*/ 123965 w 204285"/>
                  <a:gd name="connsiteY808" fmla="*/ 214249 h 307090"/>
                  <a:gd name="connsiteX809" fmla="*/ 121320 w 204285"/>
                  <a:gd name="connsiteY809" fmla="*/ 213985 h 307090"/>
                  <a:gd name="connsiteX810" fmla="*/ 120173 w 204285"/>
                  <a:gd name="connsiteY810" fmla="*/ 214249 h 307090"/>
                  <a:gd name="connsiteX811" fmla="*/ 117528 w 204285"/>
                  <a:gd name="connsiteY811" fmla="*/ 213103 h 307090"/>
                  <a:gd name="connsiteX812" fmla="*/ 116382 w 204285"/>
                  <a:gd name="connsiteY812" fmla="*/ 212838 h 307090"/>
                  <a:gd name="connsiteX813" fmla="*/ 117264 w 204285"/>
                  <a:gd name="connsiteY813" fmla="*/ 210811 h 307090"/>
                  <a:gd name="connsiteX814" fmla="*/ 117264 w 204285"/>
                  <a:gd name="connsiteY814" fmla="*/ 210546 h 307090"/>
                  <a:gd name="connsiteX815" fmla="*/ 114354 w 204285"/>
                  <a:gd name="connsiteY815" fmla="*/ 205344 h 307090"/>
                  <a:gd name="connsiteX816" fmla="*/ 114354 w 204285"/>
                  <a:gd name="connsiteY816" fmla="*/ 204462 h 307090"/>
                  <a:gd name="connsiteX817" fmla="*/ 114090 w 204285"/>
                  <a:gd name="connsiteY817" fmla="*/ 203933 h 307090"/>
                  <a:gd name="connsiteX818" fmla="*/ 113208 w 204285"/>
                  <a:gd name="connsiteY818" fmla="*/ 203404 h 307090"/>
                  <a:gd name="connsiteX819" fmla="*/ 112326 w 204285"/>
                  <a:gd name="connsiteY819" fmla="*/ 204551 h 307090"/>
                  <a:gd name="connsiteX820" fmla="*/ 110827 w 204285"/>
                  <a:gd name="connsiteY820" fmla="*/ 204022 h 307090"/>
                  <a:gd name="connsiteX821" fmla="*/ 109064 w 204285"/>
                  <a:gd name="connsiteY821" fmla="*/ 204551 h 307090"/>
                  <a:gd name="connsiteX822" fmla="*/ 111974 w 204285"/>
                  <a:gd name="connsiteY822" fmla="*/ 205168 h 307090"/>
                  <a:gd name="connsiteX823" fmla="*/ 110827 w 204285"/>
                  <a:gd name="connsiteY823" fmla="*/ 206314 h 307090"/>
                  <a:gd name="connsiteX824" fmla="*/ 111356 w 204285"/>
                  <a:gd name="connsiteY824" fmla="*/ 207196 h 307090"/>
                  <a:gd name="connsiteX825" fmla="*/ 112238 w 204285"/>
                  <a:gd name="connsiteY825" fmla="*/ 208695 h 307090"/>
                  <a:gd name="connsiteX826" fmla="*/ 112238 w 204285"/>
                  <a:gd name="connsiteY826" fmla="*/ 206314 h 307090"/>
                  <a:gd name="connsiteX827" fmla="*/ 112238 w 204285"/>
                  <a:gd name="connsiteY827" fmla="*/ 206049 h 307090"/>
                  <a:gd name="connsiteX828" fmla="*/ 112238 w 204285"/>
                  <a:gd name="connsiteY828" fmla="*/ 205432 h 307090"/>
                  <a:gd name="connsiteX829" fmla="*/ 114002 w 204285"/>
                  <a:gd name="connsiteY829" fmla="*/ 205697 h 307090"/>
                  <a:gd name="connsiteX830" fmla="*/ 113120 w 204285"/>
                  <a:gd name="connsiteY830" fmla="*/ 207460 h 307090"/>
                  <a:gd name="connsiteX831" fmla="*/ 113384 w 204285"/>
                  <a:gd name="connsiteY831" fmla="*/ 208606 h 307090"/>
                  <a:gd name="connsiteX832" fmla="*/ 115765 w 204285"/>
                  <a:gd name="connsiteY832" fmla="*/ 209488 h 307090"/>
                  <a:gd name="connsiteX833" fmla="*/ 116029 w 204285"/>
                  <a:gd name="connsiteY833" fmla="*/ 210105 h 307090"/>
                  <a:gd name="connsiteX834" fmla="*/ 116029 w 204285"/>
                  <a:gd name="connsiteY834" fmla="*/ 210987 h 307090"/>
                  <a:gd name="connsiteX835" fmla="*/ 115148 w 204285"/>
                  <a:gd name="connsiteY835" fmla="*/ 212133 h 307090"/>
                  <a:gd name="connsiteX836" fmla="*/ 115148 w 204285"/>
                  <a:gd name="connsiteY836" fmla="*/ 210987 h 307090"/>
                  <a:gd name="connsiteX837" fmla="*/ 114002 w 204285"/>
                  <a:gd name="connsiteY837" fmla="*/ 210987 h 307090"/>
                  <a:gd name="connsiteX838" fmla="*/ 112855 w 204285"/>
                  <a:gd name="connsiteY838" fmla="*/ 210987 h 307090"/>
                  <a:gd name="connsiteX839" fmla="*/ 112855 w 204285"/>
                  <a:gd name="connsiteY839" fmla="*/ 210722 h 307090"/>
                  <a:gd name="connsiteX840" fmla="*/ 112591 w 204285"/>
                  <a:gd name="connsiteY840" fmla="*/ 210722 h 307090"/>
                  <a:gd name="connsiteX841" fmla="*/ 111445 w 204285"/>
                  <a:gd name="connsiteY841" fmla="*/ 209841 h 307090"/>
                  <a:gd name="connsiteX842" fmla="*/ 110916 w 204285"/>
                  <a:gd name="connsiteY842" fmla="*/ 208695 h 307090"/>
                  <a:gd name="connsiteX843" fmla="*/ 109769 w 204285"/>
                  <a:gd name="connsiteY843" fmla="*/ 208695 h 307090"/>
                  <a:gd name="connsiteX844" fmla="*/ 109769 w 204285"/>
                  <a:gd name="connsiteY844" fmla="*/ 208430 h 307090"/>
                  <a:gd name="connsiteX845" fmla="*/ 108006 w 204285"/>
                  <a:gd name="connsiteY845" fmla="*/ 208695 h 307090"/>
                  <a:gd name="connsiteX846" fmla="*/ 110034 w 204285"/>
                  <a:gd name="connsiteY846" fmla="*/ 210722 h 307090"/>
                  <a:gd name="connsiteX847" fmla="*/ 110034 w 204285"/>
                  <a:gd name="connsiteY847" fmla="*/ 210987 h 307090"/>
                  <a:gd name="connsiteX848" fmla="*/ 110034 w 204285"/>
                  <a:gd name="connsiteY848" fmla="*/ 211869 h 307090"/>
                  <a:gd name="connsiteX849" fmla="*/ 108271 w 204285"/>
                  <a:gd name="connsiteY849" fmla="*/ 211869 h 307090"/>
                  <a:gd name="connsiteX850" fmla="*/ 105890 w 204285"/>
                  <a:gd name="connsiteY850" fmla="*/ 210722 h 307090"/>
                  <a:gd name="connsiteX851" fmla="*/ 105273 w 204285"/>
                  <a:gd name="connsiteY851" fmla="*/ 209224 h 307090"/>
                  <a:gd name="connsiteX852" fmla="*/ 103510 w 204285"/>
                  <a:gd name="connsiteY852" fmla="*/ 208606 h 307090"/>
                  <a:gd name="connsiteX853" fmla="*/ 103862 w 204285"/>
                  <a:gd name="connsiteY853" fmla="*/ 209488 h 307090"/>
                  <a:gd name="connsiteX854" fmla="*/ 103862 w 204285"/>
                  <a:gd name="connsiteY854" fmla="*/ 210634 h 307090"/>
                  <a:gd name="connsiteX855" fmla="*/ 102363 w 204285"/>
                  <a:gd name="connsiteY855" fmla="*/ 210634 h 307090"/>
                  <a:gd name="connsiteX856" fmla="*/ 101217 w 204285"/>
                  <a:gd name="connsiteY856" fmla="*/ 209488 h 307090"/>
                  <a:gd name="connsiteX857" fmla="*/ 99718 w 204285"/>
                  <a:gd name="connsiteY857" fmla="*/ 209488 h 307090"/>
                  <a:gd name="connsiteX858" fmla="*/ 98837 w 204285"/>
                  <a:gd name="connsiteY858" fmla="*/ 210987 h 307090"/>
                  <a:gd name="connsiteX859" fmla="*/ 97690 w 204285"/>
                  <a:gd name="connsiteY859" fmla="*/ 210722 h 307090"/>
                  <a:gd name="connsiteX860" fmla="*/ 97690 w 204285"/>
                  <a:gd name="connsiteY860" fmla="*/ 209224 h 307090"/>
                  <a:gd name="connsiteX861" fmla="*/ 96544 w 204285"/>
                  <a:gd name="connsiteY861" fmla="*/ 209488 h 307090"/>
                  <a:gd name="connsiteX862" fmla="*/ 95398 w 204285"/>
                  <a:gd name="connsiteY862" fmla="*/ 208606 h 307090"/>
                  <a:gd name="connsiteX863" fmla="*/ 94781 w 204285"/>
                  <a:gd name="connsiteY863" fmla="*/ 208606 h 307090"/>
                  <a:gd name="connsiteX864" fmla="*/ 95662 w 204285"/>
                  <a:gd name="connsiteY864" fmla="*/ 210634 h 307090"/>
                  <a:gd name="connsiteX865" fmla="*/ 93635 w 204285"/>
                  <a:gd name="connsiteY865" fmla="*/ 210899 h 307090"/>
                  <a:gd name="connsiteX866" fmla="*/ 95133 w 204285"/>
                  <a:gd name="connsiteY866" fmla="*/ 210899 h 307090"/>
                  <a:gd name="connsiteX867" fmla="*/ 92841 w 204285"/>
                  <a:gd name="connsiteY867" fmla="*/ 210899 h 307090"/>
                  <a:gd name="connsiteX868" fmla="*/ 91078 w 204285"/>
                  <a:gd name="connsiteY868" fmla="*/ 210899 h 307090"/>
                  <a:gd name="connsiteX869" fmla="*/ 91078 w 204285"/>
                  <a:gd name="connsiteY869" fmla="*/ 212045 h 307090"/>
                  <a:gd name="connsiteX870" fmla="*/ 89932 w 204285"/>
                  <a:gd name="connsiteY870" fmla="*/ 210899 h 307090"/>
                  <a:gd name="connsiteX871" fmla="*/ 89050 w 204285"/>
                  <a:gd name="connsiteY871" fmla="*/ 211780 h 307090"/>
                  <a:gd name="connsiteX872" fmla="*/ 86405 w 204285"/>
                  <a:gd name="connsiteY872" fmla="*/ 210899 h 307090"/>
                  <a:gd name="connsiteX873" fmla="*/ 87551 w 204285"/>
                  <a:gd name="connsiteY873" fmla="*/ 212045 h 307090"/>
                  <a:gd name="connsiteX874" fmla="*/ 89314 w 204285"/>
                  <a:gd name="connsiteY874" fmla="*/ 212927 h 307090"/>
                  <a:gd name="connsiteX875" fmla="*/ 93635 w 204285"/>
                  <a:gd name="connsiteY875" fmla="*/ 211780 h 307090"/>
                  <a:gd name="connsiteX876" fmla="*/ 96015 w 204285"/>
                  <a:gd name="connsiteY876" fmla="*/ 212398 h 307090"/>
                  <a:gd name="connsiteX877" fmla="*/ 96897 w 204285"/>
                  <a:gd name="connsiteY877" fmla="*/ 212133 h 307090"/>
                  <a:gd name="connsiteX878" fmla="*/ 98043 w 204285"/>
                  <a:gd name="connsiteY878" fmla="*/ 211869 h 307090"/>
                  <a:gd name="connsiteX879" fmla="*/ 100071 w 204285"/>
                  <a:gd name="connsiteY879" fmla="*/ 213367 h 307090"/>
                  <a:gd name="connsiteX880" fmla="*/ 101217 w 204285"/>
                  <a:gd name="connsiteY880" fmla="*/ 213632 h 307090"/>
                  <a:gd name="connsiteX881" fmla="*/ 101834 w 204285"/>
                  <a:gd name="connsiteY881" fmla="*/ 213367 h 307090"/>
                  <a:gd name="connsiteX882" fmla="*/ 101834 w 204285"/>
                  <a:gd name="connsiteY882" fmla="*/ 213103 h 307090"/>
                  <a:gd name="connsiteX883" fmla="*/ 98308 w 204285"/>
                  <a:gd name="connsiteY883" fmla="*/ 211957 h 307090"/>
                  <a:gd name="connsiteX884" fmla="*/ 100071 w 204285"/>
                  <a:gd name="connsiteY884" fmla="*/ 211957 h 307090"/>
                  <a:gd name="connsiteX885" fmla="*/ 99806 w 204285"/>
                  <a:gd name="connsiteY885" fmla="*/ 211075 h 307090"/>
                  <a:gd name="connsiteX886" fmla="*/ 101834 w 204285"/>
                  <a:gd name="connsiteY886" fmla="*/ 212221 h 307090"/>
                  <a:gd name="connsiteX887" fmla="*/ 104479 w 204285"/>
                  <a:gd name="connsiteY887" fmla="*/ 213367 h 307090"/>
                  <a:gd name="connsiteX888" fmla="*/ 106507 w 204285"/>
                  <a:gd name="connsiteY888" fmla="*/ 213367 h 307090"/>
                  <a:gd name="connsiteX889" fmla="*/ 108888 w 204285"/>
                  <a:gd name="connsiteY889" fmla="*/ 214249 h 307090"/>
                  <a:gd name="connsiteX890" fmla="*/ 109769 w 204285"/>
                  <a:gd name="connsiteY890" fmla="*/ 215131 h 307090"/>
                  <a:gd name="connsiteX891" fmla="*/ 109152 w 204285"/>
                  <a:gd name="connsiteY891" fmla="*/ 215395 h 307090"/>
                  <a:gd name="connsiteX892" fmla="*/ 108535 w 204285"/>
                  <a:gd name="connsiteY892" fmla="*/ 215131 h 307090"/>
                  <a:gd name="connsiteX893" fmla="*/ 108271 w 204285"/>
                  <a:gd name="connsiteY893" fmla="*/ 215395 h 307090"/>
                  <a:gd name="connsiteX894" fmla="*/ 108271 w 204285"/>
                  <a:gd name="connsiteY894" fmla="*/ 215660 h 307090"/>
                  <a:gd name="connsiteX895" fmla="*/ 109152 w 204285"/>
                  <a:gd name="connsiteY895" fmla="*/ 216542 h 307090"/>
                  <a:gd name="connsiteX896" fmla="*/ 107125 w 204285"/>
                  <a:gd name="connsiteY896" fmla="*/ 216806 h 307090"/>
                  <a:gd name="connsiteX897" fmla="*/ 108623 w 204285"/>
                  <a:gd name="connsiteY897" fmla="*/ 217423 h 307090"/>
                  <a:gd name="connsiteX898" fmla="*/ 110387 w 204285"/>
                  <a:gd name="connsiteY898" fmla="*/ 217159 h 307090"/>
                  <a:gd name="connsiteX899" fmla="*/ 110387 w 204285"/>
                  <a:gd name="connsiteY899" fmla="*/ 216542 h 307090"/>
                  <a:gd name="connsiteX900" fmla="*/ 110916 w 204285"/>
                  <a:gd name="connsiteY900" fmla="*/ 216806 h 307090"/>
                  <a:gd name="connsiteX901" fmla="*/ 110916 w 204285"/>
                  <a:gd name="connsiteY901" fmla="*/ 215660 h 307090"/>
                  <a:gd name="connsiteX902" fmla="*/ 110916 w 204285"/>
                  <a:gd name="connsiteY902" fmla="*/ 215395 h 307090"/>
                  <a:gd name="connsiteX903" fmla="*/ 112944 w 204285"/>
                  <a:gd name="connsiteY903" fmla="*/ 216542 h 307090"/>
                  <a:gd name="connsiteX904" fmla="*/ 114090 w 204285"/>
                  <a:gd name="connsiteY904" fmla="*/ 216542 h 307090"/>
                  <a:gd name="connsiteX905" fmla="*/ 115236 w 204285"/>
                  <a:gd name="connsiteY905" fmla="*/ 216806 h 307090"/>
                  <a:gd name="connsiteX906" fmla="*/ 114971 w 204285"/>
                  <a:gd name="connsiteY906" fmla="*/ 215660 h 307090"/>
                  <a:gd name="connsiteX907" fmla="*/ 115589 w 204285"/>
                  <a:gd name="connsiteY907" fmla="*/ 215395 h 307090"/>
                  <a:gd name="connsiteX908" fmla="*/ 116206 w 204285"/>
                  <a:gd name="connsiteY908" fmla="*/ 215660 h 307090"/>
                  <a:gd name="connsiteX909" fmla="*/ 116206 w 204285"/>
                  <a:gd name="connsiteY909" fmla="*/ 216542 h 307090"/>
                  <a:gd name="connsiteX910" fmla="*/ 117352 w 204285"/>
                  <a:gd name="connsiteY910" fmla="*/ 216806 h 307090"/>
                  <a:gd name="connsiteX911" fmla="*/ 116735 w 204285"/>
                  <a:gd name="connsiteY911" fmla="*/ 217423 h 307090"/>
                  <a:gd name="connsiteX912" fmla="*/ 118498 w 204285"/>
                  <a:gd name="connsiteY912" fmla="*/ 216806 h 307090"/>
                  <a:gd name="connsiteX913" fmla="*/ 117088 w 204285"/>
                  <a:gd name="connsiteY913" fmla="*/ 216542 h 307090"/>
                  <a:gd name="connsiteX914" fmla="*/ 119997 w 204285"/>
                  <a:gd name="connsiteY914" fmla="*/ 216542 h 307090"/>
                  <a:gd name="connsiteX915" fmla="*/ 119733 w 204285"/>
                  <a:gd name="connsiteY915" fmla="*/ 215660 h 307090"/>
                  <a:gd name="connsiteX916" fmla="*/ 121232 w 204285"/>
                  <a:gd name="connsiteY916" fmla="*/ 214778 h 307090"/>
                  <a:gd name="connsiteX917" fmla="*/ 124405 w 204285"/>
                  <a:gd name="connsiteY917" fmla="*/ 215395 h 307090"/>
                  <a:gd name="connsiteX918" fmla="*/ 124405 w 204285"/>
                  <a:gd name="connsiteY918" fmla="*/ 214514 h 307090"/>
                  <a:gd name="connsiteX919" fmla="*/ 124405 w 204285"/>
                  <a:gd name="connsiteY919" fmla="*/ 215395 h 307090"/>
                  <a:gd name="connsiteX920" fmla="*/ 125816 w 204285"/>
                  <a:gd name="connsiteY920" fmla="*/ 213367 h 307090"/>
                  <a:gd name="connsiteX921" fmla="*/ 127844 w 204285"/>
                  <a:gd name="connsiteY921" fmla="*/ 213367 h 307090"/>
                  <a:gd name="connsiteX922" fmla="*/ 130225 w 204285"/>
                  <a:gd name="connsiteY922" fmla="*/ 214249 h 307090"/>
                  <a:gd name="connsiteX923" fmla="*/ 130225 w 204285"/>
                  <a:gd name="connsiteY923" fmla="*/ 214514 h 307090"/>
                  <a:gd name="connsiteX924" fmla="*/ 130842 w 204285"/>
                  <a:gd name="connsiteY924" fmla="*/ 213367 h 307090"/>
                  <a:gd name="connsiteX925" fmla="*/ 131106 w 204285"/>
                  <a:gd name="connsiteY925" fmla="*/ 213103 h 307090"/>
                  <a:gd name="connsiteX926" fmla="*/ 129960 w 204285"/>
                  <a:gd name="connsiteY926" fmla="*/ 213103 h 307090"/>
                  <a:gd name="connsiteX927" fmla="*/ 131988 w 204285"/>
                  <a:gd name="connsiteY927" fmla="*/ 212486 h 307090"/>
                  <a:gd name="connsiteX928" fmla="*/ 132870 w 204285"/>
                  <a:gd name="connsiteY928" fmla="*/ 213367 h 307090"/>
                  <a:gd name="connsiteX929" fmla="*/ 131371 w 204285"/>
                  <a:gd name="connsiteY929" fmla="*/ 213367 h 307090"/>
                  <a:gd name="connsiteX930" fmla="*/ 133134 w 204285"/>
                  <a:gd name="connsiteY930" fmla="*/ 214249 h 307090"/>
                  <a:gd name="connsiteX931" fmla="*/ 133399 w 204285"/>
                  <a:gd name="connsiteY931" fmla="*/ 215395 h 307090"/>
                  <a:gd name="connsiteX932" fmla="*/ 132782 w 204285"/>
                  <a:gd name="connsiteY932" fmla="*/ 216277 h 307090"/>
                  <a:gd name="connsiteX933" fmla="*/ 131283 w 204285"/>
                  <a:gd name="connsiteY933" fmla="*/ 215395 h 307090"/>
                  <a:gd name="connsiteX934" fmla="*/ 129519 w 204285"/>
                  <a:gd name="connsiteY934" fmla="*/ 215660 h 307090"/>
                  <a:gd name="connsiteX935" fmla="*/ 128109 w 204285"/>
                  <a:gd name="connsiteY935" fmla="*/ 215395 h 307090"/>
                  <a:gd name="connsiteX936" fmla="*/ 127491 w 204285"/>
                  <a:gd name="connsiteY936" fmla="*/ 215131 h 307090"/>
                  <a:gd name="connsiteX937" fmla="*/ 128109 w 204285"/>
                  <a:gd name="connsiteY937" fmla="*/ 214514 h 307090"/>
                  <a:gd name="connsiteX938" fmla="*/ 127491 w 204285"/>
                  <a:gd name="connsiteY938" fmla="*/ 214249 h 307090"/>
                  <a:gd name="connsiteX939" fmla="*/ 126874 w 204285"/>
                  <a:gd name="connsiteY939" fmla="*/ 214514 h 307090"/>
                  <a:gd name="connsiteX940" fmla="*/ 127139 w 204285"/>
                  <a:gd name="connsiteY940" fmla="*/ 215395 h 307090"/>
                  <a:gd name="connsiteX941" fmla="*/ 127139 w 204285"/>
                  <a:gd name="connsiteY941" fmla="*/ 215660 h 307090"/>
                  <a:gd name="connsiteX942" fmla="*/ 126874 w 204285"/>
                  <a:gd name="connsiteY942" fmla="*/ 215924 h 307090"/>
                  <a:gd name="connsiteX943" fmla="*/ 126257 w 204285"/>
                  <a:gd name="connsiteY943" fmla="*/ 216453 h 307090"/>
                  <a:gd name="connsiteX944" fmla="*/ 127139 w 204285"/>
                  <a:gd name="connsiteY944" fmla="*/ 216453 h 307090"/>
                  <a:gd name="connsiteX945" fmla="*/ 128638 w 204285"/>
                  <a:gd name="connsiteY945" fmla="*/ 216189 h 307090"/>
                  <a:gd name="connsiteX946" fmla="*/ 130401 w 204285"/>
                  <a:gd name="connsiteY946" fmla="*/ 217688 h 307090"/>
                  <a:gd name="connsiteX947" fmla="*/ 127227 w 204285"/>
                  <a:gd name="connsiteY947" fmla="*/ 216806 h 307090"/>
                  <a:gd name="connsiteX948" fmla="*/ 128373 w 204285"/>
                  <a:gd name="connsiteY948" fmla="*/ 217952 h 307090"/>
                  <a:gd name="connsiteX949" fmla="*/ 128990 w 204285"/>
                  <a:gd name="connsiteY949" fmla="*/ 217688 h 307090"/>
                  <a:gd name="connsiteX950" fmla="*/ 128990 w 204285"/>
                  <a:gd name="connsiteY950" fmla="*/ 217952 h 307090"/>
                  <a:gd name="connsiteX951" fmla="*/ 128990 w 204285"/>
                  <a:gd name="connsiteY951" fmla="*/ 218834 h 307090"/>
                  <a:gd name="connsiteX952" fmla="*/ 129872 w 204285"/>
                  <a:gd name="connsiteY952" fmla="*/ 218569 h 307090"/>
                  <a:gd name="connsiteX953" fmla="*/ 130754 w 204285"/>
                  <a:gd name="connsiteY953" fmla="*/ 218834 h 307090"/>
                  <a:gd name="connsiteX954" fmla="*/ 130754 w 204285"/>
                  <a:gd name="connsiteY954" fmla="*/ 219098 h 307090"/>
                  <a:gd name="connsiteX955" fmla="*/ 129607 w 204285"/>
                  <a:gd name="connsiteY955" fmla="*/ 219716 h 307090"/>
                  <a:gd name="connsiteX956" fmla="*/ 128197 w 204285"/>
                  <a:gd name="connsiteY956" fmla="*/ 219980 h 307090"/>
                  <a:gd name="connsiteX957" fmla="*/ 128197 w 204285"/>
                  <a:gd name="connsiteY957" fmla="*/ 219363 h 307090"/>
                  <a:gd name="connsiteX958" fmla="*/ 127579 w 204285"/>
                  <a:gd name="connsiteY958" fmla="*/ 219098 h 307090"/>
                  <a:gd name="connsiteX959" fmla="*/ 127844 w 204285"/>
                  <a:gd name="connsiteY959" fmla="*/ 219980 h 307090"/>
                  <a:gd name="connsiteX960" fmla="*/ 127844 w 204285"/>
                  <a:gd name="connsiteY960" fmla="*/ 220597 h 307090"/>
                  <a:gd name="connsiteX961" fmla="*/ 126962 w 204285"/>
                  <a:gd name="connsiteY961" fmla="*/ 220597 h 307090"/>
                  <a:gd name="connsiteX962" fmla="*/ 126698 w 204285"/>
                  <a:gd name="connsiteY962" fmla="*/ 221214 h 307090"/>
                  <a:gd name="connsiteX963" fmla="*/ 125287 w 204285"/>
                  <a:gd name="connsiteY963" fmla="*/ 221214 h 307090"/>
                  <a:gd name="connsiteX964" fmla="*/ 126698 w 204285"/>
                  <a:gd name="connsiteY964" fmla="*/ 220068 h 307090"/>
                  <a:gd name="connsiteX965" fmla="*/ 125552 w 204285"/>
                  <a:gd name="connsiteY965" fmla="*/ 219451 h 307090"/>
                  <a:gd name="connsiteX966" fmla="*/ 125287 w 204285"/>
                  <a:gd name="connsiteY966" fmla="*/ 220068 h 307090"/>
                  <a:gd name="connsiteX967" fmla="*/ 125287 w 204285"/>
                  <a:gd name="connsiteY967" fmla="*/ 220333 h 307090"/>
                  <a:gd name="connsiteX968" fmla="*/ 124405 w 204285"/>
                  <a:gd name="connsiteY968" fmla="*/ 220333 h 307090"/>
                  <a:gd name="connsiteX969" fmla="*/ 124405 w 204285"/>
                  <a:gd name="connsiteY969" fmla="*/ 221214 h 307090"/>
                  <a:gd name="connsiteX970" fmla="*/ 123259 w 204285"/>
                  <a:gd name="connsiteY970" fmla="*/ 221479 h 307090"/>
                  <a:gd name="connsiteX971" fmla="*/ 122642 w 204285"/>
                  <a:gd name="connsiteY971" fmla="*/ 221479 h 307090"/>
                  <a:gd name="connsiteX972" fmla="*/ 123259 w 204285"/>
                  <a:gd name="connsiteY972" fmla="*/ 222361 h 307090"/>
                  <a:gd name="connsiteX973" fmla="*/ 122642 w 204285"/>
                  <a:gd name="connsiteY973" fmla="*/ 222890 h 307090"/>
                  <a:gd name="connsiteX974" fmla="*/ 122377 w 204285"/>
                  <a:gd name="connsiteY974" fmla="*/ 222625 h 307090"/>
                  <a:gd name="connsiteX975" fmla="*/ 121761 w 204285"/>
                  <a:gd name="connsiteY975" fmla="*/ 222625 h 307090"/>
                  <a:gd name="connsiteX976" fmla="*/ 122642 w 204285"/>
                  <a:gd name="connsiteY976" fmla="*/ 223507 h 307090"/>
                  <a:gd name="connsiteX977" fmla="*/ 122906 w 204285"/>
                  <a:gd name="connsiteY977" fmla="*/ 223771 h 307090"/>
                  <a:gd name="connsiteX978" fmla="*/ 122290 w 204285"/>
                  <a:gd name="connsiteY978" fmla="*/ 224300 h 307090"/>
                  <a:gd name="connsiteX979" fmla="*/ 122025 w 204285"/>
                  <a:gd name="connsiteY979" fmla="*/ 223771 h 307090"/>
                  <a:gd name="connsiteX980" fmla="*/ 121408 w 204285"/>
                  <a:gd name="connsiteY980" fmla="*/ 224036 h 307090"/>
                  <a:gd name="connsiteX981" fmla="*/ 120791 w 204285"/>
                  <a:gd name="connsiteY981" fmla="*/ 223771 h 307090"/>
                  <a:gd name="connsiteX982" fmla="*/ 120262 w 204285"/>
                  <a:gd name="connsiteY982" fmla="*/ 223507 h 307090"/>
                  <a:gd name="connsiteX983" fmla="*/ 119644 w 204285"/>
                  <a:gd name="connsiteY983" fmla="*/ 224124 h 307090"/>
                  <a:gd name="connsiteX984" fmla="*/ 119380 w 204285"/>
                  <a:gd name="connsiteY984" fmla="*/ 223860 h 307090"/>
                  <a:gd name="connsiteX985" fmla="*/ 118498 w 204285"/>
                  <a:gd name="connsiteY985" fmla="*/ 224741 h 307090"/>
                  <a:gd name="connsiteX986" fmla="*/ 118234 w 204285"/>
                  <a:gd name="connsiteY986" fmla="*/ 223860 h 307090"/>
                  <a:gd name="connsiteX987" fmla="*/ 118498 w 204285"/>
                  <a:gd name="connsiteY987" fmla="*/ 221479 h 307090"/>
                  <a:gd name="connsiteX988" fmla="*/ 117617 w 204285"/>
                  <a:gd name="connsiteY988" fmla="*/ 219980 h 307090"/>
                  <a:gd name="connsiteX989" fmla="*/ 116735 w 204285"/>
                  <a:gd name="connsiteY989" fmla="*/ 221479 h 307090"/>
                  <a:gd name="connsiteX990" fmla="*/ 116999 w 204285"/>
                  <a:gd name="connsiteY990" fmla="*/ 222625 h 307090"/>
                  <a:gd name="connsiteX991" fmla="*/ 115853 w 204285"/>
                  <a:gd name="connsiteY991" fmla="*/ 223507 h 307090"/>
                  <a:gd name="connsiteX992" fmla="*/ 117352 w 204285"/>
                  <a:gd name="connsiteY992" fmla="*/ 223507 h 307090"/>
                  <a:gd name="connsiteX993" fmla="*/ 117088 w 204285"/>
                  <a:gd name="connsiteY993" fmla="*/ 223771 h 307090"/>
                  <a:gd name="connsiteX994" fmla="*/ 117088 w 204285"/>
                  <a:gd name="connsiteY994" fmla="*/ 224653 h 307090"/>
                  <a:gd name="connsiteX995" fmla="*/ 116470 w 204285"/>
                  <a:gd name="connsiteY995" fmla="*/ 225006 h 307090"/>
                  <a:gd name="connsiteX996" fmla="*/ 114971 w 204285"/>
                  <a:gd name="connsiteY996" fmla="*/ 224653 h 307090"/>
                  <a:gd name="connsiteX997" fmla="*/ 116118 w 204285"/>
                  <a:gd name="connsiteY997" fmla="*/ 225270 h 307090"/>
                  <a:gd name="connsiteX998" fmla="*/ 116118 w 204285"/>
                  <a:gd name="connsiteY998" fmla="*/ 225887 h 307090"/>
                  <a:gd name="connsiteX999" fmla="*/ 114971 w 204285"/>
                  <a:gd name="connsiteY999" fmla="*/ 225623 h 307090"/>
                  <a:gd name="connsiteX1000" fmla="*/ 113561 w 204285"/>
                  <a:gd name="connsiteY1000" fmla="*/ 224741 h 307090"/>
                  <a:gd name="connsiteX1001" fmla="*/ 113825 w 204285"/>
                  <a:gd name="connsiteY1001" fmla="*/ 225358 h 307090"/>
                  <a:gd name="connsiteX1002" fmla="*/ 112944 w 204285"/>
                  <a:gd name="connsiteY1002" fmla="*/ 225623 h 307090"/>
                  <a:gd name="connsiteX1003" fmla="*/ 113825 w 204285"/>
                  <a:gd name="connsiteY1003" fmla="*/ 226240 h 307090"/>
                  <a:gd name="connsiteX1004" fmla="*/ 113825 w 204285"/>
                  <a:gd name="connsiteY1004" fmla="*/ 227122 h 307090"/>
                  <a:gd name="connsiteX1005" fmla="*/ 114971 w 204285"/>
                  <a:gd name="connsiteY1005" fmla="*/ 227739 h 307090"/>
                  <a:gd name="connsiteX1006" fmla="*/ 114090 w 204285"/>
                  <a:gd name="connsiteY1006" fmla="*/ 228003 h 307090"/>
                  <a:gd name="connsiteX1007" fmla="*/ 112326 w 204285"/>
                  <a:gd name="connsiteY1007" fmla="*/ 227122 h 307090"/>
                  <a:gd name="connsiteX1008" fmla="*/ 111180 w 204285"/>
                  <a:gd name="connsiteY1008" fmla="*/ 227386 h 307090"/>
                  <a:gd name="connsiteX1009" fmla="*/ 110563 w 204285"/>
                  <a:gd name="connsiteY1009" fmla="*/ 227651 h 307090"/>
                  <a:gd name="connsiteX1010" fmla="*/ 112326 w 204285"/>
                  <a:gd name="connsiteY1010" fmla="*/ 228180 h 307090"/>
                  <a:gd name="connsiteX1011" fmla="*/ 112591 w 204285"/>
                  <a:gd name="connsiteY1011" fmla="*/ 228180 h 307090"/>
                  <a:gd name="connsiteX1012" fmla="*/ 112326 w 204285"/>
                  <a:gd name="connsiteY1012" fmla="*/ 228797 h 307090"/>
                  <a:gd name="connsiteX1013" fmla="*/ 112062 w 204285"/>
                  <a:gd name="connsiteY1013" fmla="*/ 229061 h 307090"/>
                  <a:gd name="connsiteX1014" fmla="*/ 110916 w 204285"/>
                  <a:gd name="connsiteY1014" fmla="*/ 228797 h 307090"/>
                  <a:gd name="connsiteX1015" fmla="*/ 110034 w 204285"/>
                  <a:gd name="connsiteY1015" fmla="*/ 229414 h 307090"/>
                  <a:gd name="connsiteX1016" fmla="*/ 109505 w 204285"/>
                  <a:gd name="connsiteY1016" fmla="*/ 229679 h 307090"/>
                  <a:gd name="connsiteX1017" fmla="*/ 108623 w 204285"/>
                  <a:gd name="connsiteY1017" fmla="*/ 229414 h 307090"/>
                  <a:gd name="connsiteX1018" fmla="*/ 108623 w 204285"/>
                  <a:gd name="connsiteY1018" fmla="*/ 228797 h 307090"/>
                  <a:gd name="connsiteX1019" fmla="*/ 108623 w 204285"/>
                  <a:gd name="connsiteY1019" fmla="*/ 228180 h 307090"/>
                  <a:gd name="connsiteX1020" fmla="*/ 107477 w 204285"/>
                  <a:gd name="connsiteY1020" fmla="*/ 228180 h 307090"/>
                  <a:gd name="connsiteX1021" fmla="*/ 106596 w 204285"/>
                  <a:gd name="connsiteY1021" fmla="*/ 228797 h 307090"/>
                  <a:gd name="connsiteX1022" fmla="*/ 107742 w 204285"/>
                  <a:gd name="connsiteY1022" fmla="*/ 229414 h 307090"/>
                  <a:gd name="connsiteX1023" fmla="*/ 106596 w 204285"/>
                  <a:gd name="connsiteY1023" fmla="*/ 230031 h 307090"/>
                  <a:gd name="connsiteX1024" fmla="*/ 107742 w 204285"/>
                  <a:gd name="connsiteY1024" fmla="*/ 230031 h 307090"/>
                  <a:gd name="connsiteX1025" fmla="*/ 108623 w 204285"/>
                  <a:gd name="connsiteY1025" fmla="*/ 230031 h 307090"/>
                  <a:gd name="connsiteX1026" fmla="*/ 108888 w 204285"/>
                  <a:gd name="connsiteY1026" fmla="*/ 230648 h 307090"/>
                  <a:gd name="connsiteX1027" fmla="*/ 108271 w 204285"/>
                  <a:gd name="connsiteY1027" fmla="*/ 230913 h 307090"/>
                  <a:gd name="connsiteX1028" fmla="*/ 107654 w 204285"/>
                  <a:gd name="connsiteY1028" fmla="*/ 230648 h 307090"/>
                  <a:gd name="connsiteX1029" fmla="*/ 107036 w 204285"/>
                  <a:gd name="connsiteY1029" fmla="*/ 230648 h 307090"/>
                  <a:gd name="connsiteX1030" fmla="*/ 106419 w 204285"/>
                  <a:gd name="connsiteY1030" fmla="*/ 230648 h 307090"/>
                  <a:gd name="connsiteX1031" fmla="*/ 106684 w 204285"/>
                  <a:gd name="connsiteY1031" fmla="*/ 231266 h 307090"/>
                  <a:gd name="connsiteX1032" fmla="*/ 106067 w 204285"/>
                  <a:gd name="connsiteY1032" fmla="*/ 231001 h 307090"/>
                  <a:gd name="connsiteX1033" fmla="*/ 104920 w 204285"/>
                  <a:gd name="connsiteY1033" fmla="*/ 231266 h 307090"/>
                  <a:gd name="connsiteX1034" fmla="*/ 103774 w 204285"/>
                  <a:gd name="connsiteY1034" fmla="*/ 231266 h 307090"/>
                  <a:gd name="connsiteX1035" fmla="*/ 102011 w 204285"/>
                  <a:gd name="connsiteY1035" fmla="*/ 230648 h 307090"/>
                  <a:gd name="connsiteX1036" fmla="*/ 102011 w 204285"/>
                  <a:gd name="connsiteY1036" fmla="*/ 229238 h 307090"/>
                  <a:gd name="connsiteX1037" fmla="*/ 102011 w 204285"/>
                  <a:gd name="connsiteY1037" fmla="*/ 228356 h 307090"/>
                  <a:gd name="connsiteX1038" fmla="*/ 101129 w 204285"/>
                  <a:gd name="connsiteY1038" fmla="*/ 228356 h 307090"/>
                  <a:gd name="connsiteX1039" fmla="*/ 100864 w 204285"/>
                  <a:gd name="connsiteY1039" fmla="*/ 227474 h 307090"/>
                  <a:gd name="connsiteX1040" fmla="*/ 99101 w 204285"/>
                  <a:gd name="connsiteY1040" fmla="*/ 227474 h 307090"/>
                  <a:gd name="connsiteX1041" fmla="*/ 98219 w 204285"/>
                  <a:gd name="connsiteY1041" fmla="*/ 227739 h 307090"/>
                  <a:gd name="connsiteX1042" fmla="*/ 96191 w 204285"/>
                  <a:gd name="connsiteY1042" fmla="*/ 227122 h 307090"/>
                  <a:gd name="connsiteX1043" fmla="*/ 92400 w 204285"/>
                  <a:gd name="connsiteY1043" fmla="*/ 227386 h 307090"/>
                  <a:gd name="connsiteX1044" fmla="*/ 92136 w 204285"/>
                  <a:gd name="connsiteY1044" fmla="*/ 227651 h 307090"/>
                  <a:gd name="connsiteX1045" fmla="*/ 91519 w 204285"/>
                  <a:gd name="connsiteY1045" fmla="*/ 229414 h 307090"/>
                  <a:gd name="connsiteX1046" fmla="*/ 93282 w 204285"/>
                  <a:gd name="connsiteY1046" fmla="*/ 230031 h 307090"/>
                  <a:gd name="connsiteX1047" fmla="*/ 94164 w 204285"/>
                  <a:gd name="connsiteY1047" fmla="*/ 230648 h 307090"/>
                  <a:gd name="connsiteX1048" fmla="*/ 95046 w 204285"/>
                  <a:gd name="connsiteY1048" fmla="*/ 232412 h 307090"/>
                  <a:gd name="connsiteX1049" fmla="*/ 95927 w 204285"/>
                  <a:gd name="connsiteY1049" fmla="*/ 231795 h 307090"/>
                  <a:gd name="connsiteX1050" fmla="*/ 95927 w 204285"/>
                  <a:gd name="connsiteY1050" fmla="*/ 231178 h 307090"/>
                  <a:gd name="connsiteX1051" fmla="*/ 97073 w 204285"/>
                  <a:gd name="connsiteY1051" fmla="*/ 230913 h 307090"/>
                  <a:gd name="connsiteX1052" fmla="*/ 97955 w 204285"/>
                  <a:gd name="connsiteY1052" fmla="*/ 230296 h 307090"/>
                  <a:gd name="connsiteX1053" fmla="*/ 98837 w 204285"/>
                  <a:gd name="connsiteY1053" fmla="*/ 230296 h 307090"/>
                  <a:gd name="connsiteX1054" fmla="*/ 99718 w 204285"/>
                  <a:gd name="connsiteY1054" fmla="*/ 230560 h 307090"/>
                  <a:gd name="connsiteX1055" fmla="*/ 100335 w 204285"/>
                  <a:gd name="connsiteY1055" fmla="*/ 231442 h 307090"/>
                  <a:gd name="connsiteX1056" fmla="*/ 100600 w 204285"/>
                  <a:gd name="connsiteY1056" fmla="*/ 233470 h 307090"/>
                  <a:gd name="connsiteX1057" fmla="*/ 101482 w 204285"/>
                  <a:gd name="connsiteY1057" fmla="*/ 232588 h 307090"/>
                  <a:gd name="connsiteX1058" fmla="*/ 101217 w 204285"/>
                  <a:gd name="connsiteY1058" fmla="*/ 231442 h 307090"/>
                  <a:gd name="connsiteX1059" fmla="*/ 101834 w 204285"/>
                  <a:gd name="connsiteY1059" fmla="*/ 231706 h 307090"/>
                  <a:gd name="connsiteX1060" fmla="*/ 102452 w 204285"/>
                  <a:gd name="connsiteY1060" fmla="*/ 231442 h 307090"/>
                  <a:gd name="connsiteX1061" fmla="*/ 102452 w 204285"/>
                  <a:gd name="connsiteY1061" fmla="*/ 232324 h 307090"/>
                  <a:gd name="connsiteX1062" fmla="*/ 102452 w 204285"/>
                  <a:gd name="connsiteY1062" fmla="*/ 232588 h 307090"/>
                  <a:gd name="connsiteX1063" fmla="*/ 102716 w 204285"/>
                  <a:gd name="connsiteY1063" fmla="*/ 233470 h 307090"/>
                  <a:gd name="connsiteX1064" fmla="*/ 105361 w 204285"/>
                  <a:gd name="connsiteY1064" fmla="*/ 234087 h 307090"/>
                  <a:gd name="connsiteX1065" fmla="*/ 105361 w 204285"/>
                  <a:gd name="connsiteY1065" fmla="*/ 234704 h 307090"/>
                  <a:gd name="connsiteX1066" fmla="*/ 104215 w 204285"/>
                  <a:gd name="connsiteY1066" fmla="*/ 235321 h 307090"/>
                  <a:gd name="connsiteX1067" fmla="*/ 102716 w 204285"/>
                  <a:gd name="connsiteY1067" fmla="*/ 234704 h 307090"/>
                  <a:gd name="connsiteX1068" fmla="*/ 102716 w 204285"/>
                  <a:gd name="connsiteY1068" fmla="*/ 234969 h 307090"/>
                  <a:gd name="connsiteX1069" fmla="*/ 101834 w 204285"/>
                  <a:gd name="connsiteY1069" fmla="*/ 235850 h 307090"/>
                  <a:gd name="connsiteX1070" fmla="*/ 98925 w 204285"/>
                  <a:gd name="connsiteY1070" fmla="*/ 234352 h 307090"/>
                  <a:gd name="connsiteX1071" fmla="*/ 98043 w 204285"/>
                  <a:gd name="connsiteY1071" fmla="*/ 234616 h 307090"/>
                  <a:gd name="connsiteX1072" fmla="*/ 96632 w 204285"/>
                  <a:gd name="connsiteY1072" fmla="*/ 233999 h 307090"/>
                  <a:gd name="connsiteX1073" fmla="*/ 95486 w 204285"/>
                  <a:gd name="connsiteY1073" fmla="*/ 234616 h 307090"/>
                  <a:gd name="connsiteX1074" fmla="*/ 95486 w 204285"/>
                  <a:gd name="connsiteY1074" fmla="*/ 235233 h 307090"/>
                  <a:gd name="connsiteX1075" fmla="*/ 96632 w 204285"/>
                  <a:gd name="connsiteY1075" fmla="*/ 235498 h 307090"/>
                  <a:gd name="connsiteX1076" fmla="*/ 98396 w 204285"/>
                  <a:gd name="connsiteY1076" fmla="*/ 235762 h 307090"/>
                  <a:gd name="connsiteX1077" fmla="*/ 99542 w 204285"/>
                  <a:gd name="connsiteY1077" fmla="*/ 236027 h 307090"/>
                  <a:gd name="connsiteX1078" fmla="*/ 101923 w 204285"/>
                  <a:gd name="connsiteY1078" fmla="*/ 236027 h 307090"/>
                  <a:gd name="connsiteX1079" fmla="*/ 101041 w 204285"/>
                  <a:gd name="connsiteY1079" fmla="*/ 236908 h 307090"/>
                  <a:gd name="connsiteX1080" fmla="*/ 102187 w 204285"/>
                  <a:gd name="connsiteY1080" fmla="*/ 237173 h 307090"/>
                  <a:gd name="connsiteX1081" fmla="*/ 101923 w 204285"/>
                  <a:gd name="connsiteY1081" fmla="*/ 236908 h 307090"/>
                  <a:gd name="connsiteX1082" fmla="*/ 102187 w 204285"/>
                  <a:gd name="connsiteY1082" fmla="*/ 237173 h 307090"/>
                  <a:gd name="connsiteX1083" fmla="*/ 101041 w 204285"/>
                  <a:gd name="connsiteY1083" fmla="*/ 237173 h 307090"/>
                  <a:gd name="connsiteX1084" fmla="*/ 101041 w 204285"/>
                  <a:gd name="connsiteY1084" fmla="*/ 238055 h 307090"/>
                  <a:gd name="connsiteX1085" fmla="*/ 102187 w 204285"/>
                  <a:gd name="connsiteY1085" fmla="*/ 239201 h 307090"/>
                  <a:gd name="connsiteX1086" fmla="*/ 102187 w 204285"/>
                  <a:gd name="connsiteY1086" fmla="*/ 238055 h 307090"/>
                  <a:gd name="connsiteX1087" fmla="*/ 103069 w 204285"/>
                  <a:gd name="connsiteY1087" fmla="*/ 238055 h 307090"/>
                  <a:gd name="connsiteX1088" fmla="*/ 102187 w 204285"/>
                  <a:gd name="connsiteY1088" fmla="*/ 239201 h 307090"/>
                  <a:gd name="connsiteX1089" fmla="*/ 101305 w 204285"/>
                  <a:gd name="connsiteY1089" fmla="*/ 239201 h 307090"/>
                  <a:gd name="connsiteX1090" fmla="*/ 102452 w 204285"/>
                  <a:gd name="connsiteY1090" fmla="*/ 240347 h 307090"/>
                  <a:gd name="connsiteX1091" fmla="*/ 103333 w 204285"/>
                  <a:gd name="connsiteY1091" fmla="*/ 239465 h 307090"/>
                  <a:gd name="connsiteX1092" fmla="*/ 103598 w 204285"/>
                  <a:gd name="connsiteY1092" fmla="*/ 240612 h 307090"/>
                  <a:gd name="connsiteX1093" fmla="*/ 103598 w 204285"/>
                  <a:gd name="connsiteY1093" fmla="*/ 241493 h 307090"/>
                  <a:gd name="connsiteX1094" fmla="*/ 104479 w 204285"/>
                  <a:gd name="connsiteY1094" fmla="*/ 241758 h 307090"/>
                  <a:gd name="connsiteX1095" fmla="*/ 104479 w 204285"/>
                  <a:gd name="connsiteY1095" fmla="*/ 242022 h 307090"/>
                  <a:gd name="connsiteX1096" fmla="*/ 104215 w 204285"/>
                  <a:gd name="connsiteY1096" fmla="*/ 242551 h 307090"/>
                  <a:gd name="connsiteX1097" fmla="*/ 102716 w 204285"/>
                  <a:gd name="connsiteY1097" fmla="*/ 242551 h 307090"/>
                  <a:gd name="connsiteX1098" fmla="*/ 101305 w 204285"/>
                  <a:gd name="connsiteY1098" fmla="*/ 240523 h 307090"/>
                  <a:gd name="connsiteX1099" fmla="*/ 100424 w 204285"/>
                  <a:gd name="connsiteY1099" fmla="*/ 240523 h 307090"/>
                  <a:gd name="connsiteX1100" fmla="*/ 101570 w 204285"/>
                  <a:gd name="connsiteY1100" fmla="*/ 241405 h 307090"/>
                  <a:gd name="connsiteX1101" fmla="*/ 101570 w 204285"/>
                  <a:gd name="connsiteY1101" fmla="*/ 241670 h 307090"/>
                  <a:gd name="connsiteX1102" fmla="*/ 101570 w 204285"/>
                  <a:gd name="connsiteY1102" fmla="*/ 242816 h 307090"/>
                  <a:gd name="connsiteX1103" fmla="*/ 102716 w 204285"/>
                  <a:gd name="connsiteY1103" fmla="*/ 242816 h 307090"/>
                  <a:gd name="connsiteX1104" fmla="*/ 102716 w 204285"/>
                  <a:gd name="connsiteY1104" fmla="*/ 243697 h 307090"/>
                  <a:gd name="connsiteX1105" fmla="*/ 102099 w 204285"/>
                  <a:gd name="connsiteY1105" fmla="*/ 243080 h 307090"/>
                  <a:gd name="connsiteX1106" fmla="*/ 102716 w 204285"/>
                  <a:gd name="connsiteY1106" fmla="*/ 243697 h 307090"/>
                  <a:gd name="connsiteX1107" fmla="*/ 102981 w 204285"/>
                  <a:gd name="connsiteY1107" fmla="*/ 244844 h 307090"/>
                  <a:gd name="connsiteX1108" fmla="*/ 102363 w 204285"/>
                  <a:gd name="connsiteY1108" fmla="*/ 245461 h 307090"/>
                  <a:gd name="connsiteX1109" fmla="*/ 102363 w 204285"/>
                  <a:gd name="connsiteY1109" fmla="*/ 244315 h 307090"/>
                  <a:gd name="connsiteX1110" fmla="*/ 102363 w 204285"/>
                  <a:gd name="connsiteY1110" fmla="*/ 244050 h 307090"/>
                  <a:gd name="connsiteX1111" fmla="*/ 101746 w 204285"/>
                  <a:gd name="connsiteY1111" fmla="*/ 243786 h 307090"/>
                  <a:gd name="connsiteX1112" fmla="*/ 101746 w 204285"/>
                  <a:gd name="connsiteY1112" fmla="*/ 244932 h 307090"/>
                  <a:gd name="connsiteX1113" fmla="*/ 101746 w 204285"/>
                  <a:gd name="connsiteY1113" fmla="*/ 245549 h 307090"/>
                  <a:gd name="connsiteX1114" fmla="*/ 100864 w 204285"/>
                  <a:gd name="connsiteY1114" fmla="*/ 246166 h 307090"/>
                  <a:gd name="connsiteX1115" fmla="*/ 102011 w 204285"/>
                  <a:gd name="connsiteY1115" fmla="*/ 246166 h 307090"/>
                  <a:gd name="connsiteX1116" fmla="*/ 102892 w 204285"/>
                  <a:gd name="connsiteY1116" fmla="*/ 246783 h 307090"/>
                  <a:gd name="connsiteX1117" fmla="*/ 103510 w 204285"/>
                  <a:gd name="connsiteY1117" fmla="*/ 246519 h 307090"/>
                  <a:gd name="connsiteX1118" fmla="*/ 104127 w 204285"/>
                  <a:gd name="connsiteY1118" fmla="*/ 246783 h 307090"/>
                  <a:gd name="connsiteX1119" fmla="*/ 103774 w 204285"/>
                  <a:gd name="connsiteY1119" fmla="*/ 247665 h 307090"/>
                  <a:gd name="connsiteX1120" fmla="*/ 103157 w 204285"/>
                  <a:gd name="connsiteY1120" fmla="*/ 247929 h 307090"/>
                  <a:gd name="connsiteX1121" fmla="*/ 103157 w 204285"/>
                  <a:gd name="connsiteY1121" fmla="*/ 248547 h 307090"/>
                  <a:gd name="connsiteX1122" fmla="*/ 103157 w 204285"/>
                  <a:gd name="connsiteY1122" fmla="*/ 249164 h 307090"/>
                  <a:gd name="connsiteX1123" fmla="*/ 102540 w 204285"/>
                  <a:gd name="connsiteY1123" fmla="*/ 248282 h 307090"/>
                  <a:gd name="connsiteX1124" fmla="*/ 102275 w 204285"/>
                  <a:gd name="connsiteY1124" fmla="*/ 248547 h 307090"/>
                  <a:gd name="connsiteX1125" fmla="*/ 101658 w 204285"/>
                  <a:gd name="connsiteY1125" fmla="*/ 248811 h 307090"/>
                  <a:gd name="connsiteX1126" fmla="*/ 101394 w 204285"/>
                  <a:gd name="connsiteY1126" fmla="*/ 247929 h 307090"/>
                  <a:gd name="connsiteX1127" fmla="*/ 101923 w 204285"/>
                  <a:gd name="connsiteY1127" fmla="*/ 247929 h 307090"/>
                  <a:gd name="connsiteX1128" fmla="*/ 102363 w 204285"/>
                  <a:gd name="connsiteY1128" fmla="*/ 247400 h 307090"/>
                  <a:gd name="connsiteX1129" fmla="*/ 99718 w 204285"/>
                  <a:gd name="connsiteY1129" fmla="*/ 245902 h 307090"/>
                  <a:gd name="connsiteX1130" fmla="*/ 99718 w 204285"/>
                  <a:gd name="connsiteY1130" fmla="*/ 244755 h 307090"/>
                  <a:gd name="connsiteX1131" fmla="*/ 99101 w 204285"/>
                  <a:gd name="connsiteY1131" fmla="*/ 245902 h 307090"/>
                  <a:gd name="connsiteX1132" fmla="*/ 99983 w 204285"/>
                  <a:gd name="connsiteY1132" fmla="*/ 247048 h 307090"/>
                  <a:gd name="connsiteX1133" fmla="*/ 101129 w 204285"/>
                  <a:gd name="connsiteY1133" fmla="*/ 247048 h 307090"/>
                  <a:gd name="connsiteX1134" fmla="*/ 101129 w 204285"/>
                  <a:gd name="connsiteY1134" fmla="*/ 247929 h 307090"/>
                  <a:gd name="connsiteX1135" fmla="*/ 100600 w 204285"/>
                  <a:gd name="connsiteY1135" fmla="*/ 248459 h 307090"/>
                  <a:gd name="connsiteX1136" fmla="*/ 99983 w 204285"/>
                  <a:gd name="connsiteY1136" fmla="*/ 248194 h 307090"/>
                  <a:gd name="connsiteX1137" fmla="*/ 99366 w 204285"/>
                  <a:gd name="connsiteY1137" fmla="*/ 247577 h 307090"/>
                  <a:gd name="connsiteX1138" fmla="*/ 99366 w 204285"/>
                  <a:gd name="connsiteY1138" fmla="*/ 248194 h 307090"/>
                  <a:gd name="connsiteX1139" fmla="*/ 95839 w 204285"/>
                  <a:gd name="connsiteY1139" fmla="*/ 247929 h 307090"/>
                  <a:gd name="connsiteX1140" fmla="*/ 100247 w 204285"/>
                  <a:gd name="connsiteY1140" fmla="*/ 251104 h 307090"/>
                  <a:gd name="connsiteX1141" fmla="*/ 101658 w 204285"/>
                  <a:gd name="connsiteY1141" fmla="*/ 251368 h 307090"/>
                  <a:gd name="connsiteX1142" fmla="*/ 101041 w 204285"/>
                  <a:gd name="connsiteY1142" fmla="*/ 251104 h 307090"/>
                  <a:gd name="connsiteX1143" fmla="*/ 98396 w 204285"/>
                  <a:gd name="connsiteY1143" fmla="*/ 249605 h 307090"/>
                  <a:gd name="connsiteX1144" fmla="*/ 96897 w 204285"/>
                  <a:gd name="connsiteY1144" fmla="*/ 248459 h 307090"/>
                  <a:gd name="connsiteX1145" fmla="*/ 97779 w 204285"/>
                  <a:gd name="connsiteY1145" fmla="*/ 248459 h 307090"/>
                  <a:gd name="connsiteX1146" fmla="*/ 99806 w 204285"/>
                  <a:gd name="connsiteY1146" fmla="*/ 249957 h 307090"/>
                  <a:gd name="connsiteX1147" fmla="*/ 100688 w 204285"/>
                  <a:gd name="connsiteY1147" fmla="*/ 250222 h 307090"/>
                  <a:gd name="connsiteX1148" fmla="*/ 102452 w 204285"/>
                  <a:gd name="connsiteY1148" fmla="*/ 251104 h 307090"/>
                  <a:gd name="connsiteX1149" fmla="*/ 103333 w 204285"/>
                  <a:gd name="connsiteY1149" fmla="*/ 250839 h 307090"/>
                  <a:gd name="connsiteX1150" fmla="*/ 103598 w 204285"/>
                  <a:gd name="connsiteY1150" fmla="*/ 251721 h 307090"/>
                  <a:gd name="connsiteX1151" fmla="*/ 102452 w 204285"/>
                  <a:gd name="connsiteY1151" fmla="*/ 251721 h 307090"/>
                  <a:gd name="connsiteX1152" fmla="*/ 103069 w 204285"/>
                  <a:gd name="connsiteY1152" fmla="*/ 251985 h 307090"/>
                  <a:gd name="connsiteX1153" fmla="*/ 103686 w 204285"/>
                  <a:gd name="connsiteY1153" fmla="*/ 252250 h 307090"/>
                  <a:gd name="connsiteX1154" fmla="*/ 103421 w 204285"/>
                  <a:gd name="connsiteY1154" fmla="*/ 252867 h 307090"/>
                  <a:gd name="connsiteX1155" fmla="*/ 102540 w 204285"/>
                  <a:gd name="connsiteY1155" fmla="*/ 252250 h 307090"/>
                  <a:gd name="connsiteX1156" fmla="*/ 102540 w 204285"/>
                  <a:gd name="connsiteY1156" fmla="*/ 252867 h 307090"/>
                  <a:gd name="connsiteX1157" fmla="*/ 101658 w 204285"/>
                  <a:gd name="connsiteY1157" fmla="*/ 252867 h 307090"/>
                  <a:gd name="connsiteX1158" fmla="*/ 102804 w 204285"/>
                  <a:gd name="connsiteY1158" fmla="*/ 253484 h 307090"/>
                  <a:gd name="connsiteX1159" fmla="*/ 101041 w 204285"/>
                  <a:gd name="connsiteY1159" fmla="*/ 254630 h 307090"/>
                  <a:gd name="connsiteX1160" fmla="*/ 100776 w 204285"/>
                  <a:gd name="connsiteY1160" fmla="*/ 253484 h 307090"/>
                  <a:gd name="connsiteX1161" fmla="*/ 99895 w 204285"/>
                  <a:gd name="connsiteY1161" fmla="*/ 254630 h 307090"/>
                  <a:gd name="connsiteX1162" fmla="*/ 100776 w 204285"/>
                  <a:gd name="connsiteY1162" fmla="*/ 254630 h 307090"/>
                  <a:gd name="connsiteX1163" fmla="*/ 100776 w 204285"/>
                  <a:gd name="connsiteY1163" fmla="*/ 255159 h 307090"/>
                  <a:gd name="connsiteX1164" fmla="*/ 101658 w 204285"/>
                  <a:gd name="connsiteY1164" fmla="*/ 255424 h 307090"/>
                  <a:gd name="connsiteX1165" fmla="*/ 102804 w 204285"/>
                  <a:gd name="connsiteY1165" fmla="*/ 255159 h 307090"/>
                  <a:gd name="connsiteX1166" fmla="*/ 103686 w 204285"/>
                  <a:gd name="connsiteY1166" fmla="*/ 255776 h 307090"/>
                  <a:gd name="connsiteX1167" fmla="*/ 103069 w 204285"/>
                  <a:gd name="connsiteY1167" fmla="*/ 257275 h 307090"/>
                  <a:gd name="connsiteX1168" fmla="*/ 103069 w 204285"/>
                  <a:gd name="connsiteY1168" fmla="*/ 257540 h 307090"/>
                  <a:gd name="connsiteX1169" fmla="*/ 103333 w 204285"/>
                  <a:gd name="connsiteY1169" fmla="*/ 258157 h 307090"/>
                  <a:gd name="connsiteX1170" fmla="*/ 103333 w 204285"/>
                  <a:gd name="connsiteY1170" fmla="*/ 258686 h 307090"/>
                  <a:gd name="connsiteX1171" fmla="*/ 103333 w 204285"/>
                  <a:gd name="connsiteY1171" fmla="*/ 259568 h 307090"/>
                  <a:gd name="connsiteX1172" fmla="*/ 102452 w 204285"/>
                  <a:gd name="connsiteY1172" fmla="*/ 259832 h 307090"/>
                  <a:gd name="connsiteX1173" fmla="*/ 101834 w 204285"/>
                  <a:gd name="connsiteY1173" fmla="*/ 258950 h 307090"/>
                  <a:gd name="connsiteX1174" fmla="*/ 101305 w 204285"/>
                  <a:gd name="connsiteY1174" fmla="*/ 259568 h 307090"/>
                  <a:gd name="connsiteX1175" fmla="*/ 101834 w 204285"/>
                  <a:gd name="connsiteY1175" fmla="*/ 260449 h 307090"/>
                  <a:gd name="connsiteX1176" fmla="*/ 101305 w 204285"/>
                  <a:gd name="connsiteY1176" fmla="*/ 260714 h 307090"/>
                  <a:gd name="connsiteX1177" fmla="*/ 100688 w 204285"/>
                  <a:gd name="connsiteY1177" fmla="*/ 260978 h 307090"/>
                  <a:gd name="connsiteX1178" fmla="*/ 100424 w 204285"/>
                  <a:gd name="connsiteY1178" fmla="*/ 260714 h 307090"/>
                  <a:gd name="connsiteX1179" fmla="*/ 99806 w 204285"/>
                  <a:gd name="connsiteY1179" fmla="*/ 260714 h 307090"/>
                  <a:gd name="connsiteX1180" fmla="*/ 99189 w 204285"/>
                  <a:gd name="connsiteY1180" fmla="*/ 260978 h 307090"/>
                  <a:gd name="connsiteX1181" fmla="*/ 100953 w 204285"/>
                  <a:gd name="connsiteY1181" fmla="*/ 262125 h 307090"/>
                  <a:gd name="connsiteX1182" fmla="*/ 100424 w 204285"/>
                  <a:gd name="connsiteY1182" fmla="*/ 262389 h 307090"/>
                  <a:gd name="connsiteX1183" fmla="*/ 99542 w 204285"/>
                  <a:gd name="connsiteY1183" fmla="*/ 262125 h 307090"/>
                  <a:gd name="connsiteX1184" fmla="*/ 100159 w 204285"/>
                  <a:gd name="connsiteY1184" fmla="*/ 262742 h 307090"/>
                  <a:gd name="connsiteX1185" fmla="*/ 99806 w 204285"/>
                  <a:gd name="connsiteY1185" fmla="*/ 264505 h 307090"/>
                  <a:gd name="connsiteX1186" fmla="*/ 99806 w 204285"/>
                  <a:gd name="connsiteY1186" fmla="*/ 266268 h 307090"/>
                  <a:gd name="connsiteX1187" fmla="*/ 100688 w 204285"/>
                  <a:gd name="connsiteY1187" fmla="*/ 265387 h 307090"/>
                  <a:gd name="connsiteX1188" fmla="*/ 101834 w 204285"/>
                  <a:gd name="connsiteY1188" fmla="*/ 265916 h 307090"/>
                  <a:gd name="connsiteX1189" fmla="*/ 102099 w 204285"/>
                  <a:gd name="connsiteY1189" fmla="*/ 266533 h 307090"/>
                  <a:gd name="connsiteX1190" fmla="*/ 102716 w 204285"/>
                  <a:gd name="connsiteY1190" fmla="*/ 267150 h 307090"/>
                  <a:gd name="connsiteX1191" fmla="*/ 103333 w 204285"/>
                  <a:gd name="connsiteY1191" fmla="*/ 267679 h 307090"/>
                  <a:gd name="connsiteX1192" fmla="*/ 102716 w 204285"/>
                  <a:gd name="connsiteY1192" fmla="*/ 267944 h 307090"/>
                  <a:gd name="connsiteX1193" fmla="*/ 102452 w 204285"/>
                  <a:gd name="connsiteY1193" fmla="*/ 267679 h 307090"/>
                  <a:gd name="connsiteX1194" fmla="*/ 102187 w 204285"/>
                  <a:gd name="connsiteY1194" fmla="*/ 267150 h 307090"/>
                  <a:gd name="connsiteX1195" fmla="*/ 102187 w 204285"/>
                  <a:gd name="connsiteY1195" fmla="*/ 267679 h 307090"/>
                  <a:gd name="connsiteX1196" fmla="*/ 101305 w 204285"/>
                  <a:gd name="connsiteY1196" fmla="*/ 267944 h 307090"/>
                  <a:gd name="connsiteX1197" fmla="*/ 100159 w 204285"/>
                  <a:gd name="connsiteY1197" fmla="*/ 267679 h 307090"/>
                  <a:gd name="connsiteX1198" fmla="*/ 100424 w 204285"/>
                  <a:gd name="connsiteY1198" fmla="*/ 268296 h 307090"/>
                  <a:gd name="connsiteX1199" fmla="*/ 100159 w 204285"/>
                  <a:gd name="connsiteY1199" fmla="*/ 268296 h 307090"/>
                  <a:gd name="connsiteX1200" fmla="*/ 100159 w 204285"/>
                  <a:gd name="connsiteY1200" fmla="*/ 268914 h 307090"/>
                  <a:gd name="connsiteX1201" fmla="*/ 100159 w 204285"/>
                  <a:gd name="connsiteY1201" fmla="*/ 269178 h 307090"/>
                  <a:gd name="connsiteX1202" fmla="*/ 100424 w 204285"/>
                  <a:gd name="connsiteY1202" fmla="*/ 269443 h 307090"/>
                  <a:gd name="connsiteX1203" fmla="*/ 100424 w 204285"/>
                  <a:gd name="connsiteY1203" fmla="*/ 270060 h 307090"/>
                  <a:gd name="connsiteX1204" fmla="*/ 100424 w 204285"/>
                  <a:gd name="connsiteY1204" fmla="*/ 271206 h 307090"/>
                  <a:gd name="connsiteX1205" fmla="*/ 100159 w 204285"/>
                  <a:gd name="connsiteY1205" fmla="*/ 272352 h 307090"/>
                  <a:gd name="connsiteX1206" fmla="*/ 99542 w 204285"/>
                  <a:gd name="connsiteY1206" fmla="*/ 273234 h 307090"/>
                  <a:gd name="connsiteX1207" fmla="*/ 100688 w 204285"/>
                  <a:gd name="connsiteY1207" fmla="*/ 273234 h 307090"/>
                  <a:gd name="connsiteX1208" fmla="*/ 101834 w 204285"/>
                  <a:gd name="connsiteY1208" fmla="*/ 272352 h 307090"/>
                  <a:gd name="connsiteX1209" fmla="*/ 102452 w 204285"/>
                  <a:gd name="connsiteY1209" fmla="*/ 272969 h 307090"/>
                  <a:gd name="connsiteX1210" fmla="*/ 102187 w 204285"/>
                  <a:gd name="connsiteY1210" fmla="*/ 273586 h 307090"/>
                  <a:gd name="connsiteX1211" fmla="*/ 100688 w 204285"/>
                  <a:gd name="connsiteY1211" fmla="*/ 273586 h 307090"/>
                  <a:gd name="connsiteX1212" fmla="*/ 99542 w 204285"/>
                  <a:gd name="connsiteY1212" fmla="*/ 273586 h 307090"/>
                  <a:gd name="connsiteX1213" fmla="*/ 99277 w 204285"/>
                  <a:gd name="connsiteY1213" fmla="*/ 274115 h 307090"/>
                  <a:gd name="connsiteX1214" fmla="*/ 98131 w 204285"/>
                  <a:gd name="connsiteY1214" fmla="*/ 274380 h 307090"/>
                  <a:gd name="connsiteX1215" fmla="*/ 99895 w 204285"/>
                  <a:gd name="connsiteY1215" fmla="*/ 275879 h 307090"/>
                  <a:gd name="connsiteX1216" fmla="*/ 98484 w 204285"/>
                  <a:gd name="connsiteY1216" fmla="*/ 275614 h 307090"/>
                  <a:gd name="connsiteX1217" fmla="*/ 97338 w 204285"/>
                  <a:gd name="connsiteY1217" fmla="*/ 276761 h 307090"/>
                  <a:gd name="connsiteX1218" fmla="*/ 97602 w 204285"/>
                  <a:gd name="connsiteY1218" fmla="*/ 277907 h 307090"/>
                  <a:gd name="connsiteX1219" fmla="*/ 97602 w 204285"/>
                  <a:gd name="connsiteY1219" fmla="*/ 279053 h 307090"/>
                  <a:gd name="connsiteX1220" fmla="*/ 97338 w 204285"/>
                  <a:gd name="connsiteY1220" fmla="*/ 279317 h 307090"/>
                  <a:gd name="connsiteX1221" fmla="*/ 96456 w 204285"/>
                  <a:gd name="connsiteY1221" fmla="*/ 279053 h 307090"/>
                  <a:gd name="connsiteX1222" fmla="*/ 96191 w 204285"/>
                  <a:gd name="connsiteY1222" fmla="*/ 279670 h 307090"/>
                  <a:gd name="connsiteX1223" fmla="*/ 96191 w 204285"/>
                  <a:gd name="connsiteY1223" fmla="*/ 280287 h 307090"/>
                  <a:gd name="connsiteX1224" fmla="*/ 96191 w 204285"/>
                  <a:gd name="connsiteY1224" fmla="*/ 280904 h 307090"/>
                  <a:gd name="connsiteX1225" fmla="*/ 95839 w 204285"/>
                  <a:gd name="connsiteY1225" fmla="*/ 281786 h 307090"/>
                  <a:gd name="connsiteX1226" fmla="*/ 95222 w 204285"/>
                  <a:gd name="connsiteY1226" fmla="*/ 282051 h 307090"/>
                  <a:gd name="connsiteX1227" fmla="*/ 94340 w 204285"/>
                  <a:gd name="connsiteY1227" fmla="*/ 283549 h 307090"/>
                  <a:gd name="connsiteX1228" fmla="*/ 94340 w 204285"/>
                  <a:gd name="connsiteY1228" fmla="*/ 285842 h 307090"/>
                  <a:gd name="connsiteX1229" fmla="*/ 94076 w 204285"/>
                  <a:gd name="connsiteY1229" fmla="*/ 287341 h 307090"/>
                  <a:gd name="connsiteX1230" fmla="*/ 93547 w 204285"/>
                  <a:gd name="connsiteY1230" fmla="*/ 287341 h 307090"/>
                  <a:gd name="connsiteX1231" fmla="*/ 92665 w 204285"/>
                  <a:gd name="connsiteY1231" fmla="*/ 288487 h 307090"/>
                  <a:gd name="connsiteX1232" fmla="*/ 91166 w 204285"/>
                  <a:gd name="connsiteY1232" fmla="*/ 289633 h 307090"/>
                  <a:gd name="connsiteX1233" fmla="*/ 90549 w 204285"/>
                  <a:gd name="connsiteY1233" fmla="*/ 289104 h 307090"/>
                  <a:gd name="connsiteX1234" fmla="*/ 89932 w 204285"/>
                  <a:gd name="connsiteY1234" fmla="*/ 289369 h 307090"/>
                  <a:gd name="connsiteX1235" fmla="*/ 90549 w 204285"/>
                  <a:gd name="connsiteY1235" fmla="*/ 288487 h 307090"/>
                  <a:gd name="connsiteX1236" fmla="*/ 90813 w 204285"/>
                  <a:gd name="connsiteY1236" fmla="*/ 288487 h 307090"/>
                  <a:gd name="connsiteX1237" fmla="*/ 90813 w 204285"/>
                  <a:gd name="connsiteY1237" fmla="*/ 287870 h 307090"/>
                  <a:gd name="connsiteX1238" fmla="*/ 90284 w 204285"/>
                  <a:gd name="connsiteY1238" fmla="*/ 287605 h 307090"/>
                  <a:gd name="connsiteX1239" fmla="*/ 89667 w 204285"/>
                  <a:gd name="connsiteY1239" fmla="*/ 287870 h 307090"/>
                  <a:gd name="connsiteX1240" fmla="*/ 89667 w 204285"/>
                  <a:gd name="connsiteY1240" fmla="*/ 288487 h 307090"/>
                  <a:gd name="connsiteX1241" fmla="*/ 89050 w 204285"/>
                  <a:gd name="connsiteY1241" fmla="*/ 288222 h 307090"/>
                  <a:gd name="connsiteX1242" fmla="*/ 88168 w 204285"/>
                  <a:gd name="connsiteY1242" fmla="*/ 287958 h 307090"/>
                  <a:gd name="connsiteX1243" fmla="*/ 87287 w 204285"/>
                  <a:gd name="connsiteY1243" fmla="*/ 287958 h 307090"/>
                  <a:gd name="connsiteX1244" fmla="*/ 87551 w 204285"/>
                  <a:gd name="connsiteY1244" fmla="*/ 287341 h 307090"/>
                  <a:gd name="connsiteX1245" fmla="*/ 85259 w 204285"/>
                  <a:gd name="connsiteY1245" fmla="*/ 287958 h 307090"/>
                  <a:gd name="connsiteX1246" fmla="*/ 84641 w 204285"/>
                  <a:gd name="connsiteY1246" fmla="*/ 287958 h 307090"/>
                  <a:gd name="connsiteX1247" fmla="*/ 84024 w 204285"/>
                  <a:gd name="connsiteY1247" fmla="*/ 287341 h 307090"/>
                  <a:gd name="connsiteX1248" fmla="*/ 82525 w 204285"/>
                  <a:gd name="connsiteY1248" fmla="*/ 287341 h 307090"/>
                  <a:gd name="connsiteX1249" fmla="*/ 81644 w 204285"/>
                  <a:gd name="connsiteY1249" fmla="*/ 287076 h 307090"/>
                  <a:gd name="connsiteX1250" fmla="*/ 79881 w 204285"/>
                  <a:gd name="connsiteY1250" fmla="*/ 287076 h 307090"/>
                  <a:gd name="connsiteX1251" fmla="*/ 78734 w 204285"/>
                  <a:gd name="connsiteY1251" fmla="*/ 287341 h 307090"/>
                  <a:gd name="connsiteX1252" fmla="*/ 77588 w 204285"/>
                  <a:gd name="connsiteY1252" fmla="*/ 287958 h 307090"/>
                  <a:gd name="connsiteX1253" fmla="*/ 76177 w 204285"/>
                  <a:gd name="connsiteY1253" fmla="*/ 288222 h 307090"/>
                  <a:gd name="connsiteX1254" fmla="*/ 75560 w 204285"/>
                  <a:gd name="connsiteY1254" fmla="*/ 289104 h 307090"/>
                  <a:gd name="connsiteX1255" fmla="*/ 74149 w 204285"/>
                  <a:gd name="connsiteY1255" fmla="*/ 289369 h 307090"/>
                  <a:gd name="connsiteX1256" fmla="*/ 73268 w 204285"/>
                  <a:gd name="connsiteY1256" fmla="*/ 288751 h 307090"/>
                  <a:gd name="connsiteX1257" fmla="*/ 71504 w 204285"/>
                  <a:gd name="connsiteY1257" fmla="*/ 288134 h 307090"/>
                  <a:gd name="connsiteX1258" fmla="*/ 70094 w 204285"/>
                  <a:gd name="connsiteY1258" fmla="*/ 287870 h 307090"/>
                  <a:gd name="connsiteX1259" fmla="*/ 70358 w 204285"/>
                  <a:gd name="connsiteY1259" fmla="*/ 289016 h 307090"/>
                  <a:gd name="connsiteX1260" fmla="*/ 72386 w 204285"/>
                  <a:gd name="connsiteY1260" fmla="*/ 290779 h 307090"/>
                  <a:gd name="connsiteX1261" fmla="*/ 70887 w 204285"/>
                  <a:gd name="connsiteY1261" fmla="*/ 291396 h 307090"/>
                  <a:gd name="connsiteX1262" fmla="*/ 70270 w 204285"/>
                  <a:gd name="connsiteY1262" fmla="*/ 290779 h 307090"/>
                  <a:gd name="connsiteX1263" fmla="*/ 70270 w 204285"/>
                  <a:gd name="connsiteY1263" fmla="*/ 291396 h 307090"/>
                  <a:gd name="connsiteX1264" fmla="*/ 69653 w 204285"/>
                  <a:gd name="connsiteY1264" fmla="*/ 290779 h 307090"/>
                  <a:gd name="connsiteX1265" fmla="*/ 69653 w 204285"/>
                  <a:gd name="connsiteY1265" fmla="*/ 290250 h 307090"/>
                  <a:gd name="connsiteX1266" fmla="*/ 68771 w 204285"/>
                  <a:gd name="connsiteY1266" fmla="*/ 289633 h 307090"/>
                  <a:gd name="connsiteX1267" fmla="*/ 67272 w 204285"/>
                  <a:gd name="connsiteY1267" fmla="*/ 289898 h 307090"/>
                  <a:gd name="connsiteX1268" fmla="*/ 66391 w 204285"/>
                  <a:gd name="connsiteY1268" fmla="*/ 290779 h 307090"/>
                  <a:gd name="connsiteX1269" fmla="*/ 66391 w 204285"/>
                  <a:gd name="connsiteY1269" fmla="*/ 291396 h 307090"/>
                  <a:gd name="connsiteX1270" fmla="*/ 65509 w 204285"/>
                  <a:gd name="connsiteY1270" fmla="*/ 291661 h 307090"/>
                  <a:gd name="connsiteX1271" fmla="*/ 65245 w 204285"/>
                  <a:gd name="connsiteY1271" fmla="*/ 292543 h 307090"/>
                  <a:gd name="connsiteX1272" fmla="*/ 64980 w 204285"/>
                  <a:gd name="connsiteY1272" fmla="*/ 293424 h 307090"/>
                  <a:gd name="connsiteX1273" fmla="*/ 64098 w 204285"/>
                  <a:gd name="connsiteY1273" fmla="*/ 293689 h 307090"/>
                  <a:gd name="connsiteX1274" fmla="*/ 63481 w 204285"/>
                  <a:gd name="connsiteY1274" fmla="*/ 294306 h 307090"/>
                  <a:gd name="connsiteX1275" fmla="*/ 62864 w 204285"/>
                  <a:gd name="connsiteY1275" fmla="*/ 295188 h 307090"/>
                  <a:gd name="connsiteX1276" fmla="*/ 61982 w 204285"/>
                  <a:gd name="connsiteY1276" fmla="*/ 295452 h 307090"/>
                  <a:gd name="connsiteX1277" fmla="*/ 63393 w 204285"/>
                  <a:gd name="connsiteY1277" fmla="*/ 295717 h 307090"/>
                  <a:gd name="connsiteX1278" fmla="*/ 64539 w 204285"/>
                  <a:gd name="connsiteY1278" fmla="*/ 295981 h 307090"/>
                  <a:gd name="connsiteX1279" fmla="*/ 63922 w 204285"/>
                  <a:gd name="connsiteY1279" fmla="*/ 296246 h 307090"/>
                  <a:gd name="connsiteX1280" fmla="*/ 63040 w 204285"/>
                  <a:gd name="connsiteY1280" fmla="*/ 297127 h 307090"/>
                  <a:gd name="connsiteX1281" fmla="*/ 63040 w 204285"/>
                  <a:gd name="connsiteY1281" fmla="*/ 298009 h 307090"/>
                  <a:gd name="connsiteX1282" fmla="*/ 63922 w 204285"/>
                  <a:gd name="connsiteY1282" fmla="*/ 298891 h 307090"/>
                  <a:gd name="connsiteX1283" fmla="*/ 65333 w 204285"/>
                  <a:gd name="connsiteY1283" fmla="*/ 300037 h 307090"/>
                  <a:gd name="connsiteX1284" fmla="*/ 65068 w 204285"/>
                  <a:gd name="connsiteY1284" fmla="*/ 301183 h 307090"/>
                  <a:gd name="connsiteX1285" fmla="*/ 64451 w 204285"/>
                  <a:gd name="connsiteY1285" fmla="*/ 302065 h 307090"/>
                  <a:gd name="connsiteX1286" fmla="*/ 64451 w 204285"/>
                  <a:gd name="connsiteY1286" fmla="*/ 303211 h 307090"/>
                  <a:gd name="connsiteX1287" fmla="*/ 63834 w 204285"/>
                  <a:gd name="connsiteY1287" fmla="*/ 304093 h 307090"/>
                  <a:gd name="connsiteX1288" fmla="*/ 62688 w 204285"/>
                  <a:gd name="connsiteY1288" fmla="*/ 305592 h 307090"/>
                  <a:gd name="connsiteX1289" fmla="*/ 61806 w 204285"/>
                  <a:gd name="connsiteY1289" fmla="*/ 306209 h 307090"/>
                  <a:gd name="connsiteX1290" fmla="*/ 60660 w 204285"/>
                  <a:gd name="connsiteY1290" fmla="*/ 306209 h 307090"/>
                  <a:gd name="connsiteX1291" fmla="*/ 59161 w 204285"/>
                  <a:gd name="connsiteY1291" fmla="*/ 304445 h 307090"/>
                  <a:gd name="connsiteX1292" fmla="*/ 58015 w 204285"/>
                  <a:gd name="connsiteY1292" fmla="*/ 304181 h 307090"/>
                  <a:gd name="connsiteX1293" fmla="*/ 56868 w 204285"/>
                  <a:gd name="connsiteY1293" fmla="*/ 304445 h 307090"/>
                  <a:gd name="connsiteX1294" fmla="*/ 55987 w 204285"/>
                  <a:gd name="connsiteY1294" fmla="*/ 305592 h 307090"/>
                  <a:gd name="connsiteX1295" fmla="*/ 55105 w 204285"/>
                  <a:gd name="connsiteY1295" fmla="*/ 305856 h 307090"/>
                  <a:gd name="connsiteX1296" fmla="*/ 53077 w 204285"/>
                  <a:gd name="connsiteY1296" fmla="*/ 305592 h 307090"/>
                  <a:gd name="connsiteX1297" fmla="*/ 51931 w 204285"/>
                  <a:gd name="connsiteY1297" fmla="*/ 306738 h 307090"/>
                  <a:gd name="connsiteX1298" fmla="*/ 51667 w 204285"/>
                  <a:gd name="connsiteY1298" fmla="*/ 306738 h 307090"/>
                  <a:gd name="connsiteX1299" fmla="*/ 50785 w 204285"/>
                  <a:gd name="connsiteY1299" fmla="*/ 306473 h 307090"/>
                  <a:gd name="connsiteX1300" fmla="*/ 50785 w 204285"/>
                  <a:gd name="connsiteY1300" fmla="*/ 305856 h 307090"/>
                  <a:gd name="connsiteX1301" fmla="*/ 50520 w 204285"/>
                  <a:gd name="connsiteY1301" fmla="*/ 305592 h 307090"/>
                  <a:gd name="connsiteX1302" fmla="*/ 49374 w 204285"/>
                  <a:gd name="connsiteY1302" fmla="*/ 306209 h 307090"/>
                  <a:gd name="connsiteX1303" fmla="*/ 48228 w 204285"/>
                  <a:gd name="connsiteY1303" fmla="*/ 306826 h 307090"/>
                  <a:gd name="connsiteX1304" fmla="*/ 47082 w 204285"/>
                  <a:gd name="connsiteY1304" fmla="*/ 307090 h 307090"/>
                  <a:gd name="connsiteX1305" fmla="*/ 46465 w 204285"/>
                  <a:gd name="connsiteY1305" fmla="*/ 306473 h 307090"/>
                  <a:gd name="connsiteX1306" fmla="*/ 45583 w 204285"/>
                  <a:gd name="connsiteY1306" fmla="*/ 306473 h 307090"/>
                  <a:gd name="connsiteX1307" fmla="*/ 44966 w 204285"/>
                  <a:gd name="connsiteY1307" fmla="*/ 306473 h 307090"/>
                  <a:gd name="connsiteX1308" fmla="*/ 44349 w 204285"/>
                  <a:gd name="connsiteY1308" fmla="*/ 306209 h 307090"/>
                  <a:gd name="connsiteX1309" fmla="*/ 43467 w 204285"/>
                  <a:gd name="connsiteY1309" fmla="*/ 306826 h 307090"/>
                  <a:gd name="connsiteX1310" fmla="*/ 43202 w 204285"/>
                  <a:gd name="connsiteY1310" fmla="*/ 305944 h 307090"/>
                  <a:gd name="connsiteX1311" fmla="*/ 42938 w 204285"/>
                  <a:gd name="connsiteY1311" fmla="*/ 306209 h 307090"/>
                  <a:gd name="connsiteX1312" fmla="*/ 42321 w 204285"/>
                  <a:gd name="connsiteY1312" fmla="*/ 305592 h 307090"/>
                  <a:gd name="connsiteX1313" fmla="*/ 41703 w 204285"/>
                  <a:gd name="connsiteY1313" fmla="*/ 305327 h 307090"/>
                  <a:gd name="connsiteX1314" fmla="*/ 40822 w 204285"/>
                  <a:gd name="connsiteY1314" fmla="*/ 305592 h 307090"/>
                  <a:gd name="connsiteX1315" fmla="*/ 39940 w 204285"/>
                  <a:gd name="connsiteY1315" fmla="*/ 305592 h 307090"/>
                  <a:gd name="connsiteX1316" fmla="*/ 39940 w 204285"/>
                  <a:gd name="connsiteY1316" fmla="*/ 305063 h 307090"/>
                  <a:gd name="connsiteX1317" fmla="*/ 39323 w 204285"/>
                  <a:gd name="connsiteY1317" fmla="*/ 303916 h 307090"/>
                  <a:gd name="connsiteX1318" fmla="*/ 38706 w 204285"/>
                  <a:gd name="connsiteY1318" fmla="*/ 302770 h 307090"/>
                  <a:gd name="connsiteX1319" fmla="*/ 38970 w 204285"/>
                  <a:gd name="connsiteY1319" fmla="*/ 301359 h 307090"/>
                  <a:gd name="connsiteX1320" fmla="*/ 38970 w 204285"/>
                  <a:gd name="connsiteY1320" fmla="*/ 301095 h 307090"/>
                  <a:gd name="connsiteX1321" fmla="*/ 40117 w 204285"/>
                  <a:gd name="connsiteY1321" fmla="*/ 300213 h 307090"/>
                  <a:gd name="connsiteX1322" fmla="*/ 41263 w 204285"/>
                  <a:gd name="connsiteY1322" fmla="*/ 300213 h 307090"/>
                  <a:gd name="connsiteX1323" fmla="*/ 41527 w 204285"/>
                  <a:gd name="connsiteY1323" fmla="*/ 299067 h 307090"/>
                  <a:gd name="connsiteX1324" fmla="*/ 41880 w 204285"/>
                  <a:gd name="connsiteY1324" fmla="*/ 298185 h 307090"/>
                  <a:gd name="connsiteX1325" fmla="*/ 40734 w 204285"/>
                  <a:gd name="connsiteY1325" fmla="*/ 297568 h 307090"/>
                  <a:gd name="connsiteX1326" fmla="*/ 40117 w 204285"/>
                  <a:gd name="connsiteY1326" fmla="*/ 297304 h 307090"/>
                  <a:gd name="connsiteX1327" fmla="*/ 39235 w 204285"/>
                  <a:gd name="connsiteY1327" fmla="*/ 297921 h 307090"/>
                  <a:gd name="connsiteX1328" fmla="*/ 38618 w 204285"/>
                  <a:gd name="connsiteY1328" fmla="*/ 297656 h 307090"/>
                  <a:gd name="connsiteX1329" fmla="*/ 38618 w 204285"/>
                  <a:gd name="connsiteY1329" fmla="*/ 296510 h 307090"/>
                  <a:gd name="connsiteX1330" fmla="*/ 37736 w 204285"/>
                  <a:gd name="connsiteY1330" fmla="*/ 295011 h 307090"/>
                  <a:gd name="connsiteX1331" fmla="*/ 36237 w 204285"/>
                  <a:gd name="connsiteY1331" fmla="*/ 294394 h 307090"/>
                  <a:gd name="connsiteX1332" fmla="*/ 35973 w 204285"/>
                  <a:gd name="connsiteY1332" fmla="*/ 292895 h 307090"/>
                  <a:gd name="connsiteX1333" fmla="*/ 35708 w 204285"/>
                  <a:gd name="connsiteY1333" fmla="*/ 292014 h 307090"/>
                  <a:gd name="connsiteX1334" fmla="*/ 32798 w 204285"/>
                  <a:gd name="connsiteY1334" fmla="*/ 291396 h 307090"/>
                  <a:gd name="connsiteX1335" fmla="*/ 32534 w 204285"/>
                  <a:gd name="connsiteY1335" fmla="*/ 290779 h 307090"/>
                  <a:gd name="connsiteX1336" fmla="*/ 32798 w 204285"/>
                  <a:gd name="connsiteY1336" fmla="*/ 289369 h 307090"/>
                  <a:gd name="connsiteX1337" fmla="*/ 31300 w 204285"/>
                  <a:gd name="connsiteY1337" fmla="*/ 288487 h 307090"/>
                  <a:gd name="connsiteX1338" fmla="*/ 29536 w 204285"/>
                  <a:gd name="connsiteY1338" fmla="*/ 286724 h 307090"/>
                  <a:gd name="connsiteX1339" fmla="*/ 28390 w 204285"/>
                  <a:gd name="connsiteY1339" fmla="*/ 285577 h 307090"/>
                  <a:gd name="connsiteX1340" fmla="*/ 29007 w 204285"/>
                  <a:gd name="connsiteY1340" fmla="*/ 284696 h 307090"/>
                  <a:gd name="connsiteX1341" fmla="*/ 30506 w 204285"/>
                  <a:gd name="connsiteY1341" fmla="*/ 285313 h 307090"/>
                  <a:gd name="connsiteX1342" fmla="*/ 32269 w 204285"/>
                  <a:gd name="connsiteY1342" fmla="*/ 285930 h 307090"/>
                  <a:gd name="connsiteX1343" fmla="*/ 32887 w 204285"/>
                  <a:gd name="connsiteY1343" fmla="*/ 285666 h 307090"/>
                  <a:gd name="connsiteX1344" fmla="*/ 34650 w 204285"/>
                  <a:gd name="connsiteY1344" fmla="*/ 287429 h 307090"/>
                  <a:gd name="connsiteX1345" fmla="*/ 35796 w 204285"/>
                  <a:gd name="connsiteY1345" fmla="*/ 286812 h 307090"/>
                  <a:gd name="connsiteX1346" fmla="*/ 35796 w 204285"/>
                  <a:gd name="connsiteY1346" fmla="*/ 285930 h 307090"/>
                  <a:gd name="connsiteX1347" fmla="*/ 34915 w 204285"/>
                  <a:gd name="connsiteY1347" fmla="*/ 284784 h 307090"/>
                  <a:gd name="connsiteX1348" fmla="*/ 34915 w 204285"/>
                  <a:gd name="connsiteY1348" fmla="*/ 283638 h 307090"/>
                  <a:gd name="connsiteX1349" fmla="*/ 33151 w 204285"/>
                  <a:gd name="connsiteY1349" fmla="*/ 283638 h 307090"/>
                  <a:gd name="connsiteX1350" fmla="*/ 33151 w 204285"/>
                  <a:gd name="connsiteY1350" fmla="*/ 283021 h 307090"/>
                  <a:gd name="connsiteX1351" fmla="*/ 32005 w 204285"/>
                  <a:gd name="connsiteY1351" fmla="*/ 282668 h 307090"/>
                  <a:gd name="connsiteX1352" fmla="*/ 32005 w 204285"/>
                  <a:gd name="connsiteY1352" fmla="*/ 282139 h 307090"/>
                  <a:gd name="connsiteX1353" fmla="*/ 31740 w 204285"/>
                  <a:gd name="connsiteY1353" fmla="*/ 280993 h 307090"/>
                  <a:gd name="connsiteX1354" fmla="*/ 34121 w 204285"/>
                  <a:gd name="connsiteY1354" fmla="*/ 280111 h 307090"/>
                  <a:gd name="connsiteX1355" fmla="*/ 34738 w 204285"/>
                  <a:gd name="connsiteY1355" fmla="*/ 280375 h 307090"/>
                  <a:gd name="connsiteX1356" fmla="*/ 35884 w 204285"/>
                  <a:gd name="connsiteY1356" fmla="*/ 281522 h 307090"/>
                  <a:gd name="connsiteX1357" fmla="*/ 36766 w 204285"/>
                  <a:gd name="connsiteY1357" fmla="*/ 280904 h 307090"/>
                  <a:gd name="connsiteX1358" fmla="*/ 37383 w 204285"/>
                  <a:gd name="connsiteY1358" fmla="*/ 279141 h 307090"/>
                  <a:gd name="connsiteX1359" fmla="*/ 37383 w 204285"/>
                  <a:gd name="connsiteY1359" fmla="*/ 277995 h 307090"/>
                  <a:gd name="connsiteX1360" fmla="*/ 36502 w 204285"/>
                  <a:gd name="connsiteY1360" fmla="*/ 276849 h 307090"/>
                  <a:gd name="connsiteX1361" fmla="*/ 35620 w 204285"/>
                  <a:gd name="connsiteY1361" fmla="*/ 276584 h 307090"/>
                  <a:gd name="connsiteX1362" fmla="*/ 35003 w 204285"/>
                  <a:gd name="connsiteY1362" fmla="*/ 276849 h 307090"/>
                  <a:gd name="connsiteX1363" fmla="*/ 33857 w 204285"/>
                  <a:gd name="connsiteY1363" fmla="*/ 276849 h 307090"/>
                  <a:gd name="connsiteX1364" fmla="*/ 31476 w 204285"/>
                  <a:gd name="connsiteY1364" fmla="*/ 275967 h 307090"/>
                  <a:gd name="connsiteX1365" fmla="*/ 31476 w 204285"/>
                  <a:gd name="connsiteY1365" fmla="*/ 275703 h 307090"/>
                  <a:gd name="connsiteX1366" fmla="*/ 31476 w 204285"/>
                  <a:gd name="connsiteY1366" fmla="*/ 274821 h 307090"/>
                  <a:gd name="connsiteX1367" fmla="*/ 31476 w 204285"/>
                  <a:gd name="connsiteY1367" fmla="*/ 274556 h 307090"/>
                  <a:gd name="connsiteX1368" fmla="*/ 31476 w 204285"/>
                  <a:gd name="connsiteY1368" fmla="*/ 273146 h 307090"/>
                  <a:gd name="connsiteX1369" fmla="*/ 30065 w 204285"/>
                  <a:gd name="connsiteY1369" fmla="*/ 272264 h 307090"/>
                  <a:gd name="connsiteX1370" fmla="*/ 29448 w 204285"/>
                  <a:gd name="connsiteY1370" fmla="*/ 271647 h 307090"/>
                  <a:gd name="connsiteX1371" fmla="*/ 28566 w 204285"/>
                  <a:gd name="connsiteY1371" fmla="*/ 272264 h 307090"/>
                  <a:gd name="connsiteX1372" fmla="*/ 27949 w 204285"/>
                  <a:gd name="connsiteY1372" fmla="*/ 270765 h 307090"/>
                  <a:gd name="connsiteX1373" fmla="*/ 25304 w 204285"/>
                  <a:gd name="connsiteY1373" fmla="*/ 270148 h 307090"/>
                  <a:gd name="connsiteX1374" fmla="*/ 24423 w 204285"/>
                  <a:gd name="connsiteY1374" fmla="*/ 268385 h 307090"/>
                  <a:gd name="connsiteX1375" fmla="*/ 24687 w 204285"/>
                  <a:gd name="connsiteY1375" fmla="*/ 267503 h 307090"/>
                  <a:gd name="connsiteX1376" fmla="*/ 23805 w 204285"/>
                  <a:gd name="connsiteY1376" fmla="*/ 267238 h 307090"/>
                  <a:gd name="connsiteX1377" fmla="*/ 23805 w 204285"/>
                  <a:gd name="connsiteY1377" fmla="*/ 266621 h 307090"/>
                  <a:gd name="connsiteX1378" fmla="*/ 23188 w 204285"/>
                  <a:gd name="connsiteY1378" fmla="*/ 266621 h 307090"/>
                  <a:gd name="connsiteX1379" fmla="*/ 23453 w 204285"/>
                  <a:gd name="connsiteY1379" fmla="*/ 266004 h 307090"/>
                  <a:gd name="connsiteX1380" fmla="*/ 23188 w 204285"/>
                  <a:gd name="connsiteY1380" fmla="*/ 266004 h 307090"/>
                  <a:gd name="connsiteX1381" fmla="*/ 23453 w 204285"/>
                  <a:gd name="connsiteY1381" fmla="*/ 265122 h 307090"/>
                  <a:gd name="connsiteX1382" fmla="*/ 22836 w 204285"/>
                  <a:gd name="connsiteY1382" fmla="*/ 264505 h 307090"/>
                  <a:gd name="connsiteX1383" fmla="*/ 22571 w 204285"/>
                  <a:gd name="connsiteY1383" fmla="*/ 264770 h 307090"/>
                  <a:gd name="connsiteX1384" fmla="*/ 22042 w 204285"/>
                  <a:gd name="connsiteY1384" fmla="*/ 264770 h 307090"/>
                  <a:gd name="connsiteX1385" fmla="*/ 20896 w 204285"/>
                  <a:gd name="connsiteY1385" fmla="*/ 264505 h 307090"/>
                  <a:gd name="connsiteX1386" fmla="*/ 21513 w 204285"/>
                  <a:gd name="connsiteY1386" fmla="*/ 263623 h 307090"/>
                  <a:gd name="connsiteX1387" fmla="*/ 22395 w 204285"/>
                  <a:gd name="connsiteY1387" fmla="*/ 263623 h 307090"/>
                  <a:gd name="connsiteX1388" fmla="*/ 23012 w 204285"/>
                  <a:gd name="connsiteY1388" fmla="*/ 263006 h 307090"/>
                  <a:gd name="connsiteX1389" fmla="*/ 21866 w 204285"/>
                  <a:gd name="connsiteY1389" fmla="*/ 262389 h 307090"/>
                  <a:gd name="connsiteX1390" fmla="*/ 20984 w 204285"/>
                  <a:gd name="connsiteY1390" fmla="*/ 263006 h 307090"/>
                  <a:gd name="connsiteX1391" fmla="*/ 20367 w 204285"/>
                  <a:gd name="connsiteY1391" fmla="*/ 262389 h 307090"/>
                  <a:gd name="connsiteX1392" fmla="*/ 20102 w 204285"/>
                  <a:gd name="connsiteY1392" fmla="*/ 261772 h 307090"/>
                  <a:gd name="connsiteX1393" fmla="*/ 20719 w 204285"/>
                  <a:gd name="connsiteY1393" fmla="*/ 260890 h 307090"/>
                  <a:gd name="connsiteX1394" fmla="*/ 20719 w 204285"/>
                  <a:gd name="connsiteY1394" fmla="*/ 260626 h 307090"/>
                  <a:gd name="connsiteX1395" fmla="*/ 20102 w 204285"/>
                  <a:gd name="connsiteY1395" fmla="*/ 260626 h 307090"/>
                  <a:gd name="connsiteX1396" fmla="*/ 20719 w 204285"/>
                  <a:gd name="connsiteY1396" fmla="*/ 259480 h 307090"/>
                  <a:gd name="connsiteX1397" fmla="*/ 19838 w 204285"/>
                  <a:gd name="connsiteY1397" fmla="*/ 258598 h 307090"/>
                  <a:gd name="connsiteX1398" fmla="*/ 20719 w 204285"/>
                  <a:gd name="connsiteY1398" fmla="*/ 258598 h 307090"/>
                  <a:gd name="connsiteX1399" fmla="*/ 20455 w 204285"/>
                  <a:gd name="connsiteY1399" fmla="*/ 258333 h 307090"/>
                  <a:gd name="connsiteX1400" fmla="*/ 19309 w 204285"/>
                  <a:gd name="connsiteY1400" fmla="*/ 257452 h 307090"/>
                  <a:gd name="connsiteX1401" fmla="*/ 19044 w 204285"/>
                  <a:gd name="connsiteY1401" fmla="*/ 256834 h 307090"/>
                  <a:gd name="connsiteX1402" fmla="*/ 18515 w 204285"/>
                  <a:gd name="connsiteY1402" fmla="*/ 257452 h 307090"/>
                  <a:gd name="connsiteX1403" fmla="*/ 18251 w 204285"/>
                  <a:gd name="connsiteY1403" fmla="*/ 258333 h 307090"/>
                  <a:gd name="connsiteX1404" fmla="*/ 17634 w 204285"/>
                  <a:gd name="connsiteY1404" fmla="*/ 258069 h 307090"/>
                  <a:gd name="connsiteX1405" fmla="*/ 17634 w 204285"/>
                  <a:gd name="connsiteY1405" fmla="*/ 257187 h 307090"/>
                  <a:gd name="connsiteX1406" fmla="*/ 17898 w 204285"/>
                  <a:gd name="connsiteY1406" fmla="*/ 257187 h 307090"/>
                  <a:gd name="connsiteX1407" fmla="*/ 17634 w 204285"/>
                  <a:gd name="connsiteY1407" fmla="*/ 256305 h 307090"/>
                  <a:gd name="connsiteX1408" fmla="*/ 17634 w 204285"/>
                  <a:gd name="connsiteY1408" fmla="*/ 255688 h 307090"/>
                  <a:gd name="connsiteX1409" fmla="*/ 17369 w 204285"/>
                  <a:gd name="connsiteY1409" fmla="*/ 253396 h 307090"/>
                  <a:gd name="connsiteX1410" fmla="*/ 17369 w 204285"/>
                  <a:gd name="connsiteY1410" fmla="*/ 253925 h 307090"/>
                  <a:gd name="connsiteX1411" fmla="*/ 16223 w 204285"/>
                  <a:gd name="connsiteY1411" fmla="*/ 254189 h 307090"/>
                  <a:gd name="connsiteX1412" fmla="*/ 15606 w 204285"/>
                  <a:gd name="connsiteY1412" fmla="*/ 253925 h 307090"/>
                  <a:gd name="connsiteX1413" fmla="*/ 15606 w 204285"/>
                  <a:gd name="connsiteY1413" fmla="*/ 253396 h 307090"/>
                  <a:gd name="connsiteX1414" fmla="*/ 15606 w 204285"/>
                  <a:gd name="connsiteY1414" fmla="*/ 252779 h 307090"/>
                  <a:gd name="connsiteX1415" fmla="*/ 14988 w 204285"/>
                  <a:gd name="connsiteY1415" fmla="*/ 252162 h 307090"/>
                  <a:gd name="connsiteX1416" fmla="*/ 15606 w 204285"/>
                  <a:gd name="connsiteY1416" fmla="*/ 252162 h 307090"/>
                  <a:gd name="connsiteX1417" fmla="*/ 16223 w 204285"/>
                  <a:gd name="connsiteY1417" fmla="*/ 252162 h 307090"/>
                  <a:gd name="connsiteX1418" fmla="*/ 15606 w 204285"/>
                  <a:gd name="connsiteY1418" fmla="*/ 251633 h 307090"/>
                  <a:gd name="connsiteX1419" fmla="*/ 14724 w 204285"/>
                  <a:gd name="connsiteY1419" fmla="*/ 251633 h 307090"/>
                  <a:gd name="connsiteX1420" fmla="*/ 14459 w 204285"/>
                  <a:gd name="connsiteY1420" fmla="*/ 251633 h 307090"/>
                  <a:gd name="connsiteX1421" fmla="*/ 13842 w 204285"/>
                  <a:gd name="connsiteY1421" fmla="*/ 251633 h 307090"/>
                  <a:gd name="connsiteX1422" fmla="*/ 13842 w 204285"/>
                  <a:gd name="connsiteY1422" fmla="*/ 251015 h 307090"/>
                  <a:gd name="connsiteX1423" fmla="*/ 14724 w 204285"/>
                  <a:gd name="connsiteY1423" fmla="*/ 249869 h 307090"/>
                  <a:gd name="connsiteX1424" fmla="*/ 14459 w 204285"/>
                  <a:gd name="connsiteY1424" fmla="*/ 249869 h 307090"/>
                  <a:gd name="connsiteX1425" fmla="*/ 13578 w 204285"/>
                  <a:gd name="connsiteY1425" fmla="*/ 248723 h 307090"/>
                  <a:gd name="connsiteX1426" fmla="*/ 12960 w 204285"/>
                  <a:gd name="connsiteY1426" fmla="*/ 249340 h 307090"/>
                  <a:gd name="connsiteX1427" fmla="*/ 11815 w 204285"/>
                  <a:gd name="connsiteY1427" fmla="*/ 249076 h 307090"/>
                  <a:gd name="connsiteX1428" fmla="*/ 11550 w 204285"/>
                  <a:gd name="connsiteY1428" fmla="*/ 248194 h 307090"/>
                  <a:gd name="connsiteX1429" fmla="*/ 12696 w 204285"/>
                  <a:gd name="connsiteY1429" fmla="*/ 247929 h 307090"/>
                  <a:gd name="connsiteX1430" fmla="*/ 14195 w 204285"/>
                  <a:gd name="connsiteY1430" fmla="*/ 248194 h 307090"/>
                  <a:gd name="connsiteX1431" fmla="*/ 14459 w 204285"/>
                  <a:gd name="connsiteY1431" fmla="*/ 247577 h 307090"/>
                  <a:gd name="connsiteX1432" fmla="*/ 14195 w 204285"/>
                  <a:gd name="connsiteY1432" fmla="*/ 246960 h 307090"/>
                  <a:gd name="connsiteX1433" fmla="*/ 14459 w 204285"/>
                  <a:gd name="connsiteY1433" fmla="*/ 244667 h 307090"/>
                  <a:gd name="connsiteX1434" fmla="*/ 14195 w 204285"/>
                  <a:gd name="connsiteY1434" fmla="*/ 243521 h 307090"/>
                  <a:gd name="connsiteX1435" fmla="*/ 14459 w 204285"/>
                  <a:gd name="connsiteY1435" fmla="*/ 242904 h 307090"/>
                  <a:gd name="connsiteX1436" fmla="*/ 14195 w 204285"/>
                  <a:gd name="connsiteY1436" fmla="*/ 242639 h 307090"/>
                  <a:gd name="connsiteX1437" fmla="*/ 14195 w 204285"/>
                  <a:gd name="connsiteY1437" fmla="*/ 242375 h 307090"/>
                  <a:gd name="connsiteX1438" fmla="*/ 14195 w 204285"/>
                  <a:gd name="connsiteY1438" fmla="*/ 241493 h 307090"/>
                  <a:gd name="connsiteX1439" fmla="*/ 13930 w 204285"/>
                  <a:gd name="connsiteY1439" fmla="*/ 240347 h 307090"/>
                  <a:gd name="connsiteX1440" fmla="*/ 14548 w 204285"/>
                  <a:gd name="connsiteY1440" fmla="*/ 240347 h 307090"/>
                  <a:gd name="connsiteX1441" fmla="*/ 16311 w 204285"/>
                  <a:gd name="connsiteY1441" fmla="*/ 240082 h 307090"/>
                  <a:gd name="connsiteX1442" fmla="*/ 14548 w 204285"/>
                  <a:gd name="connsiteY1442" fmla="*/ 240082 h 307090"/>
                  <a:gd name="connsiteX1443" fmla="*/ 13930 w 204285"/>
                  <a:gd name="connsiteY1443" fmla="*/ 239465 h 307090"/>
                  <a:gd name="connsiteX1444" fmla="*/ 13930 w 204285"/>
                  <a:gd name="connsiteY1444" fmla="*/ 237966 h 307090"/>
                  <a:gd name="connsiteX1445" fmla="*/ 14548 w 204285"/>
                  <a:gd name="connsiteY1445" fmla="*/ 238231 h 307090"/>
                  <a:gd name="connsiteX1446" fmla="*/ 14812 w 204285"/>
                  <a:gd name="connsiteY1446" fmla="*/ 237966 h 307090"/>
                  <a:gd name="connsiteX1447" fmla="*/ 14195 w 204285"/>
                  <a:gd name="connsiteY1447" fmla="*/ 236468 h 307090"/>
                  <a:gd name="connsiteX1448" fmla="*/ 13313 w 204285"/>
                  <a:gd name="connsiteY1448" fmla="*/ 236203 h 307090"/>
                  <a:gd name="connsiteX1449" fmla="*/ 12696 w 204285"/>
                  <a:gd name="connsiteY1449" fmla="*/ 236820 h 307090"/>
                  <a:gd name="connsiteX1450" fmla="*/ 12696 w 204285"/>
                  <a:gd name="connsiteY1450" fmla="*/ 237966 h 307090"/>
                  <a:gd name="connsiteX1451" fmla="*/ 12696 w 204285"/>
                  <a:gd name="connsiteY1451" fmla="*/ 238848 h 307090"/>
                  <a:gd name="connsiteX1452" fmla="*/ 12696 w 204285"/>
                  <a:gd name="connsiteY1452" fmla="*/ 240259 h 307090"/>
                  <a:gd name="connsiteX1453" fmla="*/ 12696 w 204285"/>
                  <a:gd name="connsiteY1453" fmla="*/ 241141 h 307090"/>
                  <a:gd name="connsiteX1454" fmla="*/ 12432 w 204285"/>
                  <a:gd name="connsiteY1454" fmla="*/ 242639 h 307090"/>
                  <a:gd name="connsiteX1455" fmla="*/ 13049 w 204285"/>
                  <a:gd name="connsiteY1455" fmla="*/ 243521 h 307090"/>
                  <a:gd name="connsiteX1456" fmla="*/ 13049 w 204285"/>
                  <a:gd name="connsiteY1456" fmla="*/ 244403 h 307090"/>
                  <a:gd name="connsiteX1457" fmla="*/ 12167 w 204285"/>
                  <a:gd name="connsiteY1457" fmla="*/ 244138 h 307090"/>
                  <a:gd name="connsiteX1458" fmla="*/ 11550 w 204285"/>
                  <a:gd name="connsiteY1458" fmla="*/ 243874 h 307090"/>
                  <a:gd name="connsiteX1459" fmla="*/ 10404 w 204285"/>
                  <a:gd name="connsiteY1459" fmla="*/ 243609 h 307090"/>
                  <a:gd name="connsiteX1460" fmla="*/ 8640 w 204285"/>
                  <a:gd name="connsiteY1460" fmla="*/ 241846 h 307090"/>
                  <a:gd name="connsiteX1461" fmla="*/ 7759 w 204285"/>
                  <a:gd name="connsiteY1461" fmla="*/ 240700 h 307090"/>
                  <a:gd name="connsiteX1462" fmla="*/ 8023 w 204285"/>
                  <a:gd name="connsiteY1462" fmla="*/ 238672 h 307090"/>
                  <a:gd name="connsiteX1463" fmla="*/ 9522 w 204285"/>
                  <a:gd name="connsiteY1463" fmla="*/ 237526 h 307090"/>
                  <a:gd name="connsiteX1464" fmla="*/ 10139 w 204285"/>
                  <a:gd name="connsiteY1464" fmla="*/ 235762 h 307090"/>
                  <a:gd name="connsiteX1465" fmla="*/ 11021 w 204285"/>
                  <a:gd name="connsiteY1465" fmla="*/ 236027 h 307090"/>
                  <a:gd name="connsiteX1466" fmla="*/ 10756 w 204285"/>
                  <a:gd name="connsiteY1466" fmla="*/ 234881 h 307090"/>
                  <a:gd name="connsiteX1467" fmla="*/ 9875 w 204285"/>
                  <a:gd name="connsiteY1467" fmla="*/ 235762 h 307090"/>
                  <a:gd name="connsiteX1468" fmla="*/ 9875 w 204285"/>
                  <a:gd name="connsiteY1468" fmla="*/ 235145 h 307090"/>
                  <a:gd name="connsiteX1469" fmla="*/ 8993 w 204285"/>
                  <a:gd name="connsiteY1469" fmla="*/ 233999 h 307090"/>
                  <a:gd name="connsiteX1470" fmla="*/ 8729 w 204285"/>
                  <a:gd name="connsiteY1470" fmla="*/ 234881 h 307090"/>
                  <a:gd name="connsiteX1471" fmla="*/ 8729 w 204285"/>
                  <a:gd name="connsiteY1471" fmla="*/ 236908 h 307090"/>
                  <a:gd name="connsiteX1472" fmla="*/ 7582 w 204285"/>
                  <a:gd name="connsiteY1472" fmla="*/ 238936 h 307090"/>
                  <a:gd name="connsiteX1473" fmla="*/ 6701 w 204285"/>
                  <a:gd name="connsiteY1473" fmla="*/ 238319 h 307090"/>
                  <a:gd name="connsiteX1474" fmla="*/ 7582 w 204285"/>
                  <a:gd name="connsiteY1474" fmla="*/ 237702 h 307090"/>
                  <a:gd name="connsiteX1475" fmla="*/ 6701 w 204285"/>
                  <a:gd name="connsiteY1475" fmla="*/ 237966 h 307090"/>
                  <a:gd name="connsiteX1476" fmla="*/ 5202 w 204285"/>
                  <a:gd name="connsiteY1476" fmla="*/ 237966 h 307090"/>
                  <a:gd name="connsiteX1477" fmla="*/ 4937 w 204285"/>
                  <a:gd name="connsiteY1477" fmla="*/ 236820 h 307090"/>
                  <a:gd name="connsiteX1478" fmla="*/ 6965 w 204285"/>
                  <a:gd name="connsiteY1478" fmla="*/ 237437 h 307090"/>
                  <a:gd name="connsiteX1479" fmla="*/ 6965 w 204285"/>
                  <a:gd name="connsiteY1479" fmla="*/ 236820 h 307090"/>
                  <a:gd name="connsiteX1480" fmla="*/ 6965 w 204285"/>
                  <a:gd name="connsiteY1480" fmla="*/ 236556 h 307090"/>
                  <a:gd name="connsiteX1481" fmla="*/ 6701 w 204285"/>
                  <a:gd name="connsiteY1481" fmla="*/ 235674 h 307090"/>
                  <a:gd name="connsiteX1482" fmla="*/ 4937 w 204285"/>
                  <a:gd name="connsiteY1482" fmla="*/ 236556 h 307090"/>
                  <a:gd name="connsiteX1483" fmla="*/ 5554 w 204285"/>
                  <a:gd name="connsiteY1483" fmla="*/ 235410 h 307090"/>
                  <a:gd name="connsiteX1484" fmla="*/ 5554 w 204285"/>
                  <a:gd name="connsiteY1484" fmla="*/ 234528 h 307090"/>
                  <a:gd name="connsiteX1485" fmla="*/ 4408 w 204285"/>
                  <a:gd name="connsiteY1485" fmla="*/ 236291 h 307090"/>
                  <a:gd name="connsiteX1486" fmla="*/ 4144 w 204285"/>
                  <a:gd name="connsiteY1486" fmla="*/ 237173 h 307090"/>
                  <a:gd name="connsiteX1487" fmla="*/ 3527 w 204285"/>
                  <a:gd name="connsiteY1487" fmla="*/ 236908 h 307090"/>
                  <a:gd name="connsiteX1488" fmla="*/ 3262 w 204285"/>
                  <a:gd name="connsiteY1488" fmla="*/ 235762 h 307090"/>
                  <a:gd name="connsiteX1489" fmla="*/ 3791 w 204285"/>
                  <a:gd name="connsiteY1489" fmla="*/ 235498 h 307090"/>
                  <a:gd name="connsiteX1490" fmla="*/ 3527 w 204285"/>
                  <a:gd name="connsiteY1490" fmla="*/ 234616 h 307090"/>
                  <a:gd name="connsiteX1491" fmla="*/ 4144 w 204285"/>
                  <a:gd name="connsiteY1491" fmla="*/ 234352 h 307090"/>
                  <a:gd name="connsiteX1492" fmla="*/ 3527 w 204285"/>
                  <a:gd name="connsiteY1492" fmla="*/ 233470 h 307090"/>
                  <a:gd name="connsiteX1493" fmla="*/ 3527 w 204285"/>
                  <a:gd name="connsiteY1493" fmla="*/ 232324 h 307090"/>
                  <a:gd name="connsiteX1494" fmla="*/ 4144 w 204285"/>
                  <a:gd name="connsiteY1494" fmla="*/ 232059 h 307090"/>
                  <a:gd name="connsiteX1495" fmla="*/ 3262 w 204285"/>
                  <a:gd name="connsiteY1495" fmla="*/ 231178 h 307090"/>
                  <a:gd name="connsiteX1496" fmla="*/ 3262 w 204285"/>
                  <a:gd name="connsiteY1496" fmla="*/ 230296 h 307090"/>
                  <a:gd name="connsiteX1497" fmla="*/ 2998 w 204285"/>
                  <a:gd name="connsiteY1497" fmla="*/ 230296 h 307090"/>
                  <a:gd name="connsiteX1498" fmla="*/ 2998 w 204285"/>
                  <a:gd name="connsiteY1498" fmla="*/ 229679 h 307090"/>
                  <a:gd name="connsiteX1499" fmla="*/ 1234 w 204285"/>
                  <a:gd name="connsiteY1499" fmla="*/ 229061 h 307090"/>
                  <a:gd name="connsiteX1500" fmla="*/ 1234 w 204285"/>
                  <a:gd name="connsiteY1500" fmla="*/ 228444 h 307090"/>
                  <a:gd name="connsiteX1501" fmla="*/ 2733 w 204285"/>
                  <a:gd name="connsiteY1501" fmla="*/ 228444 h 307090"/>
                  <a:gd name="connsiteX1502" fmla="*/ 2733 w 204285"/>
                  <a:gd name="connsiteY1502" fmla="*/ 227827 h 307090"/>
                  <a:gd name="connsiteX1503" fmla="*/ 2998 w 204285"/>
                  <a:gd name="connsiteY1503" fmla="*/ 227298 h 307090"/>
                  <a:gd name="connsiteX1504" fmla="*/ 2998 w 204285"/>
                  <a:gd name="connsiteY1504" fmla="*/ 225535 h 307090"/>
                  <a:gd name="connsiteX1505" fmla="*/ 2380 w 204285"/>
                  <a:gd name="connsiteY1505" fmla="*/ 224917 h 307090"/>
                  <a:gd name="connsiteX1506" fmla="*/ 2380 w 204285"/>
                  <a:gd name="connsiteY1506" fmla="*/ 223419 h 307090"/>
                  <a:gd name="connsiteX1507" fmla="*/ 0 w 204285"/>
                  <a:gd name="connsiteY1507" fmla="*/ 223154 h 307090"/>
                  <a:gd name="connsiteX1508" fmla="*/ 617 w 204285"/>
                  <a:gd name="connsiteY1508" fmla="*/ 222272 h 307090"/>
                  <a:gd name="connsiteX1509" fmla="*/ 0 w 204285"/>
                  <a:gd name="connsiteY1509" fmla="*/ 222008 h 307090"/>
                  <a:gd name="connsiteX1510" fmla="*/ 264 w 204285"/>
                  <a:gd name="connsiteY1510" fmla="*/ 220862 h 307090"/>
                  <a:gd name="connsiteX1511" fmla="*/ 3174 w 204285"/>
                  <a:gd name="connsiteY1511" fmla="*/ 219980 h 307090"/>
                  <a:gd name="connsiteX1512" fmla="*/ 4937 w 204285"/>
                  <a:gd name="connsiteY1512" fmla="*/ 222625 h 307090"/>
                  <a:gd name="connsiteX1513" fmla="*/ 5202 w 204285"/>
                  <a:gd name="connsiteY1513" fmla="*/ 225006 h 307090"/>
                  <a:gd name="connsiteX1514" fmla="*/ 6348 w 204285"/>
                  <a:gd name="connsiteY1514" fmla="*/ 225270 h 307090"/>
                  <a:gd name="connsiteX1515" fmla="*/ 8993 w 204285"/>
                  <a:gd name="connsiteY1515" fmla="*/ 224653 h 307090"/>
                  <a:gd name="connsiteX1516" fmla="*/ 10756 w 204285"/>
                  <a:gd name="connsiteY1516" fmla="*/ 220245 h 307090"/>
                  <a:gd name="connsiteX1517" fmla="*/ 10139 w 204285"/>
                  <a:gd name="connsiteY1517" fmla="*/ 219627 h 307090"/>
                  <a:gd name="connsiteX1518" fmla="*/ 10404 w 204285"/>
                  <a:gd name="connsiteY1518" fmla="*/ 217864 h 307090"/>
                  <a:gd name="connsiteX1519" fmla="*/ 11286 w 204285"/>
                  <a:gd name="connsiteY1519" fmla="*/ 216718 h 307090"/>
                  <a:gd name="connsiteX1520" fmla="*/ 8376 w 204285"/>
                  <a:gd name="connsiteY1520" fmla="*/ 208871 h 307090"/>
                  <a:gd name="connsiteX1521" fmla="*/ 12167 w 204285"/>
                  <a:gd name="connsiteY1521" fmla="*/ 206579 h 307090"/>
                  <a:gd name="connsiteX1522" fmla="*/ 12167 w 204285"/>
                  <a:gd name="connsiteY1522" fmla="*/ 204551 h 307090"/>
                  <a:gd name="connsiteX1523" fmla="*/ 10404 w 204285"/>
                  <a:gd name="connsiteY1523" fmla="*/ 203052 h 307090"/>
                  <a:gd name="connsiteX1524" fmla="*/ 12696 w 204285"/>
                  <a:gd name="connsiteY1524" fmla="*/ 201906 h 307090"/>
                  <a:gd name="connsiteX1525" fmla="*/ 15606 w 204285"/>
                  <a:gd name="connsiteY1525" fmla="*/ 202170 h 307090"/>
                  <a:gd name="connsiteX1526" fmla="*/ 20543 w 204285"/>
                  <a:gd name="connsiteY1526" fmla="*/ 198643 h 307090"/>
                  <a:gd name="connsiteX1527" fmla="*/ 21689 w 204285"/>
                  <a:gd name="connsiteY1527" fmla="*/ 196263 h 307090"/>
                  <a:gd name="connsiteX1528" fmla="*/ 21689 w 204285"/>
                  <a:gd name="connsiteY1528" fmla="*/ 192824 h 307090"/>
                  <a:gd name="connsiteX1529" fmla="*/ 22836 w 204285"/>
                  <a:gd name="connsiteY1529" fmla="*/ 189298 h 307090"/>
                  <a:gd name="connsiteX1530" fmla="*/ 22571 w 204285"/>
                  <a:gd name="connsiteY1530" fmla="*/ 187799 h 307090"/>
                  <a:gd name="connsiteX1531" fmla="*/ 14988 w 204285"/>
                  <a:gd name="connsiteY1531" fmla="*/ 176425 h 307090"/>
                  <a:gd name="connsiteX1532" fmla="*/ 18163 w 204285"/>
                  <a:gd name="connsiteY1532" fmla="*/ 175279 h 307090"/>
                  <a:gd name="connsiteX1533" fmla="*/ 22571 w 204285"/>
                  <a:gd name="connsiteY1533" fmla="*/ 175279 h 307090"/>
                  <a:gd name="connsiteX1534" fmla="*/ 25481 w 204285"/>
                  <a:gd name="connsiteY1534" fmla="*/ 168578 h 307090"/>
                  <a:gd name="connsiteX1535" fmla="*/ 19044 w 204285"/>
                  <a:gd name="connsiteY1535" fmla="*/ 163376 h 307090"/>
                  <a:gd name="connsiteX1536" fmla="*/ 17016 w 204285"/>
                  <a:gd name="connsiteY1536" fmla="*/ 163640 h 307090"/>
                  <a:gd name="connsiteX1537" fmla="*/ 12079 w 204285"/>
                  <a:gd name="connsiteY1537" fmla="*/ 160114 h 307090"/>
                  <a:gd name="connsiteX1538" fmla="*/ 13490 w 204285"/>
                  <a:gd name="connsiteY1538" fmla="*/ 148123 h 307090"/>
                  <a:gd name="connsiteX1539" fmla="*/ 11197 w 204285"/>
                  <a:gd name="connsiteY1539" fmla="*/ 144067 h 307090"/>
                  <a:gd name="connsiteX1540" fmla="*/ 8905 w 204285"/>
                  <a:gd name="connsiteY1540" fmla="*/ 141158 h 307090"/>
                  <a:gd name="connsiteX1541" fmla="*/ 8905 w 204285"/>
                  <a:gd name="connsiteY1541" fmla="*/ 139130 h 307090"/>
                  <a:gd name="connsiteX1542" fmla="*/ 9787 w 204285"/>
                  <a:gd name="connsiteY1542" fmla="*/ 137366 h 307090"/>
                  <a:gd name="connsiteX1543" fmla="*/ 7759 w 204285"/>
                  <a:gd name="connsiteY1543" fmla="*/ 134192 h 307090"/>
                  <a:gd name="connsiteX1544" fmla="*/ 10139 w 204285"/>
                  <a:gd name="connsiteY1544" fmla="*/ 131547 h 307090"/>
                  <a:gd name="connsiteX1545" fmla="*/ 6083 w 204285"/>
                  <a:gd name="connsiteY1545" fmla="*/ 125728 h 307090"/>
                  <a:gd name="connsiteX1546" fmla="*/ 9610 w 204285"/>
                  <a:gd name="connsiteY1546" fmla="*/ 120791 h 307090"/>
                  <a:gd name="connsiteX1547" fmla="*/ 8729 w 204285"/>
                  <a:gd name="connsiteY1547" fmla="*/ 118763 h 307090"/>
                  <a:gd name="connsiteX1548" fmla="*/ 11903 w 204285"/>
                  <a:gd name="connsiteY1548" fmla="*/ 114972 h 307090"/>
                  <a:gd name="connsiteX1549" fmla="*/ 16311 w 204285"/>
                  <a:gd name="connsiteY1549" fmla="*/ 110299 h 307090"/>
                  <a:gd name="connsiteX1550" fmla="*/ 23276 w 204285"/>
                  <a:gd name="connsiteY1550" fmla="*/ 107918 h 307090"/>
                  <a:gd name="connsiteX1551" fmla="*/ 25921 w 204285"/>
                  <a:gd name="connsiteY1551" fmla="*/ 107301 h 307090"/>
                  <a:gd name="connsiteX1552" fmla="*/ 29095 w 204285"/>
                  <a:gd name="connsiteY1552" fmla="*/ 107565 h 307090"/>
                  <a:gd name="connsiteX1553" fmla="*/ 36149 w 204285"/>
                  <a:gd name="connsiteY1553" fmla="*/ 108712 h 307090"/>
                  <a:gd name="connsiteX1554" fmla="*/ 39059 w 204285"/>
                  <a:gd name="connsiteY1554" fmla="*/ 108976 h 307090"/>
                  <a:gd name="connsiteX1555" fmla="*/ 41703 w 204285"/>
                  <a:gd name="connsiteY1555" fmla="*/ 105185 h 307090"/>
                  <a:gd name="connsiteX1556" fmla="*/ 41174 w 204285"/>
                  <a:gd name="connsiteY1556" fmla="*/ 101394 h 307090"/>
                  <a:gd name="connsiteX1557" fmla="*/ 39676 w 204285"/>
                  <a:gd name="connsiteY1557" fmla="*/ 98484 h 307090"/>
                  <a:gd name="connsiteX1558" fmla="*/ 36149 w 204285"/>
                  <a:gd name="connsiteY1558" fmla="*/ 98220 h 307090"/>
                  <a:gd name="connsiteX1559" fmla="*/ 32093 w 204285"/>
                  <a:gd name="connsiteY1559" fmla="*/ 96721 h 307090"/>
                  <a:gd name="connsiteX1560" fmla="*/ 32710 w 204285"/>
                  <a:gd name="connsiteY1560" fmla="*/ 94693 h 307090"/>
                  <a:gd name="connsiteX1561" fmla="*/ 41439 w 204285"/>
                  <a:gd name="connsiteY1561" fmla="*/ 85347 h 307090"/>
                  <a:gd name="connsiteX1562" fmla="*/ 42056 w 204285"/>
                  <a:gd name="connsiteY1562" fmla="*/ 82173 h 307090"/>
                  <a:gd name="connsiteX1563" fmla="*/ 44437 w 204285"/>
                  <a:gd name="connsiteY1563" fmla="*/ 80674 h 307090"/>
                  <a:gd name="connsiteX1564" fmla="*/ 43555 w 204285"/>
                  <a:gd name="connsiteY1564" fmla="*/ 74590 h 307090"/>
                  <a:gd name="connsiteX1565" fmla="*/ 44172 w 204285"/>
                  <a:gd name="connsiteY1565" fmla="*/ 71945 h 307090"/>
                  <a:gd name="connsiteX1566" fmla="*/ 45318 w 204285"/>
                  <a:gd name="connsiteY1566" fmla="*/ 69565 h 307090"/>
                  <a:gd name="connsiteX1567" fmla="*/ 42409 w 204285"/>
                  <a:gd name="connsiteY1567" fmla="*/ 62600 h 307090"/>
                  <a:gd name="connsiteX1568" fmla="*/ 51138 w 204285"/>
                  <a:gd name="connsiteY1568" fmla="*/ 62335 h 307090"/>
                  <a:gd name="connsiteX1569" fmla="*/ 57838 w 204285"/>
                  <a:gd name="connsiteY1569" fmla="*/ 59425 h 307090"/>
                  <a:gd name="connsiteX1570" fmla="*/ 55546 w 204285"/>
                  <a:gd name="connsiteY1570" fmla="*/ 55370 h 307090"/>
                  <a:gd name="connsiteX1571" fmla="*/ 59602 w 204285"/>
                  <a:gd name="connsiteY1571" fmla="*/ 52196 h 307090"/>
                  <a:gd name="connsiteX1572" fmla="*/ 65156 w 204285"/>
                  <a:gd name="connsiteY1572" fmla="*/ 46377 h 307090"/>
                  <a:gd name="connsiteX1573" fmla="*/ 70094 w 204285"/>
                  <a:gd name="connsiteY1573" fmla="*/ 43732 h 307090"/>
                  <a:gd name="connsiteX1574" fmla="*/ 70711 w 204285"/>
                  <a:gd name="connsiteY1574" fmla="*/ 40469 h 307090"/>
                  <a:gd name="connsiteX1575" fmla="*/ 67184 w 204285"/>
                  <a:gd name="connsiteY1575" fmla="*/ 36414 h 307090"/>
                  <a:gd name="connsiteX1576" fmla="*/ 64892 w 204285"/>
                  <a:gd name="connsiteY1576" fmla="*/ 35267 h 307090"/>
                  <a:gd name="connsiteX1577" fmla="*/ 66038 w 204285"/>
                  <a:gd name="connsiteY1577" fmla="*/ 33239 h 307090"/>
                  <a:gd name="connsiteX1578" fmla="*/ 69300 w 204285"/>
                  <a:gd name="connsiteY1578" fmla="*/ 32975 h 307090"/>
                  <a:gd name="connsiteX1579" fmla="*/ 71945 w 204285"/>
                  <a:gd name="connsiteY1579" fmla="*/ 29801 h 307090"/>
                  <a:gd name="connsiteX1580" fmla="*/ 73709 w 204285"/>
                  <a:gd name="connsiteY1580" fmla="*/ 25128 h 307090"/>
                  <a:gd name="connsiteX1581" fmla="*/ 80762 w 204285"/>
                  <a:gd name="connsiteY1581" fmla="*/ 21954 h 307090"/>
                  <a:gd name="connsiteX1582" fmla="*/ 81908 w 204285"/>
                  <a:gd name="connsiteY1582" fmla="*/ 20808 h 307090"/>
                  <a:gd name="connsiteX1583" fmla="*/ 92753 w 204285"/>
                  <a:gd name="connsiteY1583" fmla="*/ 23717 h 307090"/>
                  <a:gd name="connsiteX1584" fmla="*/ 96280 w 204285"/>
                  <a:gd name="connsiteY1584" fmla="*/ 19044 h 307090"/>
                  <a:gd name="connsiteX1585" fmla="*/ 93635 w 204285"/>
                  <a:gd name="connsiteY1585" fmla="*/ 14107 h 307090"/>
                  <a:gd name="connsiteX1586" fmla="*/ 93635 w 204285"/>
                  <a:gd name="connsiteY1586" fmla="*/ 11726 h 307090"/>
                  <a:gd name="connsiteX1587" fmla="*/ 98043 w 204285"/>
                  <a:gd name="connsiteY1587" fmla="*/ 11109 h 307090"/>
                  <a:gd name="connsiteX1588" fmla="*/ 102716 w 204285"/>
                  <a:gd name="connsiteY1588" fmla="*/ 12608 h 307090"/>
                  <a:gd name="connsiteX1589" fmla="*/ 107918 w 204285"/>
                  <a:gd name="connsiteY1589" fmla="*/ 12344 h 307090"/>
                  <a:gd name="connsiteX1590" fmla="*/ 124582 w 204285"/>
                  <a:gd name="connsiteY1590" fmla="*/ 15518 h 307090"/>
                  <a:gd name="connsiteX1591" fmla="*/ 126081 w 204285"/>
                  <a:gd name="connsiteY1591" fmla="*/ 13754 h 307090"/>
                  <a:gd name="connsiteX1592" fmla="*/ 128109 w 204285"/>
                  <a:gd name="connsiteY1592" fmla="*/ 13137 h 307090"/>
                  <a:gd name="connsiteX1593" fmla="*/ 128109 w 204285"/>
                  <a:gd name="connsiteY1593" fmla="*/ 12520 h 307090"/>
                  <a:gd name="connsiteX1594" fmla="*/ 126081 w 204285"/>
                  <a:gd name="connsiteY1594" fmla="*/ 11903 h 307090"/>
                  <a:gd name="connsiteX1595" fmla="*/ 124053 w 204285"/>
                  <a:gd name="connsiteY1595" fmla="*/ 11021 h 307090"/>
                  <a:gd name="connsiteX1596" fmla="*/ 126698 w 204285"/>
                  <a:gd name="connsiteY1596" fmla="*/ 9258 h 307090"/>
                  <a:gd name="connsiteX1597" fmla="*/ 129607 w 204285"/>
                  <a:gd name="connsiteY1597" fmla="*/ 6084 h 307090"/>
                  <a:gd name="connsiteX1598" fmla="*/ 128726 w 204285"/>
                  <a:gd name="connsiteY1598" fmla="*/ 3174 h 307090"/>
                  <a:gd name="connsiteX1599" fmla="*/ 124317 w 204285"/>
                  <a:gd name="connsiteY1599" fmla="*/ 529 h 307090"/>
                  <a:gd name="connsiteX1600" fmla="*/ 132958 w 204285"/>
                  <a:gd name="connsiteY1600" fmla="*/ 0 h 307090"/>
                  <a:gd name="connsiteX1601" fmla="*/ 112238 w 204285"/>
                  <a:gd name="connsiteY1601" fmla="*/ 260802 h 307090"/>
                  <a:gd name="connsiteX1602" fmla="*/ 111092 w 204285"/>
                  <a:gd name="connsiteY1602" fmla="*/ 259920 h 307090"/>
                  <a:gd name="connsiteX1603" fmla="*/ 111356 w 204285"/>
                  <a:gd name="connsiteY1603" fmla="*/ 260802 h 307090"/>
                  <a:gd name="connsiteX1604" fmla="*/ 110210 w 204285"/>
                  <a:gd name="connsiteY1604" fmla="*/ 259920 h 307090"/>
                  <a:gd name="connsiteX1605" fmla="*/ 109593 w 204285"/>
                  <a:gd name="connsiteY1605" fmla="*/ 260802 h 307090"/>
                  <a:gd name="connsiteX1606" fmla="*/ 108711 w 204285"/>
                  <a:gd name="connsiteY1606" fmla="*/ 262301 h 307090"/>
                  <a:gd name="connsiteX1607" fmla="*/ 107830 w 204285"/>
                  <a:gd name="connsiteY1607" fmla="*/ 263447 h 307090"/>
                  <a:gd name="connsiteX1608" fmla="*/ 107565 w 204285"/>
                  <a:gd name="connsiteY1608" fmla="*/ 265475 h 307090"/>
                  <a:gd name="connsiteX1609" fmla="*/ 108183 w 204285"/>
                  <a:gd name="connsiteY1609" fmla="*/ 266621 h 307090"/>
                  <a:gd name="connsiteX1610" fmla="*/ 107565 w 204285"/>
                  <a:gd name="connsiteY1610" fmla="*/ 267767 h 307090"/>
                  <a:gd name="connsiteX1611" fmla="*/ 106684 w 204285"/>
                  <a:gd name="connsiteY1611" fmla="*/ 268914 h 307090"/>
                  <a:gd name="connsiteX1612" fmla="*/ 105802 w 204285"/>
                  <a:gd name="connsiteY1612" fmla="*/ 270060 h 307090"/>
                  <a:gd name="connsiteX1613" fmla="*/ 104920 w 204285"/>
                  <a:gd name="connsiteY1613" fmla="*/ 270324 h 307090"/>
                  <a:gd name="connsiteX1614" fmla="*/ 103774 w 204285"/>
                  <a:gd name="connsiteY1614" fmla="*/ 271206 h 307090"/>
                  <a:gd name="connsiteX1615" fmla="*/ 103510 w 204285"/>
                  <a:gd name="connsiteY1615" fmla="*/ 272705 h 307090"/>
                  <a:gd name="connsiteX1616" fmla="*/ 103245 w 204285"/>
                  <a:gd name="connsiteY1616" fmla="*/ 273851 h 307090"/>
                  <a:gd name="connsiteX1617" fmla="*/ 102981 w 204285"/>
                  <a:gd name="connsiteY1617" fmla="*/ 275350 h 307090"/>
                  <a:gd name="connsiteX1618" fmla="*/ 102363 w 204285"/>
                  <a:gd name="connsiteY1618" fmla="*/ 276231 h 307090"/>
                  <a:gd name="connsiteX1619" fmla="*/ 101482 w 204285"/>
                  <a:gd name="connsiteY1619" fmla="*/ 276231 h 307090"/>
                  <a:gd name="connsiteX1620" fmla="*/ 100600 w 204285"/>
                  <a:gd name="connsiteY1620" fmla="*/ 276849 h 307090"/>
                  <a:gd name="connsiteX1621" fmla="*/ 100335 w 204285"/>
                  <a:gd name="connsiteY1621" fmla="*/ 277995 h 307090"/>
                  <a:gd name="connsiteX1622" fmla="*/ 100600 w 204285"/>
                  <a:gd name="connsiteY1622" fmla="*/ 279758 h 307090"/>
                  <a:gd name="connsiteX1623" fmla="*/ 100600 w 204285"/>
                  <a:gd name="connsiteY1623" fmla="*/ 280375 h 307090"/>
                  <a:gd name="connsiteX1624" fmla="*/ 100864 w 204285"/>
                  <a:gd name="connsiteY1624" fmla="*/ 282139 h 307090"/>
                  <a:gd name="connsiteX1625" fmla="*/ 100600 w 204285"/>
                  <a:gd name="connsiteY1625" fmla="*/ 283902 h 307090"/>
                  <a:gd name="connsiteX1626" fmla="*/ 100864 w 204285"/>
                  <a:gd name="connsiteY1626" fmla="*/ 285666 h 307090"/>
                  <a:gd name="connsiteX1627" fmla="*/ 101129 w 204285"/>
                  <a:gd name="connsiteY1627" fmla="*/ 286812 h 307090"/>
                  <a:gd name="connsiteX1628" fmla="*/ 102275 w 204285"/>
                  <a:gd name="connsiteY1628" fmla="*/ 287429 h 307090"/>
                  <a:gd name="connsiteX1629" fmla="*/ 103157 w 204285"/>
                  <a:gd name="connsiteY1629" fmla="*/ 287164 h 307090"/>
                  <a:gd name="connsiteX1630" fmla="*/ 103774 w 204285"/>
                  <a:gd name="connsiteY1630" fmla="*/ 286812 h 307090"/>
                  <a:gd name="connsiteX1631" fmla="*/ 104127 w 204285"/>
                  <a:gd name="connsiteY1631" fmla="*/ 286195 h 307090"/>
                  <a:gd name="connsiteX1632" fmla="*/ 103774 w 204285"/>
                  <a:gd name="connsiteY1632" fmla="*/ 285313 h 307090"/>
                  <a:gd name="connsiteX1633" fmla="*/ 104127 w 204285"/>
                  <a:gd name="connsiteY1633" fmla="*/ 284696 h 307090"/>
                  <a:gd name="connsiteX1634" fmla="*/ 104391 w 204285"/>
                  <a:gd name="connsiteY1634" fmla="*/ 283814 h 307090"/>
                  <a:gd name="connsiteX1635" fmla="*/ 104391 w 204285"/>
                  <a:gd name="connsiteY1635" fmla="*/ 283197 h 307090"/>
                  <a:gd name="connsiteX1636" fmla="*/ 104656 w 204285"/>
                  <a:gd name="connsiteY1636" fmla="*/ 282051 h 307090"/>
                  <a:gd name="connsiteX1637" fmla="*/ 105273 w 204285"/>
                  <a:gd name="connsiteY1637" fmla="*/ 281786 h 307090"/>
                  <a:gd name="connsiteX1638" fmla="*/ 106155 w 204285"/>
                  <a:gd name="connsiteY1638" fmla="*/ 281522 h 307090"/>
                  <a:gd name="connsiteX1639" fmla="*/ 106155 w 204285"/>
                  <a:gd name="connsiteY1639" fmla="*/ 280640 h 307090"/>
                  <a:gd name="connsiteX1640" fmla="*/ 106155 w 204285"/>
                  <a:gd name="connsiteY1640" fmla="*/ 279494 h 307090"/>
                  <a:gd name="connsiteX1641" fmla="*/ 105537 w 204285"/>
                  <a:gd name="connsiteY1641" fmla="*/ 278348 h 307090"/>
                  <a:gd name="connsiteX1642" fmla="*/ 105537 w 204285"/>
                  <a:gd name="connsiteY1642" fmla="*/ 278083 h 307090"/>
                  <a:gd name="connsiteX1643" fmla="*/ 106684 w 204285"/>
                  <a:gd name="connsiteY1643" fmla="*/ 276055 h 307090"/>
                  <a:gd name="connsiteX1644" fmla="*/ 105537 w 204285"/>
                  <a:gd name="connsiteY1644" fmla="*/ 274292 h 307090"/>
                  <a:gd name="connsiteX1645" fmla="*/ 106155 w 204285"/>
                  <a:gd name="connsiteY1645" fmla="*/ 273410 h 307090"/>
                  <a:gd name="connsiteX1646" fmla="*/ 106419 w 204285"/>
                  <a:gd name="connsiteY1646" fmla="*/ 272528 h 307090"/>
                  <a:gd name="connsiteX1647" fmla="*/ 107036 w 204285"/>
                  <a:gd name="connsiteY1647" fmla="*/ 272264 h 307090"/>
                  <a:gd name="connsiteX1648" fmla="*/ 107918 w 204285"/>
                  <a:gd name="connsiteY1648" fmla="*/ 271382 h 307090"/>
                  <a:gd name="connsiteX1649" fmla="*/ 108535 w 204285"/>
                  <a:gd name="connsiteY1649" fmla="*/ 270236 h 307090"/>
                  <a:gd name="connsiteX1650" fmla="*/ 108535 w 204285"/>
                  <a:gd name="connsiteY1650" fmla="*/ 269090 h 307090"/>
                  <a:gd name="connsiteX1651" fmla="*/ 109417 w 204285"/>
                  <a:gd name="connsiteY1651" fmla="*/ 268473 h 307090"/>
                  <a:gd name="connsiteX1652" fmla="*/ 110563 w 204285"/>
                  <a:gd name="connsiteY1652" fmla="*/ 266709 h 307090"/>
                  <a:gd name="connsiteX1653" fmla="*/ 111180 w 204285"/>
                  <a:gd name="connsiteY1653" fmla="*/ 266092 h 307090"/>
                  <a:gd name="connsiteX1654" fmla="*/ 110563 w 204285"/>
                  <a:gd name="connsiteY1654" fmla="*/ 264593 h 307090"/>
                  <a:gd name="connsiteX1655" fmla="*/ 111709 w 204285"/>
                  <a:gd name="connsiteY1655" fmla="*/ 263712 h 307090"/>
                  <a:gd name="connsiteX1656" fmla="*/ 112062 w 204285"/>
                  <a:gd name="connsiteY1656" fmla="*/ 263094 h 307090"/>
                  <a:gd name="connsiteX1657" fmla="*/ 111180 w 204285"/>
                  <a:gd name="connsiteY1657" fmla="*/ 262830 h 307090"/>
                  <a:gd name="connsiteX1658" fmla="*/ 110563 w 204285"/>
                  <a:gd name="connsiteY1658" fmla="*/ 262213 h 307090"/>
                  <a:gd name="connsiteX1659" fmla="*/ 110298 w 204285"/>
                  <a:gd name="connsiteY1659" fmla="*/ 261948 h 307090"/>
                  <a:gd name="connsiteX1660" fmla="*/ 112944 w 204285"/>
                  <a:gd name="connsiteY1660" fmla="*/ 260802 h 307090"/>
                  <a:gd name="connsiteX1661" fmla="*/ 112238 w 204285"/>
                  <a:gd name="connsiteY1661" fmla="*/ 260802 h 307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</a:cxnLst>
                <a:rect l="l" t="t" r="r" b="b"/>
                <a:pathLst>
                  <a:path w="204285" h="307090">
                    <a:moveTo>
                      <a:pt x="132958" y="0"/>
                    </a:moveTo>
                    <a:lnTo>
                      <a:pt x="137013" y="1146"/>
                    </a:lnTo>
                    <a:lnTo>
                      <a:pt x="139041" y="2292"/>
                    </a:lnTo>
                    <a:lnTo>
                      <a:pt x="137631" y="2292"/>
                    </a:lnTo>
                    <a:lnTo>
                      <a:pt x="137983" y="3439"/>
                    </a:lnTo>
                    <a:lnTo>
                      <a:pt x="140011" y="3703"/>
                    </a:lnTo>
                    <a:lnTo>
                      <a:pt x="145566" y="6348"/>
                    </a:lnTo>
                    <a:lnTo>
                      <a:pt x="148476" y="7494"/>
                    </a:lnTo>
                    <a:lnTo>
                      <a:pt x="150503" y="8993"/>
                    </a:lnTo>
                    <a:lnTo>
                      <a:pt x="152884" y="9522"/>
                    </a:lnTo>
                    <a:lnTo>
                      <a:pt x="155529" y="10404"/>
                    </a:lnTo>
                    <a:lnTo>
                      <a:pt x="157909" y="11550"/>
                    </a:lnTo>
                    <a:lnTo>
                      <a:pt x="160819" y="12432"/>
                    </a:lnTo>
                    <a:lnTo>
                      <a:pt x="162847" y="12432"/>
                    </a:lnTo>
                    <a:lnTo>
                      <a:pt x="163993" y="12432"/>
                    </a:lnTo>
                    <a:lnTo>
                      <a:pt x="163993" y="13049"/>
                    </a:lnTo>
                    <a:lnTo>
                      <a:pt x="164875" y="13049"/>
                    </a:lnTo>
                    <a:lnTo>
                      <a:pt x="167167" y="13666"/>
                    </a:lnTo>
                    <a:lnTo>
                      <a:pt x="168313" y="13666"/>
                    </a:lnTo>
                    <a:lnTo>
                      <a:pt x="169724" y="13931"/>
                    </a:lnTo>
                    <a:lnTo>
                      <a:pt x="170870" y="13931"/>
                    </a:lnTo>
                    <a:lnTo>
                      <a:pt x="171752" y="15077"/>
                    </a:lnTo>
                    <a:lnTo>
                      <a:pt x="174662" y="16223"/>
                    </a:lnTo>
                    <a:lnTo>
                      <a:pt x="176160" y="17722"/>
                    </a:lnTo>
                    <a:lnTo>
                      <a:pt x="176777" y="19485"/>
                    </a:lnTo>
                    <a:lnTo>
                      <a:pt x="179422" y="18868"/>
                    </a:lnTo>
                    <a:lnTo>
                      <a:pt x="180569" y="19485"/>
                    </a:lnTo>
                    <a:lnTo>
                      <a:pt x="181715" y="21513"/>
                    </a:lnTo>
                    <a:lnTo>
                      <a:pt x="184095" y="22130"/>
                    </a:lnTo>
                    <a:lnTo>
                      <a:pt x="184095" y="22747"/>
                    </a:lnTo>
                    <a:lnTo>
                      <a:pt x="186741" y="23629"/>
                    </a:lnTo>
                    <a:lnTo>
                      <a:pt x="187005" y="24511"/>
                    </a:lnTo>
                    <a:lnTo>
                      <a:pt x="184360" y="24775"/>
                    </a:lnTo>
                    <a:lnTo>
                      <a:pt x="183743" y="25921"/>
                    </a:lnTo>
                    <a:lnTo>
                      <a:pt x="184007" y="27949"/>
                    </a:lnTo>
                    <a:lnTo>
                      <a:pt x="185771" y="31476"/>
                    </a:lnTo>
                    <a:lnTo>
                      <a:pt x="184889" y="31829"/>
                    </a:lnTo>
                    <a:lnTo>
                      <a:pt x="185154" y="33857"/>
                    </a:lnTo>
                    <a:lnTo>
                      <a:pt x="185418" y="34738"/>
                    </a:lnTo>
                    <a:lnTo>
                      <a:pt x="186300" y="33857"/>
                    </a:lnTo>
                    <a:lnTo>
                      <a:pt x="187446" y="34738"/>
                    </a:lnTo>
                    <a:lnTo>
                      <a:pt x="190091" y="34738"/>
                    </a:lnTo>
                    <a:lnTo>
                      <a:pt x="190356" y="36766"/>
                    </a:lnTo>
                    <a:lnTo>
                      <a:pt x="190620" y="37912"/>
                    </a:lnTo>
                    <a:lnTo>
                      <a:pt x="187975" y="37912"/>
                    </a:lnTo>
                    <a:lnTo>
                      <a:pt x="188239" y="39059"/>
                    </a:lnTo>
                    <a:lnTo>
                      <a:pt x="187622" y="41351"/>
                    </a:lnTo>
                    <a:lnTo>
                      <a:pt x="190003" y="41351"/>
                    </a:lnTo>
                    <a:lnTo>
                      <a:pt x="191413" y="44260"/>
                    </a:lnTo>
                    <a:lnTo>
                      <a:pt x="192912" y="44525"/>
                    </a:lnTo>
                    <a:lnTo>
                      <a:pt x="194676" y="46553"/>
                    </a:lnTo>
                    <a:lnTo>
                      <a:pt x="196968" y="47699"/>
                    </a:lnTo>
                    <a:lnTo>
                      <a:pt x="194676" y="48845"/>
                    </a:lnTo>
                    <a:lnTo>
                      <a:pt x="195822" y="54135"/>
                    </a:lnTo>
                    <a:lnTo>
                      <a:pt x="194676" y="54400"/>
                    </a:lnTo>
                    <a:lnTo>
                      <a:pt x="193794" y="54664"/>
                    </a:lnTo>
                    <a:lnTo>
                      <a:pt x="192031" y="54929"/>
                    </a:lnTo>
                    <a:lnTo>
                      <a:pt x="192912" y="58720"/>
                    </a:lnTo>
                    <a:lnTo>
                      <a:pt x="194940" y="61630"/>
                    </a:lnTo>
                    <a:lnTo>
                      <a:pt x="197585" y="62776"/>
                    </a:lnTo>
                    <a:lnTo>
                      <a:pt x="204286" y="68948"/>
                    </a:lnTo>
                    <a:lnTo>
                      <a:pt x="203404" y="68948"/>
                    </a:lnTo>
                    <a:lnTo>
                      <a:pt x="202787" y="69212"/>
                    </a:lnTo>
                    <a:lnTo>
                      <a:pt x="202170" y="69477"/>
                    </a:lnTo>
                    <a:lnTo>
                      <a:pt x="201288" y="69741"/>
                    </a:lnTo>
                    <a:lnTo>
                      <a:pt x="201288" y="70006"/>
                    </a:lnTo>
                    <a:lnTo>
                      <a:pt x="200671" y="70270"/>
                    </a:lnTo>
                    <a:lnTo>
                      <a:pt x="200407" y="69653"/>
                    </a:lnTo>
                    <a:lnTo>
                      <a:pt x="199789" y="69388"/>
                    </a:lnTo>
                    <a:lnTo>
                      <a:pt x="200054" y="70270"/>
                    </a:lnTo>
                    <a:lnTo>
                      <a:pt x="198908" y="70535"/>
                    </a:lnTo>
                    <a:lnTo>
                      <a:pt x="198908" y="69918"/>
                    </a:lnTo>
                    <a:lnTo>
                      <a:pt x="198026" y="69918"/>
                    </a:lnTo>
                    <a:lnTo>
                      <a:pt x="197762" y="69300"/>
                    </a:lnTo>
                    <a:lnTo>
                      <a:pt x="196880" y="69565"/>
                    </a:lnTo>
                    <a:lnTo>
                      <a:pt x="196615" y="68683"/>
                    </a:lnTo>
                    <a:lnTo>
                      <a:pt x="196880" y="69829"/>
                    </a:lnTo>
                    <a:lnTo>
                      <a:pt x="196615" y="70447"/>
                    </a:lnTo>
                    <a:lnTo>
                      <a:pt x="195998" y="70711"/>
                    </a:lnTo>
                    <a:lnTo>
                      <a:pt x="195998" y="69829"/>
                    </a:lnTo>
                    <a:lnTo>
                      <a:pt x="195381" y="69829"/>
                    </a:lnTo>
                    <a:lnTo>
                      <a:pt x="195381" y="68683"/>
                    </a:lnTo>
                    <a:lnTo>
                      <a:pt x="195116" y="69300"/>
                    </a:lnTo>
                    <a:lnTo>
                      <a:pt x="194235" y="69918"/>
                    </a:lnTo>
                    <a:lnTo>
                      <a:pt x="194235" y="69653"/>
                    </a:lnTo>
                    <a:lnTo>
                      <a:pt x="193353" y="69388"/>
                    </a:lnTo>
                    <a:lnTo>
                      <a:pt x="193089" y="69653"/>
                    </a:lnTo>
                    <a:lnTo>
                      <a:pt x="192207" y="68771"/>
                    </a:lnTo>
                    <a:lnTo>
                      <a:pt x="191942" y="68771"/>
                    </a:lnTo>
                    <a:lnTo>
                      <a:pt x="191325" y="69388"/>
                    </a:lnTo>
                    <a:lnTo>
                      <a:pt x="192207" y="70535"/>
                    </a:lnTo>
                    <a:lnTo>
                      <a:pt x="191325" y="70535"/>
                    </a:lnTo>
                    <a:lnTo>
                      <a:pt x="191590" y="71152"/>
                    </a:lnTo>
                    <a:lnTo>
                      <a:pt x="191325" y="71769"/>
                    </a:lnTo>
                    <a:lnTo>
                      <a:pt x="190443" y="71769"/>
                    </a:lnTo>
                    <a:lnTo>
                      <a:pt x="189827" y="71769"/>
                    </a:lnTo>
                    <a:lnTo>
                      <a:pt x="189827" y="71152"/>
                    </a:lnTo>
                    <a:lnTo>
                      <a:pt x="190708" y="70535"/>
                    </a:lnTo>
                    <a:lnTo>
                      <a:pt x="190972" y="69918"/>
                    </a:lnTo>
                    <a:lnTo>
                      <a:pt x="190708" y="68771"/>
                    </a:lnTo>
                    <a:lnTo>
                      <a:pt x="190091" y="68507"/>
                    </a:lnTo>
                    <a:lnTo>
                      <a:pt x="189827" y="68771"/>
                    </a:lnTo>
                    <a:lnTo>
                      <a:pt x="190091" y="69918"/>
                    </a:lnTo>
                    <a:lnTo>
                      <a:pt x="189209" y="69918"/>
                    </a:lnTo>
                    <a:lnTo>
                      <a:pt x="188328" y="68771"/>
                    </a:lnTo>
                    <a:lnTo>
                      <a:pt x="187446" y="69388"/>
                    </a:lnTo>
                    <a:lnTo>
                      <a:pt x="187446" y="70006"/>
                    </a:lnTo>
                    <a:lnTo>
                      <a:pt x="189209" y="70623"/>
                    </a:lnTo>
                    <a:lnTo>
                      <a:pt x="188592" y="70887"/>
                    </a:lnTo>
                    <a:lnTo>
                      <a:pt x="187710" y="70623"/>
                    </a:lnTo>
                    <a:lnTo>
                      <a:pt x="187093" y="71505"/>
                    </a:lnTo>
                    <a:lnTo>
                      <a:pt x="186212" y="71240"/>
                    </a:lnTo>
                    <a:lnTo>
                      <a:pt x="184713" y="71857"/>
                    </a:lnTo>
                    <a:lnTo>
                      <a:pt x="184713" y="70711"/>
                    </a:lnTo>
                    <a:lnTo>
                      <a:pt x="183566" y="70094"/>
                    </a:lnTo>
                    <a:lnTo>
                      <a:pt x="181803" y="69829"/>
                    </a:lnTo>
                    <a:lnTo>
                      <a:pt x="182068" y="70094"/>
                    </a:lnTo>
                    <a:lnTo>
                      <a:pt x="180921" y="69829"/>
                    </a:lnTo>
                    <a:lnTo>
                      <a:pt x="179775" y="68683"/>
                    </a:lnTo>
                    <a:lnTo>
                      <a:pt x="178012" y="67537"/>
                    </a:lnTo>
                    <a:lnTo>
                      <a:pt x="177395" y="67008"/>
                    </a:lnTo>
                    <a:lnTo>
                      <a:pt x="176513" y="66743"/>
                    </a:lnTo>
                    <a:lnTo>
                      <a:pt x="175631" y="66743"/>
                    </a:lnTo>
                    <a:lnTo>
                      <a:pt x="175896" y="67272"/>
                    </a:lnTo>
                    <a:lnTo>
                      <a:pt x="176513" y="67537"/>
                    </a:lnTo>
                    <a:lnTo>
                      <a:pt x="177130" y="67537"/>
                    </a:lnTo>
                    <a:lnTo>
                      <a:pt x="178012" y="68154"/>
                    </a:lnTo>
                    <a:lnTo>
                      <a:pt x="178893" y="68771"/>
                    </a:lnTo>
                    <a:lnTo>
                      <a:pt x="179511" y="69918"/>
                    </a:lnTo>
                    <a:lnTo>
                      <a:pt x="179511" y="70182"/>
                    </a:lnTo>
                    <a:lnTo>
                      <a:pt x="178629" y="70799"/>
                    </a:lnTo>
                    <a:lnTo>
                      <a:pt x="178100" y="71416"/>
                    </a:lnTo>
                    <a:lnTo>
                      <a:pt x="177835" y="70799"/>
                    </a:lnTo>
                    <a:lnTo>
                      <a:pt x="177835" y="70182"/>
                    </a:lnTo>
                    <a:lnTo>
                      <a:pt x="177571" y="69918"/>
                    </a:lnTo>
                    <a:lnTo>
                      <a:pt x="176954" y="70182"/>
                    </a:lnTo>
                    <a:lnTo>
                      <a:pt x="176689" y="70799"/>
                    </a:lnTo>
                    <a:lnTo>
                      <a:pt x="176425" y="69036"/>
                    </a:lnTo>
                    <a:lnTo>
                      <a:pt x="175808" y="69036"/>
                    </a:lnTo>
                    <a:lnTo>
                      <a:pt x="175191" y="69036"/>
                    </a:lnTo>
                    <a:lnTo>
                      <a:pt x="174926" y="68771"/>
                    </a:lnTo>
                    <a:lnTo>
                      <a:pt x="174926" y="68154"/>
                    </a:lnTo>
                    <a:lnTo>
                      <a:pt x="174044" y="68154"/>
                    </a:lnTo>
                    <a:lnTo>
                      <a:pt x="174044" y="69036"/>
                    </a:lnTo>
                    <a:lnTo>
                      <a:pt x="173427" y="68771"/>
                    </a:lnTo>
                    <a:lnTo>
                      <a:pt x="173163" y="69036"/>
                    </a:lnTo>
                    <a:lnTo>
                      <a:pt x="174309" y="69918"/>
                    </a:lnTo>
                    <a:lnTo>
                      <a:pt x="173692" y="69918"/>
                    </a:lnTo>
                    <a:lnTo>
                      <a:pt x="173074" y="69918"/>
                    </a:lnTo>
                    <a:lnTo>
                      <a:pt x="174221" y="70799"/>
                    </a:lnTo>
                    <a:lnTo>
                      <a:pt x="173339" y="71416"/>
                    </a:lnTo>
                    <a:lnTo>
                      <a:pt x="171840" y="70799"/>
                    </a:lnTo>
                    <a:lnTo>
                      <a:pt x="172457" y="71416"/>
                    </a:lnTo>
                    <a:lnTo>
                      <a:pt x="174485" y="71416"/>
                    </a:lnTo>
                    <a:lnTo>
                      <a:pt x="174750" y="72034"/>
                    </a:lnTo>
                    <a:lnTo>
                      <a:pt x="174485" y="72651"/>
                    </a:lnTo>
                    <a:lnTo>
                      <a:pt x="172457" y="72034"/>
                    </a:lnTo>
                    <a:lnTo>
                      <a:pt x="172193" y="72651"/>
                    </a:lnTo>
                    <a:lnTo>
                      <a:pt x="172810" y="73532"/>
                    </a:lnTo>
                    <a:lnTo>
                      <a:pt x="171928" y="73532"/>
                    </a:lnTo>
                    <a:lnTo>
                      <a:pt x="171047" y="73532"/>
                    </a:lnTo>
                    <a:lnTo>
                      <a:pt x="171928" y="74150"/>
                    </a:lnTo>
                    <a:lnTo>
                      <a:pt x="173074" y="74414"/>
                    </a:lnTo>
                    <a:lnTo>
                      <a:pt x="173692" y="74150"/>
                    </a:lnTo>
                    <a:lnTo>
                      <a:pt x="173692" y="73268"/>
                    </a:lnTo>
                    <a:lnTo>
                      <a:pt x="172810" y="72651"/>
                    </a:lnTo>
                    <a:lnTo>
                      <a:pt x="173074" y="72651"/>
                    </a:lnTo>
                    <a:lnTo>
                      <a:pt x="173692" y="72651"/>
                    </a:lnTo>
                    <a:lnTo>
                      <a:pt x="173692" y="72915"/>
                    </a:lnTo>
                    <a:lnTo>
                      <a:pt x="173692" y="73180"/>
                    </a:lnTo>
                    <a:lnTo>
                      <a:pt x="174309" y="73180"/>
                    </a:lnTo>
                    <a:lnTo>
                      <a:pt x="174838" y="73180"/>
                    </a:lnTo>
                    <a:lnTo>
                      <a:pt x="175102" y="73444"/>
                    </a:lnTo>
                    <a:lnTo>
                      <a:pt x="174573" y="74061"/>
                    </a:lnTo>
                    <a:lnTo>
                      <a:pt x="173956" y="74326"/>
                    </a:lnTo>
                    <a:lnTo>
                      <a:pt x="174838" y="74326"/>
                    </a:lnTo>
                    <a:lnTo>
                      <a:pt x="175102" y="74590"/>
                    </a:lnTo>
                    <a:lnTo>
                      <a:pt x="175367" y="74855"/>
                    </a:lnTo>
                    <a:lnTo>
                      <a:pt x="175102" y="75119"/>
                    </a:lnTo>
                    <a:lnTo>
                      <a:pt x="174838" y="75384"/>
                    </a:lnTo>
                    <a:lnTo>
                      <a:pt x="174573" y="75119"/>
                    </a:lnTo>
                    <a:lnTo>
                      <a:pt x="173956" y="74502"/>
                    </a:lnTo>
                    <a:lnTo>
                      <a:pt x="173339" y="74502"/>
                    </a:lnTo>
                    <a:lnTo>
                      <a:pt x="173074" y="74502"/>
                    </a:lnTo>
                    <a:lnTo>
                      <a:pt x="173074" y="75119"/>
                    </a:lnTo>
                    <a:lnTo>
                      <a:pt x="172810" y="75384"/>
                    </a:lnTo>
                    <a:lnTo>
                      <a:pt x="171047" y="74238"/>
                    </a:lnTo>
                    <a:lnTo>
                      <a:pt x="169900" y="73356"/>
                    </a:lnTo>
                    <a:lnTo>
                      <a:pt x="168754" y="73092"/>
                    </a:lnTo>
                    <a:lnTo>
                      <a:pt x="167608" y="73092"/>
                    </a:lnTo>
                    <a:lnTo>
                      <a:pt x="165845" y="72474"/>
                    </a:lnTo>
                    <a:lnTo>
                      <a:pt x="164963" y="71593"/>
                    </a:lnTo>
                    <a:lnTo>
                      <a:pt x="163817" y="71328"/>
                    </a:lnTo>
                    <a:lnTo>
                      <a:pt x="163552" y="71593"/>
                    </a:lnTo>
                    <a:lnTo>
                      <a:pt x="164081" y="71857"/>
                    </a:lnTo>
                    <a:lnTo>
                      <a:pt x="166109" y="73003"/>
                    </a:lnTo>
                    <a:lnTo>
                      <a:pt x="166991" y="73885"/>
                    </a:lnTo>
                    <a:lnTo>
                      <a:pt x="168754" y="74150"/>
                    </a:lnTo>
                    <a:lnTo>
                      <a:pt x="170253" y="74414"/>
                    </a:lnTo>
                    <a:lnTo>
                      <a:pt x="171399" y="75296"/>
                    </a:lnTo>
                    <a:lnTo>
                      <a:pt x="171928" y="75560"/>
                    </a:lnTo>
                    <a:lnTo>
                      <a:pt x="170429" y="75296"/>
                    </a:lnTo>
                    <a:lnTo>
                      <a:pt x="169900" y="75560"/>
                    </a:lnTo>
                    <a:lnTo>
                      <a:pt x="168754" y="75296"/>
                    </a:lnTo>
                    <a:lnTo>
                      <a:pt x="168490" y="75031"/>
                    </a:lnTo>
                    <a:lnTo>
                      <a:pt x="168754" y="75648"/>
                    </a:lnTo>
                    <a:lnTo>
                      <a:pt x="168137" y="75384"/>
                    </a:lnTo>
                    <a:lnTo>
                      <a:pt x="167255" y="75119"/>
                    </a:lnTo>
                    <a:lnTo>
                      <a:pt x="166374" y="75384"/>
                    </a:lnTo>
                    <a:lnTo>
                      <a:pt x="166374" y="76001"/>
                    </a:lnTo>
                    <a:lnTo>
                      <a:pt x="166991" y="76266"/>
                    </a:lnTo>
                    <a:lnTo>
                      <a:pt x="167608" y="76883"/>
                    </a:lnTo>
                    <a:lnTo>
                      <a:pt x="168225" y="76266"/>
                    </a:lnTo>
                    <a:lnTo>
                      <a:pt x="167961" y="75648"/>
                    </a:lnTo>
                    <a:lnTo>
                      <a:pt x="169107" y="76795"/>
                    </a:lnTo>
                    <a:lnTo>
                      <a:pt x="169371" y="77412"/>
                    </a:lnTo>
                    <a:lnTo>
                      <a:pt x="169371" y="77676"/>
                    </a:lnTo>
                    <a:lnTo>
                      <a:pt x="168754" y="77412"/>
                    </a:lnTo>
                    <a:lnTo>
                      <a:pt x="168137" y="77147"/>
                    </a:lnTo>
                    <a:lnTo>
                      <a:pt x="168754" y="78294"/>
                    </a:lnTo>
                    <a:lnTo>
                      <a:pt x="168490" y="78911"/>
                    </a:lnTo>
                    <a:lnTo>
                      <a:pt x="167961" y="77765"/>
                    </a:lnTo>
                    <a:lnTo>
                      <a:pt x="167079" y="77765"/>
                    </a:lnTo>
                    <a:lnTo>
                      <a:pt x="166814" y="78382"/>
                    </a:lnTo>
                    <a:lnTo>
                      <a:pt x="167079" y="78999"/>
                    </a:lnTo>
                    <a:lnTo>
                      <a:pt x="166462" y="79263"/>
                    </a:lnTo>
                    <a:lnTo>
                      <a:pt x="165316" y="78999"/>
                    </a:lnTo>
                    <a:lnTo>
                      <a:pt x="164698" y="78117"/>
                    </a:lnTo>
                    <a:lnTo>
                      <a:pt x="164434" y="77853"/>
                    </a:lnTo>
                    <a:lnTo>
                      <a:pt x="164698" y="78999"/>
                    </a:lnTo>
                    <a:lnTo>
                      <a:pt x="164081" y="79528"/>
                    </a:lnTo>
                    <a:lnTo>
                      <a:pt x="163817" y="79528"/>
                    </a:lnTo>
                    <a:lnTo>
                      <a:pt x="162053" y="78029"/>
                    </a:lnTo>
                    <a:lnTo>
                      <a:pt x="160907" y="77765"/>
                    </a:lnTo>
                    <a:lnTo>
                      <a:pt x="160643" y="78382"/>
                    </a:lnTo>
                    <a:lnTo>
                      <a:pt x="161260" y="78999"/>
                    </a:lnTo>
                    <a:lnTo>
                      <a:pt x="161877" y="78999"/>
                    </a:lnTo>
                    <a:lnTo>
                      <a:pt x="162759" y="79528"/>
                    </a:lnTo>
                    <a:lnTo>
                      <a:pt x="161877" y="79528"/>
                    </a:lnTo>
                    <a:lnTo>
                      <a:pt x="160995" y="79528"/>
                    </a:lnTo>
                    <a:lnTo>
                      <a:pt x="160995" y="79881"/>
                    </a:lnTo>
                    <a:lnTo>
                      <a:pt x="161613" y="80762"/>
                    </a:lnTo>
                    <a:lnTo>
                      <a:pt x="161348" y="79881"/>
                    </a:lnTo>
                    <a:lnTo>
                      <a:pt x="163728" y="80498"/>
                    </a:lnTo>
                    <a:lnTo>
                      <a:pt x="165139" y="81027"/>
                    </a:lnTo>
                    <a:lnTo>
                      <a:pt x="164522" y="81908"/>
                    </a:lnTo>
                    <a:lnTo>
                      <a:pt x="164257" y="81908"/>
                    </a:lnTo>
                    <a:lnTo>
                      <a:pt x="162847" y="81908"/>
                    </a:lnTo>
                    <a:lnTo>
                      <a:pt x="161701" y="81908"/>
                    </a:lnTo>
                    <a:lnTo>
                      <a:pt x="161084" y="80762"/>
                    </a:lnTo>
                    <a:lnTo>
                      <a:pt x="160466" y="80498"/>
                    </a:lnTo>
                    <a:lnTo>
                      <a:pt x="160202" y="80762"/>
                    </a:lnTo>
                    <a:lnTo>
                      <a:pt x="158438" y="79616"/>
                    </a:lnTo>
                    <a:lnTo>
                      <a:pt x="158438" y="79969"/>
                    </a:lnTo>
                    <a:lnTo>
                      <a:pt x="157557" y="79616"/>
                    </a:lnTo>
                    <a:lnTo>
                      <a:pt x="156940" y="79969"/>
                    </a:lnTo>
                    <a:lnTo>
                      <a:pt x="157557" y="80586"/>
                    </a:lnTo>
                    <a:lnTo>
                      <a:pt x="158968" y="81115"/>
                    </a:lnTo>
                    <a:lnTo>
                      <a:pt x="160731" y="81115"/>
                    </a:lnTo>
                    <a:lnTo>
                      <a:pt x="160995" y="82261"/>
                    </a:lnTo>
                    <a:lnTo>
                      <a:pt x="162142" y="83143"/>
                    </a:lnTo>
                    <a:lnTo>
                      <a:pt x="162406" y="83143"/>
                    </a:lnTo>
                    <a:lnTo>
                      <a:pt x="163023" y="83143"/>
                    </a:lnTo>
                    <a:lnTo>
                      <a:pt x="164786" y="83143"/>
                    </a:lnTo>
                    <a:lnTo>
                      <a:pt x="165668" y="82526"/>
                    </a:lnTo>
                    <a:lnTo>
                      <a:pt x="165668" y="83672"/>
                    </a:lnTo>
                    <a:lnTo>
                      <a:pt x="167167" y="84553"/>
                    </a:lnTo>
                    <a:lnTo>
                      <a:pt x="166285" y="86052"/>
                    </a:lnTo>
                    <a:lnTo>
                      <a:pt x="165668" y="86317"/>
                    </a:lnTo>
                    <a:lnTo>
                      <a:pt x="164786" y="86934"/>
                    </a:lnTo>
                    <a:lnTo>
                      <a:pt x="164169" y="87816"/>
                    </a:lnTo>
                    <a:lnTo>
                      <a:pt x="163640" y="87551"/>
                    </a:lnTo>
                    <a:lnTo>
                      <a:pt x="161613" y="87287"/>
                    </a:lnTo>
                    <a:lnTo>
                      <a:pt x="161348" y="87022"/>
                    </a:lnTo>
                    <a:lnTo>
                      <a:pt x="161348" y="87639"/>
                    </a:lnTo>
                    <a:lnTo>
                      <a:pt x="161348" y="88257"/>
                    </a:lnTo>
                    <a:lnTo>
                      <a:pt x="159585" y="87639"/>
                    </a:lnTo>
                    <a:lnTo>
                      <a:pt x="158438" y="88257"/>
                    </a:lnTo>
                    <a:lnTo>
                      <a:pt x="157821" y="88874"/>
                    </a:lnTo>
                    <a:lnTo>
                      <a:pt x="158438" y="89491"/>
                    </a:lnTo>
                    <a:lnTo>
                      <a:pt x="158174" y="89755"/>
                    </a:lnTo>
                    <a:lnTo>
                      <a:pt x="158438" y="90637"/>
                    </a:lnTo>
                    <a:lnTo>
                      <a:pt x="157557" y="90902"/>
                    </a:lnTo>
                    <a:lnTo>
                      <a:pt x="156675" y="91519"/>
                    </a:lnTo>
                    <a:lnTo>
                      <a:pt x="155793" y="90902"/>
                    </a:lnTo>
                    <a:lnTo>
                      <a:pt x="154912" y="90902"/>
                    </a:lnTo>
                    <a:lnTo>
                      <a:pt x="155176" y="91783"/>
                    </a:lnTo>
                    <a:lnTo>
                      <a:pt x="156675" y="92048"/>
                    </a:lnTo>
                    <a:lnTo>
                      <a:pt x="158703" y="92048"/>
                    </a:lnTo>
                    <a:lnTo>
                      <a:pt x="159849" y="91783"/>
                    </a:lnTo>
                    <a:lnTo>
                      <a:pt x="160466" y="92048"/>
                    </a:lnTo>
                    <a:lnTo>
                      <a:pt x="160731" y="92312"/>
                    </a:lnTo>
                    <a:lnTo>
                      <a:pt x="160731" y="92577"/>
                    </a:lnTo>
                    <a:lnTo>
                      <a:pt x="159849" y="92841"/>
                    </a:lnTo>
                    <a:lnTo>
                      <a:pt x="158968" y="92577"/>
                    </a:lnTo>
                    <a:lnTo>
                      <a:pt x="160466" y="93458"/>
                    </a:lnTo>
                    <a:lnTo>
                      <a:pt x="161084" y="94340"/>
                    </a:lnTo>
                    <a:lnTo>
                      <a:pt x="161084" y="94957"/>
                    </a:lnTo>
                    <a:lnTo>
                      <a:pt x="156675" y="93194"/>
                    </a:lnTo>
                    <a:lnTo>
                      <a:pt x="156940" y="94340"/>
                    </a:lnTo>
                    <a:lnTo>
                      <a:pt x="159585" y="94957"/>
                    </a:lnTo>
                    <a:lnTo>
                      <a:pt x="159585" y="95222"/>
                    </a:lnTo>
                    <a:lnTo>
                      <a:pt x="160202" y="96103"/>
                    </a:lnTo>
                    <a:lnTo>
                      <a:pt x="161348" y="96103"/>
                    </a:lnTo>
                    <a:lnTo>
                      <a:pt x="161348" y="97250"/>
                    </a:lnTo>
                    <a:lnTo>
                      <a:pt x="161965" y="97514"/>
                    </a:lnTo>
                    <a:lnTo>
                      <a:pt x="163112" y="97250"/>
                    </a:lnTo>
                    <a:lnTo>
                      <a:pt x="162847" y="96103"/>
                    </a:lnTo>
                    <a:lnTo>
                      <a:pt x="163728" y="96721"/>
                    </a:lnTo>
                    <a:lnTo>
                      <a:pt x="163993" y="97602"/>
                    </a:lnTo>
                    <a:lnTo>
                      <a:pt x="164257" y="97602"/>
                    </a:lnTo>
                    <a:lnTo>
                      <a:pt x="165139" y="98220"/>
                    </a:lnTo>
                    <a:lnTo>
                      <a:pt x="165139" y="98484"/>
                    </a:lnTo>
                    <a:lnTo>
                      <a:pt x="164522" y="98749"/>
                    </a:lnTo>
                    <a:lnTo>
                      <a:pt x="163905" y="98131"/>
                    </a:lnTo>
                    <a:lnTo>
                      <a:pt x="163288" y="98396"/>
                    </a:lnTo>
                    <a:lnTo>
                      <a:pt x="163288" y="98660"/>
                    </a:lnTo>
                    <a:lnTo>
                      <a:pt x="163905" y="98925"/>
                    </a:lnTo>
                    <a:lnTo>
                      <a:pt x="164169" y="98660"/>
                    </a:lnTo>
                    <a:lnTo>
                      <a:pt x="164169" y="99278"/>
                    </a:lnTo>
                    <a:lnTo>
                      <a:pt x="164786" y="99278"/>
                    </a:lnTo>
                    <a:lnTo>
                      <a:pt x="165051" y="99013"/>
                    </a:lnTo>
                    <a:lnTo>
                      <a:pt x="166197" y="99278"/>
                    </a:lnTo>
                    <a:lnTo>
                      <a:pt x="165933" y="100159"/>
                    </a:lnTo>
                    <a:lnTo>
                      <a:pt x="165933" y="101305"/>
                    </a:lnTo>
                    <a:lnTo>
                      <a:pt x="165051" y="101305"/>
                    </a:lnTo>
                    <a:lnTo>
                      <a:pt x="164434" y="101041"/>
                    </a:lnTo>
                    <a:lnTo>
                      <a:pt x="163817" y="101305"/>
                    </a:lnTo>
                    <a:lnTo>
                      <a:pt x="162935" y="101570"/>
                    </a:lnTo>
                    <a:lnTo>
                      <a:pt x="162318" y="100953"/>
                    </a:lnTo>
                    <a:lnTo>
                      <a:pt x="161701" y="100953"/>
                    </a:lnTo>
                    <a:lnTo>
                      <a:pt x="161965" y="101834"/>
                    </a:lnTo>
                    <a:lnTo>
                      <a:pt x="161084" y="102716"/>
                    </a:lnTo>
                    <a:lnTo>
                      <a:pt x="160466" y="102716"/>
                    </a:lnTo>
                    <a:lnTo>
                      <a:pt x="161084" y="103862"/>
                    </a:lnTo>
                    <a:lnTo>
                      <a:pt x="160819" y="104127"/>
                    </a:lnTo>
                    <a:lnTo>
                      <a:pt x="160555" y="104744"/>
                    </a:lnTo>
                    <a:lnTo>
                      <a:pt x="158791" y="103598"/>
                    </a:lnTo>
                    <a:lnTo>
                      <a:pt x="158527" y="104215"/>
                    </a:lnTo>
                    <a:lnTo>
                      <a:pt x="160555" y="105626"/>
                    </a:lnTo>
                    <a:lnTo>
                      <a:pt x="159673" y="106243"/>
                    </a:lnTo>
                    <a:lnTo>
                      <a:pt x="156763" y="104215"/>
                    </a:lnTo>
                    <a:lnTo>
                      <a:pt x="156499" y="104480"/>
                    </a:lnTo>
                    <a:lnTo>
                      <a:pt x="156234" y="105626"/>
                    </a:lnTo>
                    <a:lnTo>
                      <a:pt x="156499" y="106772"/>
                    </a:lnTo>
                    <a:lnTo>
                      <a:pt x="156499" y="107036"/>
                    </a:lnTo>
                    <a:lnTo>
                      <a:pt x="157998" y="108535"/>
                    </a:lnTo>
                    <a:lnTo>
                      <a:pt x="157998" y="109152"/>
                    </a:lnTo>
                    <a:lnTo>
                      <a:pt x="158615" y="110299"/>
                    </a:lnTo>
                    <a:lnTo>
                      <a:pt x="157116" y="110828"/>
                    </a:lnTo>
                    <a:lnTo>
                      <a:pt x="156234" y="110828"/>
                    </a:lnTo>
                    <a:lnTo>
                      <a:pt x="155970" y="110563"/>
                    </a:lnTo>
                    <a:lnTo>
                      <a:pt x="155970" y="109417"/>
                    </a:lnTo>
                    <a:lnTo>
                      <a:pt x="154471" y="110034"/>
                    </a:lnTo>
                    <a:lnTo>
                      <a:pt x="154471" y="111798"/>
                    </a:lnTo>
                    <a:lnTo>
                      <a:pt x="153854" y="112415"/>
                    </a:lnTo>
                    <a:lnTo>
                      <a:pt x="153854" y="113296"/>
                    </a:lnTo>
                    <a:lnTo>
                      <a:pt x="152707" y="113032"/>
                    </a:lnTo>
                    <a:lnTo>
                      <a:pt x="152707" y="113649"/>
                    </a:lnTo>
                    <a:lnTo>
                      <a:pt x="152707" y="113914"/>
                    </a:lnTo>
                    <a:lnTo>
                      <a:pt x="152090" y="114178"/>
                    </a:lnTo>
                    <a:lnTo>
                      <a:pt x="151826" y="113561"/>
                    </a:lnTo>
                    <a:lnTo>
                      <a:pt x="150944" y="114707"/>
                    </a:lnTo>
                    <a:lnTo>
                      <a:pt x="150680" y="114090"/>
                    </a:lnTo>
                    <a:lnTo>
                      <a:pt x="150680" y="113473"/>
                    </a:lnTo>
                    <a:lnTo>
                      <a:pt x="149798" y="114090"/>
                    </a:lnTo>
                    <a:lnTo>
                      <a:pt x="149798" y="114707"/>
                    </a:lnTo>
                    <a:lnTo>
                      <a:pt x="149181" y="114443"/>
                    </a:lnTo>
                    <a:lnTo>
                      <a:pt x="148652" y="114707"/>
                    </a:lnTo>
                    <a:lnTo>
                      <a:pt x="149798" y="115589"/>
                    </a:lnTo>
                    <a:lnTo>
                      <a:pt x="149181" y="115853"/>
                    </a:lnTo>
                    <a:lnTo>
                      <a:pt x="149181" y="116735"/>
                    </a:lnTo>
                    <a:lnTo>
                      <a:pt x="149181" y="117264"/>
                    </a:lnTo>
                    <a:lnTo>
                      <a:pt x="148652" y="116735"/>
                    </a:lnTo>
                    <a:lnTo>
                      <a:pt x="148652" y="116118"/>
                    </a:lnTo>
                    <a:lnTo>
                      <a:pt x="147506" y="115853"/>
                    </a:lnTo>
                    <a:lnTo>
                      <a:pt x="147506" y="116999"/>
                    </a:lnTo>
                    <a:lnTo>
                      <a:pt x="147770" y="117881"/>
                    </a:lnTo>
                    <a:lnTo>
                      <a:pt x="147153" y="118234"/>
                    </a:lnTo>
                    <a:lnTo>
                      <a:pt x="146271" y="117352"/>
                    </a:lnTo>
                    <a:lnTo>
                      <a:pt x="146271" y="117969"/>
                    </a:lnTo>
                    <a:lnTo>
                      <a:pt x="144772" y="118322"/>
                    </a:lnTo>
                    <a:lnTo>
                      <a:pt x="143626" y="117969"/>
                    </a:lnTo>
                    <a:lnTo>
                      <a:pt x="143009" y="117352"/>
                    </a:lnTo>
                    <a:lnTo>
                      <a:pt x="142744" y="117352"/>
                    </a:lnTo>
                    <a:lnTo>
                      <a:pt x="142127" y="117352"/>
                    </a:lnTo>
                    <a:lnTo>
                      <a:pt x="142392" y="117617"/>
                    </a:lnTo>
                    <a:lnTo>
                      <a:pt x="142127" y="117881"/>
                    </a:lnTo>
                    <a:lnTo>
                      <a:pt x="142392" y="118498"/>
                    </a:lnTo>
                    <a:lnTo>
                      <a:pt x="141246" y="117881"/>
                    </a:lnTo>
                    <a:lnTo>
                      <a:pt x="140364" y="118498"/>
                    </a:lnTo>
                    <a:lnTo>
                      <a:pt x="140364" y="117881"/>
                    </a:lnTo>
                    <a:lnTo>
                      <a:pt x="138865" y="119027"/>
                    </a:lnTo>
                    <a:lnTo>
                      <a:pt x="137983" y="119292"/>
                    </a:lnTo>
                    <a:lnTo>
                      <a:pt x="137983" y="120173"/>
                    </a:lnTo>
                    <a:lnTo>
                      <a:pt x="138512" y="121320"/>
                    </a:lnTo>
                    <a:lnTo>
                      <a:pt x="138248" y="121584"/>
                    </a:lnTo>
                    <a:lnTo>
                      <a:pt x="137631" y="122201"/>
                    </a:lnTo>
                    <a:lnTo>
                      <a:pt x="136484" y="121584"/>
                    </a:lnTo>
                    <a:lnTo>
                      <a:pt x="135867" y="121320"/>
                    </a:lnTo>
                    <a:lnTo>
                      <a:pt x="135250" y="120173"/>
                    </a:lnTo>
                    <a:lnTo>
                      <a:pt x="134369" y="118675"/>
                    </a:lnTo>
                    <a:lnTo>
                      <a:pt x="132958" y="118410"/>
                    </a:lnTo>
                    <a:lnTo>
                      <a:pt x="132076" y="119027"/>
                    </a:lnTo>
                    <a:lnTo>
                      <a:pt x="133222" y="119644"/>
                    </a:lnTo>
                    <a:lnTo>
                      <a:pt x="133222" y="120262"/>
                    </a:lnTo>
                    <a:lnTo>
                      <a:pt x="134369" y="120791"/>
                    </a:lnTo>
                    <a:lnTo>
                      <a:pt x="133487" y="121408"/>
                    </a:lnTo>
                    <a:lnTo>
                      <a:pt x="134369" y="121937"/>
                    </a:lnTo>
                    <a:lnTo>
                      <a:pt x="134633" y="122554"/>
                    </a:lnTo>
                    <a:lnTo>
                      <a:pt x="133487" y="121672"/>
                    </a:lnTo>
                    <a:lnTo>
                      <a:pt x="132605" y="121672"/>
                    </a:lnTo>
                    <a:lnTo>
                      <a:pt x="132605" y="121408"/>
                    </a:lnTo>
                    <a:lnTo>
                      <a:pt x="132605" y="120791"/>
                    </a:lnTo>
                    <a:lnTo>
                      <a:pt x="131988" y="120791"/>
                    </a:lnTo>
                    <a:lnTo>
                      <a:pt x="131988" y="121672"/>
                    </a:lnTo>
                    <a:lnTo>
                      <a:pt x="131723" y="121937"/>
                    </a:lnTo>
                    <a:lnTo>
                      <a:pt x="130842" y="121055"/>
                    </a:lnTo>
                    <a:lnTo>
                      <a:pt x="130577" y="121320"/>
                    </a:lnTo>
                    <a:lnTo>
                      <a:pt x="130048" y="122201"/>
                    </a:lnTo>
                    <a:lnTo>
                      <a:pt x="130048" y="123965"/>
                    </a:lnTo>
                    <a:lnTo>
                      <a:pt x="128549" y="124846"/>
                    </a:lnTo>
                    <a:lnTo>
                      <a:pt x="127668" y="125728"/>
                    </a:lnTo>
                    <a:lnTo>
                      <a:pt x="127932" y="125728"/>
                    </a:lnTo>
                    <a:lnTo>
                      <a:pt x="128549" y="125728"/>
                    </a:lnTo>
                    <a:lnTo>
                      <a:pt x="127668" y="126610"/>
                    </a:lnTo>
                    <a:lnTo>
                      <a:pt x="126786" y="125728"/>
                    </a:lnTo>
                    <a:lnTo>
                      <a:pt x="127050" y="126610"/>
                    </a:lnTo>
                    <a:lnTo>
                      <a:pt x="127050" y="126874"/>
                    </a:lnTo>
                    <a:lnTo>
                      <a:pt x="127050" y="127139"/>
                    </a:lnTo>
                    <a:lnTo>
                      <a:pt x="125904" y="127403"/>
                    </a:lnTo>
                    <a:lnTo>
                      <a:pt x="125375" y="126786"/>
                    </a:lnTo>
                    <a:lnTo>
                      <a:pt x="125375" y="125904"/>
                    </a:lnTo>
                    <a:lnTo>
                      <a:pt x="125375" y="125640"/>
                    </a:lnTo>
                    <a:lnTo>
                      <a:pt x="124229" y="125640"/>
                    </a:lnTo>
                    <a:lnTo>
                      <a:pt x="123965" y="125640"/>
                    </a:lnTo>
                    <a:lnTo>
                      <a:pt x="123347" y="125375"/>
                    </a:lnTo>
                    <a:lnTo>
                      <a:pt x="121848" y="125640"/>
                    </a:lnTo>
                    <a:lnTo>
                      <a:pt x="124494" y="126786"/>
                    </a:lnTo>
                    <a:lnTo>
                      <a:pt x="124494" y="127403"/>
                    </a:lnTo>
                    <a:lnTo>
                      <a:pt x="122995" y="127403"/>
                    </a:lnTo>
                    <a:lnTo>
                      <a:pt x="121848" y="126786"/>
                    </a:lnTo>
                    <a:lnTo>
                      <a:pt x="122995" y="126786"/>
                    </a:lnTo>
                    <a:lnTo>
                      <a:pt x="121232" y="126522"/>
                    </a:lnTo>
                    <a:lnTo>
                      <a:pt x="120350" y="126786"/>
                    </a:lnTo>
                    <a:lnTo>
                      <a:pt x="122113" y="127668"/>
                    </a:lnTo>
                    <a:lnTo>
                      <a:pt x="120614" y="127668"/>
                    </a:lnTo>
                    <a:lnTo>
                      <a:pt x="118851" y="127403"/>
                    </a:lnTo>
                    <a:lnTo>
                      <a:pt x="120879" y="128020"/>
                    </a:lnTo>
                    <a:lnTo>
                      <a:pt x="120614" y="128638"/>
                    </a:lnTo>
                    <a:lnTo>
                      <a:pt x="120614" y="128902"/>
                    </a:lnTo>
                    <a:lnTo>
                      <a:pt x="119733" y="128638"/>
                    </a:lnTo>
                    <a:lnTo>
                      <a:pt x="118851" y="128638"/>
                    </a:lnTo>
                    <a:lnTo>
                      <a:pt x="119115" y="129784"/>
                    </a:lnTo>
                    <a:lnTo>
                      <a:pt x="118851" y="130048"/>
                    </a:lnTo>
                    <a:lnTo>
                      <a:pt x="117969" y="130666"/>
                    </a:lnTo>
                    <a:lnTo>
                      <a:pt x="117705" y="130048"/>
                    </a:lnTo>
                    <a:lnTo>
                      <a:pt x="116823" y="129784"/>
                    </a:lnTo>
                    <a:lnTo>
                      <a:pt x="116206" y="130048"/>
                    </a:lnTo>
                    <a:lnTo>
                      <a:pt x="117352" y="130666"/>
                    </a:lnTo>
                    <a:lnTo>
                      <a:pt x="116470" y="131283"/>
                    </a:lnTo>
                    <a:lnTo>
                      <a:pt x="116206" y="130666"/>
                    </a:lnTo>
                    <a:lnTo>
                      <a:pt x="115589" y="130048"/>
                    </a:lnTo>
                    <a:lnTo>
                      <a:pt x="114707" y="130666"/>
                    </a:lnTo>
                    <a:lnTo>
                      <a:pt x="113825" y="131283"/>
                    </a:lnTo>
                    <a:lnTo>
                      <a:pt x="114971" y="131547"/>
                    </a:lnTo>
                    <a:lnTo>
                      <a:pt x="118498" y="131283"/>
                    </a:lnTo>
                    <a:lnTo>
                      <a:pt x="119380" y="131547"/>
                    </a:lnTo>
                    <a:lnTo>
                      <a:pt x="119380" y="131812"/>
                    </a:lnTo>
                    <a:lnTo>
                      <a:pt x="119909" y="132429"/>
                    </a:lnTo>
                    <a:lnTo>
                      <a:pt x="119380" y="132693"/>
                    </a:lnTo>
                    <a:lnTo>
                      <a:pt x="118498" y="133222"/>
                    </a:lnTo>
                    <a:lnTo>
                      <a:pt x="117969" y="132341"/>
                    </a:lnTo>
                    <a:lnTo>
                      <a:pt x="117705" y="132076"/>
                    </a:lnTo>
                    <a:lnTo>
                      <a:pt x="116558" y="132341"/>
                    </a:lnTo>
                    <a:lnTo>
                      <a:pt x="117176" y="133222"/>
                    </a:lnTo>
                    <a:lnTo>
                      <a:pt x="118057" y="133840"/>
                    </a:lnTo>
                    <a:lnTo>
                      <a:pt x="118586" y="134457"/>
                    </a:lnTo>
                    <a:lnTo>
                      <a:pt x="117440" y="134192"/>
                    </a:lnTo>
                    <a:lnTo>
                      <a:pt x="116823" y="134192"/>
                    </a:lnTo>
                    <a:lnTo>
                      <a:pt x="117969" y="135074"/>
                    </a:lnTo>
                    <a:lnTo>
                      <a:pt x="118234" y="135691"/>
                    </a:lnTo>
                    <a:lnTo>
                      <a:pt x="117617" y="135956"/>
                    </a:lnTo>
                    <a:lnTo>
                      <a:pt x="116999" y="135956"/>
                    </a:lnTo>
                    <a:lnTo>
                      <a:pt x="115236" y="134809"/>
                    </a:lnTo>
                    <a:lnTo>
                      <a:pt x="114619" y="134192"/>
                    </a:lnTo>
                    <a:lnTo>
                      <a:pt x="114354" y="134809"/>
                    </a:lnTo>
                    <a:lnTo>
                      <a:pt x="113473" y="134545"/>
                    </a:lnTo>
                    <a:lnTo>
                      <a:pt x="112591" y="134809"/>
                    </a:lnTo>
                    <a:lnTo>
                      <a:pt x="112591" y="135338"/>
                    </a:lnTo>
                    <a:lnTo>
                      <a:pt x="112855" y="135338"/>
                    </a:lnTo>
                    <a:lnTo>
                      <a:pt x="114619" y="135338"/>
                    </a:lnTo>
                    <a:lnTo>
                      <a:pt x="115765" y="135338"/>
                    </a:lnTo>
                    <a:lnTo>
                      <a:pt x="114266" y="135956"/>
                    </a:lnTo>
                    <a:lnTo>
                      <a:pt x="112767" y="136837"/>
                    </a:lnTo>
                    <a:lnTo>
                      <a:pt x="112150" y="136220"/>
                    </a:lnTo>
                    <a:lnTo>
                      <a:pt x="112767" y="136485"/>
                    </a:lnTo>
                    <a:lnTo>
                      <a:pt x="112767" y="135867"/>
                    </a:lnTo>
                    <a:lnTo>
                      <a:pt x="110739" y="136485"/>
                    </a:lnTo>
                    <a:lnTo>
                      <a:pt x="110210" y="135867"/>
                    </a:lnTo>
                    <a:lnTo>
                      <a:pt x="109593" y="135250"/>
                    </a:lnTo>
                    <a:lnTo>
                      <a:pt x="109329" y="135867"/>
                    </a:lnTo>
                    <a:lnTo>
                      <a:pt x="108183" y="135867"/>
                    </a:lnTo>
                    <a:lnTo>
                      <a:pt x="109064" y="134104"/>
                    </a:lnTo>
                    <a:lnTo>
                      <a:pt x="108535" y="133487"/>
                    </a:lnTo>
                    <a:lnTo>
                      <a:pt x="107918" y="134104"/>
                    </a:lnTo>
                    <a:lnTo>
                      <a:pt x="107654" y="133840"/>
                    </a:lnTo>
                    <a:lnTo>
                      <a:pt x="106772" y="131812"/>
                    </a:lnTo>
                    <a:lnTo>
                      <a:pt x="106507" y="131195"/>
                    </a:lnTo>
                    <a:lnTo>
                      <a:pt x="106243" y="131195"/>
                    </a:lnTo>
                    <a:lnTo>
                      <a:pt x="106507" y="131812"/>
                    </a:lnTo>
                    <a:lnTo>
                      <a:pt x="105008" y="131812"/>
                    </a:lnTo>
                    <a:lnTo>
                      <a:pt x="104744" y="130930"/>
                    </a:lnTo>
                    <a:lnTo>
                      <a:pt x="104127" y="131195"/>
                    </a:lnTo>
                    <a:lnTo>
                      <a:pt x="104391" y="131812"/>
                    </a:lnTo>
                    <a:lnTo>
                      <a:pt x="105273" y="133311"/>
                    </a:lnTo>
                    <a:lnTo>
                      <a:pt x="106419" y="133575"/>
                    </a:lnTo>
                    <a:lnTo>
                      <a:pt x="106155" y="134457"/>
                    </a:lnTo>
                    <a:lnTo>
                      <a:pt x="107301" y="135338"/>
                    </a:lnTo>
                    <a:lnTo>
                      <a:pt x="108183" y="136220"/>
                    </a:lnTo>
                    <a:lnTo>
                      <a:pt x="109329" y="136485"/>
                    </a:lnTo>
                    <a:lnTo>
                      <a:pt x="110475" y="136749"/>
                    </a:lnTo>
                    <a:lnTo>
                      <a:pt x="110739" y="138248"/>
                    </a:lnTo>
                    <a:lnTo>
                      <a:pt x="110475" y="138777"/>
                    </a:lnTo>
                    <a:lnTo>
                      <a:pt x="109593" y="138513"/>
                    </a:lnTo>
                    <a:lnTo>
                      <a:pt x="108711" y="138777"/>
                    </a:lnTo>
                    <a:lnTo>
                      <a:pt x="111356" y="139923"/>
                    </a:lnTo>
                    <a:lnTo>
                      <a:pt x="111356" y="140188"/>
                    </a:lnTo>
                    <a:lnTo>
                      <a:pt x="111092" y="141069"/>
                    </a:lnTo>
                    <a:lnTo>
                      <a:pt x="110739" y="141951"/>
                    </a:lnTo>
                    <a:lnTo>
                      <a:pt x="110210" y="141951"/>
                    </a:lnTo>
                    <a:lnTo>
                      <a:pt x="109946" y="141334"/>
                    </a:lnTo>
                    <a:lnTo>
                      <a:pt x="109946" y="140188"/>
                    </a:lnTo>
                    <a:lnTo>
                      <a:pt x="109681" y="139923"/>
                    </a:lnTo>
                    <a:lnTo>
                      <a:pt x="109064" y="140805"/>
                    </a:lnTo>
                    <a:lnTo>
                      <a:pt x="109064" y="141422"/>
                    </a:lnTo>
                    <a:lnTo>
                      <a:pt x="109064" y="142039"/>
                    </a:lnTo>
                    <a:lnTo>
                      <a:pt x="108535" y="142921"/>
                    </a:lnTo>
                    <a:lnTo>
                      <a:pt x="107918" y="142656"/>
                    </a:lnTo>
                    <a:lnTo>
                      <a:pt x="108183" y="144155"/>
                    </a:lnTo>
                    <a:lnTo>
                      <a:pt x="107918" y="145037"/>
                    </a:lnTo>
                    <a:lnTo>
                      <a:pt x="107301" y="145301"/>
                    </a:lnTo>
                    <a:lnTo>
                      <a:pt x="106684" y="143803"/>
                    </a:lnTo>
                    <a:lnTo>
                      <a:pt x="106419" y="143185"/>
                    </a:lnTo>
                    <a:lnTo>
                      <a:pt x="105537" y="142568"/>
                    </a:lnTo>
                    <a:lnTo>
                      <a:pt x="105273" y="143185"/>
                    </a:lnTo>
                    <a:lnTo>
                      <a:pt x="105537" y="143185"/>
                    </a:lnTo>
                    <a:lnTo>
                      <a:pt x="105537" y="143803"/>
                    </a:lnTo>
                    <a:lnTo>
                      <a:pt x="104920" y="144067"/>
                    </a:lnTo>
                    <a:lnTo>
                      <a:pt x="103774" y="143803"/>
                    </a:lnTo>
                    <a:lnTo>
                      <a:pt x="102275" y="142921"/>
                    </a:lnTo>
                    <a:lnTo>
                      <a:pt x="101129" y="140893"/>
                    </a:lnTo>
                    <a:lnTo>
                      <a:pt x="99718" y="141158"/>
                    </a:lnTo>
                    <a:lnTo>
                      <a:pt x="99718" y="142304"/>
                    </a:lnTo>
                    <a:lnTo>
                      <a:pt x="98837" y="142568"/>
                    </a:lnTo>
                    <a:lnTo>
                      <a:pt x="99454" y="143185"/>
                    </a:lnTo>
                    <a:lnTo>
                      <a:pt x="100600" y="143803"/>
                    </a:lnTo>
                    <a:lnTo>
                      <a:pt x="101129" y="144420"/>
                    </a:lnTo>
                    <a:lnTo>
                      <a:pt x="100864" y="145301"/>
                    </a:lnTo>
                    <a:lnTo>
                      <a:pt x="99983" y="145037"/>
                    </a:lnTo>
                    <a:lnTo>
                      <a:pt x="99101" y="145301"/>
                    </a:lnTo>
                    <a:lnTo>
                      <a:pt x="99718" y="146448"/>
                    </a:lnTo>
                    <a:lnTo>
                      <a:pt x="101129" y="146712"/>
                    </a:lnTo>
                    <a:lnTo>
                      <a:pt x="100864" y="146095"/>
                    </a:lnTo>
                    <a:lnTo>
                      <a:pt x="102628" y="146712"/>
                    </a:lnTo>
                    <a:lnTo>
                      <a:pt x="103774" y="147329"/>
                    </a:lnTo>
                    <a:lnTo>
                      <a:pt x="103510" y="147594"/>
                    </a:lnTo>
                    <a:lnTo>
                      <a:pt x="104656" y="147329"/>
                    </a:lnTo>
                    <a:lnTo>
                      <a:pt x="104920" y="148476"/>
                    </a:lnTo>
                    <a:lnTo>
                      <a:pt x="105537" y="148740"/>
                    </a:lnTo>
                    <a:lnTo>
                      <a:pt x="106419" y="148476"/>
                    </a:lnTo>
                    <a:lnTo>
                      <a:pt x="107036" y="150239"/>
                    </a:lnTo>
                    <a:lnTo>
                      <a:pt x="105890" y="150239"/>
                    </a:lnTo>
                    <a:lnTo>
                      <a:pt x="105273" y="150856"/>
                    </a:lnTo>
                    <a:lnTo>
                      <a:pt x="104656" y="151473"/>
                    </a:lnTo>
                    <a:lnTo>
                      <a:pt x="104391" y="152619"/>
                    </a:lnTo>
                    <a:lnTo>
                      <a:pt x="103510" y="153237"/>
                    </a:lnTo>
                    <a:lnTo>
                      <a:pt x="103510" y="153501"/>
                    </a:lnTo>
                    <a:lnTo>
                      <a:pt x="102892" y="154118"/>
                    </a:lnTo>
                    <a:lnTo>
                      <a:pt x="103774" y="154383"/>
                    </a:lnTo>
                    <a:lnTo>
                      <a:pt x="102011" y="154647"/>
                    </a:lnTo>
                    <a:lnTo>
                      <a:pt x="102275" y="155529"/>
                    </a:lnTo>
                    <a:lnTo>
                      <a:pt x="101394" y="155265"/>
                    </a:lnTo>
                    <a:lnTo>
                      <a:pt x="100512" y="155529"/>
                    </a:lnTo>
                    <a:lnTo>
                      <a:pt x="100247" y="155794"/>
                    </a:lnTo>
                    <a:lnTo>
                      <a:pt x="100512" y="155794"/>
                    </a:lnTo>
                    <a:lnTo>
                      <a:pt x="102275" y="156675"/>
                    </a:lnTo>
                    <a:lnTo>
                      <a:pt x="102363" y="156675"/>
                    </a:lnTo>
                    <a:lnTo>
                      <a:pt x="101746" y="156675"/>
                    </a:lnTo>
                    <a:lnTo>
                      <a:pt x="101746" y="156940"/>
                    </a:lnTo>
                    <a:lnTo>
                      <a:pt x="102363" y="156940"/>
                    </a:lnTo>
                    <a:lnTo>
                      <a:pt x="101746" y="157821"/>
                    </a:lnTo>
                    <a:lnTo>
                      <a:pt x="102363" y="157821"/>
                    </a:lnTo>
                    <a:lnTo>
                      <a:pt x="103510" y="157821"/>
                    </a:lnTo>
                    <a:lnTo>
                      <a:pt x="103510" y="158086"/>
                    </a:lnTo>
                    <a:lnTo>
                      <a:pt x="104127" y="158703"/>
                    </a:lnTo>
                    <a:lnTo>
                      <a:pt x="103510" y="159585"/>
                    </a:lnTo>
                    <a:lnTo>
                      <a:pt x="103774" y="159849"/>
                    </a:lnTo>
                    <a:lnTo>
                      <a:pt x="104920" y="160114"/>
                    </a:lnTo>
                    <a:lnTo>
                      <a:pt x="105802" y="160114"/>
                    </a:lnTo>
                    <a:lnTo>
                      <a:pt x="106419" y="159849"/>
                    </a:lnTo>
                    <a:lnTo>
                      <a:pt x="106684" y="160466"/>
                    </a:lnTo>
                    <a:lnTo>
                      <a:pt x="106948" y="161348"/>
                    </a:lnTo>
                    <a:lnTo>
                      <a:pt x="106684" y="162230"/>
                    </a:lnTo>
                    <a:lnTo>
                      <a:pt x="105537" y="162230"/>
                    </a:lnTo>
                    <a:lnTo>
                      <a:pt x="104920" y="162230"/>
                    </a:lnTo>
                    <a:lnTo>
                      <a:pt x="103774" y="162494"/>
                    </a:lnTo>
                    <a:lnTo>
                      <a:pt x="103157" y="162230"/>
                    </a:lnTo>
                    <a:lnTo>
                      <a:pt x="102275" y="161965"/>
                    </a:lnTo>
                    <a:lnTo>
                      <a:pt x="102275" y="161084"/>
                    </a:lnTo>
                    <a:lnTo>
                      <a:pt x="102011" y="159937"/>
                    </a:lnTo>
                    <a:lnTo>
                      <a:pt x="102011" y="160819"/>
                    </a:lnTo>
                    <a:lnTo>
                      <a:pt x="101129" y="159937"/>
                    </a:lnTo>
                    <a:lnTo>
                      <a:pt x="100864" y="159673"/>
                    </a:lnTo>
                    <a:lnTo>
                      <a:pt x="99718" y="159937"/>
                    </a:lnTo>
                    <a:lnTo>
                      <a:pt x="99983" y="160555"/>
                    </a:lnTo>
                    <a:lnTo>
                      <a:pt x="101482" y="161172"/>
                    </a:lnTo>
                    <a:lnTo>
                      <a:pt x="100864" y="161789"/>
                    </a:lnTo>
                    <a:lnTo>
                      <a:pt x="99983" y="161524"/>
                    </a:lnTo>
                    <a:lnTo>
                      <a:pt x="99366" y="161524"/>
                    </a:lnTo>
                    <a:lnTo>
                      <a:pt x="99983" y="161789"/>
                    </a:lnTo>
                    <a:lnTo>
                      <a:pt x="98837" y="162053"/>
                    </a:lnTo>
                    <a:lnTo>
                      <a:pt x="99101" y="162318"/>
                    </a:lnTo>
                    <a:lnTo>
                      <a:pt x="100600" y="163200"/>
                    </a:lnTo>
                    <a:lnTo>
                      <a:pt x="98837" y="162935"/>
                    </a:lnTo>
                    <a:lnTo>
                      <a:pt x="98219" y="163552"/>
                    </a:lnTo>
                    <a:lnTo>
                      <a:pt x="100247" y="164169"/>
                    </a:lnTo>
                    <a:lnTo>
                      <a:pt x="99895" y="164169"/>
                    </a:lnTo>
                    <a:lnTo>
                      <a:pt x="99277" y="164169"/>
                    </a:lnTo>
                    <a:lnTo>
                      <a:pt x="99542" y="164787"/>
                    </a:lnTo>
                    <a:lnTo>
                      <a:pt x="100159" y="164787"/>
                    </a:lnTo>
                    <a:lnTo>
                      <a:pt x="101041" y="165316"/>
                    </a:lnTo>
                    <a:lnTo>
                      <a:pt x="100512" y="165316"/>
                    </a:lnTo>
                    <a:lnTo>
                      <a:pt x="101041" y="165933"/>
                    </a:lnTo>
                    <a:lnTo>
                      <a:pt x="100512" y="166550"/>
                    </a:lnTo>
                    <a:lnTo>
                      <a:pt x="99630" y="166550"/>
                    </a:lnTo>
                    <a:lnTo>
                      <a:pt x="100512" y="166550"/>
                    </a:lnTo>
                    <a:lnTo>
                      <a:pt x="99895" y="166815"/>
                    </a:lnTo>
                    <a:lnTo>
                      <a:pt x="99630" y="167696"/>
                    </a:lnTo>
                    <a:lnTo>
                      <a:pt x="100776" y="168842"/>
                    </a:lnTo>
                    <a:lnTo>
                      <a:pt x="102275" y="169460"/>
                    </a:lnTo>
                    <a:lnTo>
                      <a:pt x="101658" y="170341"/>
                    </a:lnTo>
                    <a:lnTo>
                      <a:pt x="101041" y="170606"/>
                    </a:lnTo>
                    <a:lnTo>
                      <a:pt x="101041" y="169724"/>
                    </a:lnTo>
                    <a:lnTo>
                      <a:pt x="100512" y="169460"/>
                    </a:lnTo>
                    <a:lnTo>
                      <a:pt x="99895" y="169460"/>
                    </a:lnTo>
                    <a:lnTo>
                      <a:pt x="99895" y="170341"/>
                    </a:lnTo>
                    <a:lnTo>
                      <a:pt x="101394" y="172369"/>
                    </a:lnTo>
                    <a:lnTo>
                      <a:pt x="101923" y="172986"/>
                    </a:lnTo>
                    <a:lnTo>
                      <a:pt x="102187" y="173251"/>
                    </a:lnTo>
                    <a:lnTo>
                      <a:pt x="101305" y="173515"/>
                    </a:lnTo>
                    <a:lnTo>
                      <a:pt x="101305" y="174044"/>
                    </a:lnTo>
                    <a:lnTo>
                      <a:pt x="101305" y="174309"/>
                    </a:lnTo>
                    <a:lnTo>
                      <a:pt x="101570" y="174662"/>
                    </a:lnTo>
                    <a:lnTo>
                      <a:pt x="101834" y="175279"/>
                    </a:lnTo>
                    <a:lnTo>
                      <a:pt x="101570" y="175896"/>
                    </a:lnTo>
                    <a:lnTo>
                      <a:pt x="101834" y="176513"/>
                    </a:lnTo>
                    <a:lnTo>
                      <a:pt x="102452" y="176249"/>
                    </a:lnTo>
                    <a:lnTo>
                      <a:pt x="103069" y="176249"/>
                    </a:lnTo>
                    <a:lnTo>
                      <a:pt x="102187" y="176866"/>
                    </a:lnTo>
                    <a:lnTo>
                      <a:pt x="101923" y="177483"/>
                    </a:lnTo>
                    <a:lnTo>
                      <a:pt x="101658" y="178365"/>
                    </a:lnTo>
                    <a:lnTo>
                      <a:pt x="103157" y="177218"/>
                    </a:lnTo>
                    <a:lnTo>
                      <a:pt x="103421" y="177483"/>
                    </a:lnTo>
                    <a:lnTo>
                      <a:pt x="103157" y="178100"/>
                    </a:lnTo>
                    <a:lnTo>
                      <a:pt x="103421" y="178629"/>
                    </a:lnTo>
                    <a:lnTo>
                      <a:pt x="104303" y="179246"/>
                    </a:lnTo>
                    <a:lnTo>
                      <a:pt x="104568" y="180393"/>
                    </a:lnTo>
                    <a:lnTo>
                      <a:pt x="103686" y="180393"/>
                    </a:lnTo>
                    <a:lnTo>
                      <a:pt x="103686" y="180657"/>
                    </a:lnTo>
                    <a:lnTo>
                      <a:pt x="104303" y="181539"/>
                    </a:lnTo>
                    <a:lnTo>
                      <a:pt x="104568" y="181539"/>
                    </a:lnTo>
                    <a:lnTo>
                      <a:pt x="104832" y="181803"/>
                    </a:lnTo>
                    <a:lnTo>
                      <a:pt x="105449" y="182068"/>
                    </a:lnTo>
                    <a:lnTo>
                      <a:pt x="104832" y="182685"/>
                    </a:lnTo>
                    <a:lnTo>
                      <a:pt x="103950" y="182685"/>
                    </a:lnTo>
                    <a:lnTo>
                      <a:pt x="102804" y="183831"/>
                    </a:lnTo>
                    <a:lnTo>
                      <a:pt x="103686" y="183831"/>
                    </a:lnTo>
                    <a:lnTo>
                      <a:pt x="104303" y="183831"/>
                    </a:lnTo>
                    <a:lnTo>
                      <a:pt x="104920" y="183831"/>
                    </a:lnTo>
                    <a:lnTo>
                      <a:pt x="105185" y="183831"/>
                    </a:lnTo>
                    <a:lnTo>
                      <a:pt x="106684" y="184096"/>
                    </a:lnTo>
                    <a:lnTo>
                      <a:pt x="105537" y="184360"/>
                    </a:lnTo>
                    <a:lnTo>
                      <a:pt x="105273" y="184977"/>
                    </a:lnTo>
                    <a:lnTo>
                      <a:pt x="105273" y="185242"/>
                    </a:lnTo>
                    <a:lnTo>
                      <a:pt x="105273" y="185506"/>
                    </a:lnTo>
                    <a:lnTo>
                      <a:pt x="107301" y="185506"/>
                    </a:lnTo>
                    <a:lnTo>
                      <a:pt x="106684" y="184889"/>
                    </a:lnTo>
                    <a:lnTo>
                      <a:pt x="107830" y="184272"/>
                    </a:lnTo>
                    <a:lnTo>
                      <a:pt x="109858" y="184007"/>
                    </a:lnTo>
                    <a:lnTo>
                      <a:pt x="111268" y="184272"/>
                    </a:lnTo>
                    <a:lnTo>
                      <a:pt x="111885" y="184889"/>
                    </a:lnTo>
                    <a:lnTo>
                      <a:pt x="112503" y="184889"/>
                    </a:lnTo>
                    <a:lnTo>
                      <a:pt x="111885" y="185506"/>
                    </a:lnTo>
                    <a:lnTo>
                      <a:pt x="111004" y="186123"/>
                    </a:lnTo>
                    <a:lnTo>
                      <a:pt x="112503" y="186388"/>
                    </a:lnTo>
                    <a:lnTo>
                      <a:pt x="112238" y="187270"/>
                    </a:lnTo>
                    <a:lnTo>
                      <a:pt x="112503" y="188151"/>
                    </a:lnTo>
                    <a:lnTo>
                      <a:pt x="113384" y="188416"/>
                    </a:lnTo>
                    <a:lnTo>
                      <a:pt x="113649" y="187270"/>
                    </a:lnTo>
                    <a:lnTo>
                      <a:pt x="113384" y="187270"/>
                    </a:lnTo>
                    <a:lnTo>
                      <a:pt x="113120" y="186123"/>
                    </a:lnTo>
                    <a:lnTo>
                      <a:pt x="114002" y="186388"/>
                    </a:lnTo>
                    <a:lnTo>
                      <a:pt x="114266" y="185242"/>
                    </a:lnTo>
                    <a:lnTo>
                      <a:pt x="115677" y="185506"/>
                    </a:lnTo>
                    <a:lnTo>
                      <a:pt x="116294" y="185242"/>
                    </a:lnTo>
                    <a:lnTo>
                      <a:pt x="116558" y="185506"/>
                    </a:lnTo>
                    <a:lnTo>
                      <a:pt x="117440" y="185506"/>
                    </a:lnTo>
                    <a:lnTo>
                      <a:pt x="117705" y="186652"/>
                    </a:lnTo>
                    <a:lnTo>
                      <a:pt x="118851" y="185771"/>
                    </a:lnTo>
                    <a:lnTo>
                      <a:pt x="119733" y="186917"/>
                    </a:lnTo>
                    <a:lnTo>
                      <a:pt x="120350" y="188328"/>
                    </a:lnTo>
                    <a:lnTo>
                      <a:pt x="120350" y="189827"/>
                    </a:lnTo>
                    <a:lnTo>
                      <a:pt x="120350" y="190973"/>
                    </a:lnTo>
                    <a:lnTo>
                      <a:pt x="121232" y="191237"/>
                    </a:lnTo>
                    <a:lnTo>
                      <a:pt x="121848" y="190091"/>
                    </a:lnTo>
                    <a:lnTo>
                      <a:pt x="122730" y="190356"/>
                    </a:lnTo>
                    <a:lnTo>
                      <a:pt x="122730" y="191237"/>
                    </a:lnTo>
                    <a:lnTo>
                      <a:pt x="121232" y="191502"/>
                    </a:lnTo>
                    <a:lnTo>
                      <a:pt x="121848" y="192383"/>
                    </a:lnTo>
                    <a:lnTo>
                      <a:pt x="122995" y="192383"/>
                    </a:lnTo>
                    <a:lnTo>
                      <a:pt x="122730" y="191502"/>
                    </a:lnTo>
                    <a:lnTo>
                      <a:pt x="123612" y="192119"/>
                    </a:lnTo>
                    <a:lnTo>
                      <a:pt x="123965" y="191502"/>
                    </a:lnTo>
                    <a:lnTo>
                      <a:pt x="124846" y="191502"/>
                    </a:lnTo>
                    <a:lnTo>
                      <a:pt x="125111" y="190884"/>
                    </a:lnTo>
                    <a:lnTo>
                      <a:pt x="127139" y="191502"/>
                    </a:lnTo>
                    <a:lnTo>
                      <a:pt x="127139" y="192648"/>
                    </a:lnTo>
                    <a:lnTo>
                      <a:pt x="128020" y="192383"/>
                    </a:lnTo>
                    <a:lnTo>
                      <a:pt x="128902" y="193001"/>
                    </a:lnTo>
                    <a:lnTo>
                      <a:pt x="128902" y="193882"/>
                    </a:lnTo>
                    <a:lnTo>
                      <a:pt x="126874" y="193618"/>
                    </a:lnTo>
                    <a:lnTo>
                      <a:pt x="123965" y="192472"/>
                    </a:lnTo>
                    <a:lnTo>
                      <a:pt x="125111" y="193970"/>
                    </a:lnTo>
                    <a:lnTo>
                      <a:pt x="127403" y="193970"/>
                    </a:lnTo>
                    <a:lnTo>
                      <a:pt x="127403" y="194852"/>
                    </a:lnTo>
                    <a:lnTo>
                      <a:pt x="127668" y="195734"/>
                    </a:lnTo>
                    <a:lnTo>
                      <a:pt x="128549" y="195998"/>
                    </a:lnTo>
                    <a:lnTo>
                      <a:pt x="128814" y="194852"/>
                    </a:lnTo>
                    <a:lnTo>
                      <a:pt x="129960" y="197497"/>
                    </a:lnTo>
                    <a:lnTo>
                      <a:pt x="130225" y="197497"/>
                    </a:lnTo>
                    <a:lnTo>
                      <a:pt x="130225" y="196351"/>
                    </a:lnTo>
                    <a:lnTo>
                      <a:pt x="130225" y="196086"/>
                    </a:lnTo>
                    <a:lnTo>
                      <a:pt x="130225" y="195822"/>
                    </a:lnTo>
                    <a:lnTo>
                      <a:pt x="130489" y="196086"/>
                    </a:lnTo>
                    <a:lnTo>
                      <a:pt x="130489" y="196351"/>
                    </a:lnTo>
                    <a:lnTo>
                      <a:pt x="131371" y="196351"/>
                    </a:lnTo>
                    <a:lnTo>
                      <a:pt x="132253" y="196351"/>
                    </a:lnTo>
                    <a:lnTo>
                      <a:pt x="131635" y="197497"/>
                    </a:lnTo>
                    <a:lnTo>
                      <a:pt x="132517" y="198379"/>
                    </a:lnTo>
                    <a:lnTo>
                      <a:pt x="133663" y="199525"/>
                    </a:lnTo>
                    <a:lnTo>
                      <a:pt x="132253" y="197233"/>
                    </a:lnTo>
                    <a:lnTo>
                      <a:pt x="133134" y="196351"/>
                    </a:lnTo>
                    <a:lnTo>
                      <a:pt x="133399" y="197497"/>
                    </a:lnTo>
                    <a:lnTo>
                      <a:pt x="134545" y="198379"/>
                    </a:lnTo>
                    <a:lnTo>
                      <a:pt x="135427" y="200671"/>
                    </a:lnTo>
                    <a:lnTo>
                      <a:pt x="136308" y="201024"/>
                    </a:lnTo>
                    <a:lnTo>
                      <a:pt x="136573" y="200407"/>
                    </a:lnTo>
                    <a:lnTo>
                      <a:pt x="137454" y="201024"/>
                    </a:lnTo>
                    <a:lnTo>
                      <a:pt x="137807" y="202170"/>
                    </a:lnTo>
                    <a:lnTo>
                      <a:pt x="138071" y="202170"/>
                    </a:lnTo>
                    <a:lnTo>
                      <a:pt x="138336" y="203316"/>
                    </a:lnTo>
                    <a:lnTo>
                      <a:pt x="136837" y="202435"/>
                    </a:lnTo>
                    <a:lnTo>
                      <a:pt x="135691" y="202170"/>
                    </a:lnTo>
                    <a:lnTo>
                      <a:pt x="134809" y="202435"/>
                    </a:lnTo>
                    <a:lnTo>
                      <a:pt x="135074" y="202699"/>
                    </a:lnTo>
                    <a:lnTo>
                      <a:pt x="136573" y="202699"/>
                    </a:lnTo>
                    <a:lnTo>
                      <a:pt x="135691" y="203316"/>
                    </a:lnTo>
                    <a:lnTo>
                      <a:pt x="134192" y="203316"/>
                    </a:lnTo>
                    <a:lnTo>
                      <a:pt x="133046" y="203845"/>
                    </a:lnTo>
                    <a:lnTo>
                      <a:pt x="133311" y="204374"/>
                    </a:lnTo>
                    <a:lnTo>
                      <a:pt x="136573" y="203845"/>
                    </a:lnTo>
                    <a:lnTo>
                      <a:pt x="138336" y="204374"/>
                    </a:lnTo>
                    <a:lnTo>
                      <a:pt x="139218" y="204991"/>
                    </a:lnTo>
                    <a:lnTo>
                      <a:pt x="138600" y="205873"/>
                    </a:lnTo>
                    <a:lnTo>
                      <a:pt x="137983" y="206138"/>
                    </a:lnTo>
                    <a:lnTo>
                      <a:pt x="136837" y="205873"/>
                    </a:lnTo>
                    <a:lnTo>
                      <a:pt x="136837" y="204991"/>
                    </a:lnTo>
                    <a:lnTo>
                      <a:pt x="135691" y="204374"/>
                    </a:lnTo>
                    <a:lnTo>
                      <a:pt x="135338" y="204991"/>
                    </a:lnTo>
                    <a:lnTo>
                      <a:pt x="135955" y="205873"/>
                    </a:lnTo>
                    <a:lnTo>
                      <a:pt x="134192" y="205873"/>
                    </a:lnTo>
                    <a:lnTo>
                      <a:pt x="133575" y="206138"/>
                    </a:lnTo>
                    <a:lnTo>
                      <a:pt x="133575" y="207019"/>
                    </a:lnTo>
                    <a:lnTo>
                      <a:pt x="132429" y="206755"/>
                    </a:lnTo>
                    <a:lnTo>
                      <a:pt x="131812" y="207019"/>
                    </a:lnTo>
                    <a:lnTo>
                      <a:pt x="131547" y="207637"/>
                    </a:lnTo>
                    <a:lnTo>
                      <a:pt x="132164" y="208254"/>
                    </a:lnTo>
                    <a:lnTo>
                      <a:pt x="132782" y="207637"/>
                    </a:lnTo>
                    <a:lnTo>
                      <a:pt x="133663" y="208254"/>
                    </a:lnTo>
                    <a:lnTo>
                      <a:pt x="133928" y="208518"/>
                    </a:lnTo>
                    <a:lnTo>
                      <a:pt x="133046" y="209135"/>
                    </a:lnTo>
                    <a:lnTo>
                      <a:pt x="132164" y="208518"/>
                    </a:lnTo>
                    <a:lnTo>
                      <a:pt x="132164" y="209400"/>
                    </a:lnTo>
                    <a:lnTo>
                      <a:pt x="131018" y="209400"/>
                    </a:lnTo>
                    <a:lnTo>
                      <a:pt x="129255" y="210546"/>
                    </a:lnTo>
                    <a:lnTo>
                      <a:pt x="127844" y="211692"/>
                    </a:lnTo>
                    <a:lnTo>
                      <a:pt x="125463" y="211692"/>
                    </a:lnTo>
                    <a:lnTo>
                      <a:pt x="126345" y="211957"/>
                    </a:lnTo>
                    <a:lnTo>
                      <a:pt x="125463" y="211957"/>
                    </a:lnTo>
                    <a:lnTo>
                      <a:pt x="126610" y="212838"/>
                    </a:lnTo>
                    <a:lnTo>
                      <a:pt x="126610" y="213103"/>
                    </a:lnTo>
                    <a:lnTo>
                      <a:pt x="123700" y="212838"/>
                    </a:lnTo>
                    <a:lnTo>
                      <a:pt x="122818" y="211957"/>
                    </a:lnTo>
                    <a:lnTo>
                      <a:pt x="122818" y="212838"/>
                    </a:lnTo>
                    <a:lnTo>
                      <a:pt x="121937" y="213103"/>
                    </a:lnTo>
                    <a:lnTo>
                      <a:pt x="121672" y="212838"/>
                    </a:lnTo>
                    <a:lnTo>
                      <a:pt x="122818" y="213103"/>
                    </a:lnTo>
                    <a:lnTo>
                      <a:pt x="123965" y="214249"/>
                    </a:lnTo>
                    <a:lnTo>
                      <a:pt x="121320" y="213985"/>
                    </a:lnTo>
                    <a:lnTo>
                      <a:pt x="120173" y="214249"/>
                    </a:lnTo>
                    <a:lnTo>
                      <a:pt x="117528" y="213103"/>
                    </a:lnTo>
                    <a:lnTo>
                      <a:pt x="116382" y="212838"/>
                    </a:lnTo>
                    <a:lnTo>
                      <a:pt x="117264" y="210811"/>
                    </a:lnTo>
                    <a:lnTo>
                      <a:pt x="117264" y="210546"/>
                    </a:lnTo>
                    <a:lnTo>
                      <a:pt x="114354" y="205344"/>
                    </a:lnTo>
                    <a:lnTo>
                      <a:pt x="114354" y="204462"/>
                    </a:lnTo>
                    <a:lnTo>
                      <a:pt x="114090" y="203933"/>
                    </a:lnTo>
                    <a:lnTo>
                      <a:pt x="113208" y="203404"/>
                    </a:lnTo>
                    <a:lnTo>
                      <a:pt x="112326" y="204551"/>
                    </a:lnTo>
                    <a:lnTo>
                      <a:pt x="110827" y="204022"/>
                    </a:lnTo>
                    <a:lnTo>
                      <a:pt x="109064" y="204551"/>
                    </a:lnTo>
                    <a:lnTo>
                      <a:pt x="111974" y="205168"/>
                    </a:lnTo>
                    <a:lnTo>
                      <a:pt x="110827" y="206314"/>
                    </a:lnTo>
                    <a:lnTo>
                      <a:pt x="111356" y="207196"/>
                    </a:lnTo>
                    <a:lnTo>
                      <a:pt x="112238" y="208695"/>
                    </a:lnTo>
                    <a:lnTo>
                      <a:pt x="112238" y="206314"/>
                    </a:lnTo>
                    <a:lnTo>
                      <a:pt x="112238" y="206049"/>
                    </a:lnTo>
                    <a:lnTo>
                      <a:pt x="112238" y="205432"/>
                    </a:lnTo>
                    <a:lnTo>
                      <a:pt x="114002" y="205697"/>
                    </a:lnTo>
                    <a:lnTo>
                      <a:pt x="113120" y="207460"/>
                    </a:lnTo>
                    <a:lnTo>
                      <a:pt x="113384" y="208606"/>
                    </a:lnTo>
                    <a:lnTo>
                      <a:pt x="115765" y="209488"/>
                    </a:lnTo>
                    <a:lnTo>
                      <a:pt x="116029" y="210105"/>
                    </a:lnTo>
                    <a:lnTo>
                      <a:pt x="116029" y="210987"/>
                    </a:lnTo>
                    <a:lnTo>
                      <a:pt x="115148" y="212133"/>
                    </a:lnTo>
                    <a:lnTo>
                      <a:pt x="115148" y="210987"/>
                    </a:lnTo>
                    <a:lnTo>
                      <a:pt x="114002" y="210987"/>
                    </a:lnTo>
                    <a:lnTo>
                      <a:pt x="112855" y="210987"/>
                    </a:lnTo>
                    <a:lnTo>
                      <a:pt x="112855" y="210722"/>
                    </a:lnTo>
                    <a:lnTo>
                      <a:pt x="112591" y="210722"/>
                    </a:lnTo>
                    <a:lnTo>
                      <a:pt x="111445" y="209841"/>
                    </a:lnTo>
                    <a:lnTo>
                      <a:pt x="110916" y="208695"/>
                    </a:lnTo>
                    <a:lnTo>
                      <a:pt x="109769" y="208695"/>
                    </a:lnTo>
                    <a:lnTo>
                      <a:pt x="109769" y="208430"/>
                    </a:lnTo>
                    <a:lnTo>
                      <a:pt x="108006" y="208695"/>
                    </a:lnTo>
                    <a:lnTo>
                      <a:pt x="110034" y="210722"/>
                    </a:lnTo>
                    <a:lnTo>
                      <a:pt x="110034" y="210987"/>
                    </a:lnTo>
                    <a:lnTo>
                      <a:pt x="110034" y="211869"/>
                    </a:lnTo>
                    <a:lnTo>
                      <a:pt x="108271" y="211869"/>
                    </a:lnTo>
                    <a:lnTo>
                      <a:pt x="105890" y="210722"/>
                    </a:lnTo>
                    <a:lnTo>
                      <a:pt x="105273" y="209224"/>
                    </a:lnTo>
                    <a:lnTo>
                      <a:pt x="103510" y="208606"/>
                    </a:lnTo>
                    <a:lnTo>
                      <a:pt x="103862" y="209488"/>
                    </a:lnTo>
                    <a:lnTo>
                      <a:pt x="103862" y="210634"/>
                    </a:lnTo>
                    <a:lnTo>
                      <a:pt x="102363" y="210634"/>
                    </a:lnTo>
                    <a:lnTo>
                      <a:pt x="101217" y="209488"/>
                    </a:lnTo>
                    <a:lnTo>
                      <a:pt x="99718" y="209488"/>
                    </a:lnTo>
                    <a:lnTo>
                      <a:pt x="98837" y="210987"/>
                    </a:lnTo>
                    <a:lnTo>
                      <a:pt x="97690" y="210722"/>
                    </a:lnTo>
                    <a:lnTo>
                      <a:pt x="97690" y="209224"/>
                    </a:lnTo>
                    <a:lnTo>
                      <a:pt x="96544" y="209488"/>
                    </a:lnTo>
                    <a:lnTo>
                      <a:pt x="95398" y="208606"/>
                    </a:lnTo>
                    <a:lnTo>
                      <a:pt x="94781" y="208606"/>
                    </a:lnTo>
                    <a:lnTo>
                      <a:pt x="95662" y="210634"/>
                    </a:lnTo>
                    <a:lnTo>
                      <a:pt x="93635" y="210899"/>
                    </a:lnTo>
                    <a:lnTo>
                      <a:pt x="95133" y="210899"/>
                    </a:lnTo>
                    <a:lnTo>
                      <a:pt x="92841" y="210899"/>
                    </a:lnTo>
                    <a:lnTo>
                      <a:pt x="91078" y="210899"/>
                    </a:lnTo>
                    <a:lnTo>
                      <a:pt x="91078" y="212045"/>
                    </a:lnTo>
                    <a:lnTo>
                      <a:pt x="89932" y="210899"/>
                    </a:lnTo>
                    <a:lnTo>
                      <a:pt x="89050" y="211780"/>
                    </a:lnTo>
                    <a:lnTo>
                      <a:pt x="86405" y="210899"/>
                    </a:lnTo>
                    <a:lnTo>
                      <a:pt x="87551" y="212045"/>
                    </a:lnTo>
                    <a:lnTo>
                      <a:pt x="89314" y="212927"/>
                    </a:lnTo>
                    <a:lnTo>
                      <a:pt x="93635" y="211780"/>
                    </a:lnTo>
                    <a:lnTo>
                      <a:pt x="96015" y="212398"/>
                    </a:lnTo>
                    <a:lnTo>
                      <a:pt x="96897" y="212133"/>
                    </a:lnTo>
                    <a:lnTo>
                      <a:pt x="98043" y="211869"/>
                    </a:lnTo>
                    <a:lnTo>
                      <a:pt x="100071" y="213367"/>
                    </a:lnTo>
                    <a:lnTo>
                      <a:pt x="101217" y="213632"/>
                    </a:lnTo>
                    <a:lnTo>
                      <a:pt x="101834" y="213367"/>
                    </a:lnTo>
                    <a:lnTo>
                      <a:pt x="101834" y="213103"/>
                    </a:lnTo>
                    <a:lnTo>
                      <a:pt x="98308" y="211957"/>
                    </a:lnTo>
                    <a:lnTo>
                      <a:pt x="100071" y="211957"/>
                    </a:lnTo>
                    <a:lnTo>
                      <a:pt x="99806" y="211075"/>
                    </a:lnTo>
                    <a:lnTo>
                      <a:pt x="101834" y="212221"/>
                    </a:lnTo>
                    <a:lnTo>
                      <a:pt x="104479" y="213367"/>
                    </a:lnTo>
                    <a:lnTo>
                      <a:pt x="106507" y="213367"/>
                    </a:lnTo>
                    <a:lnTo>
                      <a:pt x="108888" y="214249"/>
                    </a:lnTo>
                    <a:lnTo>
                      <a:pt x="109769" y="215131"/>
                    </a:lnTo>
                    <a:lnTo>
                      <a:pt x="109152" y="215395"/>
                    </a:lnTo>
                    <a:lnTo>
                      <a:pt x="108535" y="215131"/>
                    </a:lnTo>
                    <a:lnTo>
                      <a:pt x="108271" y="215395"/>
                    </a:lnTo>
                    <a:lnTo>
                      <a:pt x="108271" y="215660"/>
                    </a:lnTo>
                    <a:lnTo>
                      <a:pt x="109152" y="216542"/>
                    </a:lnTo>
                    <a:lnTo>
                      <a:pt x="107125" y="216806"/>
                    </a:lnTo>
                    <a:lnTo>
                      <a:pt x="108623" y="217423"/>
                    </a:lnTo>
                    <a:lnTo>
                      <a:pt x="110387" y="217159"/>
                    </a:lnTo>
                    <a:lnTo>
                      <a:pt x="110387" y="216542"/>
                    </a:lnTo>
                    <a:lnTo>
                      <a:pt x="110916" y="216806"/>
                    </a:lnTo>
                    <a:lnTo>
                      <a:pt x="110916" y="215660"/>
                    </a:lnTo>
                    <a:lnTo>
                      <a:pt x="110916" y="215395"/>
                    </a:lnTo>
                    <a:lnTo>
                      <a:pt x="112944" y="216542"/>
                    </a:lnTo>
                    <a:lnTo>
                      <a:pt x="114090" y="216542"/>
                    </a:lnTo>
                    <a:lnTo>
                      <a:pt x="115236" y="216806"/>
                    </a:lnTo>
                    <a:lnTo>
                      <a:pt x="114971" y="215660"/>
                    </a:lnTo>
                    <a:lnTo>
                      <a:pt x="115589" y="215395"/>
                    </a:lnTo>
                    <a:lnTo>
                      <a:pt x="116206" y="215660"/>
                    </a:lnTo>
                    <a:lnTo>
                      <a:pt x="116206" y="216542"/>
                    </a:lnTo>
                    <a:lnTo>
                      <a:pt x="117352" y="216806"/>
                    </a:lnTo>
                    <a:lnTo>
                      <a:pt x="116735" y="217423"/>
                    </a:lnTo>
                    <a:lnTo>
                      <a:pt x="118498" y="216806"/>
                    </a:lnTo>
                    <a:lnTo>
                      <a:pt x="117088" y="216542"/>
                    </a:lnTo>
                    <a:lnTo>
                      <a:pt x="119997" y="216542"/>
                    </a:lnTo>
                    <a:lnTo>
                      <a:pt x="119733" y="215660"/>
                    </a:lnTo>
                    <a:lnTo>
                      <a:pt x="121232" y="214778"/>
                    </a:lnTo>
                    <a:lnTo>
                      <a:pt x="124405" y="215395"/>
                    </a:lnTo>
                    <a:lnTo>
                      <a:pt x="124405" y="214514"/>
                    </a:lnTo>
                    <a:lnTo>
                      <a:pt x="124405" y="215395"/>
                    </a:lnTo>
                    <a:lnTo>
                      <a:pt x="125816" y="213367"/>
                    </a:lnTo>
                    <a:lnTo>
                      <a:pt x="127844" y="213367"/>
                    </a:lnTo>
                    <a:lnTo>
                      <a:pt x="130225" y="214249"/>
                    </a:lnTo>
                    <a:lnTo>
                      <a:pt x="130225" y="214514"/>
                    </a:lnTo>
                    <a:lnTo>
                      <a:pt x="130842" y="213367"/>
                    </a:lnTo>
                    <a:lnTo>
                      <a:pt x="131106" y="213103"/>
                    </a:lnTo>
                    <a:lnTo>
                      <a:pt x="129960" y="213103"/>
                    </a:lnTo>
                    <a:lnTo>
                      <a:pt x="131988" y="212486"/>
                    </a:lnTo>
                    <a:lnTo>
                      <a:pt x="132870" y="213367"/>
                    </a:lnTo>
                    <a:lnTo>
                      <a:pt x="131371" y="213367"/>
                    </a:lnTo>
                    <a:lnTo>
                      <a:pt x="133134" y="214249"/>
                    </a:lnTo>
                    <a:lnTo>
                      <a:pt x="133399" y="215395"/>
                    </a:lnTo>
                    <a:lnTo>
                      <a:pt x="132782" y="216277"/>
                    </a:lnTo>
                    <a:lnTo>
                      <a:pt x="131283" y="215395"/>
                    </a:lnTo>
                    <a:lnTo>
                      <a:pt x="129519" y="215660"/>
                    </a:lnTo>
                    <a:lnTo>
                      <a:pt x="128109" y="215395"/>
                    </a:lnTo>
                    <a:lnTo>
                      <a:pt x="127491" y="215131"/>
                    </a:lnTo>
                    <a:lnTo>
                      <a:pt x="128109" y="214514"/>
                    </a:lnTo>
                    <a:lnTo>
                      <a:pt x="127491" y="214249"/>
                    </a:lnTo>
                    <a:lnTo>
                      <a:pt x="126874" y="214514"/>
                    </a:lnTo>
                    <a:lnTo>
                      <a:pt x="127139" y="215395"/>
                    </a:lnTo>
                    <a:lnTo>
                      <a:pt x="127139" y="215660"/>
                    </a:lnTo>
                    <a:lnTo>
                      <a:pt x="126874" y="215924"/>
                    </a:lnTo>
                    <a:lnTo>
                      <a:pt x="126257" y="216453"/>
                    </a:lnTo>
                    <a:lnTo>
                      <a:pt x="127139" y="216453"/>
                    </a:lnTo>
                    <a:lnTo>
                      <a:pt x="128638" y="216189"/>
                    </a:lnTo>
                    <a:lnTo>
                      <a:pt x="130401" y="217688"/>
                    </a:lnTo>
                    <a:lnTo>
                      <a:pt x="127227" y="216806"/>
                    </a:lnTo>
                    <a:lnTo>
                      <a:pt x="128373" y="217952"/>
                    </a:lnTo>
                    <a:lnTo>
                      <a:pt x="128990" y="217688"/>
                    </a:lnTo>
                    <a:lnTo>
                      <a:pt x="128990" y="217952"/>
                    </a:lnTo>
                    <a:lnTo>
                      <a:pt x="128990" y="218834"/>
                    </a:lnTo>
                    <a:lnTo>
                      <a:pt x="129872" y="218569"/>
                    </a:lnTo>
                    <a:lnTo>
                      <a:pt x="130754" y="218834"/>
                    </a:lnTo>
                    <a:lnTo>
                      <a:pt x="130754" y="219098"/>
                    </a:lnTo>
                    <a:lnTo>
                      <a:pt x="129607" y="219716"/>
                    </a:lnTo>
                    <a:lnTo>
                      <a:pt x="128197" y="219980"/>
                    </a:lnTo>
                    <a:lnTo>
                      <a:pt x="128197" y="219363"/>
                    </a:lnTo>
                    <a:lnTo>
                      <a:pt x="127579" y="219098"/>
                    </a:lnTo>
                    <a:lnTo>
                      <a:pt x="127844" y="219980"/>
                    </a:lnTo>
                    <a:lnTo>
                      <a:pt x="127844" y="220597"/>
                    </a:lnTo>
                    <a:lnTo>
                      <a:pt x="126962" y="220597"/>
                    </a:lnTo>
                    <a:lnTo>
                      <a:pt x="126698" y="221214"/>
                    </a:lnTo>
                    <a:lnTo>
                      <a:pt x="125287" y="221214"/>
                    </a:lnTo>
                    <a:lnTo>
                      <a:pt x="126698" y="220068"/>
                    </a:lnTo>
                    <a:lnTo>
                      <a:pt x="125552" y="219451"/>
                    </a:lnTo>
                    <a:lnTo>
                      <a:pt x="125287" y="220068"/>
                    </a:lnTo>
                    <a:lnTo>
                      <a:pt x="125287" y="220333"/>
                    </a:lnTo>
                    <a:lnTo>
                      <a:pt x="124405" y="220333"/>
                    </a:lnTo>
                    <a:lnTo>
                      <a:pt x="124405" y="221214"/>
                    </a:lnTo>
                    <a:lnTo>
                      <a:pt x="123259" y="221479"/>
                    </a:lnTo>
                    <a:lnTo>
                      <a:pt x="122642" y="221479"/>
                    </a:lnTo>
                    <a:lnTo>
                      <a:pt x="123259" y="222361"/>
                    </a:lnTo>
                    <a:lnTo>
                      <a:pt x="122642" y="222890"/>
                    </a:lnTo>
                    <a:lnTo>
                      <a:pt x="122377" y="222625"/>
                    </a:lnTo>
                    <a:lnTo>
                      <a:pt x="121761" y="222625"/>
                    </a:lnTo>
                    <a:lnTo>
                      <a:pt x="122642" y="223507"/>
                    </a:lnTo>
                    <a:lnTo>
                      <a:pt x="122906" y="223771"/>
                    </a:lnTo>
                    <a:lnTo>
                      <a:pt x="122290" y="224300"/>
                    </a:lnTo>
                    <a:lnTo>
                      <a:pt x="122025" y="223771"/>
                    </a:lnTo>
                    <a:lnTo>
                      <a:pt x="121408" y="224036"/>
                    </a:lnTo>
                    <a:lnTo>
                      <a:pt x="120791" y="223771"/>
                    </a:lnTo>
                    <a:lnTo>
                      <a:pt x="120262" y="223507"/>
                    </a:lnTo>
                    <a:lnTo>
                      <a:pt x="119644" y="224124"/>
                    </a:lnTo>
                    <a:lnTo>
                      <a:pt x="119380" y="223860"/>
                    </a:lnTo>
                    <a:lnTo>
                      <a:pt x="118498" y="224741"/>
                    </a:lnTo>
                    <a:lnTo>
                      <a:pt x="118234" y="223860"/>
                    </a:lnTo>
                    <a:lnTo>
                      <a:pt x="118498" y="221479"/>
                    </a:lnTo>
                    <a:lnTo>
                      <a:pt x="117617" y="219980"/>
                    </a:lnTo>
                    <a:lnTo>
                      <a:pt x="116735" y="221479"/>
                    </a:lnTo>
                    <a:lnTo>
                      <a:pt x="116999" y="222625"/>
                    </a:lnTo>
                    <a:lnTo>
                      <a:pt x="115853" y="223507"/>
                    </a:lnTo>
                    <a:lnTo>
                      <a:pt x="117352" y="223507"/>
                    </a:lnTo>
                    <a:lnTo>
                      <a:pt x="117088" y="223771"/>
                    </a:lnTo>
                    <a:lnTo>
                      <a:pt x="117088" y="224653"/>
                    </a:lnTo>
                    <a:lnTo>
                      <a:pt x="116470" y="225006"/>
                    </a:lnTo>
                    <a:lnTo>
                      <a:pt x="114971" y="224653"/>
                    </a:lnTo>
                    <a:lnTo>
                      <a:pt x="116118" y="225270"/>
                    </a:lnTo>
                    <a:lnTo>
                      <a:pt x="116118" y="225887"/>
                    </a:lnTo>
                    <a:lnTo>
                      <a:pt x="114971" y="225623"/>
                    </a:lnTo>
                    <a:lnTo>
                      <a:pt x="113561" y="224741"/>
                    </a:lnTo>
                    <a:lnTo>
                      <a:pt x="113825" y="225358"/>
                    </a:lnTo>
                    <a:lnTo>
                      <a:pt x="112944" y="225623"/>
                    </a:lnTo>
                    <a:lnTo>
                      <a:pt x="113825" y="226240"/>
                    </a:lnTo>
                    <a:lnTo>
                      <a:pt x="113825" y="227122"/>
                    </a:lnTo>
                    <a:lnTo>
                      <a:pt x="114971" y="227739"/>
                    </a:lnTo>
                    <a:lnTo>
                      <a:pt x="114090" y="228003"/>
                    </a:lnTo>
                    <a:lnTo>
                      <a:pt x="112326" y="227122"/>
                    </a:lnTo>
                    <a:lnTo>
                      <a:pt x="111180" y="227386"/>
                    </a:lnTo>
                    <a:lnTo>
                      <a:pt x="110563" y="227651"/>
                    </a:lnTo>
                    <a:lnTo>
                      <a:pt x="112326" y="228180"/>
                    </a:lnTo>
                    <a:lnTo>
                      <a:pt x="112591" y="228180"/>
                    </a:lnTo>
                    <a:lnTo>
                      <a:pt x="112326" y="228797"/>
                    </a:lnTo>
                    <a:lnTo>
                      <a:pt x="112062" y="229061"/>
                    </a:lnTo>
                    <a:lnTo>
                      <a:pt x="110916" y="228797"/>
                    </a:lnTo>
                    <a:lnTo>
                      <a:pt x="110034" y="229414"/>
                    </a:lnTo>
                    <a:lnTo>
                      <a:pt x="109505" y="229679"/>
                    </a:lnTo>
                    <a:lnTo>
                      <a:pt x="108623" y="229414"/>
                    </a:lnTo>
                    <a:lnTo>
                      <a:pt x="108623" y="228797"/>
                    </a:lnTo>
                    <a:lnTo>
                      <a:pt x="108623" y="228180"/>
                    </a:lnTo>
                    <a:lnTo>
                      <a:pt x="107477" y="228180"/>
                    </a:lnTo>
                    <a:lnTo>
                      <a:pt x="106596" y="228797"/>
                    </a:lnTo>
                    <a:lnTo>
                      <a:pt x="107742" y="229414"/>
                    </a:lnTo>
                    <a:lnTo>
                      <a:pt x="106596" y="230031"/>
                    </a:lnTo>
                    <a:lnTo>
                      <a:pt x="107742" y="230031"/>
                    </a:lnTo>
                    <a:lnTo>
                      <a:pt x="108623" y="230031"/>
                    </a:lnTo>
                    <a:lnTo>
                      <a:pt x="108888" y="230648"/>
                    </a:lnTo>
                    <a:lnTo>
                      <a:pt x="108271" y="230913"/>
                    </a:lnTo>
                    <a:lnTo>
                      <a:pt x="107654" y="230648"/>
                    </a:lnTo>
                    <a:lnTo>
                      <a:pt x="107036" y="230648"/>
                    </a:lnTo>
                    <a:lnTo>
                      <a:pt x="106419" y="230648"/>
                    </a:lnTo>
                    <a:lnTo>
                      <a:pt x="106684" y="231266"/>
                    </a:lnTo>
                    <a:lnTo>
                      <a:pt x="106067" y="231001"/>
                    </a:lnTo>
                    <a:lnTo>
                      <a:pt x="104920" y="231266"/>
                    </a:lnTo>
                    <a:lnTo>
                      <a:pt x="103774" y="231266"/>
                    </a:lnTo>
                    <a:lnTo>
                      <a:pt x="102011" y="230648"/>
                    </a:lnTo>
                    <a:lnTo>
                      <a:pt x="102011" y="229238"/>
                    </a:lnTo>
                    <a:lnTo>
                      <a:pt x="102011" y="228356"/>
                    </a:lnTo>
                    <a:lnTo>
                      <a:pt x="101129" y="228356"/>
                    </a:lnTo>
                    <a:lnTo>
                      <a:pt x="100864" y="227474"/>
                    </a:lnTo>
                    <a:lnTo>
                      <a:pt x="99101" y="227474"/>
                    </a:lnTo>
                    <a:lnTo>
                      <a:pt x="98219" y="227739"/>
                    </a:lnTo>
                    <a:lnTo>
                      <a:pt x="96191" y="227122"/>
                    </a:lnTo>
                    <a:lnTo>
                      <a:pt x="92400" y="227386"/>
                    </a:lnTo>
                    <a:lnTo>
                      <a:pt x="92136" y="227651"/>
                    </a:lnTo>
                    <a:lnTo>
                      <a:pt x="91519" y="229414"/>
                    </a:lnTo>
                    <a:lnTo>
                      <a:pt x="93282" y="230031"/>
                    </a:lnTo>
                    <a:lnTo>
                      <a:pt x="94164" y="230648"/>
                    </a:lnTo>
                    <a:lnTo>
                      <a:pt x="95046" y="232412"/>
                    </a:lnTo>
                    <a:lnTo>
                      <a:pt x="95927" y="231795"/>
                    </a:lnTo>
                    <a:lnTo>
                      <a:pt x="95927" y="231178"/>
                    </a:lnTo>
                    <a:lnTo>
                      <a:pt x="97073" y="230913"/>
                    </a:lnTo>
                    <a:lnTo>
                      <a:pt x="97955" y="230296"/>
                    </a:lnTo>
                    <a:lnTo>
                      <a:pt x="98837" y="230296"/>
                    </a:lnTo>
                    <a:lnTo>
                      <a:pt x="99718" y="230560"/>
                    </a:lnTo>
                    <a:lnTo>
                      <a:pt x="100335" y="231442"/>
                    </a:lnTo>
                    <a:lnTo>
                      <a:pt x="100600" y="233470"/>
                    </a:lnTo>
                    <a:lnTo>
                      <a:pt x="101482" y="232588"/>
                    </a:lnTo>
                    <a:lnTo>
                      <a:pt x="101217" y="231442"/>
                    </a:lnTo>
                    <a:lnTo>
                      <a:pt x="101834" y="231706"/>
                    </a:lnTo>
                    <a:lnTo>
                      <a:pt x="102452" y="231442"/>
                    </a:lnTo>
                    <a:lnTo>
                      <a:pt x="102452" y="232324"/>
                    </a:lnTo>
                    <a:lnTo>
                      <a:pt x="102452" y="232588"/>
                    </a:lnTo>
                    <a:lnTo>
                      <a:pt x="102716" y="233470"/>
                    </a:lnTo>
                    <a:lnTo>
                      <a:pt x="105361" y="234087"/>
                    </a:lnTo>
                    <a:lnTo>
                      <a:pt x="105361" y="234704"/>
                    </a:lnTo>
                    <a:lnTo>
                      <a:pt x="104215" y="235321"/>
                    </a:lnTo>
                    <a:lnTo>
                      <a:pt x="102716" y="234704"/>
                    </a:lnTo>
                    <a:lnTo>
                      <a:pt x="102716" y="234969"/>
                    </a:lnTo>
                    <a:lnTo>
                      <a:pt x="101834" y="235850"/>
                    </a:lnTo>
                    <a:lnTo>
                      <a:pt x="98925" y="234352"/>
                    </a:lnTo>
                    <a:lnTo>
                      <a:pt x="98043" y="234616"/>
                    </a:lnTo>
                    <a:lnTo>
                      <a:pt x="96632" y="233999"/>
                    </a:lnTo>
                    <a:lnTo>
                      <a:pt x="95486" y="234616"/>
                    </a:lnTo>
                    <a:lnTo>
                      <a:pt x="95486" y="235233"/>
                    </a:lnTo>
                    <a:lnTo>
                      <a:pt x="96632" y="235498"/>
                    </a:lnTo>
                    <a:lnTo>
                      <a:pt x="98396" y="235762"/>
                    </a:lnTo>
                    <a:lnTo>
                      <a:pt x="99542" y="236027"/>
                    </a:lnTo>
                    <a:lnTo>
                      <a:pt x="101923" y="236027"/>
                    </a:lnTo>
                    <a:lnTo>
                      <a:pt x="101041" y="236908"/>
                    </a:lnTo>
                    <a:lnTo>
                      <a:pt x="102187" y="237173"/>
                    </a:lnTo>
                    <a:lnTo>
                      <a:pt x="101923" y="236908"/>
                    </a:lnTo>
                    <a:lnTo>
                      <a:pt x="102187" y="237173"/>
                    </a:lnTo>
                    <a:lnTo>
                      <a:pt x="101041" y="237173"/>
                    </a:lnTo>
                    <a:lnTo>
                      <a:pt x="101041" y="238055"/>
                    </a:lnTo>
                    <a:lnTo>
                      <a:pt x="102187" y="239201"/>
                    </a:lnTo>
                    <a:lnTo>
                      <a:pt x="102187" y="238055"/>
                    </a:lnTo>
                    <a:lnTo>
                      <a:pt x="103069" y="238055"/>
                    </a:lnTo>
                    <a:lnTo>
                      <a:pt x="102187" y="239201"/>
                    </a:lnTo>
                    <a:lnTo>
                      <a:pt x="101305" y="239201"/>
                    </a:lnTo>
                    <a:lnTo>
                      <a:pt x="102452" y="240347"/>
                    </a:lnTo>
                    <a:lnTo>
                      <a:pt x="103333" y="239465"/>
                    </a:lnTo>
                    <a:lnTo>
                      <a:pt x="103598" y="240612"/>
                    </a:lnTo>
                    <a:lnTo>
                      <a:pt x="103598" y="241493"/>
                    </a:lnTo>
                    <a:lnTo>
                      <a:pt x="104479" y="241758"/>
                    </a:lnTo>
                    <a:lnTo>
                      <a:pt x="104479" y="242022"/>
                    </a:lnTo>
                    <a:lnTo>
                      <a:pt x="104215" y="242551"/>
                    </a:lnTo>
                    <a:lnTo>
                      <a:pt x="102716" y="242551"/>
                    </a:lnTo>
                    <a:lnTo>
                      <a:pt x="101305" y="240523"/>
                    </a:lnTo>
                    <a:lnTo>
                      <a:pt x="100424" y="240523"/>
                    </a:lnTo>
                    <a:lnTo>
                      <a:pt x="101570" y="241405"/>
                    </a:lnTo>
                    <a:lnTo>
                      <a:pt x="101570" y="241670"/>
                    </a:lnTo>
                    <a:lnTo>
                      <a:pt x="101570" y="242816"/>
                    </a:lnTo>
                    <a:lnTo>
                      <a:pt x="102716" y="242816"/>
                    </a:lnTo>
                    <a:lnTo>
                      <a:pt x="102716" y="243697"/>
                    </a:lnTo>
                    <a:lnTo>
                      <a:pt x="102099" y="243080"/>
                    </a:lnTo>
                    <a:lnTo>
                      <a:pt x="102716" y="243697"/>
                    </a:lnTo>
                    <a:lnTo>
                      <a:pt x="102981" y="244844"/>
                    </a:lnTo>
                    <a:lnTo>
                      <a:pt x="102363" y="245461"/>
                    </a:lnTo>
                    <a:lnTo>
                      <a:pt x="102363" y="244315"/>
                    </a:lnTo>
                    <a:lnTo>
                      <a:pt x="102363" y="244050"/>
                    </a:lnTo>
                    <a:lnTo>
                      <a:pt x="101746" y="243786"/>
                    </a:lnTo>
                    <a:lnTo>
                      <a:pt x="101746" y="244932"/>
                    </a:lnTo>
                    <a:lnTo>
                      <a:pt x="101746" y="245549"/>
                    </a:lnTo>
                    <a:lnTo>
                      <a:pt x="100864" y="246166"/>
                    </a:lnTo>
                    <a:lnTo>
                      <a:pt x="102011" y="246166"/>
                    </a:lnTo>
                    <a:lnTo>
                      <a:pt x="102892" y="246783"/>
                    </a:lnTo>
                    <a:lnTo>
                      <a:pt x="103510" y="246519"/>
                    </a:lnTo>
                    <a:lnTo>
                      <a:pt x="104127" y="246783"/>
                    </a:lnTo>
                    <a:lnTo>
                      <a:pt x="103774" y="247665"/>
                    </a:lnTo>
                    <a:lnTo>
                      <a:pt x="103157" y="247929"/>
                    </a:lnTo>
                    <a:lnTo>
                      <a:pt x="103157" y="248547"/>
                    </a:lnTo>
                    <a:lnTo>
                      <a:pt x="103157" y="249164"/>
                    </a:lnTo>
                    <a:lnTo>
                      <a:pt x="102540" y="248282"/>
                    </a:lnTo>
                    <a:lnTo>
                      <a:pt x="102275" y="248547"/>
                    </a:lnTo>
                    <a:lnTo>
                      <a:pt x="101658" y="248811"/>
                    </a:lnTo>
                    <a:lnTo>
                      <a:pt x="101394" y="247929"/>
                    </a:lnTo>
                    <a:lnTo>
                      <a:pt x="101923" y="247929"/>
                    </a:lnTo>
                    <a:lnTo>
                      <a:pt x="102363" y="247400"/>
                    </a:lnTo>
                    <a:lnTo>
                      <a:pt x="99718" y="245902"/>
                    </a:lnTo>
                    <a:lnTo>
                      <a:pt x="99718" y="244755"/>
                    </a:lnTo>
                    <a:lnTo>
                      <a:pt x="99101" y="245902"/>
                    </a:lnTo>
                    <a:lnTo>
                      <a:pt x="99983" y="247048"/>
                    </a:lnTo>
                    <a:lnTo>
                      <a:pt x="101129" y="247048"/>
                    </a:lnTo>
                    <a:lnTo>
                      <a:pt x="101129" y="247929"/>
                    </a:lnTo>
                    <a:lnTo>
                      <a:pt x="100600" y="248459"/>
                    </a:lnTo>
                    <a:lnTo>
                      <a:pt x="99983" y="248194"/>
                    </a:lnTo>
                    <a:lnTo>
                      <a:pt x="99366" y="247577"/>
                    </a:lnTo>
                    <a:lnTo>
                      <a:pt x="99366" y="248194"/>
                    </a:lnTo>
                    <a:lnTo>
                      <a:pt x="95839" y="247929"/>
                    </a:lnTo>
                    <a:lnTo>
                      <a:pt x="100247" y="251104"/>
                    </a:lnTo>
                    <a:lnTo>
                      <a:pt x="101658" y="251368"/>
                    </a:lnTo>
                    <a:lnTo>
                      <a:pt x="101041" y="251104"/>
                    </a:lnTo>
                    <a:lnTo>
                      <a:pt x="98396" y="249605"/>
                    </a:lnTo>
                    <a:lnTo>
                      <a:pt x="96897" y="248459"/>
                    </a:lnTo>
                    <a:lnTo>
                      <a:pt x="97779" y="248459"/>
                    </a:lnTo>
                    <a:lnTo>
                      <a:pt x="99806" y="249957"/>
                    </a:lnTo>
                    <a:lnTo>
                      <a:pt x="100688" y="250222"/>
                    </a:lnTo>
                    <a:lnTo>
                      <a:pt x="102452" y="251104"/>
                    </a:lnTo>
                    <a:lnTo>
                      <a:pt x="103333" y="250839"/>
                    </a:lnTo>
                    <a:lnTo>
                      <a:pt x="103598" y="251721"/>
                    </a:lnTo>
                    <a:lnTo>
                      <a:pt x="102452" y="251721"/>
                    </a:lnTo>
                    <a:lnTo>
                      <a:pt x="103069" y="251985"/>
                    </a:lnTo>
                    <a:lnTo>
                      <a:pt x="103686" y="252250"/>
                    </a:lnTo>
                    <a:lnTo>
                      <a:pt x="103421" y="252867"/>
                    </a:lnTo>
                    <a:lnTo>
                      <a:pt x="102540" y="252250"/>
                    </a:lnTo>
                    <a:lnTo>
                      <a:pt x="102540" y="252867"/>
                    </a:lnTo>
                    <a:lnTo>
                      <a:pt x="101658" y="252867"/>
                    </a:lnTo>
                    <a:lnTo>
                      <a:pt x="102804" y="253484"/>
                    </a:lnTo>
                    <a:lnTo>
                      <a:pt x="101041" y="254630"/>
                    </a:lnTo>
                    <a:lnTo>
                      <a:pt x="100776" y="253484"/>
                    </a:lnTo>
                    <a:lnTo>
                      <a:pt x="99895" y="254630"/>
                    </a:lnTo>
                    <a:lnTo>
                      <a:pt x="100776" y="254630"/>
                    </a:lnTo>
                    <a:lnTo>
                      <a:pt x="100776" y="255159"/>
                    </a:lnTo>
                    <a:lnTo>
                      <a:pt x="101658" y="255424"/>
                    </a:lnTo>
                    <a:lnTo>
                      <a:pt x="102804" y="255159"/>
                    </a:lnTo>
                    <a:lnTo>
                      <a:pt x="103686" y="255776"/>
                    </a:lnTo>
                    <a:lnTo>
                      <a:pt x="103069" y="257275"/>
                    </a:lnTo>
                    <a:lnTo>
                      <a:pt x="103069" y="257540"/>
                    </a:lnTo>
                    <a:lnTo>
                      <a:pt x="103333" y="258157"/>
                    </a:lnTo>
                    <a:lnTo>
                      <a:pt x="103333" y="258686"/>
                    </a:lnTo>
                    <a:lnTo>
                      <a:pt x="103333" y="259568"/>
                    </a:lnTo>
                    <a:lnTo>
                      <a:pt x="102452" y="259832"/>
                    </a:lnTo>
                    <a:lnTo>
                      <a:pt x="101834" y="258950"/>
                    </a:lnTo>
                    <a:lnTo>
                      <a:pt x="101305" y="259568"/>
                    </a:lnTo>
                    <a:lnTo>
                      <a:pt x="101834" y="260449"/>
                    </a:lnTo>
                    <a:lnTo>
                      <a:pt x="101305" y="260714"/>
                    </a:lnTo>
                    <a:lnTo>
                      <a:pt x="100688" y="260978"/>
                    </a:lnTo>
                    <a:lnTo>
                      <a:pt x="100424" y="260714"/>
                    </a:lnTo>
                    <a:lnTo>
                      <a:pt x="99806" y="260714"/>
                    </a:lnTo>
                    <a:lnTo>
                      <a:pt x="99189" y="260978"/>
                    </a:lnTo>
                    <a:lnTo>
                      <a:pt x="100953" y="262125"/>
                    </a:lnTo>
                    <a:lnTo>
                      <a:pt x="100424" y="262389"/>
                    </a:lnTo>
                    <a:lnTo>
                      <a:pt x="99542" y="262125"/>
                    </a:lnTo>
                    <a:lnTo>
                      <a:pt x="100159" y="262742"/>
                    </a:lnTo>
                    <a:lnTo>
                      <a:pt x="99806" y="264505"/>
                    </a:lnTo>
                    <a:lnTo>
                      <a:pt x="99806" y="266268"/>
                    </a:lnTo>
                    <a:lnTo>
                      <a:pt x="100688" y="265387"/>
                    </a:lnTo>
                    <a:lnTo>
                      <a:pt x="101834" y="265916"/>
                    </a:lnTo>
                    <a:lnTo>
                      <a:pt x="102099" y="266533"/>
                    </a:lnTo>
                    <a:lnTo>
                      <a:pt x="102716" y="267150"/>
                    </a:lnTo>
                    <a:lnTo>
                      <a:pt x="103333" y="267679"/>
                    </a:lnTo>
                    <a:lnTo>
                      <a:pt x="102716" y="267944"/>
                    </a:lnTo>
                    <a:lnTo>
                      <a:pt x="102452" y="267679"/>
                    </a:lnTo>
                    <a:lnTo>
                      <a:pt x="102187" y="267150"/>
                    </a:lnTo>
                    <a:lnTo>
                      <a:pt x="102187" y="267679"/>
                    </a:lnTo>
                    <a:lnTo>
                      <a:pt x="101305" y="267944"/>
                    </a:lnTo>
                    <a:lnTo>
                      <a:pt x="100159" y="267679"/>
                    </a:lnTo>
                    <a:lnTo>
                      <a:pt x="100424" y="268296"/>
                    </a:lnTo>
                    <a:lnTo>
                      <a:pt x="100159" y="268296"/>
                    </a:lnTo>
                    <a:lnTo>
                      <a:pt x="100159" y="268914"/>
                    </a:lnTo>
                    <a:lnTo>
                      <a:pt x="100159" y="269178"/>
                    </a:lnTo>
                    <a:lnTo>
                      <a:pt x="100424" y="269443"/>
                    </a:lnTo>
                    <a:lnTo>
                      <a:pt x="100424" y="270060"/>
                    </a:lnTo>
                    <a:lnTo>
                      <a:pt x="100424" y="271206"/>
                    </a:lnTo>
                    <a:lnTo>
                      <a:pt x="100159" y="272352"/>
                    </a:lnTo>
                    <a:lnTo>
                      <a:pt x="99542" y="273234"/>
                    </a:lnTo>
                    <a:lnTo>
                      <a:pt x="100688" y="273234"/>
                    </a:lnTo>
                    <a:lnTo>
                      <a:pt x="101834" y="272352"/>
                    </a:lnTo>
                    <a:lnTo>
                      <a:pt x="102452" y="272969"/>
                    </a:lnTo>
                    <a:lnTo>
                      <a:pt x="102187" y="273586"/>
                    </a:lnTo>
                    <a:lnTo>
                      <a:pt x="100688" y="273586"/>
                    </a:lnTo>
                    <a:lnTo>
                      <a:pt x="99542" y="273586"/>
                    </a:lnTo>
                    <a:lnTo>
                      <a:pt x="99277" y="274115"/>
                    </a:lnTo>
                    <a:lnTo>
                      <a:pt x="98131" y="274380"/>
                    </a:lnTo>
                    <a:lnTo>
                      <a:pt x="99895" y="275879"/>
                    </a:lnTo>
                    <a:lnTo>
                      <a:pt x="98484" y="275614"/>
                    </a:lnTo>
                    <a:lnTo>
                      <a:pt x="97338" y="276761"/>
                    </a:lnTo>
                    <a:lnTo>
                      <a:pt x="97602" y="277907"/>
                    </a:lnTo>
                    <a:lnTo>
                      <a:pt x="97602" y="279053"/>
                    </a:lnTo>
                    <a:lnTo>
                      <a:pt x="97338" y="279317"/>
                    </a:lnTo>
                    <a:lnTo>
                      <a:pt x="96456" y="279053"/>
                    </a:lnTo>
                    <a:lnTo>
                      <a:pt x="96191" y="279670"/>
                    </a:lnTo>
                    <a:lnTo>
                      <a:pt x="96191" y="280287"/>
                    </a:lnTo>
                    <a:lnTo>
                      <a:pt x="96191" y="280904"/>
                    </a:lnTo>
                    <a:lnTo>
                      <a:pt x="95839" y="281786"/>
                    </a:lnTo>
                    <a:lnTo>
                      <a:pt x="95222" y="282051"/>
                    </a:lnTo>
                    <a:lnTo>
                      <a:pt x="94340" y="283549"/>
                    </a:lnTo>
                    <a:lnTo>
                      <a:pt x="94340" y="285842"/>
                    </a:lnTo>
                    <a:lnTo>
                      <a:pt x="94076" y="287341"/>
                    </a:lnTo>
                    <a:lnTo>
                      <a:pt x="93547" y="287341"/>
                    </a:lnTo>
                    <a:lnTo>
                      <a:pt x="92665" y="288487"/>
                    </a:lnTo>
                    <a:lnTo>
                      <a:pt x="91166" y="289633"/>
                    </a:lnTo>
                    <a:lnTo>
                      <a:pt x="90549" y="289104"/>
                    </a:lnTo>
                    <a:lnTo>
                      <a:pt x="89932" y="289369"/>
                    </a:lnTo>
                    <a:lnTo>
                      <a:pt x="90549" y="288487"/>
                    </a:lnTo>
                    <a:lnTo>
                      <a:pt x="90813" y="288487"/>
                    </a:lnTo>
                    <a:lnTo>
                      <a:pt x="90813" y="287870"/>
                    </a:lnTo>
                    <a:lnTo>
                      <a:pt x="90284" y="287605"/>
                    </a:lnTo>
                    <a:lnTo>
                      <a:pt x="89667" y="287870"/>
                    </a:lnTo>
                    <a:lnTo>
                      <a:pt x="89667" y="288487"/>
                    </a:lnTo>
                    <a:lnTo>
                      <a:pt x="89050" y="288222"/>
                    </a:lnTo>
                    <a:lnTo>
                      <a:pt x="88168" y="287958"/>
                    </a:lnTo>
                    <a:lnTo>
                      <a:pt x="87287" y="287958"/>
                    </a:lnTo>
                    <a:lnTo>
                      <a:pt x="87551" y="287341"/>
                    </a:lnTo>
                    <a:lnTo>
                      <a:pt x="85259" y="287958"/>
                    </a:lnTo>
                    <a:lnTo>
                      <a:pt x="84641" y="287958"/>
                    </a:lnTo>
                    <a:lnTo>
                      <a:pt x="84024" y="287341"/>
                    </a:lnTo>
                    <a:lnTo>
                      <a:pt x="82525" y="287341"/>
                    </a:lnTo>
                    <a:lnTo>
                      <a:pt x="81644" y="287076"/>
                    </a:lnTo>
                    <a:lnTo>
                      <a:pt x="79881" y="287076"/>
                    </a:lnTo>
                    <a:lnTo>
                      <a:pt x="78734" y="287341"/>
                    </a:lnTo>
                    <a:lnTo>
                      <a:pt x="77588" y="287958"/>
                    </a:lnTo>
                    <a:lnTo>
                      <a:pt x="76177" y="288222"/>
                    </a:lnTo>
                    <a:lnTo>
                      <a:pt x="75560" y="289104"/>
                    </a:lnTo>
                    <a:lnTo>
                      <a:pt x="74149" y="289369"/>
                    </a:lnTo>
                    <a:lnTo>
                      <a:pt x="73268" y="288751"/>
                    </a:lnTo>
                    <a:lnTo>
                      <a:pt x="71504" y="288134"/>
                    </a:lnTo>
                    <a:lnTo>
                      <a:pt x="70094" y="287870"/>
                    </a:lnTo>
                    <a:lnTo>
                      <a:pt x="70358" y="289016"/>
                    </a:lnTo>
                    <a:lnTo>
                      <a:pt x="72386" y="290779"/>
                    </a:lnTo>
                    <a:lnTo>
                      <a:pt x="70887" y="291396"/>
                    </a:lnTo>
                    <a:lnTo>
                      <a:pt x="70270" y="290779"/>
                    </a:lnTo>
                    <a:lnTo>
                      <a:pt x="70270" y="291396"/>
                    </a:lnTo>
                    <a:lnTo>
                      <a:pt x="69653" y="290779"/>
                    </a:lnTo>
                    <a:lnTo>
                      <a:pt x="69653" y="290250"/>
                    </a:lnTo>
                    <a:lnTo>
                      <a:pt x="68771" y="289633"/>
                    </a:lnTo>
                    <a:lnTo>
                      <a:pt x="67272" y="289898"/>
                    </a:lnTo>
                    <a:lnTo>
                      <a:pt x="66391" y="290779"/>
                    </a:lnTo>
                    <a:lnTo>
                      <a:pt x="66391" y="291396"/>
                    </a:lnTo>
                    <a:lnTo>
                      <a:pt x="65509" y="291661"/>
                    </a:lnTo>
                    <a:lnTo>
                      <a:pt x="65245" y="292543"/>
                    </a:lnTo>
                    <a:lnTo>
                      <a:pt x="64980" y="293424"/>
                    </a:lnTo>
                    <a:lnTo>
                      <a:pt x="64098" y="293689"/>
                    </a:lnTo>
                    <a:lnTo>
                      <a:pt x="63481" y="294306"/>
                    </a:lnTo>
                    <a:lnTo>
                      <a:pt x="62864" y="295188"/>
                    </a:lnTo>
                    <a:lnTo>
                      <a:pt x="61982" y="295452"/>
                    </a:lnTo>
                    <a:lnTo>
                      <a:pt x="63393" y="295717"/>
                    </a:lnTo>
                    <a:lnTo>
                      <a:pt x="64539" y="295981"/>
                    </a:lnTo>
                    <a:lnTo>
                      <a:pt x="63922" y="296246"/>
                    </a:lnTo>
                    <a:lnTo>
                      <a:pt x="63040" y="297127"/>
                    </a:lnTo>
                    <a:lnTo>
                      <a:pt x="63040" y="298009"/>
                    </a:lnTo>
                    <a:lnTo>
                      <a:pt x="63922" y="298891"/>
                    </a:lnTo>
                    <a:lnTo>
                      <a:pt x="65333" y="300037"/>
                    </a:lnTo>
                    <a:lnTo>
                      <a:pt x="65068" y="301183"/>
                    </a:lnTo>
                    <a:lnTo>
                      <a:pt x="64451" y="302065"/>
                    </a:lnTo>
                    <a:lnTo>
                      <a:pt x="64451" y="303211"/>
                    </a:lnTo>
                    <a:lnTo>
                      <a:pt x="63834" y="304093"/>
                    </a:lnTo>
                    <a:lnTo>
                      <a:pt x="62688" y="305592"/>
                    </a:lnTo>
                    <a:lnTo>
                      <a:pt x="61806" y="306209"/>
                    </a:lnTo>
                    <a:lnTo>
                      <a:pt x="60660" y="306209"/>
                    </a:lnTo>
                    <a:lnTo>
                      <a:pt x="59161" y="304445"/>
                    </a:lnTo>
                    <a:lnTo>
                      <a:pt x="58015" y="304181"/>
                    </a:lnTo>
                    <a:lnTo>
                      <a:pt x="56868" y="304445"/>
                    </a:lnTo>
                    <a:lnTo>
                      <a:pt x="55987" y="305592"/>
                    </a:lnTo>
                    <a:lnTo>
                      <a:pt x="55105" y="305856"/>
                    </a:lnTo>
                    <a:lnTo>
                      <a:pt x="53077" y="305592"/>
                    </a:lnTo>
                    <a:lnTo>
                      <a:pt x="51931" y="306738"/>
                    </a:lnTo>
                    <a:lnTo>
                      <a:pt x="51667" y="306738"/>
                    </a:lnTo>
                    <a:lnTo>
                      <a:pt x="50785" y="306473"/>
                    </a:lnTo>
                    <a:lnTo>
                      <a:pt x="50785" y="305856"/>
                    </a:lnTo>
                    <a:lnTo>
                      <a:pt x="50520" y="305592"/>
                    </a:lnTo>
                    <a:lnTo>
                      <a:pt x="49374" y="306209"/>
                    </a:lnTo>
                    <a:lnTo>
                      <a:pt x="48228" y="306826"/>
                    </a:lnTo>
                    <a:lnTo>
                      <a:pt x="47082" y="307090"/>
                    </a:lnTo>
                    <a:lnTo>
                      <a:pt x="46465" y="306473"/>
                    </a:lnTo>
                    <a:lnTo>
                      <a:pt x="45583" y="306473"/>
                    </a:lnTo>
                    <a:lnTo>
                      <a:pt x="44966" y="306473"/>
                    </a:lnTo>
                    <a:lnTo>
                      <a:pt x="44349" y="306209"/>
                    </a:lnTo>
                    <a:lnTo>
                      <a:pt x="43467" y="306826"/>
                    </a:lnTo>
                    <a:lnTo>
                      <a:pt x="43202" y="305944"/>
                    </a:lnTo>
                    <a:lnTo>
                      <a:pt x="42938" y="306209"/>
                    </a:lnTo>
                    <a:lnTo>
                      <a:pt x="42321" y="305592"/>
                    </a:lnTo>
                    <a:lnTo>
                      <a:pt x="41703" y="305327"/>
                    </a:lnTo>
                    <a:lnTo>
                      <a:pt x="40822" y="305592"/>
                    </a:lnTo>
                    <a:lnTo>
                      <a:pt x="39940" y="305592"/>
                    </a:lnTo>
                    <a:lnTo>
                      <a:pt x="39940" y="305063"/>
                    </a:lnTo>
                    <a:lnTo>
                      <a:pt x="39323" y="303916"/>
                    </a:lnTo>
                    <a:lnTo>
                      <a:pt x="38706" y="302770"/>
                    </a:lnTo>
                    <a:lnTo>
                      <a:pt x="38970" y="301359"/>
                    </a:lnTo>
                    <a:lnTo>
                      <a:pt x="38970" y="301095"/>
                    </a:lnTo>
                    <a:lnTo>
                      <a:pt x="40117" y="300213"/>
                    </a:lnTo>
                    <a:lnTo>
                      <a:pt x="41263" y="300213"/>
                    </a:lnTo>
                    <a:lnTo>
                      <a:pt x="41527" y="299067"/>
                    </a:lnTo>
                    <a:lnTo>
                      <a:pt x="41880" y="298185"/>
                    </a:lnTo>
                    <a:lnTo>
                      <a:pt x="40734" y="297568"/>
                    </a:lnTo>
                    <a:lnTo>
                      <a:pt x="40117" y="297304"/>
                    </a:lnTo>
                    <a:lnTo>
                      <a:pt x="39235" y="297921"/>
                    </a:lnTo>
                    <a:lnTo>
                      <a:pt x="38618" y="297656"/>
                    </a:lnTo>
                    <a:lnTo>
                      <a:pt x="38618" y="296510"/>
                    </a:lnTo>
                    <a:lnTo>
                      <a:pt x="37736" y="295011"/>
                    </a:lnTo>
                    <a:lnTo>
                      <a:pt x="36237" y="294394"/>
                    </a:lnTo>
                    <a:lnTo>
                      <a:pt x="35973" y="292895"/>
                    </a:lnTo>
                    <a:lnTo>
                      <a:pt x="35708" y="292014"/>
                    </a:lnTo>
                    <a:lnTo>
                      <a:pt x="32798" y="291396"/>
                    </a:lnTo>
                    <a:lnTo>
                      <a:pt x="32534" y="290779"/>
                    </a:lnTo>
                    <a:lnTo>
                      <a:pt x="32798" y="289369"/>
                    </a:lnTo>
                    <a:lnTo>
                      <a:pt x="31300" y="288487"/>
                    </a:lnTo>
                    <a:lnTo>
                      <a:pt x="29536" y="286724"/>
                    </a:lnTo>
                    <a:lnTo>
                      <a:pt x="28390" y="285577"/>
                    </a:lnTo>
                    <a:lnTo>
                      <a:pt x="29007" y="284696"/>
                    </a:lnTo>
                    <a:lnTo>
                      <a:pt x="30506" y="285313"/>
                    </a:lnTo>
                    <a:lnTo>
                      <a:pt x="32269" y="285930"/>
                    </a:lnTo>
                    <a:lnTo>
                      <a:pt x="32887" y="285666"/>
                    </a:lnTo>
                    <a:lnTo>
                      <a:pt x="34650" y="287429"/>
                    </a:lnTo>
                    <a:lnTo>
                      <a:pt x="35796" y="286812"/>
                    </a:lnTo>
                    <a:lnTo>
                      <a:pt x="35796" y="285930"/>
                    </a:lnTo>
                    <a:lnTo>
                      <a:pt x="34915" y="284784"/>
                    </a:lnTo>
                    <a:lnTo>
                      <a:pt x="34915" y="283638"/>
                    </a:lnTo>
                    <a:lnTo>
                      <a:pt x="33151" y="283638"/>
                    </a:lnTo>
                    <a:lnTo>
                      <a:pt x="33151" y="283021"/>
                    </a:lnTo>
                    <a:lnTo>
                      <a:pt x="32005" y="282668"/>
                    </a:lnTo>
                    <a:lnTo>
                      <a:pt x="32005" y="282139"/>
                    </a:lnTo>
                    <a:lnTo>
                      <a:pt x="31740" y="280993"/>
                    </a:lnTo>
                    <a:lnTo>
                      <a:pt x="34121" y="280111"/>
                    </a:lnTo>
                    <a:lnTo>
                      <a:pt x="34738" y="280375"/>
                    </a:lnTo>
                    <a:lnTo>
                      <a:pt x="35884" y="281522"/>
                    </a:lnTo>
                    <a:lnTo>
                      <a:pt x="36766" y="280904"/>
                    </a:lnTo>
                    <a:lnTo>
                      <a:pt x="37383" y="279141"/>
                    </a:lnTo>
                    <a:lnTo>
                      <a:pt x="37383" y="277995"/>
                    </a:lnTo>
                    <a:lnTo>
                      <a:pt x="36502" y="276849"/>
                    </a:lnTo>
                    <a:lnTo>
                      <a:pt x="35620" y="276584"/>
                    </a:lnTo>
                    <a:lnTo>
                      <a:pt x="35003" y="276849"/>
                    </a:lnTo>
                    <a:lnTo>
                      <a:pt x="33857" y="276849"/>
                    </a:lnTo>
                    <a:lnTo>
                      <a:pt x="31476" y="275967"/>
                    </a:lnTo>
                    <a:lnTo>
                      <a:pt x="31476" y="275703"/>
                    </a:lnTo>
                    <a:lnTo>
                      <a:pt x="31476" y="274821"/>
                    </a:lnTo>
                    <a:lnTo>
                      <a:pt x="31476" y="274556"/>
                    </a:lnTo>
                    <a:lnTo>
                      <a:pt x="31476" y="273146"/>
                    </a:lnTo>
                    <a:lnTo>
                      <a:pt x="30065" y="272264"/>
                    </a:lnTo>
                    <a:lnTo>
                      <a:pt x="29448" y="271647"/>
                    </a:lnTo>
                    <a:lnTo>
                      <a:pt x="28566" y="272264"/>
                    </a:lnTo>
                    <a:lnTo>
                      <a:pt x="27949" y="270765"/>
                    </a:lnTo>
                    <a:lnTo>
                      <a:pt x="25304" y="270148"/>
                    </a:lnTo>
                    <a:lnTo>
                      <a:pt x="24423" y="268385"/>
                    </a:lnTo>
                    <a:lnTo>
                      <a:pt x="24687" y="267503"/>
                    </a:lnTo>
                    <a:lnTo>
                      <a:pt x="23805" y="267238"/>
                    </a:lnTo>
                    <a:lnTo>
                      <a:pt x="23805" y="266621"/>
                    </a:lnTo>
                    <a:lnTo>
                      <a:pt x="23188" y="266621"/>
                    </a:lnTo>
                    <a:lnTo>
                      <a:pt x="23453" y="266004"/>
                    </a:lnTo>
                    <a:lnTo>
                      <a:pt x="23188" y="266004"/>
                    </a:lnTo>
                    <a:lnTo>
                      <a:pt x="23453" y="265122"/>
                    </a:lnTo>
                    <a:lnTo>
                      <a:pt x="22836" y="264505"/>
                    </a:lnTo>
                    <a:lnTo>
                      <a:pt x="22571" y="264770"/>
                    </a:lnTo>
                    <a:lnTo>
                      <a:pt x="22042" y="264770"/>
                    </a:lnTo>
                    <a:lnTo>
                      <a:pt x="20896" y="264505"/>
                    </a:lnTo>
                    <a:lnTo>
                      <a:pt x="21513" y="263623"/>
                    </a:lnTo>
                    <a:lnTo>
                      <a:pt x="22395" y="263623"/>
                    </a:lnTo>
                    <a:lnTo>
                      <a:pt x="23012" y="263006"/>
                    </a:lnTo>
                    <a:lnTo>
                      <a:pt x="21866" y="262389"/>
                    </a:lnTo>
                    <a:lnTo>
                      <a:pt x="20984" y="263006"/>
                    </a:lnTo>
                    <a:lnTo>
                      <a:pt x="20367" y="262389"/>
                    </a:lnTo>
                    <a:lnTo>
                      <a:pt x="20102" y="261772"/>
                    </a:lnTo>
                    <a:lnTo>
                      <a:pt x="20719" y="260890"/>
                    </a:lnTo>
                    <a:lnTo>
                      <a:pt x="20719" y="260626"/>
                    </a:lnTo>
                    <a:lnTo>
                      <a:pt x="20102" y="260626"/>
                    </a:lnTo>
                    <a:lnTo>
                      <a:pt x="20719" y="259480"/>
                    </a:lnTo>
                    <a:lnTo>
                      <a:pt x="19838" y="258598"/>
                    </a:lnTo>
                    <a:lnTo>
                      <a:pt x="20719" y="258598"/>
                    </a:lnTo>
                    <a:lnTo>
                      <a:pt x="20455" y="258333"/>
                    </a:lnTo>
                    <a:lnTo>
                      <a:pt x="19309" y="257452"/>
                    </a:lnTo>
                    <a:lnTo>
                      <a:pt x="19044" y="256834"/>
                    </a:lnTo>
                    <a:lnTo>
                      <a:pt x="18515" y="257452"/>
                    </a:lnTo>
                    <a:lnTo>
                      <a:pt x="18251" y="258333"/>
                    </a:lnTo>
                    <a:lnTo>
                      <a:pt x="17634" y="258069"/>
                    </a:lnTo>
                    <a:lnTo>
                      <a:pt x="17634" y="257187"/>
                    </a:lnTo>
                    <a:lnTo>
                      <a:pt x="17898" y="257187"/>
                    </a:lnTo>
                    <a:lnTo>
                      <a:pt x="17634" y="256305"/>
                    </a:lnTo>
                    <a:lnTo>
                      <a:pt x="17634" y="255688"/>
                    </a:lnTo>
                    <a:lnTo>
                      <a:pt x="17369" y="253396"/>
                    </a:lnTo>
                    <a:lnTo>
                      <a:pt x="17369" y="253925"/>
                    </a:lnTo>
                    <a:lnTo>
                      <a:pt x="16223" y="254189"/>
                    </a:lnTo>
                    <a:lnTo>
                      <a:pt x="15606" y="253925"/>
                    </a:lnTo>
                    <a:lnTo>
                      <a:pt x="15606" y="253396"/>
                    </a:lnTo>
                    <a:lnTo>
                      <a:pt x="15606" y="252779"/>
                    </a:lnTo>
                    <a:lnTo>
                      <a:pt x="14988" y="252162"/>
                    </a:lnTo>
                    <a:lnTo>
                      <a:pt x="15606" y="252162"/>
                    </a:lnTo>
                    <a:lnTo>
                      <a:pt x="16223" y="252162"/>
                    </a:lnTo>
                    <a:lnTo>
                      <a:pt x="15606" y="251633"/>
                    </a:lnTo>
                    <a:lnTo>
                      <a:pt x="14724" y="251633"/>
                    </a:lnTo>
                    <a:lnTo>
                      <a:pt x="14459" y="251633"/>
                    </a:lnTo>
                    <a:lnTo>
                      <a:pt x="13842" y="251633"/>
                    </a:lnTo>
                    <a:lnTo>
                      <a:pt x="13842" y="251015"/>
                    </a:lnTo>
                    <a:lnTo>
                      <a:pt x="14724" y="249869"/>
                    </a:lnTo>
                    <a:lnTo>
                      <a:pt x="14459" y="249869"/>
                    </a:lnTo>
                    <a:lnTo>
                      <a:pt x="13578" y="248723"/>
                    </a:lnTo>
                    <a:lnTo>
                      <a:pt x="12960" y="249340"/>
                    </a:lnTo>
                    <a:lnTo>
                      <a:pt x="11815" y="249076"/>
                    </a:lnTo>
                    <a:lnTo>
                      <a:pt x="11550" y="248194"/>
                    </a:lnTo>
                    <a:lnTo>
                      <a:pt x="12696" y="247929"/>
                    </a:lnTo>
                    <a:lnTo>
                      <a:pt x="14195" y="248194"/>
                    </a:lnTo>
                    <a:lnTo>
                      <a:pt x="14459" y="247577"/>
                    </a:lnTo>
                    <a:lnTo>
                      <a:pt x="14195" y="246960"/>
                    </a:lnTo>
                    <a:lnTo>
                      <a:pt x="14459" y="244667"/>
                    </a:lnTo>
                    <a:lnTo>
                      <a:pt x="14195" y="243521"/>
                    </a:lnTo>
                    <a:lnTo>
                      <a:pt x="14459" y="242904"/>
                    </a:lnTo>
                    <a:lnTo>
                      <a:pt x="14195" y="242639"/>
                    </a:lnTo>
                    <a:lnTo>
                      <a:pt x="14195" y="242375"/>
                    </a:lnTo>
                    <a:lnTo>
                      <a:pt x="14195" y="241493"/>
                    </a:lnTo>
                    <a:lnTo>
                      <a:pt x="13930" y="240347"/>
                    </a:lnTo>
                    <a:lnTo>
                      <a:pt x="14548" y="240347"/>
                    </a:lnTo>
                    <a:lnTo>
                      <a:pt x="16311" y="240082"/>
                    </a:lnTo>
                    <a:lnTo>
                      <a:pt x="14548" y="240082"/>
                    </a:lnTo>
                    <a:lnTo>
                      <a:pt x="13930" y="239465"/>
                    </a:lnTo>
                    <a:lnTo>
                      <a:pt x="13930" y="237966"/>
                    </a:lnTo>
                    <a:lnTo>
                      <a:pt x="14548" y="238231"/>
                    </a:lnTo>
                    <a:lnTo>
                      <a:pt x="14812" y="237966"/>
                    </a:lnTo>
                    <a:lnTo>
                      <a:pt x="14195" y="236468"/>
                    </a:lnTo>
                    <a:lnTo>
                      <a:pt x="13313" y="236203"/>
                    </a:lnTo>
                    <a:lnTo>
                      <a:pt x="12696" y="236820"/>
                    </a:lnTo>
                    <a:lnTo>
                      <a:pt x="12696" y="237966"/>
                    </a:lnTo>
                    <a:lnTo>
                      <a:pt x="12696" y="238848"/>
                    </a:lnTo>
                    <a:lnTo>
                      <a:pt x="12696" y="240259"/>
                    </a:lnTo>
                    <a:lnTo>
                      <a:pt x="12696" y="241141"/>
                    </a:lnTo>
                    <a:lnTo>
                      <a:pt x="12432" y="242639"/>
                    </a:lnTo>
                    <a:lnTo>
                      <a:pt x="13049" y="243521"/>
                    </a:lnTo>
                    <a:lnTo>
                      <a:pt x="13049" y="244403"/>
                    </a:lnTo>
                    <a:lnTo>
                      <a:pt x="12167" y="244138"/>
                    </a:lnTo>
                    <a:lnTo>
                      <a:pt x="11550" y="243874"/>
                    </a:lnTo>
                    <a:lnTo>
                      <a:pt x="10404" y="243609"/>
                    </a:lnTo>
                    <a:lnTo>
                      <a:pt x="8640" y="241846"/>
                    </a:lnTo>
                    <a:lnTo>
                      <a:pt x="7759" y="240700"/>
                    </a:lnTo>
                    <a:lnTo>
                      <a:pt x="8023" y="238672"/>
                    </a:lnTo>
                    <a:lnTo>
                      <a:pt x="9522" y="237526"/>
                    </a:lnTo>
                    <a:lnTo>
                      <a:pt x="10139" y="235762"/>
                    </a:lnTo>
                    <a:lnTo>
                      <a:pt x="11021" y="236027"/>
                    </a:lnTo>
                    <a:lnTo>
                      <a:pt x="10756" y="234881"/>
                    </a:lnTo>
                    <a:lnTo>
                      <a:pt x="9875" y="235762"/>
                    </a:lnTo>
                    <a:lnTo>
                      <a:pt x="9875" y="235145"/>
                    </a:lnTo>
                    <a:lnTo>
                      <a:pt x="8993" y="233999"/>
                    </a:lnTo>
                    <a:lnTo>
                      <a:pt x="8729" y="234881"/>
                    </a:lnTo>
                    <a:lnTo>
                      <a:pt x="8729" y="236908"/>
                    </a:lnTo>
                    <a:lnTo>
                      <a:pt x="7582" y="238936"/>
                    </a:lnTo>
                    <a:lnTo>
                      <a:pt x="6701" y="238319"/>
                    </a:lnTo>
                    <a:lnTo>
                      <a:pt x="7582" y="237702"/>
                    </a:lnTo>
                    <a:lnTo>
                      <a:pt x="6701" y="237966"/>
                    </a:lnTo>
                    <a:lnTo>
                      <a:pt x="5202" y="237966"/>
                    </a:lnTo>
                    <a:lnTo>
                      <a:pt x="4937" y="236820"/>
                    </a:lnTo>
                    <a:lnTo>
                      <a:pt x="6965" y="237437"/>
                    </a:lnTo>
                    <a:lnTo>
                      <a:pt x="6965" y="236820"/>
                    </a:lnTo>
                    <a:lnTo>
                      <a:pt x="6965" y="236556"/>
                    </a:lnTo>
                    <a:lnTo>
                      <a:pt x="6701" y="235674"/>
                    </a:lnTo>
                    <a:lnTo>
                      <a:pt x="4937" y="236556"/>
                    </a:lnTo>
                    <a:lnTo>
                      <a:pt x="5554" y="235410"/>
                    </a:lnTo>
                    <a:lnTo>
                      <a:pt x="5554" y="234528"/>
                    </a:lnTo>
                    <a:lnTo>
                      <a:pt x="4408" y="236291"/>
                    </a:lnTo>
                    <a:lnTo>
                      <a:pt x="4144" y="237173"/>
                    </a:lnTo>
                    <a:lnTo>
                      <a:pt x="3527" y="236908"/>
                    </a:lnTo>
                    <a:lnTo>
                      <a:pt x="3262" y="235762"/>
                    </a:lnTo>
                    <a:lnTo>
                      <a:pt x="3791" y="235498"/>
                    </a:lnTo>
                    <a:lnTo>
                      <a:pt x="3527" y="234616"/>
                    </a:lnTo>
                    <a:lnTo>
                      <a:pt x="4144" y="234352"/>
                    </a:lnTo>
                    <a:lnTo>
                      <a:pt x="3527" y="233470"/>
                    </a:lnTo>
                    <a:lnTo>
                      <a:pt x="3527" y="232324"/>
                    </a:lnTo>
                    <a:lnTo>
                      <a:pt x="4144" y="232059"/>
                    </a:lnTo>
                    <a:lnTo>
                      <a:pt x="3262" y="231178"/>
                    </a:lnTo>
                    <a:lnTo>
                      <a:pt x="3262" y="230296"/>
                    </a:lnTo>
                    <a:lnTo>
                      <a:pt x="2998" y="230296"/>
                    </a:lnTo>
                    <a:lnTo>
                      <a:pt x="2998" y="229679"/>
                    </a:lnTo>
                    <a:lnTo>
                      <a:pt x="1234" y="229061"/>
                    </a:lnTo>
                    <a:lnTo>
                      <a:pt x="1234" y="228444"/>
                    </a:lnTo>
                    <a:lnTo>
                      <a:pt x="2733" y="228444"/>
                    </a:lnTo>
                    <a:lnTo>
                      <a:pt x="2733" y="227827"/>
                    </a:lnTo>
                    <a:lnTo>
                      <a:pt x="2998" y="227298"/>
                    </a:lnTo>
                    <a:lnTo>
                      <a:pt x="2998" y="225535"/>
                    </a:lnTo>
                    <a:lnTo>
                      <a:pt x="2380" y="224917"/>
                    </a:lnTo>
                    <a:lnTo>
                      <a:pt x="2380" y="223419"/>
                    </a:lnTo>
                    <a:lnTo>
                      <a:pt x="0" y="223154"/>
                    </a:lnTo>
                    <a:lnTo>
                      <a:pt x="617" y="222272"/>
                    </a:lnTo>
                    <a:lnTo>
                      <a:pt x="0" y="222008"/>
                    </a:lnTo>
                    <a:lnTo>
                      <a:pt x="264" y="220862"/>
                    </a:lnTo>
                    <a:lnTo>
                      <a:pt x="3174" y="219980"/>
                    </a:lnTo>
                    <a:lnTo>
                      <a:pt x="4937" y="222625"/>
                    </a:lnTo>
                    <a:lnTo>
                      <a:pt x="5202" y="225006"/>
                    </a:lnTo>
                    <a:lnTo>
                      <a:pt x="6348" y="225270"/>
                    </a:lnTo>
                    <a:lnTo>
                      <a:pt x="8993" y="224653"/>
                    </a:lnTo>
                    <a:lnTo>
                      <a:pt x="10756" y="220245"/>
                    </a:lnTo>
                    <a:lnTo>
                      <a:pt x="10139" y="219627"/>
                    </a:lnTo>
                    <a:lnTo>
                      <a:pt x="10404" y="217864"/>
                    </a:lnTo>
                    <a:lnTo>
                      <a:pt x="11286" y="216718"/>
                    </a:lnTo>
                    <a:lnTo>
                      <a:pt x="8376" y="208871"/>
                    </a:lnTo>
                    <a:lnTo>
                      <a:pt x="12167" y="206579"/>
                    </a:lnTo>
                    <a:lnTo>
                      <a:pt x="12167" y="204551"/>
                    </a:lnTo>
                    <a:lnTo>
                      <a:pt x="10404" y="203052"/>
                    </a:lnTo>
                    <a:lnTo>
                      <a:pt x="12696" y="201906"/>
                    </a:lnTo>
                    <a:lnTo>
                      <a:pt x="15606" y="202170"/>
                    </a:lnTo>
                    <a:lnTo>
                      <a:pt x="20543" y="198643"/>
                    </a:lnTo>
                    <a:lnTo>
                      <a:pt x="21689" y="196263"/>
                    </a:lnTo>
                    <a:lnTo>
                      <a:pt x="21689" y="192824"/>
                    </a:lnTo>
                    <a:lnTo>
                      <a:pt x="22836" y="189298"/>
                    </a:lnTo>
                    <a:lnTo>
                      <a:pt x="22571" y="187799"/>
                    </a:lnTo>
                    <a:lnTo>
                      <a:pt x="14988" y="176425"/>
                    </a:lnTo>
                    <a:lnTo>
                      <a:pt x="18163" y="175279"/>
                    </a:lnTo>
                    <a:lnTo>
                      <a:pt x="22571" y="175279"/>
                    </a:lnTo>
                    <a:lnTo>
                      <a:pt x="25481" y="168578"/>
                    </a:lnTo>
                    <a:lnTo>
                      <a:pt x="19044" y="163376"/>
                    </a:lnTo>
                    <a:lnTo>
                      <a:pt x="17016" y="163640"/>
                    </a:lnTo>
                    <a:lnTo>
                      <a:pt x="12079" y="160114"/>
                    </a:lnTo>
                    <a:lnTo>
                      <a:pt x="13490" y="148123"/>
                    </a:lnTo>
                    <a:lnTo>
                      <a:pt x="11197" y="144067"/>
                    </a:lnTo>
                    <a:lnTo>
                      <a:pt x="8905" y="141158"/>
                    </a:lnTo>
                    <a:lnTo>
                      <a:pt x="8905" y="139130"/>
                    </a:lnTo>
                    <a:lnTo>
                      <a:pt x="9787" y="137366"/>
                    </a:lnTo>
                    <a:lnTo>
                      <a:pt x="7759" y="134192"/>
                    </a:lnTo>
                    <a:lnTo>
                      <a:pt x="10139" y="131547"/>
                    </a:lnTo>
                    <a:lnTo>
                      <a:pt x="6083" y="125728"/>
                    </a:lnTo>
                    <a:lnTo>
                      <a:pt x="9610" y="120791"/>
                    </a:lnTo>
                    <a:lnTo>
                      <a:pt x="8729" y="118763"/>
                    </a:lnTo>
                    <a:lnTo>
                      <a:pt x="11903" y="114972"/>
                    </a:lnTo>
                    <a:lnTo>
                      <a:pt x="16311" y="110299"/>
                    </a:lnTo>
                    <a:lnTo>
                      <a:pt x="23276" y="107918"/>
                    </a:lnTo>
                    <a:lnTo>
                      <a:pt x="25921" y="107301"/>
                    </a:lnTo>
                    <a:lnTo>
                      <a:pt x="29095" y="107565"/>
                    </a:lnTo>
                    <a:lnTo>
                      <a:pt x="36149" y="108712"/>
                    </a:lnTo>
                    <a:lnTo>
                      <a:pt x="39059" y="108976"/>
                    </a:lnTo>
                    <a:lnTo>
                      <a:pt x="41703" y="105185"/>
                    </a:lnTo>
                    <a:lnTo>
                      <a:pt x="41174" y="101394"/>
                    </a:lnTo>
                    <a:lnTo>
                      <a:pt x="39676" y="98484"/>
                    </a:lnTo>
                    <a:lnTo>
                      <a:pt x="36149" y="98220"/>
                    </a:lnTo>
                    <a:lnTo>
                      <a:pt x="32093" y="96721"/>
                    </a:lnTo>
                    <a:lnTo>
                      <a:pt x="32710" y="94693"/>
                    </a:lnTo>
                    <a:lnTo>
                      <a:pt x="41439" y="85347"/>
                    </a:lnTo>
                    <a:lnTo>
                      <a:pt x="42056" y="82173"/>
                    </a:lnTo>
                    <a:lnTo>
                      <a:pt x="44437" y="80674"/>
                    </a:lnTo>
                    <a:lnTo>
                      <a:pt x="43555" y="74590"/>
                    </a:lnTo>
                    <a:lnTo>
                      <a:pt x="44172" y="71945"/>
                    </a:lnTo>
                    <a:lnTo>
                      <a:pt x="45318" y="69565"/>
                    </a:lnTo>
                    <a:lnTo>
                      <a:pt x="42409" y="62600"/>
                    </a:lnTo>
                    <a:lnTo>
                      <a:pt x="51138" y="62335"/>
                    </a:lnTo>
                    <a:lnTo>
                      <a:pt x="57838" y="59425"/>
                    </a:lnTo>
                    <a:lnTo>
                      <a:pt x="55546" y="55370"/>
                    </a:lnTo>
                    <a:lnTo>
                      <a:pt x="59602" y="52196"/>
                    </a:lnTo>
                    <a:lnTo>
                      <a:pt x="65156" y="46377"/>
                    </a:lnTo>
                    <a:lnTo>
                      <a:pt x="70094" y="43732"/>
                    </a:lnTo>
                    <a:lnTo>
                      <a:pt x="70711" y="40469"/>
                    </a:lnTo>
                    <a:lnTo>
                      <a:pt x="67184" y="36414"/>
                    </a:lnTo>
                    <a:lnTo>
                      <a:pt x="64892" y="35267"/>
                    </a:lnTo>
                    <a:lnTo>
                      <a:pt x="66038" y="33239"/>
                    </a:lnTo>
                    <a:lnTo>
                      <a:pt x="69300" y="32975"/>
                    </a:lnTo>
                    <a:lnTo>
                      <a:pt x="71945" y="29801"/>
                    </a:lnTo>
                    <a:lnTo>
                      <a:pt x="73709" y="25128"/>
                    </a:lnTo>
                    <a:lnTo>
                      <a:pt x="80762" y="21954"/>
                    </a:lnTo>
                    <a:lnTo>
                      <a:pt x="81908" y="20808"/>
                    </a:lnTo>
                    <a:lnTo>
                      <a:pt x="92753" y="23717"/>
                    </a:lnTo>
                    <a:lnTo>
                      <a:pt x="96280" y="19044"/>
                    </a:lnTo>
                    <a:lnTo>
                      <a:pt x="93635" y="14107"/>
                    </a:lnTo>
                    <a:lnTo>
                      <a:pt x="93635" y="11726"/>
                    </a:lnTo>
                    <a:lnTo>
                      <a:pt x="98043" y="11109"/>
                    </a:lnTo>
                    <a:lnTo>
                      <a:pt x="102716" y="12608"/>
                    </a:lnTo>
                    <a:lnTo>
                      <a:pt x="107918" y="12344"/>
                    </a:lnTo>
                    <a:lnTo>
                      <a:pt x="124582" y="15518"/>
                    </a:lnTo>
                    <a:lnTo>
                      <a:pt x="126081" y="13754"/>
                    </a:lnTo>
                    <a:lnTo>
                      <a:pt x="128109" y="13137"/>
                    </a:lnTo>
                    <a:lnTo>
                      <a:pt x="128109" y="12520"/>
                    </a:lnTo>
                    <a:lnTo>
                      <a:pt x="126081" y="11903"/>
                    </a:lnTo>
                    <a:lnTo>
                      <a:pt x="124053" y="11021"/>
                    </a:lnTo>
                    <a:lnTo>
                      <a:pt x="126698" y="9258"/>
                    </a:lnTo>
                    <a:lnTo>
                      <a:pt x="129607" y="6084"/>
                    </a:lnTo>
                    <a:lnTo>
                      <a:pt x="128726" y="3174"/>
                    </a:lnTo>
                    <a:lnTo>
                      <a:pt x="124317" y="529"/>
                    </a:lnTo>
                    <a:lnTo>
                      <a:pt x="132958" y="0"/>
                    </a:lnTo>
                    <a:close/>
                    <a:moveTo>
                      <a:pt x="112238" y="260802"/>
                    </a:moveTo>
                    <a:lnTo>
                      <a:pt x="111092" y="259920"/>
                    </a:lnTo>
                    <a:lnTo>
                      <a:pt x="111356" y="260802"/>
                    </a:lnTo>
                    <a:lnTo>
                      <a:pt x="110210" y="259920"/>
                    </a:lnTo>
                    <a:lnTo>
                      <a:pt x="109593" y="260802"/>
                    </a:lnTo>
                    <a:lnTo>
                      <a:pt x="108711" y="262301"/>
                    </a:lnTo>
                    <a:lnTo>
                      <a:pt x="107830" y="263447"/>
                    </a:lnTo>
                    <a:lnTo>
                      <a:pt x="107565" y="265475"/>
                    </a:lnTo>
                    <a:lnTo>
                      <a:pt x="108183" y="266621"/>
                    </a:lnTo>
                    <a:lnTo>
                      <a:pt x="107565" y="267767"/>
                    </a:lnTo>
                    <a:lnTo>
                      <a:pt x="106684" y="268914"/>
                    </a:lnTo>
                    <a:lnTo>
                      <a:pt x="105802" y="270060"/>
                    </a:lnTo>
                    <a:lnTo>
                      <a:pt x="104920" y="270324"/>
                    </a:lnTo>
                    <a:lnTo>
                      <a:pt x="103774" y="271206"/>
                    </a:lnTo>
                    <a:lnTo>
                      <a:pt x="103510" y="272705"/>
                    </a:lnTo>
                    <a:lnTo>
                      <a:pt x="103245" y="273851"/>
                    </a:lnTo>
                    <a:lnTo>
                      <a:pt x="102981" y="275350"/>
                    </a:lnTo>
                    <a:lnTo>
                      <a:pt x="102363" y="276231"/>
                    </a:lnTo>
                    <a:lnTo>
                      <a:pt x="101482" y="276231"/>
                    </a:lnTo>
                    <a:lnTo>
                      <a:pt x="100600" y="276849"/>
                    </a:lnTo>
                    <a:lnTo>
                      <a:pt x="100335" y="277995"/>
                    </a:lnTo>
                    <a:lnTo>
                      <a:pt x="100600" y="279758"/>
                    </a:lnTo>
                    <a:lnTo>
                      <a:pt x="100600" y="280375"/>
                    </a:lnTo>
                    <a:lnTo>
                      <a:pt x="100864" y="282139"/>
                    </a:lnTo>
                    <a:lnTo>
                      <a:pt x="100600" y="283902"/>
                    </a:lnTo>
                    <a:lnTo>
                      <a:pt x="100864" y="285666"/>
                    </a:lnTo>
                    <a:lnTo>
                      <a:pt x="101129" y="286812"/>
                    </a:lnTo>
                    <a:lnTo>
                      <a:pt x="102275" y="287429"/>
                    </a:lnTo>
                    <a:lnTo>
                      <a:pt x="103157" y="287164"/>
                    </a:lnTo>
                    <a:lnTo>
                      <a:pt x="103774" y="286812"/>
                    </a:lnTo>
                    <a:lnTo>
                      <a:pt x="104127" y="286195"/>
                    </a:lnTo>
                    <a:lnTo>
                      <a:pt x="103774" y="285313"/>
                    </a:lnTo>
                    <a:lnTo>
                      <a:pt x="104127" y="284696"/>
                    </a:lnTo>
                    <a:lnTo>
                      <a:pt x="104391" y="283814"/>
                    </a:lnTo>
                    <a:lnTo>
                      <a:pt x="104391" y="283197"/>
                    </a:lnTo>
                    <a:lnTo>
                      <a:pt x="104656" y="282051"/>
                    </a:lnTo>
                    <a:lnTo>
                      <a:pt x="105273" y="281786"/>
                    </a:lnTo>
                    <a:lnTo>
                      <a:pt x="106155" y="281522"/>
                    </a:lnTo>
                    <a:lnTo>
                      <a:pt x="106155" y="280640"/>
                    </a:lnTo>
                    <a:lnTo>
                      <a:pt x="106155" y="279494"/>
                    </a:lnTo>
                    <a:lnTo>
                      <a:pt x="105537" y="278348"/>
                    </a:lnTo>
                    <a:lnTo>
                      <a:pt x="105537" y="278083"/>
                    </a:lnTo>
                    <a:lnTo>
                      <a:pt x="106684" y="276055"/>
                    </a:lnTo>
                    <a:lnTo>
                      <a:pt x="105537" y="274292"/>
                    </a:lnTo>
                    <a:lnTo>
                      <a:pt x="106155" y="273410"/>
                    </a:lnTo>
                    <a:lnTo>
                      <a:pt x="106419" y="272528"/>
                    </a:lnTo>
                    <a:lnTo>
                      <a:pt x="107036" y="272264"/>
                    </a:lnTo>
                    <a:lnTo>
                      <a:pt x="107918" y="271382"/>
                    </a:lnTo>
                    <a:lnTo>
                      <a:pt x="108535" y="270236"/>
                    </a:lnTo>
                    <a:lnTo>
                      <a:pt x="108535" y="269090"/>
                    </a:lnTo>
                    <a:lnTo>
                      <a:pt x="109417" y="268473"/>
                    </a:lnTo>
                    <a:lnTo>
                      <a:pt x="110563" y="266709"/>
                    </a:lnTo>
                    <a:lnTo>
                      <a:pt x="111180" y="266092"/>
                    </a:lnTo>
                    <a:lnTo>
                      <a:pt x="110563" y="264593"/>
                    </a:lnTo>
                    <a:lnTo>
                      <a:pt x="111709" y="263712"/>
                    </a:lnTo>
                    <a:lnTo>
                      <a:pt x="112062" y="263094"/>
                    </a:lnTo>
                    <a:lnTo>
                      <a:pt x="111180" y="262830"/>
                    </a:lnTo>
                    <a:lnTo>
                      <a:pt x="110563" y="262213"/>
                    </a:lnTo>
                    <a:lnTo>
                      <a:pt x="110298" y="261948"/>
                    </a:lnTo>
                    <a:lnTo>
                      <a:pt x="112944" y="260802"/>
                    </a:lnTo>
                    <a:lnTo>
                      <a:pt x="112238" y="26080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3" name="Freihandform: Form 1572">
                <a:extLst>
                  <a:ext uri="{FF2B5EF4-FFF2-40B4-BE49-F238E27FC236}">
                    <a16:creationId xmlns:a16="http://schemas.microsoft.com/office/drawing/2014/main" id="{2715AD92-7B4E-1CFA-767D-5048D85CF9EE}"/>
                  </a:ext>
                </a:extLst>
              </p:cNvPr>
              <p:cNvSpPr/>
              <p:nvPr/>
            </p:nvSpPr>
            <p:spPr>
              <a:xfrm>
                <a:off x="4396504" y="2452006"/>
                <a:ext cx="212750" cy="225887"/>
              </a:xfrm>
              <a:custGeom>
                <a:avLst/>
                <a:gdLst>
                  <a:gd name="connsiteX0" fmla="*/ 131018 w 212750"/>
                  <a:gd name="connsiteY0" fmla="*/ 32887 h 225887"/>
                  <a:gd name="connsiteX1" fmla="*/ 137719 w 212750"/>
                  <a:gd name="connsiteY1" fmla="*/ 37824 h 225887"/>
                  <a:gd name="connsiteX2" fmla="*/ 136573 w 212750"/>
                  <a:gd name="connsiteY2" fmla="*/ 40469 h 225887"/>
                  <a:gd name="connsiteX3" fmla="*/ 147947 w 212750"/>
                  <a:gd name="connsiteY3" fmla="*/ 42497 h 225887"/>
                  <a:gd name="connsiteX4" fmla="*/ 154647 w 212750"/>
                  <a:gd name="connsiteY4" fmla="*/ 48052 h 225887"/>
                  <a:gd name="connsiteX5" fmla="*/ 160731 w 212750"/>
                  <a:gd name="connsiteY5" fmla="*/ 50961 h 225887"/>
                  <a:gd name="connsiteX6" fmla="*/ 160731 w 212750"/>
                  <a:gd name="connsiteY6" fmla="*/ 53606 h 225887"/>
                  <a:gd name="connsiteX7" fmla="*/ 160202 w 212750"/>
                  <a:gd name="connsiteY7" fmla="*/ 55105 h 225887"/>
                  <a:gd name="connsiteX8" fmla="*/ 154647 w 212750"/>
                  <a:gd name="connsiteY8" fmla="*/ 59514 h 225887"/>
                  <a:gd name="connsiteX9" fmla="*/ 149357 w 212750"/>
                  <a:gd name="connsiteY9" fmla="*/ 66479 h 225887"/>
                  <a:gd name="connsiteX10" fmla="*/ 149622 w 212750"/>
                  <a:gd name="connsiteY10" fmla="*/ 68507 h 225887"/>
                  <a:gd name="connsiteX11" fmla="*/ 156058 w 212750"/>
                  <a:gd name="connsiteY11" fmla="*/ 73797 h 225887"/>
                  <a:gd name="connsiteX12" fmla="*/ 159585 w 212750"/>
                  <a:gd name="connsiteY12" fmla="*/ 76706 h 225887"/>
                  <a:gd name="connsiteX13" fmla="*/ 161613 w 212750"/>
                  <a:gd name="connsiteY13" fmla="*/ 79881 h 225887"/>
                  <a:gd name="connsiteX14" fmla="*/ 167167 w 212750"/>
                  <a:gd name="connsiteY14" fmla="*/ 84553 h 225887"/>
                  <a:gd name="connsiteX15" fmla="*/ 172105 w 212750"/>
                  <a:gd name="connsiteY15" fmla="*/ 90990 h 225887"/>
                  <a:gd name="connsiteX16" fmla="*/ 173516 w 212750"/>
                  <a:gd name="connsiteY16" fmla="*/ 94781 h 225887"/>
                  <a:gd name="connsiteX17" fmla="*/ 171752 w 212750"/>
                  <a:gd name="connsiteY17" fmla="*/ 93899 h 225887"/>
                  <a:gd name="connsiteX18" fmla="*/ 167961 w 212750"/>
                  <a:gd name="connsiteY18" fmla="*/ 94781 h 225887"/>
                  <a:gd name="connsiteX19" fmla="*/ 168843 w 212750"/>
                  <a:gd name="connsiteY19" fmla="*/ 95927 h 225887"/>
                  <a:gd name="connsiteX20" fmla="*/ 168843 w 212750"/>
                  <a:gd name="connsiteY20" fmla="*/ 97338 h 225887"/>
                  <a:gd name="connsiteX21" fmla="*/ 167344 w 212750"/>
                  <a:gd name="connsiteY21" fmla="*/ 97955 h 225887"/>
                  <a:gd name="connsiteX22" fmla="*/ 168490 w 212750"/>
                  <a:gd name="connsiteY22" fmla="*/ 101482 h 225887"/>
                  <a:gd name="connsiteX23" fmla="*/ 166726 w 212750"/>
                  <a:gd name="connsiteY23" fmla="*/ 103245 h 225887"/>
                  <a:gd name="connsiteX24" fmla="*/ 166991 w 212750"/>
                  <a:gd name="connsiteY24" fmla="*/ 104127 h 225887"/>
                  <a:gd name="connsiteX25" fmla="*/ 171399 w 212750"/>
                  <a:gd name="connsiteY25" fmla="*/ 104391 h 225887"/>
                  <a:gd name="connsiteX26" fmla="*/ 172281 w 212750"/>
                  <a:gd name="connsiteY26" fmla="*/ 106419 h 225887"/>
                  <a:gd name="connsiteX27" fmla="*/ 167873 w 212750"/>
                  <a:gd name="connsiteY27" fmla="*/ 107565 h 225887"/>
                  <a:gd name="connsiteX28" fmla="*/ 169019 w 212750"/>
                  <a:gd name="connsiteY28" fmla="*/ 110828 h 225887"/>
                  <a:gd name="connsiteX29" fmla="*/ 172457 w 212750"/>
                  <a:gd name="connsiteY29" fmla="*/ 113737 h 225887"/>
                  <a:gd name="connsiteX30" fmla="*/ 177747 w 212750"/>
                  <a:gd name="connsiteY30" fmla="*/ 113737 h 225887"/>
                  <a:gd name="connsiteX31" fmla="*/ 180393 w 212750"/>
                  <a:gd name="connsiteY31" fmla="*/ 117264 h 225887"/>
                  <a:gd name="connsiteX32" fmla="*/ 176601 w 212750"/>
                  <a:gd name="connsiteY32" fmla="*/ 118410 h 225887"/>
                  <a:gd name="connsiteX33" fmla="*/ 177483 w 212750"/>
                  <a:gd name="connsiteY33" fmla="*/ 119909 h 225887"/>
                  <a:gd name="connsiteX34" fmla="*/ 179246 w 212750"/>
                  <a:gd name="connsiteY34" fmla="*/ 120526 h 225887"/>
                  <a:gd name="connsiteX35" fmla="*/ 178982 w 212750"/>
                  <a:gd name="connsiteY35" fmla="*/ 122554 h 225887"/>
                  <a:gd name="connsiteX36" fmla="*/ 183655 w 212750"/>
                  <a:gd name="connsiteY36" fmla="*/ 124053 h 225887"/>
                  <a:gd name="connsiteX37" fmla="*/ 188328 w 212750"/>
                  <a:gd name="connsiteY37" fmla="*/ 126081 h 225887"/>
                  <a:gd name="connsiteX38" fmla="*/ 189827 w 212750"/>
                  <a:gd name="connsiteY38" fmla="*/ 130137 h 225887"/>
                  <a:gd name="connsiteX39" fmla="*/ 185418 w 212750"/>
                  <a:gd name="connsiteY39" fmla="*/ 135074 h 225887"/>
                  <a:gd name="connsiteX40" fmla="*/ 181010 w 212750"/>
                  <a:gd name="connsiteY40" fmla="*/ 136837 h 225887"/>
                  <a:gd name="connsiteX41" fmla="*/ 186300 w 212750"/>
                  <a:gd name="connsiteY41" fmla="*/ 140364 h 225887"/>
                  <a:gd name="connsiteX42" fmla="*/ 195293 w 212750"/>
                  <a:gd name="connsiteY42" fmla="*/ 144155 h 225887"/>
                  <a:gd name="connsiteX43" fmla="*/ 200231 w 212750"/>
                  <a:gd name="connsiteY43" fmla="*/ 144420 h 225887"/>
                  <a:gd name="connsiteX44" fmla="*/ 205168 w 212750"/>
                  <a:gd name="connsiteY44" fmla="*/ 148476 h 225887"/>
                  <a:gd name="connsiteX45" fmla="*/ 212750 w 212750"/>
                  <a:gd name="connsiteY45" fmla="*/ 155441 h 225887"/>
                  <a:gd name="connsiteX46" fmla="*/ 210987 w 212750"/>
                  <a:gd name="connsiteY46" fmla="*/ 157733 h 225887"/>
                  <a:gd name="connsiteX47" fmla="*/ 209488 w 212750"/>
                  <a:gd name="connsiteY47" fmla="*/ 162142 h 225887"/>
                  <a:gd name="connsiteX48" fmla="*/ 209488 w 212750"/>
                  <a:gd name="connsiteY48" fmla="*/ 164434 h 225887"/>
                  <a:gd name="connsiteX49" fmla="*/ 204551 w 212750"/>
                  <a:gd name="connsiteY49" fmla="*/ 168490 h 225887"/>
                  <a:gd name="connsiteX50" fmla="*/ 201377 w 212750"/>
                  <a:gd name="connsiteY50" fmla="*/ 171135 h 225887"/>
                  <a:gd name="connsiteX51" fmla="*/ 195558 w 212750"/>
                  <a:gd name="connsiteY51" fmla="*/ 176425 h 225887"/>
                  <a:gd name="connsiteX52" fmla="*/ 188592 w 212750"/>
                  <a:gd name="connsiteY52" fmla="*/ 184889 h 225887"/>
                  <a:gd name="connsiteX53" fmla="*/ 182156 w 212750"/>
                  <a:gd name="connsiteY53" fmla="*/ 190444 h 225887"/>
                  <a:gd name="connsiteX54" fmla="*/ 180393 w 212750"/>
                  <a:gd name="connsiteY54" fmla="*/ 192824 h 225887"/>
                  <a:gd name="connsiteX55" fmla="*/ 174309 w 212750"/>
                  <a:gd name="connsiteY55" fmla="*/ 195734 h 225887"/>
                  <a:gd name="connsiteX56" fmla="*/ 171664 w 212750"/>
                  <a:gd name="connsiteY56" fmla="*/ 199525 h 225887"/>
                  <a:gd name="connsiteX57" fmla="*/ 169901 w 212750"/>
                  <a:gd name="connsiteY57" fmla="*/ 199525 h 225887"/>
                  <a:gd name="connsiteX58" fmla="*/ 166991 w 212750"/>
                  <a:gd name="connsiteY58" fmla="*/ 202170 h 225887"/>
                  <a:gd name="connsiteX59" fmla="*/ 164081 w 212750"/>
                  <a:gd name="connsiteY59" fmla="*/ 204551 h 225887"/>
                  <a:gd name="connsiteX60" fmla="*/ 158791 w 212750"/>
                  <a:gd name="connsiteY60" fmla="*/ 208606 h 225887"/>
                  <a:gd name="connsiteX61" fmla="*/ 157292 w 212750"/>
                  <a:gd name="connsiteY61" fmla="*/ 208871 h 225887"/>
                  <a:gd name="connsiteX62" fmla="*/ 157028 w 212750"/>
                  <a:gd name="connsiteY62" fmla="*/ 208871 h 225887"/>
                  <a:gd name="connsiteX63" fmla="*/ 157028 w 212750"/>
                  <a:gd name="connsiteY63" fmla="*/ 209400 h 225887"/>
                  <a:gd name="connsiteX64" fmla="*/ 156146 w 212750"/>
                  <a:gd name="connsiteY64" fmla="*/ 210017 h 225887"/>
                  <a:gd name="connsiteX65" fmla="*/ 155529 w 212750"/>
                  <a:gd name="connsiteY65" fmla="*/ 210017 h 225887"/>
                  <a:gd name="connsiteX66" fmla="*/ 155265 w 212750"/>
                  <a:gd name="connsiteY66" fmla="*/ 209753 h 225887"/>
                  <a:gd name="connsiteX67" fmla="*/ 156146 w 212750"/>
                  <a:gd name="connsiteY67" fmla="*/ 209488 h 225887"/>
                  <a:gd name="connsiteX68" fmla="*/ 156146 w 212750"/>
                  <a:gd name="connsiteY68" fmla="*/ 209224 h 225887"/>
                  <a:gd name="connsiteX69" fmla="*/ 155882 w 212750"/>
                  <a:gd name="connsiteY69" fmla="*/ 208695 h 225887"/>
                  <a:gd name="connsiteX70" fmla="*/ 155617 w 212750"/>
                  <a:gd name="connsiteY70" fmla="*/ 208695 h 225887"/>
                  <a:gd name="connsiteX71" fmla="*/ 154471 w 212750"/>
                  <a:gd name="connsiteY71" fmla="*/ 209576 h 225887"/>
                  <a:gd name="connsiteX72" fmla="*/ 154471 w 212750"/>
                  <a:gd name="connsiteY72" fmla="*/ 210193 h 225887"/>
                  <a:gd name="connsiteX73" fmla="*/ 153854 w 212750"/>
                  <a:gd name="connsiteY73" fmla="*/ 210193 h 225887"/>
                  <a:gd name="connsiteX74" fmla="*/ 153589 w 212750"/>
                  <a:gd name="connsiteY74" fmla="*/ 210193 h 225887"/>
                  <a:gd name="connsiteX75" fmla="*/ 152708 w 212750"/>
                  <a:gd name="connsiteY75" fmla="*/ 209576 h 225887"/>
                  <a:gd name="connsiteX76" fmla="*/ 152443 w 212750"/>
                  <a:gd name="connsiteY76" fmla="*/ 209576 h 225887"/>
                  <a:gd name="connsiteX77" fmla="*/ 152443 w 212750"/>
                  <a:gd name="connsiteY77" fmla="*/ 210193 h 225887"/>
                  <a:gd name="connsiteX78" fmla="*/ 152443 w 212750"/>
                  <a:gd name="connsiteY78" fmla="*/ 210546 h 225887"/>
                  <a:gd name="connsiteX79" fmla="*/ 152443 w 212750"/>
                  <a:gd name="connsiteY79" fmla="*/ 210811 h 225887"/>
                  <a:gd name="connsiteX80" fmla="*/ 151826 w 212750"/>
                  <a:gd name="connsiteY80" fmla="*/ 210193 h 225887"/>
                  <a:gd name="connsiteX81" fmla="*/ 150944 w 212750"/>
                  <a:gd name="connsiteY81" fmla="*/ 209576 h 225887"/>
                  <a:gd name="connsiteX82" fmla="*/ 150680 w 212750"/>
                  <a:gd name="connsiteY82" fmla="*/ 209576 h 225887"/>
                  <a:gd name="connsiteX83" fmla="*/ 149534 w 212750"/>
                  <a:gd name="connsiteY83" fmla="*/ 209841 h 225887"/>
                  <a:gd name="connsiteX84" fmla="*/ 148652 w 212750"/>
                  <a:gd name="connsiteY84" fmla="*/ 209312 h 225887"/>
                  <a:gd name="connsiteX85" fmla="*/ 148388 w 212750"/>
                  <a:gd name="connsiteY85" fmla="*/ 209576 h 225887"/>
                  <a:gd name="connsiteX86" fmla="*/ 148123 w 212750"/>
                  <a:gd name="connsiteY86" fmla="*/ 209312 h 225887"/>
                  <a:gd name="connsiteX87" fmla="*/ 148388 w 212750"/>
                  <a:gd name="connsiteY87" fmla="*/ 209047 h 225887"/>
                  <a:gd name="connsiteX88" fmla="*/ 149005 w 212750"/>
                  <a:gd name="connsiteY88" fmla="*/ 208783 h 225887"/>
                  <a:gd name="connsiteX89" fmla="*/ 149622 w 212750"/>
                  <a:gd name="connsiteY89" fmla="*/ 209047 h 225887"/>
                  <a:gd name="connsiteX90" fmla="*/ 149886 w 212750"/>
                  <a:gd name="connsiteY90" fmla="*/ 208783 h 225887"/>
                  <a:gd name="connsiteX91" fmla="*/ 149005 w 212750"/>
                  <a:gd name="connsiteY91" fmla="*/ 208166 h 225887"/>
                  <a:gd name="connsiteX92" fmla="*/ 147506 w 212750"/>
                  <a:gd name="connsiteY92" fmla="*/ 207901 h 225887"/>
                  <a:gd name="connsiteX93" fmla="*/ 146889 w 212750"/>
                  <a:gd name="connsiteY93" fmla="*/ 209400 h 225887"/>
                  <a:gd name="connsiteX94" fmla="*/ 146624 w 212750"/>
                  <a:gd name="connsiteY94" fmla="*/ 209135 h 225887"/>
                  <a:gd name="connsiteX95" fmla="*/ 146007 w 212750"/>
                  <a:gd name="connsiteY95" fmla="*/ 209135 h 225887"/>
                  <a:gd name="connsiteX96" fmla="*/ 145390 w 212750"/>
                  <a:gd name="connsiteY96" fmla="*/ 208871 h 225887"/>
                  <a:gd name="connsiteX97" fmla="*/ 144861 w 212750"/>
                  <a:gd name="connsiteY97" fmla="*/ 209135 h 225887"/>
                  <a:gd name="connsiteX98" fmla="*/ 144861 w 212750"/>
                  <a:gd name="connsiteY98" fmla="*/ 209664 h 225887"/>
                  <a:gd name="connsiteX99" fmla="*/ 145125 w 212750"/>
                  <a:gd name="connsiteY99" fmla="*/ 210282 h 225887"/>
                  <a:gd name="connsiteX100" fmla="*/ 144861 w 212750"/>
                  <a:gd name="connsiteY100" fmla="*/ 210282 h 225887"/>
                  <a:gd name="connsiteX101" fmla="*/ 143362 w 212750"/>
                  <a:gd name="connsiteY101" fmla="*/ 210017 h 225887"/>
                  <a:gd name="connsiteX102" fmla="*/ 143097 w 212750"/>
                  <a:gd name="connsiteY102" fmla="*/ 210282 h 225887"/>
                  <a:gd name="connsiteX103" fmla="*/ 143362 w 212750"/>
                  <a:gd name="connsiteY103" fmla="*/ 210634 h 225887"/>
                  <a:gd name="connsiteX104" fmla="*/ 142745 w 212750"/>
                  <a:gd name="connsiteY104" fmla="*/ 210899 h 225887"/>
                  <a:gd name="connsiteX105" fmla="*/ 142745 w 212750"/>
                  <a:gd name="connsiteY105" fmla="*/ 210634 h 225887"/>
                  <a:gd name="connsiteX106" fmla="*/ 142128 w 212750"/>
                  <a:gd name="connsiteY106" fmla="*/ 210282 h 225887"/>
                  <a:gd name="connsiteX107" fmla="*/ 141510 w 212750"/>
                  <a:gd name="connsiteY107" fmla="*/ 211163 h 225887"/>
                  <a:gd name="connsiteX108" fmla="*/ 141246 w 212750"/>
                  <a:gd name="connsiteY108" fmla="*/ 211163 h 225887"/>
                  <a:gd name="connsiteX109" fmla="*/ 140629 w 212750"/>
                  <a:gd name="connsiteY109" fmla="*/ 210546 h 225887"/>
                  <a:gd name="connsiteX110" fmla="*/ 139482 w 212750"/>
                  <a:gd name="connsiteY110" fmla="*/ 210193 h 225887"/>
                  <a:gd name="connsiteX111" fmla="*/ 139747 w 212750"/>
                  <a:gd name="connsiteY111" fmla="*/ 211957 h 225887"/>
                  <a:gd name="connsiteX112" fmla="*/ 138865 w 212750"/>
                  <a:gd name="connsiteY112" fmla="*/ 212221 h 225887"/>
                  <a:gd name="connsiteX113" fmla="*/ 138601 w 212750"/>
                  <a:gd name="connsiteY113" fmla="*/ 211957 h 225887"/>
                  <a:gd name="connsiteX114" fmla="*/ 137454 w 212750"/>
                  <a:gd name="connsiteY114" fmla="*/ 211075 h 225887"/>
                  <a:gd name="connsiteX115" fmla="*/ 137190 w 212750"/>
                  <a:gd name="connsiteY115" fmla="*/ 211075 h 225887"/>
                  <a:gd name="connsiteX116" fmla="*/ 136309 w 212750"/>
                  <a:gd name="connsiteY116" fmla="*/ 211957 h 225887"/>
                  <a:gd name="connsiteX117" fmla="*/ 135427 w 212750"/>
                  <a:gd name="connsiteY117" fmla="*/ 211075 h 225887"/>
                  <a:gd name="connsiteX118" fmla="*/ 134810 w 212750"/>
                  <a:gd name="connsiteY118" fmla="*/ 210193 h 225887"/>
                  <a:gd name="connsiteX119" fmla="*/ 135427 w 212750"/>
                  <a:gd name="connsiteY119" fmla="*/ 208783 h 225887"/>
                  <a:gd name="connsiteX120" fmla="*/ 135427 w 212750"/>
                  <a:gd name="connsiteY120" fmla="*/ 208430 h 225887"/>
                  <a:gd name="connsiteX121" fmla="*/ 135427 w 212750"/>
                  <a:gd name="connsiteY121" fmla="*/ 207813 h 225887"/>
                  <a:gd name="connsiteX122" fmla="*/ 134810 w 212750"/>
                  <a:gd name="connsiteY122" fmla="*/ 208430 h 225887"/>
                  <a:gd name="connsiteX123" fmla="*/ 134810 w 212750"/>
                  <a:gd name="connsiteY123" fmla="*/ 209576 h 225887"/>
                  <a:gd name="connsiteX124" fmla="*/ 134192 w 212750"/>
                  <a:gd name="connsiteY124" fmla="*/ 210193 h 225887"/>
                  <a:gd name="connsiteX125" fmla="*/ 134810 w 212750"/>
                  <a:gd name="connsiteY125" fmla="*/ 211692 h 225887"/>
                  <a:gd name="connsiteX126" fmla="*/ 134545 w 212750"/>
                  <a:gd name="connsiteY126" fmla="*/ 211957 h 225887"/>
                  <a:gd name="connsiteX127" fmla="*/ 134281 w 212750"/>
                  <a:gd name="connsiteY127" fmla="*/ 212838 h 225887"/>
                  <a:gd name="connsiteX128" fmla="*/ 134016 w 212750"/>
                  <a:gd name="connsiteY128" fmla="*/ 212838 h 225887"/>
                  <a:gd name="connsiteX129" fmla="*/ 133752 w 212750"/>
                  <a:gd name="connsiteY129" fmla="*/ 211957 h 225887"/>
                  <a:gd name="connsiteX130" fmla="*/ 133752 w 212750"/>
                  <a:gd name="connsiteY130" fmla="*/ 213103 h 225887"/>
                  <a:gd name="connsiteX131" fmla="*/ 132605 w 212750"/>
                  <a:gd name="connsiteY131" fmla="*/ 212221 h 225887"/>
                  <a:gd name="connsiteX132" fmla="*/ 132870 w 212750"/>
                  <a:gd name="connsiteY132" fmla="*/ 213103 h 225887"/>
                  <a:gd name="connsiteX133" fmla="*/ 131988 w 212750"/>
                  <a:gd name="connsiteY133" fmla="*/ 212838 h 225887"/>
                  <a:gd name="connsiteX134" fmla="*/ 131371 w 212750"/>
                  <a:gd name="connsiteY134" fmla="*/ 211075 h 225887"/>
                  <a:gd name="connsiteX135" fmla="*/ 131636 w 212750"/>
                  <a:gd name="connsiteY135" fmla="*/ 211957 h 225887"/>
                  <a:gd name="connsiteX136" fmla="*/ 131636 w 212750"/>
                  <a:gd name="connsiteY136" fmla="*/ 212221 h 225887"/>
                  <a:gd name="connsiteX137" fmla="*/ 130489 w 212750"/>
                  <a:gd name="connsiteY137" fmla="*/ 212486 h 225887"/>
                  <a:gd name="connsiteX138" fmla="*/ 130489 w 212750"/>
                  <a:gd name="connsiteY138" fmla="*/ 211869 h 225887"/>
                  <a:gd name="connsiteX139" fmla="*/ 129608 w 212750"/>
                  <a:gd name="connsiteY139" fmla="*/ 212133 h 225887"/>
                  <a:gd name="connsiteX140" fmla="*/ 128109 w 212750"/>
                  <a:gd name="connsiteY140" fmla="*/ 210722 h 225887"/>
                  <a:gd name="connsiteX141" fmla="*/ 126081 w 212750"/>
                  <a:gd name="connsiteY141" fmla="*/ 210105 h 225887"/>
                  <a:gd name="connsiteX142" fmla="*/ 125464 w 212750"/>
                  <a:gd name="connsiteY142" fmla="*/ 210458 h 225887"/>
                  <a:gd name="connsiteX143" fmla="*/ 128109 w 212750"/>
                  <a:gd name="connsiteY143" fmla="*/ 211869 h 225887"/>
                  <a:gd name="connsiteX144" fmla="*/ 126963 w 212750"/>
                  <a:gd name="connsiteY144" fmla="*/ 212133 h 225887"/>
                  <a:gd name="connsiteX145" fmla="*/ 126963 w 212750"/>
                  <a:gd name="connsiteY145" fmla="*/ 212750 h 225887"/>
                  <a:gd name="connsiteX146" fmla="*/ 128726 w 212750"/>
                  <a:gd name="connsiteY146" fmla="*/ 213367 h 225887"/>
                  <a:gd name="connsiteX147" fmla="*/ 129343 w 212750"/>
                  <a:gd name="connsiteY147" fmla="*/ 214249 h 225887"/>
                  <a:gd name="connsiteX148" fmla="*/ 128461 w 212750"/>
                  <a:gd name="connsiteY148" fmla="*/ 214249 h 225887"/>
                  <a:gd name="connsiteX149" fmla="*/ 126698 w 212750"/>
                  <a:gd name="connsiteY149" fmla="*/ 213367 h 225887"/>
                  <a:gd name="connsiteX150" fmla="*/ 126698 w 212750"/>
                  <a:gd name="connsiteY150" fmla="*/ 212486 h 225887"/>
                  <a:gd name="connsiteX151" fmla="*/ 126698 w 212750"/>
                  <a:gd name="connsiteY151" fmla="*/ 213367 h 225887"/>
                  <a:gd name="connsiteX152" fmla="*/ 124053 w 212750"/>
                  <a:gd name="connsiteY152" fmla="*/ 212221 h 225887"/>
                  <a:gd name="connsiteX153" fmla="*/ 125199 w 212750"/>
                  <a:gd name="connsiteY153" fmla="*/ 213367 h 225887"/>
                  <a:gd name="connsiteX154" fmla="*/ 125552 w 212750"/>
                  <a:gd name="connsiteY154" fmla="*/ 214249 h 225887"/>
                  <a:gd name="connsiteX155" fmla="*/ 125552 w 212750"/>
                  <a:gd name="connsiteY155" fmla="*/ 215395 h 225887"/>
                  <a:gd name="connsiteX156" fmla="*/ 125199 w 212750"/>
                  <a:gd name="connsiteY156" fmla="*/ 214778 h 225887"/>
                  <a:gd name="connsiteX157" fmla="*/ 124582 w 212750"/>
                  <a:gd name="connsiteY157" fmla="*/ 214514 h 225887"/>
                  <a:gd name="connsiteX158" fmla="*/ 123965 w 212750"/>
                  <a:gd name="connsiteY158" fmla="*/ 213632 h 225887"/>
                  <a:gd name="connsiteX159" fmla="*/ 123083 w 212750"/>
                  <a:gd name="connsiteY159" fmla="*/ 214161 h 225887"/>
                  <a:gd name="connsiteX160" fmla="*/ 124229 w 212750"/>
                  <a:gd name="connsiteY160" fmla="*/ 214426 h 225887"/>
                  <a:gd name="connsiteX161" fmla="*/ 123083 w 212750"/>
                  <a:gd name="connsiteY161" fmla="*/ 215307 h 225887"/>
                  <a:gd name="connsiteX162" fmla="*/ 122466 w 212750"/>
                  <a:gd name="connsiteY162" fmla="*/ 215043 h 225887"/>
                  <a:gd name="connsiteX163" fmla="*/ 121320 w 212750"/>
                  <a:gd name="connsiteY163" fmla="*/ 215307 h 225887"/>
                  <a:gd name="connsiteX164" fmla="*/ 121584 w 212750"/>
                  <a:gd name="connsiteY164" fmla="*/ 214161 h 225887"/>
                  <a:gd name="connsiteX165" fmla="*/ 121055 w 212750"/>
                  <a:gd name="connsiteY165" fmla="*/ 214161 h 225887"/>
                  <a:gd name="connsiteX166" fmla="*/ 121937 w 212750"/>
                  <a:gd name="connsiteY166" fmla="*/ 214161 h 225887"/>
                  <a:gd name="connsiteX167" fmla="*/ 121673 w 212750"/>
                  <a:gd name="connsiteY167" fmla="*/ 213015 h 225887"/>
                  <a:gd name="connsiteX168" fmla="*/ 120526 w 212750"/>
                  <a:gd name="connsiteY168" fmla="*/ 213632 h 225887"/>
                  <a:gd name="connsiteX169" fmla="*/ 119380 w 212750"/>
                  <a:gd name="connsiteY169" fmla="*/ 214161 h 225887"/>
                  <a:gd name="connsiteX170" fmla="*/ 119997 w 212750"/>
                  <a:gd name="connsiteY170" fmla="*/ 214426 h 225887"/>
                  <a:gd name="connsiteX171" fmla="*/ 119733 w 212750"/>
                  <a:gd name="connsiteY171" fmla="*/ 215307 h 225887"/>
                  <a:gd name="connsiteX172" fmla="*/ 118234 w 212750"/>
                  <a:gd name="connsiteY172" fmla="*/ 215572 h 225887"/>
                  <a:gd name="connsiteX173" fmla="*/ 117088 w 212750"/>
                  <a:gd name="connsiteY173" fmla="*/ 215307 h 225887"/>
                  <a:gd name="connsiteX174" fmla="*/ 117088 w 212750"/>
                  <a:gd name="connsiteY174" fmla="*/ 214426 h 225887"/>
                  <a:gd name="connsiteX175" fmla="*/ 116206 w 212750"/>
                  <a:gd name="connsiteY175" fmla="*/ 214426 h 225887"/>
                  <a:gd name="connsiteX176" fmla="*/ 115942 w 212750"/>
                  <a:gd name="connsiteY176" fmla="*/ 214426 h 225887"/>
                  <a:gd name="connsiteX177" fmla="*/ 116206 w 212750"/>
                  <a:gd name="connsiteY177" fmla="*/ 215307 h 225887"/>
                  <a:gd name="connsiteX178" fmla="*/ 115589 w 212750"/>
                  <a:gd name="connsiteY178" fmla="*/ 215307 h 225887"/>
                  <a:gd name="connsiteX179" fmla="*/ 114972 w 212750"/>
                  <a:gd name="connsiteY179" fmla="*/ 215307 h 225887"/>
                  <a:gd name="connsiteX180" fmla="*/ 113825 w 212750"/>
                  <a:gd name="connsiteY180" fmla="*/ 215307 h 225887"/>
                  <a:gd name="connsiteX181" fmla="*/ 113561 w 212750"/>
                  <a:gd name="connsiteY181" fmla="*/ 215572 h 225887"/>
                  <a:gd name="connsiteX182" fmla="*/ 113296 w 212750"/>
                  <a:gd name="connsiteY182" fmla="*/ 215836 h 225887"/>
                  <a:gd name="connsiteX183" fmla="*/ 114178 w 212750"/>
                  <a:gd name="connsiteY183" fmla="*/ 216453 h 225887"/>
                  <a:gd name="connsiteX184" fmla="*/ 113032 w 212750"/>
                  <a:gd name="connsiteY184" fmla="*/ 216718 h 225887"/>
                  <a:gd name="connsiteX185" fmla="*/ 112415 w 212750"/>
                  <a:gd name="connsiteY185" fmla="*/ 216101 h 225887"/>
                  <a:gd name="connsiteX186" fmla="*/ 112679 w 212750"/>
                  <a:gd name="connsiteY186" fmla="*/ 216718 h 225887"/>
                  <a:gd name="connsiteX187" fmla="*/ 111533 w 212750"/>
                  <a:gd name="connsiteY187" fmla="*/ 216982 h 225887"/>
                  <a:gd name="connsiteX188" fmla="*/ 111004 w 212750"/>
                  <a:gd name="connsiteY188" fmla="*/ 216718 h 225887"/>
                  <a:gd name="connsiteX189" fmla="*/ 111004 w 212750"/>
                  <a:gd name="connsiteY189" fmla="*/ 216453 h 225887"/>
                  <a:gd name="connsiteX190" fmla="*/ 110387 w 212750"/>
                  <a:gd name="connsiteY190" fmla="*/ 216453 h 225887"/>
                  <a:gd name="connsiteX191" fmla="*/ 110122 w 212750"/>
                  <a:gd name="connsiteY191" fmla="*/ 216718 h 225887"/>
                  <a:gd name="connsiteX192" fmla="*/ 110122 w 212750"/>
                  <a:gd name="connsiteY192" fmla="*/ 217600 h 225887"/>
                  <a:gd name="connsiteX193" fmla="*/ 109241 w 212750"/>
                  <a:gd name="connsiteY193" fmla="*/ 217864 h 225887"/>
                  <a:gd name="connsiteX194" fmla="*/ 107477 w 212750"/>
                  <a:gd name="connsiteY194" fmla="*/ 217600 h 225887"/>
                  <a:gd name="connsiteX195" fmla="*/ 107742 w 212750"/>
                  <a:gd name="connsiteY195" fmla="*/ 216982 h 225887"/>
                  <a:gd name="connsiteX196" fmla="*/ 108624 w 212750"/>
                  <a:gd name="connsiteY196" fmla="*/ 216718 h 225887"/>
                  <a:gd name="connsiteX197" fmla="*/ 107125 w 212750"/>
                  <a:gd name="connsiteY197" fmla="*/ 216453 h 225887"/>
                  <a:gd name="connsiteX198" fmla="*/ 106860 w 212750"/>
                  <a:gd name="connsiteY198" fmla="*/ 216453 h 225887"/>
                  <a:gd name="connsiteX199" fmla="*/ 106596 w 212750"/>
                  <a:gd name="connsiteY199" fmla="*/ 217071 h 225887"/>
                  <a:gd name="connsiteX200" fmla="*/ 106596 w 212750"/>
                  <a:gd name="connsiteY200" fmla="*/ 217688 h 225887"/>
                  <a:gd name="connsiteX201" fmla="*/ 105714 w 212750"/>
                  <a:gd name="connsiteY201" fmla="*/ 217423 h 225887"/>
                  <a:gd name="connsiteX202" fmla="*/ 105185 w 212750"/>
                  <a:gd name="connsiteY202" fmla="*/ 217688 h 225887"/>
                  <a:gd name="connsiteX203" fmla="*/ 105185 w 212750"/>
                  <a:gd name="connsiteY203" fmla="*/ 218834 h 225887"/>
                  <a:gd name="connsiteX204" fmla="*/ 104039 w 212750"/>
                  <a:gd name="connsiteY204" fmla="*/ 217688 h 225887"/>
                  <a:gd name="connsiteX205" fmla="*/ 103774 w 212750"/>
                  <a:gd name="connsiteY205" fmla="*/ 216806 h 225887"/>
                  <a:gd name="connsiteX206" fmla="*/ 102893 w 212750"/>
                  <a:gd name="connsiteY206" fmla="*/ 217071 h 225887"/>
                  <a:gd name="connsiteX207" fmla="*/ 102628 w 212750"/>
                  <a:gd name="connsiteY207" fmla="*/ 217688 h 225887"/>
                  <a:gd name="connsiteX208" fmla="*/ 103510 w 212750"/>
                  <a:gd name="connsiteY208" fmla="*/ 217952 h 225887"/>
                  <a:gd name="connsiteX209" fmla="*/ 103245 w 212750"/>
                  <a:gd name="connsiteY209" fmla="*/ 218217 h 225887"/>
                  <a:gd name="connsiteX210" fmla="*/ 102716 w 212750"/>
                  <a:gd name="connsiteY210" fmla="*/ 218834 h 225887"/>
                  <a:gd name="connsiteX211" fmla="*/ 103598 w 212750"/>
                  <a:gd name="connsiteY211" fmla="*/ 218834 h 225887"/>
                  <a:gd name="connsiteX212" fmla="*/ 103862 w 212750"/>
                  <a:gd name="connsiteY212" fmla="*/ 219098 h 225887"/>
                  <a:gd name="connsiteX213" fmla="*/ 103245 w 212750"/>
                  <a:gd name="connsiteY213" fmla="*/ 219363 h 225887"/>
                  <a:gd name="connsiteX214" fmla="*/ 102099 w 212750"/>
                  <a:gd name="connsiteY214" fmla="*/ 221126 h 225887"/>
                  <a:gd name="connsiteX215" fmla="*/ 101217 w 212750"/>
                  <a:gd name="connsiteY215" fmla="*/ 221391 h 225887"/>
                  <a:gd name="connsiteX216" fmla="*/ 101217 w 212750"/>
                  <a:gd name="connsiteY216" fmla="*/ 220774 h 225887"/>
                  <a:gd name="connsiteX217" fmla="*/ 101217 w 212750"/>
                  <a:gd name="connsiteY217" fmla="*/ 220509 h 225887"/>
                  <a:gd name="connsiteX218" fmla="*/ 100600 w 212750"/>
                  <a:gd name="connsiteY218" fmla="*/ 221126 h 225887"/>
                  <a:gd name="connsiteX219" fmla="*/ 99983 w 212750"/>
                  <a:gd name="connsiteY219" fmla="*/ 220509 h 225887"/>
                  <a:gd name="connsiteX220" fmla="*/ 99983 w 212750"/>
                  <a:gd name="connsiteY220" fmla="*/ 220156 h 225887"/>
                  <a:gd name="connsiteX221" fmla="*/ 99983 w 212750"/>
                  <a:gd name="connsiteY221" fmla="*/ 219010 h 225887"/>
                  <a:gd name="connsiteX222" fmla="*/ 99718 w 212750"/>
                  <a:gd name="connsiteY222" fmla="*/ 219010 h 225887"/>
                  <a:gd name="connsiteX223" fmla="*/ 99101 w 212750"/>
                  <a:gd name="connsiteY223" fmla="*/ 218746 h 225887"/>
                  <a:gd name="connsiteX224" fmla="*/ 98837 w 212750"/>
                  <a:gd name="connsiteY224" fmla="*/ 219010 h 225887"/>
                  <a:gd name="connsiteX225" fmla="*/ 99101 w 212750"/>
                  <a:gd name="connsiteY225" fmla="*/ 219892 h 225887"/>
                  <a:gd name="connsiteX226" fmla="*/ 98484 w 212750"/>
                  <a:gd name="connsiteY226" fmla="*/ 220156 h 225887"/>
                  <a:gd name="connsiteX227" fmla="*/ 97338 w 212750"/>
                  <a:gd name="connsiteY227" fmla="*/ 219892 h 225887"/>
                  <a:gd name="connsiteX228" fmla="*/ 97338 w 212750"/>
                  <a:gd name="connsiteY228" fmla="*/ 220156 h 225887"/>
                  <a:gd name="connsiteX229" fmla="*/ 95310 w 212750"/>
                  <a:gd name="connsiteY229" fmla="*/ 219892 h 225887"/>
                  <a:gd name="connsiteX230" fmla="*/ 95310 w 212750"/>
                  <a:gd name="connsiteY230" fmla="*/ 220156 h 225887"/>
                  <a:gd name="connsiteX231" fmla="*/ 95046 w 212750"/>
                  <a:gd name="connsiteY231" fmla="*/ 221038 h 225887"/>
                  <a:gd name="connsiteX232" fmla="*/ 94429 w 212750"/>
                  <a:gd name="connsiteY232" fmla="*/ 221038 h 225887"/>
                  <a:gd name="connsiteX233" fmla="*/ 94164 w 212750"/>
                  <a:gd name="connsiteY233" fmla="*/ 219892 h 225887"/>
                  <a:gd name="connsiteX234" fmla="*/ 93547 w 212750"/>
                  <a:gd name="connsiteY234" fmla="*/ 221038 h 225887"/>
                  <a:gd name="connsiteX235" fmla="*/ 91783 w 212750"/>
                  <a:gd name="connsiteY235" fmla="*/ 221038 h 225887"/>
                  <a:gd name="connsiteX236" fmla="*/ 91166 w 212750"/>
                  <a:gd name="connsiteY236" fmla="*/ 221038 h 225887"/>
                  <a:gd name="connsiteX237" fmla="*/ 90902 w 212750"/>
                  <a:gd name="connsiteY237" fmla="*/ 222184 h 225887"/>
                  <a:gd name="connsiteX238" fmla="*/ 90637 w 212750"/>
                  <a:gd name="connsiteY238" fmla="*/ 222537 h 225887"/>
                  <a:gd name="connsiteX239" fmla="*/ 90285 w 212750"/>
                  <a:gd name="connsiteY239" fmla="*/ 221920 h 225887"/>
                  <a:gd name="connsiteX240" fmla="*/ 89756 w 212750"/>
                  <a:gd name="connsiteY240" fmla="*/ 221303 h 225887"/>
                  <a:gd name="connsiteX241" fmla="*/ 88874 w 212750"/>
                  <a:gd name="connsiteY241" fmla="*/ 221567 h 225887"/>
                  <a:gd name="connsiteX242" fmla="*/ 88257 w 212750"/>
                  <a:gd name="connsiteY242" fmla="*/ 221303 h 225887"/>
                  <a:gd name="connsiteX243" fmla="*/ 87110 w 212750"/>
                  <a:gd name="connsiteY243" fmla="*/ 222184 h 225887"/>
                  <a:gd name="connsiteX244" fmla="*/ 86846 w 212750"/>
                  <a:gd name="connsiteY244" fmla="*/ 221303 h 225887"/>
                  <a:gd name="connsiteX245" fmla="*/ 85964 w 212750"/>
                  <a:gd name="connsiteY245" fmla="*/ 222449 h 225887"/>
                  <a:gd name="connsiteX246" fmla="*/ 84818 w 212750"/>
                  <a:gd name="connsiteY246" fmla="*/ 222096 h 225887"/>
                  <a:gd name="connsiteX247" fmla="*/ 85083 w 212750"/>
                  <a:gd name="connsiteY247" fmla="*/ 220333 h 225887"/>
                  <a:gd name="connsiteX248" fmla="*/ 85347 w 212750"/>
                  <a:gd name="connsiteY248" fmla="*/ 219716 h 225887"/>
                  <a:gd name="connsiteX249" fmla="*/ 85347 w 212750"/>
                  <a:gd name="connsiteY249" fmla="*/ 218834 h 225887"/>
                  <a:gd name="connsiteX250" fmla="*/ 84465 w 212750"/>
                  <a:gd name="connsiteY250" fmla="*/ 218569 h 225887"/>
                  <a:gd name="connsiteX251" fmla="*/ 83848 w 212750"/>
                  <a:gd name="connsiteY251" fmla="*/ 219187 h 225887"/>
                  <a:gd name="connsiteX252" fmla="*/ 84465 w 212750"/>
                  <a:gd name="connsiteY252" fmla="*/ 220950 h 225887"/>
                  <a:gd name="connsiteX253" fmla="*/ 83584 w 212750"/>
                  <a:gd name="connsiteY253" fmla="*/ 222096 h 225887"/>
                  <a:gd name="connsiteX254" fmla="*/ 82966 w 212750"/>
                  <a:gd name="connsiteY254" fmla="*/ 222978 h 225887"/>
                  <a:gd name="connsiteX255" fmla="*/ 81203 w 212750"/>
                  <a:gd name="connsiteY255" fmla="*/ 223595 h 225887"/>
                  <a:gd name="connsiteX256" fmla="*/ 81468 w 212750"/>
                  <a:gd name="connsiteY256" fmla="*/ 224477 h 225887"/>
                  <a:gd name="connsiteX257" fmla="*/ 80322 w 212750"/>
                  <a:gd name="connsiteY257" fmla="*/ 224741 h 225887"/>
                  <a:gd name="connsiteX258" fmla="*/ 78911 w 212750"/>
                  <a:gd name="connsiteY258" fmla="*/ 225623 h 225887"/>
                  <a:gd name="connsiteX259" fmla="*/ 78294 w 212750"/>
                  <a:gd name="connsiteY259" fmla="*/ 225358 h 225887"/>
                  <a:gd name="connsiteX260" fmla="*/ 77147 w 212750"/>
                  <a:gd name="connsiteY260" fmla="*/ 225887 h 225887"/>
                  <a:gd name="connsiteX261" fmla="*/ 76266 w 212750"/>
                  <a:gd name="connsiteY261" fmla="*/ 225358 h 225887"/>
                  <a:gd name="connsiteX262" fmla="*/ 76530 w 212750"/>
                  <a:gd name="connsiteY262" fmla="*/ 224477 h 225887"/>
                  <a:gd name="connsiteX263" fmla="*/ 77412 w 212750"/>
                  <a:gd name="connsiteY263" fmla="*/ 224477 h 225887"/>
                  <a:gd name="connsiteX264" fmla="*/ 77412 w 212750"/>
                  <a:gd name="connsiteY264" fmla="*/ 223595 h 225887"/>
                  <a:gd name="connsiteX265" fmla="*/ 78558 w 212750"/>
                  <a:gd name="connsiteY265" fmla="*/ 223860 h 225887"/>
                  <a:gd name="connsiteX266" fmla="*/ 78558 w 212750"/>
                  <a:gd name="connsiteY266" fmla="*/ 223242 h 225887"/>
                  <a:gd name="connsiteX267" fmla="*/ 79969 w 212750"/>
                  <a:gd name="connsiteY267" fmla="*/ 223242 h 225887"/>
                  <a:gd name="connsiteX268" fmla="*/ 81732 w 212750"/>
                  <a:gd name="connsiteY268" fmla="*/ 222361 h 225887"/>
                  <a:gd name="connsiteX269" fmla="*/ 82349 w 212750"/>
                  <a:gd name="connsiteY269" fmla="*/ 221214 h 225887"/>
                  <a:gd name="connsiteX270" fmla="*/ 82349 w 212750"/>
                  <a:gd name="connsiteY270" fmla="*/ 220068 h 225887"/>
                  <a:gd name="connsiteX271" fmla="*/ 80939 w 212750"/>
                  <a:gd name="connsiteY271" fmla="*/ 222096 h 225887"/>
                  <a:gd name="connsiteX272" fmla="*/ 80057 w 212750"/>
                  <a:gd name="connsiteY272" fmla="*/ 222096 h 225887"/>
                  <a:gd name="connsiteX273" fmla="*/ 78294 w 212750"/>
                  <a:gd name="connsiteY273" fmla="*/ 222096 h 225887"/>
                  <a:gd name="connsiteX274" fmla="*/ 76883 w 212750"/>
                  <a:gd name="connsiteY274" fmla="*/ 222449 h 225887"/>
                  <a:gd name="connsiteX275" fmla="*/ 77147 w 212750"/>
                  <a:gd name="connsiteY275" fmla="*/ 221567 h 225887"/>
                  <a:gd name="connsiteX276" fmla="*/ 78294 w 212750"/>
                  <a:gd name="connsiteY276" fmla="*/ 221303 h 225887"/>
                  <a:gd name="connsiteX277" fmla="*/ 80939 w 212750"/>
                  <a:gd name="connsiteY277" fmla="*/ 221038 h 225887"/>
                  <a:gd name="connsiteX278" fmla="*/ 81203 w 212750"/>
                  <a:gd name="connsiteY278" fmla="*/ 219892 h 225887"/>
                  <a:gd name="connsiteX279" fmla="*/ 80322 w 212750"/>
                  <a:gd name="connsiteY279" fmla="*/ 219363 h 225887"/>
                  <a:gd name="connsiteX280" fmla="*/ 79440 w 212750"/>
                  <a:gd name="connsiteY280" fmla="*/ 219627 h 225887"/>
                  <a:gd name="connsiteX281" fmla="*/ 77676 w 212750"/>
                  <a:gd name="connsiteY281" fmla="*/ 220245 h 225887"/>
                  <a:gd name="connsiteX282" fmla="*/ 76530 w 212750"/>
                  <a:gd name="connsiteY282" fmla="*/ 219980 h 225887"/>
                  <a:gd name="connsiteX283" fmla="*/ 75913 w 212750"/>
                  <a:gd name="connsiteY283" fmla="*/ 218834 h 225887"/>
                  <a:gd name="connsiteX284" fmla="*/ 76178 w 212750"/>
                  <a:gd name="connsiteY284" fmla="*/ 217952 h 225887"/>
                  <a:gd name="connsiteX285" fmla="*/ 76178 w 212750"/>
                  <a:gd name="connsiteY285" fmla="*/ 217688 h 225887"/>
                  <a:gd name="connsiteX286" fmla="*/ 75296 w 212750"/>
                  <a:gd name="connsiteY286" fmla="*/ 218834 h 225887"/>
                  <a:gd name="connsiteX287" fmla="*/ 74679 w 212750"/>
                  <a:gd name="connsiteY287" fmla="*/ 217952 h 225887"/>
                  <a:gd name="connsiteX288" fmla="*/ 73180 w 212750"/>
                  <a:gd name="connsiteY288" fmla="*/ 216806 h 225887"/>
                  <a:gd name="connsiteX289" fmla="*/ 73180 w 212750"/>
                  <a:gd name="connsiteY289" fmla="*/ 216542 h 225887"/>
                  <a:gd name="connsiteX290" fmla="*/ 73444 w 212750"/>
                  <a:gd name="connsiteY290" fmla="*/ 215924 h 225887"/>
                  <a:gd name="connsiteX291" fmla="*/ 74943 w 212750"/>
                  <a:gd name="connsiteY291" fmla="*/ 215307 h 225887"/>
                  <a:gd name="connsiteX292" fmla="*/ 75560 w 212750"/>
                  <a:gd name="connsiteY292" fmla="*/ 214426 h 225887"/>
                  <a:gd name="connsiteX293" fmla="*/ 75560 w 212750"/>
                  <a:gd name="connsiteY293" fmla="*/ 213808 h 225887"/>
                  <a:gd name="connsiteX294" fmla="*/ 75296 w 212750"/>
                  <a:gd name="connsiteY294" fmla="*/ 213191 h 225887"/>
                  <a:gd name="connsiteX295" fmla="*/ 74414 w 212750"/>
                  <a:gd name="connsiteY295" fmla="*/ 213808 h 225887"/>
                  <a:gd name="connsiteX296" fmla="*/ 73797 w 212750"/>
                  <a:gd name="connsiteY296" fmla="*/ 213544 h 225887"/>
                  <a:gd name="connsiteX297" fmla="*/ 72651 w 212750"/>
                  <a:gd name="connsiteY297" fmla="*/ 214073 h 225887"/>
                  <a:gd name="connsiteX298" fmla="*/ 71769 w 212750"/>
                  <a:gd name="connsiteY298" fmla="*/ 214954 h 225887"/>
                  <a:gd name="connsiteX299" fmla="*/ 70887 w 212750"/>
                  <a:gd name="connsiteY299" fmla="*/ 215219 h 225887"/>
                  <a:gd name="connsiteX300" fmla="*/ 70270 w 212750"/>
                  <a:gd name="connsiteY300" fmla="*/ 216718 h 225887"/>
                  <a:gd name="connsiteX301" fmla="*/ 68507 w 212750"/>
                  <a:gd name="connsiteY301" fmla="*/ 215836 h 225887"/>
                  <a:gd name="connsiteX302" fmla="*/ 67890 w 212750"/>
                  <a:gd name="connsiteY302" fmla="*/ 216453 h 225887"/>
                  <a:gd name="connsiteX303" fmla="*/ 67273 w 212750"/>
                  <a:gd name="connsiteY303" fmla="*/ 215836 h 225887"/>
                  <a:gd name="connsiteX304" fmla="*/ 68154 w 212750"/>
                  <a:gd name="connsiteY304" fmla="*/ 215219 h 225887"/>
                  <a:gd name="connsiteX305" fmla="*/ 67537 w 212750"/>
                  <a:gd name="connsiteY305" fmla="*/ 214954 h 225887"/>
                  <a:gd name="connsiteX306" fmla="*/ 67802 w 212750"/>
                  <a:gd name="connsiteY306" fmla="*/ 214337 h 225887"/>
                  <a:gd name="connsiteX307" fmla="*/ 66920 w 212750"/>
                  <a:gd name="connsiteY307" fmla="*/ 214602 h 225887"/>
                  <a:gd name="connsiteX308" fmla="*/ 66920 w 212750"/>
                  <a:gd name="connsiteY308" fmla="*/ 215219 h 225887"/>
                  <a:gd name="connsiteX309" fmla="*/ 66303 w 212750"/>
                  <a:gd name="connsiteY309" fmla="*/ 215219 h 225887"/>
                  <a:gd name="connsiteX310" fmla="*/ 65421 w 212750"/>
                  <a:gd name="connsiteY310" fmla="*/ 215219 h 225887"/>
                  <a:gd name="connsiteX311" fmla="*/ 65686 w 212750"/>
                  <a:gd name="connsiteY311" fmla="*/ 214073 h 225887"/>
                  <a:gd name="connsiteX312" fmla="*/ 68066 w 212750"/>
                  <a:gd name="connsiteY312" fmla="*/ 213191 h 225887"/>
                  <a:gd name="connsiteX313" fmla="*/ 67802 w 212750"/>
                  <a:gd name="connsiteY313" fmla="*/ 212927 h 225887"/>
                  <a:gd name="connsiteX314" fmla="*/ 65157 w 212750"/>
                  <a:gd name="connsiteY314" fmla="*/ 212927 h 225887"/>
                  <a:gd name="connsiteX315" fmla="*/ 65421 w 212750"/>
                  <a:gd name="connsiteY315" fmla="*/ 212309 h 225887"/>
                  <a:gd name="connsiteX316" fmla="*/ 64275 w 212750"/>
                  <a:gd name="connsiteY316" fmla="*/ 212927 h 225887"/>
                  <a:gd name="connsiteX317" fmla="*/ 63393 w 212750"/>
                  <a:gd name="connsiteY317" fmla="*/ 214073 h 225887"/>
                  <a:gd name="connsiteX318" fmla="*/ 62247 w 212750"/>
                  <a:gd name="connsiteY318" fmla="*/ 212927 h 225887"/>
                  <a:gd name="connsiteX319" fmla="*/ 60836 w 212750"/>
                  <a:gd name="connsiteY319" fmla="*/ 212662 h 225887"/>
                  <a:gd name="connsiteX320" fmla="*/ 59955 w 212750"/>
                  <a:gd name="connsiteY320" fmla="*/ 213544 h 225887"/>
                  <a:gd name="connsiteX321" fmla="*/ 59690 w 212750"/>
                  <a:gd name="connsiteY321" fmla="*/ 212045 h 225887"/>
                  <a:gd name="connsiteX322" fmla="*/ 58808 w 212750"/>
                  <a:gd name="connsiteY322" fmla="*/ 212662 h 225887"/>
                  <a:gd name="connsiteX323" fmla="*/ 58191 w 212750"/>
                  <a:gd name="connsiteY323" fmla="*/ 212927 h 225887"/>
                  <a:gd name="connsiteX324" fmla="*/ 57927 w 212750"/>
                  <a:gd name="connsiteY324" fmla="*/ 212309 h 225887"/>
                  <a:gd name="connsiteX325" fmla="*/ 57398 w 212750"/>
                  <a:gd name="connsiteY325" fmla="*/ 212574 h 225887"/>
                  <a:gd name="connsiteX326" fmla="*/ 58279 w 212750"/>
                  <a:gd name="connsiteY326" fmla="*/ 211075 h 225887"/>
                  <a:gd name="connsiteX327" fmla="*/ 58632 w 212750"/>
                  <a:gd name="connsiteY327" fmla="*/ 209929 h 225887"/>
                  <a:gd name="connsiteX328" fmla="*/ 58015 w 212750"/>
                  <a:gd name="connsiteY328" fmla="*/ 210282 h 225887"/>
                  <a:gd name="connsiteX329" fmla="*/ 57486 w 212750"/>
                  <a:gd name="connsiteY329" fmla="*/ 211163 h 225887"/>
                  <a:gd name="connsiteX330" fmla="*/ 56340 w 212750"/>
                  <a:gd name="connsiteY330" fmla="*/ 212045 h 225887"/>
                  <a:gd name="connsiteX331" fmla="*/ 56075 w 212750"/>
                  <a:gd name="connsiteY331" fmla="*/ 211428 h 225887"/>
                  <a:gd name="connsiteX332" fmla="*/ 56957 w 212750"/>
                  <a:gd name="connsiteY332" fmla="*/ 211163 h 225887"/>
                  <a:gd name="connsiteX333" fmla="*/ 56075 w 212750"/>
                  <a:gd name="connsiteY333" fmla="*/ 210017 h 225887"/>
                  <a:gd name="connsiteX334" fmla="*/ 56075 w 212750"/>
                  <a:gd name="connsiteY334" fmla="*/ 208871 h 225887"/>
                  <a:gd name="connsiteX335" fmla="*/ 54665 w 212750"/>
                  <a:gd name="connsiteY335" fmla="*/ 207989 h 225887"/>
                  <a:gd name="connsiteX336" fmla="*/ 53518 w 212750"/>
                  <a:gd name="connsiteY336" fmla="*/ 208871 h 225887"/>
                  <a:gd name="connsiteX337" fmla="*/ 54400 w 212750"/>
                  <a:gd name="connsiteY337" fmla="*/ 209400 h 225887"/>
                  <a:gd name="connsiteX338" fmla="*/ 53518 w 212750"/>
                  <a:gd name="connsiteY338" fmla="*/ 210017 h 225887"/>
                  <a:gd name="connsiteX339" fmla="*/ 52637 w 212750"/>
                  <a:gd name="connsiteY339" fmla="*/ 210017 h 225887"/>
                  <a:gd name="connsiteX340" fmla="*/ 53518 w 212750"/>
                  <a:gd name="connsiteY340" fmla="*/ 207725 h 225887"/>
                  <a:gd name="connsiteX341" fmla="*/ 53783 w 212750"/>
                  <a:gd name="connsiteY341" fmla="*/ 207196 h 225887"/>
                  <a:gd name="connsiteX342" fmla="*/ 53166 w 212750"/>
                  <a:gd name="connsiteY342" fmla="*/ 206931 h 225887"/>
                  <a:gd name="connsiteX343" fmla="*/ 52284 w 212750"/>
                  <a:gd name="connsiteY343" fmla="*/ 207196 h 225887"/>
                  <a:gd name="connsiteX344" fmla="*/ 51402 w 212750"/>
                  <a:gd name="connsiteY344" fmla="*/ 208077 h 225887"/>
                  <a:gd name="connsiteX345" fmla="*/ 50256 w 212750"/>
                  <a:gd name="connsiteY345" fmla="*/ 208342 h 225887"/>
                  <a:gd name="connsiteX346" fmla="*/ 50873 w 212750"/>
                  <a:gd name="connsiteY346" fmla="*/ 208695 h 225887"/>
                  <a:gd name="connsiteX347" fmla="*/ 50873 w 212750"/>
                  <a:gd name="connsiteY347" fmla="*/ 209576 h 225887"/>
                  <a:gd name="connsiteX348" fmla="*/ 49992 w 212750"/>
                  <a:gd name="connsiteY348" fmla="*/ 210193 h 225887"/>
                  <a:gd name="connsiteX349" fmla="*/ 48845 w 212750"/>
                  <a:gd name="connsiteY349" fmla="*/ 209929 h 225887"/>
                  <a:gd name="connsiteX350" fmla="*/ 48581 w 212750"/>
                  <a:gd name="connsiteY350" fmla="*/ 209400 h 225887"/>
                  <a:gd name="connsiteX351" fmla="*/ 48845 w 212750"/>
                  <a:gd name="connsiteY351" fmla="*/ 208254 h 225887"/>
                  <a:gd name="connsiteX352" fmla="*/ 48845 w 212750"/>
                  <a:gd name="connsiteY352" fmla="*/ 207725 h 225887"/>
                  <a:gd name="connsiteX353" fmla="*/ 48581 w 212750"/>
                  <a:gd name="connsiteY353" fmla="*/ 207460 h 225887"/>
                  <a:gd name="connsiteX354" fmla="*/ 47964 w 212750"/>
                  <a:gd name="connsiteY354" fmla="*/ 207989 h 225887"/>
                  <a:gd name="connsiteX355" fmla="*/ 47699 w 212750"/>
                  <a:gd name="connsiteY355" fmla="*/ 207989 h 225887"/>
                  <a:gd name="connsiteX356" fmla="*/ 47435 w 212750"/>
                  <a:gd name="connsiteY356" fmla="*/ 208606 h 225887"/>
                  <a:gd name="connsiteX357" fmla="*/ 46553 w 212750"/>
                  <a:gd name="connsiteY357" fmla="*/ 207989 h 225887"/>
                  <a:gd name="connsiteX358" fmla="*/ 46553 w 212750"/>
                  <a:gd name="connsiteY358" fmla="*/ 207460 h 225887"/>
                  <a:gd name="connsiteX359" fmla="*/ 46817 w 212750"/>
                  <a:gd name="connsiteY359" fmla="*/ 207196 h 225887"/>
                  <a:gd name="connsiteX360" fmla="*/ 47082 w 212750"/>
                  <a:gd name="connsiteY360" fmla="*/ 206667 h 225887"/>
                  <a:gd name="connsiteX361" fmla="*/ 45583 w 212750"/>
                  <a:gd name="connsiteY361" fmla="*/ 206049 h 225887"/>
                  <a:gd name="connsiteX362" fmla="*/ 45583 w 212750"/>
                  <a:gd name="connsiteY362" fmla="*/ 205785 h 225887"/>
                  <a:gd name="connsiteX363" fmla="*/ 46200 w 212750"/>
                  <a:gd name="connsiteY363" fmla="*/ 205785 h 225887"/>
                  <a:gd name="connsiteX364" fmla="*/ 46465 w 212750"/>
                  <a:gd name="connsiteY364" fmla="*/ 205168 h 225887"/>
                  <a:gd name="connsiteX365" fmla="*/ 46465 w 212750"/>
                  <a:gd name="connsiteY365" fmla="*/ 204551 h 225887"/>
                  <a:gd name="connsiteX366" fmla="*/ 47082 w 212750"/>
                  <a:gd name="connsiteY366" fmla="*/ 204551 h 225887"/>
                  <a:gd name="connsiteX367" fmla="*/ 46817 w 212750"/>
                  <a:gd name="connsiteY367" fmla="*/ 203669 h 225887"/>
                  <a:gd name="connsiteX368" fmla="*/ 45936 w 212750"/>
                  <a:gd name="connsiteY368" fmla="*/ 203669 h 225887"/>
                  <a:gd name="connsiteX369" fmla="*/ 45319 w 212750"/>
                  <a:gd name="connsiteY369" fmla="*/ 203404 h 225887"/>
                  <a:gd name="connsiteX370" fmla="*/ 45054 w 212750"/>
                  <a:gd name="connsiteY370" fmla="*/ 203140 h 225887"/>
                  <a:gd name="connsiteX371" fmla="*/ 44790 w 212750"/>
                  <a:gd name="connsiteY371" fmla="*/ 202875 h 225887"/>
                  <a:gd name="connsiteX372" fmla="*/ 44172 w 212750"/>
                  <a:gd name="connsiteY372" fmla="*/ 202611 h 225887"/>
                  <a:gd name="connsiteX373" fmla="*/ 43908 w 212750"/>
                  <a:gd name="connsiteY373" fmla="*/ 201994 h 225887"/>
                  <a:gd name="connsiteX374" fmla="*/ 44437 w 212750"/>
                  <a:gd name="connsiteY374" fmla="*/ 201377 h 225887"/>
                  <a:gd name="connsiteX375" fmla="*/ 45054 w 212750"/>
                  <a:gd name="connsiteY375" fmla="*/ 201377 h 225887"/>
                  <a:gd name="connsiteX376" fmla="*/ 45319 w 212750"/>
                  <a:gd name="connsiteY376" fmla="*/ 202258 h 225887"/>
                  <a:gd name="connsiteX377" fmla="*/ 45583 w 212750"/>
                  <a:gd name="connsiteY377" fmla="*/ 201377 h 225887"/>
                  <a:gd name="connsiteX378" fmla="*/ 44966 w 212750"/>
                  <a:gd name="connsiteY378" fmla="*/ 201112 h 225887"/>
                  <a:gd name="connsiteX379" fmla="*/ 44701 w 212750"/>
                  <a:gd name="connsiteY379" fmla="*/ 200495 h 225887"/>
                  <a:gd name="connsiteX380" fmla="*/ 45319 w 212750"/>
                  <a:gd name="connsiteY380" fmla="*/ 200230 h 225887"/>
                  <a:gd name="connsiteX381" fmla="*/ 45319 w 212750"/>
                  <a:gd name="connsiteY381" fmla="*/ 200495 h 225887"/>
                  <a:gd name="connsiteX382" fmla="*/ 44701 w 212750"/>
                  <a:gd name="connsiteY382" fmla="*/ 199084 h 225887"/>
                  <a:gd name="connsiteX383" fmla="*/ 44437 w 212750"/>
                  <a:gd name="connsiteY383" fmla="*/ 198467 h 225887"/>
                  <a:gd name="connsiteX384" fmla="*/ 45054 w 212750"/>
                  <a:gd name="connsiteY384" fmla="*/ 197850 h 225887"/>
                  <a:gd name="connsiteX385" fmla="*/ 44790 w 212750"/>
                  <a:gd name="connsiteY385" fmla="*/ 197233 h 225887"/>
                  <a:gd name="connsiteX386" fmla="*/ 44525 w 212750"/>
                  <a:gd name="connsiteY386" fmla="*/ 197233 h 225887"/>
                  <a:gd name="connsiteX387" fmla="*/ 44790 w 212750"/>
                  <a:gd name="connsiteY387" fmla="*/ 196615 h 225887"/>
                  <a:gd name="connsiteX388" fmla="*/ 45936 w 212750"/>
                  <a:gd name="connsiteY388" fmla="*/ 197233 h 225887"/>
                  <a:gd name="connsiteX389" fmla="*/ 45936 w 212750"/>
                  <a:gd name="connsiteY389" fmla="*/ 196615 h 225887"/>
                  <a:gd name="connsiteX390" fmla="*/ 44790 w 212750"/>
                  <a:gd name="connsiteY390" fmla="*/ 195469 h 225887"/>
                  <a:gd name="connsiteX391" fmla="*/ 45054 w 212750"/>
                  <a:gd name="connsiteY391" fmla="*/ 195205 h 225887"/>
                  <a:gd name="connsiteX392" fmla="*/ 45671 w 212750"/>
                  <a:gd name="connsiteY392" fmla="*/ 195469 h 225887"/>
                  <a:gd name="connsiteX393" fmla="*/ 46553 w 212750"/>
                  <a:gd name="connsiteY393" fmla="*/ 195205 h 225887"/>
                  <a:gd name="connsiteX394" fmla="*/ 45936 w 212750"/>
                  <a:gd name="connsiteY394" fmla="*/ 194940 h 225887"/>
                  <a:gd name="connsiteX395" fmla="*/ 45936 w 212750"/>
                  <a:gd name="connsiteY395" fmla="*/ 193794 h 225887"/>
                  <a:gd name="connsiteX396" fmla="*/ 45319 w 212750"/>
                  <a:gd name="connsiteY396" fmla="*/ 193794 h 225887"/>
                  <a:gd name="connsiteX397" fmla="*/ 45583 w 212750"/>
                  <a:gd name="connsiteY397" fmla="*/ 192912 h 225887"/>
                  <a:gd name="connsiteX398" fmla="*/ 45319 w 212750"/>
                  <a:gd name="connsiteY398" fmla="*/ 192648 h 225887"/>
                  <a:gd name="connsiteX399" fmla="*/ 45319 w 212750"/>
                  <a:gd name="connsiteY399" fmla="*/ 191502 h 225887"/>
                  <a:gd name="connsiteX400" fmla="*/ 45319 w 212750"/>
                  <a:gd name="connsiteY400" fmla="*/ 189827 h 225887"/>
                  <a:gd name="connsiteX401" fmla="*/ 44701 w 212750"/>
                  <a:gd name="connsiteY401" fmla="*/ 189298 h 225887"/>
                  <a:gd name="connsiteX402" fmla="*/ 44966 w 212750"/>
                  <a:gd name="connsiteY402" fmla="*/ 188680 h 225887"/>
                  <a:gd name="connsiteX403" fmla="*/ 44966 w 212750"/>
                  <a:gd name="connsiteY403" fmla="*/ 188063 h 225887"/>
                  <a:gd name="connsiteX404" fmla="*/ 44084 w 212750"/>
                  <a:gd name="connsiteY404" fmla="*/ 187446 h 225887"/>
                  <a:gd name="connsiteX405" fmla="*/ 44701 w 212750"/>
                  <a:gd name="connsiteY405" fmla="*/ 187446 h 225887"/>
                  <a:gd name="connsiteX406" fmla="*/ 45583 w 212750"/>
                  <a:gd name="connsiteY406" fmla="*/ 186564 h 225887"/>
                  <a:gd name="connsiteX407" fmla="*/ 44701 w 212750"/>
                  <a:gd name="connsiteY407" fmla="*/ 186300 h 225887"/>
                  <a:gd name="connsiteX408" fmla="*/ 44084 w 212750"/>
                  <a:gd name="connsiteY408" fmla="*/ 185683 h 225887"/>
                  <a:gd name="connsiteX409" fmla="*/ 44349 w 212750"/>
                  <a:gd name="connsiteY409" fmla="*/ 185065 h 225887"/>
                  <a:gd name="connsiteX410" fmla="*/ 45848 w 212750"/>
                  <a:gd name="connsiteY410" fmla="*/ 185330 h 225887"/>
                  <a:gd name="connsiteX411" fmla="*/ 46994 w 212750"/>
                  <a:gd name="connsiteY411" fmla="*/ 185683 h 225887"/>
                  <a:gd name="connsiteX412" fmla="*/ 48140 w 212750"/>
                  <a:gd name="connsiteY412" fmla="*/ 185330 h 225887"/>
                  <a:gd name="connsiteX413" fmla="*/ 47523 w 212750"/>
                  <a:gd name="connsiteY413" fmla="*/ 185065 h 225887"/>
                  <a:gd name="connsiteX414" fmla="*/ 46377 w 212750"/>
                  <a:gd name="connsiteY414" fmla="*/ 184448 h 225887"/>
                  <a:gd name="connsiteX415" fmla="*/ 44966 w 212750"/>
                  <a:gd name="connsiteY415" fmla="*/ 183831 h 225887"/>
                  <a:gd name="connsiteX416" fmla="*/ 44084 w 212750"/>
                  <a:gd name="connsiteY416" fmla="*/ 183214 h 225887"/>
                  <a:gd name="connsiteX417" fmla="*/ 43555 w 212750"/>
                  <a:gd name="connsiteY417" fmla="*/ 182949 h 225887"/>
                  <a:gd name="connsiteX418" fmla="*/ 44084 w 212750"/>
                  <a:gd name="connsiteY418" fmla="*/ 182068 h 225887"/>
                  <a:gd name="connsiteX419" fmla="*/ 43820 w 212750"/>
                  <a:gd name="connsiteY419" fmla="*/ 181451 h 225887"/>
                  <a:gd name="connsiteX420" fmla="*/ 44701 w 212750"/>
                  <a:gd name="connsiteY420" fmla="*/ 181451 h 225887"/>
                  <a:gd name="connsiteX421" fmla="*/ 43555 w 212750"/>
                  <a:gd name="connsiteY421" fmla="*/ 180833 h 225887"/>
                  <a:gd name="connsiteX422" fmla="*/ 43291 w 212750"/>
                  <a:gd name="connsiteY422" fmla="*/ 179687 h 225887"/>
                  <a:gd name="connsiteX423" fmla="*/ 41792 w 212750"/>
                  <a:gd name="connsiteY423" fmla="*/ 177395 h 225887"/>
                  <a:gd name="connsiteX424" fmla="*/ 42056 w 212750"/>
                  <a:gd name="connsiteY424" fmla="*/ 177395 h 225887"/>
                  <a:gd name="connsiteX425" fmla="*/ 41792 w 212750"/>
                  <a:gd name="connsiteY425" fmla="*/ 177130 h 225887"/>
                  <a:gd name="connsiteX426" fmla="*/ 40910 w 212750"/>
                  <a:gd name="connsiteY426" fmla="*/ 176249 h 225887"/>
                  <a:gd name="connsiteX427" fmla="*/ 40029 w 212750"/>
                  <a:gd name="connsiteY427" fmla="*/ 177130 h 225887"/>
                  <a:gd name="connsiteX428" fmla="*/ 40029 w 212750"/>
                  <a:gd name="connsiteY428" fmla="*/ 176866 h 225887"/>
                  <a:gd name="connsiteX429" fmla="*/ 40029 w 212750"/>
                  <a:gd name="connsiteY429" fmla="*/ 176249 h 225887"/>
                  <a:gd name="connsiteX430" fmla="*/ 39764 w 212750"/>
                  <a:gd name="connsiteY430" fmla="*/ 175984 h 225887"/>
                  <a:gd name="connsiteX431" fmla="*/ 38882 w 212750"/>
                  <a:gd name="connsiteY431" fmla="*/ 175102 h 225887"/>
                  <a:gd name="connsiteX432" fmla="*/ 39411 w 212750"/>
                  <a:gd name="connsiteY432" fmla="*/ 173604 h 225887"/>
                  <a:gd name="connsiteX433" fmla="*/ 39147 w 212750"/>
                  <a:gd name="connsiteY433" fmla="*/ 171840 h 225887"/>
                  <a:gd name="connsiteX434" fmla="*/ 40910 w 212750"/>
                  <a:gd name="connsiteY434" fmla="*/ 171223 h 225887"/>
                  <a:gd name="connsiteX435" fmla="*/ 40646 w 212750"/>
                  <a:gd name="connsiteY435" fmla="*/ 170694 h 225887"/>
                  <a:gd name="connsiteX436" fmla="*/ 40029 w 212750"/>
                  <a:gd name="connsiteY436" fmla="*/ 169548 h 225887"/>
                  <a:gd name="connsiteX437" fmla="*/ 39764 w 212750"/>
                  <a:gd name="connsiteY437" fmla="*/ 169019 h 225887"/>
                  <a:gd name="connsiteX438" fmla="*/ 38882 w 212750"/>
                  <a:gd name="connsiteY438" fmla="*/ 169548 h 225887"/>
                  <a:gd name="connsiteX439" fmla="*/ 38882 w 212750"/>
                  <a:gd name="connsiteY439" fmla="*/ 168402 h 225887"/>
                  <a:gd name="connsiteX440" fmla="*/ 38530 w 212750"/>
                  <a:gd name="connsiteY440" fmla="*/ 167784 h 225887"/>
                  <a:gd name="connsiteX441" fmla="*/ 36766 w 212750"/>
                  <a:gd name="connsiteY441" fmla="*/ 167167 h 225887"/>
                  <a:gd name="connsiteX442" fmla="*/ 36766 w 212750"/>
                  <a:gd name="connsiteY442" fmla="*/ 166021 h 225887"/>
                  <a:gd name="connsiteX443" fmla="*/ 36502 w 212750"/>
                  <a:gd name="connsiteY443" fmla="*/ 166903 h 225887"/>
                  <a:gd name="connsiteX444" fmla="*/ 35620 w 212750"/>
                  <a:gd name="connsiteY444" fmla="*/ 166638 h 225887"/>
                  <a:gd name="connsiteX445" fmla="*/ 35356 w 212750"/>
                  <a:gd name="connsiteY445" fmla="*/ 166021 h 225887"/>
                  <a:gd name="connsiteX446" fmla="*/ 35091 w 212750"/>
                  <a:gd name="connsiteY446" fmla="*/ 165404 h 225887"/>
                  <a:gd name="connsiteX447" fmla="*/ 34474 w 212750"/>
                  <a:gd name="connsiteY447" fmla="*/ 166021 h 225887"/>
                  <a:gd name="connsiteX448" fmla="*/ 34209 w 212750"/>
                  <a:gd name="connsiteY448" fmla="*/ 164875 h 225887"/>
                  <a:gd name="connsiteX449" fmla="*/ 34474 w 212750"/>
                  <a:gd name="connsiteY449" fmla="*/ 163993 h 225887"/>
                  <a:gd name="connsiteX450" fmla="*/ 33857 w 212750"/>
                  <a:gd name="connsiteY450" fmla="*/ 163729 h 225887"/>
                  <a:gd name="connsiteX451" fmla="*/ 33240 w 212750"/>
                  <a:gd name="connsiteY451" fmla="*/ 163112 h 225887"/>
                  <a:gd name="connsiteX452" fmla="*/ 33857 w 212750"/>
                  <a:gd name="connsiteY452" fmla="*/ 162847 h 225887"/>
                  <a:gd name="connsiteX453" fmla="*/ 34121 w 212750"/>
                  <a:gd name="connsiteY453" fmla="*/ 162230 h 225887"/>
                  <a:gd name="connsiteX454" fmla="*/ 35267 w 212750"/>
                  <a:gd name="connsiteY454" fmla="*/ 162230 h 225887"/>
                  <a:gd name="connsiteX455" fmla="*/ 35267 w 212750"/>
                  <a:gd name="connsiteY455" fmla="*/ 161613 h 225887"/>
                  <a:gd name="connsiteX456" fmla="*/ 34386 w 212750"/>
                  <a:gd name="connsiteY456" fmla="*/ 161613 h 225887"/>
                  <a:gd name="connsiteX457" fmla="*/ 33769 w 212750"/>
                  <a:gd name="connsiteY457" fmla="*/ 160995 h 225887"/>
                  <a:gd name="connsiteX458" fmla="*/ 33504 w 212750"/>
                  <a:gd name="connsiteY458" fmla="*/ 161613 h 225887"/>
                  <a:gd name="connsiteX459" fmla="*/ 32887 w 212750"/>
                  <a:gd name="connsiteY459" fmla="*/ 161613 h 225887"/>
                  <a:gd name="connsiteX460" fmla="*/ 31741 w 212750"/>
                  <a:gd name="connsiteY460" fmla="*/ 161613 h 225887"/>
                  <a:gd name="connsiteX461" fmla="*/ 31123 w 212750"/>
                  <a:gd name="connsiteY461" fmla="*/ 160731 h 225887"/>
                  <a:gd name="connsiteX462" fmla="*/ 31741 w 212750"/>
                  <a:gd name="connsiteY462" fmla="*/ 160466 h 225887"/>
                  <a:gd name="connsiteX463" fmla="*/ 33151 w 212750"/>
                  <a:gd name="connsiteY463" fmla="*/ 159585 h 225887"/>
                  <a:gd name="connsiteX464" fmla="*/ 34033 w 212750"/>
                  <a:gd name="connsiteY464" fmla="*/ 159320 h 225887"/>
                  <a:gd name="connsiteX465" fmla="*/ 32887 w 212750"/>
                  <a:gd name="connsiteY465" fmla="*/ 158439 h 225887"/>
                  <a:gd name="connsiteX466" fmla="*/ 32887 w 212750"/>
                  <a:gd name="connsiteY466" fmla="*/ 158174 h 225887"/>
                  <a:gd name="connsiteX467" fmla="*/ 33504 w 212750"/>
                  <a:gd name="connsiteY467" fmla="*/ 157910 h 225887"/>
                  <a:gd name="connsiteX468" fmla="*/ 34121 w 212750"/>
                  <a:gd name="connsiteY468" fmla="*/ 158174 h 225887"/>
                  <a:gd name="connsiteX469" fmla="*/ 35003 w 212750"/>
                  <a:gd name="connsiteY469" fmla="*/ 157557 h 225887"/>
                  <a:gd name="connsiteX470" fmla="*/ 35003 w 212750"/>
                  <a:gd name="connsiteY470" fmla="*/ 156411 h 225887"/>
                  <a:gd name="connsiteX471" fmla="*/ 36502 w 212750"/>
                  <a:gd name="connsiteY471" fmla="*/ 156411 h 225887"/>
                  <a:gd name="connsiteX472" fmla="*/ 37648 w 212750"/>
                  <a:gd name="connsiteY472" fmla="*/ 156411 h 225887"/>
                  <a:gd name="connsiteX473" fmla="*/ 38265 w 212750"/>
                  <a:gd name="connsiteY473" fmla="*/ 155265 h 225887"/>
                  <a:gd name="connsiteX474" fmla="*/ 38882 w 212750"/>
                  <a:gd name="connsiteY474" fmla="*/ 154118 h 225887"/>
                  <a:gd name="connsiteX475" fmla="*/ 37736 w 212750"/>
                  <a:gd name="connsiteY475" fmla="*/ 152619 h 225887"/>
                  <a:gd name="connsiteX476" fmla="*/ 37736 w 212750"/>
                  <a:gd name="connsiteY476" fmla="*/ 152355 h 225887"/>
                  <a:gd name="connsiteX477" fmla="*/ 38001 w 212750"/>
                  <a:gd name="connsiteY477" fmla="*/ 152090 h 225887"/>
                  <a:gd name="connsiteX478" fmla="*/ 38618 w 212750"/>
                  <a:gd name="connsiteY478" fmla="*/ 152090 h 225887"/>
                  <a:gd name="connsiteX479" fmla="*/ 40646 w 212750"/>
                  <a:gd name="connsiteY479" fmla="*/ 152355 h 225887"/>
                  <a:gd name="connsiteX480" fmla="*/ 40910 w 212750"/>
                  <a:gd name="connsiteY480" fmla="*/ 152090 h 225887"/>
                  <a:gd name="connsiteX481" fmla="*/ 40910 w 212750"/>
                  <a:gd name="connsiteY481" fmla="*/ 151473 h 225887"/>
                  <a:gd name="connsiteX482" fmla="*/ 38882 w 212750"/>
                  <a:gd name="connsiteY482" fmla="*/ 151473 h 225887"/>
                  <a:gd name="connsiteX483" fmla="*/ 38882 w 212750"/>
                  <a:gd name="connsiteY483" fmla="*/ 150327 h 225887"/>
                  <a:gd name="connsiteX484" fmla="*/ 38265 w 212750"/>
                  <a:gd name="connsiteY484" fmla="*/ 149445 h 225887"/>
                  <a:gd name="connsiteX485" fmla="*/ 38530 w 212750"/>
                  <a:gd name="connsiteY485" fmla="*/ 149181 h 225887"/>
                  <a:gd name="connsiteX486" fmla="*/ 38265 w 212750"/>
                  <a:gd name="connsiteY486" fmla="*/ 148299 h 225887"/>
                  <a:gd name="connsiteX487" fmla="*/ 38882 w 212750"/>
                  <a:gd name="connsiteY487" fmla="*/ 148035 h 225887"/>
                  <a:gd name="connsiteX488" fmla="*/ 40029 w 212750"/>
                  <a:gd name="connsiteY488" fmla="*/ 148564 h 225887"/>
                  <a:gd name="connsiteX489" fmla="*/ 41175 w 212750"/>
                  <a:gd name="connsiteY489" fmla="*/ 148564 h 225887"/>
                  <a:gd name="connsiteX490" fmla="*/ 40910 w 212750"/>
                  <a:gd name="connsiteY490" fmla="*/ 148299 h 225887"/>
                  <a:gd name="connsiteX491" fmla="*/ 42673 w 212750"/>
                  <a:gd name="connsiteY491" fmla="*/ 148564 h 225887"/>
                  <a:gd name="connsiteX492" fmla="*/ 42056 w 212750"/>
                  <a:gd name="connsiteY492" fmla="*/ 148299 h 225887"/>
                  <a:gd name="connsiteX493" fmla="*/ 42321 w 212750"/>
                  <a:gd name="connsiteY493" fmla="*/ 147418 h 225887"/>
                  <a:gd name="connsiteX494" fmla="*/ 43203 w 212750"/>
                  <a:gd name="connsiteY494" fmla="*/ 147682 h 225887"/>
                  <a:gd name="connsiteX495" fmla="*/ 43467 w 212750"/>
                  <a:gd name="connsiteY495" fmla="*/ 148299 h 225887"/>
                  <a:gd name="connsiteX496" fmla="*/ 44966 w 212750"/>
                  <a:gd name="connsiteY496" fmla="*/ 147418 h 225887"/>
                  <a:gd name="connsiteX497" fmla="*/ 44966 w 212750"/>
                  <a:gd name="connsiteY497" fmla="*/ 149181 h 225887"/>
                  <a:gd name="connsiteX498" fmla="*/ 45848 w 212750"/>
                  <a:gd name="connsiteY498" fmla="*/ 149798 h 225887"/>
                  <a:gd name="connsiteX499" fmla="*/ 46112 w 212750"/>
                  <a:gd name="connsiteY499" fmla="*/ 149181 h 225887"/>
                  <a:gd name="connsiteX500" fmla="*/ 46729 w 212750"/>
                  <a:gd name="connsiteY500" fmla="*/ 149181 h 225887"/>
                  <a:gd name="connsiteX501" fmla="*/ 46994 w 212750"/>
                  <a:gd name="connsiteY501" fmla="*/ 148564 h 225887"/>
                  <a:gd name="connsiteX502" fmla="*/ 46994 w 212750"/>
                  <a:gd name="connsiteY502" fmla="*/ 148299 h 225887"/>
                  <a:gd name="connsiteX503" fmla="*/ 47523 w 212750"/>
                  <a:gd name="connsiteY503" fmla="*/ 148564 h 225887"/>
                  <a:gd name="connsiteX504" fmla="*/ 48405 w 212750"/>
                  <a:gd name="connsiteY504" fmla="*/ 148299 h 225887"/>
                  <a:gd name="connsiteX505" fmla="*/ 49022 w 212750"/>
                  <a:gd name="connsiteY505" fmla="*/ 148564 h 225887"/>
                  <a:gd name="connsiteX506" fmla="*/ 49639 w 212750"/>
                  <a:gd name="connsiteY506" fmla="*/ 148299 h 225887"/>
                  <a:gd name="connsiteX507" fmla="*/ 49374 w 212750"/>
                  <a:gd name="connsiteY507" fmla="*/ 147682 h 225887"/>
                  <a:gd name="connsiteX508" fmla="*/ 49374 w 212750"/>
                  <a:gd name="connsiteY508" fmla="*/ 147418 h 225887"/>
                  <a:gd name="connsiteX509" fmla="*/ 50256 w 212750"/>
                  <a:gd name="connsiteY509" fmla="*/ 147682 h 225887"/>
                  <a:gd name="connsiteX510" fmla="*/ 51402 w 212750"/>
                  <a:gd name="connsiteY510" fmla="*/ 146800 h 225887"/>
                  <a:gd name="connsiteX511" fmla="*/ 51138 w 212750"/>
                  <a:gd name="connsiteY511" fmla="*/ 146536 h 225887"/>
                  <a:gd name="connsiteX512" fmla="*/ 52020 w 212750"/>
                  <a:gd name="connsiteY512" fmla="*/ 146536 h 225887"/>
                  <a:gd name="connsiteX513" fmla="*/ 52637 w 212750"/>
                  <a:gd name="connsiteY513" fmla="*/ 146271 h 225887"/>
                  <a:gd name="connsiteX514" fmla="*/ 52637 w 212750"/>
                  <a:gd name="connsiteY514" fmla="*/ 146007 h 225887"/>
                  <a:gd name="connsiteX515" fmla="*/ 53254 w 212750"/>
                  <a:gd name="connsiteY515" fmla="*/ 145742 h 225887"/>
                  <a:gd name="connsiteX516" fmla="*/ 52108 w 212750"/>
                  <a:gd name="connsiteY516" fmla="*/ 145478 h 225887"/>
                  <a:gd name="connsiteX517" fmla="*/ 48934 w 212750"/>
                  <a:gd name="connsiteY517" fmla="*/ 143450 h 225887"/>
                  <a:gd name="connsiteX518" fmla="*/ 48669 w 212750"/>
                  <a:gd name="connsiteY518" fmla="*/ 143450 h 225887"/>
                  <a:gd name="connsiteX519" fmla="*/ 48934 w 212750"/>
                  <a:gd name="connsiteY519" fmla="*/ 143185 h 225887"/>
                  <a:gd name="connsiteX520" fmla="*/ 50080 w 212750"/>
                  <a:gd name="connsiteY520" fmla="*/ 143450 h 225887"/>
                  <a:gd name="connsiteX521" fmla="*/ 51843 w 212750"/>
                  <a:gd name="connsiteY521" fmla="*/ 143450 h 225887"/>
                  <a:gd name="connsiteX522" fmla="*/ 51579 w 212750"/>
                  <a:gd name="connsiteY522" fmla="*/ 142833 h 225887"/>
                  <a:gd name="connsiteX523" fmla="*/ 50697 w 212750"/>
                  <a:gd name="connsiteY523" fmla="*/ 142568 h 225887"/>
                  <a:gd name="connsiteX524" fmla="*/ 50432 w 212750"/>
                  <a:gd name="connsiteY524" fmla="*/ 141422 h 225887"/>
                  <a:gd name="connsiteX525" fmla="*/ 51050 w 212750"/>
                  <a:gd name="connsiteY525" fmla="*/ 140893 h 225887"/>
                  <a:gd name="connsiteX526" fmla="*/ 51667 w 212750"/>
                  <a:gd name="connsiteY526" fmla="*/ 141422 h 225887"/>
                  <a:gd name="connsiteX527" fmla="*/ 51667 w 212750"/>
                  <a:gd name="connsiteY527" fmla="*/ 142039 h 225887"/>
                  <a:gd name="connsiteX528" fmla="*/ 52813 w 212750"/>
                  <a:gd name="connsiteY528" fmla="*/ 142568 h 225887"/>
                  <a:gd name="connsiteX529" fmla="*/ 53430 w 212750"/>
                  <a:gd name="connsiteY529" fmla="*/ 142039 h 225887"/>
                  <a:gd name="connsiteX530" fmla="*/ 53430 w 212750"/>
                  <a:gd name="connsiteY530" fmla="*/ 140893 h 225887"/>
                  <a:gd name="connsiteX531" fmla="*/ 54576 w 212750"/>
                  <a:gd name="connsiteY531" fmla="*/ 140276 h 225887"/>
                  <a:gd name="connsiteX532" fmla="*/ 54576 w 212750"/>
                  <a:gd name="connsiteY532" fmla="*/ 139659 h 225887"/>
                  <a:gd name="connsiteX533" fmla="*/ 54929 w 212750"/>
                  <a:gd name="connsiteY533" fmla="*/ 139394 h 225887"/>
                  <a:gd name="connsiteX534" fmla="*/ 55811 w 212750"/>
                  <a:gd name="connsiteY534" fmla="*/ 139659 h 225887"/>
                  <a:gd name="connsiteX535" fmla="*/ 56075 w 212750"/>
                  <a:gd name="connsiteY535" fmla="*/ 139659 h 225887"/>
                  <a:gd name="connsiteX536" fmla="*/ 55458 w 212750"/>
                  <a:gd name="connsiteY536" fmla="*/ 138513 h 225887"/>
                  <a:gd name="connsiteX537" fmla="*/ 56075 w 212750"/>
                  <a:gd name="connsiteY537" fmla="*/ 138248 h 225887"/>
                  <a:gd name="connsiteX538" fmla="*/ 56340 w 212750"/>
                  <a:gd name="connsiteY538" fmla="*/ 138513 h 225887"/>
                  <a:gd name="connsiteX539" fmla="*/ 57838 w 212750"/>
                  <a:gd name="connsiteY539" fmla="*/ 139659 h 225887"/>
                  <a:gd name="connsiteX540" fmla="*/ 58368 w 212750"/>
                  <a:gd name="connsiteY540" fmla="*/ 139659 h 225887"/>
                  <a:gd name="connsiteX541" fmla="*/ 58985 w 212750"/>
                  <a:gd name="connsiteY541" fmla="*/ 140011 h 225887"/>
                  <a:gd name="connsiteX542" fmla="*/ 59249 w 212750"/>
                  <a:gd name="connsiteY542" fmla="*/ 139659 h 225887"/>
                  <a:gd name="connsiteX543" fmla="*/ 59514 w 212750"/>
                  <a:gd name="connsiteY543" fmla="*/ 139394 h 225887"/>
                  <a:gd name="connsiteX544" fmla="*/ 58897 w 212750"/>
                  <a:gd name="connsiteY544" fmla="*/ 138513 h 225887"/>
                  <a:gd name="connsiteX545" fmla="*/ 59514 w 212750"/>
                  <a:gd name="connsiteY545" fmla="*/ 138777 h 225887"/>
                  <a:gd name="connsiteX546" fmla="*/ 60131 w 212750"/>
                  <a:gd name="connsiteY546" fmla="*/ 138513 h 225887"/>
                  <a:gd name="connsiteX547" fmla="*/ 58985 w 212750"/>
                  <a:gd name="connsiteY547" fmla="*/ 137895 h 225887"/>
                  <a:gd name="connsiteX548" fmla="*/ 58632 w 212750"/>
                  <a:gd name="connsiteY548" fmla="*/ 137631 h 225887"/>
                  <a:gd name="connsiteX549" fmla="*/ 58985 w 212750"/>
                  <a:gd name="connsiteY549" fmla="*/ 137631 h 225887"/>
                  <a:gd name="connsiteX550" fmla="*/ 58985 w 212750"/>
                  <a:gd name="connsiteY550" fmla="*/ 137366 h 225887"/>
                  <a:gd name="connsiteX551" fmla="*/ 59249 w 212750"/>
                  <a:gd name="connsiteY551" fmla="*/ 137102 h 225887"/>
                  <a:gd name="connsiteX552" fmla="*/ 59866 w 212750"/>
                  <a:gd name="connsiteY552" fmla="*/ 137719 h 225887"/>
                  <a:gd name="connsiteX553" fmla="*/ 59602 w 212750"/>
                  <a:gd name="connsiteY553" fmla="*/ 136573 h 225887"/>
                  <a:gd name="connsiteX554" fmla="*/ 59337 w 212750"/>
                  <a:gd name="connsiteY554" fmla="*/ 135956 h 225887"/>
                  <a:gd name="connsiteX555" fmla="*/ 59602 w 212750"/>
                  <a:gd name="connsiteY555" fmla="*/ 135338 h 225887"/>
                  <a:gd name="connsiteX556" fmla="*/ 59866 w 212750"/>
                  <a:gd name="connsiteY556" fmla="*/ 135074 h 225887"/>
                  <a:gd name="connsiteX557" fmla="*/ 60748 w 212750"/>
                  <a:gd name="connsiteY557" fmla="*/ 135338 h 225887"/>
                  <a:gd name="connsiteX558" fmla="*/ 61365 w 212750"/>
                  <a:gd name="connsiteY558" fmla="*/ 135956 h 225887"/>
                  <a:gd name="connsiteX559" fmla="*/ 61101 w 212750"/>
                  <a:gd name="connsiteY559" fmla="*/ 135338 h 225887"/>
                  <a:gd name="connsiteX560" fmla="*/ 61982 w 212750"/>
                  <a:gd name="connsiteY560" fmla="*/ 134721 h 225887"/>
                  <a:gd name="connsiteX561" fmla="*/ 63481 w 212750"/>
                  <a:gd name="connsiteY561" fmla="*/ 134721 h 225887"/>
                  <a:gd name="connsiteX562" fmla="*/ 64980 w 212750"/>
                  <a:gd name="connsiteY562" fmla="*/ 133575 h 225887"/>
                  <a:gd name="connsiteX563" fmla="*/ 64716 w 212750"/>
                  <a:gd name="connsiteY563" fmla="*/ 132693 h 225887"/>
                  <a:gd name="connsiteX564" fmla="*/ 66215 w 212750"/>
                  <a:gd name="connsiteY564" fmla="*/ 132429 h 225887"/>
                  <a:gd name="connsiteX565" fmla="*/ 67361 w 212750"/>
                  <a:gd name="connsiteY565" fmla="*/ 133046 h 225887"/>
                  <a:gd name="connsiteX566" fmla="*/ 68243 w 212750"/>
                  <a:gd name="connsiteY566" fmla="*/ 133046 h 225887"/>
                  <a:gd name="connsiteX567" fmla="*/ 69124 w 212750"/>
                  <a:gd name="connsiteY567" fmla="*/ 132782 h 225887"/>
                  <a:gd name="connsiteX568" fmla="*/ 68507 w 212750"/>
                  <a:gd name="connsiteY568" fmla="*/ 132517 h 225887"/>
                  <a:gd name="connsiteX569" fmla="*/ 68243 w 212750"/>
                  <a:gd name="connsiteY569" fmla="*/ 132517 h 225887"/>
                  <a:gd name="connsiteX570" fmla="*/ 68243 w 212750"/>
                  <a:gd name="connsiteY570" fmla="*/ 131900 h 225887"/>
                  <a:gd name="connsiteX571" fmla="*/ 67978 w 212750"/>
                  <a:gd name="connsiteY571" fmla="*/ 130137 h 225887"/>
                  <a:gd name="connsiteX572" fmla="*/ 68243 w 212750"/>
                  <a:gd name="connsiteY572" fmla="*/ 129872 h 225887"/>
                  <a:gd name="connsiteX573" fmla="*/ 70006 w 212750"/>
                  <a:gd name="connsiteY573" fmla="*/ 130754 h 225887"/>
                  <a:gd name="connsiteX574" fmla="*/ 71505 w 212750"/>
                  <a:gd name="connsiteY574" fmla="*/ 130754 h 225887"/>
                  <a:gd name="connsiteX575" fmla="*/ 71240 w 212750"/>
                  <a:gd name="connsiteY575" fmla="*/ 130137 h 225887"/>
                  <a:gd name="connsiteX576" fmla="*/ 70623 w 212750"/>
                  <a:gd name="connsiteY576" fmla="*/ 128990 h 225887"/>
                  <a:gd name="connsiteX577" fmla="*/ 70887 w 212750"/>
                  <a:gd name="connsiteY577" fmla="*/ 128990 h 225887"/>
                  <a:gd name="connsiteX578" fmla="*/ 72034 w 212750"/>
                  <a:gd name="connsiteY578" fmla="*/ 127844 h 225887"/>
                  <a:gd name="connsiteX579" fmla="*/ 72034 w 212750"/>
                  <a:gd name="connsiteY579" fmla="*/ 127315 h 225887"/>
                  <a:gd name="connsiteX580" fmla="*/ 72651 w 212750"/>
                  <a:gd name="connsiteY580" fmla="*/ 127051 h 225887"/>
                  <a:gd name="connsiteX581" fmla="*/ 72915 w 212750"/>
                  <a:gd name="connsiteY581" fmla="*/ 126169 h 225887"/>
                  <a:gd name="connsiteX582" fmla="*/ 73797 w 212750"/>
                  <a:gd name="connsiteY582" fmla="*/ 125904 h 225887"/>
                  <a:gd name="connsiteX583" fmla="*/ 74679 w 212750"/>
                  <a:gd name="connsiteY583" fmla="*/ 125023 h 225887"/>
                  <a:gd name="connsiteX584" fmla="*/ 75560 w 212750"/>
                  <a:gd name="connsiteY584" fmla="*/ 125552 h 225887"/>
                  <a:gd name="connsiteX585" fmla="*/ 75560 w 212750"/>
                  <a:gd name="connsiteY585" fmla="*/ 125023 h 225887"/>
                  <a:gd name="connsiteX586" fmla="*/ 74679 w 212750"/>
                  <a:gd name="connsiteY586" fmla="*/ 124758 h 225887"/>
                  <a:gd name="connsiteX587" fmla="*/ 76178 w 212750"/>
                  <a:gd name="connsiteY587" fmla="*/ 123612 h 225887"/>
                  <a:gd name="connsiteX588" fmla="*/ 77324 w 212750"/>
                  <a:gd name="connsiteY588" fmla="*/ 122466 h 225887"/>
                  <a:gd name="connsiteX589" fmla="*/ 77941 w 212750"/>
                  <a:gd name="connsiteY589" fmla="*/ 122466 h 225887"/>
                  <a:gd name="connsiteX590" fmla="*/ 77676 w 212750"/>
                  <a:gd name="connsiteY590" fmla="*/ 121849 h 225887"/>
                  <a:gd name="connsiteX591" fmla="*/ 78294 w 212750"/>
                  <a:gd name="connsiteY591" fmla="*/ 121584 h 225887"/>
                  <a:gd name="connsiteX592" fmla="*/ 78911 w 212750"/>
                  <a:gd name="connsiteY592" fmla="*/ 121849 h 225887"/>
                  <a:gd name="connsiteX593" fmla="*/ 80057 w 212750"/>
                  <a:gd name="connsiteY593" fmla="*/ 122113 h 225887"/>
                  <a:gd name="connsiteX594" fmla="*/ 80674 w 212750"/>
                  <a:gd name="connsiteY594" fmla="*/ 121232 h 225887"/>
                  <a:gd name="connsiteX595" fmla="*/ 81291 w 212750"/>
                  <a:gd name="connsiteY595" fmla="*/ 121232 h 225887"/>
                  <a:gd name="connsiteX596" fmla="*/ 81027 w 212750"/>
                  <a:gd name="connsiteY596" fmla="*/ 120614 h 225887"/>
                  <a:gd name="connsiteX597" fmla="*/ 81027 w 212750"/>
                  <a:gd name="connsiteY597" fmla="*/ 119997 h 225887"/>
                  <a:gd name="connsiteX598" fmla="*/ 81644 w 212750"/>
                  <a:gd name="connsiteY598" fmla="*/ 119733 h 225887"/>
                  <a:gd name="connsiteX599" fmla="*/ 82261 w 212750"/>
                  <a:gd name="connsiteY599" fmla="*/ 119997 h 225887"/>
                  <a:gd name="connsiteX600" fmla="*/ 81997 w 212750"/>
                  <a:gd name="connsiteY600" fmla="*/ 117088 h 225887"/>
                  <a:gd name="connsiteX601" fmla="*/ 81380 w 212750"/>
                  <a:gd name="connsiteY601" fmla="*/ 116206 h 225887"/>
                  <a:gd name="connsiteX602" fmla="*/ 81380 w 212750"/>
                  <a:gd name="connsiteY602" fmla="*/ 115589 h 225887"/>
                  <a:gd name="connsiteX603" fmla="*/ 81997 w 212750"/>
                  <a:gd name="connsiteY603" fmla="*/ 114972 h 225887"/>
                  <a:gd name="connsiteX604" fmla="*/ 83143 w 212750"/>
                  <a:gd name="connsiteY604" fmla="*/ 115589 h 225887"/>
                  <a:gd name="connsiteX605" fmla="*/ 84024 w 212750"/>
                  <a:gd name="connsiteY605" fmla="*/ 114972 h 225887"/>
                  <a:gd name="connsiteX606" fmla="*/ 84024 w 212750"/>
                  <a:gd name="connsiteY606" fmla="*/ 114090 h 225887"/>
                  <a:gd name="connsiteX607" fmla="*/ 83760 w 212750"/>
                  <a:gd name="connsiteY607" fmla="*/ 113825 h 225887"/>
                  <a:gd name="connsiteX608" fmla="*/ 84642 w 212750"/>
                  <a:gd name="connsiteY608" fmla="*/ 113825 h 225887"/>
                  <a:gd name="connsiteX609" fmla="*/ 83760 w 212750"/>
                  <a:gd name="connsiteY609" fmla="*/ 113208 h 225887"/>
                  <a:gd name="connsiteX610" fmla="*/ 84024 w 212750"/>
                  <a:gd name="connsiteY610" fmla="*/ 113208 h 225887"/>
                  <a:gd name="connsiteX611" fmla="*/ 84642 w 212750"/>
                  <a:gd name="connsiteY611" fmla="*/ 113208 h 225887"/>
                  <a:gd name="connsiteX612" fmla="*/ 85523 w 212750"/>
                  <a:gd name="connsiteY612" fmla="*/ 113208 h 225887"/>
                  <a:gd name="connsiteX613" fmla="*/ 86405 w 212750"/>
                  <a:gd name="connsiteY613" fmla="*/ 113825 h 225887"/>
                  <a:gd name="connsiteX614" fmla="*/ 86405 w 212750"/>
                  <a:gd name="connsiteY614" fmla="*/ 113208 h 225887"/>
                  <a:gd name="connsiteX615" fmla="*/ 86141 w 212750"/>
                  <a:gd name="connsiteY615" fmla="*/ 112679 h 225887"/>
                  <a:gd name="connsiteX616" fmla="*/ 86758 w 212750"/>
                  <a:gd name="connsiteY616" fmla="*/ 112415 h 225887"/>
                  <a:gd name="connsiteX617" fmla="*/ 87022 w 212750"/>
                  <a:gd name="connsiteY617" fmla="*/ 112679 h 225887"/>
                  <a:gd name="connsiteX618" fmla="*/ 87022 w 212750"/>
                  <a:gd name="connsiteY618" fmla="*/ 112415 h 225887"/>
                  <a:gd name="connsiteX619" fmla="*/ 87904 w 212750"/>
                  <a:gd name="connsiteY619" fmla="*/ 112150 h 225887"/>
                  <a:gd name="connsiteX620" fmla="*/ 89667 w 212750"/>
                  <a:gd name="connsiteY620" fmla="*/ 112415 h 225887"/>
                  <a:gd name="connsiteX621" fmla="*/ 91078 w 212750"/>
                  <a:gd name="connsiteY621" fmla="*/ 112415 h 225887"/>
                  <a:gd name="connsiteX622" fmla="*/ 93106 w 212750"/>
                  <a:gd name="connsiteY622" fmla="*/ 111268 h 225887"/>
                  <a:gd name="connsiteX623" fmla="*/ 93723 w 212750"/>
                  <a:gd name="connsiteY623" fmla="*/ 111268 h 225887"/>
                  <a:gd name="connsiteX624" fmla="*/ 93723 w 212750"/>
                  <a:gd name="connsiteY624" fmla="*/ 111533 h 225887"/>
                  <a:gd name="connsiteX625" fmla="*/ 94252 w 212750"/>
                  <a:gd name="connsiteY625" fmla="*/ 111798 h 225887"/>
                  <a:gd name="connsiteX626" fmla="*/ 94517 w 212750"/>
                  <a:gd name="connsiteY626" fmla="*/ 111533 h 225887"/>
                  <a:gd name="connsiteX627" fmla="*/ 94781 w 212750"/>
                  <a:gd name="connsiteY627" fmla="*/ 112150 h 225887"/>
                  <a:gd name="connsiteX628" fmla="*/ 94781 w 212750"/>
                  <a:gd name="connsiteY628" fmla="*/ 112767 h 225887"/>
                  <a:gd name="connsiteX629" fmla="*/ 95398 w 212750"/>
                  <a:gd name="connsiteY629" fmla="*/ 113296 h 225887"/>
                  <a:gd name="connsiteX630" fmla="*/ 96015 w 212750"/>
                  <a:gd name="connsiteY630" fmla="*/ 112767 h 225887"/>
                  <a:gd name="connsiteX631" fmla="*/ 96280 w 212750"/>
                  <a:gd name="connsiteY631" fmla="*/ 112150 h 225887"/>
                  <a:gd name="connsiteX632" fmla="*/ 98043 w 212750"/>
                  <a:gd name="connsiteY632" fmla="*/ 112767 h 225887"/>
                  <a:gd name="connsiteX633" fmla="*/ 98308 w 212750"/>
                  <a:gd name="connsiteY633" fmla="*/ 112150 h 225887"/>
                  <a:gd name="connsiteX634" fmla="*/ 98043 w 212750"/>
                  <a:gd name="connsiteY634" fmla="*/ 111533 h 225887"/>
                  <a:gd name="connsiteX635" fmla="*/ 97779 w 212750"/>
                  <a:gd name="connsiteY635" fmla="*/ 111268 h 225887"/>
                  <a:gd name="connsiteX636" fmla="*/ 96897 w 212750"/>
                  <a:gd name="connsiteY636" fmla="*/ 111004 h 225887"/>
                  <a:gd name="connsiteX637" fmla="*/ 95751 w 212750"/>
                  <a:gd name="connsiteY637" fmla="*/ 111268 h 225887"/>
                  <a:gd name="connsiteX638" fmla="*/ 94252 w 212750"/>
                  <a:gd name="connsiteY638" fmla="*/ 110122 h 225887"/>
                  <a:gd name="connsiteX639" fmla="*/ 94252 w 212750"/>
                  <a:gd name="connsiteY639" fmla="*/ 109505 h 225887"/>
                  <a:gd name="connsiteX640" fmla="*/ 96280 w 212750"/>
                  <a:gd name="connsiteY640" fmla="*/ 109505 h 225887"/>
                  <a:gd name="connsiteX641" fmla="*/ 97426 w 212750"/>
                  <a:gd name="connsiteY641" fmla="*/ 110122 h 225887"/>
                  <a:gd name="connsiteX642" fmla="*/ 98572 w 212750"/>
                  <a:gd name="connsiteY642" fmla="*/ 109505 h 225887"/>
                  <a:gd name="connsiteX643" fmla="*/ 98308 w 212750"/>
                  <a:gd name="connsiteY643" fmla="*/ 108359 h 225887"/>
                  <a:gd name="connsiteX644" fmla="*/ 96809 w 212750"/>
                  <a:gd name="connsiteY644" fmla="*/ 107213 h 225887"/>
                  <a:gd name="connsiteX645" fmla="*/ 95398 w 212750"/>
                  <a:gd name="connsiteY645" fmla="*/ 106331 h 225887"/>
                  <a:gd name="connsiteX646" fmla="*/ 93635 w 212750"/>
                  <a:gd name="connsiteY646" fmla="*/ 106067 h 225887"/>
                  <a:gd name="connsiteX647" fmla="*/ 93370 w 212750"/>
                  <a:gd name="connsiteY647" fmla="*/ 105449 h 225887"/>
                  <a:gd name="connsiteX648" fmla="*/ 93635 w 212750"/>
                  <a:gd name="connsiteY648" fmla="*/ 104832 h 225887"/>
                  <a:gd name="connsiteX649" fmla="*/ 94517 w 212750"/>
                  <a:gd name="connsiteY649" fmla="*/ 104832 h 225887"/>
                  <a:gd name="connsiteX650" fmla="*/ 94252 w 212750"/>
                  <a:gd name="connsiteY650" fmla="*/ 104303 h 225887"/>
                  <a:gd name="connsiteX651" fmla="*/ 95398 w 212750"/>
                  <a:gd name="connsiteY651" fmla="*/ 104303 h 225887"/>
                  <a:gd name="connsiteX652" fmla="*/ 94252 w 212750"/>
                  <a:gd name="connsiteY652" fmla="*/ 104039 h 225887"/>
                  <a:gd name="connsiteX653" fmla="*/ 95134 w 212750"/>
                  <a:gd name="connsiteY653" fmla="*/ 103774 h 225887"/>
                  <a:gd name="connsiteX654" fmla="*/ 95134 w 212750"/>
                  <a:gd name="connsiteY654" fmla="*/ 103245 h 225887"/>
                  <a:gd name="connsiteX655" fmla="*/ 94517 w 212750"/>
                  <a:gd name="connsiteY655" fmla="*/ 103245 h 225887"/>
                  <a:gd name="connsiteX656" fmla="*/ 94252 w 212750"/>
                  <a:gd name="connsiteY656" fmla="*/ 103245 h 225887"/>
                  <a:gd name="connsiteX657" fmla="*/ 94517 w 212750"/>
                  <a:gd name="connsiteY657" fmla="*/ 102981 h 225887"/>
                  <a:gd name="connsiteX658" fmla="*/ 94781 w 212750"/>
                  <a:gd name="connsiteY658" fmla="*/ 102452 h 225887"/>
                  <a:gd name="connsiteX659" fmla="*/ 93370 w 212750"/>
                  <a:gd name="connsiteY659" fmla="*/ 102187 h 225887"/>
                  <a:gd name="connsiteX660" fmla="*/ 93635 w 212750"/>
                  <a:gd name="connsiteY660" fmla="*/ 101923 h 225887"/>
                  <a:gd name="connsiteX661" fmla="*/ 94164 w 212750"/>
                  <a:gd name="connsiteY661" fmla="*/ 101041 h 225887"/>
                  <a:gd name="connsiteX662" fmla="*/ 94429 w 212750"/>
                  <a:gd name="connsiteY662" fmla="*/ 100159 h 225887"/>
                  <a:gd name="connsiteX663" fmla="*/ 94164 w 212750"/>
                  <a:gd name="connsiteY663" fmla="*/ 98660 h 225887"/>
                  <a:gd name="connsiteX664" fmla="*/ 93900 w 212750"/>
                  <a:gd name="connsiteY664" fmla="*/ 97779 h 225887"/>
                  <a:gd name="connsiteX665" fmla="*/ 93018 w 212750"/>
                  <a:gd name="connsiteY665" fmla="*/ 97162 h 225887"/>
                  <a:gd name="connsiteX666" fmla="*/ 91872 w 212750"/>
                  <a:gd name="connsiteY666" fmla="*/ 97779 h 225887"/>
                  <a:gd name="connsiteX667" fmla="*/ 91254 w 212750"/>
                  <a:gd name="connsiteY667" fmla="*/ 97779 h 225887"/>
                  <a:gd name="connsiteX668" fmla="*/ 90637 w 212750"/>
                  <a:gd name="connsiteY668" fmla="*/ 97779 h 225887"/>
                  <a:gd name="connsiteX669" fmla="*/ 90020 w 212750"/>
                  <a:gd name="connsiteY669" fmla="*/ 96897 h 225887"/>
                  <a:gd name="connsiteX670" fmla="*/ 90020 w 212750"/>
                  <a:gd name="connsiteY670" fmla="*/ 96633 h 225887"/>
                  <a:gd name="connsiteX671" fmla="*/ 90020 w 212750"/>
                  <a:gd name="connsiteY671" fmla="*/ 95751 h 225887"/>
                  <a:gd name="connsiteX672" fmla="*/ 89403 w 212750"/>
                  <a:gd name="connsiteY672" fmla="*/ 95486 h 225887"/>
                  <a:gd name="connsiteX673" fmla="*/ 87992 w 212750"/>
                  <a:gd name="connsiteY673" fmla="*/ 95486 h 225887"/>
                  <a:gd name="connsiteX674" fmla="*/ 85964 w 212750"/>
                  <a:gd name="connsiteY674" fmla="*/ 95751 h 225887"/>
                  <a:gd name="connsiteX675" fmla="*/ 85964 w 212750"/>
                  <a:gd name="connsiteY675" fmla="*/ 95486 h 225887"/>
                  <a:gd name="connsiteX676" fmla="*/ 85347 w 212750"/>
                  <a:gd name="connsiteY676" fmla="*/ 95222 h 225887"/>
                  <a:gd name="connsiteX677" fmla="*/ 83848 w 212750"/>
                  <a:gd name="connsiteY677" fmla="*/ 95486 h 225887"/>
                  <a:gd name="connsiteX678" fmla="*/ 83231 w 212750"/>
                  <a:gd name="connsiteY678" fmla="*/ 95486 h 225887"/>
                  <a:gd name="connsiteX679" fmla="*/ 82878 w 212750"/>
                  <a:gd name="connsiteY679" fmla="*/ 95751 h 225887"/>
                  <a:gd name="connsiteX680" fmla="*/ 82261 w 212750"/>
                  <a:gd name="connsiteY680" fmla="*/ 94869 h 225887"/>
                  <a:gd name="connsiteX681" fmla="*/ 81732 w 212750"/>
                  <a:gd name="connsiteY681" fmla="*/ 94252 h 225887"/>
                  <a:gd name="connsiteX682" fmla="*/ 81115 w 212750"/>
                  <a:gd name="connsiteY682" fmla="*/ 94252 h 225887"/>
                  <a:gd name="connsiteX683" fmla="*/ 79969 w 212750"/>
                  <a:gd name="connsiteY683" fmla="*/ 93987 h 225887"/>
                  <a:gd name="connsiteX684" fmla="*/ 78823 w 212750"/>
                  <a:gd name="connsiteY684" fmla="*/ 93106 h 225887"/>
                  <a:gd name="connsiteX685" fmla="*/ 79175 w 212750"/>
                  <a:gd name="connsiteY685" fmla="*/ 92489 h 225887"/>
                  <a:gd name="connsiteX686" fmla="*/ 79793 w 212750"/>
                  <a:gd name="connsiteY686" fmla="*/ 90725 h 225887"/>
                  <a:gd name="connsiteX687" fmla="*/ 81291 w 212750"/>
                  <a:gd name="connsiteY687" fmla="*/ 89844 h 225887"/>
                  <a:gd name="connsiteX688" fmla="*/ 82437 w 212750"/>
                  <a:gd name="connsiteY688" fmla="*/ 89844 h 225887"/>
                  <a:gd name="connsiteX689" fmla="*/ 82173 w 212750"/>
                  <a:gd name="connsiteY689" fmla="*/ 89315 h 225887"/>
                  <a:gd name="connsiteX690" fmla="*/ 81027 w 212750"/>
                  <a:gd name="connsiteY690" fmla="*/ 89315 h 225887"/>
                  <a:gd name="connsiteX691" fmla="*/ 80410 w 212750"/>
                  <a:gd name="connsiteY691" fmla="*/ 89844 h 225887"/>
                  <a:gd name="connsiteX692" fmla="*/ 79528 w 212750"/>
                  <a:gd name="connsiteY692" fmla="*/ 90461 h 225887"/>
                  <a:gd name="connsiteX693" fmla="*/ 79264 w 212750"/>
                  <a:gd name="connsiteY693" fmla="*/ 91342 h 225887"/>
                  <a:gd name="connsiteX694" fmla="*/ 79264 w 212750"/>
                  <a:gd name="connsiteY694" fmla="*/ 92224 h 225887"/>
                  <a:gd name="connsiteX695" fmla="*/ 78646 w 212750"/>
                  <a:gd name="connsiteY695" fmla="*/ 92224 h 225887"/>
                  <a:gd name="connsiteX696" fmla="*/ 78382 w 212750"/>
                  <a:gd name="connsiteY696" fmla="*/ 92224 h 225887"/>
                  <a:gd name="connsiteX697" fmla="*/ 77236 w 212750"/>
                  <a:gd name="connsiteY697" fmla="*/ 92224 h 225887"/>
                  <a:gd name="connsiteX698" fmla="*/ 76971 w 212750"/>
                  <a:gd name="connsiteY698" fmla="*/ 92489 h 225887"/>
                  <a:gd name="connsiteX699" fmla="*/ 76707 w 212750"/>
                  <a:gd name="connsiteY699" fmla="*/ 91871 h 225887"/>
                  <a:gd name="connsiteX700" fmla="*/ 75825 w 212750"/>
                  <a:gd name="connsiteY700" fmla="*/ 91607 h 225887"/>
                  <a:gd name="connsiteX701" fmla="*/ 75560 w 212750"/>
                  <a:gd name="connsiteY701" fmla="*/ 91342 h 225887"/>
                  <a:gd name="connsiteX702" fmla="*/ 75825 w 212750"/>
                  <a:gd name="connsiteY702" fmla="*/ 92489 h 225887"/>
                  <a:gd name="connsiteX703" fmla="*/ 75208 w 212750"/>
                  <a:gd name="connsiteY703" fmla="*/ 93106 h 225887"/>
                  <a:gd name="connsiteX704" fmla="*/ 74591 w 212750"/>
                  <a:gd name="connsiteY704" fmla="*/ 92841 h 225887"/>
                  <a:gd name="connsiteX705" fmla="*/ 73973 w 212750"/>
                  <a:gd name="connsiteY705" fmla="*/ 92577 h 225887"/>
                  <a:gd name="connsiteX706" fmla="*/ 74238 w 212750"/>
                  <a:gd name="connsiteY706" fmla="*/ 91960 h 225887"/>
                  <a:gd name="connsiteX707" fmla="*/ 73973 w 212750"/>
                  <a:gd name="connsiteY707" fmla="*/ 91342 h 225887"/>
                  <a:gd name="connsiteX708" fmla="*/ 67273 w 212750"/>
                  <a:gd name="connsiteY708" fmla="*/ 85171 h 225887"/>
                  <a:gd name="connsiteX709" fmla="*/ 64628 w 212750"/>
                  <a:gd name="connsiteY709" fmla="*/ 84024 h 225887"/>
                  <a:gd name="connsiteX710" fmla="*/ 62600 w 212750"/>
                  <a:gd name="connsiteY710" fmla="*/ 81115 h 225887"/>
                  <a:gd name="connsiteX711" fmla="*/ 61718 w 212750"/>
                  <a:gd name="connsiteY711" fmla="*/ 77324 h 225887"/>
                  <a:gd name="connsiteX712" fmla="*/ 63481 w 212750"/>
                  <a:gd name="connsiteY712" fmla="*/ 77059 h 225887"/>
                  <a:gd name="connsiteX713" fmla="*/ 64363 w 212750"/>
                  <a:gd name="connsiteY713" fmla="*/ 76795 h 225887"/>
                  <a:gd name="connsiteX714" fmla="*/ 65509 w 212750"/>
                  <a:gd name="connsiteY714" fmla="*/ 76530 h 225887"/>
                  <a:gd name="connsiteX715" fmla="*/ 64363 w 212750"/>
                  <a:gd name="connsiteY715" fmla="*/ 71240 h 225887"/>
                  <a:gd name="connsiteX716" fmla="*/ 66655 w 212750"/>
                  <a:gd name="connsiteY716" fmla="*/ 70094 h 225887"/>
                  <a:gd name="connsiteX717" fmla="*/ 64363 w 212750"/>
                  <a:gd name="connsiteY717" fmla="*/ 68948 h 225887"/>
                  <a:gd name="connsiteX718" fmla="*/ 62600 w 212750"/>
                  <a:gd name="connsiteY718" fmla="*/ 66920 h 225887"/>
                  <a:gd name="connsiteX719" fmla="*/ 61101 w 212750"/>
                  <a:gd name="connsiteY719" fmla="*/ 66655 h 225887"/>
                  <a:gd name="connsiteX720" fmla="*/ 59690 w 212750"/>
                  <a:gd name="connsiteY720" fmla="*/ 63746 h 225887"/>
                  <a:gd name="connsiteX721" fmla="*/ 57309 w 212750"/>
                  <a:gd name="connsiteY721" fmla="*/ 63746 h 225887"/>
                  <a:gd name="connsiteX722" fmla="*/ 57927 w 212750"/>
                  <a:gd name="connsiteY722" fmla="*/ 61453 h 225887"/>
                  <a:gd name="connsiteX723" fmla="*/ 57662 w 212750"/>
                  <a:gd name="connsiteY723" fmla="*/ 60307 h 225887"/>
                  <a:gd name="connsiteX724" fmla="*/ 60307 w 212750"/>
                  <a:gd name="connsiteY724" fmla="*/ 60307 h 225887"/>
                  <a:gd name="connsiteX725" fmla="*/ 60043 w 212750"/>
                  <a:gd name="connsiteY725" fmla="*/ 59161 h 225887"/>
                  <a:gd name="connsiteX726" fmla="*/ 59778 w 212750"/>
                  <a:gd name="connsiteY726" fmla="*/ 57133 h 225887"/>
                  <a:gd name="connsiteX727" fmla="*/ 57133 w 212750"/>
                  <a:gd name="connsiteY727" fmla="*/ 57133 h 225887"/>
                  <a:gd name="connsiteX728" fmla="*/ 55987 w 212750"/>
                  <a:gd name="connsiteY728" fmla="*/ 56516 h 225887"/>
                  <a:gd name="connsiteX729" fmla="*/ 55105 w 212750"/>
                  <a:gd name="connsiteY729" fmla="*/ 57133 h 225887"/>
                  <a:gd name="connsiteX730" fmla="*/ 54841 w 212750"/>
                  <a:gd name="connsiteY730" fmla="*/ 56251 h 225887"/>
                  <a:gd name="connsiteX731" fmla="*/ 54576 w 212750"/>
                  <a:gd name="connsiteY731" fmla="*/ 54224 h 225887"/>
                  <a:gd name="connsiteX732" fmla="*/ 55458 w 212750"/>
                  <a:gd name="connsiteY732" fmla="*/ 53959 h 225887"/>
                  <a:gd name="connsiteX733" fmla="*/ 53695 w 212750"/>
                  <a:gd name="connsiteY733" fmla="*/ 50432 h 225887"/>
                  <a:gd name="connsiteX734" fmla="*/ 53430 w 212750"/>
                  <a:gd name="connsiteY734" fmla="*/ 48404 h 225887"/>
                  <a:gd name="connsiteX735" fmla="*/ 54047 w 212750"/>
                  <a:gd name="connsiteY735" fmla="*/ 47258 h 225887"/>
                  <a:gd name="connsiteX736" fmla="*/ 56692 w 212750"/>
                  <a:gd name="connsiteY736" fmla="*/ 46994 h 225887"/>
                  <a:gd name="connsiteX737" fmla="*/ 56428 w 212750"/>
                  <a:gd name="connsiteY737" fmla="*/ 46112 h 225887"/>
                  <a:gd name="connsiteX738" fmla="*/ 53783 w 212750"/>
                  <a:gd name="connsiteY738" fmla="*/ 45230 h 225887"/>
                  <a:gd name="connsiteX739" fmla="*/ 53783 w 212750"/>
                  <a:gd name="connsiteY739" fmla="*/ 44613 h 225887"/>
                  <a:gd name="connsiteX740" fmla="*/ 50521 w 212750"/>
                  <a:gd name="connsiteY740" fmla="*/ 43379 h 225887"/>
                  <a:gd name="connsiteX741" fmla="*/ 49374 w 212750"/>
                  <a:gd name="connsiteY741" fmla="*/ 41351 h 225887"/>
                  <a:gd name="connsiteX742" fmla="*/ 48228 w 212750"/>
                  <a:gd name="connsiteY742" fmla="*/ 40734 h 225887"/>
                  <a:gd name="connsiteX743" fmla="*/ 45583 w 212750"/>
                  <a:gd name="connsiteY743" fmla="*/ 41351 h 225887"/>
                  <a:gd name="connsiteX744" fmla="*/ 44966 w 212750"/>
                  <a:gd name="connsiteY744" fmla="*/ 39588 h 225887"/>
                  <a:gd name="connsiteX745" fmla="*/ 43467 w 212750"/>
                  <a:gd name="connsiteY745" fmla="*/ 38089 h 225887"/>
                  <a:gd name="connsiteX746" fmla="*/ 40822 w 212750"/>
                  <a:gd name="connsiteY746" fmla="*/ 36943 h 225887"/>
                  <a:gd name="connsiteX747" fmla="*/ 39676 w 212750"/>
                  <a:gd name="connsiteY747" fmla="*/ 35796 h 225887"/>
                  <a:gd name="connsiteX748" fmla="*/ 38530 w 212750"/>
                  <a:gd name="connsiteY748" fmla="*/ 35796 h 225887"/>
                  <a:gd name="connsiteX749" fmla="*/ 37119 w 212750"/>
                  <a:gd name="connsiteY749" fmla="*/ 35532 h 225887"/>
                  <a:gd name="connsiteX750" fmla="*/ 35973 w 212750"/>
                  <a:gd name="connsiteY750" fmla="*/ 35532 h 225887"/>
                  <a:gd name="connsiteX751" fmla="*/ 33680 w 212750"/>
                  <a:gd name="connsiteY751" fmla="*/ 34915 h 225887"/>
                  <a:gd name="connsiteX752" fmla="*/ 32799 w 212750"/>
                  <a:gd name="connsiteY752" fmla="*/ 34915 h 225887"/>
                  <a:gd name="connsiteX753" fmla="*/ 32799 w 212750"/>
                  <a:gd name="connsiteY753" fmla="*/ 34297 h 225887"/>
                  <a:gd name="connsiteX754" fmla="*/ 31652 w 212750"/>
                  <a:gd name="connsiteY754" fmla="*/ 34297 h 225887"/>
                  <a:gd name="connsiteX755" fmla="*/ 29625 w 212750"/>
                  <a:gd name="connsiteY755" fmla="*/ 34297 h 225887"/>
                  <a:gd name="connsiteX756" fmla="*/ 26715 w 212750"/>
                  <a:gd name="connsiteY756" fmla="*/ 33416 h 225887"/>
                  <a:gd name="connsiteX757" fmla="*/ 24335 w 212750"/>
                  <a:gd name="connsiteY757" fmla="*/ 32270 h 225887"/>
                  <a:gd name="connsiteX758" fmla="*/ 21690 w 212750"/>
                  <a:gd name="connsiteY758" fmla="*/ 31388 h 225887"/>
                  <a:gd name="connsiteX759" fmla="*/ 19309 w 212750"/>
                  <a:gd name="connsiteY759" fmla="*/ 30859 h 225887"/>
                  <a:gd name="connsiteX760" fmla="*/ 17281 w 212750"/>
                  <a:gd name="connsiteY760" fmla="*/ 29360 h 225887"/>
                  <a:gd name="connsiteX761" fmla="*/ 14371 w 212750"/>
                  <a:gd name="connsiteY761" fmla="*/ 28214 h 225887"/>
                  <a:gd name="connsiteX762" fmla="*/ 8817 w 212750"/>
                  <a:gd name="connsiteY762" fmla="*/ 25569 h 225887"/>
                  <a:gd name="connsiteX763" fmla="*/ 6789 w 212750"/>
                  <a:gd name="connsiteY763" fmla="*/ 25304 h 225887"/>
                  <a:gd name="connsiteX764" fmla="*/ 6436 w 212750"/>
                  <a:gd name="connsiteY764" fmla="*/ 24158 h 225887"/>
                  <a:gd name="connsiteX765" fmla="*/ 7935 w 212750"/>
                  <a:gd name="connsiteY765" fmla="*/ 24158 h 225887"/>
                  <a:gd name="connsiteX766" fmla="*/ 5907 w 212750"/>
                  <a:gd name="connsiteY766" fmla="*/ 23012 h 225887"/>
                  <a:gd name="connsiteX767" fmla="*/ 1499 w 212750"/>
                  <a:gd name="connsiteY767" fmla="*/ 21866 h 225887"/>
                  <a:gd name="connsiteX768" fmla="*/ 0 w 212750"/>
                  <a:gd name="connsiteY768" fmla="*/ 20102 h 225887"/>
                  <a:gd name="connsiteX769" fmla="*/ 1146 w 212750"/>
                  <a:gd name="connsiteY769" fmla="*/ 20720 h 225887"/>
                  <a:gd name="connsiteX770" fmla="*/ 2292 w 212750"/>
                  <a:gd name="connsiteY770" fmla="*/ 20102 h 225887"/>
                  <a:gd name="connsiteX771" fmla="*/ 4320 w 212750"/>
                  <a:gd name="connsiteY771" fmla="*/ 19485 h 225887"/>
                  <a:gd name="connsiteX772" fmla="*/ 8376 w 212750"/>
                  <a:gd name="connsiteY772" fmla="*/ 19485 h 225887"/>
                  <a:gd name="connsiteX773" fmla="*/ 6613 w 212750"/>
                  <a:gd name="connsiteY773" fmla="*/ 16576 h 225887"/>
                  <a:gd name="connsiteX774" fmla="*/ 10140 w 212750"/>
                  <a:gd name="connsiteY774" fmla="*/ 14812 h 225887"/>
                  <a:gd name="connsiteX775" fmla="*/ 17722 w 212750"/>
                  <a:gd name="connsiteY775" fmla="*/ 15429 h 225887"/>
                  <a:gd name="connsiteX776" fmla="*/ 26715 w 212750"/>
                  <a:gd name="connsiteY776" fmla="*/ 23012 h 225887"/>
                  <a:gd name="connsiteX777" fmla="*/ 29889 w 212750"/>
                  <a:gd name="connsiteY777" fmla="*/ 25304 h 225887"/>
                  <a:gd name="connsiteX778" fmla="*/ 30771 w 212750"/>
                  <a:gd name="connsiteY778" fmla="*/ 27949 h 225887"/>
                  <a:gd name="connsiteX779" fmla="*/ 37736 w 212750"/>
                  <a:gd name="connsiteY779" fmla="*/ 28478 h 225887"/>
                  <a:gd name="connsiteX780" fmla="*/ 41528 w 212750"/>
                  <a:gd name="connsiteY780" fmla="*/ 28214 h 225887"/>
                  <a:gd name="connsiteX781" fmla="*/ 43820 w 212750"/>
                  <a:gd name="connsiteY781" fmla="*/ 29625 h 225887"/>
                  <a:gd name="connsiteX782" fmla="*/ 49110 w 212750"/>
                  <a:gd name="connsiteY782" fmla="*/ 27597 h 225887"/>
                  <a:gd name="connsiteX783" fmla="*/ 52901 w 212750"/>
                  <a:gd name="connsiteY783" fmla="*/ 27597 h 225887"/>
                  <a:gd name="connsiteX784" fmla="*/ 53166 w 212750"/>
                  <a:gd name="connsiteY784" fmla="*/ 26186 h 225887"/>
                  <a:gd name="connsiteX785" fmla="*/ 55811 w 212750"/>
                  <a:gd name="connsiteY785" fmla="*/ 25040 h 225887"/>
                  <a:gd name="connsiteX786" fmla="*/ 61365 w 212750"/>
                  <a:gd name="connsiteY786" fmla="*/ 28567 h 225887"/>
                  <a:gd name="connsiteX787" fmla="*/ 68683 w 212750"/>
                  <a:gd name="connsiteY787" fmla="*/ 28831 h 225887"/>
                  <a:gd name="connsiteX788" fmla="*/ 71064 w 212750"/>
                  <a:gd name="connsiteY788" fmla="*/ 30242 h 225887"/>
                  <a:gd name="connsiteX789" fmla="*/ 74238 w 212750"/>
                  <a:gd name="connsiteY789" fmla="*/ 29977 h 225887"/>
                  <a:gd name="connsiteX790" fmla="*/ 75384 w 212750"/>
                  <a:gd name="connsiteY790" fmla="*/ 25304 h 225887"/>
                  <a:gd name="connsiteX791" fmla="*/ 78558 w 212750"/>
                  <a:gd name="connsiteY791" fmla="*/ 24158 h 225887"/>
                  <a:gd name="connsiteX792" fmla="*/ 79704 w 212750"/>
                  <a:gd name="connsiteY792" fmla="*/ 24423 h 225887"/>
                  <a:gd name="connsiteX793" fmla="*/ 81468 w 212750"/>
                  <a:gd name="connsiteY793" fmla="*/ 23805 h 225887"/>
                  <a:gd name="connsiteX794" fmla="*/ 82966 w 212750"/>
                  <a:gd name="connsiteY794" fmla="*/ 24070 h 225887"/>
                  <a:gd name="connsiteX795" fmla="*/ 83848 w 212750"/>
                  <a:gd name="connsiteY795" fmla="*/ 20014 h 225887"/>
                  <a:gd name="connsiteX796" fmla="*/ 81820 w 212750"/>
                  <a:gd name="connsiteY796" fmla="*/ 16487 h 225887"/>
                  <a:gd name="connsiteX797" fmla="*/ 81820 w 212750"/>
                  <a:gd name="connsiteY797" fmla="*/ 14195 h 225887"/>
                  <a:gd name="connsiteX798" fmla="*/ 83584 w 212750"/>
                  <a:gd name="connsiteY798" fmla="*/ 13049 h 225887"/>
                  <a:gd name="connsiteX799" fmla="*/ 83848 w 212750"/>
                  <a:gd name="connsiteY799" fmla="*/ 9875 h 225887"/>
                  <a:gd name="connsiteX800" fmla="*/ 84377 w 212750"/>
                  <a:gd name="connsiteY800" fmla="*/ 8376 h 225887"/>
                  <a:gd name="connsiteX801" fmla="*/ 84113 w 212750"/>
                  <a:gd name="connsiteY801" fmla="*/ 6613 h 225887"/>
                  <a:gd name="connsiteX802" fmla="*/ 86405 w 212750"/>
                  <a:gd name="connsiteY802" fmla="*/ 5466 h 225887"/>
                  <a:gd name="connsiteX803" fmla="*/ 91343 w 212750"/>
                  <a:gd name="connsiteY803" fmla="*/ 4320 h 225887"/>
                  <a:gd name="connsiteX804" fmla="*/ 94869 w 212750"/>
                  <a:gd name="connsiteY804" fmla="*/ 3439 h 225887"/>
                  <a:gd name="connsiteX805" fmla="*/ 99542 w 212750"/>
                  <a:gd name="connsiteY805" fmla="*/ 3439 h 225887"/>
                  <a:gd name="connsiteX806" fmla="*/ 104480 w 212750"/>
                  <a:gd name="connsiteY806" fmla="*/ 2292 h 225887"/>
                  <a:gd name="connsiteX807" fmla="*/ 110034 w 212750"/>
                  <a:gd name="connsiteY807" fmla="*/ 0 h 225887"/>
                  <a:gd name="connsiteX808" fmla="*/ 115589 w 212750"/>
                  <a:gd name="connsiteY808" fmla="*/ 2292 h 225887"/>
                  <a:gd name="connsiteX809" fmla="*/ 125199 w 212750"/>
                  <a:gd name="connsiteY809" fmla="*/ 6084 h 225887"/>
                  <a:gd name="connsiteX810" fmla="*/ 134281 w 212750"/>
                  <a:gd name="connsiteY810" fmla="*/ 6348 h 225887"/>
                  <a:gd name="connsiteX811" fmla="*/ 138072 w 212750"/>
                  <a:gd name="connsiteY811" fmla="*/ 11286 h 225887"/>
                  <a:gd name="connsiteX812" fmla="*/ 135691 w 212750"/>
                  <a:gd name="connsiteY812" fmla="*/ 15694 h 225887"/>
                  <a:gd name="connsiteX813" fmla="*/ 132782 w 212750"/>
                  <a:gd name="connsiteY813" fmla="*/ 17722 h 225887"/>
                  <a:gd name="connsiteX814" fmla="*/ 132782 w 212750"/>
                  <a:gd name="connsiteY814" fmla="*/ 20631 h 225887"/>
                  <a:gd name="connsiteX815" fmla="*/ 136044 w 212750"/>
                  <a:gd name="connsiteY815" fmla="*/ 21778 h 225887"/>
                  <a:gd name="connsiteX816" fmla="*/ 128461 w 212750"/>
                  <a:gd name="connsiteY816" fmla="*/ 24687 h 225887"/>
                  <a:gd name="connsiteX817" fmla="*/ 128461 w 212750"/>
                  <a:gd name="connsiteY817" fmla="*/ 25833 h 225887"/>
                  <a:gd name="connsiteX818" fmla="*/ 133134 w 212750"/>
                  <a:gd name="connsiteY818" fmla="*/ 25216 h 225887"/>
                  <a:gd name="connsiteX819" fmla="*/ 134633 w 212750"/>
                  <a:gd name="connsiteY819" fmla="*/ 26098 h 225887"/>
                  <a:gd name="connsiteX820" fmla="*/ 134898 w 212750"/>
                  <a:gd name="connsiteY820" fmla="*/ 28743 h 225887"/>
                  <a:gd name="connsiteX821" fmla="*/ 131018 w 212750"/>
                  <a:gd name="connsiteY821" fmla="*/ 32887 h 225887"/>
                  <a:gd name="connsiteX822" fmla="*/ 86052 w 212750"/>
                  <a:gd name="connsiteY822" fmla="*/ 109593 h 225887"/>
                  <a:gd name="connsiteX823" fmla="*/ 86052 w 212750"/>
                  <a:gd name="connsiteY823" fmla="*/ 109593 h 225887"/>
                  <a:gd name="connsiteX824" fmla="*/ 85788 w 212750"/>
                  <a:gd name="connsiteY824" fmla="*/ 109593 h 225887"/>
                  <a:gd name="connsiteX825" fmla="*/ 83760 w 212750"/>
                  <a:gd name="connsiteY825" fmla="*/ 109329 h 225887"/>
                  <a:gd name="connsiteX826" fmla="*/ 83143 w 212750"/>
                  <a:gd name="connsiteY826" fmla="*/ 108712 h 225887"/>
                  <a:gd name="connsiteX827" fmla="*/ 82526 w 212750"/>
                  <a:gd name="connsiteY827" fmla="*/ 107830 h 225887"/>
                  <a:gd name="connsiteX828" fmla="*/ 82790 w 212750"/>
                  <a:gd name="connsiteY828" fmla="*/ 107477 h 225887"/>
                  <a:gd name="connsiteX829" fmla="*/ 83672 w 212750"/>
                  <a:gd name="connsiteY829" fmla="*/ 107213 h 225887"/>
                  <a:gd name="connsiteX830" fmla="*/ 85171 w 212750"/>
                  <a:gd name="connsiteY830" fmla="*/ 106948 h 225887"/>
                  <a:gd name="connsiteX831" fmla="*/ 86934 w 212750"/>
                  <a:gd name="connsiteY831" fmla="*/ 106684 h 225887"/>
                  <a:gd name="connsiteX832" fmla="*/ 87199 w 212750"/>
                  <a:gd name="connsiteY832" fmla="*/ 106684 h 225887"/>
                  <a:gd name="connsiteX833" fmla="*/ 87463 w 212750"/>
                  <a:gd name="connsiteY833" fmla="*/ 106684 h 225887"/>
                  <a:gd name="connsiteX834" fmla="*/ 90990 w 212750"/>
                  <a:gd name="connsiteY834" fmla="*/ 107565 h 225887"/>
                  <a:gd name="connsiteX835" fmla="*/ 90990 w 212750"/>
                  <a:gd name="connsiteY835" fmla="*/ 107918 h 225887"/>
                  <a:gd name="connsiteX836" fmla="*/ 90725 w 212750"/>
                  <a:gd name="connsiteY836" fmla="*/ 107918 h 225887"/>
                  <a:gd name="connsiteX837" fmla="*/ 90461 w 212750"/>
                  <a:gd name="connsiteY837" fmla="*/ 107918 h 225887"/>
                  <a:gd name="connsiteX838" fmla="*/ 89844 w 212750"/>
                  <a:gd name="connsiteY838" fmla="*/ 107918 h 225887"/>
                  <a:gd name="connsiteX839" fmla="*/ 87816 w 212750"/>
                  <a:gd name="connsiteY839" fmla="*/ 108535 h 225887"/>
                  <a:gd name="connsiteX840" fmla="*/ 87551 w 212750"/>
                  <a:gd name="connsiteY840" fmla="*/ 109417 h 225887"/>
                  <a:gd name="connsiteX841" fmla="*/ 86052 w 212750"/>
                  <a:gd name="connsiteY841" fmla="*/ 109593 h 225887"/>
                  <a:gd name="connsiteX842" fmla="*/ 60395 w 212750"/>
                  <a:gd name="connsiteY842" fmla="*/ 216630 h 225887"/>
                  <a:gd name="connsiteX843" fmla="*/ 60131 w 212750"/>
                  <a:gd name="connsiteY843" fmla="*/ 216630 h 225887"/>
                  <a:gd name="connsiteX844" fmla="*/ 59514 w 212750"/>
                  <a:gd name="connsiteY844" fmla="*/ 216630 h 225887"/>
                  <a:gd name="connsiteX845" fmla="*/ 59514 w 212750"/>
                  <a:gd name="connsiteY845" fmla="*/ 216365 h 225887"/>
                  <a:gd name="connsiteX846" fmla="*/ 59514 w 212750"/>
                  <a:gd name="connsiteY846" fmla="*/ 214866 h 225887"/>
                  <a:gd name="connsiteX847" fmla="*/ 61542 w 212750"/>
                  <a:gd name="connsiteY847" fmla="*/ 214866 h 225887"/>
                  <a:gd name="connsiteX848" fmla="*/ 61806 w 212750"/>
                  <a:gd name="connsiteY848" fmla="*/ 214602 h 225887"/>
                  <a:gd name="connsiteX849" fmla="*/ 62071 w 212750"/>
                  <a:gd name="connsiteY849" fmla="*/ 214866 h 225887"/>
                  <a:gd name="connsiteX850" fmla="*/ 62335 w 212750"/>
                  <a:gd name="connsiteY850" fmla="*/ 215131 h 225887"/>
                  <a:gd name="connsiteX851" fmla="*/ 62071 w 212750"/>
                  <a:gd name="connsiteY851" fmla="*/ 215395 h 225887"/>
                  <a:gd name="connsiteX852" fmla="*/ 60924 w 212750"/>
                  <a:gd name="connsiteY852" fmla="*/ 216277 h 225887"/>
                  <a:gd name="connsiteX853" fmla="*/ 60395 w 212750"/>
                  <a:gd name="connsiteY853" fmla="*/ 216630 h 225887"/>
                  <a:gd name="connsiteX854" fmla="*/ 57221 w 212750"/>
                  <a:gd name="connsiteY854" fmla="*/ 217776 h 225887"/>
                  <a:gd name="connsiteX855" fmla="*/ 56075 w 212750"/>
                  <a:gd name="connsiteY855" fmla="*/ 218040 h 225887"/>
                  <a:gd name="connsiteX856" fmla="*/ 55811 w 212750"/>
                  <a:gd name="connsiteY856" fmla="*/ 217776 h 225887"/>
                  <a:gd name="connsiteX857" fmla="*/ 55193 w 212750"/>
                  <a:gd name="connsiteY857" fmla="*/ 217511 h 225887"/>
                  <a:gd name="connsiteX858" fmla="*/ 55458 w 212750"/>
                  <a:gd name="connsiteY858" fmla="*/ 216894 h 225887"/>
                  <a:gd name="connsiteX859" fmla="*/ 56075 w 212750"/>
                  <a:gd name="connsiteY859" fmla="*/ 216630 h 225887"/>
                  <a:gd name="connsiteX860" fmla="*/ 56340 w 212750"/>
                  <a:gd name="connsiteY860" fmla="*/ 216365 h 225887"/>
                  <a:gd name="connsiteX861" fmla="*/ 57221 w 212750"/>
                  <a:gd name="connsiteY861" fmla="*/ 216365 h 225887"/>
                  <a:gd name="connsiteX862" fmla="*/ 58103 w 212750"/>
                  <a:gd name="connsiteY862" fmla="*/ 216365 h 225887"/>
                  <a:gd name="connsiteX863" fmla="*/ 58103 w 212750"/>
                  <a:gd name="connsiteY863" fmla="*/ 216630 h 225887"/>
                  <a:gd name="connsiteX864" fmla="*/ 58103 w 212750"/>
                  <a:gd name="connsiteY864" fmla="*/ 217511 h 225887"/>
                  <a:gd name="connsiteX865" fmla="*/ 58103 w 212750"/>
                  <a:gd name="connsiteY865" fmla="*/ 217776 h 225887"/>
                  <a:gd name="connsiteX866" fmla="*/ 57221 w 212750"/>
                  <a:gd name="connsiteY866" fmla="*/ 217776 h 225887"/>
                  <a:gd name="connsiteX867" fmla="*/ 69477 w 212750"/>
                  <a:gd name="connsiteY867" fmla="*/ 222449 h 225887"/>
                  <a:gd name="connsiteX868" fmla="*/ 68859 w 212750"/>
                  <a:gd name="connsiteY868" fmla="*/ 222978 h 225887"/>
                  <a:gd name="connsiteX869" fmla="*/ 68859 w 212750"/>
                  <a:gd name="connsiteY869" fmla="*/ 222713 h 225887"/>
                  <a:gd name="connsiteX870" fmla="*/ 68859 w 212750"/>
                  <a:gd name="connsiteY870" fmla="*/ 222449 h 225887"/>
                  <a:gd name="connsiteX871" fmla="*/ 68243 w 212750"/>
                  <a:gd name="connsiteY871" fmla="*/ 222096 h 225887"/>
                  <a:gd name="connsiteX872" fmla="*/ 67361 w 212750"/>
                  <a:gd name="connsiteY872" fmla="*/ 222449 h 225887"/>
                  <a:gd name="connsiteX873" fmla="*/ 67096 w 212750"/>
                  <a:gd name="connsiteY873" fmla="*/ 222713 h 225887"/>
                  <a:gd name="connsiteX874" fmla="*/ 66479 w 212750"/>
                  <a:gd name="connsiteY874" fmla="*/ 222713 h 225887"/>
                  <a:gd name="connsiteX875" fmla="*/ 66126 w 212750"/>
                  <a:gd name="connsiteY875" fmla="*/ 220950 h 225887"/>
                  <a:gd name="connsiteX876" fmla="*/ 65245 w 212750"/>
                  <a:gd name="connsiteY876" fmla="*/ 220068 h 225887"/>
                  <a:gd name="connsiteX877" fmla="*/ 64628 w 212750"/>
                  <a:gd name="connsiteY877" fmla="*/ 219187 h 225887"/>
                  <a:gd name="connsiteX878" fmla="*/ 64892 w 212750"/>
                  <a:gd name="connsiteY878" fmla="*/ 218040 h 225887"/>
                  <a:gd name="connsiteX879" fmla="*/ 64892 w 212750"/>
                  <a:gd name="connsiteY879" fmla="*/ 217776 h 225887"/>
                  <a:gd name="connsiteX880" fmla="*/ 65157 w 212750"/>
                  <a:gd name="connsiteY880" fmla="*/ 217511 h 225887"/>
                  <a:gd name="connsiteX881" fmla="*/ 65421 w 212750"/>
                  <a:gd name="connsiteY881" fmla="*/ 217511 h 225887"/>
                  <a:gd name="connsiteX882" fmla="*/ 65421 w 212750"/>
                  <a:gd name="connsiteY882" fmla="*/ 217776 h 225887"/>
                  <a:gd name="connsiteX883" fmla="*/ 67449 w 212750"/>
                  <a:gd name="connsiteY883" fmla="*/ 218040 h 225887"/>
                  <a:gd name="connsiteX884" fmla="*/ 68595 w 212750"/>
                  <a:gd name="connsiteY884" fmla="*/ 217776 h 225887"/>
                  <a:gd name="connsiteX885" fmla="*/ 70006 w 212750"/>
                  <a:gd name="connsiteY885" fmla="*/ 217511 h 225887"/>
                  <a:gd name="connsiteX886" fmla="*/ 71505 w 212750"/>
                  <a:gd name="connsiteY886" fmla="*/ 217511 h 225887"/>
                  <a:gd name="connsiteX887" fmla="*/ 72122 w 212750"/>
                  <a:gd name="connsiteY887" fmla="*/ 218040 h 225887"/>
                  <a:gd name="connsiteX888" fmla="*/ 72386 w 212750"/>
                  <a:gd name="connsiteY888" fmla="*/ 219804 h 225887"/>
                  <a:gd name="connsiteX889" fmla="*/ 72386 w 212750"/>
                  <a:gd name="connsiteY889" fmla="*/ 220421 h 225887"/>
                  <a:gd name="connsiteX890" fmla="*/ 70887 w 212750"/>
                  <a:gd name="connsiteY890" fmla="*/ 222449 h 225887"/>
                  <a:gd name="connsiteX891" fmla="*/ 70623 w 212750"/>
                  <a:gd name="connsiteY891" fmla="*/ 222713 h 225887"/>
                  <a:gd name="connsiteX892" fmla="*/ 70006 w 212750"/>
                  <a:gd name="connsiteY892" fmla="*/ 222713 h 225887"/>
                  <a:gd name="connsiteX893" fmla="*/ 69741 w 212750"/>
                  <a:gd name="connsiteY893" fmla="*/ 222713 h 225887"/>
                  <a:gd name="connsiteX894" fmla="*/ 69477 w 212750"/>
                  <a:gd name="connsiteY894" fmla="*/ 222449 h 225887"/>
                  <a:gd name="connsiteX895" fmla="*/ 34121 w 212750"/>
                  <a:gd name="connsiteY895" fmla="*/ 142304 h 225887"/>
                  <a:gd name="connsiteX896" fmla="*/ 34121 w 212750"/>
                  <a:gd name="connsiteY896" fmla="*/ 142568 h 225887"/>
                  <a:gd name="connsiteX897" fmla="*/ 32358 w 212750"/>
                  <a:gd name="connsiteY897" fmla="*/ 141687 h 225887"/>
                  <a:gd name="connsiteX898" fmla="*/ 32358 w 212750"/>
                  <a:gd name="connsiteY898" fmla="*/ 141422 h 225887"/>
                  <a:gd name="connsiteX899" fmla="*/ 33240 w 212750"/>
                  <a:gd name="connsiteY899" fmla="*/ 141158 h 225887"/>
                  <a:gd name="connsiteX900" fmla="*/ 33504 w 212750"/>
                  <a:gd name="connsiteY900" fmla="*/ 141158 h 225887"/>
                  <a:gd name="connsiteX901" fmla="*/ 34121 w 212750"/>
                  <a:gd name="connsiteY901" fmla="*/ 141158 h 225887"/>
                  <a:gd name="connsiteX902" fmla="*/ 34386 w 212750"/>
                  <a:gd name="connsiteY902" fmla="*/ 141158 h 225887"/>
                  <a:gd name="connsiteX903" fmla="*/ 34650 w 212750"/>
                  <a:gd name="connsiteY903" fmla="*/ 141158 h 225887"/>
                  <a:gd name="connsiteX904" fmla="*/ 34915 w 212750"/>
                  <a:gd name="connsiteY904" fmla="*/ 141158 h 225887"/>
                  <a:gd name="connsiteX905" fmla="*/ 34915 w 212750"/>
                  <a:gd name="connsiteY905" fmla="*/ 141422 h 225887"/>
                  <a:gd name="connsiteX906" fmla="*/ 34298 w 212750"/>
                  <a:gd name="connsiteY906" fmla="*/ 142304 h 225887"/>
                  <a:gd name="connsiteX907" fmla="*/ 34121 w 212750"/>
                  <a:gd name="connsiteY907" fmla="*/ 142304 h 225887"/>
                  <a:gd name="connsiteX908" fmla="*/ 34738 w 212750"/>
                  <a:gd name="connsiteY908" fmla="*/ 149886 h 225887"/>
                  <a:gd name="connsiteX909" fmla="*/ 34121 w 212750"/>
                  <a:gd name="connsiteY909" fmla="*/ 149886 h 225887"/>
                  <a:gd name="connsiteX910" fmla="*/ 34121 w 212750"/>
                  <a:gd name="connsiteY910" fmla="*/ 149622 h 225887"/>
                  <a:gd name="connsiteX911" fmla="*/ 32975 w 212750"/>
                  <a:gd name="connsiteY911" fmla="*/ 149005 h 225887"/>
                  <a:gd name="connsiteX912" fmla="*/ 32711 w 212750"/>
                  <a:gd name="connsiteY912" fmla="*/ 149269 h 225887"/>
                  <a:gd name="connsiteX913" fmla="*/ 32446 w 212750"/>
                  <a:gd name="connsiteY913" fmla="*/ 149269 h 225887"/>
                  <a:gd name="connsiteX914" fmla="*/ 32182 w 212750"/>
                  <a:gd name="connsiteY914" fmla="*/ 149269 h 225887"/>
                  <a:gd name="connsiteX915" fmla="*/ 32182 w 212750"/>
                  <a:gd name="connsiteY915" fmla="*/ 149005 h 225887"/>
                  <a:gd name="connsiteX916" fmla="*/ 31300 w 212750"/>
                  <a:gd name="connsiteY916" fmla="*/ 148387 h 225887"/>
                  <a:gd name="connsiteX917" fmla="*/ 31300 w 212750"/>
                  <a:gd name="connsiteY917" fmla="*/ 147770 h 225887"/>
                  <a:gd name="connsiteX918" fmla="*/ 31917 w 212750"/>
                  <a:gd name="connsiteY918" fmla="*/ 147506 h 225887"/>
                  <a:gd name="connsiteX919" fmla="*/ 32534 w 212750"/>
                  <a:gd name="connsiteY919" fmla="*/ 147770 h 225887"/>
                  <a:gd name="connsiteX920" fmla="*/ 32799 w 212750"/>
                  <a:gd name="connsiteY920" fmla="*/ 147153 h 225887"/>
                  <a:gd name="connsiteX921" fmla="*/ 33063 w 212750"/>
                  <a:gd name="connsiteY921" fmla="*/ 146888 h 225887"/>
                  <a:gd name="connsiteX922" fmla="*/ 33945 w 212750"/>
                  <a:gd name="connsiteY922" fmla="*/ 147153 h 225887"/>
                  <a:gd name="connsiteX923" fmla="*/ 34209 w 212750"/>
                  <a:gd name="connsiteY923" fmla="*/ 147153 h 225887"/>
                  <a:gd name="connsiteX924" fmla="*/ 34474 w 212750"/>
                  <a:gd name="connsiteY924" fmla="*/ 147770 h 225887"/>
                  <a:gd name="connsiteX925" fmla="*/ 34738 w 212750"/>
                  <a:gd name="connsiteY925" fmla="*/ 147770 h 225887"/>
                  <a:gd name="connsiteX926" fmla="*/ 35356 w 212750"/>
                  <a:gd name="connsiteY926" fmla="*/ 147506 h 225887"/>
                  <a:gd name="connsiteX927" fmla="*/ 35973 w 212750"/>
                  <a:gd name="connsiteY927" fmla="*/ 147506 h 225887"/>
                  <a:gd name="connsiteX928" fmla="*/ 36590 w 212750"/>
                  <a:gd name="connsiteY928" fmla="*/ 146624 h 225887"/>
                  <a:gd name="connsiteX929" fmla="*/ 37207 w 212750"/>
                  <a:gd name="connsiteY929" fmla="*/ 146888 h 225887"/>
                  <a:gd name="connsiteX930" fmla="*/ 36943 w 212750"/>
                  <a:gd name="connsiteY930" fmla="*/ 147770 h 225887"/>
                  <a:gd name="connsiteX931" fmla="*/ 37207 w 212750"/>
                  <a:gd name="connsiteY931" fmla="*/ 148652 h 225887"/>
                  <a:gd name="connsiteX932" fmla="*/ 36943 w 212750"/>
                  <a:gd name="connsiteY932" fmla="*/ 148916 h 225887"/>
                  <a:gd name="connsiteX933" fmla="*/ 37207 w 212750"/>
                  <a:gd name="connsiteY933" fmla="*/ 149798 h 225887"/>
                  <a:gd name="connsiteX934" fmla="*/ 36326 w 212750"/>
                  <a:gd name="connsiteY934" fmla="*/ 149798 h 225887"/>
                  <a:gd name="connsiteX935" fmla="*/ 35179 w 212750"/>
                  <a:gd name="connsiteY935" fmla="*/ 149534 h 225887"/>
                  <a:gd name="connsiteX936" fmla="*/ 35179 w 212750"/>
                  <a:gd name="connsiteY936" fmla="*/ 149798 h 225887"/>
                  <a:gd name="connsiteX937" fmla="*/ 34738 w 212750"/>
                  <a:gd name="connsiteY937" fmla="*/ 149798 h 225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</a:cxnLst>
                <a:rect l="l" t="t" r="r" b="b"/>
                <a:pathLst>
                  <a:path w="212750" h="225887">
                    <a:moveTo>
                      <a:pt x="131018" y="32887"/>
                    </a:moveTo>
                    <a:lnTo>
                      <a:pt x="137719" y="37824"/>
                    </a:lnTo>
                    <a:lnTo>
                      <a:pt x="136573" y="40469"/>
                    </a:lnTo>
                    <a:lnTo>
                      <a:pt x="147947" y="42497"/>
                    </a:lnTo>
                    <a:lnTo>
                      <a:pt x="154647" y="48052"/>
                    </a:lnTo>
                    <a:lnTo>
                      <a:pt x="160731" y="50961"/>
                    </a:lnTo>
                    <a:lnTo>
                      <a:pt x="160731" y="53606"/>
                    </a:lnTo>
                    <a:lnTo>
                      <a:pt x="160202" y="55105"/>
                    </a:lnTo>
                    <a:lnTo>
                      <a:pt x="154647" y="59514"/>
                    </a:lnTo>
                    <a:lnTo>
                      <a:pt x="149357" y="66479"/>
                    </a:lnTo>
                    <a:lnTo>
                      <a:pt x="149622" y="68507"/>
                    </a:lnTo>
                    <a:lnTo>
                      <a:pt x="156058" y="73797"/>
                    </a:lnTo>
                    <a:lnTo>
                      <a:pt x="159585" y="76706"/>
                    </a:lnTo>
                    <a:lnTo>
                      <a:pt x="161613" y="79881"/>
                    </a:lnTo>
                    <a:lnTo>
                      <a:pt x="167167" y="84553"/>
                    </a:lnTo>
                    <a:lnTo>
                      <a:pt x="172105" y="90990"/>
                    </a:lnTo>
                    <a:lnTo>
                      <a:pt x="173516" y="94781"/>
                    </a:lnTo>
                    <a:lnTo>
                      <a:pt x="171752" y="93899"/>
                    </a:lnTo>
                    <a:lnTo>
                      <a:pt x="167961" y="94781"/>
                    </a:lnTo>
                    <a:lnTo>
                      <a:pt x="168843" y="95927"/>
                    </a:lnTo>
                    <a:lnTo>
                      <a:pt x="168843" y="97338"/>
                    </a:lnTo>
                    <a:lnTo>
                      <a:pt x="167344" y="97955"/>
                    </a:lnTo>
                    <a:lnTo>
                      <a:pt x="168490" y="101482"/>
                    </a:lnTo>
                    <a:lnTo>
                      <a:pt x="166726" y="103245"/>
                    </a:lnTo>
                    <a:lnTo>
                      <a:pt x="166991" y="104127"/>
                    </a:lnTo>
                    <a:lnTo>
                      <a:pt x="171399" y="104391"/>
                    </a:lnTo>
                    <a:lnTo>
                      <a:pt x="172281" y="106419"/>
                    </a:lnTo>
                    <a:lnTo>
                      <a:pt x="167873" y="107565"/>
                    </a:lnTo>
                    <a:lnTo>
                      <a:pt x="169019" y="110828"/>
                    </a:lnTo>
                    <a:lnTo>
                      <a:pt x="172457" y="113737"/>
                    </a:lnTo>
                    <a:lnTo>
                      <a:pt x="177747" y="113737"/>
                    </a:lnTo>
                    <a:lnTo>
                      <a:pt x="180393" y="117264"/>
                    </a:lnTo>
                    <a:lnTo>
                      <a:pt x="176601" y="118410"/>
                    </a:lnTo>
                    <a:lnTo>
                      <a:pt x="177483" y="119909"/>
                    </a:lnTo>
                    <a:lnTo>
                      <a:pt x="179246" y="120526"/>
                    </a:lnTo>
                    <a:lnTo>
                      <a:pt x="178982" y="122554"/>
                    </a:lnTo>
                    <a:lnTo>
                      <a:pt x="183655" y="124053"/>
                    </a:lnTo>
                    <a:lnTo>
                      <a:pt x="188328" y="126081"/>
                    </a:lnTo>
                    <a:lnTo>
                      <a:pt x="189827" y="130137"/>
                    </a:lnTo>
                    <a:lnTo>
                      <a:pt x="185418" y="135074"/>
                    </a:lnTo>
                    <a:lnTo>
                      <a:pt x="181010" y="136837"/>
                    </a:lnTo>
                    <a:lnTo>
                      <a:pt x="186300" y="140364"/>
                    </a:lnTo>
                    <a:lnTo>
                      <a:pt x="195293" y="144155"/>
                    </a:lnTo>
                    <a:lnTo>
                      <a:pt x="200231" y="144420"/>
                    </a:lnTo>
                    <a:lnTo>
                      <a:pt x="205168" y="148476"/>
                    </a:lnTo>
                    <a:lnTo>
                      <a:pt x="212750" y="155441"/>
                    </a:lnTo>
                    <a:lnTo>
                      <a:pt x="210987" y="157733"/>
                    </a:lnTo>
                    <a:lnTo>
                      <a:pt x="209488" y="162142"/>
                    </a:lnTo>
                    <a:lnTo>
                      <a:pt x="209488" y="164434"/>
                    </a:lnTo>
                    <a:lnTo>
                      <a:pt x="204551" y="168490"/>
                    </a:lnTo>
                    <a:lnTo>
                      <a:pt x="201377" y="171135"/>
                    </a:lnTo>
                    <a:lnTo>
                      <a:pt x="195558" y="176425"/>
                    </a:lnTo>
                    <a:lnTo>
                      <a:pt x="188592" y="184889"/>
                    </a:lnTo>
                    <a:lnTo>
                      <a:pt x="182156" y="190444"/>
                    </a:lnTo>
                    <a:lnTo>
                      <a:pt x="180393" y="192824"/>
                    </a:lnTo>
                    <a:lnTo>
                      <a:pt x="174309" y="195734"/>
                    </a:lnTo>
                    <a:lnTo>
                      <a:pt x="171664" y="199525"/>
                    </a:lnTo>
                    <a:lnTo>
                      <a:pt x="169901" y="199525"/>
                    </a:lnTo>
                    <a:lnTo>
                      <a:pt x="166991" y="202170"/>
                    </a:lnTo>
                    <a:lnTo>
                      <a:pt x="164081" y="204551"/>
                    </a:lnTo>
                    <a:lnTo>
                      <a:pt x="158791" y="208606"/>
                    </a:lnTo>
                    <a:lnTo>
                      <a:pt x="157292" y="208871"/>
                    </a:lnTo>
                    <a:lnTo>
                      <a:pt x="157028" y="208871"/>
                    </a:lnTo>
                    <a:lnTo>
                      <a:pt x="157028" y="209400"/>
                    </a:lnTo>
                    <a:lnTo>
                      <a:pt x="156146" y="210017"/>
                    </a:lnTo>
                    <a:lnTo>
                      <a:pt x="155529" y="210017"/>
                    </a:lnTo>
                    <a:lnTo>
                      <a:pt x="155265" y="209753"/>
                    </a:lnTo>
                    <a:lnTo>
                      <a:pt x="156146" y="209488"/>
                    </a:lnTo>
                    <a:lnTo>
                      <a:pt x="156146" y="209224"/>
                    </a:lnTo>
                    <a:lnTo>
                      <a:pt x="155882" y="208695"/>
                    </a:lnTo>
                    <a:lnTo>
                      <a:pt x="155617" y="208695"/>
                    </a:lnTo>
                    <a:lnTo>
                      <a:pt x="154471" y="209576"/>
                    </a:lnTo>
                    <a:lnTo>
                      <a:pt x="154471" y="210193"/>
                    </a:lnTo>
                    <a:lnTo>
                      <a:pt x="153854" y="210193"/>
                    </a:lnTo>
                    <a:lnTo>
                      <a:pt x="153589" y="210193"/>
                    </a:lnTo>
                    <a:lnTo>
                      <a:pt x="152708" y="209576"/>
                    </a:lnTo>
                    <a:lnTo>
                      <a:pt x="152443" y="209576"/>
                    </a:lnTo>
                    <a:lnTo>
                      <a:pt x="152443" y="210193"/>
                    </a:lnTo>
                    <a:lnTo>
                      <a:pt x="152443" y="210546"/>
                    </a:lnTo>
                    <a:lnTo>
                      <a:pt x="152443" y="210811"/>
                    </a:lnTo>
                    <a:lnTo>
                      <a:pt x="151826" y="210193"/>
                    </a:lnTo>
                    <a:lnTo>
                      <a:pt x="150944" y="209576"/>
                    </a:lnTo>
                    <a:lnTo>
                      <a:pt x="150680" y="209576"/>
                    </a:lnTo>
                    <a:lnTo>
                      <a:pt x="149534" y="209841"/>
                    </a:lnTo>
                    <a:lnTo>
                      <a:pt x="148652" y="209312"/>
                    </a:lnTo>
                    <a:lnTo>
                      <a:pt x="148388" y="209576"/>
                    </a:lnTo>
                    <a:lnTo>
                      <a:pt x="148123" y="209312"/>
                    </a:lnTo>
                    <a:lnTo>
                      <a:pt x="148388" y="209047"/>
                    </a:lnTo>
                    <a:lnTo>
                      <a:pt x="149005" y="208783"/>
                    </a:lnTo>
                    <a:lnTo>
                      <a:pt x="149622" y="209047"/>
                    </a:lnTo>
                    <a:lnTo>
                      <a:pt x="149886" y="208783"/>
                    </a:lnTo>
                    <a:lnTo>
                      <a:pt x="149005" y="208166"/>
                    </a:lnTo>
                    <a:lnTo>
                      <a:pt x="147506" y="207901"/>
                    </a:lnTo>
                    <a:lnTo>
                      <a:pt x="146889" y="209400"/>
                    </a:lnTo>
                    <a:lnTo>
                      <a:pt x="146624" y="209135"/>
                    </a:lnTo>
                    <a:lnTo>
                      <a:pt x="146007" y="209135"/>
                    </a:lnTo>
                    <a:lnTo>
                      <a:pt x="145390" y="208871"/>
                    </a:lnTo>
                    <a:lnTo>
                      <a:pt x="144861" y="209135"/>
                    </a:lnTo>
                    <a:lnTo>
                      <a:pt x="144861" y="209664"/>
                    </a:lnTo>
                    <a:lnTo>
                      <a:pt x="145125" y="210282"/>
                    </a:lnTo>
                    <a:lnTo>
                      <a:pt x="144861" y="210282"/>
                    </a:lnTo>
                    <a:lnTo>
                      <a:pt x="143362" y="210017"/>
                    </a:lnTo>
                    <a:lnTo>
                      <a:pt x="143097" y="210282"/>
                    </a:lnTo>
                    <a:lnTo>
                      <a:pt x="143362" y="210634"/>
                    </a:lnTo>
                    <a:lnTo>
                      <a:pt x="142745" y="210899"/>
                    </a:lnTo>
                    <a:lnTo>
                      <a:pt x="142745" y="210634"/>
                    </a:lnTo>
                    <a:lnTo>
                      <a:pt x="142128" y="210282"/>
                    </a:lnTo>
                    <a:lnTo>
                      <a:pt x="141510" y="211163"/>
                    </a:lnTo>
                    <a:lnTo>
                      <a:pt x="141246" y="211163"/>
                    </a:lnTo>
                    <a:lnTo>
                      <a:pt x="140629" y="210546"/>
                    </a:lnTo>
                    <a:lnTo>
                      <a:pt x="139482" y="210193"/>
                    </a:lnTo>
                    <a:lnTo>
                      <a:pt x="139747" y="211957"/>
                    </a:lnTo>
                    <a:lnTo>
                      <a:pt x="138865" y="212221"/>
                    </a:lnTo>
                    <a:lnTo>
                      <a:pt x="138601" y="211957"/>
                    </a:lnTo>
                    <a:lnTo>
                      <a:pt x="137454" y="211075"/>
                    </a:lnTo>
                    <a:lnTo>
                      <a:pt x="137190" y="211075"/>
                    </a:lnTo>
                    <a:lnTo>
                      <a:pt x="136309" y="211957"/>
                    </a:lnTo>
                    <a:lnTo>
                      <a:pt x="135427" y="211075"/>
                    </a:lnTo>
                    <a:lnTo>
                      <a:pt x="134810" y="210193"/>
                    </a:lnTo>
                    <a:lnTo>
                      <a:pt x="135427" y="208783"/>
                    </a:lnTo>
                    <a:lnTo>
                      <a:pt x="135427" y="208430"/>
                    </a:lnTo>
                    <a:lnTo>
                      <a:pt x="135427" y="207813"/>
                    </a:lnTo>
                    <a:lnTo>
                      <a:pt x="134810" y="208430"/>
                    </a:lnTo>
                    <a:lnTo>
                      <a:pt x="134810" y="209576"/>
                    </a:lnTo>
                    <a:lnTo>
                      <a:pt x="134192" y="210193"/>
                    </a:lnTo>
                    <a:lnTo>
                      <a:pt x="134810" y="211692"/>
                    </a:lnTo>
                    <a:lnTo>
                      <a:pt x="134545" y="211957"/>
                    </a:lnTo>
                    <a:lnTo>
                      <a:pt x="134281" y="212838"/>
                    </a:lnTo>
                    <a:lnTo>
                      <a:pt x="134016" y="212838"/>
                    </a:lnTo>
                    <a:lnTo>
                      <a:pt x="133752" y="211957"/>
                    </a:lnTo>
                    <a:lnTo>
                      <a:pt x="133752" y="213103"/>
                    </a:lnTo>
                    <a:lnTo>
                      <a:pt x="132605" y="212221"/>
                    </a:lnTo>
                    <a:lnTo>
                      <a:pt x="132870" y="213103"/>
                    </a:lnTo>
                    <a:lnTo>
                      <a:pt x="131988" y="212838"/>
                    </a:lnTo>
                    <a:lnTo>
                      <a:pt x="131371" y="211075"/>
                    </a:lnTo>
                    <a:lnTo>
                      <a:pt x="131636" y="211957"/>
                    </a:lnTo>
                    <a:lnTo>
                      <a:pt x="131636" y="212221"/>
                    </a:lnTo>
                    <a:lnTo>
                      <a:pt x="130489" y="212486"/>
                    </a:lnTo>
                    <a:lnTo>
                      <a:pt x="130489" y="211869"/>
                    </a:lnTo>
                    <a:lnTo>
                      <a:pt x="129608" y="212133"/>
                    </a:lnTo>
                    <a:lnTo>
                      <a:pt x="128109" y="210722"/>
                    </a:lnTo>
                    <a:lnTo>
                      <a:pt x="126081" y="210105"/>
                    </a:lnTo>
                    <a:lnTo>
                      <a:pt x="125464" y="210458"/>
                    </a:lnTo>
                    <a:lnTo>
                      <a:pt x="128109" y="211869"/>
                    </a:lnTo>
                    <a:lnTo>
                      <a:pt x="126963" y="212133"/>
                    </a:lnTo>
                    <a:lnTo>
                      <a:pt x="126963" y="212750"/>
                    </a:lnTo>
                    <a:lnTo>
                      <a:pt x="128726" y="213367"/>
                    </a:lnTo>
                    <a:lnTo>
                      <a:pt x="129343" y="214249"/>
                    </a:lnTo>
                    <a:lnTo>
                      <a:pt x="128461" y="214249"/>
                    </a:lnTo>
                    <a:lnTo>
                      <a:pt x="126698" y="213367"/>
                    </a:lnTo>
                    <a:lnTo>
                      <a:pt x="126698" y="212486"/>
                    </a:lnTo>
                    <a:lnTo>
                      <a:pt x="126698" y="213367"/>
                    </a:lnTo>
                    <a:lnTo>
                      <a:pt x="124053" y="212221"/>
                    </a:lnTo>
                    <a:lnTo>
                      <a:pt x="125199" y="213367"/>
                    </a:lnTo>
                    <a:lnTo>
                      <a:pt x="125552" y="214249"/>
                    </a:lnTo>
                    <a:lnTo>
                      <a:pt x="125552" y="215395"/>
                    </a:lnTo>
                    <a:lnTo>
                      <a:pt x="125199" y="214778"/>
                    </a:lnTo>
                    <a:lnTo>
                      <a:pt x="124582" y="214514"/>
                    </a:lnTo>
                    <a:lnTo>
                      <a:pt x="123965" y="213632"/>
                    </a:lnTo>
                    <a:lnTo>
                      <a:pt x="123083" y="214161"/>
                    </a:lnTo>
                    <a:lnTo>
                      <a:pt x="124229" y="214426"/>
                    </a:lnTo>
                    <a:lnTo>
                      <a:pt x="123083" y="215307"/>
                    </a:lnTo>
                    <a:lnTo>
                      <a:pt x="122466" y="215043"/>
                    </a:lnTo>
                    <a:lnTo>
                      <a:pt x="121320" y="215307"/>
                    </a:lnTo>
                    <a:lnTo>
                      <a:pt x="121584" y="214161"/>
                    </a:lnTo>
                    <a:lnTo>
                      <a:pt x="121055" y="214161"/>
                    </a:lnTo>
                    <a:lnTo>
                      <a:pt x="121937" y="214161"/>
                    </a:lnTo>
                    <a:lnTo>
                      <a:pt x="121673" y="213015"/>
                    </a:lnTo>
                    <a:lnTo>
                      <a:pt x="120526" y="213632"/>
                    </a:lnTo>
                    <a:lnTo>
                      <a:pt x="119380" y="214161"/>
                    </a:lnTo>
                    <a:lnTo>
                      <a:pt x="119997" y="214426"/>
                    </a:lnTo>
                    <a:lnTo>
                      <a:pt x="119733" y="215307"/>
                    </a:lnTo>
                    <a:lnTo>
                      <a:pt x="118234" y="215572"/>
                    </a:lnTo>
                    <a:lnTo>
                      <a:pt x="117088" y="215307"/>
                    </a:lnTo>
                    <a:lnTo>
                      <a:pt x="117088" y="214426"/>
                    </a:lnTo>
                    <a:lnTo>
                      <a:pt x="116206" y="214426"/>
                    </a:lnTo>
                    <a:lnTo>
                      <a:pt x="115942" y="214426"/>
                    </a:lnTo>
                    <a:lnTo>
                      <a:pt x="116206" y="215307"/>
                    </a:lnTo>
                    <a:lnTo>
                      <a:pt x="115589" y="215307"/>
                    </a:lnTo>
                    <a:lnTo>
                      <a:pt x="114972" y="215307"/>
                    </a:lnTo>
                    <a:lnTo>
                      <a:pt x="113825" y="215307"/>
                    </a:lnTo>
                    <a:lnTo>
                      <a:pt x="113561" y="215572"/>
                    </a:lnTo>
                    <a:lnTo>
                      <a:pt x="113296" y="215836"/>
                    </a:lnTo>
                    <a:lnTo>
                      <a:pt x="114178" y="216453"/>
                    </a:lnTo>
                    <a:lnTo>
                      <a:pt x="113032" y="216718"/>
                    </a:lnTo>
                    <a:lnTo>
                      <a:pt x="112415" y="216101"/>
                    </a:lnTo>
                    <a:lnTo>
                      <a:pt x="112679" y="216718"/>
                    </a:lnTo>
                    <a:lnTo>
                      <a:pt x="111533" y="216982"/>
                    </a:lnTo>
                    <a:lnTo>
                      <a:pt x="111004" y="216718"/>
                    </a:lnTo>
                    <a:lnTo>
                      <a:pt x="111004" y="216453"/>
                    </a:lnTo>
                    <a:lnTo>
                      <a:pt x="110387" y="216453"/>
                    </a:lnTo>
                    <a:lnTo>
                      <a:pt x="110122" y="216718"/>
                    </a:lnTo>
                    <a:lnTo>
                      <a:pt x="110122" y="217600"/>
                    </a:lnTo>
                    <a:lnTo>
                      <a:pt x="109241" y="217864"/>
                    </a:lnTo>
                    <a:lnTo>
                      <a:pt x="107477" y="217600"/>
                    </a:lnTo>
                    <a:lnTo>
                      <a:pt x="107742" y="216982"/>
                    </a:lnTo>
                    <a:lnTo>
                      <a:pt x="108624" y="216718"/>
                    </a:lnTo>
                    <a:lnTo>
                      <a:pt x="107125" y="216453"/>
                    </a:lnTo>
                    <a:lnTo>
                      <a:pt x="106860" y="216453"/>
                    </a:lnTo>
                    <a:lnTo>
                      <a:pt x="106596" y="217071"/>
                    </a:lnTo>
                    <a:lnTo>
                      <a:pt x="106596" y="217688"/>
                    </a:lnTo>
                    <a:lnTo>
                      <a:pt x="105714" y="217423"/>
                    </a:lnTo>
                    <a:lnTo>
                      <a:pt x="105185" y="217688"/>
                    </a:lnTo>
                    <a:lnTo>
                      <a:pt x="105185" y="218834"/>
                    </a:lnTo>
                    <a:lnTo>
                      <a:pt x="104039" y="217688"/>
                    </a:lnTo>
                    <a:lnTo>
                      <a:pt x="103774" y="216806"/>
                    </a:lnTo>
                    <a:lnTo>
                      <a:pt x="102893" y="217071"/>
                    </a:lnTo>
                    <a:lnTo>
                      <a:pt x="102628" y="217688"/>
                    </a:lnTo>
                    <a:lnTo>
                      <a:pt x="103510" y="217952"/>
                    </a:lnTo>
                    <a:lnTo>
                      <a:pt x="103245" y="218217"/>
                    </a:lnTo>
                    <a:lnTo>
                      <a:pt x="102716" y="218834"/>
                    </a:lnTo>
                    <a:lnTo>
                      <a:pt x="103598" y="218834"/>
                    </a:lnTo>
                    <a:lnTo>
                      <a:pt x="103862" y="219098"/>
                    </a:lnTo>
                    <a:lnTo>
                      <a:pt x="103245" y="219363"/>
                    </a:lnTo>
                    <a:lnTo>
                      <a:pt x="102099" y="221126"/>
                    </a:lnTo>
                    <a:lnTo>
                      <a:pt x="101217" y="221391"/>
                    </a:lnTo>
                    <a:lnTo>
                      <a:pt x="101217" y="220774"/>
                    </a:lnTo>
                    <a:lnTo>
                      <a:pt x="101217" y="220509"/>
                    </a:lnTo>
                    <a:lnTo>
                      <a:pt x="100600" y="221126"/>
                    </a:lnTo>
                    <a:lnTo>
                      <a:pt x="99983" y="220509"/>
                    </a:lnTo>
                    <a:lnTo>
                      <a:pt x="99983" y="220156"/>
                    </a:lnTo>
                    <a:lnTo>
                      <a:pt x="99983" y="219010"/>
                    </a:lnTo>
                    <a:lnTo>
                      <a:pt x="99718" y="219010"/>
                    </a:lnTo>
                    <a:lnTo>
                      <a:pt x="99101" y="218746"/>
                    </a:lnTo>
                    <a:lnTo>
                      <a:pt x="98837" y="219010"/>
                    </a:lnTo>
                    <a:lnTo>
                      <a:pt x="99101" y="219892"/>
                    </a:lnTo>
                    <a:lnTo>
                      <a:pt x="98484" y="220156"/>
                    </a:lnTo>
                    <a:lnTo>
                      <a:pt x="97338" y="219892"/>
                    </a:lnTo>
                    <a:lnTo>
                      <a:pt x="97338" y="220156"/>
                    </a:lnTo>
                    <a:lnTo>
                      <a:pt x="95310" y="219892"/>
                    </a:lnTo>
                    <a:lnTo>
                      <a:pt x="95310" y="220156"/>
                    </a:lnTo>
                    <a:lnTo>
                      <a:pt x="95046" y="221038"/>
                    </a:lnTo>
                    <a:lnTo>
                      <a:pt x="94429" y="221038"/>
                    </a:lnTo>
                    <a:lnTo>
                      <a:pt x="94164" y="219892"/>
                    </a:lnTo>
                    <a:lnTo>
                      <a:pt x="93547" y="221038"/>
                    </a:lnTo>
                    <a:lnTo>
                      <a:pt x="91783" y="221038"/>
                    </a:lnTo>
                    <a:lnTo>
                      <a:pt x="91166" y="221038"/>
                    </a:lnTo>
                    <a:lnTo>
                      <a:pt x="90902" y="222184"/>
                    </a:lnTo>
                    <a:lnTo>
                      <a:pt x="90637" y="222537"/>
                    </a:lnTo>
                    <a:lnTo>
                      <a:pt x="90285" y="221920"/>
                    </a:lnTo>
                    <a:lnTo>
                      <a:pt x="89756" y="221303"/>
                    </a:lnTo>
                    <a:lnTo>
                      <a:pt x="88874" y="221567"/>
                    </a:lnTo>
                    <a:lnTo>
                      <a:pt x="88257" y="221303"/>
                    </a:lnTo>
                    <a:lnTo>
                      <a:pt x="87110" y="222184"/>
                    </a:lnTo>
                    <a:lnTo>
                      <a:pt x="86846" y="221303"/>
                    </a:lnTo>
                    <a:lnTo>
                      <a:pt x="85964" y="222449"/>
                    </a:lnTo>
                    <a:lnTo>
                      <a:pt x="84818" y="222096"/>
                    </a:lnTo>
                    <a:lnTo>
                      <a:pt x="85083" y="220333"/>
                    </a:lnTo>
                    <a:lnTo>
                      <a:pt x="85347" y="219716"/>
                    </a:lnTo>
                    <a:lnTo>
                      <a:pt x="85347" y="218834"/>
                    </a:lnTo>
                    <a:lnTo>
                      <a:pt x="84465" y="218569"/>
                    </a:lnTo>
                    <a:lnTo>
                      <a:pt x="83848" y="219187"/>
                    </a:lnTo>
                    <a:lnTo>
                      <a:pt x="84465" y="220950"/>
                    </a:lnTo>
                    <a:lnTo>
                      <a:pt x="83584" y="222096"/>
                    </a:lnTo>
                    <a:lnTo>
                      <a:pt x="82966" y="222978"/>
                    </a:lnTo>
                    <a:lnTo>
                      <a:pt x="81203" y="223595"/>
                    </a:lnTo>
                    <a:lnTo>
                      <a:pt x="81468" y="224477"/>
                    </a:lnTo>
                    <a:lnTo>
                      <a:pt x="80322" y="224741"/>
                    </a:lnTo>
                    <a:lnTo>
                      <a:pt x="78911" y="225623"/>
                    </a:lnTo>
                    <a:lnTo>
                      <a:pt x="78294" y="225358"/>
                    </a:lnTo>
                    <a:lnTo>
                      <a:pt x="77147" y="225887"/>
                    </a:lnTo>
                    <a:lnTo>
                      <a:pt x="76266" y="225358"/>
                    </a:lnTo>
                    <a:lnTo>
                      <a:pt x="76530" y="224477"/>
                    </a:lnTo>
                    <a:lnTo>
                      <a:pt x="77412" y="224477"/>
                    </a:lnTo>
                    <a:lnTo>
                      <a:pt x="77412" y="223595"/>
                    </a:lnTo>
                    <a:lnTo>
                      <a:pt x="78558" y="223860"/>
                    </a:lnTo>
                    <a:lnTo>
                      <a:pt x="78558" y="223242"/>
                    </a:lnTo>
                    <a:lnTo>
                      <a:pt x="79969" y="223242"/>
                    </a:lnTo>
                    <a:lnTo>
                      <a:pt x="81732" y="222361"/>
                    </a:lnTo>
                    <a:lnTo>
                      <a:pt x="82349" y="221214"/>
                    </a:lnTo>
                    <a:lnTo>
                      <a:pt x="82349" y="220068"/>
                    </a:lnTo>
                    <a:lnTo>
                      <a:pt x="80939" y="222096"/>
                    </a:lnTo>
                    <a:lnTo>
                      <a:pt x="80057" y="222096"/>
                    </a:lnTo>
                    <a:lnTo>
                      <a:pt x="78294" y="222096"/>
                    </a:lnTo>
                    <a:lnTo>
                      <a:pt x="76883" y="222449"/>
                    </a:lnTo>
                    <a:lnTo>
                      <a:pt x="77147" y="221567"/>
                    </a:lnTo>
                    <a:lnTo>
                      <a:pt x="78294" y="221303"/>
                    </a:lnTo>
                    <a:lnTo>
                      <a:pt x="80939" y="221038"/>
                    </a:lnTo>
                    <a:lnTo>
                      <a:pt x="81203" y="219892"/>
                    </a:lnTo>
                    <a:lnTo>
                      <a:pt x="80322" y="219363"/>
                    </a:lnTo>
                    <a:lnTo>
                      <a:pt x="79440" y="219627"/>
                    </a:lnTo>
                    <a:lnTo>
                      <a:pt x="77676" y="220245"/>
                    </a:lnTo>
                    <a:lnTo>
                      <a:pt x="76530" y="219980"/>
                    </a:lnTo>
                    <a:lnTo>
                      <a:pt x="75913" y="218834"/>
                    </a:lnTo>
                    <a:lnTo>
                      <a:pt x="76178" y="217952"/>
                    </a:lnTo>
                    <a:lnTo>
                      <a:pt x="76178" y="217688"/>
                    </a:lnTo>
                    <a:lnTo>
                      <a:pt x="75296" y="218834"/>
                    </a:lnTo>
                    <a:lnTo>
                      <a:pt x="74679" y="217952"/>
                    </a:lnTo>
                    <a:lnTo>
                      <a:pt x="73180" y="216806"/>
                    </a:lnTo>
                    <a:lnTo>
                      <a:pt x="73180" y="216542"/>
                    </a:lnTo>
                    <a:lnTo>
                      <a:pt x="73444" y="215924"/>
                    </a:lnTo>
                    <a:lnTo>
                      <a:pt x="74943" y="215307"/>
                    </a:lnTo>
                    <a:lnTo>
                      <a:pt x="75560" y="214426"/>
                    </a:lnTo>
                    <a:lnTo>
                      <a:pt x="75560" y="213808"/>
                    </a:lnTo>
                    <a:lnTo>
                      <a:pt x="75296" y="213191"/>
                    </a:lnTo>
                    <a:lnTo>
                      <a:pt x="74414" y="213808"/>
                    </a:lnTo>
                    <a:lnTo>
                      <a:pt x="73797" y="213544"/>
                    </a:lnTo>
                    <a:lnTo>
                      <a:pt x="72651" y="214073"/>
                    </a:lnTo>
                    <a:lnTo>
                      <a:pt x="71769" y="214954"/>
                    </a:lnTo>
                    <a:lnTo>
                      <a:pt x="70887" y="215219"/>
                    </a:lnTo>
                    <a:lnTo>
                      <a:pt x="70270" y="216718"/>
                    </a:lnTo>
                    <a:lnTo>
                      <a:pt x="68507" y="215836"/>
                    </a:lnTo>
                    <a:lnTo>
                      <a:pt x="67890" y="216453"/>
                    </a:lnTo>
                    <a:lnTo>
                      <a:pt x="67273" y="215836"/>
                    </a:lnTo>
                    <a:lnTo>
                      <a:pt x="68154" y="215219"/>
                    </a:lnTo>
                    <a:lnTo>
                      <a:pt x="67537" y="214954"/>
                    </a:lnTo>
                    <a:lnTo>
                      <a:pt x="67802" y="214337"/>
                    </a:lnTo>
                    <a:lnTo>
                      <a:pt x="66920" y="214602"/>
                    </a:lnTo>
                    <a:lnTo>
                      <a:pt x="66920" y="215219"/>
                    </a:lnTo>
                    <a:lnTo>
                      <a:pt x="66303" y="215219"/>
                    </a:lnTo>
                    <a:lnTo>
                      <a:pt x="65421" y="215219"/>
                    </a:lnTo>
                    <a:lnTo>
                      <a:pt x="65686" y="214073"/>
                    </a:lnTo>
                    <a:lnTo>
                      <a:pt x="68066" y="213191"/>
                    </a:lnTo>
                    <a:lnTo>
                      <a:pt x="67802" y="212927"/>
                    </a:lnTo>
                    <a:lnTo>
                      <a:pt x="65157" y="212927"/>
                    </a:lnTo>
                    <a:lnTo>
                      <a:pt x="65421" y="212309"/>
                    </a:lnTo>
                    <a:lnTo>
                      <a:pt x="64275" y="212927"/>
                    </a:lnTo>
                    <a:lnTo>
                      <a:pt x="63393" y="214073"/>
                    </a:lnTo>
                    <a:lnTo>
                      <a:pt x="62247" y="212927"/>
                    </a:lnTo>
                    <a:lnTo>
                      <a:pt x="60836" y="212662"/>
                    </a:lnTo>
                    <a:lnTo>
                      <a:pt x="59955" y="213544"/>
                    </a:lnTo>
                    <a:lnTo>
                      <a:pt x="59690" y="212045"/>
                    </a:lnTo>
                    <a:lnTo>
                      <a:pt x="58808" y="212662"/>
                    </a:lnTo>
                    <a:lnTo>
                      <a:pt x="58191" y="212927"/>
                    </a:lnTo>
                    <a:lnTo>
                      <a:pt x="57927" y="212309"/>
                    </a:lnTo>
                    <a:lnTo>
                      <a:pt x="57398" y="212574"/>
                    </a:lnTo>
                    <a:lnTo>
                      <a:pt x="58279" y="211075"/>
                    </a:lnTo>
                    <a:lnTo>
                      <a:pt x="58632" y="209929"/>
                    </a:lnTo>
                    <a:lnTo>
                      <a:pt x="58015" y="210282"/>
                    </a:lnTo>
                    <a:lnTo>
                      <a:pt x="57486" y="211163"/>
                    </a:lnTo>
                    <a:lnTo>
                      <a:pt x="56340" y="212045"/>
                    </a:lnTo>
                    <a:lnTo>
                      <a:pt x="56075" y="211428"/>
                    </a:lnTo>
                    <a:lnTo>
                      <a:pt x="56957" y="211163"/>
                    </a:lnTo>
                    <a:lnTo>
                      <a:pt x="56075" y="210017"/>
                    </a:lnTo>
                    <a:lnTo>
                      <a:pt x="56075" y="208871"/>
                    </a:lnTo>
                    <a:lnTo>
                      <a:pt x="54665" y="207989"/>
                    </a:lnTo>
                    <a:lnTo>
                      <a:pt x="53518" y="208871"/>
                    </a:lnTo>
                    <a:lnTo>
                      <a:pt x="54400" y="209400"/>
                    </a:lnTo>
                    <a:lnTo>
                      <a:pt x="53518" y="210017"/>
                    </a:lnTo>
                    <a:lnTo>
                      <a:pt x="52637" y="210017"/>
                    </a:lnTo>
                    <a:lnTo>
                      <a:pt x="53518" y="207725"/>
                    </a:lnTo>
                    <a:lnTo>
                      <a:pt x="53783" y="207196"/>
                    </a:lnTo>
                    <a:lnTo>
                      <a:pt x="53166" y="206931"/>
                    </a:lnTo>
                    <a:lnTo>
                      <a:pt x="52284" y="207196"/>
                    </a:lnTo>
                    <a:lnTo>
                      <a:pt x="51402" y="208077"/>
                    </a:lnTo>
                    <a:lnTo>
                      <a:pt x="50256" y="208342"/>
                    </a:lnTo>
                    <a:lnTo>
                      <a:pt x="50873" y="208695"/>
                    </a:lnTo>
                    <a:lnTo>
                      <a:pt x="50873" y="209576"/>
                    </a:lnTo>
                    <a:lnTo>
                      <a:pt x="49992" y="210193"/>
                    </a:lnTo>
                    <a:lnTo>
                      <a:pt x="48845" y="209929"/>
                    </a:lnTo>
                    <a:lnTo>
                      <a:pt x="48581" y="209400"/>
                    </a:lnTo>
                    <a:lnTo>
                      <a:pt x="48845" y="208254"/>
                    </a:lnTo>
                    <a:lnTo>
                      <a:pt x="48845" y="207725"/>
                    </a:lnTo>
                    <a:lnTo>
                      <a:pt x="48581" y="207460"/>
                    </a:lnTo>
                    <a:lnTo>
                      <a:pt x="47964" y="207989"/>
                    </a:lnTo>
                    <a:lnTo>
                      <a:pt x="47699" y="207989"/>
                    </a:lnTo>
                    <a:lnTo>
                      <a:pt x="47435" y="208606"/>
                    </a:lnTo>
                    <a:lnTo>
                      <a:pt x="46553" y="207989"/>
                    </a:lnTo>
                    <a:lnTo>
                      <a:pt x="46553" y="207460"/>
                    </a:lnTo>
                    <a:lnTo>
                      <a:pt x="46817" y="207196"/>
                    </a:lnTo>
                    <a:lnTo>
                      <a:pt x="47082" y="206667"/>
                    </a:lnTo>
                    <a:lnTo>
                      <a:pt x="45583" y="206049"/>
                    </a:lnTo>
                    <a:lnTo>
                      <a:pt x="45583" y="205785"/>
                    </a:lnTo>
                    <a:lnTo>
                      <a:pt x="46200" y="205785"/>
                    </a:lnTo>
                    <a:lnTo>
                      <a:pt x="46465" y="205168"/>
                    </a:lnTo>
                    <a:lnTo>
                      <a:pt x="46465" y="204551"/>
                    </a:lnTo>
                    <a:lnTo>
                      <a:pt x="47082" y="204551"/>
                    </a:lnTo>
                    <a:lnTo>
                      <a:pt x="46817" y="203669"/>
                    </a:lnTo>
                    <a:lnTo>
                      <a:pt x="45936" y="203669"/>
                    </a:lnTo>
                    <a:lnTo>
                      <a:pt x="45319" y="203404"/>
                    </a:lnTo>
                    <a:lnTo>
                      <a:pt x="45054" y="203140"/>
                    </a:lnTo>
                    <a:lnTo>
                      <a:pt x="44790" y="202875"/>
                    </a:lnTo>
                    <a:lnTo>
                      <a:pt x="44172" y="202611"/>
                    </a:lnTo>
                    <a:lnTo>
                      <a:pt x="43908" y="201994"/>
                    </a:lnTo>
                    <a:lnTo>
                      <a:pt x="44437" y="201377"/>
                    </a:lnTo>
                    <a:lnTo>
                      <a:pt x="45054" y="201377"/>
                    </a:lnTo>
                    <a:lnTo>
                      <a:pt x="45319" y="202258"/>
                    </a:lnTo>
                    <a:lnTo>
                      <a:pt x="45583" y="201377"/>
                    </a:lnTo>
                    <a:lnTo>
                      <a:pt x="44966" y="201112"/>
                    </a:lnTo>
                    <a:lnTo>
                      <a:pt x="44701" y="200495"/>
                    </a:lnTo>
                    <a:lnTo>
                      <a:pt x="45319" y="200230"/>
                    </a:lnTo>
                    <a:lnTo>
                      <a:pt x="45319" y="200495"/>
                    </a:lnTo>
                    <a:lnTo>
                      <a:pt x="44701" y="199084"/>
                    </a:lnTo>
                    <a:lnTo>
                      <a:pt x="44437" y="198467"/>
                    </a:lnTo>
                    <a:lnTo>
                      <a:pt x="45054" y="197850"/>
                    </a:lnTo>
                    <a:lnTo>
                      <a:pt x="44790" y="197233"/>
                    </a:lnTo>
                    <a:lnTo>
                      <a:pt x="44525" y="197233"/>
                    </a:lnTo>
                    <a:lnTo>
                      <a:pt x="44790" y="196615"/>
                    </a:lnTo>
                    <a:lnTo>
                      <a:pt x="45936" y="197233"/>
                    </a:lnTo>
                    <a:lnTo>
                      <a:pt x="45936" y="196615"/>
                    </a:lnTo>
                    <a:lnTo>
                      <a:pt x="44790" y="195469"/>
                    </a:lnTo>
                    <a:lnTo>
                      <a:pt x="45054" y="195205"/>
                    </a:lnTo>
                    <a:lnTo>
                      <a:pt x="45671" y="195469"/>
                    </a:lnTo>
                    <a:lnTo>
                      <a:pt x="46553" y="195205"/>
                    </a:lnTo>
                    <a:lnTo>
                      <a:pt x="45936" y="194940"/>
                    </a:lnTo>
                    <a:lnTo>
                      <a:pt x="45936" y="193794"/>
                    </a:lnTo>
                    <a:lnTo>
                      <a:pt x="45319" y="193794"/>
                    </a:lnTo>
                    <a:lnTo>
                      <a:pt x="45583" y="192912"/>
                    </a:lnTo>
                    <a:lnTo>
                      <a:pt x="45319" y="192648"/>
                    </a:lnTo>
                    <a:lnTo>
                      <a:pt x="45319" y="191502"/>
                    </a:lnTo>
                    <a:lnTo>
                      <a:pt x="45319" y="189827"/>
                    </a:lnTo>
                    <a:lnTo>
                      <a:pt x="44701" y="189298"/>
                    </a:lnTo>
                    <a:lnTo>
                      <a:pt x="44966" y="188680"/>
                    </a:lnTo>
                    <a:lnTo>
                      <a:pt x="44966" y="188063"/>
                    </a:lnTo>
                    <a:lnTo>
                      <a:pt x="44084" y="187446"/>
                    </a:lnTo>
                    <a:lnTo>
                      <a:pt x="44701" y="187446"/>
                    </a:lnTo>
                    <a:lnTo>
                      <a:pt x="45583" y="186564"/>
                    </a:lnTo>
                    <a:lnTo>
                      <a:pt x="44701" y="186300"/>
                    </a:lnTo>
                    <a:lnTo>
                      <a:pt x="44084" y="185683"/>
                    </a:lnTo>
                    <a:lnTo>
                      <a:pt x="44349" y="185065"/>
                    </a:lnTo>
                    <a:lnTo>
                      <a:pt x="45848" y="185330"/>
                    </a:lnTo>
                    <a:lnTo>
                      <a:pt x="46994" y="185683"/>
                    </a:lnTo>
                    <a:lnTo>
                      <a:pt x="48140" y="185330"/>
                    </a:lnTo>
                    <a:lnTo>
                      <a:pt x="47523" y="185065"/>
                    </a:lnTo>
                    <a:lnTo>
                      <a:pt x="46377" y="184448"/>
                    </a:lnTo>
                    <a:lnTo>
                      <a:pt x="44966" y="183831"/>
                    </a:lnTo>
                    <a:lnTo>
                      <a:pt x="44084" y="183214"/>
                    </a:lnTo>
                    <a:lnTo>
                      <a:pt x="43555" y="182949"/>
                    </a:lnTo>
                    <a:lnTo>
                      <a:pt x="44084" y="182068"/>
                    </a:lnTo>
                    <a:lnTo>
                      <a:pt x="43820" y="181451"/>
                    </a:lnTo>
                    <a:lnTo>
                      <a:pt x="44701" y="181451"/>
                    </a:lnTo>
                    <a:lnTo>
                      <a:pt x="43555" y="180833"/>
                    </a:lnTo>
                    <a:lnTo>
                      <a:pt x="43291" y="179687"/>
                    </a:lnTo>
                    <a:lnTo>
                      <a:pt x="41792" y="177395"/>
                    </a:lnTo>
                    <a:lnTo>
                      <a:pt x="42056" y="177395"/>
                    </a:lnTo>
                    <a:lnTo>
                      <a:pt x="41792" y="177130"/>
                    </a:lnTo>
                    <a:lnTo>
                      <a:pt x="40910" y="176249"/>
                    </a:lnTo>
                    <a:lnTo>
                      <a:pt x="40029" y="177130"/>
                    </a:lnTo>
                    <a:lnTo>
                      <a:pt x="40029" y="176866"/>
                    </a:lnTo>
                    <a:lnTo>
                      <a:pt x="40029" y="176249"/>
                    </a:lnTo>
                    <a:lnTo>
                      <a:pt x="39764" y="175984"/>
                    </a:lnTo>
                    <a:lnTo>
                      <a:pt x="38882" y="175102"/>
                    </a:lnTo>
                    <a:lnTo>
                      <a:pt x="39411" y="173604"/>
                    </a:lnTo>
                    <a:lnTo>
                      <a:pt x="39147" y="171840"/>
                    </a:lnTo>
                    <a:lnTo>
                      <a:pt x="40910" y="171223"/>
                    </a:lnTo>
                    <a:lnTo>
                      <a:pt x="40646" y="170694"/>
                    </a:lnTo>
                    <a:lnTo>
                      <a:pt x="40029" y="169548"/>
                    </a:lnTo>
                    <a:lnTo>
                      <a:pt x="39764" y="169019"/>
                    </a:lnTo>
                    <a:lnTo>
                      <a:pt x="38882" y="169548"/>
                    </a:lnTo>
                    <a:lnTo>
                      <a:pt x="38882" y="168402"/>
                    </a:lnTo>
                    <a:lnTo>
                      <a:pt x="38530" y="167784"/>
                    </a:lnTo>
                    <a:lnTo>
                      <a:pt x="36766" y="167167"/>
                    </a:lnTo>
                    <a:lnTo>
                      <a:pt x="36766" y="166021"/>
                    </a:lnTo>
                    <a:lnTo>
                      <a:pt x="36502" y="166903"/>
                    </a:lnTo>
                    <a:lnTo>
                      <a:pt x="35620" y="166638"/>
                    </a:lnTo>
                    <a:lnTo>
                      <a:pt x="35356" y="166021"/>
                    </a:lnTo>
                    <a:lnTo>
                      <a:pt x="35091" y="165404"/>
                    </a:lnTo>
                    <a:lnTo>
                      <a:pt x="34474" y="166021"/>
                    </a:lnTo>
                    <a:lnTo>
                      <a:pt x="34209" y="164875"/>
                    </a:lnTo>
                    <a:lnTo>
                      <a:pt x="34474" y="163993"/>
                    </a:lnTo>
                    <a:lnTo>
                      <a:pt x="33857" y="163729"/>
                    </a:lnTo>
                    <a:lnTo>
                      <a:pt x="33240" y="163112"/>
                    </a:lnTo>
                    <a:lnTo>
                      <a:pt x="33857" y="162847"/>
                    </a:lnTo>
                    <a:lnTo>
                      <a:pt x="34121" y="162230"/>
                    </a:lnTo>
                    <a:lnTo>
                      <a:pt x="35267" y="162230"/>
                    </a:lnTo>
                    <a:lnTo>
                      <a:pt x="35267" y="161613"/>
                    </a:lnTo>
                    <a:lnTo>
                      <a:pt x="34386" y="161613"/>
                    </a:lnTo>
                    <a:lnTo>
                      <a:pt x="33769" y="160995"/>
                    </a:lnTo>
                    <a:lnTo>
                      <a:pt x="33504" y="161613"/>
                    </a:lnTo>
                    <a:lnTo>
                      <a:pt x="32887" y="161613"/>
                    </a:lnTo>
                    <a:lnTo>
                      <a:pt x="31741" y="161613"/>
                    </a:lnTo>
                    <a:lnTo>
                      <a:pt x="31123" y="160731"/>
                    </a:lnTo>
                    <a:lnTo>
                      <a:pt x="31741" y="160466"/>
                    </a:lnTo>
                    <a:lnTo>
                      <a:pt x="33151" y="159585"/>
                    </a:lnTo>
                    <a:lnTo>
                      <a:pt x="34033" y="159320"/>
                    </a:lnTo>
                    <a:lnTo>
                      <a:pt x="32887" y="158439"/>
                    </a:lnTo>
                    <a:lnTo>
                      <a:pt x="32887" y="158174"/>
                    </a:lnTo>
                    <a:lnTo>
                      <a:pt x="33504" y="157910"/>
                    </a:lnTo>
                    <a:lnTo>
                      <a:pt x="34121" y="158174"/>
                    </a:lnTo>
                    <a:lnTo>
                      <a:pt x="35003" y="157557"/>
                    </a:lnTo>
                    <a:lnTo>
                      <a:pt x="35003" y="156411"/>
                    </a:lnTo>
                    <a:lnTo>
                      <a:pt x="36502" y="156411"/>
                    </a:lnTo>
                    <a:lnTo>
                      <a:pt x="37648" y="156411"/>
                    </a:lnTo>
                    <a:lnTo>
                      <a:pt x="38265" y="155265"/>
                    </a:lnTo>
                    <a:lnTo>
                      <a:pt x="38882" y="154118"/>
                    </a:lnTo>
                    <a:lnTo>
                      <a:pt x="37736" y="152619"/>
                    </a:lnTo>
                    <a:lnTo>
                      <a:pt x="37736" y="152355"/>
                    </a:lnTo>
                    <a:lnTo>
                      <a:pt x="38001" y="152090"/>
                    </a:lnTo>
                    <a:lnTo>
                      <a:pt x="38618" y="152090"/>
                    </a:lnTo>
                    <a:lnTo>
                      <a:pt x="40646" y="152355"/>
                    </a:lnTo>
                    <a:lnTo>
                      <a:pt x="40910" y="152090"/>
                    </a:lnTo>
                    <a:lnTo>
                      <a:pt x="40910" y="151473"/>
                    </a:lnTo>
                    <a:lnTo>
                      <a:pt x="38882" y="151473"/>
                    </a:lnTo>
                    <a:lnTo>
                      <a:pt x="38882" y="150327"/>
                    </a:lnTo>
                    <a:lnTo>
                      <a:pt x="38265" y="149445"/>
                    </a:lnTo>
                    <a:lnTo>
                      <a:pt x="38530" y="149181"/>
                    </a:lnTo>
                    <a:lnTo>
                      <a:pt x="38265" y="148299"/>
                    </a:lnTo>
                    <a:lnTo>
                      <a:pt x="38882" y="148035"/>
                    </a:lnTo>
                    <a:lnTo>
                      <a:pt x="40029" y="148564"/>
                    </a:lnTo>
                    <a:lnTo>
                      <a:pt x="41175" y="148564"/>
                    </a:lnTo>
                    <a:lnTo>
                      <a:pt x="40910" y="148299"/>
                    </a:lnTo>
                    <a:lnTo>
                      <a:pt x="42673" y="148564"/>
                    </a:lnTo>
                    <a:lnTo>
                      <a:pt x="42056" y="148299"/>
                    </a:lnTo>
                    <a:lnTo>
                      <a:pt x="42321" y="147418"/>
                    </a:lnTo>
                    <a:lnTo>
                      <a:pt x="43203" y="147682"/>
                    </a:lnTo>
                    <a:lnTo>
                      <a:pt x="43467" y="148299"/>
                    </a:lnTo>
                    <a:lnTo>
                      <a:pt x="44966" y="147418"/>
                    </a:lnTo>
                    <a:lnTo>
                      <a:pt x="44966" y="149181"/>
                    </a:lnTo>
                    <a:lnTo>
                      <a:pt x="45848" y="149798"/>
                    </a:lnTo>
                    <a:lnTo>
                      <a:pt x="46112" y="149181"/>
                    </a:lnTo>
                    <a:lnTo>
                      <a:pt x="46729" y="149181"/>
                    </a:lnTo>
                    <a:lnTo>
                      <a:pt x="46994" y="148564"/>
                    </a:lnTo>
                    <a:lnTo>
                      <a:pt x="46994" y="148299"/>
                    </a:lnTo>
                    <a:lnTo>
                      <a:pt x="47523" y="148564"/>
                    </a:lnTo>
                    <a:lnTo>
                      <a:pt x="48405" y="148299"/>
                    </a:lnTo>
                    <a:lnTo>
                      <a:pt x="49022" y="148564"/>
                    </a:lnTo>
                    <a:lnTo>
                      <a:pt x="49639" y="148299"/>
                    </a:lnTo>
                    <a:lnTo>
                      <a:pt x="49374" y="147682"/>
                    </a:lnTo>
                    <a:lnTo>
                      <a:pt x="49374" y="147418"/>
                    </a:lnTo>
                    <a:lnTo>
                      <a:pt x="50256" y="147682"/>
                    </a:lnTo>
                    <a:lnTo>
                      <a:pt x="51402" y="146800"/>
                    </a:lnTo>
                    <a:lnTo>
                      <a:pt x="51138" y="146536"/>
                    </a:lnTo>
                    <a:lnTo>
                      <a:pt x="52020" y="146536"/>
                    </a:lnTo>
                    <a:lnTo>
                      <a:pt x="52637" y="146271"/>
                    </a:lnTo>
                    <a:lnTo>
                      <a:pt x="52637" y="146007"/>
                    </a:lnTo>
                    <a:lnTo>
                      <a:pt x="53254" y="145742"/>
                    </a:lnTo>
                    <a:lnTo>
                      <a:pt x="52108" y="145478"/>
                    </a:lnTo>
                    <a:lnTo>
                      <a:pt x="48934" y="143450"/>
                    </a:lnTo>
                    <a:lnTo>
                      <a:pt x="48669" y="143450"/>
                    </a:lnTo>
                    <a:lnTo>
                      <a:pt x="48934" y="143185"/>
                    </a:lnTo>
                    <a:lnTo>
                      <a:pt x="50080" y="143450"/>
                    </a:lnTo>
                    <a:lnTo>
                      <a:pt x="51843" y="143450"/>
                    </a:lnTo>
                    <a:lnTo>
                      <a:pt x="51579" y="142833"/>
                    </a:lnTo>
                    <a:lnTo>
                      <a:pt x="50697" y="142568"/>
                    </a:lnTo>
                    <a:lnTo>
                      <a:pt x="50432" y="141422"/>
                    </a:lnTo>
                    <a:lnTo>
                      <a:pt x="51050" y="140893"/>
                    </a:lnTo>
                    <a:lnTo>
                      <a:pt x="51667" y="141422"/>
                    </a:lnTo>
                    <a:lnTo>
                      <a:pt x="51667" y="142039"/>
                    </a:lnTo>
                    <a:lnTo>
                      <a:pt x="52813" y="142568"/>
                    </a:lnTo>
                    <a:lnTo>
                      <a:pt x="53430" y="142039"/>
                    </a:lnTo>
                    <a:lnTo>
                      <a:pt x="53430" y="140893"/>
                    </a:lnTo>
                    <a:lnTo>
                      <a:pt x="54576" y="140276"/>
                    </a:lnTo>
                    <a:lnTo>
                      <a:pt x="54576" y="139659"/>
                    </a:lnTo>
                    <a:lnTo>
                      <a:pt x="54929" y="139394"/>
                    </a:lnTo>
                    <a:lnTo>
                      <a:pt x="55811" y="139659"/>
                    </a:lnTo>
                    <a:lnTo>
                      <a:pt x="56075" y="139659"/>
                    </a:lnTo>
                    <a:lnTo>
                      <a:pt x="55458" y="138513"/>
                    </a:lnTo>
                    <a:lnTo>
                      <a:pt x="56075" y="138248"/>
                    </a:lnTo>
                    <a:lnTo>
                      <a:pt x="56340" y="138513"/>
                    </a:lnTo>
                    <a:lnTo>
                      <a:pt x="57838" y="139659"/>
                    </a:lnTo>
                    <a:lnTo>
                      <a:pt x="58368" y="139659"/>
                    </a:lnTo>
                    <a:lnTo>
                      <a:pt x="58985" y="140011"/>
                    </a:lnTo>
                    <a:lnTo>
                      <a:pt x="59249" y="139659"/>
                    </a:lnTo>
                    <a:lnTo>
                      <a:pt x="59514" y="139394"/>
                    </a:lnTo>
                    <a:lnTo>
                      <a:pt x="58897" y="138513"/>
                    </a:lnTo>
                    <a:lnTo>
                      <a:pt x="59514" y="138777"/>
                    </a:lnTo>
                    <a:lnTo>
                      <a:pt x="60131" y="138513"/>
                    </a:lnTo>
                    <a:lnTo>
                      <a:pt x="58985" y="137895"/>
                    </a:lnTo>
                    <a:lnTo>
                      <a:pt x="58632" y="137631"/>
                    </a:lnTo>
                    <a:lnTo>
                      <a:pt x="58985" y="137631"/>
                    </a:lnTo>
                    <a:lnTo>
                      <a:pt x="58985" y="137366"/>
                    </a:lnTo>
                    <a:lnTo>
                      <a:pt x="59249" y="137102"/>
                    </a:lnTo>
                    <a:lnTo>
                      <a:pt x="59866" y="137719"/>
                    </a:lnTo>
                    <a:lnTo>
                      <a:pt x="59602" y="136573"/>
                    </a:lnTo>
                    <a:lnTo>
                      <a:pt x="59337" y="135956"/>
                    </a:lnTo>
                    <a:lnTo>
                      <a:pt x="59602" y="135338"/>
                    </a:lnTo>
                    <a:lnTo>
                      <a:pt x="59866" y="135074"/>
                    </a:lnTo>
                    <a:lnTo>
                      <a:pt x="60748" y="135338"/>
                    </a:lnTo>
                    <a:lnTo>
                      <a:pt x="61365" y="135956"/>
                    </a:lnTo>
                    <a:lnTo>
                      <a:pt x="61101" y="135338"/>
                    </a:lnTo>
                    <a:lnTo>
                      <a:pt x="61982" y="134721"/>
                    </a:lnTo>
                    <a:lnTo>
                      <a:pt x="63481" y="134721"/>
                    </a:lnTo>
                    <a:lnTo>
                      <a:pt x="64980" y="133575"/>
                    </a:lnTo>
                    <a:lnTo>
                      <a:pt x="64716" y="132693"/>
                    </a:lnTo>
                    <a:lnTo>
                      <a:pt x="66215" y="132429"/>
                    </a:lnTo>
                    <a:lnTo>
                      <a:pt x="67361" y="133046"/>
                    </a:lnTo>
                    <a:lnTo>
                      <a:pt x="68243" y="133046"/>
                    </a:lnTo>
                    <a:lnTo>
                      <a:pt x="69124" y="132782"/>
                    </a:lnTo>
                    <a:lnTo>
                      <a:pt x="68507" y="132517"/>
                    </a:lnTo>
                    <a:lnTo>
                      <a:pt x="68243" y="132517"/>
                    </a:lnTo>
                    <a:lnTo>
                      <a:pt x="68243" y="131900"/>
                    </a:lnTo>
                    <a:lnTo>
                      <a:pt x="67978" y="130137"/>
                    </a:lnTo>
                    <a:lnTo>
                      <a:pt x="68243" y="129872"/>
                    </a:lnTo>
                    <a:lnTo>
                      <a:pt x="70006" y="130754"/>
                    </a:lnTo>
                    <a:lnTo>
                      <a:pt x="71505" y="130754"/>
                    </a:lnTo>
                    <a:lnTo>
                      <a:pt x="71240" y="130137"/>
                    </a:lnTo>
                    <a:lnTo>
                      <a:pt x="70623" y="128990"/>
                    </a:lnTo>
                    <a:lnTo>
                      <a:pt x="70887" y="128990"/>
                    </a:lnTo>
                    <a:lnTo>
                      <a:pt x="72034" y="127844"/>
                    </a:lnTo>
                    <a:lnTo>
                      <a:pt x="72034" y="127315"/>
                    </a:lnTo>
                    <a:lnTo>
                      <a:pt x="72651" y="127051"/>
                    </a:lnTo>
                    <a:lnTo>
                      <a:pt x="72915" y="126169"/>
                    </a:lnTo>
                    <a:lnTo>
                      <a:pt x="73797" y="125904"/>
                    </a:lnTo>
                    <a:lnTo>
                      <a:pt x="74679" y="125023"/>
                    </a:lnTo>
                    <a:lnTo>
                      <a:pt x="75560" y="125552"/>
                    </a:lnTo>
                    <a:lnTo>
                      <a:pt x="75560" y="125023"/>
                    </a:lnTo>
                    <a:lnTo>
                      <a:pt x="74679" y="124758"/>
                    </a:lnTo>
                    <a:lnTo>
                      <a:pt x="76178" y="123612"/>
                    </a:lnTo>
                    <a:lnTo>
                      <a:pt x="77324" y="122466"/>
                    </a:lnTo>
                    <a:lnTo>
                      <a:pt x="77941" y="122466"/>
                    </a:lnTo>
                    <a:lnTo>
                      <a:pt x="77676" y="121849"/>
                    </a:lnTo>
                    <a:lnTo>
                      <a:pt x="78294" y="121584"/>
                    </a:lnTo>
                    <a:lnTo>
                      <a:pt x="78911" y="121849"/>
                    </a:lnTo>
                    <a:lnTo>
                      <a:pt x="80057" y="122113"/>
                    </a:lnTo>
                    <a:lnTo>
                      <a:pt x="80674" y="121232"/>
                    </a:lnTo>
                    <a:lnTo>
                      <a:pt x="81291" y="121232"/>
                    </a:lnTo>
                    <a:lnTo>
                      <a:pt x="81027" y="120614"/>
                    </a:lnTo>
                    <a:lnTo>
                      <a:pt x="81027" y="119997"/>
                    </a:lnTo>
                    <a:lnTo>
                      <a:pt x="81644" y="119733"/>
                    </a:lnTo>
                    <a:lnTo>
                      <a:pt x="82261" y="119997"/>
                    </a:lnTo>
                    <a:lnTo>
                      <a:pt x="81997" y="117088"/>
                    </a:lnTo>
                    <a:lnTo>
                      <a:pt x="81380" y="116206"/>
                    </a:lnTo>
                    <a:lnTo>
                      <a:pt x="81380" y="115589"/>
                    </a:lnTo>
                    <a:lnTo>
                      <a:pt x="81997" y="114972"/>
                    </a:lnTo>
                    <a:lnTo>
                      <a:pt x="83143" y="115589"/>
                    </a:lnTo>
                    <a:lnTo>
                      <a:pt x="84024" y="114972"/>
                    </a:lnTo>
                    <a:lnTo>
                      <a:pt x="84024" y="114090"/>
                    </a:lnTo>
                    <a:lnTo>
                      <a:pt x="83760" y="113825"/>
                    </a:lnTo>
                    <a:lnTo>
                      <a:pt x="84642" y="113825"/>
                    </a:lnTo>
                    <a:lnTo>
                      <a:pt x="83760" y="113208"/>
                    </a:lnTo>
                    <a:lnTo>
                      <a:pt x="84024" y="113208"/>
                    </a:lnTo>
                    <a:lnTo>
                      <a:pt x="84642" y="113208"/>
                    </a:lnTo>
                    <a:lnTo>
                      <a:pt x="85523" y="113208"/>
                    </a:lnTo>
                    <a:lnTo>
                      <a:pt x="86405" y="113825"/>
                    </a:lnTo>
                    <a:lnTo>
                      <a:pt x="86405" y="113208"/>
                    </a:lnTo>
                    <a:lnTo>
                      <a:pt x="86141" y="112679"/>
                    </a:lnTo>
                    <a:lnTo>
                      <a:pt x="86758" y="112415"/>
                    </a:lnTo>
                    <a:lnTo>
                      <a:pt x="87022" y="112679"/>
                    </a:lnTo>
                    <a:lnTo>
                      <a:pt x="87022" y="112415"/>
                    </a:lnTo>
                    <a:lnTo>
                      <a:pt x="87904" y="112150"/>
                    </a:lnTo>
                    <a:lnTo>
                      <a:pt x="89667" y="112415"/>
                    </a:lnTo>
                    <a:lnTo>
                      <a:pt x="91078" y="112415"/>
                    </a:lnTo>
                    <a:lnTo>
                      <a:pt x="93106" y="111268"/>
                    </a:lnTo>
                    <a:lnTo>
                      <a:pt x="93723" y="111268"/>
                    </a:lnTo>
                    <a:lnTo>
                      <a:pt x="93723" y="111533"/>
                    </a:lnTo>
                    <a:lnTo>
                      <a:pt x="94252" y="111798"/>
                    </a:lnTo>
                    <a:lnTo>
                      <a:pt x="94517" y="111533"/>
                    </a:lnTo>
                    <a:lnTo>
                      <a:pt x="94781" y="112150"/>
                    </a:lnTo>
                    <a:lnTo>
                      <a:pt x="94781" y="112767"/>
                    </a:lnTo>
                    <a:lnTo>
                      <a:pt x="95398" y="113296"/>
                    </a:lnTo>
                    <a:lnTo>
                      <a:pt x="96015" y="112767"/>
                    </a:lnTo>
                    <a:lnTo>
                      <a:pt x="96280" y="112150"/>
                    </a:lnTo>
                    <a:lnTo>
                      <a:pt x="98043" y="112767"/>
                    </a:lnTo>
                    <a:lnTo>
                      <a:pt x="98308" y="112150"/>
                    </a:lnTo>
                    <a:lnTo>
                      <a:pt x="98043" y="111533"/>
                    </a:lnTo>
                    <a:lnTo>
                      <a:pt x="97779" y="111268"/>
                    </a:lnTo>
                    <a:lnTo>
                      <a:pt x="96897" y="111004"/>
                    </a:lnTo>
                    <a:lnTo>
                      <a:pt x="95751" y="111268"/>
                    </a:lnTo>
                    <a:lnTo>
                      <a:pt x="94252" y="110122"/>
                    </a:lnTo>
                    <a:lnTo>
                      <a:pt x="94252" y="109505"/>
                    </a:lnTo>
                    <a:lnTo>
                      <a:pt x="96280" y="109505"/>
                    </a:lnTo>
                    <a:lnTo>
                      <a:pt x="97426" y="110122"/>
                    </a:lnTo>
                    <a:lnTo>
                      <a:pt x="98572" y="109505"/>
                    </a:lnTo>
                    <a:lnTo>
                      <a:pt x="98308" y="108359"/>
                    </a:lnTo>
                    <a:lnTo>
                      <a:pt x="96809" y="107213"/>
                    </a:lnTo>
                    <a:lnTo>
                      <a:pt x="95398" y="106331"/>
                    </a:lnTo>
                    <a:lnTo>
                      <a:pt x="93635" y="106067"/>
                    </a:lnTo>
                    <a:lnTo>
                      <a:pt x="93370" y="105449"/>
                    </a:lnTo>
                    <a:lnTo>
                      <a:pt x="93635" y="104832"/>
                    </a:lnTo>
                    <a:lnTo>
                      <a:pt x="94517" y="104832"/>
                    </a:lnTo>
                    <a:lnTo>
                      <a:pt x="94252" y="104303"/>
                    </a:lnTo>
                    <a:lnTo>
                      <a:pt x="95398" y="104303"/>
                    </a:lnTo>
                    <a:lnTo>
                      <a:pt x="94252" y="104039"/>
                    </a:lnTo>
                    <a:lnTo>
                      <a:pt x="95134" y="103774"/>
                    </a:lnTo>
                    <a:lnTo>
                      <a:pt x="95134" y="103245"/>
                    </a:lnTo>
                    <a:lnTo>
                      <a:pt x="94517" y="103245"/>
                    </a:lnTo>
                    <a:lnTo>
                      <a:pt x="94252" y="103245"/>
                    </a:lnTo>
                    <a:lnTo>
                      <a:pt x="94517" y="102981"/>
                    </a:lnTo>
                    <a:lnTo>
                      <a:pt x="94781" y="102452"/>
                    </a:lnTo>
                    <a:lnTo>
                      <a:pt x="93370" y="102187"/>
                    </a:lnTo>
                    <a:lnTo>
                      <a:pt x="93635" y="101923"/>
                    </a:lnTo>
                    <a:lnTo>
                      <a:pt x="94164" y="101041"/>
                    </a:lnTo>
                    <a:lnTo>
                      <a:pt x="94429" y="100159"/>
                    </a:lnTo>
                    <a:lnTo>
                      <a:pt x="94164" y="98660"/>
                    </a:lnTo>
                    <a:lnTo>
                      <a:pt x="93900" y="97779"/>
                    </a:lnTo>
                    <a:lnTo>
                      <a:pt x="93018" y="97162"/>
                    </a:lnTo>
                    <a:lnTo>
                      <a:pt x="91872" y="97779"/>
                    </a:lnTo>
                    <a:lnTo>
                      <a:pt x="91254" y="97779"/>
                    </a:lnTo>
                    <a:lnTo>
                      <a:pt x="90637" y="97779"/>
                    </a:lnTo>
                    <a:lnTo>
                      <a:pt x="90020" y="96897"/>
                    </a:lnTo>
                    <a:lnTo>
                      <a:pt x="90020" y="96633"/>
                    </a:lnTo>
                    <a:lnTo>
                      <a:pt x="90020" y="95751"/>
                    </a:lnTo>
                    <a:lnTo>
                      <a:pt x="89403" y="95486"/>
                    </a:lnTo>
                    <a:lnTo>
                      <a:pt x="87992" y="95486"/>
                    </a:lnTo>
                    <a:lnTo>
                      <a:pt x="85964" y="95751"/>
                    </a:lnTo>
                    <a:lnTo>
                      <a:pt x="85964" y="95486"/>
                    </a:lnTo>
                    <a:lnTo>
                      <a:pt x="85347" y="95222"/>
                    </a:lnTo>
                    <a:lnTo>
                      <a:pt x="83848" y="95486"/>
                    </a:lnTo>
                    <a:lnTo>
                      <a:pt x="83231" y="95486"/>
                    </a:lnTo>
                    <a:lnTo>
                      <a:pt x="82878" y="95751"/>
                    </a:lnTo>
                    <a:lnTo>
                      <a:pt x="82261" y="94869"/>
                    </a:lnTo>
                    <a:lnTo>
                      <a:pt x="81732" y="94252"/>
                    </a:lnTo>
                    <a:lnTo>
                      <a:pt x="81115" y="94252"/>
                    </a:lnTo>
                    <a:lnTo>
                      <a:pt x="79969" y="93987"/>
                    </a:lnTo>
                    <a:lnTo>
                      <a:pt x="78823" y="93106"/>
                    </a:lnTo>
                    <a:lnTo>
                      <a:pt x="79175" y="92489"/>
                    </a:lnTo>
                    <a:lnTo>
                      <a:pt x="79793" y="90725"/>
                    </a:lnTo>
                    <a:lnTo>
                      <a:pt x="81291" y="89844"/>
                    </a:lnTo>
                    <a:lnTo>
                      <a:pt x="82437" y="89844"/>
                    </a:lnTo>
                    <a:lnTo>
                      <a:pt x="82173" y="89315"/>
                    </a:lnTo>
                    <a:lnTo>
                      <a:pt x="81027" y="89315"/>
                    </a:lnTo>
                    <a:lnTo>
                      <a:pt x="80410" y="89844"/>
                    </a:lnTo>
                    <a:lnTo>
                      <a:pt x="79528" y="90461"/>
                    </a:lnTo>
                    <a:lnTo>
                      <a:pt x="79264" y="91342"/>
                    </a:lnTo>
                    <a:lnTo>
                      <a:pt x="79264" y="92224"/>
                    </a:lnTo>
                    <a:lnTo>
                      <a:pt x="78646" y="92224"/>
                    </a:lnTo>
                    <a:lnTo>
                      <a:pt x="78382" y="92224"/>
                    </a:lnTo>
                    <a:lnTo>
                      <a:pt x="77236" y="92224"/>
                    </a:lnTo>
                    <a:lnTo>
                      <a:pt x="76971" y="92489"/>
                    </a:lnTo>
                    <a:lnTo>
                      <a:pt x="76707" y="91871"/>
                    </a:lnTo>
                    <a:lnTo>
                      <a:pt x="75825" y="91607"/>
                    </a:lnTo>
                    <a:lnTo>
                      <a:pt x="75560" y="91342"/>
                    </a:lnTo>
                    <a:lnTo>
                      <a:pt x="75825" y="92489"/>
                    </a:lnTo>
                    <a:lnTo>
                      <a:pt x="75208" y="93106"/>
                    </a:lnTo>
                    <a:lnTo>
                      <a:pt x="74591" y="92841"/>
                    </a:lnTo>
                    <a:lnTo>
                      <a:pt x="73973" y="92577"/>
                    </a:lnTo>
                    <a:lnTo>
                      <a:pt x="74238" y="91960"/>
                    </a:lnTo>
                    <a:lnTo>
                      <a:pt x="73973" y="91342"/>
                    </a:lnTo>
                    <a:lnTo>
                      <a:pt x="67273" y="85171"/>
                    </a:lnTo>
                    <a:lnTo>
                      <a:pt x="64628" y="84024"/>
                    </a:lnTo>
                    <a:lnTo>
                      <a:pt x="62600" y="81115"/>
                    </a:lnTo>
                    <a:lnTo>
                      <a:pt x="61718" y="77324"/>
                    </a:lnTo>
                    <a:lnTo>
                      <a:pt x="63481" y="77059"/>
                    </a:lnTo>
                    <a:lnTo>
                      <a:pt x="64363" y="76795"/>
                    </a:lnTo>
                    <a:lnTo>
                      <a:pt x="65509" y="76530"/>
                    </a:lnTo>
                    <a:lnTo>
                      <a:pt x="64363" y="71240"/>
                    </a:lnTo>
                    <a:lnTo>
                      <a:pt x="66655" y="70094"/>
                    </a:lnTo>
                    <a:lnTo>
                      <a:pt x="64363" y="68948"/>
                    </a:lnTo>
                    <a:lnTo>
                      <a:pt x="62600" y="66920"/>
                    </a:lnTo>
                    <a:lnTo>
                      <a:pt x="61101" y="66655"/>
                    </a:lnTo>
                    <a:lnTo>
                      <a:pt x="59690" y="63746"/>
                    </a:lnTo>
                    <a:lnTo>
                      <a:pt x="57309" y="63746"/>
                    </a:lnTo>
                    <a:lnTo>
                      <a:pt x="57927" y="61453"/>
                    </a:lnTo>
                    <a:lnTo>
                      <a:pt x="57662" y="60307"/>
                    </a:lnTo>
                    <a:lnTo>
                      <a:pt x="60307" y="60307"/>
                    </a:lnTo>
                    <a:lnTo>
                      <a:pt x="60043" y="59161"/>
                    </a:lnTo>
                    <a:lnTo>
                      <a:pt x="59778" y="57133"/>
                    </a:lnTo>
                    <a:lnTo>
                      <a:pt x="57133" y="57133"/>
                    </a:lnTo>
                    <a:lnTo>
                      <a:pt x="55987" y="56516"/>
                    </a:lnTo>
                    <a:lnTo>
                      <a:pt x="55105" y="57133"/>
                    </a:lnTo>
                    <a:lnTo>
                      <a:pt x="54841" y="56251"/>
                    </a:lnTo>
                    <a:lnTo>
                      <a:pt x="54576" y="54224"/>
                    </a:lnTo>
                    <a:lnTo>
                      <a:pt x="55458" y="53959"/>
                    </a:lnTo>
                    <a:lnTo>
                      <a:pt x="53695" y="50432"/>
                    </a:lnTo>
                    <a:lnTo>
                      <a:pt x="53430" y="48404"/>
                    </a:lnTo>
                    <a:lnTo>
                      <a:pt x="54047" y="47258"/>
                    </a:lnTo>
                    <a:lnTo>
                      <a:pt x="56692" y="46994"/>
                    </a:lnTo>
                    <a:lnTo>
                      <a:pt x="56428" y="46112"/>
                    </a:lnTo>
                    <a:lnTo>
                      <a:pt x="53783" y="45230"/>
                    </a:lnTo>
                    <a:lnTo>
                      <a:pt x="53783" y="44613"/>
                    </a:lnTo>
                    <a:lnTo>
                      <a:pt x="50521" y="43379"/>
                    </a:lnTo>
                    <a:lnTo>
                      <a:pt x="49374" y="41351"/>
                    </a:lnTo>
                    <a:lnTo>
                      <a:pt x="48228" y="40734"/>
                    </a:lnTo>
                    <a:lnTo>
                      <a:pt x="45583" y="41351"/>
                    </a:lnTo>
                    <a:lnTo>
                      <a:pt x="44966" y="39588"/>
                    </a:lnTo>
                    <a:lnTo>
                      <a:pt x="43467" y="38089"/>
                    </a:lnTo>
                    <a:lnTo>
                      <a:pt x="40822" y="36943"/>
                    </a:lnTo>
                    <a:lnTo>
                      <a:pt x="39676" y="35796"/>
                    </a:lnTo>
                    <a:lnTo>
                      <a:pt x="38530" y="35796"/>
                    </a:lnTo>
                    <a:lnTo>
                      <a:pt x="37119" y="35532"/>
                    </a:lnTo>
                    <a:lnTo>
                      <a:pt x="35973" y="35532"/>
                    </a:lnTo>
                    <a:lnTo>
                      <a:pt x="33680" y="34915"/>
                    </a:lnTo>
                    <a:lnTo>
                      <a:pt x="32799" y="34915"/>
                    </a:lnTo>
                    <a:lnTo>
                      <a:pt x="32799" y="34297"/>
                    </a:lnTo>
                    <a:lnTo>
                      <a:pt x="31652" y="34297"/>
                    </a:lnTo>
                    <a:lnTo>
                      <a:pt x="29625" y="34297"/>
                    </a:lnTo>
                    <a:lnTo>
                      <a:pt x="26715" y="33416"/>
                    </a:lnTo>
                    <a:lnTo>
                      <a:pt x="24335" y="32270"/>
                    </a:lnTo>
                    <a:lnTo>
                      <a:pt x="21690" y="31388"/>
                    </a:lnTo>
                    <a:lnTo>
                      <a:pt x="19309" y="30859"/>
                    </a:lnTo>
                    <a:lnTo>
                      <a:pt x="17281" y="29360"/>
                    </a:lnTo>
                    <a:lnTo>
                      <a:pt x="14371" y="28214"/>
                    </a:lnTo>
                    <a:lnTo>
                      <a:pt x="8817" y="25569"/>
                    </a:lnTo>
                    <a:lnTo>
                      <a:pt x="6789" y="25304"/>
                    </a:lnTo>
                    <a:lnTo>
                      <a:pt x="6436" y="24158"/>
                    </a:lnTo>
                    <a:lnTo>
                      <a:pt x="7935" y="24158"/>
                    </a:lnTo>
                    <a:lnTo>
                      <a:pt x="5907" y="23012"/>
                    </a:lnTo>
                    <a:lnTo>
                      <a:pt x="1499" y="21866"/>
                    </a:lnTo>
                    <a:lnTo>
                      <a:pt x="0" y="20102"/>
                    </a:lnTo>
                    <a:lnTo>
                      <a:pt x="1146" y="20720"/>
                    </a:lnTo>
                    <a:lnTo>
                      <a:pt x="2292" y="20102"/>
                    </a:lnTo>
                    <a:lnTo>
                      <a:pt x="4320" y="19485"/>
                    </a:lnTo>
                    <a:lnTo>
                      <a:pt x="8376" y="19485"/>
                    </a:lnTo>
                    <a:lnTo>
                      <a:pt x="6613" y="16576"/>
                    </a:lnTo>
                    <a:lnTo>
                      <a:pt x="10140" y="14812"/>
                    </a:lnTo>
                    <a:lnTo>
                      <a:pt x="17722" y="15429"/>
                    </a:lnTo>
                    <a:lnTo>
                      <a:pt x="26715" y="23012"/>
                    </a:lnTo>
                    <a:lnTo>
                      <a:pt x="29889" y="25304"/>
                    </a:lnTo>
                    <a:lnTo>
                      <a:pt x="30771" y="27949"/>
                    </a:lnTo>
                    <a:lnTo>
                      <a:pt x="37736" y="28478"/>
                    </a:lnTo>
                    <a:lnTo>
                      <a:pt x="41528" y="28214"/>
                    </a:lnTo>
                    <a:lnTo>
                      <a:pt x="43820" y="29625"/>
                    </a:lnTo>
                    <a:lnTo>
                      <a:pt x="49110" y="27597"/>
                    </a:lnTo>
                    <a:lnTo>
                      <a:pt x="52901" y="27597"/>
                    </a:lnTo>
                    <a:lnTo>
                      <a:pt x="53166" y="26186"/>
                    </a:lnTo>
                    <a:lnTo>
                      <a:pt x="55811" y="25040"/>
                    </a:lnTo>
                    <a:lnTo>
                      <a:pt x="61365" y="28567"/>
                    </a:lnTo>
                    <a:lnTo>
                      <a:pt x="68683" y="28831"/>
                    </a:lnTo>
                    <a:lnTo>
                      <a:pt x="71064" y="30242"/>
                    </a:lnTo>
                    <a:lnTo>
                      <a:pt x="74238" y="29977"/>
                    </a:lnTo>
                    <a:lnTo>
                      <a:pt x="75384" y="25304"/>
                    </a:lnTo>
                    <a:lnTo>
                      <a:pt x="78558" y="24158"/>
                    </a:lnTo>
                    <a:lnTo>
                      <a:pt x="79704" y="24423"/>
                    </a:lnTo>
                    <a:lnTo>
                      <a:pt x="81468" y="23805"/>
                    </a:lnTo>
                    <a:lnTo>
                      <a:pt x="82966" y="24070"/>
                    </a:lnTo>
                    <a:lnTo>
                      <a:pt x="83848" y="20014"/>
                    </a:lnTo>
                    <a:lnTo>
                      <a:pt x="81820" y="16487"/>
                    </a:lnTo>
                    <a:lnTo>
                      <a:pt x="81820" y="14195"/>
                    </a:lnTo>
                    <a:lnTo>
                      <a:pt x="83584" y="13049"/>
                    </a:lnTo>
                    <a:lnTo>
                      <a:pt x="83848" y="9875"/>
                    </a:lnTo>
                    <a:lnTo>
                      <a:pt x="84377" y="8376"/>
                    </a:lnTo>
                    <a:lnTo>
                      <a:pt x="84113" y="6613"/>
                    </a:lnTo>
                    <a:lnTo>
                      <a:pt x="86405" y="5466"/>
                    </a:lnTo>
                    <a:lnTo>
                      <a:pt x="91343" y="4320"/>
                    </a:lnTo>
                    <a:lnTo>
                      <a:pt x="94869" y="3439"/>
                    </a:lnTo>
                    <a:lnTo>
                      <a:pt x="99542" y="3439"/>
                    </a:lnTo>
                    <a:lnTo>
                      <a:pt x="104480" y="2292"/>
                    </a:lnTo>
                    <a:lnTo>
                      <a:pt x="110034" y="0"/>
                    </a:lnTo>
                    <a:lnTo>
                      <a:pt x="115589" y="2292"/>
                    </a:lnTo>
                    <a:lnTo>
                      <a:pt x="125199" y="6084"/>
                    </a:lnTo>
                    <a:lnTo>
                      <a:pt x="134281" y="6348"/>
                    </a:lnTo>
                    <a:lnTo>
                      <a:pt x="138072" y="11286"/>
                    </a:lnTo>
                    <a:lnTo>
                      <a:pt x="135691" y="15694"/>
                    </a:lnTo>
                    <a:lnTo>
                      <a:pt x="132782" y="17722"/>
                    </a:lnTo>
                    <a:lnTo>
                      <a:pt x="132782" y="20631"/>
                    </a:lnTo>
                    <a:lnTo>
                      <a:pt x="136044" y="21778"/>
                    </a:lnTo>
                    <a:lnTo>
                      <a:pt x="128461" y="24687"/>
                    </a:lnTo>
                    <a:lnTo>
                      <a:pt x="128461" y="25833"/>
                    </a:lnTo>
                    <a:lnTo>
                      <a:pt x="133134" y="25216"/>
                    </a:lnTo>
                    <a:lnTo>
                      <a:pt x="134633" y="26098"/>
                    </a:lnTo>
                    <a:lnTo>
                      <a:pt x="134898" y="28743"/>
                    </a:lnTo>
                    <a:lnTo>
                      <a:pt x="131018" y="32887"/>
                    </a:lnTo>
                    <a:close/>
                    <a:moveTo>
                      <a:pt x="86052" y="109593"/>
                    </a:moveTo>
                    <a:lnTo>
                      <a:pt x="86052" y="109593"/>
                    </a:lnTo>
                    <a:lnTo>
                      <a:pt x="85788" y="109593"/>
                    </a:lnTo>
                    <a:lnTo>
                      <a:pt x="83760" y="109329"/>
                    </a:lnTo>
                    <a:lnTo>
                      <a:pt x="83143" y="108712"/>
                    </a:lnTo>
                    <a:lnTo>
                      <a:pt x="82526" y="107830"/>
                    </a:lnTo>
                    <a:lnTo>
                      <a:pt x="82790" y="107477"/>
                    </a:lnTo>
                    <a:lnTo>
                      <a:pt x="83672" y="107213"/>
                    </a:lnTo>
                    <a:lnTo>
                      <a:pt x="85171" y="106948"/>
                    </a:lnTo>
                    <a:lnTo>
                      <a:pt x="86934" y="106684"/>
                    </a:lnTo>
                    <a:lnTo>
                      <a:pt x="87199" y="106684"/>
                    </a:lnTo>
                    <a:lnTo>
                      <a:pt x="87463" y="106684"/>
                    </a:lnTo>
                    <a:lnTo>
                      <a:pt x="90990" y="107565"/>
                    </a:lnTo>
                    <a:lnTo>
                      <a:pt x="90990" y="107918"/>
                    </a:lnTo>
                    <a:lnTo>
                      <a:pt x="90725" y="107918"/>
                    </a:lnTo>
                    <a:lnTo>
                      <a:pt x="90461" y="107918"/>
                    </a:lnTo>
                    <a:lnTo>
                      <a:pt x="89844" y="107918"/>
                    </a:lnTo>
                    <a:lnTo>
                      <a:pt x="87816" y="108535"/>
                    </a:lnTo>
                    <a:lnTo>
                      <a:pt x="87551" y="109417"/>
                    </a:lnTo>
                    <a:lnTo>
                      <a:pt x="86052" y="109593"/>
                    </a:lnTo>
                    <a:close/>
                    <a:moveTo>
                      <a:pt x="60395" y="216630"/>
                    </a:moveTo>
                    <a:lnTo>
                      <a:pt x="60131" y="216630"/>
                    </a:lnTo>
                    <a:lnTo>
                      <a:pt x="59514" y="216630"/>
                    </a:lnTo>
                    <a:lnTo>
                      <a:pt x="59514" y="216365"/>
                    </a:lnTo>
                    <a:lnTo>
                      <a:pt x="59514" y="214866"/>
                    </a:lnTo>
                    <a:lnTo>
                      <a:pt x="61542" y="214866"/>
                    </a:lnTo>
                    <a:lnTo>
                      <a:pt x="61806" y="214602"/>
                    </a:lnTo>
                    <a:lnTo>
                      <a:pt x="62071" y="214866"/>
                    </a:lnTo>
                    <a:lnTo>
                      <a:pt x="62335" y="215131"/>
                    </a:lnTo>
                    <a:lnTo>
                      <a:pt x="62071" y="215395"/>
                    </a:lnTo>
                    <a:lnTo>
                      <a:pt x="60924" y="216277"/>
                    </a:lnTo>
                    <a:lnTo>
                      <a:pt x="60395" y="216630"/>
                    </a:lnTo>
                    <a:close/>
                    <a:moveTo>
                      <a:pt x="57221" y="217776"/>
                    </a:moveTo>
                    <a:lnTo>
                      <a:pt x="56075" y="218040"/>
                    </a:lnTo>
                    <a:lnTo>
                      <a:pt x="55811" y="217776"/>
                    </a:lnTo>
                    <a:lnTo>
                      <a:pt x="55193" y="217511"/>
                    </a:lnTo>
                    <a:lnTo>
                      <a:pt x="55458" y="216894"/>
                    </a:lnTo>
                    <a:lnTo>
                      <a:pt x="56075" y="216630"/>
                    </a:lnTo>
                    <a:lnTo>
                      <a:pt x="56340" y="216365"/>
                    </a:lnTo>
                    <a:lnTo>
                      <a:pt x="57221" y="216365"/>
                    </a:lnTo>
                    <a:lnTo>
                      <a:pt x="58103" y="216365"/>
                    </a:lnTo>
                    <a:lnTo>
                      <a:pt x="58103" y="216630"/>
                    </a:lnTo>
                    <a:lnTo>
                      <a:pt x="58103" y="217511"/>
                    </a:lnTo>
                    <a:lnTo>
                      <a:pt x="58103" y="217776"/>
                    </a:lnTo>
                    <a:lnTo>
                      <a:pt x="57221" y="217776"/>
                    </a:lnTo>
                    <a:close/>
                    <a:moveTo>
                      <a:pt x="69477" y="222449"/>
                    </a:moveTo>
                    <a:lnTo>
                      <a:pt x="68859" y="222978"/>
                    </a:lnTo>
                    <a:lnTo>
                      <a:pt x="68859" y="222713"/>
                    </a:lnTo>
                    <a:lnTo>
                      <a:pt x="68859" y="222449"/>
                    </a:lnTo>
                    <a:lnTo>
                      <a:pt x="68243" y="222096"/>
                    </a:lnTo>
                    <a:lnTo>
                      <a:pt x="67361" y="222449"/>
                    </a:lnTo>
                    <a:lnTo>
                      <a:pt x="67096" y="222713"/>
                    </a:lnTo>
                    <a:lnTo>
                      <a:pt x="66479" y="222713"/>
                    </a:lnTo>
                    <a:lnTo>
                      <a:pt x="66126" y="220950"/>
                    </a:lnTo>
                    <a:lnTo>
                      <a:pt x="65245" y="220068"/>
                    </a:lnTo>
                    <a:lnTo>
                      <a:pt x="64628" y="219187"/>
                    </a:lnTo>
                    <a:lnTo>
                      <a:pt x="64892" y="218040"/>
                    </a:lnTo>
                    <a:lnTo>
                      <a:pt x="64892" y="217776"/>
                    </a:lnTo>
                    <a:lnTo>
                      <a:pt x="65157" y="217511"/>
                    </a:lnTo>
                    <a:lnTo>
                      <a:pt x="65421" y="217511"/>
                    </a:lnTo>
                    <a:lnTo>
                      <a:pt x="65421" y="217776"/>
                    </a:lnTo>
                    <a:lnTo>
                      <a:pt x="67449" y="218040"/>
                    </a:lnTo>
                    <a:lnTo>
                      <a:pt x="68595" y="217776"/>
                    </a:lnTo>
                    <a:lnTo>
                      <a:pt x="70006" y="217511"/>
                    </a:lnTo>
                    <a:lnTo>
                      <a:pt x="71505" y="217511"/>
                    </a:lnTo>
                    <a:lnTo>
                      <a:pt x="72122" y="218040"/>
                    </a:lnTo>
                    <a:lnTo>
                      <a:pt x="72386" y="219804"/>
                    </a:lnTo>
                    <a:lnTo>
                      <a:pt x="72386" y="220421"/>
                    </a:lnTo>
                    <a:lnTo>
                      <a:pt x="70887" y="222449"/>
                    </a:lnTo>
                    <a:lnTo>
                      <a:pt x="70623" y="222713"/>
                    </a:lnTo>
                    <a:lnTo>
                      <a:pt x="70006" y="222713"/>
                    </a:lnTo>
                    <a:lnTo>
                      <a:pt x="69741" y="222713"/>
                    </a:lnTo>
                    <a:lnTo>
                      <a:pt x="69477" y="222449"/>
                    </a:lnTo>
                    <a:close/>
                    <a:moveTo>
                      <a:pt x="34121" y="142304"/>
                    </a:moveTo>
                    <a:lnTo>
                      <a:pt x="34121" y="142568"/>
                    </a:lnTo>
                    <a:lnTo>
                      <a:pt x="32358" y="141687"/>
                    </a:lnTo>
                    <a:lnTo>
                      <a:pt x="32358" y="141422"/>
                    </a:lnTo>
                    <a:lnTo>
                      <a:pt x="33240" y="141158"/>
                    </a:lnTo>
                    <a:lnTo>
                      <a:pt x="33504" y="141158"/>
                    </a:lnTo>
                    <a:lnTo>
                      <a:pt x="34121" y="141158"/>
                    </a:lnTo>
                    <a:lnTo>
                      <a:pt x="34386" y="141158"/>
                    </a:lnTo>
                    <a:lnTo>
                      <a:pt x="34650" y="141158"/>
                    </a:lnTo>
                    <a:lnTo>
                      <a:pt x="34915" y="141158"/>
                    </a:lnTo>
                    <a:lnTo>
                      <a:pt x="34915" y="141422"/>
                    </a:lnTo>
                    <a:lnTo>
                      <a:pt x="34298" y="142304"/>
                    </a:lnTo>
                    <a:lnTo>
                      <a:pt x="34121" y="142304"/>
                    </a:lnTo>
                    <a:close/>
                    <a:moveTo>
                      <a:pt x="34738" y="149886"/>
                    </a:moveTo>
                    <a:lnTo>
                      <a:pt x="34121" y="149886"/>
                    </a:lnTo>
                    <a:lnTo>
                      <a:pt x="34121" y="149622"/>
                    </a:lnTo>
                    <a:lnTo>
                      <a:pt x="32975" y="149005"/>
                    </a:lnTo>
                    <a:lnTo>
                      <a:pt x="32711" y="149269"/>
                    </a:lnTo>
                    <a:lnTo>
                      <a:pt x="32446" y="149269"/>
                    </a:lnTo>
                    <a:lnTo>
                      <a:pt x="32182" y="149269"/>
                    </a:lnTo>
                    <a:lnTo>
                      <a:pt x="32182" y="149005"/>
                    </a:lnTo>
                    <a:lnTo>
                      <a:pt x="31300" y="148387"/>
                    </a:lnTo>
                    <a:lnTo>
                      <a:pt x="31300" y="147770"/>
                    </a:lnTo>
                    <a:lnTo>
                      <a:pt x="31917" y="147506"/>
                    </a:lnTo>
                    <a:lnTo>
                      <a:pt x="32534" y="147770"/>
                    </a:lnTo>
                    <a:lnTo>
                      <a:pt x="32799" y="147153"/>
                    </a:lnTo>
                    <a:lnTo>
                      <a:pt x="33063" y="146888"/>
                    </a:lnTo>
                    <a:lnTo>
                      <a:pt x="33945" y="147153"/>
                    </a:lnTo>
                    <a:lnTo>
                      <a:pt x="34209" y="147153"/>
                    </a:lnTo>
                    <a:lnTo>
                      <a:pt x="34474" y="147770"/>
                    </a:lnTo>
                    <a:lnTo>
                      <a:pt x="34738" y="147770"/>
                    </a:lnTo>
                    <a:lnTo>
                      <a:pt x="35356" y="147506"/>
                    </a:lnTo>
                    <a:lnTo>
                      <a:pt x="35973" y="147506"/>
                    </a:lnTo>
                    <a:lnTo>
                      <a:pt x="36590" y="146624"/>
                    </a:lnTo>
                    <a:lnTo>
                      <a:pt x="37207" y="146888"/>
                    </a:lnTo>
                    <a:lnTo>
                      <a:pt x="36943" y="147770"/>
                    </a:lnTo>
                    <a:lnTo>
                      <a:pt x="37207" y="148652"/>
                    </a:lnTo>
                    <a:lnTo>
                      <a:pt x="36943" y="148916"/>
                    </a:lnTo>
                    <a:lnTo>
                      <a:pt x="37207" y="149798"/>
                    </a:lnTo>
                    <a:lnTo>
                      <a:pt x="36326" y="149798"/>
                    </a:lnTo>
                    <a:lnTo>
                      <a:pt x="35179" y="149534"/>
                    </a:lnTo>
                    <a:lnTo>
                      <a:pt x="35179" y="149798"/>
                    </a:lnTo>
                    <a:lnTo>
                      <a:pt x="34738" y="14979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4" name="Freihandform: Form 1573">
                <a:extLst>
                  <a:ext uri="{FF2B5EF4-FFF2-40B4-BE49-F238E27FC236}">
                    <a16:creationId xmlns:a16="http://schemas.microsoft.com/office/drawing/2014/main" id="{D4E9AD66-1908-836F-4CF6-7D72B28366F8}"/>
                  </a:ext>
                </a:extLst>
              </p:cNvPr>
              <p:cNvSpPr/>
              <p:nvPr/>
            </p:nvSpPr>
            <p:spPr>
              <a:xfrm>
                <a:off x="4254201" y="2931730"/>
                <a:ext cx="146712" cy="64715"/>
              </a:xfrm>
              <a:custGeom>
                <a:avLst/>
                <a:gdLst>
                  <a:gd name="connsiteX0" fmla="*/ 1146 w 146712"/>
                  <a:gd name="connsiteY0" fmla="*/ 47787 h 64715"/>
                  <a:gd name="connsiteX1" fmla="*/ 2028 w 146712"/>
                  <a:gd name="connsiteY1" fmla="*/ 47787 h 64715"/>
                  <a:gd name="connsiteX2" fmla="*/ 7582 w 146712"/>
                  <a:gd name="connsiteY2" fmla="*/ 49022 h 64715"/>
                  <a:gd name="connsiteX3" fmla="*/ 7847 w 146712"/>
                  <a:gd name="connsiteY3" fmla="*/ 50697 h 64715"/>
                  <a:gd name="connsiteX4" fmla="*/ 8200 w 146712"/>
                  <a:gd name="connsiteY4" fmla="*/ 51314 h 64715"/>
                  <a:gd name="connsiteX5" fmla="*/ 8993 w 146712"/>
                  <a:gd name="connsiteY5" fmla="*/ 51314 h 64715"/>
                  <a:gd name="connsiteX6" fmla="*/ 10757 w 146712"/>
                  <a:gd name="connsiteY6" fmla="*/ 52813 h 64715"/>
                  <a:gd name="connsiteX7" fmla="*/ 11374 w 146712"/>
                  <a:gd name="connsiteY7" fmla="*/ 52813 h 64715"/>
                  <a:gd name="connsiteX8" fmla="*/ 14019 w 146712"/>
                  <a:gd name="connsiteY8" fmla="*/ 51931 h 64715"/>
                  <a:gd name="connsiteX9" fmla="*/ 14283 w 146712"/>
                  <a:gd name="connsiteY9" fmla="*/ 50697 h 64715"/>
                  <a:gd name="connsiteX10" fmla="*/ 14283 w 146712"/>
                  <a:gd name="connsiteY10" fmla="*/ 50168 h 64715"/>
                  <a:gd name="connsiteX11" fmla="*/ 16047 w 146712"/>
                  <a:gd name="connsiteY11" fmla="*/ 49022 h 64715"/>
                  <a:gd name="connsiteX12" fmla="*/ 16928 w 146712"/>
                  <a:gd name="connsiteY12" fmla="*/ 49022 h 64715"/>
                  <a:gd name="connsiteX13" fmla="*/ 18074 w 146712"/>
                  <a:gd name="connsiteY13" fmla="*/ 50697 h 64715"/>
                  <a:gd name="connsiteX14" fmla="*/ 17457 w 146712"/>
                  <a:gd name="connsiteY14" fmla="*/ 51931 h 64715"/>
                  <a:gd name="connsiteX15" fmla="*/ 17457 w 146712"/>
                  <a:gd name="connsiteY15" fmla="*/ 52813 h 64715"/>
                  <a:gd name="connsiteX16" fmla="*/ 20367 w 146712"/>
                  <a:gd name="connsiteY16" fmla="*/ 52813 h 64715"/>
                  <a:gd name="connsiteX17" fmla="*/ 20984 w 146712"/>
                  <a:gd name="connsiteY17" fmla="*/ 52813 h 64715"/>
                  <a:gd name="connsiteX18" fmla="*/ 21601 w 146712"/>
                  <a:gd name="connsiteY18" fmla="*/ 52813 h 64715"/>
                  <a:gd name="connsiteX19" fmla="*/ 25040 w 146712"/>
                  <a:gd name="connsiteY19" fmla="*/ 53077 h 64715"/>
                  <a:gd name="connsiteX20" fmla="*/ 24775 w 146712"/>
                  <a:gd name="connsiteY20" fmla="*/ 53695 h 64715"/>
                  <a:gd name="connsiteX21" fmla="*/ 25657 w 146712"/>
                  <a:gd name="connsiteY21" fmla="*/ 54224 h 64715"/>
                  <a:gd name="connsiteX22" fmla="*/ 27420 w 146712"/>
                  <a:gd name="connsiteY22" fmla="*/ 54576 h 64715"/>
                  <a:gd name="connsiteX23" fmla="*/ 27685 w 146712"/>
                  <a:gd name="connsiteY23" fmla="*/ 54224 h 64715"/>
                  <a:gd name="connsiteX24" fmla="*/ 28037 w 146712"/>
                  <a:gd name="connsiteY24" fmla="*/ 54576 h 64715"/>
                  <a:gd name="connsiteX25" fmla="*/ 30330 w 146712"/>
                  <a:gd name="connsiteY25" fmla="*/ 53959 h 64715"/>
                  <a:gd name="connsiteX26" fmla="*/ 30594 w 146712"/>
                  <a:gd name="connsiteY26" fmla="*/ 51578 h 64715"/>
                  <a:gd name="connsiteX27" fmla="*/ 31212 w 146712"/>
                  <a:gd name="connsiteY27" fmla="*/ 50168 h 64715"/>
                  <a:gd name="connsiteX28" fmla="*/ 34650 w 146712"/>
                  <a:gd name="connsiteY28" fmla="*/ 49022 h 64715"/>
                  <a:gd name="connsiteX29" fmla="*/ 37031 w 146712"/>
                  <a:gd name="connsiteY29" fmla="*/ 50168 h 64715"/>
                  <a:gd name="connsiteX30" fmla="*/ 37648 w 146712"/>
                  <a:gd name="connsiteY30" fmla="*/ 49022 h 64715"/>
                  <a:gd name="connsiteX31" fmla="*/ 39323 w 146712"/>
                  <a:gd name="connsiteY31" fmla="*/ 49022 h 64715"/>
                  <a:gd name="connsiteX32" fmla="*/ 40558 w 146712"/>
                  <a:gd name="connsiteY32" fmla="*/ 49022 h 64715"/>
                  <a:gd name="connsiteX33" fmla="*/ 43996 w 146712"/>
                  <a:gd name="connsiteY33" fmla="*/ 49551 h 64715"/>
                  <a:gd name="connsiteX34" fmla="*/ 46906 w 146712"/>
                  <a:gd name="connsiteY34" fmla="*/ 47787 h 64715"/>
                  <a:gd name="connsiteX35" fmla="*/ 49022 w 146712"/>
                  <a:gd name="connsiteY35" fmla="*/ 47523 h 64715"/>
                  <a:gd name="connsiteX36" fmla="*/ 50168 w 146712"/>
                  <a:gd name="connsiteY36" fmla="*/ 47787 h 64715"/>
                  <a:gd name="connsiteX37" fmla="*/ 50432 w 146712"/>
                  <a:gd name="connsiteY37" fmla="*/ 46906 h 64715"/>
                  <a:gd name="connsiteX38" fmla="*/ 52196 w 146712"/>
                  <a:gd name="connsiteY38" fmla="*/ 47787 h 64715"/>
                  <a:gd name="connsiteX39" fmla="*/ 50432 w 146712"/>
                  <a:gd name="connsiteY39" fmla="*/ 48669 h 64715"/>
                  <a:gd name="connsiteX40" fmla="*/ 50168 w 146712"/>
                  <a:gd name="connsiteY40" fmla="*/ 50168 h 64715"/>
                  <a:gd name="connsiteX41" fmla="*/ 50697 w 146712"/>
                  <a:gd name="connsiteY41" fmla="*/ 50697 h 64715"/>
                  <a:gd name="connsiteX42" fmla="*/ 50168 w 146712"/>
                  <a:gd name="connsiteY42" fmla="*/ 51314 h 64715"/>
                  <a:gd name="connsiteX43" fmla="*/ 51050 w 146712"/>
                  <a:gd name="connsiteY43" fmla="*/ 51578 h 64715"/>
                  <a:gd name="connsiteX44" fmla="*/ 52460 w 146712"/>
                  <a:gd name="connsiteY44" fmla="*/ 51931 h 64715"/>
                  <a:gd name="connsiteX45" fmla="*/ 53077 w 146712"/>
                  <a:gd name="connsiteY45" fmla="*/ 52196 h 64715"/>
                  <a:gd name="connsiteX46" fmla="*/ 53695 w 146712"/>
                  <a:gd name="connsiteY46" fmla="*/ 52813 h 64715"/>
                  <a:gd name="connsiteX47" fmla="*/ 54224 w 146712"/>
                  <a:gd name="connsiteY47" fmla="*/ 53959 h 64715"/>
                  <a:gd name="connsiteX48" fmla="*/ 56251 w 146712"/>
                  <a:gd name="connsiteY48" fmla="*/ 56251 h 64715"/>
                  <a:gd name="connsiteX49" fmla="*/ 59778 w 146712"/>
                  <a:gd name="connsiteY49" fmla="*/ 57750 h 64715"/>
                  <a:gd name="connsiteX50" fmla="*/ 60924 w 146712"/>
                  <a:gd name="connsiteY50" fmla="*/ 57750 h 64715"/>
                  <a:gd name="connsiteX51" fmla="*/ 63569 w 146712"/>
                  <a:gd name="connsiteY51" fmla="*/ 58015 h 64715"/>
                  <a:gd name="connsiteX52" fmla="*/ 63834 w 146712"/>
                  <a:gd name="connsiteY52" fmla="*/ 57750 h 64715"/>
                  <a:gd name="connsiteX53" fmla="*/ 64716 w 146712"/>
                  <a:gd name="connsiteY53" fmla="*/ 58015 h 64715"/>
                  <a:gd name="connsiteX54" fmla="*/ 71152 w 146712"/>
                  <a:gd name="connsiteY54" fmla="*/ 58896 h 64715"/>
                  <a:gd name="connsiteX55" fmla="*/ 73532 w 146712"/>
                  <a:gd name="connsiteY55" fmla="*/ 60043 h 64715"/>
                  <a:gd name="connsiteX56" fmla="*/ 73797 w 146712"/>
                  <a:gd name="connsiteY56" fmla="*/ 60043 h 64715"/>
                  <a:gd name="connsiteX57" fmla="*/ 76089 w 146712"/>
                  <a:gd name="connsiteY57" fmla="*/ 58896 h 64715"/>
                  <a:gd name="connsiteX58" fmla="*/ 76706 w 146712"/>
                  <a:gd name="connsiteY58" fmla="*/ 60043 h 64715"/>
                  <a:gd name="connsiteX59" fmla="*/ 77853 w 146712"/>
                  <a:gd name="connsiteY59" fmla="*/ 60043 h 64715"/>
                  <a:gd name="connsiteX60" fmla="*/ 82261 w 146712"/>
                  <a:gd name="connsiteY60" fmla="*/ 60924 h 64715"/>
                  <a:gd name="connsiteX61" fmla="*/ 85700 w 146712"/>
                  <a:gd name="connsiteY61" fmla="*/ 63040 h 64715"/>
                  <a:gd name="connsiteX62" fmla="*/ 87816 w 146712"/>
                  <a:gd name="connsiteY62" fmla="*/ 62159 h 64715"/>
                  <a:gd name="connsiteX63" fmla="*/ 90725 w 146712"/>
                  <a:gd name="connsiteY63" fmla="*/ 62688 h 64715"/>
                  <a:gd name="connsiteX64" fmla="*/ 90725 w 146712"/>
                  <a:gd name="connsiteY64" fmla="*/ 63305 h 64715"/>
                  <a:gd name="connsiteX65" fmla="*/ 94164 w 146712"/>
                  <a:gd name="connsiteY65" fmla="*/ 63834 h 64715"/>
                  <a:gd name="connsiteX66" fmla="*/ 96544 w 146712"/>
                  <a:gd name="connsiteY66" fmla="*/ 63305 h 64715"/>
                  <a:gd name="connsiteX67" fmla="*/ 97073 w 146712"/>
                  <a:gd name="connsiteY67" fmla="*/ 63834 h 64715"/>
                  <a:gd name="connsiteX68" fmla="*/ 100071 w 146712"/>
                  <a:gd name="connsiteY68" fmla="*/ 64716 h 64715"/>
                  <a:gd name="connsiteX69" fmla="*/ 100071 w 146712"/>
                  <a:gd name="connsiteY69" fmla="*/ 63834 h 64715"/>
                  <a:gd name="connsiteX70" fmla="*/ 101217 w 146712"/>
                  <a:gd name="connsiteY70" fmla="*/ 63305 h 64715"/>
                  <a:gd name="connsiteX71" fmla="*/ 101746 w 146712"/>
                  <a:gd name="connsiteY71" fmla="*/ 62159 h 64715"/>
                  <a:gd name="connsiteX72" fmla="*/ 103862 w 146712"/>
                  <a:gd name="connsiteY72" fmla="*/ 62159 h 64715"/>
                  <a:gd name="connsiteX73" fmla="*/ 103862 w 146712"/>
                  <a:gd name="connsiteY73" fmla="*/ 58896 h 64715"/>
                  <a:gd name="connsiteX74" fmla="*/ 105890 w 146712"/>
                  <a:gd name="connsiteY74" fmla="*/ 58015 h 64715"/>
                  <a:gd name="connsiteX75" fmla="*/ 106772 w 146712"/>
                  <a:gd name="connsiteY75" fmla="*/ 58015 h 64715"/>
                  <a:gd name="connsiteX76" fmla="*/ 106419 w 146712"/>
                  <a:gd name="connsiteY76" fmla="*/ 57750 h 64715"/>
                  <a:gd name="connsiteX77" fmla="*/ 109681 w 146712"/>
                  <a:gd name="connsiteY77" fmla="*/ 58632 h 64715"/>
                  <a:gd name="connsiteX78" fmla="*/ 112326 w 146712"/>
                  <a:gd name="connsiteY78" fmla="*/ 57750 h 64715"/>
                  <a:gd name="connsiteX79" fmla="*/ 115236 w 146712"/>
                  <a:gd name="connsiteY79" fmla="*/ 57486 h 64715"/>
                  <a:gd name="connsiteX80" fmla="*/ 116382 w 146712"/>
                  <a:gd name="connsiteY80" fmla="*/ 58015 h 64715"/>
                  <a:gd name="connsiteX81" fmla="*/ 117264 w 146712"/>
                  <a:gd name="connsiteY81" fmla="*/ 58015 h 64715"/>
                  <a:gd name="connsiteX82" fmla="*/ 117264 w 146712"/>
                  <a:gd name="connsiteY82" fmla="*/ 57750 h 64715"/>
                  <a:gd name="connsiteX83" fmla="*/ 120174 w 146712"/>
                  <a:gd name="connsiteY83" fmla="*/ 56869 h 64715"/>
                  <a:gd name="connsiteX84" fmla="*/ 120174 w 146712"/>
                  <a:gd name="connsiteY84" fmla="*/ 56604 h 64715"/>
                  <a:gd name="connsiteX85" fmla="*/ 121937 w 146712"/>
                  <a:gd name="connsiteY85" fmla="*/ 56604 h 64715"/>
                  <a:gd name="connsiteX86" fmla="*/ 122466 w 146712"/>
                  <a:gd name="connsiteY86" fmla="*/ 56604 h 64715"/>
                  <a:gd name="connsiteX87" fmla="*/ 123083 w 146712"/>
                  <a:gd name="connsiteY87" fmla="*/ 56604 h 64715"/>
                  <a:gd name="connsiteX88" fmla="*/ 126610 w 146712"/>
                  <a:gd name="connsiteY88" fmla="*/ 56869 h 64715"/>
                  <a:gd name="connsiteX89" fmla="*/ 127139 w 146712"/>
                  <a:gd name="connsiteY89" fmla="*/ 57750 h 64715"/>
                  <a:gd name="connsiteX90" fmla="*/ 127139 w 146712"/>
                  <a:gd name="connsiteY90" fmla="*/ 56251 h 64715"/>
                  <a:gd name="connsiteX91" fmla="*/ 126610 w 146712"/>
                  <a:gd name="connsiteY91" fmla="*/ 55105 h 64715"/>
                  <a:gd name="connsiteX92" fmla="*/ 126257 w 146712"/>
                  <a:gd name="connsiteY92" fmla="*/ 53077 h 64715"/>
                  <a:gd name="connsiteX93" fmla="*/ 128902 w 146712"/>
                  <a:gd name="connsiteY93" fmla="*/ 52460 h 64715"/>
                  <a:gd name="connsiteX94" fmla="*/ 129519 w 146712"/>
                  <a:gd name="connsiteY94" fmla="*/ 50697 h 64715"/>
                  <a:gd name="connsiteX95" fmla="*/ 130666 w 146712"/>
                  <a:gd name="connsiteY95" fmla="*/ 50168 h 64715"/>
                  <a:gd name="connsiteX96" fmla="*/ 131812 w 146712"/>
                  <a:gd name="connsiteY96" fmla="*/ 49022 h 64715"/>
                  <a:gd name="connsiteX97" fmla="*/ 133311 w 146712"/>
                  <a:gd name="connsiteY97" fmla="*/ 48404 h 64715"/>
                  <a:gd name="connsiteX98" fmla="*/ 134721 w 146712"/>
                  <a:gd name="connsiteY98" fmla="*/ 49022 h 64715"/>
                  <a:gd name="connsiteX99" fmla="*/ 136749 w 146712"/>
                  <a:gd name="connsiteY99" fmla="*/ 47787 h 64715"/>
                  <a:gd name="connsiteX100" fmla="*/ 136484 w 146712"/>
                  <a:gd name="connsiteY100" fmla="*/ 47258 h 64715"/>
                  <a:gd name="connsiteX101" fmla="*/ 136749 w 146712"/>
                  <a:gd name="connsiteY101" fmla="*/ 46641 h 64715"/>
                  <a:gd name="connsiteX102" fmla="*/ 136749 w 146712"/>
                  <a:gd name="connsiteY102" fmla="*/ 45759 h 64715"/>
                  <a:gd name="connsiteX103" fmla="*/ 135074 w 146712"/>
                  <a:gd name="connsiteY103" fmla="*/ 45495 h 64715"/>
                  <a:gd name="connsiteX104" fmla="*/ 134457 w 146712"/>
                  <a:gd name="connsiteY104" fmla="*/ 44613 h 64715"/>
                  <a:gd name="connsiteX105" fmla="*/ 133311 w 146712"/>
                  <a:gd name="connsiteY105" fmla="*/ 44613 h 64715"/>
                  <a:gd name="connsiteX106" fmla="*/ 134192 w 146712"/>
                  <a:gd name="connsiteY106" fmla="*/ 43467 h 64715"/>
                  <a:gd name="connsiteX107" fmla="*/ 134721 w 146712"/>
                  <a:gd name="connsiteY107" fmla="*/ 42321 h 64715"/>
                  <a:gd name="connsiteX108" fmla="*/ 133840 w 146712"/>
                  <a:gd name="connsiteY108" fmla="*/ 41086 h 64715"/>
                  <a:gd name="connsiteX109" fmla="*/ 134192 w 146712"/>
                  <a:gd name="connsiteY109" fmla="*/ 40557 h 64715"/>
                  <a:gd name="connsiteX110" fmla="*/ 133840 w 146712"/>
                  <a:gd name="connsiteY110" fmla="*/ 39323 h 64715"/>
                  <a:gd name="connsiteX111" fmla="*/ 135603 w 146712"/>
                  <a:gd name="connsiteY111" fmla="*/ 39940 h 64715"/>
                  <a:gd name="connsiteX112" fmla="*/ 136220 w 146712"/>
                  <a:gd name="connsiteY112" fmla="*/ 39323 h 64715"/>
                  <a:gd name="connsiteX113" fmla="*/ 137366 w 146712"/>
                  <a:gd name="connsiteY113" fmla="*/ 39323 h 64715"/>
                  <a:gd name="connsiteX114" fmla="*/ 138248 w 146712"/>
                  <a:gd name="connsiteY114" fmla="*/ 37912 h 64715"/>
                  <a:gd name="connsiteX115" fmla="*/ 138248 w 146712"/>
                  <a:gd name="connsiteY115" fmla="*/ 36766 h 64715"/>
                  <a:gd name="connsiteX116" fmla="*/ 139130 w 146712"/>
                  <a:gd name="connsiteY116" fmla="*/ 35267 h 64715"/>
                  <a:gd name="connsiteX117" fmla="*/ 138248 w 146712"/>
                  <a:gd name="connsiteY117" fmla="*/ 35003 h 64715"/>
                  <a:gd name="connsiteX118" fmla="*/ 137983 w 146712"/>
                  <a:gd name="connsiteY118" fmla="*/ 34121 h 64715"/>
                  <a:gd name="connsiteX119" fmla="*/ 136749 w 146712"/>
                  <a:gd name="connsiteY119" fmla="*/ 34121 h 64715"/>
                  <a:gd name="connsiteX120" fmla="*/ 133311 w 146712"/>
                  <a:gd name="connsiteY120" fmla="*/ 32975 h 64715"/>
                  <a:gd name="connsiteX121" fmla="*/ 133311 w 146712"/>
                  <a:gd name="connsiteY121" fmla="*/ 31741 h 64715"/>
                  <a:gd name="connsiteX122" fmla="*/ 133840 w 146712"/>
                  <a:gd name="connsiteY122" fmla="*/ 32093 h 64715"/>
                  <a:gd name="connsiteX123" fmla="*/ 135603 w 146712"/>
                  <a:gd name="connsiteY123" fmla="*/ 31741 h 64715"/>
                  <a:gd name="connsiteX124" fmla="*/ 135339 w 146712"/>
                  <a:gd name="connsiteY124" fmla="*/ 31212 h 64715"/>
                  <a:gd name="connsiteX125" fmla="*/ 137631 w 146712"/>
                  <a:gd name="connsiteY125" fmla="*/ 30330 h 64715"/>
                  <a:gd name="connsiteX126" fmla="*/ 138865 w 146712"/>
                  <a:gd name="connsiteY126" fmla="*/ 31741 h 64715"/>
                  <a:gd name="connsiteX127" fmla="*/ 138865 w 146712"/>
                  <a:gd name="connsiteY127" fmla="*/ 32358 h 64715"/>
                  <a:gd name="connsiteX128" fmla="*/ 140011 w 146712"/>
                  <a:gd name="connsiteY128" fmla="*/ 32358 h 64715"/>
                  <a:gd name="connsiteX129" fmla="*/ 140893 w 146712"/>
                  <a:gd name="connsiteY129" fmla="*/ 31741 h 64715"/>
                  <a:gd name="connsiteX130" fmla="*/ 141775 w 146712"/>
                  <a:gd name="connsiteY130" fmla="*/ 31741 h 64715"/>
                  <a:gd name="connsiteX131" fmla="*/ 142039 w 146712"/>
                  <a:gd name="connsiteY131" fmla="*/ 32358 h 64715"/>
                  <a:gd name="connsiteX132" fmla="*/ 145831 w 146712"/>
                  <a:gd name="connsiteY132" fmla="*/ 31741 h 64715"/>
                  <a:gd name="connsiteX133" fmla="*/ 144949 w 146712"/>
                  <a:gd name="connsiteY133" fmla="*/ 30947 h 64715"/>
                  <a:gd name="connsiteX134" fmla="*/ 144684 w 146712"/>
                  <a:gd name="connsiteY134" fmla="*/ 30330 h 64715"/>
                  <a:gd name="connsiteX135" fmla="*/ 144684 w 146712"/>
                  <a:gd name="connsiteY135" fmla="*/ 30065 h 64715"/>
                  <a:gd name="connsiteX136" fmla="*/ 144067 w 146712"/>
                  <a:gd name="connsiteY136" fmla="*/ 28566 h 64715"/>
                  <a:gd name="connsiteX137" fmla="*/ 145566 w 146712"/>
                  <a:gd name="connsiteY137" fmla="*/ 28037 h 64715"/>
                  <a:gd name="connsiteX138" fmla="*/ 145566 w 146712"/>
                  <a:gd name="connsiteY138" fmla="*/ 27420 h 64715"/>
                  <a:gd name="connsiteX139" fmla="*/ 146712 w 146712"/>
                  <a:gd name="connsiteY139" fmla="*/ 26274 h 64715"/>
                  <a:gd name="connsiteX140" fmla="*/ 145566 w 146712"/>
                  <a:gd name="connsiteY140" fmla="*/ 26274 h 64715"/>
                  <a:gd name="connsiteX141" fmla="*/ 146448 w 146712"/>
                  <a:gd name="connsiteY141" fmla="*/ 25040 h 64715"/>
                  <a:gd name="connsiteX142" fmla="*/ 145213 w 146712"/>
                  <a:gd name="connsiteY142" fmla="*/ 25040 h 64715"/>
                  <a:gd name="connsiteX143" fmla="*/ 145213 w 146712"/>
                  <a:gd name="connsiteY143" fmla="*/ 23894 h 64715"/>
                  <a:gd name="connsiteX144" fmla="*/ 145213 w 146712"/>
                  <a:gd name="connsiteY144" fmla="*/ 23012 h 64715"/>
                  <a:gd name="connsiteX145" fmla="*/ 143803 w 146712"/>
                  <a:gd name="connsiteY145" fmla="*/ 21248 h 64715"/>
                  <a:gd name="connsiteX146" fmla="*/ 142039 w 146712"/>
                  <a:gd name="connsiteY146" fmla="*/ 21248 h 64715"/>
                  <a:gd name="connsiteX147" fmla="*/ 141775 w 146712"/>
                  <a:gd name="connsiteY147" fmla="*/ 18074 h 64715"/>
                  <a:gd name="connsiteX148" fmla="*/ 140540 w 146712"/>
                  <a:gd name="connsiteY148" fmla="*/ 18074 h 64715"/>
                  <a:gd name="connsiteX149" fmla="*/ 140540 w 146712"/>
                  <a:gd name="connsiteY149" fmla="*/ 16928 h 64715"/>
                  <a:gd name="connsiteX150" fmla="*/ 138512 w 146712"/>
                  <a:gd name="connsiteY150" fmla="*/ 16047 h 64715"/>
                  <a:gd name="connsiteX151" fmla="*/ 140276 w 146712"/>
                  <a:gd name="connsiteY151" fmla="*/ 13137 h 64715"/>
                  <a:gd name="connsiteX152" fmla="*/ 141158 w 146712"/>
                  <a:gd name="connsiteY152" fmla="*/ 11109 h 64715"/>
                  <a:gd name="connsiteX153" fmla="*/ 139747 w 146712"/>
                  <a:gd name="connsiteY153" fmla="*/ 7582 h 64715"/>
                  <a:gd name="connsiteX154" fmla="*/ 137983 w 146712"/>
                  <a:gd name="connsiteY154" fmla="*/ 7582 h 64715"/>
                  <a:gd name="connsiteX155" fmla="*/ 136749 w 146712"/>
                  <a:gd name="connsiteY155" fmla="*/ 7582 h 64715"/>
                  <a:gd name="connsiteX156" fmla="*/ 135868 w 146712"/>
                  <a:gd name="connsiteY156" fmla="*/ 6965 h 64715"/>
                  <a:gd name="connsiteX157" fmla="*/ 135339 w 146712"/>
                  <a:gd name="connsiteY157" fmla="*/ 6436 h 64715"/>
                  <a:gd name="connsiteX158" fmla="*/ 134457 w 146712"/>
                  <a:gd name="connsiteY158" fmla="*/ 6436 h 64715"/>
                  <a:gd name="connsiteX159" fmla="*/ 133311 w 146712"/>
                  <a:gd name="connsiteY159" fmla="*/ 5819 h 64715"/>
                  <a:gd name="connsiteX160" fmla="*/ 130930 w 146712"/>
                  <a:gd name="connsiteY160" fmla="*/ 5819 h 64715"/>
                  <a:gd name="connsiteX161" fmla="*/ 130048 w 146712"/>
                  <a:gd name="connsiteY161" fmla="*/ 7582 h 64715"/>
                  <a:gd name="connsiteX162" fmla="*/ 128020 w 146712"/>
                  <a:gd name="connsiteY162" fmla="*/ 8200 h 64715"/>
                  <a:gd name="connsiteX163" fmla="*/ 124229 w 146712"/>
                  <a:gd name="connsiteY163" fmla="*/ 7582 h 64715"/>
                  <a:gd name="connsiteX164" fmla="*/ 121937 w 146712"/>
                  <a:gd name="connsiteY164" fmla="*/ 6436 h 64715"/>
                  <a:gd name="connsiteX165" fmla="*/ 120703 w 146712"/>
                  <a:gd name="connsiteY165" fmla="*/ 5555 h 64715"/>
                  <a:gd name="connsiteX166" fmla="*/ 119556 w 146712"/>
                  <a:gd name="connsiteY166" fmla="*/ 4937 h 64715"/>
                  <a:gd name="connsiteX167" fmla="*/ 119292 w 146712"/>
                  <a:gd name="connsiteY167" fmla="*/ 4673 h 64715"/>
                  <a:gd name="connsiteX168" fmla="*/ 118675 w 146712"/>
                  <a:gd name="connsiteY168" fmla="*/ 4673 h 64715"/>
                  <a:gd name="connsiteX169" fmla="*/ 118146 w 146712"/>
                  <a:gd name="connsiteY169" fmla="*/ 4408 h 64715"/>
                  <a:gd name="connsiteX170" fmla="*/ 116118 w 146712"/>
                  <a:gd name="connsiteY170" fmla="*/ 4673 h 64715"/>
                  <a:gd name="connsiteX171" fmla="*/ 114619 w 146712"/>
                  <a:gd name="connsiteY171" fmla="*/ 3791 h 64715"/>
                  <a:gd name="connsiteX172" fmla="*/ 112855 w 146712"/>
                  <a:gd name="connsiteY172" fmla="*/ 3174 h 64715"/>
                  <a:gd name="connsiteX173" fmla="*/ 111974 w 146712"/>
                  <a:gd name="connsiteY173" fmla="*/ 2645 h 64715"/>
                  <a:gd name="connsiteX174" fmla="*/ 111709 w 146712"/>
                  <a:gd name="connsiteY174" fmla="*/ 2645 h 64715"/>
                  <a:gd name="connsiteX175" fmla="*/ 109064 w 146712"/>
                  <a:gd name="connsiteY175" fmla="*/ 2028 h 64715"/>
                  <a:gd name="connsiteX176" fmla="*/ 108447 w 146712"/>
                  <a:gd name="connsiteY176" fmla="*/ 1763 h 64715"/>
                  <a:gd name="connsiteX177" fmla="*/ 107918 w 146712"/>
                  <a:gd name="connsiteY177" fmla="*/ 2645 h 64715"/>
                  <a:gd name="connsiteX178" fmla="*/ 106155 w 146712"/>
                  <a:gd name="connsiteY178" fmla="*/ 2028 h 64715"/>
                  <a:gd name="connsiteX179" fmla="*/ 105538 w 146712"/>
                  <a:gd name="connsiteY179" fmla="*/ 882 h 64715"/>
                  <a:gd name="connsiteX180" fmla="*/ 102099 w 146712"/>
                  <a:gd name="connsiteY180" fmla="*/ 0 h 64715"/>
                  <a:gd name="connsiteX181" fmla="*/ 102099 w 146712"/>
                  <a:gd name="connsiteY181" fmla="*/ 2028 h 64715"/>
                  <a:gd name="connsiteX182" fmla="*/ 102628 w 146712"/>
                  <a:gd name="connsiteY182" fmla="*/ 3174 h 64715"/>
                  <a:gd name="connsiteX183" fmla="*/ 102099 w 146712"/>
                  <a:gd name="connsiteY183" fmla="*/ 5819 h 64715"/>
                  <a:gd name="connsiteX184" fmla="*/ 101482 w 146712"/>
                  <a:gd name="connsiteY184" fmla="*/ 6436 h 64715"/>
                  <a:gd name="connsiteX185" fmla="*/ 100071 w 146712"/>
                  <a:gd name="connsiteY185" fmla="*/ 6701 h 64715"/>
                  <a:gd name="connsiteX186" fmla="*/ 99718 w 146712"/>
                  <a:gd name="connsiteY186" fmla="*/ 7582 h 64715"/>
                  <a:gd name="connsiteX187" fmla="*/ 98308 w 146712"/>
                  <a:gd name="connsiteY187" fmla="*/ 8464 h 64715"/>
                  <a:gd name="connsiteX188" fmla="*/ 97690 w 146712"/>
                  <a:gd name="connsiteY188" fmla="*/ 10757 h 64715"/>
                  <a:gd name="connsiteX189" fmla="*/ 97073 w 146712"/>
                  <a:gd name="connsiteY189" fmla="*/ 10492 h 64715"/>
                  <a:gd name="connsiteX190" fmla="*/ 96544 w 146712"/>
                  <a:gd name="connsiteY190" fmla="*/ 9610 h 64715"/>
                  <a:gd name="connsiteX191" fmla="*/ 95927 w 146712"/>
                  <a:gd name="connsiteY191" fmla="*/ 9875 h 64715"/>
                  <a:gd name="connsiteX192" fmla="*/ 93370 w 146712"/>
                  <a:gd name="connsiteY192" fmla="*/ 9610 h 64715"/>
                  <a:gd name="connsiteX193" fmla="*/ 92753 w 146712"/>
                  <a:gd name="connsiteY193" fmla="*/ 10757 h 64715"/>
                  <a:gd name="connsiteX194" fmla="*/ 90725 w 146712"/>
                  <a:gd name="connsiteY194" fmla="*/ 10757 h 64715"/>
                  <a:gd name="connsiteX195" fmla="*/ 90373 w 146712"/>
                  <a:gd name="connsiteY195" fmla="*/ 11109 h 64715"/>
                  <a:gd name="connsiteX196" fmla="*/ 86934 w 146712"/>
                  <a:gd name="connsiteY196" fmla="*/ 10757 h 64715"/>
                  <a:gd name="connsiteX197" fmla="*/ 85700 w 146712"/>
                  <a:gd name="connsiteY197" fmla="*/ 10757 h 64715"/>
                  <a:gd name="connsiteX198" fmla="*/ 83407 w 146712"/>
                  <a:gd name="connsiteY198" fmla="*/ 9610 h 64715"/>
                  <a:gd name="connsiteX199" fmla="*/ 84024 w 146712"/>
                  <a:gd name="connsiteY199" fmla="*/ 8729 h 64715"/>
                  <a:gd name="connsiteX200" fmla="*/ 83407 w 146712"/>
                  <a:gd name="connsiteY200" fmla="*/ 7582 h 64715"/>
                  <a:gd name="connsiteX201" fmla="*/ 80498 w 146712"/>
                  <a:gd name="connsiteY201" fmla="*/ 6965 h 64715"/>
                  <a:gd name="connsiteX202" fmla="*/ 80233 w 146712"/>
                  <a:gd name="connsiteY202" fmla="*/ 7847 h 64715"/>
                  <a:gd name="connsiteX203" fmla="*/ 80233 w 146712"/>
                  <a:gd name="connsiteY203" fmla="*/ 8993 h 64715"/>
                  <a:gd name="connsiteX204" fmla="*/ 80762 w 146712"/>
                  <a:gd name="connsiteY204" fmla="*/ 10757 h 64715"/>
                  <a:gd name="connsiteX205" fmla="*/ 79969 w 146712"/>
                  <a:gd name="connsiteY205" fmla="*/ 11374 h 64715"/>
                  <a:gd name="connsiteX206" fmla="*/ 78470 w 146712"/>
                  <a:gd name="connsiteY206" fmla="*/ 12784 h 64715"/>
                  <a:gd name="connsiteX207" fmla="*/ 77236 w 146712"/>
                  <a:gd name="connsiteY207" fmla="*/ 12255 h 64715"/>
                  <a:gd name="connsiteX208" fmla="*/ 76442 w 146712"/>
                  <a:gd name="connsiteY208" fmla="*/ 11109 h 64715"/>
                  <a:gd name="connsiteX209" fmla="*/ 73797 w 146712"/>
                  <a:gd name="connsiteY209" fmla="*/ 10757 h 64715"/>
                  <a:gd name="connsiteX210" fmla="*/ 73532 w 146712"/>
                  <a:gd name="connsiteY210" fmla="*/ 10757 h 64715"/>
                  <a:gd name="connsiteX211" fmla="*/ 73532 w 146712"/>
                  <a:gd name="connsiteY211" fmla="*/ 11109 h 64715"/>
                  <a:gd name="connsiteX212" fmla="*/ 74061 w 146712"/>
                  <a:gd name="connsiteY212" fmla="*/ 11991 h 64715"/>
                  <a:gd name="connsiteX213" fmla="*/ 73532 w 146712"/>
                  <a:gd name="connsiteY213" fmla="*/ 13137 h 64715"/>
                  <a:gd name="connsiteX214" fmla="*/ 73797 w 146712"/>
                  <a:gd name="connsiteY214" fmla="*/ 14283 h 64715"/>
                  <a:gd name="connsiteX215" fmla="*/ 72915 w 146712"/>
                  <a:gd name="connsiteY215" fmla="*/ 15694 h 64715"/>
                  <a:gd name="connsiteX216" fmla="*/ 70887 w 146712"/>
                  <a:gd name="connsiteY216" fmla="*/ 17457 h 64715"/>
                  <a:gd name="connsiteX217" fmla="*/ 68242 w 146712"/>
                  <a:gd name="connsiteY217" fmla="*/ 17457 h 64715"/>
                  <a:gd name="connsiteX218" fmla="*/ 65950 w 146712"/>
                  <a:gd name="connsiteY218" fmla="*/ 18339 h 64715"/>
                  <a:gd name="connsiteX219" fmla="*/ 64187 w 146712"/>
                  <a:gd name="connsiteY219" fmla="*/ 19573 h 64715"/>
                  <a:gd name="connsiteX220" fmla="*/ 62688 w 146712"/>
                  <a:gd name="connsiteY220" fmla="*/ 20719 h 64715"/>
                  <a:gd name="connsiteX221" fmla="*/ 61806 w 146712"/>
                  <a:gd name="connsiteY221" fmla="*/ 20719 h 64715"/>
                  <a:gd name="connsiteX222" fmla="*/ 60924 w 146712"/>
                  <a:gd name="connsiteY222" fmla="*/ 22130 h 64715"/>
                  <a:gd name="connsiteX223" fmla="*/ 61541 w 146712"/>
                  <a:gd name="connsiteY223" fmla="*/ 23894 h 64715"/>
                  <a:gd name="connsiteX224" fmla="*/ 62423 w 146712"/>
                  <a:gd name="connsiteY224" fmla="*/ 25040 h 64715"/>
                  <a:gd name="connsiteX225" fmla="*/ 63569 w 146712"/>
                  <a:gd name="connsiteY225" fmla="*/ 25922 h 64715"/>
                  <a:gd name="connsiteX226" fmla="*/ 64716 w 146712"/>
                  <a:gd name="connsiteY226" fmla="*/ 27420 h 64715"/>
                  <a:gd name="connsiteX227" fmla="*/ 65333 w 146712"/>
                  <a:gd name="connsiteY227" fmla="*/ 28566 h 64715"/>
                  <a:gd name="connsiteX228" fmla="*/ 64716 w 146712"/>
                  <a:gd name="connsiteY228" fmla="*/ 30330 h 64715"/>
                  <a:gd name="connsiteX229" fmla="*/ 64716 w 146712"/>
                  <a:gd name="connsiteY229" fmla="*/ 30947 h 64715"/>
                  <a:gd name="connsiteX230" fmla="*/ 66479 w 146712"/>
                  <a:gd name="connsiteY230" fmla="*/ 31476 h 64715"/>
                  <a:gd name="connsiteX231" fmla="*/ 67978 w 146712"/>
                  <a:gd name="connsiteY231" fmla="*/ 32358 h 64715"/>
                  <a:gd name="connsiteX232" fmla="*/ 67978 w 146712"/>
                  <a:gd name="connsiteY232" fmla="*/ 33857 h 64715"/>
                  <a:gd name="connsiteX233" fmla="*/ 67713 w 146712"/>
                  <a:gd name="connsiteY233" fmla="*/ 34386 h 64715"/>
                  <a:gd name="connsiteX234" fmla="*/ 67713 w 146712"/>
                  <a:gd name="connsiteY234" fmla="*/ 35267 h 64715"/>
                  <a:gd name="connsiteX235" fmla="*/ 67713 w 146712"/>
                  <a:gd name="connsiteY235" fmla="*/ 36413 h 64715"/>
                  <a:gd name="connsiteX236" fmla="*/ 67361 w 146712"/>
                  <a:gd name="connsiteY236" fmla="*/ 36766 h 64715"/>
                  <a:gd name="connsiteX237" fmla="*/ 67096 w 146712"/>
                  <a:gd name="connsiteY237" fmla="*/ 37295 h 64715"/>
                  <a:gd name="connsiteX238" fmla="*/ 65950 w 146712"/>
                  <a:gd name="connsiteY238" fmla="*/ 37295 h 64715"/>
                  <a:gd name="connsiteX239" fmla="*/ 63834 w 146712"/>
                  <a:gd name="connsiteY239" fmla="*/ 36149 h 64715"/>
                  <a:gd name="connsiteX240" fmla="*/ 62423 w 146712"/>
                  <a:gd name="connsiteY240" fmla="*/ 35003 h 64715"/>
                  <a:gd name="connsiteX241" fmla="*/ 62952 w 146712"/>
                  <a:gd name="connsiteY241" fmla="*/ 33857 h 64715"/>
                  <a:gd name="connsiteX242" fmla="*/ 61541 w 146712"/>
                  <a:gd name="connsiteY242" fmla="*/ 32358 h 64715"/>
                  <a:gd name="connsiteX243" fmla="*/ 59161 w 146712"/>
                  <a:gd name="connsiteY243" fmla="*/ 32358 h 64715"/>
                  <a:gd name="connsiteX244" fmla="*/ 58896 w 146712"/>
                  <a:gd name="connsiteY244" fmla="*/ 32975 h 64715"/>
                  <a:gd name="connsiteX245" fmla="*/ 58367 w 146712"/>
                  <a:gd name="connsiteY245" fmla="*/ 32975 h 64715"/>
                  <a:gd name="connsiteX246" fmla="*/ 56251 w 146712"/>
                  <a:gd name="connsiteY246" fmla="*/ 33504 h 64715"/>
                  <a:gd name="connsiteX247" fmla="*/ 55987 w 146712"/>
                  <a:gd name="connsiteY247" fmla="*/ 32975 h 64715"/>
                  <a:gd name="connsiteX248" fmla="*/ 55458 w 146712"/>
                  <a:gd name="connsiteY248" fmla="*/ 32358 h 64715"/>
                  <a:gd name="connsiteX249" fmla="*/ 55987 w 146712"/>
                  <a:gd name="connsiteY249" fmla="*/ 31741 h 64715"/>
                  <a:gd name="connsiteX250" fmla="*/ 53695 w 146712"/>
                  <a:gd name="connsiteY250" fmla="*/ 32093 h 64715"/>
                  <a:gd name="connsiteX251" fmla="*/ 52460 w 146712"/>
                  <a:gd name="connsiteY251" fmla="*/ 31741 h 64715"/>
                  <a:gd name="connsiteX252" fmla="*/ 51931 w 146712"/>
                  <a:gd name="connsiteY252" fmla="*/ 32093 h 64715"/>
                  <a:gd name="connsiteX253" fmla="*/ 51579 w 146712"/>
                  <a:gd name="connsiteY253" fmla="*/ 32358 h 64715"/>
                  <a:gd name="connsiteX254" fmla="*/ 51050 w 146712"/>
                  <a:gd name="connsiteY254" fmla="*/ 32975 h 64715"/>
                  <a:gd name="connsiteX255" fmla="*/ 51314 w 146712"/>
                  <a:gd name="connsiteY255" fmla="*/ 33504 h 64715"/>
                  <a:gd name="connsiteX256" fmla="*/ 48404 w 146712"/>
                  <a:gd name="connsiteY256" fmla="*/ 33504 h 64715"/>
                  <a:gd name="connsiteX257" fmla="*/ 46112 w 146712"/>
                  <a:gd name="connsiteY257" fmla="*/ 34386 h 64715"/>
                  <a:gd name="connsiteX258" fmla="*/ 41968 w 146712"/>
                  <a:gd name="connsiteY258" fmla="*/ 34386 h 64715"/>
                  <a:gd name="connsiteX259" fmla="*/ 40205 w 146712"/>
                  <a:gd name="connsiteY259" fmla="*/ 35267 h 64715"/>
                  <a:gd name="connsiteX260" fmla="*/ 39676 w 146712"/>
                  <a:gd name="connsiteY260" fmla="*/ 35003 h 64715"/>
                  <a:gd name="connsiteX261" fmla="*/ 39323 w 146712"/>
                  <a:gd name="connsiteY261" fmla="*/ 35620 h 64715"/>
                  <a:gd name="connsiteX262" fmla="*/ 39059 w 146712"/>
                  <a:gd name="connsiteY262" fmla="*/ 36766 h 64715"/>
                  <a:gd name="connsiteX263" fmla="*/ 37031 w 146712"/>
                  <a:gd name="connsiteY263" fmla="*/ 36413 h 64715"/>
                  <a:gd name="connsiteX264" fmla="*/ 36149 w 146712"/>
                  <a:gd name="connsiteY264" fmla="*/ 36766 h 64715"/>
                  <a:gd name="connsiteX265" fmla="*/ 35885 w 146712"/>
                  <a:gd name="connsiteY265" fmla="*/ 37295 h 64715"/>
                  <a:gd name="connsiteX266" fmla="*/ 35620 w 146712"/>
                  <a:gd name="connsiteY266" fmla="*/ 37912 h 64715"/>
                  <a:gd name="connsiteX267" fmla="*/ 35885 w 146712"/>
                  <a:gd name="connsiteY267" fmla="*/ 38530 h 64715"/>
                  <a:gd name="connsiteX268" fmla="*/ 33857 w 146712"/>
                  <a:gd name="connsiteY268" fmla="*/ 38794 h 64715"/>
                  <a:gd name="connsiteX269" fmla="*/ 34386 w 146712"/>
                  <a:gd name="connsiteY269" fmla="*/ 39676 h 64715"/>
                  <a:gd name="connsiteX270" fmla="*/ 33239 w 146712"/>
                  <a:gd name="connsiteY270" fmla="*/ 39676 h 64715"/>
                  <a:gd name="connsiteX271" fmla="*/ 32975 w 146712"/>
                  <a:gd name="connsiteY271" fmla="*/ 39323 h 64715"/>
                  <a:gd name="connsiteX272" fmla="*/ 32358 w 146712"/>
                  <a:gd name="connsiteY272" fmla="*/ 39323 h 64715"/>
                  <a:gd name="connsiteX273" fmla="*/ 30065 w 146712"/>
                  <a:gd name="connsiteY273" fmla="*/ 39940 h 64715"/>
                  <a:gd name="connsiteX274" fmla="*/ 28302 w 146712"/>
                  <a:gd name="connsiteY274" fmla="*/ 39676 h 64715"/>
                  <a:gd name="connsiteX275" fmla="*/ 27685 w 146712"/>
                  <a:gd name="connsiteY275" fmla="*/ 39059 h 64715"/>
                  <a:gd name="connsiteX276" fmla="*/ 27068 w 146712"/>
                  <a:gd name="connsiteY276" fmla="*/ 37295 h 64715"/>
                  <a:gd name="connsiteX277" fmla="*/ 26539 w 146712"/>
                  <a:gd name="connsiteY277" fmla="*/ 37031 h 64715"/>
                  <a:gd name="connsiteX278" fmla="*/ 27068 w 146712"/>
                  <a:gd name="connsiteY278" fmla="*/ 36766 h 64715"/>
                  <a:gd name="connsiteX279" fmla="*/ 26274 w 146712"/>
                  <a:gd name="connsiteY279" fmla="*/ 36149 h 64715"/>
                  <a:gd name="connsiteX280" fmla="*/ 24158 w 146712"/>
                  <a:gd name="connsiteY280" fmla="*/ 36766 h 64715"/>
                  <a:gd name="connsiteX281" fmla="*/ 22483 w 146712"/>
                  <a:gd name="connsiteY281" fmla="*/ 35267 h 64715"/>
                  <a:gd name="connsiteX282" fmla="*/ 20102 w 146712"/>
                  <a:gd name="connsiteY282" fmla="*/ 35267 h 64715"/>
                  <a:gd name="connsiteX283" fmla="*/ 19221 w 146712"/>
                  <a:gd name="connsiteY283" fmla="*/ 36149 h 64715"/>
                  <a:gd name="connsiteX284" fmla="*/ 17810 w 146712"/>
                  <a:gd name="connsiteY284" fmla="*/ 35884 h 64715"/>
                  <a:gd name="connsiteX285" fmla="*/ 17457 w 146712"/>
                  <a:gd name="connsiteY285" fmla="*/ 35884 h 64715"/>
                  <a:gd name="connsiteX286" fmla="*/ 16928 w 146712"/>
                  <a:gd name="connsiteY286" fmla="*/ 35884 h 64715"/>
                  <a:gd name="connsiteX287" fmla="*/ 16576 w 146712"/>
                  <a:gd name="connsiteY287" fmla="*/ 36149 h 64715"/>
                  <a:gd name="connsiteX288" fmla="*/ 16576 w 146712"/>
                  <a:gd name="connsiteY288" fmla="*/ 36766 h 64715"/>
                  <a:gd name="connsiteX289" fmla="*/ 16928 w 146712"/>
                  <a:gd name="connsiteY289" fmla="*/ 37295 h 64715"/>
                  <a:gd name="connsiteX290" fmla="*/ 17193 w 146712"/>
                  <a:gd name="connsiteY290" fmla="*/ 39059 h 64715"/>
                  <a:gd name="connsiteX291" fmla="*/ 16928 w 146712"/>
                  <a:gd name="connsiteY291" fmla="*/ 39940 h 64715"/>
                  <a:gd name="connsiteX292" fmla="*/ 16311 w 146712"/>
                  <a:gd name="connsiteY292" fmla="*/ 40557 h 64715"/>
                  <a:gd name="connsiteX293" fmla="*/ 14019 w 146712"/>
                  <a:gd name="connsiteY293" fmla="*/ 42321 h 64715"/>
                  <a:gd name="connsiteX294" fmla="*/ 13666 w 146712"/>
                  <a:gd name="connsiteY294" fmla="*/ 43202 h 64715"/>
                  <a:gd name="connsiteX295" fmla="*/ 11991 w 146712"/>
                  <a:gd name="connsiteY295" fmla="*/ 43202 h 64715"/>
                  <a:gd name="connsiteX296" fmla="*/ 11374 w 146712"/>
                  <a:gd name="connsiteY296" fmla="*/ 42321 h 64715"/>
                  <a:gd name="connsiteX297" fmla="*/ 11991 w 146712"/>
                  <a:gd name="connsiteY297" fmla="*/ 41704 h 64715"/>
                  <a:gd name="connsiteX298" fmla="*/ 11374 w 146712"/>
                  <a:gd name="connsiteY298" fmla="*/ 41086 h 64715"/>
                  <a:gd name="connsiteX299" fmla="*/ 11638 w 146712"/>
                  <a:gd name="connsiteY299" fmla="*/ 40557 h 64715"/>
                  <a:gd name="connsiteX300" fmla="*/ 11109 w 146712"/>
                  <a:gd name="connsiteY300" fmla="*/ 40293 h 64715"/>
                  <a:gd name="connsiteX301" fmla="*/ 10757 w 146712"/>
                  <a:gd name="connsiteY301" fmla="*/ 39940 h 64715"/>
                  <a:gd name="connsiteX302" fmla="*/ 10492 w 146712"/>
                  <a:gd name="connsiteY302" fmla="*/ 39676 h 64715"/>
                  <a:gd name="connsiteX303" fmla="*/ 10757 w 146712"/>
                  <a:gd name="connsiteY303" fmla="*/ 39323 h 64715"/>
                  <a:gd name="connsiteX304" fmla="*/ 9875 w 146712"/>
                  <a:gd name="connsiteY304" fmla="*/ 37295 h 64715"/>
                  <a:gd name="connsiteX305" fmla="*/ 8464 w 146712"/>
                  <a:gd name="connsiteY305" fmla="*/ 37031 h 64715"/>
                  <a:gd name="connsiteX306" fmla="*/ 7582 w 146712"/>
                  <a:gd name="connsiteY306" fmla="*/ 36149 h 64715"/>
                  <a:gd name="connsiteX307" fmla="*/ 6965 w 146712"/>
                  <a:gd name="connsiteY307" fmla="*/ 36149 h 64715"/>
                  <a:gd name="connsiteX308" fmla="*/ 6701 w 146712"/>
                  <a:gd name="connsiteY308" fmla="*/ 35884 h 64715"/>
                  <a:gd name="connsiteX309" fmla="*/ 4056 w 146712"/>
                  <a:gd name="connsiteY309" fmla="*/ 36149 h 64715"/>
                  <a:gd name="connsiteX310" fmla="*/ 4056 w 146712"/>
                  <a:gd name="connsiteY310" fmla="*/ 35884 h 64715"/>
                  <a:gd name="connsiteX311" fmla="*/ 3791 w 146712"/>
                  <a:gd name="connsiteY311" fmla="*/ 35884 h 64715"/>
                  <a:gd name="connsiteX312" fmla="*/ 3438 w 146712"/>
                  <a:gd name="connsiteY312" fmla="*/ 35884 h 64715"/>
                  <a:gd name="connsiteX313" fmla="*/ 3174 w 146712"/>
                  <a:gd name="connsiteY313" fmla="*/ 36149 h 64715"/>
                  <a:gd name="connsiteX314" fmla="*/ 264 w 146712"/>
                  <a:gd name="connsiteY314" fmla="*/ 36149 h 64715"/>
                  <a:gd name="connsiteX315" fmla="*/ 264 w 146712"/>
                  <a:gd name="connsiteY315" fmla="*/ 36766 h 64715"/>
                  <a:gd name="connsiteX316" fmla="*/ 0 w 146712"/>
                  <a:gd name="connsiteY316" fmla="*/ 37648 h 64715"/>
                  <a:gd name="connsiteX317" fmla="*/ 882 w 146712"/>
                  <a:gd name="connsiteY317" fmla="*/ 38530 h 64715"/>
                  <a:gd name="connsiteX318" fmla="*/ 882 w 146712"/>
                  <a:gd name="connsiteY318" fmla="*/ 39323 h 64715"/>
                  <a:gd name="connsiteX319" fmla="*/ 1411 w 146712"/>
                  <a:gd name="connsiteY319" fmla="*/ 39940 h 64715"/>
                  <a:gd name="connsiteX320" fmla="*/ 882 w 146712"/>
                  <a:gd name="connsiteY320" fmla="*/ 40557 h 64715"/>
                  <a:gd name="connsiteX321" fmla="*/ 0 w 146712"/>
                  <a:gd name="connsiteY321" fmla="*/ 43467 h 64715"/>
                  <a:gd name="connsiteX322" fmla="*/ 1146 w 146712"/>
                  <a:gd name="connsiteY322" fmla="*/ 44613 h 64715"/>
                  <a:gd name="connsiteX323" fmla="*/ 882 w 146712"/>
                  <a:gd name="connsiteY323" fmla="*/ 45759 h 64715"/>
                  <a:gd name="connsiteX324" fmla="*/ 1146 w 146712"/>
                  <a:gd name="connsiteY324" fmla="*/ 45759 h 64715"/>
                  <a:gd name="connsiteX325" fmla="*/ 1146 w 146712"/>
                  <a:gd name="connsiteY325" fmla="*/ 46641 h 64715"/>
                  <a:gd name="connsiteX326" fmla="*/ 1146 w 146712"/>
                  <a:gd name="connsiteY326" fmla="*/ 46906 h 64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</a:cxnLst>
                <a:rect l="l" t="t" r="r" b="b"/>
                <a:pathLst>
                  <a:path w="146712" h="64715">
                    <a:moveTo>
                      <a:pt x="1146" y="47787"/>
                    </a:moveTo>
                    <a:lnTo>
                      <a:pt x="2028" y="47787"/>
                    </a:lnTo>
                    <a:lnTo>
                      <a:pt x="7582" y="49022"/>
                    </a:lnTo>
                    <a:lnTo>
                      <a:pt x="7847" y="50697"/>
                    </a:lnTo>
                    <a:lnTo>
                      <a:pt x="8200" y="51314"/>
                    </a:lnTo>
                    <a:lnTo>
                      <a:pt x="8993" y="51314"/>
                    </a:lnTo>
                    <a:lnTo>
                      <a:pt x="10757" y="52813"/>
                    </a:lnTo>
                    <a:lnTo>
                      <a:pt x="11374" y="52813"/>
                    </a:lnTo>
                    <a:lnTo>
                      <a:pt x="14019" y="51931"/>
                    </a:lnTo>
                    <a:lnTo>
                      <a:pt x="14283" y="50697"/>
                    </a:lnTo>
                    <a:lnTo>
                      <a:pt x="14283" y="50168"/>
                    </a:lnTo>
                    <a:lnTo>
                      <a:pt x="16047" y="49022"/>
                    </a:lnTo>
                    <a:lnTo>
                      <a:pt x="16928" y="49022"/>
                    </a:lnTo>
                    <a:lnTo>
                      <a:pt x="18074" y="50697"/>
                    </a:lnTo>
                    <a:lnTo>
                      <a:pt x="17457" y="51931"/>
                    </a:lnTo>
                    <a:lnTo>
                      <a:pt x="17457" y="52813"/>
                    </a:lnTo>
                    <a:lnTo>
                      <a:pt x="20367" y="52813"/>
                    </a:lnTo>
                    <a:lnTo>
                      <a:pt x="20984" y="52813"/>
                    </a:lnTo>
                    <a:lnTo>
                      <a:pt x="21601" y="52813"/>
                    </a:lnTo>
                    <a:lnTo>
                      <a:pt x="25040" y="53077"/>
                    </a:lnTo>
                    <a:lnTo>
                      <a:pt x="24775" y="53695"/>
                    </a:lnTo>
                    <a:lnTo>
                      <a:pt x="25657" y="54224"/>
                    </a:lnTo>
                    <a:lnTo>
                      <a:pt x="27420" y="54576"/>
                    </a:lnTo>
                    <a:lnTo>
                      <a:pt x="27685" y="54224"/>
                    </a:lnTo>
                    <a:lnTo>
                      <a:pt x="28037" y="54576"/>
                    </a:lnTo>
                    <a:lnTo>
                      <a:pt x="30330" y="53959"/>
                    </a:lnTo>
                    <a:lnTo>
                      <a:pt x="30594" y="51578"/>
                    </a:lnTo>
                    <a:lnTo>
                      <a:pt x="31212" y="50168"/>
                    </a:lnTo>
                    <a:lnTo>
                      <a:pt x="34650" y="49022"/>
                    </a:lnTo>
                    <a:lnTo>
                      <a:pt x="37031" y="50168"/>
                    </a:lnTo>
                    <a:lnTo>
                      <a:pt x="37648" y="49022"/>
                    </a:lnTo>
                    <a:lnTo>
                      <a:pt x="39323" y="49022"/>
                    </a:lnTo>
                    <a:lnTo>
                      <a:pt x="40558" y="49022"/>
                    </a:lnTo>
                    <a:lnTo>
                      <a:pt x="43996" y="49551"/>
                    </a:lnTo>
                    <a:lnTo>
                      <a:pt x="46906" y="47787"/>
                    </a:lnTo>
                    <a:lnTo>
                      <a:pt x="49022" y="47523"/>
                    </a:lnTo>
                    <a:lnTo>
                      <a:pt x="50168" y="47787"/>
                    </a:lnTo>
                    <a:lnTo>
                      <a:pt x="50432" y="46906"/>
                    </a:lnTo>
                    <a:lnTo>
                      <a:pt x="52196" y="47787"/>
                    </a:lnTo>
                    <a:lnTo>
                      <a:pt x="50432" y="48669"/>
                    </a:lnTo>
                    <a:lnTo>
                      <a:pt x="50168" y="50168"/>
                    </a:lnTo>
                    <a:lnTo>
                      <a:pt x="50697" y="50697"/>
                    </a:lnTo>
                    <a:lnTo>
                      <a:pt x="50168" y="51314"/>
                    </a:lnTo>
                    <a:lnTo>
                      <a:pt x="51050" y="51578"/>
                    </a:lnTo>
                    <a:lnTo>
                      <a:pt x="52460" y="51931"/>
                    </a:lnTo>
                    <a:lnTo>
                      <a:pt x="53077" y="52196"/>
                    </a:lnTo>
                    <a:lnTo>
                      <a:pt x="53695" y="52813"/>
                    </a:lnTo>
                    <a:lnTo>
                      <a:pt x="54224" y="53959"/>
                    </a:lnTo>
                    <a:lnTo>
                      <a:pt x="56251" y="56251"/>
                    </a:lnTo>
                    <a:lnTo>
                      <a:pt x="59778" y="57750"/>
                    </a:lnTo>
                    <a:lnTo>
                      <a:pt x="60924" y="57750"/>
                    </a:lnTo>
                    <a:lnTo>
                      <a:pt x="63569" y="58015"/>
                    </a:lnTo>
                    <a:lnTo>
                      <a:pt x="63834" y="57750"/>
                    </a:lnTo>
                    <a:lnTo>
                      <a:pt x="64716" y="58015"/>
                    </a:lnTo>
                    <a:lnTo>
                      <a:pt x="71152" y="58896"/>
                    </a:lnTo>
                    <a:lnTo>
                      <a:pt x="73532" y="60043"/>
                    </a:lnTo>
                    <a:lnTo>
                      <a:pt x="73797" y="60043"/>
                    </a:lnTo>
                    <a:lnTo>
                      <a:pt x="76089" y="58896"/>
                    </a:lnTo>
                    <a:lnTo>
                      <a:pt x="76706" y="60043"/>
                    </a:lnTo>
                    <a:lnTo>
                      <a:pt x="77853" y="60043"/>
                    </a:lnTo>
                    <a:lnTo>
                      <a:pt x="82261" y="60924"/>
                    </a:lnTo>
                    <a:lnTo>
                      <a:pt x="85700" y="63040"/>
                    </a:lnTo>
                    <a:lnTo>
                      <a:pt x="87816" y="62159"/>
                    </a:lnTo>
                    <a:lnTo>
                      <a:pt x="90725" y="62688"/>
                    </a:lnTo>
                    <a:lnTo>
                      <a:pt x="90725" y="63305"/>
                    </a:lnTo>
                    <a:lnTo>
                      <a:pt x="94164" y="63834"/>
                    </a:lnTo>
                    <a:lnTo>
                      <a:pt x="96544" y="63305"/>
                    </a:lnTo>
                    <a:lnTo>
                      <a:pt x="97073" y="63834"/>
                    </a:lnTo>
                    <a:lnTo>
                      <a:pt x="100071" y="64716"/>
                    </a:lnTo>
                    <a:lnTo>
                      <a:pt x="100071" y="63834"/>
                    </a:lnTo>
                    <a:lnTo>
                      <a:pt x="101217" y="63305"/>
                    </a:lnTo>
                    <a:lnTo>
                      <a:pt x="101746" y="62159"/>
                    </a:lnTo>
                    <a:lnTo>
                      <a:pt x="103862" y="62159"/>
                    </a:lnTo>
                    <a:lnTo>
                      <a:pt x="103862" y="58896"/>
                    </a:lnTo>
                    <a:lnTo>
                      <a:pt x="105890" y="58015"/>
                    </a:lnTo>
                    <a:lnTo>
                      <a:pt x="106772" y="58015"/>
                    </a:lnTo>
                    <a:lnTo>
                      <a:pt x="106419" y="57750"/>
                    </a:lnTo>
                    <a:lnTo>
                      <a:pt x="109681" y="58632"/>
                    </a:lnTo>
                    <a:lnTo>
                      <a:pt x="112326" y="57750"/>
                    </a:lnTo>
                    <a:lnTo>
                      <a:pt x="115236" y="57486"/>
                    </a:lnTo>
                    <a:lnTo>
                      <a:pt x="116382" y="58015"/>
                    </a:lnTo>
                    <a:lnTo>
                      <a:pt x="117264" y="58015"/>
                    </a:lnTo>
                    <a:lnTo>
                      <a:pt x="117264" y="57750"/>
                    </a:lnTo>
                    <a:lnTo>
                      <a:pt x="120174" y="56869"/>
                    </a:lnTo>
                    <a:lnTo>
                      <a:pt x="120174" y="56604"/>
                    </a:lnTo>
                    <a:lnTo>
                      <a:pt x="121937" y="56604"/>
                    </a:lnTo>
                    <a:lnTo>
                      <a:pt x="122466" y="56604"/>
                    </a:lnTo>
                    <a:lnTo>
                      <a:pt x="123083" y="56604"/>
                    </a:lnTo>
                    <a:lnTo>
                      <a:pt x="126610" y="56869"/>
                    </a:lnTo>
                    <a:lnTo>
                      <a:pt x="127139" y="57750"/>
                    </a:lnTo>
                    <a:lnTo>
                      <a:pt x="127139" y="56251"/>
                    </a:lnTo>
                    <a:lnTo>
                      <a:pt x="126610" y="55105"/>
                    </a:lnTo>
                    <a:lnTo>
                      <a:pt x="126257" y="53077"/>
                    </a:lnTo>
                    <a:lnTo>
                      <a:pt x="128902" y="52460"/>
                    </a:lnTo>
                    <a:lnTo>
                      <a:pt x="129519" y="50697"/>
                    </a:lnTo>
                    <a:lnTo>
                      <a:pt x="130666" y="50168"/>
                    </a:lnTo>
                    <a:lnTo>
                      <a:pt x="131812" y="49022"/>
                    </a:lnTo>
                    <a:lnTo>
                      <a:pt x="133311" y="48404"/>
                    </a:lnTo>
                    <a:lnTo>
                      <a:pt x="134721" y="49022"/>
                    </a:lnTo>
                    <a:lnTo>
                      <a:pt x="136749" y="47787"/>
                    </a:lnTo>
                    <a:lnTo>
                      <a:pt x="136484" y="47258"/>
                    </a:lnTo>
                    <a:lnTo>
                      <a:pt x="136749" y="46641"/>
                    </a:lnTo>
                    <a:lnTo>
                      <a:pt x="136749" y="45759"/>
                    </a:lnTo>
                    <a:lnTo>
                      <a:pt x="135074" y="45495"/>
                    </a:lnTo>
                    <a:lnTo>
                      <a:pt x="134457" y="44613"/>
                    </a:lnTo>
                    <a:lnTo>
                      <a:pt x="133311" y="44613"/>
                    </a:lnTo>
                    <a:lnTo>
                      <a:pt x="134192" y="43467"/>
                    </a:lnTo>
                    <a:lnTo>
                      <a:pt x="134721" y="42321"/>
                    </a:lnTo>
                    <a:lnTo>
                      <a:pt x="133840" y="41086"/>
                    </a:lnTo>
                    <a:lnTo>
                      <a:pt x="134192" y="40557"/>
                    </a:lnTo>
                    <a:lnTo>
                      <a:pt x="133840" y="39323"/>
                    </a:lnTo>
                    <a:lnTo>
                      <a:pt x="135603" y="39940"/>
                    </a:lnTo>
                    <a:lnTo>
                      <a:pt x="136220" y="39323"/>
                    </a:lnTo>
                    <a:lnTo>
                      <a:pt x="137366" y="39323"/>
                    </a:lnTo>
                    <a:lnTo>
                      <a:pt x="138248" y="37912"/>
                    </a:lnTo>
                    <a:lnTo>
                      <a:pt x="138248" y="36766"/>
                    </a:lnTo>
                    <a:lnTo>
                      <a:pt x="139130" y="35267"/>
                    </a:lnTo>
                    <a:lnTo>
                      <a:pt x="138248" y="35003"/>
                    </a:lnTo>
                    <a:lnTo>
                      <a:pt x="137983" y="34121"/>
                    </a:lnTo>
                    <a:lnTo>
                      <a:pt x="136749" y="34121"/>
                    </a:lnTo>
                    <a:lnTo>
                      <a:pt x="133311" y="32975"/>
                    </a:lnTo>
                    <a:lnTo>
                      <a:pt x="133311" y="31741"/>
                    </a:lnTo>
                    <a:lnTo>
                      <a:pt x="133840" y="32093"/>
                    </a:lnTo>
                    <a:lnTo>
                      <a:pt x="135603" y="31741"/>
                    </a:lnTo>
                    <a:lnTo>
                      <a:pt x="135339" y="31212"/>
                    </a:lnTo>
                    <a:lnTo>
                      <a:pt x="137631" y="30330"/>
                    </a:lnTo>
                    <a:lnTo>
                      <a:pt x="138865" y="31741"/>
                    </a:lnTo>
                    <a:lnTo>
                      <a:pt x="138865" y="32358"/>
                    </a:lnTo>
                    <a:lnTo>
                      <a:pt x="140011" y="32358"/>
                    </a:lnTo>
                    <a:lnTo>
                      <a:pt x="140893" y="31741"/>
                    </a:lnTo>
                    <a:lnTo>
                      <a:pt x="141775" y="31741"/>
                    </a:lnTo>
                    <a:lnTo>
                      <a:pt x="142039" y="32358"/>
                    </a:lnTo>
                    <a:lnTo>
                      <a:pt x="145831" y="31741"/>
                    </a:lnTo>
                    <a:lnTo>
                      <a:pt x="144949" y="30947"/>
                    </a:lnTo>
                    <a:lnTo>
                      <a:pt x="144684" y="30330"/>
                    </a:lnTo>
                    <a:lnTo>
                      <a:pt x="144684" y="30065"/>
                    </a:lnTo>
                    <a:lnTo>
                      <a:pt x="144067" y="28566"/>
                    </a:lnTo>
                    <a:lnTo>
                      <a:pt x="145566" y="28037"/>
                    </a:lnTo>
                    <a:lnTo>
                      <a:pt x="145566" y="27420"/>
                    </a:lnTo>
                    <a:lnTo>
                      <a:pt x="146712" y="26274"/>
                    </a:lnTo>
                    <a:lnTo>
                      <a:pt x="145566" y="26274"/>
                    </a:lnTo>
                    <a:lnTo>
                      <a:pt x="146448" y="25040"/>
                    </a:lnTo>
                    <a:lnTo>
                      <a:pt x="145213" y="25040"/>
                    </a:lnTo>
                    <a:lnTo>
                      <a:pt x="145213" y="23894"/>
                    </a:lnTo>
                    <a:lnTo>
                      <a:pt x="145213" y="23012"/>
                    </a:lnTo>
                    <a:lnTo>
                      <a:pt x="143803" y="21248"/>
                    </a:lnTo>
                    <a:lnTo>
                      <a:pt x="142039" y="21248"/>
                    </a:lnTo>
                    <a:lnTo>
                      <a:pt x="141775" y="18074"/>
                    </a:lnTo>
                    <a:lnTo>
                      <a:pt x="140540" y="18074"/>
                    </a:lnTo>
                    <a:lnTo>
                      <a:pt x="140540" y="16928"/>
                    </a:lnTo>
                    <a:lnTo>
                      <a:pt x="138512" y="16047"/>
                    </a:lnTo>
                    <a:lnTo>
                      <a:pt x="140276" y="13137"/>
                    </a:lnTo>
                    <a:lnTo>
                      <a:pt x="141158" y="11109"/>
                    </a:lnTo>
                    <a:lnTo>
                      <a:pt x="139747" y="7582"/>
                    </a:lnTo>
                    <a:lnTo>
                      <a:pt x="137983" y="7582"/>
                    </a:lnTo>
                    <a:lnTo>
                      <a:pt x="136749" y="7582"/>
                    </a:lnTo>
                    <a:lnTo>
                      <a:pt x="135868" y="6965"/>
                    </a:lnTo>
                    <a:lnTo>
                      <a:pt x="135339" y="6436"/>
                    </a:lnTo>
                    <a:lnTo>
                      <a:pt x="134457" y="6436"/>
                    </a:lnTo>
                    <a:lnTo>
                      <a:pt x="133311" y="5819"/>
                    </a:lnTo>
                    <a:lnTo>
                      <a:pt x="130930" y="5819"/>
                    </a:lnTo>
                    <a:lnTo>
                      <a:pt x="130048" y="7582"/>
                    </a:lnTo>
                    <a:lnTo>
                      <a:pt x="128020" y="8200"/>
                    </a:lnTo>
                    <a:lnTo>
                      <a:pt x="124229" y="7582"/>
                    </a:lnTo>
                    <a:lnTo>
                      <a:pt x="121937" y="6436"/>
                    </a:lnTo>
                    <a:lnTo>
                      <a:pt x="120703" y="5555"/>
                    </a:lnTo>
                    <a:lnTo>
                      <a:pt x="119556" y="4937"/>
                    </a:lnTo>
                    <a:lnTo>
                      <a:pt x="119292" y="4673"/>
                    </a:lnTo>
                    <a:lnTo>
                      <a:pt x="118675" y="4673"/>
                    </a:lnTo>
                    <a:lnTo>
                      <a:pt x="118146" y="4408"/>
                    </a:lnTo>
                    <a:lnTo>
                      <a:pt x="116118" y="4673"/>
                    </a:lnTo>
                    <a:lnTo>
                      <a:pt x="114619" y="3791"/>
                    </a:lnTo>
                    <a:lnTo>
                      <a:pt x="112855" y="3174"/>
                    </a:lnTo>
                    <a:lnTo>
                      <a:pt x="111974" y="2645"/>
                    </a:lnTo>
                    <a:lnTo>
                      <a:pt x="111709" y="2645"/>
                    </a:lnTo>
                    <a:lnTo>
                      <a:pt x="109064" y="2028"/>
                    </a:lnTo>
                    <a:lnTo>
                      <a:pt x="108447" y="1763"/>
                    </a:lnTo>
                    <a:lnTo>
                      <a:pt x="107918" y="2645"/>
                    </a:lnTo>
                    <a:lnTo>
                      <a:pt x="106155" y="2028"/>
                    </a:lnTo>
                    <a:lnTo>
                      <a:pt x="105538" y="882"/>
                    </a:lnTo>
                    <a:lnTo>
                      <a:pt x="102099" y="0"/>
                    </a:lnTo>
                    <a:lnTo>
                      <a:pt x="102099" y="2028"/>
                    </a:lnTo>
                    <a:lnTo>
                      <a:pt x="102628" y="3174"/>
                    </a:lnTo>
                    <a:lnTo>
                      <a:pt x="102099" y="5819"/>
                    </a:lnTo>
                    <a:lnTo>
                      <a:pt x="101482" y="6436"/>
                    </a:lnTo>
                    <a:lnTo>
                      <a:pt x="100071" y="6701"/>
                    </a:lnTo>
                    <a:lnTo>
                      <a:pt x="99718" y="7582"/>
                    </a:lnTo>
                    <a:lnTo>
                      <a:pt x="98308" y="8464"/>
                    </a:lnTo>
                    <a:lnTo>
                      <a:pt x="97690" y="10757"/>
                    </a:lnTo>
                    <a:lnTo>
                      <a:pt x="97073" y="10492"/>
                    </a:lnTo>
                    <a:lnTo>
                      <a:pt x="96544" y="9610"/>
                    </a:lnTo>
                    <a:lnTo>
                      <a:pt x="95927" y="9875"/>
                    </a:lnTo>
                    <a:lnTo>
                      <a:pt x="93370" y="9610"/>
                    </a:lnTo>
                    <a:lnTo>
                      <a:pt x="92753" y="10757"/>
                    </a:lnTo>
                    <a:lnTo>
                      <a:pt x="90725" y="10757"/>
                    </a:lnTo>
                    <a:lnTo>
                      <a:pt x="90373" y="11109"/>
                    </a:lnTo>
                    <a:lnTo>
                      <a:pt x="86934" y="10757"/>
                    </a:lnTo>
                    <a:lnTo>
                      <a:pt x="85700" y="10757"/>
                    </a:lnTo>
                    <a:lnTo>
                      <a:pt x="83407" y="9610"/>
                    </a:lnTo>
                    <a:lnTo>
                      <a:pt x="84024" y="8729"/>
                    </a:lnTo>
                    <a:lnTo>
                      <a:pt x="83407" y="7582"/>
                    </a:lnTo>
                    <a:lnTo>
                      <a:pt x="80498" y="6965"/>
                    </a:lnTo>
                    <a:lnTo>
                      <a:pt x="80233" y="7847"/>
                    </a:lnTo>
                    <a:lnTo>
                      <a:pt x="80233" y="8993"/>
                    </a:lnTo>
                    <a:lnTo>
                      <a:pt x="80762" y="10757"/>
                    </a:lnTo>
                    <a:lnTo>
                      <a:pt x="79969" y="11374"/>
                    </a:lnTo>
                    <a:lnTo>
                      <a:pt x="78470" y="12784"/>
                    </a:lnTo>
                    <a:lnTo>
                      <a:pt x="77236" y="12255"/>
                    </a:lnTo>
                    <a:lnTo>
                      <a:pt x="76442" y="11109"/>
                    </a:lnTo>
                    <a:lnTo>
                      <a:pt x="73797" y="10757"/>
                    </a:lnTo>
                    <a:lnTo>
                      <a:pt x="73532" y="10757"/>
                    </a:lnTo>
                    <a:lnTo>
                      <a:pt x="73532" y="11109"/>
                    </a:lnTo>
                    <a:lnTo>
                      <a:pt x="74061" y="11991"/>
                    </a:lnTo>
                    <a:lnTo>
                      <a:pt x="73532" y="13137"/>
                    </a:lnTo>
                    <a:lnTo>
                      <a:pt x="73797" y="14283"/>
                    </a:lnTo>
                    <a:lnTo>
                      <a:pt x="72915" y="15694"/>
                    </a:lnTo>
                    <a:lnTo>
                      <a:pt x="70887" y="17457"/>
                    </a:lnTo>
                    <a:lnTo>
                      <a:pt x="68242" y="17457"/>
                    </a:lnTo>
                    <a:lnTo>
                      <a:pt x="65950" y="18339"/>
                    </a:lnTo>
                    <a:lnTo>
                      <a:pt x="64187" y="19573"/>
                    </a:lnTo>
                    <a:lnTo>
                      <a:pt x="62688" y="20719"/>
                    </a:lnTo>
                    <a:lnTo>
                      <a:pt x="61806" y="20719"/>
                    </a:lnTo>
                    <a:lnTo>
                      <a:pt x="60924" y="22130"/>
                    </a:lnTo>
                    <a:lnTo>
                      <a:pt x="61541" y="23894"/>
                    </a:lnTo>
                    <a:lnTo>
                      <a:pt x="62423" y="25040"/>
                    </a:lnTo>
                    <a:lnTo>
                      <a:pt x="63569" y="25922"/>
                    </a:lnTo>
                    <a:lnTo>
                      <a:pt x="64716" y="27420"/>
                    </a:lnTo>
                    <a:lnTo>
                      <a:pt x="65333" y="28566"/>
                    </a:lnTo>
                    <a:lnTo>
                      <a:pt x="64716" y="30330"/>
                    </a:lnTo>
                    <a:lnTo>
                      <a:pt x="64716" y="30947"/>
                    </a:lnTo>
                    <a:lnTo>
                      <a:pt x="66479" y="31476"/>
                    </a:lnTo>
                    <a:lnTo>
                      <a:pt x="67978" y="32358"/>
                    </a:lnTo>
                    <a:lnTo>
                      <a:pt x="67978" y="33857"/>
                    </a:lnTo>
                    <a:lnTo>
                      <a:pt x="67713" y="34386"/>
                    </a:lnTo>
                    <a:lnTo>
                      <a:pt x="67713" y="35267"/>
                    </a:lnTo>
                    <a:lnTo>
                      <a:pt x="67713" y="36413"/>
                    </a:lnTo>
                    <a:lnTo>
                      <a:pt x="67361" y="36766"/>
                    </a:lnTo>
                    <a:lnTo>
                      <a:pt x="67096" y="37295"/>
                    </a:lnTo>
                    <a:lnTo>
                      <a:pt x="65950" y="37295"/>
                    </a:lnTo>
                    <a:lnTo>
                      <a:pt x="63834" y="36149"/>
                    </a:lnTo>
                    <a:lnTo>
                      <a:pt x="62423" y="35003"/>
                    </a:lnTo>
                    <a:lnTo>
                      <a:pt x="62952" y="33857"/>
                    </a:lnTo>
                    <a:lnTo>
                      <a:pt x="61541" y="32358"/>
                    </a:lnTo>
                    <a:lnTo>
                      <a:pt x="59161" y="32358"/>
                    </a:lnTo>
                    <a:lnTo>
                      <a:pt x="58896" y="32975"/>
                    </a:lnTo>
                    <a:lnTo>
                      <a:pt x="58367" y="32975"/>
                    </a:lnTo>
                    <a:lnTo>
                      <a:pt x="56251" y="33504"/>
                    </a:lnTo>
                    <a:lnTo>
                      <a:pt x="55987" y="32975"/>
                    </a:lnTo>
                    <a:lnTo>
                      <a:pt x="55458" y="32358"/>
                    </a:lnTo>
                    <a:lnTo>
                      <a:pt x="55987" y="31741"/>
                    </a:lnTo>
                    <a:lnTo>
                      <a:pt x="53695" y="32093"/>
                    </a:lnTo>
                    <a:lnTo>
                      <a:pt x="52460" y="31741"/>
                    </a:lnTo>
                    <a:lnTo>
                      <a:pt x="51931" y="32093"/>
                    </a:lnTo>
                    <a:lnTo>
                      <a:pt x="51579" y="32358"/>
                    </a:lnTo>
                    <a:lnTo>
                      <a:pt x="51050" y="32975"/>
                    </a:lnTo>
                    <a:lnTo>
                      <a:pt x="51314" y="33504"/>
                    </a:lnTo>
                    <a:lnTo>
                      <a:pt x="48404" y="33504"/>
                    </a:lnTo>
                    <a:lnTo>
                      <a:pt x="46112" y="34386"/>
                    </a:lnTo>
                    <a:lnTo>
                      <a:pt x="41968" y="34386"/>
                    </a:lnTo>
                    <a:lnTo>
                      <a:pt x="40205" y="35267"/>
                    </a:lnTo>
                    <a:lnTo>
                      <a:pt x="39676" y="35003"/>
                    </a:lnTo>
                    <a:lnTo>
                      <a:pt x="39323" y="35620"/>
                    </a:lnTo>
                    <a:lnTo>
                      <a:pt x="39059" y="36766"/>
                    </a:lnTo>
                    <a:lnTo>
                      <a:pt x="37031" y="36413"/>
                    </a:lnTo>
                    <a:lnTo>
                      <a:pt x="36149" y="36766"/>
                    </a:lnTo>
                    <a:lnTo>
                      <a:pt x="35885" y="37295"/>
                    </a:lnTo>
                    <a:lnTo>
                      <a:pt x="35620" y="37912"/>
                    </a:lnTo>
                    <a:lnTo>
                      <a:pt x="35885" y="38530"/>
                    </a:lnTo>
                    <a:lnTo>
                      <a:pt x="33857" y="38794"/>
                    </a:lnTo>
                    <a:lnTo>
                      <a:pt x="34386" y="39676"/>
                    </a:lnTo>
                    <a:lnTo>
                      <a:pt x="33239" y="39676"/>
                    </a:lnTo>
                    <a:lnTo>
                      <a:pt x="32975" y="39323"/>
                    </a:lnTo>
                    <a:lnTo>
                      <a:pt x="32358" y="39323"/>
                    </a:lnTo>
                    <a:lnTo>
                      <a:pt x="30065" y="39940"/>
                    </a:lnTo>
                    <a:lnTo>
                      <a:pt x="28302" y="39676"/>
                    </a:lnTo>
                    <a:lnTo>
                      <a:pt x="27685" y="39059"/>
                    </a:lnTo>
                    <a:lnTo>
                      <a:pt x="27068" y="37295"/>
                    </a:lnTo>
                    <a:lnTo>
                      <a:pt x="26539" y="37031"/>
                    </a:lnTo>
                    <a:lnTo>
                      <a:pt x="27068" y="36766"/>
                    </a:lnTo>
                    <a:lnTo>
                      <a:pt x="26274" y="36149"/>
                    </a:lnTo>
                    <a:lnTo>
                      <a:pt x="24158" y="36766"/>
                    </a:lnTo>
                    <a:lnTo>
                      <a:pt x="22483" y="35267"/>
                    </a:lnTo>
                    <a:lnTo>
                      <a:pt x="20102" y="35267"/>
                    </a:lnTo>
                    <a:lnTo>
                      <a:pt x="19221" y="36149"/>
                    </a:lnTo>
                    <a:lnTo>
                      <a:pt x="17810" y="35884"/>
                    </a:lnTo>
                    <a:lnTo>
                      <a:pt x="17457" y="35884"/>
                    </a:lnTo>
                    <a:lnTo>
                      <a:pt x="16928" y="35884"/>
                    </a:lnTo>
                    <a:lnTo>
                      <a:pt x="16576" y="36149"/>
                    </a:lnTo>
                    <a:lnTo>
                      <a:pt x="16576" y="36766"/>
                    </a:lnTo>
                    <a:lnTo>
                      <a:pt x="16928" y="37295"/>
                    </a:lnTo>
                    <a:lnTo>
                      <a:pt x="17193" y="39059"/>
                    </a:lnTo>
                    <a:lnTo>
                      <a:pt x="16928" y="39940"/>
                    </a:lnTo>
                    <a:lnTo>
                      <a:pt x="16311" y="40557"/>
                    </a:lnTo>
                    <a:lnTo>
                      <a:pt x="14019" y="42321"/>
                    </a:lnTo>
                    <a:lnTo>
                      <a:pt x="13666" y="43202"/>
                    </a:lnTo>
                    <a:lnTo>
                      <a:pt x="11991" y="43202"/>
                    </a:lnTo>
                    <a:lnTo>
                      <a:pt x="11374" y="42321"/>
                    </a:lnTo>
                    <a:lnTo>
                      <a:pt x="11991" y="41704"/>
                    </a:lnTo>
                    <a:lnTo>
                      <a:pt x="11374" y="41086"/>
                    </a:lnTo>
                    <a:lnTo>
                      <a:pt x="11638" y="40557"/>
                    </a:lnTo>
                    <a:lnTo>
                      <a:pt x="11109" y="40293"/>
                    </a:lnTo>
                    <a:lnTo>
                      <a:pt x="10757" y="39940"/>
                    </a:lnTo>
                    <a:lnTo>
                      <a:pt x="10492" y="39676"/>
                    </a:lnTo>
                    <a:lnTo>
                      <a:pt x="10757" y="39323"/>
                    </a:lnTo>
                    <a:lnTo>
                      <a:pt x="9875" y="37295"/>
                    </a:lnTo>
                    <a:lnTo>
                      <a:pt x="8464" y="37031"/>
                    </a:lnTo>
                    <a:lnTo>
                      <a:pt x="7582" y="36149"/>
                    </a:lnTo>
                    <a:lnTo>
                      <a:pt x="6965" y="36149"/>
                    </a:lnTo>
                    <a:lnTo>
                      <a:pt x="6701" y="35884"/>
                    </a:lnTo>
                    <a:lnTo>
                      <a:pt x="4056" y="36149"/>
                    </a:lnTo>
                    <a:lnTo>
                      <a:pt x="4056" y="35884"/>
                    </a:lnTo>
                    <a:lnTo>
                      <a:pt x="3791" y="35884"/>
                    </a:lnTo>
                    <a:lnTo>
                      <a:pt x="3438" y="35884"/>
                    </a:lnTo>
                    <a:lnTo>
                      <a:pt x="3174" y="36149"/>
                    </a:lnTo>
                    <a:lnTo>
                      <a:pt x="264" y="36149"/>
                    </a:lnTo>
                    <a:lnTo>
                      <a:pt x="264" y="36766"/>
                    </a:lnTo>
                    <a:lnTo>
                      <a:pt x="0" y="37648"/>
                    </a:lnTo>
                    <a:lnTo>
                      <a:pt x="882" y="38530"/>
                    </a:lnTo>
                    <a:lnTo>
                      <a:pt x="882" y="39323"/>
                    </a:lnTo>
                    <a:lnTo>
                      <a:pt x="1411" y="39940"/>
                    </a:lnTo>
                    <a:lnTo>
                      <a:pt x="882" y="40557"/>
                    </a:lnTo>
                    <a:lnTo>
                      <a:pt x="0" y="43467"/>
                    </a:lnTo>
                    <a:lnTo>
                      <a:pt x="1146" y="44613"/>
                    </a:lnTo>
                    <a:lnTo>
                      <a:pt x="882" y="45759"/>
                    </a:lnTo>
                    <a:lnTo>
                      <a:pt x="1146" y="45759"/>
                    </a:lnTo>
                    <a:lnTo>
                      <a:pt x="1146" y="46641"/>
                    </a:lnTo>
                    <a:lnTo>
                      <a:pt x="1146" y="469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5" name="Freihandform: Form 1574">
                <a:extLst>
                  <a:ext uri="{FF2B5EF4-FFF2-40B4-BE49-F238E27FC236}">
                    <a16:creationId xmlns:a16="http://schemas.microsoft.com/office/drawing/2014/main" id="{07072083-56E8-9ABE-10D2-A4BA14529111}"/>
                  </a:ext>
                </a:extLst>
              </p:cNvPr>
              <p:cNvSpPr/>
              <p:nvPr/>
            </p:nvSpPr>
            <p:spPr>
              <a:xfrm>
                <a:off x="4332671" y="2792600"/>
                <a:ext cx="193970" cy="140893"/>
              </a:xfrm>
              <a:custGeom>
                <a:avLst/>
                <a:gdLst>
                  <a:gd name="connsiteX0" fmla="*/ 181098 w 193970"/>
                  <a:gd name="connsiteY0" fmla="*/ 76089 h 140893"/>
                  <a:gd name="connsiteX1" fmla="*/ 179952 w 193970"/>
                  <a:gd name="connsiteY1" fmla="*/ 68242 h 140893"/>
                  <a:gd name="connsiteX2" fmla="*/ 177571 w 193970"/>
                  <a:gd name="connsiteY2" fmla="*/ 68242 h 140893"/>
                  <a:gd name="connsiteX3" fmla="*/ 175896 w 193970"/>
                  <a:gd name="connsiteY3" fmla="*/ 67096 h 140893"/>
                  <a:gd name="connsiteX4" fmla="*/ 175543 w 193970"/>
                  <a:gd name="connsiteY4" fmla="*/ 65950 h 140893"/>
                  <a:gd name="connsiteX5" fmla="*/ 175014 w 193970"/>
                  <a:gd name="connsiteY5" fmla="*/ 65068 h 140893"/>
                  <a:gd name="connsiteX6" fmla="*/ 172634 w 193970"/>
                  <a:gd name="connsiteY6" fmla="*/ 65068 h 140893"/>
                  <a:gd name="connsiteX7" fmla="*/ 171488 w 193970"/>
                  <a:gd name="connsiteY7" fmla="*/ 63040 h 140893"/>
                  <a:gd name="connsiteX8" fmla="*/ 169989 w 193970"/>
                  <a:gd name="connsiteY8" fmla="*/ 62159 h 140893"/>
                  <a:gd name="connsiteX9" fmla="*/ 174397 w 193970"/>
                  <a:gd name="connsiteY9" fmla="*/ 55722 h 140893"/>
                  <a:gd name="connsiteX10" fmla="*/ 183126 w 193970"/>
                  <a:gd name="connsiteY10" fmla="*/ 52196 h 140893"/>
                  <a:gd name="connsiteX11" fmla="*/ 181098 w 193970"/>
                  <a:gd name="connsiteY11" fmla="*/ 38177 h 140893"/>
                  <a:gd name="connsiteX12" fmla="*/ 176425 w 193970"/>
                  <a:gd name="connsiteY12" fmla="*/ 32093 h 140893"/>
                  <a:gd name="connsiteX13" fmla="*/ 170606 w 193970"/>
                  <a:gd name="connsiteY13" fmla="*/ 14900 h 140893"/>
                  <a:gd name="connsiteX14" fmla="*/ 158968 w 193970"/>
                  <a:gd name="connsiteY14" fmla="*/ 12520 h 140893"/>
                  <a:gd name="connsiteX15" fmla="*/ 139130 w 193970"/>
                  <a:gd name="connsiteY15" fmla="*/ 12520 h 140893"/>
                  <a:gd name="connsiteX16" fmla="*/ 132429 w 193970"/>
                  <a:gd name="connsiteY16" fmla="*/ 12255 h 140893"/>
                  <a:gd name="connsiteX17" fmla="*/ 118939 w 193970"/>
                  <a:gd name="connsiteY17" fmla="*/ 11374 h 140893"/>
                  <a:gd name="connsiteX18" fmla="*/ 105890 w 193970"/>
                  <a:gd name="connsiteY18" fmla="*/ 10492 h 140893"/>
                  <a:gd name="connsiteX19" fmla="*/ 96192 w 193970"/>
                  <a:gd name="connsiteY19" fmla="*/ 9081 h 140893"/>
                  <a:gd name="connsiteX20" fmla="*/ 93635 w 193970"/>
                  <a:gd name="connsiteY20" fmla="*/ 10227 h 140893"/>
                  <a:gd name="connsiteX21" fmla="*/ 92489 w 193970"/>
                  <a:gd name="connsiteY21" fmla="*/ 9875 h 140893"/>
                  <a:gd name="connsiteX22" fmla="*/ 93899 w 193970"/>
                  <a:gd name="connsiteY22" fmla="*/ 7582 h 140893"/>
                  <a:gd name="connsiteX23" fmla="*/ 94781 w 193970"/>
                  <a:gd name="connsiteY23" fmla="*/ 4673 h 140893"/>
                  <a:gd name="connsiteX24" fmla="*/ 96809 w 193970"/>
                  <a:gd name="connsiteY24" fmla="*/ 2292 h 140893"/>
                  <a:gd name="connsiteX25" fmla="*/ 95398 w 193970"/>
                  <a:gd name="connsiteY25" fmla="*/ 2645 h 140893"/>
                  <a:gd name="connsiteX26" fmla="*/ 93635 w 193970"/>
                  <a:gd name="connsiteY26" fmla="*/ 4673 h 140893"/>
                  <a:gd name="connsiteX27" fmla="*/ 93282 w 193970"/>
                  <a:gd name="connsiteY27" fmla="*/ 6701 h 140893"/>
                  <a:gd name="connsiteX28" fmla="*/ 92136 w 193970"/>
                  <a:gd name="connsiteY28" fmla="*/ 8464 h 140893"/>
                  <a:gd name="connsiteX29" fmla="*/ 90990 w 193970"/>
                  <a:gd name="connsiteY29" fmla="*/ 9081 h 140893"/>
                  <a:gd name="connsiteX30" fmla="*/ 89844 w 193970"/>
                  <a:gd name="connsiteY30" fmla="*/ 9610 h 140893"/>
                  <a:gd name="connsiteX31" fmla="*/ 87463 w 193970"/>
                  <a:gd name="connsiteY31" fmla="*/ 11109 h 140893"/>
                  <a:gd name="connsiteX32" fmla="*/ 84906 w 193970"/>
                  <a:gd name="connsiteY32" fmla="*/ 11109 h 140893"/>
                  <a:gd name="connsiteX33" fmla="*/ 80498 w 193970"/>
                  <a:gd name="connsiteY33" fmla="*/ 10492 h 140893"/>
                  <a:gd name="connsiteX34" fmla="*/ 80145 w 193970"/>
                  <a:gd name="connsiteY34" fmla="*/ 9875 h 140893"/>
                  <a:gd name="connsiteX35" fmla="*/ 79881 w 193970"/>
                  <a:gd name="connsiteY35" fmla="*/ 9346 h 140893"/>
                  <a:gd name="connsiteX36" fmla="*/ 78470 w 193970"/>
                  <a:gd name="connsiteY36" fmla="*/ 9081 h 140893"/>
                  <a:gd name="connsiteX37" fmla="*/ 78117 w 193970"/>
                  <a:gd name="connsiteY37" fmla="*/ 7318 h 140893"/>
                  <a:gd name="connsiteX38" fmla="*/ 77588 w 193970"/>
                  <a:gd name="connsiteY38" fmla="*/ 5819 h 140893"/>
                  <a:gd name="connsiteX39" fmla="*/ 76971 w 193970"/>
                  <a:gd name="connsiteY39" fmla="*/ 4673 h 140893"/>
                  <a:gd name="connsiteX40" fmla="*/ 76442 w 193970"/>
                  <a:gd name="connsiteY40" fmla="*/ 4937 h 140893"/>
                  <a:gd name="connsiteX41" fmla="*/ 76442 w 193970"/>
                  <a:gd name="connsiteY41" fmla="*/ 3791 h 140893"/>
                  <a:gd name="connsiteX42" fmla="*/ 73797 w 193970"/>
                  <a:gd name="connsiteY42" fmla="*/ 1763 h 140893"/>
                  <a:gd name="connsiteX43" fmla="*/ 75825 w 193970"/>
                  <a:gd name="connsiteY43" fmla="*/ 1763 h 140893"/>
                  <a:gd name="connsiteX44" fmla="*/ 79616 w 193970"/>
                  <a:gd name="connsiteY44" fmla="*/ 3527 h 140893"/>
                  <a:gd name="connsiteX45" fmla="*/ 81644 w 193970"/>
                  <a:gd name="connsiteY45" fmla="*/ 5290 h 140893"/>
                  <a:gd name="connsiteX46" fmla="*/ 81644 w 193970"/>
                  <a:gd name="connsiteY46" fmla="*/ 4673 h 140893"/>
                  <a:gd name="connsiteX47" fmla="*/ 79616 w 193970"/>
                  <a:gd name="connsiteY47" fmla="*/ 2028 h 140893"/>
                  <a:gd name="connsiteX48" fmla="*/ 74943 w 193970"/>
                  <a:gd name="connsiteY48" fmla="*/ 264 h 140893"/>
                  <a:gd name="connsiteX49" fmla="*/ 73797 w 193970"/>
                  <a:gd name="connsiteY49" fmla="*/ 0 h 140893"/>
                  <a:gd name="connsiteX50" fmla="*/ 65068 w 193970"/>
                  <a:gd name="connsiteY50" fmla="*/ 0 h 140893"/>
                  <a:gd name="connsiteX51" fmla="*/ 62952 w 193970"/>
                  <a:gd name="connsiteY51" fmla="*/ 0 h 140893"/>
                  <a:gd name="connsiteX52" fmla="*/ 60043 w 193970"/>
                  <a:gd name="connsiteY52" fmla="*/ 1146 h 140893"/>
                  <a:gd name="connsiteX53" fmla="*/ 55105 w 193970"/>
                  <a:gd name="connsiteY53" fmla="*/ 617 h 140893"/>
                  <a:gd name="connsiteX54" fmla="*/ 53959 w 193970"/>
                  <a:gd name="connsiteY54" fmla="*/ 1763 h 140893"/>
                  <a:gd name="connsiteX55" fmla="*/ 50432 w 193970"/>
                  <a:gd name="connsiteY55" fmla="*/ 1499 h 140893"/>
                  <a:gd name="connsiteX56" fmla="*/ 49286 w 193970"/>
                  <a:gd name="connsiteY56" fmla="*/ 3791 h 140893"/>
                  <a:gd name="connsiteX57" fmla="*/ 48140 w 193970"/>
                  <a:gd name="connsiteY57" fmla="*/ 4408 h 140893"/>
                  <a:gd name="connsiteX58" fmla="*/ 47258 w 193970"/>
                  <a:gd name="connsiteY58" fmla="*/ 6084 h 140893"/>
                  <a:gd name="connsiteX59" fmla="*/ 45230 w 193970"/>
                  <a:gd name="connsiteY59" fmla="*/ 4937 h 140893"/>
                  <a:gd name="connsiteX60" fmla="*/ 42585 w 193970"/>
                  <a:gd name="connsiteY60" fmla="*/ 5819 h 140893"/>
                  <a:gd name="connsiteX61" fmla="*/ 41086 w 193970"/>
                  <a:gd name="connsiteY61" fmla="*/ 6436 h 140893"/>
                  <a:gd name="connsiteX62" fmla="*/ 39323 w 193970"/>
                  <a:gd name="connsiteY62" fmla="*/ 6084 h 140893"/>
                  <a:gd name="connsiteX63" fmla="*/ 38442 w 193970"/>
                  <a:gd name="connsiteY63" fmla="*/ 8729 h 140893"/>
                  <a:gd name="connsiteX64" fmla="*/ 39323 w 193970"/>
                  <a:gd name="connsiteY64" fmla="*/ 8729 h 140893"/>
                  <a:gd name="connsiteX65" fmla="*/ 36766 w 193970"/>
                  <a:gd name="connsiteY65" fmla="*/ 9081 h 140893"/>
                  <a:gd name="connsiteX66" fmla="*/ 36766 w 193970"/>
                  <a:gd name="connsiteY66" fmla="*/ 11109 h 140893"/>
                  <a:gd name="connsiteX67" fmla="*/ 35003 w 193970"/>
                  <a:gd name="connsiteY67" fmla="*/ 12255 h 140893"/>
                  <a:gd name="connsiteX68" fmla="*/ 35532 w 193970"/>
                  <a:gd name="connsiteY68" fmla="*/ 11638 h 140893"/>
                  <a:gd name="connsiteX69" fmla="*/ 34121 w 193970"/>
                  <a:gd name="connsiteY69" fmla="*/ 12873 h 140893"/>
                  <a:gd name="connsiteX70" fmla="*/ 32093 w 193970"/>
                  <a:gd name="connsiteY70" fmla="*/ 13401 h 140893"/>
                  <a:gd name="connsiteX71" fmla="*/ 29184 w 193970"/>
                  <a:gd name="connsiteY71" fmla="*/ 12873 h 140893"/>
                  <a:gd name="connsiteX72" fmla="*/ 28302 w 193970"/>
                  <a:gd name="connsiteY72" fmla="*/ 13401 h 140893"/>
                  <a:gd name="connsiteX73" fmla="*/ 25393 w 193970"/>
                  <a:gd name="connsiteY73" fmla="*/ 13137 h 140893"/>
                  <a:gd name="connsiteX74" fmla="*/ 23277 w 193970"/>
                  <a:gd name="connsiteY74" fmla="*/ 14548 h 140893"/>
                  <a:gd name="connsiteX75" fmla="*/ 20102 w 193970"/>
                  <a:gd name="connsiteY75" fmla="*/ 14900 h 140893"/>
                  <a:gd name="connsiteX76" fmla="*/ 19221 w 193970"/>
                  <a:gd name="connsiteY76" fmla="*/ 16047 h 140893"/>
                  <a:gd name="connsiteX77" fmla="*/ 17457 w 193970"/>
                  <a:gd name="connsiteY77" fmla="*/ 15165 h 140893"/>
                  <a:gd name="connsiteX78" fmla="*/ 13137 w 193970"/>
                  <a:gd name="connsiteY78" fmla="*/ 17193 h 140893"/>
                  <a:gd name="connsiteX79" fmla="*/ 8993 w 193970"/>
                  <a:gd name="connsiteY79" fmla="*/ 16664 h 140893"/>
                  <a:gd name="connsiteX80" fmla="*/ 6084 w 193970"/>
                  <a:gd name="connsiteY80" fmla="*/ 18339 h 140893"/>
                  <a:gd name="connsiteX81" fmla="*/ 4056 w 193970"/>
                  <a:gd name="connsiteY81" fmla="*/ 19838 h 140893"/>
                  <a:gd name="connsiteX82" fmla="*/ 0 w 193970"/>
                  <a:gd name="connsiteY82" fmla="*/ 22130 h 140893"/>
                  <a:gd name="connsiteX83" fmla="*/ 2645 w 193970"/>
                  <a:gd name="connsiteY83" fmla="*/ 22747 h 140893"/>
                  <a:gd name="connsiteX84" fmla="*/ 4937 w 193970"/>
                  <a:gd name="connsiteY84" fmla="*/ 23629 h 140893"/>
                  <a:gd name="connsiteX85" fmla="*/ 5819 w 193970"/>
                  <a:gd name="connsiteY85" fmla="*/ 25128 h 140893"/>
                  <a:gd name="connsiteX86" fmla="*/ 4320 w 193970"/>
                  <a:gd name="connsiteY86" fmla="*/ 26803 h 140893"/>
                  <a:gd name="connsiteX87" fmla="*/ 3791 w 193970"/>
                  <a:gd name="connsiteY87" fmla="*/ 26539 h 140893"/>
                  <a:gd name="connsiteX88" fmla="*/ 529 w 193970"/>
                  <a:gd name="connsiteY88" fmla="*/ 26274 h 140893"/>
                  <a:gd name="connsiteX89" fmla="*/ 882 w 193970"/>
                  <a:gd name="connsiteY89" fmla="*/ 27156 h 140893"/>
                  <a:gd name="connsiteX90" fmla="*/ 2028 w 193970"/>
                  <a:gd name="connsiteY90" fmla="*/ 28919 h 140893"/>
                  <a:gd name="connsiteX91" fmla="*/ 2028 w 193970"/>
                  <a:gd name="connsiteY91" fmla="*/ 30065 h 140893"/>
                  <a:gd name="connsiteX92" fmla="*/ 2292 w 193970"/>
                  <a:gd name="connsiteY92" fmla="*/ 32710 h 140893"/>
                  <a:gd name="connsiteX93" fmla="*/ 4673 w 193970"/>
                  <a:gd name="connsiteY93" fmla="*/ 34738 h 140893"/>
                  <a:gd name="connsiteX94" fmla="*/ 5555 w 193970"/>
                  <a:gd name="connsiteY94" fmla="*/ 37031 h 140893"/>
                  <a:gd name="connsiteX95" fmla="*/ 4320 w 193970"/>
                  <a:gd name="connsiteY95" fmla="*/ 39059 h 140893"/>
                  <a:gd name="connsiteX96" fmla="*/ 4056 w 193970"/>
                  <a:gd name="connsiteY96" fmla="*/ 40205 h 140893"/>
                  <a:gd name="connsiteX97" fmla="*/ 3527 w 193970"/>
                  <a:gd name="connsiteY97" fmla="*/ 42585 h 140893"/>
                  <a:gd name="connsiteX98" fmla="*/ 882 w 193970"/>
                  <a:gd name="connsiteY98" fmla="*/ 43467 h 140893"/>
                  <a:gd name="connsiteX99" fmla="*/ 264 w 193970"/>
                  <a:gd name="connsiteY99" fmla="*/ 46641 h 140893"/>
                  <a:gd name="connsiteX100" fmla="*/ 1146 w 193970"/>
                  <a:gd name="connsiteY100" fmla="*/ 47258 h 140893"/>
                  <a:gd name="connsiteX101" fmla="*/ 2028 w 193970"/>
                  <a:gd name="connsiteY101" fmla="*/ 48404 h 140893"/>
                  <a:gd name="connsiteX102" fmla="*/ 3791 w 193970"/>
                  <a:gd name="connsiteY102" fmla="*/ 49551 h 140893"/>
                  <a:gd name="connsiteX103" fmla="*/ 3791 w 193970"/>
                  <a:gd name="connsiteY103" fmla="*/ 50168 h 140893"/>
                  <a:gd name="connsiteX104" fmla="*/ 6701 w 193970"/>
                  <a:gd name="connsiteY104" fmla="*/ 51667 h 140893"/>
                  <a:gd name="connsiteX105" fmla="*/ 10139 w 193970"/>
                  <a:gd name="connsiteY105" fmla="*/ 52460 h 140893"/>
                  <a:gd name="connsiteX106" fmla="*/ 11109 w 193970"/>
                  <a:gd name="connsiteY106" fmla="*/ 54576 h 140893"/>
                  <a:gd name="connsiteX107" fmla="*/ 10492 w 193970"/>
                  <a:gd name="connsiteY107" fmla="*/ 55105 h 140893"/>
                  <a:gd name="connsiteX108" fmla="*/ 10139 w 193970"/>
                  <a:gd name="connsiteY108" fmla="*/ 55987 h 140893"/>
                  <a:gd name="connsiteX109" fmla="*/ 9610 w 193970"/>
                  <a:gd name="connsiteY109" fmla="*/ 56869 h 140893"/>
                  <a:gd name="connsiteX110" fmla="*/ 8729 w 193970"/>
                  <a:gd name="connsiteY110" fmla="*/ 57486 h 140893"/>
                  <a:gd name="connsiteX111" fmla="*/ 9346 w 193970"/>
                  <a:gd name="connsiteY111" fmla="*/ 58632 h 140893"/>
                  <a:gd name="connsiteX112" fmla="*/ 10492 w 193970"/>
                  <a:gd name="connsiteY112" fmla="*/ 60043 h 140893"/>
                  <a:gd name="connsiteX113" fmla="*/ 12520 w 193970"/>
                  <a:gd name="connsiteY113" fmla="*/ 61806 h 140893"/>
                  <a:gd name="connsiteX114" fmla="*/ 11903 w 193970"/>
                  <a:gd name="connsiteY114" fmla="*/ 65333 h 140893"/>
                  <a:gd name="connsiteX115" fmla="*/ 12785 w 193970"/>
                  <a:gd name="connsiteY115" fmla="*/ 65950 h 140893"/>
                  <a:gd name="connsiteX116" fmla="*/ 13401 w 193970"/>
                  <a:gd name="connsiteY116" fmla="*/ 67361 h 140893"/>
                  <a:gd name="connsiteX117" fmla="*/ 12785 w 193970"/>
                  <a:gd name="connsiteY117" fmla="*/ 69124 h 140893"/>
                  <a:gd name="connsiteX118" fmla="*/ 12520 w 193970"/>
                  <a:gd name="connsiteY118" fmla="*/ 70270 h 140893"/>
                  <a:gd name="connsiteX119" fmla="*/ 11638 w 193970"/>
                  <a:gd name="connsiteY119" fmla="*/ 70887 h 140893"/>
                  <a:gd name="connsiteX120" fmla="*/ 11903 w 193970"/>
                  <a:gd name="connsiteY120" fmla="*/ 72298 h 140893"/>
                  <a:gd name="connsiteX121" fmla="*/ 12520 w 193970"/>
                  <a:gd name="connsiteY121" fmla="*/ 73180 h 140893"/>
                  <a:gd name="connsiteX122" fmla="*/ 12785 w 193970"/>
                  <a:gd name="connsiteY122" fmla="*/ 74414 h 140893"/>
                  <a:gd name="connsiteX123" fmla="*/ 13666 w 193970"/>
                  <a:gd name="connsiteY123" fmla="*/ 74943 h 140893"/>
                  <a:gd name="connsiteX124" fmla="*/ 15165 w 193970"/>
                  <a:gd name="connsiteY124" fmla="*/ 77324 h 140893"/>
                  <a:gd name="connsiteX125" fmla="*/ 16311 w 193970"/>
                  <a:gd name="connsiteY125" fmla="*/ 77853 h 140893"/>
                  <a:gd name="connsiteX126" fmla="*/ 18339 w 193970"/>
                  <a:gd name="connsiteY126" fmla="*/ 79087 h 140893"/>
                  <a:gd name="connsiteX127" fmla="*/ 18956 w 193970"/>
                  <a:gd name="connsiteY127" fmla="*/ 81644 h 140893"/>
                  <a:gd name="connsiteX128" fmla="*/ 20367 w 193970"/>
                  <a:gd name="connsiteY128" fmla="*/ 83407 h 140893"/>
                  <a:gd name="connsiteX129" fmla="*/ 19838 w 193970"/>
                  <a:gd name="connsiteY129" fmla="*/ 85788 h 140893"/>
                  <a:gd name="connsiteX130" fmla="*/ 18604 w 193970"/>
                  <a:gd name="connsiteY130" fmla="*/ 89226 h 140893"/>
                  <a:gd name="connsiteX131" fmla="*/ 17810 w 193970"/>
                  <a:gd name="connsiteY131" fmla="*/ 92753 h 140893"/>
                  <a:gd name="connsiteX132" fmla="*/ 16928 w 193970"/>
                  <a:gd name="connsiteY132" fmla="*/ 94164 h 140893"/>
                  <a:gd name="connsiteX133" fmla="*/ 17193 w 193970"/>
                  <a:gd name="connsiteY133" fmla="*/ 95046 h 140893"/>
                  <a:gd name="connsiteX134" fmla="*/ 19221 w 193970"/>
                  <a:gd name="connsiteY134" fmla="*/ 94517 h 140893"/>
                  <a:gd name="connsiteX135" fmla="*/ 19838 w 193970"/>
                  <a:gd name="connsiteY135" fmla="*/ 93899 h 140893"/>
                  <a:gd name="connsiteX136" fmla="*/ 19838 w 193970"/>
                  <a:gd name="connsiteY136" fmla="*/ 92489 h 140893"/>
                  <a:gd name="connsiteX137" fmla="*/ 19838 w 193970"/>
                  <a:gd name="connsiteY137" fmla="*/ 91254 h 140893"/>
                  <a:gd name="connsiteX138" fmla="*/ 20720 w 193970"/>
                  <a:gd name="connsiteY138" fmla="*/ 91254 h 140893"/>
                  <a:gd name="connsiteX139" fmla="*/ 21866 w 193970"/>
                  <a:gd name="connsiteY139" fmla="*/ 91254 h 140893"/>
                  <a:gd name="connsiteX140" fmla="*/ 23012 w 193970"/>
                  <a:gd name="connsiteY140" fmla="*/ 91871 h 140893"/>
                  <a:gd name="connsiteX141" fmla="*/ 23629 w 193970"/>
                  <a:gd name="connsiteY141" fmla="*/ 91607 h 140893"/>
                  <a:gd name="connsiteX142" fmla="*/ 25657 w 193970"/>
                  <a:gd name="connsiteY142" fmla="*/ 92136 h 140893"/>
                  <a:gd name="connsiteX143" fmla="*/ 25393 w 193970"/>
                  <a:gd name="connsiteY143" fmla="*/ 92753 h 140893"/>
                  <a:gd name="connsiteX144" fmla="*/ 26186 w 193970"/>
                  <a:gd name="connsiteY144" fmla="*/ 94781 h 140893"/>
                  <a:gd name="connsiteX145" fmla="*/ 26803 w 193970"/>
                  <a:gd name="connsiteY145" fmla="*/ 95046 h 140893"/>
                  <a:gd name="connsiteX146" fmla="*/ 26539 w 193970"/>
                  <a:gd name="connsiteY146" fmla="*/ 95663 h 140893"/>
                  <a:gd name="connsiteX147" fmla="*/ 26803 w 193970"/>
                  <a:gd name="connsiteY147" fmla="*/ 96280 h 140893"/>
                  <a:gd name="connsiteX148" fmla="*/ 27421 w 193970"/>
                  <a:gd name="connsiteY148" fmla="*/ 96280 h 140893"/>
                  <a:gd name="connsiteX149" fmla="*/ 29184 w 193970"/>
                  <a:gd name="connsiteY149" fmla="*/ 95927 h 140893"/>
                  <a:gd name="connsiteX150" fmla="*/ 30947 w 193970"/>
                  <a:gd name="connsiteY150" fmla="*/ 96280 h 140893"/>
                  <a:gd name="connsiteX151" fmla="*/ 32358 w 193970"/>
                  <a:gd name="connsiteY151" fmla="*/ 97690 h 140893"/>
                  <a:gd name="connsiteX152" fmla="*/ 33239 w 193970"/>
                  <a:gd name="connsiteY152" fmla="*/ 97690 h 140893"/>
                  <a:gd name="connsiteX153" fmla="*/ 33857 w 193970"/>
                  <a:gd name="connsiteY153" fmla="*/ 98308 h 140893"/>
                  <a:gd name="connsiteX154" fmla="*/ 35003 w 193970"/>
                  <a:gd name="connsiteY154" fmla="*/ 97955 h 140893"/>
                  <a:gd name="connsiteX155" fmla="*/ 36149 w 193970"/>
                  <a:gd name="connsiteY155" fmla="*/ 98308 h 140893"/>
                  <a:gd name="connsiteX156" fmla="*/ 36414 w 193970"/>
                  <a:gd name="connsiteY156" fmla="*/ 99454 h 140893"/>
                  <a:gd name="connsiteX157" fmla="*/ 39059 w 193970"/>
                  <a:gd name="connsiteY157" fmla="*/ 100071 h 140893"/>
                  <a:gd name="connsiteX158" fmla="*/ 40205 w 193970"/>
                  <a:gd name="connsiteY158" fmla="*/ 100600 h 140893"/>
                  <a:gd name="connsiteX159" fmla="*/ 40205 w 193970"/>
                  <a:gd name="connsiteY159" fmla="*/ 102099 h 140893"/>
                  <a:gd name="connsiteX160" fmla="*/ 40822 w 193970"/>
                  <a:gd name="connsiteY160" fmla="*/ 101482 h 140893"/>
                  <a:gd name="connsiteX161" fmla="*/ 41704 w 193970"/>
                  <a:gd name="connsiteY161" fmla="*/ 99454 h 140893"/>
                  <a:gd name="connsiteX162" fmla="*/ 43467 w 193970"/>
                  <a:gd name="connsiteY162" fmla="*/ 100600 h 140893"/>
                  <a:gd name="connsiteX163" fmla="*/ 44349 w 193970"/>
                  <a:gd name="connsiteY163" fmla="*/ 100336 h 140893"/>
                  <a:gd name="connsiteX164" fmla="*/ 44878 w 193970"/>
                  <a:gd name="connsiteY164" fmla="*/ 99718 h 140893"/>
                  <a:gd name="connsiteX165" fmla="*/ 45495 w 193970"/>
                  <a:gd name="connsiteY165" fmla="*/ 99454 h 140893"/>
                  <a:gd name="connsiteX166" fmla="*/ 48669 w 193970"/>
                  <a:gd name="connsiteY166" fmla="*/ 102099 h 140893"/>
                  <a:gd name="connsiteX167" fmla="*/ 49022 w 193970"/>
                  <a:gd name="connsiteY167" fmla="*/ 102363 h 140893"/>
                  <a:gd name="connsiteX168" fmla="*/ 47787 w 193970"/>
                  <a:gd name="connsiteY168" fmla="*/ 102099 h 140893"/>
                  <a:gd name="connsiteX169" fmla="*/ 47787 w 193970"/>
                  <a:gd name="connsiteY169" fmla="*/ 103245 h 140893"/>
                  <a:gd name="connsiteX170" fmla="*/ 47258 w 193970"/>
                  <a:gd name="connsiteY170" fmla="*/ 104127 h 140893"/>
                  <a:gd name="connsiteX171" fmla="*/ 46112 w 193970"/>
                  <a:gd name="connsiteY171" fmla="*/ 104391 h 140893"/>
                  <a:gd name="connsiteX172" fmla="*/ 45759 w 193970"/>
                  <a:gd name="connsiteY172" fmla="*/ 105008 h 140893"/>
                  <a:gd name="connsiteX173" fmla="*/ 44878 w 193970"/>
                  <a:gd name="connsiteY173" fmla="*/ 105273 h 140893"/>
                  <a:gd name="connsiteX174" fmla="*/ 43996 w 193970"/>
                  <a:gd name="connsiteY174" fmla="*/ 105538 h 140893"/>
                  <a:gd name="connsiteX175" fmla="*/ 45230 w 193970"/>
                  <a:gd name="connsiteY175" fmla="*/ 106155 h 140893"/>
                  <a:gd name="connsiteX176" fmla="*/ 46377 w 193970"/>
                  <a:gd name="connsiteY176" fmla="*/ 106772 h 140893"/>
                  <a:gd name="connsiteX177" fmla="*/ 47258 w 193970"/>
                  <a:gd name="connsiteY177" fmla="*/ 107036 h 140893"/>
                  <a:gd name="connsiteX178" fmla="*/ 48140 w 193970"/>
                  <a:gd name="connsiteY178" fmla="*/ 108183 h 140893"/>
                  <a:gd name="connsiteX179" fmla="*/ 49286 w 193970"/>
                  <a:gd name="connsiteY179" fmla="*/ 107918 h 140893"/>
                  <a:gd name="connsiteX180" fmla="*/ 51579 w 193970"/>
                  <a:gd name="connsiteY180" fmla="*/ 109681 h 140893"/>
                  <a:gd name="connsiteX181" fmla="*/ 51931 w 193970"/>
                  <a:gd name="connsiteY181" fmla="*/ 111709 h 140893"/>
                  <a:gd name="connsiteX182" fmla="*/ 53077 w 193970"/>
                  <a:gd name="connsiteY182" fmla="*/ 112855 h 140893"/>
                  <a:gd name="connsiteX183" fmla="*/ 55370 w 193970"/>
                  <a:gd name="connsiteY183" fmla="*/ 113737 h 140893"/>
                  <a:gd name="connsiteX184" fmla="*/ 56251 w 193970"/>
                  <a:gd name="connsiteY184" fmla="*/ 112326 h 140893"/>
                  <a:gd name="connsiteX185" fmla="*/ 56869 w 193970"/>
                  <a:gd name="connsiteY185" fmla="*/ 110828 h 140893"/>
                  <a:gd name="connsiteX186" fmla="*/ 58015 w 193970"/>
                  <a:gd name="connsiteY186" fmla="*/ 111092 h 140893"/>
                  <a:gd name="connsiteX187" fmla="*/ 58279 w 193970"/>
                  <a:gd name="connsiteY187" fmla="*/ 110210 h 140893"/>
                  <a:gd name="connsiteX188" fmla="*/ 58896 w 193970"/>
                  <a:gd name="connsiteY188" fmla="*/ 109681 h 140893"/>
                  <a:gd name="connsiteX189" fmla="*/ 59778 w 193970"/>
                  <a:gd name="connsiteY189" fmla="*/ 109681 h 140893"/>
                  <a:gd name="connsiteX190" fmla="*/ 60043 w 193970"/>
                  <a:gd name="connsiteY190" fmla="*/ 109417 h 140893"/>
                  <a:gd name="connsiteX191" fmla="*/ 59778 w 193970"/>
                  <a:gd name="connsiteY191" fmla="*/ 107918 h 140893"/>
                  <a:gd name="connsiteX192" fmla="*/ 57750 w 193970"/>
                  <a:gd name="connsiteY192" fmla="*/ 106772 h 140893"/>
                  <a:gd name="connsiteX193" fmla="*/ 57398 w 193970"/>
                  <a:gd name="connsiteY193" fmla="*/ 106155 h 140893"/>
                  <a:gd name="connsiteX194" fmla="*/ 57398 w 193970"/>
                  <a:gd name="connsiteY194" fmla="*/ 105538 h 140893"/>
                  <a:gd name="connsiteX195" fmla="*/ 60395 w 193970"/>
                  <a:gd name="connsiteY195" fmla="*/ 106155 h 140893"/>
                  <a:gd name="connsiteX196" fmla="*/ 62423 w 193970"/>
                  <a:gd name="connsiteY196" fmla="*/ 106155 h 140893"/>
                  <a:gd name="connsiteX197" fmla="*/ 62688 w 193970"/>
                  <a:gd name="connsiteY197" fmla="*/ 107301 h 140893"/>
                  <a:gd name="connsiteX198" fmla="*/ 65333 w 193970"/>
                  <a:gd name="connsiteY198" fmla="*/ 108183 h 140893"/>
                  <a:gd name="connsiteX199" fmla="*/ 65862 w 193970"/>
                  <a:gd name="connsiteY199" fmla="*/ 109064 h 140893"/>
                  <a:gd name="connsiteX200" fmla="*/ 67361 w 193970"/>
                  <a:gd name="connsiteY200" fmla="*/ 109417 h 140893"/>
                  <a:gd name="connsiteX201" fmla="*/ 69124 w 193970"/>
                  <a:gd name="connsiteY201" fmla="*/ 109681 h 140893"/>
                  <a:gd name="connsiteX202" fmla="*/ 70006 w 193970"/>
                  <a:gd name="connsiteY202" fmla="*/ 109417 h 140893"/>
                  <a:gd name="connsiteX203" fmla="*/ 72034 w 193970"/>
                  <a:gd name="connsiteY203" fmla="*/ 109681 h 140893"/>
                  <a:gd name="connsiteX204" fmla="*/ 72298 w 193970"/>
                  <a:gd name="connsiteY204" fmla="*/ 108535 h 140893"/>
                  <a:gd name="connsiteX205" fmla="*/ 72651 w 193970"/>
                  <a:gd name="connsiteY205" fmla="*/ 108183 h 140893"/>
                  <a:gd name="connsiteX206" fmla="*/ 73797 w 193970"/>
                  <a:gd name="connsiteY206" fmla="*/ 108535 h 140893"/>
                  <a:gd name="connsiteX207" fmla="*/ 73797 w 193970"/>
                  <a:gd name="connsiteY207" fmla="*/ 109064 h 140893"/>
                  <a:gd name="connsiteX208" fmla="*/ 74326 w 193970"/>
                  <a:gd name="connsiteY208" fmla="*/ 109946 h 140893"/>
                  <a:gd name="connsiteX209" fmla="*/ 74061 w 193970"/>
                  <a:gd name="connsiteY209" fmla="*/ 111092 h 140893"/>
                  <a:gd name="connsiteX210" fmla="*/ 72915 w 193970"/>
                  <a:gd name="connsiteY210" fmla="*/ 111092 h 140893"/>
                  <a:gd name="connsiteX211" fmla="*/ 72034 w 193970"/>
                  <a:gd name="connsiteY211" fmla="*/ 111709 h 140893"/>
                  <a:gd name="connsiteX212" fmla="*/ 72298 w 193970"/>
                  <a:gd name="connsiteY212" fmla="*/ 112326 h 140893"/>
                  <a:gd name="connsiteX213" fmla="*/ 72915 w 193970"/>
                  <a:gd name="connsiteY213" fmla="*/ 113473 h 140893"/>
                  <a:gd name="connsiteX214" fmla="*/ 73180 w 193970"/>
                  <a:gd name="connsiteY214" fmla="*/ 112855 h 140893"/>
                  <a:gd name="connsiteX215" fmla="*/ 74326 w 193970"/>
                  <a:gd name="connsiteY215" fmla="*/ 113737 h 140893"/>
                  <a:gd name="connsiteX216" fmla="*/ 75825 w 193970"/>
                  <a:gd name="connsiteY216" fmla="*/ 116118 h 140893"/>
                  <a:gd name="connsiteX217" fmla="*/ 77236 w 193970"/>
                  <a:gd name="connsiteY217" fmla="*/ 115765 h 140893"/>
                  <a:gd name="connsiteX218" fmla="*/ 78734 w 193970"/>
                  <a:gd name="connsiteY218" fmla="*/ 116118 h 140893"/>
                  <a:gd name="connsiteX219" fmla="*/ 79881 w 193970"/>
                  <a:gd name="connsiteY219" fmla="*/ 116118 h 140893"/>
                  <a:gd name="connsiteX220" fmla="*/ 80145 w 193970"/>
                  <a:gd name="connsiteY220" fmla="*/ 114883 h 140893"/>
                  <a:gd name="connsiteX221" fmla="*/ 80762 w 193970"/>
                  <a:gd name="connsiteY221" fmla="*/ 114354 h 140893"/>
                  <a:gd name="connsiteX222" fmla="*/ 81380 w 193970"/>
                  <a:gd name="connsiteY222" fmla="*/ 114883 h 140893"/>
                  <a:gd name="connsiteX223" fmla="*/ 81644 w 193970"/>
                  <a:gd name="connsiteY223" fmla="*/ 115765 h 140893"/>
                  <a:gd name="connsiteX224" fmla="*/ 82526 w 193970"/>
                  <a:gd name="connsiteY224" fmla="*/ 116118 h 140893"/>
                  <a:gd name="connsiteX225" fmla="*/ 84553 w 193970"/>
                  <a:gd name="connsiteY225" fmla="*/ 116647 h 140893"/>
                  <a:gd name="connsiteX226" fmla="*/ 85700 w 193970"/>
                  <a:gd name="connsiteY226" fmla="*/ 117793 h 140893"/>
                  <a:gd name="connsiteX227" fmla="*/ 86934 w 193970"/>
                  <a:gd name="connsiteY227" fmla="*/ 117264 h 140893"/>
                  <a:gd name="connsiteX228" fmla="*/ 88962 w 193970"/>
                  <a:gd name="connsiteY228" fmla="*/ 117528 h 140893"/>
                  <a:gd name="connsiteX229" fmla="*/ 89226 w 193970"/>
                  <a:gd name="connsiteY229" fmla="*/ 117793 h 140893"/>
                  <a:gd name="connsiteX230" fmla="*/ 90725 w 193970"/>
                  <a:gd name="connsiteY230" fmla="*/ 117793 h 140893"/>
                  <a:gd name="connsiteX231" fmla="*/ 91607 w 193970"/>
                  <a:gd name="connsiteY231" fmla="*/ 118146 h 140893"/>
                  <a:gd name="connsiteX232" fmla="*/ 92136 w 193970"/>
                  <a:gd name="connsiteY232" fmla="*/ 119027 h 140893"/>
                  <a:gd name="connsiteX233" fmla="*/ 90990 w 193970"/>
                  <a:gd name="connsiteY233" fmla="*/ 120438 h 140893"/>
                  <a:gd name="connsiteX234" fmla="*/ 95046 w 193970"/>
                  <a:gd name="connsiteY234" fmla="*/ 123083 h 140893"/>
                  <a:gd name="connsiteX235" fmla="*/ 97690 w 193970"/>
                  <a:gd name="connsiteY235" fmla="*/ 126610 h 140893"/>
                  <a:gd name="connsiteX236" fmla="*/ 97690 w 193970"/>
                  <a:gd name="connsiteY236" fmla="*/ 127139 h 140893"/>
                  <a:gd name="connsiteX237" fmla="*/ 100336 w 193970"/>
                  <a:gd name="connsiteY237" fmla="*/ 127491 h 140893"/>
                  <a:gd name="connsiteX238" fmla="*/ 99454 w 193970"/>
                  <a:gd name="connsiteY238" fmla="*/ 129167 h 140893"/>
                  <a:gd name="connsiteX239" fmla="*/ 100953 w 193970"/>
                  <a:gd name="connsiteY239" fmla="*/ 129784 h 140893"/>
                  <a:gd name="connsiteX240" fmla="*/ 102099 w 193970"/>
                  <a:gd name="connsiteY240" fmla="*/ 130048 h 140893"/>
                  <a:gd name="connsiteX241" fmla="*/ 102981 w 193970"/>
                  <a:gd name="connsiteY241" fmla="*/ 129784 h 140893"/>
                  <a:gd name="connsiteX242" fmla="*/ 102981 w 193970"/>
                  <a:gd name="connsiteY242" fmla="*/ 129519 h 140893"/>
                  <a:gd name="connsiteX243" fmla="*/ 104744 w 193970"/>
                  <a:gd name="connsiteY243" fmla="*/ 128902 h 140893"/>
                  <a:gd name="connsiteX244" fmla="*/ 104744 w 193970"/>
                  <a:gd name="connsiteY244" fmla="*/ 127491 h 140893"/>
                  <a:gd name="connsiteX245" fmla="*/ 105538 w 193970"/>
                  <a:gd name="connsiteY245" fmla="*/ 127139 h 140893"/>
                  <a:gd name="connsiteX246" fmla="*/ 107654 w 193970"/>
                  <a:gd name="connsiteY246" fmla="*/ 127139 h 140893"/>
                  <a:gd name="connsiteX247" fmla="*/ 107918 w 193970"/>
                  <a:gd name="connsiteY247" fmla="*/ 126610 h 140893"/>
                  <a:gd name="connsiteX248" fmla="*/ 109064 w 193970"/>
                  <a:gd name="connsiteY248" fmla="*/ 125993 h 140893"/>
                  <a:gd name="connsiteX249" fmla="*/ 110210 w 193970"/>
                  <a:gd name="connsiteY249" fmla="*/ 126610 h 140893"/>
                  <a:gd name="connsiteX250" fmla="*/ 111445 w 193970"/>
                  <a:gd name="connsiteY250" fmla="*/ 128020 h 140893"/>
                  <a:gd name="connsiteX251" fmla="*/ 112591 w 193970"/>
                  <a:gd name="connsiteY251" fmla="*/ 128638 h 140893"/>
                  <a:gd name="connsiteX252" fmla="*/ 111709 w 193970"/>
                  <a:gd name="connsiteY252" fmla="*/ 129784 h 140893"/>
                  <a:gd name="connsiteX253" fmla="*/ 114002 w 193970"/>
                  <a:gd name="connsiteY253" fmla="*/ 130665 h 140893"/>
                  <a:gd name="connsiteX254" fmla="*/ 114619 w 193970"/>
                  <a:gd name="connsiteY254" fmla="*/ 129784 h 140893"/>
                  <a:gd name="connsiteX255" fmla="*/ 115765 w 193970"/>
                  <a:gd name="connsiteY255" fmla="*/ 131283 h 140893"/>
                  <a:gd name="connsiteX256" fmla="*/ 116030 w 193970"/>
                  <a:gd name="connsiteY256" fmla="*/ 132429 h 140893"/>
                  <a:gd name="connsiteX257" fmla="*/ 116030 w 193970"/>
                  <a:gd name="connsiteY257" fmla="*/ 132958 h 140893"/>
                  <a:gd name="connsiteX258" fmla="*/ 114883 w 193970"/>
                  <a:gd name="connsiteY258" fmla="*/ 134457 h 140893"/>
                  <a:gd name="connsiteX259" fmla="*/ 115501 w 193970"/>
                  <a:gd name="connsiteY259" fmla="*/ 134721 h 140893"/>
                  <a:gd name="connsiteX260" fmla="*/ 117264 w 193970"/>
                  <a:gd name="connsiteY260" fmla="*/ 135074 h 140893"/>
                  <a:gd name="connsiteX261" fmla="*/ 117793 w 193970"/>
                  <a:gd name="connsiteY261" fmla="*/ 134457 h 140893"/>
                  <a:gd name="connsiteX262" fmla="*/ 118939 w 193970"/>
                  <a:gd name="connsiteY262" fmla="*/ 135074 h 140893"/>
                  <a:gd name="connsiteX263" fmla="*/ 120174 w 193970"/>
                  <a:gd name="connsiteY263" fmla="*/ 134457 h 140893"/>
                  <a:gd name="connsiteX264" fmla="*/ 122202 w 193970"/>
                  <a:gd name="connsiteY264" fmla="*/ 135603 h 140893"/>
                  <a:gd name="connsiteX265" fmla="*/ 121584 w 193970"/>
                  <a:gd name="connsiteY265" fmla="*/ 132429 h 140893"/>
                  <a:gd name="connsiteX266" fmla="*/ 122466 w 193970"/>
                  <a:gd name="connsiteY266" fmla="*/ 132429 h 140893"/>
                  <a:gd name="connsiteX267" fmla="*/ 122818 w 193970"/>
                  <a:gd name="connsiteY267" fmla="*/ 131812 h 140893"/>
                  <a:gd name="connsiteX268" fmla="*/ 125375 w 193970"/>
                  <a:gd name="connsiteY268" fmla="*/ 130930 h 140893"/>
                  <a:gd name="connsiteX269" fmla="*/ 125993 w 193970"/>
                  <a:gd name="connsiteY269" fmla="*/ 129784 h 140893"/>
                  <a:gd name="connsiteX270" fmla="*/ 127491 w 193970"/>
                  <a:gd name="connsiteY270" fmla="*/ 129784 h 140893"/>
                  <a:gd name="connsiteX271" fmla="*/ 128020 w 193970"/>
                  <a:gd name="connsiteY271" fmla="*/ 130401 h 140893"/>
                  <a:gd name="connsiteX272" fmla="*/ 128638 w 193970"/>
                  <a:gd name="connsiteY272" fmla="*/ 130665 h 140893"/>
                  <a:gd name="connsiteX273" fmla="*/ 129167 w 193970"/>
                  <a:gd name="connsiteY273" fmla="*/ 130048 h 140893"/>
                  <a:gd name="connsiteX274" fmla="*/ 130048 w 193970"/>
                  <a:gd name="connsiteY274" fmla="*/ 130665 h 140893"/>
                  <a:gd name="connsiteX275" fmla="*/ 131283 w 193970"/>
                  <a:gd name="connsiteY275" fmla="*/ 129784 h 140893"/>
                  <a:gd name="connsiteX276" fmla="*/ 132076 w 193970"/>
                  <a:gd name="connsiteY276" fmla="*/ 129784 h 140893"/>
                  <a:gd name="connsiteX277" fmla="*/ 135074 w 193970"/>
                  <a:gd name="connsiteY277" fmla="*/ 131812 h 140893"/>
                  <a:gd name="connsiteX278" fmla="*/ 136220 w 193970"/>
                  <a:gd name="connsiteY278" fmla="*/ 131812 h 140893"/>
                  <a:gd name="connsiteX279" fmla="*/ 136749 w 193970"/>
                  <a:gd name="connsiteY279" fmla="*/ 132429 h 140893"/>
                  <a:gd name="connsiteX280" fmla="*/ 137895 w 193970"/>
                  <a:gd name="connsiteY280" fmla="*/ 131812 h 140893"/>
                  <a:gd name="connsiteX281" fmla="*/ 138865 w 193970"/>
                  <a:gd name="connsiteY281" fmla="*/ 130665 h 140893"/>
                  <a:gd name="connsiteX282" fmla="*/ 140276 w 193970"/>
                  <a:gd name="connsiteY282" fmla="*/ 130048 h 140893"/>
                  <a:gd name="connsiteX283" fmla="*/ 138865 w 193970"/>
                  <a:gd name="connsiteY283" fmla="*/ 129784 h 140893"/>
                  <a:gd name="connsiteX284" fmla="*/ 140540 w 193970"/>
                  <a:gd name="connsiteY284" fmla="*/ 129519 h 140893"/>
                  <a:gd name="connsiteX285" fmla="*/ 142921 w 193970"/>
                  <a:gd name="connsiteY285" fmla="*/ 129784 h 140893"/>
                  <a:gd name="connsiteX286" fmla="*/ 144949 w 193970"/>
                  <a:gd name="connsiteY286" fmla="*/ 128638 h 140893"/>
                  <a:gd name="connsiteX287" fmla="*/ 146712 w 193970"/>
                  <a:gd name="connsiteY287" fmla="*/ 129784 h 140893"/>
                  <a:gd name="connsiteX288" fmla="*/ 150239 w 193970"/>
                  <a:gd name="connsiteY288" fmla="*/ 129519 h 140893"/>
                  <a:gd name="connsiteX289" fmla="*/ 152531 w 193970"/>
                  <a:gd name="connsiteY289" fmla="*/ 129784 h 140893"/>
                  <a:gd name="connsiteX290" fmla="*/ 153060 w 193970"/>
                  <a:gd name="connsiteY290" fmla="*/ 130665 h 140893"/>
                  <a:gd name="connsiteX291" fmla="*/ 153413 w 193970"/>
                  <a:gd name="connsiteY291" fmla="*/ 130930 h 140893"/>
                  <a:gd name="connsiteX292" fmla="*/ 154295 w 193970"/>
                  <a:gd name="connsiteY292" fmla="*/ 130665 h 140893"/>
                  <a:gd name="connsiteX293" fmla="*/ 157204 w 193970"/>
                  <a:gd name="connsiteY293" fmla="*/ 131812 h 140893"/>
                  <a:gd name="connsiteX294" fmla="*/ 158350 w 193970"/>
                  <a:gd name="connsiteY294" fmla="*/ 132958 h 140893"/>
                  <a:gd name="connsiteX295" fmla="*/ 158615 w 193970"/>
                  <a:gd name="connsiteY295" fmla="*/ 134457 h 140893"/>
                  <a:gd name="connsiteX296" fmla="*/ 163905 w 193970"/>
                  <a:gd name="connsiteY296" fmla="*/ 135074 h 140893"/>
                  <a:gd name="connsiteX297" fmla="*/ 163905 w 193970"/>
                  <a:gd name="connsiteY297" fmla="*/ 136220 h 140893"/>
                  <a:gd name="connsiteX298" fmla="*/ 165051 w 193970"/>
                  <a:gd name="connsiteY298" fmla="*/ 136485 h 140893"/>
                  <a:gd name="connsiteX299" fmla="*/ 166286 w 193970"/>
                  <a:gd name="connsiteY299" fmla="*/ 137366 h 140893"/>
                  <a:gd name="connsiteX300" fmla="*/ 169724 w 193970"/>
                  <a:gd name="connsiteY300" fmla="*/ 137631 h 140893"/>
                  <a:gd name="connsiteX301" fmla="*/ 170341 w 193970"/>
                  <a:gd name="connsiteY301" fmla="*/ 139130 h 140893"/>
                  <a:gd name="connsiteX302" fmla="*/ 175543 w 193970"/>
                  <a:gd name="connsiteY302" fmla="*/ 140893 h 140893"/>
                  <a:gd name="connsiteX303" fmla="*/ 175014 w 193970"/>
                  <a:gd name="connsiteY303" fmla="*/ 137366 h 140893"/>
                  <a:gd name="connsiteX304" fmla="*/ 172369 w 193970"/>
                  <a:gd name="connsiteY304" fmla="*/ 136220 h 140893"/>
                  <a:gd name="connsiteX305" fmla="*/ 172634 w 193970"/>
                  <a:gd name="connsiteY305" fmla="*/ 134457 h 140893"/>
                  <a:gd name="connsiteX306" fmla="*/ 172105 w 193970"/>
                  <a:gd name="connsiteY306" fmla="*/ 131547 h 140893"/>
                  <a:gd name="connsiteX307" fmla="*/ 170606 w 193970"/>
                  <a:gd name="connsiteY307" fmla="*/ 129167 h 140893"/>
                  <a:gd name="connsiteX308" fmla="*/ 168842 w 193970"/>
                  <a:gd name="connsiteY308" fmla="*/ 126874 h 140893"/>
                  <a:gd name="connsiteX309" fmla="*/ 173515 w 193970"/>
                  <a:gd name="connsiteY309" fmla="*/ 123083 h 140893"/>
                  <a:gd name="connsiteX310" fmla="*/ 173251 w 193970"/>
                  <a:gd name="connsiteY310" fmla="*/ 121584 h 140893"/>
                  <a:gd name="connsiteX311" fmla="*/ 175543 w 193970"/>
                  <a:gd name="connsiteY311" fmla="*/ 119909 h 140893"/>
                  <a:gd name="connsiteX312" fmla="*/ 177571 w 193970"/>
                  <a:gd name="connsiteY312" fmla="*/ 119556 h 140893"/>
                  <a:gd name="connsiteX313" fmla="*/ 179334 w 193970"/>
                  <a:gd name="connsiteY313" fmla="*/ 115236 h 140893"/>
                  <a:gd name="connsiteX314" fmla="*/ 183743 w 193970"/>
                  <a:gd name="connsiteY314" fmla="*/ 112326 h 140893"/>
                  <a:gd name="connsiteX315" fmla="*/ 185506 w 193970"/>
                  <a:gd name="connsiteY315" fmla="*/ 108535 h 140893"/>
                  <a:gd name="connsiteX316" fmla="*/ 185154 w 193970"/>
                  <a:gd name="connsiteY316" fmla="*/ 106772 h 140893"/>
                  <a:gd name="connsiteX317" fmla="*/ 191590 w 193970"/>
                  <a:gd name="connsiteY317" fmla="*/ 106772 h 140893"/>
                  <a:gd name="connsiteX318" fmla="*/ 193089 w 193970"/>
                  <a:gd name="connsiteY318" fmla="*/ 104391 h 140893"/>
                  <a:gd name="connsiteX319" fmla="*/ 192471 w 193970"/>
                  <a:gd name="connsiteY319" fmla="*/ 97955 h 140893"/>
                  <a:gd name="connsiteX320" fmla="*/ 191325 w 193970"/>
                  <a:gd name="connsiteY320" fmla="*/ 97690 h 140893"/>
                  <a:gd name="connsiteX321" fmla="*/ 191854 w 193970"/>
                  <a:gd name="connsiteY321" fmla="*/ 96280 h 140893"/>
                  <a:gd name="connsiteX322" fmla="*/ 193970 w 193970"/>
                  <a:gd name="connsiteY322" fmla="*/ 95927 h 140893"/>
                  <a:gd name="connsiteX323" fmla="*/ 193089 w 193970"/>
                  <a:gd name="connsiteY323" fmla="*/ 93899 h 140893"/>
                  <a:gd name="connsiteX324" fmla="*/ 189562 w 193970"/>
                  <a:gd name="connsiteY324" fmla="*/ 91254 h 140893"/>
                  <a:gd name="connsiteX325" fmla="*/ 186124 w 193970"/>
                  <a:gd name="connsiteY325" fmla="*/ 87816 h 140893"/>
                  <a:gd name="connsiteX326" fmla="*/ 181980 w 193970"/>
                  <a:gd name="connsiteY326" fmla="*/ 85435 h 140893"/>
                  <a:gd name="connsiteX327" fmla="*/ 183478 w 193970"/>
                  <a:gd name="connsiteY327" fmla="*/ 84289 h 140893"/>
                  <a:gd name="connsiteX328" fmla="*/ 182861 w 193970"/>
                  <a:gd name="connsiteY328" fmla="*/ 78734 h 140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193970" h="140893">
                    <a:moveTo>
                      <a:pt x="181098" y="76089"/>
                    </a:moveTo>
                    <a:lnTo>
                      <a:pt x="179952" y="68242"/>
                    </a:lnTo>
                    <a:lnTo>
                      <a:pt x="177571" y="68242"/>
                    </a:lnTo>
                    <a:lnTo>
                      <a:pt x="175896" y="67096"/>
                    </a:lnTo>
                    <a:lnTo>
                      <a:pt x="175543" y="65950"/>
                    </a:lnTo>
                    <a:lnTo>
                      <a:pt x="175014" y="65068"/>
                    </a:lnTo>
                    <a:lnTo>
                      <a:pt x="172634" y="65068"/>
                    </a:lnTo>
                    <a:lnTo>
                      <a:pt x="171488" y="63040"/>
                    </a:lnTo>
                    <a:lnTo>
                      <a:pt x="169989" y="62159"/>
                    </a:lnTo>
                    <a:lnTo>
                      <a:pt x="174397" y="55722"/>
                    </a:lnTo>
                    <a:lnTo>
                      <a:pt x="183126" y="52196"/>
                    </a:lnTo>
                    <a:lnTo>
                      <a:pt x="181098" y="38177"/>
                    </a:lnTo>
                    <a:lnTo>
                      <a:pt x="176425" y="32093"/>
                    </a:lnTo>
                    <a:lnTo>
                      <a:pt x="170606" y="14900"/>
                    </a:lnTo>
                    <a:lnTo>
                      <a:pt x="158968" y="12520"/>
                    </a:lnTo>
                    <a:lnTo>
                      <a:pt x="139130" y="12520"/>
                    </a:lnTo>
                    <a:lnTo>
                      <a:pt x="132429" y="12255"/>
                    </a:lnTo>
                    <a:lnTo>
                      <a:pt x="118939" y="11374"/>
                    </a:lnTo>
                    <a:lnTo>
                      <a:pt x="105890" y="10492"/>
                    </a:lnTo>
                    <a:lnTo>
                      <a:pt x="96192" y="9081"/>
                    </a:lnTo>
                    <a:lnTo>
                      <a:pt x="93635" y="10227"/>
                    </a:lnTo>
                    <a:lnTo>
                      <a:pt x="92489" y="9875"/>
                    </a:lnTo>
                    <a:lnTo>
                      <a:pt x="93899" y="7582"/>
                    </a:lnTo>
                    <a:lnTo>
                      <a:pt x="94781" y="4673"/>
                    </a:lnTo>
                    <a:lnTo>
                      <a:pt x="96809" y="2292"/>
                    </a:lnTo>
                    <a:lnTo>
                      <a:pt x="95398" y="2645"/>
                    </a:lnTo>
                    <a:lnTo>
                      <a:pt x="93635" y="4673"/>
                    </a:lnTo>
                    <a:lnTo>
                      <a:pt x="93282" y="6701"/>
                    </a:lnTo>
                    <a:lnTo>
                      <a:pt x="92136" y="8464"/>
                    </a:lnTo>
                    <a:lnTo>
                      <a:pt x="90990" y="9081"/>
                    </a:lnTo>
                    <a:lnTo>
                      <a:pt x="89844" y="9610"/>
                    </a:lnTo>
                    <a:lnTo>
                      <a:pt x="87463" y="11109"/>
                    </a:lnTo>
                    <a:lnTo>
                      <a:pt x="84906" y="11109"/>
                    </a:lnTo>
                    <a:lnTo>
                      <a:pt x="80498" y="10492"/>
                    </a:lnTo>
                    <a:lnTo>
                      <a:pt x="80145" y="9875"/>
                    </a:lnTo>
                    <a:lnTo>
                      <a:pt x="79881" y="9346"/>
                    </a:lnTo>
                    <a:lnTo>
                      <a:pt x="78470" y="9081"/>
                    </a:lnTo>
                    <a:lnTo>
                      <a:pt x="78117" y="7318"/>
                    </a:lnTo>
                    <a:lnTo>
                      <a:pt x="77588" y="5819"/>
                    </a:lnTo>
                    <a:lnTo>
                      <a:pt x="76971" y="4673"/>
                    </a:lnTo>
                    <a:lnTo>
                      <a:pt x="76442" y="4937"/>
                    </a:lnTo>
                    <a:lnTo>
                      <a:pt x="76442" y="3791"/>
                    </a:lnTo>
                    <a:lnTo>
                      <a:pt x="73797" y="1763"/>
                    </a:lnTo>
                    <a:lnTo>
                      <a:pt x="75825" y="1763"/>
                    </a:lnTo>
                    <a:lnTo>
                      <a:pt x="79616" y="3527"/>
                    </a:lnTo>
                    <a:lnTo>
                      <a:pt x="81644" y="5290"/>
                    </a:lnTo>
                    <a:lnTo>
                      <a:pt x="81644" y="4673"/>
                    </a:lnTo>
                    <a:lnTo>
                      <a:pt x="79616" y="2028"/>
                    </a:lnTo>
                    <a:lnTo>
                      <a:pt x="74943" y="264"/>
                    </a:lnTo>
                    <a:lnTo>
                      <a:pt x="73797" y="0"/>
                    </a:lnTo>
                    <a:lnTo>
                      <a:pt x="65068" y="0"/>
                    </a:lnTo>
                    <a:lnTo>
                      <a:pt x="62952" y="0"/>
                    </a:lnTo>
                    <a:lnTo>
                      <a:pt x="60043" y="1146"/>
                    </a:lnTo>
                    <a:lnTo>
                      <a:pt x="55105" y="617"/>
                    </a:lnTo>
                    <a:lnTo>
                      <a:pt x="53959" y="1763"/>
                    </a:lnTo>
                    <a:lnTo>
                      <a:pt x="50432" y="1499"/>
                    </a:lnTo>
                    <a:lnTo>
                      <a:pt x="49286" y="3791"/>
                    </a:lnTo>
                    <a:lnTo>
                      <a:pt x="48140" y="4408"/>
                    </a:lnTo>
                    <a:lnTo>
                      <a:pt x="47258" y="6084"/>
                    </a:lnTo>
                    <a:lnTo>
                      <a:pt x="45230" y="4937"/>
                    </a:lnTo>
                    <a:lnTo>
                      <a:pt x="42585" y="5819"/>
                    </a:lnTo>
                    <a:lnTo>
                      <a:pt x="41086" y="6436"/>
                    </a:lnTo>
                    <a:lnTo>
                      <a:pt x="39323" y="6084"/>
                    </a:lnTo>
                    <a:lnTo>
                      <a:pt x="38442" y="8729"/>
                    </a:lnTo>
                    <a:lnTo>
                      <a:pt x="39323" y="8729"/>
                    </a:lnTo>
                    <a:lnTo>
                      <a:pt x="36766" y="9081"/>
                    </a:lnTo>
                    <a:lnTo>
                      <a:pt x="36766" y="11109"/>
                    </a:lnTo>
                    <a:lnTo>
                      <a:pt x="35003" y="12255"/>
                    </a:lnTo>
                    <a:lnTo>
                      <a:pt x="35532" y="11638"/>
                    </a:lnTo>
                    <a:lnTo>
                      <a:pt x="34121" y="12873"/>
                    </a:lnTo>
                    <a:lnTo>
                      <a:pt x="32093" y="13401"/>
                    </a:lnTo>
                    <a:lnTo>
                      <a:pt x="29184" y="12873"/>
                    </a:lnTo>
                    <a:lnTo>
                      <a:pt x="28302" y="13401"/>
                    </a:lnTo>
                    <a:lnTo>
                      <a:pt x="25393" y="13137"/>
                    </a:lnTo>
                    <a:lnTo>
                      <a:pt x="23277" y="14548"/>
                    </a:lnTo>
                    <a:lnTo>
                      <a:pt x="20102" y="14900"/>
                    </a:lnTo>
                    <a:lnTo>
                      <a:pt x="19221" y="16047"/>
                    </a:lnTo>
                    <a:lnTo>
                      <a:pt x="17457" y="15165"/>
                    </a:lnTo>
                    <a:lnTo>
                      <a:pt x="13137" y="17193"/>
                    </a:lnTo>
                    <a:lnTo>
                      <a:pt x="8993" y="16664"/>
                    </a:lnTo>
                    <a:lnTo>
                      <a:pt x="6084" y="18339"/>
                    </a:lnTo>
                    <a:lnTo>
                      <a:pt x="4056" y="19838"/>
                    </a:lnTo>
                    <a:lnTo>
                      <a:pt x="0" y="22130"/>
                    </a:lnTo>
                    <a:lnTo>
                      <a:pt x="2645" y="22747"/>
                    </a:lnTo>
                    <a:lnTo>
                      <a:pt x="4937" y="23629"/>
                    </a:lnTo>
                    <a:lnTo>
                      <a:pt x="5819" y="25128"/>
                    </a:lnTo>
                    <a:lnTo>
                      <a:pt x="4320" y="26803"/>
                    </a:lnTo>
                    <a:lnTo>
                      <a:pt x="3791" y="26539"/>
                    </a:lnTo>
                    <a:lnTo>
                      <a:pt x="529" y="26274"/>
                    </a:lnTo>
                    <a:lnTo>
                      <a:pt x="882" y="27156"/>
                    </a:lnTo>
                    <a:lnTo>
                      <a:pt x="2028" y="28919"/>
                    </a:lnTo>
                    <a:lnTo>
                      <a:pt x="2028" y="30065"/>
                    </a:lnTo>
                    <a:lnTo>
                      <a:pt x="2292" y="32710"/>
                    </a:lnTo>
                    <a:lnTo>
                      <a:pt x="4673" y="34738"/>
                    </a:lnTo>
                    <a:lnTo>
                      <a:pt x="5555" y="37031"/>
                    </a:lnTo>
                    <a:lnTo>
                      <a:pt x="4320" y="39059"/>
                    </a:lnTo>
                    <a:lnTo>
                      <a:pt x="4056" y="40205"/>
                    </a:lnTo>
                    <a:lnTo>
                      <a:pt x="3527" y="42585"/>
                    </a:lnTo>
                    <a:lnTo>
                      <a:pt x="882" y="43467"/>
                    </a:lnTo>
                    <a:lnTo>
                      <a:pt x="264" y="46641"/>
                    </a:lnTo>
                    <a:lnTo>
                      <a:pt x="1146" y="47258"/>
                    </a:lnTo>
                    <a:lnTo>
                      <a:pt x="2028" y="48404"/>
                    </a:lnTo>
                    <a:lnTo>
                      <a:pt x="3791" y="49551"/>
                    </a:lnTo>
                    <a:lnTo>
                      <a:pt x="3791" y="50168"/>
                    </a:lnTo>
                    <a:lnTo>
                      <a:pt x="6701" y="51667"/>
                    </a:lnTo>
                    <a:lnTo>
                      <a:pt x="10139" y="52460"/>
                    </a:lnTo>
                    <a:lnTo>
                      <a:pt x="11109" y="54576"/>
                    </a:lnTo>
                    <a:lnTo>
                      <a:pt x="10492" y="55105"/>
                    </a:lnTo>
                    <a:lnTo>
                      <a:pt x="10139" y="55987"/>
                    </a:lnTo>
                    <a:lnTo>
                      <a:pt x="9610" y="56869"/>
                    </a:lnTo>
                    <a:lnTo>
                      <a:pt x="8729" y="57486"/>
                    </a:lnTo>
                    <a:lnTo>
                      <a:pt x="9346" y="58632"/>
                    </a:lnTo>
                    <a:lnTo>
                      <a:pt x="10492" y="60043"/>
                    </a:lnTo>
                    <a:lnTo>
                      <a:pt x="12520" y="61806"/>
                    </a:lnTo>
                    <a:lnTo>
                      <a:pt x="11903" y="65333"/>
                    </a:lnTo>
                    <a:lnTo>
                      <a:pt x="12785" y="65950"/>
                    </a:lnTo>
                    <a:lnTo>
                      <a:pt x="13401" y="67361"/>
                    </a:lnTo>
                    <a:lnTo>
                      <a:pt x="12785" y="69124"/>
                    </a:lnTo>
                    <a:lnTo>
                      <a:pt x="12520" y="70270"/>
                    </a:lnTo>
                    <a:lnTo>
                      <a:pt x="11638" y="70887"/>
                    </a:lnTo>
                    <a:lnTo>
                      <a:pt x="11903" y="72298"/>
                    </a:lnTo>
                    <a:lnTo>
                      <a:pt x="12520" y="73180"/>
                    </a:lnTo>
                    <a:lnTo>
                      <a:pt x="12785" y="74414"/>
                    </a:lnTo>
                    <a:lnTo>
                      <a:pt x="13666" y="74943"/>
                    </a:lnTo>
                    <a:lnTo>
                      <a:pt x="15165" y="77324"/>
                    </a:lnTo>
                    <a:lnTo>
                      <a:pt x="16311" y="77853"/>
                    </a:lnTo>
                    <a:lnTo>
                      <a:pt x="18339" y="79087"/>
                    </a:lnTo>
                    <a:lnTo>
                      <a:pt x="18956" y="81644"/>
                    </a:lnTo>
                    <a:lnTo>
                      <a:pt x="20367" y="83407"/>
                    </a:lnTo>
                    <a:lnTo>
                      <a:pt x="19838" y="85788"/>
                    </a:lnTo>
                    <a:lnTo>
                      <a:pt x="18604" y="89226"/>
                    </a:lnTo>
                    <a:lnTo>
                      <a:pt x="17810" y="92753"/>
                    </a:lnTo>
                    <a:lnTo>
                      <a:pt x="16928" y="94164"/>
                    </a:lnTo>
                    <a:lnTo>
                      <a:pt x="17193" y="95046"/>
                    </a:lnTo>
                    <a:lnTo>
                      <a:pt x="19221" y="94517"/>
                    </a:lnTo>
                    <a:lnTo>
                      <a:pt x="19838" y="93899"/>
                    </a:lnTo>
                    <a:lnTo>
                      <a:pt x="19838" y="92489"/>
                    </a:lnTo>
                    <a:lnTo>
                      <a:pt x="19838" y="91254"/>
                    </a:lnTo>
                    <a:lnTo>
                      <a:pt x="20720" y="91254"/>
                    </a:lnTo>
                    <a:lnTo>
                      <a:pt x="21866" y="91254"/>
                    </a:lnTo>
                    <a:lnTo>
                      <a:pt x="23012" y="91871"/>
                    </a:lnTo>
                    <a:lnTo>
                      <a:pt x="23629" y="91607"/>
                    </a:lnTo>
                    <a:lnTo>
                      <a:pt x="25657" y="92136"/>
                    </a:lnTo>
                    <a:lnTo>
                      <a:pt x="25393" y="92753"/>
                    </a:lnTo>
                    <a:lnTo>
                      <a:pt x="26186" y="94781"/>
                    </a:lnTo>
                    <a:lnTo>
                      <a:pt x="26803" y="95046"/>
                    </a:lnTo>
                    <a:lnTo>
                      <a:pt x="26539" y="95663"/>
                    </a:lnTo>
                    <a:lnTo>
                      <a:pt x="26803" y="96280"/>
                    </a:lnTo>
                    <a:lnTo>
                      <a:pt x="27421" y="96280"/>
                    </a:lnTo>
                    <a:lnTo>
                      <a:pt x="29184" y="95927"/>
                    </a:lnTo>
                    <a:lnTo>
                      <a:pt x="30947" y="96280"/>
                    </a:lnTo>
                    <a:lnTo>
                      <a:pt x="32358" y="97690"/>
                    </a:lnTo>
                    <a:lnTo>
                      <a:pt x="33239" y="97690"/>
                    </a:lnTo>
                    <a:lnTo>
                      <a:pt x="33857" y="98308"/>
                    </a:lnTo>
                    <a:lnTo>
                      <a:pt x="35003" y="97955"/>
                    </a:lnTo>
                    <a:lnTo>
                      <a:pt x="36149" y="98308"/>
                    </a:lnTo>
                    <a:lnTo>
                      <a:pt x="36414" y="99454"/>
                    </a:lnTo>
                    <a:lnTo>
                      <a:pt x="39059" y="100071"/>
                    </a:lnTo>
                    <a:lnTo>
                      <a:pt x="40205" y="100600"/>
                    </a:lnTo>
                    <a:lnTo>
                      <a:pt x="40205" y="102099"/>
                    </a:lnTo>
                    <a:lnTo>
                      <a:pt x="40822" y="101482"/>
                    </a:lnTo>
                    <a:lnTo>
                      <a:pt x="41704" y="99454"/>
                    </a:lnTo>
                    <a:lnTo>
                      <a:pt x="43467" y="100600"/>
                    </a:lnTo>
                    <a:lnTo>
                      <a:pt x="44349" y="100336"/>
                    </a:lnTo>
                    <a:lnTo>
                      <a:pt x="44878" y="99718"/>
                    </a:lnTo>
                    <a:lnTo>
                      <a:pt x="45495" y="99454"/>
                    </a:lnTo>
                    <a:lnTo>
                      <a:pt x="48669" y="102099"/>
                    </a:lnTo>
                    <a:lnTo>
                      <a:pt x="49022" y="102363"/>
                    </a:lnTo>
                    <a:lnTo>
                      <a:pt x="47787" y="102099"/>
                    </a:lnTo>
                    <a:lnTo>
                      <a:pt x="47787" y="103245"/>
                    </a:lnTo>
                    <a:lnTo>
                      <a:pt x="47258" y="104127"/>
                    </a:lnTo>
                    <a:lnTo>
                      <a:pt x="46112" y="104391"/>
                    </a:lnTo>
                    <a:lnTo>
                      <a:pt x="45759" y="105008"/>
                    </a:lnTo>
                    <a:lnTo>
                      <a:pt x="44878" y="105273"/>
                    </a:lnTo>
                    <a:lnTo>
                      <a:pt x="43996" y="105538"/>
                    </a:lnTo>
                    <a:lnTo>
                      <a:pt x="45230" y="106155"/>
                    </a:lnTo>
                    <a:lnTo>
                      <a:pt x="46377" y="106772"/>
                    </a:lnTo>
                    <a:lnTo>
                      <a:pt x="47258" y="107036"/>
                    </a:lnTo>
                    <a:lnTo>
                      <a:pt x="48140" y="108183"/>
                    </a:lnTo>
                    <a:lnTo>
                      <a:pt x="49286" y="107918"/>
                    </a:lnTo>
                    <a:lnTo>
                      <a:pt x="51579" y="109681"/>
                    </a:lnTo>
                    <a:lnTo>
                      <a:pt x="51931" y="111709"/>
                    </a:lnTo>
                    <a:lnTo>
                      <a:pt x="53077" y="112855"/>
                    </a:lnTo>
                    <a:lnTo>
                      <a:pt x="55370" y="113737"/>
                    </a:lnTo>
                    <a:lnTo>
                      <a:pt x="56251" y="112326"/>
                    </a:lnTo>
                    <a:lnTo>
                      <a:pt x="56869" y="110828"/>
                    </a:lnTo>
                    <a:lnTo>
                      <a:pt x="58015" y="111092"/>
                    </a:lnTo>
                    <a:lnTo>
                      <a:pt x="58279" y="110210"/>
                    </a:lnTo>
                    <a:lnTo>
                      <a:pt x="58896" y="109681"/>
                    </a:lnTo>
                    <a:lnTo>
                      <a:pt x="59778" y="109681"/>
                    </a:lnTo>
                    <a:lnTo>
                      <a:pt x="60043" y="109417"/>
                    </a:lnTo>
                    <a:lnTo>
                      <a:pt x="59778" y="107918"/>
                    </a:lnTo>
                    <a:lnTo>
                      <a:pt x="57750" y="106772"/>
                    </a:lnTo>
                    <a:lnTo>
                      <a:pt x="57398" y="106155"/>
                    </a:lnTo>
                    <a:lnTo>
                      <a:pt x="57398" y="105538"/>
                    </a:lnTo>
                    <a:lnTo>
                      <a:pt x="60395" y="106155"/>
                    </a:lnTo>
                    <a:lnTo>
                      <a:pt x="62423" y="106155"/>
                    </a:lnTo>
                    <a:lnTo>
                      <a:pt x="62688" y="107301"/>
                    </a:lnTo>
                    <a:lnTo>
                      <a:pt x="65333" y="108183"/>
                    </a:lnTo>
                    <a:lnTo>
                      <a:pt x="65862" y="109064"/>
                    </a:lnTo>
                    <a:lnTo>
                      <a:pt x="67361" y="109417"/>
                    </a:lnTo>
                    <a:lnTo>
                      <a:pt x="69124" y="109681"/>
                    </a:lnTo>
                    <a:lnTo>
                      <a:pt x="70006" y="109417"/>
                    </a:lnTo>
                    <a:lnTo>
                      <a:pt x="72034" y="109681"/>
                    </a:lnTo>
                    <a:lnTo>
                      <a:pt x="72298" y="108535"/>
                    </a:lnTo>
                    <a:lnTo>
                      <a:pt x="72651" y="108183"/>
                    </a:lnTo>
                    <a:lnTo>
                      <a:pt x="73797" y="108535"/>
                    </a:lnTo>
                    <a:lnTo>
                      <a:pt x="73797" y="109064"/>
                    </a:lnTo>
                    <a:lnTo>
                      <a:pt x="74326" y="109946"/>
                    </a:lnTo>
                    <a:lnTo>
                      <a:pt x="74061" y="111092"/>
                    </a:lnTo>
                    <a:lnTo>
                      <a:pt x="72915" y="111092"/>
                    </a:lnTo>
                    <a:lnTo>
                      <a:pt x="72034" y="111709"/>
                    </a:lnTo>
                    <a:lnTo>
                      <a:pt x="72298" y="112326"/>
                    </a:lnTo>
                    <a:lnTo>
                      <a:pt x="72915" y="113473"/>
                    </a:lnTo>
                    <a:lnTo>
                      <a:pt x="73180" y="112855"/>
                    </a:lnTo>
                    <a:lnTo>
                      <a:pt x="74326" y="113737"/>
                    </a:lnTo>
                    <a:lnTo>
                      <a:pt x="75825" y="116118"/>
                    </a:lnTo>
                    <a:lnTo>
                      <a:pt x="77236" y="115765"/>
                    </a:lnTo>
                    <a:lnTo>
                      <a:pt x="78734" y="116118"/>
                    </a:lnTo>
                    <a:lnTo>
                      <a:pt x="79881" y="116118"/>
                    </a:lnTo>
                    <a:lnTo>
                      <a:pt x="80145" y="114883"/>
                    </a:lnTo>
                    <a:lnTo>
                      <a:pt x="80762" y="114354"/>
                    </a:lnTo>
                    <a:lnTo>
                      <a:pt x="81380" y="114883"/>
                    </a:lnTo>
                    <a:lnTo>
                      <a:pt x="81644" y="115765"/>
                    </a:lnTo>
                    <a:lnTo>
                      <a:pt x="82526" y="116118"/>
                    </a:lnTo>
                    <a:lnTo>
                      <a:pt x="84553" y="116647"/>
                    </a:lnTo>
                    <a:lnTo>
                      <a:pt x="85700" y="117793"/>
                    </a:lnTo>
                    <a:lnTo>
                      <a:pt x="86934" y="117264"/>
                    </a:lnTo>
                    <a:lnTo>
                      <a:pt x="88962" y="117528"/>
                    </a:lnTo>
                    <a:lnTo>
                      <a:pt x="89226" y="117793"/>
                    </a:lnTo>
                    <a:lnTo>
                      <a:pt x="90725" y="117793"/>
                    </a:lnTo>
                    <a:lnTo>
                      <a:pt x="91607" y="118146"/>
                    </a:lnTo>
                    <a:lnTo>
                      <a:pt x="92136" y="119027"/>
                    </a:lnTo>
                    <a:lnTo>
                      <a:pt x="90990" y="120438"/>
                    </a:lnTo>
                    <a:lnTo>
                      <a:pt x="95046" y="123083"/>
                    </a:lnTo>
                    <a:lnTo>
                      <a:pt x="97690" y="126610"/>
                    </a:lnTo>
                    <a:lnTo>
                      <a:pt x="97690" y="127139"/>
                    </a:lnTo>
                    <a:lnTo>
                      <a:pt x="100336" y="127491"/>
                    </a:lnTo>
                    <a:lnTo>
                      <a:pt x="99454" y="129167"/>
                    </a:lnTo>
                    <a:lnTo>
                      <a:pt x="100953" y="129784"/>
                    </a:lnTo>
                    <a:lnTo>
                      <a:pt x="102099" y="130048"/>
                    </a:lnTo>
                    <a:lnTo>
                      <a:pt x="102981" y="129784"/>
                    </a:lnTo>
                    <a:lnTo>
                      <a:pt x="102981" y="129519"/>
                    </a:lnTo>
                    <a:lnTo>
                      <a:pt x="104744" y="128902"/>
                    </a:lnTo>
                    <a:lnTo>
                      <a:pt x="104744" y="127491"/>
                    </a:lnTo>
                    <a:lnTo>
                      <a:pt x="105538" y="127139"/>
                    </a:lnTo>
                    <a:lnTo>
                      <a:pt x="107654" y="127139"/>
                    </a:lnTo>
                    <a:lnTo>
                      <a:pt x="107918" y="126610"/>
                    </a:lnTo>
                    <a:lnTo>
                      <a:pt x="109064" y="125993"/>
                    </a:lnTo>
                    <a:lnTo>
                      <a:pt x="110210" y="126610"/>
                    </a:lnTo>
                    <a:lnTo>
                      <a:pt x="111445" y="128020"/>
                    </a:lnTo>
                    <a:lnTo>
                      <a:pt x="112591" y="128638"/>
                    </a:lnTo>
                    <a:lnTo>
                      <a:pt x="111709" y="129784"/>
                    </a:lnTo>
                    <a:lnTo>
                      <a:pt x="114002" y="130665"/>
                    </a:lnTo>
                    <a:lnTo>
                      <a:pt x="114619" y="129784"/>
                    </a:lnTo>
                    <a:lnTo>
                      <a:pt x="115765" y="131283"/>
                    </a:lnTo>
                    <a:lnTo>
                      <a:pt x="116030" y="132429"/>
                    </a:lnTo>
                    <a:lnTo>
                      <a:pt x="116030" y="132958"/>
                    </a:lnTo>
                    <a:lnTo>
                      <a:pt x="114883" y="134457"/>
                    </a:lnTo>
                    <a:lnTo>
                      <a:pt x="115501" y="134721"/>
                    </a:lnTo>
                    <a:lnTo>
                      <a:pt x="117264" y="135074"/>
                    </a:lnTo>
                    <a:lnTo>
                      <a:pt x="117793" y="134457"/>
                    </a:lnTo>
                    <a:lnTo>
                      <a:pt x="118939" y="135074"/>
                    </a:lnTo>
                    <a:lnTo>
                      <a:pt x="120174" y="134457"/>
                    </a:lnTo>
                    <a:lnTo>
                      <a:pt x="122202" y="135603"/>
                    </a:lnTo>
                    <a:lnTo>
                      <a:pt x="121584" y="132429"/>
                    </a:lnTo>
                    <a:lnTo>
                      <a:pt x="122466" y="132429"/>
                    </a:lnTo>
                    <a:lnTo>
                      <a:pt x="122818" y="131812"/>
                    </a:lnTo>
                    <a:lnTo>
                      <a:pt x="125375" y="130930"/>
                    </a:lnTo>
                    <a:lnTo>
                      <a:pt x="125993" y="129784"/>
                    </a:lnTo>
                    <a:lnTo>
                      <a:pt x="127491" y="129784"/>
                    </a:lnTo>
                    <a:lnTo>
                      <a:pt x="128020" y="130401"/>
                    </a:lnTo>
                    <a:lnTo>
                      <a:pt x="128638" y="130665"/>
                    </a:lnTo>
                    <a:lnTo>
                      <a:pt x="129167" y="130048"/>
                    </a:lnTo>
                    <a:lnTo>
                      <a:pt x="130048" y="130665"/>
                    </a:lnTo>
                    <a:lnTo>
                      <a:pt x="131283" y="129784"/>
                    </a:lnTo>
                    <a:lnTo>
                      <a:pt x="132076" y="129784"/>
                    </a:lnTo>
                    <a:lnTo>
                      <a:pt x="135074" y="131812"/>
                    </a:lnTo>
                    <a:lnTo>
                      <a:pt x="136220" y="131812"/>
                    </a:lnTo>
                    <a:lnTo>
                      <a:pt x="136749" y="132429"/>
                    </a:lnTo>
                    <a:lnTo>
                      <a:pt x="137895" y="131812"/>
                    </a:lnTo>
                    <a:lnTo>
                      <a:pt x="138865" y="130665"/>
                    </a:lnTo>
                    <a:lnTo>
                      <a:pt x="140276" y="130048"/>
                    </a:lnTo>
                    <a:lnTo>
                      <a:pt x="138865" y="129784"/>
                    </a:lnTo>
                    <a:lnTo>
                      <a:pt x="140540" y="129519"/>
                    </a:lnTo>
                    <a:lnTo>
                      <a:pt x="142921" y="129784"/>
                    </a:lnTo>
                    <a:lnTo>
                      <a:pt x="144949" y="128638"/>
                    </a:lnTo>
                    <a:lnTo>
                      <a:pt x="146712" y="129784"/>
                    </a:lnTo>
                    <a:lnTo>
                      <a:pt x="150239" y="129519"/>
                    </a:lnTo>
                    <a:lnTo>
                      <a:pt x="152531" y="129784"/>
                    </a:lnTo>
                    <a:lnTo>
                      <a:pt x="153060" y="130665"/>
                    </a:lnTo>
                    <a:lnTo>
                      <a:pt x="153413" y="130930"/>
                    </a:lnTo>
                    <a:lnTo>
                      <a:pt x="154295" y="130665"/>
                    </a:lnTo>
                    <a:lnTo>
                      <a:pt x="157204" y="131812"/>
                    </a:lnTo>
                    <a:lnTo>
                      <a:pt x="158350" y="132958"/>
                    </a:lnTo>
                    <a:lnTo>
                      <a:pt x="158615" y="134457"/>
                    </a:lnTo>
                    <a:lnTo>
                      <a:pt x="163905" y="135074"/>
                    </a:lnTo>
                    <a:lnTo>
                      <a:pt x="163905" y="136220"/>
                    </a:lnTo>
                    <a:lnTo>
                      <a:pt x="165051" y="136485"/>
                    </a:lnTo>
                    <a:lnTo>
                      <a:pt x="166286" y="137366"/>
                    </a:lnTo>
                    <a:lnTo>
                      <a:pt x="169724" y="137631"/>
                    </a:lnTo>
                    <a:lnTo>
                      <a:pt x="170341" y="139130"/>
                    </a:lnTo>
                    <a:lnTo>
                      <a:pt x="175543" y="140893"/>
                    </a:lnTo>
                    <a:lnTo>
                      <a:pt x="175014" y="137366"/>
                    </a:lnTo>
                    <a:lnTo>
                      <a:pt x="172369" y="136220"/>
                    </a:lnTo>
                    <a:lnTo>
                      <a:pt x="172634" y="134457"/>
                    </a:lnTo>
                    <a:lnTo>
                      <a:pt x="172105" y="131547"/>
                    </a:lnTo>
                    <a:lnTo>
                      <a:pt x="170606" y="129167"/>
                    </a:lnTo>
                    <a:lnTo>
                      <a:pt x="168842" y="126874"/>
                    </a:lnTo>
                    <a:lnTo>
                      <a:pt x="173515" y="123083"/>
                    </a:lnTo>
                    <a:lnTo>
                      <a:pt x="173251" y="121584"/>
                    </a:lnTo>
                    <a:lnTo>
                      <a:pt x="175543" y="119909"/>
                    </a:lnTo>
                    <a:lnTo>
                      <a:pt x="177571" y="119556"/>
                    </a:lnTo>
                    <a:lnTo>
                      <a:pt x="179334" y="115236"/>
                    </a:lnTo>
                    <a:lnTo>
                      <a:pt x="183743" y="112326"/>
                    </a:lnTo>
                    <a:lnTo>
                      <a:pt x="185506" y="108535"/>
                    </a:lnTo>
                    <a:lnTo>
                      <a:pt x="185154" y="106772"/>
                    </a:lnTo>
                    <a:lnTo>
                      <a:pt x="191590" y="106772"/>
                    </a:lnTo>
                    <a:lnTo>
                      <a:pt x="193089" y="104391"/>
                    </a:lnTo>
                    <a:lnTo>
                      <a:pt x="192471" y="97955"/>
                    </a:lnTo>
                    <a:lnTo>
                      <a:pt x="191325" y="97690"/>
                    </a:lnTo>
                    <a:lnTo>
                      <a:pt x="191854" y="96280"/>
                    </a:lnTo>
                    <a:lnTo>
                      <a:pt x="193970" y="95927"/>
                    </a:lnTo>
                    <a:lnTo>
                      <a:pt x="193089" y="93899"/>
                    </a:lnTo>
                    <a:lnTo>
                      <a:pt x="189562" y="91254"/>
                    </a:lnTo>
                    <a:lnTo>
                      <a:pt x="186124" y="87816"/>
                    </a:lnTo>
                    <a:lnTo>
                      <a:pt x="181980" y="85435"/>
                    </a:lnTo>
                    <a:lnTo>
                      <a:pt x="183478" y="84289"/>
                    </a:lnTo>
                    <a:lnTo>
                      <a:pt x="182861" y="7873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6" name="Freihandform: Form 1575">
                <a:extLst>
                  <a:ext uri="{FF2B5EF4-FFF2-40B4-BE49-F238E27FC236}">
                    <a16:creationId xmlns:a16="http://schemas.microsoft.com/office/drawing/2014/main" id="{4BDD2EFE-57D2-7849-FBC0-AC7ACAC955BA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7" name="Freihandform: Form 1576">
                <a:extLst>
                  <a:ext uri="{FF2B5EF4-FFF2-40B4-BE49-F238E27FC236}">
                    <a16:creationId xmlns:a16="http://schemas.microsoft.com/office/drawing/2014/main" id="{2154C1C2-8429-A6DC-863D-99297800A18F}"/>
                  </a:ext>
                </a:extLst>
              </p:cNvPr>
              <p:cNvSpPr/>
              <p:nvPr/>
            </p:nvSpPr>
            <p:spPr>
              <a:xfrm>
                <a:off x="4299078" y="2882708"/>
                <a:ext cx="128637" cy="60130"/>
              </a:xfrm>
              <a:custGeom>
                <a:avLst/>
                <a:gdLst>
                  <a:gd name="connsiteX0" fmla="*/ 93106 w 128637"/>
                  <a:gd name="connsiteY0" fmla="*/ 55722 h 60130"/>
                  <a:gd name="connsiteX1" fmla="*/ 95663 w 128637"/>
                  <a:gd name="connsiteY1" fmla="*/ 52813 h 60130"/>
                  <a:gd name="connsiteX2" fmla="*/ 98660 w 128637"/>
                  <a:gd name="connsiteY2" fmla="*/ 53695 h 60130"/>
                  <a:gd name="connsiteX3" fmla="*/ 99807 w 128637"/>
                  <a:gd name="connsiteY3" fmla="*/ 53695 h 60130"/>
                  <a:gd name="connsiteX4" fmla="*/ 101217 w 128637"/>
                  <a:gd name="connsiteY4" fmla="*/ 53959 h 60130"/>
                  <a:gd name="connsiteX5" fmla="*/ 107918 w 128637"/>
                  <a:gd name="connsiteY5" fmla="*/ 54841 h 60130"/>
                  <a:gd name="connsiteX6" fmla="*/ 112062 w 128637"/>
                  <a:gd name="connsiteY6" fmla="*/ 51667 h 60130"/>
                  <a:gd name="connsiteX7" fmla="*/ 111709 w 128637"/>
                  <a:gd name="connsiteY7" fmla="*/ 46994 h 60130"/>
                  <a:gd name="connsiteX8" fmla="*/ 115853 w 128637"/>
                  <a:gd name="connsiteY8" fmla="*/ 44966 h 60130"/>
                  <a:gd name="connsiteX9" fmla="*/ 118763 w 128637"/>
                  <a:gd name="connsiteY9" fmla="*/ 43731 h 60130"/>
                  <a:gd name="connsiteX10" fmla="*/ 119292 w 128637"/>
                  <a:gd name="connsiteY10" fmla="*/ 39676 h 60130"/>
                  <a:gd name="connsiteX11" fmla="*/ 124317 w 128637"/>
                  <a:gd name="connsiteY11" fmla="*/ 38530 h 60130"/>
                  <a:gd name="connsiteX12" fmla="*/ 125199 w 128637"/>
                  <a:gd name="connsiteY12" fmla="*/ 37031 h 60130"/>
                  <a:gd name="connsiteX13" fmla="*/ 128638 w 128637"/>
                  <a:gd name="connsiteY13" fmla="*/ 32975 h 60130"/>
                  <a:gd name="connsiteX14" fmla="*/ 124582 w 128637"/>
                  <a:gd name="connsiteY14" fmla="*/ 30330 h 60130"/>
                  <a:gd name="connsiteX15" fmla="*/ 125728 w 128637"/>
                  <a:gd name="connsiteY15" fmla="*/ 28919 h 60130"/>
                  <a:gd name="connsiteX16" fmla="*/ 125199 w 128637"/>
                  <a:gd name="connsiteY16" fmla="*/ 28037 h 60130"/>
                  <a:gd name="connsiteX17" fmla="*/ 124317 w 128637"/>
                  <a:gd name="connsiteY17" fmla="*/ 27685 h 60130"/>
                  <a:gd name="connsiteX18" fmla="*/ 122818 w 128637"/>
                  <a:gd name="connsiteY18" fmla="*/ 27685 h 60130"/>
                  <a:gd name="connsiteX19" fmla="*/ 122554 w 128637"/>
                  <a:gd name="connsiteY19" fmla="*/ 27420 h 60130"/>
                  <a:gd name="connsiteX20" fmla="*/ 120526 w 128637"/>
                  <a:gd name="connsiteY20" fmla="*/ 27156 h 60130"/>
                  <a:gd name="connsiteX21" fmla="*/ 119292 w 128637"/>
                  <a:gd name="connsiteY21" fmla="*/ 27685 h 60130"/>
                  <a:gd name="connsiteX22" fmla="*/ 118146 w 128637"/>
                  <a:gd name="connsiteY22" fmla="*/ 26539 h 60130"/>
                  <a:gd name="connsiteX23" fmla="*/ 116118 w 128637"/>
                  <a:gd name="connsiteY23" fmla="*/ 26010 h 60130"/>
                  <a:gd name="connsiteX24" fmla="*/ 115236 w 128637"/>
                  <a:gd name="connsiteY24" fmla="*/ 25657 h 60130"/>
                  <a:gd name="connsiteX25" fmla="*/ 114972 w 128637"/>
                  <a:gd name="connsiteY25" fmla="*/ 24775 h 60130"/>
                  <a:gd name="connsiteX26" fmla="*/ 114354 w 128637"/>
                  <a:gd name="connsiteY26" fmla="*/ 24246 h 60130"/>
                  <a:gd name="connsiteX27" fmla="*/ 113737 w 128637"/>
                  <a:gd name="connsiteY27" fmla="*/ 24775 h 60130"/>
                  <a:gd name="connsiteX28" fmla="*/ 113473 w 128637"/>
                  <a:gd name="connsiteY28" fmla="*/ 26010 h 60130"/>
                  <a:gd name="connsiteX29" fmla="*/ 112326 w 128637"/>
                  <a:gd name="connsiteY29" fmla="*/ 26010 h 60130"/>
                  <a:gd name="connsiteX30" fmla="*/ 110828 w 128637"/>
                  <a:gd name="connsiteY30" fmla="*/ 25657 h 60130"/>
                  <a:gd name="connsiteX31" fmla="*/ 109417 w 128637"/>
                  <a:gd name="connsiteY31" fmla="*/ 26010 h 60130"/>
                  <a:gd name="connsiteX32" fmla="*/ 107918 w 128637"/>
                  <a:gd name="connsiteY32" fmla="*/ 23629 h 60130"/>
                  <a:gd name="connsiteX33" fmla="*/ 106772 w 128637"/>
                  <a:gd name="connsiteY33" fmla="*/ 22747 h 60130"/>
                  <a:gd name="connsiteX34" fmla="*/ 106507 w 128637"/>
                  <a:gd name="connsiteY34" fmla="*/ 23365 h 60130"/>
                  <a:gd name="connsiteX35" fmla="*/ 105890 w 128637"/>
                  <a:gd name="connsiteY35" fmla="*/ 22218 h 60130"/>
                  <a:gd name="connsiteX36" fmla="*/ 105626 w 128637"/>
                  <a:gd name="connsiteY36" fmla="*/ 21601 h 60130"/>
                  <a:gd name="connsiteX37" fmla="*/ 106507 w 128637"/>
                  <a:gd name="connsiteY37" fmla="*/ 20984 h 60130"/>
                  <a:gd name="connsiteX38" fmla="*/ 107654 w 128637"/>
                  <a:gd name="connsiteY38" fmla="*/ 20984 h 60130"/>
                  <a:gd name="connsiteX39" fmla="*/ 107918 w 128637"/>
                  <a:gd name="connsiteY39" fmla="*/ 19838 h 60130"/>
                  <a:gd name="connsiteX40" fmla="*/ 107389 w 128637"/>
                  <a:gd name="connsiteY40" fmla="*/ 18956 h 60130"/>
                  <a:gd name="connsiteX41" fmla="*/ 107389 w 128637"/>
                  <a:gd name="connsiteY41" fmla="*/ 18427 h 60130"/>
                  <a:gd name="connsiteX42" fmla="*/ 106243 w 128637"/>
                  <a:gd name="connsiteY42" fmla="*/ 18074 h 60130"/>
                  <a:gd name="connsiteX43" fmla="*/ 105890 w 128637"/>
                  <a:gd name="connsiteY43" fmla="*/ 18427 h 60130"/>
                  <a:gd name="connsiteX44" fmla="*/ 105626 w 128637"/>
                  <a:gd name="connsiteY44" fmla="*/ 19573 h 60130"/>
                  <a:gd name="connsiteX45" fmla="*/ 103598 w 128637"/>
                  <a:gd name="connsiteY45" fmla="*/ 19309 h 60130"/>
                  <a:gd name="connsiteX46" fmla="*/ 102716 w 128637"/>
                  <a:gd name="connsiteY46" fmla="*/ 19573 h 60130"/>
                  <a:gd name="connsiteX47" fmla="*/ 100953 w 128637"/>
                  <a:gd name="connsiteY47" fmla="*/ 19309 h 60130"/>
                  <a:gd name="connsiteX48" fmla="*/ 99542 w 128637"/>
                  <a:gd name="connsiteY48" fmla="*/ 18956 h 60130"/>
                  <a:gd name="connsiteX49" fmla="*/ 98925 w 128637"/>
                  <a:gd name="connsiteY49" fmla="*/ 18074 h 60130"/>
                  <a:gd name="connsiteX50" fmla="*/ 96280 w 128637"/>
                  <a:gd name="connsiteY50" fmla="*/ 17193 h 60130"/>
                  <a:gd name="connsiteX51" fmla="*/ 96015 w 128637"/>
                  <a:gd name="connsiteY51" fmla="*/ 16047 h 60130"/>
                  <a:gd name="connsiteX52" fmla="*/ 93988 w 128637"/>
                  <a:gd name="connsiteY52" fmla="*/ 16047 h 60130"/>
                  <a:gd name="connsiteX53" fmla="*/ 90990 w 128637"/>
                  <a:gd name="connsiteY53" fmla="*/ 15429 h 60130"/>
                  <a:gd name="connsiteX54" fmla="*/ 90990 w 128637"/>
                  <a:gd name="connsiteY54" fmla="*/ 16047 h 60130"/>
                  <a:gd name="connsiteX55" fmla="*/ 91342 w 128637"/>
                  <a:gd name="connsiteY55" fmla="*/ 16664 h 60130"/>
                  <a:gd name="connsiteX56" fmla="*/ 93370 w 128637"/>
                  <a:gd name="connsiteY56" fmla="*/ 17810 h 60130"/>
                  <a:gd name="connsiteX57" fmla="*/ 93635 w 128637"/>
                  <a:gd name="connsiteY57" fmla="*/ 19309 h 60130"/>
                  <a:gd name="connsiteX58" fmla="*/ 93370 w 128637"/>
                  <a:gd name="connsiteY58" fmla="*/ 19573 h 60130"/>
                  <a:gd name="connsiteX59" fmla="*/ 92489 w 128637"/>
                  <a:gd name="connsiteY59" fmla="*/ 19573 h 60130"/>
                  <a:gd name="connsiteX60" fmla="*/ 91872 w 128637"/>
                  <a:gd name="connsiteY60" fmla="*/ 20102 h 60130"/>
                  <a:gd name="connsiteX61" fmla="*/ 91607 w 128637"/>
                  <a:gd name="connsiteY61" fmla="*/ 20984 h 60130"/>
                  <a:gd name="connsiteX62" fmla="*/ 90461 w 128637"/>
                  <a:gd name="connsiteY62" fmla="*/ 20719 h 60130"/>
                  <a:gd name="connsiteX63" fmla="*/ 89844 w 128637"/>
                  <a:gd name="connsiteY63" fmla="*/ 22218 h 60130"/>
                  <a:gd name="connsiteX64" fmla="*/ 88962 w 128637"/>
                  <a:gd name="connsiteY64" fmla="*/ 23629 h 60130"/>
                  <a:gd name="connsiteX65" fmla="*/ 86669 w 128637"/>
                  <a:gd name="connsiteY65" fmla="*/ 22747 h 60130"/>
                  <a:gd name="connsiteX66" fmla="*/ 85523 w 128637"/>
                  <a:gd name="connsiteY66" fmla="*/ 21601 h 60130"/>
                  <a:gd name="connsiteX67" fmla="*/ 85171 w 128637"/>
                  <a:gd name="connsiteY67" fmla="*/ 19573 h 60130"/>
                  <a:gd name="connsiteX68" fmla="*/ 82878 w 128637"/>
                  <a:gd name="connsiteY68" fmla="*/ 17810 h 60130"/>
                  <a:gd name="connsiteX69" fmla="*/ 81732 w 128637"/>
                  <a:gd name="connsiteY69" fmla="*/ 18074 h 60130"/>
                  <a:gd name="connsiteX70" fmla="*/ 80851 w 128637"/>
                  <a:gd name="connsiteY70" fmla="*/ 16928 h 60130"/>
                  <a:gd name="connsiteX71" fmla="*/ 79969 w 128637"/>
                  <a:gd name="connsiteY71" fmla="*/ 16664 h 60130"/>
                  <a:gd name="connsiteX72" fmla="*/ 78823 w 128637"/>
                  <a:gd name="connsiteY72" fmla="*/ 16047 h 60130"/>
                  <a:gd name="connsiteX73" fmla="*/ 77588 w 128637"/>
                  <a:gd name="connsiteY73" fmla="*/ 15429 h 60130"/>
                  <a:gd name="connsiteX74" fmla="*/ 78470 w 128637"/>
                  <a:gd name="connsiteY74" fmla="*/ 15165 h 60130"/>
                  <a:gd name="connsiteX75" fmla="*/ 79352 w 128637"/>
                  <a:gd name="connsiteY75" fmla="*/ 14900 h 60130"/>
                  <a:gd name="connsiteX76" fmla="*/ 79704 w 128637"/>
                  <a:gd name="connsiteY76" fmla="*/ 14283 h 60130"/>
                  <a:gd name="connsiteX77" fmla="*/ 80851 w 128637"/>
                  <a:gd name="connsiteY77" fmla="*/ 14019 h 60130"/>
                  <a:gd name="connsiteX78" fmla="*/ 81380 w 128637"/>
                  <a:gd name="connsiteY78" fmla="*/ 13137 h 60130"/>
                  <a:gd name="connsiteX79" fmla="*/ 81380 w 128637"/>
                  <a:gd name="connsiteY79" fmla="*/ 11991 h 60130"/>
                  <a:gd name="connsiteX80" fmla="*/ 82614 w 128637"/>
                  <a:gd name="connsiteY80" fmla="*/ 12255 h 60130"/>
                  <a:gd name="connsiteX81" fmla="*/ 82261 w 128637"/>
                  <a:gd name="connsiteY81" fmla="*/ 11991 h 60130"/>
                  <a:gd name="connsiteX82" fmla="*/ 79087 w 128637"/>
                  <a:gd name="connsiteY82" fmla="*/ 9346 h 60130"/>
                  <a:gd name="connsiteX83" fmla="*/ 78470 w 128637"/>
                  <a:gd name="connsiteY83" fmla="*/ 9610 h 60130"/>
                  <a:gd name="connsiteX84" fmla="*/ 77941 w 128637"/>
                  <a:gd name="connsiteY84" fmla="*/ 10227 h 60130"/>
                  <a:gd name="connsiteX85" fmla="*/ 77059 w 128637"/>
                  <a:gd name="connsiteY85" fmla="*/ 10492 h 60130"/>
                  <a:gd name="connsiteX86" fmla="*/ 75296 w 128637"/>
                  <a:gd name="connsiteY86" fmla="*/ 9346 h 60130"/>
                  <a:gd name="connsiteX87" fmla="*/ 74414 w 128637"/>
                  <a:gd name="connsiteY87" fmla="*/ 11374 h 60130"/>
                  <a:gd name="connsiteX88" fmla="*/ 73797 w 128637"/>
                  <a:gd name="connsiteY88" fmla="*/ 11991 h 60130"/>
                  <a:gd name="connsiteX89" fmla="*/ 73797 w 128637"/>
                  <a:gd name="connsiteY89" fmla="*/ 10492 h 60130"/>
                  <a:gd name="connsiteX90" fmla="*/ 72651 w 128637"/>
                  <a:gd name="connsiteY90" fmla="*/ 9963 h 60130"/>
                  <a:gd name="connsiteX91" fmla="*/ 70006 w 128637"/>
                  <a:gd name="connsiteY91" fmla="*/ 9346 h 60130"/>
                  <a:gd name="connsiteX92" fmla="*/ 69741 w 128637"/>
                  <a:gd name="connsiteY92" fmla="*/ 8200 h 60130"/>
                  <a:gd name="connsiteX93" fmla="*/ 68595 w 128637"/>
                  <a:gd name="connsiteY93" fmla="*/ 7847 h 60130"/>
                  <a:gd name="connsiteX94" fmla="*/ 67449 w 128637"/>
                  <a:gd name="connsiteY94" fmla="*/ 8200 h 60130"/>
                  <a:gd name="connsiteX95" fmla="*/ 66832 w 128637"/>
                  <a:gd name="connsiteY95" fmla="*/ 7582 h 60130"/>
                  <a:gd name="connsiteX96" fmla="*/ 65950 w 128637"/>
                  <a:gd name="connsiteY96" fmla="*/ 7582 h 60130"/>
                  <a:gd name="connsiteX97" fmla="*/ 64539 w 128637"/>
                  <a:gd name="connsiteY97" fmla="*/ 6172 h 60130"/>
                  <a:gd name="connsiteX98" fmla="*/ 62776 w 128637"/>
                  <a:gd name="connsiteY98" fmla="*/ 5819 h 60130"/>
                  <a:gd name="connsiteX99" fmla="*/ 61013 w 128637"/>
                  <a:gd name="connsiteY99" fmla="*/ 6172 h 60130"/>
                  <a:gd name="connsiteX100" fmla="*/ 60395 w 128637"/>
                  <a:gd name="connsiteY100" fmla="*/ 6172 h 60130"/>
                  <a:gd name="connsiteX101" fmla="*/ 60131 w 128637"/>
                  <a:gd name="connsiteY101" fmla="*/ 5555 h 60130"/>
                  <a:gd name="connsiteX102" fmla="*/ 60395 w 128637"/>
                  <a:gd name="connsiteY102" fmla="*/ 4937 h 60130"/>
                  <a:gd name="connsiteX103" fmla="*/ 59778 w 128637"/>
                  <a:gd name="connsiteY103" fmla="*/ 4673 h 60130"/>
                  <a:gd name="connsiteX104" fmla="*/ 58985 w 128637"/>
                  <a:gd name="connsiteY104" fmla="*/ 2645 h 60130"/>
                  <a:gd name="connsiteX105" fmla="*/ 59249 w 128637"/>
                  <a:gd name="connsiteY105" fmla="*/ 2028 h 60130"/>
                  <a:gd name="connsiteX106" fmla="*/ 57221 w 128637"/>
                  <a:gd name="connsiteY106" fmla="*/ 1499 h 60130"/>
                  <a:gd name="connsiteX107" fmla="*/ 56604 w 128637"/>
                  <a:gd name="connsiteY107" fmla="*/ 1763 h 60130"/>
                  <a:gd name="connsiteX108" fmla="*/ 55458 w 128637"/>
                  <a:gd name="connsiteY108" fmla="*/ 1146 h 60130"/>
                  <a:gd name="connsiteX109" fmla="*/ 54312 w 128637"/>
                  <a:gd name="connsiteY109" fmla="*/ 1146 h 60130"/>
                  <a:gd name="connsiteX110" fmla="*/ 53430 w 128637"/>
                  <a:gd name="connsiteY110" fmla="*/ 1146 h 60130"/>
                  <a:gd name="connsiteX111" fmla="*/ 53430 w 128637"/>
                  <a:gd name="connsiteY111" fmla="*/ 2380 h 60130"/>
                  <a:gd name="connsiteX112" fmla="*/ 53430 w 128637"/>
                  <a:gd name="connsiteY112" fmla="*/ 3791 h 60130"/>
                  <a:gd name="connsiteX113" fmla="*/ 52813 w 128637"/>
                  <a:gd name="connsiteY113" fmla="*/ 4408 h 60130"/>
                  <a:gd name="connsiteX114" fmla="*/ 50785 w 128637"/>
                  <a:gd name="connsiteY114" fmla="*/ 4937 h 60130"/>
                  <a:gd name="connsiteX115" fmla="*/ 50521 w 128637"/>
                  <a:gd name="connsiteY115" fmla="*/ 5555 h 60130"/>
                  <a:gd name="connsiteX116" fmla="*/ 48757 w 128637"/>
                  <a:gd name="connsiteY116" fmla="*/ 5819 h 60130"/>
                  <a:gd name="connsiteX117" fmla="*/ 47611 w 128637"/>
                  <a:gd name="connsiteY117" fmla="*/ 4937 h 60130"/>
                  <a:gd name="connsiteX118" fmla="*/ 47875 w 128637"/>
                  <a:gd name="connsiteY118" fmla="*/ 2645 h 60130"/>
                  <a:gd name="connsiteX119" fmla="*/ 46994 w 128637"/>
                  <a:gd name="connsiteY119" fmla="*/ 2380 h 60130"/>
                  <a:gd name="connsiteX120" fmla="*/ 46994 w 128637"/>
                  <a:gd name="connsiteY120" fmla="*/ 1499 h 60130"/>
                  <a:gd name="connsiteX121" fmla="*/ 46377 w 128637"/>
                  <a:gd name="connsiteY121" fmla="*/ 1763 h 60130"/>
                  <a:gd name="connsiteX122" fmla="*/ 44084 w 128637"/>
                  <a:gd name="connsiteY122" fmla="*/ 1146 h 60130"/>
                  <a:gd name="connsiteX123" fmla="*/ 43467 w 128637"/>
                  <a:gd name="connsiteY123" fmla="*/ 617 h 60130"/>
                  <a:gd name="connsiteX124" fmla="*/ 43202 w 128637"/>
                  <a:gd name="connsiteY124" fmla="*/ 1499 h 60130"/>
                  <a:gd name="connsiteX125" fmla="*/ 40822 w 128637"/>
                  <a:gd name="connsiteY125" fmla="*/ 0 h 60130"/>
                  <a:gd name="connsiteX126" fmla="*/ 40029 w 128637"/>
                  <a:gd name="connsiteY126" fmla="*/ 882 h 60130"/>
                  <a:gd name="connsiteX127" fmla="*/ 40822 w 128637"/>
                  <a:gd name="connsiteY127" fmla="*/ 1499 h 60130"/>
                  <a:gd name="connsiteX128" fmla="*/ 41175 w 128637"/>
                  <a:gd name="connsiteY128" fmla="*/ 2028 h 60130"/>
                  <a:gd name="connsiteX129" fmla="*/ 41175 w 128637"/>
                  <a:gd name="connsiteY129" fmla="*/ 2645 h 60130"/>
                  <a:gd name="connsiteX130" fmla="*/ 42321 w 128637"/>
                  <a:gd name="connsiteY130" fmla="*/ 2909 h 60130"/>
                  <a:gd name="connsiteX131" fmla="*/ 42938 w 128637"/>
                  <a:gd name="connsiteY131" fmla="*/ 3791 h 60130"/>
                  <a:gd name="connsiteX132" fmla="*/ 40029 w 128637"/>
                  <a:gd name="connsiteY132" fmla="*/ 4056 h 60130"/>
                  <a:gd name="connsiteX133" fmla="*/ 37912 w 128637"/>
                  <a:gd name="connsiteY133" fmla="*/ 4937 h 60130"/>
                  <a:gd name="connsiteX134" fmla="*/ 36766 w 128637"/>
                  <a:gd name="connsiteY134" fmla="*/ 5819 h 60130"/>
                  <a:gd name="connsiteX135" fmla="*/ 35091 w 128637"/>
                  <a:gd name="connsiteY135" fmla="*/ 6172 h 60130"/>
                  <a:gd name="connsiteX136" fmla="*/ 34738 w 128637"/>
                  <a:gd name="connsiteY136" fmla="*/ 5819 h 60130"/>
                  <a:gd name="connsiteX137" fmla="*/ 34121 w 128637"/>
                  <a:gd name="connsiteY137" fmla="*/ 6172 h 60130"/>
                  <a:gd name="connsiteX138" fmla="*/ 33592 w 128637"/>
                  <a:gd name="connsiteY138" fmla="*/ 6172 h 60130"/>
                  <a:gd name="connsiteX139" fmla="*/ 33328 w 128637"/>
                  <a:gd name="connsiteY139" fmla="*/ 7582 h 60130"/>
                  <a:gd name="connsiteX140" fmla="*/ 32358 w 128637"/>
                  <a:gd name="connsiteY140" fmla="*/ 8200 h 60130"/>
                  <a:gd name="connsiteX141" fmla="*/ 30947 w 128637"/>
                  <a:gd name="connsiteY141" fmla="*/ 8200 h 60130"/>
                  <a:gd name="connsiteX142" fmla="*/ 25657 w 128637"/>
                  <a:gd name="connsiteY142" fmla="*/ 8464 h 60130"/>
                  <a:gd name="connsiteX143" fmla="*/ 25393 w 128637"/>
                  <a:gd name="connsiteY143" fmla="*/ 8817 h 60130"/>
                  <a:gd name="connsiteX144" fmla="*/ 26010 w 128637"/>
                  <a:gd name="connsiteY144" fmla="*/ 9346 h 60130"/>
                  <a:gd name="connsiteX145" fmla="*/ 25393 w 128637"/>
                  <a:gd name="connsiteY145" fmla="*/ 9963 h 60130"/>
                  <a:gd name="connsiteX146" fmla="*/ 25393 w 128637"/>
                  <a:gd name="connsiteY146" fmla="*/ 10492 h 60130"/>
                  <a:gd name="connsiteX147" fmla="*/ 25393 w 128637"/>
                  <a:gd name="connsiteY147" fmla="*/ 11109 h 60130"/>
                  <a:gd name="connsiteX148" fmla="*/ 25128 w 128637"/>
                  <a:gd name="connsiteY148" fmla="*/ 10492 h 60130"/>
                  <a:gd name="connsiteX149" fmla="*/ 23100 w 128637"/>
                  <a:gd name="connsiteY149" fmla="*/ 11109 h 60130"/>
                  <a:gd name="connsiteX150" fmla="*/ 22218 w 128637"/>
                  <a:gd name="connsiteY150" fmla="*/ 11991 h 60130"/>
                  <a:gd name="connsiteX151" fmla="*/ 21601 w 128637"/>
                  <a:gd name="connsiteY151" fmla="*/ 11991 h 60130"/>
                  <a:gd name="connsiteX152" fmla="*/ 20191 w 128637"/>
                  <a:gd name="connsiteY152" fmla="*/ 13754 h 60130"/>
                  <a:gd name="connsiteX153" fmla="*/ 19573 w 128637"/>
                  <a:gd name="connsiteY153" fmla="*/ 13401 h 60130"/>
                  <a:gd name="connsiteX154" fmla="*/ 16928 w 128637"/>
                  <a:gd name="connsiteY154" fmla="*/ 14283 h 60130"/>
                  <a:gd name="connsiteX155" fmla="*/ 16399 w 128637"/>
                  <a:gd name="connsiteY155" fmla="*/ 15429 h 60130"/>
                  <a:gd name="connsiteX156" fmla="*/ 16047 w 128637"/>
                  <a:gd name="connsiteY156" fmla="*/ 15782 h 60130"/>
                  <a:gd name="connsiteX157" fmla="*/ 15782 w 128637"/>
                  <a:gd name="connsiteY157" fmla="*/ 16047 h 60130"/>
                  <a:gd name="connsiteX158" fmla="*/ 13490 w 128637"/>
                  <a:gd name="connsiteY158" fmla="*/ 15429 h 60130"/>
                  <a:gd name="connsiteX159" fmla="*/ 12873 w 128637"/>
                  <a:gd name="connsiteY159" fmla="*/ 15429 h 60130"/>
                  <a:gd name="connsiteX160" fmla="*/ 9963 w 128637"/>
                  <a:gd name="connsiteY160" fmla="*/ 16047 h 60130"/>
                  <a:gd name="connsiteX161" fmla="*/ 7053 w 128637"/>
                  <a:gd name="connsiteY161" fmla="*/ 16047 h 60130"/>
                  <a:gd name="connsiteX162" fmla="*/ 6701 w 128637"/>
                  <a:gd name="connsiteY162" fmla="*/ 16664 h 60130"/>
                  <a:gd name="connsiteX163" fmla="*/ 6701 w 128637"/>
                  <a:gd name="connsiteY163" fmla="*/ 17193 h 60130"/>
                  <a:gd name="connsiteX164" fmla="*/ 5555 w 128637"/>
                  <a:gd name="connsiteY164" fmla="*/ 18074 h 60130"/>
                  <a:gd name="connsiteX165" fmla="*/ 5555 w 128637"/>
                  <a:gd name="connsiteY165" fmla="*/ 18427 h 60130"/>
                  <a:gd name="connsiteX166" fmla="*/ 4144 w 128637"/>
                  <a:gd name="connsiteY166" fmla="*/ 19309 h 60130"/>
                  <a:gd name="connsiteX167" fmla="*/ 3527 w 128637"/>
                  <a:gd name="connsiteY167" fmla="*/ 19573 h 60130"/>
                  <a:gd name="connsiteX168" fmla="*/ 2909 w 128637"/>
                  <a:gd name="connsiteY168" fmla="*/ 19573 h 60130"/>
                  <a:gd name="connsiteX169" fmla="*/ 2645 w 128637"/>
                  <a:gd name="connsiteY169" fmla="*/ 19309 h 60130"/>
                  <a:gd name="connsiteX170" fmla="*/ 1499 w 128637"/>
                  <a:gd name="connsiteY170" fmla="*/ 18692 h 60130"/>
                  <a:gd name="connsiteX171" fmla="*/ 617 w 128637"/>
                  <a:gd name="connsiteY171" fmla="*/ 18074 h 60130"/>
                  <a:gd name="connsiteX172" fmla="*/ 0 w 128637"/>
                  <a:gd name="connsiteY172" fmla="*/ 18074 h 60130"/>
                  <a:gd name="connsiteX173" fmla="*/ 0 w 128637"/>
                  <a:gd name="connsiteY173" fmla="*/ 18692 h 60130"/>
                  <a:gd name="connsiteX174" fmla="*/ 0 w 128637"/>
                  <a:gd name="connsiteY174" fmla="*/ 19309 h 60130"/>
                  <a:gd name="connsiteX175" fmla="*/ 353 w 128637"/>
                  <a:gd name="connsiteY175" fmla="*/ 19573 h 60130"/>
                  <a:gd name="connsiteX176" fmla="*/ 882 w 128637"/>
                  <a:gd name="connsiteY176" fmla="*/ 20984 h 60130"/>
                  <a:gd name="connsiteX177" fmla="*/ 1499 w 128637"/>
                  <a:gd name="connsiteY177" fmla="*/ 21337 h 60130"/>
                  <a:gd name="connsiteX178" fmla="*/ 882 w 128637"/>
                  <a:gd name="connsiteY178" fmla="*/ 22218 h 60130"/>
                  <a:gd name="connsiteX179" fmla="*/ 1499 w 128637"/>
                  <a:gd name="connsiteY179" fmla="*/ 23365 h 60130"/>
                  <a:gd name="connsiteX180" fmla="*/ 3262 w 128637"/>
                  <a:gd name="connsiteY180" fmla="*/ 23629 h 60130"/>
                  <a:gd name="connsiteX181" fmla="*/ 3791 w 128637"/>
                  <a:gd name="connsiteY181" fmla="*/ 24246 h 60130"/>
                  <a:gd name="connsiteX182" fmla="*/ 3791 w 128637"/>
                  <a:gd name="connsiteY182" fmla="*/ 24775 h 60130"/>
                  <a:gd name="connsiteX183" fmla="*/ 7053 w 128637"/>
                  <a:gd name="connsiteY183" fmla="*/ 26010 h 60130"/>
                  <a:gd name="connsiteX184" fmla="*/ 7318 w 128637"/>
                  <a:gd name="connsiteY184" fmla="*/ 26274 h 60130"/>
                  <a:gd name="connsiteX185" fmla="*/ 7582 w 128637"/>
                  <a:gd name="connsiteY185" fmla="*/ 26539 h 60130"/>
                  <a:gd name="connsiteX186" fmla="*/ 7582 w 128637"/>
                  <a:gd name="connsiteY186" fmla="*/ 27156 h 60130"/>
                  <a:gd name="connsiteX187" fmla="*/ 8200 w 128637"/>
                  <a:gd name="connsiteY187" fmla="*/ 27685 h 60130"/>
                  <a:gd name="connsiteX188" fmla="*/ 7582 w 128637"/>
                  <a:gd name="connsiteY188" fmla="*/ 29801 h 60130"/>
                  <a:gd name="connsiteX189" fmla="*/ 7582 w 128637"/>
                  <a:gd name="connsiteY189" fmla="*/ 31212 h 60130"/>
                  <a:gd name="connsiteX190" fmla="*/ 7053 w 128637"/>
                  <a:gd name="connsiteY190" fmla="*/ 31476 h 60130"/>
                  <a:gd name="connsiteX191" fmla="*/ 6701 w 128637"/>
                  <a:gd name="connsiteY191" fmla="*/ 32710 h 60130"/>
                  <a:gd name="connsiteX192" fmla="*/ 7935 w 128637"/>
                  <a:gd name="connsiteY192" fmla="*/ 33239 h 60130"/>
                  <a:gd name="connsiteX193" fmla="*/ 7935 w 128637"/>
                  <a:gd name="connsiteY193" fmla="*/ 33857 h 60130"/>
                  <a:gd name="connsiteX194" fmla="*/ 7935 w 128637"/>
                  <a:gd name="connsiteY194" fmla="*/ 35003 h 60130"/>
                  <a:gd name="connsiteX195" fmla="*/ 10228 w 128637"/>
                  <a:gd name="connsiteY195" fmla="*/ 35884 h 60130"/>
                  <a:gd name="connsiteX196" fmla="*/ 11109 w 128637"/>
                  <a:gd name="connsiteY196" fmla="*/ 37031 h 60130"/>
                  <a:gd name="connsiteX197" fmla="*/ 11374 w 128637"/>
                  <a:gd name="connsiteY197" fmla="*/ 37383 h 60130"/>
                  <a:gd name="connsiteX198" fmla="*/ 11991 w 128637"/>
                  <a:gd name="connsiteY198" fmla="*/ 38530 h 60130"/>
                  <a:gd name="connsiteX199" fmla="*/ 11726 w 128637"/>
                  <a:gd name="connsiteY199" fmla="*/ 39411 h 60130"/>
                  <a:gd name="connsiteX200" fmla="*/ 14636 w 128637"/>
                  <a:gd name="connsiteY200" fmla="*/ 39676 h 60130"/>
                  <a:gd name="connsiteX201" fmla="*/ 15518 w 128637"/>
                  <a:gd name="connsiteY201" fmla="*/ 41175 h 60130"/>
                  <a:gd name="connsiteX202" fmla="*/ 16047 w 128637"/>
                  <a:gd name="connsiteY202" fmla="*/ 41175 h 60130"/>
                  <a:gd name="connsiteX203" fmla="*/ 18074 w 128637"/>
                  <a:gd name="connsiteY203" fmla="*/ 41175 h 60130"/>
                  <a:gd name="connsiteX204" fmla="*/ 18692 w 128637"/>
                  <a:gd name="connsiteY204" fmla="*/ 42321 h 60130"/>
                  <a:gd name="connsiteX205" fmla="*/ 18956 w 128637"/>
                  <a:gd name="connsiteY205" fmla="*/ 42850 h 60130"/>
                  <a:gd name="connsiteX206" fmla="*/ 20455 w 128637"/>
                  <a:gd name="connsiteY206" fmla="*/ 43467 h 60130"/>
                  <a:gd name="connsiteX207" fmla="*/ 21337 w 128637"/>
                  <a:gd name="connsiteY207" fmla="*/ 44966 h 60130"/>
                  <a:gd name="connsiteX208" fmla="*/ 21866 w 128637"/>
                  <a:gd name="connsiteY208" fmla="*/ 46112 h 60130"/>
                  <a:gd name="connsiteX209" fmla="*/ 21866 w 128637"/>
                  <a:gd name="connsiteY209" fmla="*/ 46641 h 60130"/>
                  <a:gd name="connsiteX210" fmla="*/ 24864 w 128637"/>
                  <a:gd name="connsiteY210" fmla="*/ 47523 h 60130"/>
                  <a:gd name="connsiteX211" fmla="*/ 27156 w 128637"/>
                  <a:gd name="connsiteY211" fmla="*/ 48757 h 60130"/>
                  <a:gd name="connsiteX212" fmla="*/ 27156 w 128637"/>
                  <a:gd name="connsiteY212" fmla="*/ 51049 h 60130"/>
                  <a:gd name="connsiteX213" fmla="*/ 28302 w 128637"/>
                  <a:gd name="connsiteY213" fmla="*/ 51667 h 60130"/>
                  <a:gd name="connsiteX214" fmla="*/ 28655 w 128637"/>
                  <a:gd name="connsiteY214" fmla="*/ 51049 h 60130"/>
                  <a:gd name="connsiteX215" fmla="*/ 32358 w 128637"/>
                  <a:gd name="connsiteY215" fmla="*/ 51667 h 60130"/>
                  <a:gd name="connsiteX216" fmla="*/ 32710 w 128637"/>
                  <a:gd name="connsiteY216" fmla="*/ 52196 h 60130"/>
                  <a:gd name="connsiteX217" fmla="*/ 32710 w 128637"/>
                  <a:gd name="connsiteY217" fmla="*/ 52813 h 60130"/>
                  <a:gd name="connsiteX218" fmla="*/ 33328 w 128637"/>
                  <a:gd name="connsiteY218" fmla="*/ 52813 h 60130"/>
                  <a:gd name="connsiteX219" fmla="*/ 35356 w 128637"/>
                  <a:gd name="connsiteY219" fmla="*/ 55458 h 60130"/>
                  <a:gd name="connsiteX220" fmla="*/ 35620 w 128637"/>
                  <a:gd name="connsiteY220" fmla="*/ 55987 h 60130"/>
                  <a:gd name="connsiteX221" fmla="*/ 38530 w 128637"/>
                  <a:gd name="connsiteY221" fmla="*/ 56604 h 60130"/>
                  <a:gd name="connsiteX222" fmla="*/ 39147 w 128637"/>
                  <a:gd name="connsiteY222" fmla="*/ 57750 h 60130"/>
                  <a:gd name="connsiteX223" fmla="*/ 38530 w 128637"/>
                  <a:gd name="connsiteY223" fmla="*/ 58632 h 60130"/>
                  <a:gd name="connsiteX224" fmla="*/ 40822 w 128637"/>
                  <a:gd name="connsiteY224" fmla="*/ 59778 h 60130"/>
                  <a:gd name="connsiteX225" fmla="*/ 42056 w 128637"/>
                  <a:gd name="connsiteY225" fmla="*/ 59778 h 60130"/>
                  <a:gd name="connsiteX226" fmla="*/ 45495 w 128637"/>
                  <a:gd name="connsiteY226" fmla="*/ 60131 h 60130"/>
                  <a:gd name="connsiteX227" fmla="*/ 45848 w 128637"/>
                  <a:gd name="connsiteY227" fmla="*/ 59778 h 60130"/>
                  <a:gd name="connsiteX228" fmla="*/ 47875 w 128637"/>
                  <a:gd name="connsiteY228" fmla="*/ 59778 h 60130"/>
                  <a:gd name="connsiteX229" fmla="*/ 48493 w 128637"/>
                  <a:gd name="connsiteY229" fmla="*/ 58632 h 60130"/>
                  <a:gd name="connsiteX230" fmla="*/ 51050 w 128637"/>
                  <a:gd name="connsiteY230" fmla="*/ 58896 h 60130"/>
                  <a:gd name="connsiteX231" fmla="*/ 51667 w 128637"/>
                  <a:gd name="connsiteY231" fmla="*/ 58632 h 60130"/>
                  <a:gd name="connsiteX232" fmla="*/ 52196 w 128637"/>
                  <a:gd name="connsiteY232" fmla="*/ 59514 h 60130"/>
                  <a:gd name="connsiteX233" fmla="*/ 52813 w 128637"/>
                  <a:gd name="connsiteY233" fmla="*/ 59778 h 60130"/>
                  <a:gd name="connsiteX234" fmla="*/ 53430 w 128637"/>
                  <a:gd name="connsiteY234" fmla="*/ 57486 h 60130"/>
                  <a:gd name="connsiteX235" fmla="*/ 54841 w 128637"/>
                  <a:gd name="connsiteY235" fmla="*/ 56604 h 60130"/>
                  <a:gd name="connsiteX236" fmla="*/ 55193 w 128637"/>
                  <a:gd name="connsiteY236" fmla="*/ 55722 h 60130"/>
                  <a:gd name="connsiteX237" fmla="*/ 56604 w 128637"/>
                  <a:gd name="connsiteY237" fmla="*/ 55458 h 60130"/>
                  <a:gd name="connsiteX238" fmla="*/ 57221 w 128637"/>
                  <a:gd name="connsiteY238" fmla="*/ 54841 h 60130"/>
                  <a:gd name="connsiteX239" fmla="*/ 57750 w 128637"/>
                  <a:gd name="connsiteY239" fmla="*/ 52196 h 60130"/>
                  <a:gd name="connsiteX240" fmla="*/ 57221 w 128637"/>
                  <a:gd name="connsiteY240" fmla="*/ 51049 h 60130"/>
                  <a:gd name="connsiteX241" fmla="*/ 57221 w 128637"/>
                  <a:gd name="connsiteY241" fmla="*/ 49022 h 60130"/>
                  <a:gd name="connsiteX242" fmla="*/ 60660 w 128637"/>
                  <a:gd name="connsiteY242" fmla="*/ 49903 h 60130"/>
                  <a:gd name="connsiteX243" fmla="*/ 61277 w 128637"/>
                  <a:gd name="connsiteY243" fmla="*/ 51049 h 60130"/>
                  <a:gd name="connsiteX244" fmla="*/ 63040 w 128637"/>
                  <a:gd name="connsiteY244" fmla="*/ 51667 h 60130"/>
                  <a:gd name="connsiteX245" fmla="*/ 63569 w 128637"/>
                  <a:gd name="connsiteY245" fmla="*/ 50785 h 60130"/>
                  <a:gd name="connsiteX246" fmla="*/ 64187 w 128637"/>
                  <a:gd name="connsiteY246" fmla="*/ 51049 h 60130"/>
                  <a:gd name="connsiteX247" fmla="*/ 66832 w 128637"/>
                  <a:gd name="connsiteY247" fmla="*/ 51667 h 60130"/>
                  <a:gd name="connsiteX248" fmla="*/ 67096 w 128637"/>
                  <a:gd name="connsiteY248" fmla="*/ 51667 h 60130"/>
                  <a:gd name="connsiteX249" fmla="*/ 67978 w 128637"/>
                  <a:gd name="connsiteY249" fmla="*/ 52196 h 60130"/>
                  <a:gd name="connsiteX250" fmla="*/ 69741 w 128637"/>
                  <a:gd name="connsiteY250" fmla="*/ 52813 h 60130"/>
                  <a:gd name="connsiteX251" fmla="*/ 71240 w 128637"/>
                  <a:gd name="connsiteY251" fmla="*/ 53695 h 60130"/>
                  <a:gd name="connsiteX252" fmla="*/ 73268 w 128637"/>
                  <a:gd name="connsiteY252" fmla="*/ 53430 h 60130"/>
                  <a:gd name="connsiteX253" fmla="*/ 73797 w 128637"/>
                  <a:gd name="connsiteY253" fmla="*/ 53695 h 60130"/>
                  <a:gd name="connsiteX254" fmla="*/ 74414 w 128637"/>
                  <a:gd name="connsiteY254" fmla="*/ 53695 h 60130"/>
                  <a:gd name="connsiteX255" fmla="*/ 74679 w 128637"/>
                  <a:gd name="connsiteY255" fmla="*/ 53959 h 60130"/>
                  <a:gd name="connsiteX256" fmla="*/ 75825 w 128637"/>
                  <a:gd name="connsiteY256" fmla="*/ 54576 h 60130"/>
                  <a:gd name="connsiteX257" fmla="*/ 77059 w 128637"/>
                  <a:gd name="connsiteY257" fmla="*/ 55458 h 60130"/>
                  <a:gd name="connsiteX258" fmla="*/ 79352 w 128637"/>
                  <a:gd name="connsiteY258" fmla="*/ 56604 h 60130"/>
                  <a:gd name="connsiteX259" fmla="*/ 83143 w 128637"/>
                  <a:gd name="connsiteY259" fmla="*/ 57221 h 60130"/>
                  <a:gd name="connsiteX260" fmla="*/ 85171 w 128637"/>
                  <a:gd name="connsiteY260" fmla="*/ 56604 h 60130"/>
                  <a:gd name="connsiteX261" fmla="*/ 86052 w 128637"/>
                  <a:gd name="connsiteY261" fmla="*/ 54841 h 60130"/>
                  <a:gd name="connsiteX262" fmla="*/ 88433 w 128637"/>
                  <a:gd name="connsiteY262" fmla="*/ 54841 h 60130"/>
                  <a:gd name="connsiteX263" fmla="*/ 89579 w 128637"/>
                  <a:gd name="connsiteY263" fmla="*/ 55458 h 60130"/>
                  <a:gd name="connsiteX264" fmla="*/ 90461 w 128637"/>
                  <a:gd name="connsiteY264" fmla="*/ 55722 h 60130"/>
                  <a:gd name="connsiteX265" fmla="*/ 90990 w 128637"/>
                  <a:gd name="connsiteY265" fmla="*/ 55987 h 60130"/>
                  <a:gd name="connsiteX266" fmla="*/ 91872 w 128637"/>
                  <a:gd name="connsiteY266" fmla="*/ 56604 h 60130"/>
                  <a:gd name="connsiteX267" fmla="*/ 93106 w 128637"/>
                  <a:gd name="connsiteY267" fmla="*/ 56604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28637" h="60130">
                    <a:moveTo>
                      <a:pt x="93106" y="55722"/>
                    </a:moveTo>
                    <a:lnTo>
                      <a:pt x="95663" y="52813"/>
                    </a:lnTo>
                    <a:lnTo>
                      <a:pt x="98660" y="53695"/>
                    </a:lnTo>
                    <a:lnTo>
                      <a:pt x="99807" y="53695"/>
                    </a:lnTo>
                    <a:lnTo>
                      <a:pt x="101217" y="53959"/>
                    </a:lnTo>
                    <a:lnTo>
                      <a:pt x="107918" y="54841"/>
                    </a:lnTo>
                    <a:lnTo>
                      <a:pt x="112062" y="51667"/>
                    </a:lnTo>
                    <a:lnTo>
                      <a:pt x="111709" y="46994"/>
                    </a:lnTo>
                    <a:lnTo>
                      <a:pt x="115853" y="44966"/>
                    </a:lnTo>
                    <a:lnTo>
                      <a:pt x="118763" y="43731"/>
                    </a:lnTo>
                    <a:lnTo>
                      <a:pt x="119292" y="39676"/>
                    </a:lnTo>
                    <a:lnTo>
                      <a:pt x="124317" y="38530"/>
                    </a:lnTo>
                    <a:lnTo>
                      <a:pt x="125199" y="37031"/>
                    </a:lnTo>
                    <a:lnTo>
                      <a:pt x="128638" y="32975"/>
                    </a:lnTo>
                    <a:lnTo>
                      <a:pt x="124582" y="30330"/>
                    </a:lnTo>
                    <a:lnTo>
                      <a:pt x="125728" y="28919"/>
                    </a:lnTo>
                    <a:lnTo>
                      <a:pt x="125199" y="28037"/>
                    </a:lnTo>
                    <a:lnTo>
                      <a:pt x="124317" y="27685"/>
                    </a:lnTo>
                    <a:lnTo>
                      <a:pt x="122818" y="27685"/>
                    </a:lnTo>
                    <a:lnTo>
                      <a:pt x="122554" y="27420"/>
                    </a:lnTo>
                    <a:lnTo>
                      <a:pt x="120526" y="27156"/>
                    </a:lnTo>
                    <a:lnTo>
                      <a:pt x="119292" y="27685"/>
                    </a:lnTo>
                    <a:lnTo>
                      <a:pt x="118146" y="26539"/>
                    </a:lnTo>
                    <a:lnTo>
                      <a:pt x="116118" y="26010"/>
                    </a:lnTo>
                    <a:lnTo>
                      <a:pt x="115236" y="25657"/>
                    </a:lnTo>
                    <a:lnTo>
                      <a:pt x="114972" y="24775"/>
                    </a:lnTo>
                    <a:lnTo>
                      <a:pt x="114354" y="24246"/>
                    </a:lnTo>
                    <a:lnTo>
                      <a:pt x="113737" y="24775"/>
                    </a:lnTo>
                    <a:lnTo>
                      <a:pt x="113473" y="26010"/>
                    </a:lnTo>
                    <a:lnTo>
                      <a:pt x="112326" y="26010"/>
                    </a:lnTo>
                    <a:lnTo>
                      <a:pt x="110828" y="25657"/>
                    </a:lnTo>
                    <a:lnTo>
                      <a:pt x="109417" y="26010"/>
                    </a:lnTo>
                    <a:lnTo>
                      <a:pt x="107918" y="23629"/>
                    </a:lnTo>
                    <a:lnTo>
                      <a:pt x="106772" y="22747"/>
                    </a:lnTo>
                    <a:lnTo>
                      <a:pt x="106507" y="23365"/>
                    </a:lnTo>
                    <a:lnTo>
                      <a:pt x="105890" y="22218"/>
                    </a:lnTo>
                    <a:lnTo>
                      <a:pt x="105626" y="21601"/>
                    </a:lnTo>
                    <a:lnTo>
                      <a:pt x="106507" y="20984"/>
                    </a:lnTo>
                    <a:lnTo>
                      <a:pt x="107654" y="20984"/>
                    </a:lnTo>
                    <a:lnTo>
                      <a:pt x="107918" y="19838"/>
                    </a:lnTo>
                    <a:lnTo>
                      <a:pt x="107389" y="18956"/>
                    </a:lnTo>
                    <a:lnTo>
                      <a:pt x="107389" y="18427"/>
                    </a:lnTo>
                    <a:lnTo>
                      <a:pt x="106243" y="18074"/>
                    </a:lnTo>
                    <a:lnTo>
                      <a:pt x="105890" y="18427"/>
                    </a:lnTo>
                    <a:lnTo>
                      <a:pt x="105626" y="19573"/>
                    </a:lnTo>
                    <a:lnTo>
                      <a:pt x="103598" y="19309"/>
                    </a:lnTo>
                    <a:lnTo>
                      <a:pt x="102716" y="19573"/>
                    </a:lnTo>
                    <a:lnTo>
                      <a:pt x="100953" y="19309"/>
                    </a:lnTo>
                    <a:lnTo>
                      <a:pt x="99542" y="18956"/>
                    </a:lnTo>
                    <a:lnTo>
                      <a:pt x="98925" y="18074"/>
                    </a:lnTo>
                    <a:lnTo>
                      <a:pt x="96280" y="17193"/>
                    </a:lnTo>
                    <a:lnTo>
                      <a:pt x="96015" y="16047"/>
                    </a:lnTo>
                    <a:lnTo>
                      <a:pt x="93988" y="16047"/>
                    </a:lnTo>
                    <a:lnTo>
                      <a:pt x="90990" y="15429"/>
                    </a:lnTo>
                    <a:lnTo>
                      <a:pt x="90990" y="16047"/>
                    </a:lnTo>
                    <a:lnTo>
                      <a:pt x="91342" y="16664"/>
                    </a:lnTo>
                    <a:lnTo>
                      <a:pt x="93370" y="17810"/>
                    </a:lnTo>
                    <a:lnTo>
                      <a:pt x="93635" y="19309"/>
                    </a:lnTo>
                    <a:lnTo>
                      <a:pt x="93370" y="19573"/>
                    </a:lnTo>
                    <a:lnTo>
                      <a:pt x="92489" y="19573"/>
                    </a:lnTo>
                    <a:lnTo>
                      <a:pt x="91872" y="20102"/>
                    </a:lnTo>
                    <a:lnTo>
                      <a:pt x="91607" y="20984"/>
                    </a:lnTo>
                    <a:lnTo>
                      <a:pt x="90461" y="20719"/>
                    </a:lnTo>
                    <a:lnTo>
                      <a:pt x="89844" y="22218"/>
                    </a:lnTo>
                    <a:lnTo>
                      <a:pt x="88962" y="23629"/>
                    </a:lnTo>
                    <a:lnTo>
                      <a:pt x="86669" y="22747"/>
                    </a:lnTo>
                    <a:lnTo>
                      <a:pt x="85523" y="21601"/>
                    </a:lnTo>
                    <a:lnTo>
                      <a:pt x="85171" y="19573"/>
                    </a:lnTo>
                    <a:lnTo>
                      <a:pt x="82878" y="17810"/>
                    </a:lnTo>
                    <a:lnTo>
                      <a:pt x="81732" y="18074"/>
                    </a:lnTo>
                    <a:lnTo>
                      <a:pt x="80851" y="16928"/>
                    </a:lnTo>
                    <a:lnTo>
                      <a:pt x="79969" y="16664"/>
                    </a:lnTo>
                    <a:lnTo>
                      <a:pt x="78823" y="16047"/>
                    </a:lnTo>
                    <a:lnTo>
                      <a:pt x="77588" y="15429"/>
                    </a:lnTo>
                    <a:lnTo>
                      <a:pt x="78470" y="15165"/>
                    </a:lnTo>
                    <a:lnTo>
                      <a:pt x="79352" y="14900"/>
                    </a:lnTo>
                    <a:lnTo>
                      <a:pt x="79704" y="14283"/>
                    </a:lnTo>
                    <a:lnTo>
                      <a:pt x="80851" y="14019"/>
                    </a:lnTo>
                    <a:lnTo>
                      <a:pt x="81380" y="13137"/>
                    </a:lnTo>
                    <a:lnTo>
                      <a:pt x="81380" y="11991"/>
                    </a:lnTo>
                    <a:lnTo>
                      <a:pt x="82614" y="12255"/>
                    </a:lnTo>
                    <a:lnTo>
                      <a:pt x="82261" y="11991"/>
                    </a:lnTo>
                    <a:lnTo>
                      <a:pt x="79087" y="9346"/>
                    </a:lnTo>
                    <a:lnTo>
                      <a:pt x="78470" y="9610"/>
                    </a:lnTo>
                    <a:lnTo>
                      <a:pt x="77941" y="10227"/>
                    </a:lnTo>
                    <a:lnTo>
                      <a:pt x="77059" y="10492"/>
                    </a:lnTo>
                    <a:lnTo>
                      <a:pt x="75296" y="9346"/>
                    </a:lnTo>
                    <a:lnTo>
                      <a:pt x="74414" y="11374"/>
                    </a:lnTo>
                    <a:lnTo>
                      <a:pt x="73797" y="11991"/>
                    </a:lnTo>
                    <a:lnTo>
                      <a:pt x="73797" y="10492"/>
                    </a:lnTo>
                    <a:lnTo>
                      <a:pt x="72651" y="9963"/>
                    </a:lnTo>
                    <a:lnTo>
                      <a:pt x="70006" y="9346"/>
                    </a:lnTo>
                    <a:lnTo>
                      <a:pt x="69741" y="8200"/>
                    </a:lnTo>
                    <a:lnTo>
                      <a:pt x="68595" y="7847"/>
                    </a:lnTo>
                    <a:lnTo>
                      <a:pt x="67449" y="8200"/>
                    </a:lnTo>
                    <a:lnTo>
                      <a:pt x="66832" y="7582"/>
                    </a:lnTo>
                    <a:lnTo>
                      <a:pt x="65950" y="7582"/>
                    </a:lnTo>
                    <a:lnTo>
                      <a:pt x="64539" y="6172"/>
                    </a:lnTo>
                    <a:lnTo>
                      <a:pt x="62776" y="5819"/>
                    </a:lnTo>
                    <a:lnTo>
                      <a:pt x="61013" y="6172"/>
                    </a:lnTo>
                    <a:lnTo>
                      <a:pt x="60395" y="6172"/>
                    </a:lnTo>
                    <a:lnTo>
                      <a:pt x="60131" y="5555"/>
                    </a:lnTo>
                    <a:lnTo>
                      <a:pt x="60395" y="4937"/>
                    </a:lnTo>
                    <a:lnTo>
                      <a:pt x="59778" y="4673"/>
                    </a:lnTo>
                    <a:lnTo>
                      <a:pt x="58985" y="2645"/>
                    </a:lnTo>
                    <a:lnTo>
                      <a:pt x="59249" y="2028"/>
                    </a:lnTo>
                    <a:lnTo>
                      <a:pt x="57221" y="1499"/>
                    </a:lnTo>
                    <a:lnTo>
                      <a:pt x="56604" y="1763"/>
                    </a:lnTo>
                    <a:lnTo>
                      <a:pt x="55458" y="1146"/>
                    </a:lnTo>
                    <a:lnTo>
                      <a:pt x="54312" y="1146"/>
                    </a:lnTo>
                    <a:lnTo>
                      <a:pt x="53430" y="1146"/>
                    </a:lnTo>
                    <a:lnTo>
                      <a:pt x="53430" y="2380"/>
                    </a:lnTo>
                    <a:lnTo>
                      <a:pt x="53430" y="3791"/>
                    </a:lnTo>
                    <a:lnTo>
                      <a:pt x="52813" y="4408"/>
                    </a:lnTo>
                    <a:lnTo>
                      <a:pt x="50785" y="4937"/>
                    </a:lnTo>
                    <a:lnTo>
                      <a:pt x="50521" y="5555"/>
                    </a:lnTo>
                    <a:lnTo>
                      <a:pt x="48757" y="5819"/>
                    </a:lnTo>
                    <a:lnTo>
                      <a:pt x="47611" y="4937"/>
                    </a:lnTo>
                    <a:lnTo>
                      <a:pt x="47875" y="2645"/>
                    </a:lnTo>
                    <a:lnTo>
                      <a:pt x="46994" y="2380"/>
                    </a:lnTo>
                    <a:lnTo>
                      <a:pt x="46994" y="1499"/>
                    </a:lnTo>
                    <a:lnTo>
                      <a:pt x="46377" y="1763"/>
                    </a:lnTo>
                    <a:lnTo>
                      <a:pt x="44084" y="1146"/>
                    </a:lnTo>
                    <a:lnTo>
                      <a:pt x="43467" y="617"/>
                    </a:lnTo>
                    <a:lnTo>
                      <a:pt x="43202" y="1499"/>
                    </a:lnTo>
                    <a:lnTo>
                      <a:pt x="40822" y="0"/>
                    </a:lnTo>
                    <a:lnTo>
                      <a:pt x="40029" y="882"/>
                    </a:lnTo>
                    <a:lnTo>
                      <a:pt x="40822" y="1499"/>
                    </a:lnTo>
                    <a:lnTo>
                      <a:pt x="41175" y="2028"/>
                    </a:lnTo>
                    <a:lnTo>
                      <a:pt x="41175" y="2645"/>
                    </a:lnTo>
                    <a:lnTo>
                      <a:pt x="42321" y="2909"/>
                    </a:lnTo>
                    <a:lnTo>
                      <a:pt x="42938" y="3791"/>
                    </a:lnTo>
                    <a:lnTo>
                      <a:pt x="40029" y="4056"/>
                    </a:lnTo>
                    <a:lnTo>
                      <a:pt x="37912" y="4937"/>
                    </a:lnTo>
                    <a:lnTo>
                      <a:pt x="36766" y="5819"/>
                    </a:lnTo>
                    <a:lnTo>
                      <a:pt x="35091" y="6172"/>
                    </a:lnTo>
                    <a:lnTo>
                      <a:pt x="34738" y="5819"/>
                    </a:lnTo>
                    <a:lnTo>
                      <a:pt x="34121" y="6172"/>
                    </a:lnTo>
                    <a:lnTo>
                      <a:pt x="33592" y="6172"/>
                    </a:lnTo>
                    <a:lnTo>
                      <a:pt x="33328" y="7582"/>
                    </a:lnTo>
                    <a:lnTo>
                      <a:pt x="32358" y="8200"/>
                    </a:lnTo>
                    <a:lnTo>
                      <a:pt x="30947" y="8200"/>
                    </a:lnTo>
                    <a:lnTo>
                      <a:pt x="25657" y="8464"/>
                    </a:lnTo>
                    <a:lnTo>
                      <a:pt x="25393" y="8817"/>
                    </a:lnTo>
                    <a:lnTo>
                      <a:pt x="26010" y="9346"/>
                    </a:lnTo>
                    <a:lnTo>
                      <a:pt x="25393" y="9963"/>
                    </a:lnTo>
                    <a:lnTo>
                      <a:pt x="25393" y="10492"/>
                    </a:lnTo>
                    <a:lnTo>
                      <a:pt x="25393" y="11109"/>
                    </a:lnTo>
                    <a:lnTo>
                      <a:pt x="25128" y="10492"/>
                    </a:lnTo>
                    <a:lnTo>
                      <a:pt x="23100" y="11109"/>
                    </a:lnTo>
                    <a:lnTo>
                      <a:pt x="22218" y="11991"/>
                    </a:lnTo>
                    <a:lnTo>
                      <a:pt x="21601" y="11991"/>
                    </a:lnTo>
                    <a:lnTo>
                      <a:pt x="20191" y="13754"/>
                    </a:lnTo>
                    <a:lnTo>
                      <a:pt x="19573" y="13401"/>
                    </a:lnTo>
                    <a:lnTo>
                      <a:pt x="16928" y="14283"/>
                    </a:lnTo>
                    <a:lnTo>
                      <a:pt x="16399" y="15429"/>
                    </a:lnTo>
                    <a:lnTo>
                      <a:pt x="16047" y="15782"/>
                    </a:lnTo>
                    <a:lnTo>
                      <a:pt x="15782" y="16047"/>
                    </a:lnTo>
                    <a:lnTo>
                      <a:pt x="13490" y="15429"/>
                    </a:lnTo>
                    <a:lnTo>
                      <a:pt x="12873" y="15429"/>
                    </a:lnTo>
                    <a:lnTo>
                      <a:pt x="9963" y="16047"/>
                    </a:lnTo>
                    <a:lnTo>
                      <a:pt x="7053" y="16047"/>
                    </a:lnTo>
                    <a:lnTo>
                      <a:pt x="6701" y="16664"/>
                    </a:lnTo>
                    <a:lnTo>
                      <a:pt x="6701" y="17193"/>
                    </a:lnTo>
                    <a:lnTo>
                      <a:pt x="5555" y="18074"/>
                    </a:lnTo>
                    <a:lnTo>
                      <a:pt x="5555" y="18427"/>
                    </a:lnTo>
                    <a:lnTo>
                      <a:pt x="4144" y="19309"/>
                    </a:lnTo>
                    <a:lnTo>
                      <a:pt x="3527" y="19573"/>
                    </a:lnTo>
                    <a:lnTo>
                      <a:pt x="2909" y="19573"/>
                    </a:lnTo>
                    <a:lnTo>
                      <a:pt x="2645" y="19309"/>
                    </a:lnTo>
                    <a:lnTo>
                      <a:pt x="1499" y="18692"/>
                    </a:lnTo>
                    <a:lnTo>
                      <a:pt x="617" y="18074"/>
                    </a:lnTo>
                    <a:lnTo>
                      <a:pt x="0" y="18074"/>
                    </a:lnTo>
                    <a:lnTo>
                      <a:pt x="0" y="18692"/>
                    </a:lnTo>
                    <a:lnTo>
                      <a:pt x="0" y="19309"/>
                    </a:lnTo>
                    <a:lnTo>
                      <a:pt x="353" y="19573"/>
                    </a:lnTo>
                    <a:lnTo>
                      <a:pt x="882" y="20984"/>
                    </a:lnTo>
                    <a:lnTo>
                      <a:pt x="1499" y="21337"/>
                    </a:lnTo>
                    <a:lnTo>
                      <a:pt x="882" y="22218"/>
                    </a:lnTo>
                    <a:lnTo>
                      <a:pt x="1499" y="23365"/>
                    </a:lnTo>
                    <a:lnTo>
                      <a:pt x="3262" y="23629"/>
                    </a:lnTo>
                    <a:lnTo>
                      <a:pt x="3791" y="24246"/>
                    </a:lnTo>
                    <a:lnTo>
                      <a:pt x="3791" y="24775"/>
                    </a:lnTo>
                    <a:lnTo>
                      <a:pt x="7053" y="26010"/>
                    </a:lnTo>
                    <a:lnTo>
                      <a:pt x="7318" y="26274"/>
                    </a:lnTo>
                    <a:lnTo>
                      <a:pt x="7582" y="26539"/>
                    </a:lnTo>
                    <a:lnTo>
                      <a:pt x="7582" y="27156"/>
                    </a:lnTo>
                    <a:lnTo>
                      <a:pt x="8200" y="27685"/>
                    </a:lnTo>
                    <a:lnTo>
                      <a:pt x="7582" y="29801"/>
                    </a:lnTo>
                    <a:lnTo>
                      <a:pt x="7582" y="31212"/>
                    </a:lnTo>
                    <a:lnTo>
                      <a:pt x="7053" y="31476"/>
                    </a:lnTo>
                    <a:lnTo>
                      <a:pt x="6701" y="32710"/>
                    </a:lnTo>
                    <a:lnTo>
                      <a:pt x="7935" y="33239"/>
                    </a:lnTo>
                    <a:lnTo>
                      <a:pt x="7935" y="33857"/>
                    </a:lnTo>
                    <a:lnTo>
                      <a:pt x="7935" y="35003"/>
                    </a:lnTo>
                    <a:lnTo>
                      <a:pt x="10228" y="35884"/>
                    </a:lnTo>
                    <a:lnTo>
                      <a:pt x="11109" y="37031"/>
                    </a:lnTo>
                    <a:lnTo>
                      <a:pt x="11374" y="37383"/>
                    </a:lnTo>
                    <a:lnTo>
                      <a:pt x="11991" y="38530"/>
                    </a:lnTo>
                    <a:lnTo>
                      <a:pt x="11726" y="39411"/>
                    </a:lnTo>
                    <a:lnTo>
                      <a:pt x="14636" y="39676"/>
                    </a:lnTo>
                    <a:lnTo>
                      <a:pt x="15518" y="41175"/>
                    </a:lnTo>
                    <a:lnTo>
                      <a:pt x="16047" y="41175"/>
                    </a:lnTo>
                    <a:lnTo>
                      <a:pt x="18074" y="41175"/>
                    </a:lnTo>
                    <a:lnTo>
                      <a:pt x="18692" y="42321"/>
                    </a:lnTo>
                    <a:lnTo>
                      <a:pt x="18956" y="42850"/>
                    </a:lnTo>
                    <a:lnTo>
                      <a:pt x="20455" y="43467"/>
                    </a:lnTo>
                    <a:lnTo>
                      <a:pt x="21337" y="44966"/>
                    </a:lnTo>
                    <a:lnTo>
                      <a:pt x="21866" y="46112"/>
                    </a:lnTo>
                    <a:lnTo>
                      <a:pt x="21866" y="46641"/>
                    </a:lnTo>
                    <a:lnTo>
                      <a:pt x="24864" y="47523"/>
                    </a:lnTo>
                    <a:lnTo>
                      <a:pt x="27156" y="48757"/>
                    </a:lnTo>
                    <a:lnTo>
                      <a:pt x="27156" y="51049"/>
                    </a:lnTo>
                    <a:lnTo>
                      <a:pt x="28302" y="51667"/>
                    </a:lnTo>
                    <a:lnTo>
                      <a:pt x="28655" y="51049"/>
                    </a:lnTo>
                    <a:lnTo>
                      <a:pt x="32358" y="51667"/>
                    </a:lnTo>
                    <a:lnTo>
                      <a:pt x="32710" y="52196"/>
                    </a:lnTo>
                    <a:lnTo>
                      <a:pt x="32710" y="52813"/>
                    </a:lnTo>
                    <a:lnTo>
                      <a:pt x="33328" y="52813"/>
                    </a:lnTo>
                    <a:lnTo>
                      <a:pt x="35356" y="55458"/>
                    </a:lnTo>
                    <a:lnTo>
                      <a:pt x="35620" y="55987"/>
                    </a:lnTo>
                    <a:lnTo>
                      <a:pt x="38530" y="56604"/>
                    </a:lnTo>
                    <a:lnTo>
                      <a:pt x="39147" y="57750"/>
                    </a:lnTo>
                    <a:lnTo>
                      <a:pt x="38530" y="58632"/>
                    </a:lnTo>
                    <a:lnTo>
                      <a:pt x="40822" y="59778"/>
                    </a:lnTo>
                    <a:lnTo>
                      <a:pt x="42056" y="59778"/>
                    </a:lnTo>
                    <a:lnTo>
                      <a:pt x="45495" y="60131"/>
                    </a:lnTo>
                    <a:lnTo>
                      <a:pt x="45848" y="59778"/>
                    </a:lnTo>
                    <a:lnTo>
                      <a:pt x="47875" y="59778"/>
                    </a:lnTo>
                    <a:lnTo>
                      <a:pt x="48493" y="58632"/>
                    </a:lnTo>
                    <a:lnTo>
                      <a:pt x="51050" y="58896"/>
                    </a:lnTo>
                    <a:lnTo>
                      <a:pt x="51667" y="58632"/>
                    </a:lnTo>
                    <a:lnTo>
                      <a:pt x="52196" y="59514"/>
                    </a:lnTo>
                    <a:lnTo>
                      <a:pt x="52813" y="59778"/>
                    </a:lnTo>
                    <a:lnTo>
                      <a:pt x="53430" y="57486"/>
                    </a:lnTo>
                    <a:lnTo>
                      <a:pt x="54841" y="56604"/>
                    </a:lnTo>
                    <a:lnTo>
                      <a:pt x="55193" y="55722"/>
                    </a:lnTo>
                    <a:lnTo>
                      <a:pt x="56604" y="55458"/>
                    </a:lnTo>
                    <a:lnTo>
                      <a:pt x="57221" y="54841"/>
                    </a:lnTo>
                    <a:lnTo>
                      <a:pt x="57750" y="52196"/>
                    </a:lnTo>
                    <a:lnTo>
                      <a:pt x="57221" y="51049"/>
                    </a:lnTo>
                    <a:lnTo>
                      <a:pt x="57221" y="49022"/>
                    </a:lnTo>
                    <a:lnTo>
                      <a:pt x="60660" y="49903"/>
                    </a:lnTo>
                    <a:lnTo>
                      <a:pt x="61277" y="51049"/>
                    </a:lnTo>
                    <a:lnTo>
                      <a:pt x="63040" y="51667"/>
                    </a:lnTo>
                    <a:lnTo>
                      <a:pt x="63569" y="50785"/>
                    </a:lnTo>
                    <a:lnTo>
                      <a:pt x="64187" y="51049"/>
                    </a:lnTo>
                    <a:lnTo>
                      <a:pt x="66832" y="51667"/>
                    </a:lnTo>
                    <a:lnTo>
                      <a:pt x="67096" y="51667"/>
                    </a:lnTo>
                    <a:lnTo>
                      <a:pt x="67978" y="52196"/>
                    </a:lnTo>
                    <a:lnTo>
                      <a:pt x="69741" y="52813"/>
                    </a:lnTo>
                    <a:lnTo>
                      <a:pt x="71240" y="53695"/>
                    </a:lnTo>
                    <a:lnTo>
                      <a:pt x="73268" y="53430"/>
                    </a:lnTo>
                    <a:lnTo>
                      <a:pt x="73797" y="53695"/>
                    </a:lnTo>
                    <a:lnTo>
                      <a:pt x="74414" y="53695"/>
                    </a:lnTo>
                    <a:lnTo>
                      <a:pt x="74679" y="53959"/>
                    </a:lnTo>
                    <a:lnTo>
                      <a:pt x="75825" y="54576"/>
                    </a:lnTo>
                    <a:lnTo>
                      <a:pt x="77059" y="55458"/>
                    </a:lnTo>
                    <a:lnTo>
                      <a:pt x="79352" y="56604"/>
                    </a:lnTo>
                    <a:lnTo>
                      <a:pt x="83143" y="57221"/>
                    </a:lnTo>
                    <a:lnTo>
                      <a:pt x="85171" y="56604"/>
                    </a:lnTo>
                    <a:lnTo>
                      <a:pt x="86052" y="54841"/>
                    </a:lnTo>
                    <a:lnTo>
                      <a:pt x="88433" y="54841"/>
                    </a:lnTo>
                    <a:lnTo>
                      <a:pt x="89579" y="55458"/>
                    </a:lnTo>
                    <a:lnTo>
                      <a:pt x="90461" y="55722"/>
                    </a:lnTo>
                    <a:lnTo>
                      <a:pt x="90990" y="55987"/>
                    </a:lnTo>
                    <a:lnTo>
                      <a:pt x="91872" y="56604"/>
                    </a:lnTo>
                    <a:lnTo>
                      <a:pt x="93106" y="5660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8" name="Freihandform: Form 1577">
                <a:extLst>
                  <a:ext uri="{FF2B5EF4-FFF2-40B4-BE49-F238E27FC236}">
                    <a16:creationId xmlns:a16="http://schemas.microsoft.com/office/drawing/2014/main" id="{C7277125-C406-5A88-1C6F-FBA9DEDE0510}"/>
                  </a:ext>
                </a:extLst>
              </p:cNvPr>
              <p:cNvSpPr/>
              <p:nvPr/>
            </p:nvSpPr>
            <p:spPr>
              <a:xfrm>
                <a:off x="4466775" y="2951568"/>
                <a:ext cx="187005" cy="111973"/>
              </a:xfrm>
              <a:custGeom>
                <a:avLst/>
                <a:gdLst>
                  <a:gd name="connsiteX0" fmla="*/ 51667 w 187005"/>
                  <a:gd name="connsiteY0" fmla="*/ 97426 h 111973"/>
                  <a:gd name="connsiteX1" fmla="*/ 52020 w 187005"/>
                  <a:gd name="connsiteY1" fmla="*/ 97426 h 111973"/>
                  <a:gd name="connsiteX2" fmla="*/ 52813 w 187005"/>
                  <a:gd name="connsiteY2" fmla="*/ 97691 h 111973"/>
                  <a:gd name="connsiteX3" fmla="*/ 55193 w 187005"/>
                  <a:gd name="connsiteY3" fmla="*/ 99454 h 111973"/>
                  <a:gd name="connsiteX4" fmla="*/ 58103 w 187005"/>
                  <a:gd name="connsiteY4" fmla="*/ 99983 h 111973"/>
                  <a:gd name="connsiteX5" fmla="*/ 58632 w 187005"/>
                  <a:gd name="connsiteY5" fmla="*/ 100600 h 111973"/>
                  <a:gd name="connsiteX6" fmla="*/ 58367 w 187005"/>
                  <a:gd name="connsiteY6" fmla="*/ 102363 h 111973"/>
                  <a:gd name="connsiteX7" fmla="*/ 55458 w 187005"/>
                  <a:gd name="connsiteY7" fmla="*/ 103774 h 111973"/>
                  <a:gd name="connsiteX8" fmla="*/ 54576 w 187005"/>
                  <a:gd name="connsiteY8" fmla="*/ 105273 h 111973"/>
                  <a:gd name="connsiteX9" fmla="*/ 56075 w 187005"/>
                  <a:gd name="connsiteY9" fmla="*/ 107036 h 111973"/>
                  <a:gd name="connsiteX10" fmla="*/ 58985 w 187005"/>
                  <a:gd name="connsiteY10" fmla="*/ 108183 h 111973"/>
                  <a:gd name="connsiteX11" fmla="*/ 62159 w 187005"/>
                  <a:gd name="connsiteY11" fmla="*/ 108183 h 111973"/>
                  <a:gd name="connsiteX12" fmla="*/ 64804 w 187005"/>
                  <a:gd name="connsiteY12" fmla="*/ 107301 h 111973"/>
                  <a:gd name="connsiteX13" fmla="*/ 69741 w 187005"/>
                  <a:gd name="connsiteY13" fmla="*/ 108183 h 111973"/>
                  <a:gd name="connsiteX14" fmla="*/ 73885 w 187005"/>
                  <a:gd name="connsiteY14" fmla="*/ 108183 h 111973"/>
                  <a:gd name="connsiteX15" fmla="*/ 76178 w 187005"/>
                  <a:gd name="connsiteY15" fmla="*/ 109064 h 111973"/>
                  <a:gd name="connsiteX16" fmla="*/ 79087 w 187005"/>
                  <a:gd name="connsiteY16" fmla="*/ 109064 h 111973"/>
                  <a:gd name="connsiteX17" fmla="*/ 83760 w 187005"/>
                  <a:gd name="connsiteY17" fmla="*/ 110210 h 111973"/>
                  <a:gd name="connsiteX18" fmla="*/ 88962 w 187005"/>
                  <a:gd name="connsiteY18" fmla="*/ 109064 h 111973"/>
                  <a:gd name="connsiteX19" fmla="*/ 90725 w 187005"/>
                  <a:gd name="connsiteY19" fmla="*/ 109064 h 111973"/>
                  <a:gd name="connsiteX20" fmla="*/ 93106 w 187005"/>
                  <a:gd name="connsiteY20" fmla="*/ 109329 h 111973"/>
                  <a:gd name="connsiteX21" fmla="*/ 97779 w 187005"/>
                  <a:gd name="connsiteY21" fmla="*/ 109064 h 111973"/>
                  <a:gd name="connsiteX22" fmla="*/ 100953 w 187005"/>
                  <a:gd name="connsiteY22" fmla="*/ 110828 h 111973"/>
                  <a:gd name="connsiteX23" fmla="*/ 104215 w 187005"/>
                  <a:gd name="connsiteY23" fmla="*/ 110828 h 111973"/>
                  <a:gd name="connsiteX24" fmla="*/ 106508 w 187005"/>
                  <a:gd name="connsiteY24" fmla="*/ 111974 h 111973"/>
                  <a:gd name="connsiteX25" fmla="*/ 109152 w 187005"/>
                  <a:gd name="connsiteY25" fmla="*/ 111974 h 111973"/>
                  <a:gd name="connsiteX26" fmla="*/ 111798 w 187005"/>
                  <a:gd name="connsiteY26" fmla="*/ 111092 h 111973"/>
                  <a:gd name="connsiteX27" fmla="*/ 113473 w 187005"/>
                  <a:gd name="connsiteY27" fmla="*/ 109681 h 111973"/>
                  <a:gd name="connsiteX28" fmla="*/ 116118 w 187005"/>
                  <a:gd name="connsiteY28" fmla="*/ 109064 h 111973"/>
                  <a:gd name="connsiteX29" fmla="*/ 117617 w 187005"/>
                  <a:gd name="connsiteY29" fmla="*/ 107036 h 111973"/>
                  <a:gd name="connsiteX30" fmla="*/ 120791 w 187005"/>
                  <a:gd name="connsiteY30" fmla="*/ 105008 h 111973"/>
                  <a:gd name="connsiteX31" fmla="*/ 121673 w 187005"/>
                  <a:gd name="connsiteY31" fmla="*/ 103774 h 111973"/>
                  <a:gd name="connsiteX32" fmla="*/ 124053 w 187005"/>
                  <a:gd name="connsiteY32" fmla="*/ 102363 h 111973"/>
                  <a:gd name="connsiteX33" fmla="*/ 124935 w 187005"/>
                  <a:gd name="connsiteY33" fmla="*/ 101217 h 111973"/>
                  <a:gd name="connsiteX34" fmla="*/ 129519 w 187005"/>
                  <a:gd name="connsiteY34" fmla="*/ 101217 h 111973"/>
                  <a:gd name="connsiteX35" fmla="*/ 131900 w 187005"/>
                  <a:gd name="connsiteY35" fmla="*/ 100865 h 111973"/>
                  <a:gd name="connsiteX36" fmla="*/ 135074 w 187005"/>
                  <a:gd name="connsiteY36" fmla="*/ 99454 h 111973"/>
                  <a:gd name="connsiteX37" fmla="*/ 138865 w 187005"/>
                  <a:gd name="connsiteY37" fmla="*/ 98837 h 111973"/>
                  <a:gd name="connsiteX38" fmla="*/ 142127 w 187005"/>
                  <a:gd name="connsiteY38" fmla="*/ 99454 h 111973"/>
                  <a:gd name="connsiteX39" fmla="*/ 142127 w 187005"/>
                  <a:gd name="connsiteY39" fmla="*/ 100865 h 111973"/>
                  <a:gd name="connsiteX40" fmla="*/ 144420 w 187005"/>
                  <a:gd name="connsiteY40" fmla="*/ 101217 h 111973"/>
                  <a:gd name="connsiteX41" fmla="*/ 144949 w 187005"/>
                  <a:gd name="connsiteY41" fmla="*/ 102363 h 111973"/>
                  <a:gd name="connsiteX42" fmla="*/ 149357 w 187005"/>
                  <a:gd name="connsiteY42" fmla="*/ 102363 h 111973"/>
                  <a:gd name="connsiteX43" fmla="*/ 150592 w 187005"/>
                  <a:gd name="connsiteY43" fmla="*/ 102099 h 111973"/>
                  <a:gd name="connsiteX44" fmla="*/ 152619 w 187005"/>
                  <a:gd name="connsiteY44" fmla="*/ 103774 h 111973"/>
                  <a:gd name="connsiteX45" fmla="*/ 154383 w 187005"/>
                  <a:gd name="connsiteY45" fmla="*/ 104391 h 111973"/>
                  <a:gd name="connsiteX46" fmla="*/ 157557 w 187005"/>
                  <a:gd name="connsiteY46" fmla="*/ 103774 h 111973"/>
                  <a:gd name="connsiteX47" fmla="*/ 158968 w 187005"/>
                  <a:gd name="connsiteY47" fmla="*/ 106419 h 111973"/>
                  <a:gd name="connsiteX48" fmla="*/ 159320 w 187005"/>
                  <a:gd name="connsiteY48" fmla="*/ 107654 h 111973"/>
                  <a:gd name="connsiteX49" fmla="*/ 162759 w 187005"/>
                  <a:gd name="connsiteY49" fmla="*/ 109064 h 111973"/>
                  <a:gd name="connsiteX50" fmla="*/ 169812 w 187005"/>
                  <a:gd name="connsiteY50" fmla="*/ 109064 h 111973"/>
                  <a:gd name="connsiteX51" fmla="*/ 169812 w 187005"/>
                  <a:gd name="connsiteY51" fmla="*/ 107654 h 111973"/>
                  <a:gd name="connsiteX52" fmla="*/ 170959 w 187005"/>
                  <a:gd name="connsiteY52" fmla="*/ 103774 h 111973"/>
                  <a:gd name="connsiteX53" fmla="*/ 168666 w 187005"/>
                  <a:gd name="connsiteY53" fmla="*/ 99454 h 111973"/>
                  <a:gd name="connsiteX54" fmla="*/ 170430 w 187005"/>
                  <a:gd name="connsiteY54" fmla="*/ 98837 h 111973"/>
                  <a:gd name="connsiteX55" fmla="*/ 168313 w 187005"/>
                  <a:gd name="connsiteY55" fmla="*/ 97073 h 111973"/>
                  <a:gd name="connsiteX56" fmla="*/ 168049 w 187005"/>
                  <a:gd name="connsiteY56" fmla="*/ 95046 h 111973"/>
                  <a:gd name="connsiteX57" fmla="*/ 169812 w 187005"/>
                  <a:gd name="connsiteY57" fmla="*/ 94517 h 111973"/>
                  <a:gd name="connsiteX58" fmla="*/ 170694 w 187005"/>
                  <a:gd name="connsiteY58" fmla="*/ 92400 h 111973"/>
                  <a:gd name="connsiteX59" fmla="*/ 172105 w 187005"/>
                  <a:gd name="connsiteY59" fmla="*/ 90725 h 111973"/>
                  <a:gd name="connsiteX60" fmla="*/ 174750 w 187005"/>
                  <a:gd name="connsiteY60" fmla="*/ 88345 h 111973"/>
                  <a:gd name="connsiteX61" fmla="*/ 173604 w 187005"/>
                  <a:gd name="connsiteY61" fmla="*/ 88345 h 111973"/>
                  <a:gd name="connsiteX62" fmla="*/ 173604 w 187005"/>
                  <a:gd name="connsiteY62" fmla="*/ 88697 h 111973"/>
                  <a:gd name="connsiteX63" fmla="*/ 172105 w 187005"/>
                  <a:gd name="connsiteY63" fmla="*/ 90108 h 111973"/>
                  <a:gd name="connsiteX64" fmla="*/ 170430 w 187005"/>
                  <a:gd name="connsiteY64" fmla="*/ 91254 h 111973"/>
                  <a:gd name="connsiteX65" fmla="*/ 170077 w 187005"/>
                  <a:gd name="connsiteY65" fmla="*/ 89491 h 111973"/>
                  <a:gd name="connsiteX66" fmla="*/ 170077 w 187005"/>
                  <a:gd name="connsiteY66" fmla="*/ 88697 h 111973"/>
                  <a:gd name="connsiteX67" fmla="*/ 170077 w 187005"/>
                  <a:gd name="connsiteY67" fmla="*/ 88345 h 111973"/>
                  <a:gd name="connsiteX68" fmla="*/ 169812 w 187005"/>
                  <a:gd name="connsiteY68" fmla="*/ 87463 h 111973"/>
                  <a:gd name="connsiteX69" fmla="*/ 169812 w 187005"/>
                  <a:gd name="connsiteY69" fmla="*/ 86934 h 111973"/>
                  <a:gd name="connsiteX70" fmla="*/ 171576 w 187005"/>
                  <a:gd name="connsiteY70" fmla="*/ 86317 h 111973"/>
                  <a:gd name="connsiteX71" fmla="*/ 169812 w 187005"/>
                  <a:gd name="connsiteY71" fmla="*/ 86317 h 111973"/>
                  <a:gd name="connsiteX72" fmla="*/ 171576 w 187005"/>
                  <a:gd name="connsiteY72" fmla="*/ 85700 h 111973"/>
                  <a:gd name="connsiteX73" fmla="*/ 172986 w 187005"/>
                  <a:gd name="connsiteY73" fmla="*/ 85171 h 111973"/>
                  <a:gd name="connsiteX74" fmla="*/ 174221 w 187005"/>
                  <a:gd name="connsiteY74" fmla="*/ 84289 h 111973"/>
                  <a:gd name="connsiteX75" fmla="*/ 173868 w 187005"/>
                  <a:gd name="connsiteY75" fmla="*/ 83672 h 111973"/>
                  <a:gd name="connsiteX76" fmla="*/ 174750 w 187005"/>
                  <a:gd name="connsiteY76" fmla="*/ 83407 h 111973"/>
                  <a:gd name="connsiteX77" fmla="*/ 172457 w 187005"/>
                  <a:gd name="connsiteY77" fmla="*/ 81379 h 111973"/>
                  <a:gd name="connsiteX78" fmla="*/ 172457 w 187005"/>
                  <a:gd name="connsiteY78" fmla="*/ 80498 h 111973"/>
                  <a:gd name="connsiteX79" fmla="*/ 172105 w 187005"/>
                  <a:gd name="connsiteY79" fmla="*/ 79616 h 111973"/>
                  <a:gd name="connsiteX80" fmla="*/ 173868 w 187005"/>
                  <a:gd name="connsiteY80" fmla="*/ 78117 h 111973"/>
                  <a:gd name="connsiteX81" fmla="*/ 175103 w 187005"/>
                  <a:gd name="connsiteY81" fmla="*/ 78117 h 111973"/>
                  <a:gd name="connsiteX82" fmla="*/ 176249 w 187005"/>
                  <a:gd name="connsiteY82" fmla="*/ 78999 h 111973"/>
                  <a:gd name="connsiteX83" fmla="*/ 175367 w 187005"/>
                  <a:gd name="connsiteY83" fmla="*/ 80498 h 111973"/>
                  <a:gd name="connsiteX84" fmla="*/ 175632 w 187005"/>
                  <a:gd name="connsiteY84" fmla="*/ 81379 h 111973"/>
                  <a:gd name="connsiteX85" fmla="*/ 176778 w 187005"/>
                  <a:gd name="connsiteY85" fmla="*/ 83407 h 111973"/>
                  <a:gd name="connsiteX86" fmla="*/ 176778 w 187005"/>
                  <a:gd name="connsiteY86" fmla="*/ 82526 h 111973"/>
                  <a:gd name="connsiteX87" fmla="*/ 176778 w 187005"/>
                  <a:gd name="connsiteY87" fmla="*/ 81379 h 111973"/>
                  <a:gd name="connsiteX88" fmla="*/ 178276 w 187005"/>
                  <a:gd name="connsiteY88" fmla="*/ 83672 h 111973"/>
                  <a:gd name="connsiteX89" fmla="*/ 186476 w 187005"/>
                  <a:gd name="connsiteY89" fmla="*/ 83407 h 111973"/>
                  <a:gd name="connsiteX90" fmla="*/ 186476 w 187005"/>
                  <a:gd name="connsiteY90" fmla="*/ 82526 h 111973"/>
                  <a:gd name="connsiteX91" fmla="*/ 186124 w 187005"/>
                  <a:gd name="connsiteY91" fmla="*/ 81379 h 111973"/>
                  <a:gd name="connsiteX92" fmla="*/ 186124 w 187005"/>
                  <a:gd name="connsiteY92" fmla="*/ 80498 h 111973"/>
                  <a:gd name="connsiteX93" fmla="*/ 187005 w 187005"/>
                  <a:gd name="connsiteY93" fmla="*/ 78117 h 111973"/>
                  <a:gd name="connsiteX94" fmla="*/ 186741 w 187005"/>
                  <a:gd name="connsiteY94" fmla="*/ 75208 h 111973"/>
                  <a:gd name="connsiteX95" fmla="*/ 186476 w 187005"/>
                  <a:gd name="connsiteY95" fmla="*/ 74061 h 111973"/>
                  <a:gd name="connsiteX96" fmla="*/ 184977 w 187005"/>
                  <a:gd name="connsiteY96" fmla="*/ 72915 h 111973"/>
                  <a:gd name="connsiteX97" fmla="*/ 186476 w 187005"/>
                  <a:gd name="connsiteY97" fmla="*/ 72915 h 111973"/>
                  <a:gd name="connsiteX98" fmla="*/ 186124 w 187005"/>
                  <a:gd name="connsiteY98" fmla="*/ 71416 h 111973"/>
                  <a:gd name="connsiteX99" fmla="*/ 185859 w 187005"/>
                  <a:gd name="connsiteY99" fmla="*/ 69653 h 111973"/>
                  <a:gd name="connsiteX100" fmla="*/ 184360 w 187005"/>
                  <a:gd name="connsiteY100" fmla="*/ 69124 h 111973"/>
                  <a:gd name="connsiteX101" fmla="*/ 181451 w 187005"/>
                  <a:gd name="connsiteY101" fmla="*/ 68507 h 111973"/>
                  <a:gd name="connsiteX102" fmla="*/ 177395 w 187005"/>
                  <a:gd name="connsiteY102" fmla="*/ 68507 h 111973"/>
                  <a:gd name="connsiteX103" fmla="*/ 176249 w 187005"/>
                  <a:gd name="connsiteY103" fmla="*/ 69124 h 111973"/>
                  <a:gd name="connsiteX104" fmla="*/ 175103 w 187005"/>
                  <a:gd name="connsiteY104" fmla="*/ 69124 h 111973"/>
                  <a:gd name="connsiteX105" fmla="*/ 173868 w 187005"/>
                  <a:gd name="connsiteY105" fmla="*/ 70887 h 111973"/>
                  <a:gd name="connsiteX106" fmla="*/ 172986 w 187005"/>
                  <a:gd name="connsiteY106" fmla="*/ 70887 h 111973"/>
                  <a:gd name="connsiteX107" fmla="*/ 172457 w 187005"/>
                  <a:gd name="connsiteY107" fmla="*/ 71416 h 111973"/>
                  <a:gd name="connsiteX108" fmla="*/ 169548 w 187005"/>
                  <a:gd name="connsiteY108" fmla="*/ 70887 h 111973"/>
                  <a:gd name="connsiteX109" fmla="*/ 169548 w 187005"/>
                  <a:gd name="connsiteY109" fmla="*/ 71416 h 111973"/>
                  <a:gd name="connsiteX110" fmla="*/ 168313 w 187005"/>
                  <a:gd name="connsiteY110" fmla="*/ 71416 h 111973"/>
                  <a:gd name="connsiteX111" fmla="*/ 167520 w 187005"/>
                  <a:gd name="connsiteY111" fmla="*/ 71416 h 111973"/>
                  <a:gd name="connsiteX112" fmla="*/ 166638 w 187005"/>
                  <a:gd name="connsiteY112" fmla="*/ 71416 h 111973"/>
                  <a:gd name="connsiteX113" fmla="*/ 164875 w 187005"/>
                  <a:gd name="connsiteY113" fmla="*/ 71769 h 111973"/>
                  <a:gd name="connsiteX114" fmla="*/ 162230 w 187005"/>
                  <a:gd name="connsiteY114" fmla="*/ 70270 h 111973"/>
                  <a:gd name="connsiteX115" fmla="*/ 161348 w 187005"/>
                  <a:gd name="connsiteY115" fmla="*/ 70006 h 111973"/>
                  <a:gd name="connsiteX116" fmla="*/ 160731 w 187005"/>
                  <a:gd name="connsiteY116" fmla="*/ 69124 h 111973"/>
                  <a:gd name="connsiteX117" fmla="*/ 159585 w 187005"/>
                  <a:gd name="connsiteY117" fmla="*/ 68242 h 111973"/>
                  <a:gd name="connsiteX118" fmla="*/ 159585 w 187005"/>
                  <a:gd name="connsiteY118" fmla="*/ 67625 h 111973"/>
                  <a:gd name="connsiteX119" fmla="*/ 158968 w 187005"/>
                  <a:gd name="connsiteY119" fmla="*/ 66479 h 111973"/>
                  <a:gd name="connsiteX120" fmla="*/ 158968 w 187005"/>
                  <a:gd name="connsiteY120" fmla="*/ 65068 h 111973"/>
                  <a:gd name="connsiteX121" fmla="*/ 157557 w 187005"/>
                  <a:gd name="connsiteY121" fmla="*/ 63834 h 111973"/>
                  <a:gd name="connsiteX122" fmla="*/ 156058 w 187005"/>
                  <a:gd name="connsiteY122" fmla="*/ 63305 h 111973"/>
                  <a:gd name="connsiteX123" fmla="*/ 155794 w 187005"/>
                  <a:gd name="connsiteY123" fmla="*/ 63040 h 111973"/>
                  <a:gd name="connsiteX124" fmla="*/ 155529 w 187005"/>
                  <a:gd name="connsiteY124" fmla="*/ 59514 h 111973"/>
                  <a:gd name="connsiteX125" fmla="*/ 153766 w 187005"/>
                  <a:gd name="connsiteY125" fmla="*/ 58896 h 111973"/>
                  <a:gd name="connsiteX126" fmla="*/ 152884 w 187005"/>
                  <a:gd name="connsiteY126" fmla="*/ 52813 h 111973"/>
                  <a:gd name="connsiteX127" fmla="*/ 152619 w 187005"/>
                  <a:gd name="connsiteY127" fmla="*/ 51314 h 111973"/>
                  <a:gd name="connsiteX128" fmla="*/ 153148 w 187005"/>
                  <a:gd name="connsiteY128" fmla="*/ 49903 h 111973"/>
                  <a:gd name="connsiteX129" fmla="*/ 152002 w 187005"/>
                  <a:gd name="connsiteY129" fmla="*/ 46906 h 111973"/>
                  <a:gd name="connsiteX130" fmla="*/ 153148 w 187005"/>
                  <a:gd name="connsiteY130" fmla="*/ 44878 h 111973"/>
                  <a:gd name="connsiteX131" fmla="*/ 152002 w 187005"/>
                  <a:gd name="connsiteY131" fmla="*/ 37648 h 111973"/>
                  <a:gd name="connsiteX132" fmla="*/ 150592 w 187005"/>
                  <a:gd name="connsiteY132" fmla="*/ 35532 h 111973"/>
                  <a:gd name="connsiteX133" fmla="*/ 148828 w 187005"/>
                  <a:gd name="connsiteY133" fmla="*/ 33504 h 111973"/>
                  <a:gd name="connsiteX134" fmla="*/ 148828 w 187005"/>
                  <a:gd name="connsiteY134" fmla="*/ 30330 h 111973"/>
                  <a:gd name="connsiteX135" fmla="*/ 147947 w 187005"/>
                  <a:gd name="connsiteY135" fmla="*/ 28831 h 111973"/>
                  <a:gd name="connsiteX136" fmla="*/ 146183 w 187005"/>
                  <a:gd name="connsiteY136" fmla="*/ 27949 h 111973"/>
                  <a:gd name="connsiteX137" fmla="*/ 142392 w 187005"/>
                  <a:gd name="connsiteY137" fmla="*/ 27420 h 111973"/>
                  <a:gd name="connsiteX138" fmla="*/ 138865 w 187005"/>
                  <a:gd name="connsiteY138" fmla="*/ 22747 h 111973"/>
                  <a:gd name="connsiteX139" fmla="*/ 134810 w 187005"/>
                  <a:gd name="connsiteY139" fmla="*/ 18692 h 111973"/>
                  <a:gd name="connsiteX140" fmla="*/ 129872 w 187005"/>
                  <a:gd name="connsiteY140" fmla="*/ 12520 h 111973"/>
                  <a:gd name="connsiteX141" fmla="*/ 129255 w 187005"/>
                  <a:gd name="connsiteY141" fmla="*/ 9346 h 111973"/>
                  <a:gd name="connsiteX142" fmla="*/ 127492 w 187005"/>
                  <a:gd name="connsiteY142" fmla="*/ 8464 h 111973"/>
                  <a:gd name="connsiteX143" fmla="*/ 126345 w 187005"/>
                  <a:gd name="connsiteY143" fmla="*/ 2910 h 111973"/>
                  <a:gd name="connsiteX144" fmla="*/ 118498 w 187005"/>
                  <a:gd name="connsiteY144" fmla="*/ 264 h 111973"/>
                  <a:gd name="connsiteX145" fmla="*/ 113473 w 187005"/>
                  <a:gd name="connsiteY145" fmla="*/ 264 h 111973"/>
                  <a:gd name="connsiteX146" fmla="*/ 110916 w 187005"/>
                  <a:gd name="connsiteY146" fmla="*/ 882 h 111973"/>
                  <a:gd name="connsiteX147" fmla="*/ 108800 w 187005"/>
                  <a:gd name="connsiteY147" fmla="*/ 0 h 111973"/>
                  <a:gd name="connsiteX148" fmla="*/ 110563 w 187005"/>
                  <a:gd name="connsiteY148" fmla="*/ 3791 h 111973"/>
                  <a:gd name="connsiteX149" fmla="*/ 110299 w 187005"/>
                  <a:gd name="connsiteY149" fmla="*/ 6084 h 111973"/>
                  <a:gd name="connsiteX150" fmla="*/ 102981 w 187005"/>
                  <a:gd name="connsiteY150" fmla="*/ 6436 h 111973"/>
                  <a:gd name="connsiteX151" fmla="*/ 100071 w 187005"/>
                  <a:gd name="connsiteY151" fmla="*/ 7582 h 111973"/>
                  <a:gd name="connsiteX152" fmla="*/ 96897 w 187005"/>
                  <a:gd name="connsiteY152" fmla="*/ 7582 h 111973"/>
                  <a:gd name="connsiteX153" fmla="*/ 91078 w 187005"/>
                  <a:gd name="connsiteY153" fmla="*/ 8200 h 111973"/>
                  <a:gd name="connsiteX154" fmla="*/ 89579 w 187005"/>
                  <a:gd name="connsiteY154" fmla="*/ 10757 h 111973"/>
                  <a:gd name="connsiteX155" fmla="*/ 83760 w 187005"/>
                  <a:gd name="connsiteY155" fmla="*/ 11374 h 111973"/>
                  <a:gd name="connsiteX156" fmla="*/ 82614 w 187005"/>
                  <a:gd name="connsiteY156" fmla="*/ 10227 h 111973"/>
                  <a:gd name="connsiteX157" fmla="*/ 79969 w 187005"/>
                  <a:gd name="connsiteY157" fmla="*/ 8993 h 111973"/>
                  <a:gd name="connsiteX158" fmla="*/ 79087 w 187005"/>
                  <a:gd name="connsiteY158" fmla="*/ 7847 h 111973"/>
                  <a:gd name="connsiteX159" fmla="*/ 78470 w 187005"/>
                  <a:gd name="connsiteY159" fmla="*/ 7582 h 111973"/>
                  <a:gd name="connsiteX160" fmla="*/ 72651 w 187005"/>
                  <a:gd name="connsiteY160" fmla="*/ 8200 h 111973"/>
                  <a:gd name="connsiteX161" fmla="*/ 65068 w 187005"/>
                  <a:gd name="connsiteY161" fmla="*/ 7318 h 111973"/>
                  <a:gd name="connsiteX162" fmla="*/ 63658 w 187005"/>
                  <a:gd name="connsiteY162" fmla="*/ 6436 h 111973"/>
                  <a:gd name="connsiteX163" fmla="*/ 61013 w 187005"/>
                  <a:gd name="connsiteY163" fmla="*/ 5819 h 111973"/>
                  <a:gd name="connsiteX164" fmla="*/ 58367 w 187005"/>
                  <a:gd name="connsiteY164" fmla="*/ 5202 h 111973"/>
                  <a:gd name="connsiteX165" fmla="*/ 56075 w 187005"/>
                  <a:gd name="connsiteY165" fmla="*/ 6084 h 111973"/>
                  <a:gd name="connsiteX166" fmla="*/ 53695 w 187005"/>
                  <a:gd name="connsiteY166" fmla="*/ 5202 h 111973"/>
                  <a:gd name="connsiteX167" fmla="*/ 51667 w 187005"/>
                  <a:gd name="connsiteY167" fmla="*/ 5819 h 111973"/>
                  <a:gd name="connsiteX168" fmla="*/ 48757 w 187005"/>
                  <a:gd name="connsiteY168" fmla="*/ 3174 h 111973"/>
                  <a:gd name="connsiteX169" fmla="*/ 44966 w 187005"/>
                  <a:gd name="connsiteY169" fmla="*/ 6084 h 111973"/>
                  <a:gd name="connsiteX170" fmla="*/ 44701 w 187005"/>
                  <a:gd name="connsiteY170" fmla="*/ 7847 h 111973"/>
                  <a:gd name="connsiteX171" fmla="*/ 42673 w 187005"/>
                  <a:gd name="connsiteY171" fmla="*/ 8993 h 111973"/>
                  <a:gd name="connsiteX172" fmla="*/ 42673 w 187005"/>
                  <a:gd name="connsiteY172" fmla="*/ 9610 h 111973"/>
                  <a:gd name="connsiteX173" fmla="*/ 40646 w 187005"/>
                  <a:gd name="connsiteY173" fmla="*/ 10757 h 111973"/>
                  <a:gd name="connsiteX174" fmla="*/ 36237 w 187005"/>
                  <a:gd name="connsiteY174" fmla="*/ 11109 h 111973"/>
                  <a:gd name="connsiteX175" fmla="*/ 35620 w 187005"/>
                  <a:gd name="connsiteY175" fmla="*/ 11903 h 111973"/>
                  <a:gd name="connsiteX176" fmla="*/ 34738 w 187005"/>
                  <a:gd name="connsiteY176" fmla="*/ 11638 h 111973"/>
                  <a:gd name="connsiteX177" fmla="*/ 33857 w 187005"/>
                  <a:gd name="connsiteY177" fmla="*/ 11903 h 111973"/>
                  <a:gd name="connsiteX178" fmla="*/ 33592 w 187005"/>
                  <a:gd name="connsiteY178" fmla="*/ 14900 h 111973"/>
                  <a:gd name="connsiteX179" fmla="*/ 30947 w 187005"/>
                  <a:gd name="connsiteY179" fmla="*/ 15429 h 111973"/>
                  <a:gd name="connsiteX180" fmla="*/ 29184 w 187005"/>
                  <a:gd name="connsiteY180" fmla="*/ 16928 h 111973"/>
                  <a:gd name="connsiteX181" fmla="*/ 29448 w 187005"/>
                  <a:gd name="connsiteY181" fmla="*/ 20102 h 111973"/>
                  <a:gd name="connsiteX182" fmla="*/ 28655 w 187005"/>
                  <a:gd name="connsiteY182" fmla="*/ 20719 h 111973"/>
                  <a:gd name="connsiteX183" fmla="*/ 28038 w 187005"/>
                  <a:gd name="connsiteY183" fmla="*/ 22130 h 111973"/>
                  <a:gd name="connsiteX184" fmla="*/ 28302 w 187005"/>
                  <a:gd name="connsiteY184" fmla="*/ 24246 h 111973"/>
                  <a:gd name="connsiteX185" fmla="*/ 26627 w 187005"/>
                  <a:gd name="connsiteY185" fmla="*/ 25040 h 111973"/>
                  <a:gd name="connsiteX186" fmla="*/ 26627 w 187005"/>
                  <a:gd name="connsiteY186" fmla="*/ 26539 h 111973"/>
                  <a:gd name="connsiteX187" fmla="*/ 24864 w 187005"/>
                  <a:gd name="connsiteY187" fmla="*/ 27949 h 111973"/>
                  <a:gd name="connsiteX188" fmla="*/ 25393 w 187005"/>
                  <a:gd name="connsiteY188" fmla="*/ 28831 h 111973"/>
                  <a:gd name="connsiteX189" fmla="*/ 24864 w 187005"/>
                  <a:gd name="connsiteY189" fmla="*/ 29448 h 111973"/>
                  <a:gd name="connsiteX190" fmla="*/ 24511 w 187005"/>
                  <a:gd name="connsiteY190" fmla="*/ 30065 h 111973"/>
                  <a:gd name="connsiteX191" fmla="*/ 22836 w 187005"/>
                  <a:gd name="connsiteY191" fmla="*/ 31741 h 111973"/>
                  <a:gd name="connsiteX192" fmla="*/ 23100 w 187005"/>
                  <a:gd name="connsiteY192" fmla="*/ 32975 h 111973"/>
                  <a:gd name="connsiteX193" fmla="*/ 21337 w 187005"/>
                  <a:gd name="connsiteY193" fmla="*/ 33239 h 111973"/>
                  <a:gd name="connsiteX194" fmla="*/ 21337 w 187005"/>
                  <a:gd name="connsiteY194" fmla="*/ 34121 h 111973"/>
                  <a:gd name="connsiteX195" fmla="*/ 21337 w 187005"/>
                  <a:gd name="connsiteY195" fmla="*/ 35267 h 111973"/>
                  <a:gd name="connsiteX196" fmla="*/ 21601 w 187005"/>
                  <a:gd name="connsiteY196" fmla="*/ 36413 h 111973"/>
                  <a:gd name="connsiteX197" fmla="*/ 21072 w 187005"/>
                  <a:gd name="connsiteY197" fmla="*/ 37031 h 111973"/>
                  <a:gd name="connsiteX198" fmla="*/ 21337 w 187005"/>
                  <a:gd name="connsiteY198" fmla="*/ 37912 h 111973"/>
                  <a:gd name="connsiteX199" fmla="*/ 20455 w 187005"/>
                  <a:gd name="connsiteY199" fmla="*/ 38794 h 111973"/>
                  <a:gd name="connsiteX200" fmla="*/ 18692 w 187005"/>
                  <a:gd name="connsiteY200" fmla="*/ 39059 h 111973"/>
                  <a:gd name="connsiteX201" fmla="*/ 18427 w 187005"/>
                  <a:gd name="connsiteY201" fmla="*/ 40205 h 111973"/>
                  <a:gd name="connsiteX202" fmla="*/ 17017 w 187005"/>
                  <a:gd name="connsiteY202" fmla="*/ 42233 h 111973"/>
                  <a:gd name="connsiteX203" fmla="*/ 18427 w 187005"/>
                  <a:gd name="connsiteY203" fmla="*/ 43467 h 111973"/>
                  <a:gd name="connsiteX204" fmla="*/ 18956 w 187005"/>
                  <a:gd name="connsiteY204" fmla="*/ 43996 h 111973"/>
                  <a:gd name="connsiteX205" fmla="*/ 16664 w 187005"/>
                  <a:gd name="connsiteY205" fmla="*/ 44613 h 111973"/>
                  <a:gd name="connsiteX206" fmla="*/ 15782 w 187005"/>
                  <a:gd name="connsiteY206" fmla="*/ 47258 h 111973"/>
                  <a:gd name="connsiteX207" fmla="*/ 14636 w 187005"/>
                  <a:gd name="connsiteY207" fmla="*/ 47787 h 111973"/>
                  <a:gd name="connsiteX208" fmla="*/ 12873 w 187005"/>
                  <a:gd name="connsiteY208" fmla="*/ 47523 h 111973"/>
                  <a:gd name="connsiteX209" fmla="*/ 11727 w 187005"/>
                  <a:gd name="connsiteY209" fmla="*/ 47787 h 111973"/>
                  <a:gd name="connsiteX210" fmla="*/ 10580 w 187005"/>
                  <a:gd name="connsiteY210" fmla="*/ 48140 h 111973"/>
                  <a:gd name="connsiteX211" fmla="*/ 8817 w 187005"/>
                  <a:gd name="connsiteY211" fmla="*/ 47523 h 111973"/>
                  <a:gd name="connsiteX212" fmla="*/ 7935 w 187005"/>
                  <a:gd name="connsiteY212" fmla="*/ 47787 h 111973"/>
                  <a:gd name="connsiteX213" fmla="*/ 8200 w 187005"/>
                  <a:gd name="connsiteY213" fmla="*/ 48669 h 111973"/>
                  <a:gd name="connsiteX214" fmla="*/ 7054 w 187005"/>
                  <a:gd name="connsiteY214" fmla="*/ 49286 h 111973"/>
                  <a:gd name="connsiteX215" fmla="*/ 6789 w 187005"/>
                  <a:gd name="connsiteY215" fmla="*/ 50168 h 111973"/>
                  <a:gd name="connsiteX216" fmla="*/ 5555 w 187005"/>
                  <a:gd name="connsiteY216" fmla="*/ 50697 h 111973"/>
                  <a:gd name="connsiteX217" fmla="*/ 4408 w 187005"/>
                  <a:gd name="connsiteY217" fmla="*/ 50168 h 111973"/>
                  <a:gd name="connsiteX218" fmla="*/ 3262 w 187005"/>
                  <a:gd name="connsiteY218" fmla="*/ 50168 h 111973"/>
                  <a:gd name="connsiteX219" fmla="*/ 1763 w 187005"/>
                  <a:gd name="connsiteY219" fmla="*/ 49903 h 111973"/>
                  <a:gd name="connsiteX220" fmla="*/ 0 w 187005"/>
                  <a:gd name="connsiteY220" fmla="*/ 50168 h 111973"/>
                  <a:gd name="connsiteX221" fmla="*/ 0 w 187005"/>
                  <a:gd name="connsiteY221" fmla="*/ 51314 h 111973"/>
                  <a:gd name="connsiteX222" fmla="*/ 353 w 187005"/>
                  <a:gd name="connsiteY222" fmla="*/ 52196 h 111973"/>
                  <a:gd name="connsiteX223" fmla="*/ 2116 w 187005"/>
                  <a:gd name="connsiteY223" fmla="*/ 53959 h 111973"/>
                  <a:gd name="connsiteX224" fmla="*/ 3262 w 187005"/>
                  <a:gd name="connsiteY224" fmla="*/ 55105 h 111973"/>
                  <a:gd name="connsiteX225" fmla="*/ 4761 w 187005"/>
                  <a:gd name="connsiteY225" fmla="*/ 55987 h 111973"/>
                  <a:gd name="connsiteX226" fmla="*/ 6172 w 187005"/>
                  <a:gd name="connsiteY226" fmla="*/ 56604 h 111973"/>
                  <a:gd name="connsiteX227" fmla="*/ 7318 w 187005"/>
                  <a:gd name="connsiteY227" fmla="*/ 57750 h 111973"/>
                  <a:gd name="connsiteX228" fmla="*/ 7935 w 187005"/>
                  <a:gd name="connsiteY228" fmla="*/ 58896 h 111973"/>
                  <a:gd name="connsiteX229" fmla="*/ 9081 w 187005"/>
                  <a:gd name="connsiteY229" fmla="*/ 60395 h 111973"/>
                  <a:gd name="connsiteX230" fmla="*/ 10228 w 187005"/>
                  <a:gd name="connsiteY230" fmla="*/ 60924 h 111973"/>
                  <a:gd name="connsiteX231" fmla="*/ 10228 w 187005"/>
                  <a:gd name="connsiteY231" fmla="*/ 63040 h 111973"/>
                  <a:gd name="connsiteX232" fmla="*/ 10845 w 187005"/>
                  <a:gd name="connsiteY232" fmla="*/ 64187 h 111973"/>
                  <a:gd name="connsiteX233" fmla="*/ 10580 w 187005"/>
                  <a:gd name="connsiteY233" fmla="*/ 65597 h 111973"/>
                  <a:gd name="connsiteX234" fmla="*/ 10580 w 187005"/>
                  <a:gd name="connsiteY234" fmla="*/ 66479 h 111973"/>
                  <a:gd name="connsiteX235" fmla="*/ 11109 w 187005"/>
                  <a:gd name="connsiteY235" fmla="*/ 67096 h 111973"/>
                  <a:gd name="connsiteX236" fmla="*/ 12344 w 187005"/>
                  <a:gd name="connsiteY236" fmla="*/ 67361 h 111973"/>
                  <a:gd name="connsiteX237" fmla="*/ 12873 w 187005"/>
                  <a:gd name="connsiteY237" fmla="*/ 68242 h 111973"/>
                  <a:gd name="connsiteX238" fmla="*/ 14900 w 187005"/>
                  <a:gd name="connsiteY238" fmla="*/ 70006 h 111973"/>
                  <a:gd name="connsiteX239" fmla="*/ 17281 w 187005"/>
                  <a:gd name="connsiteY239" fmla="*/ 70887 h 111973"/>
                  <a:gd name="connsiteX240" fmla="*/ 18956 w 187005"/>
                  <a:gd name="connsiteY240" fmla="*/ 71152 h 111973"/>
                  <a:gd name="connsiteX241" fmla="*/ 19573 w 187005"/>
                  <a:gd name="connsiteY241" fmla="*/ 71416 h 111973"/>
                  <a:gd name="connsiteX242" fmla="*/ 20808 w 187005"/>
                  <a:gd name="connsiteY242" fmla="*/ 72298 h 111973"/>
                  <a:gd name="connsiteX243" fmla="*/ 23629 w 187005"/>
                  <a:gd name="connsiteY243" fmla="*/ 73180 h 111973"/>
                  <a:gd name="connsiteX244" fmla="*/ 25393 w 187005"/>
                  <a:gd name="connsiteY244" fmla="*/ 74061 h 111973"/>
                  <a:gd name="connsiteX245" fmla="*/ 25745 w 187005"/>
                  <a:gd name="connsiteY245" fmla="*/ 74679 h 111973"/>
                  <a:gd name="connsiteX246" fmla="*/ 25745 w 187005"/>
                  <a:gd name="connsiteY246" fmla="*/ 75208 h 111973"/>
                  <a:gd name="connsiteX247" fmla="*/ 25745 w 187005"/>
                  <a:gd name="connsiteY247" fmla="*/ 75825 h 111973"/>
                  <a:gd name="connsiteX248" fmla="*/ 25128 w 187005"/>
                  <a:gd name="connsiteY248" fmla="*/ 76971 h 111973"/>
                  <a:gd name="connsiteX249" fmla="*/ 24864 w 187005"/>
                  <a:gd name="connsiteY249" fmla="*/ 77588 h 111973"/>
                  <a:gd name="connsiteX250" fmla="*/ 25128 w 187005"/>
                  <a:gd name="connsiteY250" fmla="*/ 78117 h 111973"/>
                  <a:gd name="connsiteX251" fmla="*/ 25393 w 187005"/>
                  <a:gd name="connsiteY251" fmla="*/ 78117 h 111973"/>
                  <a:gd name="connsiteX252" fmla="*/ 25393 w 187005"/>
                  <a:gd name="connsiteY252" fmla="*/ 78734 h 111973"/>
                  <a:gd name="connsiteX253" fmla="*/ 25745 w 187005"/>
                  <a:gd name="connsiteY253" fmla="*/ 78999 h 111973"/>
                  <a:gd name="connsiteX254" fmla="*/ 26010 w 187005"/>
                  <a:gd name="connsiteY254" fmla="*/ 79352 h 111973"/>
                  <a:gd name="connsiteX255" fmla="*/ 26274 w 187005"/>
                  <a:gd name="connsiteY255" fmla="*/ 79881 h 111973"/>
                  <a:gd name="connsiteX256" fmla="*/ 26274 w 187005"/>
                  <a:gd name="connsiteY256" fmla="*/ 80498 h 111973"/>
                  <a:gd name="connsiteX257" fmla="*/ 25128 w 187005"/>
                  <a:gd name="connsiteY257" fmla="*/ 80762 h 111973"/>
                  <a:gd name="connsiteX258" fmla="*/ 24864 w 187005"/>
                  <a:gd name="connsiteY258" fmla="*/ 81379 h 111973"/>
                  <a:gd name="connsiteX259" fmla="*/ 25393 w 187005"/>
                  <a:gd name="connsiteY259" fmla="*/ 82526 h 111973"/>
                  <a:gd name="connsiteX260" fmla="*/ 25745 w 187005"/>
                  <a:gd name="connsiteY260" fmla="*/ 83672 h 111973"/>
                  <a:gd name="connsiteX261" fmla="*/ 26627 w 187005"/>
                  <a:gd name="connsiteY261" fmla="*/ 83672 h 111973"/>
                  <a:gd name="connsiteX262" fmla="*/ 27773 w 187005"/>
                  <a:gd name="connsiteY262" fmla="*/ 84553 h 111973"/>
                  <a:gd name="connsiteX263" fmla="*/ 28655 w 187005"/>
                  <a:gd name="connsiteY263" fmla="*/ 86317 h 111973"/>
                  <a:gd name="connsiteX264" fmla="*/ 30065 w 187005"/>
                  <a:gd name="connsiteY264" fmla="*/ 87463 h 111973"/>
                  <a:gd name="connsiteX265" fmla="*/ 30947 w 187005"/>
                  <a:gd name="connsiteY265" fmla="*/ 86934 h 111973"/>
                  <a:gd name="connsiteX266" fmla="*/ 31829 w 187005"/>
                  <a:gd name="connsiteY266" fmla="*/ 87199 h 111973"/>
                  <a:gd name="connsiteX267" fmla="*/ 32975 w 187005"/>
                  <a:gd name="connsiteY267" fmla="*/ 86934 h 111973"/>
                  <a:gd name="connsiteX268" fmla="*/ 34474 w 187005"/>
                  <a:gd name="connsiteY268" fmla="*/ 87463 h 111973"/>
                  <a:gd name="connsiteX269" fmla="*/ 36766 w 187005"/>
                  <a:gd name="connsiteY269" fmla="*/ 87463 h 111973"/>
                  <a:gd name="connsiteX270" fmla="*/ 39147 w 187005"/>
                  <a:gd name="connsiteY270" fmla="*/ 90725 h 111973"/>
                  <a:gd name="connsiteX271" fmla="*/ 40646 w 187005"/>
                  <a:gd name="connsiteY271" fmla="*/ 89844 h 111973"/>
                  <a:gd name="connsiteX272" fmla="*/ 42056 w 187005"/>
                  <a:gd name="connsiteY272" fmla="*/ 90725 h 111973"/>
                  <a:gd name="connsiteX273" fmla="*/ 43203 w 187005"/>
                  <a:gd name="connsiteY273" fmla="*/ 86934 h 111973"/>
                  <a:gd name="connsiteX274" fmla="*/ 44349 w 187005"/>
                  <a:gd name="connsiteY274" fmla="*/ 86317 h 111973"/>
                  <a:gd name="connsiteX275" fmla="*/ 45583 w 187005"/>
                  <a:gd name="connsiteY275" fmla="*/ 85700 h 111973"/>
                  <a:gd name="connsiteX276" fmla="*/ 46994 w 187005"/>
                  <a:gd name="connsiteY276" fmla="*/ 85700 h 111973"/>
                  <a:gd name="connsiteX277" fmla="*/ 48493 w 187005"/>
                  <a:gd name="connsiteY277" fmla="*/ 87463 h 111973"/>
                  <a:gd name="connsiteX278" fmla="*/ 51667 w 187005"/>
                  <a:gd name="connsiteY278" fmla="*/ 88345 h 111973"/>
                  <a:gd name="connsiteX279" fmla="*/ 52284 w 187005"/>
                  <a:gd name="connsiteY279" fmla="*/ 88962 h 111973"/>
                  <a:gd name="connsiteX280" fmla="*/ 51667 w 187005"/>
                  <a:gd name="connsiteY280" fmla="*/ 89491 h 111973"/>
                  <a:gd name="connsiteX281" fmla="*/ 51050 w 187005"/>
                  <a:gd name="connsiteY281" fmla="*/ 90108 h 111973"/>
                  <a:gd name="connsiteX282" fmla="*/ 48757 w 187005"/>
                  <a:gd name="connsiteY282" fmla="*/ 89491 h 111973"/>
                  <a:gd name="connsiteX283" fmla="*/ 47611 w 187005"/>
                  <a:gd name="connsiteY283" fmla="*/ 90990 h 111973"/>
                  <a:gd name="connsiteX284" fmla="*/ 46112 w 187005"/>
                  <a:gd name="connsiteY284" fmla="*/ 90725 h 111973"/>
                  <a:gd name="connsiteX285" fmla="*/ 47876 w 187005"/>
                  <a:gd name="connsiteY285" fmla="*/ 95046 h 111973"/>
                  <a:gd name="connsiteX286" fmla="*/ 51050 w 187005"/>
                  <a:gd name="connsiteY286" fmla="*/ 95663 h 111973"/>
                  <a:gd name="connsiteX287" fmla="*/ 52020 w 187005"/>
                  <a:gd name="connsiteY287" fmla="*/ 97426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</a:cxnLst>
                <a:rect l="l" t="t" r="r" b="b"/>
                <a:pathLst>
                  <a:path w="187005" h="111973">
                    <a:moveTo>
                      <a:pt x="51667" y="97426"/>
                    </a:moveTo>
                    <a:lnTo>
                      <a:pt x="52020" y="97426"/>
                    </a:lnTo>
                    <a:lnTo>
                      <a:pt x="52813" y="97691"/>
                    </a:lnTo>
                    <a:lnTo>
                      <a:pt x="55193" y="99454"/>
                    </a:lnTo>
                    <a:lnTo>
                      <a:pt x="58103" y="99983"/>
                    </a:lnTo>
                    <a:lnTo>
                      <a:pt x="58632" y="100600"/>
                    </a:lnTo>
                    <a:lnTo>
                      <a:pt x="58367" y="102363"/>
                    </a:lnTo>
                    <a:lnTo>
                      <a:pt x="55458" y="103774"/>
                    </a:lnTo>
                    <a:lnTo>
                      <a:pt x="54576" y="105273"/>
                    </a:lnTo>
                    <a:lnTo>
                      <a:pt x="56075" y="107036"/>
                    </a:lnTo>
                    <a:lnTo>
                      <a:pt x="58985" y="108183"/>
                    </a:lnTo>
                    <a:lnTo>
                      <a:pt x="62159" y="108183"/>
                    </a:lnTo>
                    <a:lnTo>
                      <a:pt x="64804" y="107301"/>
                    </a:lnTo>
                    <a:lnTo>
                      <a:pt x="69741" y="108183"/>
                    </a:lnTo>
                    <a:lnTo>
                      <a:pt x="73885" y="108183"/>
                    </a:lnTo>
                    <a:lnTo>
                      <a:pt x="76178" y="109064"/>
                    </a:lnTo>
                    <a:lnTo>
                      <a:pt x="79087" y="109064"/>
                    </a:lnTo>
                    <a:lnTo>
                      <a:pt x="83760" y="110210"/>
                    </a:lnTo>
                    <a:lnTo>
                      <a:pt x="88962" y="109064"/>
                    </a:lnTo>
                    <a:lnTo>
                      <a:pt x="90725" y="109064"/>
                    </a:lnTo>
                    <a:lnTo>
                      <a:pt x="93106" y="109329"/>
                    </a:lnTo>
                    <a:lnTo>
                      <a:pt x="97779" y="109064"/>
                    </a:lnTo>
                    <a:lnTo>
                      <a:pt x="100953" y="110828"/>
                    </a:lnTo>
                    <a:lnTo>
                      <a:pt x="104215" y="110828"/>
                    </a:lnTo>
                    <a:lnTo>
                      <a:pt x="106508" y="111974"/>
                    </a:lnTo>
                    <a:lnTo>
                      <a:pt x="109152" y="111974"/>
                    </a:lnTo>
                    <a:lnTo>
                      <a:pt x="111798" y="111092"/>
                    </a:lnTo>
                    <a:lnTo>
                      <a:pt x="113473" y="109681"/>
                    </a:lnTo>
                    <a:lnTo>
                      <a:pt x="116118" y="109064"/>
                    </a:lnTo>
                    <a:lnTo>
                      <a:pt x="117617" y="107036"/>
                    </a:lnTo>
                    <a:lnTo>
                      <a:pt x="120791" y="105008"/>
                    </a:lnTo>
                    <a:lnTo>
                      <a:pt x="121673" y="103774"/>
                    </a:lnTo>
                    <a:lnTo>
                      <a:pt x="124053" y="102363"/>
                    </a:lnTo>
                    <a:lnTo>
                      <a:pt x="124935" y="101217"/>
                    </a:lnTo>
                    <a:lnTo>
                      <a:pt x="129519" y="101217"/>
                    </a:lnTo>
                    <a:lnTo>
                      <a:pt x="131900" y="100865"/>
                    </a:lnTo>
                    <a:lnTo>
                      <a:pt x="135074" y="99454"/>
                    </a:lnTo>
                    <a:lnTo>
                      <a:pt x="138865" y="98837"/>
                    </a:lnTo>
                    <a:lnTo>
                      <a:pt x="142127" y="99454"/>
                    </a:lnTo>
                    <a:lnTo>
                      <a:pt x="142127" y="100865"/>
                    </a:lnTo>
                    <a:lnTo>
                      <a:pt x="144420" y="101217"/>
                    </a:lnTo>
                    <a:lnTo>
                      <a:pt x="144949" y="102363"/>
                    </a:lnTo>
                    <a:lnTo>
                      <a:pt x="149357" y="102363"/>
                    </a:lnTo>
                    <a:lnTo>
                      <a:pt x="150592" y="102099"/>
                    </a:lnTo>
                    <a:lnTo>
                      <a:pt x="152619" y="103774"/>
                    </a:lnTo>
                    <a:lnTo>
                      <a:pt x="154383" y="104391"/>
                    </a:lnTo>
                    <a:lnTo>
                      <a:pt x="157557" y="103774"/>
                    </a:lnTo>
                    <a:lnTo>
                      <a:pt x="158968" y="106419"/>
                    </a:lnTo>
                    <a:lnTo>
                      <a:pt x="159320" y="107654"/>
                    </a:lnTo>
                    <a:lnTo>
                      <a:pt x="162759" y="109064"/>
                    </a:lnTo>
                    <a:lnTo>
                      <a:pt x="169812" y="109064"/>
                    </a:lnTo>
                    <a:lnTo>
                      <a:pt x="169812" y="107654"/>
                    </a:lnTo>
                    <a:lnTo>
                      <a:pt x="170959" y="103774"/>
                    </a:lnTo>
                    <a:lnTo>
                      <a:pt x="168666" y="99454"/>
                    </a:lnTo>
                    <a:lnTo>
                      <a:pt x="170430" y="98837"/>
                    </a:lnTo>
                    <a:lnTo>
                      <a:pt x="168313" y="97073"/>
                    </a:lnTo>
                    <a:lnTo>
                      <a:pt x="168049" y="95046"/>
                    </a:lnTo>
                    <a:lnTo>
                      <a:pt x="169812" y="94517"/>
                    </a:lnTo>
                    <a:lnTo>
                      <a:pt x="170694" y="92400"/>
                    </a:lnTo>
                    <a:lnTo>
                      <a:pt x="172105" y="90725"/>
                    </a:lnTo>
                    <a:lnTo>
                      <a:pt x="174750" y="88345"/>
                    </a:lnTo>
                    <a:lnTo>
                      <a:pt x="173604" y="88345"/>
                    </a:lnTo>
                    <a:lnTo>
                      <a:pt x="173604" y="88697"/>
                    </a:lnTo>
                    <a:lnTo>
                      <a:pt x="172105" y="90108"/>
                    </a:lnTo>
                    <a:lnTo>
                      <a:pt x="170430" y="91254"/>
                    </a:lnTo>
                    <a:lnTo>
                      <a:pt x="170077" y="89491"/>
                    </a:lnTo>
                    <a:lnTo>
                      <a:pt x="170077" y="88697"/>
                    </a:lnTo>
                    <a:lnTo>
                      <a:pt x="170077" y="88345"/>
                    </a:lnTo>
                    <a:lnTo>
                      <a:pt x="169812" y="87463"/>
                    </a:lnTo>
                    <a:lnTo>
                      <a:pt x="169812" y="86934"/>
                    </a:lnTo>
                    <a:lnTo>
                      <a:pt x="171576" y="86317"/>
                    </a:lnTo>
                    <a:lnTo>
                      <a:pt x="169812" y="86317"/>
                    </a:lnTo>
                    <a:lnTo>
                      <a:pt x="171576" y="85700"/>
                    </a:lnTo>
                    <a:lnTo>
                      <a:pt x="172986" y="85171"/>
                    </a:lnTo>
                    <a:lnTo>
                      <a:pt x="174221" y="84289"/>
                    </a:lnTo>
                    <a:lnTo>
                      <a:pt x="173868" y="83672"/>
                    </a:lnTo>
                    <a:lnTo>
                      <a:pt x="174750" y="83407"/>
                    </a:lnTo>
                    <a:lnTo>
                      <a:pt x="172457" y="81379"/>
                    </a:lnTo>
                    <a:lnTo>
                      <a:pt x="172457" y="80498"/>
                    </a:lnTo>
                    <a:lnTo>
                      <a:pt x="172105" y="79616"/>
                    </a:lnTo>
                    <a:lnTo>
                      <a:pt x="173868" y="78117"/>
                    </a:lnTo>
                    <a:lnTo>
                      <a:pt x="175103" y="78117"/>
                    </a:lnTo>
                    <a:lnTo>
                      <a:pt x="176249" y="78999"/>
                    </a:lnTo>
                    <a:lnTo>
                      <a:pt x="175367" y="80498"/>
                    </a:lnTo>
                    <a:lnTo>
                      <a:pt x="175632" y="81379"/>
                    </a:lnTo>
                    <a:lnTo>
                      <a:pt x="176778" y="83407"/>
                    </a:lnTo>
                    <a:lnTo>
                      <a:pt x="176778" y="82526"/>
                    </a:lnTo>
                    <a:lnTo>
                      <a:pt x="176778" y="81379"/>
                    </a:lnTo>
                    <a:lnTo>
                      <a:pt x="178276" y="83672"/>
                    </a:lnTo>
                    <a:lnTo>
                      <a:pt x="186476" y="83407"/>
                    </a:lnTo>
                    <a:lnTo>
                      <a:pt x="186476" y="82526"/>
                    </a:lnTo>
                    <a:lnTo>
                      <a:pt x="186124" y="81379"/>
                    </a:lnTo>
                    <a:lnTo>
                      <a:pt x="186124" y="80498"/>
                    </a:lnTo>
                    <a:lnTo>
                      <a:pt x="187005" y="78117"/>
                    </a:lnTo>
                    <a:lnTo>
                      <a:pt x="186741" y="75208"/>
                    </a:lnTo>
                    <a:lnTo>
                      <a:pt x="186476" y="74061"/>
                    </a:lnTo>
                    <a:lnTo>
                      <a:pt x="184977" y="72915"/>
                    </a:lnTo>
                    <a:lnTo>
                      <a:pt x="186476" y="72915"/>
                    </a:lnTo>
                    <a:lnTo>
                      <a:pt x="186124" y="71416"/>
                    </a:lnTo>
                    <a:lnTo>
                      <a:pt x="185859" y="69653"/>
                    </a:lnTo>
                    <a:lnTo>
                      <a:pt x="184360" y="69124"/>
                    </a:lnTo>
                    <a:lnTo>
                      <a:pt x="181451" y="68507"/>
                    </a:lnTo>
                    <a:lnTo>
                      <a:pt x="177395" y="68507"/>
                    </a:lnTo>
                    <a:lnTo>
                      <a:pt x="176249" y="69124"/>
                    </a:lnTo>
                    <a:lnTo>
                      <a:pt x="175103" y="69124"/>
                    </a:lnTo>
                    <a:lnTo>
                      <a:pt x="173868" y="70887"/>
                    </a:lnTo>
                    <a:lnTo>
                      <a:pt x="172986" y="70887"/>
                    </a:lnTo>
                    <a:lnTo>
                      <a:pt x="172457" y="71416"/>
                    </a:lnTo>
                    <a:lnTo>
                      <a:pt x="169548" y="70887"/>
                    </a:lnTo>
                    <a:lnTo>
                      <a:pt x="169548" y="71416"/>
                    </a:lnTo>
                    <a:lnTo>
                      <a:pt x="168313" y="71416"/>
                    </a:lnTo>
                    <a:lnTo>
                      <a:pt x="167520" y="71416"/>
                    </a:lnTo>
                    <a:lnTo>
                      <a:pt x="166638" y="71416"/>
                    </a:lnTo>
                    <a:lnTo>
                      <a:pt x="164875" y="71769"/>
                    </a:lnTo>
                    <a:lnTo>
                      <a:pt x="162230" y="70270"/>
                    </a:lnTo>
                    <a:lnTo>
                      <a:pt x="161348" y="70006"/>
                    </a:lnTo>
                    <a:lnTo>
                      <a:pt x="160731" y="69124"/>
                    </a:lnTo>
                    <a:lnTo>
                      <a:pt x="159585" y="68242"/>
                    </a:lnTo>
                    <a:lnTo>
                      <a:pt x="159585" y="67625"/>
                    </a:lnTo>
                    <a:lnTo>
                      <a:pt x="158968" y="66479"/>
                    </a:lnTo>
                    <a:lnTo>
                      <a:pt x="158968" y="65068"/>
                    </a:lnTo>
                    <a:lnTo>
                      <a:pt x="157557" y="63834"/>
                    </a:lnTo>
                    <a:lnTo>
                      <a:pt x="156058" y="63305"/>
                    </a:lnTo>
                    <a:lnTo>
                      <a:pt x="155794" y="63040"/>
                    </a:lnTo>
                    <a:lnTo>
                      <a:pt x="155529" y="59514"/>
                    </a:lnTo>
                    <a:lnTo>
                      <a:pt x="153766" y="58896"/>
                    </a:lnTo>
                    <a:lnTo>
                      <a:pt x="152884" y="52813"/>
                    </a:lnTo>
                    <a:lnTo>
                      <a:pt x="152619" y="51314"/>
                    </a:lnTo>
                    <a:lnTo>
                      <a:pt x="153148" y="49903"/>
                    </a:lnTo>
                    <a:lnTo>
                      <a:pt x="152002" y="46906"/>
                    </a:lnTo>
                    <a:lnTo>
                      <a:pt x="153148" y="44878"/>
                    </a:lnTo>
                    <a:lnTo>
                      <a:pt x="152002" y="37648"/>
                    </a:lnTo>
                    <a:lnTo>
                      <a:pt x="150592" y="35532"/>
                    </a:lnTo>
                    <a:lnTo>
                      <a:pt x="148828" y="33504"/>
                    </a:lnTo>
                    <a:lnTo>
                      <a:pt x="148828" y="30330"/>
                    </a:lnTo>
                    <a:lnTo>
                      <a:pt x="147947" y="28831"/>
                    </a:lnTo>
                    <a:lnTo>
                      <a:pt x="146183" y="27949"/>
                    </a:lnTo>
                    <a:lnTo>
                      <a:pt x="142392" y="27420"/>
                    </a:lnTo>
                    <a:lnTo>
                      <a:pt x="138865" y="22747"/>
                    </a:lnTo>
                    <a:lnTo>
                      <a:pt x="134810" y="18692"/>
                    </a:lnTo>
                    <a:lnTo>
                      <a:pt x="129872" y="12520"/>
                    </a:lnTo>
                    <a:lnTo>
                      <a:pt x="129255" y="9346"/>
                    </a:lnTo>
                    <a:lnTo>
                      <a:pt x="127492" y="8464"/>
                    </a:lnTo>
                    <a:lnTo>
                      <a:pt x="126345" y="2910"/>
                    </a:lnTo>
                    <a:lnTo>
                      <a:pt x="118498" y="264"/>
                    </a:lnTo>
                    <a:lnTo>
                      <a:pt x="113473" y="264"/>
                    </a:lnTo>
                    <a:lnTo>
                      <a:pt x="110916" y="882"/>
                    </a:lnTo>
                    <a:lnTo>
                      <a:pt x="108800" y="0"/>
                    </a:lnTo>
                    <a:lnTo>
                      <a:pt x="110563" y="3791"/>
                    </a:lnTo>
                    <a:lnTo>
                      <a:pt x="110299" y="6084"/>
                    </a:lnTo>
                    <a:lnTo>
                      <a:pt x="102981" y="6436"/>
                    </a:lnTo>
                    <a:lnTo>
                      <a:pt x="100071" y="7582"/>
                    </a:lnTo>
                    <a:lnTo>
                      <a:pt x="96897" y="7582"/>
                    </a:lnTo>
                    <a:lnTo>
                      <a:pt x="91078" y="8200"/>
                    </a:lnTo>
                    <a:lnTo>
                      <a:pt x="89579" y="10757"/>
                    </a:lnTo>
                    <a:lnTo>
                      <a:pt x="83760" y="11374"/>
                    </a:lnTo>
                    <a:lnTo>
                      <a:pt x="82614" y="10227"/>
                    </a:lnTo>
                    <a:lnTo>
                      <a:pt x="79969" y="8993"/>
                    </a:lnTo>
                    <a:lnTo>
                      <a:pt x="79087" y="7847"/>
                    </a:lnTo>
                    <a:lnTo>
                      <a:pt x="78470" y="7582"/>
                    </a:lnTo>
                    <a:lnTo>
                      <a:pt x="72651" y="8200"/>
                    </a:lnTo>
                    <a:lnTo>
                      <a:pt x="65068" y="7318"/>
                    </a:lnTo>
                    <a:lnTo>
                      <a:pt x="63658" y="6436"/>
                    </a:lnTo>
                    <a:lnTo>
                      <a:pt x="61013" y="5819"/>
                    </a:lnTo>
                    <a:lnTo>
                      <a:pt x="58367" y="5202"/>
                    </a:lnTo>
                    <a:lnTo>
                      <a:pt x="56075" y="6084"/>
                    </a:lnTo>
                    <a:lnTo>
                      <a:pt x="53695" y="5202"/>
                    </a:lnTo>
                    <a:lnTo>
                      <a:pt x="51667" y="5819"/>
                    </a:lnTo>
                    <a:lnTo>
                      <a:pt x="48757" y="3174"/>
                    </a:lnTo>
                    <a:lnTo>
                      <a:pt x="44966" y="6084"/>
                    </a:lnTo>
                    <a:lnTo>
                      <a:pt x="44701" y="7847"/>
                    </a:lnTo>
                    <a:lnTo>
                      <a:pt x="42673" y="8993"/>
                    </a:lnTo>
                    <a:lnTo>
                      <a:pt x="42673" y="9610"/>
                    </a:lnTo>
                    <a:lnTo>
                      <a:pt x="40646" y="10757"/>
                    </a:lnTo>
                    <a:lnTo>
                      <a:pt x="36237" y="11109"/>
                    </a:lnTo>
                    <a:lnTo>
                      <a:pt x="35620" y="11903"/>
                    </a:lnTo>
                    <a:lnTo>
                      <a:pt x="34738" y="11638"/>
                    </a:lnTo>
                    <a:lnTo>
                      <a:pt x="33857" y="11903"/>
                    </a:lnTo>
                    <a:lnTo>
                      <a:pt x="33592" y="14900"/>
                    </a:lnTo>
                    <a:lnTo>
                      <a:pt x="30947" y="15429"/>
                    </a:lnTo>
                    <a:lnTo>
                      <a:pt x="29184" y="16928"/>
                    </a:lnTo>
                    <a:lnTo>
                      <a:pt x="29448" y="20102"/>
                    </a:lnTo>
                    <a:lnTo>
                      <a:pt x="28655" y="20719"/>
                    </a:lnTo>
                    <a:lnTo>
                      <a:pt x="28038" y="22130"/>
                    </a:lnTo>
                    <a:lnTo>
                      <a:pt x="28302" y="24246"/>
                    </a:lnTo>
                    <a:lnTo>
                      <a:pt x="26627" y="25040"/>
                    </a:lnTo>
                    <a:lnTo>
                      <a:pt x="26627" y="26539"/>
                    </a:lnTo>
                    <a:lnTo>
                      <a:pt x="24864" y="27949"/>
                    </a:lnTo>
                    <a:lnTo>
                      <a:pt x="25393" y="28831"/>
                    </a:lnTo>
                    <a:lnTo>
                      <a:pt x="24864" y="29448"/>
                    </a:lnTo>
                    <a:lnTo>
                      <a:pt x="24511" y="30065"/>
                    </a:lnTo>
                    <a:lnTo>
                      <a:pt x="22836" y="31741"/>
                    </a:lnTo>
                    <a:lnTo>
                      <a:pt x="23100" y="32975"/>
                    </a:lnTo>
                    <a:lnTo>
                      <a:pt x="21337" y="33239"/>
                    </a:lnTo>
                    <a:lnTo>
                      <a:pt x="21337" y="34121"/>
                    </a:lnTo>
                    <a:lnTo>
                      <a:pt x="21337" y="35267"/>
                    </a:lnTo>
                    <a:lnTo>
                      <a:pt x="21601" y="36413"/>
                    </a:lnTo>
                    <a:lnTo>
                      <a:pt x="21072" y="37031"/>
                    </a:lnTo>
                    <a:lnTo>
                      <a:pt x="21337" y="37912"/>
                    </a:lnTo>
                    <a:lnTo>
                      <a:pt x="20455" y="38794"/>
                    </a:lnTo>
                    <a:lnTo>
                      <a:pt x="18692" y="39059"/>
                    </a:lnTo>
                    <a:lnTo>
                      <a:pt x="18427" y="40205"/>
                    </a:lnTo>
                    <a:lnTo>
                      <a:pt x="17017" y="42233"/>
                    </a:lnTo>
                    <a:lnTo>
                      <a:pt x="18427" y="43467"/>
                    </a:lnTo>
                    <a:lnTo>
                      <a:pt x="18956" y="43996"/>
                    </a:lnTo>
                    <a:lnTo>
                      <a:pt x="16664" y="44613"/>
                    </a:lnTo>
                    <a:lnTo>
                      <a:pt x="15782" y="47258"/>
                    </a:lnTo>
                    <a:lnTo>
                      <a:pt x="14636" y="47787"/>
                    </a:lnTo>
                    <a:lnTo>
                      <a:pt x="12873" y="47523"/>
                    </a:lnTo>
                    <a:lnTo>
                      <a:pt x="11727" y="47787"/>
                    </a:lnTo>
                    <a:lnTo>
                      <a:pt x="10580" y="48140"/>
                    </a:lnTo>
                    <a:lnTo>
                      <a:pt x="8817" y="47523"/>
                    </a:lnTo>
                    <a:lnTo>
                      <a:pt x="7935" y="47787"/>
                    </a:lnTo>
                    <a:lnTo>
                      <a:pt x="8200" y="48669"/>
                    </a:lnTo>
                    <a:lnTo>
                      <a:pt x="7054" y="49286"/>
                    </a:lnTo>
                    <a:lnTo>
                      <a:pt x="6789" y="50168"/>
                    </a:lnTo>
                    <a:lnTo>
                      <a:pt x="5555" y="50697"/>
                    </a:lnTo>
                    <a:lnTo>
                      <a:pt x="4408" y="50168"/>
                    </a:lnTo>
                    <a:lnTo>
                      <a:pt x="3262" y="50168"/>
                    </a:lnTo>
                    <a:lnTo>
                      <a:pt x="1763" y="49903"/>
                    </a:lnTo>
                    <a:lnTo>
                      <a:pt x="0" y="50168"/>
                    </a:lnTo>
                    <a:lnTo>
                      <a:pt x="0" y="51314"/>
                    </a:lnTo>
                    <a:lnTo>
                      <a:pt x="353" y="52196"/>
                    </a:lnTo>
                    <a:lnTo>
                      <a:pt x="2116" y="53959"/>
                    </a:lnTo>
                    <a:lnTo>
                      <a:pt x="3262" y="55105"/>
                    </a:lnTo>
                    <a:lnTo>
                      <a:pt x="4761" y="55987"/>
                    </a:lnTo>
                    <a:lnTo>
                      <a:pt x="6172" y="56604"/>
                    </a:lnTo>
                    <a:lnTo>
                      <a:pt x="7318" y="57750"/>
                    </a:lnTo>
                    <a:lnTo>
                      <a:pt x="7935" y="58896"/>
                    </a:lnTo>
                    <a:lnTo>
                      <a:pt x="9081" y="60395"/>
                    </a:lnTo>
                    <a:lnTo>
                      <a:pt x="10228" y="60924"/>
                    </a:lnTo>
                    <a:lnTo>
                      <a:pt x="10228" y="63040"/>
                    </a:lnTo>
                    <a:lnTo>
                      <a:pt x="10845" y="64187"/>
                    </a:lnTo>
                    <a:lnTo>
                      <a:pt x="10580" y="65597"/>
                    </a:lnTo>
                    <a:lnTo>
                      <a:pt x="10580" y="66479"/>
                    </a:lnTo>
                    <a:lnTo>
                      <a:pt x="11109" y="67096"/>
                    </a:lnTo>
                    <a:lnTo>
                      <a:pt x="12344" y="67361"/>
                    </a:lnTo>
                    <a:lnTo>
                      <a:pt x="12873" y="68242"/>
                    </a:lnTo>
                    <a:lnTo>
                      <a:pt x="14900" y="70006"/>
                    </a:lnTo>
                    <a:lnTo>
                      <a:pt x="17281" y="70887"/>
                    </a:lnTo>
                    <a:lnTo>
                      <a:pt x="18956" y="71152"/>
                    </a:lnTo>
                    <a:lnTo>
                      <a:pt x="19573" y="71416"/>
                    </a:lnTo>
                    <a:lnTo>
                      <a:pt x="20808" y="72298"/>
                    </a:lnTo>
                    <a:lnTo>
                      <a:pt x="23629" y="73180"/>
                    </a:lnTo>
                    <a:lnTo>
                      <a:pt x="25393" y="74061"/>
                    </a:lnTo>
                    <a:lnTo>
                      <a:pt x="25745" y="74679"/>
                    </a:lnTo>
                    <a:lnTo>
                      <a:pt x="25745" y="75208"/>
                    </a:lnTo>
                    <a:lnTo>
                      <a:pt x="25745" y="75825"/>
                    </a:lnTo>
                    <a:lnTo>
                      <a:pt x="25128" y="76971"/>
                    </a:lnTo>
                    <a:lnTo>
                      <a:pt x="24864" y="77588"/>
                    </a:lnTo>
                    <a:lnTo>
                      <a:pt x="25128" y="78117"/>
                    </a:lnTo>
                    <a:lnTo>
                      <a:pt x="25393" y="78117"/>
                    </a:lnTo>
                    <a:lnTo>
                      <a:pt x="25393" y="78734"/>
                    </a:lnTo>
                    <a:lnTo>
                      <a:pt x="25745" y="78999"/>
                    </a:lnTo>
                    <a:lnTo>
                      <a:pt x="26010" y="79352"/>
                    </a:lnTo>
                    <a:lnTo>
                      <a:pt x="26274" y="79881"/>
                    </a:lnTo>
                    <a:lnTo>
                      <a:pt x="26274" y="80498"/>
                    </a:lnTo>
                    <a:lnTo>
                      <a:pt x="25128" y="80762"/>
                    </a:lnTo>
                    <a:lnTo>
                      <a:pt x="24864" y="81379"/>
                    </a:lnTo>
                    <a:lnTo>
                      <a:pt x="25393" y="82526"/>
                    </a:lnTo>
                    <a:lnTo>
                      <a:pt x="25745" y="83672"/>
                    </a:lnTo>
                    <a:lnTo>
                      <a:pt x="26627" y="83672"/>
                    </a:lnTo>
                    <a:lnTo>
                      <a:pt x="27773" y="84553"/>
                    </a:lnTo>
                    <a:lnTo>
                      <a:pt x="28655" y="86317"/>
                    </a:lnTo>
                    <a:lnTo>
                      <a:pt x="30065" y="87463"/>
                    </a:lnTo>
                    <a:lnTo>
                      <a:pt x="30947" y="86934"/>
                    </a:lnTo>
                    <a:lnTo>
                      <a:pt x="31829" y="87199"/>
                    </a:lnTo>
                    <a:lnTo>
                      <a:pt x="32975" y="86934"/>
                    </a:lnTo>
                    <a:lnTo>
                      <a:pt x="34474" y="87463"/>
                    </a:lnTo>
                    <a:lnTo>
                      <a:pt x="36766" y="87463"/>
                    </a:lnTo>
                    <a:lnTo>
                      <a:pt x="39147" y="90725"/>
                    </a:lnTo>
                    <a:lnTo>
                      <a:pt x="40646" y="89844"/>
                    </a:lnTo>
                    <a:lnTo>
                      <a:pt x="42056" y="90725"/>
                    </a:lnTo>
                    <a:lnTo>
                      <a:pt x="43203" y="86934"/>
                    </a:lnTo>
                    <a:lnTo>
                      <a:pt x="44349" y="86317"/>
                    </a:lnTo>
                    <a:lnTo>
                      <a:pt x="45583" y="85700"/>
                    </a:lnTo>
                    <a:lnTo>
                      <a:pt x="46994" y="85700"/>
                    </a:lnTo>
                    <a:lnTo>
                      <a:pt x="48493" y="87463"/>
                    </a:lnTo>
                    <a:lnTo>
                      <a:pt x="51667" y="88345"/>
                    </a:lnTo>
                    <a:lnTo>
                      <a:pt x="52284" y="88962"/>
                    </a:lnTo>
                    <a:lnTo>
                      <a:pt x="51667" y="89491"/>
                    </a:lnTo>
                    <a:lnTo>
                      <a:pt x="51050" y="90108"/>
                    </a:lnTo>
                    <a:lnTo>
                      <a:pt x="48757" y="89491"/>
                    </a:lnTo>
                    <a:lnTo>
                      <a:pt x="47611" y="90990"/>
                    </a:lnTo>
                    <a:lnTo>
                      <a:pt x="46112" y="90725"/>
                    </a:lnTo>
                    <a:lnTo>
                      <a:pt x="47876" y="95046"/>
                    </a:lnTo>
                    <a:lnTo>
                      <a:pt x="51050" y="95663"/>
                    </a:lnTo>
                    <a:lnTo>
                      <a:pt x="52020" y="9742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9" name="Freihandform: Form 1578">
                <a:extLst>
                  <a:ext uri="{FF2B5EF4-FFF2-40B4-BE49-F238E27FC236}">
                    <a16:creationId xmlns:a16="http://schemas.microsoft.com/office/drawing/2014/main" id="{31B7CCE8-DB9C-C980-B787-2F1C8A8955F6}"/>
                  </a:ext>
                </a:extLst>
              </p:cNvPr>
              <p:cNvSpPr/>
              <p:nvPr/>
            </p:nvSpPr>
            <p:spPr>
              <a:xfrm>
                <a:off x="4480529" y="3092990"/>
                <a:ext cx="50696" cy="39234"/>
              </a:xfrm>
              <a:custGeom>
                <a:avLst/>
                <a:gdLst>
                  <a:gd name="connsiteX0" fmla="*/ 1675 w 50696"/>
                  <a:gd name="connsiteY0" fmla="*/ 12520 h 39234"/>
                  <a:gd name="connsiteX1" fmla="*/ 2821 w 50696"/>
                  <a:gd name="connsiteY1" fmla="*/ 12520 h 39234"/>
                  <a:gd name="connsiteX2" fmla="*/ 3968 w 50696"/>
                  <a:gd name="connsiteY2" fmla="*/ 12520 h 39234"/>
                  <a:gd name="connsiteX3" fmla="*/ 4585 w 50696"/>
                  <a:gd name="connsiteY3" fmla="*/ 11021 h 39234"/>
                  <a:gd name="connsiteX4" fmla="*/ 4849 w 50696"/>
                  <a:gd name="connsiteY4" fmla="*/ 10492 h 39234"/>
                  <a:gd name="connsiteX5" fmla="*/ 4849 w 50696"/>
                  <a:gd name="connsiteY5" fmla="*/ 9610 h 39234"/>
                  <a:gd name="connsiteX6" fmla="*/ 5467 w 50696"/>
                  <a:gd name="connsiteY6" fmla="*/ 8729 h 39234"/>
                  <a:gd name="connsiteX7" fmla="*/ 6348 w 50696"/>
                  <a:gd name="connsiteY7" fmla="*/ 8376 h 39234"/>
                  <a:gd name="connsiteX8" fmla="*/ 6260 w 50696"/>
                  <a:gd name="connsiteY8" fmla="*/ 7847 h 39234"/>
                  <a:gd name="connsiteX9" fmla="*/ 6877 w 50696"/>
                  <a:gd name="connsiteY9" fmla="*/ 7230 h 39234"/>
                  <a:gd name="connsiteX10" fmla="*/ 8288 w 50696"/>
                  <a:gd name="connsiteY10" fmla="*/ 7230 h 39234"/>
                  <a:gd name="connsiteX11" fmla="*/ 10404 w 50696"/>
                  <a:gd name="connsiteY11" fmla="*/ 6877 h 39234"/>
                  <a:gd name="connsiteX12" fmla="*/ 10933 w 50696"/>
                  <a:gd name="connsiteY12" fmla="*/ 7142 h 39234"/>
                  <a:gd name="connsiteX13" fmla="*/ 11550 w 50696"/>
                  <a:gd name="connsiteY13" fmla="*/ 7494 h 39234"/>
                  <a:gd name="connsiteX14" fmla="*/ 11815 w 50696"/>
                  <a:gd name="connsiteY14" fmla="*/ 8376 h 39234"/>
                  <a:gd name="connsiteX15" fmla="*/ 12432 w 50696"/>
                  <a:gd name="connsiteY15" fmla="*/ 8640 h 39234"/>
                  <a:gd name="connsiteX16" fmla="*/ 12432 w 50696"/>
                  <a:gd name="connsiteY16" fmla="*/ 9522 h 39234"/>
                  <a:gd name="connsiteX17" fmla="*/ 13049 w 50696"/>
                  <a:gd name="connsiteY17" fmla="*/ 10404 h 39234"/>
                  <a:gd name="connsiteX18" fmla="*/ 13314 w 50696"/>
                  <a:gd name="connsiteY18" fmla="*/ 9787 h 39234"/>
                  <a:gd name="connsiteX19" fmla="*/ 13578 w 50696"/>
                  <a:gd name="connsiteY19" fmla="*/ 8905 h 39234"/>
                  <a:gd name="connsiteX20" fmla="*/ 13578 w 50696"/>
                  <a:gd name="connsiteY20" fmla="*/ 8023 h 39234"/>
                  <a:gd name="connsiteX21" fmla="*/ 13578 w 50696"/>
                  <a:gd name="connsiteY21" fmla="*/ 7759 h 39234"/>
                  <a:gd name="connsiteX22" fmla="*/ 14460 w 50696"/>
                  <a:gd name="connsiteY22" fmla="*/ 7759 h 39234"/>
                  <a:gd name="connsiteX23" fmla="*/ 14724 w 50696"/>
                  <a:gd name="connsiteY23" fmla="*/ 7406 h 39234"/>
                  <a:gd name="connsiteX24" fmla="*/ 14724 w 50696"/>
                  <a:gd name="connsiteY24" fmla="*/ 6260 h 39234"/>
                  <a:gd name="connsiteX25" fmla="*/ 15341 w 50696"/>
                  <a:gd name="connsiteY25" fmla="*/ 6260 h 39234"/>
                  <a:gd name="connsiteX26" fmla="*/ 15606 w 50696"/>
                  <a:gd name="connsiteY26" fmla="*/ 5643 h 39234"/>
                  <a:gd name="connsiteX27" fmla="*/ 15870 w 50696"/>
                  <a:gd name="connsiteY27" fmla="*/ 5114 h 39234"/>
                  <a:gd name="connsiteX28" fmla="*/ 16488 w 50696"/>
                  <a:gd name="connsiteY28" fmla="*/ 5114 h 39234"/>
                  <a:gd name="connsiteX29" fmla="*/ 17017 w 50696"/>
                  <a:gd name="connsiteY29" fmla="*/ 4761 h 39234"/>
                  <a:gd name="connsiteX30" fmla="*/ 17634 w 50696"/>
                  <a:gd name="connsiteY30" fmla="*/ 5378 h 39234"/>
                  <a:gd name="connsiteX31" fmla="*/ 18251 w 50696"/>
                  <a:gd name="connsiteY31" fmla="*/ 5643 h 39234"/>
                  <a:gd name="connsiteX32" fmla="*/ 18515 w 50696"/>
                  <a:gd name="connsiteY32" fmla="*/ 5378 h 39234"/>
                  <a:gd name="connsiteX33" fmla="*/ 18515 w 50696"/>
                  <a:gd name="connsiteY33" fmla="*/ 4761 h 39234"/>
                  <a:gd name="connsiteX34" fmla="*/ 17281 w 50696"/>
                  <a:gd name="connsiteY34" fmla="*/ 3615 h 39234"/>
                  <a:gd name="connsiteX35" fmla="*/ 18251 w 50696"/>
                  <a:gd name="connsiteY35" fmla="*/ 2998 h 39234"/>
                  <a:gd name="connsiteX36" fmla="*/ 18780 w 50696"/>
                  <a:gd name="connsiteY36" fmla="*/ 3262 h 39234"/>
                  <a:gd name="connsiteX37" fmla="*/ 18780 w 50696"/>
                  <a:gd name="connsiteY37" fmla="*/ 3615 h 39234"/>
                  <a:gd name="connsiteX38" fmla="*/ 19397 w 50696"/>
                  <a:gd name="connsiteY38" fmla="*/ 3879 h 39234"/>
                  <a:gd name="connsiteX39" fmla="*/ 20543 w 50696"/>
                  <a:gd name="connsiteY39" fmla="*/ 3879 h 39234"/>
                  <a:gd name="connsiteX40" fmla="*/ 21690 w 50696"/>
                  <a:gd name="connsiteY40" fmla="*/ 4144 h 39234"/>
                  <a:gd name="connsiteX41" fmla="*/ 23188 w 50696"/>
                  <a:gd name="connsiteY41" fmla="*/ 3527 h 39234"/>
                  <a:gd name="connsiteX42" fmla="*/ 23717 w 50696"/>
                  <a:gd name="connsiteY42" fmla="*/ 2381 h 39234"/>
                  <a:gd name="connsiteX43" fmla="*/ 27509 w 50696"/>
                  <a:gd name="connsiteY43" fmla="*/ 617 h 39234"/>
                  <a:gd name="connsiteX44" fmla="*/ 28655 w 50696"/>
                  <a:gd name="connsiteY44" fmla="*/ 0 h 39234"/>
                  <a:gd name="connsiteX45" fmla="*/ 36237 w 50696"/>
                  <a:gd name="connsiteY45" fmla="*/ 529 h 39234"/>
                  <a:gd name="connsiteX46" fmla="*/ 37736 w 50696"/>
                  <a:gd name="connsiteY46" fmla="*/ 441 h 39234"/>
                  <a:gd name="connsiteX47" fmla="*/ 37736 w 50696"/>
                  <a:gd name="connsiteY47" fmla="*/ 3086 h 39234"/>
                  <a:gd name="connsiteX48" fmla="*/ 37119 w 50696"/>
                  <a:gd name="connsiteY48" fmla="*/ 3968 h 39234"/>
                  <a:gd name="connsiteX49" fmla="*/ 38089 w 50696"/>
                  <a:gd name="connsiteY49" fmla="*/ 5466 h 39234"/>
                  <a:gd name="connsiteX50" fmla="*/ 39235 w 50696"/>
                  <a:gd name="connsiteY50" fmla="*/ 5996 h 39234"/>
                  <a:gd name="connsiteX51" fmla="*/ 39852 w 50696"/>
                  <a:gd name="connsiteY51" fmla="*/ 7494 h 39234"/>
                  <a:gd name="connsiteX52" fmla="*/ 42144 w 50696"/>
                  <a:gd name="connsiteY52" fmla="*/ 8905 h 39234"/>
                  <a:gd name="connsiteX53" fmla="*/ 43643 w 50696"/>
                  <a:gd name="connsiteY53" fmla="*/ 9170 h 39234"/>
                  <a:gd name="connsiteX54" fmla="*/ 44790 w 50696"/>
                  <a:gd name="connsiteY54" fmla="*/ 9434 h 39234"/>
                  <a:gd name="connsiteX55" fmla="*/ 45936 w 50696"/>
                  <a:gd name="connsiteY55" fmla="*/ 8817 h 39234"/>
                  <a:gd name="connsiteX56" fmla="*/ 46553 w 50696"/>
                  <a:gd name="connsiteY56" fmla="*/ 9081 h 39234"/>
                  <a:gd name="connsiteX57" fmla="*/ 47170 w 50696"/>
                  <a:gd name="connsiteY57" fmla="*/ 12873 h 39234"/>
                  <a:gd name="connsiteX58" fmla="*/ 48669 w 50696"/>
                  <a:gd name="connsiteY58" fmla="*/ 13754 h 39234"/>
                  <a:gd name="connsiteX59" fmla="*/ 49286 w 50696"/>
                  <a:gd name="connsiteY59" fmla="*/ 15518 h 39234"/>
                  <a:gd name="connsiteX60" fmla="*/ 50168 w 50696"/>
                  <a:gd name="connsiteY60" fmla="*/ 15782 h 39234"/>
                  <a:gd name="connsiteX61" fmla="*/ 50697 w 50696"/>
                  <a:gd name="connsiteY61" fmla="*/ 16664 h 39234"/>
                  <a:gd name="connsiteX62" fmla="*/ 49551 w 50696"/>
                  <a:gd name="connsiteY62" fmla="*/ 18692 h 39234"/>
                  <a:gd name="connsiteX63" fmla="*/ 49286 w 50696"/>
                  <a:gd name="connsiteY63" fmla="*/ 19573 h 39234"/>
                  <a:gd name="connsiteX64" fmla="*/ 50168 w 50696"/>
                  <a:gd name="connsiteY64" fmla="*/ 21954 h 39234"/>
                  <a:gd name="connsiteX65" fmla="*/ 50521 w 50696"/>
                  <a:gd name="connsiteY65" fmla="*/ 23982 h 39234"/>
                  <a:gd name="connsiteX66" fmla="*/ 50256 w 50696"/>
                  <a:gd name="connsiteY66" fmla="*/ 24864 h 39234"/>
                  <a:gd name="connsiteX67" fmla="*/ 50256 w 50696"/>
                  <a:gd name="connsiteY67" fmla="*/ 25745 h 39234"/>
                  <a:gd name="connsiteX68" fmla="*/ 50521 w 50696"/>
                  <a:gd name="connsiteY68" fmla="*/ 26627 h 39234"/>
                  <a:gd name="connsiteX69" fmla="*/ 47611 w 50696"/>
                  <a:gd name="connsiteY69" fmla="*/ 27508 h 39234"/>
                  <a:gd name="connsiteX70" fmla="*/ 46465 w 50696"/>
                  <a:gd name="connsiteY70" fmla="*/ 28126 h 39234"/>
                  <a:gd name="connsiteX71" fmla="*/ 46817 w 50696"/>
                  <a:gd name="connsiteY71" fmla="*/ 31300 h 39234"/>
                  <a:gd name="connsiteX72" fmla="*/ 46200 w 50696"/>
                  <a:gd name="connsiteY72" fmla="*/ 31917 h 39234"/>
                  <a:gd name="connsiteX73" fmla="*/ 44790 w 50696"/>
                  <a:gd name="connsiteY73" fmla="*/ 30771 h 39234"/>
                  <a:gd name="connsiteX74" fmla="*/ 44172 w 50696"/>
                  <a:gd name="connsiteY74" fmla="*/ 31300 h 39234"/>
                  <a:gd name="connsiteX75" fmla="*/ 43908 w 50696"/>
                  <a:gd name="connsiteY75" fmla="*/ 31917 h 39234"/>
                  <a:gd name="connsiteX76" fmla="*/ 43643 w 50696"/>
                  <a:gd name="connsiteY76" fmla="*/ 32446 h 39234"/>
                  <a:gd name="connsiteX77" fmla="*/ 42409 w 50696"/>
                  <a:gd name="connsiteY77" fmla="*/ 31917 h 39234"/>
                  <a:gd name="connsiteX78" fmla="*/ 39852 w 50696"/>
                  <a:gd name="connsiteY78" fmla="*/ 32534 h 39234"/>
                  <a:gd name="connsiteX79" fmla="*/ 39500 w 50696"/>
                  <a:gd name="connsiteY79" fmla="*/ 32005 h 39234"/>
                  <a:gd name="connsiteX80" fmla="*/ 38618 w 50696"/>
                  <a:gd name="connsiteY80" fmla="*/ 32005 h 39234"/>
                  <a:gd name="connsiteX81" fmla="*/ 37472 w 50696"/>
                  <a:gd name="connsiteY81" fmla="*/ 31388 h 39234"/>
                  <a:gd name="connsiteX82" fmla="*/ 35179 w 50696"/>
                  <a:gd name="connsiteY82" fmla="*/ 32005 h 39234"/>
                  <a:gd name="connsiteX83" fmla="*/ 33945 w 50696"/>
                  <a:gd name="connsiteY83" fmla="*/ 32622 h 39234"/>
                  <a:gd name="connsiteX84" fmla="*/ 31917 w 50696"/>
                  <a:gd name="connsiteY84" fmla="*/ 32005 h 39234"/>
                  <a:gd name="connsiteX85" fmla="*/ 30506 w 50696"/>
                  <a:gd name="connsiteY85" fmla="*/ 33240 h 39234"/>
                  <a:gd name="connsiteX86" fmla="*/ 29889 w 50696"/>
                  <a:gd name="connsiteY86" fmla="*/ 33857 h 39234"/>
                  <a:gd name="connsiteX87" fmla="*/ 28478 w 50696"/>
                  <a:gd name="connsiteY87" fmla="*/ 35885 h 39234"/>
                  <a:gd name="connsiteX88" fmla="*/ 27332 w 50696"/>
                  <a:gd name="connsiteY88" fmla="*/ 36766 h 39234"/>
                  <a:gd name="connsiteX89" fmla="*/ 25834 w 50696"/>
                  <a:gd name="connsiteY89" fmla="*/ 37031 h 39234"/>
                  <a:gd name="connsiteX90" fmla="*/ 25569 w 50696"/>
                  <a:gd name="connsiteY90" fmla="*/ 37648 h 39234"/>
                  <a:gd name="connsiteX91" fmla="*/ 24158 w 50696"/>
                  <a:gd name="connsiteY91" fmla="*/ 38794 h 39234"/>
                  <a:gd name="connsiteX92" fmla="*/ 22395 w 50696"/>
                  <a:gd name="connsiteY92" fmla="*/ 38530 h 39234"/>
                  <a:gd name="connsiteX93" fmla="*/ 22042 w 50696"/>
                  <a:gd name="connsiteY93" fmla="*/ 37383 h 39234"/>
                  <a:gd name="connsiteX94" fmla="*/ 20632 w 50696"/>
                  <a:gd name="connsiteY94" fmla="*/ 37383 h 39234"/>
                  <a:gd name="connsiteX95" fmla="*/ 20014 w 50696"/>
                  <a:gd name="connsiteY95" fmla="*/ 38618 h 39234"/>
                  <a:gd name="connsiteX96" fmla="*/ 11286 w 50696"/>
                  <a:gd name="connsiteY96" fmla="*/ 39235 h 39234"/>
                  <a:gd name="connsiteX97" fmla="*/ 11021 w 50696"/>
                  <a:gd name="connsiteY97" fmla="*/ 37824 h 39234"/>
                  <a:gd name="connsiteX98" fmla="*/ 10404 w 50696"/>
                  <a:gd name="connsiteY98" fmla="*/ 36943 h 39234"/>
                  <a:gd name="connsiteX99" fmla="*/ 9258 w 50696"/>
                  <a:gd name="connsiteY99" fmla="*/ 37560 h 39234"/>
                  <a:gd name="connsiteX100" fmla="*/ 8376 w 50696"/>
                  <a:gd name="connsiteY100" fmla="*/ 36943 h 39234"/>
                  <a:gd name="connsiteX101" fmla="*/ 8376 w 50696"/>
                  <a:gd name="connsiteY101" fmla="*/ 37824 h 39234"/>
                  <a:gd name="connsiteX102" fmla="*/ 6877 w 50696"/>
                  <a:gd name="connsiteY102" fmla="*/ 37560 h 39234"/>
                  <a:gd name="connsiteX103" fmla="*/ 5114 w 50696"/>
                  <a:gd name="connsiteY103" fmla="*/ 34121 h 39234"/>
                  <a:gd name="connsiteX104" fmla="*/ 4232 w 50696"/>
                  <a:gd name="connsiteY104" fmla="*/ 33504 h 39234"/>
                  <a:gd name="connsiteX105" fmla="*/ 3615 w 50696"/>
                  <a:gd name="connsiteY105" fmla="*/ 32887 h 39234"/>
                  <a:gd name="connsiteX106" fmla="*/ 3615 w 50696"/>
                  <a:gd name="connsiteY106" fmla="*/ 32358 h 39234"/>
                  <a:gd name="connsiteX107" fmla="*/ 2116 w 50696"/>
                  <a:gd name="connsiteY107" fmla="*/ 30065 h 39234"/>
                  <a:gd name="connsiteX108" fmla="*/ 2116 w 50696"/>
                  <a:gd name="connsiteY108" fmla="*/ 28038 h 39234"/>
                  <a:gd name="connsiteX109" fmla="*/ 2116 w 50696"/>
                  <a:gd name="connsiteY109" fmla="*/ 27156 h 39234"/>
                  <a:gd name="connsiteX110" fmla="*/ 1852 w 50696"/>
                  <a:gd name="connsiteY110" fmla="*/ 26803 h 39234"/>
                  <a:gd name="connsiteX111" fmla="*/ 1852 w 50696"/>
                  <a:gd name="connsiteY111" fmla="*/ 25922 h 39234"/>
                  <a:gd name="connsiteX112" fmla="*/ 1852 w 50696"/>
                  <a:gd name="connsiteY112" fmla="*/ 25393 h 39234"/>
                  <a:gd name="connsiteX113" fmla="*/ 1763 w 50696"/>
                  <a:gd name="connsiteY113" fmla="*/ 24775 h 39234"/>
                  <a:gd name="connsiteX114" fmla="*/ 0 w 50696"/>
                  <a:gd name="connsiteY114" fmla="*/ 23012 h 39234"/>
                  <a:gd name="connsiteX115" fmla="*/ 1499 w 50696"/>
                  <a:gd name="connsiteY115" fmla="*/ 20984 h 39234"/>
                  <a:gd name="connsiteX116" fmla="*/ 1146 w 50696"/>
                  <a:gd name="connsiteY116" fmla="*/ 19221 h 39234"/>
                  <a:gd name="connsiteX117" fmla="*/ 1146 w 50696"/>
                  <a:gd name="connsiteY117" fmla="*/ 18339 h 39234"/>
                  <a:gd name="connsiteX118" fmla="*/ 882 w 50696"/>
                  <a:gd name="connsiteY118" fmla="*/ 17193 h 39234"/>
                  <a:gd name="connsiteX119" fmla="*/ 794 w 50696"/>
                  <a:gd name="connsiteY119" fmla="*/ 16047 h 39234"/>
                  <a:gd name="connsiteX120" fmla="*/ 794 w 50696"/>
                  <a:gd name="connsiteY120" fmla="*/ 14283 h 39234"/>
                  <a:gd name="connsiteX121" fmla="*/ 1675 w 50696"/>
                  <a:gd name="connsiteY121" fmla="*/ 13402 h 39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50696" h="39234">
                    <a:moveTo>
                      <a:pt x="1675" y="12520"/>
                    </a:moveTo>
                    <a:lnTo>
                      <a:pt x="2821" y="12520"/>
                    </a:lnTo>
                    <a:lnTo>
                      <a:pt x="3968" y="12520"/>
                    </a:lnTo>
                    <a:lnTo>
                      <a:pt x="4585" y="11021"/>
                    </a:lnTo>
                    <a:lnTo>
                      <a:pt x="4849" y="10492"/>
                    </a:lnTo>
                    <a:lnTo>
                      <a:pt x="4849" y="9610"/>
                    </a:lnTo>
                    <a:lnTo>
                      <a:pt x="5467" y="8729"/>
                    </a:lnTo>
                    <a:lnTo>
                      <a:pt x="6348" y="8376"/>
                    </a:lnTo>
                    <a:lnTo>
                      <a:pt x="6260" y="7847"/>
                    </a:lnTo>
                    <a:lnTo>
                      <a:pt x="6877" y="7230"/>
                    </a:lnTo>
                    <a:lnTo>
                      <a:pt x="8288" y="7230"/>
                    </a:lnTo>
                    <a:lnTo>
                      <a:pt x="10404" y="6877"/>
                    </a:lnTo>
                    <a:lnTo>
                      <a:pt x="10933" y="7142"/>
                    </a:lnTo>
                    <a:lnTo>
                      <a:pt x="11550" y="7494"/>
                    </a:lnTo>
                    <a:lnTo>
                      <a:pt x="11815" y="8376"/>
                    </a:lnTo>
                    <a:lnTo>
                      <a:pt x="12432" y="8640"/>
                    </a:lnTo>
                    <a:lnTo>
                      <a:pt x="12432" y="9522"/>
                    </a:lnTo>
                    <a:lnTo>
                      <a:pt x="13049" y="10404"/>
                    </a:lnTo>
                    <a:lnTo>
                      <a:pt x="13314" y="9787"/>
                    </a:lnTo>
                    <a:lnTo>
                      <a:pt x="13578" y="8905"/>
                    </a:lnTo>
                    <a:lnTo>
                      <a:pt x="13578" y="8023"/>
                    </a:lnTo>
                    <a:lnTo>
                      <a:pt x="13578" y="7759"/>
                    </a:lnTo>
                    <a:lnTo>
                      <a:pt x="14460" y="7759"/>
                    </a:lnTo>
                    <a:lnTo>
                      <a:pt x="14724" y="7406"/>
                    </a:lnTo>
                    <a:lnTo>
                      <a:pt x="14724" y="6260"/>
                    </a:lnTo>
                    <a:lnTo>
                      <a:pt x="15341" y="6260"/>
                    </a:lnTo>
                    <a:lnTo>
                      <a:pt x="15606" y="5643"/>
                    </a:lnTo>
                    <a:lnTo>
                      <a:pt x="15870" y="5114"/>
                    </a:lnTo>
                    <a:lnTo>
                      <a:pt x="16488" y="5114"/>
                    </a:lnTo>
                    <a:lnTo>
                      <a:pt x="17017" y="4761"/>
                    </a:lnTo>
                    <a:lnTo>
                      <a:pt x="17634" y="5378"/>
                    </a:lnTo>
                    <a:lnTo>
                      <a:pt x="18251" y="5643"/>
                    </a:lnTo>
                    <a:lnTo>
                      <a:pt x="18515" y="5378"/>
                    </a:lnTo>
                    <a:lnTo>
                      <a:pt x="18515" y="4761"/>
                    </a:lnTo>
                    <a:lnTo>
                      <a:pt x="17281" y="3615"/>
                    </a:lnTo>
                    <a:lnTo>
                      <a:pt x="18251" y="2998"/>
                    </a:lnTo>
                    <a:lnTo>
                      <a:pt x="18780" y="3262"/>
                    </a:lnTo>
                    <a:lnTo>
                      <a:pt x="18780" y="3615"/>
                    </a:lnTo>
                    <a:lnTo>
                      <a:pt x="19397" y="3879"/>
                    </a:lnTo>
                    <a:lnTo>
                      <a:pt x="20543" y="3879"/>
                    </a:lnTo>
                    <a:lnTo>
                      <a:pt x="21690" y="4144"/>
                    </a:lnTo>
                    <a:lnTo>
                      <a:pt x="23188" y="3527"/>
                    </a:lnTo>
                    <a:lnTo>
                      <a:pt x="23717" y="2381"/>
                    </a:lnTo>
                    <a:lnTo>
                      <a:pt x="27509" y="617"/>
                    </a:lnTo>
                    <a:lnTo>
                      <a:pt x="28655" y="0"/>
                    </a:lnTo>
                    <a:lnTo>
                      <a:pt x="36237" y="529"/>
                    </a:lnTo>
                    <a:lnTo>
                      <a:pt x="37736" y="441"/>
                    </a:lnTo>
                    <a:lnTo>
                      <a:pt x="37736" y="3086"/>
                    </a:lnTo>
                    <a:lnTo>
                      <a:pt x="37119" y="3968"/>
                    </a:lnTo>
                    <a:lnTo>
                      <a:pt x="38089" y="5466"/>
                    </a:lnTo>
                    <a:lnTo>
                      <a:pt x="39235" y="5996"/>
                    </a:lnTo>
                    <a:lnTo>
                      <a:pt x="39852" y="7494"/>
                    </a:lnTo>
                    <a:lnTo>
                      <a:pt x="42144" y="8905"/>
                    </a:lnTo>
                    <a:lnTo>
                      <a:pt x="43643" y="9170"/>
                    </a:lnTo>
                    <a:lnTo>
                      <a:pt x="44790" y="9434"/>
                    </a:lnTo>
                    <a:lnTo>
                      <a:pt x="45936" y="8817"/>
                    </a:lnTo>
                    <a:lnTo>
                      <a:pt x="46553" y="9081"/>
                    </a:lnTo>
                    <a:lnTo>
                      <a:pt x="47170" y="12873"/>
                    </a:lnTo>
                    <a:lnTo>
                      <a:pt x="48669" y="13754"/>
                    </a:lnTo>
                    <a:lnTo>
                      <a:pt x="49286" y="15518"/>
                    </a:lnTo>
                    <a:lnTo>
                      <a:pt x="50168" y="15782"/>
                    </a:lnTo>
                    <a:lnTo>
                      <a:pt x="50697" y="16664"/>
                    </a:lnTo>
                    <a:lnTo>
                      <a:pt x="49551" y="18692"/>
                    </a:lnTo>
                    <a:lnTo>
                      <a:pt x="49286" y="19573"/>
                    </a:lnTo>
                    <a:lnTo>
                      <a:pt x="50168" y="21954"/>
                    </a:lnTo>
                    <a:lnTo>
                      <a:pt x="50521" y="23982"/>
                    </a:lnTo>
                    <a:lnTo>
                      <a:pt x="50256" y="24864"/>
                    </a:lnTo>
                    <a:lnTo>
                      <a:pt x="50256" y="25745"/>
                    </a:lnTo>
                    <a:lnTo>
                      <a:pt x="50521" y="26627"/>
                    </a:lnTo>
                    <a:lnTo>
                      <a:pt x="47611" y="27508"/>
                    </a:lnTo>
                    <a:lnTo>
                      <a:pt x="46465" y="28126"/>
                    </a:lnTo>
                    <a:lnTo>
                      <a:pt x="46817" y="31300"/>
                    </a:lnTo>
                    <a:lnTo>
                      <a:pt x="46200" y="31917"/>
                    </a:lnTo>
                    <a:lnTo>
                      <a:pt x="44790" y="30771"/>
                    </a:lnTo>
                    <a:lnTo>
                      <a:pt x="44172" y="31300"/>
                    </a:lnTo>
                    <a:lnTo>
                      <a:pt x="43908" y="31917"/>
                    </a:lnTo>
                    <a:lnTo>
                      <a:pt x="43643" y="32446"/>
                    </a:lnTo>
                    <a:lnTo>
                      <a:pt x="42409" y="31917"/>
                    </a:lnTo>
                    <a:lnTo>
                      <a:pt x="39852" y="32534"/>
                    </a:lnTo>
                    <a:lnTo>
                      <a:pt x="39500" y="32005"/>
                    </a:lnTo>
                    <a:lnTo>
                      <a:pt x="38618" y="32005"/>
                    </a:lnTo>
                    <a:lnTo>
                      <a:pt x="37472" y="31388"/>
                    </a:lnTo>
                    <a:lnTo>
                      <a:pt x="35179" y="32005"/>
                    </a:lnTo>
                    <a:lnTo>
                      <a:pt x="33945" y="32622"/>
                    </a:lnTo>
                    <a:lnTo>
                      <a:pt x="31917" y="32005"/>
                    </a:lnTo>
                    <a:lnTo>
                      <a:pt x="30506" y="33240"/>
                    </a:lnTo>
                    <a:lnTo>
                      <a:pt x="29889" y="33857"/>
                    </a:lnTo>
                    <a:lnTo>
                      <a:pt x="28478" y="35885"/>
                    </a:lnTo>
                    <a:lnTo>
                      <a:pt x="27332" y="36766"/>
                    </a:lnTo>
                    <a:lnTo>
                      <a:pt x="25834" y="37031"/>
                    </a:lnTo>
                    <a:lnTo>
                      <a:pt x="25569" y="37648"/>
                    </a:lnTo>
                    <a:lnTo>
                      <a:pt x="24158" y="38794"/>
                    </a:lnTo>
                    <a:lnTo>
                      <a:pt x="22395" y="38530"/>
                    </a:lnTo>
                    <a:lnTo>
                      <a:pt x="22042" y="37383"/>
                    </a:lnTo>
                    <a:lnTo>
                      <a:pt x="20632" y="37383"/>
                    </a:lnTo>
                    <a:lnTo>
                      <a:pt x="20014" y="38618"/>
                    </a:lnTo>
                    <a:lnTo>
                      <a:pt x="11286" y="39235"/>
                    </a:lnTo>
                    <a:lnTo>
                      <a:pt x="11021" y="37824"/>
                    </a:lnTo>
                    <a:lnTo>
                      <a:pt x="10404" y="36943"/>
                    </a:lnTo>
                    <a:lnTo>
                      <a:pt x="9258" y="37560"/>
                    </a:lnTo>
                    <a:lnTo>
                      <a:pt x="8376" y="36943"/>
                    </a:lnTo>
                    <a:lnTo>
                      <a:pt x="8376" y="37824"/>
                    </a:lnTo>
                    <a:lnTo>
                      <a:pt x="6877" y="37560"/>
                    </a:lnTo>
                    <a:lnTo>
                      <a:pt x="5114" y="34121"/>
                    </a:lnTo>
                    <a:lnTo>
                      <a:pt x="4232" y="33504"/>
                    </a:lnTo>
                    <a:lnTo>
                      <a:pt x="3615" y="32887"/>
                    </a:lnTo>
                    <a:lnTo>
                      <a:pt x="3615" y="32358"/>
                    </a:lnTo>
                    <a:lnTo>
                      <a:pt x="2116" y="30065"/>
                    </a:lnTo>
                    <a:lnTo>
                      <a:pt x="2116" y="28038"/>
                    </a:lnTo>
                    <a:lnTo>
                      <a:pt x="2116" y="27156"/>
                    </a:lnTo>
                    <a:lnTo>
                      <a:pt x="1852" y="26803"/>
                    </a:lnTo>
                    <a:lnTo>
                      <a:pt x="1852" y="25922"/>
                    </a:lnTo>
                    <a:lnTo>
                      <a:pt x="1852" y="25393"/>
                    </a:lnTo>
                    <a:lnTo>
                      <a:pt x="1763" y="24775"/>
                    </a:lnTo>
                    <a:lnTo>
                      <a:pt x="0" y="23012"/>
                    </a:lnTo>
                    <a:lnTo>
                      <a:pt x="1499" y="20984"/>
                    </a:lnTo>
                    <a:lnTo>
                      <a:pt x="1146" y="19221"/>
                    </a:lnTo>
                    <a:lnTo>
                      <a:pt x="1146" y="18339"/>
                    </a:lnTo>
                    <a:lnTo>
                      <a:pt x="882" y="17193"/>
                    </a:lnTo>
                    <a:lnTo>
                      <a:pt x="794" y="16047"/>
                    </a:lnTo>
                    <a:lnTo>
                      <a:pt x="794" y="14283"/>
                    </a:lnTo>
                    <a:lnTo>
                      <a:pt x="167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0" name="Freihandform: Form 1579">
                <a:extLst>
                  <a:ext uri="{FF2B5EF4-FFF2-40B4-BE49-F238E27FC236}">
                    <a16:creationId xmlns:a16="http://schemas.microsoft.com/office/drawing/2014/main" id="{ED2BBE66-8E40-667F-8CAD-5AAF6D0E0012}"/>
                  </a:ext>
                </a:extLst>
              </p:cNvPr>
              <p:cNvSpPr/>
              <p:nvPr/>
            </p:nvSpPr>
            <p:spPr>
              <a:xfrm>
                <a:off x="4438561" y="3063277"/>
                <a:ext cx="33239" cy="43995"/>
              </a:xfrm>
              <a:custGeom>
                <a:avLst/>
                <a:gdLst>
                  <a:gd name="connsiteX0" fmla="*/ 30859 w 33239"/>
                  <a:gd name="connsiteY0" fmla="*/ 25922 h 43995"/>
                  <a:gd name="connsiteX1" fmla="*/ 30330 w 33239"/>
                  <a:gd name="connsiteY1" fmla="*/ 26539 h 43995"/>
                  <a:gd name="connsiteX2" fmla="*/ 30594 w 33239"/>
                  <a:gd name="connsiteY2" fmla="*/ 27685 h 43995"/>
                  <a:gd name="connsiteX3" fmla="*/ 29448 w 33239"/>
                  <a:gd name="connsiteY3" fmla="*/ 27685 h 43995"/>
                  <a:gd name="connsiteX4" fmla="*/ 28214 w 33239"/>
                  <a:gd name="connsiteY4" fmla="*/ 28302 h 43995"/>
                  <a:gd name="connsiteX5" fmla="*/ 26538 w 33239"/>
                  <a:gd name="connsiteY5" fmla="*/ 29184 h 43995"/>
                  <a:gd name="connsiteX6" fmla="*/ 25040 w 33239"/>
                  <a:gd name="connsiteY6" fmla="*/ 27685 h 43995"/>
                  <a:gd name="connsiteX7" fmla="*/ 25040 w 33239"/>
                  <a:gd name="connsiteY7" fmla="*/ 25922 h 43995"/>
                  <a:gd name="connsiteX8" fmla="*/ 25040 w 33239"/>
                  <a:gd name="connsiteY8" fmla="*/ 25040 h 43995"/>
                  <a:gd name="connsiteX9" fmla="*/ 24775 w 33239"/>
                  <a:gd name="connsiteY9" fmla="*/ 24511 h 43995"/>
                  <a:gd name="connsiteX10" fmla="*/ 23276 w 33239"/>
                  <a:gd name="connsiteY10" fmla="*/ 24511 h 43995"/>
                  <a:gd name="connsiteX11" fmla="*/ 23012 w 33239"/>
                  <a:gd name="connsiteY11" fmla="*/ 25392 h 43995"/>
                  <a:gd name="connsiteX12" fmla="*/ 21866 w 33239"/>
                  <a:gd name="connsiteY12" fmla="*/ 25922 h 43995"/>
                  <a:gd name="connsiteX13" fmla="*/ 21866 w 33239"/>
                  <a:gd name="connsiteY13" fmla="*/ 26539 h 43995"/>
                  <a:gd name="connsiteX14" fmla="*/ 20984 w 33239"/>
                  <a:gd name="connsiteY14" fmla="*/ 27685 h 43995"/>
                  <a:gd name="connsiteX15" fmla="*/ 20984 w 33239"/>
                  <a:gd name="connsiteY15" fmla="*/ 29184 h 43995"/>
                  <a:gd name="connsiteX16" fmla="*/ 19838 w 33239"/>
                  <a:gd name="connsiteY16" fmla="*/ 30330 h 43995"/>
                  <a:gd name="connsiteX17" fmla="*/ 20102 w 33239"/>
                  <a:gd name="connsiteY17" fmla="*/ 31476 h 43995"/>
                  <a:gd name="connsiteX18" fmla="*/ 18339 w 33239"/>
                  <a:gd name="connsiteY18" fmla="*/ 32975 h 43995"/>
                  <a:gd name="connsiteX19" fmla="*/ 16928 w 33239"/>
                  <a:gd name="connsiteY19" fmla="*/ 35884 h 43995"/>
                  <a:gd name="connsiteX20" fmla="*/ 19485 w 33239"/>
                  <a:gd name="connsiteY20" fmla="*/ 37912 h 43995"/>
                  <a:gd name="connsiteX21" fmla="*/ 18956 w 33239"/>
                  <a:gd name="connsiteY21" fmla="*/ 39059 h 43995"/>
                  <a:gd name="connsiteX22" fmla="*/ 19838 w 33239"/>
                  <a:gd name="connsiteY22" fmla="*/ 41086 h 43995"/>
                  <a:gd name="connsiteX23" fmla="*/ 18956 w 33239"/>
                  <a:gd name="connsiteY23" fmla="*/ 42321 h 43995"/>
                  <a:gd name="connsiteX24" fmla="*/ 19485 w 33239"/>
                  <a:gd name="connsiteY24" fmla="*/ 43996 h 43995"/>
                  <a:gd name="connsiteX25" fmla="*/ 18339 w 33239"/>
                  <a:gd name="connsiteY25" fmla="*/ 43731 h 43995"/>
                  <a:gd name="connsiteX26" fmla="*/ 17457 w 33239"/>
                  <a:gd name="connsiteY26" fmla="*/ 42850 h 43995"/>
                  <a:gd name="connsiteX27" fmla="*/ 17457 w 33239"/>
                  <a:gd name="connsiteY27" fmla="*/ 43202 h 43995"/>
                  <a:gd name="connsiteX28" fmla="*/ 16928 w 33239"/>
                  <a:gd name="connsiteY28" fmla="*/ 42850 h 43995"/>
                  <a:gd name="connsiteX29" fmla="*/ 16311 w 33239"/>
                  <a:gd name="connsiteY29" fmla="*/ 41968 h 43995"/>
                  <a:gd name="connsiteX30" fmla="*/ 15429 w 33239"/>
                  <a:gd name="connsiteY30" fmla="*/ 42321 h 43995"/>
                  <a:gd name="connsiteX31" fmla="*/ 15165 w 33239"/>
                  <a:gd name="connsiteY31" fmla="*/ 41439 h 43995"/>
                  <a:gd name="connsiteX32" fmla="*/ 15429 w 33239"/>
                  <a:gd name="connsiteY32" fmla="*/ 40822 h 43995"/>
                  <a:gd name="connsiteX33" fmla="*/ 15694 w 33239"/>
                  <a:gd name="connsiteY33" fmla="*/ 40205 h 43995"/>
                  <a:gd name="connsiteX34" fmla="*/ 14812 w 33239"/>
                  <a:gd name="connsiteY34" fmla="*/ 39059 h 43995"/>
                  <a:gd name="connsiteX35" fmla="*/ 14548 w 33239"/>
                  <a:gd name="connsiteY35" fmla="*/ 39323 h 43995"/>
                  <a:gd name="connsiteX36" fmla="*/ 14283 w 33239"/>
                  <a:gd name="connsiteY36" fmla="*/ 39059 h 43995"/>
                  <a:gd name="connsiteX37" fmla="*/ 12520 w 33239"/>
                  <a:gd name="connsiteY37" fmla="*/ 38794 h 43995"/>
                  <a:gd name="connsiteX38" fmla="*/ 11903 w 33239"/>
                  <a:gd name="connsiteY38" fmla="*/ 37912 h 43995"/>
                  <a:gd name="connsiteX39" fmla="*/ 12255 w 33239"/>
                  <a:gd name="connsiteY39" fmla="*/ 37912 h 43995"/>
                  <a:gd name="connsiteX40" fmla="*/ 12520 w 33239"/>
                  <a:gd name="connsiteY40" fmla="*/ 37648 h 43995"/>
                  <a:gd name="connsiteX41" fmla="*/ 11903 w 33239"/>
                  <a:gd name="connsiteY41" fmla="*/ 37295 h 43995"/>
                  <a:gd name="connsiteX42" fmla="*/ 11374 w 33239"/>
                  <a:gd name="connsiteY42" fmla="*/ 37031 h 43995"/>
                  <a:gd name="connsiteX43" fmla="*/ 11374 w 33239"/>
                  <a:gd name="connsiteY43" fmla="*/ 36413 h 43995"/>
                  <a:gd name="connsiteX44" fmla="*/ 8993 w 33239"/>
                  <a:gd name="connsiteY44" fmla="*/ 35003 h 43995"/>
                  <a:gd name="connsiteX45" fmla="*/ 8729 w 33239"/>
                  <a:gd name="connsiteY45" fmla="*/ 33857 h 43995"/>
                  <a:gd name="connsiteX46" fmla="*/ 7847 w 33239"/>
                  <a:gd name="connsiteY46" fmla="*/ 33504 h 43995"/>
                  <a:gd name="connsiteX47" fmla="*/ 6965 w 33239"/>
                  <a:gd name="connsiteY47" fmla="*/ 34121 h 43995"/>
                  <a:gd name="connsiteX48" fmla="*/ 5555 w 33239"/>
                  <a:gd name="connsiteY48" fmla="*/ 33240 h 43995"/>
                  <a:gd name="connsiteX49" fmla="*/ 4937 w 33239"/>
                  <a:gd name="connsiteY49" fmla="*/ 33504 h 43995"/>
                  <a:gd name="connsiteX50" fmla="*/ 4320 w 33239"/>
                  <a:gd name="connsiteY50" fmla="*/ 32975 h 43995"/>
                  <a:gd name="connsiteX51" fmla="*/ 4056 w 33239"/>
                  <a:gd name="connsiteY51" fmla="*/ 32093 h 43995"/>
                  <a:gd name="connsiteX52" fmla="*/ 3791 w 33239"/>
                  <a:gd name="connsiteY52" fmla="*/ 31476 h 43995"/>
                  <a:gd name="connsiteX53" fmla="*/ 3174 w 33239"/>
                  <a:gd name="connsiteY53" fmla="*/ 32093 h 43995"/>
                  <a:gd name="connsiteX54" fmla="*/ 2909 w 33239"/>
                  <a:gd name="connsiteY54" fmla="*/ 31212 h 43995"/>
                  <a:gd name="connsiteX55" fmla="*/ 2028 w 33239"/>
                  <a:gd name="connsiteY55" fmla="*/ 30594 h 43995"/>
                  <a:gd name="connsiteX56" fmla="*/ 2292 w 33239"/>
                  <a:gd name="connsiteY56" fmla="*/ 29713 h 43995"/>
                  <a:gd name="connsiteX57" fmla="*/ 2557 w 33239"/>
                  <a:gd name="connsiteY57" fmla="*/ 30065 h 43995"/>
                  <a:gd name="connsiteX58" fmla="*/ 2909 w 33239"/>
                  <a:gd name="connsiteY58" fmla="*/ 30330 h 43995"/>
                  <a:gd name="connsiteX59" fmla="*/ 3791 w 33239"/>
                  <a:gd name="connsiteY59" fmla="*/ 30065 h 43995"/>
                  <a:gd name="connsiteX60" fmla="*/ 3791 w 33239"/>
                  <a:gd name="connsiteY60" fmla="*/ 29184 h 43995"/>
                  <a:gd name="connsiteX61" fmla="*/ 3174 w 33239"/>
                  <a:gd name="connsiteY61" fmla="*/ 28831 h 43995"/>
                  <a:gd name="connsiteX62" fmla="*/ 2909 w 33239"/>
                  <a:gd name="connsiteY62" fmla="*/ 29448 h 43995"/>
                  <a:gd name="connsiteX63" fmla="*/ 1763 w 33239"/>
                  <a:gd name="connsiteY63" fmla="*/ 29184 h 43995"/>
                  <a:gd name="connsiteX64" fmla="*/ 1763 w 33239"/>
                  <a:gd name="connsiteY64" fmla="*/ 30330 h 43995"/>
                  <a:gd name="connsiteX65" fmla="*/ 882 w 33239"/>
                  <a:gd name="connsiteY65" fmla="*/ 30065 h 43995"/>
                  <a:gd name="connsiteX66" fmla="*/ 0 w 33239"/>
                  <a:gd name="connsiteY66" fmla="*/ 29184 h 43995"/>
                  <a:gd name="connsiteX67" fmla="*/ 0 w 33239"/>
                  <a:gd name="connsiteY67" fmla="*/ 25657 h 43995"/>
                  <a:gd name="connsiteX68" fmla="*/ 1411 w 33239"/>
                  <a:gd name="connsiteY68" fmla="*/ 24511 h 43995"/>
                  <a:gd name="connsiteX69" fmla="*/ 2292 w 33239"/>
                  <a:gd name="connsiteY69" fmla="*/ 22483 h 43995"/>
                  <a:gd name="connsiteX70" fmla="*/ 2557 w 33239"/>
                  <a:gd name="connsiteY70" fmla="*/ 19838 h 43995"/>
                  <a:gd name="connsiteX71" fmla="*/ 529 w 33239"/>
                  <a:gd name="connsiteY71" fmla="*/ 18692 h 43995"/>
                  <a:gd name="connsiteX72" fmla="*/ 264 w 33239"/>
                  <a:gd name="connsiteY72" fmla="*/ 14900 h 43995"/>
                  <a:gd name="connsiteX73" fmla="*/ 1763 w 33239"/>
                  <a:gd name="connsiteY73" fmla="*/ 11374 h 43995"/>
                  <a:gd name="connsiteX74" fmla="*/ 3791 w 33239"/>
                  <a:gd name="connsiteY74" fmla="*/ 8464 h 43995"/>
                  <a:gd name="connsiteX75" fmla="*/ 5819 w 33239"/>
                  <a:gd name="connsiteY75" fmla="*/ 8993 h 43995"/>
                  <a:gd name="connsiteX76" fmla="*/ 6701 w 33239"/>
                  <a:gd name="connsiteY76" fmla="*/ 6701 h 43995"/>
                  <a:gd name="connsiteX77" fmla="*/ 5202 w 33239"/>
                  <a:gd name="connsiteY77" fmla="*/ 2557 h 43995"/>
                  <a:gd name="connsiteX78" fmla="*/ 6348 w 33239"/>
                  <a:gd name="connsiteY78" fmla="*/ 882 h 43995"/>
                  <a:gd name="connsiteX79" fmla="*/ 8993 w 33239"/>
                  <a:gd name="connsiteY79" fmla="*/ 0 h 43995"/>
                  <a:gd name="connsiteX80" fmla="*/ 8993 w 33239"/>
                  <a:gd name="connsiteY80" fmla="*/ 264 h 43995"/>
                  <a:gd name="connsiteX81" fmla="*/ 9610 w 33239"/>
                  <a:gd name="connsiteY81" fmla="*/ 1146 h 43995"/>
                  <a:gd name="connsiteX82" fmla="*/ 10139 w 33239"/>
                  <a:gd name="connsiteY82" fmla="*/ 2028 h 43995"/>
                  <a:gd name="connsiteX83" fmla="*/ 10492 w 33239"/>
                  <a:gd name="connsiteY83" fmla="*/ 2910 h 43995"/>
                  <a:gd name="connsiteX84" fmla="*/ 11374 w 33239"/>
                  <a:gd name="connsiteY84" fmla="*/ 3791 h 43995"/>
                  <a:gd name="connsiteX85" fmla="*/ 12255 w 33239"/>
                  <a:gd name="connsiteY85" fmla="*/ 4320 h 43995"/>
                  <a:gd name="connsiteX86" fmla="*/ 12784 w 33239"/>
                  <a:gd name="connsiteY86" fmla="*/ 5202 h 43995"/>
                  <a:gd name="connsiteX87" fmla="*/ 13401 w 33239"/>
                  <a:gd name="connsiteY87" fmla="*/ 5819 h 43995"/>
                  <a:gd name="connsiteX88" fmla="*/ 13930 w 33239"/>
                  <a:gd name="connsiteY88" fmla="*/ 6436 h 43995"/>
                  <a:gd name="connsiteX89" fmla="*/ 14548 w 33239"/>
                  <a:gd name="connsiteY89" fmla="*/ 7318 h 43995"/>
                  <a:gd name="connsiteX90" fmla="*/ 15165 w 33239"/>
                  <a:gd name="connsiteY90" fmla="*/ 8111 h 43995"/>
                  <a:gd name="connsiteX91" fmla="*/ 15694 w 33239"/>
                  <a:gd name="connsiteY91" fmla="*/ 8729 h 43995"/>
                  <a:gd name="connsiteX92" fmla="*/ 16576 w 33239"/>
                  <a:gd name="connsiteY92" fmla="*/ 8993 h 43995"/>
                  <a:gd name="connsiteX93" fmla="*/ 17457 w 33239"/>
                  <a:gd name="connsiteY93" fmla="*/ 9610 h 43995"/>
                  <a:gd name="connsiteX94" fmla="*/ 18339 w 33239"/>
                  <a:gd name="connsiteY94" fmla="*/ 10228 h 43995"/>
                  <a:gd name="connsiteX95" fmla="*/ 19485 w 33239"/>
                  <a:gd name="connsiteY95" fmla="*/ 10228 h 43995"/>
                  <a:gd name="connsiteX96" fmla="*/ 20720 w 33239"/>
                  <a:gd name="connsiteY96" fmla="*/ 10228 h 43995"/>
                  <a:gd name="connsiteX97" fmla="*/ 21601 w 33239"/>
                  <a:gd name="connsiteY97" fmla="*/ 10492 h 43995"/>
                  <a:gd name="connsiteX98" fmla="*/ 22395 w 33239"/>
                  <a:gd name="connsiteY98" fmla="*/ 11109 h 43995"/>
                  <a:gd name="connsiteX99" fmla="*/ 23276 w 33239"/>
                  <a:gd name="connsiteY99" fmla="*/ 11638 h 43995"/>
                  <a:gd name="connsiteX100" fmla="*/ 23894 w 33239"/>
                  <a:gd name="connsiteY100" fmla="*/ 12255 h 43995"/>
                  <a:gd name="connsiteX101" fmla="*/ 24775 w 33239"/>
                  <a:gd name="connsiteY101" fmla="*/ 12784 h 43995"/>
                  <a:gd name="connsiteX102" fmla="*/ 25657 w 33239"/>
                  <a:gd name="connsiteY102" fmla="*/ 14019 h 43995"/>
                  <a:gd name="connsiteX103" fmla="*/ 25393 w 33239"/>
                  <a:gd name="connsiteY103" fmla="*/ 15165 h 43995"/>
                  <a:gd name="connsiteX104" fmla="*/ 25393 w 33239"/>
                  <a:gd name="connsiteY104" fmla="*/ 15782 h 43995"/>
                  <a:gd name="connsiteX105" fmla="*/ 26186 w 33239"/>
                  <a:gd name="connsiteY105" fmla="*/ 16047 h 43995"/>
                  <a:gd name="connsiteX106" fmla="*/ 27420 w 33239"/>
                  <a:gd name="connsiteY106" fmla="*/ 16576 h 43995"/>
                  <a:gd name="connsiteX107" fmla="*/ 28214 w 33239"/>
                  <a:gd name="connsiteY107" fmla="*/ 17193 h 43995"/>
                  <a:gd name="connsiteX108" fmla="*/ 29184 w 33239"/>
                  <a:gd name="connsiteY108" fmla="*/ 17810 h 43995"/>
                  <a:gd name="connsiteX109" fmla="*/ 29977 w 33239"/>
                  <a:gd name="connsiteY109" fmla="*/ 18339 h 43995"/>
                  <a:gd name="connsiteX110" fmla="*/ 31211 w 33239"/>
                  <a:gd name="connsiteY110" fmla="*/ 18339 h 43995"/>
                  <a:gd name="connsiteX111" fmla="*/ 31476 w 33239"/>
                  <a:gd name="connsiteY111" fmla="*/ 18692 h 43995"/>
                  <a:gd name="connsiteX112" fmla="*/ 32358 w 33239"/>
                  <a:gd name="connsiteY112" fmla="*/ 18956 h 43995"/>
                  <a:gd name="connsiteX113" fmla="*/ 32975 w 33239"/>
                  <a:gd name="connsiteY113" fmla="*/ 19485 h 43995"/>
                  <a:gd name="connsiteX114" fmla="*/ 33239 w 33239"/>
                  <a:gd name="connsiteY114" fmla="*/ 20719 h 43995"/>
                  <a:gd name="connsiteX115" fmla="*/ 32622 w 33239"/>
                  <a:gd name="connsiteY115" fmla="*/ 21249 h 43995"/>
                  <a:gd name="connsiteX116" fmla="*/ 32005 w 33239"/>
                  <a:gd name="connsiteY116" fmla="*/ 21866 h 43995"/>
                  <a:gd name="connsiteX117" fmla="*/ 32358 w 33239"/>
                  <a:gd name="connsiteY117" fmla="*/ 22747 h 43995"/>
                  <a:gd name="connsiteX118" fmla="*/ 32005 w 33239"/>
                  <a:gd name="connsiteY118" fmla="*/ 23365 h 43995"/>
                  <a:gd name="connsiteX119" fmla="*/ 31476 w 33239"/>
                  <a:gd name="connsiteY119" fmla="*/ 23012 h 43995"/>
                  <a:gd name="connsiteX120" fmla="*/ 30859 w 33239"/>
                  <a:gd name="connsiteY120" fmla="*/ 23012 h 43995"/>
                  <a:gd name="connsiteX121" fmla="*/ 30330 w 33239"/>
                  <a:gd name="connsiteY121" fmla="*/ 22483 h 43995"/>
                  <a:gd name="connsiteX122" fmla="*/ 29713 w 33239"/>
                  <a:gd name="connsiteY122" fmla="*/ 22130 h 43995"/>
                  <a:gd name="connsiteX123" fmla="*/ 28831 w 33239"/>
                  <a:gd name="connsiteY123" fmla="*/ 23012 h 43995"/>
                  <a:gd name="connsiteX124" fmla="*/ 28831 w 33239"/>
                  <a:gd name="connsiteY124" fmla="*/ 23629 h 43995"/>
                  <a:gd name="connsiteX125" fmla="*/ 28831 w 33239"/>
                  <a:gd name="connsiteY125" fmla="*/ 24158 h 43995"/>
                  <a:gd name="connsiteX126" fmla="*/ 29448 w 33239"/>
                  <a:gd name="connsiteY126" fmla="*/ 24511 h 43995"/>
                  <a:gd name="connsiteX127" fmla="*/ 30330 w 33239"/>
                  <a:gd name="connsiteY127" fmla="*/ 25392 h 43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</a:cxnLst>
                <a:rect l="l" t="t" r="r" b="b"/>
                <a:pathLst>
                  <a:path w="33239" h="43995">
                    <a:moveTo>
                      <a:pt x="30859" y="25922"/>
                    </a:moveTo>
                    <a:lnTo>
                      <a:pt x="30330" y="26539"/>
                    </a:lnTo>
                    <a:lnTo>
                      <a:pt x="30594" y="27685"/>
                    </a:lnTo>
                    <a:lnTo>
                      <a:pt x="29448" y="27685"/>
                    </a:lnTo>
                    <a:lnTo>
                      <a:pt x="28214" y="28302"/>
                    </a:lnTo>
                    <a:lnTo>
                      <a:pt x="26538" y="29184"/>
                    </a:lnTo>
                    <a:lnTo>
                      <a:pt x="25040" y="27685"/>
                    </a:lnTo>
                    <a:lnTo>
                      <a:pt x="25040" y="25922"/>
                    </a:lnTo>
                    <a:lnTo>
                      <a:pt x="25040" y="25040"/>
                    </a:lnTo>
                    <a:lnTo>
                      <a:pt x="24775" y="24511"/>
                    </a:lnTo>
                    <a:lnTo>
                      <a:pt x="23276" y="24511"/>
                    </a:lnTo>
                    <a:lnTo>
                      <a:pt x="23012" y="25392"/>
                    </a:lnTo>
                    <a:lnTo>
                      <a:pt x="21866" y="25922"/>
                    </a:lnTo>
                    <a:lnTo>
                      <a:pt x="21866" y="26539"/>
                    </a:lnTo>
                    <a:lnTo>
                      <a:pt x="20984" y="27685"/>
                    </a:lnTo>
                    <a:lnTo>
                      <a:pt x="20984" y="29184"/>
                    </a:lnTo>
                    <a:lnTo>
                      <a:pt x="19838" y="30330"/>
                    </a:lnTo>
                    <a:lnTo>
                      <a:pt x="20102" y="31476"/>
                    </a:lnTo>
                    <a:lnTo>
                      <a:pt x="18339" y="32975"/>
                    </a:lnTo>
                    <a:lnTo>
                      <a:pt x="16928" y="35884"/>
                    </a:lnTo>
                    <a:lnTo>
                      <a:pt x="19485" y="37912"/>
                    </a:lnTo>
                    <a:lnTo>
                      <a:pt x="18956" y="39059"/>
                    </a:lnTo>
                    <a:lnTo>
                      <a:pt x="19838" y="41086"/>
                    </a:lnTo>
                    <a:lnTo>
                      <a:pt x="18956" y="42321"/>
                    </a:lnTo>
                    <a:lnTo>
                      <a:pt x="19485" y="43996"/>
                    </a:lnTo>
                    <a:lnTo>
                      <a:pt x="18339" y="43731"/>
                    </a:lnTo>
                    <a:lnTo>
                      <a:pt x="17457" y="42850"/>
                    </a:lnTo>
                    <a:lnTo>
                      <a:pt x="17457" y="43202"/>
                    </a:lnTo>
                    <a:lnTo>
                      <a:pt x="16928" y="42850"/>
                    </a:lnTo>
                    <a:lnTo>
                      <a:pt x="16311" y="41968"/>
                    </a:lnTo>
                    <a:lnTo>
                      <a:pt x="15429" y="42321"/>
                    </a:lnTo>
                    <a:lnTo>
                      <a:pt x="15165" y="41439"/>
                    </a:lnTo>
                    <a:lnTo>
                      <a:pt x="15429" y="40822"/>
                    </a:lnTo>
                    <a:lnTo>
                      <a:pt x="15694" y="40205"/>
                    </a:lnTo>
                    <a:lnTo>
                      <a:pt x="14812" y="39059"/>
                    </a:lnTo>
                    <a:lnTo>
                      <a:pt x="14548" y="39323"/>
                    </a:lnTo>
                    <a:lnTo>
                      <a:pt x="14283" y="39059"/>
                    </a:lnTo>
                    <a:lnTo>
                      <a:pt x="12520" y="38794"/>
                    </a:lnTo>
                    <a:lnTo>
                      <a:pt x="11903" y="37912"/>
                    </a:lnTo>
                    <a:lnTo>
                      <a:pt x="12255" y="37912"/>
                    </a:lnTo>
                    <a:lnTo>
                      <a:pt x="12520" y="37648"/>
                    </a:lnTo>
                    <a:lnTo>
                      <a:pt x="11903" y="37295"/>
                    </a:lnTo>
                    <a:lnTo>
                      <a:pt x="11374" y="37031"/>
                    </a:lnTo>
                    <a:lnTo>
                      <a:pt x="11374" y="36413"/>
                    </a:lnTo>
                    <a:lnTo>
                      <a:pt x="8993" y="35003"/>
                    </a:lnTo>
                    <a:lnTo>
                      <a:pt x="8729" y="33857"/>
                    </a:lnTo>
                    <a:lnTo>
                      <a:pt x="7847" y="33504"/>
                    </a:lnTo>
                    <a:lnTo>
                      <a:pt x="6965" y="34121"/>
                    </a:lnTo>
                    <a:lnTo>
                      <a:pt x="5555" y="33240"/>
                    </a:lnTo>
                    <a:lnTo>
                      <a:pt x="4937" y="33504"/>
                    </a:lnTo>
                    <a:lnTo>
                      <a:pt x="4320" y="32975"/>
                    </a:lnTo>
                    <a:lnTo>
                      <a:pt x="4056" y="32093"/>
                    </a:lnTo>
                    <a:lnTo>
                      <a:pt x="3791" y="31476"/>
                    </a:lnTo>
                    <a:lnTo>
                      <a:pt x="3174" y="32093"/>
                    </a:lnTo>
                    <a:lnTo>
                      <a:pt x="2909" y="31212"/>
                    </a:lnTo>
                    <a:lnTo>
                      <a:pt x="2028" y="30594"/>
                    </a:lnTo>
                    <a:lnTo>
                      <a:pt x="2292" y="29713"/>
                    </a:lnTo>
                    <a:lnTo>
                      <a:pt x="2557" y="30065"/>
                    </a:lnTo>
                    <a:lnTo>
                      <a:pt x="2909" y="30330"/>
                    </a:lnTo>
                    <a:lnTo>
                      <a:pt x="3791" y="30065"/>
                    </a:lnTo>
                    <a:lnTo>
                      <a:pt x="3791" y="29184"/>
                    </a:lnTo>
                    <a:lnTo>
                      <a:pt x="3174" y="28831"/>
                    </a:lnTo>
                    <a:lnTo>
                      <a:pt x="2909" y="29448"/>
                    </a:lnTo>
                    <a:lnTo>
                      <a:pt x="1763" y="29184"/>
                    </a:lnTo>
                    <a:lnTo>
                      <a:pt x="1763" y="30330"/>
                    </a:lnTo>
                    <a:lnTo>
                      <a:pt x="882" y="30065"/>
                    </a:lnTo>
                    <a:lnTo>
                      <a:pt x="0" y="29184"/>
                    </a:lnTo>
                    <a:lnTo>
                      <a:pt x="0" y="25657"/>
                    </a:lnTo>
                    <a:lnTo>
                      <a:pt x="1411" y="24511"/>
                    </a:lnTo>
                    <a:lnTo>
                      <a:pt x="2292" y="22483"/>
                    </a:lnTo>
                    <a:lnTo>
                      <a:pt x="2557" y="19838"/>
                    </a:lnTo>
                    <a:lnTo>
                      <a:pt x="529" y="18692"/>
                    </a:lnTo>
                    <a:lnTo>
                      <a:pt x="264" y="14900"/>
                    </a:lnTo>
                    <a:lnTo>
                      <a:pt x="1763" y="11374"/>
                    </a:lnTo>
                    <a:lnTo>
                      <a:pt x="3791" y="8464"/>
                    </a:lnTo>
                    <a:lnTo>
                      <a:pt x="5819" y="8993"/>
                    </a:lnTo>
                    <a:lnTo>
                      <a:pt x="6701" y="6701"/>
                    </a:lnTo>
                    <a:lnTo>
                      <a:pt x="5202" y="2557"/>
                    </a:lnTo>
                    <a:lnTo>
                      <a:pt x="6348" y="882"/>
                    </a:lnTo>
                    <a:lnTo>
                      <a:pt x="8993" y="0"/>
                    </a:lnTo>
                    <a:lnTo>
                      <a:pt x="8993" y="264"/>
                    </a:lnTo>
                    <a:lnTo>
                      <a:pt x="9610" y="1146"/>
                    </a:lnTo>
                    <a:lnTo>
                      <a:pt x="10139" y="2028"/>
                    </a:lnTo>
                    <a:lnTo>
                      <a:pt x="10492" y="2910"/>
                    </a:lnTo>
                    <a:lnTo>
                      <a:pt x="11374" y="3791"/>
                    </a:lnTo>
                    <a:lnTo>
                      <a:pt x="12255" y="4320"/>
                    </a:lnTo>
                    <a:lnTo>
                      <a:pt x="12784" y="5202"/>
                    </a:lnTo>
                    <a:lnTo>
                      <a:pt x="13401" y="5819"/>
                    </a:lnTo>
                    <a:lnTo>
                      <a:pt x="13930" y="6436"/>
                    </a:lnTo>
                    <a:lnTo>
                      <a:pt x="14548" y="7318"/>
                    </a:lnTo>
                    <a:lnTo>
                      <a:pt x="15165" y="8111"/>
                    </a:lnTo>
                    <a:lnTo>
                      <a:pt x="15694" y="8729"/>
                    </a:lnTo>
                    <a:lnTo>
                      <a:pt x="16576" y="8993"/>
                    </a:lnTo>
                    <a:lnTo>
                      <a:pt x="17457" y="9610"/>
                    </a:lnTo>
                    <a:lnTo>
                      <a:pt x="18339" y="10228"/>
                    </a:lnTo>
                    <a:lnTo>
                      <a:pt x="19485" y="10228"/>
                    </a:lnTo>
                    <a:lnTo>
                      <a:pt x="20720" y="10228"/>
                    </a:lnTo>
                    <a:lnTo>
                      <a:pt x="21601" y="10492"/>
                    </a:lnTo>
                    <a:lnTo>
                      <a:pt x="22395" y="11109"/>
                    </a:lnTo>
                    <a:lnTo>
                      <a:pt x="23276" y="11638"/>
                    </a:lnTo>
                    <a:lnTo>
                      <a:pt x="23894" y="12255"/>
                    </a:lnTo>
                    <a:lnTo>
                      <a:pt x="24775" y="12784"/>
                    </a:lnTo>
                    <a:lnTo>
                      <a:pt x="25657" y="14019"/>
                    </a:lnTo>
                    <a:lnTo>
                      <a:pt x="25393" y="15165"/>
                    </a:lnTo>
                    <a:lnTo>
                      <a:pt x="25393" y="15782"/>
                    </a:lnTo>
                    <a:lnTo>
                      <a:pt x="26186" y="16047"/>
                    </a:lnTo>
                    <a:lnTo>
                      <a:pt x="27420" y="16576"/>
                    </a:lnTo>
                    <a:lnTo>
                      <a:pt x="28214" y="17193"/>
                    </a:lnTo>
                    <a:lnTo>
                      <a:pt x="29184" y="17810"/>
                    </a:lnTo>
                    <a:lnTo>
                      <a:pt x="29977" y="18339"/>
                    </a:lnTo>
                    <a:lnTo>
                      <a:pt x="31211" y="18339"/>
                    </a:lnTo>
                    <a:lnTo>
                      <a:pt x="31476" y="18692"/>
                    </a:lnTo>
                    <a:lnTo>
                      <a:pt x="32358" y="18956"/>
                    </a:lnTo>
                    <a:lnTo>
                      <a:pt x="32975" y="19485"/>
                    </a:lnTo>
                    <a:lnTo>
                      <a:pt x="33239" y="20719"/>
                    </a:lnTo>
                    <a:lnTo>
                      <a:pt x="32622" y="21249"/>
                    </a:lnTo>
                    <a:lnTo>
                      <a:pt x="32005" y="21866"/>
                    </a:lnTo>
                    <a:lnTo>
                      <a:pt x="32358" y="22747"/>
                    </a:lnTo>
                    <a:lnTo>
                      <a:pt x="32005" y="23365"/>
                    </a:lnTo>
                    <a:lnTo>
                      <a:pt x="31476" y="23012"/>
                    </a:lnTo>
                    <a:lnTo>
                      <a:pt x="30859" y="23012"/>
                    </a:lnTo>
                    <a:lnTo>
                      <a:pt x="30330" y="22483"/>
                    </a:lnTo>
                    <a:lnTo>
                      <a:pt x="29713" y="22130"/>
                    </a:lnTo>
                    <a:lnTo>
                      <a:pt x="28831" y="23012"/>
                    </a:lnTo>
                    <a:lnTo>
                      <a:pt x="28831" y="23629"/>
                    </a:lnTo>
                    <a:lnTo>
                      <a:pt x="28831" y="24158"/>
                    </a:lnTo>
                    <a:lnTo>
                      <a:pt x="29448" y="24511"/>
                    </a:lnTo>
                    <a:lnTo>
                      <a:pt x="30330" y="2539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1" name="Freihandform: Form 1580">
                <a:extLst>
                  <a:ext uri="{FF2B5EF4-FFF2-40B4-BE49-F238E27FC236}">
                    <a16:creationId xmlns:a16="http://schemas.microsoft.com/office/drawing/2014/main" id="{97134AD1-49E0-D414-A5FC-4ADD7014A381}"/>
                  </a:ext>
                </a:extLst>
              </p:cNvPr>
              <p:cNvSpPr/>
              <p:nvPr/>
            </p:nvSpPr>
            <p:spPr>
              <a:xfrm>
                <a:off x="4467392" y="3069978"/>
                <a:ext cx="40557" cy="35267"/>
              </a:xfrm>
              <a:custGeom>
                <a:avLst/>
                <a:gdLst>
                  <a:gd name="connsiteX0" fmla="*/ 17810 w 40557"/>
                  <a:gd name="connsiteY0" fmla="*/ 33857 h 35267"/>
                  <a:gd name="connsiteX1" fmla="*/ 17193 w 40557"/>
                  <a:gd name="connsiteY1" fmla="*/ 35267 h 35267"/>
                  <a:gd name="connsiteX2" fmla="*/ 16047 w 40557"/>
                  <a:gd name="connsiteY2" fmla="*/ 35267 h 35267"/>
                  <a:gd name="connsiteX3" fmla="*/ 14900 w 40557"/>
                  <a:gd name="connsiteY3" fmla="*/ 35267 h 35267"/>
                  <a:gd name="connsiteX4" fmla="*/ 14900 w 40557"/>
                  <a:gd name="connsiteY4" fmla="*/ 34738 h 35267"/>
                  <a:gd name="connsiteX5" fmla="*/ 14283 w 40557"/>
                  <a:gd name="connsiteY5" fmla="*/ 33857 h 35267"/>
                  <a:gd name="connsiteX6" fmla="*/ 14636 w 40557"/>
                  <a:gd name="connsiteY6" fmla="*/ 32975 h 35267"/>
                  <a:gd name="connsiteX7" fmla="*/ 13401 w 40557"/>
                  <a:gd name="connsiteY7" fmla="*/ 32358 h 35267"/>
                  <a:gd name="connsiteX8" fmla="*/ 13401 w 40557"/>
                  <a:gd name="connsiteY8" fmla="*/ 30594 h 35267"/>
                  <a:gd name="connsiteX9" fmla="*/ 12608 w 40557"/>
                  <a:gd name="connsiteY9" fmla="*/ 28567 h 35267"/>
                  <a:gd name="connsiteX10" fmla="*/ 11727 w 40557"/>
                  <a:gd name="connsiteY10" fmla="*/ 27420 h 35267"/>
                  <a:gd name="connsiteX11" fmla="*/ 10492 w 40557"/>
                  <a:gd name="connsiteY11" fmla="*/ 26803 h 35267"/>
                  <a:gd name="connsiteX12" fmla="*/ 9963 w 40557"/>
                  <a:gd name="connsiteY12" fmla="*/ 26274 h 35267"/>
                  <a:gd name="connsiteX13" fmla="*/ 7318 w 40557"/>
                  <a:gd name="connsiteY13" fmla="*/ 25922 h 35267"/>
                  <a:gd name="connsiteX14" fmla="*/ 6172 w 40557"/>
                  <a:gd name="connsiteY14" fmla="*/ 25040 h 35267"/>
                  <a:gd name="connsiteX15" fmla="*/ 4937 w 40557"/>
                  <a:gd name="connsiteY15" fmla="*/ 23629 h 35267"/>
                  <a:gd name="connsiteX16" fmla="*/ 5290 w 40557"/>
                  <a:gd name="connsiteY16" fmla="*/ 22483 h 35267"/>
                  <a:gd name="connsiteX17" fmla="*/ 4673 w 40557"/>
                  <a:gd name="connsiteY17" fmla="*/ 20984 h 35267"/>
                  <a:gd name="connsiteX18" fmla="*/ 2028 w 40557"/>
                  <a:gd name="connsiteY18" fmla="*/ 19221 h 35267"/>
                  <a:gd name="connsiteX19" fmla="*/ 1499 w 40557"/>
                  <a:gd name="connsiteY19" fmla="*/ 18692 h 35267"/>
                  <a:gd name="connsiteX20" fmla="*/ 617 w 40557"/>
                  <a:gd name="connsiteY20" fmla="*/ 17810 h 35267"/>
                  <a:gd name="connsiteX21" fmla="*/ 0 w 40557"/>
                  <a:gd name="connsiteY21" fmla="*/ 17457 h 35267"/>
                  <a:gd name="connsiteX22" fmla="*/ 0 w 40557"/>
                  <a:gd name="connsiteY22" fmla="*/ 16928 h 35267"/>
                  <a:gd name="connsiteX23" fmla="*/ 0 w 40557"/>
                  <a:gd name="connsiteY23" fmla="*/ 16311 h 35267"/>
                  <a:gd name="connsiteX24" fmla="*/ 882 w 40557"/>
                  <a:gd name="connsiteY24" fmla="*/ 15429 h 35267"/>
                  <a:gd name="connsiteX25" fmla="*/ 1499 w 40557"/>
                  <a:gd name="connsiteY25" fmla="*/ 15782 h 35267"/>
                  <a:gd name="connsiteX26" fmla="*/ 2028 w 40557"/>
                  <a:gd name="connsiteY26" fmla="*/ 16311 h 35267"/>
                  <a:gd name="connsiteX27" fmla="*/ 2645 w 40557"/>
                  <a:gd name="connsiteY27" fmla="*/ 16311 h 35267"/>
                  <a:gd name="connsiteX28" fmla="*/ 3262 w 40557"/>
                  <a:gd name="connsiteY28" fmla="*/ 16664 h 35267"/>
                  <a:gd name="connsiteX29" fmla="*/ 3527 w 40557"/>
                  <a:gd name="connsiteY29" fmla="*/ 16047 h 35267"/>
                  <a:gd name="connsiteX30" fmla="*/ 3262 w 40557"/>
                  <a:gd name="connsiteY30" fmla="*/ 15165 h 35267"/>
                  <a:gd name="connsiteX31" fmla="*/ 3791 w 40557"/>
                  <a:gd name="connsiteY31" fmla="*/ 14548 h 35267"/>
                  <a:gd name="connsiteX32" fmla="*/ 4408 w 40557"/>
                  <a:gd name="connsiteY32" fmla="*/ 14019 h 35267"/>
                  <a:gd name="connsiteX33" fmla="*/ 4937 w 40557"/>
                  <a:gd name="connsiteY33" fmla="*/ 13666 h 35267"/>
                  <a:gd name="connsiteX34" fmla="*/ 5290 w 40557"/>
                  <a:gd name="connsiteY34" fmla="*/ 13666 h 35267"/>
                  <a:gd name="connsiteX35" fmla="*/ 5819 w 40557"/>
                  <a:gd name="connsiteY35" fmla="*/ 13666 h 35267"/>
                  <a:gd name="connsiteX36" fmla="*/ 6436 w 40557"/>
                  <a:gd name="connsiteY36" fmla="*/ 13402 h 35267"/>
                  <a:gd name="connsiteX37" fmla="*/ 7318 w 40557"/>
                  <a:gd name="connsiteY37" fmla="*/ 13402 h 35267"/>
                  <a:gd name="connsiteX38" fmla="*/ 7583 w 40557"/>
                  <a:gd name="connsiteY38" fmla="*/ 13402 h 35267"/>
                  <a:gd name="connsiteX39" fmla="*/ 7935 w 40557"/>
                  <a:gd name="connsiteY39" fmla="*/ 13402 h 35267"/>
                  <a:gd name="connsiteX40" fmla="*/ 7935 w 40557"/>
                  <a:gd name="connsiteY40" fmla="*/ 13137 h 35267"/>
                  <a:gd name="connsiteX41" fmla="*/ 8200 w 40557"/>
                  <a:gd name="connsiteY41" fmla="*/ 12784 h 35267"/>
                  <a:gd name="connsiteX42" fmla="*/ 8200 w 40557"/>
                  <a:gd name="connsiteY42" fmla="*/ 12255 h 35267"/>
                  <a:gd name="connsiteX43" fmla="*/ 8464 w 40557"/>
                  <a:gd name="connsiteY43" fmla="*/ 11991 h 35267"/>
                  <a:gd name="connsiteX44" fmla="*/ 8729 w 40557"/>
                  <a:gd name="connsiteY44" fmla="*/ 11638 h 35267"/>
                  <a:gd name="connsiteX45" fmla="*/ 9346 w 40557"/>
                  <a:gd name="connsiteY45" fmla="*/ 11638 h 35267"/>
                  <a:gd name="connsiteX46" fmla="*/ 9610 w 40557"/>
                  <a:gd name="connsiteY46" fmla="*/ 11374 h 35267"/>
                  <a:gd name="connsiteX47" fmla="*/ 9963 w 40557"/>
                  <a:gd name="connsiteY47" fmla="*/ 11374 h 35267"/>
                  <a:gd name="connsiteX48" fmla="*/ 10492 w 40557"/>
                  <a:gd name="connsiteY48" fmla="*/ 11109 h 35267"/>
                  <a:gd name="connsiteX49" fmla="*/ 10845 w 40557"/>
                  <a:gd name="connsiteY49" fmla="*/ 11109 h 35267"/>
                  <a:gd name="connsiteX50" fmla="*/ 11374 w 40557"/>
                  <a:gd name="connsiteY50" fmla="*/ 11109 h 35267"/>
                  <a:gd name="connsiteX51" fmla="*/ 11991 w 40557"/>
                  <a:gd name="connsiteY51" fmla="*/ 11109 h 35267"/>
                  <a:gd name="connsiteX52" fmla="*/ 12256 w 40557"/>
                  <a:gd name="connsiteY52" fmla="*/ 11109 h 35267"/>
                  <a:gd name="connsiteX53" fmla="*/ 12873 w 40557"/>
                  <a:gd name="connsiteY53" fmla="*/ 11109 h 35267"/>
                  <a:gd name="connsiteX54" fmla="*/ 13137 w 40557"/>
                  <a:gd name="connsiteY54" fmla="*/ 10757 h 35267"/>
                  <a:gd name="connsiteX55" fmla="*/ 13137 w 40557"/>
                  <a:gd name="connsiteY55" fmla="*/ 10492 h 35267"/>
                  <a:gd name="connsiteX56" fmla="*/ 13137 w 40557"/>
                  <a:gd name="connsiteY56" fmla="*/ 10228 h 35267"/>
                  <a:gd name="connsiteX57" fmla="*/ 13137 w 40557"/>
                  <a:gd name="connsiteY57" fmla="*/ 9875 h 35267"/>
                  <a:gd name="connsiteX58" fmla="*/ 12873 w 40557"/>
                  <a:gd name="connsiteY58" fmla="*/ 9610 h 35267"/>
                  <a:gd name="connsiteX59" fmla="*/ 12608 w 40557"/>
                  <a:gd name="connsiteY59" fmla="*/ 9346 h 35267"/>
                  <a:gd name="connsiteX60" fmla="*/ 12608 w 40557"/>
                  <a:gd name="connsiteY60" fmla="*/ 8729 h 35267"/>
                  <a:gd name="connsiteX61" fmla="*/ 12608 w 40557"/>
                  <a:gd name="connsiteY61" fmla="*/ 8464 h 35267"/>
                  <a:gd name="connsiteX62" fmla="*/ 13137 w 40557"/>
                  <a:gd name="connsiteY62" fmla="*/ 8200 h 35267"/>
                  <a:gd name="connsiteX63" fmla="*/ 13401 w 40557"/>
                  <a:gd name="connsiteY63" fmla="*/ 7847 h 35267"/>
                  <a:gd name="connsiteX64" fmla="*/ 14019 w 40557"/>
                  <a:gd name="connsiteY64" fmla="*/ 7847 h 35267"/>
                  <a:gd name="connsiteX65" fmla="*/ 14283 w 40557"/>
                  <a:gd name="connsiteY65" fmla="*/ 7582 h 35267"/>
                  <a:gd name="connsiteX66" fmla="*/ 14636 w 40557"/>
                  <a:gd name="connsiteY66" fmla="*/ 7582 h 35267"/>
                  <a:gd name="connsiteX67" fmla="*/ 14900 w 40557"/>
                  <a:gd name="connsiteY67" fmla="*/ 6965 h 35267"/>
                  <a:gd name="connsiteX68" fmla="*/ 14900 w 40557"/>
                  <a:gd name="connsiteY68" fmla="*/ 6701 h 35267"/>
                  <a:gd name="connsiteX69" fmla="*/ 15165 w 40557"/>
                  <a:gd name="connsiteY69" fmla="*/ 6436 h 35267"/>
                  <a:gd name="connsiteX70" fmla="*/ 15518 w 40557"/>
                  <a:gd name="connsiteY70" fmla="*/ 6701 h 35267"/>
                  <a:gd name="connsiteX71" fmla="*/ 15518 w 40557"/>
                  <a:gd name="connsiteY71" fmla="*/ 7318 h 35267"/>
                  <a:gd name="connsiteX72" fmla="*/ 16047 w 40557"/>
                  <a:gd name="connsiteY72" fmla="*/ 7318 h 35267"/>
                  <a:gd name="connsiteX73" fmla="*/ 16399 w 40557"/>
                  <a:gd name="connsiteY73" fmla="*/ 6965 h 35267"/>
                  <a:gd name="connsiteX74" fmla="*/ 16664 w 40557"/>
                  <a:gd name="connsiteY74" fmla="*/ 6965 h 35267"/>
                  <a:gd name="connsiteX75" fmla="*/ 16928 w 40557"/>
                  <a:gd name="connsiteY75" fmla="*/ 7318 h 35267"/>
                  <a:gd name="connsiteX76" fmla="*/ 17193 w 40557"/>
                  <a:gd name="connsiteY76" fmla="*/ 6965 h 35267"/>
                  <a:gd name="connsiteX77" fmla="*/ 16928 w 40557"/>
                  <a:gd name="connsiteY77" fmla="*/ 6701 h 35267"/>
                  <a:gd name="connsiteX78" fmla="*/ 17193 w 40557"/>
                  <a:gd name="connsiteY78" fmla="*/ 6436 h 35267"/>
                  <a:gd name="connsiteX79" fmla="*/ 16928 w 40557"/>
                  <a:gd name="connsiteY79" fmla="*/ 6084 h 35267"/>
                  <a:gd name="connsiteX80" fmla="*/ 16664 w 40557"/>
                  <a:gd name="connsiteY80" fmla="*/ 5555 h 35267"/>
                  <a:gd name="connsiteX81" fmla="*/ 16928 w 40557"/>
                  <a:gd name="connsiteY81" fmla="*/ 5202 h 35267"/>
                  <a:gd name="connsiteX82" fmla="*/ 16928 w 40557"/>
                  <a:gd name="connsiteY82" fmla="*/ 4937 h 35267"/>
                  <a:gd name="connsiteX83" fmla="*/ 16664 w 40557"/>
                  <a:gd name="connsiteY83" fmla="*/ 4673 h 35267"/>
                  <a:gd name="connsiteX84" fmla="*/ 16399 w 40557"/>
                  <a:gd name="connsiteY84" fmla="*/ 4408 h 35267"/>
                  <a:gd name="connsiteX85" fmla="*/ 16399 w 40557"/>
                  <a:gd name="connsiteY85" fmla="*/ 4056 h 35267"/>
                  <a:gd name="connsiteX86" fmla="*/ 16399 w 40557"/>
                  <a:gd name="connsiteY86" fmla="*/ 3791 h 35267"/>
                  <a:gd name="connsiteX87" fmla="*/ 16047 w 40557"/>
                  <a:gd name="connsiteY87" fmla="*/ 3791 h 35267"/>
                  <a:gd name="connsiteX88" fmla="*/ 15782 w 40557"/>
                  <a:gd name="connsiteY88" fmla="*/ 3791 h 35267"/>
                  <a:gd name="connsiteX89" fmla="*/ 15782 w 40557"/>
                  <a:gd name="connsiteY89" fmla="*/ 3527 h 35267"/>
                  <a:gd name="connsiteX90" fmla="*/ 15165 w 40557"/>
                  <a:gd name="connsiteY90" fmla="*/ 3527 h 35267"/>
                  <a:gd name="connsiteX91" fmla="*/ 14900 w 40557"/>
                  <a:gd name="connsiteY91" fmla="*/ 3527 h 35267"/>
                  <a:gd name="connsiteX92" fmla="*/ 14636 w 40557"/>
                  <a:gd name="connsiteY92" fmla="*/ 2910 h 35267"/>
                  <a:gd name="connsiteX93" fmla="*/ 14900 w 40557"/>
                  <a:gd name="connsiteY93" fmla="*/ 2645 h 35267"/>
                  <a:gd name="connsiteX94" fmla="*/ 15165 w 40557"/>
                  <a:gd name="connsiteY94" fmla="*/ 2645 h 35267"/>
                  <a:gd name="connsiteX95" fmla="*/ 15782 w 40557"/>
                  <a:gd name="connsiteY95" fmla="*/ 2292 h 35267"/>
                  <a:gd name="connsiteX96" fmla="*/ 16399 w 40557"/>
                  <a:gd name="connsiteY96" fmla="*/ 2292 h 35267"/>
                  <a:gd name="connsiteX97" fmla="*/ 16399 w 40557"/>
                  <a:gd name="connsiteY97" fmla="*/ 2645 h 35267"/>
                  <a:gd name="connsiteX98" fmla="*/ 16664 w 40557"/>
                  <a:gd name="connsiteY98" fmla="*/ 2645 h 35267"/>
                  <a:gd name="connsiteX99" fmla="*/ 16664 w 40557"/>
                  <a:gd name="connsiteY99" fmla="*/ 2292 h 35267"/>
                  <a:gd name="connsiteX100" fmla="*/ 16928 w 40557"/>
                  <a:gd name="connsiteY100" fmla="*/ 2028 h 35267"/>
                  <a:gd name="connsiteX101" fmla="*/ 17545 w 40557"/>
                  <a:gd name="connsiteY101" fmla="*/ 2028 h 35267"/>
                  <a:gd name="connsiteX102" fmla="*/ 17810 w 40557"/>
                  <a:gd name="connsiteY102" fmla="*/ 1763 h 35267"/>
                  <a:gd name="connsiteX103" fmla="*/ 18074 w 40557"/>
                  <a:gd name="connsiteY103" fmla="*/ 1411 h 35267"/>
                  <a:gd name="connsiteX104" fmla="*/ 18339 w 40557"/>
                  <a:gd name="connsiteY104" fmla="*/ 1146 h 35267"/>
                  <a:gd name="connsiteX105" fmla="*/ 18692 w 40557"/>
                  <a:gd name="connsiteY105" fmla="*/ 882 h 35267"/>
                  <a:gd name="connsiteX106" fmla="*/ 18956 w 40557"/>
                  <a:gd name="connsiteY106" fmla="*/ 617 h 35267"/>
                  <a:gd name="connsiteX107" fmla="*/ 19221 w 40557"/>
                  <a:gd name="connsiteY107" fmla="*/ 264 h 35267"/>
                  <a:gd name="connsiteX108" fmla="*/ 19221 w 40557"/>
                  <a:gd name="connsiteY108" fmla="*/ 0 h 35267"/>
                  <a:gd name="connsiteX109" fmla="*/ 19838 w 40557"/>
                  <a:gd name="connsiteY109" fmla="*/ 0 h 35267"/>
                  <a:gd name="connsiteX110" fmla="*/ 20455 w 40557"/>
                  <a:gd name="connsiteY110" fmla="*/ 0 h 35267"/>
                  <a:gd name="connsiteX111" fmla="*/ 20720 w 40557"/>
                  <a:gd name="connsiteY111" fmla="*/ 264 h 35267"/>
                  <a:gd name="connsiteX112" fmla="*/ 20984 w 40557"/>
                  <a:gd name="connsiteY112" fmla="*/ 617 h 35267"/>
                  <a:gd name="connsiteX113" fmla="*/ 20984 w 40557"/>
                  <a:gd name="connsiteY113" fmla="*/ 882 h 35267"/>
                  <a:gd name="connsiteX114" fmla="*/ 21337 w 40557"/>
                  <a:gd name="connsiteY114" fmla="*/ 1146 h 35267"/>
                  <a:gd name="connsiteX115" fmla="*/ 21866 w 40557"/>
                  <a:gd name="connsiteY115" fmla="*/ 1146 h 35267"/>
                  <a:gd name="connsiteX116" fmla="*/ 22218 w 40557"/>
                  <a:gd name="connsiteY116" fmla="*/ 1146 h 35267"/>
                  <a:gd name="connsiteX117" fmla="*/ 22483 w 40557"/>
                  <a:gd name="connsiteY117" fmla="*/ 1411 h 35267"/>
                  <a:gd name="connsiteX118" fmla="*/ 22748 w 40557"/>
                  <a:gd name="connsiteY118" fmla="*/ 2028 h 35267"/>
                  <a:gd name="connsiteX119" fmla="*/ 22483 w 40557"/>
                  <a:gd name="connsiteY119" fmla="*/ 2292 h 35267"/>
                  <a:gd name="connsiteX120" fmla="*/ 22483 w 40557"/>
                  <a:gd name="connsiteY120" fmla="*/ 2645 h 35267"/>
                  <a:gd name="connsiteX121" fmla="*/ 21866 w 40557"/>
                  <a:gd name="connsiteY121" fmla="*/ 2645 h 35267"/>
                  <a:gd name="connsiteX122" fmla="*/ 21601 w 40557"/>
                  <a:gd name="connsiteY122" fmla="*/ 2910 h 35267"/>
                  <a:gd name="connsiteX123" fmla="*/ 21337 w 40557"/>
                  <a:gd name="connsiteY123" fmla="*/ 2910 h 35267"/>
                  <a:gd name="connsiteX124" fmla="*/ 20984 w 40557"/>
                  <a:gd name="connsiteY124" fmla="*/ 3527 h 35267"/>
                  <a:gd name="connsiteX125" fmla="*/ 20984 w 40557"/>
                  <a:gd name="connsiteY125" fmla="*/ 3791 h 35267"/>
                  <a:gd name="connsiteX126" fmla="*/ 21337 w 40557"/>
                  <a:gd name="connsiteY126" fmla="*/ 3791 h 35267"/>
                  <a:gd name="connsiteX127" fmla="*/ 21866 w 40557"/>
                  <a:gd name="connsiteY127" fmla="*/ 3791 h 35267"/>
                  <a:gd name="connsiteX128" fmla="*/ 23012 w 40557"/>
                  <a:gd name="connsiteY128" fmla="*/ 3791 h 35267"/>
                  <a:gd name="connsiteX129" fmla="*/ 23629 w 40557"/>
                  <a:gd name="connsiteY129" fmla="*/ 4056 h 35267"/>
                  <a:gd name="connsiteX130" fmla="*/ 23894 w 40557"/>
                  <a:gd name="connsiteY130" fmla="*/ 4056 h 35267"/>
                  <a:gd name="connsiteX131" fmla="*/ 24246 w 40557"/>
                  <a:gd name="connsiteY131" fmla="*/ 4056 h 35267"/>
                  <a:gd name="connsiteX132" fmla="*/ 24775 w 40557"/>
                  <a:gd name="connsiteY132" fmla="*/ 3791 h 35267"/>
                  <a:gd name="connsiteX133" fmla="*/ 25128 w 40557"/>
                  <a:gd name="connsiteY133" fmla="*/ 4056 h 35267"/>
                  <a:gd name="connsiteX134" fmla="*/ 25393 w 40557"/>
                  <a:gd name="connsiteY134" fmla="*/ 4056 h 35267"/>
                  <a:gd name="connsiteX135" fmla="*/ 26010 w 40557"/>
                  <a:gd name="connsiteY135" fmla="*/ 4056 h 35267"/>
                  <a:gd name="connsiteX136" fmla="*/ 26274 w 40557"/>
                  <a:gd name="connsiteY136" fmla="*/ 3791 h 35267"/>
                  <a:gd name="connsiteX137" fmla="*/ 26274 w 40557"/>
                  <a:gd name="connsiteY137" fmla="*/ 4056 h 35267"/>
                  <a:gd name="connsiteX138" fmla="*/ 26274 w 40557"/>
                  <a:gd name="connsiteY138" fmla="*/ 4408 h 35267"/>
                  <a:gd name="connsiteX139" fmla="*/ 26539 w 40557"/>
                  <a:gd name="connsiteY139" fmla="*/ 4673 h 35267"/>
                  <a:gd name="connsiteX140" fmla="*/ 26803 w 40557"/>
                  <a:gd name="connsiteY140" fmla="*/ 4673 h 35267"/>
                  <a:gd name="connsiteX141" fmla="*/ 27421 w 40557"/>
                  <a:gd name="connsiteY141" fmla="*/ 4408 h 35267"/>
                  <a:gd name="connsiteX142" fmla="*/ 27685 w 40557"/>
                  <a:gd name="connsiteY142" fmla="*/ 4673 h 35267"/>
                  <a:gd name="connsiteX143" fmla="*/ 28037 w 40557"/>
                  <a:gd name="connsiteY143" fmla="*/ 4937 h 35267"/>
                  <a:gd name="connsiteX144" fmla="*/ 28037 w 40557"/>
                  <a:gd name="connsiteY144" fmla="*/ 5202 h 35267"/>
                  <a:gd name="connsiteX145" fmla="*/ 28037 w 40557"/>
                  <a:gd name="connsiteY145" fmla="*/ 5819 h 35267"/>
                  <a:gd name="connsiteX146" fmla="*/ 28037 w 40557"/>
                  <a:gd name="connsiteY146" fmla="*/ 6084 h 35267"/>
                  <a:gd name="connsiteX147" fmla="*/ 28037 w 40557"/>
                  <a:gd name="connsiteY147" fmla="*/ 6701 h 35267"/>
                  <a:gd name="connsiteX148" fmla="*/ 28037 w 40557"/>
                  <a:gd name="connsiteY148" fmla="*/ 7318 h 35267"/>
                  <a:gd name="connsiteX149" fmla="*/ 28037 w 40557"/>
                  <a:gd name="connsiteY149" fmla="*/ 7582 h 35267"/>
                  <a:gd name="connsiteX150" fmla="*/ 28302 w 40557"/>
                  <a:gd name="connsiteY150" fmla="*/ 7847 h 35267"/>
                  <a:gd name="connsiteX151" fmla="*/ 28566 w 40557"/>
                  <a:gd name="connsiteY151" fmla="*/ 7582 h 35267"/>
                  <a:gd name="connsiteX152" fmla="*/ 28919 w 40557"/>
                  <a:gd name="connsiteY152" fmla="*/ 7318 h 35267"/>
                  <a:gd name="connsiteX153" fmla="*/ 29184 w 40557"/>
                  <a:gd name="connsiteY153" fmla="*/ 6965 h 35267"/>
                  <a:gd name="connsiteX154" fmla="*/ 29448 w 40557"/>
                  <a:gd name="connsiteY154" fmla="*/ 6701 h 35267"/>
                  <a:gd name="connsiteX155" fmla="*/ 29801 w 40557"/>
                  <a:gd name="connsiteY155" fmla="*/ 6701 h 35267"/>
                  <a:gd name="connsiteX156" fmla="*/ 30065 w 40557"/>
                  <a:gd name="connsiteY156" fmla="*/ 6965 h 35267"/>
                  <a:gd name="connsiteX157" fmla="*/ 30330 w 40557"/>
                  <a:gd name="connsiteY157" fmla="*/ 7318 h 35267"/>
                  <a:gd name="connsiteX158" fmla="*/ 30330 w 40557"/>
                  <a:gd name="connsiteY158" fmla="*/ 7847 h 35267"/>
                  <a:gd name="connsiteX159" fmla="*/ 30330 w 40557"/>
                  <a:gd name="connsiteY159" fmla="*/ 8200 h 35267"/>
                  <a:gd name="connsiteX160" fmla="*/ 30330 w 40557"/>
                  <a:gd name="connsiteY160" fmla="*/ 8729 h 35267"/>
                  <a:gd name="connsiteX161" fmla="*/ 30683 w 40557"/>
                  <a:gd name="connsiteY161" fmla="*/ 9081 h 35267"/>
                  <a:gd name="connsiteX162" fmla="*/ 30947 w 40557"/>
                  <a:gd name="connsiteY162" fmla="*/ 9346 h 35267"/>
                  <a:gd name="connsiteX163" fmla="*/ 31212 w 40557"/>
                  <a:gd name="connsiteY163" fmla="*/ 9610 h 35267"/>
                  <a:gd name="connsiteX164" fmla="*/ 31564 w 40557"/>
                  <a:gd name="connsiteY164" fmla="*/ 9610 h 35267"/>
                  <a:gd name="connsiteX165" fmla="*/ 31829 w 40557"/>
                  <a:gd name="connsiteY165" fmla="*/ 9610 h 35267"/>
                  <a:gd name="connsiteX166" fmla="*/ 32358 w 40557"/>
                  <a:gd name="connsiteY166" fmla="*/ 9610 h 35267"/>
                  <a:gd name="connsiteX167" fmla="*/ 32710 w 40557"/>
                  <a:gd name="connsiteY167" fmla="*/ 9610 h 35267"/>
                  <a:gd name="connsiteX168" fmla="*/ 33239 w 40557"/>
                  <a:gd name="connsiteY168" fmla="*/ 9610 h 35267"/>
                  <a:gd name="connsiteX169" fmla="*/ 33592 w 40557"/>
                  <a:gd name="connsiteY169" fmla="*/ 9610 h 35267"/>
                  <a:gd name="connsiteX170" fmla="*/ 33857 w 40557"/>
                  <a:gd name="connsiteY170" fmla="*/ 9875 h 35267"/>
                  <a:gd name="connsiteX171" fmla="*/ 34121 w 40557"/>
                  <a:gd name="connsiteY171" fmla="*/ 10228 h 35267"/>
                  <a:gd name="connsiteX172" fmla="*/ 34474 w 40557"/>
                  <a:gd name="connsiteY172" fmla="*/ 10492 h 35267"/>
                  <a:gd name="connsiteX173" fmla="*/ 34738 w 40557"/>
                  <a:gd name="connsiteY173" fmla="*/ 10757 h 35267"/>
                  <a:gd name="connsiteX174" fmla="*/ 34738 w 40557"/>
                  <a:gd name="connsiteY174" fmla="*/ 11374 h 35267"/>
                  <a:gd name="connsiteX175" fmla="*/ 34738 w 40557"/>
                  <a:gd name="connsiteY175" fmla="*/ 11638 h 35267"/>
                  <a:gd name="connsiteX176" fmla="*/ 34474 w 40557"/>
                  <a:gd name="connsiteY176" fmla="*/ 12255 h 35267"/>
                  <a:gd name="connsiteX177" fmla="*/ 34474 w 40557"/>
                  <a:gd name="connsiteY177" fmla="*/ 12520 h 35267"/>
                  <a:gd name="connsiteX178" fmla="*/ 34474 w 40557"/>
                  <a:gd name="connsiteY178" fmla="*/ 12784 h 35267"/>
                  <a:gd name="connsiteX179" fmla="*/ 34121 w 40557"/>
                  <a:gd name="connsiteY179" fmla="*/ 13137 h 35267"/>
                  <a:gd name="connsiteX180" fmla="*/ 34121 w 40557"/>
                  <a:gd name="connsiteY180" fmla="*/ 13402 h 35267"/>
                  <a:gd name="connsiteX181" fmla="*/ 34121 w 40557"/>
                  <a:gd name="connsiteY181" fmla="*/ 13666 h 35267"/>
                  <a:gd name="connsiteX182" fmla="*/ 34738 w 40557"/>
                  <a:gd name="connsiteY182" fmla="*/ 13666 h 35267"/>
                  <a:gd name="connsiteX183" fmla="*/ 35003 w 40557"/>
                  <a:gd name="connsiteY183" fmla="*/ 13402 h 35267"/>
                  <a:gd name="connsiteX184" fmla="*/ 35620 w 40557"/>
                  <a:gd name="connsiteY184" fmla="*/ 13402 h 35267"/>
                  <a:gd name="connsiteX185" fmla="*/ 35885 w 40557"/>
                  <a:gd name="connsiteY185" fmla="*/ 13402 h 35267"/>
                  <a:gd name="connsiteX186" fmla="*/ 36502 w 40557"/>
                  <a:gd name="connsiteY186" fmla="*/ 13402 h 35267"/>
                  <a:gd name="connsiteX187" fmla="*/ 36766 w 40557"/>
                  <a:gd name="connsiteY187" fmla="*/ 13402 h 35267"/>
                  <a:gd name="connsiteX188" fmla="*/ 37031 w 40557"/>
                  <a:gd name="connsiteY188" fmla="*/ 13402 h 35267"/>
                  <a:gd name="connsiteX189" fmla="*/ 37648 w 40557"/>
                  <a:gd name="connsiteY189" fmla="*/ 13666 h 35267"/>
                  <a:gd name="connsiteX190" fmla="*/ 37912 w 40557"/>
                  <a:gd name="connsiteY190" fmla="*/ 13666 h 35267"/>
                  <a:gd name="connsiteX191" fmla="*/ 38177 w 40557"/>
                  <a:gd name="connsiteY191" fmla="*/ 13402 h 35267"/>
                  <a:gd name="connsiteX192" fmla="*/ 38530 w 40557"/>
                  <a:gd name="connsiteY192" fmla="*/ 13666 h 35267"/>
                  <a:gd name="connsiteX193" fmla="*/ 38794 w 40557"/>
                  <a:gd name="connsiteY193" fmla="*/ 14019 h 35267"/>
                  <a:gd name="connsiteX194" fmla="*/ 39059 w 40557"/>
                  <a:gd name="connsiteY194" fmla="*/ 14283 h 35267"/>
                  <a:gd name="connsiteX195" fmla="*/ 39411 w 40557"/>
                  <a:gd name="connsiteY195" fmla="*/ 14283 h 35267"/>
                  <a:gd name="connsiteX196" fmla="*/ 40029 w 40557"/>
                  <a:gd name="connsiteY196" fmla="*/ 14548 h 35267"/>
                  <a:gd name="connsiteX197" fmla="*/ 40293 w 40557"/>
                  <a:gd name="connsiteY197" fmla="*/ 14548 h 35267"/>
                  <a:gd name="connsiteX198" fmla="*/ 40293 w 40557"/>
                  <a:gd name="connsiteY198" fmla="*/ 14900 h 35267"/>
                  <a:gd name="connsiteX199" fmla="*/ 40293 w 40557"/>
                  <a:gd name="connsiteY199" fmla="*/ 15165 h 35267"/>
                  <a:gd name="connsiteX200" fmla="*/ 40558 w 40557"/>
                  <a:gd name="connsiteY200" fmla="*/ 15429 h 35267"/>
                  <a:gd name="connsiteX201" fmla="*/ 40558 w 40557"/>
                  <a:gd name="connsiteY201" fmla="*/ 15782 h 35267"/>
                  <a:gd name="connsiteX202" fmla="*/ 40293 w 40557"/>
                  <a:gd name="connsiteY202" fmla="*/ 16047 h 35267"/>
                  <a:gd name="connsiteX203" fmla="*/ 40029 w 40557"/>
                  <a:gd name="connsiteY203" fmla="*/ 16047 h 35267"/>
                  <a:gd name="connsiteX204" fmla="*/ 40029 w 40557"/>
                  <a:gd name="connsiteY204" fmla="*/ 16311 h 35267"/>
                  <a:gd name="connsiteX205" fmla="*/ 39676 w 40557"/>
                  <a:gd name="connsiteY205" fmla="*/ 16664 h 35267"/>
                  <a:gd name="connsiteX206" fmla="*/ 39411 w 40557"/>
                  <a:gd name="connsiteY206" fmla="*/ 16664 h 35267"/>
                  <a:gd name="connsiteX207" fmla="*/ 39059 w 40557"/>
                  <a:gd name="connsiteY207" fmla="*/ 16928 h 35267"/>
                  <a:gd name="connsiteX208" fmla="*/ 39059 w 40557"/>
                  <a:gd name="connsiteY208" fmla="*/ 17193 h 35267"/>
                  <a:gd name="connsiteX209" fmla="*/ 38794 w 40557"/>
                  <a:gd name="connsiteY209" fmla="*/ 17810 h 35267"/>
                  <a:gd name="connsiteX210" fmla="*/ 38530 w 40557"/>
                  <a:gd name="connsiteY210" fmla="*/ 18075 h 35267"/>
                  <a:gd name="connsiteX211" fmla="*/ 38530 w 40557"/>
                  <a:gd name="connsiteY211" fmla="*/ 18956 h 35267"/>
                  <a:gd name="connsiteX212" fmla="*/ 38177 w 40557"/>
                  <a:gd name="connsiteY212" fmla="*/ 19573 h 35267"/>
                  <a:gd name="connsiteX213" fmla="*/ 38530 w 40557"/>
                  <a:gd name="connsiteY213" fmla="*/ 20102 h 35267"/>
                  <a:gd name="connsiteX214" fmla="*/ 38530 w 40557"/>
                  <a:gd name="connsiteY214" fmla="*/ 20367 h 35267"/>
                  <a:gd name="connsiteX215" fmla="*/ 38794 w 40557"/>
                  <a:gd name="connsiteY215" fmla="*/ 20720 h 35267"/>
                  <a:gd name="connsiteX216" fmla="*/ 38530 w 40557"/>
                  <a:gd name="connsiteY216" fmla="*/ 21249 h 35267"/>
                  <a:gd name="connsiteX217" fmla="*/ 37912 w 40557"/>
                  <a:gd name="connsiteY217" fmla="*/ 21866 h 35267"/>
                  <a:gd name="connsiteX218" fmla="*/ 37648 w 40557"/>
                  <a:gd name="connsiteY218" fmla="*/ 22483 h 35267"/>
                  <a:gd name="connsiteX219" fmla="*/ 37648 w 40557"/>
                  <a:gd name="connsiteY219" fmla="*/ 23365 h 35267"/>
                  <a:gd name="connsiteX220" fmla="*/ 37383 w 40557"/>
                  <a:gd name="connsiteY220" fmla="*/ 24158 h 35267"/>
                  <a:gd name="connsiteX221" fmla="*/ 37383 w 40557"/>
                  <a:gd name="connsiteY221" fmla="*/ 24511 h 35267"/>
                  <a:gd name="connsiteX222" fmla="*/ 37383 w 40557"/>
                  <a:gd name="connsiteY222" fmla="*/ 24775 h 35267"/>
                  <a:gd name="connsiteX223" fmla="*/ 37383 w 40557"/>
                  <a:gd name="connsiteY223" fmla="*/ 25040 h 35267"/>
                  <a:gd name="connsiteX224" fmla="*/ 37383 w 40557"/>
                  <a:gd name="connsiteY224" fmla="*/ 25393 h 35267"/>
                  <a:gd name="connsiteX225" fmla="*/ 37031 w 40557"/>
                  <a:gd name="connsiteY225" fmla="*/ 25393 h 35267"/>
                  <a:gd name="connsiteX226" fmla="*/ 36502 w 40557"/>
                  <a:gd name="connsiteY226" fmla="*/ 26539 h 35267"/>
                  <a:gd name="connsiteX227" fmla="*/ 35003 w 40557"/>
                  <a:gd name="connsiteY227" fmla="*/ 27156 h 35267"/>
                  <a:gd name="connsiteX228" fmla="*/ 33857 w 40557"/>
                  <a:gd name="connsiteY228" fmla="*/ 26803 h 35267"/>
                  <a:gd name="connsiteX229" fmla="*/ 32710 w 40557"/>
                  <a:gd name="connsiteY229" fmla="*/ 26803 h 35267"/>
                  <a:gd name="connsiteX230" fmla="*/ 32093 w 40557"/>
                  <a:gd name="connsiteY230" fmla="*/ 26539 h 35267"/>
                  <a:gd name="connsiteX231" fmla="*/ 32093 w 40557"/>
                  <a:gd name="connsiteY231" fmla="*/ 26274 h 35267"/>
                  <a:gd name="connsiteX232" fmla="*/ 31564 w 40557"/>
                  <a:gd name="connsiteY232" fmla="*/ 25922 h 35267"/>
                  <a:gd name="connsiteX233" fmla="*/ 30683 w 40557"/>
                  <a:gd name="connsiteY233" fmla="*/ 26539 h 35267"/>
                  <a:gd name="connsiteX234" fmla="*/ 31829 w 40557"/>
                  <a:gd name="connsiteY234" fmla="*/ 27685 h 35267"/>
                  <a:gd name="connsiteX235" fmla="*/ 31829 w 40557"/>
                  <a:gd name="connsiteY235" fmla="*/ 28302 h 35267"/>
                  <a:gd name="connsiteX236" fmla="*/ 31564 w 40557"/>
                  <a:gd name="connsiteY236" fmla="*/ 28567 h 35267"/>
                  <a:gd name="connsiteX237" fmla="*/ 30947 w 40557"/>
                  <a:gd name="connsiteY237" fmla="*/ 28302 h 35267"/>
                  <a:gd name="connsiteX238" fmla="*/ 30330 w 40557"/>
                  <a:gd name="connsiteY238" fmla="*/ 27685 h 35267"/>
                  <a:gd name="connsiteX239" fmla="*/ 29801 w 40557"/>
                  <a:gd name="connsiteY239" fmla="*/ 27949 h 35267"/>
                  <a:gd name="connsiteX240" fmla="*/ 29184 w 40557"/>
                  <a:gd name="connsiteY240" fmla="*/ 27949 h 35267"/>
                  <a:gd name="connsiteX241" fmla="*/ 28566 w 40557"/>
                  <a:gd name="connsiteY241" fmla="*/ 29184 h 35267"/>
                  <a:gd name="connsiteX242" fmla="*/ 28037 w 40557"/>
                  <a:gd name="connsiteY242" fmla="*/ 29184 h 35267"/>
                  <a:gd name="connsiteX243" fmla="*/ 28037 w 40557"/>
                  <a:gd name="connsiteY243" fmla="*/ 30330 h 35267"/>
                  <a:gd name="connsiteX244" fmla="*/ 27685 w 40557"/>
                  <a:gd name="connsiteY244" fmla="*/ 30594 h 35267"/>
                  <a:gd name="connsiteX245" fmla="*/ 26803 w 40557"/>
                  <a:gd name="connsiteY245" fmla="*/ 30594 h 35267"/>
                  <a:gd name="connsiteX246" fmla="*/ 26803 w 40557"/>
                  <a:gd name="connsiteY246" fmla="*/ 30947 h 35267"/>
                  <a:gd name="connsiteX247" fmla="*/ 26803 w 40557"/>
                  <a:gd name="connsiteY247" fmla="*/ 31741 h 35267"/>
                  <a:gd name="connsiteX248" fmla="*/ 26539 w 40557"/>
                  <a:gd name="connsiteY248" fmla="*/ 32622 h 35267"/>
                  <a:gd name="connsiteX249" fmla="*/ 26274 w 40557"/>
                  <a:gd name="connsiteY249" fmla="*/ 33240 h 35267"/>
                  <a:gd name="connsiteX250" fmla="*/ 25657 w 40557"/>
                  <a:gd name="connsiteY250" fmla="*/ 32358 h 35267"/>
                  <a:gd name="connsiteX251" fmla="*/ 25657 w 40557"/>
                  <a:gd name="connsiteY251" fmla="*/ 31476 h 35267"/>
                  <a:gd name="connsiteX252" fmla="*/ 25128 w 40557"/>
                  <a:gd name="connsiteY252" fmla="*/ 31212 h 35267"/>
                  <a:gd name="connsiteX253" fmla="*/ 24775 w 40557"/>
                  <a:gd name="connsiteY253" fmla="*/ 30330 h 35267"/>
                  <a:gd name="connsiteX254" fmla="*/ 24246 w 40557"/>
                  <a:gd name="connsiteY254" fmla="*/ 30065 h 35267"/>
                  <a:gd name="connsiteX255" fmla="*/ 23629 w 40557"/>
                  <a:gd name="connsiteY255" fmla="*/ 29713 h 35267"/>
                  <a:gd name="connsiteX256" fmla="*/ 21601 w 40557"/>
                  <a:gd name="connsiteY256" fmla="*/ 30065 h 35267"/>
                  <a:gd name="connsiteX257" fmla="*/ 20191 w 40557"/>
                  <a:gd name="connsiteY257" fmla="*/ 30065 h 35267"/>
                  <a:gd name="connsiteX258" fmla="*/ 19573 w 40557"/>
                  <a:gd name="connsiteY258" fmla="*/ 30594 h 35267"/>
                  <a:gd name="connsiteX259" fmla="*/ 19573 w 40557"/>
                  <a:gd name="connsiteY259" fmla="*/ 31212 h 35267"/>
                  <a:gd name="connsiteX260" fmla="*/ 18692 w 40557"/>
                  <a:gd name="connsiteY260" fmla="*/ 31476 h 35267"/>
                  <a:gd name="connsiteX261" fmla="*/ 18074 w 40557"/>
                  <a:gd name="connsiteY261" fmla="*/ 32358 h 35267"/>
                  <a:gd name="connsiteX262" fmla="*/ 18074 w 40557"/>
                  <a:gd name="connsiteY262" fmla="*/ 33240 h 3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40557" h="35267">
                    <a:moveTo>
                      <a:pt x="17810" y="33857"/>
                    </a:moveTo>
                    <a:lnTo>
                      <a:pt x="17193" y="35267"/>
                    </a:lnTo>
                    <a:lnTo>
                      <a:pt x="16047" y="35267"/>
                    </a:lnTo>
                    <a:lnTo>
                      <a:pt x="14900" y="35267"/>
                    </a:lnTo>
                    <a:lnTo>
                      <a:pt x="14900" y="34738"/>
                    </a:lnTo>
                    <a:lnTo>
                      <a:pt x="14283" y="33857"/>
                    </a:lnTo>
                    <a:lnTo>
                      <a:pt x="14636" y="32975"/>
                    </a:lnTo>
                    <a:lnTo>
                      <a:pt x="13401" y="32358"/>
                    </a:lnTo>
                    <a:lnTo>
                      <a:pt x="13401" y="30594"/>
                    </a:lnTo>
                    <a:lnTo>
                      <a:pt x="12608" y="28567"/>
                    </a:lnTo>
                    <a:lnTo>
                      <a:pt x="11727" y="27420"/>
                    </a:lnTo>
                    <a:lnTo>
                      <a:pt x="10492" y="26803"/>
                    </a:lnTo>
                    <a:lnTo>
                      <a:pt x="9963" y="26274"/>
                    </a:lnTo>
                    <a:lnTo>
                      <a:pt x="7318" y="25922"/>
                    </a:lnTo>
                    <a:lnTo>
                      <a:pt x="6172" y="25040"/>
                    </a:lnTo>
                    <a:lnTo>
                      <a:pt x="4937" y="23629"/>
                    </a:lnTo>
                    <a:lnTo>
                      <a:pt x="5290" y="22483"/>
                    </a:lnTo>
                    <a:lnTo>
                      <a:pt x="4673" y="20984"/>
                    </a:lnTo>
                    <a:lnTo>
                      <a:pt x="2028" y="19221"/>
                    </a:lnTo>
                    <a:lnTo>
                      <a:pt x="1499" y="18692"/>
                    </a:lnTo>
                    <a:lnTo>
                      <a:pt x="617" y="17810"/>
                    </a:lnTo>
                    <a:lnTo>
                      <a:pt x="0" y="17457"/>
                    </a:lnTo>
                    <a:lnTo>
                      <a:pt x="0" y="16928"/>
                    </a:lnTo>
                    <a:lnTo>
                      <a:pt x="0" y="16311"/>
                    </a:lnTo>
                    <a:lnTo>
                      <a:pt x="882" y="15429"/>
                    </a:lnTo>
                    <a:lnTo>
                      <a:pt x="1499" y="15782"/>
                    </a:lnTo>
                    <a:lnTo>
                      <a:pt x="2028" y="16311"/>
                    </a:lnTo>
                    <a:lnTo>
                      <a:pt x="2645" y="16311"/>
                    </a:lnTo>
                    <a:lnTo>
                      <a:pt x="3262" y="16664"/>
                    </a:lnTo>
                    <a:lnTo>
                      <a:pt x="3527" y="16047"/>
                    </a:lnTo>
                    <a:lnTo>
                      <a:pt x="3262" y="15165"/>
                    </a:lnTo>
                    <a:lnTo>
                      <a:pt x="3791" y="14548"/>
                    </a:lnTo>
                    <a:lnTo>
                      <a:pt x="4408" y="14019"/>
                    </a:lnTo>
                    <a:lnTo>
                      <a:pt x="4937" y="13666"/>
                    </a:lnTo>
                    <a:lnTo>
                      <a:pt x="5290" y="13666"/>
                    </a:lnTo>
                    <a:lnTo>
                      <a:pt x="5819" y="13666"/>
                    </a:lnTo>
                    <a:lnTo>
                      <a:pt x="6436" y="13402"/>
                    </a:lnTo>
                    <a:lnTo>
                      <a:pt x="7318" y="13402"/>
                    </a:lnTo>
                    <a:lnTo>
                      <a:pt x="7583" y="13402"/>
                    </a:lnTo>
                    <a:lnTo>
                      <a:pt x="7935" y="13402"/>
                    </a:lnTo>
                    <a:lnTo>
                      <a:pt x="7935" y="13137"/>
                    </a:lnTo>
                    <a:lnTo>
                      <a:pt x="8200" y="12784"/>
                    </a:lnTo>
                    <a:lnTo>
                      <a:pt x="8200" y="12255"/>
                    </a:lnTo>
                    <a:lnTo>
                      <a:pt x="8464" y="11991"/>
                    </a:lnTo>
                    <a:lnTo>
                      <a:pt x="8729" y="11638"/>
                    </a:lnTo>
                    <a:lnTo>
                      <a:pt x="9346" y="11638"/>
                    </a:lnTo>
                    <a:lnTo>
                      <a:pt x="9610" y="11374"/>
                    </a:lnTo>
                    <a:lnTo>
                      <a:pt x="9963" y="11374"/>
                    </a:lnTo>
                    <a:lnTo>
                      <a:pt x="10492" y="11109"/>
                    </a:lnTo>
                    <a:lnTo>
                      <a:pt x="10845" y="11109"/>
                    </a:lnTo>
                    <a:lnTo>
                      <a:pt x="11374" y="11109"/>
                    </a:lnTo>
                    <a:lnTo>
                      <a:pt x="11991" y="11109"/>
                    </a:lnTo>
                    <a:lnTo>
                      <a:pt x="12256" y="11109"/>
                    </a:lnTo>
                    <a:lnTo>
                      <a:pt x="12873" y="11109"/>
                    </a:lnTo>
                    <a:lnTo>
                      <a:pt x="13137" y="10757"/>
                    </a:lnTo>
                    <a:lnTo>
                      <a:pt x="13137" y="10492"/>
                    </a:lnTo>
                    <a:lnTo>
                      <a:pt x="13137" y="10228"/>
                    </a:lnTo>
                    <a:lnTo>
                      <a:pt x="13137" y="9875"/>
                    </a:lnTo>
                    <a:lnTo>
                      <a:pt x="12873" y="9610"/>
                    </a:lnTo>
                    <a:lnTo>
                      <a:pt x="12608" y="9346"/>
                    </a:lnTo>
                    <a:lnTo>
                      <a:pt x="12608" y="8729"/>
                    </a:lnTo>
                    <a:lnTo>
                      <a:pt x="12608" y="8464"/>
                    </a:lnTo>
                    <a:lnTo>
                      <a:pt x="13137" y="8200"/>
                    </a:lnTo>
                    <a:lnTo>
                      <a:pt x="13401" y="7847"/>
                    </a:lnTo>
                    <a:lnTo>
                      <a:pt x="14019" y="7847"/>
                    </a:lnTo>
                    <a:lnTo>
                      <a:pt x="14283" y="7582"/>
                    </a:lnTo>
                    <a:lnTo>
                      <a:pt x="14636" y="7582"/>
                    </a:lnTo>
                    <a:lnTo>
                      <a:pt x="14900" y="6965"/>
                    </a:lnTo>
                    <a:lnTo>
                      <a:pt x="14900" y="6701"/>
                    </a:lnTo>
                    <a:lnTo>
                      <a:pt x="15165" y="6436"/>
                    </a:lnTo>
                    <a:lnTo>
                      <a:pt x="15518" y="6701"/>
                    </a:lnTo>
                    <a:lnTo>
                      <a:pt x="15518" y="7318"/>
                    </a:lnTo>
                    <a:lnTo>
                      <a:pt x="16047" y="7318"/>
                    </a:lnTo>
                    <a:lnTo>
                      <a:pt x="16399" y="6965"/>
                    </a:lnTo>
                    <a:lnTo>
                      <a:pt x="16664" y="6965"/>
                    </a:lnTo>
                    <a:lnTo>
                      <a:pt x="16928" y="7318"/>
                    </a:lnTo>
                    <a:lnTo>
                      <a:pt x="17193" y="6965"/>
                    </a:lnTo>
                    <a:lnTo>
                      <a:pt x="16928" y="6701"/>
                    </a:lnTo>
                    <a:lnTo>
                      <a:pt x="17193" y="6436"/>
                    </a:lnTo>
                    <a:lnTo>
                      <a:pt x="16928" y="6084"/>
                    </a:lnTo>
                    <a:lnTo>
                      <a:pt x="16664" y="5555"/>
                    </a:lnTo>
                    <a:lnTo>
                      <a:pt x="16928" y="5202"/>
                    </a:lnTo>
                    <a:lnTo>
                      <a:pt x="16928" y="4937"/>
                    </a:lnTo>
                    <a:lnTo>
                      <a:pt x="16664" y="4673"/>
                    </a:lnTo>
                    <a:lnTo>
                      <a:pt x="16399" y="4408"/>
                    </a:lnTo>
                    <a:lnTo>
                      <a:pt x="16399" y="4056"/>
                    </a:lnTo>
                    <a:lnTo>
                      <a:pt x="16399" y="3791"/>
                    </a:lnTo>
                    <a:lnTo>
                      <a:pt x="16047" y="3791"/>
                    </a:lnTo>
                    <a:lnTo>
                      <a:pt x="15782" y="3791"/>
                    </a:lnTo>
                    <a:lnTo>
                      <a:pt x="15782" y="3527"/>
                    </a:lnTo>
                    <a:lnTo>
                      <a:pt x="15165" y="3527"/>
                    </a:lnTo>
                    <a:lnTo>
                      <a:pt x="14900" y="3527"/>
                    </a:lnTo>
                    <a:lnTo>
                      <a:pt x="14636" y="2910"/>
                    </a:lnTo>
                    <a:lnTo>
                      <a:pt x="14900" y="2645"/>
                    </a:lnTo>
                    <a:lnTo>
                      <a:pt x="15165" y="2645"/>
                    </a:lnTo>
                    <a:lnTo>
                      <a:pt x="15782" y="2292"/>
                    </a:lnTo>
                    <a:lnTo>
                      <a:pt x="16399" y="2292"/>
                    </a:lnTo>
                    <a:lnTo>
                      <a:pt x="16399" y="2645"/>
                    </a:lnTo>
                    <a:lnTo>
                      <a:pt x="16664" y="2645"/>
                    </a:lnTo>
                    <a:lnTo>
                      <a:pt x="16664" y="2292"/>
                    </a:lnTo>
                    <a:lnTo>
                      <a:pt x="16928" y="2028"/>
                    </a:lnTo>
                    <a:lnTo>
                      <a:pt x="17545" y="2028"/>
                    </a:lnTo>
                    <a:lnTo>
                      <a:pt x="17810" y="1763"/>
                    </a:lnTo>
                    <a:lnTo>
                      <a:pt x="18074" y="1411"/>
                    </a:lnTo>
                    <a:lnTo>
                      <a:pt x="18339" y="1146"/>
                    </a:lnTo>
                    <a:lnTo>
                      <a:pt x="18692" y="882"/>
                    </a:lnTo>
                    <a:lnTo>
                      <a:pt x="18956" y="617"/>
                    </a:lnTo>
                    <a:lnTo>
                      <a:pt x="19221" y="264"/>
                    </a:lnTo>
                    <a:lnTo>
                      <a:pt x="19221" y="0"/>
                    </a:lnTo>
                    <a:lnTo>
                      <a:pt x="19838" y="0"/>
                    </a:lnTo>
                    <a:lnTo>
                      <a:pt x="20455" y="0"/>
                    </a:lnTo>
                    <a:lnTo>
                      <a:pt x="20720" y="264"/>
                    </a:lnTo>
                    <a:lnTo>
                      <a:pt x="20984" y="617"/>
                    </a:lnTo>
                    <a:lnTo>
                      <a:pt x="20984" y="882"/>
                    </a:lnTo>
                    <a:lnTo>
                      <a:pt x="21337" y="1146"/>
                    </a:lnTo>
                    <a:lnTo>
                      <a:pt x="21866" y="1146"/>
                    </a:lnTo>
                    <a:lnTo>
                      <a:pt x="22218" y="1146"/>
                    </a:lnTo>
                    <a:lnTo>
                      <a:pt x="22483" y="1411"/>
                    </a:lnTo>
                    <a:lnTo>
                      <a:pt x="22748" y="2028"/>
                    </a:lnTo>
                    <a:lnTo>
                      <a:pt x="22483" y="2292"/>
                    </a:lnTo>
                    <a:lnTo>
                      <a:pt x="22483" y="2645"/>
                    </a:lnTo>
                    <a:lnTo>
                      <a:pt x="21866" y="2645"/>
                    </a:lnTo>
                    <a:lnTo>
                      <a:pt x="21601" y="2910"/>
                    </a:lnTo>
                    <a:lnTo>
                      <a:pt x="21337" y="2910"/>
                    </a:lnTo>
                    <a:lnTo>
                      <a:pt x="20984" y="3527"/>
                    </a:lnTo>
                    <a:lnTo>
                      <a:pt x="20984" y="3791"/>
                    </a:lnTo>
                    <a:lnTo>
                      <a:pt x="21337" y="3791"/>
                    </a:lnTo>
                    <a:lnTo>
                      <a:pt x="21866" y="3791"/>
                    </a:lnTo>
                    <a:lnTo>
                      <a:pt x="23012" y="3791"/>
                    </a:lnTo>
                    <a:lnTo>
                      <a:pt x="23629" y="4056"/>
                    </a:lnTo>
                    <a:lnTo>
                      <a:pt x="23894" y="4056"/>
                    </a:lnTo>
                    <a:lnTo>
                      <a:pt x="24246" y="4056"/>
                    </a:lnTo>
                    <a:lnTo>
                      <a:pt x="24775" y="3791"/>
                    </a:lnTo>
                    <a:lnTo>
                      <a:pt x="25128" y="4056"/>
                    </a:lnTo>
                    <a:lnTo>
                      <a:pt x="25393" y="4056"/>
                    </a:lnTo>
                    <a:lnTo>
                      <a:pt x="26010" y="4056"/>
                    </a:lnTo>
                    <a:lnTo>
                      <a:pt x="26274" y="3791"/>
                    </a:lnTo>
                    <a:lnTo>
                      <a:pt x="26274" y="4056"/>
                    </a:lnTo>
                    <a:lnTo>
                      <a:pt x="26274" y="4408"/>
                    </a:lnTo>
                    <a:lnTo>
                      <a:pt x="26539" y="4673"/>
                    </a:lnTo>
                    <a:lnTo>
                      <a:pt x="26803" y="4673"/>
                    </a:lnTo>
                    <a:lnTo>
                      <a:pt x="27421" y="4408"/>
                    </a:lnTo>
                    <a:lnTo>
                      <a:pt x="27685" y="4673"/>
                    </a:lnTo>
                    <a:lnTo>
                      <a:pt x="28037" y="4937"/>
                    </a:lnTo>
                    <a:lnTo>
                      <a:pt x="28037" y="5202"/>
                    </a:lnTo>
                    <a:lnTo>
                      <a:pt x="28037" y="5819"/>
                    </a:lnTo>
                    <a:lnTo>
                      <a:pt x="28037" y="6084"/>
                    </a:lnTo>
                    <a:lnTo>
                      <a:pt x="28037" y="6701"/>
                    </a:lnTo>
                    <a:lnTo>
                      <a:pt x="28037" y="7318"/>
                    </a:lnTo>
                    <a:lnTo>
                      <a:pt x="28037" y="7582"/>
                    </a:lnTo>
                    <a:lnTo>
                      <a:pt x="28302" y="7847"/>
                    </a:lnTo>
                    <a:lnTo>
                      <a:pt x="28566" y="7582"/>
                    </a:lnTo>
                    <a:lnTo>
                      <a:pt x="28919" y="7318"/>
                    </a:lnTo>
                    <a:lnTo>
                      <a:pt x="29184" y="6965"/>
                    </a:lnTo>
                    <a:lnTo>
                      <a:pt x="29448" y="6701"/>
                    </a:lnTo>
                    <a:lnTo>
                      <a:pt x="29801" y="6701"/>
                    </a:lnTo>
                    <a:lnTo>
                      <a:pt x="30065" y="6965"/>
                    </a:lnTo>
                    <a:lnTo>
                      <a:pt x="30330" y="7318"/>
                    </a:lnTo>
                    <a:lnTo>
                      <a:pt x="30330" y="7847"/>
                    </a:lnTo>
                    <a:lnTo>
                      <a:pt x="30330" y="8200"/>
                    </a:lnTo>
                    <a:lnTo>
                      <a:pt x="30330" y="8729"/>
                    </a:lnTo>
                    <a:lnTo>
                      <a:pt x="30683" y="9081"/>
                    </a:lnTo>
                    <a:lnTo>
                      <a:pt x="30947" y="9346"/>
                    </a:lnTo>
                    <a:lnTo>
                      <a:pt x="31212" y="9610"/>
                    </a:lnTo>
                    <a:lnTo>
                      <a:pt x="31564" y="9610"/>
                    </a:lnTo>
                    <a:lnTo>
                      <a:pt x="31829" y="9610"/>
                    </a:lnTo>
                    <a:lnTo>
                      <a:pt x="32358" y="9610"/>
                    </a:lnTo>
                    <a:lnTo>
                      <a:pt x="32710" y="9610"/>
                    </a:lnTo>
                    <a:lnTo>
                      <a:pt x="33239" y="9610"/>
                    </a:lnTo>
                    <a:lnTo>
                      <a:pt x="33592" y="9610"/>
                    </a:lnTo>
                    <a:lnTo>
                      <a:pt x="33857" y="9875"/>
                    </a:lnTo>
                    <a:lnTo>
                      <a:pt x="34121" y="10228"/>
                    </a:lnTo>
                    <a:lnTo>
                      <a:pt x="34474" y="10492"/>
                    </a:lnTo>
                    <a:lnTo>
                      <a:pt x="34738" y="10757"/>
                    </a:lnTo>
                    <a:lnTo>
                      <a:pt x="34738" y="11374"/>
                    </a:lnTo>
                    <a:lnTo>
                      <a:pt x="34738" y="11638"/>
                    </a:lnTo>
                    <a:lnTo>
                      <a:pt x="34474" y="12255"/>
                    </a:lnTo>
                    <a:lnTo>
                      <a:pt x="34474" y="12520"/>
                    </a:lnTo>
                    <a:lnTo>
                      <a:pt x="34474" y="12784"/>
                    </a:lnTo>
                    <a:lnTo>
                      <a:pt x="34121" y="13137"/>
                    </a:lnTo>
                    <a:lnTo>
                      <a:pt x="34121" y="13402"/>
                    </a:lnTo>
                    <a:lnTo>
                      <a:pt x="34121" y="13666"/>
                    </a:lnTo>
                    <a:lnTo>
                      <a:pt x="34738" y="13666"/>
                    </a:lnTo>
                    <a:lnTo>
                      <a:pt x="35003" y="13402"/>
                    </a:lnTo>
                    <a:lnTo>
                      <a:pt x="35620" y="13402"/>
                    </a:lnTo>
                    <a:lnTo>
                      <a:pt x="35885" y="13402"/>
                    </a:lnTo>
                    <a:lnTo>
                      <a:pt x="36502" y="13402"/>
                    </a:lnTo>
                    <a:lnTo>
                      <a:pt x="36766" y="13402"/>
                    </a:lnTo>
                    <a:lnTo>
                      <a:pt x="37031" y="13402"/>
                    </a:lnTo>
                    <a:lnTo>
                      <a:pt x="37648" y="13666"/>
                    </a:lnTo>
                    <a:lnTo>
                      <a:pt x="37912" y="13666"/>
                    </a:lnTo>
                    <a:lnTo>
                      <a:pt x="38177" y="13402"/>
                    </a:lnTo>
                    <a:lnTo>
                      <a:pt x="38530" y="13666"/>
                    </a:lnTo>
                    <a:lnTo>
                      <a:pt x="38794" y="14019"/>
                    </a:lnTo>
                    <a:lnTo>
                      <a:pt x="39059" y="14283"/>
                    </a:lnTo>
                    <a:lnTo>
                      <a:pt x="39411" y="14283"/>
                    </a:lnTo>
                    <a:lnTo>
                      <a:pt x="40029" y="14548"/>
                    </a:lnTo>
                    <a:lnTo>
                      <a:pt x="40293" y="14548"/>
                    </a:lnTo>
                    <a:lnTo>
                      <a:pt x="40293" y="14900"/>
                    </a:lnTo>
                    <a:lnTo>
                      <a:pt x="40293" y="15165"/>
                    </a:lnTo>
                    <a:lnTo>
                      <a:pt x="40558" y="15429"/>
                    </a:lnTo>
                    <a:lnTo>
                      <a:pt x="40558" y="15782"/>
                    </a:lnTo>
                    <a:lnTo>
                      <a:pt x="40293" y="16047"/>
                    </a:lnTo>
                    <a:lnTo>
                      <a:pt x="40029" y="16047"/>
                    </a:lnTo>
                    <a:lnTo>
                      <a:pt x="40029" y="16311"/>
                    </a:lnTo>
                    <a:lnTo>
                      <a:pt x="39676" y="16664"/>
                    </a:lnTo>
                    <a:lnTo>
                      <a:pt x="39411" y="16664"/>
                    </a:lnTo>
                    <a:lnTo>
                      <a:pt x="39059" y="16928"/>
                    </a:lnTo>
                    <a:lnTo>
                      <a:pt x="39059" y="17193"/>
                    </a:lnTo>
                    <a:lnTo>
                      <a:pt x="38794" y="17810"/>
                    </a:lnTo>
                    <a:lnTo>
                      <a:pt x="38530" y="18075"/>
                    </a:lnTo>
                    <a:lnTo>
                      <a:pt x="38530" y="18956"/>
                    </a:lnTo>
                    <a:lnTo>
                      <a:pt x="38177" y="19573"/>
                    </a:lnTo>
                    <a:lnTo>
                      <a:pt x="38530" y="20102"/>
                    </a:lnTo>
                    <a:lnTo>
                      <a:pt x="38530" y="20367"/>
                    </a:lnTo>
                    <a:lnTo>
                      <a:pt x="38794" y="20720"/>
                    </a:lnTo>
                    <a:lnTo>
                      <a:pt x="38530" y="21249"/>
                    </a:lnTo>
                    <a:lnTo>
                      <a:pt x="37912" y="21866"/>
                    </a:lnTo>
                    <a:lnTo>
                      <a:pt x="37648" y="22483"/>
                    </a:lnTo>
                    <a:lnTo>
                      <a:pt x="37648" y="23365"/>
                    </a:lnTo>
                    <a:lnTo>
                      <a:pt x="37383" y="24158"/>
                    </a:lnTo>
                    <a:lnTo>
                      <a:pt x="37383" y="24511"/>
                    </a:lnTo>
                    <a:lnTo>
                      <a:pt x="37383" y="24775"/>
                    </a:lnTo>
                    <a:lnTo>
                      <a:pt x="37383" y="25040"/>
                    </a:lnTo>
                    <a:lnTo>
                      <a:pt x="37383" y="25393"/>
                    </a:lnTo>
                    <a:lnTo>
                      <a:pt x="37031" y="25393"/>
                    </a:lnTo>
                    <a:lnTo>
                      <a:pt x="36502" y="26539"/>
                    </a:lnTo>
                    <a:lnTo>
                      <a:pt x="35003" y="27156"/>
                    </a:lnTo>
                    <a:lnTo>
                      <a:pt x="33857" y="26803"/>
                    </a:lnTo>
                    <a:lnTo>
                      <a:pt x="32710" y="26803"/>
                    </a:lnTo>
                    <a:lnTo>
                      <a:pt x="32093" y="26539"/>
                    </a:lnTo>
                    <a:lnTo>
                      <a:pt x="32093" y="26274"/>
                    </a:lnTo>
                    <a:lnTo>
                      <a:pt x="31564" y="25922"/>
                    </a:lnTo>
                    <a:lnTo>
                      <a:pt x="30683" y="26539"/>
                    </a:lnTo>
                    <a:lnTo>
                      <a:pt x="31829" y="27685"/>
                    </a:lnTo>
                    <a:lnTo>
                      <a:pt x="31829" y="28302"/>
                    </a:lnTo>
                    <a:lnTo>
                      <a:pt x="31564" y="28567"/>
                    </a:lnTo>
                    <a:lnTo>
                      <a:pt x="30947" y="28302"/>
                    </a:lnTo>
                    <a:lnTo>
                      <a:pt x="30330" y="27685"/>
                    </a:lnTo>
                    <a:lnTo>
                      <a:pt x="29801" y="27949"/>
                    </a:lnTo>
                    <a:lnTo>
                      <a:pt x="29184" y="27949"/>
                    </a:lnTo>
                    <a:lnTo>
                      <a:pt x="28566" y="29184"/>
                    </a:lnTo>
                    <a:lnTo>
                      <a:pt x="28037" y="29184"/>
                    </a:lnTo>
                    <a:lnTo>
                      <a:pt x="28037" y="30330"/>
                    </a:lnTo>
                    <a:lnTo>
                      <a:pt x="27685" y="30594"/>
                    </a:lnTo>
                    <a:lnTo>
                      <a:pt x="26803" y="30594"/>
                    </a:lnTo>
                    <a:lnTo>
                      <a:pt x="26803" y="30947"/>
                    </a:lnTo>
                    <a:lnTo>
                      <a:pt x="26803" y="31741"/>
                    </a:lnTo>
                    <a:lnTo>
                      <a:pt x="26539" y="32622"/>
                    </a:lnTo>
                    <a:lnTo>
                      <a:pt x="26274" y="33240"/>
                    </a:lnTo>
                    <a:lnTo>
                      <a:pt x="25657" y="32358"/>
                    </a:lnTo>
                    <a:lnTo>
                      <a:pt x="25657" y="31476"/>
                    </a:lnTo>
                    <a:lnTo>
                      <a:pt x="25128" y="31212"/>
                    </a:lnTo>
                    <a:lnTo>
                      <a:pt x="24775" y="30330"/>
                    </a:lnTo>
                    <a:lnTo>
                      <a:pt x="24246" y="30065"/>
                    </a:lnTo>
                    <a:lnTo>
                      <a:pt x="23629" y="29713"/>
                    </a:lnTo>
                    <a:lnTo>
                      <a:pt x="21601" y="30065"/>
                    </a:lnTo>
                    <a:lnTo>
                      <a:pt x="20191" y="30065"/>
                    </a:lnTo>
                    <a:lnTo>
                      <a:pt x="19573" y="30594"/>
                    </a:lnTo>
                    <a:lnTo>
                      <a:pt x="19573" y="31212"/>
                    </a:lnTo>
                    <a:lnTo>
                      <a:pt x="18692" y="31476"/>
                    </a:lnTo>
                    <a:lnTo>
                      <a:pt x="18074" y="32358"/>
                    </a:lnTo>
                    <a:lnTo>
                      <a:pt x="18074" y="3324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2" name="Freihandform: Form 1581">
                <a:extLst>
                  <a:ext uri="{FF2B5EF4-FFF2-40B4-BE49-F238E27FC236}">
                    <a16:creationId xmlns:a16="http://schemas.microsoft.com/office/drawing/2014/main" id="{61951817-2ADC-9C51-9B37-49BB10F75487}"/>
                  </a:ext>
                </a:extLst>
              </p:cNvPr>
              <p:cNvSpPr/>
              <p:nvPr/>
            </p:nvSpPr>
            <p:spPr>
              <a:xfrm>
                <a:off x="4383103" y="2942486"/>
                <a:ext cx="128637" cy="68859"/>
              </a:xfrm>
              <a:custGeom>
                <a:avLst/>
                <a:gdLst>
                  <a:gd name="connsiteX0" fmla="*/ 0 w 128637"/>
                  <a:gd name="connsiteY0" fmla="*/ 41704 h 68859"/>
                  <a:gd name="connsiteX1" fmla="*/ 617 w 128637"/>
                  <a:gd name="connsiteY1" fmla="*/ 40028 h 68859"/>
                  <a:gd name="connsiteX2" fmla="*/ 1763 w 128637"/>
                  <a:gd name="connsiteY2" fmla="*/ 39411 h 68859"/>
                  <a:gd name="connsiteX3" fmla="*/ 2909 w 128637"/>
                  <a:gd name="connsiteY3" fmla="*/ 38265 h 68859"/>
                  <a:gd name="connsiteX4" fmla="*/ 4408 w 128637"/>
                  <a:gd name="connsiteY4" fmla="*/ 37648 h 68859"/>
                  <a:gd name="connsiteX5" fmla="*/ 5819 w 128637"/>
                  <a:gd name="connsiteY5" fmla="*/ 38265 h 68859"/>
                  <a:gd name="connsiteX6" fmla="*/ 7847 w 128637"/>
                  <a:gd name="connsiteY6" fmla="*/ 37031 h 68859"/>
                  <a:gd name="connsiteX7" fmla="*/ 7582 w 128637"/>
                  <a:gd name="connsiteY7" fmla="*/ 36502 h 68859"/>
                  <a:gd name="connsiteX8" fmla="*/ 7847 w 128637"/>
                  <a:gd name="connsiteY8" fmla="*/ 35884 h 68859"/>
                  <a:gd name="connsiteX9" fmla="*/ 7847 w 128637"/>
                  <a:gd name="connsiteY9" fmla="*/ 35003 h 68859"/>
                  <a:gd name="connsiteX10" fmla="*/ 6172 w 128637"/>
                  <a:gd name="connsiteY10" fmla="*/ 34738 h 68859"/>
                  <a:gd name="connsiteX11" fmla="*/ 5555 w 128637"/>
                  <a:gd name="connsiteY11" fmla="*/ 34121 h 68859"/>
                  <a:gd name="connsiteX12" fmla="*/ 4408 w 128637"/>
                  <a:gd name="connsiteY12" fmla="*/ 33857 h 68859"/>
                  <a:gd name="connsiteX13" fmla="*/ 5290 w 128637"/>
                  <a:gd name="connsiteY13" fmla="*/ 32710 h 68859"/>
                  <a:gd name="connsiteX14" fmla="*/ 5819 w 128637"/>
                  <a:gd name="connsiteY14" fmla="*/ 31564 h 68859"/>
                  <a:gd name="connsiteX15" fmla="*/ 4937 w 128637"/>
                  <a:gd name="connsiteY15" fmla="*/ 30330 h 68859"/>
                  <a:gd name="connsiteX16" fmla="*/ 5290 w 128637"/>
                  <a:gd name="connsiteY16" fmla="*/ 29801 h 68859"/>
                  <a:gd name="connsiteX17" fmla="*/ 4937 w 128637"/>
                  <a:gd name="connsiteY17" fmla="*/ 28566 h 68859"/>
                  <a:gd name="connsiteX18" fmla="*/ 6701 w 128637"/>
                  <a:gd name="connsiteY18" fmla="*/ 29184 h 68859"/>
                  <a:gd name="connsiteX19" fmla="*/ 7318 w 128637"/>
                  <a:gd name="connsiteY19" fmla="*/ 28566 h 68859"/>
                  <a:gd name="connsiteX20" fmla="*/ 8464 w 128637"/>
                  <a:gd name="connsiteY20" fmla="*/ 28566 h 68859"/>
                  <a:gd name="connsiteX21" fmla="*/ 9346 w 128637"/>
                  <a:gd name="connsiteY21" fmla="*/ 27156 h 68859"/>
                  <a:gd name="connsiteX22" fmla="*/ 9346 w 128637"/>
                  <a:gd name="connsiteY22" fmla="*/ 26010 h 68859"/>
                  <a:gd name="connsiteX23" fmla="*/ 10228 w 128637"/>
                  <a:gd name="connsiteY23" fmla="*/ 24511 h 68859"/>
                  <a:gd name="connsiteX24" fmla="*/ 9346 w 128637"/>
                  <a:gd name="connsiteY24" fmla="*/ 24246 h 68859"/>
                  <a:gd name="connsiteX25" fmla="*/ 9081 w 128637"/>
                  <a:gd name="connsiteY25" fmla="*/ 23365 h 68859"/>
                  <a:gd name="connsiteX26" fmla="*/ 7847 w 128637"/>
                  <a:gd name="connsiteY26" fmla="*/ 23365 h 68859"/>
                  <a:gd name="connsiteX27" fmla="*/ 4408 w 128637"/>
                  <a:gd name="connsiteY27" fmla="*/ 22218 h 68859"/>
                  <a:gd name="connsiteX28" fmla="*/ 4408 w 128637"/>
                  <a:gd name="connsiteY28" fmla="*/ 20984 h 68859"/>
                  <a:gd name="connsiteX29" fmla="*/ 4937 w 128637"/>
                  <a:gd name="connsiteY29" fmla="*/ 21337 h 68859"/>
                  <a:gd name="connsiteX30" fmla="*/ 6701 w 128637"/>
                  <a:gd name="connsiteY30" fmla="*/ 20984 h 68859"/>
                  <a:gd name="connsiteX31" fmla="*/ 6436 w 128637"/>
                  <a:gd name="connsiteY31" fmla="*/ 20455 h 68859"/>
                  <a:gd name="connsiteX32" fmla="*/ 8729 w 128637"/>
                  <a:gd name="connsiteY32" fmla="*/ 19573 h 68859"/>
                  <a:gd name="connsiteX33" fmla="*/ 9963 w 128637"/>
                  <a:gd name="connsiteY33" fmla="*/ 20984 h 68859"/>
                  <a:gd name="connsiteX34" fmla="*/ 9963 w 128637"/>
                  <a:gd name="connsiteY34" fmla="*/ 21601 h 68859"/>
                  <a:gd name="connsiteX35" fmla="*/ 11109 w 128637"/>
                  <a:gd name="connsiteY35" fmla="*/ 21601 h 68859"/>
                  <a:gd name="connsiteX36" fmla="*/ 11991 w 128637"/>
                  <a:gd name="connsiteY36" fmla="*/ 20984 h 68859"/>
                  <a:gd name="connsiteX37" fmla="*/ 12873 w 128637"/>
                  <a:gd name="connsiteY37" fmla="*/ 20984 h 68859"/>
                  <a:gd name="connsiteX38" fmla="*/ 13137 w 128637"/>
                  <a:gd name="connsiteY38" fmla="*/ 21601 h 68859"/>
                  <a:gd name="connsiteX39" fmla="*/ 16928 w 128637"/>
                  <a:gd name="connsiteY39" fmla="*/ 20984 h 68859"/>
                  <a:gd name="connsiteX40" fmla="*/ 16047 w 128637"/>
                  <a:gd name="connsiteY40" fmla="*/ 20191 h 68859"/>
                  <a:gd name="connsiteX41" fmla="*/ 15782 w 128637"/>
                  <a:gd name="connsiteY41" fmla="*/ 19573 h 68859"/>
                  <a:gd name="connsiteX42" fmla="*/ 15782 w 128637"/>
                  <a:gd name="connsiteY42" fmla="*/ 19309 h 68859"/>
                  <a:gd name="connsiteX43" fmla="*/ 15165 w 128637"/>
                  <a:gd name="connsiteY43" fmla="*/ 17810 h 68859"/>
                  <a:gd name="connsiteX44" fmla="*/ 16664 w 128637"/>
                  <a:gd name="connsiteY44" fmla="*/ 17281 h 68859"/>
                  <a:gd name="connsiteX45" fmla="*/ 16664 w 128637"/>
                  <a:gd name="connsiteY45" fmla="*/ 16664 h 68859"/>
                  <a:gd name="connsiteX46" fmla="*/ 17810 w 128637"/>
                  <a:gd name="connsiteY46" fmla="*/ 15518 h 68859"/>
                  <a:gd name="connsiteX47" fmla="*/ 16664 w 128637"/>
                  <a:gd name="connsiteY47" fmla="*/ 15518 h 68859"/>
                  <a:gd name="connsiteX48" fmla="*/ 17545 w 128637"/>
                  <a:gd name="connsiteY48" fmla="*/ 14283 h 68859"/>
                  <a:gd name="connsiteX49" fmla="*/ 19221 w 128637"/>
                  <a:gd name="connsiteY49" fmla="*/ 14283 h 68859"/>
                  <a:gd name="connsiteX50" fmla="*/ 19221 w 128637"/>
                  <a:gd name="connsiteY50" fmla="*/ 14900 h 68859"/>
                  <a:gd name="connsiteX51" fmla="*/ 20102 w 128637"/>
                  <a:gd name="connsiteY51" fmla="*/ 14900 h 68859"/>
                  <a:gd name="connsiteX52" fmla="*/ 23894 w 128637"/>
                  <a:gd name="connsiteY52" fmla="*/ 17281 h 68859"/>
                  <a:gd name="connsiteX53" fmla="*/ 25657 w 128637"/>
                  <a:gd name="connsiteY53" fmla="*/ 17281 h 68859"/>
                  <a:gd name="connsiteX54" fmla="*/ 26803 w 128637"/>
                  <a:gd name="connsiteY54" fmla="*/ 18427 h 68859"/>
                  <a:gd name="connsiteX55" fmla="*/ 28037 w 128637"/>
                  <a:gd name="connsiteY55" fmla="*/ 19573 h 68859"/>
                  <a:gd name="connsiteX56" fmla="*/ 30594 w 128637"/>
                  <a:gd name="connsiteY56" fmla="*/ 20455 h 68859"/>
                  <a:gd name="connsiteX57" fmla="*/ 34474 w 128637"/>
                  <a:gd name="connsiteY57" fmla="*/ 19573 h 68859"/>
                  <a:gd name="connsiteX58" fmla="*/ 40293 w 128637"/>
                  <a:gd name="connsiteY58" fmla="*/ 20984 h 68859"/>
                  <a:gd name="connsiteX59" fmla="*/ 43731 w 128637"/>
                  <a:gd name="connsiteY59" fmla="*/ 19573 h 68859"/>
                  <a:gd name="connsiteX60" fmla="*/ 44966 w 128637"/>
                  <a:gd name="connsiteY60" fmla="*/ 20455 h 68859"/>
                  <a:gd name="connsiteX61" fmla="*/ 45230 w 128637"/>
                  <a:gd name="connsiteY61" fmla="*/ 19573 h 68859"/>
                  <a:gd name="connsiteX62" fmla="*/ 46994 w 128637"/>
                  <a:gd name="connsiteY62" fmla="*/ 19573 h 68859"/>
                  <a:gd name="connsiteX63" fmla="*/ 48757 w 128637"/>
                  <a:gd name="connsiteY63" fmla="*/ 19309 h 68859"/>
                  <a:gd name="connsiteX64" fmla="*/ 51050 w 128637"/>
                  <a:gd name="connsiteY64" fmla="*/ 19309 h 68859"/>
                  <a:gd name="connsiteX65" fmla="*/ 51050 w 128637"/>
                  <a:gd name="connsiteY65" fmla="*/ 18427 h 68859"/>
                  <a:gd name="connsiteX66" fmla="*/ 48757 w 128637"/>
                  <a:gd name="connsiteY66" fmla="*/ 17281 h 68859"/>
                  <a:gd name="connsiteX67" fmla="*/ 48404 w 128637"/>
                  <a:gd name="connsiteY67" fmla="*/ 15518 h 68859"/>
                  <a:gd name="connsiteX68" fmla="*/ 49639 w 128637"/>
                  <a:gd name="connsiteY68" fmla="*/ 14900 h 68859"/>
                  <a:gd name="connsiteX69" fmla="*/ 50521 w 128637"/>
                  <a:gd name="connsiteY69" fmla="*/ 13490 h 68859"/>
                  <a:gd name="connsiteX70" fmla="*/ 52196 w 128637"/>
                  <a:gd name="connsiteY70" fmla="*/ 13490 h 68859"/>
                  <a:gd name="connsiteX71" fmla="*/ 53959 w 128637"/>
                  <a:gd name="connsiteY71" fmla="*/ 13137 h 68859"/>
                  <a:gd name="connsiteX72" fmla="*/ 53959 w 128637"/>
                  <a:gd name="connsiteY72" fmla="*/ 13490 h 68859"/>
                  <a:gd name="connsiteX73" fmla="*/ 57750 w 128637"/>
                  <a:gd name="connsiteY73" fmla="*/ 13490 h 68859"/>
                  <a:gd name="connsiteX74" fmla="*/ 57750 w 128637"/>
                  <a:gd name="connsiteY74" fmla="*/ 13137 h 68859"/>
                  <a:gd name="connsiteX75" fmla="*/ 60660 w 128637"/>
                  <a:gd name="connsiteY75" fmla="*/ 13137 h 68859"/>
                  <a:gd name="connsiteX76" fmla="*/ 62423 w 128637"/>
                  <a:gd name="connsiteY76" fmla="*/ 13137 h 68859"/>
                  <a:gd name="connsiteX77" fmla="*/ 63040 w 128637"/>
                  <a:gd name="connsiteY77" fmla="*/ 9963 h 68859"/>
                  <a:gd name="connsiteX78" fmla="*/ 64187 w 128637"/>
                  <a:gd name="connsiteY78" fmla="*/ 8464 h 68859"/>
                  <a:gd name="connsiteX79" fmla="*/ 65333 w 128637"/>
                  <a:gd name="connsiteY79" fmla="*/ 8464 h 68859"/>
                  <a:gd name="connsiteX80" fmla="*/ 65333 w 128637"/>
                  <a:gd name="connsiteY80" fmla="*/ 9963 h 68859"/>
                  <a:gd name="connsiteX81" fmla="*/ 67096 w 128637"/>
                  <a:gd name="connsiteY81" fmla="*/ 9963 h 68859"/>
                  <a:gd name="connsiteX82" fmla="*/ 67096 w 128637"/>
                  <a:gd name="connsiteY82" fmla="*/ 10492 h 68859"/>
                  <a:gd name="connsiteX83" fmla="*/ 70270 w 128637"/>
                  <a:gd name="connsiteY83" fmla="*/ 10492 h 68859"/>
                  <a:gd name="connsiteX84" fmla="*/ 73797 w 128637"/>
                  <a:gd name="connsiteY84" fmla="*/ 9346 h 68859"/>
                  <a:gd name="connsiteX85" fmla="*/ 73797 w 128637"/>
                  <a:gd name="connsiteY85" fmla="*/ 7318 h 68859"/>
                  <a:gd name="connsiteX86" fmla="*/ 76707 w 128637"/>
                  <a:gd name="connsiteY86" fmla="*/ 7318 h 68859"/>
                  <a:gd name="connsiteX87" fmla="*/ 78470 w 128637"/>
                  <a:gd name="connsiteY87" fmla="*/ 8464 h 68859"/>
                  <a:gd name="connsiteX88" fmla="*/ 78470 w 128637"/>
                  <a:gd name="connsiteY88" fmla="*/ 7318 h 68859"/>
                  <a:gd name="connsiteX89" fmla="*/ 79969 w 128637"/>
                  <a:gd name="connsiteY89" fmla="*/ 6172 h 68859"/>
                  <a:gd name="connsiteX90" fmla="*/ 80851 w 128637"/>
                  <a:gd name="connsiteY90" fmla="*/ 3527 h 68859"/>
                  <a:gd name="connsiteX91" fmla="*/ 81996 w 128637"/>
                  <a:gd name="connsiteY91" fmla="*/ 2380 h 68859"/>
                  <a:gd name="connsiteX92" fmla="*/ 81996 w 128637"/>
                  <a:gd name="connsiteY92" fmla="*/ 1234 h 68859"/>
                  <a:gd name="connsiteX93" fmla="*/ 86669 w 128637"/>
                  <a:gd name="connsiteY93" fmla="*/ 0 h 68859"/>
                  <a:gd name="connsiteX94" fmla="*/ 88433 w 128637"/>
                  <a:gd name="connsiteY94" fmla="*/ 353 h 68859"/>
                  <a:gd name="connsiteX95" fmla="*/ 89579 w 128637"/>
                  <a:gd name="connsiteY95" fmla="*/ 1234 h 68859"/>
                  <a:gd name="connsiteX96" fmla="*/ 90725 w 128637"/>
                  <a:gd name="connsiteY96" fmla="*/ 1234 h 68859"/>
                  <a:gd name="connsiteX97" fmla="*/ 92489 w 128637"/>
                  <a:gd name="connsiteY97" fmla="*/ 2380 h 68859"/>
                  <a:gd name="connsiteX98" fmla="*/ 93635 w 128637"/>
                  <a:gd name="connsiteY98" fmla="*/ 1234 h 68859"/>
                  <a:gd name="connsiteX99" fmla="*/ 95134 w 128637"/>
                  <a:gd name="connsiteY99" fmla="*/ 1234 h 68859"/>
                  <a:gd name="connsiteX100" fmla="*/ 96897 w 128637"/>
                  <a:gd name="connsiteY100" fmla="*/ 1234 h 68859"/>
                  <a:gd name="connsiteX101" fmla="*/ 96897 w 128637"/>
                  <a:gd name="connsiteY101" fmla="*/ 353 h 68859"/>
                  <a:gd name="connsiteX102" fmla="*/ 99807 w 128637"/>
                  <a:gd name="connsiteY102" fmla="*/ 353 h 68859"/>
                  <a:gd name="connsiteX103" fmla="*/ 100336 w 128637"/>
                  <a:gd name="connsiteY103" fmla="*/ 617 h 68859"/>
                  <a:gd name="connsiteX104" fmla="*/ 100336 w 128637"/>
                  <a:gd name="connsiteY104" fmla="*/ 1763 h 68859"/>
                  <a:gd name="connsiteX105" fmla="*/ 102099 w 128637"/>
                  <a:gd name="connsiteY105" fmla="*/ 2028 h 68859"/>
                  <a:gd name="connsiteX106" fmla="*/ 102363 w 128637"/>
                  <a:gd name="connsiteY106" fmla="*/ 2909 h 68859"/>
                  <a:gd name="connsiteX107" fmla="*/ 105009 w 128637"/>
                  <a:gd name="connsiteY107" fmla="*/ 5290 h 68859"/>
                  <a:gd name="connsiteX108" fmla="*/ 105626 w 128637"/>
                  <a:gd name="connsiteY108" fmla="*/ 6172 h 68859"/>
                  <a:gd name="connsiteX109" fmla="*/ 106772 w 128637"/>
                  <a:gd name="connsiteY109" fmla="*/ 6172 h 68859"/>
                  <a:gd name="connsiteX110" fmla="*/ 106772 w 128637"/>
                  <a:gd name="connsiteY110" fmla="*/ 5290 h 68859"/>
                  <a:gd name="connsiteX111" fmla="*/ 110563 w 128637"/>
                  <a:gd name="connsiteY111" fmla="*/ 4937 h 68859"/>
                  <a:gd name="connsiteX112" fmla="*/ 117264 w 128637"/>
                  <a:gd name="connsiteY112" fmla="*/ 8200 h 68859"/>
                  <a:gd name="connsiteX113" fmla="*/ 119556 w 128637"/>
                  <a:gd name="connsiteY113" fmla="*/ 8200 h 68859"/>
                  <a:gd name="connsiteX114" fmla="*/ 122818 w 128637"/>
                  <a:gd name="connsiteY114" fmla="*/ 9081 h 68859"/>
                  <a:gd name="connsiteX115" fmla="*/ 127139 w 128637"/>
                  <a:gd name="connsiteY115" fmla="*/ 12520 h 68859"/>
                  <a:gd name="connsiteX116" fmla="*/ 127491 w 128637"/>
                  <a:gd name="connsiteY116" fmla="*/ 14283 h 68859"/>
                  <a:gd name="connsiteX117" fmla="*/ 128638 w 128637"/>
                  <a:gd name="connsiteY117" fmla="*/ 15165 h 68859"/>
                  <a:gd name="connsiteX118" fmla="*/ 128373 w 128637"/>
                  <a:gd name="connsiteY118" fmla="*/ 16928 h 68859"/>
                  <a:gd name="connsiteX119" fmla="*/ 126345 w 128637"/>
                  <a:gd name="connsiteY119" fmla="*/ 18074 h 68859"/>
                  <a:gd name="connsiteX120" fmla="*/ 126345 w 128637"/>
                  <a:gd name="connsiteY120" fmla="*/ 18692 h 68859"/>
                  <a:gd name="connsiteX121" fmla="*/ 124317 w 128637"/>
                  <a:gd name="connsiteY121" fmla="*/ 19838 h 68859"/>
                  <a:gd name="connsiteX122" fmla="*/ 119909 w 128637"/>
                  <a:gd name="connsiteY122" fmla="*/ 20191 h 68859"/>
                  <a:gd name="connsiteX123" fmla="*/ 119292 w 128637"/>
                  <a:gd name="connsiteY123" fmla="*/ 20984 h 68859"/>
                  <a:gd name="connsiteX124" fmla="*/ 118410 w 128637"/>
                  <a:gd name="connsiteY124" fmla="*/ 20719 h 68859"/>
                  <a:gd name="connsiteX125" fmla="*/ 117528 w 128637"/>
                  <a:gd name="connsiteY125" fmla="*/ 20984 h 68859"/>
                  <a:gd name="connsiteX126" fmla="*/ 117264 w 128637"/>
                  <a:gd name="connsiteY126" fmla="*/ 23982 h 68859"/>
                  <a:gd name="connsiteX127" fmla="*/ 114619 w 128637"/>
                  <a:gd name="connsiteY127" fmla="*/ 24511 h 68859"/>
                  <a:gd name="connsiteX128" fmla="*/ 112855 w 128637"/>
                  <a:gd name="connsiteY128" fmla="*/ 26010 h 68859"/>
                  <a:gd name="connsiteX129" fmla="*/ 113120 w 128637"/>
                  <a:gd name="connsiteY129" fmla="*/ 29184 h 68859"/>
                  <a:gd name="connsiteX130" fmla="*/ 112326 w 128637"/>
                  <a:gd name="connsiteY130" fmla="*/ 29801 h 68859"/>
                  <a:gd name="connsiteX131" fmla="*/ 111709 w 128637"/>
                  <a:gd name="connsiteY131" fmla="*/ 31212 h 68859"/>
                  <a:gd name="connsiteX132" fmla="*/ 111974 w 128637"/>
                  <a:gd name="connsiteY132" fmla="*/ 33328 h 68859"/>
                  <a:gd name="connsiteX133" fmla="*/ 110299 w 128637"/>
                  <a:gd name="connsiteY133" fmla="*/ 34121 h 68859"/>
                  <a:gd name="connsiteX134" fmla="*/ 110299 w 128637"/>
                  <a:gd name="connsiteY134" fmla="*/ 35620 h 68859"/>
                  <a:gd name="connsiteX135" fmla="*/ 108535 w 128637"/>
                  <a:gd name="connsiteY135" fmla="*/ 37031 h 68859"/>
                  <a:gd name="connsiteX136" fmla="*/ 109064 w 128637"/>
                  <a:gd name="connsiteY136" fmla="*/ 37912 h 68859"/>
                  <a:gd name="connsiteX137" fmla="*/ 108535 w 128637"/>
                  <a:gd name="connsiteY137" fmla="*/ 38530 h 68859"/>
                  <a:gd name="connsiteX138" fmla="*/ 108183 w 128637"/>
                  <a:gd name="connsiteY138" fmla="*/ 39147 h 68859"/>
                  <a:gd name="connsiteX139" fmla="*/ 106507 w 128637"/>
                  <a:gd name="connsiteY139" fmla="*/ 40822 h 68859"/>
                  <a:gd name="connsiteX140" fmla="*/ 106772 w 128637"/>
                  <a:gd name="connsiteY140" fmla="*/ 42056 h 68859"/>
                  <a:gd name="connsiteX141" fmla="*/ 105009 w 128637"/>
                  <a:gd name="connsiteY141" fmla="*/ 42321 h 68859"/>
                  <a:gd name="connsiteX142" fmla="*/ 105009 w 128637"/>
                  <a:gd name="connsiteY142" fmla="*/ 43202 h 68859"/>
                  <a:gd name="connsiteX143" fmla="*/ 105009 w 128637"/>
                  <a:gd name="connsiteY143" fmla="*/ 44349 h 68859"/>
                  <a:gd name="connsiteX144" fmla="*/ 105273 w 128637"/>
                  <a:gd name="connsiteY144" fmla="*/ 45495 h 68859"/>
                  <a:gd name="connsiteX145" fmla="*/ 104744 w 128637"/>
                  <a:gd name="connsiteY145" fmla="*/ 46112 h 68859"/>
                  <a:gd name="connsiteX146" fmla="*/ 105009 w 128637"/>
                  <a:gd name="connsiteY146" fmla="*/ 46994 h 68859"/>
                  <a:gd name="connsiteX147" fmla="*/ 104127 w 128637"/>
                  <a:gd name="connsiteY147" fmla="*/ 47875 h 68859"/>
                  <a:gd name="connsiteX148" fmla="*/ 102363 w 128637"/>
                  <a:gd name="connsiteY148" fmla="*/ 48140 h 68859"/>
                  <a:gd name="connsiteX149" fmla="*/ 102099 w 128637"/>
                  <a:gd name="connsiteY149" fmla="*/ 49286 h 68859"/>
                  <a:gd name="connsiteX150" fmla="*/ 100688 w 128637"/>
                  <a:gd name="connsiteY150" fmla="*/ 51314 h 68859"/>
                  <a:gd name="connsiteX151" fmla="*/ 102099 w 128637"/>
                  <a:gd name="connsiteY151" fmla="*/ 52548 h 68859"/>
                  <a:gd name="connsiteX152" fmla="*/ 102628 w 128637"/>
                  <a:gd name="connsiteY152" fmla="*/ 53077 h 68859"/>
                  <a:gd name="connsiteX153" fmla="*/ 100336 w 128637"/>
                  <a:gd name="connsiteY153" fmla="*/ 53695 h 68859"/>
                  <a:gd name="connsiteX154" fmla="*/ 99454 w 128637"/>
                  <a:gd name="connsiteY154" fmla="*/ 56340 h 68859"/>
                  <a:gd name="connsiteX155" fmla="*/ 98308 w 128637"/>
                  <a:gd name="connsiteY155" fmla="*/ 56869 h 68859"/>
                  <a:gd name="connsiteX156" fmla="*/ 96544 w 128637"/>
                  <a:gd name="connsiteY156" fmla="*/ 56604 h 68859"/>
                  <a:gd name="connsiteX157" fmla="*/ 95398 w 128637"/>
                  <a:gd name="connsiteY157" fmla="*/ 56869 h 68859"/>
                  <a:gd name="connsiteX158" fmla="*/ 94252 w 128637"/>
                  <a:gd name="connsiteY158" fmla="*/ 57221 h 68859"/>
                  <a:gd name="connsiteX159" fmla="*/ 92489 w 128637"/>
                  <a:gd name="connsiteY159" fmla="*/ 56604 h 68859"/>
                  <a:gd name="connsiteX160" fmla="*/ 91607 w 128637"/>
                  <a:gd name="connsiteY160" fmla="*/ 56869 h 68859"/>
                  <a:gd name="connsiteX161" fmla="*/ 91872 w 128637"/>
                  <a:gd name="connsiteY161" fmla="*/ 57750 h 68859"/>
                  <a:gd name="connsiteX162" fmla="*/ 90725 w 128637"/>
                  <a:gd name="connsiteY162" fmla="*/ 58367 h 68859"/>
                  <a:gd name="connsiteX163" fmla="*/ 90461 w 128637"/>
                  <a:gd name="connsiteY163" fmla="*/ 59249 h 68859"/>
                  <a:gd name="connsiteX164" fmla="*/ 89226 w 128637"/>
                  <a:gd name="connsiteY164" fmla="*/ 59778 h 68859"/>
                  <a:gd name="connsiteX165" fmla="*/ 88080 w 128637"/>
                  <a:gd name="connsiteY165" fmla="*/ 59249 h 68859"/>
                  <a:gd name="connsiteX166" fmla="*/ 86934 w 128637"/>
                  <a:gd name="connsiteY166" fmla="*/ 59249 h 68859"/>
                  <a:gd name="connsiteX167" fmla="*/ 85435 w 128637"/>
                  <a:gd name="connsiteY167" fmla="*/ 58985 h 68859"/>
                  <a:gd name="connsiteX168" fmla="*/ 83672 w 128637"/>
                  <a:gd name="connsiteY168" fmla="*/ 59249 h 68859"/>
                  <a:gd name="connsiteX169" fmla="*/ 81996 w 128637"/>
                  <a:gd name="connsiteY169" fmla="*/ 60131 h 68859"/>
                  <a:gd name="connsiteX170" fmla="*/ 80233 w 128637"/>
                  <a:gd name="connsiteY170" fmla="*/ 59249 h 68859"/>
                  <a:gd name="connsiteX171" fmla="*/ 79352 w 128637"/>
                  <a:gd name="connsiteY171" fmla="*/ 59249 h 68859"/>
                  <a:gd name="connsiteX172" fmla="*/ 79087 w 128637"/>
                  <a:gd name="connsiteY172" fmla="*/ 58632 h 68859"/>
                  <a:gd name="connsiteX173" fmla="*/ 77588 w 128637"/>
                  <a:gd name="connsiteY173" fmla="*/ 59249 h 68859"/>
                  <a:gd name="connsiteX174" fmla="*/ 77324 w 128637"/>
                  <a:gd name="connsiteY174" fmla="*/ 58632 h 68859"/>
                  <a:gd name="connsiteX175" fmla="*/ 76178 w 128637"/>
                  <a:gd name="connsiteY175" fmla="*/ 58632 h 68859"/>
                  <a:gd name="connsiteX176" fmla="*/ 74414 w 128637"/>
                  <a:gd name="connsiteY176" fmla="*/ 59249 h 68859"/>
                  <a:gd name="connsiteX177" fmla="*/ 73268 w 128637"/>
                  <a:gd name="connsiteY177" fmla="*/ 60131 h 68859"/>
                  <a:gd name="connsiteX178" fmla="*/ 70270 w 128637"/>
                  <a:gd name="connsiteY178" fmla="*/ 58985 h 68859"/>
                  <a:gd name="connsiteX179" fmla="*/ 67978 w 128637"/>
                  <a:gd name="connsiteY179" fmla="*/ 58985 h 68859"/>
                  <a:gd name="connsiteX180" fmla="*/ 67713 w 128637"/>
                  <a:gd name="connsiteY180" fmla="*/ 59514 h 68859"/>
                  <a:gd name="connsiteX181" fmla="*/ 67978 w 128637"/>
                  <a:gd name="connsiteY181" fmla="*/ 60131 h 68859"/>
                  <a:gd name="connsiteX182" fmla="*/ 66832 w 128637"/>
                  <a:gd name="connsiteY182" fmla="*/ 60395 h 68859"/>
                  <a:gd name="connsiteX183" fmla="*/ 66832 w 128637"/>
                  <a:gd name="connsiteY183" fmla="*/ 61277 h 68859"/>
                  <a:gd name="connsiteX184" fmla="*/ 65950 w 128637"/>
                  <a:gd name="connsiteY184" fmla="*/ 61277 h 68859"/>
                  <a:gd name="connsiteX185" fmla="*/ 65333 w 128637"/>
                  <a:gd name="connsiteY185" fmla="*/ 61541 h 68859"/>
                  <a:gd name="connsiteX186" fmla="*/ 63569 w 128637"/>
                  <a:gd name="connsiteY186" fmla="*/ 61894 h 68859"/>
                  <a:gd name="connsiteX187" fmla="*/ 63040 w 128637"/>
                  <a:gd name="connsiteY187" fmla="*/ 62776 h 68859"/>
                  <a:gd name="connsiteX188" fmla="*/ 60660 w 128637"/>
                  <a:gd name="connsiteY188" fmla="*/ 63040 h 68859"/>
                  <a:gd name="connsiteX189" fmla="*/ 60131 w 128637"/>
                  <a:gd name="connsiteY189" fmla="*/ 62159 h 68859"/>
                  <a:gd name="connsiteX190" fmla="*/ 59514 w 128637"/>
                  <a:gd name="connsiteY190" fmla="*/ 61894 h 68859"/>
                  <a:gd name="connsiteX191" fmla="*/ 58896 w 128637"/>
                  <a:gd name="connsiteY191" fmla="*/ 62159 h 68859"/>
                  <a:gd name="connsiteX192" fmla="*/ 58896 w 128637"/>
                  <a:gd name="connsiteY192" fmla="*/ 63922 h 68859"/>
                  <a:gd name="connsiteX193" fmla="*/ 58632 w 128637"/>
                  <a:gd name="connsiteY193" fmla="*/ 63922 h 68859"/>
                  <a:gd name="connsiteX194" fmla="*/ 58367 w 128637"/>
                  <a:gd name="connsiteY194" fmla="*/ 64187 h 68859"/>
                  <a:gd name="connsiteX195" fmla="*/ 57221 w 128637"/>
                  <a:gd name="connsiteY195" fmla="*/ 64804 h 68859"/>
                  <a:gd name="connsiteX196" fmla="*/ 54841 w 128637"/>
                  <a:gd name="connsiteY196" fmla="*/ 65068 h 68859"/>
                  <a:gd name="connsiteX197" fmla="*/ 54312 w 128637"/>
                  <a:gd name="connsiteY197" fmla="*/ 65685 h 68859"/>
                  <a:gd name="connsiteX198" fmla="*/ 51314 w 128637"/>
                  <a:gd name="connsiteY198" fmla="*/ 65068 h 68859"/>
                  <a:gd name="connsiteX199" fmla="*/ 51050 w 128637"/>
                  <a:gd name="connsiteY199" fmla="*/ 66832 h 68859"/>
                  <a:gd name="connsiteX200" fmla="*/ 49903 w 128637"/>
                  <a:gd name="connsiteY200" fmla="*/ 67978 h 68859"/>
                  <a:gd name="connsiteX201" fmla="*/ 48757 w 128637"/>
                  <a:gd name="connsiteY201" fmla="*/ 68242 h 68859"/>
                  <a:gd name="connsiteX202" fmla="*/ 48140 w 128637"/>
                  <a:gd name="connsiteY202" fmla="*/ 68859 h 68859"/>
                  <a:gd name="connsiteX203" fmla="*/ 46994 w 128637"/>
                  <a:gd name="connsiteY203" fmla="*/ 68859 h 68859"/>
                  <a:gd name="connsiteX204" fmla="*/ 46377 w 128637"/>
                  <a:gd name="connsiteY204" fmla="*/ 68859 h 68859"/>
                  <a:gd name="connsiteX205" fmla="*/ 44966 w 128637"/>
                  <a:gd name="connsiteY205" fmla="*/ 68859 h 68859"/>
                  <a:gd name="connsiteX206" fmla="*/ 41704 w 128637"/>
                  <a:gd name="connsiteY206" fmla="*/ 67978 h 68859"/>
                  <a:gd name="connsiteX207" fmla="*/ 39411 w 128637"/>
                  <a:gd name="connsiteY207" fmla="*/ 68859 h 68859"/>
                  <a:gd name="connsiteX208" fmla="*/ 38530 w 128637"/>
                  <a:gd name="connsiteY208" fmla="*/ 68242 h 68859"/>
                  <a:gd name="connsiteX209" fmla="*/ 36502 w 128637"/>
                  <a:gd name="connsiteY209" fmla="*/ 67978 h 68859"/>
                  <a:gd name="connsiteX210" fmla="*/ 36149 w 128637"/>
                  <a:gd name="connsiteY210" fmla="*/ 68242 h 68859"/>
                  <a:gd name="connsiteX211" fmla="*/ 34738 w 128637"/>
                  <a:gd name="connsiteY211" fmla="*/ 67361 h 68859"/>
                  <a:gd name="connsiteX212" fmla="*/ 32093 w 128637"/>
                  <a:gd name="connsiteY212" fmla="*/ 66832 h 68859"/>
                  <a:gd name="connsiteX213" fmla="*/ 32093 w 128637"/>
                  <a:gd name="connsiteY213" fmla="*/ 65685 h 68859"/>
                  <a:gd name="connsiteX214" fmla="*/ 30947 w 128637"/>
                  <a:gd name="connsiteY214" fmla="*/ 64187 h 68859"/>
                  <a:gd name="connsiteX215" fmla="*/ 28037 w 128637"/>
                  <a:gd name="connsiteY215" fmla="*/ 64804 h 68859"/>
                  <a:gd name="connsiteX216" fmla="*/ 26274 w 128637"/>
                  <a:gd name="connsiteY216" fmla="*/ 64187 h 68859"/>
                  <a:gd name="connsiteX217" fmla="*/ 26274 w 128637"/>
                  <a:gd name="connsiteY217" fmla="*/ 63922 h 68859"/>
                  <a:gd name="connsiteX218" fmla="*/ 25657 w 128637"/>
                  <a:gd name="connsiteY218" fmla="*/ 63569 h 68859"/>
                  <a:gd name="connsiteX219" fmla="*/ 25657 w 128637"/>
                  <a:gd name="connsiteY219" fmla="*/ 63040 h 68859"/>
                  <a:gd name="connsiteX220" fmla="*/ 23894 w 128637"/>
                  <a:gd name="connsiteY220" fmla="*/ 62776 h 68859"/>
                  <a:gd name="connsiteX221" fmla="*/ 24246 w 128637"/>
                  <a:gd name="connsiteY221" fmla="*/ 62776 h 68859"/>
                  <a:gd name="connsiteX222" fmla="*/ 23894 w 128637"/>
                  <a:gd name="connsiteY222" fmla="*/ 62776 h 68859"/>
                  <a:gd name="connsiteX223" fmla="*/ 24246 w 128637"/>
                  <a:gd name="connsiteY223" fmla="*/ 61894 h 68859"/>
                  <a:gd name="connsiteX224" fmla="*/ 23365 w 128637"/>
                  <a:gd name="connsiteY224" fmla="*/ 61541 h 68859"/>
                  <a:gd name="connsiteX225" fmla="*/ 24246 w 128637"/>
                  <a:gd name="connsiteY225" fmla="*/ 61894 h 68859"/>
                  <a:gd name="connsiteX226" fmla="*/ 23365 w 128637"/>
                  <a:gd name="connsiteY226" fmla="*/ 61541 h 68859"/>
                  <a:gd name="connsiteX227" fmla="*/ 23012 w 128637"/>
                  <a:gd name="connsiteY227" fmla="*/ 61277 h 68859"/>
                  <a:gd name="connsiteX228" fmla="*/ 22483 w 128637"/>
                  <a:gd name="connsiteY228" fmla="*/ 61013 h 68859"/>
                  <a:gd name="connsiteX229" fmla="*/ 23012 w 128637"/>
                  <a:gd name="connsiteY229" fmla="*/ 60395 h 68859"/>
                  <a:gd name="connsiteX230" fmla="*/ 21601 w 128637"/>
                  <a:gd name="connsiteY230" fmla="*/ 60131 h 68859"/>
                  <a:gd name="connsiteX231" fmla="*/ 20984 w 128637"/>
                  <a:gd name="connsiteY231" fmla="*/ 59249 h 68859"/>
                  <a:gd name="connsiteX232" fmla="*/ 21249 w 128637"/>
                  <a:gd name="connsiteY232" fmla="*/ 58103 h 68859"/>
                  <a:gd name="connsiteX233" fmla="*/ 20102 w 128637"/>
                  <a:gd name="connsiteY233" fmla="*/ 58103 h 68859"/>
                  <a:gd name="connsiteX234" fmla="*/ 17193 w 128637"/>
                  <a:gd name="connsiteY234" fmla="*/ 56869 h 68859"/>
                  <a:gd name="connsiteX235" fmla="*/ 16047 w 128637"/>
                  <a:gd name="connsiteY235" fmla="*/ 56869 h 68859"/>
                  <a:gd name="connsiteX236" fmla="*/ 15782 w 128637"/>
                  <a:gd name="connsiteY236" fmla="*/ 55193 h 68859"/>
                  <a:gd name="connsiteX237" fmla="*/ 14019 w 128637"/>
                  <a:gd name="connsiteY237" fmla="*/ 53959 h 68859"/>
                  <a:gd name="connsiteX238" fmla="*/ 14019 w 128637"/>
                  <a:gd name="connsiteY238" fmla="*/ 54312 h 68859"/>
                  <a:gd name="connsiteX239" fmla="*/ 14019 w 128637"/>
                  <a:gd name="connsiteY239" fmla="*/ 53959 h 68859"/>
                  <a:gd name="connsiteX240" fmla="*/ 12873 w 128637"/>
                  <a:gd name="connsiteY240" fmla="*/ 53959 h 68859"/>
                  <a:gd name="connsiteX241" fmla="*/ 11374 w 128637"/>
                  <a:gd name="connsiteY241" fmla="*/ 51931 h 68859"/>
                  <a:gd name="connsiteX242" fmla="*/ 9081 w 128637"/>
                  <a:gd name="connsiteY242" fmla="*/ 51314 h 68859"/>
                  <a:gd name="connsiteX243" fmla="*/ 9081 w 128637"/>
                  <a:gd name="connsiteY243" fmla="*/ 49286 h 68859"/>
                  <a:gd name="connsiteX244" fmla="*/ 6701 w 128637"/>
                  <a:gd name="connsiteY244" fmla="*/ 49286 h 68859"/>
                  <a:gd name="connsiteX245" fmla="*/ 6436 w 128637"/>
                  <a:gd name="connsiteY245" fmla="*/ 47258 h 68859"/>
                  <a:gd name="connsiteX246" fmla="*/ 6436 w 128637"/>
                  <a:gd name="connsiteY246" fmla="*/ 46112 h 68859"/>
                  <a:gd name="connsiteX247" fmla="*/ 5290 w 128637"/>
                  <a:gd name="connsiteY247" fmla="*/ 45495 h 68859"/>
                  <a:gd name="connsiteX248" fmla="*/ 3174 w 128637"/>
                  <a:gd name="connsiteY248" fmla="*/ 44349 h 68859"/>
                  <a:gd name="connsiteX249" fmla="*/ 3174 w 128637"/>
                  <a:gd name="connsiteY249" fmla="*/ 43202 h 68859"/>
                  <a:gd name="connsiteX250" fmla="*/ 2909 w 128637"/>
                  <a:gd name="connsiteY250" fmla="*/ 42056 h 68859"/>
                  <a:gd name="connsiteX251" fmla="*/ 2028 w 128637"/>
                  <a:gd name="connsiteY251" fmla="*/ 41175 h 68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</a:cxnLst>
                <a:rect l="l" t="t" r="r" b="b"/>
                <a:pathLst>
                  <a:path w="128637" h="68859">
                    <a:moveTo>
                      <a:pt x="0" y="41704"/>
                    </a:moveTo>
                    <a:lnTo>
                      <a:pt x="617" y="40028"/>
                    </a:lnTo>
                    <a:lnTo>
                      <a:pt x="1763" y="39411"/>
                    </a:lnTo>
                    <a:lnTo>
                      <a:pt x="2909" y="38265"/>
                    </a:lnTo>
                    <a:lnTo>
                      <a:pt x="4408" y="37648"/>
                    </a:lnTo>
                    <a:lnTo>
                      <a:pt x="5819" y="38265"/>
                    </a:lnTo>
                    <a:lnTo>
                      <a:pt x="7847" y="37031"/>
                    </a:lnTo>
                    <a:lnTo>
                      <a:pt x="7582" y="36502"/>
                    </a:lnTo>
                    <a:lnTo>
                      <a:pt x="7847" y="35884"/>
                    </a:lnTo>
                    <a:lnTo>
                      <a:pt x="7847" y="35003"/>
                    </a:lnTo>
                    <a:lnTo>
                      <a:pt x="6172" y="34738"/>
                    </a:lnTo>
                    <a:lnTo>
                      <a:pt x="5555" y="34121"/>
                    </a:lnTo>
                    <a:lnTo>
                      <a:pt x="4408" y="33857"/>
                    </a:lnTo>
                    <a:lnTo>
                      <a:pt x="5290" y="32710"/>
                    </a:lnTo>
                    <a:lnTo>
                      <a:pt x="5819" y="31564"/>
                    </a:lnTo>
                    <a:lnTo>
                      <a:pt x="4937" y="30330"/>
                    </a:lnTo>
                    <a:lnTo>
                      <a:pt x="5290" y="29801"/>
                    </a:lnTo>
                    <a:lnTo>
                      <a:pt x="4937" y="28566"/>
                    </a:lnTo>
                    <a:lnTo>
                      <a:pt x="6701" y="29184"/>
                    </a:lnTo>
                    <a:lnTo>
                      <a:pt x="7318" y="28566"/>
                    </a:lnTo>
                    <a:lnTo>
                      <a:pt x="8464" y="28566"/>
                    </a:lnTo>
                    <a:lnTo>
                      <a:pt x="9346" y="27156"/>
                    </a:lnTo>
                    <a:lnTo>
                      <a:pt x="9346" y="26010"/>
                    </a:lnTo>
                    <a:lnTo>
                      <a:pt x="10228" y="24511"/>
                    </a:lnTo>
                    <a:lnTo>
                      <a:pt x="9346" y="24246"/>
                    </a:lnTo>
                    <a:lnTo>
                      <a:pt x="9081" y="23365"/>
                    </a:lnTo>
                    <a:lnTo>
                      <a:pt x="7847" y="23365"/>
                    </a:lnTo>
                    <a:lnTo>
                      <a:pt x="4408" y="22218"/>
                    </a:lnTo>
                    <a:lnTo>
                      <a:pt x="4408" y="20984"/>
                    </a:lnTo>
                    <a:lnTo>
                      <a:pt x="4937" y="21337"/>
                    </a:lnTo>
                    <a:lnTo>
                      <a:pt x="6701" y="20984"/>
                    </a:lnTo>
                    <a:lnTo>
                      <a:pt x="6436" y="20455"/>
                    </a:lnTo>
                    <a:lnTo>
                      <a:pt x="8729" y="19573"/>
                    </a:lnTo>
                    <a:lnTo>
                      <a:pt x="9963" y="20984"/>
                    </a:lnTo>
                    <a:lnTo>
                      <a:pt x="9963" y="21601"/>
                    </a:lnTo>
                    <a:lnTo>
                      <a:pt x="11109" y="21601"/>
                    </a:lnTo>
                    <a:lnTo>
                      <a:pt x="11991" y="20984"/>
                    </a:lnTo>
                    <a:lnTo>
                      <a:pt x="12873" y="20984"/>
                    </a:lnTo>
                    <a:lnTo>
                      <a:pt x="13137" y="21601"/>
                    </a:lnTo>
                    <a:lnTo>
                      <a:pt x="16928" y="20984"/>
                    </a:lnTo>
                    <a:lnTo>
                      <a:pt x="16047" y="20191"/>
                    </a:lnTo>
                    <a:lnTo>
                      <a:pt x="15782" y="19573"/>
                    </a:lnTo>
                    <a:lnTo>
                      <a:pt x="15782" y="19309"/>
                    </a:lnTo>
                    <a:lnTo>
                      <a:pt x="15165" y="17810"/>
                    </a:lnTo>
                    <a:lnTo>
                      <a:pt x="16664" y="17281"/>
                    </a:lnTo>
                    <a:lnTo>
                      <a:pt x="16664" y="16664"/>
                    </a:lnTo>
                    <a:lnTo>
                      <a:pt x="17810" y="15518"/>
                    </a:lnTo>
                    <a:lnTo>
                      <a:pt x="16664" y="15518"/>
                    </a:lnTo>
                    <a:lnTo>
                      <a:pt x="17545" y="14283"/>
                    </a:lnTo>
                    <a:lnTo>
                      <a:pt x="19221" y="14283"/>
                    </a:lnTo>
                    <a:lnTo>
                      <a:pt x="19221" y="14900"/>
                    </a:lnTo>
                    <a:lnTo>
                      <a:pt x="20102" y="14900"/>
                    </a:lnTo>
                    <a:lnTo>
                      <a:pt x="23894" y="17281"/>
                    </a:lnTo>
                    <a:lnTo>
                      <a:pt x="25657" y="17281"/>
                    </a:lnTo>
                    <a:lnTo>
                      <a:pt x="26803" y="18427"/>
                    </a:lnTo>
                    <a:lnTo>
                      <a:pt x="28037" y="19573"/>
                    </a:lnTo>
                    <a:lnTo>
                      <a:pt x="30594" y="20455"/>
                    </a:lnTo>
                    <a:lnTo>
                      <a:pt x="34474" y="19573"/>
                    </a:lnTo>
                    <a:lnTo>
                      <a:pt x="40293" y="20984"/>
                    </a:lnTo>
                    <a:lnTo>
                      <a:pt x="43731" y="19573"/>
                    </a:lnTo>
                    <a:lnTo>
                      <a:pt x="44966" y="20455"/>
                    </a:lnTo>
                    <a:lnTo>
                      <a:pt x="45230" y="19573"/>
                    </a:lnTo>
                    <a:lnTo>
                      <a:pt x="46994" y="19573"/>
                    </a:lnTo>
                    <a:lnTo>
                      <a:pt x="48757" y="19309"/>
                    </a:lnTo>
                    <a:lnTo>
                      <a:pt x="51050" y="19309"/>
                    </a:lnTo>
                    <a:lnTo>
                      <a:pt x="51050" y="18427"/>
                    </a:lnTo>
                    <a:lnTo>
                      <a:pt x="48757" y="17281"/>
                    </a:lnTo>
                    <a:lnTo>
                      <a:pt x="48404" y="15518"/>
                    </a:lnTo>
                    <a:lnTo>
                      <a:pt x="49639" y="14900"/>
                    </a:lnTo>
                    <a:lnTo>
                      <a:pt x="50521" y="13490"/>
                    </a:lnTo>
                    <a:lnTo>
                      <a:pt x="52196" y="13490"/>
                    </a:lnTo>
                    <a:lnTo>
                      <a:pt x="53959" y="13137"/>
                    </a:lnTo>
                    <a:lnTo>
                      <a:pt x="53959" y="13490"/>
                    </a:lnTo>
                    <a:lnTo>
                      <a:pt x="57750" y="13490"/>
                    </a:lnTo>
                    <a:lnTo>
                      <a:pt x="57750" y="13137"/>
                    </a:lnTo>
                    <a:lnTo>
                      <a:pt x="60660" y="13137"/>
                    </a:lnTo>
                    <a:lnTo>
                      <a:pt x="62423" y="13137"/>
                    </a:lnTo>
                    <a:lnTo>
                      <a:pt x="63040" y="9963"/>
                    </a:lnTo>
                    <a:lnTo>
                      <a:pt x="64187" y="8464"/>
                    </a:lnTo>
                    <a:lnTo>
                      <a:pt x="65333" y="8464"/>
                    </a:lnTo>
                    <a:lnTo>
                      <a:pt x="65333" y="9963"/>
                    </a:lnTo>
                    <a:lnTo>
                      <a:pt x="67096" y="9963"/>
                    </a:lnTo>
                    <a:lnTo>
                      <a:pt x="67096" y="10492"/>
                    </a:lnTo>
                    <a:lnTo>
                      <a:pt x="70270" y="10492"/>
                    </a:lnTo>
                    <a:lnTo>
                      <a:pt x="73797" y="9346"/>
                    </a:lnTo>
                    <a:lnTo>
                      <a:pt x="73797" y="7318"/>
                    </a:lnTo>
                    <a:lnTo>
                      <a:pt x="76707" y="7318"/>
                    </a:lnTo>
                    <a:lnTo>
                      <a:pt x="78470" y="8464"/>
                    </a:lnTo>
                    <a:lnTo>
                      <a:pt x="78470" y="7318"/>
                    </a:lnTo>
                    <a:lnTo>
                      <a:pt x="79969" y="6172"/>
                    </a:lnTo>
                    <a:lnTo>
                      <a:pt x="80851" y="3527"/>
                    </a:lnTo>
                    <a:lnTo>
                      <a:pt x="81996" y="2380"/>
                    </a:lnTo>
                    <a:lnTo>
                      <a:pt x="81996" y="1234"/>
                    </a:lnTo>
                    <a:lnTo>
                      <a:pt x="86669" y="0"/>
                    </a:lnTo>
                    <a:lnTo>
                      <a:pt x="88433" y="353"/>
                    </a:lnTo>
                    <a:lnTo>
                      <a:pt x="89579" y="1234"/>
                    </a:lnTo>
                    <a:lnTo>
                      <a:pt x="90725" y="1234"/>
                    </a:lnTo>
                    <a:lnTo>
                      <a:pt x="92489" y="2380"/>
                    </a:lnTo>
                    <a:lnTo>
                      <a:pt x="93635" y="1234"/>
                    </a:lnTo>
                    <a:lnTo>
                      <a:pt x="95134" y="1234"/>
                    </a:lnTo>
                    <a:lnTo>
                      <a:pt x="96897" y="1234"/>
                    </a:lnTo>
                    <a:lnTo>
                      <a:pt x="96897" y="353"/>
                    </a:lnTo>
                    <a:lnTo>
                      <a:pt x="99807" y="353"/>
                    </a:lnTo>
                    <a:lnTo>
                      <a:pt x="100336" y="617"/>
                    </a:lnTo>
                    <a:lnTo>
                      <a:pt x="100336" y="1763"/>
                    </a:lnTo>
                    <a:lnTo>
                      <a:pt x="102099" y="2028"/>
                    </a:lnTo>
                    <a:lnTo>
                      <a:pt x="102363" y="2909"/>
                    </a:lnTo>
                    <a:lnTo>
                      <a:pt x="105009" y="5290"/>
                    </a:lnTo>
                    <a:lnTo>
                      <a:pt x="105626" y="6172"/>
                    </a:lnTo>
                    <a:lnTo>
                      <a:pt x="106772" y="6172"/>
                    </a:lnTo>
                    <a:lnTo>
                      <a:pt x="106772" y="5290"/>
                    </a:lnTo>
                    <a:lnTo>
                      <a:pt x="110563" y="4937"/>
                    </a:lnTo>
                    <a:lnTo>
                      <a:pt x="117264" y="8200"/>
                    </a:lnTo>
                    <a:lnTo>
                      <a:pt x="119556" y="8200"/>
                    </a:lnTo>
                    <a:lnTo>
                      <a:pt x="122818" y="9081"/>
                    </a:lnTo>
                    <a:lnTo>
                      <a:pt x="127139" y="12520"/>
                    </a:lnTo>
                    <a:lnTo>
                      <a:pt x="127491" y="14283"/>
                    </a:lnTo>
                    <a:lnTo>
                      <a:pt x="128638" y="15165"/>
                    </a:lnTo>
                    <a:lnTo>
                      <a:pt x="128373" y="16928"/>
                    </a:lnTo>
                    <a:lnTo>
                      <a:pt x="126345" y="18074"/>
                    </a:lnTo>
                    <a:lnTo>
                      <a:pt x="126345" y="18692"/>
                    </a:lnTo>
                    <a:lnTo>
                      <a:pt x="124317" y="19838"/>
                    </a:lnTo>
                    <a:lnTo>
                      <a:pt x="119909" y="20191"/>
                    </a:lnTo>
                    <a:lnTo>
                      <a:pt x="119292" y="20984"/>
                    </a:lnTo>
                    <a:lnTo>
                      <a:pt x="118410" y="20719"/>
                    </a:lnTo>
                    <a:lnTo>
                      <a:pt x="117528" y="20984"/>
                    </a:lnTo>
                    <a:lnTo>
                      <a:pt x="117264" y="23982"/>
                    </a:lnTo>
                    <a:lnTo>
                      <a:pt x="114619" y="24511"/>
                    </a:lnTo>
                    <a:lnTo>
                      <a:pt x="112855" y="26010"/>
                    </a:lnTo>
                    <a:lnTo>
                      <a:pt x="113120" y="29184"/>
                    </a:lnTo>
                    <a:lnTo>
                      <a:pt x="112326" y="29801"/>
                    </a:lnTo>
                    <a:lnTo>
                      <a:pt x="111709" y="31212"/>
                    </a:lnTo>
                    <a:lnTo>
                      <a:pt x="111974" y="33328"/>
                    </a:lnTo>
                    <a:lnTo>
                      <a:pt x="110299" y="34121"/>
                    </a:lnTo>
                    <a:lnTo>
                      <a:pt x="110299" y="35620"/>
                    </a:lnTo>
                    <a:lnTo>
                      <a:pt x="108535" y="37031"/>
                    </a:lnTo>
                    <a:lnTo>
                      <a:pt x="109064" y="37912"/>
                    </a:lnTo>
                    <a:lnTo>
                      <a:pt x="108535" y="38530"/>
                    </a:lnTo>
                    <a:lnTo>
                      <a:pt x="108183" y="39147"/>
                    </a:lnTo>
                    <a:lnTo>
                      <a:pt x="106507" y="40822"/>
                    </a:lnTo>
                    <a:lnTo>
                      <a:pt x="106772" y="42056"/>
                    </a:lnTo>
                    <a:lnTo>
                      <a:pt x="105009" y="42321"/>
                    </a:lnTo>
                    <a:lnTo>
                      <a:pt x="105009" y="43202"/>
                    </a:lnTo>
                    <a:lnTo>
                      <a:pt x="105009" y="44349"/>
                    </a:lnTo>
                    <a:lnTo>
                      <a:pt x="105273" y="45495"/>
                    </a:lnTo>
                    <a:lnTo>
                      <a:pt x="104744" y="46112"/>
                    </a:lnTo>
                    <a:lnTo>
                      <a:pt x="105009" y="46994"/>
                    </a:lnTo>
                    <a:lnTo>
                      <a:pt x="104127" y="47875"/>
                    </a:lnTo>
                    <a:lnTo>
                      <a:pt x="102363" y="48140"/>
                    </a:lnTo>
                    <a:lnTo>
                      <a:pt x="102099" y="49286"/>
                    </a:lnTo>
                    <a:lnTo>
                      <a:pt x="100688" y="51314"/>
                    </a:lnTo>
                    <a:lnTo>
                      <a:pt x="102099" y="52548"/>
                    </a:lnTo>
                    <a:lnTo>
                      <a:pt x="102628" y="53077"/>
                    </a:lnTo>
                    <a:lnTo>
                      <a:pt x="100336" y="53695"/>
                    </a:lnTo>
                    <a:lnTo>
                      <a:pt x="99454" y="56340"/>
                    </a:lnTo>
                    <a:lnTo>
                      <a:pt x="98308" y="56869"/>
                    </a:lnTo>
                    <a:lnTo>
                      <a:pt x="96544" y="56604"/>
                    </a:lnTo>
                    <a:lnTo>
                      <a:pt x="95398" y="56869"/>
                    </a:lnTo>
                    <a:lnTo>
                      <a:pt x="94252" y="57221"/>
                    </a:lnTo>
                    <a:lnTo>
                      <a:pt x="92489" y="56604"/>
                    </a:lnTo>
                    <a:lnTo>
                      <a:pt x="91607" y="56869"/>
                    </a:lnTo>
                    <a:lnTo>
                      <a:pt x="91872" y="57750"/>
                    </a:lnTo>
                    <a:lnTo>
                      <a:pt x="90725" y="58367"/>
                    </a:lnTo>
                    <a:lnTo>
                      <a:pt x="90461" y="59249"/>
                    </a:lnTo>
                    <a:lnTo>
                      <a:pt x="89226" y="59778"/>
                    </a:lnTo>
                    <a:lnTo>
                      <a:pt x="88080" y="59249"/>
                    </a:lnTo>
                    <a:lnTo>
                      <a:pt x="86934" y="59249"/>
                    </a:lnTo>
                    <a:lnTo>
                      <a:pt x="85435" y="58985"/>
                    </a:lnTo>
                    <a:lnTo>
                      <a:pt x="83672" y="59249"/>
                    </a:lnTo>
                    <a:lnTo>
                      <a:pt x="81996" y="60131"/>
                    </a:lnTo>
                    <a:lnTo>
                      <a:pt x="80233" y="59249"/>
                    </a:lnTo>
                    <a:lnTo>
                      <a:pt x="79352" y="59249"/>
                    </a:lnTo>
                    <a:lnTo>
                      <a:pt x="79087" y="58632"/>
                    </a:lnTo>
                    <a:lnTo>
                      <a:pt x="77588" y="59249"/>
                    </a:lnTo>
                    <a:lnTo>
                      <a:pt x="77324" y="58632"/>
                    </a:lnTo>
                    <a:lnTo>
                      <a:pt x="76178" y="58632"/>
                    </a:lnTo>
                    <a:lnTo>
                      <a:pt x="74414" y="59249"/>
                    </a:lnTo>
                    <a:lnTo>
                      <a:pt x="73268" y="60131"/>
                    </a:lnTo>
                    <a:lnTo>
                      <a:pt x="70270" y="58985"/>
                    </a:lnTo>
                    <a:lnTo>
                      <a:pt x="67978" y="58985"/>
                    </a:lnTo>
                    <a:lnTo>
                      <a:pt x="67713" y="59514"/>
                    </a:lnTo>
                    <a:lnTo>
                      <a:pt x="67978" y="60131"/>
                    </a:lnTo>
                    <a:lnTo>
                      <a:pt x="66832" y="60395"/>
                    </a:lnTo>
                    <a:lnTo>
                      <a:pt x="66832" y="61277"/>
                    </a:lnTo>
                    <a:lnTo>
                      <a:pt x="65950" y="61277"/>
                    </a:lnTo>
                    <a:lnTo>
                      <a:pt x="65333" y="61541"/>
                    </a:lnTo>
                    <a:lnTo>
                      <a:pt x="63569" y="61894"/>
                    </a:lnTo>
                    <a:lnTo>
                      <a:pt x="63040" y="62776"/>
                    </a:lnTo>
                    <a:lnTo>
                      <a:pt x="60660" y="63040"/>
                    </a:lnTo>
                    <a:lnTo>
                      <a:pt x="60131" y="62159"/>
                    </a:lnTo>
                    <a:lnTo>
                      <a:pt x="59514" y="61894"/>
                    </a:lnTo>
                    <a:lnTo>
                      <a:pt x="58896" y="62159"/>
                    </a:lnTo>
                    <a:lnTo>
                      <a:pt x="58896" y="63922"/>
                    </a:lnTo>
                    <a:lnTo>
                      <a:pt x="58632" y="63922"/>
                    </a:lnTo>
                    <a:lnTo>
                      <a:pt x="58367" y="64187"/>
                    </a:lnTo>
                    <a:lnTo>
                      <a:pt x="57221" y="64804"/>
                    </a:lnTo>
                    <a:lnTo>
                      <a:pt x="54841" y="65068"/>
                    </a:lnTo>
                    <a:lnTo>
                      <a:pt x="54312" y="65685"/>
                    </a:lnTo>
                    <a:lnTo>
                      <a:pt x="51314" y="65068"/>
                    </a:lnTo>
                    <a:lnTo>
                      <a:pt x="51050" y="66832"/>
                    </a:lnTo>
                    <a:lnTo>
                      <a:pt x="49903" y="67978"/>
                    </a:lnTo>
                    <a:lnTo>
                      <a:pt x="48757" y="68242"/>
                    </a:lnTo>
                    <a:lnTo>
                      <a:pt x="48140" y="68859"/>
                    </a:lnTo>
                    <a:lnTo>
                      <a:pt x="46994" y="68859"/>
                    </a:lnTo>
                    <a:lnTo>
                      <a:pt x="46377" y="68859"/>
                    </a:lnTo>
                    <a:lnTo>
                      <a:pt x="44966" y="68859"/>
                    </a:lnTo>
                    <a:lnTo>
                      <a:pt x="41704" y="67978"/>
                    </a:lnTo>
                    <a:lnTo>
                      <a:pt x="39411" y="68859"/>
                    </a:lnTo>
                    <a:lnTo>
                      <a:pt x="38530" y="68242"/>
                    </a:lnTo>
                    <a:lnTo>
                      <a:pt x="36502" y="67978"/>
                    </a:lnTo>
                    <a:lnTo>
                      <a:pt x="36149" y="68242"/>
                    </a:lnTo>
                    <a:lnTo>
                      <a:pt x="34738" y="67361"/>
                    </a:lnTo>
                    <a:lnTo>
                      <a:pt x="32093" y="66832"/>
                    </a:lnTo>
                    <a:lnTo>
                      <a:pt x="32093" y="65685"/>
                    </a:lnTo>
                    <a:lnTo>
                      <a:pt x="30947" y="64187"/>
                    </a:lnTo>
                    <a:lnTo>
                      <a:pt x="28037" y="64804"/>
                    </a:lnTo>
                    <a:lnTo>
                      <a:pt x="26274" y="64187"/>
                    </a:lnTo>
                    <a:lnTo>
                      <a:pt x="26274" y="63922"/>
                    </a:lnTo>
                    <a:lnTo>
                      <a:pt x="25657" y="63569"/>
                    </a:lnTo>
                    <a:lnTo>
                      <a:pt x="25657" y="63040"/>
                    </a:lnTo>
                    <a:lnTo>
                      <a:pt x="23894" y="62776"/>
                    </a:lnTo>
                    <a:lnTo>
                      <a:pt x="24246" y="62776"/>
                    </a:lnTo>
                    <a:lnTo>
                      <a:pt x="23894" y="62776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3012" y="61277"/>
                    </a:lnTo>
                    <a:lnTo>
                      <a:pt x="22483" y="61013"/>
                    </a:lnTo>
                    <a:lnTo>
                      <a:pt x="23012" y="60395"/>
                    </a:lnTo>
                    <a:lnTo>
                      <a:pt x="21601" y="60131"/>
                    </a:lnTo>
                    <a:lnTo>
                      <a:pt x="20984" y="59249"/>
                    </a:lnTo>
                    <a:lnTo>
                      <a:pt x="21249" y="58103"/>
                    </a:lnTo>
                    <a:lnTo>
                      <a:pt x="20102" y="58103"/>
                    </a:lnTo>
                    <a:lnTo>
                      <a:pt x="17193" y="56869"/>
                    </a:lnTo>
                    <a:lnTo>
                      <a:pt x="16047" y="56869"/>
                    </a:lnTo>
                    <a:lnTo>
                      <a:pt x="15782" y="55193"/>
                    </a:lnTo>
                    <a:lnTo>
                      <a:pt x="14019" y="53959"/>
                    </a:lnTo>
                    <a:lnTo>
                      <a:pt x="14019" y="54312"/>
                    </a:lnTo>
                    <a:lnTo>
                      <a:pt x="14019" y="53959"/>
                    </a:lnTo>
                    <a:lnTo>
                      <a:pt x="12873" y="53959"/>
                    </a:lnTo>
                    <a:lnTo>
                      <a:pt x="11374" y="51931"/>
                    </a:lnTo>
                    <a:lnTo>
                      <a:pt x="9081" y="51314"/>
                    </a:lnTo>
                    <a:lnTo>
                      <a:pt x="9081" y="49286"/>
                    </a:lnTo>
                    <a:lnTo>
                      <a:pt x="6701" y="49286"/>
                    </a:lnTo>
                    <a:lnTo>
                      <a:pt x="6436" y="47258"/>
                    </a:lnTo>
                    <a:lnTo>
                      <a:pt x="6436" y="46112"/>
                    </a:lnTo>
                    <a:lnTo>
                      <a:pt x="5290" y="45495"/>
                    </a:lnTo>
                    <a:lnTo>
                      <a:pt x="3174" y="44349"/>
                    </a:lnTo>
                    <a:lnTo>
                      <a:pt x="3174" y="43202"/>
                    </a:lnTo>
                    <a:lnTo>
                      <a:pt x="2909" y="42056"/>
                    </a:lnTo>
                    <a:lnTo>
                      <a:pt x="2028" y="4117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3" name="Freihandform: Form 1582">
                <a:extLst>
                  <a:ext uri="{FF2B5EF4-FFF2-40B4-BE49-F238E27FC236}">
                    <a16:creationId xmlns:a16="http://schemas.microsoft.com/office/drawing/2014/main" id="{C3083D99-1D49-7A75-C051-14E0373D9D0B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4" name="Freihandform: Form 1583">
                <a:extLst>
                  <a:ext uri="{FF2B5EF4-FFF2-40B4-BE49-F238E27FC236}">
                    <a16:creationId xmlns:a16="http://schemas.microsoft.com/office/drawing/2014/main" id="{BAAA21A2-FCAF-0B43-0449-4223F68124F3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5" name="Freihandform: Form 1584">
                <a:extLst>
                  <a:ext uri="{FF2B5EF4-FFF2-40B4-BE49-F238E27FC236}">
                    <a16:creationId xmlns:a16="http://schemas.microsoft.com/office/drawing/2014/main" id="{2B7AE57A-E87F-DF72-00AC-100D13A97CEC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6" name="Freihandform: Form 1585">
                <a:extLst>
                  <a:ext uri="{FF2B5EF4-FFF2-40B4-BE49-F238E27FC236}">
                    <a16:creationId xmlns:a16="http://schemas.microsoft.com/office/drawing/2014/main" id="{728F0727-E086-EDF9-42EF-F601B42870C3}"/>
                  </a:ext>
                </a:extLst>
              </p:cNvPr>
              <p:cNvSpPr/>
              <p:nvPr/>
            </p:nvSpPr>
            <p:spPr>
              <a:xfrm>
                <a:off x="4440324" y="3001118"/>
                <a:ext cx="87198" cy="94252"/>
              </a:xfrm>
              <a:custGeom>
                <a:avLst/>
                <a:gdLst>
                  <a:gd name="connsiteX0" fmla="*/ 67890 w 87198"/>
                  <a:gd name="connsiteY0" fmla="*/ 92489 h 94252"/>
                  <a:gd name="connsiteX1" fmla="*/ 69124 w 87198"/>
                  <a:gd name="connsiteY1" fmla="*/ 91871 h 94252"/>
                  <a:gd name="connsiteX2" fmla="*/ 76707 w 87198"/>
                  <a:gd name="connsiteY2" fmla="*/ 92489 h 94252"/>
                  <a:gd name="connsiteX3" fmla="*/ 78117 w 87198"/>
                  <a:gd name="connsiteY3" fmla="*/ 92489 h 94252"/>
                  <a:gd name="connsiteX4" fmla="*/ 78999 w 87198"/>
                  <a:gd name="connsiteY4" fmla="*/ 92224 h 94252"/>
                  <a:gd name="connsiteX5" fmla="*/ 79264 w 87198"/>
                  <a:gd name="connsiteY5" fmla="*/ 90725 h 94252"/>
                  <a:gd name="connsiteX6" fmla="*/ 78999 w 87198"/>
                  <a:gd name="connsiteY6" fmla="*/ 89844 h 94252"/>
                  <a:gd name="connsiteX7" fmla="*/ 76354 w 87198"/>
                  <a:gd name="connsiteY7" fmla="*/ 88080 h 94252"/>
                  <a:gd name="connsiteX8" fmla="*/ 77236 w 87198"/>
                  <a:gd name="connsiteY8" fmla="*/ 85788 h 94252"/>
                  <a:gd name="connsiteX9" fmla="*/ 77236 w 87198"/>
                  <a:gd name="connsiteY9" fmla="*/ 85171 h 94252"/>
                  <a:gd name="connsiteX10" fmla="*/ 77853 w 87198"/>
                  <a:gd name="connsiteY10" fmla="*/ 84289 h 94252"/>
                  <a:gd name="connsiteX11" fmla="*/ 76971 w 87198"/>
                  <a:gd name="connsiteY11" fmla="*/ 82878 h 94252"/>
                  <a:gd name="connsiteX12" fmla="*/ 78117 w 87198"/>
                  <a:gd name="connsiteY12" fmla="*/ 80850 h 94252"/>
                  <a:gd name="connsiteX13" fmla="*/ 78735 w 87198"/>
                  <a:gd name="connsiteY13" fmla="*/ 80850 h 94252"/>
                  <a:gd name="connsiteX14" fmla="*/ 79616 w 87198"/>
                  <a:gd name="connsiteY14" fmla="*/ 80233 h 94252"/>
                  <a:gd name="connsiteX15" fmla="*/ 80762 w 87198"/>
                  <a:gd name="connsiteY15" fmla="*/ 81379 h 94252"/>
                  <a:gd name="connsiteX16" fmla="*/ 82526 w 87198"/>
                  <a:gd name="connsiteY16" fmla="*/ 80233 h 94252"/>
                  <a:gd name="connsiteX17" fmla="*/ 82173 w 87198"/>
                  <a:gd name="connsiteY17" fmla="*/ 79616 h 94252"/>
                  <a:gd name="connsiteX18" fmla="*/ 82526 w 87198"/>
                  <a:gd name="connsiteY18" fmla="*/ 79087 h 94252"/>
                  <a:gd name="connsiteX19" fmla="*/ 83407 w 87198"/>
                  <a:gd name="connsiteY19" fmla="*/ 78205 h 94252"/>
                  <a:gd name="connsiteX20" fmla="*/ 84553 w 87198"/>
                  <a:gd name="connsiteY20" fmla="*/ 77059 h 94252"/>
                  <a:gd name="connsiteX21" fmla="*/ 84553 w 87198"/>
                  <a:gd name="connsiteY21" fmla="*/ 76177 h 94252"/>
                  <a:gd name="connsiteX22" fmla="*/ 86317 w 87198"/>
                  <a:gd name="connsiteY22" fmla="*/ 75825 h 94252"/>
                  <a:gd name="connsiteX23" fmla="*/ 87199 w 87198"/>
                  <a:gd name="connsiteY23" fmla="*/ 73797 h 94252"/>
                  <a:gd name="connsiteX24" fmla="*/ 83936 w 87198"/>
                  <a:gd name="connsiteY24" fmla="*/ 72386 h 94252"/>
                  <a:gd name="connsiteX25" fmla="*/ 82790 w 87198"/>
                  <a:gd name="connsiteY25" fmla="*/ 71152 h 94252"/>
                  <a:gd name="connsiteX26" fmla="*/ 82526 w 87198"/>
                  <a:gd name="connsiteY26" fmla="*/ 69477 h 94252"/>
                  <a:gd name="connsiteX27" fmla="*/ 82173 w 87198"/>
                  <a:gd name="connsiteY27" fmla="*/ 68859 h 94252"/>
                  <a:gd name="connsiteX28" fmla="*/ 81380 w 87198"/>
                  <a:gd name="connsiteY28" fmla="*/ 68595 h 94252"/>
                  <a:gd name="connsiteX29" fmla="*/ 79264 w 87198"/>
                  <a:gd name="connsiteY29" fmla="*/ 68242 h 94252"/>
                  <a:gd name="connsiteX30" fmla="*/ 78117 w 87198"/>
                  <a:gd name="connsiteY30" fmla="*/ 66832 h 94252"/>
                  <a:gd name="connsiteX31" fmla="*/ 77500 w 87198"/>
                  <a:gd name="connsiteY31" fmla="*/ 66214 h 94252"/>
                  <a:gd name="connsiteX32" fmla="*/ 76707 w 87198"/>
                  <a:gd name="connsiteY32" fmla="*/ 66214 h 94252"/>
                  <a:gd name="connsiteX33" fmla="*/ 75825 w 87198"/>
                  <a:gd name="connsiteY33" fmla="*/ 63922 h 94252"/>
                  <a:gd name="connsiteX34" fmla="*/ 75825 w 87198"/>
                  <a:gd name="connsiteY34" fmla="*/ 61806 h 94252"/>
                  <a:gd name="connsiteX35" fmla="*/ 73444 w 87198"/>
                  <a:gd name="connsiteY35" fmla="*/ 61277 h 94252"/>
                  <a:gd name="connsiteX36" fmla="*/ 73709 w 87198"/>
                  <a:gd name="connsiteY36" fmla="*/ 59514 h 94252"/>
                  <a:gd name="connsiteX37" fmla="*/ 73444 w 87198"/>
                  <a:gd name="connsiteY37" fmla="*/ 57750 h 94252"/>
                  <a:gd name="connsiteX38" fmla="*/ 72034 w 87198"/>
                  <a:gd name="connsiteY38" fmla="*/ 56340 h 94252"/>
                  <a:gd name="connsiteX39" fmla="*/ 72915 w 87198"/>
                  <a:gd name="connsiteY39" fmla="*/ 54224 h 94252"/>
                  <a:gd name="connsiteX40" fmla="*/ 73709 w 87198"/>
                  <a:gd name="connsiteY40" fmla="*/ 52813 h 94252"/>
                  <a:gd name="connsiteX41" fmla="*/ 74943 w 87198"/>
                  <a:gd name="connsiteY41" fmla="*/ 52548 h 94252"/>
                  <a:gd name="connsiteX42" fmla="*/ 75825 w 87198"/>
                  <a:gd name="connsiteY42" fmla="*/ 51314 h 94252"/>
                  <a:gd name="connsiteX43" fmla="*/ 76354 w 87198"/>
                  <a:gd name="connsiteY43" fmla="*/ 50785 h 94252"/>
                  <a:gd name="connsiteX44" fmla="*/ 76707 w 87198"/>
                  <a:gd name="connsiteY44" fmla="*/ 49903 h 94252"/>
                  <a:gd name="connsiteX45" fmla="*/ 76089 w 87198"/>
                  <a:gd name="connsiteY45" fmla="*/ 49286 h 94252"/>
                  <a:gd name="connsiteX46" fmla="*/ 76971 w 87198"/>
                  <a:gd name="connsiteY46" fmla="*/ 47875 h 94252"/>
                  <a:gd name="connsiteX47" fmla="*/ 78470 w 87198"/>
                  <a:gd name="connsiteY47" fmla="*/ 47875 h 94252"/>
                  <a:gd name="connsiteX48" fmla="*/ 77500 w 87198"/>
                  <a:gd name="connsiteY48" fmla="*/ 46112 h 94252"/>
                  <a:gd name="connsiteX49" fmla="*/ 74326 w 87198"/>
                  <a:gd name="connsiteY49" fmla="*/ 45495 h 94252"/>
                  <a:gd name="connsiteX50" fmla="*/ 72563 w 87198"/>
                  <a:gd name="connsiteY50" fmla="*/ 41175 h 94252"/>
                  <a:gd name="connsiteX51" fmla="*/ 74062 w 87198"/>
                  <a:gd name="connsiteY51" fmla="*/ 41439 h 94252"/>
                  <a:gd name="connsiteX52" fmla="*/ 75208 w 87198"/>
                  <a:gd name="connsiteY52" fmla="*/ 39940 h 94252"/>
                  <a:gd name="connsiteX53" fmla="*/ 77500 w 87198"/>
                  <a:gd name="connsiteY53" fmla="*/ 40558 h 94252"/>
                  <a:gd name="connsiteX54" fmla="*/ 78117 w 87198"/>
                  <a:gd name="connsiteY54" fmla="*/ 39940 h 94252"/>
                  <a:gd name="connsiteX55" fmla="*/ 78735 w 87198"/>
                  <a:gd name="connsiteY55" fmla="*/ 39411 h 94252"/>
                  <a:gd name="connsiteX56" fmla="*/ 78117 w 87198"/>
                  <a:gd name="connsiteY56" fmla="*/ 38794 h 94252"/>
                  <a:gd name="connsiteX57" fmla="*/ 74943 w 87198"/>
                  <a:gd name="connsiteY57" fmla="*/ 37912 h 94252"/>
                  <a:gd name="connsiteX58" fmla="*/ 73444 w 87198"/>
                  <a:gd name="connsiteY58" fmla="*/ 36149 h 94252"/>
                  <a:gd name="connsiteX59" fmla="*/ 72034 w 87198"/>
                  <a:gd name="connsiteY59" fmla="*/ 36149 h 94252"/>
                  <a:gd name="connsiteX60" fmla="*/ 70799 w 87198"/>
                  <a:gd name="connsiteY60" fmla="*/ 36766 h 94252"/>
                  <a:gd name="connsiteX61" fmla="*/ 69653 w 87198"/>
                  <a:gd name="connsiteY61" fmla="*/ 37383 h 94252"/>
                  <a:gd name="connsiteX62" fmla="*/ 68507 w 87198"/>
                  <a:gd name="connsiteY62" fmla="*/ 41175 h 94252"/>
                  <a:gd name="connsiteX63" fmla="*/ 67096 w 87198"/>
                  <a:gd name="connsiteY63" fmla="*/ 40293 h 94252"/>
                  <a:gd name="connsiteX64" fmla="*/ 65597 w 87198"/>
                  <a:gd name="connsiteY64" fmla="*/ 41175 h 94252"/>
                  <a:gd name="connsiteX65" fmla="*/ 63570 w 87198"/>
                  <a:gd name="connsiteY65" fmla="*/ 37912 h 94252"/>
                  <a:gd name="connsiteX66" fmla="*/ 60924 w 87198"/>
                  <a:gd name="connsiteY66" fmla="*/ 37912 h 94252"/>
                  <a:gd name="connsiteX67" fmla="*/ 59426 w 87198"/>
                  <a:gd name="connsiteY67" fmla="*/ 37383 h 94252"/>
                  <a:gd name="connsiteX68" fmla="*/ 58279 w 87198"/>
                  <a:gd name="connsiteY68" fmla="*/ 37648 h 94252"/>
                  <a:gd name="connsiteX69" fmla="*/ 57750 w 87198"/>
                  <a:gd name="connsiteY69" fmla="*/ 37383 h 94252"/>
                  <a:gd name="connsiteX70" fmla="*/ 56516 w 87198"/>
                  <a:gd name="connsiteY70" fmla="*/ 37912 h 94252"/>
                  <a:gd name="connsiteX71" fmla="*/ 55105 w 87198"/>
                  <a:gd name="connsiteY71" fmla="*/ 36766 h 94252"/>
                  <a:gd name="connsiteX72" fmla="*/ 54224 w 87198"/>
                  <a:gd name="connsiteY72" fmla="*/ 35003 h 94252"/>
                  <a:gd name="connsiteX73" fmla="*/ 53078 w 87198"/>
                  <a:gd name="connsiteY73" fmla="*/ 34121 h 94252"/>
                  <a:gd name="connsiteX74" fmla="*/ 52196 w 87198"/>
                  <a:gd name="connsiteY74" fmla="*/ 34121 h 94252"/>
                  <a:gd name="connsiteX75" fmla="*/ 51843 w 87198"/>
                  <a:gd name="connsiteY75" fmla="*/ 32975 h 94252"/>
                  <a:gd name="connsiteX76" fmla="*/ 51314 w 87198"/>
                  <a:gd name="connsiteY76" fmla="*/ 31829 h 94252"/>
                  <a:gd name="connsiteX77" fmla="*/ 51579 w 87198"/>
                  <a:gd name="connsiteY77" fmla="*/ 31212 h 94252"/>
                  <a:gd name="connsiteX78" fmla="*/ 52725 w 87198"/>
                  <a:gd name="connsiteY78" fmla="*/ 30947 h 94252"/>
                  <a:gd name="connsiteX79" fmla="*/ 52725 w 87198"/>
                  <a:gd name="connsiteY79" fmla="*/ 30330 h 94252"/>
                  <a:gd name="connsiteX80" fmla="*/ 52460 w 87198"/>
                  <a:gd name="connsiteY80" fmla="*/ 29801 h 94252"/>
                  <a:gd name="connsiteX81" fmla="*/ 52196 w 87198"/>
                  <a:gd name="connsiteY81" fmla="*/ 29448 h 94252"/>
                  <a:gd name="connsiteX82" fmla="*/ 51843 w 87198"/>
                  <a:gd name="connsiteY82" fmla="*/ 29184 h 94252"/>
                  <a:gd name="connsiteX83" fmla="*/ 51843 w 87198"/>
                  <a:gd name="connsiteY83" fmla="*/ 28567 h 94252"/>
                  <a:gd name="connsiteX84" fmla="*/ 51579 w 87198"/>
                  <a:gd name="connsiteY84" fmla="*/ 28567 h 94252"/>
                  <a:gd name="connsiteX85" fmla="*/ 51314 w 87198"/>
                  <a:gd name="connsiteY85" fmla="*/ 28037 h 94252"/>
                  <a:gd name="connsiteX86" fmla="*/ 51579 w 87198"/>
                  <a:gd name="connsiteY86" fmla="*/ 27420 h 94252"/>
                  <a:gd name="connsiteX87" fmla="*/ 52196 w 87198"/>
                  <a:gd name="connsiteY87" fmla="*/ 26274 h 94252"/>
                  <a:gd name="connsiteX88" fmla="*/ 52196 w 87198"/>
                  <a:gd name="connsiteY88" fmla="*/ 25657 h 94252"/>
                  <a:gd name="connsiteX89" fmla="*/ 52196 w 87198"/>
                  <a:gd name="connsiteY89" fmla="*/ 25128 h 94252"/>
                  <a:gd name="connsiteX90" fmla="*/ 52196 w 87198"/>
                  <a:gd name="connsiteY90" fmla="*/ 24511 h 94252"/>
                  <a:gd name="connsiteX91" fmla="*/ 50080 w 87198"/>
                  <a:gd name="connsiteY91" fmla="*/ 23629 h 94252"/>
                  <a:gd name="connsiteX92" fmla="*/ 47523 w 87198"/>
                  <a:gd name="connsiteY92" fmla="*/ 22747 h 94252"/>
                  <a:gd name="connsiteX93" fmla="*/ 46024 w 87198"/>
                  <a:gd name="connsiteY93" fmla="*/ 21866 h 94252"/>
                  <a:gd name="connsiteX94" fmla="*/ 45407 w 87198"/>
                  <a:gd name="connsiteY94" fmla="*/ 21601 h 94252"/>
                  <a:gd name="connsiteX95" fmla="*/ 43732 w 87198"/>
                  <a:gd name="connsiteY95" fmla="*/ 21337 h 94252"/>
                  <a:gd name="connsiteX96" fmla="*/ 41351 w 87198"/>
                  <a:gd name="connsiteY96" fmla="*/ 20455 h 94252"/>
                  <a:gd name="connsiteX97" fmla="*/ 39323 w 87198"/>
                  <a:gd name="connsiteY97" fmla="*/ 18692 h 94252"/>
                  <a:gd name="connsiteX98" fmla="*/ 38794 w 87198"/>
                  <a:gd name="connsiteY98" fmla="*/ 17810 h 94252"/>
                  <a:gd name="connsiteX99" fmla="*/ 37560 w 87198"/>
                  <a:gd name="connsiteY99" fmla="*/ 17546 h 94252"/>
                  <a:gd name="connsiteX100" fmla="*/ 37031 w 87198"/>
                  <a:gd name="connsiteY100" fmla="*/ 16928 h 94252"/>
                  <a:gd name="connsiteX101" fmla="*/ 37031 w 87198"/>
                  <a:gd name="connsiteY101" fmla="*/ 16047 h 94252"/>
                  <a:gd name="connsiteX102" fmla="*/ 37295 w 87198"/>
                  <a:gd name="connsiteY102" fmla="*/ 14636 h 94252"/>
                  <a:gd name="connsiteX103" fmla="*/ 36678 w 87198"/>
                  <a:gd name="connsiteY103" fmla="*/ 13490 h 94252"/>
                  <a:gd name="connsiteX104" fmla="*/ 36678 w 87198"/>
                  <a:gd name="connsiteY104" fmla="*/ 11109 h 94252"/>
                  <a:gd name="connsiteX105" fmla="*/ 35532 w 87198"/>
                  <a:gd name="connsiteY105" fmla="*/ 10492 h 94252"/>
                  <a:gd name="connsiteX106" fmla="*/ 34386 w 87198"/>
                  <a:gd name="connsiteY106" fmla="*/ 9346 h 94252"/>
                  <a:gd name="connsiteX107" fmla="*/ 33769 w 87198"/>
                  <a:gd name="connsiteY107" fmla="*/ 8200 h 94252"/>
                  <a:gd name="connsiteX108" fmla="*/ 32622 w 87198"/>
                  <a:gd name="connsiteY108" fmla="*/ 6701 h 94252"/>
                  <a:gd name="connsiteX109" fmla="*/ 31212 w 87198"/>
                  <a:gd name="connsiteY109" fmla="*/ 6436 h 94252"/>
                  <a:gd name="connsiteX110" fmla="*/ 29713 w 87198"/>
                  <a:gd name="connsiteY110" fmla="*/ 5555 h 94252"/>
                  <a:gd name="connsiteX111" fmla="*/ 28567 w 87198"/>
                  <a:gd name="connsiteY111" fmla="*/ 4408 h 94252"/>
                  <a:gd name="connsiteX112" fmla="*/ 26803 w 87198"/>
                  <a:gd name="connsiteY112" fmla="*/ 2645 h 94252"/>
                  <a:gd name="connsiteX113" fmla="*/ 26451 w 87198"/>
                  <a:gd name="connsiteY113" fmla="*/ 1499 h 94252"/>
                  <a:gd name="connsiteX114" fmla="*/ 26451 w 87198"/>
                  <a:gd name="connsiteY114" fmla="*/ 617 h 94252"/>
                  <a:gd name="connsiteX115" fmla="*/ 24775 w 87198"/>
                  <a:gd name="connsiteY115" fmla="*/ 1499 h 94252"/>
                  <a:gd name="connsiteX116" fmla="*/ 23012 w 87198"/>
                  <a:gd name="connsiteY116" fmla="*/ 617 h 94252"/>
                  <a:gd name="connsiteX117" fmla="*/ 22130 w 87198"/>
                  <a:gd name="connsiteY117" fmla="*/ 353 h 94252"/>
                  <a:gd name="connsiteX118" fmla="*/ 21866 w 87198"/>
                  <a:gd name="connsiteY118" fmla="*/ 0 h 94252"/>
                  <a:gd name="connsiteX119" fmla="*/ 20367 w 87198"/>
                  <a:gd name="connsiteY119" fmla="*/ 617 h 94252"/>
                  <a:gd name="connsiteX120" fmla="*/ 20102 w 87198"/>
                  <a:gd name="connsiteY120" fmla="*/ 0 h 94252"/>
                  <a:gd name="connsiteX121" fmla="*/ 18956 w 87198"/>
                  <a:gd name="connsiteY121" fmla="*/ 0 h 94252"/>
                  <a:gd name="connsiteX122" fmla="*/ 17193 w 87198"/>
                  <a:gd name="connsiteY122" fmla="*/ 617 h 94252"/>
                  <a:gd name="connsiteX123" fmla="*/ 15958 w 87198"/>
                  <a:gd name="connsiteY123" fmla="*/ 1499 h 94252"/>
                  <a:gd name="connsiteX124" fmla="*/ 13049 w 87198"/>
                  <a:gd name="connsiteY124" fmla="*/ 353 h 94252"/>
                  <a:gd name="connsiteX125" fmla="*/ 10757 w 87198"/>
                  <a:gd name="connsiteY125" fmla="*/ 0 h 94252"/>
                  <a:gd name="connsiteX126" fmla="*/ 10492 w 87198"/>
                  <a:gd name="connsiteY126" fmla="*/ 882 h 94252"/>
                  <a:gd name="connsiteX127" fmla="*/ 10757 w 87198"/>
                  <a:gd name="connsiteY127" fmla="*/ 1499 h 94252"/>
                  <a:gd name="connsiteX128" fmla="*/ 9610 w 87198"/>
                  <a:gd name="connsiteY128" fmla="*/ 1763 h 94252"/>
                  <a:gd name="connsiteX129" fmla="*/ 9610 w 87198"/>
                  <a:gd name="connsiteY129" fmla="*/ 2645 h 94252"/>
                  <a:gd name="connsiteX130" fmla="*/ 8729 w 87198"/>
                  <a:gd name="connsiteY130" fmla="*/ 2645 h 94252"/>
                  <a:gd name="connsiteX131" fmla="*/ 8112 w 87198"/>
                  <a:gd name="connsiteY131" fmla="*/ 2910 h 94252"/>
                  <a:gd name="connsiteX132" fmla="*/ 6348 w 87198"/>
                  <a:gd name="connsiteY132" fmla="*/ 3262 h 94252"/>
                  <a:gd name="connsiteX133" fmla="*/ 5819 w 87198"/>
                  <a:gd name="connsiteY133" fmla="*/ 4144 h 94252"/>
                  <a:gd name="connsiteX134" fmla="*/ 3439 w 87198"/>
                  <a:gd name="connsiteY134" fmla="*/ 4408 h 94252"/>
                  <a:gd name="connsiteX135" fmla="*/ 2910 w 87198"/>
                  <a:gd name="connsiteY135" fmla="*/ 3527 h 94252"/>
                  <a:gd name="connsiteX136" fmla="*/ 2292 w 87198"/>
                  <a:gd name="connsiteY136" fmla="*/ 3262 h 94252"/>
                  <a:gd name="connsiteX137" fmla="*/ 1675 w 87198"/>
                  <a:gd name="connsiteY137" fmla="*/ 3527 h 94252"/>
                  <a:gd name="connsiteX138" fmla="*/ 1411 w 87198"/>
                  <a:gd name="connsiteY138" fmla="*/ 4937 h 94252"/>
                  <a:gd name="connsiteX139" fmla="*/ 1411 w 87198"/>
                  <a:gd name="connsiteY139" fmla="*/ 5290 h 94252"/>
                  <a:gd name="connsiteX140" fmla="*/ 1146 w 87198"/>
                  <a:gd name="connsiteY140" fmla="*/ 5555 h 94252"/>
                  <a:gd name="connsiteX141" fmla="*/ 0 w 87198"/>
                  <a:gd name="connsiteY141" fmla="*/ 6172 h 94252"/>
                  <a:gd name="connsiteX142" fmla="*/ 0 w 87198"/>
                  <a:gd name="connsiteY142" fmla="*/ 8729 h 94252"/>
                  <a:gd name="connsiteX143" fmla="*/ 529 w 87198"/>
                  <a:gd name="connsiteY143" fmla="*/ 10492 h 94252"/>
                  <a:gd name="connsiteX144" fmla="*/ 529 w 87198"/>
                  <a:gd name="connsiteY144" fmla="*/ 13137 h 94252"/>
                  <a:gd name="connsiteX145" fmla="*/ 2292 w 87198"/>
                  <a:gd name="connsiteY145" fmla="*/ 16928 h 94252"/>
                  <a:gd name="connsiteX146" fmla="*/ 2292 w 87198"/>
                  <a:gd name="connsiteY146" fmla="*/ 19573 h 94252"/>
                  <a:gd name="connsiteX147" fmla="*/ 4056 w 87198"/>
                  <a:gd name="connsiteY147" fmla="*/ 21337 h 94252"/>
                  <a:gd name="connsiteX148" fmla="*/ 6965 w 87198"/>
                  <a:gd name="connsiteY148" fmla="*/ 21866 h 94252"/>
                  <a:gd name="connsiteX149" fmla="*/ 9875 w 87198"/>
                  <a:gd name="connsiteY149" fmla="*/ 21337 h 94252"/>
                  <a:gd name="connsiteX150" fmla="*/ 11021 w 87198"/>
                  <a:gd name="connsiteY150" fmla="*/ 21866 h 94252"/>
                  <a:gd name="connsiteX151" fmla="*/ 10757 w 87198"/>
                  <a:gd name="connsiteY151" fmla="*/ 23365 h 94252"/>
                  <a:gd name="connsiteX152" fmla="*/ 8729 w 87198"/>
                  <a:gd name="connsiteY152" fmla="*/ 24246 h 94252"/>
                  <a:gd name="connsiteX153" fmla="*/ 7230 w 87198"/>
                  <a:gd name="connsiteY153" fmla="*/ 25657 h 94252"/>
                  <a:gd name="connsiteX154" fmla="*/ 4320 w 87198"/>
                  <a:gd name="connsiteY154" fmla="*/ 25657 h 94252"/>
                  <a:gd name="connsiteX155" fmla="*/ 3791 w 87198"/>
                  <a:gd name="connsiteY155" fmla="*/ 28302 h 94252"/>
                  <a:gd name="connsiteX156" fmla="*/ 2910 w 87198"/>
                  <a:gd name="connsiteY156" fmla="*/ 29184 h 94252"/>
                  <a:gd name="connsiteX157" fmla="*/ 3791 w 87198"/>
                  <a:gd name="connsiteY157" fmla="*/ 29801 h 94252"/>
                  <a:gd name="connsiteX158" fmla="*/ 5466 w 87198"/>
                  <a:gd name="connsiteY158" fmla="*/ 29801 h 94252"/>
                  <a:gd name="connsiteX159" fmla="*/ 6701 w 87198"/>
                  <a:gd name="connsiteY159" fmla="*/ 30683 h 94252"/>
                  <a:gd name="connsiteX160" fmla="*/ 8112 w 87198"/>
                  <a:gd name="connsiteY160" fmla="*/ 33592 h 94252"/>
                  <a:gd name="connsiteX161" fmla="*/ 6701 w 87198"/>
                  <a:gd name="connsiteY161" fmla="*/ 34738 h 94252"/>
                  <a:gd name="connsiteX162" fmla="*/ 6701 w 87198"/>
                  <a:gd name="connsiteY162" fmla="*/ 36766 h 94252"/>
                  <a:gd name="connsiteX163" fmla="*/ 5819 w 87198"/>
                  <a:gd name="connsiteY163" fmla="*/ 38794 h 94252"/>
                  <a:gd name="connsiteX164" fmla="*/ 6965 w 87198"/>
                  <a:gd name="connsiteY164" fmla="*/ 40293 h 94252"/>
                  <a:gd name="connsiteX165" fmla="*/ 9610 w 87198"/>
                  <a:gd name="connsiteY165" fmla="*/ 39676 h 94252"/>
                  <a:gd name="connsiteX166" fmla="*/ 10757 w 87198"/>
                  <a:gd name="connsiteY166" fmla="*/ 40558 h 94252"/>
                  <a:gd name="connsiteX167" fmla="*/ 11021 w 87198"/>
                  <a:gd name="connsiteY167" fmla="*/ 42585 h 94252"/>
                  <a:gd name="connsiteX168" fmla="*/ 13049 w 87198"/>
                  <a:gd name="connsiteY168" fmla="*/ 43732 h 94252"/>
                  <a:gd name="connsiteX169" fmla="*/ 11638 w 87198"/>
                  <a:gd name="connsiteY169" fmla="*/ 46112 h 94252"/>
                  <a:gd name="connsiteX170" fmla="*/ 11638 w 87198"/>
                  <a:gd name="connsiteY170" fmla="*/ 48140 h 94252"/>
                  <a:gd name="connsiteX171" fmla="*/ 10140 w 87198"/>
                  <a:gd name="connsiteY171" fmla="*/ 49903 h 94252"/>
                  <a:gd name="connsiteX172" fmla="*/ 7230 w 87198"/>
                  <a:gd name="connsiteY172" fmla="*/ 53077 h 94252"/>
                  <a:gd name="connsiteX173" fmla="*/ 7847 w 87198"/>
                  <a:gd name="connsiteY173" fmla="*/ 56340 h 94252"/>
                  <a:gd name="connsiteX174" fmla="*/ 8993 w 87198"/>
                  <a:gd name="connsiteY174" fmla="*/ 56869 h 94252"/>
                  <a:gd name="connsiteX175" fmla="*/ 10492 w 87198"/>
                  <a:gd name="connsiteY175" fmla="*/ 57750 h 94252"/>
                  <a:gd name="connsiteX176" fmla="*/ 10140 w 87198"/>
                  <a:gd name="connsiteY176" fmla="*/ 58367 h 94252"/>
                  <a:gd name="connsiteX177" fmla="*/ 9258 w 87198"/>
                  <a:gd name="connsiteY177" fmla="*/ 60131 h 94252"/>
                  <a:gd name="connsiteX178" fmla="*/ 8112 w 87198"/>
                  <a:gd name="connsiteY178" fmla="*/ 60395 h 94252"/>
                  <a:gd name="connsiteX179" fmla="*/ 7230 w 87198"/>
                  <a:gd name="connsiteY179" fmla="*/ 61806 h 94252"/>
                  <a:gd name="connsiteX180" fmla="*/ 6965 w 87198"/>
                  <a:gd name="connsiteY180" fmla="*/ 62159 h 94252"/>
                  <a:gd name="connsiteX181" fmla="*/ 7230 w 87198"/>
                  <a:gd name="connsiteY181" fmla="*/ 62423 h 94252"/>
                  <a:gd name="connsiteX182" fmla="*/ 7847 w 87198"/>
                  <a:gd name="connsiteY182" fmla="*/ 63305 h 94252"/>
                  <a:gd name="connsiteX183" fmla="*/ 8376 w 87198"/>
                  <a:gd name="connsiteY183" fmla="*/ 64187 h 94252"/>
                  <a:gd name="connsiteX184" fmla="*/ 8729 w 87198"/>
                  <a:gd name="connsiteY184" fmla="*/ 65068 h 94252"/>
                  <a:gd name="connsiteX185" fmla="*/ 9610 w 87198"/>
                  <a:gd name="connsiteY185" fmla="*/ 65950 h 94252"/>
                  <a:gd name="connsiteX186" fmla="*/ 10492 w 87198"/>
                  <a:gd name="connsiteY186" fmla="*/ 66479 h 94252"/>
                  <a:gd name="connsiteX187" fmla="*/ 10757 w 87198"/>
                  <a:gd name="connsiteY187" fmla="*/ 67361 h 94252"/>
                  <a:gd name="connsiteX188" fmla="*/ 11638 w 87198"/>
                  <a:gd name="connsiteY188" fmla="*/ 67978 h 94252"/>
                  <a:gd name="connsiteX189" fmla="*/ 12167 w 87198"/>
                  <a:gd name="connsiteY189" fmla="*/ 68595 h 94252"/>
                  <a:gd name="connsiteX190" fmla="*/ 12785 w 87198"/>
                  <a:gd name="connsiteY190" fmla="*/ 69477 h 94252"/>
                  <a:gd name="connsiteX191" fmla="*/ 13402 w 87198"/>
                  <a:gd name="connsiteY191" fmla="*/ 70270 h 94252"/>
                  <a:gd name="connsiteX192" fmla="*/ 13931 w 87198"/>
                  <a:gd name="connsiteY192" fmla="*/ 70887 h 94252"/>
                  <a:gd name="connsiteX193" fmla="*/ 14812 w 87198"/>
                  <a:gd name="connsiteY193" fmla="*/ 71152 h 94252"/>
                  <a:gd name="connsiteX194" fmla="*/ 15694 w 87198"/>
                  <a:gd name="connsiteY194" fmla="*/ 71769 h 94252"/>
                  <a:gd name="connsiteX195" fmla="*/ 16576 w 87198"/>
                  <a:gd name="connsiteY195" fmla="*/ 72386 h 94252"/>
                  <a:gd name="connsiteX196" fmla="*/ 17722 w 87198"/>
                  <a:gd name="connsiteY196" fmla="*/ 72386 h 94252"/>
                  <a:gd name="connsiteX197" fmla="*/ 18956 w 87198"/>
                  <a:gd name="connsiteY197" fmla="*/ 72386 h 94252"/>
                  <a:gd name="connsiteX198" fmla="*/ 19838 w 87198"/>
                  <a:gd name="connsiteY198" fmla="*/ 72651 h 94252"/>
                  <a:gd name="connsiteX199" fmla="*/ 20631 w 87198"/>
                  <a:gd name="connsiteY199" fmla="*/ 73268 h 94252"/>
                  <a:gd name="connsiteX200" fmla="*/ 21513 w 87198"/>
                  <a:gd name="connsiteY200" fmla="*/ 73797 h 94252"/>
                  <a:gd name="connsiteX201" fmla="*/ 22130 w 87198"/>
                  <a:gd name="connsiteY201" fmla="*/ 74414 h 94252"/>
                  <a:gd name="connsiteX202" fmla="*/ 23012 w 87198"/>
                  <a:gd name="connsiteY202" fmla="*/ 74943 h 94252"/>
                  <a:gd name="connsiteX203" fmla="*/ 23894 w 87198"/>
                  <a:gd name="connsiteY203" fmla="*/ 76177 h 94252"/>
                  <a:gd name="connsiteX204" fmla="*/ 23629 w 87198"/>
                  <a:gd name="connsiteY204" fmla="*/ 77324 h 94252"/>
                  <a:gd name="connsiteX205" fmla="*/ 23629 w 87198"/>
                  <a:gd name="connsiteY205" fmla="*/ 77941 h 94252"/>
                  <a:gd name="connsiteX206" fmla="*/ 24423 w 87198"/>
                  <a:gd name="connsiteY206" fmla="*/ 78205 h 94252"/>
                  <a:gd name="connsiteX207" fmla="*/ 25657 w 87198"/>
                  <a:gd name="connsiteY207" fmla="*/ 78734 h 94252"/>
                  <a:gd name="connsiteX208" fmla="*/ 26451 w 87198"/>
                  <a:gd name="connsiteY208" fmla="*/ 79352 h 94252"/>
                  <a:gd name="connsiteX209" fmla="*/ 27421 w 87198"/>
                  <a:gd name="connsiteY209" fmla="*/ 79969 h 94252"/>
                  <a:gd name="connsiteX210" fmla="*/ 28214 w 87198"/>
                  <a:gd name="connsiteY210" fmla="*/ 80498 h 94252"/>
                  <a:gd name="connsiteX211" fmla="*/ 29448 w 87198"/>
                  <a:gd name="connsiteY211" fmla="*/ 80498 h 94252"/>
                  <a:gd name="connsiteX212" fmla="*/ 29713 w 87198"/>
                  <a:gd name="connsiteY212" fmla="*/ 80850 h 94252"/>
                  <a:gd name="connsiteX213" fmla="*/ 30594 w 87198"/>
                  <a:gd name="connsiteY213" fmla="*/ 81115 h 94252"/>
                  <a:gd name="connsiteX214" fmla="*/ 31212 w 87198"/>
                  <a:gd name="connsiteY214" fmla="*/ 81644 h 94252"/>
                  <a:gd name="connsiteX215" fmla="*/ 31212 w 87198"/>
                  <a:gd name="connsiteY215" fmla="*/ 82878 h 94252"/>
                  <a:gd name="connsiteX216" fmla="*/ 31476 w 87198"/>
                  <a:gd name="connsiteY216" fmla="*/ 82878 h 94252"/>
                  <a:gd name="connsiteX217" fmla="*/ 32005 w 87198"/>
                  <a:gd name="connsiteY217" fmla="*/ 82526 h 94252"/>
                  <a:gd name="connsiteX218" fmla="*/ 32358 w 87198"/>
                  <a:gd name="connsiteY218" fmla="*/ 82526 h 94252"/>
                  <a:gd name="connsiteX219" fmla="*/ 32887 w 87198"/>
                  <a:gd name="connsiteY219" fmla="*/ 82526 h 94252"/>
                  <a:gd name="connsiteX220" fmla="*/ 33504 w 87198"/>
                  <a:gd name="connsiteY220" fmla="*/ 82261 h 94252"/>
                  <a:gd name="connsiteX221" fmla="*/ 34386 w 87198"/>
                  <a:gd name="connsiteY221" fmla="*/ 82261 h 94252"/>
                  <a:gd name="connsiteX222" fmla="*/ 34650 w 87198"/>
                  <a:gd name="connsiteY222" fmla="*/ 82261 h 94252"/>
                  <a:gd name="connsiteX223" fmla="*/ 35003 w 87198"/>
                  <a:gd name="connsiteY223" fmla="*/ 82261 h 94252"/>
                  <a:gd name="connsiteX224" fmla="*/ 35003 w 87198"/>
                  <a:gd name="connsiteY224" fmla="*/ 81997 h 94252"/>
                  <a:gd name="connsiteX225" fmla="*/ 35267 w 87198"/>
                  <a:gd name="connsiteY225" fmla="*/ 81644 h 94252"/>
                  <a:gd name="connsiteX226" fmla="*/ 35267 w 87198"/>
                  <a:gd name="connsiteY226" fmla="*/ 81115 h 94252"/>
                  <a:gd name="connsiteX227" fmla="*/ 35532 w 87198"/>
                  <a:gd name="connsiteY227" fmla="*/ 80850 h 94252"/>
                  <a:gd name="connsiteX228" fmla="*/ 35796 w 87198"/>
                  <a:gd name="connsiteY228" fmla="*/ 80498 h 94252"/>
                  <a:gd name="connsiteX229" fmla="*/ 36414 w 87198"/>
                  <a:gd name="connsiteY229" fmla="*/ 80498 h 94252"/>
                  <a:gd name="connsiteX230" fmla="*/ 36678 w 87198"/>
                  <a:gd name="connsiteY230" fmla="*/ 80233 h 94252"/>
                  <a:gd name="connsiteX231" fmla="*/ 37295 w 87198"/>
                  <a:gd name="connsiteY231" fmla="*/ 80233 h 94252"/>
                  <a:gd name="connsiteX232" fmla="*/ 37560 w 87198"/>
                  <a:gd name="connsiteY232" fmla="*/ 79969 h 94252"/>
                  <a:gd name="connsiteX233" fmla="*/ 37913 w 87198"/>
                  <a:gd name="connsiteY233" fmla="*/ 79969 h 94252"/>
                  <a:gd name="connsiteX234" fmla="*/ 38442 w 87198"/>
                  <a:gd name="connsiteY234" fmla="*/ 79969 h 94252"/>
                  <a:gd name="connsiteX235" fmla="*/ 39059 w 87198"/>
                  <a:gd name="connsiteY235" fmla="*/ 79969 h 94252"/>
                  <a:gd name="connsiteX236" fmla="*/ 39323 w 87198"/>
                  <a:gd name="connsiteY236" fmla="*/ 79969 h 94252"/>
                  <a:gd name="connsiteX237" fmla="*/ 39940 w 87198"/>
                  <a:gd name="connsiteY237" fmla="*/ 79969 h 94252"/>
                  <a:gd name="connsiteX238" fmla="*/ 40205 w 87198"/>
                  <a:gd name="connsiteY238" fmla="*/ 79616 h 94252"/>
                  <a:gd name="connsiteX239" fmla="*/ 40205 w 87198"/>
                  <a:gd name="connsiteY239" fmla="*/ 79352 h 94252"/>
                  <a:gd name="connsiteX240" fmla="*/ 40205 w 87198"/>
                  <a:gd name="connsiteY240" fmla="*/ 79087 h 94252"/>
                  <a:gd name="connsiteX241" fmla="*/ 40205 w 87198"/>
                  <a:gd name="connsiteY241" fmla="*/ 78734 h 94252"/>
                  <a:gd name="connsiteX242" fmla="*/ 39940 w 87198"/>
                  <a:gd name="connsiteY242" fmla="*/ 78470 h 94252"/>
                  <a:gd name="connsiteX243" fmla="*/ 39676 w 87198"/>
                  <a:gd name="connsiteY243" fmla="*/ 78205 h 94252"/>
                  <a:gd name="connsiteX244" fmla="*/ 39676 w 87198"/>
                  <a:gd name="connsiteY244" fmla="*/ 77588 h 94252"/>
                  <a:gd name="connsiteX245" fmla="*/ 39676 w 87198"/>
                  <a:gd name="connsiteY245" fmla="*/ 77324 h 94252"/>
                  <a:gd name="connsiteX246" fmla="*/ 40205 w 87198"/>
                  <a:gd name="connsiteY246" fmla="*/ 77059 h 94252"/>
                  <a:gd name="connsiteX247" fmla="*/ 40469 w 87198"/>
                  <a:gd name="connsiteY247" fmla="*/ 76706 h 94252"/>
                  <a:gd name="connsiteX248" fmla="*/ 41086 w 87198"/>
                  <a:gd name="connsiteY248" fmla="*/ 76706 h 94252"/>
                  <a:gd name="connsiteX249" fmla="*/ 41351 w 87198"/>
                  <a:gd name="connsiteY249" fmla="*/ 76442 h 94252"/>
                  <a:gd name="connsiteX250" fmla="*/ 41704 w 87198"/>
                  <a:gd name="connsiteY250" fmla="*/ 76442 h 94252"/>
                  <a:gd name="connsiteX251" fmla="*/ 41968 w 87198"/>
                  <a:gd name="connsiteY251" fmla="*/ 75825 h 94252"/>
                  <a:gd name="connsiteX252" fmla="*/ 41968 w 87198"/>
                  <a:gd name="connsiteY252" fmla="*/ 75560 h 94252"/>
                  <a:gd name="connsiteX253" fmla="*/ 42233 w 87198"/>
                  <a:gd name="connsiteY253" fmla="*/ 75296 h 94252"/>
                  <a:gd name="connsiteX254" fmla="*/ 42585 w 87198"/>
                  <a:gd name="connsiteY254" fmla="*/ 75560 h 94252"/>
                  <a:gd name="connsiteX255" fmla="*/ 42585 w 87198"/>
                  <a:gd name="connsiteY255" fmla="*/ 76177 h 94252"/>
                  <a:gd name="connsiteX256" fmla="*/ 43114 w 87198"/>
                  <a:gd name="connsiteY256" fmla="*/ 76177 h 94252"/>
                  <a:gd name="connsiteX257" fmla="*/ 43467 w 87198"/>
                  <a:gd name="connsiteY257" fmla="*/ 75825 h 94252"/>
                  <a:gd name="connsiteX258" fmla="*/ 43732 w 87198"/>
                  <a:gd name="connsiteY258" fmla="*/ 75825 h 94252"/>
                  <a:gd name="connsiteX259" fmla="*/ 43996 w 87198"/>
                  <a:gd name="connsiteY259" fmla="*/ 76177 h 94252"/>
                  <a:gd name="connsiteX260" fmla="*/ 44261 w 87198"/>
                  <a:gd name="connsiteY260" fmla="*/ 75825 h 94252"/>
                  <a:gd name="connsiteX261" fmla="*/ 43996 w 87198"/>
                  <a:gd name="connsiteY261" fmla="*/ 75560 h 94252"/>
                  <a:gd name="connsiteX262" fmla="*/ 44261 w 87198"/>
                  <a:gd name="connsiteY262" fmla="*/ 75296 h 94252"/>
                  <a:gd name="connsiteX263" fmla="*/ 43996 w 87198"/>
                  <a:gd name="connsiteY263" fmla="*/ 74943 h 94252"/>
                  <a:gd name="connsiteX264" fmla="*/ 43732 w 87198"/>
                  <a:gd name="connsiteY264" fmla="*/ 74414 h 94252"/>
                  <a:gd name="connsiteX265" fmla="*/ 43996 w 87198"/>
                  <a:gd name="connsiteY265" fmla="*/ 74061 h 94252"/>
                  <a:gd name="connsiteX266" fmla="*/ 43996 w 87198"/>
                  <a:gd name="connsiteY266" fmla="*/ 73797 h 94252"/>
                  <a:gd name="connsiteX267" fmla="*/ 43732 w 87198"/>
                  <a:gd name="connsiteY267" fmla="*/ 73532 h 94252"/>
                  <a:gd name="connsiteX268" fmla="*/ 43467 w 87198"/>
                  <a:gd name="connsiteY268" fmla="*/ 73268 h 94252"/>
                  <a:gd name="connsiteX269" fmla="*/ 43467 w 87198"/>
                  <a:gd name="connsiteY269" fmla="*/ 72915 h 94252"/>
                  <a:gd name="connsiteX270" fmla="*/ 43467 w 87198"/>
                  <a:gd name="connsiteY270" fmla="*/ 72651 h 94252"/>
                  <a:gd name="connsiteX271" fmla="*/ 43114 w 87198"/>
                  <a:gd name="connsiteY271" fmla="*/ 72651 h 94252"/>
                  <a:gd name="connsiteX272" fmla="*/ 42850 w 87198"/>
                  <a:gd name="connsiteY272" fmla="*/ 72651 h 94252"/>
                  <a:gd name="connsiteX273" fmla="*/ 42850 w 87198"/>
                  <a:gd name="connsiteY273" fmla="*/ 72386 h 94252"/>
                  <a:gd name="connsiteX274" fmla="*/ 42233 w 87198"/>
                  <a:gd name="connsiteY274" fmla="*/ 72386 h 94252"/>
                  <a:gd name="connsiteX275" fmla="*/ 41968 w 87198"/>
                  <a:gd name="connsiteY275" fmla="*/ 72386 h 94252"/>
                  <a:gd name="connsiteX276" fmla="*/ 41704 w 87198"/>
                  <a:gd name="connsiteY276" fmla="*/ 71769 h 94252"/>
                  <a:gd name="connsiteX277" fmla="*/ 41968 w 87198"/>
                  <a:gd name="connsiteY277" fmla="*/ 71505 h 94252"/>
                  <a:gd name="connsiteX278" fmla="*/ 42585 w 87198"/>
                  <a:gd name="connsiteY278" fmla="*/ 71505 h 94252"/>
                  <a:gd name="connsiteX279" fmla="*/ 42850 w 87198"/>
                  <a:gd name="connsiteY279" fmla="*/ 71152 h 94252"/>
                  <a:gd name="connsiteX280" fmla="*/ 43467 w 87198"/>
                  <a:gd name="connsiteY280" fmla="*/ 71505 h 94252"/>
                  <a:gd name="connsiteX281" fmla="*/ 43467 w 87198"/>
                  <a:gd name="connsiteY281" fmla="*/ 71152 h 94252"/>
                  <a:gd name="connsiteX282" fmla="*/ 43732 w 87198"/>
                  <a:gd name="connsiteY282" fmla="*/ 71505 h 94252"/>
                  <a:gd name="connsiteX283" fmla="*/ 43732 w 87198"/>
                  <a:gd name="connsiteY283" fmla="*/ 71152 h 94252"/>
                  <a:gd name="connsiteX284" fmla="*/ 43996 w 87198"/>
                  <a:gd name="connsiteY284" fmla="*/ 70887 h 94252"/>
                  <a:gd name="connsiteX285" fmla="*/ 44613 w 87198"/>
                  <a:gd name="connsiteY285" fmla="*/ 70887 h 94252"/>
                  <a:gd name="connsiteX286" fmla="*/ 44878 w 87198"/>
                  <a:gd name="connsiteY286" fmla="*/ 70623 h 94252"/>
                  <a:gd name="connsiteX287" fmla="*/ 45142 w 87198"/>
                  <a:gd name="connsiteY287" fmla="*/ 70270 h 94252"/>
                  <a:gd name="connsiteX288" fmla="*/ 45407 w 87198"/>
                  <a:gd name="connsiteY288" fmla="*/ 70006 h 94252"/>
                  <a:gd name="connsiteX289" fmla="*/ 45759 w 87198"/>
                  <a:gd name="connsiteY289" fmla="*/ 69741 h 94252"/>
                  <a:gd name="connsiteX290" fmla="*/ 46024 w 87198"/>
                  <a:gd name="connsiteY290" fmla="*/ 69477 h 94252"/>
                  <a:gd name="connsiteX291" fmla="*/ 46288 w 87198"/>
                  <a:gd name="connsiteY291" fmla="*/ 69124 h 94252"/>
                  <a:gd name="connsiteX292" fmla="*/ 46288 w 87198"/>
                  <a:gd name="connsiteY292" fmla="*/ 68859 h 94252"/>
                  <a:gd name="connsiteX293" fmla="*/ 46906 w 87198"/>
                  <a:gd name="connsiteY293" fmla="*/ 68859 h 94252"/>
                  <a:gd name="connsiteX294" fmla="*/ 47523 w 87198"/>
                  <a:gd name="connsiteY294" fmla="*/ 68859 h 94252"/>
                  <a:gd name="connsiteX295" fmla="*/ 47787 w 87198"/>
                  <a:gd name="connsiteY295" fmla="*/ 69124 h 94252"/>
                  <a:gd name="connsiteX296" fmla="*/ 48052 w 87198"/>
                  <a:gd name="connsiteY296" fmla="*/ 69477 h 94252"/>
                  <a:gd name="connsiteX297" fmla="*/ 48052 w 87198"/>
                  <a:gd name="connsiteY297" fmla="*/ 69741 h 94252"/>
                  <a:gd name="connsiteX298" fmla="*/ 48405 w 87198"/>
                  <a:gd name="connsiteY298" fmla="*/ 70006 h 94252"/>
                  <a:gd name="connsiteX299" fmla="*/ 48934 w 87198"/>
                  <a:gd name="connsiteY299" fmla="*/ 70006 h 94252"/>
                  <a:gd name="connsiteX300" fmla="*/ 49286 w 87198"/>
                  <a:gd name="connsiteY300" fmla="*/ 70006 h 94252"/>
                  <a:gd name="connsiteX301" fmla="*/ 49551 w 87198"/>
                  <a:gd name="connsiteY301" fmla="*/ 70270 h 94252"/>
                  <a:gd name="connsiteX302" fmla="*/ 49815 w 87198"/>
                  <a:gd name="connsiteY302" fmla="*/ 70887 h 94252"/>
                  <a:gd name="connsiteX303" fmla="*/ 49551 w 87198"/>
                  <a:gd name="connsiteY303" fmla="*/ 71152 h 94252"/>
                  <a:gd name="connsiteX304" fmla="*/ 49551 w 87198"/>
                  <a:gd name="connsiteY304" fmla="*/ 71505 h 94252"/>
                  <a:gd name="connsiteX305" fmla="*/ 48934 w 87198"/>
                  <a:gd name="connsiteY305" fmla="*/ 71505 h 94252"/>
                  <a:gd name="connsiteX306" fmla="*/ 48669 w 87198"/>
                  <a:gd name="connsiteY306" fmla="*/ 71769 h 94252"/>
                  <a:gd name="connsiteX307" fmla="*/ 48405 w 87198"/>
                  <a:gd name="connsiteY307" fmla="*/ 71769 h 94252"/>
                  <a:gd name="connsiteX308" fmla="*/ 48052 w 87198"/>
                  <a:gd name="connsiteY308" fmla="*/ 72386 h 94252"/>
                  <a:gd name="connsiteX309" fmla="*/ 48052 w 87198"/>
                  <a:gd name="connsiteY309" fmla="*/ 72651 h 94252"/>
                  <a:gd name="connsiteX310" fmla="*/ 48405 w 87198"/>
                  <a:gd name="connsiteY310" fmla="*/ 72651 h 94252"/>
                  <a:gd name="connsiteX311" fmla="*/ 48934 w 87198"/>
                  <a:gd name="connsiteY311" fmla="*/ 72651 h 94252"/>
                  <a:gd name="connsiteX312" fmla="*/ 50080 w 87198"/>
                  <a:gd name="connsiteY312" fmla="*/ 72651 h 94252"/>
                  <a:gd name="connsiteX313" fmla="*/ 50697 w 87198"/>
                  <a:gd name="connsiteY313" fmla="*/ 72915 h 94252"/>
                  <a:gd name="connsiteX314" fmla="*/ 50961 w 87198"/>
                  <a:gd name="connsiteY314" fmla="*/ 72915 h 94252"/>
                  <a:gd name="connsiteX315" fmla="*/ 51314 w 87198"/>
                  <a:gd name="connsiteY315" fmla="*/ 72915 h 94252"/>
                  <a:gd name="connsiteX316" fmla="*/ 51843 w 87198"/>
                  <a:gd name="connsiteY316" fmla="*/ 72651 h 94252"/>
                  <a:gd name="connsiteX317" fmla="*/ 52196 w 87198"/>
                  <a:gd name="connsiteY317" fmla="*/ 72915 h 94252"/>
                  <a:gd name="connsiteX318" fmla="*/ 52460 w 87198"/>
                  <a:gd name="connsiteY318" fmla="*/ 72915 h 94252"/>
                  <a:gd name="connsiteX319" fmla="*/ 53078 w 87198"/>
                  <a:gd name="connsiteY319" fmla="*/ 72915 h 94252"/>
                  <a:gd name="connsiteX320" fmla="*/ 53342 w 87198"/>
                  <a:gd name="connsiteY320" fmla="*/ 72651 h 94252"/>
                  <a:gd name="connsiteX321" fmla="*/ 53342 w 87198"/>
                  <a:gd name="connsiteY321" fmla="*/ 72915 h 94252"/>
                  <a:gd name="connsiteX322" fmla="*/ 53342 w 87198"/>
                  <a:gd name="connsiteY322" fmla="*/ 73268 h 94252"/>
                  <a:gd name="connsiteX323" fmla="*/ 53607 w 87198"/>
                  <a:gd name="connsiteY323" fmla="*/ 73532 h 94252"/>
                  <a:gd name="connsiteX324" fmla="*/ 53871 w 87198"/>
                  <a:gd name="connsiteY324" fmla="*/ 73532 h 94252"/>
                  <a:gd name="connsiteX325" fmla="*/ 54488 w 87198"/>
                  <a:gd name="connsiteY325" fmla="*/ 73268 h 94252"/>
                  <a:gd name="connsiteX326" fmla="*/ 54753 w 87198"/>
                  <a:gd name="connsiteY326" fmla="*/ 73532 h 94252"/>
                  <a:gd name="connsiteX327" fmla="*/ 55105 w 87198"/>
                  <a:gd name="connsiteY327" fmla="*/ 73797 h 94252"/>
                  <a:gd name="connsiteX328" fmla="*/ 55105 w 87198"/>
                  <a:gd name="connsiteY328" fmla="*/ 74061 h 94252"/>
                  <a:gd name="connsiteX329" fmla="*/ 55105 w 87198"/>
                  <a:gd name="connsiteY329" fmla="*/ 74679 h 94252"/>
                  <a:gd name="connsiteX330" fmla="*/ 55105 w 87198"/>
                  <a:gd name="connsiteY330" fmla="*/ 74943 h 94252"/>
                  <a:gd name="connsiteX331" fmla="*/ 55105 w 87198"/>
                  <a:gd name="connsiteY331" fmla="*/ 75560 h 94252"/>
                  <a:gd name="connsiteX332" fmla="*/ 55105 w 87198"/>
                  <a:gd name="connsiteY332" fmla="*/ 76177 h 94252"/>
                  <a:gd name="connsiteX333" fmla="*/ 55105 w 87198"/>
                  <a:gd name="connsiteY333" fmla="*/ 76442 h 94252"/>
                  <a:gd name="connsiteX334" fmla="*/ 55370 w 87198"/>
                  <a:gd name="connsiteY334" fmla="*/ 76706 h 94252"/>
                  <a:gd name="connsiteX335" fmla="*/ 55634 w 87198"/>
                  <a:gd name="connsiteY335" fmla="*/ 76442 h 94252"/>
                  <a:gd name="connsiteX336" fmla="*/ 55987 w 87198"/>
                  <a:gd name="connsiteY336" fmla="*/ 76177 h 94252"/>
                  <a:gd name="connsiteX337" fmla="*/ 56251 w 87198"/>
                  <a:gd name="connsiteY337" fmla="*/ 75825 h 94252"/>
                  <a:gd name="connsiteX338" fmla="*/ 56516 w 87198"/>
                  <a:gd name="connsiteY338" fmla="*/ 75825 h 94252"/>
                  <a:gd name="connsiteX339" fmla="*/ 56869 w 87198"/>
                  <a:gd name="connsiteY339" fmla="*/ 75825 h 94252"/>
                  <a:gd name="connsiteX340" fmla="*/ 57133 w 87198"/>
                  <a:gd name="connsiteY340" fmla="*/ 75825 h 94252"/>
                  <a:gd name="connsiteX341" fmla="*/ 57398 w 87198"/>
                  <a:gd name="connsiteY341" fmla="*/ 76177 h 94252"/>
                  <a:gd name="connsiteX342" fmla="*/ 57398 w 87198"/>
                  <a:gd name="connsiteY342" fmla="*/ 76706 h 94252"/>
                  <a:gd name="connsiteX343" fmla="*/ 57398 w 87198"/>
                  <a:gd name="connsiteY343" fmla="*/ 77059 h 94252"/>
                  <a:gd name="connsiteX344" fmla="*/ 57398 w 87198"/>
                  <a:gd name="connsiteY344" fmla="*/ 77588 h 94252"/>
                  <a:gd name="connsiteX345" fmla="*/ 57750 w 87198"/>
                  <a:gd name="connsiteY345" fmla="*/ 77941 h 94252"/>
                  <a:gd name="connsiteX346" fmla="*/ 58015 w 87198"/>
                  <a:gd name="connsiteY346" fmla="*/ 78205 h 94252"/>
                  <a:gd name="connsiteX347" fmla="*/ 58279 w 87198"/>
                  <a:gd name="connsiteY347" fmla="*/ 78470 h 94252"/>
                  <a:gd name="connsiteX348" fmla="*/ 58632 w 87198"/>
                  <a:gd name="connsiteY348" fmla="*/ 78470 h 94252"/>
                  <a:gd name="connsiteX349" fmla="*/ 58897 w 87198"/>
                  <a:gd name="connsiteY349" fmla="*/ 78470 h 94252"/>
                  <a:gd name="connsiteX350" fmla="*/ 59426 w 87198"/>
                  <a:gd name="connsiteY350" fmla="*/ 78470 h 94252"/>
                  <a:gd name="connsiteX351" fmla="*/ 59778 w 87198"/>
                  <a:gd name="connsiteY351" fmla="*/ 78470 h 94252"/>
                  <a:gd name="connsiteX352" fmla="*/ 60307 w 87198"/>
                  <a:gd name="connsiteY352" fmla="*/ 78470 h 94252"/>
                  <a:gd name="connsiteX353" fmla="*/ 60660 w 87198"/>
                  <a:gd name="connsiteY353" fmla="*/ 78470 h 94252"/>
                  <a:gd name="connsiteX354" fmla="*/ 60924 w 87198"/>
                  <a:gd name="connsiteY354" fmla="*/ 78734 h 94252"/>
                  <a:gd name="connsiteX355" fmla="*/ 61189 w 87198"/>
                  <a:gd name="connsiteY355" fmla="*/ 79087 h 94252"/>
                  <a:gd name="connsiteX356" fmla="*/ 61542 w 87198"/>
                  <a:gd name="connsiteY356" fmla="*/ 79352 h 94252"/>
                  <a:gd name="connsiteX357" fmla="*/ 61806 w 87198"/>
                  <a:gd name="connsiteY357" fmla="*/ 79616 h 94252"/>
                  <a:gd name="connsiteX358" fmla="*/ 61806 w 87198"/>
                  <a:gd name="connsiteY358" fmla="*/ 80233 h 94252"/>
                  <a:gd name="connsiteX359" fmla="*/ 61806 w 87198"/>
                  <a:gd name="connsiteY359" fmla="*/ 80498 h 94252"/>
                  <a:gd name="connsiteX360" fmla="*/ 61542 w 87198"/>
                  <a:gd name="connsiteY360" fmla="*/ 81115 h 94252"/>
                  <a:gd name="connsiteX361" fmla="*/ 61542 w 87198"/>
                  <a:gd name="connsiteY361" fmla="*/ 81379 h 94252"/>
                  <a:gd name="connsiteX362" fmla="*/ 61542 w 87198"/>
                  <a:gd name="connsiteY362" fmla="*/ 81644 h 94252"/>
                  <a:gd name="connsiteX363" fmla="*/ 61189 w 87198"/>
                  <a:gd name="connsiteY363" fmla="*/ 81997 h 94252"/>
                  <a:gd name="connsiteX364" fmla="*/ 61189 w 87198"/>
                  <a:gd name="connsiteY364" fmla="*/ 82261 h 94252"/>
                  <a:gd name="connsiteX365" fmla="*/ 61189 w 87198"/>
                  <a:gd name="connsiteY365" fmla="*/ 82526 h 94252"/>
                  <a:gd name="connsiteX366" fmla="*/ 61806 w 87198"/>
                  <a:gd name="connsiteY366" fmla="*/ 82526 h 94252"/>
                  <a:gd name="connsiteX367" fmla="*/ 62071 w 87198"/>
                  <a:gd name="connsiteY367" fmla="*/ 82261 h 94252"/>
                  <a:gd name="connsiteX368" fmla="*/ 62688 w 87198"/>
                  <a:gd name="connsiteY368" fmla="*/ 82261 h 94252"/>
                  <a:gd name="connsiteX369" fmla="*/ 62952 w 87198"/>
                  <a:gd name="connsiteY369" fmla="*/ 82261 h 94252"/>
                  <a:gd name="connsiteX370" fmla="*/ 63570 w 87198"/>
                  <a:gd name="connsiteY370" fmla="*/ 82261 h 94252"/>
                  <a:gd name="connsiteX371" fmla="*/ 63834 w 87198"/>
                  <a:gd name="connsiteY371" fmla="*/ 82261 h 94252"/>
                  <a:gd name="connsiteX372" fmla="*/ 64099 w 87198"/>
                  <a:gd name="connsiteY372" fmla="*/ 82261 h 94252"/>
                  <a:gd name="connsiteX373" fmla="*/ 64716 w 87198"/>
                  <a:gd name="connsiteY373" fmla="*/ 82526 h 94252"/>
                  <a:gd name="connsiteX374" fmla="*/ 64980 w 87198"/>
                  <a:gd name="connsiteY374" fmla="*/ 82526 h 94252"/>
                  <a:gd name="connsiteX375" fmla="*/ 65245 w 87198"/>
                  <a:gd name="connsiteY375" fmla="*/ 82261 h 94252"/>
                  <a:gd name="connsiteX376" fmla="*/ 65597 w 87198"/>
                  <a:gd name="connsiteY376" fmla="*/ 82526 h 94252"/>
                  <a:gd name="connsiteX377" fmla="*/ 65862 w 87198"/>
                  <a:gd name="connsiteY377" fmla="*/ 82878 h 94252"/>
                  <a:gd name="connsiteX378" fmla="*/ 66126 w 87198"/>
                  <a:gd name="connsiteY378" fmla="*/ 83143 h 94252"/>
                  <a:gd name="connsiteX379" fmla="*/ 66479 w 87198"/>
                  <a:gd name="connsiteY379" fmla="*/ 83143 h 94252"/>
                  <a:gd name="connsiteX380" fmla="*/ 66744 w 87198"/>
                  <a:gd name="connsiteY380" fmla="*/ 83407 h 94252"/>
                  <a:gd name="connsiteX381" fmla="*/ 67096 w 87198"/>
                  <a:gd name="connsiteY381" fmla="*/ 83407 h 94252"/>
                  <a:gd name="connsiteX382" fmla="*/ 67361 w 87198"/>
                  <a:gd name="connsiteY382" fmla="*/ 83407 h 94252"/>
                  <a:gd name="connsiteX383" fmla="*/ 67361 w 87198"/>
                  <a:gd name="connsiteY383" fmla="*/ 83760 h 94252"/>
                  <a:gd name="connsiteX384" fmla="*/ 67361 w 87198"/>
                  <a:gd name="connsiteY384" fmla="*/ 84024 h 94252"/>
                  <a:gd name="connsiteX385" fmla="*/ 67625 w 87198"/>
                  <a:gd name="connsiteY385" fmla="*/ 84289 h 94252"/>
                  <a:gd name="connsiteX386" fmla="*/ 67625 w 87198"/>
                  <a:gd name="connsiteY386" fmla="*/ 84642 h 94252"/>
                  <a:gd name="connsiteX387" fmla="*/ 67361 w 87198"/>
                  <a:gd name="connsiteY387" fmla="*/ 84906 h 94252"/>
                  <a:gd name="connsiteX388" fmla="*/ 67096 w 87198"/>
                  <a:gd name="connsiteY388" fmla="*/ 84906 h 94252"/>
                  <a:gd name="connsiteX389" fmla="*/ 67096 w 87198"/>
                  <a:gd name="connsiteY389" fmla="*/ 85171 h 94252"/>
                  <a:gd name="connsiteX390" fmla="*/ 66744 w 87198"/>
                  <a:gd name="connsiteY390" fmla="*/ 85523 h 94252"/>
                  <a:gd name="connsiteX391" fmla="*/ 66479 w 87198"/>
                  <a:gd name="connsiteY391" fmla="*/ 85523 h 94252"/>
                  <a:gd name="connsiteX392" fmla="*/ 66126 w 87198"/>
                  <a:gd name="connsiteY392" fmla="*/ 85788 h 94252"/>
                  <a:gd name="connsiteX393" fmla="*/ 66126 w 87198"/>
                  <a:gd name="connsiteY393" fmla="*/ 86052 h 94252"/>
                  <a:gd name="connsiteX394" fmla="*/ 65862 w 87198"/>
                  <a:gd name="connsiteY394" fmla="*/ 86670 h 94252"/>
                  <a:gd name="connsiteX395" fmla="*/ 65597 w 87198"/>
                  <a:gd name="connsiteY395" fmla="*/ 86934 h 94252"/>
                  <a:gd name="connsiteX396" fmla="*/ 65597 w 87198"/>
                  <a:gd name="connsiteY396" fmla="*/ 87816 h 94252"/>
                  <a:gd name="connsiteX397" fmla="*/ 65245 w 87198"/>
                  <a:gd name="connsiteY397" fmla="*/ 88433 h 94252"/>
                  <a:gd name="connsiteX398" fmla="*/ 65597 w 87198"/>
                  <a:gd name="connsiteY398" fmla="*/ 88962 h 94252"/>
                  <a:gd name="connsiteX399" fmla="*/ 65597 w 87198"/>
                  <a:gd name="connsiteY399" fmla="*/ 89226 h 94252"/>
                  <a:gd name="connsiteX400" fmla="*/ 65862 w 87198"/>
                  <a:gd name="connsiteY400" fmla="*/ 89579 h 94252"/>
                  <a:gd name="connsiteX401" fmla="*/ 65597 w 87198"/>
                  <a:gd name="connsiteY401" fmla="*/ 90108 h 94252"/>
                  <a:gd name="connsiteX402" fmla="*/ 64980 w 87198"/>
                  <a:gd name="connsiteY402" fmla="*/ 90725 h 94252"/>
                  <a:gd name="connsiteX403" fmla="*/ 64716 w 87198"/>
                  <a:gd name="connsiteY403" fmla="*/ 91342 h 94252"/>
                  <a:gd name="connsiteX404" fmla="*/ 64716 w 87198"/>
                  <a:gd name="connsiteY404" fmla="*/ 92224 h 94252"/>
                  <a:gd name="connsiteX405" fmla="*/ 64451 w 87198"/>
                  <a:gd name="connsiteY405" fmla="*/ 93018 h 94252"/>
                  <a:gd name="connsiteX406" fmla="*/ 64451 w 87198"/>
                  <a:gd name="connsiteY406" fmla="*/ 93370 h 94252"/>
                  <a:gd name="connsiteX407" fmla="*/ 64451 w 87198"/>
                  <a:gd name="connsiteY407" fmla="*/ 93635 h 94252"/>
                  <a:gd name="connsiteX408" fmla="*/ 64451 w 87198"/>
                  <a:gd name="connsiteY408" fmla="*/ 93899 h 94252"/>
                  <a:gd name="connsiteX409" fmla="*/ 64451 w 87198"/>
                  <a:gd name="connsiteY409" fmla="*/ 94252 h 9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</a:cxnLst>
                <a:rect l="l" t="t" r="r" b="b"/>
                <a:pathLst>
                  <a:path w="87198" h="94252">
                    <a:moveTo>
                      <a:pt x="67890" y="92489"/>
                    </a:moveTo>
                    <a:lnTo>
                      <a:pt x="69124" y="91871"/>
                    </a:lnTo>
                    <a:lnTo>
                      <a:pt x="76707" y="92489"/>
                    </a:lnTo>
                    <a:lnTo>
                      <a:pt x="78117" y="92489"/>
                    </a:lnTo>
                    <a:lnTo>
                      <a:pt x="78999" y="92224"/>
                    </a:lnTo>
                    <a:lnTo>
                      <a:pt x="79264" y="90725"/>
                    </a:lnTo>
                    <a:lnTo>
                      <a:pt x="78999" y="89844"/>
                    </a:lnTo>
                    <a:lnTo>
                      <a:pt x="76354" y="88080"/>
                    </a:lnTo>
                    <a:lnTo>
                      <a:pt x="77236" y="85788"/>
                    </a:lnTo>
                    <a:lnTo>
                      <a:pt x="77236" y="85171"/>
                    </a:lnTo>
                    <a:lnTo>
                      <a:pt x="77853" y="84289"/>
                    </a:lnTo>
                    <a:lnTo>
                      <a:pt x="76971" y="82878"/>
                    </a:lnTo>
                    <a:lnTo>
                      <a:pt x="78117" y="80850"/>
                    </a:lnTo>
                    <a:lnTo>
                      <a:pt x="78735" y="80850"/>
                    </a:lnTo>
                    <a:lnTo>
                      <a:pt x="79616" y="80233"/>
                    </a:lnTo>
                    <a:lnTo>
                      <a:pt x="80762" y="81379"/>
                    </a:lnTo>
                    <a:lnTo>
                      <a:pt x="82526" y="80233"/>
                    </a:lnTo>
                    <a:lnTo>
                      <a:pt x="82173" y="79616"/>
                    </a:lnTo>
                    <a:lnTo>
                      <a:pt x="82526" y="79087"/>
                    </a:lnTo>
                    <a:lnTo>
                      <a:pt x="83407" y="78205"/>
                    </a:lnTo>
                    <a:lnTo>
                      <a:pt x="84553" y="77059"/>
                    </a:lnTo>
                    <a:lnTo>
                      <a:pt x="84553" y="76177"/>
                    </a:lnTo>
                    <a:lnTo>
                      <a:pt x="86317" y="75825"/>
                    </a:lnTo>
                    <a:lnTo>
                      <a:pt x="87199" y="73797"/>
                    </a:lnTo>
                    <a:lnTo>
                      <a:pt x="83936" y="72386"/>
                    </a:lnTo>
                    <a:lnTo>
                      <a:pt x="82790" y="71152"/>
                    </a:lnTo>
                    <a:lnTo>
                      <a:pt x="82526" y="69477"/>
                    </a:lnTo>
                    <a:lnTo>
                      <a:pt x="82173" y="68859"/>
                    </a:lnTo>
                    <a:lnTo>
                      <a:pt x="81380" y="68595"/>
                    </a:lnTo>
                    <a:lnTo>
                      <a:pt x="79264" y="68242"/>
                    </a:lnTo>
                    <a:lnTo>
                      <a:pt x="78117" y="66832"/>
                    </a:lnTo>
                    <a:lnTo>
                      <a:pt x="77500" y="66214"/>
                    </a:lnTo>
                    <a:lnTo>
                      <a:pt x="76707" y="66214"/>
                    </a:lnTo>
                    <a:lnTo>
                      <a:pt x="75825" y="63922"/>
                    </a:lnTo>
                    <a:lnTo>
                      <a:pt x="75825" y="61806"/>
                    </a:lnTo>
                    <a:lnTo>
                      <a:pt x="73444" y="61277"/>
                    </a:lnTo>
                    <a:lnTo>
                      <a:pt x="73709" y="59514"/>
                    </a:lnTo>
                    <a:lnTo>
                      <a:pt x="73444" y="57750"/>
                    </a:lnTo>
                    <a:lnTo>
                      <a:pt x="72034" y="56340"/>
                    </a:lnTo>
                    <a:lnTo>
                      <a:pt x="72915" y="54224"/>
                    </a:lnTo>
                    <a:lnTo>
                      <a:pt x="73709" y="52813"/>
                    </a:lnTo>
                    <a:lnTo>
                      <a:pt x="74943" y="52548"/>
                    </a:lnTo>
                    <a:lnTo>
                      <a:pt x="75825" y="51314"/>
                    </a:lnTo>
                    <a:lnTo>
                      <a:pt x="76354" y="50785"/>
                    </a:lnTo>
                    <a:lnTo>
                      <a:pt x="76707" y="49903"/>
                    </a:lnTo>
                    <a:lnTo>
                      <a:pt x="76089" y="49286"/>
                    </a:lnTo>
                    <a:lnTo>
                      <a:pt x="76971" y="47875"/>
                    </a:lnTo>
                    <a:lnTo>
                      <a:pt x="78470" y="47875"/>
                    </a:lnTo>
                    <a:lnTo>
                      <a:pt x="77500" y="46112"/>
                    </a:lnTo>
                    <a:lnTo>
                      <a:pt x="74326" y="45495"/>
                    </a:lnTo>
                    <a:lnTo>
                      <a:pt x="72563" y="41175"/>
                    </a:lnTo>
                    <a:lnTo>
                      <a:pt x="74062" y="41439"/>
                    </a:lnTo>
                    <a:lnTo>
                      <a:pt x="75208" y="39940"/>
                    </a:lnTo>
                    <a:lnTo>
                      <a:pt x="77500" y="40558"/>
                    </a:lnTo>
                    <a:lnTo>
                      <a:pt x="78117" y="39940"/>
                    </a:lnTo>
                    <a:lnTo>
                      <a:pt x="78735" y="39411"/>
                    </a:lnTo>
                    <a:lnTo>
                      <a:pt x="78117" y="38794"/>
                    </a:lnTo>
                    <a:lnTo>
                      <a:pt x="74943" y="37912"/>
                    </a:lnTo>
                    <a:lnTo>
                      <a:pt x="73444" y="36149"/>
                    </a:lnTo>
                    <a:lnTo>
                      <a:pt x="72034" y="36149"/>
                    </a:lnTo>
                    <a:lnTo>
                      <a:pt x="70799" y="36766"/>
                    </a:lnTo>
                    <a:lnTo>
                      <a:pt x="69653" y="37383"/>
                    </a:lnTo>
                    <a:lnTo>
                      <a:pt x="68507" y="41175"/>
                    </a:lnTo>
                    <a:lnTo>
                      <a:pt x="67096" y="40293"/>
                    </a:lnTo>
                    <a:lnTo>
                      <a:pt x="65597" y="41175"/>
                    </a:lnTo>
                    <a:lnTo>
                      <a:pt x="63570" y="37912"/>
                    </a:lnTo>
                    <a:lnTo>
                      <a:pt x="60924" y="37912"/>
                    </a:lnTo>
                    <a:lnTo>
                      <a:pt x="59426" y="37383"/>
                    </a:lnTo>
                    <a:lnTo>
                      <a:pt x="58279" y="37648"/>
                    </a:lnTo>
                    <a:lnTo>
                      <a:pt x="57750" y="37383"/>
                    </a:lnTo>
                    <a:lnTo>
                      <a:pt x="56516" y="37912"/>
                    </a:lnTo>
                    <a:lnTo>
                      <a:pt x="55105" y="36766"/>
                    </a:lnTo>
                    <a:lnTo>
                      <a:pt x="54224" y="35003"/>
                    </a:lnTo>
                    <a:lnTo>
                      <a:pt x="53078" y="34121"/>
                    </a:lnTo>
                    <a:lnTo>
                      <a:pt x="52196" y="34121"/>
                    </a:lnTo>
                    <a:lnTo>
                      <a:pt x="51843" y="32975"/>
                    </a:lnTo>
                    <a:lnTo>
                      <a:pt x="51314" y="31829"/>
                    </a:lnTo>
                    <a:lnTo>
                      <a:pt x="51579" y="31212"/>
                    </a:lnTo>
                    <a:lnTo>
                      <a:pt x="52725" y="30947"/>
                    </a:lnTo>
                    <a:lnTo>
                      <a:pt x="52725" y="30330"/>
                    </a:lnTo>
                    <a:lnTo>
                      <a:pt x="52460" y="29801"/>
                    </a:lnTo>
                    <a:lnTo>
                      <a:pt x="52196" y="29448"/>
                    </a:lnTo>
                    <a:lnTo>
                      <a:pt x="51843" y="29184"/>
                    </a:lnTo>
                    <a:lnTo>
                      <a:pt x="51843" y="28567"/>
                    </a:lnTo>
                    <a:lnTo>
                      <a:pt x="51579" y="28567"/>
                    </a:lnTo>
                    <a:lnTo>
                      <a:pt x="51314" y="28037"/>
                    </a:lnTo>
                    <a:lnTo>
                      <a:pt x="51579" y="27420"/>
                    </a:lnTo>
                    <a:lnTo>
                      <a:pt x="52196" y="26274"/>
                    </a:lnTo>
                    <a:lnTo>
                      <a:pt x="52196" y="25657"/>
                    </a:lnTo>
                    <a:lnTo>
                      <a:pt x="52196" y="25128"/>
                    </a:lnTo>
                    <a:lnTo>
                      <a:pt x="52196" y="24511"/>
                    </a:lnTo>
                    <a:lnTo>
                      <a:pt x="50080" y="23629"/>
                    </a:lnTo>
                    <a:lnTo>
                      <a:pt x="47523" y="22747"/>
                    </a:lnTo>
                    <a:lnTo>
                      <a:pt x="46024" y="21866"/>
                    </a:lnTo>
                    <a:lnTo>
                      <a:pt x="45407" y="21601"/>
                    </a:lnTo>
                    <a:lnTo>
                      <a:pt x="43732" y="21337"/>
                    </a:lnTo>
                    <a:lnTo>
                      <a:pt x="41351" y="20455"/>
                    </a:lnTo>
                    <a:lnTo>
                      <a:pt x="39323" y="18692"/>
                    </a:lnTo>
                    <a:lnTo>
                      <a:pt x="38794" y="17810"/>
                    </a:lnTo>
                    <a:lnTo>
                      <a:pt x="37560" y="17546"/>
                    </a:lnTo>
                    <a:lnTo>
                      <a:pt x="37031" y="16928"/>
                    </a:lnTo>
                    <a:lnTo>
                      <a:pt x="37031" y="16047"/>
                    </a:lnTo>
                    <a:lnTo>
                      <a:pt x="37295" y="14636"/>
                    </a:lnTo>
                    <a:lnTo>
                      <a:pt x="36678" y="13490"/>
                    </a:lnTo>
                    <a:lnTo>
                      <a:pt x="36678" y="11109"/>
                    </a:lnTo>
                    <a:lnTo>
                      <a:pt x="35532" y="10492"/>
                    </a:lnTo>
                    <a:lnTo>
                      <a:pt x="34386" y="9346"/>
                    </a:lnTo>
                    <a:lnTo>
                      <a:pt x="33769" y="8200"/>
                    </a:lnTo>
                    <a:lnTo>
                      <a:pt x="32622" y="6701"/>
                    </a:lnTo>
                    <a:lnTo>
                      <a:pt x="31212" y="6436"/>
                    </a:lnTo>
                    <a:lnTo>
                      <a:pt x="29713" y="5555"/>
                    </a:lnTo>
                    <a:lnTo>
                      <a:pt x="28567" y="4408"/>
                    </a:lnTo>
                    <a:lnTo>
                      <a:pt x="26803" y="2645"/>
                    </a:lnTo>
                    <a:lnTo>
                      <a:pt x="26451" y="1499"/>
                    </a:lnTo>
                    <a:lnTo>
                      <a:pt x="26451" y="617"/>
                    </a:lnTo>
                    <a:lnTo>
                      <a:pt x="24775" y="1499"/>
                    </a:lnTo>
                    <a:lnTo>
                      <a:pt x="23012" y="617"/>
                    </a:lnTo>
                    <a:lnTo>
                      <a:pt x="22130" y="353"/>
                    </a:lnTo>
                    <a:lnTo>
                      <a:pt x="21866" y="0"/>
                    </a:lnTo>
                    <a:lnTo>
                      <a:pt x="20367" y="617"/>
                    </a:lnTo>
                    <a:lnTo>
                      <a:pt x="20102" y="0"/>
                    </a:lnTo>
                    <a:lnTo>
                      <a:pt x="18956" y="0"/>
                    </a:lnTo>
                    <a:lnTo>
                      <a:pt x="17193" y="617"/>
                    </a:lnTo>
                    <a:lnTo>
                      <a:pt x="15958" y="1499"/>
                    </a:lnTo>
                    <a:lnTo>
                      <a:pt x="13049" y="353"/>
                    </a:lnTo>
                    <a:lnTo>
                      <a:pt x="10757" y="0"/>
                    </a:lnTo>
                    <a:lnTo>
                      <a:pt x="10492" y="882"/>
                    </a:lnTo>
                    <a:lnTo>
                      <a:pt x="10757" y="1499"/>
                    </a:lnTo>
                    <a:lnTo>
                      <a:pt x="9610" y="1763"/>
                    </a:lnTo>
                    <a:lnTo>
                      <a:pt x="9610" y="2645"/>
                    </a:lnTo>
                    <a:lnTo>
                      <a:pt x="8729" y="2645"/>
                    </a:lnTo>
                    <a:lnTo>
                      <a:pt x="8112" y="2910"/>
                    </a:lnTo>
                    <a:lnTo>
                      <a:pt x="6348" y="3262"/>
                    </a:lnTo>
                    <a:lnTo>
                      <a:pt x="5819" y="4144"/>
                    </a:lnTo>
                    <a:lnTo>
                      <a:pt x="3439" y="4408"/>
                    </a:lnTo>
                    <a:lnTo>
                      <a:pt x="2910" y="3527"/>
                    </a:lnTo>
                    <a:lnTo>
                      <a:pt x="2292" y="3262"/>
                    </a:lnTo>
                    <a:lnTo>
                      <a:pt x="1675" y="3527"/>
                    </a:lnTo>
                    <a:lnTo>
                      <a:pt x="1411" y="4937"/>
                    </a:lnTo>
                    <a:lnTo>
                      <a:pt x="1411" y="5290"/>
                    </a:lnTo>
                    <a:lnTo>
                      <a:pt x="1146" y="5555"/>
                    </a:lnTo>
                    <a:lnTo>
                      <a:pt x="0" y="6172"/>
                    </a:lnTo>
                    <a:lnTo>
                      <a:pt x="0" y="8729"/>
                    </a:lnTo>
                    <a:lnTo>
                      <a:pt x="529" y="10492"/>
                    </a:lnTo>
                    <a:lnTo>
                      <a:pt x="529" y="13137"/>
                    </a:lnTo>
                    <a:lnTo>
                      <a:pt x="2292" y="16928"/>
                    </a:lnTo>
                    <a:lnTo>
                      <a:pt x="2292" y="19573"/>
                    </a:lnTo>
                    <a:lnTo>
                      <a:pt x="4056" y="21337"/>
                    </a:lnTo>
                    <a:lnTo>
                      <a:pt x="6965" y="21866"/>
                    </a:lnTo>
                    <a:lnTo>
                      <a:pt x="9875" y="21337"/>
                    </a:lnTo>
                    <a:lnTo>
                      <a:pt x="11021" y="21866"/>
                    </a:lnTo>
                    <a:lnTo>
                      <a:pt x="10757" y="23365"/>
                    </a:lnTo>
                    <a:lnTo>
                      <a:pt x="8729" y="24246"/>
                    </a:lnTo>
                    <a:lnTo>
                      <a:pt x="7230" y="25657"/>
                    </a:lnTo>
                    <a:lnTo>
                      <a:pt x="4320" y="25657"/>
                    </a:lnTo>
                    <a:lnTo>
                      <a:pt x="3791" y="28302"/>
                    </a:lnTo>
                    <a:lnTo>
                      <a:pt x="2910" y="29184"/>
                    </a:lnTo>
                    <a:lnTo>
                      <a:pt x="3791" y="29801"/>
                    </a:lnTo>
                    <a:lnTo>
                      <a:pt x="5466" y="29801"/>
                    </a:lnTo>
                    <a:lnTo>
                      <a:pt x="6701" y="30683"/>
                    </a:lnTo>
                    <a:lnTo>
                      <a:pt x="8112" y="33592"/>
                    </a:lnTo>
                    <a:lnTo>
                      <a:pt x="6701" y="34738"/>
                    </a:lnTo>
                    <a:lnTo>
                      <a:pt x="6701" y="36766"/>
                    </a:lnTo>
                    <a:lnTo>
                      <a:pt x="5819" y="38794"/>
                    </a:lnTo>
                    <a:lnTo>
                      <a:pt x="6965" y="40293"/>
                    </a:lnTo>
                    <a:lnTo>
                      <a:pt x="9610" y="39676"/>
                    </a:lnTo>
                    <a:lnTo>
                      <a:pt x="10757" y="40558"/>
                    </a:lnTo>
                    <a:lnTo>
                      <a:pt x="11021" y="42585"/>
                    </a:lnTo>
                    <a:lnTo>
                      <a:pt x="13049" y="43732"/>
                    </a:lnTo>
                    <a:lnTo>
                      <a:pt x="11638" y="46112"/>
                    </a:lnTo>
                    <a:lnTo>
                      <a:pt x="11638" y="48140"/>
                    </a:lnTo>
                    <a:lnTo>
                      <a:pt x="10140" y="49903"/>
                    </a:lnTo>
                    <a:lnTo>
                      <a:pt x="7230" y="53077"/>
                    </a:lnTo>
                    <a:lnTo>
                      <a:pt x="7847" y="56340"/>
                    </a:lnTo>
                    <a:lnTo>
                      <a:pt x="8993" y="56869"/>
                    </a:lnTo>
                    <a:lnTo>
                      <a:pt x="10492" y="57750"/>
                    </a:lnTo>
                    <a:lnTo>
                      <a:pt x="10140" y="58367"/>
                    </a:lnTo>
                    <a:lnTo>
                      <a:pt x="9258" y="60131"/>
                    </a:lnTo>
                    <a:lnTo>
                      <a:pt x="8112" y="60395"/>
                    </a:lnTo>
                    <a:lnTo>
                      <a:pt x="7230" y="61806"/>
                    </a:lnTo>
                    <a:lnTo>
                      <a:pt x="6965" y="62159"/>
                    </a:lnTo>
                    <a:lnTo>
                      <a:pt x="7230" y="62423"/>
                    </a:lnTo>
                    <a:lnTo>
                      <a:pt x="7847" y="63305"/>
                    </a:lnTo>
                    <a:lnTo>
                      <a:pt x="8376" y="64187"/>
                    </a:lnTo>
                    <a:lnTo>
                      <a:pt x="8729" y="65068"/>
                    </a:lnTo>
                    <a:lnTo>
                      <a:pt x="9610" y="65950"/>
                    </a:lnTo>
                    <a:lnTo>
                      <a:pt x="10492" y="66479"/>
                    </a:lnTo>
                    <a:lnTo>
                      <a:pt x="10757" y="67361"/>
                    </a:lnTo>
                    <a:lnTo>
                      <a:pt x="11638" y="67978"/>
                    </a:lnTo>
                    <a:lnTo>
                      <a:pt x="12167" y="68595"/>
                    </a:lnTo>
                    <a:lnTo>
                      <a:pt x="12785" y="69477"/>
                    </a:lnTo>
                    <a:lnTo>
                      <a:pt x="13402" y="70270"/>
                    </a:lnTo>
                    <a:lnTo>
                      <a:pt x="13931" y="70887"/>
                    </a:lnTo>
                    <a:lnTo>
                      <a:pt x="14812" y="71152"/>
                    </a:lnTo>
                    <a:lnTo>
                      <a:pt x="15694" y="71769"/>
                    </a:lnTo>
                    <a:lnTo>
                      <a:pt x="16576" y="72386"/>
                    </a:lnTo>
                    <a:lnTo>
                      <a:pt x="17722" y="72386"/>
                    </a:lnTo>
                    <a:lnTo>
                      <a:pt x="18956" y="72386"/>
                    </a:lnTo>
                    <a:lnTo>
                      <a:pt x="19838" y="72651"/>
                    </a:lnTo>
                    <a:lnTo>
                      <a:pt x="20631" y="73268"/>
                    </a:lnTo>
                    <a:lnTo>
                      <a:pt x="21513" y="73797"/>
                    </a:lnTo>
                    <a:lnTo>
                      <a:pt x="22130" y="74414"/>
                    </a:lnTo>
                    <a:lnTo>
                      <a:pt x="23012" y="74943"/>
                    </a:lnTo>
                    <a:lnTo>
                      <a:pt x="23894" y="76177"/>
                    </a:lnTo>
                    <a:lnTo>
                      <a:pt x="23629" y="77324"/>
                    </a:lnTo>
                    <a:lnTo>
                      <a:pt x="23629" y="77941"/>
                    </a:lnTo>
                    <a:lnTo>
                      <a:pt x="24423" y="78205"/>
                    </a:lnTo>
                    <a:lnTo>
                      <a:pt x="25657" y="78734"/>
                    </a:lnTo>
                    <a:lnTo>
                      <a:pt x="26451" y="79352"/>
                    </a:lnTo>
                    <a:lnTo>
                      <a:pt x="27421" y="79969"/>
                    </a:lnTo>
                    <a:lnTo>
                      <a:pt x="28214" y="80498"/>
                    </a:lnTo>
                    <a:lnTo>
                      <a:pt x="29448" y="80498"/>
                    </a:lnTo>
                    <a:lnTo>
                      <a:pt x="29713" y="80850"/>
                    </a:lnTo>
                    <a:lnTo>
                      <a:pt x="30594" y="81115"/>
                    </a:lnTo>
                    <a:lnTo>
                      <a:pt x="31212" y="81644"/>
                    </a:lnTo>
                    <a:lnTo>
                      <a:pt x="31212" y="82878"/>
                    </a:lnTo>
                    <a:lnTo>
                      <a:pt x="31476" y="82878"/>
                    </a:lnTo>
                    <a:lnTo>
                      <a:pt x="32005" y="82526"/>
                    </a:lnTo>
                    <a:lnTo>
                      <a:pt x="32358" y="82526"/>
                    </a:lnTo>
                    <a:lnTo>
                      <a:pt x="32887" y="82526"/>
                    </a:lnTo>
                    <a:lnTo>
                      <a:pt x="33504" y="82261"/>
                    </a:lnTo>
                    <a:lnTo>
                      <a:pt x="34386" y="82261"/>
                    </a:lnTo>
                    <a:lnTo>
                      <a:pt x="34650" y="82261"/>
                    </a:lnTo>
                    <a:lnTo>
                      <a:pt x="35003" y="82261"/>
                    </a:lnTo>
                    <a:lnTo>
                      <a:pt x="35003" y="81997"/>
                    </a:lnTo>
                    <a:lnTo>
                      <a:pt x="35267" y="81644"/>
                    </a:lnTo>
                    <a:lnTo>
                      <a:pt x="35267" y="81115"/>
                    </a:lnTo>
                    <a:lnTo>
                      <a:pt x="35532" y="80850"/>
                    </a:lnTo>
                    <a:lnTo>
                      <a:pt x="35796" y="80498"/>
                    </a:lnTo>
                    <a:lnTo>
                      <a:pt x="36414" y="80498"/>
                    </a:lnTo>
                    <a:lnTo>
                      <a:pt x="36678" y="80233"/>
                    </a:lnTo>
                    <a:lnTo>
                      <a:pt x="37295" y="80233"/>
                    </a:lnTo>
                    <a:lnTo>
                      <a:pt x="37560" y="79969"/>
                    </a:lnTo>
                    <a:lnTo>
                      <a:pt x="37913" y="79969"/>
                    </a:lnTo>
                    <a:lnTo>
                      <a:pt x="38442" y="79969"/>
                    </a:lnTo>
                    <a:lnTo>
                      <a:pt x="39059" y="79969"/>
                    </a:lnTo>
                    <a:lnTo>
                      <a:pt x="39323" y="79969"/>
                    </a:lnTo>
                    <a:lnTo>
                      <a:pt x="39940" y="79969"/>
                    </a:lnTo>
                    <a:lnTo>
                      <a:pt x="40205" y="79616"/>
                    </a:lnTo>
                    <a:lnTo>
                      <a:pt x="40205" y="79352"/>
                    </a:lnTo>
                    <a:lnTo>
                      <a:pt x="40205" y="79087"/>
                    </a:lnTo>
                    <a:lnTo>
                      <a:pt x="40205" y="78734"/>
                    </a:lnTo>
                    <a:lnTo>
                      <a:pt x="39940" y="78470"/>
                    </a:lnTo>
                    <a:lnTo>
                      <a:pt x="39676" y="78205"/>
                    </a:lnTo>
                    <a:lnTo>
                      <a:pt x="39676" y="77588"/>
                    </a:lnTo>
                    <a:lnTo>
                      <a:pt x="39676" y="77324"/>
                    </a:lnTo>
                    <a:lnTo>
                      <a:pt x="40205" y="77059"/>
                    </a:lnTo>
                    <a:lnTo>
                      <a:pt x="40469" y="76706"/>
                    </a:lnTo>
                    <a:lnTo>
                      <a:pt x="41086" y="76706"/>
                    </a:lnTo>
                    <a:lnTo>
                      <a:pt x="41351" y="76442"/>
                    </a:lnTo>
                    <a:lnTo>
                      <a:pt x="41704" y="76442"/>
                    </a:lnTo>
                    <a:lnTo>
                      <a:pt x="41968" y="75825"/>
                    </a:lnTo>
                    <a:lnTo>
                      <a:pt x="41968" y="75560"/>
                    </a:lnTo>
                    <a:lnTo>
                      <a:pt x="42233" y="75296"/>
                    </a:lnTo>
                    <a:lnTo>
                      <a:pt x="42585" y="75560"/>
                    </a:lnTo>
                    <a:lnTo>
                      <a:pt x="42585" y="76177"/>
                    </a:lnTo>
                    <a:lnTo>
                      <a:pt x="43114" y="76177"/>
                    </a:lnTo>
                    <a:lnTo>
                      <a:pt x="43467" y="75825"/>
                    </a:lnTo>
                    <a:lnTo>
                      <a:pt x="43732" y="75825"/>
                    </a:lnTo>
                    <a:lnTo>
                      <a:pt x="43996" y="76177"/>
                    </a:lnTo>
                    <a:lnTo>
                      <a:pt x="44261" y="75825"/>
                    </a:lnTo>
                    <a:lnTo>
                      <a:pt x="43996" y="75560"/>
                    </a:lnTo>
                    <a:lnTo>
                      <a:pt x="44261" y="75296"/>
                    </a:lnTo>
                    <a:lnTo>
                      <a:pt x="43996" y="74943"/>
                    </a:lnTo>
                    <a:lnTo>
                      <a:pt x="43732" y="74414"/>
                    </a:lnTo>
                    <a:lnTo>
                      <a:pt x="43996" y="74061"/>
                    </a:lnTo>
                    <a:lnTo>
                      <a:pt x="43996" y="73797"/>
                    </a:lnTo>
                    <a:lnTo>
                      <a:pt x="43732" y="73532"/>
                    </a:lnTo>
                    <a:lnTo>
                      <a:pt x="43467" y="73268"/>
                    </a:lnTo>
                    <a:lnTo>
                      <a:pt x="43467" y="72915"/>
                    </a:lnTo>
                    <a:lnTo>
                      <a:pt x="43467" y="72651"/>
                    </a:lnTo>
                    <a:lnTo>
                      <a:pt x="43114" y="72651"/>
                    </a:lnTo>
                    <a:lnTo>
                      <a:pt x="42850" y="72651"/>
                    </a:lnTo>
                    <a:lnTo>
                      <a:pt x="42850" y="72386"/>
                    </a:lnTo>
                    <a:lnTo>
                      <a:pt x="42233" y="72386"/>
                    </a:lnTo>
                    <a:lnTo>
                      <a:pt x="41968" y="72386"/>
                    </a:lnTo>
                    <a:lnTo>
                      <a:pt x="41704" y="71769"/>
                    </a:lnTo>
                    <a:lnTo>
                      <a:pt x="41968" y="71505"/>
                    </a:lnTo>
                    <a:lnTo>
                      <a:pt x="42585" y="71505"/>
                    </a:lnTo>
                    <a:lnTo>
                      <a:pt x="42850" y="71152"/>
                    </a:lnTo>
                    <a:lnTo>
                      <a:pt x="43467" y="71505"/>
                    </a:lnTo>
                    <a:lnTo>
                      <a:pt x="43467" y="71152"/>
                    </a:lnTo>
                    <a:lnTo>
                      <a:pt x="43732" y="71505"/>
                    </a:lnTo>
                    <a:lnTo>
                      <a:pt x="43732" y="71152"/>
                    </a:lnTo>
                    <a:lnTo>
                      <a:pt x="43996" y="70887"/>
                    </a:lnTo>
                    <a:lnTo>
                      <a:pt x="44613" y="70887"/>
                    </a:lnTo>
                    <a:lnTo>
                      <a:pt x="44878" y="70623"/>
                    </a:lnTo>
                    <a:lnTo>
                      <a:pt x="45142" y="70270"/>
                    </a:lnTo>
                    <a:lnTo>
                      <a:pt x="45407" y="70006"/>
                    </a:lnTo>
                    <a:lnTo>
                      <a:pt x="45759" y="69741"/>
                    </a:lnTo>
                    <a:lnTo>
                      <a:pt x="46024" y="69477"/>
                    </a:lnTo>
                    <a:lnTo>
                      <a:pt x="46288" y="69124"/>
                    </a:lnTo>
                    <a:lnTo>
                      <a:pt x="46288" y="68859"/>
                    </a:lnTo>
                    <a:lnTo>
                      <a:pt x="46906" y="68859"/>
                    </a:lnTo>
                    <a:lnTo>
                      <a:pt x="47523" y="68859"/>
                    </a:lnTo>
                    <a:lnTo>
                      <a:pt x="47787" y="69124"/>
                    </a:lnTo>
                    <a:lnTo>
                      <a:pt x="48052" y="69477"/>
                    </a:lnTo>
                    <a:lnTo>
                      <a:pt x="48052" y="69741"/>
                    </a:lnTo>
                    <a:lnTo>
                      <a:pt x="48405" y="70006"/>
                    </a:lnTo>
                    <a:lnTo>
                      <a:pt x="48934" y="70006"/>
                    </a:lnTo>
                    <a:lnTo>
                      <a:pt x="49286" y="70006"/>
                    </a:lnTo>
                    <a:lnTo>
                      <a:pt x="49551" y="70270"/>
                    </a:lnTo>
                    <a:lnTo>
                      <a:pt x="49815" y="70887"/>
                    </a:lnTo>
                    <a:lnTo>
                      <a:pt x="49551" y="71152"/>
                    </a:lnTo>
                    <a:lnTo>
                      <a:pt x="49551" y="71505"/>
                    </a:lnTo>
                    <a:lnTo>
                      <a:pt x="48934" y="71505"/>
                    </a:lnTo>
                    <a:lnTo>
                      <a:pt x="48669" y="71769"/>
                    </a:lnTo>
                    <a:lnTo>
                      <a:pt x="48405" y="71769"/>
                    </a:lnTo>
                    <a:lnTo>
                      <a:pt x="48052" y="72386"/>
                    </a:lnTo>
                    <a:lnTo>
                      <a:pt x="48052" y="72651"/>
                    </a:lnTo>
                    <a:lnTo>
                      <a:pt x="48405" y="72651"/>
                    </a:lnTo>
                    <a:lnTo>
                      <a:pt x="48934" y="72651"/>
                    </a:lnTo>
                    <a:lnTo>
                      <a:pt x="50080" y="72651"/>
                    </a:lnTo>
                    <a:lnTo>
                      <a:pt x="50697" y="72915"/>
                    </a:lnTo>
                    <a:lnTo>
                      <a:pt x="50961" y="72915"/>
                    </a:lnTo>
                    <a:lnTo>
                      <a:pt x="51314" y="72915"/>
                    </a:lnTo>
                    <a:lnTo>
                      <a:pt x="51843" y="72651"/>
                    </a:lnTo>
                    <a:lnTo>
                      <a:pt x="52196" y="72915"/>
                    </a:lnTo>
                    <a:lnTo>
                      <a:pt x="52460" y="72915"/>
                    </a:lnTo>
                    <a:lnTo>
                      <a:pt x="53078" y="72915"/>
                    </a:lnTo>
                    <a:lnTo>
                      <a:pt x="53342" y="72651"/>
                    </a:lnTo>
                    <a:lnTo>
                      <a:pt x="53342" y="72915"/>
                    </a:lnTo>
                    <a:lnTo>
                      <a:pt x="53342" y="73268"/>
                    </a:lnTo>
                    <a:lnTo>
                      <a:pt x="53607" y="73532"/>
                    </a:lnTo>
                    <a:lnTo>
                      <a:pt x="53871" y="73532"/>
                    </a:lnTo>
                    <a:lnTo>
                      <a:pt x="54488" y="73268"/>
                    </a:lnTo>
                    <a:lnTo>
                      <a:pt x="54753" y="73532"/>
                    </a:lnTo>
                    <a:lnTo>
                      <a:pt x="55105" y="73797"/>
                    </a:lnTo>
                    <a:lnTo>
                      <a:pt x="55105" y="74061"/>
                    </a:lnTo>
                    <a:lnTo>
                      <a:pt x="55105" y="74679"/>
                    </a:lnTo>
                    <a:lnTo>
                      <a:pt x="55105" y="74943"/>
                    </a:lnTo>
                    <a:lnTo>
                      <a:pt x="55105" y="75560"/>
                    </a:lnTo>
                    <a:lnTo>
                      <a:pt x="55105" y="76177"/>
                    </a:lnTo>
                    <a:lnTo>
                      <a:pt x="55105" y="76442"/>
                    </a:lnTo>
                    <a:lnTo>
                      <a:pt x="55370" y="76706"/>
                    </a:lnTo>
                    <a:lnTo>
                      <a:pt x="55634" y="76442"/>
                    </a:lnTo>
                    <a:lnTo>
                      <a:pt x="55987" y="76177"/>
                    </a:lnTo>
                    <a:lnTo>
                      <a:pt x="56251" y="75825"/>
                    </a:lnTo>
                    <a:lnTo>
                      <a:pt x="56516" y="75825"/>
                    </a:lnTo>
                    <a:lnTo>
                      <a:pt x="56869" y="75825"/>
                    </a:lnTo>
                    <a:lnTo>
                      <a:pt x="57133" y="75825"/>
                    </a:lnTo>
                    <a:lnTo>
                      <a:pt x="57398" y="76177"/>
                    </a:lnTo>
                    <a:lnTo>
                      <a:pt x="57398" y="76706"/>
                    </a:lnTo>
                    <a:lnTo>
                      <a:pt x="57398" y="77059"/>
                    </a:lnTo>
                    <a:lnTo>
                      <a:pt x="57398" y="77588"/>
                    </a:lnTo>
                    <a:lnTo>
                      <a:pt x="57750" y="77941"/>
                    </a:lnTo>
                    <a:lnTo>
                      <a:pt x="58015" y="78205"/>
                    </a:lnTo>
                    <a:lnTo>
                      <a:pt x="58279" y="78470"/>
                    </a:lnTo>
                    <a:lnTo>
                      <a:pt x="58632" y="78470"/>
                    </a:lnTo>
                    <a:lnTo>
                      <a:pt x="58897" y="78470"/>
                    </a:lnTo>
                    <a:lnTo>
                      <a:pt x="59426" y="78470"/>
                    </a:lnTo>
                    <a:lnTo>
                      <a:pt x="59778" y="78470"/>
                    </a:lnTo>
                    <a:lnTo>
                      <a:pt x="60307" y="78470"/>
                    </a:lnTo>
                    <a:lnTo>
                      <a:pt x="60660" y="78470"/>
                    </a:lnTo>
                    <a:lnTo>
                      <a:pt x="60924" y="78734"/>
                    </a:lnTo>
                    <a:lnTo>
                      <a:pt x="61189" y="79087"/>
                    </a:lnTo>
                    <a:lnTo>
                      <a:pt x="61542" y="79352"/>
                    </a:lnTo>
                    <a:lnTo>
                      <a:pt x="61806" y="79616"/>
                    </a:lnTo>
                    <a:lnTo>
                      <a:pt x="61806" y="80233"/>
                    </a:lnTo>
                    <a:lnTo>
                      <a:pt x="61806" y="80498"/>
                    </a:lnTo>
                    <a:lnTo>
                      <a:pt x="61542" y="81115"/>
                    </a:lnTo>
                    <a:lnTo>
                      <a:pt x="61542" y="81379"/>
                    </a:lnTo>
                    <a:lnTo>
                      <a:pt x="61542" y="81644"/>
                    </a:lnTo>
                    <a:lnTo>
                      <a:pt x="61189" y="81997"/>
                    </a:lnTo>
                    <a:lnTo>
                      <a:pt x="61189" y="82261"/>
                    </a:lnTo>
                    <a:lnTo>
                      <a:pt x="61189" y="82526"/>
                    </a:lnTo>
                    <a:lnTo>
                      <a:pt x="61806" y="82526"/>
                    </a:lnTo>
                    <a:lnTo>
                      <a:pt x="62071" y="82261"/>
                    </a:lnTo>
                    <a:lnTo>
                      <a:pt x="62688" y="82261"/>
                    </a:lnTo>
                    <a:lnTo>
                      <a:pt x="62952" y="82261"/>
                    </a:lnTo>
                    <a:lnTo>
                      <a:pt x="63570" y="82261"/>
                    </a:lnTo>
                    <a:lnTo>
                      <a:pt x="63834" y="82261"/>
                    </a:lnTo>
                    <a:lnTo>
                      <a:pt x="64099" y="82261"/>
                    </a:lnTo>
                    <a:lnTo>
                      <a:pt x="64716" y="82526"/>
                    </a:lnTo>
                    <a:lnTo>
                      <a:pt x="64980" y="82526"/>
                    </a:lnTo>
                    <a:lnTo>
                      <a:pt x="65245" y="82261"/>
                    </a:lnTo>
                    <a:lnTo>
                      <a:pt x="65597" y="82526"/>
                    </a:lnTo>
                    <a:lnTo>
                      <a:pt x="65862" y="82878"/>
                    </a:lnTo>
                    <a:lnTo>
                      <a:pt x="66126" y="83143"/>
                    </a:lnTo>
                    <a:lnTo>
                      <a:pt x="66479" y="83143"/>
                    </a:lnTo>
                    <a:lnTo>
                      <a:pt x="66744" y="83407"/>
                    </a:lnTo>
                    <a:lnTo>
                      <a:pt x="67096" y="83407"/>
                    </a:lnTo>
                    <a:lnTo>
                      <a:pt x="67361" y="83407"/>
                    </a:lnTo>
                    <a:lnTo>
                      <a:pt x="67361" y="83760"/>
                    </a:lnTo>
                    <a:lnTo>
                      <a:pt x="67361" y="84024"/>
                    </a:lnTo>
                    <a:lnTo>
                      <a:pt x="67625" y="84289"/>
                    </a:lnTo>
                    <a:lnTo>
                      <a:pt x="67625" y="84642"/>
                    </a:lnTo>
                    <a:lnTo>
                      <a:pt x="67361" y="84906"/>
                    </a:lnTo>
                    <a:lnTo>
                      <a:pt x="67096" y="84906"/>
                    </a:lnTo>
                    <a:lnTo>
                      <a:pt x="67096" y="85171"/>
                    </a:lnTo>
                    <a:lnTo>
                      <a:pt x="66744" y="85523"/>
                    </a:lnTo>
                    <a:lnTo>
                      <a:pt x="66479" y="85523"/>
                    </a:lnTo>
                    <a:lnTo>
                      <a:pt x="66126" y="85788"/>
                    </a:lnTo>
                    <a:lnTo>
                      <a:pt x="66126" y="86052"/>
                    </a:lnTo>
                    <a:lnTo>
                      <a:pt x="65862" y="86670"/>
                    </a:lnTo>
                    <a:lnTo>
                      <a:pt x="65597" y="86934"/>
                    </a:lnTo>
                    <a:lnTo>
                      <a:pt x="65597" y="87816"/>
                    </a:lnTo>
                    <a:lnTo>
                      <a:pt x="65245" y="88433"/>
                    </a:lnTo>
                    <a:lnTo>
                      <a:pt x="65597" y="88962"/>
                    </a:lnTo>
                    <a:lnTo>
                      <a:pt x="65597" y="89226"/>
                    </a:lnTo>
                    <a:lnTo>
                      <a:pt x="65862" y="89579"/>
                    </a:lnTo>
                    <a:lnTo>
                      <a:pt x="65597" y="90108"/>
                    </a:lnTo>
                    <a:lnTo>
                      <a:pt x="64980" y="90725"/>
                    </a:lnTo>
                    <a:lnTo>
                      <a:pt x="64716" y="91342"/>
                    </a:lnTo>
                    <a:lnTo>
                      <a:pt x="64716" y="92224"/>
                    </a:lnTo>
                    <a:lnTo>
                      <a:pt x="64451" y="93018"/>
                    </a:lnTo>
                    <a:lnTo>
                      <a:pt x="64451" y="93370"/>
                    </a:lnTo>
                    <a:lnTo>
                      <a:pt x="64451" y="93635"/>
                    </a:lnTo>
                    <a:lnTo>
                      <a:pt x="64451" y="93899"/>
                    </a:lnTo>
                    <a:lnTo>
                      <a:pt x="64451" y="9425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7" name="Freihandform: Form 1586">
                <a:extLst>
                  <a:ext uri="{FF2B5EF4-FFF2-40B4-BE49-F238E27FC236}">
                    <a16:creationId xmlns:a16="http://schemas.microsoft.com/office/drawing/2014/main" id="{08CE51CB-68C5-81C3-9740-239D4EE77CA8}"/>
                  </a:ext>
                </a:extLst>
              </p:cNvPr>
              <p:cNvSpPr/>
              <p:nvPr/>
            </p:nvSpPr>
            <p:spPr>
              <a:xfrm>
                <a:off x="4512358" y="3048994"/>
                <a:ext cx="125110" cy="72915"/>
              </a:xfrm>
              <a:custGeom>
                <a:avLst/>
                <a:gdLst>
                  <a:gd name="connsiteX0" fmla="*/ 18339 w 125110"/>
                  <a:gd name="connsiteY0" fmla="*/ 70006 h 72915"/>
                  <a:gd name="connsiteX1" fmla="*/ 18339 w 125110"/>
                  <a:gd name="connsiteY1" fmla="*/ 69124 h 72915"/>
                  <a:gd name="connsiteX2" fmla="*/ 18603 w 125110"/>
                  <a:gd name="connsiteY2" fmla="*/ 68242 h 72915"/>
                  <a:gd name="connsiteX3" fmla="*/ 18339 w 125110"/>
                  <a:gd name="connsiteY3" fmla="*/ 66215 h 72915"/>
                  <a:gd name="connsiteX4" fmla="*/ 17457 w 125110"/>
                  <a:gd name="connsiteY4" fmla="*/ 63834 h 72915"/>
                  <a:gd name="connsiteX5" fmla="*/ 17722 w 125110"/>
                  <a:gd name="connsiteY5" fmla="*/ 62952 h 72915"/>
                  <a:gd name="connsiteX6" fmla="*/ 18956 w 125110"/>
                  <a:gd name="connsiteY6" fmla="*/ 60924 h 72915"/>
                  <a:gd name="connsiteX7" fmla="*/ 18339 w 125110"/>
                  <a:gd name="connsiteY7" fmla="*/ 60043 h 72915"/>
                  <a:gd name="connsiteX8" fmla="*/ 17457 w 125110"/>
                  <a:gd name="connsiteY8" fmla="*/ 59778 h 72915"/>
                  <a:gd name="connsiteX9" fmla="*/ 16928 w 125110"/>
                  <a:gd name="connsiteY9" fmla="*/ 58015 h 72915"/>
                  <a:gd name="connsiteX10" fmla="*/ 15429 w 125110"/>
                  <a:gd name="connsiteY10" fmla="*/ 57133 h 72915"/>
                  <a:gd name="connsiteX11" fmla="*/ 14812 w 125110"/>
                  <a:gd name="connsiteY11" fmla="*/ 53342 h 72915"/>
                  <a:gd name="connsiteX12" fmla="*/ 14283 w 125110"/>
                  <a:gd name="connsiteY12" fmla="*/ 53077 h 72915"/>
                  <a:gd name="connsiteX13" fmla="*/ 13049 w 125110"/>
                  <a:gd name="connsiteY13" fmla="*/ 53606 h 72915"/>
                  <a:gd name="connsiteX14" fmla="*/ 11903 w 125110"/>
                  <a:gd name="connsiteY14" fmla="*/ 53342 h 72915"/>
                  <a:gd name="connsiteX15" fmla="*/ 10492 w 125110"/>
                  <a:gd name="connsiteY15" fmla="*/ 53077 h 72915"/>
                  <a:gd name="connsiteX16" fmla="*/ 8111 w 125110"/>
                  <a:gd name="connsiteY16" fmla="*/ 51579 h 72915"/>
                  <a:gd name="connsiteX17" fmla="*/ 7582 w 125110"/>
                  <a:gd name="connsiteY17" fmla="*/ 50168 h 72915"/>
                  <a:gd name="connsiteX18" fmla="*/ 6436 w 125110"/>
                  <a:gd name="connsiteY18" fmla="*/ 49551 h 72915"/>
                  <a:gd name="connsiteX19" fmla="*/ 5466 w 125110"/>
                  <a:gd name="connsiteY19" fmla="*/ 48140 h 72915"/>
                  <a:gd name="connsiteX20" fmla="*/ 6084 w 125110"/>
                  <a:gd name="connsiteY20" fmla="*/ 47258 h 72915"/>
                  <a:gd name="connsiteX21" fmla="*/ 6084 w 125110"/>
                  <a:gd name="connsiteY21" fmla="*/ 44613 h 72915"/>
                  <a:gd name="connsiteX22" fmla="*/ 6965 w 125110"/>
                  <a:gd name="connsiteY22" fmla="*/ 44349 h 72915"/>
                  <a:gd name="connsiteX23" fmla="*/ 7230 w 125110"/>
                  <a:gd name="connsiteY23" fmla="*/ 42850 h 72915"/>
                  <a:gd name="connsiteX24" fmla="*/ 6965 w 125110"/>
                  <a:gd name="connsiteY24" fmla="*/ 41968 h 72915"/>
                  <a:gd name="connsiteX25" fmla="*/ 4320 w 125110"/>
                  <a:gd name="connsiteY25" fmla="*/ 40205 h 72915"/>
                  <a:gd name="connsiteX26" fmla="*/ 5202 w 125110"/>
                  <a:gd name="connsiteY26" fmla="*/ 37912 h 72915"/>
                  <a:gd name="connsiteX27" fmla="*/ 5202 w 125110"/>
                  <a:gd name="connsiteY27" fmla="*/ 37295 h 72915"/>
                  <a:gd name="connsiteX28" fmla="*/ 5819 w 125110"/>
                  <a:gd name="connsiteY28" fmla="*/ 36414 h 72915"/>
                  <a:gd name="connsiteX29" fmla="*/ 4937 w 125110"/>
                  <a:gd name="connsiteY29" fmla="*/ 35003 h 72915"/>
                  <a:gd name="connsiteX30" fmla="*/ 6084 w 125110"/>
                  <a:gd name="connsiteY30" fmla="*/ 32975 h 72915"/>
                  <a:gd name="connsiteX31" fmla="*/ 6701 w 125110"/>
                  <a:gd name="connsiteY31" fmla="*/ 32975 h 72915"/>
                  <a:gd name="connsiteX32" fmla="*/ 7582 w 125110"/>
                  <a:gd name="connsiteY32" fmla="*/ 32358 h 72915"/>
                  <a:gd name="connsiteX33" fmla="*/ 8729 w 125110"/>
                  <a:gd name="connsiteY33" fmla="*/ 33504 h 72915"/>
                  <a:gd name="connsiteX34" fmla="*/ 10492 w 125110"/>
                  <a:gd name="connsiteY34" fmla="*/ 32358 h 72915"/>
                  <a:gd name="connsiteX35" fmla="*/ 10139 w 125110"/>
                  <a:gd name="connsiteY35" fmla="*/ 31741 h 72915"/>
                  <a:gd name="connsiteX36" fmla="*/ 10492 w 125110"/>
                  <a:gd name="connsiteY36" fmla="*/ 31212 h 72915"/>
                  <a:gd name="connsiteX37" fmla="*/ 11374 w 125110"/>
                  <a:gd name="connsiteY37" fmla="*/ 30330 h 72915"/>
                  <a:gd name="connsiteX38" fmla="*/ 12520 w 125110"/>
                  <a:gd name="connsiteY38" fmla="*/ 29184 h 72915"/>
                  <a:gd name="connsiteX39" fmla="*/ 12520 w 125110"/>
                  <a:gd name="connsiteY39" fmla="*/ 28302 h 72915"/>
                  <a:gd name="connsiteX40" fmla="*/ 14283 w 125110"/>
                  <a:gd name="connsiteY40" fmla="*/ 27949 h 72915"/>
                  <a:gd name="connsiteX41" fmla="*/ 15165 w 125110"/>
                  <a:gd name="connsiteY41" fmla="*/ 25922 h 72915"/>
                  <a:gd name="connsiteX42" fmla="*/ 11903 w 125110"/>
                  <a:gd name="connsiteY42" fmla="*/ 24511 h 72915"/>
                  <a:gd name="connsiteX43" fmla="*/ 10757 w 125110"/>
                  <a:gd name="connsiteY43" fmla="*/ 23277 h 72915"/>
                  <a:gd name="connsiteX44" fmla="*/ 10492 w 125110"/>
                  <a:gd name="connsiteY44" fmla="*/ 21601 h 72915"/>
                  <a:gd name="connsiteX45" fmla="*/ 10139 w 125110"/>
                  <a:gd name="connsiteY45" fmla="*/ 20984 h 72915"/>
                  <a:gd name="connsiteX46" fmla="*/ 9346 w 125110"/>
                  <a:gd name="connsiteY46" fmla="*/ 20720 h 72915"/>
                  <a:gd name="connsiteX47" fmla="*/ 7230 w 125110"/>
                  <a:gd name="connsiteY47" fmla="*/ 20367 h 72915"/>
                  <a:gd name="connsiteX48" fmla="*/ 6084 w 125110"/>
                  <a:gd name="connsiteY48" fmla="*/ 18956 h 72915"/>
                  <a:gd name="connsiteX49" fmla="*/ 5466 w 125110"/>
                  <a:gd name="connsiteY49" fmla="*/ 18339 h 72915"/>
                  <a:gd name="connsiteX50" fmla="*/ 4673 w 125110"/>
                  <a:gd name="connsiteY50" fmla="*/ 18339 h 72915"/>
                  <a:gd name="connsiteX51" fmla="*/ 3791 w 125110"/>
                  <a:gd name="connsiteY51" fmla="*/ 16047 h 72915"/>
                  <a:gd name="connsiteX52" fmla="*/ 3791 w 125110"/>
                  <a:gd name="connsiteY52" fmla="*/ 13931 h 72915"/>
                  <a:gd name="connsiteX53" fmla="*/ 1411 w 125110"/>
                  <a:gd name="connsiteY53" fmla="*/ 13402 h 72915"/>
                  <a:gd name="connsiteX54" fmla="*/ 1675 w 125110"/>
                  <a:gd name="connsiteY54" fmla="*/ 11638 h 72915"/>
                  <a:gd name="connsiteX55" fmla="*/ 1411 w 125110"/>
                  <a:gd name="connsiteY55" fmla="*/ 9875 h 72915"/>
                  <a:gd name="connsiteX56" fmla="*/ 0 w 125110"/>
                  <a:gd name="connsiteY56" fmla="*/ 8464 h 72915"/>
                  <a:gd name="connsiteX57" fmla="*/ 882 w 125110"/>
                  <a:gd name="connsiteY57" fmla="*/ 6348 h 72915"/>
                  <a:gd name="connsiteX58" fmla="*/ 1675 w 125110"/>
                  <a:gd name="connsiteY58" fmla="*/ 4938 h 72915"/>
                  <a:gd name="connsiteX59" fmla="*/ 2909 w 125110"/>
                  <a:gd name="connsiteY59" fmla="*/ 4673 h 72915"/>
                  <a:gd name="connsiteX60" fmla="*/ 3791 w 125110"/>
                  <a:gd name="connsiteY60" fmla="*/ 3439 h 72915"/>
                  <a:gd name="connsiteX61" fmla="*/ 4320 w 125110"/>
                  <a:gd name="connsiteY61" fmla="*/ 2910 h 72915"/>
                  <a:gd name="connsiteX62" fmla="*/ 4673 w 125110"/>
                  <a:gd name="connsiteY62" fmla="*/ 2028 h 72915"/>
                  <a:gd name="connsiteX63" fmla="*/ 4056 w 125110"/>
                  <a:gd name="connsiteY63" fmla="*/ 1411 h 72915"/>
                  <a:gd name="connsiteX64" fmla="*/ 4937 w 125110"/>
                  <a:gd name="connsiteY64" fmla="*/ 0 h 72915"/>
                  <a:gd name="connsiteX65" fmla="*/ 6436 w 125110"/>
                  <a:gd name="connsiteY65" fmla="*/ 0 h 72915"/>
                  <a:gd name="connsiteX66" fmla="*/ 7230 w 125110"/>
                  <a:gd name="connsiteY66" fmla="*/ 265 h 72915"/>
                  <a:gd name="connsiteX67" fmla="*/ 9610 w 125110"/>
                  <a:gd name="connsiteY67" fmla="*/ 2028 h 72915"/>
                  <a:gd name="connsiteX68" fmla="*/ 12520 w 125110"/>
                  <a:gd name="connsiteY68" fmla="*/ 2645 h 72915"/>
                  <a:gd name="connsiteX69" fmla="*/ 13049 w 125110"/>
                  <a:gd name="connsiteY69" fmla="*/ 3174 h 72915"/>
                  <a:gd name="connsiteX70" fmla="*/ 12784 w 125110"/>
                  <a:gd name="connsiteY70" fmla="*/ 4938 h 72915"/>
                  <a:gd name="connsiteX71" fmla="*/ 9875 w 125110"/>
                  <a:gd name="connsiteY71" fmla="*/ 6348 h 72915"/>
                  <a:gd name="connsiteX72" fmla="*/ 8993 w 125110"/>
                  <a:gd name="connsiteY72" fmla="*/ 7847 h 72915"/>
                  <a:gd name="connsiteX73" fmla="*/ 10492 w 125110"/>
                  <a:gd name="connsiteY73" fmla="*/ 9610 h 72915"/>
                  <a:gd name="connsiteX74" fmla="*/ 13401 w 125110"/>
                  <a:gd name="connsiteY74" fmla="*/ 10757 h 72915"/>
                  <a:gd name="connsiteX75" fmla="*/ 16576 w 125110"/>
                  <a:gd name="connsiteY75" fmla="*/ 10757 h 72915"/>
                  <a:gd name="connsiteX76" fmla="*/ 19221 w 125110"/>
                  <a:gd name="connsiteY76" fmla="*/ 9875 h 72915"/>
                  <a:gd name="connsiteX77" fmla="*/ 24158 w 125110"/>
                  <a:gd name="connsiteY77" fmla="*/ 10757 h 72915"/>
                  <a:gd name="connsiteX78" fmla="*/ 28302 w 125110"/>
                  <a:gd name="connsiteY78" fmla="*/ 10757 h 72915"/>
                  <a:gd name="connsiteX79" fmla="*/ 30594 w 125110"/>
                  <a:gd name="connsiteY79" fmla="*/ 11638 h 72915"/>
                  <a:gd name="connsiteX80" fmla="*/ 33504 w 125110"/>
                  <a:gd name="connsiteY80" fmla="*/ 11638 h 72915"/>
                  <a:gd name="connsiteX81" fmla="*/ 38177 w 125110"/>
                  <a:gd name="connsiteY81" fmla="*/ 12785 h 72915"/>
                  <a:gd name="connsiteX82" fmla="*/ 43379 w 125110"/>
                  <a:gd name="connsiteY82" fmla="*/ 11638 h 72915"/>
                  <a:gd name="connsiteX83" fmla="*/ 45142 w 125110"/>
                  <a:gd name="connsiteY83" fmla="*/ 11638 h 72915"/>
                  <a:gd name="connsiteX84" fmla="*/ 47523 w 125110"/>
                  <a:gd name="connsiteY84" fmla="*/ 11903 h 72915"/>
                  <a:gd name="connsiteX85" fmla="*/ 52196 w 125110"/>
                  <a:gd name="connsiteY85" fmla="*/ 11638 h 72915"/>
                  <a:gd name="connsiteX86" fmla="*/ 55370 w 125110"/>
                  <a:gd name="connsiteY86" fmla="*/ 13402 h 72915"/>
                  <a:gd name="connsiteX87" fmla="*/ 58632 w 125110"/>
                  <a:gd name="connsiteY87" fmla="*/ 13402 h 72915"/>
                  <a:gd name="connsiteX88" fmla="*/ 60924 w 125110"/>
                  <a:gd name="connsiteY88" fmla="*/ 14548 h 72915"/>
                  <a:gd name="connsiteX89" fmla="*/ 63569 w 125110"/>
                  <a:gd name="connsiteY89" fmla="*/ 14548 h 72915"/>
                  <a:gd name="connsiteX90" fmla="*/ 66215 w 125110"/>
                  <a:gd name="connsiteY90" fmla="*/ 13666 h 72915"/>
                  <a:gd name="connsiteX91" fmla="*/ 67889 w 125110"/>
                  <a:gd name="connsiteY91" fmla="*/ 12256 h 72915"/>
                  <a:gd name="connsiteX92" fmla="*/ 70535 w 125110"/>
                  <a:gd name="connsiteY92" fmla="*/ 11638 h 72915"/>
                  <a:gd name="connsiteX93" fmla="*/ 72033 w 125110"/>
                  <a:gd name="connsiteY93" fmla="*/ 9610 h 72915"/>
                  <a:gd name="connsiteX94" fmla="*/ 75208 w 125110"/>
                  <a:gd name="connsiteY94" fmla="*/ 7582 h 72915"/>
                  <a:gd name="connsiteX95" fmla="*/ 76089 w 125110"/>
                  <a:gd name="connsiteY95" fmla="*/ 6348 h 72915"/>
                  <a:gd name="connsiteX96" fmla="*/ 78470 w 125110"/>
                  <a:gd name="connsiteY96" fmla="*/ 4938 h 72915"/>
                  <a:gd name="connsiteX97" fmla="*/ 79352 w 125110"/>
                  <a:gd name="connsiteY97" fmla="*/ 3791 h 72915"/>
                  <a:gd name="connsiteX98" fmla="*/ 83936 w 125110"/>
                  <a:gd name="connsiteY98" fmla="*/ 3791 h 72915"/>
                  <a:gd name="connsiteX99" fmla="*/ 86317 w 125110"/>
                  <a:gd name="connsiteY99" fmla="*/ 3439 h 72915"/>
                  <a:gd name="connsiteX100" fmla="*/ 89491 w 125110"/>
                  <a:gd name="connsiteY100" fmla="*/ 2028 h 72915"/>
                  <a:gd name="connsiteX101" fmla="*/ 93282 w 125110"/>
                  <a:gd name="connsiteY101" fmla="*/ 1411 h 72915"/>
                  <a:gd name="connsiteX102" fmla="*/ 96544 w 125110"/>
                  <a:gd name="connsiteY102" fmla="*/ 2028 h 72915"/>
                  <a:gd name="connsiteX103" fmla="*/ 96544 w 125110"/>
                  <a:gd name="connsiteY103" fmla="*/ 3439 h 72915"/>
                  <a:gd name="connsiteX104" fmla="*/ 98837 w 125110"/>
                  <a:gd name="connsiteY104" fmla="*/ 3791 h 72915"/>
                  <a:gd name="connsiteX105" fmla="*/ 99366 w 125110"/>
                  <a:gd name="connsiteY105" fmla="*/ 4938 h 72915"/>
                  <a:gd name="connsiteX106" fmla="*/ 103774 w 125110"/>
                  <a:gd name="connsiteY106" fmla="*/ 4938 h 72915"/>
                  <a:gd name="connsiteX107" fmla="*/ 105009 w 125110"/>
                  <a:gd name="connsiteY107" fmla="*/ 4673 h 72915"/>
                  <a:gd name="connsiteX108" fmla="*/ 107036 w 125110"/>
                  <a:gd name="connsiteY108" fmla="*/ 6348 h 72915"/>
                  <a:gd name="connsiteX109" fmla="*/ 108800 w 125110"/>
                  <a:gd name="connsiteY109" fmla="*/ 6965 h 72915"/>
                  <a:gd name="connsiteX110" fmla="*/ 111974 w 125110"/>
                  <a:gd name="connsiteY110" fmla="*/ 6348 h 72915"/>
                  <a:gd name="connsiteX111" fmla="*/ 113384 w 125110"/>
                  <a:gd name="connsiteY111" fmla="*/ 8993 h 72915"/>
                  <a:gd name="connsiteX112" fmla="*/ 113737 w 125110"/>
                  <a:gd name="connsiteY112" fmla="*/ 10139 h 72915"/>
                  <a:gd name="connsiteX113" fmla="*/ 117176 w 125110"/>
                  <a:gd name="connsiteY113" fmla="*/ 11638 h 72915"/>
                  <a:gd name="connsiteX114" fmla="*/ 124229 w 125110"/>
                  <a:gd name="connsiteY114" fmla="*/ 11638 h 72915"/>
                  <a:gd name="connsiteX115" fmla="*/ 123612 w 125110"/>
                  <a:gd name="connsiteY115" fmla="*/ 15429 h 72915"/>
                  <a:gd name="connsiteX116" fmla="*/ 125111 w 125110"/>
                  <a:gd name="connsiteY116" fmla="*/ 16576 h 72915"/>
                  <a:gd name="connsiteX117" fmla="*/ 124229 w 125110"/>
                  <a:gd name="connsiteY117" fmla="*/ 18956 h 72915"/>
                  <a:gd name="connsiteX118" fmla="*/ 123612 w 125110"/>
                  <a:gd name="connsiteY118" fmla="*/ 20367 h 72915"/>
                  <a:gd name="connsiteX119" fmla="*/ 123083 w 125110"/>
                  <a:gd name="connsiteY119" fmla="*/ 20720 h 72915"/>
                  <a:gd name="connsiteX120" fmla="*/ 120174 w 125110"/>
                  <a:gd name="connsiteY120" fmla="*/ 19485 h 72915"/>
                  <a:gd name="connsiteX121" fmla="*/ 118410 w 125110"/>
                  <a:gd name="connsiteY121" fmla="*/ 20367 h 72915"/>
                  <a:gd name="connsiteX122" fmla="*/ 115765 w 125110"/>
                  <a:gd name="connsiteY122" fmla="*/ 20103 h 72915"/>
                  <a:gd name="connsiteX123" fmla="*/ 116382 w 125110"/>
                  <a:gd name="connsiteY123" fmla="*/ 20720 h 72915"/>
                  <a:gd name="connsiteX124" fmla="*/ 115501 w 125110"/>
                  <a:gd name="connsiteY124" fmla="*/ 24511 h 72915"/>
                  <a:gd name="connsiteX125" fmla="*/ 114354 w 125110"/>
                  <a:gd name="connsiteY125" fmla="*/ 25393 h 72915"/>
                  <a:gd name="connsiteX126" fmla="*/ 114619 w 125110"/>
                  <a:gd name="connsiteY126" fmla="*/ 26539 h 72915"/>
                  <a:gd name="connsiteX127" fmla="*/ 112591 w 125110"/>
                  <a:gd name="connsiteY127" fmla="*/ 29184 h 72915"/>
                  <a:gd name="connsiteX128" fmla="*/ 112855 w 125110"/>
                  <a:gd name="connsiteY128" fmla="*/ 29713 h 72915"/>
                  <a:gd name="connsiteX129" fmla="*/ 113384 w 125110"/>
                  <a:gd name="connsiteY129" fmla="*/ 31741 h 72915"/>
                  <a:gd name="connsiteX130" fmla="*/ 113120 w 125110"/>
                  <a:gd name="connsiteY130" fmla="*/ 34121 h 72915"/>
                  <a:gd name="connsiteX131" fmla="*/ 113384 w 125110"/>
                  <a:gd name="connsiteY131" fmla="*/ 35267 h 72915"/>
                  <a:gd name="connsiteX132" fmla="*/ 113120 w 125110"/>
                  <a:gd name="connsiteY132" fmla="*/ 37295 h 72915"/>
                  <a:gd name="connsiteX133" fmla="*/ 110828 w 125110"/>
                  <a:gd name="connsiteY133" fmla="*/ 36766 h 72915"/>
                  <a:gd name="connsiteX134" fmla="*/ 109593 w 125110"/>
                  <a:gd name="connsiteY134" fmla="*/ 37295 h 72915"/>
                  <a:gd name="connsiteX135" fmla="*/ 109946 w 125110"/>
                  <a:gd name="connsiteY135" fmla="*/ 38441 h 72915"/>
                  <a:gd name="connsiteX136" fmla="*/ 110828 w 125110"/>
                  <a:gd name="connsiteY136" fmla="*/ 38441 h 72915"/>
                  <a:gd name="connsiteX137" fmla="*/ 108183 w 125110"/>
                  <a:gd name="connsiteY137" fmla="*/ 39676 h 72915"/>
                  <a:gd name="connsiteX138" fmla="*/ 108183 w 125110"/>
                  <a:gd name="connsiteY138" fmla="*/ 40205 h 72915"/>
                  <a:gd name="connsiteX139" fmla="*/ 107036 w 125110"/>
                  <a:gd name="connsiteY139" fmla="*/ 40822 h 72915"/>
                  <a:gd name="connsiteX140" fmla="*/ 106155 w 125110"/>
                  <a:gd name="connsiteY140" fmla="*/ 42585 h 72915"/>
                  <a:gd name="connsiteX141" fmla="*/ 105538 w 125110"/>
                  <a:gd name="connsiteY141" fmla="*/ 42585 h 72915"/>
                  <a:gd name="connsiteX142" fmla="*/ 106155 w 125110"/>
                  <a:gd name="connsiteY142" fmla="*/ 43467 h 72915"/>
                  <a:gd name="connsiteX143" fmla="*/ 106419 w 125110"/>
                  <a:gd name="connsiteY143" fmla="*/ 43732 h 72915"/>
                  <a:gd name="connsiteX144" fmla="*/ 107301 w 125110"/>
                  <a:gd name="connsiteY144" fmla="*/ 43467 h 72915"/>
                  <a:gd name="connsiteX145" fmla="*/ 108447 w 125110"/>
                  <a:gd name="connsiteY145" fmla="*/ 43467 h 72915"/>
                  <a:gd name="connsiteX146" fmla="*/ 108800 w 125110"/>
                  <a:gd name="connsiteY146" fmla="*/ 43732 h 72915"/>
                  <a:gd name="connsiteX147" fmla="*/ 110475 w 125110"/>
                  <a:gd name="connsiteY147" fmla="*/ 43732 h 72915"/>
                  <a:gd name="connsiteX148" fmla="*/ 110828 w 125110"/>
                  <a:gd name="connsiteY148" fmla="*/ 44613 h 72915"/>
                  <a:gd name="connsiteX149" fmla="*/ 110828 w 125110"/>
                  <a:gd name="connsiteY149" fmla="*/ 45759 h 72915"/>
                  <a:gd name="connsiteX150" fmla="*/ 111092 w 125110"/>
                  <a:gd name="connsiteY150" fmla="*/ 46377 h 72915"/>
                  <a:gd name="connsiteX151" fmla="*/ 111974 w 125110"/>
                  <a:gd name="connsiteY151" fmla="*/ 47258 h 72915"/>
                  <a:gd name="connsiteX152" fmla="*/ 112238 w 125110"/>
                  <a:gd name="connsiteY152" fmla="*/ 47523 h 72915"/>
                  <a:gd name="connsiteX153" fmla="*/ 111974 w 125110"/>
                  <a:gd name="connsiteY153" fmla="*/ 48404 h 72915"/>
                  <a:gd name="connsiteX154" fmla="*/ 112238 w 125110"/>
                  <a:gd name="connsiteY154" fmla="*/ 48933 h 72915"/>
                  <a:gd name="connsiteX155" fmla="*/ 115501 w 125110"/>
                  <a:gd name="connsiteY155" fmla="*/ 52196 h 72915"/>
                  <a:gd name="connsiteX156" fmla="*/ 118057 w 125110"/>
                  <a:gd name="connsiteY156" fmla="*/ 53342 h 72915"/>
                  <a:gd name="connsiteX157" fmla="*/ 119292 w 125110"/>
                  <a:gd name="connsiteY157" fmla="*/ 54488 h 72915"/>
                  <a:gd name="connsiteX158" fmla="*/ 117176 w 125110"/>
                  <a:gd name="connsiteY158" fmla="*/ 54224 h 72915"/>
                  <a:gd name="connsiteX159" fmla="*/ 116118 w 125110"/>
                  <a:gd name="connsiteY159" fmla="*/ 54488 h 72915"/>
                  <a:gd name="connsiteX160" fmla="*/ 114619 w 125110"/>
                  <a:gd name="connsiteY160" fmla="*/ 54488 h 72915"/>
                  <a:gd name="connsiteX161" fmla="*/ 114002 w 125110"/>
                  <a:gd name="connsiteY161" fmla="*/ 55370 h 72915"/>
                  <a:gd name="connsiteX162" fmla="*/ 111974 w 125110"/>
                  <a:gd name="connsiteY162" fmla="*/ 54488 h 72915"/>
                  <a:gd name="connsiteX163" fmla="*/ 110210 w 125110"/>
                  <a:gd name="connsiteY163" fmla="*/ 55987 h 72915"/>
                  <a:gd name="connsiteX164" fmla="*/ 109064 w 125110"/>
                  <a:gd name="connsiteY164" fmla="*/ 57133 h 72915"/>
                  <a:gd name="connsiteX165" fmla="*/ 109064 w 125110"/>
                  <a:gd name="connsiteY165" fmla="*/ 56869 h 72915"/>
                  <a:gd name="connsiteX166" fmla="*/ 109064 w 125110"/>
                  <a:gd name="connsiteY166" fmla="*/ 55987 h 72915"/>
                  <a:gd name="connsiteX167" fmla="*/ 107918 w 125110"/>
                  <a:gd name="connsiteY167" fmla="*/ 55987 h 72915"/>
                  <a:gd name="connsiteX168" fmla="*/ 107036 w 125110"/>
                  <a:gd name="connsiteY168" fmla="*/ 54488 h 72915"/>
                  <a:gd name="connsiteX169" fmla="*/ 105802 w 125110"/>
                  <a:gd name="connsiteY169" fmla="*/ 53342 h 72915"/>
                  <a:gd name="connsiteX170" fmla="*/ 104391 w 125110"/>
                  <a:gd name="connsiteY170" fmla="*/ 52196 h 72915"/>
                  <a:gd name="connsiteX171" fmla="*/ 102628 w 125110"/>
                  <a:gd name="connsiteY171" fmla="*/ 51931 h 72915"/>
                  <a:gd name="connsiteX172" fmla="*/ 102011 w 125110"/>
                  <a:gd name="connsiteY172" fmla="*/ 52196 h 72915"/>
                  <a:gd name="connsiteX173" fmla="*/ 101746 w 125110"/>
                  <a:gd name="connsiteY173" fmla="*/ 53077 h 72915"/>
                  <a:gd name="connsiteX174" fmla="*/ 100865 w 125110"/>
                  <a:gd name="connsiteY174" fmla="*/ 53342 h 72915"/>
                  <a:gd name="connsiteX175" fmla="*/ 99983 w 125110"/>
                  <a:gd name="connsiteY175" fmla="*/ 52196 h 72915"/>
                  <a:gd name="connsiteX176" fmla="*/ 99101 w 125110"/>
                  <a:gd name="connsiteY176" fmla="*/ 52196 h 72915"/>
                  <a:gd name="connsiteX177" fmla="*/ 98837 w 125110"/>
                  <a:gd name="connsiteY177" fmla="*/ 53342 h 72915"/>
                  <a:gd name="connsiteX178" fmla="*/ 97955 w 125110"/>
                  <a:gd name="connsiteY178" fmla="*/ 53606 h 72915"/>
                  <a:gd name="connsiteX179" fmla="*/ 97690 w 125110"/>
                  <a:gd name="connsiteY179" fmla="*/ 54488 h 72915"/>
                  <a:gd name="connsiteX180" fmla="*/ 96809 w 125110"/>
                  <a:gd name="connsiteY180" fmla="*/ 54488 h 72915"/>
                  <a:gd name="connsiteX181" fmla="*/ 95663 w 125110"/>
                  <a:gd name="connsiteY181" fmla="*/ 54841 h 72915"/>
                  <a:gd name="connsiteX182" fmla="*/ 94781 w 125110"/>
                  <a:gd name="connsiteY182" fmla="*/ 54841 h 72915"/>
                  <a:gd name="connsiteX183" fmla="*/ 94428 w 125110"/>
                  <a:gd name="connsiteY183" fmla="*/ 55370 h 72915"/>
                  <a:gd name="connsiteX184" fmla="*/ 93018 w 125110"/>
                  <a:gd name="connsiteY184" fmla="*/ 54841 h 72915"/>
                  <a:gd name="connsiteX185" fmla="*/ 92753 w 125110"/>
                  <a:gd name="connsiteY185" fmla="*/ 55370 h 72915"/>
                  <a:gd name="connsiteX186" fmla="*/ 90373 w 125110"/>
                  <a:gd name="connsiteY186" fmla="*/ 54488 h 72915"/>
                  <a:gd name="connsiteX187" fmla="*/ 88609 w 125110"/>
                  <a:gd name="connsiteY187" fmla="*/ 55722 h 72915"/>
                  <a:gd name="connsiteX188" fmla="*/ 90108 w 125110"/>
                  <a:gd name="connsiteY188" fmla="*/ 57133 h 72915"/>
                  <a:gd name="connsiteX189" fmla="*/ 88962 w 125110"/>
                  <a:gd name="connsiteY189" fmla="*/ 58279 h 72915"/>
                  <a:gd name="connsiteX190" fmla="*/ 86052 w 125110"/>
                  <a:gd name="connsiteY190" fmla="*/ 58279 h 72915"/>
                  <a:gd name="connsiteX191" fmla="*/ 85700 w 125110"/>
                  <a:gd name="connsiteY191" fmla="*/ 59514 h 72915"/>
                  <a:gd name="connsiteX192" fmla="*/ 85435 w 125110"/>
                  <a:gd name="connsiteY192" fmla="*/ 60043 h 72915"/>
                  <a:gd name="connsiteX193" fmla="*/ 84818 w 125110"/>
                  <a:gd name="connsiteY193" fmla="*/ 60924 h 72915"/>
                  <a:gd name="connsiteX194" fmla="*/ 85171 w 125110"/>
                  <a:gd name="connsiteY194" fmla="*/ 61542 h 72915"/>
                  <a:gd name="connsiteX195" fmla="*/ 83936 w 125110"/>
                  <a:gd name="connsiteY195" fmla="*/ 61542 h 72915"/>
                  <a:gd name="connsiteX196" fmla="*/ 83672 w 125110"/>
                  <a:gd name="connsiteY196" fmla="*/ 60924 h 72915"/>
                  <a:gd name="connsiteX197" fmla="*/ 82790 w 125110"/>
                  <a:gd name="connsiteY197" fmla="*/ 60924 h 72915"/>
                  <a:gd name="connsiteX198" fmla="*/ 81380 w 125110"/>
                  <a:gd name="connsiteY198" fmla="*/ 61542 h 72915"/>
                  <a:gd name="connsiteX199" fmla="*/ 81380 w 125110"/>
                  <a:gd name="connsiteY199" fmla="*/ 62952 h 72915"/>
                  <a:gd name="connsiteX200" fmla="*/ 81644 w 125110"/>
                  <a:gd name="connsiteY200" fmla="*/ 63305 h 72915"/>
                  <a:gd name="connsiteX201" fmla="*/ 81909 w 125110"/>
                  <a:gd name="connsiteY201" fmla="*/ 63305 h 72915"/>
                  <a:gd name="connsiteX202" fmla="*/ 82261 w 125110"/>
                  <a:gd name="connsiteY202" fmla="*/ 65862 h 72915"/>
                  <a:gd name="connsiteX203" fmla="*/ 83407 w 125110"/>
                  <a:gd name="connsiteY203" fmla="*/ 66744 h 72915"/>
                  <a:gd name="connsiteX204" fmla="*/ 83672 w 125110"/>
                  <a:gd name="connsiteY204" fmla="*/ 68507 h 72915"/>
                  <a:gd name="connsiteX205" fmla="*/ 83672 w 125110"/>
                  <a:gd name="connsiteY205" fmla="*/ 69124 h 72915"/>
                  <a:gd name="connsiteX206" fmla="*/ 82790 w 125110"/>
                  <a:gd name="connsiteY206" fmla="*/ 70887 h 72915"/>
                  <a:gd name="connsiteX207" fmla="*/ 81027 w 125110"/>
                  <a:gd name="connsiteY207" fmla="*/ 70887 h 72915"/>
                  <a:gd name="connsiteX208" fmla="*/ 79352 w 125110"/>
                  <a:gd name="connsiteY208" fmla="*/ 72034 h 72915"/>
                  <a:gd name="connsiteX209" fmla="*/ 77853 w 125110"/>
                  <a:gd name="connsiteY209" fmla="*/ 72298 h 72915"/>
                  <a:gd name="connsiteX210" fmla="*/ 76706 w 125110"/>
                  <a:gd name="connsiteY210" fmla="*/ 71416 h 72915"/>
                  <a:gd name="connsiteX211" fmla="*/ 74679 w 125110"/>
                  <a:gd name="connsiteY211" fmla="*/ 72298 h 72915"/>
                  <a:gd name="connsiteX212" fmla="*/ 73180 w 125110"/>
                  <a:gd name="connsiteY212" fmla="*/ 72034 h 72915"/>
                  <a:gd name="connsiteX213" fmla="*/ 70535 w 125110"/>
                  <a:gd name="connsiteY213" fmla="*/ 72298 h 72915"/>
                  <a:gd name="connsiteX214" fmla="*/ 69124 w 125110"/>
                  <a:gd name="connsiteY214" fmla="*/ 72298 h 72915"/>
                  <a:gd name="connsiteX215" fmla="*/ 65333 w 125110"/>
                  <a:gd name="connsiteY215" fmla="*/ 72915 h 72915"/>
                  <a:gd name="connsiteX216" fmla="*/ 63834 w 125110"/>
                  <a:gd name="connsiteY216" fmla="*/ 72298 h 72915"/>
                  <a:gd name="connsiteX217" fmla="*/ 62423 w 125110"/>
                  <a:gd name="connsiteY217" fmla="*/ 70887 h 72915"/>
                  <a:gd name="connsiteX218" fmla="*/ 61806 w 125110"/>
                  <a:gd name="connsiteY218" fmla="*/ 71416 h 72915"/>
                  <a:gd name="connsiteX219" fmla="*/ 61806 w 125110"/>
                  <a:gd name="connsiteY219" fmla="*/ 70535 h 72915"/>
                  <a:gd name="connsiteX220" fmla="*/ 58896 w 125110"/>
                  <a:gd name="connsiteY220" fmla="*/ 70006 h 72915"/>
                  <a:gd name="connsiteX221" fmla="*/ 57133 w 125110"/>
                  <a:gd name="connsiteY221" fmla="*/ 69124 h 72915"/>
                  <a:gd name="connsiteX222" fmla="*/ 55722 w 125110"/>
                  <a:gd name="connsiteY222" fmla="*/ 69653 h 72915"/>
                  <a:gd name="connsiteX223" fmla="*/ 55987 w 125110"/>
                  <a:gd name="connsiteY223" fmla="*/ 70535 h 72915"/>
                  <a:gd name="connsiteX224" fmla="*/ 54488 w 125110"/>
                  <a:gd name="connsiteY224" fmla="*/ 70535 h 72915"/>
                  <a:gd name="connsiteX225" fmla="*/ 53606 w 125110"/>
                  <a:gd name="connsiteY225" fmla="*/ 69389 h 72915"/>
                  <a:gd name="connsiteX226" fmla="*/ 52196 w 125110"/>
                  <a:gd name="connsiteY226" fmla="*/ 69124 h 72915"/>
                  <a:gd name="connsiteX227" fmla="*/ 51579 w 125110"/>
                  <a:gd name="connsiteY227" fmla="*/ 68507 h 72915"/>
                  <a:gd name="connsiteX228" fmla="*/ 50697 w 125110"/>
                  <a:gd name="connsiteY228" fmla="*/ 67978 h 72915"/>
                  <a:gd name="connsiteX229" fmla="*/ 49551 w 125110"/>
                  <a:gd name="connsiteY229" fmla="*/ 66744 h 72915"/>
                  <a:gd name="connsiteX230" fmla="*/ 49286 w 125110"/>
                  <a:gd name="connsiteY230" fmla="*/ 66479 h 72915"/>
                  <a:gd name="connsiteX231" fmla="*/ 48404 w 125110"/>
                  <a:gd name="connsiteY231" fmla="*/ 66744 h 72915"/>
                  <a:gd name="connsiteX232" fmla="*/ 46641 w 125110"/>
                  <a:gd name="connsiteY232" fmla="*/ 66744 h 72915"/>
                  <a:gd name="connsiteX233" fmla="*/ 46377 w 125110"/>
                  <a:gd name="connsiteY233" fmla="*/ 67096 h 72915"/>
                  <a:gd name="connsiteX234" fmla="*/ 45759 w 125110"/>
                  <a:gd name="connsiteY234" fmla="*/ 66479 h 72915"/>
                  <a:gd name="connsiteX235" fmla="*/ 44878 w 125110"/>
                  <a:gd name="connsiteY235" fmla="*/ 65862 h 72915"/>
                  <a:gd name="connsiteX236" fmla="*/ 43114 w 125110"/>
                  <a:gd name="connsiteY236" fmla="*/ 66744 h 72915"/>
                  <a:gd name="connsiteX237" fmla="*/ 42850 w 125110"/>
                  <a:gd name="connsiteY237" fmla="*/ 67096 h 72915"/>
                  <a:gd name="connsiteX238" fmla="*/ 41351 w 125110"/>
                  <a:gd name="connsiteY238" fmla="*/ 66744 h 72915"/>
                  <a:gd name="connsiteX239" fmla="*/ 40822 w 125110"/>
                  <a:gd name="connsiteY239" fmla="*/ 66744 h 72915"/>
                  <a:gd name="connsiteX240" fmla="*/ 40558 w 125110"/>
                  <a:gd name="connsiteY240" fmla="*/ 67361 h 72915"/>
                  <a:gd name="connsiteX241" fmla="*/ 41086 w 125110"/>
                  <a:gd name="connsiteY241" fmla="*/ 68507 h 72915"/>
                  <a:gd name="connsiteX242" fmla="*/ 39940 w 125110"/>
                  <a:gd name="connsiteY242" fmla="*/ 68507 h 72915"/>
                  <a:gd name="connsiteX243" fmla="*/ 38794 w 125110"/>
                  <a:gd name="connsiteY243" fmla="*/ 69124 h 72915"/>
                  <a:gd name="connsiteX244" fmla="*/ 38177 w 125110"/>
                  <a:gd name="connsiteY244" fmla="*/ 68507 h 72915"/>
                  <a:gd name="connsiteX245" fmla="*/ 36766 w 125110"/>
                  <a:gd name="connsiteY245" fmla="*/ 68507 h 72915"/>
                  <a:gd name="connsiteX246" fmla="*/ 35532 w 125110"/>
                  <a:gd name="connsiteY246" fmla="*/ 69124 h 72915"/>
                  <a:gd name="connsiteX247" fmla="*/ 34650 w 125110"/>
                  <a:gd name="connsiteY247" fmla="*/ 69653 h 72915"/>
                  <a:gd name="connsiteX248" fmla="*/ 32887 w 125110"/>
                  <a:gd name="connsiteY248" fmla="*/ 69124 h 72915"/>
                  <a:gd name="connsiteX249" fmla="*/ 31476 w 125110"/>
                  <a:gd name="connsiteY249" fmla="*/ 70535 h 72915"/>
                  <a:gd name="connsiteX250" fmla="*/ 29713 w 125110"/>
                  <a:gd name="connsiteY250" fmla="*/ 70006 h 72915"/>
                  <a:gd name="connsiteX251" fmla="*/ 28566 w 125110"/>
                  <a:gd name="connsiteY251" fmla="*/ 69124 h 72915"/>
                  <a:gd name="connsiteX252" fmla="*/ 27420 w 125110"/>
                  <a:gd name="connsiteY252" fmla="*/ 69653 h 72915"/>
                  <a:gd name="connsiteX253" fmla="*/ 27068 w 125110"/>
                  <a:gd name="connsiteY253" fmla="*/ 70006 h 72915"/>
                  <a:gd name="connsiteX254" fmla="*/ 26186 w 125110"/>
                  <a:gd name="connsiteY254" fmla="*/ 69653 h 72915"/>
                  <a:gd name="connsiteX255" fmla="*/ 25040 w 125110"/>
                  <a:gd name="connsiteY255" fmla="*/ 70535 h 72915"/>
                  <a:gd name="connsiteX256" fmla="*/ 24423 w 125110"/>
                  <a:gd name="connsiteY256" fmla="*/ 71769 h 72915"/>
                  <a:gd name="connsiteX257" fmla="*/ 23541 w 125110"/>
                  <a:gd name="connsiteY257" fmla="*/ 72298 h 72915"/>
                  <a:gd name="connsiteX258" fmla="*/ 20102 w 125110"/>
                  <a:gd name="connsiteY258" fmla="*/ 72298 h 72915"/>
                  <a:gd name="connsiteX259" fmla="*/ 18603 w 125110"/>
                  <a:gd name="connsiteY259" fmla="*/ 70887 h 72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</a:cxnLst>
                <a:rect l="l" t="t" r="r" b="b"/>
                <a:pathLst>
                  <a:path w="125110" h="72915">
                    <a:moveTo>
                      <a:pt x="18339" y="70006"/>
                    </a:moveTo>
                    <a:lnTo>
                      <a:pt x="18339" y="69124"/>
                    </a:lnTo>
                    <a:lnTo>
                      <a:pt x="18603" y="68242"/>
                    </a:lnTo>
                    <a:lnTo>
                      <a:pt x="18339" y="66215"/>
                    </a:lnTo>
                    <a:lnTo>
                      <a:pt x="17457" y="63834"/>
                    </a:lnTo>
                    <a:lnTo>
                      <a:pt x="17722" y="62952"/>
                    </a:lnTo>
                    <a:lnTo>
                      <a:pt x="18956" y="60924"/>
                    </a:lnTo>
                    <a:lnTo>
                      <a:pt x="18339" y="60043"/>
                    </a:lnTo>
                    <a:lnTo>
                      <a:pt x="17457" y="59778"/>
                    </a:lnTo>
                    <a:lnTo>
                      <a:pt x="16928" y="58015"/>
                    </a:lnTo>
                    <a:lnTo>
                      <a:pt x="15429" y="57133"/>
                    </a:lnTo>
                    <a:lnTo>
                      <a:pt x="14812" y="53342"/>
                    </a:lnTo>
                    <a:lnTo>
                      <a:pt x="14283" y="53077"/>
                    </a:lnTo>
                    <a:lnTo>
                      <a:pt x="13049" y="53606"/>
                    </a:lnTo>
                    <a:lnTo>
                      <a:pt x="11903" y="53342"/>
                    </a:lnTo>
                    <a:lnTo>
                      <a:pt x="10492" y="53077"/>
                    </a:lnTo>
                    <a:lnTo>
                      <a:pt x="8111" y="51579"/>
                    </a:lnTo>
                    <a:lnTo>
                      <a:pt x="7582" y="50168"/>
                    </a:lnTo>
                    <a:lnTo>
                      <a:pt x="6436" y="49551"/>
                    </a:lnTo>
                    <a:lnTo>
                      <a:pt x="5466" y="48140"/>
                    </a:lnTo>
                    <a:lnTo>
                      <a:pt x="6084" y="47258"/>
                    </a:lnTo>
                    <a:lnTo>
                      <a:pt x="6084" y="44613"/>
                    </a:lnTo>
                    <a:lnTo>
                      <a:pt x="6965" y="44349"/>
                    </a:lnTo>
                    <a:lnTo>
                      <a:pt x="7230" y="42850"/>
                    </a:lnTo>
                    <a:lnTo>
                      <a:pt x="6965" y="41968"/>
                    </a:lnTo>
                    <a:lnTo>
                      <a:pt x="4320" y="40205"/>
                    </a:lnTo>
                    <a:lnTo>
                      <a:pt x="5202" y="37912"/>
                    </a:lnTo>
                    <a:lnTo>
                      <a:pt x="5202" y="37295"/>
                    </a:lnTo>
                    <a:lnTo>
                      <a:pt x="5819" y="36414"/>
                    </a:lnTo>
                    <a:lnTo>
                      <a:pt x="4937" y="35003"/>
                    </a:lnTo>
                    <a:lnTo>
                      <a:pt x="6084" y="32975"/>
                    </a:lnTo>
                    <a:lnTo>
                      <a:pt x="6701" y="32975"/>
                    </a:lnTo>
                    <a:lnTo>
                      <a:pt x="7582" y="32358"/>
                    </a:lnTo>
                    <a:lnTo>
                      <a:pt x="8729" y="33504"/>
                    </a:lnTo>
                    <a:lnTo>
                      <a:pt x="10492" y="32358"/>
                    </a:lnTo>
                    <a:lnTo>
                      <a:pt x="10139" y="31741"/>
                    </a:lnTo>
                    <a:lnTo>
                      <a:pt x="10492" y="31212"/>
                    </a:lnTo>
                    <a:lnTo>
                      <a:pt x="11374" y="30330"/>
                    </a:lnTo>
                    <a:lnTo>
                      <a:pt x="12520" y="29184"/>
                    </a:lnTo>
                    <a:lnTo>
                      <a:pt x="12520" y="28302"/>
                    </a:lnTo>
                    <a:lnTo>
                      <a:pt x="14283" y="27949"/>
                    </a:lnTo>
                    <a:lnTo>
                      <a:pt x="15165" y="25922"/>
                    </a:lnTo>
                    <a:lnTo>
                      <a:pt x="11903" y="24511"/>
                    </a:lnTo>
                    <a:lnTo>
                      <a:pt x="10757" y="23277"/>
                    </a:lnTo>
                    <a:lnTo>
                      <a:pt x="10492" y="21601"/>
                    </a:lnTo>
                    <a:lnTo>
                      <a:pt x="10139" y="20984"/>
                    </a:lnTo>
                    <a:lnTo>
                      <a:pt x="9346" y="20720"/>
                    </a:lnTo>
                    <a:lnTo>
                      <a:pt x="7230" y="20367"/>
                    </a:lnTo>
                    <a:lnTo>
                      <a:pt x="6084" y="18956"/>
                    </a:lnTo>
                    <a:lnTo>
                      <a:pt x="5466" y="18339"/>
                    </a:lnTo>
                    <a:lnTo>
                      <a:pt x="4673" y="18339"/>
                    </a:lnTo>
                    <a:lnTo>
                      <a:pt x="3791" y="16047"/>
                    </a:lnTo>
                    <a:lnTo>
                      <a:pt x="3791" y="13931"/>
                    </a:lnTo>
                    <a:lnTo>
                      <a:pt x="1411" y="13402"/>
                    </a:lnTo>
                    <a:lnTo>
                      <a:pt x="1675" y="11638"/>
                    </a:lnTo>
                    <a:lnTo>
                      <a:pt x="1411" y="9875"/>
                    </a:lnTo>
                    <a:lnTo>
                      <a:pt x="0" y="8464"/>
                    </a:lnTo>
                    <a:lnTo>
                      <a:pt x="882" y="6348"/>
                    </a:lnTo>
                    <a:lnTo>
                      <a:pt x="1675" y="4938"/>
                    </a:lnTo>
                    <a:lnTo>
                      <a:pt x="2909" y="4673"/>
                    </a:lnTo>
                    <a:lnTo>
                      <a:pt x="3791" y="3439"/>
                    </a:lnTo>
                    <a:lnTo>
                      <a:pt x="4320" y="2910"/>
                    </a:lnTo>
                    <a:lnTo>
                      <a:pt x="4673" y="2028"/>
                    </a:lnTo>
                    <a:lnTo>
                      <a:pt x="4056" y="1411"/>
                    </a:lnTo>
                    <a:lnTo>
                      <a:pt x="4937" y="0"/>
                    </a:lnTo>
                    <a:lnTo>
                      <a:pt x="6436" y="0"/>
                    </a:lnTo>
                    <a:lnTo>
                      <a:pt x="7230" y="265"/>
                    </a:lnTo>
                    <a:lnTo>
                      <a:pt x="9610" y="2028"/>
                    </a:lnTo>
                    <a:lnTo>
                      <a:pt x="12520" y="2645"/>
                    </a:lnTo>
                    <a:lnTo>
                      <a:pt x="13049" y="3174"/>
                    </a:lnTo>
                    <a:lnTo>
                      <a:pt x="12784" y="4938"/>
                    </a:lnTo>
                    <a:lnTo>
                      <a:pt x="9875" y="6348"/>
                    </a:lnTo>
                    <a:lnTo>
                      <a:pt x="8993" y="7847"/>
                    </a:lnTo>
                    <a:lnTo>
                      <a:pt x="10492" y="9610"/>
                    </a:lnTo>
                    <a:lnTo>
                      <a:pt x="13401" y="10757"/>
                    </a:lnTo>
                    <a:lnTo>
                      <a:pt x="16576" y="10757"/>
                    </a:lnTo>
                    <a:lnTo>
                      <a:pt x="19221" y="9875"/>
                    </a:lnTo>
                    <a:lnTo>
                      <a:pt x="24158" y="10757"/>
                    </a:lnTo>
                    <a:lnTo>
                      <a:pt x="28302" y="10757"/>
                    </a:lnTo>
                    <a:lnTo>
                      <a:pt x="30594" y="11638"/>
                    </a:lnTo>
                    <a:lnTo>
                      <a:pt x="33504" y="11638"/>
                    </a:lnTo>
                    <a:lnTo>
                      <a:pt x="38177" y="12785"/>
                    </a:lnTo>
                    <a:lnTo>
                      <a:pt x="43379" y="11638"/>
                    </a:lnTo>
                    <a:lnTo>
                      <a:pt x="45142" y="11638"/>
                    </a:lnTo>
                    <a:lnTo>
                      <a:pt x="47523" y="11903"/>
                    </a:lnTo>
                    <a:lnTo>
                      <a:pt x="52196" y="11638"/>
                    </a:lnTo>
                    <a:lnTo>
                      <a:pt x="55370" y="13402"/>
                    </a:lnTo>
                    <a:lnTo>
                      <a:pt x="58632" y="13402"/>
                    </a:lnTo>
                    <a:lnTo>
                      <a:pt x="60924" y="14548"/>
                    </a:lnTo>
                    <a:lnTo>
                      <a:pt x="63569" y="14548"/>
                    </a:lnTo>
                    <a:lnTo>
                      <a:pt x="66215" y="13666"/>
                    </a:lnTo>
                    <a:lnTo>
                      <a:pt x="67889" y="12256"/>
                    </a:lnTo>
                    <a:lnTo>
                      <a:pt x="70535" y="11638"/>
                    </a:lnTo>
                    <a:lnTo>
                      <a:pt x="72033" y="9610"/>
                    </a:lnTo>
                    <a:lnTo>
                      <a:pt x="75208" y="7582"/>
                    </a:lnTo>
                    <a:lnTo>
                      <a:pt x="76089" y="6348"/>
                    </a:lnTo>
                    <a:lnTo>
                      <a:pt x="78470" y="4938"/>
                    </a:lnTo>
                    <a:lnTo>
                      <a:pt x="79352" y="3791"/>
                    </a:lnTo>
                    <a:lnTo>
                      <a:pt x="83936" y="3791"/>
                    </a:lnTo>
                    <a:lnTo>
                      <a:pt x="86317" y="3439"/>
                    </a:lnTo>
                    <a:lnTo>
                      <a:pt x="89491" y="2028"/>
                    </a:lnTo>
                    <a:lnTo>
                      <a:pt x="93282" y="1411"/>
                    </a:lnTo>
                    <a:lnTo>
                      <a:pt x="96544" y="2028"/>
                    </a:lnTo>
                    <a:lnTo>
                      <a:pt x="96544" y="3439"/>
                    </a:lnTo>
                    <a:lnTo>
                      <a:pt x="98837" y="3791"/>
                    </a:lnTo>
                    <a:lnTo>
                      <a:pt x="99366" y="4938"/>
                    </a:lnTo>
                    <a:lnTo>
                      <a:pt x="103774" y="4938"/>
                    </a:lnTo>
                    <a:lnTo>
                      <a:pt x="105009" y="4673"/>
                    </a:lnTo>
                    <a:lnTo>
                      <a:pt x="107036" y="6348"/>
                    </a:lnTo>
                    <a:lnTo>
                      <a:pt x="108800" y="6965"/>
                    </a:lnTo>
                    <a:lnTo>
                      <a:pt x="111974" y="6348"/>
                    </a:lnTo>
                    <a:lnTo>
                      <a:pt x="113384" y="8993"/>
                    </a:lnTo>
                    <a:lnTo>
                      <a:pt x="113737" y="10139"/>
                    </a:lnTo>
                    <a:lnTo>
                      <a:pt x="117176" y="11638"/>
                    </a:lnTo>
                    <a:lnTo>
                      <a:pt x="124229" y="11638"/>
                    </a:lnTo>
                    <a:lnTo>
                      <a:pt x="123612" y="15429"/>
                    </a:lnTo>
                    <a:lnTo>
                      <a:pt x="125111" y="16576"/>
                    </a:lnTo>
                    <a:lnTo>
                      <a:pt x="124229" y="18956"/>
                    </a:lnTo>
                    <a:lnTo>
                      <a:pt x="123612" y="20367"/>
                    </a:lnTo>
                    <a:lnTo>
                      <a:pt x="123083" y="20720"/>
                    </a:lnTo>
                    <a:lnTo>
                      <a:pt x="120174" y="19485"/>
                    </a:lnTo>
                    <a:lnTo>
                      <a:pt x="118410" y="20367"/>
                    </a:lnTo>
                    <a:lnTo>
                      <a:pt x="115765" y="20103"/>
                    </a:lnTo>
                    <a:lnTo>
                      <a:pt x="116382" y="20720"/>
                    </a:lnTo>
                    <a:lnTo>
                      <a:pt x="115501" y="24511"/>
                    </a:lnTo>
                    <a:lnTo>
                      <a:pt x="114354" y="25393"/>
                    </a:lnTo>
                    <a:lnTo>
                      <a:pt x="114619" y="26539"/>
                    </a:lnTo>
                    <a:lnTo>
                      <a:pt x="112591" y="29184"/>
                    </a:lnTo>
                    <a:lnTo>
                      <a:pt x="112855" y="29713"/>
                    </a:lnTo>
                    <a:lnTo>
                      <a:pt x="113384" y="31741"/>
                    </a:lnTo>
                    <a:lnTo>
                      <a:pt x="113120" y="34121"/>
                    </a:lnTo>
                    <a:lnTo>
                      <a:pt x="113384" y="35267"/>
                    </a:lnTo>
                    <a:lnTo>
                      <a:pt x="113120" y="37295"/>
                    </a:lnTo>
                    <a:lnTo>
                      <a:pt x="110828" y="36766"/>
                    </a:lnTo>
                    <a:lnTo>
                      <a:pt x="109593" y="37295"/>
                    </a:lnTo>
                    <a:lnTo>
                      <a:pt x="109946" y="38441"/>
                    </a:lnTo>
                    <a:lnTo>
                      <a:pt x="110828" y="38441"/>
                    </a:lnTo>
                    <a:lnTo>
                      <a:pt x="108183" y="39676"/>
                    </a:lnTo>
                    <a:lnTo>
                      <a:pt x="108183" y="40205"/>
                    </a:lnTo>
                    <a:lnTo>
                      <a:pt x="107036" y="40822"/>
                    </a:lnTo>
                    <a:lnTo>
                      <a:pt x="106155" y="42585"/>
                    </a:lnTo>
                    <a:lnTo>
                      <a:pt x="105538" y="42585"/>
                    </a:lnTo>
                    <a:lnTo>
                      <a:pt x="106155" y="43467"/>
                    </a:lnTo>
                    <a:lnTo>
                      <a:pt x="106419" y="43732"/>
                    </a:lnTo>
                    <a:lnTo>
                      <a:pt x="107301" y="43467"/>
                    </a:lnTo>
                    <a:lnTo>
                      <a:pt x="108447" y="43467"/>
                    </a:lnTo>
                    <a:lnTo>
                      <a:pt x="108800" y="43732"/>
                    </a:lnTo>
                    <a:lnTo>
                      <a:pt x="110475" y="43732"/>
                    </a:lnTo>
                    <a:lnTo>
                      <a:pt x="110828" y="44613"/>
                    </a:lnTo>
                    <a:lnTo>
                      <a:pt x="110828" y="45759"/>
                    </a:lnTo>
                    <a:lnTo>
                      <a:pt x="111092" y="46377"/>
                    </a:lnTo>
                    <a:lnTo>
                      <a:pt x="111974" y="47258"/>
                    </a:lnTo>
                    <a:lnTo>
                      <a:pt x="112238" y="47523"/>
                    </a:lnTo>
                    <a:lnTo>
                      <a:pt x="111974" y="48404"/>
                    </a:lnTo>
                    <a:lnTo>
                      <a:pt x="112238" y="48933"/>
                    </a:lnTo>
                    <a:lnTo>
                      <a:pt x="115501" y="52196"/>
                    </a:lnTo>
                    <a:lnTo>
                      <a:pt x="118057" y="53342"/>
                    </a:lnTo>
                    <a:lnTo>
                      <a:pt x="119292" y="54488"/>
                    </a:lnTo>
                    <a:lnTo>
                      <a:pt x="117176" y="54224"/>
                    </a:lnTo>
                    <a:lnTo>
                      <a:pt x="116118" y="54488"/>
                    </a:lnTo>
                    <a:lnTo>
                      <a:pt x="114619" y="54488"/>
                    </a:lnTo>
                    <a:lnTo>
                      <a:pt x="114002" y="55370"/>
                    </a:lnTo>
                    <a:lnTo>
                      <a:pt x="111974" y="54488"/>
                    </a:lnTo>
                    <a:lnTo>
                      <a:pt x="110210" y="55987"/>
                    </a:lnTo>
                    <a:lnTo>
                      <a:pt x="109064" y="57133"/>
                    </a:lnTo>
                    <a:lnTo>
                      <a:pt x="109064" y="56869"/>
                    </a:lnTo>
                    <a:lnTo>
                      <a:pt x="109064" y="55987"/>
                    </a:lnTo>
                    <a:lnTo>
                      <a:pt x="107918" y="55987"/>
                    </a:lnTo>
                    <a:lnTo>
                      <a:pt x="107036" y="54488"/>
                    </a:lnTo>
                    <a:lnTo>
                      <a:pt x="105802" y="53342"/>
                    </a:lnTo>
                    <a:lnTo>
                      <a:pt x="104391" y="52196"/>
                    </a:lnTo>
                    <a:lnTo>
                      <a:pt x="102628" y="51931"/>
                    </a:lnTo>
                    <a:lnTo>
                      <a:pt x="102011" y="52196"/>
                    </a:lnTo>
                    <a:lnTo>
                      <a:pt x="101746" y="53077"/>
                    </a:lnTo>
                    <a:lnTo>
                      <a:pt x="100865" y="53342"/>
                    </a:lnTo>
                    <a:lnTo>
                      <a:pt x="99983" y="52196"/>
                    </a:lnTo>
                    <a:lnTo>
                      <a:pt x="99101" y="52196"/>
                    </a:lnTo>
                    <a:lnTo>
                      <a:pt x="98837" y="53342"/>
                    </a:lnTo>
                    <a:lnTo>
                      <a:pt x="97955" y="53606"/>
                    </a:lnTo>
                    <a:lnTo>
                      <a:pt x="97690" y="54488"/>
                    </a:lnTo>
                    <a:lnTo>
                      <a:pt x="96809" y="54488"/>
                    </a:lnTo>
                    <a:lnTo>
                      <a:pt x="95663" y="54841"/>
                    </a:lnTo>
                    <a:lnTo>
                      <a:pt x="94781" y="54841"/>
                    </a:lnTo>
                    <a:lnTo>
                      <a:pt x="94428" y="55370"/>
                    </a:lnTo>
                    <a:lnTo>
                      <a:pt x="93018" y="54841"/>
                    </a:lnTo>
                    <a:lnTo>
                      <a:pt x="92753" y="55370"/>
                    </a:lnTo>
                    <a:lnTo>
                      <a:pt x="90373" y="54488"/>
                    </a:lnTo>
                    <a:lnTo>
                      <a:pt x="88609" y="55722"/>
                    </a:lnTo>
                    <a:lnTo>
                      <a:pt x="90108" y="57133"/>
                    </a:lnTo>
                    <a:lnTo>
                      <a:pt x="88962" y="58279"/>
                    </a:lnTo>
                    <a:lnTo>
                      <a:pt x="86052" y="58279"/>
                    </a:lnTo>
                    <a:lnTo>
                      <a:pt x="85700" y="59514"/>
                    </a:lnTo>
                    <a:lnTo>
                      <a:pt x="85435" y="60043"/>
                    </a:lnTo>
                    <a:lnTo>
                      <a:pt x="84818" y="60924"/>
                    </a:lnTo>
                    <a:lnTo>
                      <a:pt x="85171" y="61542"/>
                    </a:lnTo>
                    <a:lnTo>
                      <a:pt x="83936" y="61542"/>
                    </a:lnTo>
                    <a:lnTo>
                      <a:pt x="83672" y="60924"/>
                    </a:lnTo>
                    <a:lnTo>
                      <a:pt x="82790" y="60924"/>
                    </a:lnTo>
                    <a:lnTo>
                      <a:pt x="81380" y="61542"/>
                    </a:lnTo>
                    <a:lnTo>
                      <a:pt x="81380" y="62952"/>
                    </a:lnTo>
                    <a:lnTo>
                      <a:pt x="81644" y="63305"/>
                    </a:lnTo>
                    <a:lnTo>
                      <a:pt x="81909" y="63305"/>
                    </a:lnTo>
                    <a:lnTo>
                      <a:pt x="82261" y="65862"/>
                    </a:lnTo>
                    <a:lnTo>
                      <a:pt x="83407" y="66744"/>
                    </a:lnTo>
                    <a:lnTo>
                      <a:pt x="83672" y="68507"/>
                    </a:lnTo>
                    <a:lnTo>
                      <a:pt x="83672" y="69124"/>
                    </a:lnTo>
                    <a:lnTo>
                      <a:pt x="82790" y="70887"/>
                    </a:lnTo>
                    <a:lnTo>
                      <a:pt x="81027" y="70887"/>
                    </a:lnTo>
                    <a:lnTo>
                      <a:pt x="79352" y="72034"/>
                    </a:lnTo>
                    <a:lnTo>
                      <a:pt x="77853" y="72298"/>
                    </a:lnTo>
                    <a:lnTo>
                      <a:pt x="76706" y="71416"/>
                    </a:lnTo>
                    <a:lnTo>
                      <a:pt x="74679" y="72298"/>
                    </a:lnTo>
                    <a:lnTo>
                      <a:pt x="73180" y="72034"/>
                    </a:lnTo>
                    <a:lnTo>
                      <a:pt x="70535" y="72298"/>
                    </a:lnTo>
                    <a:lnTo>
                      <a:pt x="69124" y="72298"/>
                    </a:lnTo>
                    <a:lnTo>
                      <a:pt x="65333" y="72915"/>
                    </a:lnTo>
                    <a:lnTo>
                      <a:pt x="63834" y="72298"/>
                    </a:lnTo>
                    <a:lnTo>
                      <a:pt x="62423" y="70887"/>
                    </a:lnTo>
                    <a:lnTo>
                      <a:pt x="61806" y="71416"/>
                    </a:lnTo>
                    <a:lnTo>
                      <a:pt x="61806" y="70535"/>
                    </a:lnTo>
                    <a:lnTo>
                      <a:pt x="58896" y="70006"/>
                    </a:lnTo>
                    <a:lnTo>
                      <a:pt x="57133" y="69124"/>
                    </a:lnTo>
                    <a:lnTo>
                      <a:pt x="55722" y="69653"/>
                    </a:lnTo>
                    <a:lnTo>
                      <a:pt x="55987" y="70535"/>
                    </a:lnTo>
                    <a:lnTo>
                      <a:pt x="54488" y="70535"/>
                    </a:lnTo>
                    <a:lnTo>
                      <a:pt x="53606" y="69389"/>
                    </a:lnTo>
                    <a:lnTo>
                      <a:pt x="52196" y="69124"/>
                    </a:lnTo>
                    <a:lnTo>
                      <a:pt x="51579" y="68507"/>
                    </a:lnTo>
                    <a:lnTo>
                      <a:pt x="50697" y="67978"/>
                    </a:lnTo>
                    <a:lnTo>
                      <a:pt x="49551" y="66744"/>
                    </a:lnTo>
                    <a:lnTo>
                      <a:pt x="49286" y="66479"/>
                    </a:lnTo>
                    <a:lnTo>
                      <a:pt x="48404" y="66744"/>
                    </a:lnTo>
                    <a:lnTo>
                      <a:pt x="46641" y="66744"/>
                    </a:lnTo>
                    <a:lnTo>
                      <a:pt x="46377" y="67096"/>
                    </a:lnTo>
                    <a:lnTo>
                      <a:pt x="45759" y="66479"/>
                    </a:lnTo>
                    <a:lnTo>
                      <a:pt x="44878" y="65862"/>
                    </a:lnTo>
                    <a:lnTo>
                      <a:pt x="43114" y="66744"/>
                    </a:lnTo>
                    <a:lnTo>
                      <a:pt x="42850" y="67096"/>
                    </a:lnTo>
                    <a:lnTo>
                      <a:pt x="41351" y="66744"/>
                    </a:lnTo>
                    <a:lnTo>
                      <a:pt x="40822" y="66744"/>
                    </a:lnTo>
                    <a:lnTo>
                      <a:pt x="40558" y="67361"/>
                    </a:lnTo>
                    <a:lnTo>
                      <a:pt x="41086" y="68507"/>
                    </a:lnTo>
                    <a:lnTo>
                      <a:pt x="39940" y="68507"/>
                    </a:lnTo>
                    <a:lnTo>
                      <a:pt x="38794" y="69124"/>
                    </a:lnTo>
                    <a:lnTo>
                      <a:pt x="38177" y="68507"/>
                    </a:lnTo>
                    <a:lnTo>
                      <a:pt x="36766" y="68507"/>
                    </a:lnTo>
                    <a:lnTo>
                      <a:pt x="35532" y="69124"/>
                    </a:lnTo>
                    <a:lnTo>
                      <a:pt x="34650" y="69653"/>
                    </a:lnTo>
                    <a:lnTo>
                      <a:pt x="32887" y="69124"/>
                    </a:lnTo>
                    <a:lnTo>
                      <a:pt x="31476" y="70535"/>
                    </a:lnTo>
                    <a:lnTo>
                      <a:pt x="29713" y="70006"/>
                    </a:lnTo>
                    <a:lnTo>
                      <a:pt x="28566" y="69124"/>
                    </a:lnTo>
                    <a:lnTo>
                      <a:pt x="27420" y="69653"/>
                    </a:lnTo>
                    <a:lnTo>
                      <a:pt x="27068" y="70006"/>
                    </a:lnTo>
                    <a:lnTo>
                      <a:pt x="26186" y="69653"/>
                    </a:lnTo>
                    <a:lnTo>
                      <a:pt x="25040" y="70535"/>
                    </a:lnTo>
                    <a:lnTo>
                      <a:pt x="24423" y="71769"/>
                    </a:lnTo>
                    <a:lnTo>
                      <a:pt x="23541" y="72298"/>
                    </a:lnTo>
                    <a:lnTo>
                      <a:pt x="20102" y="72298"/>
                    </a:lnTo>
                    <a:lnTo>
                      <a:pt x="18603" y="7088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8" name="Freihandform: Form 1587">
                <a:extLst>
                  <a:ext uri="{FF2B5EF4-FFF2-40B4-BE49-F238E27FC236}">
                    <a16:creationId xmlns:a16="http://schemas.microsoft.com/office/drawing/2014/main" id="{66BF5274-F040-7880-88A9-385B7898FB6C}"/>
                  </a:ext>
                </a:extLst>
              </p:cNvPr>
              <p:cNvSpPr/>
              <p:nvPr/>
            </p:nvSpPr>
            <p:spPr>
              <a:xfrm>
                <a:off x="4455489" y="3087788"/>
                <a:ext cx="37912" cy="74325"/>
              </a:xfrm>
              <a:custGeom>
                <a:avLst/>
                <a:gdLst>
                  <a:gd name="connsiteX0" fmla="*/ 2557 w 37912"/>
                  <a:gd name="connsiteY0" fmla="*/ 19485 h 74325"/>
                  <a:gd name="connsiteX1" fmla="*/ 2028 w 37912"/>
                  <a:gd name="connsiteY1" fmla="*/ 17810 h 74325"/>
                  <a:gd name="connsiteX2" fmla="*/ 2910 w 37912"/>
                  <a:gd name="connsiteY2" fmla="*/ 16576 h 74325"/>
                  <a:gd name="connsiteX3" fmla="*/ 2028 w 37912"/>
                  <a:gd name="connsiteY3" fmla="*/ 14548 h 74325"/>
                  <a:gd name="connsiteX4" fmla="*/ 2557 w 37912"/>
                  <a:gd name="connsiteY4" fmla="*/ 13402 h 74325"/>
                  <a:gd name="connsiteX5" fmla="*/ 0 w 37912"/>
                  <a:gd name="connsiteY5" fmla="*/ 11374 h 74325"/>
                  <a:gd name="connsiteX6" fmla="*/ 1411 w 37912"/>
                  <a:gd name="connsiteY6" fmla="*/ 8464 h 74325"/>
                  <a:gd name="connsiteX7" fmla="*/ 3174 w 37912"/>
                  <a:gd name="connsiteY7" fmla="*/ 6965 h 74325"/>
                  <a:gd name="connsiteX8" fmla="*/ 2910 w 37912"/>
                  <a:gd name="connsiteY8" fmla="*/ 5819 h 74325"/>
                  <a:gd name="connsiteX9" fmla="*/ 4056 w 37912"/>
                  <a:gd name="connsiteY9" fmla="*/ 4673 h 74325"/>
                  <a:gd name="connsiteX10" fmla="*/ 4056 w 37912"/>
                  <a:gd name="connsiteY10" fmla="*/ 3174 h 74325"/>
                  <a:gd name="connsiteX11" fmla="*/ 4937 w 37912"/>
                  <a:gd name="connsiteY11" fmla="*/ 2028 h 74325"/>
                  <a:gd name="connsiteX12" fmla="*/ 4937 w 37912"/>
                  <a:gd name="connsiteY12" fmla="*/ 1411 h 74325"/>
                  <a:gd name="connsiteX13" fmla="*/ 6084 w 37912"/>
                  <a:gd name="connsiteY13" fmla="*/ 882 h 74325"/>
                  <a:gd name="connsiteX14" fmla="*/ 6348 w 37912"/>
                  <a:gd name="connsiteY14" fmla="*/ 0 h 74325"/>
                  <a:gd name="connsiteX15" fmla="*/ 7847 w 37912"/>
                  <a:gd name="connsiteY15" fmla="*/ 0 h 74325"/>
                  <a:gd name="connsiteX16" fmla="*/ 8112 w 37912"/>
                  <a:gd name="connsiteY16" fmla="*/ 529 h 74325"/>
                  <a:gd name="connsiteX17" fmla="*/ 8112 w 37912"/>
                  <a:gd name="connsiteY17" fmla="*/ 1411 h 74325"/>
                  <a:gd name="connsiteX18" fmla="*/ 8112 w 37912"/>
                  <a:gd name="connsiteY18" fmla="*/ 3174 h 74325"/>
                  <a:gd name="connsiteX19" fmla="*/ 9610 w 37912"/>
                  <a:gd name="connsiteY19" fmla="*/ 4673 h 74325"/>
                  <a:gd name="connsiteX20" fmla="*/ 11286 w 37912"/>
                  <a:gd name="connsiteY20" fmla="*/ 3791 h 74325"/>
                  <a:gd name="connsiteX21" fmla="*/ 12520 w 37912"/>
                  <a:gd name="connsiteY21" fmla="*/ 3174 h 74325"/>
                  <a:gd name="connsiteX22" fmla="*/ 13666 w 37912"/>
                  <a:gd name="connsiteY22" fmla="*/ 3174 h 74325"/>
                  <a:gd name="connsiteX23" fmla="*/ 13402 w 37912"/>
                  <a:gd name="connsiteY23" fmla="*/ 2028 h 74325"/>
                  <a:gd name="connsiteX24" fmla="*/ 13931 w 37912"/>
                  <a:gd name="connsiteY24" fmla="*/ 1411 h 74325"/>
                  <a:gd name="connsiteX25" fmla="*/ 16576 w 37912"/>
                  <a:gd name="connsiteY25" fmla="*/ 3174 h 74325"/>
                  <a:gd name="connsiteX26" fmla="*/ 17193 w 37912"/>
                  <a:gd name="connsiteY26" fmla="*/ 4673 h 74325"/>
                  <a:gd name="connsiteX27" fmla="*/ 16840 w 37912"/>
                  <a:gd name="connsiteY27" fmla="*/ 5819 h 74325"/>
                  <a:gd name="connsiteX28" fmla="*/ 18075 w 37912"/>
                  <a:gd name="connsiteY28" fmla="*/ 7230 h 74325"/>
                  <a:gd name="connsiteX29" fmla="*/ 19221 w 37912"/>
                  <a:gd name="connsiteY29" fmla="*/ 8111 h 74325"/>
                  <a:gd name="connsiteX30" fmla="*/ 21866 w 37912"/>
                  <a:gd name="connsiteY30" fmla="*/ 8464 h 74325"/>
                  <a:gd name="connsiteX31" fmla="*/ 22395 w 37912"/>
                  <a:gd name="connsiteY31" fmla="*/ 8993 h 74325"/>
                  <a:gd name="connsiteX32" fmla="*/ 23629 w 37912"/>
                  <a:gd name="connsiteY32" fmla="*/ 9610 h 74325"/>
                  <a:gd name="connsiteX33" fmla="*/ 24511 w 37912"/>
                  <a:gd name="connsiteY33" fmla="*/ 10757 h 74325"/>
                  <a:gd name="connsiteX34" fmla="*/ 25304 w 37912"/>
                  <a:gd name="connsiteY34" fmla="*/ 12784 h 74325"/>
                  <a:gd name="connsiteX35" fmla="*/ 25304 w 37912"/>
                  <a:gd name="connsiteY35" fmla="*/ 14548 h 74325"/>
                  <a:gd name="connsiteX36" fmla="*/ 26539 w 37912"/>
                  <a:gd name="connsiteY36" fmla="*/ 15165 h 74325"/>
                  <a:gd name="connsiteX37" fmla="*/ 26186 w 37912"/>
                  <a:gd name="connsiteY37" fmla="*/ 16047 h 74325"/>
                  <a:gd name="connsiteX38" fmla="*/ 26803 w 37912"/>
                  <a:gd name="connsiteY38" fmla="*/ 16928 h 74325"/>
                  <a:gd name="connsiteX39" fmla="*/ 26803 w 37912"/>
                  <a:gd name="connsiteY39" fmla="*/ 17457 h 74325"/>
                  <a:gd name="connsiteX40" fmla="*/ 26803 w 37912"/>
                  <a:gd name="connsiteY40" fmla="*/ 18339 h 74325"/>
                  <a:gd name="connsiteX41" fmla="*/ 25922 w 37912"/>
                  <a:gd name="connsiteY41" fmla="*/ 19221 h 74325"/>
                  <a:gd name="connsiteX42" fmla="*/ 25922 w 37912"/>
                  <a:gd name="connsiteY42" fmla="*/ 20984 h 74325"/>
                  <a:gd name="connsiteX43" fmla="*/ 25922 w 37912"/>
                  <a:gd name="connsiteY43" fmla="*/ 22130 h 74325"/>
                  <a:gd name="connsiteX44" fmla="*/ 26186 w 37912"/>
                  <a:gd name="connsiteY44" fmla="*/ 23276 h 74325"/>
                  <a:gd name="connsiteX45" fmla="*/ 26186 w 37912"/>
                  <a:gd name="connsiteY45" fmla="*/ 24158 h 74325"/>
                  <a:gd name="connsiteX46" fmla="*/ 26539 w 37912"/>
                  <a:gd name="connsiteY46" fmla="*/ 25922 h 74325"/>
                  <a:gd name="connsiteX47" fmla="*/ 25040 w 37912"/>
                  <a:gd name="connsiteY47" fmla="*/ 27949 h 74325"/>
                  <a:gd name="connsiteX48" fmla="*/ 26803 w 37912"/>
                  <a:gd name="connsiteY48" fmla="*/ 29713 h 74325"/>
                  <a:gd name="connsiteX49" fmla="*/ 26803 w 37912"/>
                  <a:gd name="connsiteY49" fmla="*/ 30330 h 74325"/>
                  <a:gd name="connsiteX50" fmla="*/ 26803 w 37912"/>
                  <a:gd name="connsiteY50" fmla="*/ 30859 h 74325"/>
                  <a:gd name="connsiteX51" fmla="*/ 26803 w 37912"/>
                  <a:gd name="connsiteY51" fmla="*/ 31741 h 74325"/>
                  <a:gd name="connsiteX52" fmla="*/ 27068 w 37912"/>
                  <a:gd name="connsiteY52" fmla="*/ 32093 h 74325"/>
                  <a:gd name="connsiteX53" fmla="*/ 27068 w 37912"/>
                  <a:gd name="connsiteY53" fmla="*/ 32975 h 74325"/>
                  <a:gd name="connsiteX54" fmla="*/ 27068 w 37912"/>
                  <a:gd name="connsiteY54" fmla="*/ 35003 h 74325"/>
                  <a:gd name="connsiteX55" fmla="*/ 28567 w 37912"/>
                  <a:gd name="connsiteY55" fmla="*/ 37295 h 74325"/>
                  <a:gd name="connsiteX56" fmla="*/ 28567 w 37912"/>
                  <a:gd name="connsiteY56" fmla="*/ 37912 h 74325"/>
                  <a:gd name="connsiteX57" fmla="*/ 29096 w 37912"/>
                  <a:gd name="connsiteY57" fmla="*/ 38441 h 74325"/>
                  <a:gd name="connsiteX58" fmla="*/ 29977 w 37912"/>
                  <a:gd name="connsiteY58" fmla="*/ 39059 h 74325"/>
                  <a:gd name="connsiteX59" fmla="*/ 31741 w 37912"/>
                  <a:gd name="connsiteY59" fmla="*/ 42585 h 74325"/>
                  <a:gd name="connsiteX60" fmla="*/ 33240 w 37912"/>
                  <a:gd name="connsiteY60" fmla="*/ 42850 h 74325"/>
                  <a:gd name="connsiteX61" fmla="*/ 33240 w 37912"/>
                  <a:gd name="connsiteY61" fmla="*/ 41968 h 74325"/>
                  <a:gd name="connsiteX62" fmla="*/ 34121 w 37912"/>
                  <a:gd name="connsiteY62" fmla="*/ 42585 h 74325"/>
                  <a:gd name="connsiteX63" fmla="*/ 35267 w 37912"/>
                  <a:gd name="connsiteY63" fmla="*/ 41968 h 74325"/>
                  <a:gd name="connsiteX64" fmla="*/ 35796 w 37912"/>
                  <a:gd name="connsiteY64" fmla="*/ 42850 h 74325"/>
                  <a:gd name="connsiteX65" fmla="*/ 36149 w 37912"/>
                  <a:gd name="connsiteY65" fmla="*/ 44261 h 74325"/>
                  <a:gd name="connsiteX66" fmla="*/ 36149 w 37912"/>
                  <a:gd name="connsiteY66" fmla="*/ 45495 h 74325"/>
                  <a:gd name="connsiteX67" fmla="*/ 36149 w 37912"/>
                  <a:gd name="connsiteY67" fmla="*/ 46024 h 74325"/>
                  <a:gd name="connsiteX68" fmla="*/ 37560 w 37912"/>
                  <a:gd name="connsiteY68" fmla="*/ 49286 h 74325"/>
                  <a:gd name="connsiteX69" fmla="*/ 37913 w 37912"/>
                  <a:gd name="connsiteY69" fmla="*/ 51578 h 74325"/>
                  <a:gd name="connsiteX70" fmla="*/ 36678 w 37912"/>
                  <a:gd name="connsiteY70" fmla="*/ 53077 h 74325"/>
                  <a:gd name="connsiteX71" fmla="*/ 36678 w 37912"/>
                  <a:gd name="connsiteY71" fmla="*/ 53959 h 74325"/>
                  <a:gd name="connsiteX72" fmla="*/ 35796 w 37912"/>
                  <a:gd name="connsiteY72" fmla="*/ 54224 h 74325"/>
                  <a:gd name="connsiteX73" fmla="*/ 34915 w 37912"/>
                  <a:gd name="connsiteY73" fmla="*/ 53606 h 74325"/>
                  <a:gd name="connsiteX74" fmla="*/ 34121 w 37912"/>
                  <a:gd name="connsiteY74" fmla="*/ 54224 h 74325"/>
                  <a:gd name="connsiteX75" fmla="*/ 32887 w 37912"/>
                  <a:gd name="connsiteY75" fmla="*/ 54841 h 74325"/>
                  <a:gd name="connsiteX76" fmla="*/ 32622 w 37912"/>
                  <a:gd name="connsiteY76" fmla="*/ 55987 h 74325"/>
                  <a:gd name="connsiteX77" fmla="*/ 33240 w 37912"/>
                  <a:gd name="connsiteY77" fmla="*/ 57133 h 74325"/>
                  <a:gd name="connsiteX78" fmla="*/ 32093 w 37912"/>
                  <a:gd name="connsiteY78" fmla="*/ 58279 h 74325"/>
                  <a:gd name="connsiteX79" fmla="*/ 31741 w 37912"/>
                  <a:gd name="connsiteY79" fmla="*/ 59778 h 74325"/>
                  <a:gd name="connsiteX80" fmla="*/ 32093 w 37912"/>
                  <a:gd name="connsiteY80" fmla="*/ 60307 h 74325"/>
                  <a:gd name="connsiteX81" fmla="*/ 31741 w 37912"/>
                  <a:gd name="connsiteY81" fmla="*/ 60924 h 74325"/>
                  <a:gd name="connsiteX82" fmla="*/ 32093 w 37912"/>
                  <a:gd name="connsiteY82" fmla="*/ 62423 h 74325"/>
                  <a:gd name="connsiteX83" fmla="*/ 31476 w 37912"/>
                  <a:gd name="connsiteY83" fmla="*/ 62952 h 74325"/>
                  <a:gd name="connsiteX84" fmla="*/ 29713 w 37912"/>
                  <a:gd name="connsiteY84" fmla="*/ 63569 h 74325"/>
                  <a:gd name="connsiteX85" fmla="*/ 29096 w 37912"/>
                  <a:gd name="connsiteY85" fmla="*/ 62952 h 74325"/>
                  <a:gd name="connsiteX86" fmla="*/ 28302 w 37912"/>
                  <a:gd name="connsiteY86" fmla="*/ 63569 h 74325"/>
                  <a:gd name="connsiteX87" fmla="*/ 27068 w 37912"/>
                  <a:gd name="connsiteY87" fmla="*/ 63569 h 74325"/>
                  <a:gd name="connsiteX88" fmla="*/ 26803 w 37912"/>
                  <a:gd name="connsiteY88" fmla="*/ 64451 h 74325"/>
                  <a:gd name="connsiteX89" fmla="*/ 25657 w 37912"/>
                  <a:gd name="connsiteY89" fmla="*/ 64716 h 74325"/>
                  <a:gd name="connsiteX90" fmla="*/ 25304 w 37912"/>
                  <a:gd name="connsiteY90" fmla="*/ 66743 h 74325"/>
                  <a:gd name="connsiteX91" fmla="*/ 26186 w 37912"/>
                  <a:gd name="connsiteY91" fmla="*/ 67625 h 74325"/>
                  <a:gd name="connsiteX92" fmla="*/ 27068 w 37912"/>
                  <a:gd name="connsiteY92" fmla="*/ 68242 h 74325"/>
                  <a:gd name="connsiteX93" fmla="*/ 27685 w 37912"/>
                  <a:gd name="connsiteY93" fmla="*/ 70535 h 74325"/>
                  <a:gd name="connsiteX94" fmla="*/ 27685 w 37912"/>
                  <a:gd name="connsiteY94" fmla="*/ 71152 h 74325"/>
                  <a:gd name="connsiteX95" fmla="*/ 27068 w 37912"/>
                  <a:gd name="connsiteY95" fmla="*/ 70535 h 74325"/>
                  <a:gd name="connsiteX96" fmla="*/ 26539 w 37912"/>
                  <a:gd name="connsiteY96" fmla="*/ 71152 h 74325"/>
                  <a:gd name="connsiteX97" fmla="*/ 26186 w 37912"/>
                  <a:gd name="connsiteY97" fmla="*/ 71769 h 74325"/>
                  <a:gd name="connsiteX98" fmla="*/ 24775 w 37912"/>
                  <a:gd name="connsiteY98" fmla="*/ 72563 h 74325"/>
                  <a:gd name="connsiteX99" fmla="*/ 24511 w 37912"/>
                  <a:gd name="connsiteY99" fmla="*/ 73444 h 74325"/>
                  <a:gd name="connsiteX100" fmla="*/ 22748 w 37912"/>
                  <a:gd name="connsiteY100" fmla="*/ 74326 h 74325"/>
                  <a:gd name="connsiteX101" fmla="*/ 21249 w 37912"/>
                  <a:gd name="connsiteY101" fmla="*/ 74326 h 74325"/>
                  <a:gd name="connsiteX102" fmla="*/ 19485 w 37912"/>
                  <a:gd name="connsiteY102" fmla="*/ 73444 h 74325"/>
                  <a:gd name="connsiteX103" fmla="*/ 19221 w 37912"/>
                  <a:gd name="connsiteY103" fmla="*/ 72563 h 74325"/>
                  <a:gd name="connsiteX104" fmla="*/ 19485 w 37912"/>
                  <a:gd name="connsiteY104" fmla="*/ 71769 h 74325"/>
                  <a:gd name="connsiteX105" fmla="*/ 18604 w 37912"/>
                  <a:gd name="connsiteY105" fmla="*/ 69653 h 74325"/>
                  <a:gd name="connsiteX106" fmla="*/ 18339 w 37912"/>
                  <a:gd name="connsiteY106" fmla="*/ 68507 h 74325"/>
                  <a:gd name="connsiteX107" fmla="*/ 16840 w 37912"/>
                  <a:gd name="connsiteY107" fmla="*/ 67890 h 74325"/>
                  <a:gd name="connsiteX108" fmla="*/ 17722 w 37912"/>
                  <a:gd name="connsiteY108" fmla="*/ 66743 h 74325"/>
                  <a:gd name="connsiteX109" fmla="*/ 17457 w 37912"/>
                  <a:gd name="connsiteY109" fmla="*/ 65333 h 74325"/>
                  <a:gd name="connsiteX110" fmla="*/ 16576 w 37912"/>
                  <a:gd name="connsiteY110" fmla="*/ 64451 h 74325"/>
                  <a:gd name="connsiteX111" fmla="*/ 16047 w 37912"/>
                  <a:gd name="connsiteY111" fmla="*/ 63569 h 74325"/>
                  <a:gd name="connsiteX112" fmla="*/ 15077 w 37912"/>
                  <a:gd name="connsiteY112" fmla="*/ 62952 h 74325"/>
                  <a:gd name="connsiteX113" fmla="*/ 14548 w 37912"/>
                  <a:gd name="connsiteY113" fmla="*/ 63569 h 74325"/>
                  <a:gd name="connsiteX114" fmla="*/ 13402 w 37912"/>
                  <a:gd name="connsiteY114" fmla="*/ 63305 h 74325"/>
                  <a:gd name="connsiteX115" fmla="*/ 12785 w 37912"/>
                  <a:gd name="connsiteY115" fmla="*/ 62070 h 74325"/>
                  <a:gd name="connsiteX116" fmla="*/ 11903 w 37912"/>
                  <a:gd name="connsiteY116" fmla="*/ 61541 h 74325"/>
                  <a:gd name="connsiteX117" fmla="*/ 11286 w 37912"/>
                  <a:gd name="connsiteY117" fmla="*/ 61806 h 74325"/>
                  <a:gd name="connsiteX118" fmla="*/ 9875 w 37912"/>
                  <a:gd name="connsiteY118" fmla="*/ 61189 h 74325"/>
                  <a:gd name="connsiteX119" fmla="*/ 7583 w 37912"/>
                  <a:gd name="connsiteY119" fmla="*/ 59778 h 74325"/>
                  <a:gd name="connsiteX120" fmla="*/ 6701 w 37912"/>
                  <a:gd name="connsiteY120" fmla="*/ 58279 h 74325"/>
                  <a:gd name="connsiteX121" fmla="*/ 5466 w 37912"/>
                  <a:gd name="connsiteY121" fmla="*/ 57398 h 74325"/>
                  <a:gd name="connsiteX122" fmla="*/ 5202 w 37912"/>
                  <a:gd name="connsiteY122" fmla="*/ 56869 h 74325"/>
                  <a:gd name="connsiteX123" fmla="*/ 5466 w 37912"/>
                  <a:gd name="connsiteY123" fmla="*/ 56251 h 74325"/>
                  <a:gd name="connsiteX124" fmla="*/ 4056 w 37912"/>
                  <a:gd name="connsiteY124" fmla="*/ 55722 h 74325"/>
                  <a:gd name="connsiteX125" fmla="*/ 3791 w 37912"/>
                  <a:gd name="connsiteY125" fmla="*/ 55105 h 74325"/>
                  <a:gd name="connsiteX126" fmla="*/ 3791 w 37912"/>
                  <a:gd name="connsiteY126" fmla="*/ 54224 h 74325"/>
                  <a:gd name="connsiteX127" fmla="*/ 4056 w 37912"/>
                  <a:gd name="connsiteY127" fmla="*/ 53959 h 74325"/>
                  <a:gd name="connsiteX128" fmla="*/ 5466 w 37912"/>
                  <a:gd name="connsiteY128" fmla="*/ 55105 h 74325"/>
                  <a:gd name="connsiteX129" fmla="*/ 6084 w 37912"/>
                  <a:gd name="connsiteY129" fmla="*/ 55987 h 74325"/>
                  <a:gd name="connsiteX130" fmla="*/ 6348 w 37912"/>
                  <a:gd name="connsiteY130" fmla="*/ 56869 h 74325"/>
                  <a:gd name="connsiteX131" fmla="*/ 6965 w 37912"/>
                  <a:gd name="connsiteY131" fmla="*/ 56869 h 74325"/>
                  <a:gd name="connsiteX132" fmla="*/ 7230 w 37912"/>
                  <a:gd name="connsiteY132" fmla="*/ 56869 h 74325"/>
                  <a:gd name="connsiteX133" fmla="*/ 8464 w 37912"/>
                  <a:gd name="connsiteY133" fmla="*/ 55370 h 74325"/>
                  <a:gd name="connsiteX134" fmla="*/ 7230 w 37912"/>
                  <a:gd name="connsiteY134" fmla="*/ 54224 h 74325"/>
                  <a:gd name="connsiteX135" fmla="*/ 6084 w 37912"/>
                  <a:gd name="connsiteY135" fmla="*/ 53077 h 74325"/>
                  <a:gd name="connsiteX136" fmla="*/ 6965 w 37912"/>
                  <a:gd name="connsiteY136" fmla="*/ 52813 h 74325"/>
                  <a:gd name="connsiteX137" fmla="*/ 6701 w 37912"/>
                  <a:gd name="connsiteY137" fmla="*/ 51843 h 74325"/>
                  <a:gd name="connsiteX138" fmla="*/ 5202 w 37912"/>
                  <a:gd name="connsiteY138" fmla="*/ 50697 h 74325"/>
                  <a:gd name="connsiteX139" fmla="*/ 5819 w 37912"/>
                  <a:gd name="connsiteY139" fmla="*/ 51578 h 74325"/>
                  <a:gd name="connsiteX140" fmla="*/ 4320 w 37912"/>
                  <a:gd name="connsiteY140" fmla="*/ 51049 h 74325"/>
                  <a:gd name="connsiteX141" fmla="*/ 3174 w 37912"/>
                  <a:gd name="connsiteY141" fmla="*/ 49815 h 74325"/>
                  <a:gd name="connsiteX142" fmla="*/ 4937 w 37912"/>
                  <a:gd name="connsiteY142" fmla="*/ 48669 h 74325"/>
                  <a:gd name="connsiteX143" fmla="*/ 4673 w 37912"/>
                  <a:gd name="connsiteY143" fmla="*/ 47258 h 74325"/>
                  <a:gd name="connsiteX144" fmla="*/ 4673 w 37912"/>
                  <a:gd name="connsiteY144" fmla="*/ 45495 h 74325"/>
                  <a:gd name="connsiteX145" fmla="*/ 5202 w 37912"/>
                  <a:gd name="connsiteY145" fmla="*/ 44878 h 74325"/>
                  <a:gd name="connsiteX146" fmla="*/ 5202 w 37912"/>
                  <a:gd name="connsiteY146" fmla="*/ 44261 h 74325"/>
                  <a:gd name="connsiteX147" fmla="*/ 4937 w 37912"/>
                  <a:gd name="connsiteY147" fmla="*/ 43731 h 74325"/>
                  <a:gd name="connsiteX148" fmla="*/ 4937 w 37912"/>
                  <a:gd name="connsiteY148" fmla="*/ 42850 h 74325"/>
                  <a:gd name="connsiteX149" fmla="*/ 5202 w 37912"/>
                  <a:gd name="connsiteY149" fmla="*/ 42585 h 74325"/>
                  <a:gd name="connsiteX150" fmla="*/ 5819 w 37912"/>
                  <a:gd name="connsiteY150" fmla="*/ 42850 h 74325"/>
                  <a:gd name="connsiteX151" fmla="*/ 6084 w 37912"/>
                  <a:gd name="connsiteY151" fmla="*/ 43467 h 74325"/>
                  <a:gd name="connsiteX152" fmla="*/ 6084 w 37912"/>
                  <a:gd name="connsiteY152" fmla="*/ 42850 h 74325"/>
                  <a:gd name="connsiteX153" fmla="*/ 6348 w 37912"/>
                  <a:gd name="connsiteY153" fmla="*/ 43467 h 74325"/>
                  <a:gd name="connsiteX154" fmla="*/ 6965 w 37912"/>
                  <a:gd name="connsiteY154" fmla="*/ 42850 h 74325"/>
                  <a:gd name="connsiteX155" fmla="*/ 7230 w 37912"/>
                  <a:gd name="connsiteY155" fmla="*/ 40822 h 74325"/>
                  <a:gd name="connsiteX156" fmla="*/ 7230 w 37912"/>
                  <a:gd name="connsiteY156" fmla="*/ 40469 h 74325"/>
                  <a:gd name="connsiteX157" fmla="*/ 6348 w 37912"/>
                  <a:gd name="connsiteY157" fmla="*/ 41968 h 74325"/>
                  <a:gd name="connsiteX158" fmla="*/ 6084 w 37912"/>
                  <a:gd name="connsiteY158" fmla="*/ 41086 h 74325"/>
                  <a:gd name="connsiteX159" fmla="*/ 6084 w 37912"/>
                  <a:gd name="connsiteY159" fmla="*/ 40469 h 74325"/>
                  <a:gd name="connsiteX160" fmla="*/ 5819 w 37912"/>
                  <a:gd name="connsiteY160" fmla="*/ 39940 h 74325"/>
                  <a:gd name="connsiteX161" fmla="*/ 6084 w 37912"/>
                  <a:gd name="connsiteY161" fmla="*/ 39323 h 74325"/>
                  <a:gd name="connsiteX162" fmla="*/ 5819 w 37912"/>
                  <a:gd name="connsiteY162" fmla="*/ 38794 h 74325"/>
                  <a:gd name="connsiteX163" fmla="*/ 5819 w 37912"/>
                  <a:gd name="connsiteY163" fmla="*/ 37295 h 74325"/>
                  <a:gd name="connsiteX164" fmla="*/ 6084 w 37912"/>
                  <a:gd name="connsiteY164" fmla="*/ 35884 h 74325"/>
                  <a:gd name="connsiteX165" fmla="*/ 6701 w 37912"/>
                  <a:gd name="connsiteY165" fmla="*/ 34121 h 74325"/>
                  <a:gd name="connsiteX166" fmla="*/ 6701 w 37912"/>
                  <a:gd name="connsiteY166" fmla="*/ 33504 h 74325"/>
                  <a:gd name="connsiteX167" fmla="*/ 6084 w 37912"/>
                  <a:gd name="connsiteY167" fmla="*/ 33240 h 74325"/>
                  <a:gd name="connsiteX168" fmla="*/ 5466 w 37912"/>
                  <a:gd name="connsiteY168" fmla="*/ 33504 h 74325"/>
                  <a:gd name="connsiteX169" fmla="*/ 4673 w 37912"/>
                  <a:gd name="connsiteY169" fmla="*/ 33504 h 74325"/>
                  <a:gd name="connsiteX170" fmla="*/ 4056 w 37912"/>
                  <a:gd name="connsiteY170" fmla="*/ 32975 h 74325"/>
                  <a:gd name="connsiteX171" fmla="*/ 3791 w 37912"/>
                  <a:gd name="connsiteY171" fmla="*/ 32093 h 74325"/>
                  <a:gd name="connsiteX172" fmla="*/ 4056 w 37912"/>
                  <a:gd name="connsiteY172" fmla="*/ 31741 h 74325"/>
                  <a:gd name="connsiteX173" fmla="*/ 4056 w 37912"/>
                  <a:gd name="connsiteY173" fmla="*/ 30859 h 74325"/>
                  <a:gd name="connsiteX174" fmla="*/ 4673 w 37912"/>
                  <a:gd name="connsiteY174" fmla="*/ 31212 h 74325"/>
                  <a:gd name="connsiteX175" fmla="*/ 5202 w 37912"/>
                  <a:gd name="connsiteY175" fmla="*/ 30859 h 74325"/>
                  <a:gd name="connsiteX176" fmla="*/ 5202 w 37912"/>
                  <a:gd name="connsiteY176" fmla="*/ 30330 h 74325"/>
                  <a:gd name="connsiteX177" fmla="*/ 4937 w 37912"/>
                  <a:gd name="connsiteY177" fmla="*/ 29977 h 74325"/>
                  <a:gd name="connsiteX178" fmla="*/ 4937 w 37912"/>
                  <a:gd name="connsiteY178" fmla="*/ 29713 h 74325"/>
                  <a:gd name="connsiteX179" fmla="*/ 5819 w 37912"/>
                  <a:gd name="connsiteY179" fmla="*/ 29713 h 74325"/>
                  <a:gd name="connsiteX180" fmla="*/ 6084 w 37912"/>
                  <a:gd name="connsiteY180" fmla="*/ 29184 h 74325"/>
                  <a:gd name="connsiteX181" fmla="*/ 6701 w 37912"/>
                  <a:gd name="connsiteY181" fmla="*/ 28567 h 74325"/>
                  <a:gd name="connsiteX182" fmla="*/ 6084 w 37912"/>
                  <a:gd name="connsiteY182" fmla="*/ 27949 h 74325"/>
                  <a:gd name="connsiteX183" fmla="*/ 4937 w 37912"/>
                  <a:gd name="connsiteY183" fmla="*/ 27949 h 74325"/>
                  <a:gd name="connsiteX184" fmla="*/ 4320 w 37912"/>
                  <a:gd name="connsiteY184" fmla="*/ 26803 h 74325"/>
                  <a:gd name="connsiteX185" fmla="*/ 4673 w 37912"/>
                  <a:gd name="connsiteY185" fmla="*/ 25922 h 74325"/>
                  <a:gd name="connsiteX186" fmla="*/ 6084 w 37912"/>
                  <a:gd name="connsiteY186" fmla="*/ 27068 h 74325"/>
                  <a:gd name="connsiteX187" fmla="*/ 6701 w 37912"/>
                  <a:gd name="connsiteY187" fmla="*/ 26186 h 74325"/>
                  <a:gd name="connsiteX188" fmla="*/ 5819 w 37912"/>
                  <a:gd name="connsiteY188" fmla="*/ 25922 h 74325"/>
                  <a:gd name="connsiteX189" fmla="*/ 6965 w 37912"/>
                  <a:gd name="connsiteY189" fmla="*/ 25040 h 74325"/>
                  <a:gd name="connsiteX190" fmla="*/ 6965 w 37912"/>
                  <a:gd name="connsiteY190" fmla="*/ 24423 h 74325"/>
                  <a:gd name="connsiteX191" fmla="*/ 6084 w 37912"/>
                  <a:gd name="connsiteY191" fmla="*/ 24423 h 74325"/>
                  <a:gd name="connsiteX192" fmla="*/ 5819 w 37912"/>
                  <a:gd name="connsiteY192" fmla="*/ 24158 h 74325"/>
                  <a:gd name="connsiteX193" fmla="*/ 6701 w 37912"/>
                  <a:gd name="connsiteY193" fmla="*/ 23894 h 74325"/>
                  <a:gd name="connsiteX194" fmla="*/ 6965 w 37912"/>
                  <a:gd name="connsiteY194" fmla="*/ 23276 h 74325"/>
                  <a:gd name="connsiteX195" fmla="*/ 5466 w 37912"/>
                  <a:gd name="connsiteY195" fmla="*/ 22130 h 74325"/>
                  <a:gd name="connsiteX196" fmla="*/ 6701 w 37912"/>
                  <a:gd name="connsiteY196" fmla="*/ 20984 h 74325"/>
                  <a:gd name="connsiteX197" fmla="*/ 6965 w 37912"/>
                  <a:gd name="connsiteY197" fmla="*/ 20102 h 74325"/>
                  <a:gd name="connsiteX198" fmla="*/ 6701 w 37912"/>
                  <a:gd name="connsiteY198" fmla="*/ 19485 h 74325"/>
                  <a:gd name="connsiteX199" fmla="*/ 5466 w 37912"/>
                  <a:gd name="connsiteY199" fmla="*/ 18956 h 74325"/>
                  <a:gd name="connsiteX200" fmla="*/ 4056 w 37912"/>
                  <a:gd name="connsiteY200" fmla="*/ 19221 h 7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</a:cxnLst>
                <a:rect l="l" t="t" r="r" b="b"/>
                <a:pathLst>
                  <a:path w="37912" h="74325">
                    <a:moveTo>
                      <a:pt x="2557" y="19485"/>
                    </a:moveTo>
                    <a:lnTo>
                      <a:pt x="2028" y="17810"/>
                    </a:lnTo>
                    <a:lnTo>
                      <a:pt x="2910" y="16576"/>
                    </a:lnTo>
                    <a:lnTo>
                      <a:pt x="2028" y="14548"/>
                    </a:lnTo>
                    <a:lnTo>
                      <a:pt x="2557" y="13402"/>
                    </a:lnTo>
                    <a:lnTo>
                      <a:pt x="0" y="11374"/>
                    </a:lnTo>
                    <a:lnTo>
                      <a:pt x="1411" y="8464"/>
                    </a:lnTo>
                    <a:lnTo>
                      <a:pt x="3174" y="6965"/>
                    </a:lnTo>
                    <a:lnTo>
                      <a:pt x="2910" y="5819"/>
                    </a:lnTo>
                    <a:lnTo>
                      <a:pt x="4056" y="4673"/>
                    </a:lnTo>
                    <a:lnTo>
                      <a:pt x="4056" y="3174"/>
                    </a:lnTo>
                    <a:lnTo>
                      <a:pt x="4937" y="2028"/>
                    </a:lnTo>
                    <a:lnTo>
                      <a:pt x="4937" y="1411"/>
                    </a:lnTo>
                    <a:lnTo>
                      <a:pt x="6084" y="882"/>
                    </a:lnTo>
                    <a:lnTo>
                      <a:pt x="6348" y="0"/>
                    </a:lnTo>
                    <a:lnTo>
                      <a:pt x="7847" y="0"/>
                    </a:lnTo>
                    <a:lnTo>
                      <a:pt x="8112" y="529"/>
                    </a:lnTo>
                    <a:lnTo>
                      <a:pt x="8112" y="1411"/>
                    </a:lnTo>
                    <a:lnTo>
                      <a:pt x="8112" y="3174"/>
                    </a:lnTo>
                    <a:lnTo>
                      <a:pt x="9610" y="4673"/>
                    </a:lnTo>
                    <a:lnTo>
                      <a:pt x="11286" y="3791"/>
                    </a:lnTo>
                    <a:lnTo>
                      <a:pt x="12520" y="3174"/>
                    </a:lnTo>
                    <a:lnTo>
                      <a:pt x="13666" y="3174"/>
                    </a:lnTo>
                    <a:lnTo>
                      <a:pt x="13402" y="2028"/>
                    </a:lnTo>
                    <a:lnTo>
                      <a:pt x="13931" y="1411"/>
                    </a:lnTo>
                    <a:lnTo>
                      <a:pt x="16576" y="3174"/>
                    </a:lnTo>
                    <a:lnTo>
                      <a:pt x="17193" y="4673"/>
                    </a:lnTo>
                    <a:lnTo>
                      <a:pt x="16840" y="5819"/>
                    </a:lnTo>
                    <a:lnTo>
                      <a:pt x="18075" y="7230"/>
                    </a:lnTo>
                    <a:lnTo>
                      <a:pt x="19221" y="8111"/>
                    </a:lnTo>
                    <a:lnTo>
                      <a:pt x="21866" y="8464"/>
                    </a:lnTo>
                    <a:lnTo>
                      <a:pt x="22395" y="8993"/>
                    </a:lnTo>
                    <a:lnTo>
                      <a:pt x="23629" y="9610"/>
                    </a:lnTo>
                    <a:lnTo>
                      <a:pt x="24511" y="10757"/>
                    </a:lnTo>
                    <a:lnTo>
                      <a:pt x="25304" y="12784"/>
                    </a:lnTo>
                    <a:lnTo>
                      <a:pt x="25304" y="14548"/>
                    </a:lnTo>
                    <a:lnTo>
                      <a:pt x="26539" y="15165"/>
                    </a:lnTo>
                    <a:lnTo>
                      <a:pt x="26186" y="16047"/>
                    </a:lnTo>
                    <a:lnTo>
                      <a:pt x="26803" y="16928"/>
                    </a:lnTo>
                    <a:lnTo>
                      <a:pt x="26803" y="17457"/>
                    </a:lnTo>
                    <a:lnTo>
                      <a:pt x="26803" y="18339"/>
                    </a:lnTo>
                    <a:lnTo>
                      <a:pt x="25922" y="19221"/>
                    </a:lnTo>
                    <a:lnTo>
                      <a:pt x="25922" y="20984"/>
                    </a:lnTo>
                    <a:lnTo>
                      <a:pt x="25922" y="22130"/>
                    </a:lnTo>
                    <a:lnTo>
                      <a:pt x="26186" y="23276"/>
                    </a:lnTo>
                    <a:lnTo>
                      <a:pt x="26186" y="24158"/>
                    </a:lnTo>
                    <a:lnTo>
                      <a:pt x="26539" y="25922"/>
                    </a:lnTo>
                    <a:lnTo>
                      <a:pt x="25040" y="27949"/>
                    </a:lnTo>
                    <a:lnTo>
                      <a:pt x="26803" y="29713"/>
                    </a:lnTo>
                    <a:lnTo>
                      <a:pt x="26803" y="30330"/>
                    </a:lnTo>
                    <a:lnTo>
                      <a:pt x="26803" y="30859"/>
                    </a:lnTo>
                    <a:lnTo>
                      <a:pt x="26803" y="31741"/>
                    </a:lnTo>
                    <a:lnTo>
                      <a:pt x="27068" y="32093"/>
                    </a:lnTo>
                    <a:lnTo>
                      <a:pt x="27068" y="32975"/>
                    </a:lnTo>
                    <a:lnTo>
                      <a:pt x="27068" y="35003"/>
                    </a:lnTo>
                    <a:lnTo>
                      <a:pt x="28567" y="37295"/>
                    </a:lnTo>
                    <a:lnTo>
                      <a:pt x="28567" y="37912"/>
                    </a:lnTo>
                    <a:lnTo>
                      <a:pt x="29096" y="38441"/>
                    </a:lnTo>
                    <a:lnTo>
                      <a:pt x="29977" y="39059"/>
                    </a:lnTo>
                    <a:lnTo>
                      <a:pt x="31741" y="42585"/>
                    </a:lnTo>
                    <a:lnTo>
                      <a:pt x="33240" y="42850"/>
                    </a:lnTo>
                    <a:lnTo>
                      <a:pt x="33240" y="41968"/>
                    </a:lnTo>
                    <a:lnTo>
                      <a:pt x="34121" y="42585"/>
                    </a:lnTo>
                    <a:lnTo>
                      <a:pt x="35267" y="41968"/>
                    </a:lnTo>
                    <a:lnTo>
                      <a:pt x="35796" y="42850"/>
                    </a:lnTo>
                    <a:lnTo>
                      <a:pt x="36149" y="44261"/>
                    </a:lnTo>
                    <a:lnTo>
                      <a:pt x="36149" y="45495"/>
                    </a:lnTo>
                    <a:lnTo>
                      <a:pt x="36149" y="46024"/>
                    </a:lnTo>
                    <a:lnTo>
                      <a:pt x="37560" y="49286"/>
                    </a:lnTo>
                    <a:lnTo>
                      <a:pt x="37913" y="51578"/>
                    </a:lnTo>
                    <a:lnTo>
                      <a:pt x="36678" y="53077"/>
                    </a:lnTo>
                    <a:lnTo>
                      <a:pt x="36678" y="53959"/>
                    </a:lnTo>
                    <a:lnTo>
                      <a:pt x="35796" y="54224"/>
                    </a:lnTo>
                    <a:lnTo>
                      <a:pt x="34915" y="53606"/>
                    </a:lnTo>
                    <a:lnTo>
                      <a:pt x="34121" y="54224"/>
                    </a:lnTo>
                    <a:lnTo>
                      <a:pt x="32887" y="54841"/>
                    </a:lnTo>
                    <a:lnTo>
                      <a:pt x="32622" y="55987"/>
                    </a:lnTo>
                    <a:lnTo>
                      <a:pt x="33240" y="57133"/>
                    </a:lnTo>
                    <a:lnTo>
                      <a:pt x="32093" y="58279"/>
                    </a:lnTo>
                    <a:lnTo>
                      <a:pt x="31741" y="59778"/>
                    </a:lnTo>
                    <a:lnTo>
                      <a:pt x="32093" y="60307"/>
                    </a:lnTo>
                    <a:lnTo>
                      <a:pt x="31741" y="60924"/>
                    </a:lnTo>
                    <a:lnTo>
                      <a:pt x="32093" y="62423"/>
                    </a:lnTo>
                    <a:lnTo>
                      <a:pt x="31476" y="62952"/>
                    </a:lnTo>
                    <a:lnTo>
                      <a:pt x="29713" y="63569"/>
                    </a:lnTo>
                    <a:lnTo>
                      <a:pt x="29096" y="62952"/>
                    </a:lnTo>
                    <a:lnTo>
                      <a:pt x="28302" y="63569"/>
                    </a:lnTo>
                    <a:lnTo>
                      <a:pt x="27068" y="63569"/>
                    </a:lnTo>
                    <a:lnTo>
                      <a:pt x="26803" y="64451"/>
                    </a:lnTo>
                    <a:lnTo>
                      <a:pt x="25657" y="64716"/>
                    </a:lnTo>
                    <a:lnTo>
                      <a:pt x="25304" y="66743"/>
                    </a:lnTo>
                    <a:lnTo>
                      <a:pt x="26186" y="67625"/>
                    </a:lnTo>
                    <a:lnTo>
                      <a:pt x="27068" y="68242"/>
                    </a:lnTo>
                    <a:lnTo>
                      <a:pt x="27685" y="70535"/>
                    </a:lnTo>
                    <a:lnTo>
                      <a:pt x="27685" y="71152"/>
                    </a:lnTo>
                    <a:lnTo>
                      <a:pt x="27068" y="70535"/>
                    </a:lnTo>
                    <a:lnTo>
                      <a:pt x="26539" y="71152"/>
                    </a:lnTo>
                    <a:lnTo>
                      <a:pt x="26186" y="71769"/>
                    </a:lnTo>
                    <a:lnTo>
                      <a:pt x="24775" y="72563"/>
                    </a:lnTo>
                    <a:lnTo>
                      <a:pt x="24511" y="73444"/>
                    </a:lnTo>
                    <a:lnTo>
                      <a:pt x="22748" y="74326"/>
                    </a:lnTo>
                    <a:lnTo>
                      <a:pt x="21249" y="74326"/>
                    </a:lnTo>
                    <a:lnTo>
                      <a:pt x="19485" y="73444"/>
                    </a:lnTo>
                    <a:lnTo>
                      <a:pt x="19221" y="72563"/>
                    </a:lnTo>
                    <a:lnTo>
                      <a:pt x="19485" y="71769"/>
                    </a:lnTo>
                    <a:lnTo>
                      <a:pt x="18604" y="69653"/>
                    </a:lnTo>
                    <a:lnTo>
                      <a:pt x="18339" y="68507"/>
                    </a:lnTo>
                    <a:lnTo>
                      <a:pt x="16840" y="67890"/>
                    </a:lnTo>
                    <a:lnTo>
                      <a:pt x="17722" y="66743"/>
                    </a:lnTo>
                    <a:lnTo>
                      <a:pt x="17457" y="65333"/>
                    </a:lnTo>
                    <a:lnTo>
                      <a:pt x="16576" y="64451"/>
                    </a:lnTo>
                    <a:lnTo>
                      <a:pt x="16047" y="63569"/>
                    </a:lnTo>
                    <a:lnTo>
                      <a:pt x="15077" y="62952"/>
                    </a:lnTo>
                    <a:lnTo>
                      <a:pt x="14548" y="63569"/>
                    </a:lnTo>
                    <a:lnTo>
                      <a:pt x="13402" y="63305"/>
                    </a:lnTo>
                    <a:lnTo>
                      <a:pt x="12785" y="62070"/>
                    </a:lnTo>
                    <a:lnTo>
                      <a:pt x="11903" y="61541"/>
                    </a:lnTo>
                    <a:lnTo>
                      <a:pt x="11286" y="61806"/>
                    </a:lnTo>
                    <a:lnTo>
                      <a:pt x="9875" y="61189"/>
                    </a:lnTo>
                    <a:lnTo>
                      <a:pt x="7583" y="59778"/>
                    </a:lnTo>
                    <a:lnTo>
                      <a:pt x="6701" y="58279"/>
                    </a:lnTo>
                    <a:lnTo>
                      <a:pt x="5466" y="57398"/>
                    </a:lnTo>
                    <a:lnTo>
                      <a:pt x="5202" y="56869"/>
                    </a:lnTo>
                    <a:lnTo>
                      <a:pt x="5466" y="56251"/>
                    </a:lnTo>
                    <a:lnTo>
                      <a:pt x="4056" y="55722"/>
                    </a:lnTo>
                    <a:lnTo>
                      <a:pt x="3791" y="55105"/>
                    </a:lnTo>
                    <a:lnTo>
                      <a:pt x="3791" y="54224"/>
                    </a:lnTo>
                    <a:lnTo>
                      <a:pt x="4056" y="53959"/>
                    </a:lnTo>
                    <a:lnTo>
                      <a:pt x="5466" y="55105"/>
                    </a:lnTo>
                    <a:lnTo>
                      <a:pt x="6084" y="55987"/>
                    </a:lnTo>
                    <a:lnTo>
                      <a:pt x="6348" y="56869"/>
                    </a:lnTo>
                    <a:lnTo>
                      <a:pt x="6965" y="56869"/>
                    </a:lnTo>
                    <a:lnTo>
                      <a:pt x="7230" y="56869"/>
                    </a:lnTo>
                    <a:lnTo>
                      <a:pt x="8464" y="55370"/>
                    </a:lnTo>
                    <a:lnTo>
                      <a:pt x="7230" y="54224"/>
                    </a:lnTo>
                    <a:lnTo>
                      <a:pt x="6084" y="53077"/>
                    </a:lnTo>
                    <a:lnTo>
                      <a:pt x="6965" y="52813"/>
                    </a:lnTo>
                    <a:lnTo>
                      <a:pt x="6701" y="51843"/>
                    </a:lnTo>
                    <a:lnTo>
                      <a:pt x="5202" y="50697"/>
                    </a:lnTo>
                    <a:lnTo>
                      <a:pt x="5819" y="51578"/>
                    </a:lnTo>
                    <a:lnTo>
                      <a:pt x="4320" y="51049"/>
                    </a:lnTo>
                    <a:lnTo>
                      <a:pt x="3174" y="49815"/>
                    </a:lnTo>
                    <a:lnTo>
                      <a:pt x="4937" y="48669"/>
                    </a:lnTo>
                    <a:lnTo>
                      <a:pt x="4673" y="47258"/>
                    </a:lnTo>
                    <a:lnTo>
                      <a:pt x="4673" y="45495"/>
                    </a:lnTo>
                    <a:lnTo>
                      <a:pt x="5202" y="44878"/>
                    </a:lnTo>
                    <a:lnTo>
                      <a:pt x="5202" y="44261"/>
                    </a:lnTo>
                    <a:lnTo>
                      <a:pt x="4937" y="43731"/>
                    </a:lnTo>
                    <a:lnTo>
                      <a:pt x="4937" y="42850"/>
                    </a:lnTo>
                    <a:lnTo>
                      <a:pt x="5202" y="42585"/>
                    </a:lnTo>
                    <a:lnTo>
                      <a:pt x="5819" y="42850"/>
                    </a:lnTo>
                    <a:lnTo>
                      <a:pt x="6084" y="43467"/>
                    </a:lnTo>
                    <a:lnTo>
                      <a:pt x="6084" y="42850"/>
                    </a:lnTo>
                    <a:lnTo>
                      <a:pt x="6348" y="43467"/>
                    </a:lnTo>
                    <a:lnTo>
                      <a:pt x="6965" y="42850"/>
                    </a:lnTo>
                    <a:lnTo>
                      <a:pt x="7230" y="40822"/>
                    </a:lnTo>
                    <a:lnTo>
                      <a:pt x="7230" y="40469"/>
                    </a:lnTo>
                    <a:lnTo>
                      <a:pt x="6348" y="41968"/>
                    </a:lnTo>
                    <a:lnTo>
                      <a:pt x="6084" y="41086"/>
                    </a:lnTo>
                    <a:lnTo>
                      <a:pt x="6084" y="40469"/>
                    </a:lnTo>
                    <a:lnTo>
                      <a:pt x="5819" y="39940"/>
                    </a:lnTo>
                    <a:lnTo>
                      <a:pt x="6084" y="39323"/>
                    </a:lnTo>
                    <a:lnTo>
                      <a:pt x="5819" y="38794"/>
                    </a:lnTo>
                    <a:lnTo>
                      <a:pt x="5819" y="37295"/>
                    </a:lnTo>
                    <a:lnTo>
                      <a:pt x="6084" y="35884"/>
                    </a:lnTo>
                    <a:lnTo>
                      <a:pt x="6701" y="34121"/>
                    </a:lnTo>
                    <a:lnTo>
                      <a:pt x="6701" y="33504"/>
                    </a:lnTo>
                    <a:lnTo>
                      <a:pt x="6084" y="33240"/>
                    </a:lnTo>
                    <a:lnTo>
                      <a:pt x="5466" y="33504"/>
                    </a:lnTo>
                    <a:lnTo>
                      <a:pt x="4673" y="33504"/>
                    </a:lnTo>
                    <a:lnTo>
                      <a:pt x="4056" y="32975"/>
                    </a:lnTo>
                    <a:lnTo>
                      <a:pt x="3791" y="32093"/>
                    </a:lnTo>
                    <a:lnTo>
                      <a:pt x="4056" y="31741"/>
                    </a:lnTo>
                    <a:lnTo>
                      <a:pt x="4056" y="30859"/>
                    </a:lnTo>
                    <a:lnTo>
                      <a:pt x="4673" y="31212"/>
                    </a:lnTo>
                    <a:lnTo>
                      <a:pt x="5202" y="30859"/>
                    </a:lnTo>
                    <a:lnTo>
                      <a:pt x="5202" y="30330"/>
                    </a:lnTo>
                    <a:lnTo>
                      <a:pt x="4937" y="29977"/>
                    </a:lnTo>
                    <a:lnTo>
                      <a:pt x="4937" y="29713"/>
                    </a:lnTo>
                    <a:lnTo>
                      <a:pt x="5819" y="29713"/>
                    </a:lnTo>
                    <a:lnTo>
                      <a:pt x="6084" y="29184"/>
                    </a:lnTo>
                    <a:lnTo>
                      <a:pt x="6701" y="28567"/>
                    </a:lnTo>
                    <a:lnTo>
                      <a:pt x="6084" y="27949"/>
                    </a:lnTo>
                    <a:lnTo>
                      <a:pt x="4937" y="27949"/>
                    </a:lnTo>
                    <a:lnTo>
                      <a:pt x="4320" y="26803"/>
                    </a:lnTo>
                    <a:lnTo>
                      <a:pt x="4673" y="25922"/>
                    </a:lnTo>
                    <a:lnTo>
                      <a:pt x="6084" y="27068"/>
                    </a:lnTo>
                    <a:lnTo>
                      <a:pt x="6701" y="26186"/>
                    </a:lnTo>
                    <a:lnTo>
                      <a:pt x="5819" y="25922"/>
                    </a:lnTo>
                    <a:lnTo>
                      <a:pt x="6965" y="25040"/>
                    </a:lnTo>
                    <a:lnTo>
                      <a:pt x="6965" y="24423"/>
                    </a:lnTo>
                    <a:lnTo>
                      <a:pt x="6084" y="24423"/>
                    </a:lnTo>
                    <a:lnTo>
                      <a:pt x="5819" y="24158"/>
                    </a:lnTo>
                    <a:lnTo>
                      <a:pt x="6701" y="23894"/>
                    </a:lnTo>
                    <a:lnTo>
                      <a:pt x="6965" y="23276"/>
                    </a:lnTo>
                    <a:lnTo>
                      <a:pt x="5466" y="22130"/>
                    </a:lnTo>
                    <a:lnTo>
                      <a:pt x="6701" y="20984"/>
                    </a:lnTo>
                    <a:lnTo>
                      <a:pt x="6965" y="20102"/>
                    </a:lnTo>
                    <a:lnTo>
                      <a:pt x="6701" y="19485"/>
                    </a:lnTo>
                    <a:lnTo>
                      <a:pt x="5466" y="18956"/>
                    </a:lnTo>
                    <a:lnTo>
                      <a:pt x="4056" y="1922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9" name="Freihandform: Form 1588">
                <a:extLst>
                  <a:ext uri="{FF2B5EF4-FFF2-40B4-BE49-F238E27FC236}">
                    <a16:creationId xmlns:a16="http://schemas.microsoft.com/office/drawing/2014/main" id="{5375EF2A-6E43-41BE-BE2C-01E347CB9963}"/>
                  </a:ext>
                </a:extLst>
              </p:cNvPr>
              <p:cNvSpPr/>
              <p:nvPr/>
            </p:nvSpPr>
            <p:spPr>
              <a:xfrm>
                <a:off x="4392184" y="2915683"/>
                <a:ext cx="106772" cy="47787"/>
              </a:xfrm>
              <a:custGeom>
                <a:avLst/>
                <a:gdLst>
                  <a:gd name="connsiteX0" fmla="*/ 35532 w 106772"/>
                  <a:gd name="connsiteY0" fmla="*/ 0 h 47787"/>
                  <a:gd name="connsiteX1" fmla="*/ 38177 w 106772"/>
                  <a:gd name="connsiteY1" fmla="*/ 3527 h 47787"/>
                  <a:gd name="connsiteX2" fmla="*/ 38177 w 106772"/>
                  <a:gd name="connsiteY2" fmla="*/ 4056 h 47787"/>
                  <a:gd name="connsiteX3" fmla="*/ 40822 w 106772"/>
                  <a:gd name="connsiteY3" fmla="*/ 4408 h 47787"/>
                  <a:gd name="connsiteX4" fmla="*/ 39940 w 106772"/>
                  <a:gd name="connsiteY4" fmla="*/ 6084 h 47787"/>
                  <a:gd name="connsiteX5" fmla="*/ 41439 w 106772"/>
                  <a:gd name="connsiteY5" fmla="*/ 6701 h 47787"/>
                  <a:gd name="connsiteX6" fmla="*/ 42585 w 106772"/>
                  <a:gd name="connsiteY6" fmla="*/ 6965 h 47787"/>
                  <a:gd name="connsiteX7" fmla="*/ 43467 w 106772"/>
                  <a:gd name="connsiteY7" fmla="*/ 6701 h 47787"/>
                  <a:gd name="connsiteX8" fmla="*/ 43467 w 106772"/>
                  <a:gd name="connsiteY8" fmla="*/ 6436 h 47787"/>
                  <a:gd name="connsiteX9" fmla="*/ 45230 w 106772"/>
                  <a:gd name="connsiteY9" fmla="*/ 5819 h 47787"/>
                  <a:gd name="connsiteX10" fmla="*/ 45230 w 106772"/>
                  <a:gd name="connsiteY10" fmla="*/ 4408 h 47787"/>
                  <a:gd name="connsiteX11" fmla="*/ 46024 w 106772"/>
                  <a:gd name="connsiteY11" fmla="*/ 4056 h 47787"/>
                  <a:gd name="connsiteX12" fmla="*/ 48140 w 106772"/>
                  <a:gd name="connsiteY12" fmla="*/ 4056 h 47787"/>
                  <a:gd name="connsiteX13" fmla="*/ 48404 w 106772"/>
                  <a:gd name="connsiteY13" fmla="*/ 3527 h 47787"/>
                  <a:gd name="connsiteX14" fmla="*/ 49551 w 106772"/>
                  <a:gd name="connsiteY14" fmla="*/ 2910 h 47787"/>
                  <a:gd name="connsiteX15" fmla="*/ 50697 w 106772"/>
                  <a:gd name="connsiteY15" fmla="*/ 3527 h 47787"/>
                  <a:gd name="connsiteX16" fmla="*/ 51931 w 106772"/>
                  <a:gd name="connsiteY16" fmla="*/ 4937 h 47787"/>
                  <a:gd name="connsiteX17" fmla="*/ 53077 w 106772"/>
                  <a:gd name="connsiteY17" fmla="*/ 5555 h 47787"/>
                  <a:gd name="connsiteX18" fmla="*/ 52196 w 106772"/>
                  <a:gd name="connsiteY18" fmla="*/ 6701 h 47787"/>
                  <a:gd name="connsiteX19" fmla="*/ 54488 w 106772"/>
                  <a:gd name="connsiteY19" fmla="*/ 7582 h 47787"/>
                  <a:gd name="connsiteX20" fmla="*/ 55105 w 106772"/>
                  <a:gd name="connsiteY20" fmla="*/ 6701 h 47787"/>
                  <a:gd name="connsiteX21" fmla="*/ 56251 w 106772"/>
                  <a:gd name="connsiteY21" fmla="*/ 8200 h 47787"/>
                  <a:gd name="connsiteX22" fmla="*/ 56516 w 106772"/>
                  <a:gd name="connsiteY22" fmla="*/ 9346 h 47787"/>
                  <a:gd name="connsiteX23" fmla="*/ 56516 w 106772"/>
                  <a:gd name="connsiteY23" fmla="*/ 9875 h 47787"/>
                  <a:gd name="connsiteX24" fmla="*/ 55370 w 106772"/>
                  <a:gd name="connsiteY24" fmla="*/ 11374 h 47787"/>
                  <a:gd name="connsiteX25" fmla="*/ 55987 w 106772"/>
                  <a:gd name="connsiteY25" fmla="*/ 11638 h 47787"/>
                  <a:gd name="connsiteX26" fmla="*/ 57750 w 106772"/>
                  <a:gd name="connsiteY26" fmla="*/ 11991 h 47787"/>
                  <a:gd name="connsiteX27" fmla="*/ 58279 w 106772"/>
                  <a:gd name="connsiteY27" fmla="*/ 11374 h 47787"/>
                  <a:gd name="connsiteX28" fmla="*/ 59514 w 106772"/>
                  <a:gd name="connsiteY28" fmla="*/ 11991 h 47787"/>
                  <a:gd name="connsiteX29" fmla="*/ 60660 w 106772"/>
                  <a:gd name="connsiteY29" fmla="*/ 11374 h 47787"/>
                  <a:gd name="connsiteX30" fmla="*/ 62688 w 106772"/>
                  <a:gd name="connsiteY30" fmla="*/ 12520 h 47787"/>
                  <a:gd name="connsiteX31" fmla="*/ 62071 w 106772"/>
                  <a:gd name="connsiteY31" fmla="*/ 9346 h 47787"/>
                  <a:gd name="connsiteX32" fmla="*/ 62952 w 106772"/>
                  <a:gd name="connsiteY32" fmla="*/ 9346 h 47787"/>
                  <a:gd name="connsiteX33" fmla="*/ 63305 w 106772"/>
                  <a:gd name="connsiteY33" fmla="*/ 8729 h 47787"/>
                  <a:gd name="connsiteX34" fmla="*/ 65862 w 106772"/>
                  <a:gd name="connsiteY34" fmla="*/ 7847 h 47787"/>
                  <a:gd name="connsiteX35" fmla="*/ 66479 w 106772"/>
                  <a:gd name="connsiteY35" fmla="*/ 6701 h 47787"/>
                  <a:gd name="connsiteX36" fmla="*/ 67978 w 106772"/>
                  <a:gd name="connsiteY36" fmla="*/ 6701 h 47787"/>
                  <a:gd name="connsiteX37" fmla="*/ 68507 w 106772"/>
                  <a:gd name="connsiteY37" fmla="*/ 7318 h 47787"/>
                  <a:gd name="connsiteX38" fmla="*/ 69124 w 106772"/>
                  <a:gd name="connsiteY38" fmla="*/ 7582 h 47787"/>
                  <a:gd name="connsiteX39" fmla="*/ 69653 w 106772"/>
                  <a:gd name="connsiteY39" fmla="*/ 6965 h 47787"/>
                  <a:gd name="connsiteX40" fmla="*/ 70535 w 106772"/>
                  <a:gd name="connsiteY40" fmla="*/ 7582 h 47787"/>
                  <a:gd name="connsiteX41" fmla="*/ 71769 w 106772"/>
                  <a:gd name="connsiteY41" fmla="*/ 6701 h 47787"/>
                  <a:gd name="connsiteX42" fmla="*/ 72563 w 106772"/>
                  <a:gd name="connsiteY42" fmla="*/ 6701 h 47787"/>
                  <a:gd name="connsiteX43" fmla="*/ 75560 w 106772"/>
                  <a:gd name="connsiteY43" fmla="*/ 8729 h 47787"/>
                  <a:gd name="connsiteX44" fmla="*/ 76707 w 106772"/>
                  <a:gd name="connsiteY44" fmla="*/ 8729 h 47787"/>
                  <a:gd name="connsiteX45" fmla="*/ 77236 w 106772"/>
                  <a:gd name="connsiteY45" fmla="*/ 9346 h 47787"/>
                  <a:gd name="connsiteX46" fmla="*/ 78470 w 106772"/>
                  <a:gd name="connsiteY46" fmla="*/ 8729 h 47787"/>
                  <a:gd name="connsiteX47" fmla="*/ 79352 w 106772"/>
                  <a:gd name="connsiteY47" fmla="*/ 7582 h 47787"/>
                  <a:gd name="connsiteX48" fmla="*/ 80762 w 106772"/>
                  <a:gd name="connsiteY48" fmla="*/ 6965 h 47787"/>
                  <a:gd name="connsiteX49" fmla="*/ 79352 w 106772"/>
                  <a:gd name="connsiteY49" fmla="*/ 6701 h 47787"/>
                  <a:gd name="connsiteX50" fmla="*/ 81027 w 106772"/>
                  <a:gd name="connsiteY50" fmla="*/ 6436 h 47787"/>
                  <a:gd name="connsiteX51" fmla="*/ 83407 w 106772"/>
                  <a:gd name="connsiteY51" fmla="*/ 6701 h 47787"/>
                  <a:gd name="connsiteX52" fmla="*/ 85435 w 106772"/>
                  <a:gd name="connsiteY52" fmla="*/ 5555 h 47787"/>
                  <a:gd name="connsiteX53" fmla="*/ 87199 w 106772"/>
                  <a:gd name="connsiteY53" fmla="*/ 6701 h 47787"/>
                  <a:gd name="connsiteX54" fmla="*/ 90725 w 106772"/>
                  <a:gd name="connsiteY54" fmla="*/ 6436 h 47787"/>
                  <a:gd name="connsiteX55" fmla="*/ 93018 w 106772"/>
                  <a:gd name="connsiteY55" fmla="*/ 6701 h 47787"/>
                  <a:gd name="connsiteX56" fmla="*/ 93547 w 106772"/>
                  <a:gd name="connsiteY56" fmla="*/ 7582 h 47787"/>
                  <a:gd name="connsiteX57" fmla="*/ 93899 w 106772"/>
                  <a:gd name="connsiteY57" fmla="*/ 7847 h 47787"/>
                  <a:gd name="connsiteX58" fmla="*/ 94781 w 106772"/>
                  <a:gd name="connsiteY58" fmla="*/ 7582 h 47787"/>
                  <a:gd name="connsiteX59" fmla="*/ 97690 w 106772"/>
                  <a:gd name="connsiteY59" fmla="*/ 8729 h 47787"/>
                  <a:gd name="connsiteX60" fmla="*/ 98837 w 106772"/>
                  <a:gd name="connsiteY60" fmla="*/ 9875 h 47787"/>
                  <a:gd name="connsiteX61" fmla="*/ 99101 w 106772"/>
                  <a:gd name="connsiteY61" fmla="*/ 11374 h 47787"/>
                  <a:gd name="connsiteX62" fmla="*/ 104391 w 106772"/>
                  <a:gd name="connsiteY62" fmla="*/ 11991 h 47787"/>
                  <a:gd name="connsiteX63" fmla="*/ 104391 w 106772"/>
                  <a:gd name="connsiteY63" fmla="*/ 13137 h 47787"/>
                  <a:gd name="connsiteX64" fmla="*/ 105538 w 106772"/>
                  <a:gd name="connsiteY64" fmla="*/ 13402 h 47787"/>
                  <a:gd name="connsiteX65" fmla="*/ 106772 w 106772"/>
                  <a:gd name="connsiteY65" fmla="*/ 14283 h 47787"/>
                  <a:gd name="connsiteX66" fmla="*/ 103510 w 106772"/>
                  <a:gd name="connsiteY66" fmla="*/ 24246 h 47787"/>
                  <a:gd name="connsiteX67" fmla="*/ 101217 w 106772"/>
                  <a:gd name="connsiteY67" fmla="*/ 29184 h 47787"/>
                  <a:gd name="connsiteX68" fmla="*/ 101482 w 106772"/>
                  <a:gd name="connsiteY68" fmla="*/ 31741 h 47787"/>
                  <a:gd name="connsiteX69" fmla="*/ 97690 w 106772"/>
                  <a:gd name="connsiteY69" fmla="*/ 32093 h 47787"/>
                  <a:gd name="connsiteX70" fmla="*/ 97690 w 106772"/>
                  <a:gd name="connsiteY70" fmla="*/ 32975 h 47787"/>
                  <a:gd name="connsiteX71" fmla="*/ 96544 w 106772"/>
                  <a:gd name="connsiteY71" fmla="*/ 32975 h 47787"/>
                  <a:gd name="connsiteX72" fmla="*/ 95927 w 106772"/>
                  <a:gd name="connsiteY72" fmla="*/ 32093 h 47787"/>
                  <a:gd name="connsiteX73" fmla="*/ 93282 w 106772"/>
                  <a:gd name="connsiteY73" fmla="*/ 29713 h 47787"/>
                  <a:gd name="connsiteX74" fmla="*/ 93018 w 106772"/>
                  <a:gd name="connsiteY74" fmla="*/ 28831 h 47787"/>
                  <a:gd name="connsiteX75" fmla="*/ 91254 w 106772"/>
                  <a:gd name="connsiteY75" fmla="*/ 28567 h 47787"/>
                  <a:gd name="connsiteX76" fmla="*/ 91254 w 106772"/>
                  <a:gd name="connsiteY76" fmla="*/ 27420 h 47787"/>
                  <a:gd name="connsiteX77" fmla="*/ 90725 w 106772"/>
                  <a:gd name="connsiteY77" fmla="*/ 27156 h 47787"/>
                  <a:gd name="connsiteX78" fmla="*/ 87816 w 106772"/>
                  <a:gd name="connsiteY78" fmla="*/ 27156 h 47787"/>
                  <a:gd name="connsiteX79" fmla="*/ 87816 w 106772"/>
                  <a:gd name="connsiteY79" fmla="*/ 28038 h 47787"/>
                  <a:gd name="connsiteX80" fmla="*/ 86052 w 106772"/>
                  <a:gd name="connsiteY80" fmla="*/ 28038 h 47787"/>
                  <a:gd name="connsiteX81" fmla="*/ 84553 w 106772"/>
                  <a:gd name="connsiteY81" fmla="*/ 28038 h 47787"/>
                  <a:gd name="connsiteX82" fmla="*/ 83407 w 106772"/>
                  <a:gd name="connsiteY82" fmla="*/ 29184 h 47787"/>
                  <a:gd name="connsiteX83" fmla="*/ 81644 w 106772"/>
                  <a:gd name="connsiteY83" fmla="*/ 28038 h 47787"/>
                  <a:gd name="connsiteX84" fmla="*/ 80498 w 106772"/>
                  <a:gd name="connsiteY84" fmla="*/ 28038 h 47787"/>
                  <a:gd name="connsiteX85" fmla="*/ 79352 w 106772"/>
                  <a:gd name="connsiteY85" fmla="*/ 27156 h 47787"/>
                  <a:gd name="connsiteX86" fmla="*/ 77588 w 106772"/>
                  <a:gd name="connsiteY86" fmla="*/ 26803 h 47787"/>
                  <a:gd name="connsiteX87" fmla="*/ 72915 w 106772"/>
                  <a:gd name="connsiteY87" fmla="*/ 28038 h 47787"/>
                  <a:gd name="connsiteX88" fmla="*/ 72915 w 106772"/>
                  <a:gd name="connsiteY88" fmla="*/ 29184 h 47787"/>
                  <a:gd name="connsiteX89" fmla="*/ 71769 w 106772"/>
                  <a:gd name="connsiteY89" fmla="*/ 30330 h 47787"/>
                  <a:gd name="connsiteX90" fmla="*/ 70887 w 106772"/>
                  <a:gd name="connsiteY90" fmla="*/ 32975 h 47787"/>
                  <a:gd name="connsiteX91" fmla="*/ 69388 w 106772"/>
                  <a:gd name="connsiteY91" fmla="*/ 34121 h 47787"/>
                  <a:gd name="connsiteX92" fmla="*/ 69388 w 106772"/>
                  <a:gd name="connsiteY92" fmla="*/ 35267 h 47787"/>
                  <a:gd name="connsiteX93" fmla="*/ 67625 w 106772"/>
                  <a:gd name="connsiteY93" fmla="*/ 34121 h 47787"/>
                  <a:gd name="connsiteX94" fmla="*/ 64716 w 106772"/>
                  <a:gd name="connsiteY94" fmla="*/ 34121 h 47787"/>
                  <a:gd name="connsiteX95" fmla="*/ 64716 w 106772"/>
                  <a:gd name="connsiteY95" fmla="*/ 36149 h 47787"/>
                  <a:gd name="connsiteX96" fmla="*/ 61189 w 106772"/>
                  <a:gd name="connsiteY96" fmla="*/ 37295 h 47787"/>
                  <a:gd name="connsiteX97" fmla="*/ 58015 w 106772"/>
                  <a:gd name="connsiteY97" fmla="*/ 37295 h 47787"/>
                  <a:gd name="connsiteX98" fmla="*/ 58015 w 106772"/>
                  <a:gd name="connsiteY98" fmla="*/ 36766 h 47787"/>
                  <a:gd name="connsiteX99" fmla="*/ 56251 w 106772"/>
                  <a:gd name="connsiteY99" fmla="*/ 36766 h 47787"/>
                  <a:gd name="connsiteX100" fmla="*/ 56251 w 106772"/>
                  <a:gd name="connsiteY100" fmla="*/ 35267 h 47787"/>
                  <a:gd name="connsiteX101" fmla="*/ 55105 w 106772"/>
                  <a:gd name="connsiteY101" fmla="*/ 35267 h 47787"/>
                  <a:gd name="connsiteX102" fmla="*/ 53959 w 106772"/>
                  <a:gd name="connsiteY102" fmla="*/ 36766 h 47787"/>
                  <a:gd name="connsiteX103" fmla="*/ 53342 w 106772"/>
                  <a:gd name="connsiteY103" fmla="*/ 39940 h 47787"/>
                  <a:gd name="connsiteX104" fmla="*/ 51579 w 106772"/>
                  <a:gd name="connsiteY104" fmla="*/ 39940 h 47787"/>
                  <a:gd name="connsiteX105" fmla="*/ 48669 w 106772"/>
                  <a:gd name="connsiteY105" fmla="*/ 39940 h 47787"/>
                  <a:gd name="connsiteX106" fmla="*/ 48669 w 106772"/>
                  <a:gd name="connsiteY106" fmla="*/ 40293 h 47787"/>
                  <a:gd name="connsiteX107" fmla="*/ 44878 w 106772"/>
                  <a:gd name="connsiteY107" fmla="*/ 40293 h 47787"/>
                  <a:gd name="connsiteX108" fmla="*/ 44878 w 106772"/>
                  <a:gd name="connsiteY108" fmla="*/ 39940 h 47787"/>
                  <a:gd name="connsiteX109" fmla="*/ 43114 w 106772"/>
                  <a:gd name="connsiteY109" fmla="*/ 40293 h 47787"/>
                  <a:gd name="connsiteX110" fmla="*/ 41439 w 106772"/>
                  <a:gd name="connsiteY110" fmla="*/ 40293 h 47787"/>
                  <a:gd name="connsiteX111" fmla="*/ 40558 w 106772"/>
                  <a:gd name="connsiteY111" fmla="*/ 41704 h 47787"/>
                  <a:gd name="connsiteX112" fmla="*/ 39323 w 106772"/>
                  <a:gd name="connsiteY112" fmla="*/ 42321 h 47787"/>
                  <a:gd name="connsiteX113" fmla="*/ 39676 w 106772"/>
                  <a:gd name="connsiteY113" fmla="*/ 44084 h 47787"/>
                  <a:gd name="connsiteX114" fmla="*/ 41968 w 106772"/>
                  <a:gd name="connsiteY114" fmla="*/ 45230 h 47787"/>
                  <a:gd name="connsiteX115" fmla="*/ 41968 w 106772"/>
                  <a:gd name="connsiteY115" fmla="*/ 46112 h 47787"/>
                  <a:gd name="connsiteX116" fmla="*/ 39676 w 106772"/>
                  <a:gd name="connsiteY116" fmla="*/ 46112 h 47787"/>
                  <a:gd name="connsiteX117" fmla="*/ 37912 w 106772"/>
                  <a:gd name="connsiteY117" fmla="*/ 46377 h 47787"/>
                  <a:gd name="connsiteX118" fmla="*/ 36149 w 106772"/>
                  <a:gd name="connsiteY118" fmla="*/ 46377 h 47787"/>
                  <a:gd name="connsiteX119" fmla="*/ 35885 w 106772"/>
                  <a:gd name="connsiteY119" fmla="*/ 47258 h 47787"/>
                  <a:gd name="connsiteX120" fmla="*/ 34650 w 106772"/>
                  <a:gd name="connsiteY120" fmla="*/ 46377 h 47787"/>
                  <a:gd name="connsiteX121" fmla="*/ 31212 w 106772"/>
                  <a:gd name="connsiteY121" fmla="*/ 47787 h 47787"/>
                  <a:gd name="connsiteX122" fmla="*/ 25393 w 106772"/>
                  <a:gd name="connsiteY122" fmla="*/ 46377 h 47787"/>
                  <a:gd name="connsiteX123" fmla="*/ 21513 w 106772"/>
                  <a:gd name="connsiteY123" fmla="*/ 47258 h 47787"/>
                  <a:gd name="connsiteX124" fmla="*/ 18956 w 106772"/>
                  <a:gd name="connsiteY124" fmla="*/ 46377 h 47787"/>
                  <a:gd name="connsiteX125" fmla="*/ 17722 w 106772"/>
                  <a:gd name="connsiteY125" fmla="*/ 45230 h 47787"/>
                  <a:gd name="connsiteX126" fmla="*/ 16576 w 106772"/>
                  <a:gd name="connsiteY126" fmla="*/ 44084 h 47787"/>
                  <a:gd name="connsiteX127" fmla="*/ 14812 w 106772"/>
                  <a:gd name="connsiteY127" fmla="*/ 44084 h 47787"/>
                  <a:gd name="connsiteX128" fmla="*/ 11021 w 106772"/>
                  <a:gd name="connsiteY128" fmla="*/ 41704 h 47787"/>
                  <a:gd name="connsiteX129" fmla="*/ 10139 w 106772"/>
                  <a:gd name="connsiteY129" fmla="*/ 41704 h 47787"/>
                  <a:gd name="connsiteX130" fmla="*/ 10139 w 106772"/>
                  <a:gd name="connsiteY130" fmla="*/ 41086 h 47787"/>
                  <a:gd name="connsiteX131" fmla="*/ 8464 w 106772"/>
                  <a:gd name="connsiteY131" fmla="*/ 41086 h 47787"/>
                  <a:gd name="connsiteX132" fmla="*/ 7230 w 106772"/>
                  <a:gd name="connsiteY132" fmla="*/ 41086 h 47787"/>
                  <a:gd name="connsiteX133" fmla="*/ 7230 w 106772"/>
                  <a:gd name="connsiteY133" fmla="*/ 39940 h 47787"/>
                  <a:gd name="connsiteX134" fmla="*/ 7230 w 106772"/>
                  <a:gd name="connsiteY134" fmla="*/ 39059 h 47787"/>
                  <a:gd name="connsiteX135" fmla="*/ 5819 w 106772"/>
                  <a:gd name="connsiteY135" fmla="*/ 37295 h 47787"/>
                  <a:gd name="connsiteX136" fmla="*/ 4056 w 106772"/>
                  <a:gd name="connsiteY136" fmla="*/ 37295 h 47787"/>
                  <a:gd name="connsiteX137" fmla="*/ 3791 w 106772"/>
                  <a:gd name="connsiteY137" fmla="*/ 34121 h 47787"/>
                  <a:gd name="connsiteX138" fmla="*/ 2557 w 106772"/>
                  <a:gd name="connsiteY138" fmla="*/ 34121 h 47787"/>
                  <a:gd name="connsiteX139" fmla="*/ 2557 w 106772"/>
                  <a:gd name="connsiteY139" fmla="*/ 32975 h 47787"/>
                  <a:gd name="connsiteX140" fmla="*/ 529 w 106772"/>
                  <a:gd name="connsiteY140" fmla="*/ 32093 h 47787"/>
                  <a:gd name="connsiteX141" fmla="*/ 2292 w 106772"/>
                  <a:gd name="connsiteY141" fmla="*/ 29184 h 47787"/>
                  <a:gd name="connsiteX142" fmla="*/ 3174 w 106772"/>
                  <a:gd name="connsiteY142" fmla="*/ 27156 h 47787"/>
                  <a:gd name="connsiteX143" fmla="*/ 1763 w 106772"/>
                  <a:gd name="connsiteY143" fmla="*/ 23629 h 47787"/>
                  <a:gd name="connsiteX144" fmla="*/ 0 w 106772"/>
                  <a:gd name="connsiteY144" fmla="*/ 23629 h 47787"/>
                  <a:gd name="connsiteX145" fmla="*/ 0 w 106772"/>
                  <a:gd name="connsiteY145" fmla="*/ 22747 h 47787"/>
                  <a:gd name="connsiteX146" fmla="*/ 2557 w 106772"/>
                  <a:gd name="connsiteY146" fmla="*/ 19838 h 47787"/>
                  <a:gd name="connsiteX147" fmla="*/ 5555 w 106772"/>
                  <a:gd name="connsiteY147" fmla="*/ 20720 h 47787"/>
                  <a:gd name="connsiteX148" fmla="*/ 6701 w 106772"/>
                  <a:gd name="connsiteY148" fmla="*/ 20720 h 47787"/>
                  <a:gd name="connsiteX149" fmla="*/ 8112 w 106772"/>
                  <a:gd name="connsiteY149" fmla="*/ 20984 h 47787"/>
                  <a:gd name="connsiteX150" fmla="*/ 14812 w 106772"/>
                  <a:gd name="connsiteY150" fmla="*/ 21866 h 47787"/>
                  <a:gd name="connsiteX151" fmla="*/ 18956 w 106772"/>
                  <a:gd name="connsiteY151" fmla="*/ 18692 h 47787"/>
                  <a:gd name="connsiteX152" fmla="*/ 18604 w 106772"/>
                  <a:gd name="connsiteY152" fmla="*/ 14019 h 47787"/>
                  <a:gd name="connsiteX153" fmla="*/ 22747 w 106772"/>
                  <a:gd name="connsiteY153" fmla="*/ 11991 h 47787"/>
                  <a:gd name="connsiteX154" fmla="*/ 25657 w 106772"/>
                  <a:gd name="connsiteY154" fmla="*/ 10757 h 47787"/>
                  <a:gd name="connsiteX155" fmla="*/ 26186 w 106772"/>
                  <a:gd name="connsiteY155" fmla="*/ 6701 h 47787"/>
                  <a:gd name="connsiteX156" fmla="*/ 31212 w 106772"/>
                  <a:gd name="connsiteY156" fmla="*/ 5555 h 47787"/>
                  <a:gd name="connsiteX157" fmla="*/ 32093 w 106772"/>
                  <a:gd name="connsiteY157" fmla="*/ 4056 h 47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106772" h="47787">
                    <a:moveTo>
                      <a:pt x="35532" y="0"/>
                    </a:moveTo>
                    <a:lnTo>
                      <a:pt x="38177" y="3527"/>
                    </a:lnTo>
                    <a:lnTo>
                      <a:pt x="38177" y="4056"/>
                    </a:lnTo>
                    <a:lnTo>
                      <a:pt x="40822" y="4408"/>
                    </a:lnTo>
                    <a:lnTo>
                      <a:pt x="39940" y="6084"/>
                    </a:lnTo>
                    <a:lnTo>
                      <a:pt x="41439" y="6701"/>
                    </a:lnTo>
                    <a:lnTo>
                      <a:pt x="42585" y="6965"/>
                    </a:lnTo>
                    <a:lnTo>
                      <a:pt x="43467" y="6701"/>
                    </a:lnTo>
                    <a:lnTo>
                      <a:pt x="43467" y="6436"/>
                    </a:lnTo>
                    <a:lnTo>
                      <a:pt x="45230" y="5819"/>
                    </a:lnTo>
                    <a:lnTo>
                      <a:pt x="45230" y="4408"/>
                    </a:lnTo>
                    <a:lnTo>
                      <a:pt x="46024" y="4056"/>
                    </a:lnTo>
                    <a:lnTo>
                      <a:pt x="48140" y="4056"/>
                    </a:lnTo>
                    <a:lnTo>
                      <a:pt x="48404" y="3527"/>
                    </a:lnTo>
                    <a:lnTo>
                      <a:pt x="49551" y="2910"/>
                    </a:lnTo>
                    <a:lnTo>
                      <a:pt x="50697" y="3527"/>
                    </a:lnTo>
                    <a:lnTo>
                      <a:pt x="51931" y="4937"/>
                    </a:lnTo>
                    <a:lnTo>
                      <a:pt x="53077" y="5555"/>
                    </a:lnTo>
                    <a:lnTo>
                      <a:pt x="52196" y="6701"/>
                    </a:lnTo>
                    <a:lnTo>
                      <a:pt x="54488" y="7582"/>
                    </a:lnTo>
                    <a:lnTo>
                      <a:pt x="55105" y="6701"/>
                    </a:lnTo>
                    <a:lnTo>
                      <a:pt x="56251" y="8200"/>
                    </a:lnTo>
                    <a:lnTo>
                      <a:pt x="56516" y="9346"/>
                    </a:lnTo>
                    <a:lnTo>
                      <a:pt x="56516" y="9875"/>
                    </a:lnTo>
                    <a:lnTo>
                      <a:pt x="55370" y="11374"/>
                    </a:lnTo>
                    <a:lnTo>
                      <a:pt x="55987" y="11638"/>
                    </a:lnTo>
                    <a:lnTo>
                      <a:pt x="57750" y="11991"/>
                    </a:lnTo>
                    <a:lnTo>
                      <a:pt x="58279" y="11374"/>
                    </a:lnTo>
                    <a:lnTo>
                      <a:pt x="59514" y="11991"/>
                    </a:lnTo>
                    <a:lnTo>
                      <a:pt x="60660" y="11374"/>
                    </a:lnTo>
                    <a:lnTo>
                      <a:pt x="62688" y="12520"/>
                    </a:lnTo>
                    <a:lnTo>
                      <a:pt x="62071" y="9346"/>
                    </a:lnTo>
                    <a:lnTo>
                      <a:pt x="62952" y="9346"/>
                    </a:lnTo>
                    <a:lnTo>
                      <a:pt x="63305" y="8729"/>
                    </a:lnTo>
                    <a:lnTo>
                      <a:pt x="65862" y="7847"/>
                    </a:lnTo>
                    <a:lnTo>
                      <a:pt x="66479" y="6701"/>
                    </a:lnTo>
                    <a:lnTo>
                      <a:pt x="67978" y="6701"/>
                    </a:lnTo>
                    <a:lnTo>
                      <a:pt x="68507" y="7318"/>
                    </a:lnTo>
                    <a:lnTo>
                      <a:pt x="69124" y="7582"/>
                    </a:lnTo>
                    <a:lnTo>
                      <a:pt x="69653" y="6965"/>
                    </a:lnTo>
                    <a:lnTo>
                      <a:pt x="70535" y="7582"/>
                    </a:lnTo>
                    <a:lnTo>
                      <a:pt x="71769" y="6701"/>
                    </a:lnTo>
                    <a:lnTo>
                      <a:pt x="72563" y="6701"/>
                    </a:lnTo>
                    <a:lnTo>
                      <a:pt x="75560" y="8729"/>
                    </a:lnTo>
                    <a:lnTo>
                      <a:pt x="76707" y="8729"/>
                    </a:lnTo>
                    <a:lnTo>
                      <a:pt x="77236" y="9346"/>
                    </a:lnTo>
                    <a:lnTo>
                      <a:pt x="78470" y="8729"/>
                    </a:lnTo>
                    <a:lnTo>
                      <a:pt x="79352" y="7582"/>
                    </a:lnTo>
                    <a:lnTo>
                      <a:pt x="80762" y="6965"/>
                    </a:lnTo>
                    <a:lnTo>
                      <a:pt x="79352" y="6701"/>
                    </a:lnTo>
                    <a:lnTo>
                      <a:pt x="81027" y="6436"/>
                    </a:lnTo>
                    <a:lnTo>
                      <a:pt x="83407" y="6701"/>
                    </a:lnTo>
                    <a:lnTo>
                      <a:pt x="85435" y="5555"/>
                    </a:lnTo>
                    <a:lnTo>
                      <a:pt x="87199" y="6701"/>
                    </a:lnTo>
                    <a:lnTo>
                      <a:pt x="90725" y="6436"/>
                    </a:lnTo>
                    <a:lnTo>
                      <a:pt x="93018" y="6701"/>
                    </a:lnTo>
                    <a:lnTo>
                      <a:pt x="93547" y="7582"/>
                    </a:lnTo>
                    <a:lnTo>
                      <a:pt x="93899" y="7847"/>
                    </a:lnTo>
                    <a:lnTo>
                      <a:pt x="94781" y="7582"/>
                    </a:lnTo>
                    <a:lnTo>
                      <a:pt x="97690" y="8729"/>
                    </a:lnTo>
                    <a:lnTo>
                      <a:pt x="98837" y="9875"/>
                    </a:lnTo>
                    <a:lnTo>
                      <a:pt x="99101" y="11374"/>
                    </a:lnTo>
                    <a:lnTo>
                      <a:pt x="104391" y="11991"/>
                    </a:lnTo>
                    <a:lnTo>
                      <a:pt x="104391" y="13137"/>
                    </a:lnTo>
                    <a:lnTo>
                      <a:pt x="105538" y="13402"/>
                    </a:lnTo>
                    <a:lnTo>
                      <a:pt x="106772" y="14283"/>
                    </a:lnTo>
                    <a:lnTo>
                      <a:pt x="103510" y="24246"/>
                    </a:lnTo>
                    <a:lnTo>
                      <a:pt x="101217" y="29184"/>
                    </a:lnTo>
                    <a:lnTo>
                      <a:pt x="101482" y="31741"/>
                    </a:lnTo>
                    <a:lnTo>
                      <a:pt x="97690" y="32093"/>
                    </a:lnTo>
                    <a:lnTo>
                      <a:pt x="97690" y="32975"/>
                    </a:lnTo>
                    <a:lnTo>
                      <a:pt x="96544" y="32975"/>
                    </a:lnTo>
                    <a:lnTo>
                      <a:pt x="95927" y="32093"/>
                    </a:lnTo>
                    <a:lnTo>
                      <a:pt x="93282" y="29713"/>
                    </a:lnTo>
                    <a:lnTo>
                      <a:pt x="93018" y="28831"/>
                    </a:lnTo>
                    <a:lnTo>
                      <a:pt x="91254" y="28567"/>
                    </a:lnTo>
                    <a:lnTo>
                      <a:pt x="91254" y="27420"/>
                    </a:lnTo>
                    <a:lnTo>
                      <a:pt x="90725" y="27156"/>
                    </a:lnTo>
                    <a:lnTo>
                      <a:pt x="87816" y="27156"/>
                    </a:lnTo>
                    <a:lnTo>
                      <a:pt x="87816" y="28038"/>
                    </a:lnTo>
                    <a:lnTo>
                      <a:pt x="86052" y="28038"/>
                    </a:lnTo>
                    <a:lnTo>
                      <a:pt x="84553" y="28038"/>
                    </a:lnTo>
                    <a:lnTo>
                      <a:pt x="83407" y="29184"/>
                    </a:lnTo>
                    <a:lnTo>
                      <a:pt x="81644" y="28038"/>
                    </a:lnTo>
                    <a:lnTo>
                      <a:pt x="80498" y="28038"/>
                    </a:lnTo>
                    <a:lnTo>
                      <a:pt x="79352" y="27156"/>
                    </a:lnTo>
                    <a:lnTo>
                      <a:pt x="77588" y="26803"/>
                    </a:lnTo>
                    <a:lnTo>
                      <a:pt x="72915" y="28038"/>
                    </a:lnTo>
                    <a:lnTo>
                      <a:pt x="72915" y="29184"/>
                    </a:lnTo>
                    <a:lnTo>
                      <a:pt x="71769" y="30330"/>
                    </a:lnTo>
                    <a:lnTo>
                      <a:pt x="70887" y="32975"/>
                    </a:lnTo>
                    <a:lnTo>
                      <a:pt x="69388" y="34121"/>
                    </a:lnTo>
                    <a:lnTo>
                      <a:pt x="69388" y="35267"/>
                    </a:lnTo>
                    <a:lnTo>
                      <a:pt x="67625" y="34121"/>
                    </a:lnTo>
                    <a:lnTo>
                      <a:pt x="64716" y="34121"/>
                    </a:lnTo>
                    <a:lnTo>
                      <a:pt x="64716" y="36149"/>
                    </a:lnTo>
                    <a:lnTo>
                      <a:pt x="61189" y="37295"/>
                    </a:lnTo>
                    <a:lnTo>
                      <a:pt x="58015" y="37295"/>
                    </a:lnTo>
                    <a:lnTo>
                      <a:pt x="58015" y="36766"/>
                    </a:lnTo>
                    <a:lnTo>
                      <a:pt x="56251" y="36766"/>
                    </a:lnTo>
                    <a:lnTo>
                      <a:pt x="56251" y="35267"/>
                    </a:lnTo>
                    <a:lnTo>
                      <a:pt x="55105" y="35267"/>
                    </a:lnTo>
                    <a:lnTo>
                      <a:pt x="53959" y="36766"/>
                    </a:lnTo>
                    <a:lnTo>
                      <a:pt x="53342" y="39940"/>
                    </a:lnTo>
                    <a:lnTo>
                      <a:pt x="51579" y="39940"/>
                    </a:lnTo>
                    <a:lnTo>
                      <a:pt x="48669" y="39940"/>
                    </a:lnTo>
                    <a:lnTo>
                      <a:pt x="48669" y="40293"/>
                    </a:lnTo>
                    <a:lnTo>
                      <a:pt x="44878" y="40293"/>
                    </a:lnTo>
                    <a:lnTo>
                      <a:pt x="44878" y="39940"/>
                    </a:lnTo>
                    <a:lnTo>
                      <a:pt x="43114" y="40293"/>
                    </a:lnTo>
                    <a:lnTo>
                      <a:pt x="41439" y="40293"/>
                    </a:lnTo>
                    <a:lnTo>
                      <a:pt x="40558" y="41704"/>
                    </a:lnTo>
                    <a:lnTo>
                      <a:pt x="39323" y="42321"/>
                    </a:lnTo>
                    <a:lnTo>
                      <a:pt x="39676" y="44084"/>
                    </a:lnTo>
                    <a:lnTo>
                      <a:pt x="41968" y="45230"/>
                    </a:lnTo>
                    <a:lnTo>
                      <a:pt x="41968" y="46112"/>
                    </a:lnTo>
                    <a:lnTo>
                      <a:pt x="39676" y="46112"/>
                    </a:lnTo>
                    <a:lnTo>
                      <a:pt x="37912" y="46377"/>
                    </a:lnTo>
                    <a:lnTo>
                      <a:pt x="36149" y="46377"/>
                    </a:lnTo>
                    <a:lnTo>
                      <a:pt x="35885" y="47258"/>
                    </a:lnTo>
                    <a:lnTo>
                      <a:pt x="34650" y="46377"/>
                    </a:lnTo>
                    <a:lnTo>
                      <a:pt x="31212" y="47787"/>
                    </a:lnTo>
                    <a:lnTo>
                      <a:pt x="25393" y="46377"/>
                    </a:lnTo>
                    <a:lnTo>
                      <a:pt x="21513" y="47258"/>
                    </a:lnTo>
                    <a:lnTo>
                      <a:pt x="18956" y="46377"/>
                    </a:lnTo>
                    <a:lnTo>
                      <a:pt x="17722" y="45230"/>
                    </a:lnTo>
                    <a:lnTo>
                      <a:pt x="16576" y="44084"/>
                    </a:lnTo>
                    <a:lnTo>
                      <a:pt x="14812" y="44084"/>
                    </a:lnTo>
                    <a:lnTo>
                      <a:pt x="11021" y="41704"/>
                    </a:lnTo>
                    <a:lnTo>
                      <a:pt x="10139" y="41704"/>
                    </a:lnTo>
                    <a:lnTo>
                      <a:pt x="10139" y="41086"/>
                    </a:lnTo>
                    <a:lnTo>
                      <a:pt x="8464" y="41086"/>
                    </a:lnTo>
                    <a:lnTo>
                      <a:pt x="7230" y="41086"/>
                    </a:lnTo>
                    <a:lnTo>
                      <a:pt x="7230" y="39940"/>
                    </a:lnTo>
                    <a:lnTo>
                      <a:pt x="7230" y="39059"/>
                    </a:lnTo>
                    <a:lnTo>
                      <a:pt x="5819" y="37295"/>
                    </a:lnTo>
                    <a:lnTo>
                      <a:pt x="4056" y="37295"/>
                    </a:lnTo>
                    <a:lnTo>
                      <a:pt x="3791" y="34121"/>
                    </a:lnTo>
                    <a:lnTo>
                      <a:pt x="2557" y="34121"/>
                    </a:lnTo>
                    <a:lnTo>
                      <a:pt x="2557" y="32975"/>
                    </a:lnTo>
                    <a:lnTo>
                      <a:pt x="529" y="32093"/>
                    </a:lnTo>
                    <a:lnTo>
                      <a:pt x="2292" y="29184"/>
                    </a:lnTo>
                    <a:lnTo>
                      <a:pt x="3174" y="27156"/>
                    </a:lnTo>
                    <a:lnTo>
                      <a:pt x="1763" y="23629"/>
                    </a:lnTo>
                    <a:lnTo>
                      <a:pt x="0" y="23629"/>
                    </a:lnTo>
                    <a:lnTo>
                      <a:pt x="0" y="22747"/>
                    </a:lnTo>
                    <a:lnTo>
                      <a:pt x="2557" y="19838"/>
                    </a:lnTo>
                    <a:lnTo>
                      <a:pt x="5555" y="20720"/>
                    </a:lnTo>
                    <a:lnTo>
                      <a:pt x="6701" y="20720"/>
                    </a:lnTo>
                    <a:lnTo>
                      <a:pt x="8112" y="20984"/>
                    </a:lnTo>
                    <a:lnTo>
                      <a:pt x="14812" y="21866"/>
                    </a:lnTo>
                    <a:lnTo>
                      <a:pt x="18956" y="18692"/>
                    </a:lnTo>
                    <a:lnTo>
                      <a:pt x="18604" y="14019"/>
                    </a:lnTo>
                    <a:lnTo>
                      <a:pt x="22747" y="11991"/>
                    </a:lnTo>
                    <a:lnTo>
                      <a:pt x="25657" y="10757"/>
                    </a:lnTo>
                    <a:lnTo>
                      <a:pt x="26186" y="6701"/>
                    </a:lnTo>
                    <a:lnTo>
                      <a:pt x="31212" y="5555"/>
                    </a:lnTo>
                    <a:lnTo>
                      <a:pt x="32093" y="405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0" name="Freihandform: Form 1589">
                <a:extLst>
                  <a:ext uri="{FF2B5EF4-FFF2-40B4-BE49-F238E27FC236}">
                    <a16:creationId xmlns:a16="http://schemas.microsoft.com/office/drawing/2014/main" id="{0DD34C81-2AB8-C864-9178-7D8C5BBD36F2}"/>
                  </a:ext>
                </a:extLst>
              </p:cNvPr>
              <p:cNvSpPr/>
              <p:nvPr/>
            </p:nvSpPr>
            <p:spPr>
              <a:xfrm>
                <a:off x="4446408" y="2716158"/>
                <a:ext cx="134456" cy="56339"/>
              </a:xfrm>
              <a:custGeom>
                <a:avLst/>
                <a:gdLst>
                  <a:gd name="connsiteX0" fmla="*/ 71152 w 134456"/>
                  <a:gd name="connsiteY0" fmla="*/ 0 h 56339"/>
                  <a:gd name="connsiteX1" fmla="*/ 94781 w 134456"/>
                  <a:gd name="connsiteY1" fmla="*/ 10227 h 56339"/>
                  <a:gd name="connsiteX2" fmla="*/ 109064 w 134456"/>
                  <a:gd name="connsiteY2" fmla="*/ 9081 h 56339"/>
                  <a:gd name="connsiteX3" fmla="*/ 119027 w 134456"/>
                  <a:gd name="connsiteY3" fmla="*/ 19309 h 56339"/>
                  <a:gd name="connsiteX4" fmla="*/ 117793 w 134456"/>
                  <a:gd name="connsiteY4" fmla="*/ 22483 h 56339"/>
                  <a:gd name="connsiteX5" fmla="*/ 134457 w 134456"/>
                  <a:gd name="connsiteY5" fmla="*/ 47611 h 56339"/>
                  <a:gd name="connsiteX6" fmla="*/ 124229 w 134456"/>
                  <a:gd name="connsiteY6" fmla="*/ 47611 h 56339"/>
                  <a:gd name="connsiteX7" fmla="*/ 118675 w 134456"/>
                  <a:gd name="connsiteY7" fmla="*/ 52196 h 56339"/>
                  <a:gd name="connsiteX8" fmla="*/ 112327 w 134456"/>
                  <a:gd name="connsiteY8" fmla="*/ 51402 h 56339"/>
                  <a:gd name="connsiteX9" fmla="*/ 102981 w 134456"/>
                  <a:gd name="connsiteY9" fmla="*/ 56340 h 56339"/>
                  <a:gd name="connsiteX10" fmla="*/ 91343 w 134456"/>
                  <a:gd name="connsiteY10" fmla="*/ 50168 h 56339"/>
                  <a:gd name="connsiteX11" fmla="*/ 82878 w 134456"/>
                  <a:gd name="connsiteY11" fmla="*/ 44966 h 56339"/>
                  <a:gd name="connsiteX12" fmla="*/ 77324 w 134456"/>
                  <a:gd name="connsiteY12" fmla="*/ 44966 h 56339"/>
                  <a:gd name="connsiteX13" fmla="*/ 67978 w 134456"/>
                  <a:gd name="connsiteY13" fmla="*/ 37383 h 56339"/>
                  <a:gd name="connsiteX14" fmla="*/ 63570 w 134456"/>
                  <a:gd name="connsiteY14" fmla="*/ 42321 h 56339"/>
                  <a:gd name="connsiteX15" fmla="*/ 46994 w 134456"/>
                  <a:gd name="connsiteY15" fmla="*/ 39676 h 56339"/>
                  <a:gd name="connsiteX16" fmla="*/ 37648 w 134456"/>
                  <a:gd name="connsiteY16" fmla="*/ 42321 h 56339"/>
                  <a:gd name="connsiteX17" fmla="*/ 34386 w 134456"/>
                  <a:gd name="connsiteY17" fmla="*/ 38530 h 56339"/>
                  <a:gd name="connsiteX18" fmla="*/ 29713 w 134456"/>
                  <a:gd name="connsiteY18" fmla="*/ 39676 h 56339"/>
                  <a:gd name="connsiteX19" fmla="*/ 21601 w 134456"/>
                  <a:gd name="connsiteY19" fmla="*/ 38530 h 56339"/>
                  <a:gd name="connsiteX20" fmla="*/ 14548 w 134456"/>
                  <a:gd name="connsiteY20" fmla="*/ 39676 h 56339"/>
                  <a:gd name="connsiteX21" fmla="*/ 2292 w 134456"/>
                  <a:gd name="connsiteY21" fmla="*/ 39676 h 56339"/>
                  <a:gd name="connsiteX22" fmla="*/ 0 w 134456"/>
                  <a:gd name="connsiteY22" fmla="*/ 38530 h 56339"/>
                  <a:gd name="connsiteX23" fmla="*/ 2028 w 134456"/>
                  <a:gd name="connsiteY23" fmla="*/ 37383 h 56339"/>
                  <a:gd name="connsiteX24" fmla="*/ 2645 w 134456"/>
                  <a:gd name="connsiteY24" fmla="*/ 35356 h 56339"/>
                  <a:gd name="connsiteX25" fmla="*/ 1499 w 134456"/>
                  <a:gd name="connsiteY25" fmla="*/ 34474 h 56339"/>
                  <a:gd name="connsiteX26" fmla="*/ 2292 w 134456"/>
                  <a:gd name="connsiteY26" fmla="*/ 33239 h 56339"/>
                  <a:gd name="connsiteX27" fmla="*/ 2292 w 134456"/>
                  <a:gd name="connsiteY27" fmla="*/ 32710 h 56339"/>
                  <a:gd name="connsiteX28" fmla="*/ 2645 w 134456"/>
                  <a:gd name="connsiteY28" fmla="*/ 31212 h 56339"/>
                  <a:gd name="connsiteX29" fmla="*/ 4056 w 134456"/>
                  <a:gd name="connsiteY29" fmla="*/ 30065 h 56339"/>
                  <a:gd name="connsiteX30" fmla="*/ 4937 w 134456"/>
                  <a:gd name="connsiteY30" fmla="*/ 27773 h 56339"/>
                  <a:gd name="connsiteX31" fmla="*/ 5555 w 134456"/>
                  <a:gd name="connsiteY31" fmla="*/ 26010 h 56339"/>
                  <a:gd name="connsiteX32" fmla="*/ 6701 w 134456"/>
                  <a:gd name="connsiteY32" fmla="*/ 25392 h 56339"/>
                  <a:gd name="connsiteX33" fmla="*/ 7318 w 134456"/>
                  <a:gd name="connsiteY33" fmla="*/ 23629 h 56339"/>
                  <a:gd name="connsiteX34" fmla="*/ 6965 w 134456"/>
                  <a:gd name="connsiteY34" fmla="*/ 21866 h 56339"/>
                  <a:gd name="connsiteX35" fmla="*/ 6701 w 134456"/>
                  <a:gd name="connsiteY35" fmla="*/ 21072 h 56339"/>
                  <a:gd name="connsiteX36" fmla="*/ 6436 w 134456"/>
                  <a:gd name="connsiteY36" fmla="*/ 19573 h 56339"/>
                  <a:gd name="connsiteX37" fmla="*/ 5555 w 134456"/>
                  <a:gd name="connsiteY37" fmla="*/ 18956 h 56339"/>
                  <a:gd name="connsiteX38" fmla="*/ 6701 w 134456"/>
                  <a:gd name="connsiteY38" fmla="*/ 18692 h 56339"/>
                  <a:gd name="connsiteX39" fmla="*/ 6084 w 134456"/>
                  <a:gd name="connsiteY39" fmla="*/ 17810 h 56339"/>
                  <a:gd name="connsiteX40" fmla="*/ 6701 w 134456"/>
                  <a:gd name="connsiteY40" fmla="*/ 17545 h 56339"/>
                  <a:gd name="connsiteX41" fmla="*/ 8464 w 134456"/>
                  <a:gd name="connsiteY41" fmla="*/ 16928 h 56339"/>
                  <a:gd name="connsiteX42" fmla="*/ 8729 w 134456"/>
                  <a:gd name="connsiteY42" fmla="*/ 16047 h 56339"/>
                  <a:gd name="connsiteX43" fmla="*/ 9963 w 134456"/>
                  <a:gd name="connsiteY43" fmla="*/ 15518 h 56339"/>
                  <a:gd name="connsiteX44" fmla="*/ 11374 w 134456"/>
                  <a:gd name="connsiteY44" fmla="*/ 16664 h 56339"/>
                  <a:gd name="connsiteX45" fmla="*/ 11109 w 134456"/>
                  <a:gd name="connsiteY45" fmla="*/ 14900 h 56339"/>
                  <a:gd name="connsiteX46" fmla="*/ 11991 w 134456"/>
                  <a:gd name="connsiteY46" fmla="*/ 14283 h 56339"/>
                  <a:gd name="connsiteX47" fmla="*/ 12256 w 134456"/>
                  <a:gd name="connsiteY47" fmla="*/ 14283 h 56339"/>
                  <a:gd name="connsiteX48" fmla="*/ 13754 w 134456"/>
                  <a:gd name="connsiteY48" fmla="*/ 14019 h 56339"/>
                  <a:gd name="connsiteX49" fmla="*/ 13137 w 134456"/>
                  <a:gd name="connsiteY49" fmla="*/ 11109 h 56339"/>
                  <a:gd name="connsiteX50" fmla="*/ 15429 w 134456"/>
                  <a:gd name="connsiteY50" fmla="*/ 12608 h 56339"/>
                  <a:gd name="connsiteX51" fmla="*/ 16928 w 134456"/>
                  <a:gd name="connsiteY51" fmla="*/ 11726 h 56339"/>
                  <a:gd name="connsiteX52" fmla="*/ 18075 w 134456"/>
                  <a:gd name="connsiteY52" fmla="*/ 11374 h 56339"/>
                  <a:gd name="connsiteX53" fmla="*/ 20102 w 134456"/>
                  <a:gd name="connsiteY53" fmla="*/ 10845 h 56339"/>
                  <a:gd name="connsiteX54" fmla="*/ 22483 w 134456"/>
                  <a:gd name="connsiteY54" fmla="*/ 11109 h 56339"/>
                  <a:gd name="connsiteX55" fmla="*/ 23894 w 134456"/>
                  <a:gd name="connsiteY55" fmla="*/ 11726 h 56339"/>
                  <a:gd name="connsiteX56" fmla="*/ 26803 w 134456"/>
                  <a:gd name="connsiteY56" fmla="*/ 10492 h 56339"/>
                  <a:gd name="connsiteX57" fmla="*/ 27949 w 134456"/>
                  <a:gd name="connsiteY57" fmla="*/ 9081 h 56339"/>
                  <a:gd name="connsiteX58" fmla="*/ 28302 w 134456"/>
                  <a:gd name="connsiteY58" fmla="*/ 7935 h 56339"/>
                  <a:gd name="connsiteX59" fmla="*/ 30947 w 134456"/>
                  <a:gd name="connsiteY59" fmla="*/ 7582 h 56339"/>
                  <a:gd name="connsiteX60" fmla="*/ 30330 w 134456"/>
                  <a:gd name="connsiteY60" fmla="*/ 9081 h 56339"/>
                  <a:gd name="connsiteX61" fmla="*/ 30330 w 134456"/>
                  <a:gd name="connsiteY61" fmla="*/ 10227 h 56339"/>
                  <a:gd name="connsiteX62" fmla="*/ 31212 w 134456"/>
                  <a:gd name="connsiteY62" fmla="*/ 11374 h 56339"/>
                  <a:gd name="connsiteX63" fmla="*/ 30947 w 134456"/>
                  <a:gd name="connsiteY63" fmla="*/ 13490 h 56339"/>
                  <a:gd name="connsiteX64" fmla="*/ 32358 w 134456"/>
                  <a:gd name="connsiteY64" fmla="*/ 15518 h 56339"/>
                  <a:gd name="connsiteX65" fmla="*/ 33592 w 134456"/>
                  <a:gd name="connsiteY65" fmla="*/ 15782 h 56339"/>
                  <a:gd name="connsiteX66" fmla="*/ 35620 w 134456"/>
                  <a:gd name="connsiteY66" fmla="*/ 17281 h 56339"/>
                  <a:gd name="connsiteX67" fmla="*/ 35267 w 134456"/>
                  <a:gd name="connsiteY67" fmla="*/ 18427 h 56339"/>
                  <a:gd name="connsiteX68" fmla="*/ 34738 w 134456"/>
                  <a:gd name="connsiteY68" fmla="*/ 18956 h 56339"/>
                  <a:gd name="connsiteX69" fmla="*/ 36766 w 134456"/>
                  <a:gd name="connsiteY69" fmla="*/ 18692 h 56339"/>
                  <a:gd name="connsiteX70" fmla="*/ 37913 w 134456"/>
                  <a:gd name="connsiteY70" fmla="*/ 18956 h 56339"/>
                  <a:gd name="connsiteX71" fmla="*/ 37913 w 134456"/>
                  <a:gd name="connsiteY71" fmla="*/ 19838 h 56339"/>
                  <a:gd name="connsiteX72" fmla="*/ 38530 w 134456"/>
                  <a:gd name="connsiteY72" fmla="*/ 20455 h 56339"/>
                  <a:gd name="connsiteX73" fmla="*/ 37913 w 134456"/>
                  <a:gd name="connsiteY73" fmla="*/ 21072 h 56339"/>
                  <a:gd name="connsiteX74" fmla="*/ 38177 w 134456"/>
                  <a:gd name="connsiteY74" fmla="*/ 22218 h 56339"/>
                  <a:gd name="connsiteX75" fmla="*/ 39323 w 134456"/>
                  <a:gd name="connsiteY75" fmla="*/ 21601 h 56339"/>
                  <a:gd name="connsiteX76" fmla="*/ 40558 w 134456"/>
                  <a:gd name="connsiteY76" fmla="*/ 20720 h 56339"/>
                  <a:gd name="connsiteX77" fmla="*/ 41968 w 134456"/>
                  <a:gd name="connsiteY77" fmla="*/ 22218 h 56339"/>
                  <a:gd name="connsiteX78" fmla="*/ 43996 w 134456"/>
                  <a:gd name="connsiteY78" fmla="*/ 22218 h 56339"/>
                  <a:gd name="connsiteX79" fmla="*/ 43732 w 134456"/>
                  <a:gd name="connsiteY79" fmla="*/ 24863 h 56339"/>
                  <a:gd name="connsiteX80" fmla="*/ 45495 w 134456"/>
                  <a:gd name="connsiteY80" fmla="*/ 24246 h 56339"/>
                  <a:gd name="connsiteX81" fmla="*/ 47787 w 134456"/>
                  <a:gd name="connsiteY81" fmla="*/ 25392 h 56339"/>
                  <a:gd name="connsiteX82" fmla="*/ 49551 w 134456"/>
                  <a:gd name="connsiteY82" fmla="*/ 25128 h 56339"/>
                  <a:gd name="connsiteX83" fmla="*/ 51314 w 134456"/>
                  <a:gd name="connsiteY83" fmla="*/ 23982 h 56339"/>
                  <a:gd name="connsiteX84" fmla="*/ 52813 w 134456"/>
                  <a:gd name="connsiteY84" fmla="*/ 25657 h 56339"/>
                  <a:gd name="connsiteX85" fmla="*/ 53695 w 134456"/>
                  <a:gd name="connsiteY85" fmla="*/ 24863 h 56339"/>
                  <a:gd name="connsiteX86" fmla="*/ 54841 w 134456"/>
                  <a:gd name="connsiteY86" fmla="*/ 24863 h 56339"/>
                  <a:gd name="connsiteX87" fmla="*/ 56604 w 134456"/>
                  <a:gd name="connsiteY87" fmla="*/ 23629 h 56339"/>
                  <a:gd name="connsiteX88" fmla="*/ 56604 w 134456"/>
                  <a:gd name="connsiteY88" fmla="*/ 22483 h 56339"/>
                  <a:gd name="connsiteX89" fmla="*/ 57133 w 134456"/>
                  <a:gd name="connsiteY89" fmla="*/ 21072 h 56339"/>
                  <a:gd name="connsiteX90" fmla="*/ 58367 w 134456"/>
                  <a:gd name="connsiteY90" fmla="*/ 20720 h 56339"/>
                  <a:gd name="connsiteX91" fmla="*/ 58367 w 134456"/>
                  <a:gd name="connsiteY91" fmla="*/ 19573 h 56339"/>
                  <a:gd name="connsiteX92" fmla="*/ 59778 w 134456"/>
                  <a:gd name="connsiteY92" fmla="*/ 19838 h 56339"/>
                  <a:gd name="connsiteX93" fmla="*/ 60660 w 134456"/>
                  <a:gd name="connsiteY93" fmla="*/ 18956 h 56339"/>
                  <a:gd name="connsiteX94" fmla="*/ 61277 w 134456"/>
                  <a:gd name="connsiteY94" fmla="*/ 17545 h 56339"/>
                  <a:gd name="connsiteX95" fmla="*/ 60924 w 134456"/>
                  <a:gd name="connsiteY95" fmla="*/ 14900 h 56339"/>
                  <a:gd name="connsiteX96" fmla="*/ 58896 w 134456"/>
                  <a:gd name="connsiteY96" fmla="*/ 12873 h 56339"/>
                  <a:gd name="connsiteX97" fmla="*/ 59514 w 134456"/>
                  <a:gd name="connsiteY97" fmla="*/ 11109 h 56339"/>
                  <a:gd name="connsiteX98" fmla="*/ 57133 w 134456"/>
                  <a:gd name="connsiteY98" fmla="*/ 10845 h 56339"/>
                  <a:gd name="connsiteX99" fmla="*/ 55722 w 134456"/>
                  <a:gd name="connsiteY99" fmla="*/ 10227 h 56339"/>
                  <a:gd name="connsiteX100" fmla="*/ 55458 w 134456"/>
                  <a:gd name="connsiteY100" fmla="*/ 9081 h 56339"/>
                  <a:gd name="connsiteX101" fmla="*/ 56604 w 134456"/>
                  <a:gd name="connsiteY101" fmla="*/ 8464 h 56339"/>
                  <a:gd name="connsiteX102" fmla="*/ 57486 w 134456"/>
                  <a:gd name="connsiteY102" fmla="*/ 8464 h 56339"/>
                  <a:gd name="connsiteX103" fmla="*/ 58896 w 134456"/>
                  <a:gd name="connsiteY103" fmla="*/ 7935 h 56339"/>
                  <a:gd name="connsiteX104" fmla="*/ 58632 w 134456"/>
                  <a:gd name="connsiteY104" fmla="*/ 6789 h 56339"/>
                  <a:gd name="connsiteX105" fmla="*/ 58015 w 134456"/>
                  <a:gd name="connsiteY105" fmla="*/ 5026 h 56339"/>
                  <a:gd name="connsiteX106" fmla="*/ 58367 w 134456"/>
                  <a:gd name="connsiteY106" fmla="*/ 3262 h 5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134456" h="56339">
                    <a:moveTo>
                      <a:pt x="71152" y="0"/>
                    </a:moveTo>
                    <a:lnTo>
                      <a:pt x="94781" y="10227"/>
                    </a:lnTo>
                    <a:lnTo>
                      <a:pt x="109064" y="9081"/>
                    </a:lnTo>
                    <a:lnTo>
                      <a:pt x="119027" y="19309"/>
                    </a:lnTo>
                    <a:lnTo>
                      <a:pt x="117793" y="22483"/>
                    </a:lnTo>
                    <a:lnTo>
                      <a:pt x="134457" y="47611"/>
                    </a:lnTo>
                    <a:lnTo>
                      <a:pt x="124229" y="47611"/>
                    </a:lnTo>
                    <a:lnTo>
                      <a:pt x="118675" y="52196"/>
                    </a:lnTo>
                    <a:lnTo>
                      <a:pt x="112327" y="51402"/>
                    </a:lnTo>
                    <a:lnTo>
                      <a:pt x="102981" y="56340"/>
                    </a:lnTo>
                    <a:lnTo>
                      <a:pt x="91343" y="50168"/>
                    </a:lnTo>
                    <a:lnTo>
                      <a:pt x="82878" y="44966"/>
                    </a:lnTo>
                    <a:lnTo>
                      <a:pt x="77324" y="44966"/>
                    </a:lnTo>
                    <a:lnTo>
                      <a:pt x="67978" y="37383"/>
                    </a:lnTo>
                    <a:lnTo>
                      <a:pt x="63570" y="42321"/>
                    </a:lnTo>
                    <a:lnTo>
                      <a:pt x="46994" y="39676"/>
                    </a:lnTo>
                    <a:lnTo>
                      <a:pt x="37648" y="42321"/>
                    </a:lnTo>
                    <a:lnTo>
                      <a:pt x="34386" y="38530"/>
                    </a:lnTo>
                    <a:lnTo>
                      <a:pt x="29713" y="39676"/>
                    </a:lnTo>
                    <a:lnTo>
                      <a:pt x="21601" y="38530"/>
                    </a:lnTo>
                    <a:lnTo>
                      <a:pt x="14548" y="39676"/>
                    </a:lnTo>
                    <a:lnTo>
                      <a:pt x="2292" y="39676"/>
                    </a:lnTo>
                    <a:lnTo>
                      <a:pt x="0" y="38530"/>
                    </a:lnTo>
                    <a:lnTo>
                      <a:pt x="2028" y="37383"/>
                    </a:lnTo>
                    <a:lnTo>
                      <a:pt x="2645" y="35356"/>
                    </a:lnTo>
                    <a:lnTo>
                      <a:pt x="1499" y="34474"/>
                    </a:lnTo>
                    <a:lnTo>
                      <a:pt x="2292" y="33239"/>
                    </a:lnTo>
                    <a:lnTo>
                      <a:pt x="2292" y="32710"/>
                    </a:lnTo>
                    <a:lnTo>
                      <a:pt x="2645" y="31212"/>
                    </a:lnTo>
                    <a:lnTo>
                      <a:pt x="4056" y="30065"/>
                    </a:lnTo>
                    <a:lnTo>
                      <a:pt x="4937" y="27773"/>
                    </a:lnTo>
                    <a:lnTo>
                      <a:pt x="5555" y="26010"/>
                    </a:lnTo>
                    <a:lnTo>
                      <a:pt x="6701" y="25392"/>
                    </a:lnTo>
                    <a:lnTo>
                      <a:pt x="7318" y="23629"/>
                    </a:lnTo>
                    <a:lnTo>
                      <a:pt x="6965" y="21866"/>
                    </a:lnTo>
                    <a:lnTo>
                      <a:pt x="6701" y="21072"/>
                    </a:lnTo>
                    <a:lnTo>
                      <a:pt x="6436" y="19573"/>
                    </a:lnTo>
                    <a:lnTo>
                      <a:pt x="5555" y="18956"/>
                    </a:lnTo>
                    <a:lnTo>
                      <a:pt x="6701" y="18692"/>
                    </a:lnTo>
                    <a:lnTo>
                      <a:pt x="6084" y="17810"/>
                    </a:lnTo>
                    <a:lnTo>
                      <a:pt x="6701" y="17545"/>
                    </a:lnTo>
                    <a:lnTo>
                      <a:pt x="8464" y="16928"/>
                    </a:lnTo>
                    <a:lnTo>
                      <a:pt x="8729" y="16047"/>
                    </a:lnTo>
                    <a:lnTo>
                      <a:pt x="9963" y="15518"/>
                    </a:lnTo>
                    <a:lnTo>
                      <a:pt x="11374" y="16664"/>
                    </a:lnTo>
                    <a:lnTo>
                      <a:pt x="11109" y="14900"/>
                    </a:lnTo>
                    <a:lnTo>
                      <a:pt x="11991" y="14283"/>
                    </a:lnTo>
                    <a:lnTo>
                      <a:pt x="12256" y="14283"/>
                    </a:lnTo>
                    <a:lnTo>
                      <a:pt x="13754" y="14019"/>
                    </a:lnTo>
                    <a:lnTo>
                      <a:pt x="13137" y="11109"/>
                    </a:lnTo>
                    <a:lnTo>
                      <a:pt x="15429" y="12608"/>
                    </a:lnTo>
                    <a:lnTo>
                      <a:pt x="16928" y="11726"/>
                    </a:lnTo>
                    <a:lnTo>
                      <a:pt x="18075" y="11374"/>
                    </a:lnTo>
                    <a:lnTo>
                      <a:pt x="20102" y="10845"/>
                    </a:lnTo>
                    <a:lnTo>
                      <a:pt x="22483" y="11109"/>
                    </a:lnTo>
                    <a:lnTo>
                      <a:pt x="23894" y="11726"/>
                    </a:lnTo>
                    <a:lnTo>
                      <a:pt x="26803" y="10492"/>
                    </a:lnTo>
                    <a:lnTo>
                      <a:pt x="27949" y="9081"/>
                    </a:lnTo>
                    <a:lnTo>
                      <a:pt x="28302" y="7935"/>
                    </a:lnTo>
                    <a:lnTo>
                      <a:pt x="30947" y="7582"/>
                    </a:lnTo>
                    <a:lnTo>
                      <a:pt x="30330" y="9081"/>
                    </a:lnTo>
                    <a:lnTo>
                      <a:pt x="30330" y="10227"/>
                    </a:lnTo>
                    <a:lnTo>
                      <a:pt x="31212" y="11374"/>
                    </a:lnTo>
                    <a:lnTo>
                      <a:pt x="30947" y="13490"/>
                    </a:lnTo>
                    <a:lnTo>
                      <a:pt x="32358" y="15518"/>
                    </a:lnTo>
                    <a:lnTo>
                      <a:pt x="33592" y="15782"/>
                    </a:lnTo>
                    <a:lnTo>
                      <a:pt x="35620" y="17281"/>
                    </a:lnTo>
                    <a:lnTo>
                      <a:pt x="35267" y="18427"/>
                    </a:lnTo>
                    <a:lnTo>
                      <a:pt x="34738" y="18956"/>
                    </a:lnTo>
                    <a:lnTo>
                      <a:pt x="36766" y="18692"/>
                    </a:lnTo>
                    <a:lnTo>
                      <a:pt x="37913" y="18956"/>
                    </a:lnTo>
                    <a:lnTo>
                      <a:pt x="37913" y="19838"/>
                    </a:lnTo>
                    <a:lnTo>
                      <a:pt x="38530" y="20455"/>
                    </a:lnTo>
                    <a:lnTo>
                      <a:pt x="37913" y="21072"/>
                    </a:lnTo>
                    <a:lnTo>
                      <a:pt x="38177" y="22218"/>
                    </a:lnTo>
                    <a:lnTo>
                      <a:pt x="39323" y="21601"/>
                    </a:lnTo>
                    <a:lnTo>
                      <a:pt x="40558" y="20720"/>
                    </a:lnTo>
                    <a:lnTo>
                      <a:pt x="41968" y="22218"/>
                    </a:lnTo>
                    <a:lnTo>
                      <a:pt x="43996" y="22218"/>
                    </a:lnTo>
                    <a:lnTo>
                      <a:pt x="43732" y="24863"/>
                    </a:lnTo>
                    <a:lnTo>
                      <a:pt x="45495" y="24246"/>
                    </a:lnTo>
                    <a:lnTo>
                      <a:pt x="47787" y="25392"/>
                    </a:lnTo>
                    <a:lnTo>
                      <a:pt x="49551" y="25128"/>
                    </a:lnTo>
                    <a:lnTo>
                      <a:pt x="51314" y="23982"/>
                    </a:lnTo>
                    <a:lnTo>
                      <a:pt x="52813" y="25657"/>
                    </a:lnTo>
                    <a:lnTo>
                      <a:pt x="53695" y="24863"/>
                    </a:lnTo>
                    <a:lnTo>
                      <a:pt x="54841" y="24863"/>
                    </a:lnTo>
                    <a:lnTo>
                      <a:pt x="56604" y="23629"/>
                    </a:lnTo>
                    <a:lnTo>
                      <a:pt x="56604" y="22483"/>
                    </a:lnTo>
                    <a:lnTo>
                      <a:pt x="57133" y="21072"/>
                    </a:lnTo>
                    <a:lnTo>
                      <a:pt x="58367" y="20720"/>
                    </a:lnTo>
                    <a:lnTo>
                      <a:pt x="58367" y="19573"/>
                    </a:lnTo>
                    <a:lnTo>
                      <a:pt x="59778" y="19838"/>
                    </a:lnTo>
                    <a:lnTo>
                      <a:pt x="60660" y="18956"/>
                    </a:lnTo>
                    <a:lnTo>
                      <a:pt x="61277" y="17545"/>
                    </a:lnTo>
                    <a:lnTo>
                      <a:pt x="60924" y="14900"/>
                    </a:lnTo>
                    <a:lnTo>
                      <a:pt x="58896" y="12873"/>
                    </a:lnTo>
                    <a:lnTo>
                      <a:pt x="59514" y="11109"/>
                    </a:lnTo>
                    <a:lnTo>
                      <a:pt x="57133" y="10845"/>
                    </a:lnTo>
                    <a:lnTo>
                      <a:pt x="55722" y="10227"/>
                    </a:lnTo>
                    <a:lnTo>
                      <a:pt x="55458" y="9081"/>
                    </a:lnTo>
                    <a:lnTo>
                      <a:pt x="56604" y="8464"/>
                    </a:lnTo>
                    <a:lnTo>
                      <a:pt x="57486" y="8464"/>
                    </a:lnTo>
                    <a:lnTo>
                      <a:pt x="58896" y="7935"/>
                    </a:lnTo>
                    <a:lnTo>
                      <a:pt x="58632" y="6789"/>
                    </a:lnTo>
                    <a:lnTo>
                      <a:pt x="58015" y="5026"/>
                    </a:lnTo>
                    <a:lnTo>
                      <a:pt x="58367" y="326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1" name="Freihandform: Form 1590">
                <a:extLst>
                  <a:ext uri="{FF2B5EF4-FFF2-40B4-BE49-F238E27FC236}">
                    <a16:creationId xmlns:a16="http://schemas.microsoft.com/office/drawing/2014/main" id="{2298CD45-3797-0310-2D54-96F011328E4A}"/>
                  </a:ext>
                </a:extLst>
              </p:cNvPr>
              <p:cNvSpPr/>
              <p:nvPr/>
            </p:nvSpPr>
            <p:spPr>
              <a:xfrm>
                <a:off x="4447907" y="2753541"/>
                <a:ext cx="105802" cy="53959"/>
              </a:xfrm>
              <a:custGeom>
                <a:avLst/>
                <a:gdLst>
                  <a:gd name="connsiteX0" fmla="*/ 13049 w 105802"/>
                  <a:gd name="connsiteY0" fmla="*/ 2292 h 53959"/>
                  <a:gd name="connsiteX1" fmla="*/ 793 w 105802"/>
                  <a:gd name="connsiteY1" fmla="*/ 2292 h 53959"/>
                  <a:gd name="connsiteX2" fmla="*/ 1675 w 105802"/>
                  <a:gd name="connsiteY2" fmla="*/ 4056 h 53959"/>
                  <a:gd name="connsiteX3" fmla="*/ 1411 w 105802"/>
                  <a:gd name="connsiteY3" fmla="*/ 5819 h 53959"/>
                  <a:gd name="connsiteX4" fmla="*/ 1146 w 105802"/>
                  <a:gd name="connsiteY4" fmla="*/ 7582 h 53959"/>
                  <a:gd name="connsiteX5" fmla="*/ 264 w 105802"/>
                  <a:gd name="connsiteY5" fmla="*/ 8464 h 53959"/>
                  <a:gd name="connsiteX6" fmla="*/ 0 w 105802"/>
                  <a:gd name="connsiteY6" fmla="*/ 9610 h 53959"/>
                  <a:gd name="connsiteX7" fmla="*/ 0 w 105802"/>
                  <a:gd name="connsiteY7" fmla="*/ 10757 h 53959"/>
                  <a:gd name="connsiteX8" fmla="*/ 0 w 105802"/>
                  <a:gd name="connsiteY8" fmla="*/ 11638 h 53959"/>
                  <a:gd name="connsiteX9" fmla="*/ 264 w 105802"/>
                  <a:gd name="connsiteY9" fmla="*/ 12255 h 53959"/>
                  <a:gd name="connsiteX10" fmla="*/ 264 w 105802"/>
                  <a:gd name="connsiteY10" fmla="*/ 13402 h 53959"/>
                  <a:gd name="connsiteX11" fmla="*/ 1675 w 105802"/>
                  <a:gd name="connsiteY11" fmla="*/ 14812 h 53959"/>
                  <a:gd name="connsiteX12" fmla="*/ 1675 w 105802"/>
                  <a:gd name="connsiteY12" fmla="*/ 13137 h 53959"/>
                  <a:gd name="connsiteX13" fmla="*/ 2557 w 105802"/>
                  <a:gd name="connsiteY13" fmla="*/ 13402 h 53959"/>
                  <a:gd name="connsiteX14" fmla="*/ 2909 w 105802"/>
                  <a:gd name="connsiteY14" fmla="*/ 14548 h 53959"/>
                  <a:gd name="connsiteX15" fmla="*/ 3791 w 105802"/>
                  <a:gd name="connsiteY15" fmla="*/ 15429 h 53959"/>
                  <a:gd name="connsiteX16" fmla="*/ 4056 w 105802"/>
                  <a:gd name="connsiteY16" fmla="*/ 17457 h 53959"/>
                  <a:gd name="connsiteX17" fmla="*/ 4585 w 105802"/>
                  <a:gd name="connsiteY17" fmla="*/ 18604 h 53959"/>
                  <a:gd name="connsiteX18" fmla="*/ 4320 w 105802"/>
                  <a:gd name="connsiteY18" fmla="*/ 20102 h 53959"/>
                  <a:gd name="connsiteX19" fmla="*/ 4320 w 105802"/>
                  <a:gd name="connsiteY19" fmla="*/ 21249 h 53959"/>
                  <a:gd name="connsiteX20" fmla="*/ 5466 w 105802"/>
                  <a:gd name="connsiteY20" fmla="*/ 22130 h 53959"/>
                  <a:gd name="connsiteX21" fmla="*/ 7847 w 105802"/>
                  <a:gd name="connsiteY21" fmla="*/ 23629 h 53959"/>
                  <a:gd name="connsiteX22" fmla="*/ 7582 w 105802"/>
                  <a:gd name="connsiteY22" fmla="*/ 23894 h 53959"/>
                  <a:gd name="connsiteX23" fmla="*/ 7847 w 105802"/>
                  <a:gd name="connsiteY23" fmla="*/ 25393 h 53959"/>
                  <a:gd name="connsiteX24" fmla="*/ 6965 w 105802"/>
                  <a:gd name="connsiteY24" fmla="*/ 27949 h 53959"/>
                  <a:gd name="connsiteX25" fmla="*/ 6965 w 105802"/>
                  <a:gd name="connsiteY25" fmla="*/ 28831 h 53959"/>
                  <a:gd name="connsiteX26" fmla="*/ 6084 w 105802"/>
                  <a:gd name="connsiteY26" fmla="*/ 29713 h 53959"/>
                  <a:gd name="connsiteX27" fmla="*/ 7582 w 105802"/>
                  <a:gd name="connsiteY27" fmla="*/ 29713 h 53959"/>
                  <a:gd name="connsiteX28" fmla="*/ 8729 w 105802"/>
                  <a:gd name="connsiteY28" fmla="*/ 31476 h 53959"/>
                  <a:gd name="connsiteX29" fmla="*/ 7847 w 105802"/>
                  <a:gd name="connsiteY29" fmla="*/ 32622 h 53959"/>
                  <a:gd name="connsiteX30" fmla="*/ 8111 w 105802"/>
                  <a:gd name="connsiteY30" fmla="*/ 34386 h 53959"/>
                  <a:gd name="connsiteX31" fmla="*/ 12255 w 105802"/>
                  <a:gd name="connsiteY31" fmla="*/ 33240 h 53959"/>
                  <a:gd name="connsiteX32" fmla="*/ 17193 w 105802"/>
                  <a:gd name="connsiteY32" fmla="*/ 32093 h 53959"/>
                  <a:gd name="connsiteX33" fmla="*/ 21866 w 105802"/>
                  <a:gd name="connsiteY33" fmla="*/ 33240 h 53959"/>
                  <a:gd name="connsiteX34" fmla="*/ 27068 w 105802"/>
                  <a:gd name="connsiteY34" fmla="*/ 32622 h 53959"/>
                  <a:gd name="connsiteX35" fmla="*/ 30859 w 105802"/>
                  <a:gd name="connsiteY35" fmla="*/ 33769 h 53959"/>
                  <a:gd name="connsiteX36" fmla="*/ 33504 w 105802"/>
                  <a:gd name="connsiteY36" fmla="*/ 35003 h 53959"/>
                  <a:gd name="connsiteX37" fmla="*/ 33504 w 105802"/>
                  <a:gd name="connsiteY37" fmla="*/ 33769 h 53959"/>
                  <a:gd name="connsiteX38" fmla="*/ 35267 w 105802"/>
                  <a:gd name="connsiteY38" fmla="*/ 33504 h 53959"/>
                  <a:gd name="connsiteX39" fmla="*/ 35885 w 105802"/>
                  <a:gd name="connsiteY39" fmla="*/ 34650 h 53959"/>
                  <a:gd name="connsiteX40" fmla="*/ 39059 w 105802"/>
                  <a:gd name="connsiteY40" fmla="*/ 36678 h 53959"/>
                  <a:gd name="connsiteX41" fmla="*/ 38177 w 105802"/>
                  <a:gd name="connsiteY41" fmla="*/ 37912 h 53959"/>
                  <a:gd name="connsiteX42" fmla="*/ 40469 w 105802"/>
                  <a:gd name="connsiteY42" fmla="*/ 41086 h 53959"/>
                  <a:gd name="connsiteX43" fmla="*/ 43731 w 105802"/>
                  <a:gd name="connsiteY43" fmla="*/ 45142 h 53959"/>
                  <a:gd name="connsiteX44" fmla="*/ 42850 w 105802"/>
                  <a:gd name="connsiteY44" fmla="*/ 47523 h 53959"/>
                  <a:gd name="connsiteX45" fmla="*/ 43731 w 105802"/>
                  <a:gd name="connsiteY45" fmla="*/ 51579 h 53959"/>
                  <a:gd name="connsiteX46" fmla="*/ 55370 w 105802"/>
                  <a:gd name="connsiteY46" fmla="*/ 53959 h 53959"/>
                  <a:gd name="connsiteX47" fmla="*/ 75472 w 105802"/>
                  <a:gd name="connsiteY47" fmla="*/ 51050 h 53959"/>
                  <a:gd name="connsiteX48" fmla="*/ 86846 w 105802"/>
                  <a:gd name="connsiteY48" fmla="*/ 51050 h 53959"/>
                  <a:gd name="connsiteX49" fmla="*/ 90373 w 105802"/>
                  <a:gd name="connsiteY49" fmla="*/ 46906 h 53959"/>
                  <a:gd name="connsiteX50" fmla="*/ 93018 w 105802"/>
                  <a:gd name="connsiteY50" fmla="*/ 37031 h 53959"/>
                  <a:gd name="connsiteX51" fmla="*/ 99101 w 105802"/>
                  <a:gd name="connsiteY51" fmla="*/ 33769 h 53959"/>
                  <a:gd name="connsiteX52" fmla="*/ 100336 w 105802"/>
                  <a:gd name="connsiteY52" fmla="*/ 30330 h 53959"/>
                  <a:gd name="connsiteX53" fmla="*/ 104391 w 105802"/>
                  <a:gd name="connsiteY53" fmla="*/ 30330 h 53959"/>
                  <a:gd name="connsiteX54" fmla="*/ 105802 w 105802"/>
                  <a:gd name="connsiteY54" fmla="*/ 27949 h 53959"/>
                  <a:gd name="connsiteX55" fmla="*/ 99101 w 105802"/>
                  <a:gd name="connsiteY55" fmla="*/ 23629 h 53959"/>
                  <a:gd name="connsiteX56" fmla="*/ 101482 w 105802"/>
                  <a:gd name="connsiteY56" fmla="*/ 18956 h 53959"/>
                  <a:gd name="connsiteX57" fmla="*/ 89844 w 105802"/>
                  <a:gd name="connsiteY57" fmla="*/ 12784 h 53959"/>
                  <a:gd name="connsiteX58" fmla="*/ 81379 w 105802"/>
                  <a:gd name="connsiteY58" fmla="*/ 7582 h 53959"/>
                  <a:gd name="connsiteX59" fmla="*/ 75825 w 105802"/>
                  <a:gd name="connsiteY59" fmla="*/ 7582 h 53959"/>
                  <a:gd name="connsiteX60" fmla="*/ 66479 w 105802"/>
                  <a:gd name="connsiteY60" fmla="*/ 0 h 53959"/>
                  <a:gd name="connsiteX61" fmla="*/ 62071 w 105802"/>
                  <a:gd name="connsiteY61" fmla="*/ 4937 h 53959"/>
                  <a:gd name="connsiteX62" fmla="*/ 45495 w 105802"/>
                  <a:gd name="connsiteY62" fmla="*/ 2292 h 53959"/>
                  <a:gd name="connsiteX63" fmla="*/ 36149 w 105802"/>
                  <a:gd name="connsiteY63" fmla="*/ 4937 h 53959"/>
                  <a:gd name="connsiteX64" fmla="*/ 32887 w 105802"/>
                  <a:gd name="connsiteY64" fmla="*/ 1146 h 53959"/>
                  <a:gd name="connsiteX65" fmla="*/ 28214 w 105802"/>
                  <a:gd name="connsiteY65" fmla="*/ 2292 h 53959"/>
                  <a:gd name="connsiteX66" fmla="*/ 20102 w 105802"/>
                  <a:gd name="connsiteY66" fmla="*/ 1146 h 5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05802" h="53959">
                    <a:moveTo>
                      <a:pt x="13049" y="2292"/>
                    </a:moveTo>
                    <a:lnTo>
                      <a:pt x="793" y="2292"/>
                    </a:lnTo>
                    <a:lnTo>
                      <a:pt x="1675" y="4056"/>
                    </a:lnTo>
                    <a:lnTo>
                      <a:pt x="1411" y="5819"/>
                    </a:lnTo>
                    <a:lnTo>
                      <a:pt x="1146" y="7582"/>
                    </a:lnTo>
                    <a:lnTo>
                      <a:pt x="264" y="8464"/>
                    </a:lnTo>
                    <a:lnTo>
                      <a:pt x="0" y="9610"/>
                    </a:lnTo>
                    <a:lnTo>
                      <a:pt x="0" y="10757"/>
                    </a:lnTo>
                    <a:lnTo>
                      <a:pt x="0" y="11638"/>
                    </a:lnTo>
                    <a:lnTo>
                      <a:pt x="264" y="12255"/>
                    </a:lnTo>
                    <a:lnTo>
                      <a:pt x="264" y="13402"/>
                    </a:lnTo>
                    <a:lnTo>
                      <a:pt x="1675" y="14812"/>
                    </a:lnTo>
                    <a:lnTo>
                      <a:pt x="1675" y="13137"/>
                    </a:lnTo>
                    <a:lnTo>
                      <a:pt x="2557" y="13402"/>
                    </a:lnTo>
                    <a:lnTo>
                      <a:pt x="2909" y="14548"/>
                    </a:lnTo>
                    <a:lnTo>
                      <a:pt x="3791" y="15429"/>
                    </a:lnTo>
                    <a:lnTo>
                      <a:pt x="4056" y="17457"/>
                    </a:lnTo>
                    <a:lnTo>
                      <a:pt x="4585" y="18604"/>
                    </a:lnTo>
                    <a:lnTo>
                      <a:pt x="4320" y="20102"/>
                    </a:lnTo>
                    <a:lnTo>
                      <a:pt x="4320" y="21249"/>
                    </a:lnTo>
                    <a:lnTo>
                      <a:pt x="5466" y="22130"/>
                    </a:lnTo>
                    <a:lnTo>
                      <a:pt x="7847" y="23629"/>
                    </a:lnTo>
                    <a:lnTo>
                      <a:pt x="7582" y="23894"/>
                    </a:lnTo>
                    <a:lnTo>
                      <a:pt x="7847" y="25393"/>
                    </a:lnTo>
                    <a:lnTo>
                      <a:pt x="6965" y="27949"/>
                    </a:lnTo>
                    <a:lnTo>
                      <a:pt x="6965" y="28831"/>
                    </a:lnTo>
                    <a:lnTo>
                      <a:pt x="6084" y="29713"/>
                    </a:lnTo>
                    <a:lnTo>
                      <a:pt x="7582" y="29713"/>
                    </a:lnTo>
                    <a:lnTo>
                      <a:pt x="8729" y="31476"/>
                    </a:lnTo>
                    <a:lnTo>
                      <a:pt x="7847" y="32622"/>
                    </a:lnTo>
                    <a:lnTo>
                      <a:pt x="8111" y="34386"/>
                    </a:lnTo>
                    <a:lnTo>
                      <a:pt x="12255" y="33240"/>
                    </a:lnTo>
                    <a:lnTo>
                      <a:pt x="17193" y="32093"/>
                    </a:lnTo>
                    <a:lnTo>
                      <a:pt x="21866" y="33240"/>
                    </a:lnTo>
                    <a:lnTo>
                      <a:pt x="27068" y="32622"/>
                    </a:lnTo>
                    <a:lnTo>
                      <a:pt x="30859" y="33769"/>
                    </a:lnTo>
                    <a:lnTo>
                      <a:pt x="33504" y="35003"/>
                    </a:lnTo>
                    <a:lnTo>
                      <a:pt x="33504" y="33769"/>
                    </a:lnTo>
                    <a:lnTo>
                      <a:pt x="35267" y="33504"/>
                    </a:lnTo>
                    <a:lnTo>
                      <a:pt x="35885" y="34650"/>
                    </a:lnTo>
                    <a:lnTo>
                      <a:pt x="39059" y="36678"/>
                    </a:lnTo>
                    <a:lnTo>
                      <a:pt x="38177" y="37912"/>
                    </a:lnTo>
                    <a:lnTo>
                      <a:pt x="40469" y="41086"/>
                    </a:lnTo>
                    <a:lnTo>
                      <a:pt x="43731" y="45142"/>
                    </a:lnTo>
                    <a:lnTo>
                      <a:pt x="42850" y="47523"/>
                    </a:lnTo>
                    <a:lnTo>
                      <a:pt x="43731" y="51579"/>
                    </a:lnTo>
                    <a:lnTo>
                      <a:pt x="55370" y="53959"/>
                    </a:lnTo>
                    <a:lnTo>
                      <a:pt x="75472" y="51050"/>
                    </a:lnTo>
                    <a:lnTo>
                      <a:pt x="86846" y="51050"/>
                    </a:lnTo>
                    <a:lnTo>
                      <a:pt x="90373" y="46906"/>
                    </a:lnTo>
                    <a:lnTo>
                      <a:pt x="93018" y="37031"/>
                    </a:lnTo>
                    <a:lnTo>
                      <a:pt x="99101" y="33769"/>
                    </a:lnTo>
                    <a:lnTo>
                      <a:pt x="100336" y="30330"/>
                    </a:lnTo>
                    <a:lnTo>
                      <a:pt x="104391" y="30330"/>
                    </a:lnTo>
                    <a:lnTo>
                      <a:pt x="105802" y="27949"/>
                    </a:lnTo>
                    <a:lnTo>
                      <a:pt x="99101" y="23629"/>
                    </a:lnTo>
                    <a:lnTo>
                      <a:pt x="101482" y="18956"/>
                    </a:lnTo>
                    <a:lnTo>
                      <a:pt x="89844" y="12784"/>
                    </a:lnTo>
                    <a:lnTo>
                      <a:pt x="81379" y="7582"/>
                    </a:lnTo>
                    <a:lnTo>
                      <a:pt x="75825" y="7582"/>
                    </a:lnTo>
                    <a:lnTo>
                      <a:pt x="66479" y="0"/>
                    </a:lnTo>
                    <a:lnTo>
                      <a:pt x="62071" y="4937"/>
                    </a:lnTo>
                    <a:lnTo>
                      <a:pt x="45495" y="2292"/>
                    </a:lnTo>
                    <a:lnTo>
                      <a:pt x="36149" y="4937"/>
                    </a:lnTo>
                    <a:lnTo>
                      <a:pt x="32887" y="1146"/>
                    </a:lnTo>
                    <a:lnTo>
                      <a:pt x="28214" y="2292"/>
                    </a:lnTo>
                    <a:lnTo>
                      <a:pt x="20102" y="114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2" name="Freihandform: Form 1591">
                <a:extLst>
                  <a:ext uri="{FF2B5EF4-FFF2-40B4-BE49-F238E27FC236}">
                    <a16:creationId xmlns:a16="http://schemas.microsoft.com/office/drawing/2014/main" id="{E87B76BB-B76E-EB27-9B3C-3439E9DD75D4}"/>
                  </a:ext>
                </a:extLst>
              </p:cNvPr>
              <p:cNvSpPr/>
              <p:nvPr/>
            </p:nvSpPr>
            <p:spPr>
              <a:xfrm>
                <a:off x="4485643" y="2676835"/>
                <a:ext cx="77411" cy="49815"/>
              </a:xfrm>
              <a:custGeom>
                <a:avLst/>
                <a:gdLst>
                  <a:gd name="connsiteX0" fmla="*/ 77412 w 77411"/>
                  <a:gd name="connsiteY0" fmla="*/ 2645 h 49815"/>
                  <a:gd name="connsiteX1" fmla="*/ 77412 w 77411"/>
                  <a:gd name="connsiteY1" fmla="*/ 3791 h 49815"/>
                  <a:gd name="connsiteX2" fmla="*/ 76795 w 77411"/>
                  <a:gd name="connsiteY2" fmla="*/ 1763 h 49815"/>
                  <a:gd name="connsiteX3" fmla="*/ 75913 w 77411"/>
                  <a:gd name="connsiteY3" fmla="*/ 0 h 49815"/>
                  <a:gd name="connsiteX4" fmla="*/ 75296 w 77411"/>
                  <a:gd name="connsiteY4" fmla="*/ 2028 h 49815"/>
                  <a:gd name="connsiteX5" fmla="*/ 74414 w 77411"/>
                  <a:gd name="connsiteY5" fmla="*/ 2028 h 49815"/>
                  <a:gd name="connsiteX6" fmla="*/ 74150 w 77411"/>
                  <a:gd name="connsiteY6" fmla="*/ 3174 h 49815"/>
                  <a:gd name="connsiteX7" fmla="*/ 70358 w 77411"/>
                  <a:gd name="connsiteY7" fmla="*/ 2910 h 49815"/>
                  <a:gd name="connsiteX8" fmla="*/ 70623 w 77411"/>
                  <a:gd name="connsiteY8" fmla="*/ 3527 h 49815"/>
                  <a:gd name="connsiteX9" fmla="*/ 69477 w 77411"/>
                  <a:gd name="connsiteY9" fmla="*/ 5290 h 49815"/>
                  <a:gd name="connsiteX10" fmla="*/ 68595 w 77411"/>
                  <a:gd name="connsiteY10" fmla="*/ 5290 h 49815"/>
                  <a:gd name="connsiteX11" fmla="*/ 68066 w 77411"/>
                  <a:gd name="connsiteY11" fmla="*/ 5643 h 49815"/>
                  <a:gd name="connsiteX12" fmla="*/ 68066 w 77411"/>
                  <a:gd name="connsiteY12" fmla="*/ 6524 h 49815"/>
                  <a:gd name="connsiteX13" fmla="*/ 67449 w 77411"/>
                  <a:gd name="connsiteY13" fmla="*/ 7406 h 49815"/>
                  <a:gd name="connsiteX14" fmla="*/ 66303 w 77411"/>
                  <a:gd name="connsiteY14" fmla="*/ 7671 h 49815"/>
                  <a:gd name="connsiteX15" fmla="*/ 65156 w 77411"/>
                  <a:gd name="connsiteY15" fmla="*/ 8552 h 49815"/>
                  <a:gd name="connsiteX16" fmla="*/ 63393 w 77411"/>
                  <a:gd name="connsiteY16" fmla="*/ 7671 h 49815"/>
                  <a:gd name="connsiteX17" fmla="*/ 62511 w 77411"/>
                  <a:gd name="connsiteY17" fmla="*/ 8552 h 49815"/>
                  <a:gd name="connsiteX18" fmla="*/ 61894 w 77411"/>
                  <a:gd name="connsiteY18" fmla="*/ 9170 h 49815"/>
                  <a:gd name="connsiteX19" fmla="*/ 58985 w 77411"/>
                  <a:gd name="connsiteY19" fmla="*/ 7406 h 49815"/>
                  <a:gd name="connsiteX20" fmla="*/ 59249 w 77411"/>
                  <a:gd name="connsiteY20" fmla="*/ 8288 h 49815"/>
                  <a:gd name="connsiteX21" fmla="*/ 58103 w 77411"/>
                  <a:gd name="connsiteY21" fmla="*/ 7759 h 49815"/>
                  <a:gd name="connsiteX22" fmla="*/ 56339 w 77411"/>
                  <a:gd name="connsiteY22" fmla="*/ 8905 h 49815"/>
                  <a:gd name="connsiteX23" fmla="*/ 54929 w 77411"/>
                  <a:gd name="connsiteY23" fmla="*/ 9522 h 49815"/>
                  <a:gd name="connsiteX24" fmla="*/ 52901 w 77411"/>
                  <a:gd name="connsiteY24" fmla="*/ 8376 h 49815"/>
                  <a:gd name="connsiteX25" fmla="*/ 51402 w 77411"/>
                  <a:gd name="connsiteY25" fmla="*/ 8640 h 49815"/>
                  <a:gd name="connsiteX26" fmla="*/ 50256 w 77411"/>
                  <a:gd name="connsiteY26" fmla="*/ 6877 h 49815"/>
                  <a:gd name="connsiteX27" fmla="*/ 50520 w 77411"/>
                  <a:gd name="connsiteY27" fmla="*/ 5995 h 49815"/>
                  <a:gd name="connsiteX28" fmla="*/ 49374 w 77411"/>
                  <a:gd name="connsiteY28" fmla="*/ 6877 h 49815"/>
                  <a:gd name="connsiteX29" fmla="*/ 48228 w 77411"/>
                  <a:gd name="connsiteY29" fmla="*/ 7142 h 49815"/>
                  <a:gd name="connsiteX30" fmla="*/ 45318 w 77411"/>
                  <a:gd name="connsiteY30" fmla="*/ 5731 h 49815"/>
                  <a:gd name="connsiteX31" fmla="*/ 43820 w 77411"/>
                  <a:gd name="connsiteY31" fmla="*/ 4585 h 49815"/>
                  <a:gd name="connsiteX32" fmla="*/ 42938 w 77411"/>
                  <a:gd name="connsiteY32" fmla="*/ 5466 h 49815"/>
                  <a:gd name="connsiteX33" fmla="*/ 40734 w 77411"/>
                  <a:gd name="connsiteY33" fmla="*/ 4673 h 49815"/>
                  <a:gd name="connsiteX34" fmla="*/ 39235 w 77411"/>
                  <a:gd name="connsiteY34" fmla="*/ 3791 h 49815"/>
                  <a:gd name="connsiteX35" fmla="*/ 37207 w 77411"/>
                  <a:gd name="connsiteY35" fmla="*/ 3791 h 49815"/>
                  <a:gd name="connsiteX36" fmla="*/ 36943 w 77411"/>
                  <a:gd name="connsiteY36" fmla="*/ 4937 h 49815"/>
                  <a:gd name="connsiteX37" fmla="*/ 35179 w 77411"/>
                  <a:gd name="connsiteY37" fmla="*/ 4056 h 49815"/>
                  <a:gd name="connsiteX38" fmla="*/ 34297 w 77411"/>
                  <a:gd name="connsiteY38" fmla="*/ 5202 h 49815"/>
                  <a:gd name="connsiteX39" fmla="*/ 32534 w 77411"/>
                  <a:gd name="connsiteY39" fmla="*/ 2292 h 49815"/>
                  <a:gd name="connsiteX40" fmla="*/ 32270 w 77411"/>
                  <a:gd name="connsiteY40" fmla="*/ 3174 h 49815"/>
                  <a:gd name="connsiteX41" fmla="*/ 31652 w 77411"/>
                  <a:gd name="connsiteY41" fmla="*/ 4673 h 49815"/>
                  <a:gd name="connsiteX42" fmla="*/ 30771 w 77411"/>
                  <a:gd name="connsiteY42" fmla="*/ 5290 h 49815"/>
                  <a:gd name="connsiteX43" fmla="*/ 30153 w 77411"/>
                  <a:gd name="connsiteY43" fmla="*/ 5290 h 49815"/>
                  <a:gd name="connsiteX44" fmla="*/ 30418 w 77411"/>
                  <a:gd name="connsiteY44" fmla="*/ 3879 h 49815"/>
                  <a:gd name="connsiteX45" fmla="*/ 28655 w 77411"/>
                  <a:gd name="connsiteY45" fmla="*/ 2998 h 49815"/>
                  <a:gd name="connsiteX46" fmla="*/ 28655 w 77411"/>
                  <a:gd name="connsiteY46" fmla="*/ 4497 h 49815"/>
                  <a:gd name="connsiteX47" fmla="*/ 29272 w 77411"/>
                  <a:gd name="connsiteY47" fmla="*/ 5643 h 49815"/>
                  <a:gd name="connsiteX48" fmla="*/ 29272 w 77411"/>
                  <a:gd name="connsiteY48" fmla="*/ 7935 h 49815"/>
                  <a:gd name="connsiteX49" fmla="*/ 28655 w 77411"/>
                  <a:gd name="connsiteY49" fmla="*/ 7053 h 49815"/>
                  <a:gd name="connsiteX50" fmla="*/ 27508 w 77411"/>
                  <a:gd name="connsiteY50" fmla="*/ 6524 h 49815"/>
                  <a:gd name="connsiteX51" fmla="*/ 28126 w 77411"/>
                  <a:gd name="connsiteY51" fmla="*/ 5907 h 49815"/>
                  <a:gd name="connsiteX52" fmla="*/ 26627 w 77411"/>
                  <a:gd name="connsiteY52" fmla="*/ 5290 h 49815"/>
                  <a:gd name="connsiteX53" fmla="*/ 26010 w 77411"/>
                  <a:gd name="connsiteY53" fmla="*/ 5907 h 49815"/>
                  <a:gd name="connsiteX54" fmla="*/ 24864 w 77411"/>
                  <a:gd name="connsiteY54" fmla="*/ 4144 h 49815"/>
                  <a:gd name="connsiteX55" fmla="*/ 24246 w 77411"/>
                  <a:gd name="connsiteY55" fmla="*/ 4761 h 49815"/>
                  <a:gd name="connsiteX56" fmla="*/ 24511 w 77411"/>
                  <a:gd name="connsiteY56" fmla="*/ 7935 h 49815"/>
                  <a:gd name="connsiteX57" fmla="*/ 24246 w 77411"/>
                  <a:gd name="connsiteY57" fmla="*/ 9081 h 49815"/>
                  <a:gd name="connsiteX58" fmla="*/ 22483 w 77411"/>
                  <a:gd name="connsiteY58" fmla="*/ 8200 h 49815"/>
                  <a:gd name="connsiteX59" fmla="*/ 21601 w 77411"/>
                  <a:gd name="connsiteY59" fmla="*/ 7053 h 49815"/>
                  <a:gd name="connsiteX60" fmla="*/ 20455 w 77411"/>
                  <a:gd name="connsiteY60" fmla="*/ 9081 h 49815"/>
                  <a:gd name="connsiteX61" fmla="*/ 19044 w 77411"/>
                  <a:gd name="connsiteY61" fmla="*/ 6789 h 49815"/>
                  <a:gd name="connsiteX62" fmla="*/ 17898 w 77411"/>
                  <a:gd name="connsiteY62" fmla="*/ 7053 h 49815"/>
                  <a:gd name="connsiteX63" fmla="*/ 19397 w 77411"/>
                  <a:gd name="connsiteY63" fmla="*/ 8200 h 49815"/>
                  <a:gd name="connsiteX64" fmla="*/ 17369 w 77411"/>
                  <a:gd name="connsiteY64" fmla="*/ 7935 h 49815"/>
                  <a:gd name="connsiteX65" fmla="*/ 17016 w 77411"/>
                  <a:gd name="connsiteY65" fmla="*/ 7671 h 49815"/>
                  <a:gd name="connsiteX66" fmla="*/ 14724 w 77411"/>
                  <a:gd name="connsiteY66" fmla="*/ 7671 h 49815"/>
                  <a:gd name="connsiteX67" fmla="*/ 13843 w 77411"/>
                  <a:gd name="connsiteY67" fmla="*/ 9434 h 49815"/>
                  <a:gd name="connsiteX68" fmla="*/ 12961 w 77411"/>
                  <a:gd name="connsiteY68" fmla="*/ 9434 h 49815"/>
                  <a:gd name="connsiteX69" fmla="*/ 13843 w 77411"/>
                  <a:gd name="connsiteY69" fmla="*/ 11462 h 49815"/>
                  <a:gd name="connsiteX70" fmla="*/ 12696 w 77411"/>
                  <a:gd name="connsiteY70" fmla="*/ 10933 h 49815"/>
                  <a:gd name="connsiteX71" fmla="*/ 12432 w 77411"/>
                  <a:gd name="connsiteY71" fmla="*/ 10316 h 49815"/>
                  <a:gd name="connsiteX72" fmla="*/ 11550 w 77411"/>
                  <a:gd name="connsiteY72" fmla="*/ 10933 h 49815"/>
                  <a:gd name="connsiteX73" fmla="*/ 9787 w 77411"/>
                  <a:gd name="connsiteY73" fmla="*/ 10316 h 49815"/>
                  <a:gd name="connsiteX74" fmla="*/ 8023 w 77411"/>
                  <a:gd name="connsiteY74" fmla="*/ 8552 h 49815"/>
                  <a:gd name="connsiteX75" fmla="*/ 6524 w 77411"/>
                  <a:gd name="connsiteY75" fmla="*/ 8552 h 49815"/>
                  <a:gd name="connsiteX76" fmla="*/ 6260 w 77411"/>
                  <a:gd name="connsiteY76" fmla="*/ 9434 h 49815"/>
                  <a:gd name="connsiteX77" fmla="*/ 3350 w 77411"/>
                  <a:gd name="connsiteY77" fmla="*/ 10051 h 49815"/>
                  <a:gd name="connsiteX78" fmla="*/ 3967 w 77411"/>
                  <a:gd name="connsiteY78" fmla="*/ 9434 h 49815"/>
                  <a:gd name="connsiteX79" fmla="*/ 4585 w 77411"/>
                  <a:gd name="connsiteY79" fmla="*/ 8817 h 49815"/>
                  <a:gd name="connsiteX80" fmla="*/ 3967 w 77411"/>
                  <a:gd name="connsiteY80" fmla="*/ 7935 h 49815"/>
                  <a:gd name="connsiteX81" fmla="*/ 1940 w 77411"/>
                  <a:gd name="connsiteY81" fmla="*/ 9963 h 49815"/>
                  <a:gd name="connsiteX82" fmla="*/ 1675 w 77411"/>
                  <a:gd name="connsiteY82" fmla="*/ 10845 h 49815"/>
                  <a:gd name="connsiteX83" fmla="*/ 1411 w 77411"/>
                  <a:gd name="connsiteY83" fmla="*/ 12608 h 49815"/>
                  <a:gd name="connsiteX84" fmla="*/ 2028 w 77411"/>
                  <a:gd name="connsiteY84" fmla="*/ 13754 h 49815"/>
                  <a:gd name="connsiteX85" fmla="*/ 2028 w 77411"/>
                  <a:gd name="connsiteY85" fmla="*/ 15518 h 49815"/>
                  <a:gd name="connsiteX86" fmla="*/ 2909 w 77411"/>
                  <a:gd name="connsiteY86" fmla="*/ 17017 h 49815"/>
                  <a:gd name="connsiteX87" fmla="*/ 1146 w 77411"/>
                  <a:gd name="connsiteY87" fmla="*/ 16752 h 49815"/>
                  <a:gd name="connsiteX88" fmla="*/ 264 w 77411"/>
                  <a:gd name="connsiteY88" fmla="*/ 18251 h 49815"/>
                  <a:gd name="connsiteX89" fmla="*/ 1411 w 77411"/>
                  <a:gd name="connsiteY89" fmla="*/ 19662 h 49815"/>
                  <a:gd name="connsiteX90" fmla="*/ 529 w 77411"/>
                  <a:gd name="connsiteY90" fmla="*/ 20279 h 49815"/>
                  <a:gd name="connsiteX91" fmla="*/ 264 w 77411"/>
                  <a:gd name="connsiteY91" fmla="*/ 21160 h 49815"/>
                  <a:gd name="connsiteX92" fmla="*/ 0 w 77411"/>
                  <a:gd name="connsiteY92" fmla="*/ 22659 h 49815"/>
                  <a:gd name="connsiteX93" fmla="*/ 617 w 77411"/>
                  <a:gd name="connsiteY93" fmla="*/ 23541 h 49815"/>
                  <a:gd name="connsiteX94" fmla="*/ 2116 w 77411"/>
                  <a:gd name="connsiteY94" fmla="*/ 24423 h 49815"/>
                  <a:gd name="connsiteX95" fmla="*/ 3879 w 77411"/>
                  <a:gd name="connsiteY95" fmla="*/ 24158 h 49815"/>
                  <a:gd name="connsiteX96" fmla="*/ 4144 w 77411"/>
                  <a:gd name="connsiteY96" fmla="*/ 25569 h 49815"/>
                  <a:gd name="connsiteX97" fmla="*/ 5026 w 77411"/>
                  <a:gd name="connsiteY97" fmla="*/ 24952 h 49815"/>
                  <a:gd name="connsiteX98" fmla="*/ 5907 w 77411"/>
                  <a:gd name="connsiteY98" fmla="*/ 26451 h 49815"/>
                  <a:gd name="connsiteX99" fmla="*/ 5290 w 77411"/>
                  <a:gd name="connsiteY99" fmla="*/ 27597 h 49815"/>
                  <a:gd name="connsiteX100" fmla="*/ 2645 w 77411"/>
                  <a:gd name="connsiteY100" fmla="*/ 28743 h 49815"/>
                  <a:gd name="connsiteX101" fmla="*/ 2380 w 77411"/>
                  <a:gd name="connsiteY101" fmla="*/ 29889 h 49815"/>
                  <a:gd name="connsiteX102" fmla="*/ 3527 w 77411"/>
                  <a:gd name="connsiteY102" fmla="*/ 30506 h 49815"/>
                  <a:gd name="connsiteX103" fmla="*/ 5819 w 77411"/>
                  <a:gd name="connsiteY103" fmla="*/ 30242 h 49815"/>
                  <a:gd name="connsiteX104" fmla="*/ 7318 w 77411"/>
                  <a:gd name="connsiteY104" fmla="*/ 31123 h 49815"/>
                  <a:gd name="connsiteX105" fmla="*/ 5555 w 77411"/>
                  <a:gd name="connsiteY105" fmla="*/ 32622 h 49815"/>
                  <a:gd name="connsiteX106" fmla="*/ 5819 w 77411"/>
                  <a:gd name="connsiteY106" fmla="*/ 34650 h 49815"/>
                  <a:gd name="connsiteX107" fmla="*/ 6701 w 77411"/>
                  <a:gd name="connsiteY107" fmla="*/ 34915 h 49815"/>
                  <a:gd name="connsiteX108" fmla="*/ 7847 w 77411"/>
                  <a:gd name="connsiteY108" fmla="*/ 34297 h 49815"/>
                  <a:gd name="connsiteX109" fmla="*/ 10492 w 77411"/>
                  <a:gd name="connsiteY109" fmla="*/ 35796 h 49815"/>
                  <a:gd name="connsiteX110" fmla="*/ 12255 w 77411"/>
                  <a:gd name="connsiteY110" fmla="*/ 35532 h 49815"/>
                  <a:gd name="connsiteX111" fmla="*/ 13754 w 77411"/>
                  <a:gd name="connsiteY111" fmla="*/ 36678 h 49815"/>
                  <a:gd name="connsiteX112" fmla="*/ 15518 w 77411"/>
                  <a:gd name="connsiteY112" fmla="*/ 36414 h 49815"/>
                  <a:gd name="connsiteX113" fmla="*/ 14900 w 77411"/>
                  <a:gd name="connsiteY113" fmla="*/ 35532 h 49815"/>
                  <a:gd name="connsiteX114" fmla="*/ 16047 w 77411"/>
                  <a:gd name="connsiteY114" fmla="*/ 34650 h 49815"/>
                  <a:gd name="connsiteX115" fmla="*/ 18074 w 77411"/>
                  <a:gd name="connsiteY115" fmla="*/ 33769 h 49815"/>
                  <a:gd name="connsiteX116" fmla="*/ 19221 w 77411"/>
                  <a:gd name="connsiteY116" fmla="*/ 34915 h 49815"/>
                  <a:gd name="connsiteX117" fmla="*/ 20367 w 77411"/>
                  <a:gd name="connsiteY117" fmla="*/ 35796 h 49815"/>
                  <a:gd name="connsiteX118" fmla="*/ 21513 w 77411"/>
                  <a:gd name="connsiteY118" fmla="*/ 36943 h 49815"/>
                  <a:gd name="connsiteX119" fmla="*/ 19221 w 77411"/>
                  <a:gd name="connsiteY119" fmla="*/ 37207 h 49815"/>
                  <a:gd name="connsiteX120" fmla="*/ 18339 w 77411"/>
                  <a:gd name="connsiteY120" fmla="*/ 36943 h 49815"/>
                  <a:gd name="connsiteX121" fmla="*/ 16840 w 77411"/>
                  <a:gd name="connsiteY121" fmla="*/ 37824 h 49815"/>
                  <a:gd name="connsiteX122" fmla="*/ 17986 w 77411"/>
                  <a:gd name="connsiteY122" fmla="*/ 38706 h 49815"/>
                  <a:gd name="connsiteX123" fmla="*/ 20279 w 77411"/>
                  <a:gd name="connsiteY123" fmla="*/ 39588 h 49815"/>
                  <a:gd name="connsiteX124" fmla="*/ 18515 w 77411"/>
                  <a:gd name="connsiteY124" fmla="*/ 39852 h 49815"/>
                  <a:gd name="connsiteX125" fmla="*/ 16752 w 77411"/>
                  <a:gd name="connsiteY125" fmla="*/ 39852 h 49815"/>
                  <a:gd name="connsiteX126" fmla="*/ 18515 w 77411"/>
                  <a:gd name="connsiteY126" fmla="*/ 40734 h 49815"/>
                  <a:gd name="connsiteX127" fmla="*/ 19132 w 77411"/>
                  <a:gd name="connsiteY127" fmla="*/ 42762 h 49815"/>
                  <a:gd name="connsiteX128" fmla="*/ 31917 w 77411"/>
                  <a:gd name="connsiteY128" fmla="*/ 39588 h 49815"/>
                  <a:gd name="connsiteX129" fmla="*/ 55546 w 77411"/>
                  <a:gd name="connsiteY129" fmla="*/ 49815 h 49815"/>
                  <a:gd name="connsiteX130" fmla="*/ 69829 w 77411"/>
                  <a:gd name="connsiteY130" fmla="*/ 48669 h 49815"/>
                  <a:gd name="connsiteX131" fmla="*/ 73621 w 77411"/>
                  <a:gd name="connsiteY131" fmla="*/ 45142 h 49815"/>
                  <a:gd name="connsiteX132" fmla="*/ 72474 w 77411"/>
                  <a:gd name="connsiteY132" fmla="*/ 34915 h 49815"/>
                  <a:gd name="connsiteX133" fmla="*/ 69829 w 77411"/>
                  <a:gd name="connsiteY133" fmla="*/ 25922 h 49815"/>
                  <a:gd name="connsiteX134" fmla="*/ 77412 w 77411"/>
                  <a:gd name="connsiteY134" fmla="*/ 2645 h 49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77411" h="49815">
                    <a:moveTo>
                      <a:pt x="77412" y="2645"/>
                    </a:moveTo>
                    <a:lnTo>
                      <a:pt x="77412" y="3791"/>
                    </a:lnTo>
                    <a:lnTo>
                      <a:pt x="76795" y="1763"/>
                    </a:lnTo>
                    <a:lnTo>
                      <a:pt x="75913" y="0"/>
                    </a:lnTo>
                    <a:lnTo>
                      <a:pt x="75296" y="2028"/>
                    </a:lnTo>
                    <a:lnTo>
                      <a:pt x="74414" y="2028"/>
                    </a:lnTo>
                    <a:lnTo>
                      <a:pt x="74150" y="3174"/>
                    </a:lnTo>
                    <a:lnTo>
                      <a:pt x="70358" y="2910"/>
                    </a:lnTo>
                    <a:lnTo>
                      <a:pt x="70623" y="3527"/>
                    </a:lnTo>
                    <a:lnTo>
                      <a:pt x="69477" y="5290"/>
                    </a:lnTo>
                    <a:lnTo>
                      <a:pt x="68595" y="5290"/>
                    </a:lnTo>
                    <a:lnTo>
                      <a:pt x="68066" y="5643"/>
                    </a:lnTo>
                    <a:lnTo>
                      <a:pt x="68066" y="6524"/>
                    </a:lnTo>
                    <a:lnTo>
                      <a:pt x="67449" y="7406"/>
                    </a:lnTo>
                    <a:lnTo>
                      <a:pt x="66303" y="7671"/>
                    </a:lnTo>
                    <a:lnTo>
                      <a:pt x="65156" y="8552"/>
                    </a:lnTo>
                    <a:lnTo>
                      <a:pt x="63393" y="7671"/>
                    </a:lnTo>
                    <a:lnTo>
                      <a:pt x="62511" y="8552"/>
                    </a:lnTo>
                    <a:lnTo>
                      <a:pt x="61894" y="9170"/>
                    </a:lnTo>
                    <a:lnTo>
                      <a:pt x="58985" y="7406"/>
                    </a:lnTo>
                    <a:lnTo>
                      <a:pt x="59249" y="8288"/>
                    </a:lnTo>
                    <a:lnTo>
                      <a:pt x="58103" y="7759"/>
                    </a:lnTo>
                    <a:lnTo>
                      <a:pt x="56339" y="8905"/>
                    </a:lnTo>
                    <a:lnTo>
                      <a:pt x="54929" y="9522"/>
                    </a:lnTo>
                    <a:lnTo>
                      <a:pt x="52901" y="8376"/>
                    </a:lnTo>
                    <a:lnTo>
                      <a:pt x="51402" y="8640"/>
                    </a:lnTo>
                    <a:lnTo>
                      <a:pt x="50256" y="6877"/>
                    </a:lnTo>
                    <a:lnTo>
                      <a:pt x="50520" y="5995"/>
                    </a:lnTo>
                    <a:lnTo>
                      <a:pt x="49374" y="6877"/>
                    </a:lnTo>
                    <a:lnTo>
                      <a:pt x="48228" y="7142"/>
                    </a:lnTo>
                    <a:lnTo>
                      <a:pt x="45318" y="5731"/>
                    </a:lnTo>
                    <a:lnTo>
                      <a:pt x="43820" y="4585"/>
                    </a:lnTo>
                    <a:lnTo>
                      <a:pt x="42938" y="5466"/>
                    </a:lnTo>
                    <a:lnTo>
                      <a:pt x="40734" y="4673"/>
                    </a:lnTo>
                    <a:lnTo>
                      <a:pt x="39235" y="3791"/>
                    </a:lnTo>
                    <a:lnTo>
                      <a:pt x="37207" y="3791"/>
                    </a:lnTo>
                    <a:lnTo>
                      <a:pt x="36943" y="4937"/>
                    </a:lnTo>
                    <a:lnTo>
                      <a:pt x="35179" y="4056"/>
                    </a:lnTo>
                    <a:lnTo>
                      <a:pt x="34297" y="5202"/>
                    </a:lnTo>
                    <a:lnTo>
                      <a:pt x="32534" y="2292"/>
                    </a:lnTo>
                    <a:lnTo>
                      <a:pt x="32270" y="3174"/>
                    </a:lnTo>
                    <a:lnTo>
                      <a:pt x="31652" y="4673"/>
                    </a:lnTo>
                    <a:lnTo>
                      <a:pt x="30771" y="5290"/>
                    </a:lnTo>
                    <a:lnTo>
                      <a:pt x="30153" y="5290"/>
                    </a:lnTo>
                    <a:lnTo>
                      <a:pt x="30418" y="3879"/>
                    </a:lnTo>
                    <a:lnTo>
                      <a:pt x="28655" y="2998"/>
                    </a:lnTo>
                    <a:lnTo>
                      <a:pt x="28655" y="4497"/>
                    </a:lnTo>
                    <a:lnTo>
                      <a:pt x="29272" y="5643"/>
                    </a:lnTo>
                    <a:lnTo>
                      <a:pt x="29272" y="7935"/>
                    </a:lnTo>
                    <a:lnTo>
                      <a:pt x="28655" y="7053"/>
                    </a:lnTo>
                    <a:lnTo>
                      <a:pt x="27508" y="6524"/>
                    </a:lnTo>
                    <a:lnTo>
                      <a:pt x="28126" y="5907"/>
                    </a:lnTo>
                    <a:lnTo>
                      <a:pt x="26627" y="5290"/>
                    </a:lnTo>
                    <a:lnTo>
                      <a:pt x="26010" y="5907"/>
                    </a:lnTo>
                    <a:lnTo>
                      <a:pt x="24864" y="4144"/>
                    </a:lnTo>
                    <a:lnTo>
                      <a:pt x="24246" y="4761"/>
                    </a:lnTo>
                    <a:lnTo>
                      <a:pt x="24511" y="7935"/>
                    </a:lnTo>
                    <a:lnTo>
                      <a:pt x="24246" y="9081"/>
                    </a:lnTo>
                    <a:lnTo>
                      <a:pt x="22483" y="8200"/>
                    </a:lnTo>
                    <a:lnTo>
                      <a:pt x="21601" y="7053"/>
                    </a:lnTo>
                    <a:lnTo>
                      <a:pt x="20455" y="9081"/>
                    </a:lnTo>
                    <a:lnTo>
                      <a:pt x="19044" y="6789"/>
                    </a:lnTo>
                    <a:lnTo>
                      <a:pt x="17898" y="7053"/>
                    </a:lnTo>
                    <a:lnTo>
                      <a:pt x="19397" y="8200"/>
                    </a:lnTo>
                    <a:lnTo>
                      <a:pt x="17369" y="7935"/>
                    </a:lnTo>
                    <a:lnTo>
                      <a:pt x="17016" y="7671"/>
                    </a:lnTo>
                    <a:lnTo>
                      <a:pt x="14724" y="7671"/>
                    </a:lnTo>
                    <a:lnTo>
                      <a:pt x="13843" y="9434"/>
                    </a:lnTo>
                    <a:lnTo>
                      <a:pt x="12961" y="9434"/>
                    </a:lnTo>
                    <a:lnTo>
                      <a:pt x="13843" y="11462"/>
                    </a:lnTo>
                    <a:lnTo>
                      <a:pt x="12696" y="10933"/>
                    </a:lnTo>
                    <a:lnTo>
                      <a:pt x="12432" y="10316"/>
                    </a:lnTo>
                    <a:lnTo>
                      <a:pt x="11550" y="10933"/>
                    </a:lnTo>
                    <a:lnTo>
                      <a:pt x="9787" y="10316"/>
                    </a:lnTo>
                    <a:lnTo>
                      <a:pt x="8023" y="8552"/>
                    </a:lnTo>
                    <a:lnTo>
                      <a:pt x="6524" y="8552"/>
                    </a:lnTo>
                    <a:lnTo>
                      <a:pt x="6260" y="9434"/>
                    </a:lnTo>
                    <a:lnTo>
                      <a:pt x="3350" y="10051"/>
                    </a:lnTo>
                    <a:lnTo>
                      <a:pt x="3967" y="9434"/>
                    </a:lnTo>
                    <a:lnTo>
                      <a:pt x="4585" y="8817"/>
                    </a:lnTo>
                    <a:lnTo>
                      <a:pt x="3967" y="7935"/>
                    </a:lnTo>
                    <a:lnTo>
                      <a:pt x="1940" y="9963"/>
                    </a:lnTo>
                    <a:lnTo>
                      <a:pt x="1675" y="10845"/>
                    </a:lnTo>
                    <a:lnTo>
                      <a:pt x="1411" y="12608"/>
                    </a:lnTo>
                    <a:lnTo>
                      <a:pt x="2028" y="13754"/>
                    </a:lnTo>
                    <a:lnTo>
                      <a:pt x="2028" y="15518"/>
                    </a:lnTo>
                    <a:lnTo>
                      <a:pt x="2909" y="17017"/>
                    </a:lnTo>
                    <a:lnTo>
                      <a:pt x="1146" y="16752"/>
                    </a:lnTo>
                    <a:lnTo>
                      <a:pt x="264" y="18251"/>
                    </a:lnTo>
                    <a:lnTo>
                      <a:pt x="1411" y="19662"/>
                    </a:lnTo>
                    <a:lnTo>
                      <a:pt x="529" y="20279"/>
                    </a:lnTo>
                    <a:lnTo>
                      <a:pt x="264" y="21160"/>
                    </a:lnTo>
                    <a:lnTo>
                      <a:pt x="0" y="22659"/>
                    </a:lnTo>
                    <a:lnTo>
                      <a:pt x="617" y="23541"/>
                    </a:lnTo>
                    <a:lnTo>
                      <a:pt x="2116" y="24423"/>
                    </a:lnTo>
                    <a:lnTo>
                      <a:pt x="3879" y="24158"/>
                    </a:lnTo>
                    <a:lnTo>
                      <a:pt x="4144" y="25569"/>
                    </a:lnTo>
                    <a:lnTo>
                      <a:pt x="5026" y="24952"/>
                    </a:lnTo>
                    <a:lnTo>
                      <a:pt x="5907" y="26451"/>
                    </a:lnTo>
                    <a:lnTo>
                      <a:pt x="5290" y="27597"/>
                    </a:lnTo>
                    <a:lnTo>
                      <a:pt x="2645" y="28743"/>
                    </a:lnTo>
                    <a:lnTo>
                      <a:pt x="2380" y="29889"/>
                    </a:lnTo>
                    <a:lnTo>
                      <a:pt x="3527" y="30506"/>
                    </a:lnTo>
                    <a:lnTo>
                      <a:pt x="5819" y="30242"/>
                    </a:lnTo>
                    <a:lnTo>
                      <a:pt x="7318" y="31123"/>
                    </a:lnTo>
                    <a:lnTo>
                      <a:pt x="5555" y="32622"/>
                    </a:lnTo>
                    <a:lnTo>
                      <a:pt x="5819" y="34650"/>
                    </a:lnTo>
                    <a:lnTo>
                      <a:pt x="6701" y="34915"/>
                    </a:lnTo>
                    <a:lnTo>
                      <a:pt x="7847" y="34297"/>
                    </a:lnTo>
                    <a:lnTo>
                      <a:pt x="10492" y="35796"/>
                    </a:lnTo>
                    <a:lnTo>
                      <a:pt x="12255" y="35532"/>
                    </a:lnTo>
                    <a:lnTo>
                      <a:pt x="13754" y="36678"/>
                    </a:lnTo>
                    <a:lnTo>
                      <a:pt x="15518" y="36414"/>
                    </a:lnTo>
                    <a:lnTo>
                      <a:pt x="14900" y="35532"/>
                    </a:lnTo>
                    <a:lnTo>
                      <a:pt x="16047" y="34650"/>
                    </a:lnTo>
                    <a:lnTo>
                      <a:pt x="18074" y="33769"/>
                    </a:lnTo>
                    <a:lnTo>
                      <a:pt x="19221" y="34915"/>
                    </a:lnTo>
                    <a:lnTo>
                      <a:pt x="20367" y="35796"/>
                    </a:lnTo>
                    <a:lnTo>
                      <a:pt x="21513" y="36943"/>
                    </a:lnTo>
                    <a:lnTo>
                      <a:pt x="19221" y="37207"/>
                    </a:lnTo>
                    <a:lnTo>
                      <a:pt x="18339" y="36943"/>
                    </a:lnTo>
                    <a:lnTo>
                      <a:pt x="16840" y="37824"/>
                    </a:lnTo>
                    <a:lnTo>
                      <a:pt x="17986" y="38706"/>
                    </a:lnTo>
                    <a:lnTo>
                      <a:pt x="20279" y="39588"/>
                    </a:lnTo>
                    <a:lnTo>
                      <a:pt x="18515" y="39852"/>
                    </a:lnTo>
                    <a:lnTo>
                      <a:pt x="16752" y="39852"/>
                    </a:lnTo>
                    <a:lnTo>
                      <a:pt x="18515" y="40734"/>
                    </a:lnTo>
                    <a:lnTo>
                      <a:pt x="19132" y="42762"/>
                    </a:lnTo>
                    <a:lnTo>
                      <a:pt x="31917" y="39588"/>
                    </a:lnTo>
                    <a:lnTo>
                      <a:pt x="55546" y="49815"/>
                    </a:lnTo>
                    <a:lnTo>
                      <a:pt x="69829" y="48669"/>
                    </a:lnTo>
                    <a:lnTo>
                      <a:pt x="73621" y="45142"/>
                    </a:lnTo>
                    <a:lnTo>
                      <a:pt x="72474" y="34915"/>
                    </a:lnTo>
                    <a:lnTo>
                      <a:pt x="69829" y="25922"/>
                    </a:lnTo>
                    <a:lnTo>
                      <a:pt x="77412" y="264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3" name="Freihandform: Form 1592">
                <a:extLst>
                  <a:ext uri="{FF2B5EF4-FFF2-40B4-BE49-F238E27FC236}">
                    <a16:creationId xmlns:a16="http://schemas.microsoft.com/office/drawing/2014/main" id="{4827ED9E-D763-F7E7-6D89-5F9141F94EA6}"/>
                  </a:ext>
                </a:extLst>
              </p:cNvPr>
              <p:cNvSpPr/>
              <p:nvPr/>
            </p:nvSpPr>
            <p:spPr>
              <a:xfrm>
                <a:off x="4595148" y="3100925"/>
                <a:ext cx="59337" cy="39675"/>
              </a:xfrm>
              <a:custGeom>
                <a:avLst/>
                <a:gdLst>
                  <a:gd name="connsiteX0" fmla="*/ 1499 w 59337"/>
                  <a:gd name="connsiteY0" fmla="*/ 37560 h 39675"/>
                  <a:gd name="connsiteX1" fmla="*/ 4408 w 59337"/>
                  <a:gd name="connsiteY1" fmla="*/ 37560 h 39675"/>
                  <a:gd name="connsiteX2" fmla="*/ 6172 w 59337"/>
                  <a:gd name="connsiteY2" fmla="*/ 37824 h 39675"/>
                  <a:gd name="connsiteX3" fmla="*/ 7318 w 59337"/>
                  <a:gd name="connsiteY3" fmla="*/ 36942 h 39675"/>
                  <a:gd name="connsiteX4" fmla="*/ 9081 w 59337"/>
                  <a:gd name="connsiteY4" fmla="*/ 37560 h 39675"/>
                  <a:gd name="connsiteX5" fmla="*/ 10228 w 59337"/>
                  <a:gd name="connsiteY5" fmla="*/ 36413 h 39675"/>
                  <a:gd name="connsiteX6" fmla="*/ 11727 w 59337"/>
                  <a:gd name="connsiteY6" fmla="*/ 36413 h 39675"/>
                  <a:gd name="connsiteX7" fmla="*/ 12873 w 59337"/>
                  <a:gd name="connsiteY7" fmla="*/ 35532 h 39675"/>
                  <a:gd name="connsiteX8" fmla="*/ 14284 w 59337"/>
                  <a:gd name="connsiteY8" fmla="*/ 35532 h 39675"/>
                  <a:gd name="connsiteX9" fmla="*/ 14900 w 59337"/>
                  <a:gd name="connsiteY9" fmla="*/ 36413 h 39675"/>
                  <a:gd name="connsiteX10" fmla="*/ 14636 w 59337"/>
                  <a:gd name="connsiteY10" fmla="*/ 37560 h 39675"/>
                  <a:gd name="connsiteX11" fmla="*/ 14636 w 59337"/>
                  <a:gd name="connsiteY11" fmla="*/ 39059 h 39675"/>
                  <a:gd name="connsiteX12" fmla="*/ 13578 w 59337"/>
                  <a:gd name="connsiteY12" fmla="*/ 39059 h 39675"/>
                  <a:gd name="connsiteX13" fmla="*/ 15870 w 59337"/>
                  <a:gd name="connsiteY13" fmla="*/ 39676 h 39675"/>
                  <a:gd name="connsiteX14" fmla="*/ 17193 w 59337"/>
                  <a:gd name="connsiteY14" fmla="*/ 39059 h 39675"/>
                  <a:gd name="connsiteX15" fmla="*/ 18339 w 59337"/>
                  <a:gd name="connsiteY15" fmla="*/ 39059 h 39675"/>
                  <a:gd name="connsiteX16" fmla="*/ 18956 w 59337"/>
                  <a:gd name="connsiteY16" fmla="*/ 37560 h 39675"/>
                  <a:gd name="connsiteX17" fmla="*/ 22483 w 59337"/>
                  <a:gd name="connsiteY17" fmla="*/ 36413 h 39675"/>
                  <a:gd name="connsiteX18" fmla="*/ 24511 w 59337"/>
                  <a:gd name="connsiteY18" fmla="*/ 34650 h 39675"/>
                  <a:gd name="connsiteX19" fmla="*/ 24775 w 59337"/>
                  <a:gd name="connsiteY19" fmla="*/ 32005 h 39675"/>
                  <a:gd name="connsiteX20" fmla="*/ 26803 w 59337"/>
                  <a:gd name="connsiteY20" fmla="*/ 29360 h 39675"/>
                  <a:gd name="connsiteX21" fmla="*/ 27685 w 59337"/>
                  <a:gd name="connsiteY21" fmla="*/ 29095 h 39675"/>
                  <a:gd name="connsiteX22" fmla="*/ 27421 w 59337"/>
                  <a:gd name="connsiteY22" fmla="*/ 27332 h 39675"/>
                  <a:gd name="connsiteX23" fmla="*/ 32093 w 59337"/>
                  <a:gd name="connsiteY23" fmla="*/ 26451 h 39675"/>
                  <a:gd name="connsiteX24" fmla="*/ 33857 w 59337"/>
                  <a:gd name="connsiteY24" fmla="*/ 27332 h 39675"/>
                  <a:gd name="connsiteX25" fmla="*/ 33857 w 59337"/>
                  <a:gd name="connsiteY25" fmla="*/ 27597 h 39675"/>
                  <a:gd name="connsiteX26" fmla="*/ 36237 w 59337"/>
                  <a:gd name="connsiteY26" fmla="*/ 27597 h 39675"/>
                  <a:gd name="connsiteX27" fmla="*/ 38001 w 59337"/>
                  <a:gd name="connsiteY27" fmla="*/ 26451 h 39675"/>
                  <a:gd name="connsiteX28" fmla="*/ 40646 w 59337"/>
                  <a:gd name="connsiteY28" fmla="*/ 24687 h 39675"/>
                  <a:gd name="connsiteX29" fmla="*/ 42409 w 59337"/>
                  <a:gd name="connsiteY29" fmla="*/ 24687 h 39675"/>
                  <a:gd name="connsiteX30" fmla="*/ 45319 w 59337"/>
                  <a:gd name="connsiteY30" fmla="*/ 25216 h 39675"/>
                  <a:gd name="connsiteX31" fmla="*/ 47964 w 59337"/>
                  <a:gd name="connsiteY31" fmla="*/ 27244 h 39675"/>
                  <a:gd name="connsiteX32" fmla="*/ 48581 w 59337"/>
                  <a:gd name="connsiteY32" fmla="*/ 27244 h 39675"/>
                  <a:gd name="connsiteX33" fmla="*/ 48581 w 59337"/>
                  <a:gd name="connsiteY33" fmla="*/ 26362 h 39675"/>
                  <a:gd name="connsiteX34" fmla="*/ 48228 w 59337"/>
                  <a:gd name="connsiteY34" fmla="*/ 25216 h 39675"/>
                  <a:gd name="connsiteX35" fmla="*/ 48228 w 59337"/>
                  <a:gd name="connsiteY35" fmla="*/ 24687 h 39675"/>
                  <a:gd name="connsiteX36" fmla="*/ 49110 w 59337"/>
                  <a:gd name="connsiteY36" fmla="*/ 25216 h 39675"/>
                  <a:gd name="connsiteX37" fmla="*/ 49374 w 59337"/>
                  <a:gd name="connsiteY37" fmla="*/ 26362 h 39675"/>
                  <a:gd name="connsiteX38" fmla="*/ 49374 w 59337"/>
                  <a:gd name="connsiteY38" fmla="*/ 27508 h 39675"/>
                  <a:gd name="connsiteX39" fmla="*/ 52284 w 59337"/>
                  <a:gd name="connsiteY39" fmla="*/ 27244 h 39675"/>
                  <a:gd name="connsiteX40" fmla="*/ 53783 w 59337"/>
                  <a:gd name="connsiteY40" fmla="*/ 28126 h 39675"/>
                  <a:gd name="connsiteX41" fmla="*/ 55282 w 59337"/>
                  <a:gd name="connsiteY41" fmla="*/ 27244 h 39675"/>
                  <a:gd name="connsiteX42" fmla="*/ 58191 w 59337"/>
                  <a:gd name="connsiteY42" fmla="*/ 27244 h 39675"/>
                  <a:gd name="connsiteX43" fmla="*/ 58191 w 59337"/>
                  <a:gd name="connsiteY43" fmla="*/ 26362 h 39675"/>
                  <a:gd name="connsiteX44" fmla="*/ 58456 w 59337"/>
                  <a:gd name="connsiteY44" fmla="*/ 25216 h 39675"/>
                  <a:gd name="connsiteX45" fmla="*/ 58985 w 59337"/>
                  <a:gd name="connsiteY45" fmla="*/ 24687 h 39675"/>
                  <a:gd name="connsiteX46" fmla="*/ 58456 w 59337"/>
                  <a:gd name="connsiteY46" fmla="*/ 23805 h 39675"/>
                  <a:gd name="connsiteX47" fmla="*/ 58191 w 59337"/>
                  <a:gd name="connsiteY47" fmla="*/ 22924 h 39675"/>
                  <a:gd name="connsiteX48" fmla="*/ 59337 w 59337"/>
                  <a:gd name="connsiteY48" fmla="*/ 21777 h 39675"/>
                  <a:gd name="connsiteX49" fmla="*/ 59337 w 59337"/>
                  <a:gd name="connsiteY49" fmla="*/ 20896 h 39675"/>
                  <a:gd name="connsiteX50" fmla="*/ 57927 w 59337"/>
                  <a:gd name="connsiteY50" fmla="*/ 20367 h 39675"/>
                  <a:gd name="connsiteX51" fmla="*/ 57309 w 59337"/>
                  <a:gd name="connsiteY51" fmla="*/ 20367 h 39675"/>
                  <a:gd name="connsiteX52" fmla="*/ 53518 w 59337"/>
                  <a:gd name="connsiteY52" fmla="*/ 20102 h 39675"/>
                  <a:gd name="connsiteX53" fmla="*/ 49727 w 59337"/>
                  <a:gd name="connsiteY53" fmla="*/ 18603 h 39675"/>
                  <a:gd name="connsiteX54" fmla="*/ 48228 w 59337"/>
                  <a:gd name="connsiteY54" fmla="*/ 18603 h 39675"/>
                  <a:gd name="connsiteX55" fmla="*/ 46465 w 59337"/>
                  <a:gd name="connsiteY55" fmla="*/ 16311 h 39675"/>
                  <a:gd name="connsiteX56" fmla="*/ 39764 w 59337"/>
                  <a:gd name="connsiteY56" fmla="*/ 13930 h 39675"/>
                  <a:gd name="connsiteX57" fmla="*/ 39147 w 59337"/>
                  <a:gd name="connsiteY57" fmla="*/ 12784 h 39675"/>
                  <a:gd name="connsiteX58" fmla="*/ 38001 w 59337"/>
                  <a:gd name="connsiteY58" fmla="*/ 11903 h 39675"/>
                  <a:gd name="connsiteX59" fmla="*/ 37736 w 59337"/>
                  <a:gd name="connsiteY59" fmla="*/ 11021 h 39675"/>
                  <a:gd name="connsiteX60" fmla="*/ 36326 w 59337"/>
                  <a:gd name="connsiteY60" fmla="*/ 8640 h 39675"/>
                  <a:gd name="connsiteX61" fmla="*/ 36061 w 59337"/>
                  <a:gd name="connsiteY61" fmla="*/ 7494 h 39675"/>
                  <a:gd name="connsiteX62" fmla="*/ 35444 w 59337"/>
                  <a:gd name="connsiteY62" fmla="*/ 5731 h 39675"/>
                  <a:gd name="connsiteX63" fmla="*/ 35444 w 59337"/>
                  <a:gd name="connsiteY63" fmla="*/ 4585 h 39675"/>
                  <a:gd name="connsiteX64" fmla="*/ 35708 w 59337"/>
                  <a:gd name="connsiteY64" fmla="*/ 4585 h 39675"/>
                  <a:gd name="connsiteX65" fmla="*/ 36590 w 59337"/>
                  <a:gd name="connsiteY65" fmla="*/ 2557 h 39675"/>
                  <a:gd name="connsiteX66" fmla="*/ 34562 w 59337"/>
                  <a:gd name="connsiteY66" fmla="*/ 2292 h 39675"/>
                  <a:gd name="connsiteX67" fmla="*/ 33416 w 59337"/>
                  <a:gd name="connsiteY67" fmla="*/ 2557 h 39675"/>
                  <a:gd name="connsiteX68" fmla="*/ 31917 w 59337"/>
                  <a:gd name="connsiteY68" fmla="*/ 2557 h 39675"/>
                  <a:gd name="connsiteX69" fmla="*/ 31388 w 59337"/>
                  <a:gd name="connsiteY69" fmla="*/ 3439 h 39675"/>
                  <a:gd name="connsiteX70" fmla="*/ 29360 w 59337"/>
                  <a:gd name="connsiteY70" fmla="*/ 2557 h 39675"/>
                  <a:gd name="connsiteX71" fmla="*/ 27597 w 59337"/>
                  <a:gd name="connsiteY71" fmla="*/ 4056 h 39675"/>
                  <a:gd name="connsiteX72" fmla="*/ 26451 w 59337"/>
                  <a:gd name="connsiteY72" fmla="*/ 5202 h 39675"/>
                  <a:gd name="connsiteX73" fmla="*/ 26451 w 59337"/>
                  <a:gd name="connsiteY73" fmla="*/ 4056 h 39675"/>
                  <a:gd name="connsiteX74" fmla="*/ 25305 w 59337"/>
                  <a:gd name="connsiteY74" fmla="*/ 4056 h 39675"/>
                  <a:gd name="connsiteX75" fmla="*/ 24423 w 59337"/>
                  <a:gd name="connsiteY75" fmla="*/ 2557 h 39675"/>
                  <a:gd name="connsiteX76" fmla="*/ 23277 w 59337"/>
                  <a:gd name="connsiteY76" fmla="*/ 1411 h 39675"/>
                  <a:gd name="connsiteX77" fmla="*/ 21866 w 59337"/>
                  <a:gd name="connsiteY77" fmla="*/ 264 h 39675"/>
                  <a:gd name="connsiteX78" fmla="*/ 20102 w 59337"/>
                  <a:gd name="connsiteY78" fmla="*/ 0 h 39675"/>
                  <a:gd name="connsiteX79" fmla="*/ 19485 w 59337"/>
                  <a:gd name="connsiteY79" fmla="*/ 264 h 39675"/>
                  <a:gd name="connsiteX80" fmla="*/ 19221 w 59337"/>
                  <a:gd name="connsiteY80" fmla="*/ 1146 h 39675"/>
                  <a:gd name="connsiteX81" fmla="*/ 18339 w 59337"/>
                  <a:gd name="connsiteY81" fmla="*/ 1411 h 39675"/>
                  <a:gd name="connsiteX82" fmla="*/ 17457 w 59337"/>
                  <a:gd name="connsiteY82" fmla="*/ 264 h 39675"/>
                  <a:gd name="connsiteX83" fmla="*/ 16576 w 59337"/>
                  <a:gd name="connsiteY83" fmla="*/ 264 h 39675"/>
                  <a:gd name="connsiteX84" fmla="*/ 16311 w 59337"/>
                  <a:gd name="connsiteY84" fmla="*/ 1411 h 39675"/>
                  <a:gd name="connsiteX85" fmla="*/ 15429 w 59337"/>
                  <a:gd name="connsiteY85" fmla="*/ 1675 h 39675"/>
                  <a:gd name="connsiteX86" fmla="*/ 15165 w 59337"/>
                  <a:gd name="connsiteY86" fmla="*/ 2557 h 39675"/>
                  <a:gd name="connsiteX87" fmla="*/ 14284 w 59337"/>
                  <a:gd name="connsiteY87" fmla="*/ 2557 h 39675"/>
                  <a:gd name="connsiteX88" fmla="*/ 13137 w 59337"/>
                  <a:gd name="connsiteY88" fmla="*/ 2821 h 39675"/>
                  <a:gd name="connsiteX89" fmla="*/ 12256 w 59337"/>
                  <a:gd name="connsiteY89" fmla="*/ 2821 h 39675"/>
                  <a:gd name="connsiteX90" fmla="*/ 11991 w 59337"/>
                  <a:gd name="connsiteY90" fmla="*/ 3439 h 39675"/>
                  <a:gd name="connsiteX91" fmla="*/ 10492 w 59337"/>
                  <a:gd name="connsiteY91" fmla="*/ 2821 h 39675"/>
                  <a:gd name="connsiteX92" fmla="*/ 10228 w 59337"/>
                  <a:gd name="connsiteY92" fmla="*/ 3439 h 39675"/>
                  <a:gd name="connsiteX93" fmla="*/ 7847 w 59337"/>
                  <a:gd name="connsiteY93" fmla="*/ 2557 h 39675"/>
                  <a:gd name="connsiteX94" fmla="*/ 6084 w 59337"/>
                  <a:gd name="connsiteY94" fmla="*/ 3703 h 39675"/>
                  <a:gd name="connsiteX95" fmla="*/ 7583 w 59337"/>
                  <a:gd name="connsiteY95" fmla="*/ 5202 h 39675"/>
                  <a:gd name="connsiteX96" fmla="*/ 6436 w 59337"/>
                  <a:gd name="connsiteY96" fmla="*/ 6348 h 39675"/>
                  <a:gd name="connsiteX97" fmla="*/ 3527 w 59337"/>
                  <a:gd name="connsiteY97" fmla="*/ 6348 h 39675"/>
                  <a:gd name="connsiteX98" fmla="*/ 3262 w 59337"/>
                  <a:gd name="connsiteY98" fmla="*/ 7494 h 39675"/>
                  <a:gd name="connsiteX99" fmla="*/ 2998 w 59337"/>
                  <a:gd name="connsiteY99" fmla="*/ 8111 h 39675"/>
                  <a:gd name="connsiteX100" fmla="*/ 2381 w 59337"/>
                  <a:gd name="connsiteY100" fmla="*/ 8993 h 39675"/>
                  <a:gd name="connsiteX101" fmla="*/ 2645 w 59337"/>
                  <a:gd name="connsiteY101" fmla="*/ 9610 h 39675"/>
                  <a:gd name="connsiteX102" fmla="*/ 5907 w 59337"/>
                  <a:gd name="connsiteY102" fmla="*/ 11021 h 39675"/>
                  <a:gd name="connsiteX103" fmla="*/ 9081 w 59337"/>
                  <a:gd name="connsiteY103" fmla="*/ 12784 h 39675"/>
                  <a:gd name="connsiteX104" fmla="*/ 9346 w 59337"/>
                  <a:gd name="connsiteY104" fmla="*/ 13930 h 39675"/>
                  <a:gd name="connsiteX105" fmla="*/ 9081 w 59337"/>
                  <a:gd name="connsiteY105" fmla="*/ 16311 h 39675"/>
                  <a:gd name="connsiteX106" fmla="*/ 9699 w 59337"/>
                  <a:gd name="connsiteY106" fmla="*/ 18956 h 39675"/>
                  <a:gd name="connsiteX107" fmla="*/ 9434 w 59337"/>
                  <a:gd name="connsiteY107" fmla="*/ 19838 h 39675"/>
                  <a:gd name="connsiteX108" fmla="*/ 7935 w 59337"/>
                  <a:gd name="connsiteY108" fmla="*/ 18956 h 39675"/>
                  <a:gd name="connsiteX109" fmla="*/ 4408 w 59337"/>
                  <a:gd name="connsiteY109" fmla="*/ 20102 h 39675"/>
                  <a:gd name="connsiteX110" fmla="*/ 3527 w 59337"/>
                  <a:gd name="connsiteY110" fmla="*/ 20367 h 39675"/>
                  <a:gd name="connsiteX111" fmla="*/ 3527 w 59337"/>
                  <a:gd name="connsiteY111" fmla="*/ 21866 h 39675"/>
                  <a:gd name="connsiteX112" fmla="*/ 2998 w 59337"/>
                  <a:gd name="connsiteY112" fmla="*/ 22130 h 39675"/>
                  <a:gd name="connsiteX113" fmla="*/ 3879 w 59337"/>
                  <a:gd name="connsiteY113" fmla="*/ 23012 h 39675"/>
                  <a:gd name="connsiteX114" fmla="*/ 3262 w 59337"/>
                  <a:gd name="connsiteY114" fmla="*/ 23894 h 39675"/>
                  <a:gd name="connsiteX115" fmla="*/ 3879 w 59337"/>
                  <a:gd name="connsiteY115" fmla="*/ 24158 h 39675"/>
                  <a:gd name="connsiteX116" fmla="*/ 3262 w 59337"/>
                  <a:gd name="connsiteY116" fmla="*/ 24775 h 39675"/>
                  <a:gd name="connsiteX117" fmla="*/ 4408 w 59337"/>
                  <a:gd name="connsiteY117" fmla="*/ 25657 h 39675"/>
                  <a:gd name="connsiteX118" fmla="*/ 4673 w 59337"/>
                  <a:gd name="connsiteY118" fmla="*/ 25921 h 39675"/>
                  <a:gd name="connsiteX119" fmla="*/ 5907 w 59337"/>
                  <a:gd name="connsiteY119" fmla="*/ 26803 h 39675"/>
                  <a:gd name="connsiteX120" fmla="*/ 5907 w 59337"/>
                  <a:gd name="connsiteY120" fmla="*/ 27420 h 39675"/>
                  <a:gd name="connsiteX121" fmla="*/ 4673 w 59337"/>
                  <a:gd name="connsiteY121" fmla="*/ 28037 h 39675"/>
                  <a:gd name="connsiteX122" fmla="*/ 6172 w 59337"/>
                  <a:gd name="connsiteY122" fmla="*/ 28655 h 39675"/>
                  <a:gd name="connsiteX123" fmla="*/ 5026 w 59337"/>
                  <a:gd name="connsiteY123" fmla="*/ 29272 h 39675"/>
                  <a:gd name="connsiteX124" fmla="*/ 3879 w 59337"/>
                  <a:gd name="connsiteY124" fmla="*/ 29272 h 39675"/>
                  <a:gd name="connsiteX125" fmla="*/ 2733 w 59337"/>
                  <a:gd name="connsiteY125" fmla="*/ 29889 h 39675"/>
                  <a:gd name="connsiteX126" fmla="*/ 2733 w 59337"/>
                  <a:gd name="connsiteY126" fmla="*/ 31035 h 39675"/>
                  <a:gd name="connsiteX127" fmla="*/ 2998 w 59337"/>
                  <a:gd name="connsiteY127" fmla="*/ 31917 h 39675"/>
                  <a:gd name="connsiteX128" fmla="*/ 2116 w 59337"/>
                  <a:gd name="connsiteY128" fmla="*/ 31300 h 39675"/>
                  <a:gd name="connsiteX129" fmla="*/ 1499 w 59337"/>
                  <a:gd name="connsiteY129" fmla="*/ 30418 h 39675"/>
                  <a:gd name="connsiteX130" fmla="*/ 1146 w 59337"/>
                  <a:gd name="connsiteY130" fmla="*/ 31035 h 39675"/>
                  <a:gd name="connsiteX131" fmla="*/ 1146 w 59337"/>
                  <a:gd name="connsiteY131" fmla="*/ 32799 h 39675"/>
                  <a:gd name="connsiteX132" fmla="*/ 264 w 59337"/>
                  <a:gd name="connsiteY132" fmla="*/ 32799 h 39675"/>
                  <a:gd name="connsiteX133" fmla="*/ 0 w 59337"/>
                  <a:gd name="connsiteY133" fmla="*/ 35708 h 39675"/>
                  <a:gd name="connsiteX134" fmla="*/ 882 w 59337"/>
                  <a:gd name="connsiteY134" fmla="*/ 37207 h 39675"/>
                  <a:gd name="connsiteX135" fmla="*/ 1499 w 59337"/>
                  <a:gd name="connsiteY135" fmla="*/ 37560 h 3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9337" h="39675">
                    <a:moveTo>
                      <a:pt x="1499" y="37560"/>
                    </a:moveTo>
                    <a:lnTo>
                      <a:pt x="4408" y="37560"/>
                    </a:lnTo>
                    <a:lnTo>
                      <a:pt x="6172" y="37824"/>
                    </a:lnTo>
                    <a:lnTo>
                      <a:pt x="7318" y="36942"/>
                    </a:lnTo>
                    <a:lnTo>
                      <a:pt x="9081" y="37560"/>
                    </a:lnTo>
                    <a:lnTo>
                      <a:pt x="10228" y="36413"/>
                    </a:lnTo>
                    <a:lnTo>
                      <a:pt x="11727" y="36413"/>
                    </a:lnTo>
                    <a:lnTo>
                      <a:pt x="12873" y="35532"/>
                    </a:lnTo>
                    <a:lnTo>
                      <a:pt x="14284" y="35532"/>
                    </a:lnTo>
                    <a:lnTo>
                      <a:pt x="14900" y="36413"/>
                    </a:lnTo>
                    <a:lnTo>
                      <a:pt x="14636" y="37560"/>
                    </a:lnTo>
                    <a:lnTo>
                      <a:pt x="14636" y="39059"/>
                    </a:lnTo>
                    <a:lnTo>
                      <a:pt x="13578" y="39059"/>
                    </a:lnTo>
                    <a:cubicBezTo>
                      <a:pt x="14371" y="39235"/>
                      <a:pt x="15165" y="39411"/>
                      <a:pt x="15870" y="39676"/>
                    </a:cubicBezTo>
                    <a:lnTo>
                      <a:pt x="17193" y="39059"/>
                    </a:lnTo>
                    <a:lnTo>
                      <a:pt x="18339" y="39059"/>
                    </a:lnTo>
                    <a:lnTo>
                      <a:pt x="18956" y="37560"/>
                    </a:lnTo>
                    <a:lnTo>
                      <a:pt x="22483" y="36413"/>
                    </a:lnTo>
                    <a:lnTo>
                      <a:pt x="24511" y="34650"/>
                    </a:lnTo>
                    <a:lnTo>
                      <a:pt x="24775" y="32005"/>
                    </a:lnTo>
                    <a:lnTo>
                      <a:pt x="26803" y="29360"/>
                    </a:lnTo>
                    <a:lnTo>
                      <a:pt x="27685" y="29095"/>
                    </a:lnTo>
                    <a:lnTo>
                      <a:pt x="27421" y="27332"/>
                    </a:lnTo>
                    <a:lnTo>
                      <a:pt x="32093" y="26451"/>
                    </a:lnTo>
                    <a:lnTo>
                      <a:pt x="33857" y="27332"/>
                    </a:lnTo>
                    <a:lnTo>
                      <a:pt x="33857" y="27597"/>
                    </a:lnTo>
                    <a:lnTo>
                      <a:pt x="36237" y="27597"/>
                    </a:lnTo>
                    <a:lnTo>
                      <a:pt x="38001" y="26451"/>
                    </a:lnTo>
                    <a:lnTo>
                      <a:pt x="40646" y="24687"/>
                    </a:lnTo>
                    <a:lnTo>
                      <a:pt x="42409" y="24687"/>
                    </a:lnTo>
                    <a:lnTo>
                      <a:pt x="45319" y="25216"/>
                    </a:lnTo>
                    <a:lnTo>
                      <a:pt x="47964" y="27244"/>
                    </a:lnTo>
                    <a:lnTo>
                      <a:pt x="48581" y="27244"/>
                    </a:lnTo>
                    <a:lnTo>
                      <a:pt x="48581" y="26362"/>
                    </a:lnTo>
                    <a:lnTo>
                      <a:pt x="48228" y="25216"/>
                    </a:lnTo>
                    <a:lnTo>
                      <a:pt x="48228" y="24687"/>
                    </a:lnTo>
                    <a:lnTo>
                      <a:pt x="49110" y="25216"/>
                    </a:lnTo>
                    <a:lnTo>
                      <a:pt x="49374" y="26362"/>
                    </a:lnTo>
                    <a:lnTo>
                      <a:pt x="49374" y="27508"/>
                    </a:lnTo>
                    <a:lnTo>
                      <a:pt x="52284" y="27244"/>
                    </a:lnTo>
                    <a:lnTo>
                      <a:pt x="53783" y="28126"/>
                    </a:lnTo>
                    <a:lnTo>
                      <a:pt x="55282" y="27244"/>
                    </a:lnTo>
                    <a:lnTo>
                      <a:pt x="58191" y="27244"/>
                    </a:lnTo>
                    <a:lnTo>
                      <a:pt x="58191" y="26362"/>
                    </a:lnTo>
                    <a:lnTo>
                      <a:pt x="58456" y="25216"/>
                    </a:lnTo>
                    <a:lnTo>
                      <a:pt x="58985" y="24687"/>
                    </a:lnTo>
                    <a:lnTo>
                      <a:pt x="58456" y="23805"/>
                    </a:lnTo>
                    <a:lnTo>
                      <a:pt x="58191" y="22924"/>
                    </a:lnTo>
                    <a:lnTo>
                      <a:pt x="59337" y="21777"/>
                    </a:lnTo>
                    <a:lnTo>
                      <a:pt x="59337" y="20896"/>
                    </a:lnTo>
                    <a:lnTo>
                      <a:pt x="57927" y="20367"/>
                    </a:lnTo>
                    <a:lnTo>
                      <a:pt x="57309" y="20367"/>
                    </a:lnTo>
                    <a:lnTo>
                      <a:pt x="53518" y="20102"/>
                    </a:lnTo>
                    <a:lnTo>
                      <a:pt x="49727" y="18603"/>
                    </a:lnTo>
                    <a:lnTo>
                      <a:pt x="48228" y="18603"/>
                    </a:lnTo>
                    <a:lnTo>
                      <a:pt x="46465" y="16311"/>
                    </a:lnTo>
                    <a:lnTo>
                      <a:pt x="39764" y="13930"/>
                    </a:lnTo>
                    <a:lnTo>
                      <a:pt x="39147" y="12784"/>
                    </a:lnTo>
                    <a:lnTo>
                      <a:pt x="38001" y="11903"/>
                    </a:lnTo>
                    <a:lnTo>
                      <a:pt x="37736" y="11021"/>
                    </a:lnTo>
                    <a:lnTo>
                      <a:pt x="36326" y="8640"/>
                    </a:lnTo>
                    <a:lnTo>
                      <a:pt x="36061" y="7494"/>
                    </a:lnTo>
                    <a:lnTo>
                      <a:pt x="35444" y="5731"/>
                    </a:lnTo>
                    <a:lnTo>
                      <a:pt x="35444" y="4585"/>
                    </a:lnTo>
                    <a:lnTo>
                      <a:pt x="35708" y="4585"/>
                    </a:lnTo>
                    <a:lnTo>
                      <a:pt x="36590" y="2557"/>
                    </a:lnTo>
                    <a:lnTo>
                      <a:pt x="34562" y="2292"/>
                    </a:lnTo>
                    <a:lnTo>
                      <a:pt x="33416" y="2557"/>
                    </a:lnTo>
                    <a:lnTo>
                      <a:pt x="31917" y="2557"/>
                    </a:lnTo>
                    <a:lnTo>
                      <a:pt x="31388" y="3439"/>
                    </a:lnTo>
                    <a:lnTo>
                      <a:pt x="29360" y="2557"/>
                    </a:lnTo>
                    <a:lnTo>
                      <a:pt x="27597" y="4056"/>
                    </a:lnTo>
                    <a:lnTo>
                      <a:pt x="26451" y="5202"/>
                    </a:lnTo>
                    <a:lnTo>
                      <a:pt x="26451" y="4056"/>
                    </a:lnTo>
                    <a:lnTo>
                      <a:pt x="25305" y="4056"/>
                    </a:lnTo>
                    <a:lnTo>
                      <a:pt x="24423" y="2557"/>
                    </a:lnTo>
                    <a:lnTo>
                      <a:pt x="23277" y="1411"/>
                    </a:lnTo>
                    <a:lnTo>
                      <a:pt x="21866" y="264"/>
                    </a:lnTo>
                    <a:lnTo>
                      <a:pt x="20102" y="0"/>
                    </a:lnTo>
                    <a:lnTo>
                      <a:pt x="19485" y="264"/>
                    </a:lnTo>
                    <a:lnTo>
                      <a:pt x="19221" y="1146"/>
                    </a:lnTo>
                    <a:lnTo>
                      <a:pt x="18339" y="1411"/>
                    </a:lnTo>
                    <a:lnTo>
                      <a:pt x="17457" y="264"/>
                    </a:lnTo>
                    <a:lnTo>
                      <a:pt x="16576" y="264"/>
                    </a:lnTo>
                    <a:lnTo>
                      <a:pt x="16311" y="1411"/>
                    </a:lnTo>
                    <a:lnTo>
                      <a:pt x="15429" y="1675"/>
                    </a:lnTo>
                    <a:lnTo>
                      <a:pt x="15165" y="2557"/>
                    </a:lnTo>
                    <a:lnTo>
                      <a:pt x="14284" y="2557"/>
                    </a:lnTo>
                    <a:lnTo>
                      <a:pt x="13137" y="2821"/>
                    </a:lnTo>
                    <a:lnTo>
                      <a:pt x="12256" y="2821"/>
                    </a:lnTo>
                    <a:lnTo>
                      <a:pt x="11991" y="3439"/>
                    </a:lnTo>
                    <a:lnTo>
                      <a:pt x="10492" y="2821"/>
                    </a:lnTo>
                    <a:lnTo>
                      <a:pt x="10228" y="3439"/>
                    </a:lnTo>
                    <a:lnTo>
                      <a:pt x="7847" y="2557"/>
                    </a:lnTo>
                    <a:lnTo>
                      <a:pt x="6084" y="3703"/>
                    </a:lnTo>
                    <a:lnTo>
                      <a:pt x="7583" y="5202"/>
                    </a:lnTo>
                    <a:lnTo>
                      <a:pt x="6436" y="6348"/>
                    </a:lnTo>
                    <a:lnTo>
                      <a:pt x="3527" y="6348"/>
                    </a:lnTo>
                    <a:lnTo>
                      <a:pt x="3262" y="7494"/>
                    </a:lnTo>
                    <a:lnTo>
                      <a:pt x="2998" y="8111"/>
                    </a:lnTo>
                    <a:lnTo>
                      <a:pt x="2381" y="8993"/>
                    </a:lnTo>
                    <a:lnTo>
                      <a:pt x="2645" y="9610"/>
                    </a:lnTo>
                    <a:lnTo>
                      <a:pt x="5907" y="11021"/>
                    </a:lnTo>
                    <a:lnTo>
                      <a:pt x="9081" y="12784"/>
                    </a:lnTo>
                    <a:lnTo>
                      <a:pt x="9346" y="13930"/>
                    </a:lnTo>
                    <a:lnTo>
                      <a:pt x="9081" y="16311"/>
                    </a:lnTo>
                    <a:lnTo>
                      <a:pt x="9699" y="18956"/>
                    </a:lnTo>
                    <a:lnTo>
                      <a:pt x="9434" y="19838"/>
                    </a:lnTo>
                    <a:lnTo>
                      <a:pt x="7935" y="18956"/>
                    </a:lnTo>
                    <a:lnTo>
                      <a:pt x="4408" y="20102"/>
                    </a:lnTo>
                    <a:lnTo>
                      <a:pt x="3527" y="20367"/>
                    </a:lnTo>
                    <a:lnTo>
                      <a:pt x="3527" y="21866"/>
                    </a:lnTo>
                    <a:lnTo>
                      <a:pt x="2998" y="22130"/>
                    </a:lnTo>
                    <a:lnTo>
                      <a:pt x="3879" y="23012"/>
                    </a:lnTo>
                    <a:lnTo>
                      <a:pt x="3262" y="23894"/>
                    </a:lnTo>
                    <a:lnTo>
                      <a:pt x="3879" y="24158"/>
                    </a:lnTo>
                    <a:lnTo>
                      <a:pt x="3262" y="24775"/>
                    </a:lnTo>
                    <a:lnTo>
                      <a:pt x="4408" y="25657"/>
                    </a:lnTo>
                    <a:lnTo>
                      <a:pt x="4673" y="25921"/>
                    </a:lnTo>
                    <a:lnTo>
                      <a:pt x="5907" y="26803"/>
                    </a:lnTo>
                    <a:lnTo>
                      <a:pt x="5907" y="27420"/>
                    </a:lnTo>
                    <a:lnTo>
                      <a:pt x="4673" y="28037"/>
                    </a:lnTo>
                    <a:lnTo>
                      <a:pt x="6172" y="28655"/>
                    </a:lnTo>
                    <a:lnTo>
                      <a:pt x="5026" y="29272"/>
                    </a:lnTo>
                    <a:lnTo>
                      <a:pt x="3879" y="29272"/>
                    </a:lnTo>
                    <a:lnTo>
                      <a:pt x="2733" y="29889"/>
                    </a:lnTo>
                    <a:lnTo>
                      <a:pt x="2733" y="31035"/>
                    </a:lnTo>
                    <a:lnTo>
                      <a:pt x="2998" y="31917"/>
                    </a:lnTo>
                    <a:lnTo>
                      <a:pt x="2116" y="31300"/>
                    </a:lnTo>
                    <a:lnTo>
                      <a:pt x="1499" y="30418"/>
                    </a:lnTo>
                    <a:lnTo>
                      <a:pt x="1146" y="31035"/>
                    </a:lnTo>
                    <a:lnTo>
                      <a:pt x="1146" y="32799"/>
                    </a:lnTo>
                    <a:lnTo>
                      <a:pt x="264" y="32799"/>
                    </a:lnTo>
                    <a:lnTo>
                      <a:pt x="0" y="35708"/>
                    </a:lnTo>
                    <a:lnTo>
                      <a:pt x="882" y="37207"/>
                    </a:lnTo>
                    <a:lnTo>
                      <a:pt x="1499" y="37560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4" name="Freihandform: Form 1593">
                <a:extLst>
                  <a:ext uri="{FF2B5EF4-FFF2-40B4-BE49-F238E27FC236}">
                    <a16:creationId xmlns:a16="http://schemas.microsoft.com/office/drawing/2014/main" id="{CA63A4D2-7705-4A9E-7EAC-4577B5ED475D}"/>
                  </a:ext>
                </a:extLst>
              </p:cNvPr>
              <p:cNvSpPr/>
              <p:nvPr/>
            </p:nvSpPr>
            <p:spPr>
              <a:xfrm>
                <a:off x="4180227" y="2788015"/>
                <a:ext cx="173074" cy="187622"/>
              </a:xfrm>
              <a:custGeom>
                <a:avLst/>
                <a:gdLst>
                  <a:gd name="connsiteX0" fmla="*/ 5731 w 173074"/>
                  <a:gd name="connsiteY0" fmla="*/ 104656 h 187622"/>
                  <a:gd name="connsiteX1" fmla="*/ 5114 w 173074"/>
                  <a:gd name="connsiteY1" fmla="*/ 103510 h 187622"/>
                  <a:gd name="connsiteX2" fmla="*/ 3615 w 173074"/>
                  <a:gd name="connsiteY2" fmla="*/ 102892 h 187622"/>
                  <a:gd name="connsiteX3" fmla="*/ 3615 w 173074"/>
                  <a:gd name="connsiteY3" fmla="*/ 102011 h 187622"/>
                  <a:gd name="connsiteX4" fmla="*/ 2998 w 173074"/>
                  <a:gd name="connsiteY4" fmla="*/ 101129 h 187622"/>
                  <a:gd name="connsiteX5" fmla="*/ 4144 w 173074"/>
                  <a:gd name="connsiteY5" fmla="*/ 100247 h 187622"/>
                  <a:gd name="connsiteX6" fmla="*/ 4144 w 173074"/>
                  <a:gd name="connsiteY6" fmla="*/ 99366 h 187622"/>
                  <a:gd name="connsiteX7" fmla="*/ 4144 w 173074"/>
                  <a:gd name="connsiteY7" fmla="*/ 97955 h 187622"/>
                  <a:gd name="connsiteX8" fmla="*/ 3262 w 173074"/>
                  <a:gd name="connsiteY8" fmla="*/ 96456 h 187622"/>
                  <a:gd name="connsiteX9" fmla="*/ 1499 w 173074"/>
                  <a:gd name="connsiteY9" fmla="*/ 96192 h 187622"/>
                  <a:gd name="connsiteX10" fmla="*/ 617 w 173074"/>
                  <a:gd name="connsiteY10" fmla="*/ 96456 h 187622"/>
                  <a:gd name="connsiteX11" fmla="*/ 0 w 173074"/>
                  <a:gd name="connsiteY11" fmla="*/ 94957 h 187622"/>
                  <a:gd name="connsiteX12" fmla="*/ 617 w 173074"/>
                  <a:gd name="connsiteY12" fmla="*/ 94428 h 187622"/>
                  <a:gd name="connsiteX13" fmla="*/ 2645 w 173074"/>
                  <a:gd name="connsiteY13" fmla="*/ 93811 h 187622"/>
                  <a:gd name="connsiteX14" fmla="*/ 4144 w 173074"/>
                  <a:gd name="connsiteY14" fmla="*/ 91783 h 187622"/>
                  <a:gd name="connsiteX15" fmla="*/ 3879 w 173074"/>
                  <a:gd name="connsiteY15" fmla="*/ 91166 h 187622"/>
                  <a:gd name="connsiteX16" fmla="*/ 3879 w 173074"/>
                  <a:gd name="connsiteY16" fmla="*/ 90902 h 187622"/>
                  <a:gd name="connsiteX17" fmla="*/ 3879 w 173074"/>
                  <a:gd name="connsiteY17" fmla="*/ 90637 h 187622"/>
                  <a:gd name="connsiteX18" fmla="*/ 5026 w 173074"/>
                  <a:gd name="connsiteY18" fmla="*/ 88874 h 187622"/>
                  <a:gd name="connsiteX19" fmla="*/ 5290 w 173074"/>
                  <a:gd name="connsiteY19" fmla="*/ 88257 h 187622"/>
                  <a:gd name="connsiteX20" fmla="*/ 5290 w 173074"/>
                  <a:gd name="connsiteY20" fmla="*/ 87639 h 187622"/>
                  <a:gd name="connsiteX21" fmla="*/ 5555 w 173074"/>
                  <a:gd name="connsiteY21" fmla="*/ 87022 h 187622"/>
                  <a:gd name="connsiteX22" fmla="*/ 6172 w 173074"/>
                  <a:gd name="connsiteY22" fmla="*/ 84642 h 187622"/>
                  <a:gd name="connsiteX23" fmla="*/ 5907 w 173074"/>
                  <a:gd name="connsiteY23" fmla="*/ 83495 h 187622"/>
                  <a:gd name="connsiteX24" fmla="*/ 4408 w 173074"/>
                  <a:gd name="connsiteY24" fmla="*/ 81732 h 187622"/>
                  <a:gd name="connsiteX25" fmla="*/ 3791 w 173074"/>
                  <a:gd name="connsiteY25" fmla="*/ 80850 h 187622"/>
                  <a:gd name="connsiteX26" fmla="*/ 3174 w 173074"/>
                  <a:gd name="connsiteY26" fmla="*/ 79969 h 187622"/>
                  <a:gd name="connsiteX27" fmla="*/ 2645 w 173074"/>
                  <a:gd name="connsiteY27" fmla="*/ 79087 h 187622"/>
                  <a:gd name="connsiteX28" fmla="*/ 1499 w 173074"/>
                  <a:gd name="connsiteY28" fmla="*/ 77324 h 187622"/>
                  <a:gd name="connsiteX29" fmla="*/ 1499 w 173074"/>
                  <a:gd name="connsiteY29" fmla="*/ 77059 h 187622"/>
                  <a:gd name="connsiteX30" fmla="*/ 1763 w 173074"/>
                  <a:gd name="connsiteY30" fmla="*/ 75913 h 187622"/>
                  <a:gd name="connsiteX31" fmla="*/ 3527 w 173074"/>
                  <a:gd name="connsiteY31" fmla="*/ 75913 h 187622"/>
                  <a:gd name="connsiteX32" fmla="*/ 4144 w 173074"/>
                  <a:gd name="connsiteY32" fmla="*/ 75648 h 187622"/>
                  <a:gd name="connsiteX33" fmla="*/ 4761 w 173074"/>
                  <a:gd name="connsiteY33" fmla="*/ 75648 h 187622"/>
                  <a:gd name="connsiteX34" fmla="*/ 5026 w 173074"/>
                  <a:gd name="connsiteY34" fmla="*/ 75648 h 187622"/>
                  <a:gd name="connsiteX35" fmla="*/ 5290 w 173074"/>
                  <a:gd name="connsiteY35" fmla="*/ 75648 h 187622"/>
                  <a:gd name="connsiteX36" fmla="*/ 7054 w 173074"/>
                  <a:gd name="connsiteY36" fmla="*/ 75648 h 187622"/>
                  <a:gd name="connsiteX37" fmla="*/ 8200 w 173074"/>
                  <a:gd name="connsiteY37" fmla="*/ 75913 h 187622"/>
                  <a:gd name="connsiteX38" fmla="*/ 8817 w 173074"/>
                  <a:gd name="connsiteY38" fmla="*/ 75913 h 187622"/>
                  <a:gd name="connsiteX39" fmla="*/ 11462 w 173074"/>
                  <a:gd name="connsiteY39" fmla="*/ 76530 h 187622"/>
                  <a:gd name="connsiteX40" fmla="*/ 13225 w 173074"/>
                  <a:gd name="connsiteY40" fmla="*/ 75913 h 187622"/>
                  <a:gd name="connsiteX41" fmla="*/ 14724 w 173074"/>
                  <a:gd name="connsiteY41" fmla="*/ 73885 h 187622"/>
                  <a:gd name="connsiteX42" fmla="*/ 15341 w 173074"/>
                  <a:gd name="connsiteY42" fmla="*/ 74150 h 187622"/>
                  <a:gd name="connsiteX43" fmla="*/ 16840 w 173074"/>
                  <a:gd name="connsiteY43" fmla="*/ 72651 h 187622"/>
                  <a:gd name="connsiteX44" fmla="*/ 16223 w 173074"/>
                  <a:gd name="connsiteY44" fmla="*/ 71505 h 187622"/>
                  <a:gd name="connsiteX45" fmla="*/ 15077 w 173074"/>
                  <a:gd name="connsiteY45" fmla="*/ 71505 h 187622"/>
                  <a:gd name="connsiteX46" fmla="*/ 15077 w 173074"/>
                  <a:gd name="connsiteY46" fmla="*/ 71240 h 187622"/>
                  <a:gd name="connsiteX47" fmla="*/ 15341 w 173074"/>
                  <a:gd name="connsiteY47" fmla="*/ 70094 h 187622"/>
                  <a:gd name="connsiteX48" fmla="*/ 16840 w 173074"/>
                  <a:gd name="connsiteY48" fmla="*/ 70094 h 187622"/>
                  <a:gd name="connsiteX49" fmla="*/ 17986 w 173074"/>
                  <a:gd name="connsiteY49" fmla="*/ 68948 h 187622"/>
                  <a:gd name="connsiteX50" fmla="*/ 17986 w 173074"/>
                  <a:gd name="connsiteY50" fmla="*/ 68683 h 187622"/>
                  <a:gd name="connsiteX51" fmla="*/ 18251 w 173074"/>
                  <a:gd name="connsiteY51" fmla="*/ 68683 h 187622"/>
                  <a:gd name="connsiteX52" fmla="*/ 18251 w 173074"/>
                  <a:gd name="connsiteY52" fmla="*/ 68419 h 187622"/>
                  <a:gd name="connsiteX53" fmla="*/ 20014 w 173074"/>
                  <a:gd name="connsiteY53" fmla="*/ 67273 h 187622"/>
                  <a:gd name="connsiteX54" fmla="*/ 21161 w 173074"/>
                  <a:gd name="connsiteY54" fmla="*/ 65509 h 187622"/>
                  <a:gd name="connsiteX55" fmla="*/ 20896 w 173074"/>
                  <a:gd name="connsiteY55" fmla="*/ 65245 h 187622"/>
                  <a:gd name="connsiteX56" fmla="*/ 21513 w 173074"/>
                  <a:gd name="connsiteY56" fmla="*/ 63746 h 187622"/>
                  <a:gd name="connsiteX57" fmla="*/ 21513 w 173074"/>
                  <a:gd name="connsiteY57" fmla="*/ 62599 h 187622"/>
                  <a:gd name="connsiteX58" fmla="*/ 20014 w 173074"/>
                  <a:gd name="connsiteY58" fmla="*/ 60836 h 187622"/>
                  <a:gd name="connsiteX59" fmla="*/ 19750 w 173074"/>
                  <a:gd name="connsiteY59" fmla="*/ 61189 h 187622"/>
                  <a:gd name="connsiteX60" fmla="*/ 19485 w 173074"/>
                  <a:gd name="connsiteY60" fmla="*/ 61453 h 187622"/>
                  <a:gd name="connsiteX61" fmla="*/ 15694 w 173074"/>
                  <a:gd name="connsiteY61" fmla="*/ 60836 h 187622"/>
                  <a:gd name="connsiteX62" fmla="*/ 14548 w 173074"/>
                  <a:gd name="connsiteY62" fmla="*/ 58808 h 187622"/>
                  <a:gd name="connsiteX63" fmla="*/ 15694 w 173074"/>
                  <a:gd name="connsiteY63" fmla="*/ 58544 h 187622"/>
                  <a:gd name="connsiteX64" fmla="*/ 15165 w 173074"/>
                  <a:gd name="connsiteY64" fmla="*/ 57398 h 187622"/>
                  <a:gd name="connsiteX65" fmla="*/ 14900 w 173074"/>
                  <a:gd name="connsiteY65" fmla="*/ 57133 h 187622"/>
                  <a:gd name="connsiteX66" fmla="*/ 16047 w 173074"/>
                  <a:gd name="connsiteY66" fmla="*/ 56516 h 187622"/>
                  <a:gd name="connsiteX67" fmla="*/ 18427 w 173074"/>
                  <a:gd name="connsiteY67" fmla="*/ 56516 h 187622"/>
                  <a:gd name="connsiteX68" fmla="*/ 18692 w 173074"/>
                  <a:gd name="connsiteY68" fmla="*/ 56780 h 187622"/>
                  <a:gd name="connsiteX69" fmla="*/ 20984 w 173074"/>
                  <a:gd name="connsiteY69" fmla="*/ 56780 h 187622"/>
                  <a:gd name="connsiteX70" fmla="*/ 21249 w 173074"/>
                  <a:gd name="connsiteY70" fmla="*/ 56516 h 187622"/>
                  <a:gd name="connsiteX71" fmla="*/ 21249 w 173074"/>
                  <a:gd name="connsiteY71" fmla="*/ 54752 h 187622"/>
                  <a:gd name="connsiteX72" fmla="*/ 21249 w 173074"/>
                  <a:gd name="connsiteY72" fmla="*/ 53342 h 187622"/>
                  <a:gd name="connsiteX73" fmla="*/ 21513 w 173074"/>
                  <a:gd name="connsiteY73" fmla="*/ 52460 h 187622"/>
                  <a:gd name="connsiteX74" fmla="*/ 23277 w 173074"/>
                  <a:gd name="connsiteY74" fmla="*/ 49815 h 187622"/>
                  <a:gd name="connsiteX75" fmla="*/ 23541 w 173074"/>
                  <a:gd name="connsiteY75" fmla="*/ 48933 h 187622"/>
                  <a:gd name="connsiteX76" fmla="*/ 23541 w 173074"/>
                  <a:gd name="connsiteY76" fmla="*/ 43996 h 187622"/>
                  <a:gd name="connsiteX77" fmla="*/ 23277 w 173074"/>
                  <a:gd name="connsiteY77" fmla="*/ 42497 h 187622"/>
                  <a:gd name="connsiteX78" fmla="*/ 23541 w 173074"/>
                  <a:gd name="connsiteY78" fmla="*/ 41880 h 187622"/>
                  <a:gd name="connsiteX79" fmla="*/ 24158 w 173074"/>
                  <a:gd name="connsiteY79" fmla="*/ 41615 h 187622"/>
                  <a:gd name="connsiteX80" fmla="*/ 25657 w 173074"/>
                  <a:gd name="connsiteY80" fmla="*/ 41351 h 187622"/>
                  <a:gd name="connsiteX81" fmla="*/ 25393 w 173074"/>
                  <a:gd name="connsiteY81" fmla="*/ 40734 h 187622"/>
                  <a:gd name="connsiteX82" fmla="*/ 24511 w 173074"/>
                  <a:gd name="connsiteY82" fmla="*/ 40734 h 187622"/>
                  <a:gd name="connsiteX83" fmla="*/ 22130 w 173074"/>
                  <a:gd name="connsiteY83" fmla="*/ 40205 h 187622"/>
                  <a:gd name="connsiteX84" fmla="*/ 21249 w 173074"/>
                  <a:gd name="connsiteY84" fmla="*/ 40469 h 187622"/>
                  <a:gd name="connsiteX85" fmla="*/ 19485 w 173074"/>
                  <a:gd name="connsiteY85" fmla="*/ 40469 h 187622"/>
                  <a:gd name="connsiteX86" fmla="*/ 18868 w 173074"/>
                  <a:gd name="connsiteY86" fmla="*/ 39940 h 187622"/>
                  <a:gd name="connsiteX87" fmla="*/ 19133 w 173074"/>
                  <a:gd name="connsiteY87" fmla="*/ 38177 h 187622"/>
                  <a:gd name="connsiteX88" fmla="*/ 19397 w 173074"/>
                  <a:gd name="connsiteY88" fmla="*/ 36414 h 187622"/>
                  <a:gd name="connsiteX89" fmla="*/ 19662 w 173074"/>
                  <a:gd name="connsiteY89" fmla="*/ 35532 h 187622"/>
                  <a:gd name="connsiteX90" fmla="*/ 19926 w 173074"/>
                  <a:gd name="connsiteY90" fmla="*/ 34915 h 187622"/>
                  <a:gd name="connsiteX91" fmla="*/ 20543 w 173074"/>
                  <a:gd name="connsiteY91" fmla="*/ 34297 h 187622"/>
                  <a:gd name="connsiteX92" fmla="*/ 22571 w 173074"/>
                  <a:gd name="connsiteY92" fmla="*/ 32799 h 187622"/>
                  <a:gd name="connsiteX93" fmla="*/ 23717 w 173074"/>
                  <a:gd name="connsiteY93" fmla="*/ 32270 h 187622"/>
                  <a:gd name="connsiteX94" fmla="*/ 25481 w 173074"/>
                  <a:gd name="connsiteY94" fmla="*/ 32270 h 187622"/>
                  <a:gd name="connsiteX95" fmla="*/ 26980 w 173074"/>
                  <a:gd name="connsiteY95" fmla="*/ 32270 h 187622"/>
                  <a:gd name="connsiteX96" fmla="*/ 27861 w 173074"/>
                  <a:gd name="connsiteY96" fmla="*/ 32534 h 187622"/>
                  <a:gd name="connsiteX97" fmla="*/ 30154 w 173074"/>
                  <a:gd name="connsiteY97" fmla="*/ 32270 h 187622"/>
                  <a:gd name="connsiteX98" fmla="*/ 31035 w 173074"/>
                  <a:gd name="connsiteY98" fmla="*/ 31652 h 187622"/>
                  <a:gd name="connsiteX99" fmla="*/ 33063 w 173074"/>
                  <a:gd name="connsiteY99" fmla="*/ 31652 h 187622"/>
                  <a:gd name="connsiteX100" fmla="*/ 34562 w 173074"/>
                  <a:gd name="connsiteY100" fmla="*/ 31388 h 187622"/>
                  <a:gd name="connsiteX101" fmla="*/ 37207 w 173074"/>
                  <a:gd name="connsiteY101" fmla="*/ 31652 h 187622"/>
                  <a:gd name="connsiteX102" fmla="*/ 37824 w 173074"/>
                  <a:gd name="connsiteY102" fmla="*/ 31652 h 187622"/>
                  <a:gd name="connsiteX103" fmla="*/ 37560 w 173074"/>
                  <a:gd name="connsiteY103" fmla="*/ 31917 h 187622"/>
                  <a:gd name="connsiteX104" fmla="*/ 37295 w 173074"/>
                  <a:gd name="connsiteY104" fmla="*/ 32181 h 187622"/>
                  <a:gd name="connsiteX105" fmla="*/ 37560 w 173074"/>
                  <a:gd name="connsiteY105" fmla="*/ 33328 h 187622"/>
                  <a:gd name="connsiteX106" fmla="*/ 38706 w 173074"/>
                  <a:gd name="connsiteY106" fmla="*/ 34209 h 187622"/>
                  <a:gd name="connsiteX107" fmla="*/ 39588 w 173074"/>
                  <a:gd name="connsiteY107" fmla="*/ 34826 h 187622"/>
                  <a:gd name="connsiteX108" fmla="*/ 40205 w 173074"/>
                  <a:gd name="connsiteY108" fmla="*/ 35444 h 187622"/>
                  <a:gd name="connsiteX109" fmla="*/ 40469 w 173074"/>
                  <a:gd name="connsiteY109" fmla="*/ 36325 h 187622"/>
                  <a:gd name="connsiteX110" fmla="*/ 39059 w 173074"/>
                  <a:gd name="connsiteY110" fmla="*/ 36590 h 187622"/>
                  <a:gd name="connsiteX111" fmla="*/ 38177 w 173074"/>
                  <a:gd name="connsiteY111" fmla="*/ 36854 h 187622"/>
                  <a:gd name="connsiteX112" fmla="*/ 38442 w 173074"/>
                  <a:gd name="connsiteY112" fmla="*/ 37472 h 187622"/>
                  <a:gd name="connsiteX113" fmla="*/ 39059 w 173074"/>
                  <a:gd name="connsiteY113" fmla="*/ 38353 h 187622"/>
                  <a:gd name="connsiteX114" fmla="*/ 40822 w 173074"/>
                  <a:gd name="connsiteY114" fmla="*/ 38970 h 187622"/>
                  <a:gd name="connsiteX115" fmla="*/ 41704 w 173074"/>
                  <a:gd name="connsiteY115" fmla="*/ 38970 h 187622"/>
                  <a:gd name="connsiteX116" fmla="*/ 42585 w 173074"/>
                  <a:gd name="connsiteY116" fmla="*/ 38706 h 187622"/>
                  <a:gd name="connsiteX117" fmla="*/ 42850 w 173074"/>
                  <a:gd name="connsiteY117" fmla="*/ 37824 h 187622"/>
                  <a:gd name="connsiteX118" fmla="*/ 43114 w 173074"/>
                  <a:gd name="connsiteY118" fmla="*/ 36943 h 187622"/>
                  <a:gd name="connsiteX119" fmla="*/ 43114 w 173074"/>
                  <a:gd name="connsiteY119" fmla="*/ 36061 h 187622"/>
                  <a:gd name="connsiteX120" fmla="*/ 42233 w 173074"/>
                  <a:gd name="connsiteY120" fmla="*/ 36061 h 187622"/>
                  <a:gd name="connsiteX121" fmla="*/ 41351 w 173074"/>
                  <a:gd name="connsiteY121" fmla="*/ 36325 h 187622"/>
                  <a:gd name="connsiteX122" fmla="*/ 41351 w 173074"/>
                  <a:gd name="connsiteY122" fmla="*/ 35444 h 187622"/>
                  <a:gd name="connsiteX123" fmla="*/ 41615 w 173074"/>
                  <a:gd name="connsiteY123" fmla="*/ 34562 h 187622"/>
                  <a:gd name="connsiteX124" fmla="*/ 41880 w 173074"/>
                  <a:gd name="connsiteY124" fmla="*/ 33945 h 187622"/>
                  <a:gd name="connsiteX125" fmla="*/ 42497 w 173074"/>
                  <a:gd name="connsiteY125" fmla="*/ 33680 h 187622"/>
                  <a:gd name="connsiteX126" fmla="*/ 43379 w 173074"/>
                  <a:gd name="connsiteY126" fmla="*/ 33945 h 187622"/>
                  <a:gd name="connsiteX127" fmla="*/ 44525 w 173074"/>
                  <a:gd name="connsiteY127" fmla="*/ 34562 h 187622"/>
                  <a:gd name="connsiteX128" fmla="*/ 46288 w 173074"/>
                  <a:gd name="connsiteY128" fmla="*/ 35444 h 187622"/>
                  <a:gd name="connsiteX129" fmla="*/ 46553 w 173074"/>
                  <a:gd name="connsiteY129" fmla="*/ 35973 h 187622"/>
                  <a:gd name="connsiteX130" fmla="*/ 46288 w 173074"/>
                  <a:gd name="connsiteY130" fmla="*/ 36590 h 187622"/>
                  <a:gd name="connsiteX131" fmla="*/ 46024 w 173074"/>
                  <a:gd name="connsiteY131" fmla="*/ 36854 h 187622"/>
                  <a:gd name="connsiteX132" fmla="*/ 46024 w 173074"/>
                  <a:gd name="connsiteY132" fmla="*/ 38001 h 187622"/>
                  <a:gd name="connsiteX133" fmla="*/ 46288 w 173074"/>
                  <a:gd name="connsiteY133" fmla="*/ 38882 h 187622"/>
                  <a:gd name="connsiteX134" fmla="*/ 46288 w 173074"/>
                  <a:gd name="connsiteY134" fmla="*/ 39764 h 187622"/>
                  <a:gd name="connsiteX135" fmla="*/ 46553 w 173074"/>
                  <a:gd name="connsiteY135" fmla="*/ 40028 h 187622"/>
                  <a:gd name="connsiteX136" fmla="*/ 46817 w 173074"/>
                  <a:gd name="connsiteY136" fmla="*/ 38882 h 187622"/>
                  <a:gd name="connsiteX137" fmla="*/ 46553 w 173074"/>
                  <a:gd name="connsiteY137" fmla="*/ 38265 h 187622"/>
                  <a:gd name="connsiteX138" fmla="*/ 46553 w 173074"/>
                  <a:gd name="connsiteY138" fmla="*/ 37648 h 187622"/>
                  <a:gd name="connsiteX139" fmla="*/ 46553 w 173074"/>
                  <a:gd name="connsiteY139" fmla="*/ 36766 h 187622"/>
                  <a:gd name="connsiteX140" fmla="*/ 47435 w 173074"/>
                  <a:gd name="connsiteY140" fmla="*/ 36149 h 187622"/>
                  <a:gd name="connsiteX141" fmla="*/ 47435 w 173074"/>
                  <a:gd name="connsiteY141" fmla="*/ 35532 h 187622"/>
                  <a:gd name="connsiteX142" fmla="*/ 46553 w 173074"/>
                  <a:gd name="connsiteY142" fmla="*/ 33769 h 187622"/>
                  <a:gd name="connsiteX143" fmla="*/ 45671 w 173074"/>
                  <a:gd name="connsiteY143" fmla="*/ 32622 h 187622"/>
                  <a:gd name="connsiteX144" fmla="*/ 45936 w 173074"/>
                  <a:gd name="connsiteY144" fmla="*/ 31476 h 187622"/>
                  <a:gd name="connsiteX145" fmla="*/ 46817 w 173074"/>
                  <a:gd name="connsiteY145" fmla="*/ 28831 h 187622"/>
                  <a:gd name="connsiteX146" fmla="*/ 47699 w 173074"/>
                  <a:gd name="connsiteY146" fmla="*/ 27685 h 187622"/>
                  <a:gd name="connsiteX147" fmla="*/ 49198 w 173074"/>
                  <a:gd name="connsiteY147" fmla="*/ 27156 h 187622"/>
                  <a:gd name="connsiteX148" fmla="*/ 49815 w 173074"/>
                  <a:gd name="connsiteY148" fmla="*/ 28037 h 187622"/>
                  <a:gd name="connsiteX149" fmla="*/ 51226 w 173074"/>
                  <a:gd name="connsiteY149" fmla="*/ 28655 h 187622"/>
                  <a:gd name="connsiteX150" fmla="*/ 53254 w 173074"/>
                  <a:gd name="connsiteY150" fmla="*/ 28919 h 187622"/>
                  <a:gd name="connsiteX151" fmla="*/ 55017 w 173074"/>
                  <a:gd name="connsiteY151" fmla="*/ 28655 h 187622"/>
                  <a:gd name="connsiteX152" fmla="*/ 55634 w 173074"/>
                  <a:gd name="connsiteY152" fmla="*/ 28037 h 187622"/>
                  <a:gd name="connsiteX153" fmla="*/ 56780 w 173074"/>
                  <a:gd name="connsiteY153" fmla="*/ 27773 h 187622"/>
                  <a:gd name="connsiteX154" fmla="*/ 59690 w 173074"/>
                  <a:gd name="connsiteY154" fmla="*/ 28037 h 187622"/>
                  <a:gd name="connsiteX155" fmla="*/ 60836 w 173074"/>
                  <a:gd name="connsiteY155" fmla="*/ 28655 h 187622"/>
                  <a:gd name="connsiteX156" fmla="*/ 62335 w 173074"/>
                  <a:gd name="connsiteY156" fmla="*/ 30683 h 187622"/>
                  <a:gd name="connsiteX157" fmla="*/ 64099 w 173074"/>
                  <a:gd name="connsiteY157" fmla="*/ 32710 h 187622"/>
                  <a:gd name="connsiteX158" fmla="*/ 65509 w 173074"/>
                  <a:gd name="connsiteY158" fmla="*/ 34209 h 187622"/>
                  <a:gd name="connsiteX159" fmla="*/ 66655 w 173074"/>
                  <a:gd name="connsiteY159" fmla="*/ 34826 h 187622"/>
                  <a:gd name="connsiteX160" fmla="*/ 67802 w 173074"/>
                  <a:gd name="connsiteY160" fmla="*/ 35444 h 187622"/>
                  <a:gd name="connsiteX161" fmla="*/ 68419 w 173074"/>
                  <a:gd name="connsiteY161" fmla="*/ 35444 h 187622"/>
                  <a:gd name="connsiteX162" fmla="*/ 69036 w 173074"/>
                  <a:gd name="connsiteY162" fmla="*/ 35444 h 187622"/>
                  <a:gd name="connsiteX163" fmla="*/ 71064 w 173074"/>
                  <a:gd name="connsiteY163" fmla="*/ 35973 h 187622"/>
                  <a:gd name="connsiteX164" fmla="*/ 71328 w 173074"/>
                  <a:gd name="connsiteY164" fmla="*/ 35708 h 187622"/>
                  <a:gd name="connsiteX165" fmla="*/ 70711 w 173074"/>
                  <a:gd name="connsiteY165" fmla="*/ 35444 h 187622"/>
                  <a:gd name="connsiteX166" fmla="*/ 69829 w 173074"/>
                  <a:gd name="connsiteY166" fmla="*/ 35179 h 187622"/>
                  <a:gd name="connsiteX167" fmla="*/ 68330 w 173074"/>
                  <a:gd name="connsiteY167" fmla="*/ 34915 h 187622"/>
                  <a:gd name="connsiteX168" fmla="*/ 66832 w 173074"/>
                  <a:gd name="connsiteY168" fmla="*/ 34297 h 187622"/>
                  <a:gd name="connsiteX169" fmla="*/ 65950 w 173074"/>
                  <a:gd name="connsiteY169" fmla="*/ 33680 h 187622"/>
                  <a:gd name="connsiteX170" fmla="*/ 64187 w 173074"/>
                  <a:gd name="connsiteY170" fmla="*/ 32270 h 187622"/>
                  <a:gd name="connsiteX171" fmla="*/ 62688 w 173074"/>
                  <a:gd name="connsiteY171" fmla="*/ 30242 h 187622"/>
                  <a:gd name="connsiteX172" fmla="*/ 62071 w 173074"/>
                  <a:gd name="connsiteY172" fmla="*/ 29096 h 187622"/>
                  <a:gd name="connsiteX173" fmla="*/ 60924 w 173074"/>
                  <a:gd name="connsiteY173" fmla="*/ 27949 h 187622"/>
                  <a:gd name="connsiteX174" fmla="*/ 59426 w 173074"/>
                  <a:gd name="connsiteY174" fmla="*/ 27420 h 187622"/>
                  <a:gd name="connsiteX175" fmla="*/ 57133 w 173074"/>
                  <a:gd name="connsiteY175" fmla="*/ 27420 h 187622"/>
                  <a:gd name="connsiteX176" fmla="*/ 54841 w 173074"/>
                  <a:gd name="connsiteY176" fmla="*/ 27685 h 187622"/>
                  <a:gd name="connsiteX177" fmla="*/ 53078 w 173074"/>
                  <a:gd name="connsiteY177" fmla="*/ 26803 h 187622"/>
                  <a:gd name="connsiteX178" fmla="*/ 52196 w 173074"/>
                  <a:gd name="connsiteY178" fmla="*/ 25040 h 187622"/>
                  <a:gd name="connsiteX179" fmla="*/ 51579 w 173074"/>
                  <a:gd name="connsiteY179" fmla="*/ 24158 h 187622"/>
                  <a:gd name="connsiteX180" fmla="*/ 51843 w 173074"/>
                  <a:gd name="connsiteY180" fmla="*/ 23629 h 187622"/>
                  <a:gd name="connsiteX181" fmla="*/ 52989 w 173074"/>
                  <a:gd name="connsiteY181" fmla="*/ 23629 h 187622"/>
                  <a:gd name="connsiteX182" fmla="*/ 54136 w 173074"/>
                  <a:gd name="connsiteY182" fmla="*/ 24511 h 187622"/>
                  <a:gd name="connsiteX183" fmla="*/ 54753 w 173074"/>
                  <a:gd name="connsiteY183" fmla="*/ 24158 h 187622"/>
                  <a:gd name="connsiteX184" fmla="*/ 54753 w 173074"/>
                  <a:gd name="connsiteY184" fmla="*/ 23276 h 187622"/>
                  <a:gd name="connsiteX185" fmla="*/ 54488 w 173074"/>
                  <a:gd name="connsiteY185" fmla="*/ 22395 h 187622"/>
                  <a:gd name="connsiteX186" fmla="*/ 53871 w 173074"/>
                  <a:gd name="connsiteY186" fmla="*/ 21866 h 187622"/>
                  <a:gd name="connsiteX187" fmla="*/ 52989 w 173074"/>
                  <a:gd name="connsiteY187" fmla="*/ 21866 h 187622"/>
                  <a:gd name="connsiteX188" fmla="*/ 52108 w 173074"/>
                  <a:gd name="connsiteY188" fmla="*/ 22130 h 187622"/>
                  <a:gd name="connsiteX189" fmla="*/ 50961 w 173074"/>
                  <a:gd name="connsiteY189" fmla="*/ 20631 h 187622"/>
                  <a:gd name="connsiteX190" fmla="*/ 51226 w 173074"/>
                  <a:gd name="connsiteY190" fmla="*/ 19133 h 187622"/>
                  <a:gd name="connsiteX191" fmla="*/ 52108 w 173074"/>
                  <a:gd name="connsiteY191" fmla="*/ 17986 h 187622"/>
                  <a:gd name="connsiteX192" fmla="*/ 52725 w 173074"/>
                  <a:gd name="connsiteY192" fmla="*/ 17986 h 187622"/>
                  <a:gd name="connsiteX193" fmla="*/ 52460 w 173074"/>
                  <a:gd name="connsiteY193" fmla="*/ 17369 h 187622"/>
                  <a:gd name="connsiteX194" fmla="*/ 51579 w 173074"/>
                  <a:gd name="connsiteY194" fmla="*/ 17634 h 187622"/>
                  <a:gd name="connsiteX195" fmla="*/ 49551 w 173074"/>
                  <a:gd name="connsiteY195" fmla="*/ 18251 h 187622"/>
                  <a:gd name="connsiteX196" fmla="*/ 47787 w 173074"/>
                  <a:gd name="connsiteY196" fmla="*/ 18515 h 187622"/>
                  <a:gd name="connsiteX197" fmla="*/ 46906 w 173074"/>
                  <a:gd name="connsiteY197" fmla="*/ 17369 h 187622"/>
                  <a:gd name="connsiteX198" fmla="*/ 46906 w 173074"/>
                  <a:gd name="connsiteY198" fmla="*/ 16223 h 187622"/>
                  <a:gd name="connsiteX199" fmla="*/ 47170 w 173074"/>
                  <a:gd name="connsiteY199" fmla="*/ 15958 h 187622"/>
                  <a:gd name="connsiteX200" fmla="*/ 47435 w 173074"/>
                  <a:gd name="connsiteY200" fmla="*/ 15694 h 187622"/>
                  <a:gd name="connsiteX201" fmla="*/ 48052 w 173074"/>
                  <a:gd name="connsiteY201" fmla="*/ 15429 h 187622"/>
                  <a:gd name="connsiteX202" fmla="*/ 50961 w 173074"/>
                  <a:gd name="connsiteY202" fmla="*/ 15165 h 187622"/>
                  <a:gd name="connsiteX203" fmla="*/ 51579 w 173074"/>
                  <a:gd name="connsiteY203" fmla="*/ 15429 h 187622"/>
                  <a:gd name="connsiteX204" fmla="*/ 53342 w 173074"/>
                  <a:gd name="connsiteY204" fmla="*/ 14812 h 187622"/>
                  <a:gd name="connsiteX205" fmla="*/ 53959 w 173074"/>
                  <a:gd name="connsiteY205" fmla="*/ 14195 h 187622"/>
                  <a:gd name="connsiteX206" fmla="*/ 54576 w 173074"/>
                  <a:gd name="connsiteY206" fmla="*/ 13313 h 187622"/>
                  <a:gd name="connsiteX207" fmla="*/ 53695 w 173074"/>
                  <a:gd name="connsiteY207" fmla="*/ 12167 h 187622"/>
                  <a:gd name="connsiteX208" fmla="*/ 52813 w 173074"/>
                  <a:gd name="connsiteY208" fmla="*/ 11903 h 187622"/>
                  <a:gd name="connsiteX209" fmla="*/ 52196 w 173074"/>
                  <a:gd name="connsiteY209" fmla="*/ 11021 h 187622"/>
                  <a:gd name="connsiteX210" fmla="*/ 51314 w 173074"/>
                  <a:gd name="connsiteY210" fmla="*/ 10404 h 187622"/>
                  <a:gd name="connsiteX211" fmla="*/ 51931 w 173074"/>
                  <a:gd name="connsiteY211" fmla="*/ 10139 h 187622"/>
                  <a:gd name="connsiteX212" fmla="*/ 50168 w 173074"/>
                  <a:gd name="connsiteY212" fmla="*/ 8993 h 187622"/>
                  <a:gd name="connsiteX213" fmla="*/ 48669 w 173074"/>
                  <a:gd name="connsiteY213" fmla="*/ 7847 h 187622"/>
                  <a:gd name="connsiteX214" fmla="*/ 47787 w 173074"/>
                  <a:gd name="connsiteY214" fmla="*/ 6965 h 187622"/>
                  <a:gd name="connsiteX215" fmla="*/ 47435 w 173074"/>
                  <a:gd name="connsiteY215" fmla="*/ 6701 h 187622"/>
                  <a:gd name="connsiteX216" fmla="*/ 47170 w 173074"/>
                  <a:gd name="connsiteY216" fmla="*/ 5819 h 187622"/>
                  <a:gd name="connsiteX217" fmla="*/ 46553 w 173074"/>
                  <a:gd name="connsiteY217" fmla="*/ 5819 h 187622"/>
                  <a:gd name="connsiteX218" fmla="*/ 45936 w 173074"/>
                  <a:gd name="connsiteY218" fmla="*/ 5202 h 187622"/>
                  <a:gd name="connsiteX219" fmla="*/ 45671 w 173074"/>
                  <a:gd name="connsiteY219" fmla="*/ 4937 h 187622"/>
                  <a:gd name="connsiteX220" fmla="*/ 45407 w 173074"/>
                  <a:gd name="connsiteY220" fmla="*/ 4320 h 187622"/>
                  <a:gd name="connsiteX221" fmla="*/ 45142 w 173074"/>
                  <a:gd name="connsiteY221" fmla="*/ 4320 h 187622"/>
                  <a:gd name="connsiteX222" fmla="*/ 43379 w 173074"/>
                  <a:gd name="connsiteY222" fmla="*/ 4320 h 187622"/>
                  <a:gd name="connsiteX223" fmla="*/ 42762 w 173074"/>
                  <a:gd name="connsiteY223" fmla="*/ 4585 h 187622"/>
                  <a:gd name="connsiteX224" fmla="*/ 42144 w 173074"/>
                  <a:gd name="connsiteY224" fmla="*/ 4585 h 187622"/>
                  <a:gd name="connsiteX225" fmla="*/ 41528 w 173074"/>
                  <a:gd name="connsiteY225" fmla="*/ 4585 h 187622"/>
                  <a:gd name="connsiteX226" fmla="*/ 40910 w 173074"/>
                  <a:gd name="connsiteY226" fmla="*/ 4320 h 187622"/>
                  <a:gd name="connsiteX227" fmla="*/ 40646 w 173074"/>
                  <a:gd name="connsiteY227" fmla="*/ 4585 h 187622"/>
                  <a:gd name="connsiteX228" fmla="*/ 40646 w 173074"/>
                  <a:gd name="connsiteY228" fmla="*/ 5466 h 187622"/>
                  <a:gd name="connsiteX229" fmla="*/ 40646 w 173074"/>
                  <a:gd name="connsiteY229" fmla="*/ 7230 h 187622"/>
                  <a:gd name="connsiteX230" fmla="*/ 40381 w 173074"/>
                  <a:gd name="connsiteY230" fmla="*/ 7847 h 187622"/>
                  <a:gd name="connsiteX231" fmla="*/ 40117 w 173074"/>
                  <a:gd name="connsiteY231" fmla="*/ 5819 h 187622"/>
                  <a:gd name="connsiteX232" fmla="*/ 40117 w 173074"/>
                  <a:gd name="connsiteY232" fmla="*/ 4056 h 187622"/>
                  <a:gd name="connsiteX233" fmla="*/ 40734 w 173074"/>
                  <a:gd name="connsiteY233" fmla="*/ 2910 h 187622"/>
                  <a:gd name="connsiteX234" fmla="*/ 40734 w 173074"/>
                  <a:gd name="connsiteY234" fmla="*/ 2292 h 187622"/>
                  <a:gd name="connsiteX235" fmla="*/ 40999 w 173074"/>
                  <a:gd name="connsiteY235" fmla="*/ 1763 h 187622"/>
                  <a:gd name="connsiteX236" fmla="*/ 41263 w 173074"/>
                  <a:gd name="connsiteY236" fmla="*/ 1146 h 187622"/>
                  <a:gd name="connsiteX237" fmla="*/ 41528 w 173074"/>
                  <a:gd name="connsiteY237" fmla="*/ 264 h 187622"/>
                  <a:gd name="connsiteX238" fmla="*/ 41792 w 173074"/>
                  <a:gd name="connsiteY238" fmla="*/ 0 h 187622"/>
                  <a:gd name="connsiteX239" fmla="*/ 42056 w 173074"/>
                  <a:gd name="connsiteY239" fmla="*/ 0 h 187622"/>
                  <a:gd name="connsiteX240" fmla="*/ 42321 w 173074"/>
                  <a:gd name="connsiteY240" fmla="*/ 0 h 187622"/>
                  <a:gd name="connsiteX241" fmla="*/ 42585 w 173074"/>
                  <a:gd name="connsiteY241" fmla="*/ 0 h 187622"/>
                  <a:gd name="connsiteX242" fmla="*/ 42850 w 173074"/>
                  <a:gd name="connsiteY242" fmla="*/ 0 h 187622"/>
                  <a:gd name="connsiteX243" fmla="*/ 42850 w 173074"/>
                  <a:gd name="connsiteY243" fmla="*/ 264 h 187622"/>
                  <a:gd name="connsiteX244" fmla="*/ 42585 w 173074"/>
                  <a:gd name="connsiteY244" fmla="*/ 264 h 187622"/>
                  <a:gd name="connsiteX245" fmla="*/ 42321 w 173074"/>
                  <a:gd name="connsiteY245" fmla="*/ 264 h 187622"/>
                  <a:gd name="connsiteX246" fmla="*/ 42056 w 173074"/>
                  <a:gd name="connsiteY246" fmla="*/ 264 h 187622"/>
                  <a:gd name="connsiteX247" fmla="*/ 41792 w 173074"/>
                  <a:gd name="connsiteY247" fmla="*/ 264 h 187622"/>
                  <a:gd name="connsiteX248" fmla="*/ 41792 w 173074"/>
                  <a:gd name="connsiteY248" fmla="*/ 529 h 187622"/>
                  <a:gd name="connsiteX249" fmla="*/ 42056 w 173074"/>
                  <a:gd name="connsiteY249" fmla="*/ 264 h 187622"/>
                  <a:gd name="connsiteX250" fmla="*/ 42321 w 173074"/>
                  <a:gd name="connsiteY250" fmla="*/ 529 h 187622"/>
                  <a:gd name="connsiteX251" fmla="*/ 42056 w 173074"/>
                  <a:gd name="connsiteY251" fmla="*/ 793 h 187622"/>
                  <a:gd name="connsiteX252" fmla="*/ 41792 w 173074"/>
                  <a:gd name="connsiteY252" fmla="*/ 793 h 187622"/>
                  <a:gd name="connsiteX253" fmla="*/ 41792 w 173074"/>
                  <a:gd name="connsiteY253" fmla="*/ 1146 h 187622"/>
                  <a:gd name="connsiteX254" fmla="*/ 41528 w 173074"/>
                  <a:gd name="connsiteY254" fmla="*/ 1146 h 187622"/>
                  <a:gd name="connsiteX255" fmla="*/ 41263 w 173074"/>
                  <a:gd name="connsiteY255" fmla="*/ 2028 h 187622"/>
                  <a:gd name="connsiteX256" fmla="*/ 41263 w 173074"/>
                  <a:gd name="connsiteY256" fmla="*/ 2557 h 187622"/>
                  <a:gd name="connsiteX257" fmla="*/ 41263 w 173074"/>
                  <a:gd name="connsiteY257" fmla="*/ 2821 h 187622"/>
                  <a:gd name="connsiteX258" fmla="*/ 41263 w 173074"/>
                  <a:gd name="connsiteY258" fmla="*/ 3439 h 187622"/>
                  <a:gd name="connsiteX259" fmla="*/ 41528 w 173074"/>
                  <a:gd name="connsiteY259" fmla="*/ 3703 h 187622"/>
                  <a:gd name="connsiteX260" fmla="*/ 42409 w 173074"/>
                  <a:gd name="connsiteY260" fmla="*/ 3703 h 187622"/>
                  <a:gd name="connsiteX261" fmla="*/ 43026 w 173074"/>
                  <a:gd name="connsiteY261" fmla="*/ 3703 h 187622"/>
                  <a:gd name="connsiteX262" fmla="*/ 43291 w 173074"/>
                  <a:gd name="connsiteY262" fmla="*/ 3968 h 187622"/>
                  <a:gd name="connsiteX263" fmla="*/ 43643 w 173074"/>
                  <a:gd name="connsiteY263" fmla="*/ 4232 h 187622"/>
                  <a:gd name="connsiteX264" fmla="*/ 45407 w 173074"/>
                  <a:gd name="connsiteY264" fmla="*/ 3968 h 187622"/>
                  <a:gd name="connsiteX265" fmla="*/ 45671 w 173074"/>
                  <a:gd name="connsiteY265" fmla="*/ 3968 h 187622"/>
                  <a:gd name="connsiteX266" fmla="*/ 46288 w 173074"/>
                  <a:gd name="connsiteY266" fmla="*/ 3439 h 187622"/>
                  <a:gd name="connsiteX267" fmla="*/ 47787 w 173074"/>
                  <a:gd name="connsiteY267" fmla="*/ 3703 h 187622"/>
                  <a:gd name="connsiteX268" fmla="*/ 48669 w 173074"/>
                  <a:gd name="connsiteY268" fmla="*/ 3968 h 187622"/>
                  <a:gd name="connsiteX269" fmla="*/ 50697 w 173074"/>
                  <a:gd name="connsiteY269" fmla="*/ 3439 h 187622"/>
                  <a:gd name="connsiteX270" fmla="*/ 53607 w 173074"/>
                  <a:gd name="connsiteY270" fmla="*/ 3703 h 187622"/>
                  <a:gd name="connsiteX271" fmla="*/ 55987 w 173074"/>
                  <a:gd name="connsiteY271" fmla="*/ 4320 h 187622"/>
                  <a:gd name="connsiteX272" fmla="*/ 58015 w 173074"/>
                  <a:gd name="connsiteY272" fmla="*/ 4937 h 187622"/>
                  <a:gd name="connsiteX273" fmla="*/ 57750 w 173074"/>
                  <a:gd name="connsiteY273" fmla="*/ 5819 h 187622"/>
                  <a:gd name="connsiteX274" fmla="*/ 60395 w 173074"/>
                  <a:gd name="connsiteY274" fmla="*/ 5819 h 187622"/>
                  <a:gd name="connsiteX275" fmla="*/ 61013 w 173074"/>
                  <a:gd name="connsiteY275" fmla="*/ 4937 h 187622"/>
                  <a:gd name="connsiteX276" fmla="*/ 61894 w 173074"/>
                  <a:gd name="connsiteY276" fmla="*/ 5555 h 187622"/>
                  <a:gd name="connsiteX277" fmla="*/ 62511 w 173074"/>
                  <a:gd name="connsiteY277" fmla="*/ 6172 h 187622"/>
                  <a:gd name="connsiteX278" fmla="*/ 63658 w 173074"/>
                  <a:gd name="connsiteY278" fmla="*/ 5907 h 187622"/>
                  <a:gd name="connsiteX279" fmla="*/ 64804 w 173074"/>
                  <a:gd name="connsiteY279" fmla="*/ 5643 h 187622"/>
                  <a:gd name="connsiteX280" fmla="*/ 66832 w 173074"/>
                  <a:gd name="connsiteY280" fmla="*/ 5907 h 187622"/>
                  <a:gd name="connsiteX281" fmla="*/ 67714 w 173074"/>
                  <a:gd name="connsiteY281" fmla="*/ 6525 h 187622"/>
                  <a:gd name="connsiteX282" fmla="*/ 68859 w 173074"/>
                  <a:gd name="connsiteY282" fmla="*/ 6789 h 187622"/>
                  <a:gd name="connsiteX283" fmla="*/ 69477 w 173074"/>
                  <a:gd name="connsiteY283" fmla="*/ 6525 h 187622"/>
                  <a:gd name="connsiteX284" fmla="*/ 70358 w 173074"/>
                  <a:gd name="connsiteY284" fmla="*/ 6525 h 187622"/>
                  <a:gd name="connsiteX285" fmla="*/ 70976 w 173074"/>
                  <a:gd name="connsiteY285" fmla="*/ 6525 h 187622"/>
                  <a:gd name="connsiteX286" fmla="*/ 71593 w 173074"/>
                  <a:gd name="connsiteY286" fmla="*/ 7142 h 187622"/>
                  <a:gd name="connsiteX287" fmla="*/ 72474 w 173074"/>
                  <a:gd name="connsiteY287" fmla="*/ 8288 h 187622"/>
                  <a:gd name="connsiteX288" fmla="*/ 72210 w 173074"/>
                  <a:gd name="connsiteY288" fmla="*/ 8905 h 187622"/>
                  <a:gd name="connsiteX289" fmla="*/ 73356 w 173074"/>
                  <a:gd name="connsiteY289" fmla="*/ 9169 h 187622"/>
                  <a:gd name="connsiteX290" fmla="*/ 73356 w 173074"/>
                  <a:gd name="connsiteY290" fmla="*/ 10316 h 187622"/>
                  <a:gd name="connsiteX291" fmla="*/ 73356 w 173074"/>
                  <a:gd name="connsiteY291" fmla="*/ 11197 h 187622"/>
                  <a:gd name="connsiteX292" fmla="*/ 73621 w 173074"/>
                  <a:gd name="connsiteY292" fmla="*/ 12079 h 187622"/>
                  <a:gd name="connsiteX293" fmla="*/ 72474 w 173074"/>
                  <a:gd name="connsiteY293" fmla="*/ 12696 h 187622"/>
                  <a:gd name="connsiteX294" fmla="*/ 71857 w 173074"/>
                  <a:gd name="connsiteY294" fmla="*/ 13578 h 187622"/>
                  <a:gd name="connsiteX295" fmla="*/ 70711 w 173074"/>
                  <a:gd name="connsiteY295" fmla="*/ 13842 h 187622"/>
                  <a:gd name="connsiteX296" fmla="*/ 69829 w 173074"/>
                  <a:gd name="connsiteY296" fmla="*/ 13842 h 187622"/>
                  <a:gd name="connsiteX297" fmla="*/ 70711 w 173074"/>
                  <a:gd name="connsiteY297" fmla="*/ 14724 h 187622"/>
                  <a:gd name="connsiteX298" fmla="*/ 71328 w 173074"/>
                  <a:gd name="connsiteY298" fmla="*/ 14460 h 187622"/>
                  <a:gd name="connsiteX299" fmla="*/ 72827 w 173074"/>
                  <a:gd name="connsiteY299" fmla="*/ 14724 h 187622"/>
                  <a:gd name="connsiteX300" fmla="*/ 73444 w 173074"/>
                  <a:gd name="connsiteY300" fmla="*/ 13842 h 187622"/>
                  <a:gd name="connsiteX301" fmla="*/ 74943 w 173074"/>
                  <a:gd name="connsiteY301" fmla="*/ 13578 h 187622"/>
                  <a:gd name="connsiteX302" fmla="*/ 75472 w 173074"/>
                  <a:gd name="connsiteY302" fmla="*/ 13578 h 187622"/>
                  <a:gd name="connsiteX303" fmla="*/ 74943 w 173074"/>
                  <a:gd name="connsiteY303" fmla="*/ 14195 h 187622"/>
                  <a:gd name="connsiteX304" fmla="*/ 75472 w 173074"/>
                  <a:gd name="connsiteY304" fmla="*/ 14812 h 187622"/>
                  <a:gd name="connsiteX305" fmla="*/ 74943 w 173074"/>
                  <a:gd name="connsiteY305" fmla="*/ 15958 h 187622"/>
                  <a:gd name="connsiteX306" fmla="*/ 75208 w 173074"/>
                  <a:gd name="connsiteY306" fmla="*/ 17105 h 187622"/>
                  <a:gd name="connsiteX307" fmla="*/ 75825 w 173074"/>
                  <a:gd name="connsiteY307" fmla="*/ 16487 h 187622"/>
                  <a:gd name="connsiteX308" fmla="*/ 76707 w 173074"/>
                  <a:gd name="connsiteY308" fmla="*/ 15958 h 187622"/>
                  <a:gd name="connsiteX309" fmla="*/ 76707 w 173074"/>
                  <a:gd name="connsiteY309" fmla="*/ 15341 h 187622"/>
                  <a:gd name="connsiteX310" fmla="*/ 77588 w 173074"/>
                  <a:gd name="connsiteY310" fmla="*/ 14724 h 187622"/>
                  <a:gd name="connsiteX311" fmla="*/ 77853 w 173074"/>
                  <a:gd name="connsiteY311" fmla="*/ 14724 h 187622"/>
                  <a:gd name="connsiteX312" fmla="*/ 78470 w 173074"/>
                  <a:gd name="connsiteY312" fmla="*/ 14724 h 187622"/>
                  <a:gd name="connsiteX313" fmla="*/ 79616 w 173074"/>
                  <a:gd name="connsiteY313" fmla="*/ 14107 h 187622"/>
                  <a:gd name="connsiteX314" fmla="*/ 80498 w 173074"/>
                  <a:gd name="connsiteY314" fmla="*/ 14107 h 187622"/>
                  <a:gd name="connsiteX315" fmla="*/ 82261 w 173074"/>
                  <a:gd name="connsiteY315" fmla="*/ 14371 h 187622"/>
                  <a:gd name="connsiteX316" fmla="*/ 82526 w 173074"/>
                  <a:gd name="connsiteY316" fmla="*/ 15253 h 187622"/>
                  <a:gd name="connsiteX317" fmla="*/ 83143 w 173074"/>
                  <a:gd name="connsiteY317" fmla="*/ 16135 h 187622"/>
                  <a:gd name="connsiteX318" fmla="*/ 84906 w 173074"/>
                  <a:gd name="connsiteY318" fmla="*/ 17016 h 187622"/>
                  <a:gd name="connsiteX319" fmla="*/ 85788 w 173074"/>
                  <a:gd name="connsiteY319" fmla="*/ 17898 h 187622"/>
                  <a:gd name="connsiteX320" fmla="*/ 86934 w 173074"/>
                  <a:gd name="connsiteY320" fmla="*/ 17369 h 187622"/>
                  <a:gd name="connsiteX321" fmla="*/ 88433 w 173074"/>
                  <a:gd name="connsiteY321" fmla="*/ 17105 h 187622"/>
                  <a:gd name="connsiteX322" fmla="*/ 90196 w 173074"/>
                  <a:gd name="connsiteY322" fmla="*/ 15958 h 187622"/>
                  <a:gd name="connsiteX323" fmla="*/ 91607 w 173074"/>
                  <a:gd name="connsiteY323" fmla="*/ 16223 h 187622"/>
                  <a:gd name="connsiteX324" fmla="*/ 92224 w 173074"/>
                  <a:gd name="connsiteY324" fmla="*/ 15958 h 187622"/>
                  <a:gd name="connsiteX325" fmla="*/ 93106 w 173074"/>
                  <a:gd name="connsiteY325" fmla="*/ 15958 h 187622"/>
                  <a:gd name="connsiteX326" fmla="*/ 92841 w 173074"/>
                  <a:gd name="connsiteY326" fmla="*/ 16487 h 187622"/>
                  <a:gd name="connsiteX327" fmla="*/ 93106 w 173074"/>
                  <a:gd name="connsiteY327" fmla="*/ 17986 h 187622"/>
                  <a:gd name="connsiteX328" fmla="*/ 93370 w 173074"/>
                  <a:gd name="connsiteY328" fmla="*/ 19750 h 187622"/>
                  <a:gd name="connsiteX329" fmla="*/ 93106 w 173074"/>
                  <a:gd name="connsiteY329" fmla="*/ 20896 h 187622"/>
                  <a:gd name="connsiteX330" fmla="*/ 92224 w 173074"/>
                  <a:gd name="connsiteY330" fmla="*/ 21778 h 187622"/>
                  <a:gd name="connsiteX331" fmla="*/ 90725 w 173074"/>
                  <a:gd name="connsiteY331" fmla="*/ 22042 h 187622"/>
                  <a:gd name="connsiteX332" fmla="*/ 89579 w 173074"/>
                  <a:gd name="connsiteY332" fmla="*/ 22924 h 187622"/>
                  <a:gd name="connsiteX333" fmla="*/ 88433 w 173074"/>
                  <a:gd name="connsiteY333" fmla="*/ 23188 h 187622"/>
                  <a:gd name="connsiteX334" fmla="*/ 87551 w 173074"/>
                  <a:gd name="connsiteY334" fmla="*/ 23805 h 187622"/>
                  <a:gd name="connsiteX335" fmla="*/ 87904 w 173074"/>
                  <a:gd name="connsiteY335" fmla="*/ 24952 h 187622"/>
                  <a:gd name="connsiteX336" fmla="*/ 89050 w 173074"/>
                  <a:gd name="connsiteY336" fmla="*/ 25216 h 187622"/>
                  <a:gd name="connsiteX337" fmla="*/ 89932 w 173074"/>
                  <a:gd name="connsiteY337" fmla="*/ 25481 h 187622"/>
                  <a:gd name="connsiteX338" fmla="*/ 89932 w 173074"/>
                  <a:gd name="connsiteY338" fmla="*/ 26362 h 187622"/>
                  <a:gd name="connsiteX339" fmla="*/ 89315 w 173074"/>
                  <a:gd name="connsiteY339" fmla="*/ 27508 h 187622"/>
                  <a:gd name="connsiteX340" fmla="*/ 90196 w 173074"/>
                  <a:gd name="connsiteY340" fmla="*/ 26627 h 187622"/>
                  <a:gd name="connsiteX341" fmla="*/ 90461 w 173074"/>
                  <a:gd name="connsiteY341" fmla="*/ 26010 h 187622"/>
                  <a:gd name="connsiteX342" fmla="*/ 91960 w 173074"/>
                  <a:gd name="connsiteY342" fmla="*/ 25128 h 187622"/>
                  <a:gd name="connsiteX343" fmla="*/ 93723 w 173074"/>
                  <a:gd name="connsiteY343" fmla="*/ 24511 h 187622"/>
                  <a:gd name="connsiteX344" fmla="*/ 95487 w 173074"/>
                  <a:gd name="connsiteY344" fmla="*/ 24511 h 187622"/>
                  <a:gd name="connsiteX345" fmla="*/ 96104 w 173074"/>
                  <a:gd name="connsiteY345" fmla="*/ 24775 h 187622"/>
                  <a:gd name="connsiteX346" fmla="*/ 96985 w 173074"/>
                  <a:gd name="connsiteY346" fmla="*/ 24511 h 187622"/>
                  <a:gd name="connsiteX347" fmla="*/ 97867 w 173074"/>
                  <a:gd name="connsiteY347" fmla="*/ 25393 h 187622"/>
                  <a:gd name="connsiteX348" fmla="*/ 99278 w 173074"/>
                  <a:gd name="connsiteY348" fmla="*/ 25657 h 187622"/>
                  <a:gd name="connsiteX349" fmla="*/ 101041 w 173074"/>
                  <a:gd name="connsiteY349" fmla="*/ 26274 h 187622"/>
                  <a:gd name="connsiteX350" fmla="*/ 101041 w 173074"/>
                  <a:gd name="connsiteY350" fmla="*/ 25657 h 187622"/>
                  <a:gd name="connsiteX351" fmla="*/ 101658 w 173074"/>
                  <a:gd name="connsiteY351" fmla="*/ 24775 h 187622"/>
                  <a:gd name="connsiteX352" fmla="*/ 101923 w 173074"/>
                  <a:gd name="connsiteY352" fmla="*/ 24158 h 187622"/>
                  <a:gd name="connsiteX353" fmla="*/ 102804 w 173074"/>
                  <a:gd name="connsiteY353" fmla="*/ 23012 h 187622"/>
                  <a:gd name="connsiteX354" fmla="*/ 103686 w 173074"/>
                  <a:gd name="connsiteY354" fmla="*/ 23276 h 187622"/>
                  <a:gd name="connsiteX355" fmla="*/ 103686 w 173074"/>
                  <a:gd name="connsiteY355" fmla="*/ 22395 h 187622"/>
                  <a:gd name="connsiteX356" fmla="*/ 104303 w 173074"/>
                  <a:gd name="connsiteY356" fmla="*/ 21249 h 187622"/>
                  <a:gd name="connsiteX357" fmla="*/ 106596 w 173074"/>
                  <a:gd name="connsiteY357" fmla="*/ 19750 h 187622"/>
                  <a:gd name="connsiteX358" fmla="*/ 108624 w 173074"/>
                  <a:gd name="connsiteY358" fmla="*/ 19133 h 187622"/>
                  <a:gd name="connsiteX359" fmla="*/ 109770 w 173074"/>
                  <a:gd name="connsiteY359" fmla="*/ 18868 h 187622"/>
                  <a:gd name="connsiteX360" fmla="*/ 110651 w 173074"/>
                  <a:gd name="connsiteY360" fmla="*/ 19750 h 187622"/>
                  <a:gd name="connsiteX361" fmla="*/ 111533 w 173074"/>
                  <a:gd name="connsiteY361" fmla="*/ 20014 h 187622"/>
                  <a:gd name="connsiteX362" fmla="*/ 112415 w 173074"/>
                  <a:gd name="connsiteY362" fmla="*/ 21160 h 187622"/>
                  <a:gd name="connsiteX363" fmla="*/ 112679 w 173074"/>
                  <a:gd name="connsiteY363" fmla="*/ 21778 h 187622"/>
                  <a:gd name="connsiteX364" fmla="*/ 112415 w 173074"/>
                  <a:gd name="connsiteY364" fmla="*/ 20631 h 187622"/>
                  <a:gd name="connsiteX365" fmla="*/ 113296 w 173074"/>
                  <a:gd name="connsiteY365" fmla="*/ 20014 h 187622"/>
                  <a:gd name="connsiteX366" fmla="*/ 114443 w 173074"/>
                  <a:gd name="connsiteY366" fmla="*/ 19133 h 187622"/>
                  <a:gd name="connsiteX367" fmla="*/ 115942 w 173074"/>
                  <a:gd name="connsiteY367" fmla="*/ 18515 h 187622"/>
                  <a:gd name="connsiteX368" fmla="*/ 116559 w 173074"/>
                  <a:gd name="connsiteY368" fmla="*/ 17634 h 187622"/>
                  <a:gd name="connsiteX369" fmla="*/ 118058 w 173074"/>
                  <a:gd name="connsiteY369" fmla="*/ 15870 h 187622"/>
                  <a:gd name="connsiteX370" fmla="*/ 117793 w 173074"/>
                  <a:gd name="connsiteY370" fmla="*/ 15870 h 187622"/>
                  <a:gd name="connsiteX371" fmla="*/ 117793 w 173074"/>
                  <a:gd name="connsiteY371" fmla="*/ 15606 h 187622"/>
                  <a:gd name="connsiteX372" fmla="*/ 118675 w 173074"/>
                  <a:gd name="connsiteY372" fmla="*/ 14724 h 187622"/>
                  <a:gd name="connsiteX373" fmla="*/ 118939 w 173074"/>
                  <a:gd name="connsiteY373" fmla="*/ 13842 h 187622"/>
                  <a:gd name="connsiteX374" fmla="*/ 119556 w 173074"/>
                  <a:gd name="connsiteY374" fmla="*/ 13578 h 187622"/>
                  <a:gd name="connsiteX375" fmla="*/ 119821 w 173074"/>
                  <a:gd name="connsiteY375" fmla="*/ 14107 h 187622"/>
                  <a:gd name="connsiteX376" fmla="*/ 122731 w 173074"/>
                  <a:gd name="connsiteY376" fmla="*/ 14371 h 187622"/>
                  <a:gd name="connsiteX377" fmla="*/ 123612 w 173074"/>
                  <a:gd name="connsiteY377" fmla="*/ 14107 h 187622"/>
                  <a:gd name="connsiteX378" fmla="*/ 124229 w 173074"/>
                  <a:gd name="connsiteY378" fmla="*/ 14371 h 187622"/>
                  <a:gd name="connsiteX379" fmla="*/ 125111 w 173074"/>
                  <a:gd name="connsiteY379" fmla="*/ 14371 h 187622"/>
                  <a:gd name="connsiteX380" fmla="*/ 125993 w 173074"/>
                  <a:gd name="connsiteY380" fmla="*/ 14107 h 187622"/>
                  <a:gd name="connsiteX381" fmla="*/ 126610 w 173074"/>
                  <a:gd name="connsiteY381" fmla="*/ 14107 h 187622"/>
                  <a:gd name="connsiteX382" fmla="*/ 126874 w 173074"/>
                  <a:gd name="connsiteY382" fmla="*/ 14724 h 187622"/>
                  <a:gd name="connsiteX383" fmla="*/ 126874 w 173074"/>
                  <a:gd name="connsiteY383" fmla="*/ 15077 h 187622"/>
                  <a:gd name="connsiteX384" fmla="*/ 126610 w 173074"/>
                  <a:gd name="connsiteY384" fmla="*/ 15341 h 187622"/>
                  <a:gd name="connsiteX385" fmla="*/ 124846 w 173074"/>
                  <a:gd name="connsiteY385" fmla="*/ 15077 h 187622"/>
                  <a:gd name="connsiteX386" fmla="*/ 123700 w 173074"/>
                  <a:gd name="connsiteY386" fmla="*/ 15077 h 187622"/>
                  <a:gd name="connsiteX387" fmla="*/ 122819 w 173074"/>
                  <a:gd name="connsiteY387" fmla="*/ 14724 h 187622"/>
                  <a:gd name="connsiteX388" fmla="*/ 122202 w 173074"/>
                  <a:gd name="connsiteY388" fmla="*/ 15341 h 187622"/>
                  <a:gd name="connsiteX389" fmla="*/ 121584 w 173074"/>
                  <a:gd name="connsiteY389" fmla="*/ 15341 h 187622"/>
                  <a:gd name="connsiteX390" fmla="*/ 121320 w 173074"/>
                  <a:gd name="connsiteY390" fmla="*/ 15077 h 187622"/>
                  <a:gd name="connsiteX391" fmla="*/ 120174 w 173074"/>
                  <a:gd name="connsiteY391" fmla="*/ 15341 h 187622"/>
                  <a:gd name="connsiteX392" fmla="*/ 119027 w 173074"/>
                  <a:gd name="connsiteY392" fmla="*/ 15606 h 187622"/>
                  <a:gd name="connsiteX393" fmla="*/ 118146 w 173074"/>
                  <a:gd name="connsiteY393" fmla="*/ 16135 h 187622"/>
                  <a:gd name="connsiteX394" fmla="*/ 117529 w 173074"/>
                  <a:gd name="connsiteY394" fmla="*/ 16752 h 187622"/>
                  <a:gd name="connsiteX395" fmla="*/ 117000 w 173074"/>
                  <a:gd name="connsiteY395" fmla="*/ 17898 h 187622"/>
                  <a:gd name="connsiteX396" fmla="*/ 117264 w 173074"/>
                  <a:gd name="connsiteY396" fmla="*/ 18515 h 187622"/>
                  <a:gd name="connsiteX397" fmla="*/ 117529 w 173074"/>
                  <a:gd name="connsiteY397" fmla="*/ 18868 h 187622"/>
                  <a:gd name="connsiteX398" fmla="*/ 118146 w 173074"/>
                  <a:gd name="connsiteY398" fmla="*/ 19133 h 187622"/>
                  <a:gd name="connsiteX399" fmla="*/ 118410 w 173074"/>
                  <a:gd name="connsiteY399" fmla="*/ 19397 h 187622"/>
                  <a:gd name="connsiteX400" fmla="*/ 118675 w 173074"/>
                  <a:gd name="connsiteY400" fmla="*/ 18868 h 187622"/>
                  <a:gd name="connsiteX401" fmla="*/ 117793 w 173074"/>
                  <a:gd name="connsiteY401" fmla="*/ 18515 h 187622"/>
                  <a:gd name="connsiteX402" fmla="*/ 118058 w 173074"/>
                  <a:gd name="connsiteY402" fmla="*/ 17634 h 187622"/>
                  <a:gd name="connsiteX403" fmla="*/ 119204 w 173074"/>
                  <a:gd name="connsiteY403" fmla="*/ 17105 h 187622"/>
                  <a:gd name="connsiteX404" fmla="*/ 120085 w 173074"/>
                  <a:gd name="connsiteY404" fmla="*/ 16487 h 187622"/>
                  <a:gd name="connsiteX405" fmla="*/ 121584 w 173074"/>
                  <a:gd name="connsiteY405" fmla="*/ 15870 h 187622"/>
                  <a:gd name="connsiteX406" fmla="*/ 123877 w 173074"/>
                  <a:gd name="connsiteY406" fmla="*/ 16135 h 187622"/>
                  <a:gd name="connsiteX407" fmla="*/ 125287 w 173074"/>
                  <a:gd name="connsiteY407" fmla="*/ 15870 h 187622"/>
                  <a:gd name="connsiteX408" fmla="*/ 127668 w 173074"/>
                  <a:gd name="connsiteY408" fmla="*/ 15606 h 187622"/>
                  <a:gd name="connsiteX409" fmla="*/ 128550 w 173074"/>
                  <a:gd name="connsiteY409" fmla="*/ 15606 h 187622"/>
                  <a:gd name="connsiteX410" fmla="*/ 129696 w 173074"/>
                  <a:gd name="connsiteY410" fmla="*/ 15606 h 187622"/>
                  <a:gd name="connsiteX411" fmla="*/ 129431 w 173074"/>
                  <a:gd name="connsiteY411" fmla="*/ 16487 h 187622"/>
                  <a:gd name="connsiteX412" fmla="*/ 130577 w 173074"/>
                  <a:gd name="connsiteY412" fmla="*/ 18515 h 187622"/>
                  <a:gd name="connsiteX413" fmla="*/ 131724 w 173074"/>
                  <a:gd name="connsiteY413" fmla="*/ 18868 h 187622"/>
                  <a:gd name="connsiteX414" fmla="*/ 132341 w 173074"/>
                  <a:gd name="connsiteY414" fmla="*/ 19133 h 187622"/>
                  <a:gd name="connsiteX415" fmla="*/ 133840 w 173074"/>
                  <a:gd name="connsiteY415" fmla="*/ 19133 h 187622"/>
                  <a:gd name="connsiteX416" fmla="*/ 134457 w 173074"/>
                  <a:gd name="connsiteY416" fmla="*/ 19397 h 187622"/>
                  <a:gd name="connsiteX417" fmla="*/ 134986 w 173074"/>
                  <a:gd name="connsiteY417" fmla="*/ 19662 h 187622"/>
                  <a:gd name="connsiteX418" fmla="*/ 134721 w 173074"/>
                  <a:gd name="connsiteY418" fmla="*/ 20279 h 187622"/>
                  <a:gd name="connsiteX419" fmla="*/ 135603 w 173074"/>
                  <a:gd name="connsiteY419" fmla="*/ 20543 h 187622"/>
                  <a:gd name="connsiteX420" fmla="*/ 136220 w 173074"/>
                  <a:gd name="connsiteY420" fmla="*/ 21425 h 187622"/>
                  <a:gd name="connsiteX421" fmla="*/ 136838 w 173074"/>
                  <a:gd name="connsiteY421" fmla="*/ 22042 h 187622"/>
                  <a:gd name="connsiteX422" fmla="*/ 137366 w 173074"/>
                  <a:gd name="connsiteY422" fmla="*/ 22307 h 187622"/>
                  <a:gd name="connsiteX423" fmla="*/ 137631 w 173074"/>
                  <a:gd name="connsiteY423" fmla="*/ 22924 h 187622"/>
                  <a:gd name="connsiteX424" fmla="*/ 137895 w 173074"/>
                  <a:gd name="connsiteY424" fmla="*/ 22042 h 187622"/>
                  <a:gd name="connsiteX425" fmla="*/ 138513 w 173074"/>
                  <a:gd name="connsiteY425" fmla="*/ 21778 h 187622"/>
                  <a:gd name="connsiteX426" fmla="*/ 139394 w 173074"/>
                  <a:gd name="connsiteY426" fmla="*/ 21778 h 187622"/>
                  <a:gd name="connsiteX427" fmla="*/ 141158 w 173074"/>
                  <a:gd name="connsiteY427" fmla="*/ 21513 h 187622"/>
                  <a:gd name="connsiteX428" fmla="*/ 142039 w 173074"/>
                  <a:gd name="connsiteY428" fmla="*/ 20631 h 187622"/>
                  <a:gd name="connsiteX429" fmla="*/ 142657 w 173074"/>
                  <a:gd name="connsiteY429" fmla="*/ 21249 h 187622"/>
                  <a:gd name="connsiteX430" fmla="*/ 143186 w 173074"/>
                  <a:gd name="connsiteY430" fmla="*/ 22130 h 187622"/>
                  <a:gd name="connsiteX431" fmla="*/ 143803 w 173074"/>
                  <a:gd name="connsiteY431" fmla="*/ 23012 h 187622"/>
                  <a:gd name="connsiteX432" fmla="*/ 143538 w 173074"/>
                  <a:gd name="connsiteY432" fmla="*/ 23894 h 187622"/>
                  <a:gd name="connsiteX433" fmla="*/ 144420 w 173074"/>
                  <a:gd name="connsiteY433" fmla="*/ 24775 h 187622"/>
                  <a:gd name="connsiteX434" fmla="*/ 145831 w 173074"/>
                  <a:gd name="connsiteY434" fmla="*/ 24775 h 187622"/>
                  <a:gd name="connsiteX435" fmla="*/ 148740 w 173074"/>
                  <a:gd name="connsiteY435" fmla="*/ 25922 h 187622"/>
                  <a:gd name="connsiteX436" fmla="*/ 150503 w 173074"/>
                  <a:gd name="connsiteY436" fmla="*/ 26539 h 187622"/>
                  <a:gd name="connsiteX437" fmla="*/ 149005 w 173074"/>
                  <a:gd name="connsiteY437" fmla="*/ 26803 h 187622"/>
                  <a:gd name="connsiteX438" fmla="*/ 147241 w 173074"/>
                  <a:gd name="connsiteY438" fmla="*/ 26539 h 187622"/>
                  <a:gd name="connsiteX439" fmla="*/ 145478 w 173074"/>
                  <a:gd name="connsiteY439" fmla="*/ 27420 h 187622"/>
                  <a:gd name="connsiteX440" fmla="*/ 143979 w 173074"/>
                  <a:gd name="connsiteY440" fmla="*/ 28567 h 187622"/>
                  <a:gd name="connsiteX441" fmla="*/ 144861 w 173074"/>
                  <a:gd name="connsiteY441" fmla="*/ 28831 h 187622"/>
                  <a:gd name="connsiteX442" fmla="*/ 146360 w 173074"/>
                  <a:gd name="connsiteY442" fmla="*/ 29096 h 187622"/>
                  <a:gd name="connsiteX443" fmla="*/ 153325 w 173074"/>
                  <a:gd name="connsiteY443" fmla="*/ 30859 h 187622"/>
                  <a:gd name="connsiteX444" fmla="*/ 153589 w 173074"/>
                  <a:gd name="connsiteY444" fmla="*/ 31741 h 187622"/>
                  <a:gd name="connsiteX445" fmla="*/ 154736 w 173074"/>
                  <a:gd name="connsiteY445" fmla="*/ 33504 h 187622"/>
                  <a:gd name="connsiteX446" fmla="*/ 154736 w 173074"/>
                  <a:gd name="connsiteY446" fmla="*/ 34650 h 187622"/>
                  <a:gd name="connsiteX447" fmla="*/ 155000 w 173074"/>
                  <a:gd name="connsiteY447" fmla="*/ 37295 h 187622"/>
                  <a:gd name="connsiteX448" fmla="*/ 157292 w 173074"/>
                  <a:gd name="connsiteY448" fmla="*/ 39323 h 187622"/>
                  <a:gd name="connsiteX449" fmla="*/ 158174 w 173074"/>
                  <a:gd name="connsiteY449" fmla="*/ 41704 h 187622"/>
                  <a:gd name="connsiteX450" fmla="*/ 157028 w 173074"/>
                  <a:gd name="connsiteY450" fmla="*/ 43731 h 187622"/>
                  <a:gd name="connsiteX451" fmla="*/ 156763 w 173074"/>
                  <a:gd name="connsiteY451" fmla="*/ 44878 h 187622"/>
                  <a:gd name="connsiteX452" fmla="*/ 156146 w 173074"/>
                  <a:gd name="connsiteY452" fmla="*/ 47258 h 187622"/>
                  <a:gd name="connsiteX453" fmla="*/ 153501 w 173074"/>
                  <a:gd name="connsiteY453" fmla="*/ 48140 h 187622"/>
                  <a:gd name="connsiteX454" fmla="*/ 152884 w 173074"/>
                  <a:gd name="connsiteY454" fmla="*/ 51314 h 187622"/>
                  <a:gd name="connsiteX455" fmla="*/ 153766 w 173074"/>
                  <a:gd name="connsiteY455" fmla="*/ 51931 h 187622"/>
                  <a:gd name="connsiteX456" fmla="*/ 154647 w 173074"/>
                  <a:gd name="connsiteY456" fmla="*/ 53077 h 187622"/>
                  <a:gd name="connsiteX457" fmla="*/ 156411 w 173074"/>
                  <a:gd name="connsiteY457" fmla="*/ 54224 h 187622"/>
                  <a:gd name="connsiteX458" fmla="*/ 156411 w 173074"/>
                  <a:gd name="connsiteY458" fmla="*/ 54752 h 187622"/>
                  <a:gd name="connsiteX459" fmla="*/ 159320 w 173074"/>
                  <a:gd name="connsiteY459" fmla="*/ 56251 h 187622"/>
                  <a:gd name="connsiteX460" fmla="*/ 162847 w 173074"/>
                  <a:gd name="connsiteY460" fmla="*/ 57133 h 187622"/>
                  <a:gd name="connsiteX461" fmla="*/ 163729 w 173074"/>
                  <a:gd name="connsiteY461" fmla="*/ 59161 h 187622"/>
                  <a:gd name="connsiteX462" fmla="*/ 163112 w 173074"/>
                  <a:gd name="connsiteY462" fmla="*/ 59778 h 187622"/>
                  <a:gd name="connsiteX463" fmla="*/ 162847 w 173074"/>
                  <a:gd name="connsiteY463" fmla="*/ 60660 h 187622"/>
                  <a:gd name="connsiteX464" fmla="*/ 162318 w 173074"/>
                  <a:gd name="connsiteY464" fmla="*/ 61541 h 187622"/>
                  <a:gd name="connsiteX465" fmla="*/ 161436 w 173074"/>
                  <a:gd name="connsiteY465" fmla="*/ 62070 h 187622"/>
                  <a:gd name="connsiteX466" fmla="*/ 162054 w 173074"/>
                  <a:gd name="connsiteY466" fmla="*/ 63217 h 187622"/>
                  <a:gd name="connsiteX467" fmla="*/ 163200 w 173074"/>
                  <a:gd name="connsiteY467" fmla="*/ 64627 h 187622"/>
                  <a:gd name="connsiteX468" fmla="*/ 165228 w 173074"/>
                  <a:gd name="connsiteY468" fmla="*/ 66391 h 187622"/>
                  <a:gd name="connsiteX469" fmla="*/ 164610 w 173074"/>
                  <a:gd name="connsiteY469" fmla="*/ 69917 h 187622"/>
                  <a:gd name="connsiteX470" fmla="*/ 165492 w 173074"/>
                  <a:gd name="connsiteY470" fmla="*/ 70447 h 187622"/>
                  <a:gd name="connsiteX471" fmla="*/ 166109 w 173074"/>
                  <a:gd name="connsiteY471" fmla="*/ 71945 h 187622"/>
                  <a:gd name="connsiteX472" fmla="*/ 165492 w 173074"/>
                  <a:gd name="connsiteY472" fmla="*/ 73709 h 187622"/>
                  <a:gd name="connsiteX473" fmla="*/ 165228 w 173074"/>
                  <a:gd name="connsiteY473" fmla="*/ 74855 h 187622"/>
                  <a:gd name="connsiteX474" fmla="*/ 164346 w 173074"/>
                  <a:gd name="connsiteY474" fmla="*/ 75472 h 187622"/>
                  <a:gd name="connsiteX475" fmla="*/ 164610 w 173074"/>
                  <a:gd name="connsiteY475" fmla="*/ 76883 h 187622"/>
                  <a:gd name="connsiteX476" fmla="*/ 165228 w 173074"/>
                  <a:gd name="connsiteY476" fmla="*/ 77764 h 187622"/>
                  <a:gd name="connsiteX477" fmla="*/ 165492 w 173074"/>
                  <a:gd name="connsiteY477" fmla="*/ 78911 h 187622"/>
                  <a:gd name="connsiteX478" fmla="*/ 166374 w 173074"/>
                  <a:gd name="connsiteY478" fmla="*/ 79528 h 187622"/>
                  <a:gd name="connsiteX479" fmla="*/ 167784 w 173074"/>
                  <a:gd name="connsiteY479" fmla="*/ 81820 h 187622"/>
                  <a:gd name="connsiteX480" fmla="*/ 168931 w 173074"/>
                  <a:gd name="connsiteY480" fmla="*/ 82437 h 187622"/>
                  <a:gd name="connsiteX481" fmla="*/ 170959 w 173074"/>
                  <a:gd name="connsiteY481" fmla="*/ 83584 h 187622"/>
                  <a:gd name="connsiteX482" fmla="*/ 171576 w 173074"/>
                  <a:gd name="connsiteY482" fmla="*/ 86229 h 187622"/>
                  <a:gd name="connsiteX483" fmla="*/ 173075 w 173074"/>
                  <a:gd name="connsiteY483" fmla="*/ 87992 h 187622"/>
                  <a:gd name="connsiteX484" fmla="*/ 172457 w 173074"/>
                  <a:gd name="connsiteY484" fmla="*/ 90373 h 187622"/>
                  <a:gd name="connsiteX485" fmla="*/ 171311 w 173074"/>
                  <a:gd name="connsiteY485" fmla="*/ 93899 h 187622"/>
                  <a:gd name="connsiteX486" fmla="*/ 170430 w 173074"/>
                  <a:gd name="connsiteY486" fmla="*/ 97426 h 187622"/>
                  <a:gd name="connsiteX487" fmla="*/ 169548 w 173074"/>
                  <a:gd name="connsiteY487" fmla="*/ 98837 h 187622"/>
                  <a:gd name="connsiteX488" fmla="*/ 169812 w 173074"/>
                  <a:gd name="connsiteY488" fmla="*/ 99718 h 187622"/>
                  <a:gd name="connsiteX489" fmla="*/ 169548 w 173074"/>
                  <a:gd name="connsiteY489" fmla="*/ 100336 h 187622"/>
                  <a:gd name="connsiteX490" fmla="*/ 167784 w 173074"/>
                  <a:gd name="connsiteY490" fmla="*/ 100600 h 187622"/>
                  <a:gd name="connsiteX491" fmla="*/ 166638 w 173074"/>
                  <a:gd name="connsiteY491" fmla="*/ 99718 h 187622"/>
                  <a:gd name="connsiteX492" fmla="*/ 166903 w 173074"/>
                  <a:gd name="connsiteY492" fmla="*/ 97426 h 187622"/>
                  <a:gd name="connsiteX493" fmla="*/ 166021 w 173074"/>
                  <a:gd name="connsiteY493" fmla="*/ 97162 h 187622"/>
                  <a:gd name="connsiteX494" fmla="*/ 166021 w 173074"/>
                  <a:gd name="connsiteY494" fmla="*/ 96280 h 187622"/>
                  <a:gd name="connsiteX495" fmla="*/ 165404 w 173074"/>
                  <a:gd name="connsiteY495" fmla="*/ 96544 h 187622"/>
                  <a:gd name="connsiteX496" fmla="*/ 163024 w 173074"/>
                  <a:gd name="connsiteY496" fmla="*/ 96015 h 187622"/>
                  <a:gd name="connsiteX497" fmla="*/ 162495 w 173074"/>
                  <a:gd name="connsiteY497" fmla="*/ 95486 h 187622"/>
                  <a:gd name="connsiteX498" fmla="*/ 162230 w 173074"/>
                  <a:gd name="connsiteY498" fmla="*/ 96368 h 187622"/>
                  <a:gd name="connsiteX499" fmla="*/ 159849 w 173074"/>
                  <a:gd name="connsiteY499" fmla="*/ 94869 h 187622"/>
                  <a:gd name="connsiteX500" fmla="*/ 158968 w 173074"/>
                  <a:gd name="connsiteY500" fmla="*/ 95751 h 187622"/>
                  <a:gd name="connsiteX501" fmla="*/ 159849 w 173074"/>
                  <a:gd name="connsiteY501" fmla="*/ 96368 h 187622"/>
                  <a:gd name="connsiteX502" fmla="*/ 160114 w 173074"/>
                  <a:gd name="connsiteY502" fmla="*/ 96985 h 187622"/>
                  <a:gd name="connsiteX503" fmla="*/ 160114 w 173074"/>
                  <a:gd name="connsiteY503" fmla="*/ 97602 h 187622"/>
                  <a:gd name="connsiteX504" fmla="*/ 161260 w 173074"/>
                  <a:gd name="connsiteY504" fmla="*/ 97867 h 187622"/>
                  <a:gd name="connsiteX505" fmla="*/ 161877 w 173074"/>
                  <a:gd name="connsiteY505" fmla="*/ 98749 h 187622"/>
                  <a:gd name="connsiteX506" fmla="*/ 158968 w 173074"/>
                  <a:gd name="connsiteY506" fmla="*/ 99013 h 187622"/>
                  <a:gd name="connsiteX507" fmla="*/ 156940 w 173074"/>
                  <a:gd name="connsiteY507" fmla="*/ 99895 h 187622"/>
                  <a:gd name="connsiteX508" fmla="*/ 155794 w 173074"/>
                  <a:gd name="connsiteY508" fmla="*/ 100776 h 187622"/>
                  <a:gd name="connsiteX509" fmla="*/ 154030 w 173074"/>
                  <a:gd name="connsiteY509" fmla="*/ 101041 h 187622"/>
                  <a:gd name="connsiteX510" fmla="*/ 153766 w 173074"/>
                  <a:gd name="connsiteY510" fmla="*/ 100776 h 187622"/>
                  <a:gd name="connsiteX511" fmla="*/ 153148 w 173074"/>
                  <a:gd name="connsiteY511" fmla="*/ 101041 h 187622"/>
                  <a:gd name="connsiteX512" fmla="*/ 152531 w 173074"/>
                  <a:gd name="connsiteY512" fmla="*/ 101041 h 187622"/>
                  <a:gd name="connsiteX513" fmla="*/ 152267 w 173074"/>
                  <a:gd name="connsiteY513" fmla="*/ 102540 h 187622"/>
                  <a:gd name="connsiteX514" fmla="*/ 151385 w 173074"/>
                  <a:gd name="connsiteY514" fmla="*/ 103069 h 187622"/>
                  <a:gd name="connsiteX515" fmla="*/ 149975 w 173074"/>
                  <a:gd name="connsiteY515" fmla="*/ 103069 h 187622"/>
                  <a:gd name="connsiteX516" fmla="*/ 144684 w 173074"/>
                  <a:gd name="connsiteY516" fmla="*/ 103333 h 187622"/>
                  <a:gd name="connsiteX517" fmla="*/ 144420 w 173074"/>
                  <a:gd name="connsiteY517" fmla="*/ 103686 h 187622"/>
                  <a:gd name="connsiteX518" fmla="*/ 145037 w 173074"/>
                  <a:gd name="connsiteY518" fmla="*/ 104215 h 187622"/>
                  <a:gd name="connsiteX519" fmla="*/ 144420 w 173074"/>
                  <a:gd name="connsiteY519" fmla="*/ 104744 h 187622"/>
                  <a:gd name="connsiteX520" fmla="*/ 144420 w 173074"/>
                  <a:gd name="connsiteY520" fmla="*/ 105361 h 187622"/>
                  <a:gd name="connsiteX521" fmla="*/ 144420 w 173074"/>
                  <a:gd name="connsiteY521" fmla="*/ 105978 h 187622"/>
                  <a:gd name="connsiteX522" fmla="*/ 144155 w 173074"/>
                  <a:gd name="connsiteY522" fmla="*/ 105361 h 187622"/>
                  <a:gd name="connsiteX523" fmla="*/ 142127 w 173074"/>
                  <a:gd name="connsiteY523" fmla="*/ 105978 h 187622"/>
                  <a:gd name="connsiteX524" fmla="*/ 141246 w 173074"/>
                  <a:gd name="connsiteY524" fmla="*/ 106860 h 187622"/>
                  <a:gd name="connsiteX525" fmla="*/ 140629 w 173074"/>
                  <a:gd name="connsiteY525" fmla="*/ 106860 h 187622"/>
                  <a:gd name="connsiteX526" fmla="*/ 139218 w 173074"/>
                  <a:gd name="connsiteY526" fmla="*/ 108623 h 187622"/>
                  <a:gd name="connsiteX527" fmla="*/ 138601 w 173074"/>
                  <a:gd name="connsiteY527" fmla="*/ 108359 h 187622"/>
                  <a:gd name="connsiteX528" fmla="*/ 135956 w 173074"/>
                  <a:gd name="connsiteY528" fmla="*/ 109241 h 187622"/>
                  <a:gd name="connsiteX529" fmla="*/ 135339 w 173074"/>
                  <a:gd name="connsiteY529" fmla="*/ 110387 h 187622"/>
                  <a:gd name="connsiteX530" fmla="*/ 135074 w 173074"/>
                  <a:gd name="connsiteY530" fmla="*/ 110651 h 187622"/>
                  <a:gd name="connsiteX531" fmla="*/ 134810 w 173074"/>
                  <a:gd name="connsiteY531" fmla="*/ 110916 h 187622"/>
                  <a:gd name="connsiteX532" fmla="*/ 132429 w 173074"/>
                  <a:gd name="connsiteY532" fmla="*/ 110299 h 187622"/>
                  <a:gd name="connsiteX533" fmla="*/ 131812 w 173074"/>
                  <a:gd name="connsiteY533" fmla="*/ 110299 h 187622"/>
                  <a:gd name="connsiteX534" fmla="*/ 128902 w 173074"/>
                  <a:gd name="connsiteY534" fmla="*/ 110916 h 187622"/>
                  <a:gd name="connsiteX535" fmla="*/ 125993 w 173074"/>
                  <a:gd name="connsiteY535" fmla="*/ 110916 h 187622"/>
                  <a:gd name="connsiteX536" fmla="*/ 125728 w 173074"/>
                  <a:gd name="connsiteY536" fmla="*/ 111533 h 187622"/>
                  <a:gd name="connsiteX537" fmla="*/ 125728 w 173074"/>
                  <a:gd name="connsiteY537" fmla="*/ 112150 h 187622"/>
                  <a:gd name="connsiteX538" fmla="*/ 124582 w 173074"/>
                  <a:gd name="connsiteY538" fmla="*/ 113032 h 187622"/>
                  <a:gd name="connsiteX539" fmla="*/ 124582 w 173074"/>
                  <a:gd name="connsiteY539" fmla="*/ 113296 h 187622"/>
                  <a:gd name="connsiteX540" fmla="*/ 123083 w 173074"/>
                  <a:gd name="connsiteY540" fmla="*/ 114178 h 187622"/>
                  <a:gd name="connsiteX541" fmla="*/ 122466 w 173074"/>
                  <a:gd name="connsiteY541" fmla="*/ 114443 h 187622"/>
                  <a:gd name="connsiteX542" fmla="*/ 121849 w 173074"/>
                  <a:gd name="connsiteY542" fmla="*/ 114443 h 187622"/>
                  <a:gd name="connsiteX543" fmla="*/ 121584 w 173074"/>
                  <a:gd name="connsiteY543" fmla="*/ 114178 h 187622"/>
                  <a:gd name="connsiteX544" fmla="*/ 120438 w 173074"/>
                  <a:gd name="connsiteY544" fmla="*/ 113561 h 187622"/>
                  <a:gd name="connsiteX545" fmla="*/ 119556 w 173074"/>
                  <a:gd name="connsiteY545" fmla="*/ 112944 h 187622"/>
                  <a:gd name="connsiteX546" fmla="*/ 118939 w 173074"/>
                  <a:gd name="connsiteY546" fmla="*/ 112944 h 187622"/>
                  <a:gd name="connsiteX547" fmla="*/ 118939 w 173074"/>
                  <a:gd name="connsiteY547" fmla="*/ 113561 h 187622"/>
                  <a:gd name="connsiteX548" fmla="*/ 118939 w 173074"/>
                  <a:gd name="connsiteY548" fmla="*/ 114178 h 187622"/>
                  <a:gd name="connsiteX549" fmla="*/ 119204 w 173074"/>
                  <a:gd name="connsiteY549" fmla="*/ 114443 h 187622"/>
                  <a:gd name="connsiteX550" fmla="*/ 119821 w 173074"/>
                  <a:gd name="connsiteY550" fmla="*/ 115941 h 187622"/>
                  <a:gd name="connsiteX551" fmla="*/ 120438 w 173074"/>
                  <a:gd name="connsiteY551" fmla="*/ 116206 h 187622"/>
                  <a:gd name="connsiteX552" fmla="*/ 119821 w 173074"/>
                  <a:gd name="connsiteY552" fmla="*/ 117088 h 187622"/>
                  <a:gd name="connsiteX553" fmla="*/ 120438 w 173074"/>
                  <a:gd name="connsiteY553" fmla="*/ 118234 h 187622"/>
                  <a:gd name="connsiteX554" fmla="*/ 122202 w 173074"/>
                  <a:gd name="connsiteY554" fmla="*/ 118498 h 187622"/>
                  <a:gd name="connsiteX555" fmla="*/ 122819 w 173074"/>
                  <a:gd name="connsiteY555" fmla="*/ 119115 h 187622"/>
                  <a:gd name="connsiteX556" fmla="*/ 122819 w 173074"/>
                  <a:gd name="connsiteY556" fmla="*/ 119733 h 187622"/>
                  <a:gd name="connsiteX557" fmla="*/ 125993 w 173074"/>
                  <a:gd name="connsiteY557" fmla="*/ 120879 h 187622"/>
                  <a:gd name="connsiteX558" fmla="*/ 126257 w 173074"/>
                  <a:gd name="connsiteY558" fmla="*/ 121143 h 187622"/>
                  <a:gd name="connsiteX559" fmla="*/ 126522 w 173074"/>
                  <a:gd name="connsiteY559" fmla="*/ 121408 h 187622"/>
                  <a:gd name="connsiteX560" fmla="*/ 126257 w 173074"/>
                  <a:gd name="connsiteY560" fmla="*/ 122025 h 187622"/>
                  <a:gd name="connsiteX561" fmla="*/ 127139 w 173074"/>
                  <a:gd name="connsiteY561" fmla="*/ 122642 h 187622"/>
                  <a:gd name="connsiteX562" fmla="*/ 126610 w 173074"/>
                  <a:gd name="connsiteY562" fmla="*/ 124670 h 187622"/>
                  <a:gd name="connsiteX563" fmla="*/ 126610 w 173074"/>
                  <a:gd name="connsiteY563" fmla="*/ 126169 h 187622"/>
                  <a:gd name="connsiteX564" fmla="*/ 125993 w 173074"/>
                  <a:gd name="connsiteY564" fmla="*/ 126433 h 187622"/>
                  <a:gd name="connsiteX565" fmla="*/ 125728 w 173074"/>
                  <a:gd name="connsiteY565" fmla="*/ 127580 h 187622"/>
                  <a:gd name="connsiteX566" fmla="*/ 126874 w 173074"/>
                  <a:gd name="connsiteY566" fmla="*/ 128197 h 187622"/>
                  <a:gd name="connsiteX567" fmla="*/ 126874 w 173074"/>
                  <a:gd name="connsiteY567" fmla="*/ 128726 h 187622"/>
                  <a:gd name="connsiteX568" fmla="*/ 126874 w 173074"/>
                  <a:gd name="connsiteY568" fmla="*/ 129872 h 187622"/>
                  <a:gd name="connsiteX569" fmla="*/ 129255 w 173074"/>
                  <a:gd name="connsiteY569" fmla="*/ 130754 h 187622"/>
                  <a:gd name="connsiteX570" fmla="*/ 130137 w 173074"/>
                  <a:gd name="connsiteY570" fmla="*/ 131900 h 187622"/>
                  <a:gd name="connsiteX571" fmla="*/ 130401 w 173074"/>
                  <a:gd name="connsiteY571" fmla="*/ 132164 h 187622"/>
                  <a:gd name="connsiteX572" fmla="*/ 131018 w 173074"/>
                  <a:gd name="connsiteY572" fmla="*/ 133311 h 187622"/>
                  <a:gd name="connsiteX573" fmla="*/ 130754 w 173074"/>
                  <a:gd name="connsiteY573" fmla="*/ 134192 h 187622"/>
                  <a:gd name="connsiteX574" fmla="*/ 133663 w 173074"/>
                  <a:gd name="connsiteY574" fmla="*/ 134457 h 187622"/>
                  <a:gd name="connsiteX575" fmla="*/ 134545 w 173074"/>
                  <a:gd name="connsiteY575" fmla="*/ 135956 h 187622"/>
                  <a:gd name="connsiteX576" fmla="*/ 135162 w 173074"/>
                  <a:gd name="connsiteY576" fmla="*/ 135956 h 187622"/>
                  <a:gd name="connsiteX577" fmla="*/ 137190 w 173074"/>
                  <a:gd name="connsiteY577" fmla="*/ 135956 h 187622"/>
                  <a:gd name="connsiteX578" fmla="*/ 137807 w 173074"/>
                  <a:gd name="connsiteY578" fmla="*/ 137102 h 187622"/>
                  <a:gd name="connsiteX579" fmla="*/ 138072 w 173074"/>
                  <a:gd name="connsiteY579" fmla="*/ 137719 h 187622"/>
                  <a:gd name="connsiteX580" fmla="*/ 139571 w 173074"/>
                  <a:gd name="connsiteY580" fmla="*/ 138336 h 187622"/>
                  <a:gd name="connsiteX581" fmla="*/ 140452 w 173074"/>
                  <a:gd name="connsiteY581" fmla="*/ 139835 h 187622"/>
                  <a:gd name="connsiteX582" fmla="*/ 141069 w 173074"/>
                  <a:gd name="connsiteY582" fmla="*/ 140981 h 187622"/>
                  <a:gd name="connsiteX583" fmla="*/ 141069 w 173074"/>
                  <a:gd name="connsiteY583" fmla="*/ 141598 h 187622"/>
                  <a:gd name="connsiteX584" fmla="*/ 143979 w 173074"/>
                  <a:gd name="connsiteY584" fmla="*/ 142480 h 187622"/>
                  <a:gd name="connsiteX585" fmla="*/ 146360 w 173074"/>
                  <a:gd name="connsiteY585" fmla="*/ 143626 h 187622"/>
                  <a:gd name="connsiteX586" fmla="*/ 146360 w 173074"/>
                  <a:gd name="connsiteY586" fmla="*/ 145919 h 187622"/>
                  <a:gd name="connsiteX587" fmla="*/ 147506 w 173074"/>
                  <a:gd name="connsiteY587" fmla="*/ 146536 h 187622"/>
                  <a:gd name="connsiteX588" fmla="*/ 147770 w 173074"/>
                  <a:gd name="connsiteY588" fmla="*/ 145919 h 187622"/>
                  <a:gd name="connsiteX589" fmla="*/ 151561 w 173074"/>
                  <a:gd name="connsiteY589" fmla="*/ 146536 h 187622"/>
                  <a:gd name="connsiteX590" fmla="*/ 151826 w 173074"/>
                  <a:gd name="connsiteY590" fmla="*/ 147153 h 187622"/>
                  <a:gd name="connsiteX591" fmla="*/ 151826 w 173074"/>
                  <a:gd name="connsiteY591" fmla="*/ 147770 h 187622"/>
                  <a:gd name="connsiteX592" fmla="*/ 152179 w 173074"/>
                  <a:gd name="connsiteY592" fmla="*/ 147770 h 187622"/>
                  <a:gd name="connsiteX593" fmla="*/ 154207 w 173074"/>
                  <a:gd name="connsiteY593" fmla="*/ 150415 h 187622"/>
                  <a:gd name="connsiteX594" fmla="*/ 154471 w 173074"/>
                  <a:gd name="connsiteY594" fmla="*/ 151032 h 187622"/>
                  <a:gd name="connsiteX595" fmla="*/ 154207 w 173074"/>
                  <a:gd name="connsiteY595" fmla="*/ 151914 h 187622"/>
                  <a:gd name="connsiteX596" fmla="*/ 154207 w 173074"/>
                  <a:gd name="connsiteY596" fmla="*/ 153060 h 187622"/>
                  <a:gd name="connsiteX597" fmla="*/ 154824 w 173074"/>
                  <a:gd name="connsiteY597" fmla="*/ 154824 h 187622"/>
                  <a:gd name="connsiteX598" fmla="*/ 153942 w 173074"/>
                  <a:gd name="connsiteY598" fmla="*/ 155705 h 187622"/>
                  <a:gd name="connsiteX599" fmla="*/ 152443 w 173074"/>
                  <a:gd name="connsiteY599" fmla="*/ 156851 h 187622"/>
                  <a:gd name="connsiteX600" fmla="*/ 151297 w 173074"/>
                  <a:gd name="connsiteY600" fmla="*/ 156323 h 187622"/>
                  <a:gd name="connsiteX601" fmla="*/ 150415 w 173074"/>
                  <a:gd name="connsiteY601" fmla="*/ 155176 h 187622"/>
                  <a:gd name="connsiteX602" fmla="*/ 147770 w 173074"/>
                  <a:gd name="connsiteY602" fmla="*/ 154912 h 187622"/>
                  <a:gd name="connsiteX603" fmla="*/ 147506 w 173074"/>
                  <a:gd name="connsiteY603" fmla="*/ 154912 h 187622"/>
                  <a:gd name="connsiteX604" fmla="*/ 147506 w 173074"/>
                  <a:gd name="connsiteY604" fmla="*/ 155176 h 187622"/>
                  <a:gd name="connsiteX605" fmla="*/ 148035 w 173074"/>
                  <a:gd name="connsiteY605" fmla="*/ 156058 h 187622"/>
                  <a:gd name="connsiteX606" fmla="*/ 147506 w 173074"/>
                  <a:gd name="connsiteY606" fmla="*/ 157204 h 187622"/>
                  <a:gd name="connsiteX607" fmla="*/ 147770 w 173074"/>
                  <a:gd name="connsiteY607" fmla="*/ 158350 h 187622"/>
                  <a:gd name="connsiteX608" fmla="*/ 146889 w 173074"/>
                  <a:gd name="connsiteY608" fmla="*/ 159761 h 187622"/>
                  <a:gd name="connsiteX609" fmla="*/ 144861 w 173074"/>
                  <a:gd name="connsiteY609" fmla="*/ 161524 h 187622"/>
                  <a:gd name="connsiteX610" fmla="*/ 142216 w 173074"/>
                  <a:gd name="connsiteY610" fmla="*/ 161524 h 187622"/>
                  <a:gd name="connsiteX611" fmla="*/ 139835 w 173074"/>
                  <a:gd name="connsiteY611" fmla="*/ 162406 h 187622"/>
                  <a:gd name="connsiteX612" fmla="*/ 138072 w 173074"/>
                  <a:gd name="connsiteY612" fmla="*/ 163552 h 187622"/>
                  <a:gd name="connsiteX613" fmla="*/ 136573 w 173074"/>
                  <a:gd name="connsiteY613" fmla="*/ 164698 h 187622"/>
                  <a:gd name="connsiteX614" fmla="*/ 135691 w 173074"/>
                  <a:gd name="connsiteY614" fmla="*/ 164698 h 187622"/>
                  <a:gd name="connsiteX615" fmla="*/ 134810 w 173074"/>
                  <a:gd name="connsiteY615" fmla="*/ 166197 h 187622"/>
                  <a:gd name="connsiteX616" fmla="*/ 135427 w 173074"/>
                  <a:gd name="connsiteY616" fmla="*/ 167961 h 187622"/>
                  <a:gd name="connsiteX617" fmla="*/ 136309 w 173074"/>
                  <a:gd name="connsiteY617" fmla="*/ 169107 h 187622"/>
                  <a:gd name="connsiteX618" fmla="*/ 137454 w 173074"/>
                  <a:gd name="connsiteY618" fmla="*/ 169989 h 187622"/>
                  <a:gd name="connsiteX619" fmla="*/ 138601 w 173074"/>
                  <a:gd name="connsiteY619" fmla="*/ 171399 h 187622"/>
                  <a:gd name="connsiteX620" fmla="*/ 139218 w 173074"/>
                  <a:gd name="connsiteY620" fmla="*/ 172545 h 187622"/>
                  <a:gd name="connsiteX621" fmla="*/ 138601 w 173074"/>
                  <a:gd name="connsiteY621" fmla="*/ 174309 h 187622"/>
                  <a:gd name="connsiteX622" fmla="*/ 138601 w 173074"/>
                  <a:gd name="connsiteY622" fmla="*/ 174926 h 187622"/>
                  <a:gd name="connsiteX623" fmla="*/ 140364 w 173074"/>
                  <a:gd name="connsiteY623" fmla="*/ 175543 h 187622"/>
                  <a:gd name="connsiteX624" fmla="*/ 141863 w 173074"/>
                  <a:gd name="connsiteY624" fmla="*/ 176425 h 187622"/>
                  <a:gd name="connsiteX625" fmla="*/ 141863 w 173074"/>
                  <a:gd name="connsiteY625" fmla="*/ 177836 h 187622"/>
                  <a:gd name="connsiteX626" fmla="*/ 141598 w 173074"/>
                  <a:gd name="connsiteY626" fmla="*/ 178453 h 187622"/>
                  <a:gd name="connsiteX627" fmla="*/ 141598 w 173074"/>
                  <a:gd name="connsiteY627" fmla="*/ 179334 h 187622"/>
                  <a:gd name="connsiteX628" fmla="*/ 141598 w 173074"/>
                  <a:gd name="connsiteY628" fmla="*/ 180481 h 187622"/>
                  <a:gd name="connsiteX629" fmla="*/ 141334 w 173074"/>
                  <a:gd name="connsiteY629" fmla="*/ 180745 h 187622"/>
                  <a:gd name="connsiteX630" fmla="*/ 141069 w 173074"/>
                  <a:gd name="connsiteY630" fmla="*/ 181362 h 187622"/>
                  <a:gd name="connsiteX631" fmla="*/ 139923 w 173074"/>
                  <a:gd name="connsiteY631" fmla="*/ 181362 h 187622"/>
                  <a:gd name="connsiteX632" fmla="*/ 137895 w 173074"/>
                  <a:gd name="connsiteY632" fmla="*/ 180216 h 187622"/>
                  <a:gd name="connsiteX633" fmla="*/ 136396 w 173074"/>
                  <a:gd name="connsiteY633" fmla="*/ 179070 h 187622"/>
                  <a:gd name="connsiteX634" fmla="*/ 136925 w 173074"/>
                  <a:gd name="connsiteY634" fmla="*/ 177924 h 187622"/>
                  <a:gd name="connsiteX635" fmla="*/ 135515 w 173074"/>
                  <a:gd name="connsiteY635" fmla="*/ 176513 h 187622"/>
                  <a:gd name="connsiteX636" fmla="*/ 133134 w 173074"/>
                  <a:gd name="connsiteY636" fmla="*/ 176513 h 187622"/>
                  <a:gd name="connsiteX637" fmla="*/ 132870 w 173074"/>
                  <a:gd name="connsiteY637" fmla="*/ 177130 h 187622"/>
                  <a:gd name="connsiteX638" fmla="*/ 132341 w 173074"/>
                  <a:gd name="connsiteY638" fmla="*/ 177130 h 187622"/>
                  <a:gd name="connsiteX639" fmla="*/ 130313 w 173074"/>
                  <a:gd name="connsiteY639" fmla="*/ 177747 h 187622"/>
                  <a:gd name="connsiteX640" fmla="*/ 130048 w 173074"/>
                  <a:gd name="connsiteY640" fmla="*/ 177130 h 187622"/>
                  <a:gd name="connsiteX641" fmla="*/ 129519 w 173074"/>
                  <a:gd name="connsiteY641" fmla="*/ 176513 h 187622"/>
                  <a:gd name="connsiteX642" fmla="*/ 130048 w 173074"/>
                  <a:gd name="connsiteY642" fmla="*/ 175896 h 187622"/>
                  <a:gd name="connsiteX643" fmla="*/ 127756 w 173074"/>
                  <a:gd name="connsiteY643" fmla="*/ 176249 h 187622"/>
                  <a:gd name="connsiteX644" fmla="*/ 126610 w 173074"/>
                  <a:gd name="connsiteY644" fmla="*/ 175896 h 187622"/>
                  <a:gd name="connsiteX645" fmla="*/ 125993 w 173074"/>
                  <a:gd name="connsiteY645" fmla="*/ 176249 h 187622"/>
                  <a:gd name="connsiteX646" fmla="*/ 125728 w 173074"/>
                  <a:gd name="connsiteY646" fmla="*/ 176513 h 187622"/>
                  <a:gd name="connsiteX647" fmla="*/ 125111 w 173074"/>
                  <a:gd name="connsiteY647" fmla="*/ 177130 h 187622"/>
                  <a:gd name="connsiteX648" fmla="*/ 125375 w 173074"/>
                  <a:gd name="connsiteY648" fmla="*/ 177747 h 187622"/>
                  <a:gd name="connsiteX649" fmla="*/ 122466 w 173074"/>
                  <a:gd name="connsiteY649" fmla="*/ 177747 h 187622"/>
                  <a:gd name="connsiteX650" fmla="*/ 120174 w 173074"/>
                  <a:gd name="connsiteY650" fmla="*/ 178629 h 187622"/>
                  <a:gd name="connsiteX651" fmla="*/ 116118 w 173074"/>
                  <a:gd name="connsiteY651" fmla="*/ 178629 h 187622"/>
                  <a:gd name="connsiteX652" fmla="*/ 114354 w 173074"/>
                  <a:gd name="connsiteY652" fmla="*/ 179511 h 187622"/>
                  <a:gd name="connsiteX653" fmla="*/ 113737 w 173074"/>
                  <a:gd name="connsiteY653" fmla="*/ 179246 h 187622"/>
                  <a:gd name="connsiteX654" fmla="*/ 113473 w 173074"/>
                  <a:gd name="connsiteY654" fmla="*/ 179863 h 187622"/>
                  <a:gd name="connsiteX655" fmla="*/ 113208 w 173074"/>
                  <a:gd name="connsiteY655" fmla="*/ 181010 h 187622"/>
                  <a:gd name="connsiteX656" fmla="*/ 111180 w 173074"/>
                  <a:gd name="connsiteY656" fmla="*/ 180745 h 187622"/>
                  <a:gd name="connsiteX657" fmla="*/ 110299 w 173074"/>
                  <a:gd name="connsiteY657" fmla="*/ 181010 h 187622"/>
                  <a:gd name="connsiteX658" fmla="*/ 110034 w 173074"/>
                  <a:gd name="connsiteY658" fmla="*/ 181627 h 187622"/>
                  <a:gd name="connsiteX659" fmla="*/ 109770 w 173074"/>
                  <a:gd name="connsiteY659" fmla="*/ 182244 h 187622"/>
                  <a:gd name="connsiteX660" fmla="*/ 110034 w 173074"/>
                  <a:gd name="connsiteY660" fmla="*/ 182861 h 187622"/>
                  <a:gd name="connsiteX661" fmla="*/ 108006 w 173074"/>
                  <a:gd name="connsiteY661" fmla="*/ 183126 h 187622"/>
                  <a:gd name="connsiteX662" fmla="*/ 108535 w 173074"/>
                  <a:gd name="connsiteY662" fmla="*/ 184007 h 187622"/>
                  <a:gd name="connsiteX663" fmla="*/ 107389 w 173074"/>
                  <a:gd name="connsiteY663" fmla="*/ 184007 h 187622"/>
                  <a:gd name="connsiteX664" fmla="*/ 107125 w 173074"/>
                  <a:gd name="connsiteY664" fmla="*/ 183743 h 187622"/>
                  <a:gd name="connsiteX665" fmla="*/ 106508 w 173074"/>
                  <a:gd name="connsiteY665" fmla="*/ 183743 h 187622"/>
                  <a:gd name="connsiteX666" fmla="*/ 104215 w 173074"/>
                  <a:gd name="connsiteY666" fmla="*/ 184360 h 187622"/>
                  <a:gd name="connsiteX667" fmla="*/ 102452 w 173074"/>
                  <a:gd name="connsiteY667" fmla="*/ 184096 h 187622"/>
                  <a:gd name="connsiteX668" fmla="*/ 101835 w 173074"/>
                  <a:gd name="connsiteY668" fmla="*/ 183478 h 187622"/>
                  <a:gd name="connsiteX669" fmla="*/ 101217 w 173074"/>
                  <a:gd name="connsiteY669" fmla="*/ 181715 h 187622"/>
                  <a:gd name="connsiteX670" fmla="*/ 100600 w 173074"/>
                  <a:gd name="connsiteY670" fmla="*/ 181715 h 187622"/>
                  <a:gd name="connsiteX671" fmla="*/ 101217 w 173074"/>
                  <a:gd name="connsiteY671" fmla="*/ 181098 h 187622"/>
                  <a:gd name="connsiteX672" fmla="*/ 100336 w 173074"/>
                  <a:gd name="connsiteY672" fmla="*/ 180481 h 187622"/>
                  <a:gd name="connsiteX673" fmla="*/ 98308 w 173074"/>
                  <a:gd name="connsiteY673" fmla="*/ 181098 h 187622"/>
                  <a:gd name="connsiteX674" fmla="*/ 96544 w 173074"/>
                  <a:gd name="connsiteY674" fmla="*/ 179599 h 187622"/>
                  <a:gd name="connsiteX675" fmla="*/ 94252 w 173074"/>
                  <a:gd name="connsiteY675" fmla="*/ 179599 h 187622"/>
                  <a:gd name="connsiteX676" fmla="*/ 93370 w 173074"/>
                  <a:gd name="connsiteY676" fmla="*/ 180481 h 187622"/>
                  <a:gd name="connsiteX677" fmla="*/ 91872 w 173074"/>
                  <a:gd name="connsiteY677" fmla="*/ 180216 h 187622"/>
                  <a:gd name="connsiteX678" fmla="*/ 91607 w 173074"/>
                  <a:gd name="connsiteY678" fmla="*/ 180216 h 187622"/>
                  <a:gd name="connsiteX679" fmla="*/ 90990 w 173074"/>
                  <a:gd name="connsiteY679" fmla="*/ 180216 h 187622"/>
                  <a:gd name="connsiteX680" fmla="*/ 90725 w 173074"/>
                  <a:gd name="connsiteY680" fmla="*/ 180481 h 187622"/>
                  <a:gd name="connsiteX681" fmla="*/ 90725 w 173074"/>
                  <a:gd name="connsiteY681" fmla="*/ 181098 h 187622"/>
                  <a:gd name="connsiteX682" fmla="*/ 90990 w 173074"/>
                  <a:gd name="connsiteY682" fmla="*/ 181715 h 187622"/>
                  <a:gd name="connsiteX683" fmla="*/ 91254 w 173074"/>
                  <a:gd name="connsiteY683" fmla="*/ 183478 h 187622"/>
                  <a:gd name="connsiteX684" fmla="*/ 90990 w 173074"/>
                  <a:gd name="connsiteY684" fmla="*/ 184360 h 187622"/>
                  <a:gd name="connsiteX685" fmla="*/ 90373 w 173074"/>
                  <a:gd name="connsiteY685" fmla="*/ 184977 h 187622"/>
                  <a:gd name="connsiteX686" fmla="*/ 88080 w 173074"/>
                  <a:gd name="connsiteY686" fmla="*/ 186741 h 187622"/>
                  <a:gd name="connsiteX687" fmla="*/ 87816 w 173074"/>
                  <a:gd name="connsiteY687" fmla="*/ 187622 h 187622"/>
                  <a:gd name="connsiteX688" fmla="*/ 86052 w 173074"/>
                  <a:gd name="connsiteY688" fmla="*/ 187622 h 187622"/>
                  <a:gd name="connsiteX689" fmla="*/ 85435 w 173074"/>
                  <a:gd name="connsiteY689" fmla="*/ 186741 h 187622"/>
                  <a:gd name="connsiteX690" fmla="*/ 86052 w 173074"/>
                  <a:gd name="connsiteY690" fmla="*/ 186123 h 187622"/>
                  <a:gd name="connsiteX691" fmla="*/ 85435 w 173074"/>
                  <a:gd name="connsiteY691" fmla="*/ 185506 h 187622"/>
                  <a:gd name="connsiteX692" fmla="*/ 85700 w 173074"/>
                  <a:gd name="connsiteY692" fmla="*/ 184977 h 187622"/>
                  <a:gd name="connsiteX693" fmla="*/ 85083 w 173074"/>
                  <a:gd name="connsiteY693" fmla="*/ 184713 h 187622"/>
                  <a:gd name="connsiteX694" fmla="*/ 84818 w 173074"/>
                  <a:gd name="connsiteY694" fmla="*/ 184448 h 187622"/>
                  <a:gd name="connsiteX695" fmla="*/ 84553 w 173074"/>
                  <a:gd name="connsiteY695" fmla="*/ 184184 h 187622"/>
                  <a:gd name="connsiteX696" fmla="*/ 84818 w 173074"/>
                  <a:gd name="connsiteY696" fmla="*/ 183919 h 187622"/>
                  <a:gd name="connsiteX697" fmla="*/ 83936 w 173074"/>
                  <a:gd name="connsiteY697" fmla="*/ 181891 h 187622"/>
                  <a:gd name="connsiteX698" fmla="*/ 82437 w 173074"/>
                  <a:gd name="connsiteY698" fmla="*/ 181627 h 187622"/>
                  <a:gd name="connsiteX699" fmla="*/ 81556 w 173074"/>
                  <a:gd name="connsiteY699" fmla="*/ 180745 h 187622"/>
                  <a:gd name="connsiteX700" fmla="*/ 80939 w 173074"/>
                  <a:gd name="connsiteY700" fmla="*/ 180745 h 187622"/>
                  <a:gd name="connsiteX701" fmla="*/ 80674 w 173074"/>
                  <a:gd name="connsiteY701" fmla="*/ 180481 h 187622"/>
                  <a:gd name="connsiteX702" fmla="*/ 78029 w 173074"/>
                  <a:gd name="connsiteY702" fmla="*/ 180745 h 187622"/>
                  <a:gd name="connsiteX703" fmla="*/ 78029 w 173074"/>
                  <a:gd name="connsiteY703" fmla="*/ 180481 h 187622"/>
                  <a:gd name="connsiteX704" fmla="*/ 77765 w 173074"/>
                  <a:gd name="connsiteY704" fmla="*/ 180481 h 187622"/>
                  <a:gd name="connsiteX705" fmla="*/ 77500 w 173074"/>
                  <a:gd name="connsiteY705" fmla="*/ 180481 h 187622"/>
                  <a:gd name="connsiteX706" fmla="*/ 77236 w 173074"/>
                  <a:gd name="connsiteY706" fmla="*/ 180745 h 187622"/>
                  <a:gd name="connsiteX707" fmla="*/ 74326 w 173074"/>
                  <a:gd name="connsiteY707" fmla="*/ 180745 h 187622"/>
                  <a:gd name="connsiteX708" fmla="*/ 67890 w 173074"/>
                  <a:gd name="connsiteY708" fmla="*/ 177571 h 187622"/>
                  <a:gd name="connsiteX709" fmla="*/ 66126 w 173074"/>
                  <a:gd name="connsiteY709" fmla="*/ 178188 h 187622"/>
                  <a:gd name="connsiteX710" fmla="*/ 64628 w 173074"/>
                  <a:gd name="connsiteY710" fmla="*/ 177571 h 187622"/>
                  <a:gd name="connsiteX711" fmla="*/ 64099 w 173074"/>
                  <a:gd name="connsiteY711" fmla="*/ 176954 h 187622"/>
                  <a:gd name="connsiteX712" fmla="*/ 62952 w 173074"/>
                  <a:gd name="connsiteY712" fmla="*/ 177571 h 187622"/>
                  <a:gd name="connsiteX713" fmla="*/ 62071 w 173074"/>
                  <a:gd name="connsiteY713" fmla="*/ 178188 h 187622"/>
                  <a:gd name="connsiteX714" fmla="*/ 60660 w 173074"/>
                  <a:gd name="connsiteY714" fmla="*/ 177042 h 187622"/>
                  <a:gd name="connsiteX715" fmla="*/ 60395 w 173074"/>
                  <a:gd name="connsiteY715" fmla="*/ 176160 h 187622"/>
                  <a:gd name="connsiteX716" fmla="*/ 59778 w 173074"/>
                  <a:gd name="connsiteY716" fmla="*/ 176160 h 187622"/>
                  <a:gd name="connsiteX717" fmla="*/ 59161 w 173074"/>
                  <a:gd name="connsiteY717" fmla="*/ 176425 h 187622"/>
                  <a:gd name="connsiteX718" fmla="*/ 58632 w 173074"/>
                  <a:gd name="connsiteY718" fmla="*/ 176425 h 187622"/>
                  <a:gd name="connsiteX719" fmla="*/ 59161 w 173074"/>
                  <a:gd name="connsiteY719" fmla="*/ 177571 h 187622"/>
                  <a:gd name="connsiteX720" fmla="*/ 58279 w 173074"/>
                  <a:gd name="connsiteY720" fmla="*/ 177307 h 187622"/>
                  <a:gd name="connsiteX721" fmla="*/ 57662 w 173074"/>
                  <a:gd name="connsiteY721" fmla="*/ 177307 h 187622"/>
                  <a:gd name="connsiteX722" fmla="*/ 57662 w 173074"/>
                  <a:gd name="connsiteY722" fmla="*/ 177042 h 187622"/>
                  <a:gd name="connsiteX723" fmla="*/ 57927 w 173074"/>
                  <a:gd name="connsiteY723" fmla="*/ 175896 h 187622"/>
                  <a:gd name="connsiteX724" fmla="*/ 57662 w 173074"/>
                  <a:gd name="connsiteY724" fmla="*/ 175279 h 187622"/>
                  <a:gd name="connsiteX725" fmla="*/ 57398 w 173074"/>
                  <a:gd name="connsiteY725" fmla="*/ 175014 h 187622"/>
                  <a:gd name="connsiteX726" fmla="*/ 56251 w 173074"/>
                  <a:gd name="connsiteY726" fmla="*/ 174750 h 187622"/>
                  <a:gd name="connsiteX727" fmla="*/ 55370 w 173074"/>
                  <a:gd name="connsiteY727" fmla="*/ 174750 h 187622"/>
                  <a:gd name="connsiteX728" fmla="*/ 54224 w 173074"/>
                  <a:gd name="connsiteY728" fmla="*/ 174750 h 187622"/>
                  <a:gd name="connsiteX729" fmla="*/ 52813 w 173074"/>
                  <a:gd name="connsiteY729" fmla="*/ 175367 h 187622"/>
                  <a:gd name="connsiteX730" fmla="*/ 51314 w 173074"/>
                  <a:gd name="connsiteY730" fmla="*/ 177130 h 187622"/>
                  <a:gd name="connsiteX731" fmla="*/ 51579 w 173074"/>
                  <a:gd name="connsiteY731" fmla="*/ 177747 h 187622"/>
                  <a:gd name="connsiteX732" fmla="*/ 52725 w 173074"/>
                  <a:gd name="connsiteY732" fmla="*/ 178629 h 187622"/>
                  <a:gd name="connsiteX733" fmla="*/ 53607 w 173074"/>
                  <a:gd name="connsiteY733" fmla="*/ 178629 h 187622"/>
                  <a:gd name="connsiteX734" fmla="*/ 54224 w 173074"/>
                  <a:gd name="connsiteY734" fmla="*/ 178012 h 187622"/>
                  <a:gd name="connsiteX735" fmla="*/ 55370 w 173074"/>
                  <a:gd name="connsiteY735" fmla="*/ 178012 h 187622"/>
                  <a:gd name="connsiteX736" fmla="*/ 55987 w 173074"/>
                  <a:gd name="connsiteY736" fmla="*/ 178276 h 187622"/>
                  <a:gd name="connsiteX737" fmla="*/ 55105 w 173074"/>
                  <a:gd name="connsiteY737" fmla="*/ 179423 h 187622"/>
                  <a:gd name="connsiteX738" fmla="*/ 54841 w 173074"/>
                  <a:gd name="connsiteY738" fmla="*/ 179687 h 187622"/>
                  <a:gd name="connsiteX739" fmla="*/ 54576 w 173074"/>
                  <a:gd name="connsiteY739" fmla="*/ 179070 h 187622"/>
                  <a:gd name="connsiteX740" fmla="*/ 53695 w 173074"/>
                  <a:gd name="connsiteY740" fmla="*/ 178805 h 187622"/>
                  <a:gd name="connsiteX741" fmla="*/ 53166 w 173074"/>
                  <a:gd name="connsiteY741" fmla="*/ 179334 h 187622"/>
                  <a:gd name="connsiteX742" fmla="*/ 52284 w 173074"/>
                  <a:gd name="connsiteY742" fmla="*/ 180216 h 187622"/>
                  <a:gd name="connsiteX743" fmla="*/ 51402 w 173074"/>
                  <a:gd name="connsiteY743" fmla="*/ 179952 h 187622"/>
                  <a:gd name="connsiteX744" fmla="*/ 49374 w 173074"/>
                  <a:gd name="connsiteY744" fmla="*/ 179334 h 187622"/>
                  <a:gd name="connsiteX745" fmla="*/ 47876 w 173074"/>
                  <a:gd name="connsiteY745" fmla="*/ 179070 h 187622"/>
                  <a:gd name="connsiteX746" fmla="*/ 45583 w 173074"/>
                  <a:gd name="connsiteY746" fmla="*/ 179952 h 187622"/>
                  <a:gd name="connsiteX747" fmla="*/ 43820 w 173074"/>
                  <a:gd name="connsiteY747" fmla="*/ 180569 h 187622"/>
                  <a:gd name="connsiteX748" fmla="*/ 41792 w 173074"/>
                  <a:gd name="connsiteY748" fmla="*/ 180569 h 187622"/>
                  <a:gd name="connsiteX749" fmla="*/ 41263 w 173074"/>
                  <a:gd name="connsiteY749" fmla="*/ 180569 h 187622"/>
                  <a:gd name="connsiteX750" fmla="*/ 39500 w 173074"/>
                  <a:gd name="connsiteY750" fmla="*/ 180833 h 187622"/>
                  <a:gd name="connsiteX751" fmla="*/ 38089 w 173074"/>
                  <a:gd name="connsiteY751" fmla="*/ 180833 h 187622"/>
                  <a:gd name="connsiteX752" fmla="*/ 37207 w 173074"/>
                  <a:gd name="connsiteY752" fmla="*/ 180833 h 187622"/>
                  <a:gd name="connsiteX753" fmla="*/ 36590 w 173074"/>
                  <a:gd name="connsiteY753" fmla="*/ 180569 h 187622"/>
                  <a:gd name="connsiteX754" fmla="*/ 37472 w 173074"/>
                  <a:gd name="connsiteY754" fmla="*/ 180304 h 187622"/>
                  <a:gd name="connsiteX755" fmla="*/ 37472 w 173074"/>
                  <a:gd name="connsiteY755" fmla="*/ 179687 h 187622"/>
                  <a:gd name="connsiteX756" fmla="*/ 37472 w 173074"/>
                  <a:gd name="connsiteY756" fmla="*/ 179423 h 187622"/>
                  <a:gd name="connsiteX757" fmla="*/ 36943 w 173074"/>
                  <a:gd name="connsiteY757" fmla="*/ 179423 h 187622"/>
                  <a:gd name="connsiteX758" fmla="*/ 35796 w 173074"/>
                  <a:gd name="connsiteY758" fmla="*/ 180040 h 187622"/>
                  <a:gd name="connsiteX759" fmla="*/ 35532 w 173074"/>
                  <a:gd name="connsiteY759" fmla="*/ 180040 h 187622"/>
                  <a:gd name="connsiteX760" fmla="*/ 34915 w 173074"/>
                  <a:gd name="connsiteY760" fmla="*/ 179158 h 187622"/>
                  <a:gd name="connsiteX761" fmla="*/ 34298 w 173074"/>
                  <a:gd name="connsiteY761" fmla="*/ 178012 h 187622"/>
                  <a:gd name="connsiteX762" fmla="*/ 34298 w 173074"/>
                  <a:gd name="connsiteY762" fmla="*/ 176866 h 187622"/>
                  <a:gd name="connsiteX763" fmla="*/ 34915 w 173074"/>
                  <a:gd name="connsiteY763" fmla="*/ 175984 h 187622"/>
                  <a:gd name="connsiteX764" fmla="*/ 34650 w 173074"/>
                  <a:gd name="connsiteY764" fmla="*/ 175102 h 187622"/>
                  <a:gd name="connsiteX765" fmla="*/ 35267 w 173074"/>
                  <a:gd name="connsiteY765" fmla="*/ 173604 h 187622"/>
                  <a:gd name="connsiteX766" fmla="*/ 34650 w 173074"/>
                  <a:gd name="connsiteY766" fmla="*/ 172457 h 187622"/>
                  <a:gd name="connsiteX767" fmla="*/ 35267 w 173074"/>
                  <a:gd name="connsiteY767" fmla="*/ 170958 h 187622"/>
                  <a:gd name="connsiteX768" fmla="*/ 35003 w 173074"/>
                  <a:gd name="connsiteY768" fmla="*/ 168931 h 187622"/>
                  <a:gd name="connsiteX769" fmla="*/ 35003 w 173074"/>
                  <a:gd name="connsiteY769" fmla="*/ 167167 h 187622"/>
                  <a:gd name="connsiteX770" fmla="*/ 36149 w 173074"/>
                  <a:gd name="connsiteY770" fmla="*/ 163376 h 187622"/>
                  <a:gd name="connsiteX771" fmla="*/ 36149 w 173074"/>
                  <a:gd name="connsiteY771" fmla="*/ 162230 h 187622"/>
                  <a:gd name="connsiteX772" fmla="*/ 37295 w 173074"/>
                  <a:gd name="connsiteY772" fmla="*/ 160466 h 187622"/>
                  <a:gd name="connsiteX773" fmla="*/ 37824 w 173074"/>
                  <a:gd name="connsiteY773" fmla="*/ 157821 h 187622"/>
                  <a:gd name="connsiteX774" fmla="*/ 38971 w 173074"/>
                  <a:gd name="connsiteY774" fmla="*/ 156675 h 187622"/>
                  <a:gd name="connsiteX775" fmla="*/ 40117 w 173074"/>
                  <a:gd name="connsiteY775" fmla="*/ 155794 h 187622"/>
                  <a:gd name="connsiteX776" fmla="*/ 40999 w 173074"/>
                  <a:gd name="connsiteY776" fmla="*/ 154647 h 187622"/>
                  <a:gd name="connsiteX777" fmla="*/ 41880 w 173074"/>
                  <a:gd name="connsiteY777" fmla="*/ 152619 h 187622"/>
                  <a:gd name="connsiteX778" fmla="*/ 43379 w 173074"/>
                  <a:gd name="connsiteY778" fmla="*/ 151738 h 187622"/>
                  <a:gd name="connsiteX779" fmla="*/ 44613 w 173074"/>
                  <a:gd name="connsiteY779" fmla="*/ 150239 h 187622"/>
                  <a:gd name="connsiteX780" fmla="*/ 45759 w 173074"/>
                  <a:gd name="connsiteY780" fmla="*/ 147594 h 187622"/>
                  <a:gd name="connsiteX781" fmla="*/ 45759 w 173074"/>
                  <a:gd name="connsiteY781" fmla="*/ 146977 h 187622"/>
                  <a:gd name="connsiteX782" fmla="*/ 45495 w 173074"/>
                  <a:gd name="connsiteY782" fmla="*/ 146712 h 187622"/>
                  <a:gd name="connsiteX783" fmla="*/ 43467 w 173074"/>
                  <a:gd name="connsiteY783" fmla="*/ 146095 h 187622"/>
                  <a:gd name="connsiteX784" fmla="*/ 40293 w 173074"/>
                  <a:gd name="connsiteY784" fmla="*/ 144596 h 187622"/>
                  <a:gd name="connsiteX785" fmla="*/ 37648 w 173074"/>
                  <a:gd name="connsiteY785" fmla="*/ 144596 h 187622"/>
                  <a:gd name="connsiteX786" fmla="*/ 35885 w 173074"/>
                  <a:gd name="connsiteY786" fmla="*/ 144861 h 187622"/>
                  <a:gd name="connsiteX787" fmla="*/ 34474 w 173074"/>
                  <a:gd name="connsiteY787" fmla="*/ 144596 h 187622"/>
                  <a:gd name="connsiteX788" fmla="*/ 32711 w 173074"/>
                  <a:gd name="connsiteY788" fmla="*/ 142833 h 187622"/>
                  <a:gd name="connsiteX789" fmla="*/ 31564 w 173074"/>
                  <a:gd name="connsiteY789" fmla="*/ 141951 h 187622"/>
                  <a:gd name="connsiteX790" fmla="*/ 29801 w 173074"/>
                  <a:gd name="connsiteY790" fmla="*/ 141687 h 187622"/>
                  <a:gd name="connsiteX791" fmla="*/ 29184 w 173074"/>
                  <a:gd name="connsiteY791" fmla="*/ 142304 h 187622"/>
                  <a:gd name="connsiteX792" fmla="*/ 28302 w 173074"/>
                  <a:gd name="connsiteY792" fmla="*/ 142921 h 187622"/>
                  <a:gd name="connsiteX793" fmla="*/ 27156 w 173074"/>
                  <a:gd name="connsiteY793" fmla="*/ 143186 h 187622"/>
                  <a:gd name="connsiteX794" fmla="*/ 24246 w 173074"/>
                  <a:gd name="connsiteY794" fmla="*/ 142921 h 187622"/>
                  <a:gd name="connsiteX795" fmla="*/ 23100 w 173074"/>
                  <a:gd name="connsiteY795" fmla="*/ 141775 h 187622"/>
                  <a:gd name="connsiteX796" fmla="*/ 21337 w 173074"/>
                  <a:gd name="connsiteY796" fmla="*/ 140629 h 187622"/>
                  <a:gd name="connsiteX797" fmla="*/ 21072 w 173074"/>
                  <a:gd name="connsiteY797" fmla="*/ 140011 h 187622"/>
                  <a:gd name="connsiteX798" fmla="*/ 20191 w 173074"/>
                  <a:gd name="connsiteY798" fmla="*/ 140011 h 187622"/>
                  <a:gd name="connsiteX799" fmla="*/ 19926 w 173074"/>
                  <a:gd name="connsiteY799" fmla="*/ 141775 h 187622"/>
                  <a:gd name="connsiteX800" fmla="*/ 18515 w 173074"/>
                  <a:gd name="connsiteY800" fmla="*/ 141775 h 187622"/>
                  <a:gd name="connsiteX801" fmla="*/ 18251 w 173074"/>
                  <a:gd name="connsiteY801" fmla="*/ 140629 h 187622"/>
                  <a:gd name="connsiteX802" fmla="*/ 16752 w 173074"/>
                  <a:gd name="connsiteY802" fmla="*/ 139747 h 187622"/>
                  <a:gd name="connsiteX803" fmla="*/ 17017 w 173074"/>
                  <a:gd name="connsiteY803" fmla="*/ 139482 h 187622"/>
                  <a:gd name="connsiteX804" fmla="*/ 15518 w 173074"/>
                  <a:gd name="connsiteY804" fmla="*/ 137454 h 187622"/>
                  <a:gd name="connsiteX805" fmla="*/ 14371 w 173074"/>
                  <a:gd name="connsiteY805" fmla="*/ 135956 h 187622"/>
                  <a:gd name="connsiteX806" fmla="*/ 14371 w 173074"/>
                  <a:gd name="connsiteY806" fmla="*/ 135338 h 187622"/>
                  <a:gd name="connsiteX807" fmla="*/ 13225 w 173074"/>
                  <a:gd name="connsiteY807" fmla="*/ 134457 h 187622"/>
                  <a:gd name="connsiteX808" fmla="*/ 12696 w 173074"/>
                  <a:gd name="connsiteY808" fmla="*/ 133840 h 187622"/>
                  <a:gd name="connsiteX809" fmla="*/ 11198 w 173074"/>
                  <a:gd name="connsiteY809" fmla="*/ 133222 h 187622"/>
                  <a:gd name="connsiteX810" fmla="*/ 11198 w 173074"/>
                  <a:gd name="connsiteY810" fmla="*/ 132605 h 187622"/>
                  <a:gd name="connsiteX811" fmla="*/ 10580 w 173074"/>
                  <a:gd name="connsiteY811" fmla="*/ 131106 h 187622"/>
                  <a:gd name="connsiteX812" fmla="*/ 11198 w 173074"/>
                  <a:gd name="connsiteY812" fmla="*/ 129607 h 187622"/>
                  <a:gd name="connsiteX813" fmla="*/ 12344 w 173074"/>
                  <a:gd name="connsiteY813" fmla="*/ 129343 h 187622"/>
                  <a:gd name="connsiteX814" fmla="*/ 11727 w 173074"/>
                  <a:gd name="connsiteY814" fmla="*/ 125816 h 187622"/>
                  <a:gd name="connsiteX815" fmla="*/ 10845 w 173074"/>
                  <a:gd name="connsiteY815" fmla="*/ 125552 h 187622"/>
                  <a:gd name="connsiteX816" fmla="*/ 10580 w 173074"/>
                  <a:gd name="connsiteY816" fmla="*/ 125287 h 187622"/>
                  <a:gd name="connsiteX817" fmla="*/ 9699 w 173074"/>
                  <a:gd name="connsiteY817" fmla="*/ 125287 h 187622"/>
                  <a:gd name="connsiteX818" fmla="*/ 9346 w 173074"/>
                  <a:gd name="connsiteY818" fmla="*/ 124670 h 187622"/>
                  <a:gd name="connsiteX819" fmla="*/ 8464 w 173074"/>
                  <a:gd name="connsiteY819" fmla="*/ 124406 h 187622"/>
                  <a:gd name="connsiteX820" fmla="*/ 8200 w 173074"/>
                  <a:gd name="connsiteY820" fmla="*/ 122378 h 187622"/>
                  <a:gd name="connsiteX821" fmla="*/ 7318 w 173074"/>
                  <a:gd name="connsiteY821" fmla="*/ 122113 h 187622"/>
                  <a:gd name="connsiteX822" fmla="*/ 7054 w 173074"/>
                  <a:gd name="connsiteY822" fmla="*/ 120967 h 187622"/>
                  <a:gd name="connsiteX823" fmla="*/ 7054 w 173074"/>
                  <a:gd name="connsiteY823" fmla="*/ 120085 h 187622"/>
                  <a:gd name="connsiteX824" fmla="*/ 7054 w 173074"/>
                  <a:gd name="connsiteY824" fmla="*/ 118322 h 187622"/>
                  <a:gd name="connsiteX825" fmla="*/ 7318 w 173074"/>
                  <a:gd name="connsiteY825" fmla="*/ 117176 h 187622"/>
                  <a:gd name="connsiteX826" fmla="*/ 7847 w 173074"/>
                  <a:gd name="connsiteY826" fmla="*/ 115412 h 187622"/>
                  <a:gd name="connsiteX827" fmla="*/ 8464 w 173074"/>
                  <a:gd name="connsiteY827" fmla="*/ 115412 h 187622"/>
                  <a:gd name="connsiteX828" fmla="*/ 8729 w 173074"/>
                  <a:gd name="connsiteY828" fmla="*/ 113914 h 187622"/>
                  <a:gd name="connsiteX829" fmla="*/ 8729 w 173074"/>
                  <a:gd name="connsiteY829" fmla="*/ 112767 h 187622"/>
                  <a:gd name="connsiteX830" fmla="*/ 10492 w 173074"/>
                  <a:gd name="connsiteY830" fmla="*/ 113032 h 187622"/>
                  <a:gd name="connsiteX831" fmla="*/ 10228 w 173074"/>
                  <a:gd name="connsiteY831" fmla="*/ 112150 h 187622"/>
                  <a:gd name="connsiteX832" fmla="*/ 8729 w 173074"/>
                  <a:gd name="connsiteY832" fmla="*/ 111268 h 187622"/>
                  <a:gd name="connsiteX833" fmla="*/ 9346 w 173074"/>
                  <a:gd name="connsiteY833" fmla="*/ 110122 h 187622"/>
                  <a:gd name="connsiteX834" fmla="*/ 8729 w 173074"/>
                  <a:gd name="connsiteY834" fmla="*/ 109505 h 187622"/>
                  <a:gd name="connsiteX835" fmla="*/ 7583 w 173074"/>
                  <a:gd name="connsiteY835" fmla="*/ 108888 h 187622"/>
                  <a:gd name="connsiteX836" fmla="*/ 6436 w 173074"/>
                  <a:gd name="connsiteY836" fmla="*/ 107742 h 187622"/>
                  <a:gd name="connsiteX837" fmla="*/ 7583 w 173074"/>
                  <a:gd name="connsiteY837" fmla="*/ 106596 h 187622"/>
                  <a:gd name="connsiteX838" fmla="*/ 7847 w 173074"/>
                  <a:gd name="connsiteY838" fmla="*/ 105714 h 187622"/>
                  <a:gd name="connsiteX839" fmla="*/ 6701 w 173074"/>
                  <a:gd name="connsiteY839" fmla="*/ 104832 h 187622"/>
                  <a:gd name="connsiteX840" fmla="*/ 5731 w 173074"/>
                  <a:gd name="connsiteY840" fmla="*/ 104656 h 187622"/>
                  <a:gd name="connsiteX841" fmla="*/ 130225 w 173074"/>
                  <a:gd name="connsiteY841" fmla="*/ 16840 h 187622"/>
                  <a:gd name="connsiteX842" fmla="*/ 130842 w 173074"/>
                  <a:gd name="connsiteY842" fmla="*/ 16840 h 187622"/>
                  <a:gd name="connsiteX843" fmla="*/ 131106 w 173074"/>
                  <a:gd name="connsiteY843" fmla="*/ 17105 h 187622"/>
                  <a:gd name="connsiteX844" fmla="*/ 131371 w 173074"/>
                  <a:gd name="connsiteY844" fmla="*/ 17369 h 187622"/>
                  <a:gd name="connsiteX845" fmla="*/ 131636 w 173074"/>
                  <a:gd name="connsiteY845" fmla="*/ 17634 h 187622"/>
                  <a:gd name="connsiteX846" fmla="*/ 132253 w 173074"/>
                  <a:gd name="connsiteY846" fmla="*/ 18251 h 187622"/>
                  <a:gd name="connsiteX847" fmla="*/ 133752 w 173074"/>
                  <a:gd name="connsiteY847" fmla="*/ 18868 h 187622"/>
                  <a:gd name="connsiteX848" fmla="*/ 134898 w 173074"/>
                  <a:gd name="connsiteY848" fmla="*/ 19133 h 187622"/>
                  <a:gd name="connsiteX849" fmla="*/ 135780 w 173074"/>
                  <a:gd name="connsiteY849" fmla="*/ 19397 h 187622"/>
                  <a:gd name="connsiteX850" fmla="*/ 135515 w 173074"/>
                  <a:gd name="connsiteY850" fmla="*/ 19133 h 187622"/>
                  <a:gd name="connsiteX851" fmla="*/ 135515 w 173074"/>
                  <a:gd name="connsiteY851" fmla="*/ 18515 h 187622"/>
                  <a:gd name="connsiteX852" fmla="*/ 135515 w 173074"/>
                  <a:gd name="connsiteY852" fmla="*/ 18251 h 187622"/>
                  <a:gd name="connsiteX853" fmla="*/ 136396 w 173074"/>
                  <a:gd name="connsiteY853" fmla="*/ 17634 h 187622"/>
                  <a:gd name="connsiteX854" fmla="*/ 137543 w 173074"/>
                  <a:gd name="connsiteY854" fmla="*/ 17105 h 187622"/>
                  <a:gd name="connsiteX855" fmla="*/ 138424 w 173074"/>
                  <a:gd name="connsiteY855" fmla="*/ 16840 h 187622"/>
                  <a:gd name="connsiteX856" fmla="*/ 139306 w 173074"/>
                  <a:gd name="connsiteY856" fmla="*/ 16576 h 187622"/>
                  <a:gd name="connsiteX857" fmla="*/ 139923 w 173074"/>
                  <a:gd name="connsiteY857" fmla="*/ 16576 h 187622"/>
                  <a:gd name="connsiteX858" fmla="*/ 140188 w 173074"/>
                  <a:gd name="connsiteY858" fmla="*/ 16840 h 187622"/>
                  <a:gd name="connsiteX859" fmla="*/ 140805 w 173074"/>
                  <a:gd name="connsiteY859" fmla="*/ 16840 h 187622"/>
                  <a:gd name="connsiteX860" fmla="*/ 141069 w 173074"/>
                  <a:gd name="connsiteY860" fmla="*/ 17457 h 187622"/>
                  <a:gd name="connsiteX861" fmla="*/ 141334 w 173074"/>
                  <a:gd name="connsiteY861" fmla="*/ 18075 h 187622"/>
                  <a:gd name="connsiteX862" fmla="*/ 141598 w 173074"/>
                  <a:gd name="connsiteY862" fmla="*/ 18339 h 187622"/>
                  <a:gd name="connsiteX863" fmla="*/ 141598 w 173074"/>
                  <a:gd name="connsiteY863" fmla="*/ 18075 h 187622"/>
                  <a:gd name="connsiteX864" fmla="*/ 141863 w 173074"/>
                  <a:gd name="connsiteY864" fmla="*/ 17457 h 187622"/>
                  <a:gd name="connsiteX865" fmla="*/ 141598 w 173074"/>
                  <a:gd name="connsiteY865" fmla="*/ 16576 h 187622"/>
                  <a:gd name="connsiteX866" fmla="*/ 140981 w 173074"/>
                  <a:gd name="connsiteY866" fmla="*/ 15958 h 187622"/>
                  <a:gd name="connsiteX867" fmla="*/ 140100 w 173074"/>
                  <a:gd name="connsiteY867" fmla="*/ 15694 h 187622"/>
                  <a:gd name="connsiteX868" fmla="*/ 139482 w 173074"/>
                  <a:gd name="connsiteY868" fmla="*/ 15429 h 187622"/>
                  <a:gd name="connsiteX869" fmla="*/ 138865 w 173074"/>
                  <a:gd name="connsiteY869" fmla="*/ 15165 h 187622"/>
                  <a:gd name="connsiteX870" fmla="*/ 138601 w 173074"/>
                  <a:gd name="connsiteY870" fmla="*/ 14548 h 187622"/>
                  <a:gd name="connsiteX871" fmla="*/ 138601 w 173074"/>
                  <a:gd name="connsiteY871" fmla="*/ 13666 h 187622"/>
                  <a:gd name="connsiteX872" fmla="*/ 139218 w 173074"/>
                  <a:gd name="connsiteY872" fmla="*/ 13049 h 187622"/>
                  <a:gd name="connsiteX873" fmla="*/ 139835 w 173074"/>
                  <a:gd name="connsiteY873" fmla="*/ 12167 h 187622"/>
                  <a:gd name="connsiteX874" fmla="*/ 139835 w 173074"/>
                  <a:gd name="connsiteY874" fmla="*/ 11550 h 187622"/>
                  <a:gd name="connsiteX875" fmla="*/ 138689 w 173074"/>
                  <a:gd name="connsiteY875" fmla="*/ 11286 h 187622"/>
                  <a:gd name="connsiteX876" fmla="*/ 137190 w 173074"/>
                  <a:gd name="connsiteY876" fmla="*/ 11286 h 187622"/>
                  <a:gd name="connsiteX877" fmla="*/ 135691 w 173074"/>
                  <a:gd name="connsiteY877" fmla="*/ 11021 h 187622"/>
                  <a:gd name="connsiteX878" fmla="*/ 134810 w 173074"/>
                  <a:gd name="connsiteY878" fmla="*/ 10668 h 187622"/>
                  <a:gd name="connsiteX879" fmla="*/ 134810 w 173074"/>
                  <a:gd name="connsiteY879" fmla="*/ 10051 h 187622"/>
                  <a:gd name="connsiteX880" fmla="*/ 134810 w 173074"/>
                  <a:gd name="connsiteY880" fmla="*/ 9434 h 187622"/>
                  <a:gd name="connsiteX881" fmla="*/ 135427 w 173074"/>
                  <a:gd name="connsiteY881" fmla="*/ 9169 h 187622"/>
                  <a:gd name="connsiteX882" fmla="*/ 134810 w 173074"/>
                  <a:gd name="connsiteY882" fmla="*/ 8905 h 187622"/>
                  <a:gd name="connsiteX883" fmla="*/ 133311 w 173074"/>
                  <a:gd name="connsiteY883" fmla="*/ 8905 h 187622"/>
                  <a:gd name="connsiteX884" fmla="*/ 132165 w 173074"/>
                  <a:gd name="connsiteY884" fmla="*/ 9522 h 187622"/>
                  <a:gd name="connsiteX885" fmla="*/ 131900 w 173074"/>
                  <a:gd name="connsiteY885" fmla="*/ 10139 h 187622"/>
                  <a:gd name="connsiteX886" fmla="*/ 131900 w 173074"/>
                  <a:gd name="connsiteY886" fmla="*/ 10757 h 187622"/>
                  <a:gd name="connsiteX887" fmla="*/ 132165 w 173074"/>
                  <a:gd name="connsiteY887" fmla="*/ 11374 h 187622"/>
                  <a:gd name="connsiteX888" fmla="*/ 132694 w 173074"/>
                  <a:gd name="connsiteY888" fmla="*/ 11374 h 187622"/>
                  <a:gd name="connsiteX889" fmla="*/ 133311 w 173074"/>
                  <a:gd name="connsiteY889" fmla="*/ 11374 h 187622"/>
                  <a:gd name="connsiteX890" fmla="*/ 133928 w 173074"/>
                  <a:gd name="connsiteY890" fmla="*/ 11109 h 187622"/>
                  <a:gd name="connsiteX891" fmla="*/ 134192 w 173074"/>
                  <a:gd name="connsiteY891" fmla="*/ 10757 h 187622"/>
                  <a:gd name="connsiteX892" fmla="*/ 134457 w 173074"/>
                  <a:gd name="connsiteY892" fmla="*/ 11109 h 187622"/>
                  <a:gd name="connsiteX893" fmla="*/ 134721 w 173074"/>
                  <a:gd name="connsiteY893" fmla="*/ 11374 h 187622"/>
                  <a:gd name="connsiteX894" fmla="*/ 134986 w 173074"/>
                  <a:gd name="connsiteY894" fmla="*/ 11638 h 187622"/>
                  <a:gd name="connsiteX895" fmla="*/ 135603 w 173074"/>
                  <a:gd name="connsiteY895" fmla="*/ 11903 h 187622"/>
                  <a:gd name="connsiteX896" fmla="*/ 136220 w 173074"/>
                  <a:gd name="connsiteY896" fmla="*/ 11903 h 187622"/>
                  <a:gd name="connsiteX897" fmla="*/ 136485 w 173074"/>
                  <a:gd name="connsiteY897" fmla="*/ 12167 h 187622"/>
                  <a:gd name="connsiteX898" fmla="*/ 136749 w 173074"/>
                  <a:gd name="connsiteY898" fmla="*/ 12784 h 187622"/>
                  <a:gd name="connsiteX899" fmla="*/ 136485 w 173074"/>
                  <a:gd name="connsiteY899" fmla="*/ 13402 h 187622"/>
                  <a:gd name="connsiteX900" fmla="*/ 135868 w 173074"/>
                  <a:gd name="connsiteY900" fmla="*/ 13402 h 187622"/>
                  <a:gd name="connsiteX901" fmla="*/ 135250 w 173074"/>
                  <a:gd name="connsiteY901" fmla="*/ 12784 h 187622"/>
                  <a:gd name="connsiteX902" fmla="*/ 134633 w 173074"/>
                  <a:gd name="connsiteY902" fmla="*/ 11903 h 187622"/>
                  <a:gd name="connsiteX903" fmla="*/ 133752 w 173074"/>
                  <a:gd name="connsiteY903" fmla="*/ 11638 h 187622"/>
                  <a:gd name="connsiteX904" fmla="*/ 133134 w 173074"/>
                  <a:gd name="connsiteY904" fmla="*/ 11638 h 187622"/>
                  <a:gd name="connsiteX905" fmla="*/ 131636 w 173074"/>
                  <a:gd name="connsiteY905" fmla="*/ 11903 h 187622"/>
                  <a:gd name="connsiteX906" fmla="*/ 131018 w 173074"/>
                  <a:gd name="connsiteY906" fmla="*/ 12167 h 187622"/>
                  <a:gd name="connsiteX907" fmla="*/ 130401 w 173074"/>
                  <a:gd name="connsiteY907" fmla="*/ 12432 h 187622"/>
                  <a:gd name="connsiteX908" fmla="*/ 130666 w 173074"/>
                  <a:gd name="connsiteY908" fmla="*/ 12696 h 187622"/>
                  <a:gd name="connsiteX909" fmla="*/ 130930 w 173074"/>
                  <a:gd name="connsiteY909" fmla="*/ 12961 h 187622"/>
                  <a:gd name="connsiteX910" fmla="*/ 131547 w 173074"/>
                  <a:gd name="connsiteY910" fmla="*/ 13225 h 187622"/>
                  <a:gd name="connsiteX911" fmla="*/ 131283 w 173074"/>
                  <a:gd name="connsiteY911" fmla="*/ 13842 h 187622"/>
                  <a:gd name="connsiteX912" fmla="*/ 131283 w 173074"/>
                  <a:gd name="connsiteY912" fmla="*/ 14460 h 187622"/>
                  <a:gd name="connsiteX913" fmla="*/ 131283 w 173074"/>
                  <a:gd name="connsiteY913" fmla="*/ 14724 h 187622"/>
                  <a:gd name="connsiteX914" fmla="*/ 131900 w 173074"/>
                  <a:gd name="connsiteY914" fmla="*/ 15341 h 187622"/>
                  <a:gd name="connsiteX915" fmla="*/ 132165 w 173074"/>
                  <a:gd name="connsiteY915" fmla="*/ 15606 h 187622"/>
                  <a:gd name="connsiteX916" fmla="*/ 131547 w 173074"/>
                  <a:gd name="connsiteY916" fmla="*/ 15870 h 187622"/>
                  <a:gd name="connsiteX917" fmla="*/ 130666 w 173074"/>
                  <a:gd name="connsiteY917" fmla="*/ 16135 h 187622"/>
                  <a:gd name="connsiteX918" fmla="*/ 130225 w 173074"/>
                  <a:gd name="connsiteY918" fmla="*/ 16840 h 187622"/>
                  <a:gd name="connsiteX919" fmla="*/ 92048 w 173074"/>
                  <a:gd name="connsiteY919" fmla="*/ 12167 h 187622"/>
                  <a:gd name="connsiteX920" fmla="*/ 91431 w 173074"/>
                  <a:gd name="connsiteY920" fmla="*/ 12784 h 187622"/>
                  <a:gd name="connsiteX921" fmla="*/ 91166 w 173074"/>
                  <a:gd name="connsiteY921" fmla="*/ 13402 h 187622"/>
                  <a:gd name="connsiteX922" fmla="*/ 91166 w 173074"/>
                  <a:gd name="connsiteY922" fmla="*/ 14019 h 187622"/>
                  <a:gd name="connsiteX923" fmla="*/ 91166 w 173074"/>
                  <a:gd name="connsiteY923" fmla="*/ 14283 h 187622"/>
                  <a:gd name="connsiteX924" fmla="*/ 91431 w 173074"/>
                  <a:gd name="connsiteY924" fmla="*/ 14548 h 187622"/>
                  <a:gd name="connsiteX925" fmla="*/ 93194 w 173074"/>
                  <a:gd name="connsiteY925" fmla="*/ 15429 h 187622"/>
                  <a:gd name="connsiteX926" fmla="*/ 94340 w 173074"/>
                  <a:gd name="connsiteY926" fmla="*/ 15429 h 187622"/>
                  <a:gd name="connsiteX927" fmla="*/ 95222 w 173074"/>
                  <a:gd name="connsiteY927" fmla="*/ 15429 h 187622"/>
                  <a:gd name="connsiteX928" fmla="*/ 96721 w 173074"/>
                  <a:gd name="connsiteY928" fmla="*/ 15694 h 187622"/>
                  <a:gd name="connsiteX929" fmla="*/ 96985 w 173074"/>
                  <a:gd name="connsiteY929" fmla="*/ 14812 h 187622"/>
                  <a:gd name="connsiteX930" fmla="*/ 96721 w 173074"/>
                  <a:gd name="connsiteY930" fmla="*/ 13931 h 187622"/>
                  <a:gd name="connsiteX931" fmla="*/ 95574 w 173074"/>
                  <a:gd name="connsiteY931" fmla="*/ 13313 h 187622"/>
                  <a:gd name="connsiteX932" fmla="*/ 95574 w 173074"/>
                  <a:gd name="connsiteY932" fmla="*/ 12696 h 187622"/>
                  <a:gd name="connsiteX933" fmla="*/ 94164 w 173074"/>
                  <a:gd name="connsiteY933" fmla="*/ 12432 h 187622"/>
                  <a:gd name="connsiteX934" fmla="*/ 93282 w 173074"/>
                  <a:gd name="connsiteY934" fmla="*/ 12432 h 187622"/>
                  <a:gd name="connsiteX935" fmla="*/ 92048 w 173074"/>
                  <a:gd name="connsiteY935" fmla="*/ 12167 h 18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</a:cxnLst>
                <a:rect l="l" t="t" r="r" b="b"/>
                <a:pathLst>
                  <a:path w="173074" h="187622">
                    <a:moveTo>
                      <a:pt x="5731" y="104656"/>
                    </a:moveTo>
                    <a:lnTo>
                      <a:pt x="5114" y="103510"/>
                    </a:lnTo>
                    <a:lnTo>
                      <a:pt x="3615" y="102892"/>
                    </a:lnTo>
                    <a:lnTo>
                      <a:pt x="3615" y="102011"/>
                    </a:lnTo>
                    <a:lnTo>
                      <a:pt x="2998" y="101129"/>
                    </a:lnTo>
                    <a:lnTo>
                      <a:pt x="4144" y="100247"/>
                    </a:lnTo>
                    <a:lnTo>
                      <a:pt x="4144" y="99366"/>
                    </a:lnTo>
                    <a:lnTo>
                      <a:pt x="4144" y="97955"/>
                    </a:lnTo>
                    <a:lnTo>
                      <a:pt x="3262" y="96456"/>
                    </a:lnTo>
                    <a:lnTo>
                      <a:pt x="1499" y="96192"/>
                    </a:lnTo>
                    <a:lnTo>
                      <a:pt x="617" y="96456"/>
                    </a:lnTo>
                    <a:lnTo>
                      <a:pt x="0" y="94957"/>
                    </a:lnTo>
                    <a:lnTo>
                      <a:pt x="617" y="94428"/>
                    </a:lnTo>
                    <a:lnTo>
                      <a:pt x="2645" y="93811"/>
                    </a:lnTo>
                    <a:lnTo>
                      <a:pt x="4144" y="91783"/>
                    </a:lnTo>
                    <a:lnTo>
                      <a:pt x="3879" y="91166"/>
                    </a:lnTo>
                    <a:lnTo>
                      <a:pt x="3879" y="90902"/>
                    </a:lnTo>
                    <a:lnTo>
                      <a:pt x="3879" y="90637"/>
                    </a:lnTo>
                    <a:lnTo>
                      <a:pt x="5026" y="88874"/>
                    </a:lnTo>
                    <a:lnTo>
                      <a:pt x="5290" y="88257"/>
                    </a:lnTo>
                    <a:lnTo>
                      <a:pt x="5290" y="87639"/>
                    </a:lnTo>
                    <a:lnTo>
                      <a:pt x="5555" y="87022"/>
                    </a:lnTo>
                    <a:lnTo>
                      <a:pt x="6172" y="84642"/>
                    </a:lnTo>
                    <a:lnTo>
                      <a:pt x="5907" y="83495"/>
                    </a:lnTo>
                    <a:lnTo>
                      <a:pt x="4408" y="81732"/>
                    </a:lnTo>
                    <a:lnTo>
                      <a:pt x="3791" y="80850"/>
                    </a:lnTo>
                    <a:lnTo>
                      <a:pt x="3174" y="79969"/>
                    </a:lnTo>
                    <a:lnTo>
                      <a:pt x="2645" y="79087"/>
                    </a:lnTo>
                    <a:lnTo>
                      <a:pt x="1499" y="77324"/>
                    </a:lnTo>
                    <a:lnTo>
                      <a:pt x="1499" y="77059"/>
                    </a:lnTo>
                    <a:lnTo>
                      <a:pt x="1763" y="75913"/>
                    </a:lnTo>
                    <a:lnTo>
                      <a:pt x="3527" y="75913"/>
                    </a:lnTo>
                    <a:lnTo>
                      <a:pt x="4144" y="75648"/>
                    </a:lnTo>
                    <a:lnTo>
                      <a:pt x="4761" y="75648"/>
                    </a:lnTo>
                    <a:lnTo>
                      <a:pt x="5026" y="75648"/>
                    </a:lnTo>
                    <a:lnTo>
                      <a:pt x="5290" y="75648"/>
                    </a:lnTo>
                    <a:lnTo>
                      <a:pt x="7054" y="75648"/>
                    </a:lnTo>
                    <a:lnTo>
                      <a:pt x="8200" y="75913"/>
                    </a:lnTo>
                    <a:lnTo>
                      <a:pt x="8817" y="75913"/>
                    </a:lnTo>
                    <a:lnTo>
                      <a:pt x="11462" y="76530"/>
                    </a:lnTo>
                    <a:lnTo>
                      <a:pt x="13225" y="75913"/>
                    </a:lnTo>
                    <a:lnTo>
                      <a:pt x="14724" y="73885"/>
                    </a:lnTo>
                    <a:lnTo>
                      <a:pt x="15341" y="74150"/>
                    </a:lnTo>
                    <a:lnTo>
                      <a:pt x="16840" y="72651"/>
                    </a:lnTo>
                    <a:lnTo>
                      <a:pt x="16223" y="71505"/>
                    </a:lnTo>
                    <a:lnTo>
                      <a:pt x="15077" y="71505"/>
                    </a:lnTo>
                    <a:lnTo>
                      <a:pt x="15077" y="71240"/>
                    </a:lnTo>
                    <a:lnTo>
                      <a:pt x="15341" y="70094"/>
                    </a:lnTo>
                    <a:lnTo>
                      <a:pt x="16840" y="70094"/>
                    </a:lnTo>
                    <a:lnTo>
                      <a:pt x="17986" y="68948"/>
                    </a:lnTo>
                    <a:lnTo>
                      <a:pt x="17986" y="68683"/>
                    </a:lnTo>
                    <a:lnTo>
                      <a:pt x="18251" y="68683"/>
                    </a:lnTo>
                    <a:lnTo>
                      <a:pt x="18251" y="68419"/>
                    </a:lnTo>
                    <a:lnTo>
                      <a:pt x="20014" y="67273"/>
                    </a:lnTo>
                    <a:lnTo>
                      <a:pt x="21161" y="65509"/>
                    </a:lnTo>
                    <a:lnTo>
                      <a:pt x="20896" y="65245"/>
                    </a:lnTo>
                    <a:lnTo>
                      <a:pt x="21513" y="63746"/>
                    </a:lnTo>
                    <a:lnTo>
                      <a:pt x="21513" y="62599"/>
                    </a:lnTo>
                    <a:lnTo>
                      <a:pt x="20014" y="60836"/>
                    </a:lnTo>
                    <a:lnTo>
                      <a:pt x="19750" y="61189"/>
                    </a:lnTo>
                    <a:lnTo>
                      <a:pt x="19485" y="61453"/>
                    </a:lnTo>
                    <a:lnTo>
                      <a:pt x="15694" y="60836"/>
                    </a:lnTo>
                    <a:lnTo>
                      <a:pt x="14548" y="58808"/>
                    </a:lnTo>
                    <a:lnTo>
                      <a:pt x="15694" y="58544"/>
                    </a:lnTo>
                    <a:lnTo>
                      <a:pt x="15165" y="57398"/>
                    </a:lnTo>
                    <a:lnTo>
                      <a:pt x="14900" y="57133"/>
                    </a:lnTo>
                    <a:lnTo>
                      <a:pt x="16047" y="56516"/>
                    </a:lnTo>
                    <a:lnTo>
                      <a:pt x="18427" y="56516"/>
                    </a:lnTo>
                    <a:lnTo>
                      <a:pt x="18692" y="56780"/>
                    </a:lnTo>
                    <a:lnTo>
                      <a:pt x="20984" y="56780"/>
                    </a:lnTo>
                    <a:lnTo>
                      <a:pt x="21249" y="56516"/>
                    </a:lnTo>
                    <a:lnTo>
                      <a:pt x="21249" y="54752"/>
                    </a:lnTo>
                    <a:lnTo>
                      <a:pt x="21249" y="53342"/>
                    </a:lnTo>
                    <a:lnTo>
                      <a:pt x="21513" y="52460"/>
                    </a:lnTo>
                    <a:lnTo>
                      <a:pt x="23277" y="49815"/>
                    </a:lnTo>
                    <a:lnTo>
                      <a:pt x="23541" y="48933"/>
                    </a:lnTo>
                    <a:lnTo>
                      <a:pt x="23541" y="43996"/>
                    </a:lnTo>
                    <a:lnTo>
                      <a:pt x="23277" y="42497"/>
                    </a:lnTo>
                    <a:lnTo>
                      <a:pt x="23541" y="41880"/>
                    </a:lnTo>
                    <a:lnTo>
                      <a:pt x="24158" y="41615"/>
                    </a:lnTo>
                    <a:lnTo>
                      <a:pt x="25657" y="41351"/>
                    </a:lnTo>
                    <a:lnTo>
                      <a:pt x="25393" y="40734"/>
                    </a:lnTo>
                    <a:lnTo>
                      <a:pt x="24511" y="40734"/>
                    </a:lnTo>
                    <a:lnTo>
                      <a:pt x="22130" y="40205"/>
                    </a:lnTo>
                    <a:lnTo>
                      <a:pt x="21249" y="40469"/>
                    </a:lnTo>
                    <a:lnTo>
                      <a:pt x="19485" y="40469"/>
                    </a:lnTo>
                    <a:lnTo>
                      <a:pt x="18868" y="39940"/>
                    </a:lnTo>
                    <a:lnTo>
                      <a:pt x="19133" y="38177"/>
                    </a:lnTo>
                    <a:lnTo>
                      <a:pt x="19397" y="36414"/>
                    </a:lnTo>
                    <a:lnTo>
                      <a:pt x="19662" y="35532"/>
                    </a:lnTo>
                    <a:lnTo>
                      <a:pt x="19926" y="34915"/>
                    </a:lnTo>
                    <a:lnTo>
                      <a:pt x="20543" y="34297"/>
                    </a:lnTo>
                    <a:lnTo>
                      <a:pt x="22571" y="32799"/>
                    </a:lnTo>
                    <a:lnTo>
                      <a:pt x="23717" y="32270"/>
                    </a:lnTo>
                    <a:lnTo>
                      <a:pt x="25481" y="32270"/>
                    </a:lnTo>
                    <a:lnTo>
                      <a:pt x="26980" y="32270"/>
                    </a:lnTo>
                    <a:lnTo>
                      <a:pt x="27861" y="32534"/>
                    </a:lnTo>
                    <a:lnTo>
                      <a:pt x="30154" y="32270"/>
                    </a:lnTo>
                    <a:lnTo>
                      <a:pt x="31035" y="31652"/>
                    </a:lnTo>
                    <a:lnTo>
                      <a:pt x="33063" y="31652"/>
                    </a:lnTo>
                    <a:lnTo>
                      <a:pt x="34562" y="31388"/>
                    </a:lnTo>
                    <a:lnTo>
                      <a:pt x="37207" y="31652"/>
                    </a:lnTo>
                    <a:lnTo>
                      <a:pt x="37824" y="31652"/>
                    </a:lnTo>
                    <a:lnTo>
                      <a:pt x="37560" y="31917"/>
                    </a:lnTo>
                    <a:lnTo>
                      <a:pt x="37295" y="32181"/>
                    </a:lnTo>
                    <a:lnTo>
                      <a:pt x="37560" y="33328"/>
                    </a:lnTo>
                    <a:lnTo>
                      <a:pt x="38706" y="34209"/>
                    </a:lnTo>
                    <a:lnTo>
                      <a:pt x="39588" y="34826"/>
                    </a:lnTo>
                    <a:lnTo>
                      <a:pt x="40205" y="35444"/>
                    </a:lnTo>
                    <a:lnTo>
                      <a:pt x="40469" y="36325"/>
                    </a:lnTo>
                    <a:lnTo>
                      <a:pt x="39059" y="36590"/>
                    </a:lnTo>
                    <a:lnTo>
                      <a:pt x="38177" y="36854"/>
                    </a:lnTo>
                    <a:lnTo>
                      <a:pt x="38442" y="37472"/>
                    </a:lnTo>
                    <a:lnTo>
                      <a:pt x="39059" y="38353"/>
                    </a:lnTo>
                    <a:lnTo>
                      <a:pt x="40822" y="38970"/>
                    </a:lnTo>
                    <a:lnTo>
                      <a:pt x="41704" y="38970"/>
                    </a:lnTo>
                    <a:lnTo>
                      <a:pt x="42585" y="38706"/>
                    </a:lnTo>
                    <a:lnTo>
                      <a:pt x="42850" y="37824"/>
                    </a:lnTo>
                    <a:lnTo>
                      <a:pt x="43114" y="36943"/>
                    </a:lnTo>
                    <a:lnTo>
                      <a:pt x="43114" y="36061"/>
                    </a:lnTo>
                    <a:lnTo>
                      <a:pt x="42233" y="36061"/>
                    </a:lnTo>
                    <a:lnTo>
                      <a:pt x="41351" y="36325"/>
                    </a:lnTo>
                    <a:lnTo>
                      <a:pt x="41351" y="35444"/>
                    </a:lnTo>
                    <a:lnTo>
                      <a:pt x="41615" y="34562"/>
                    </a:lnTo>
                    <a:lnTo>
                      <a:pt x="41880" y="33945"/>
                    </a:lnTo>
                    <a:lnTo>
                      <a:pt x="42497" y="33680"/>
                    </a:lnTo>
                    <a:lnTo>
                      <a:pt x="43379" y="33945"/>
                    </a:lnTo>
                    <a:lnTo>
                      <a:pt x="44525" y="34562"/>
                    </a:lnTo>
                    <a:lnTo>
                      <a:pt x="46288" y="35444"/>
                    </a:lnTo>
                    <a:lnTo>
                      <a:pt x="46553" y="35973"/>
                    </a:lnTo>
                    <a:lnTo>
                      <a:pt x="46288" y="36590"/>
                    </a:lnTo>
                    <a:lnTo>
                      <a:pt x="46024" y="36854"/>
                    </a:lnTo>
                    <a:lnTo>
                      <a:pt x="46024" y="38001"/>
                    </a:lnTo>
                    <a:lnTo>
                      <a:pt x="46288" y="38882"/>
                    </a:lnTo>
                    <a:lnTo>
                      <a:pt x="46288" y="39764"/>
                    </a:lnTo>
                    <a:lnTo>
                      <a:pt x="46553" y="40028"/>
                    </a:lnTo>
                    <a:lnTo>
                      <a:pt x="46817" y="38882"/>
                    </a:lnTo>
                    <a:lnTo>
                      <a:pt x="46553" y="38265"/>
                    </a:lnTo>
                    <a:lnTo>
                      <a:pt x="46553" y="37648"/>
                    </a:lnTo>
                    <a:lnTo>
                      <a:pt x="46553" y="36766"/>
                    </a:lnTo>
                    <a:lnTo>
                      <a:pt x="47435" y="36149"/>
                    </a:lnTo>
                    <a:lnTo>
                      <a:pt x="47435" y="35532"/>
                    </a:lnTo>
                    <a:lnTo>
                      <a:pt x="46553" y="33769"/>
                    </a:lnTo>
                    <a:lnTo>
                      <a:pt x="45671" y="32622"/>
                    </a:lnTo>
                    <a:lnTo>
                      <a:pt x="45936" y="31476"/>
                    </a:lnTo>
                    <a:lnTo>
                      <a:pt x="46817" y="28831"/>
                    </a:lnTo>
                    <a:lnTo>
                      <a:pt x="47699" y="27685"/>
                    </a:lnTo>
                    <a:lnTo>
                      <a:pt x="49198" y="27156"/>
                    </a:lnTo>
                    <a:lnTo>
                      <a:pt x="49815" y="28037"/>
                    </a:lnTo>
                    <a:lnTo>
                      <a:pt x="51226" y="28655"/>
                    </a:lnTo>
                    <a:lnTo>
                      <a:pt x="53254" y="28919"/>
                    </a:lnTo>
                    <a:lnTo>
                      <a:pt x="55017" y="28655"/>
                    </a:lnTo>
                    <a:lnTo>
                      <a:pt x="55634" y="28037"/>
                    </a:lnTo>
                    <a:lnTo>
                      <a:pt x="56780" y="27773"/>
                    </a:lnTo>
                    <a:lnTo>
                      <a:pt x="59690" y="28037"/>
                    </a:lnTo>
                    <a:lnTo>
                      <a:pt x="60836" y="28655"/>
                    </a:lnTo>
                    <a:lnTo>
                      <a:pt x="62335" y="30683"/>
                    </a:lnTo>
                    <a:lnTo>
                      <a:pt x="64099" y="32710"/>
                    </a:lnTo>
                    <a:lnTo>
                      <a:pt x="65509" y="34209"/>
                    </a:lnTo>
                    <a:lnTo>
                      <a:pt x="66655" y="34826"/>
                    </a:lnTo>
                    <a:lnTo>
                      <a:pt x="67802" y="35444"/>
                    </a:lnTo>
                    <a:lnTo>
                      <a:pt x="68419" y="35444"/>
                    </a:lnTo>
                    <a:lnTo>
                      <a:pt x="69036" y="35444"/>
                    </a:lnTo>
                    <a:lnTo>
                      <a:pt x="71064" y="35973"/>
                    </a:lnTo>
                    <a:lnTo>
                      <a:pt x="71328" y="35708"/>
                    </a:lnTo>
                    <a:lnTo>
                      <a:pt x="70711" y="35444"/>
                    </a:lnTo>
                    <a:lnTo>
                      <a:pt x="69829" y="35179"/>
                    </a:lnTo>
                    <a:lnTo>
                      <a:pt x="68330" y="34915"/>
                    </a:lnTo>
                    <a:lnTo>
                      <a:pt x="66832" y="34297"/>
                    </a:lnTo>
                    <a:lnTo>
                      <a:pt x="65950" y="33680"/>
                    </a:lnTo>
                    <a:lnTo>
                      <a:pt x="64187" y="32270"/>
                    </a:lnTo>
                    <a:lnTo>
                      <a:pt x="62688" y="30242"/>
                    </a:lnTo>
                    <a:lnTo>
                      <a:pt x="62071" y="29096"/>
                    </a:lnTo>
                    <a:lnTo>
                      <a:pt x="60924" y="27949"/>
                    </a:lnTo>
                    <a:lnTo>
                      <a:pt x="59426" y="27420"/>
                    </a:lnTo>
                    <a:lnTo>
                      <a:pt x="57133" y="27420"/>
                    </a:lnTo>
                    <a:lnTo>
                      <a:pt x="54841" y="27685"/>
                    </a:lnTo>
                    <a:lnTo>
                      <a:pt x="53078" y="26803"/>
                    </a:lnTo>
                    <a:lnTo>
                      <a:pt x="52196" y="25040"/>
                    </a:lnTo>
                    <a:lnTo>
                      <a:pt x="51579" y="24158"/>
                    </a:lnTo>
                    <a:lnTo>
                      <a:pt x="51843" y="23629"/>
                    </a:lnTo>
                    <a:lnTo>
                      <a:pt x="52989" y="23629"/>
                    </a:lnTo>
                    <a:lnTo>
                      <a:pt x="54136" y="24511"/>
                    </a:lnTo>
                    <a:lnTo>
                      <a:pt x="54753" y="24158"/>
                    </a:lnTo>
                    <a:lnTo>
                      <a:pt x="54753" y="23276"/>
                    </a:lnTo>
                    <a:lnTo>
                      <a:pt x="54488" y="22395"/>
                    </a:lnTo>
                    <a:lnTo>
                      <a:pt x="53871" y="21866"/>
                    </a:lnTo>
                    <a:lnTo>
                      <a:pt x="52989" y="21866"/>
                    </a:lnTo>
                    <a:lnTo>
                      <a:pt x="52108" y="22130"/>
                    </a:lnTo>
                    <a:lnTo>
                      <a:pt x="50961" y="20631"/>
                    </a:lnTo>
                    <a:lnTo>
                      <a:pt x="51226" y="19133"/>
                    </a:lnTo>
                    <a:lnTo>
                      <a:pt x="52108" y="17986"/>
                    </a:lnTo>
                    <a:lnTo>
                      <a:pt x="52725" y="17986"/>
                    </a:lnTo>
                    <a:lnTo>
                      <a:pt x="52460" y="17369"/>
                    </a:lnTo>
                    <a:lnTo>
                      <a:pt x="51579" y="17634"/>
                    </a:lnTo>
                    <a:lnTo>
                      <a:pt x="49551" y="18251"/>
                    </a:lnTo>
                    <a:lnTo>
                      <a:pt x="47787" y="18515"/>
                    </a:lnTo>
                    <a:lnTo>
                      <a:pt x="46906" y="17369"/>
                    </a:lnTo>
                    <a:lnTo>
                      <a:pt x="46906" y="16223"/>
                    </a:lnTo>
                    <a:lnTo>
                      <a:pt x="47170" y="15958"/>
                    </a:lnTo>
                    <a:lnTo>
                      <a:pt x="47435" y="15694"/>
                    </a:lnTo>
                    <a:lnTo>
                      <a:pt x="48052" y="15429"/>
                    </a:lnTo>
                    <a:lnTo>
                      <a:pt x="50961" y="15165"/>
                    </a:lnTo>
                    <a:lnTo>
                      <a:pt x="51579" y="15429"/>
                    </a:lnTo>
                    <a:lnTo>
                      <a:pt x="53342" y="14812"/>
                    </a:lnTo>
                    <a:lnTo>
                      <a:pt x="53959" y="14195"/>
                    </a:lnTo>
                    <a:lnTo>
                      <a:pt x="54576" y="13313"/>
                    </a:lnTo>
                    <a:lnTo>
                      <a:pt x="53695" y="12167"/>
                    </a:lnTo>
                    <a:lnTo>
                      <a:pt x="52813" y="11903"/>
                    </a:lnTo>
                    <a:lnTo>
                      <a:pt x="52196" y="11021"/>
                    </a:lnTo>
                    <a:lnTo>
                      <a:pt x="51314" y="10404"/>
                    </a:lnTo>
                    <a:lnTo>
                      <a:pt x="51931" y="10139"/>
                    </a:lnTo>
                    <a:lnTo>
                      <a:pt x="50168" y="8993"/>
                    </a:lnTo>
                    <a:lnTo>
                      <a:pt x="48669" y="7847"/>
                    </a:lnTo>
                    <a:lnTo>
                      <a:pt x="47787" y="6965"/>
                    </a:lnTo>
                    <a:lnTo>
                      <a:pt x="47435" y="6701"/>
                    </a:lnTo>
                    <a:lnTo>
                      <a:pt x="47170" y="5819"/>
                    </a:lnTo>
                    <a:lnTo>
                      <a:pt x="46553" y="5819"/>
                    </a:lnTo>
                    <a:lnTo>
                      <a:pt x="45936" y="5202"/>
                    </a:lnTo>
                    <a:lnTo>
                      <a:pt x="45671" y="4937"/>
                    </a:lnTo>
                    <a:lnTo>
                      <a:pt x="45407" y="4320"/>
                    </a:lnTo>
                    <a:lnTo>
                      <a:pt x="45142" y="4320"/>
                    </a:lnTo>
                    <a:lnTo>
                      <a:pt x="43379" y="4320"/>
                    </a:lnTo>
                    <a:lnTo>
                      <a:pt x="42762" y="4585"/>
                    </a:lnTo>
                    <a:lnTo>
                      <a:pt x="42144" y="4585"/>
                    </a:lnTo>
                    <a:lnTo>
                      <a:pt x="41528" y="4585"/>
                    </a:lnTo>
                    <a:lnTo>
                      <a:pt x="40910" y="4320"/>
                    </a:lnTo>
                    <a:lnTo>
                      <a:pt x="40646" y="4585"/>
                    </a:lnTo>
                    <a:lnTo>
                      <a:pt x="40646" y="5466"/>
                    </a:lnTo>
                    <a:lnTo>
                      <a:pt x="40646" y="7230"/>
                    </a:lnTo>
                    <a:lnTo>
                      <a:pt x="40381" y="7847"/>
                    </a:lnTo>
                    <a:lnTo>
                      <a:pt x="40117" y="5819"/>
                    </a:lnTo>
                    <a:lnTo>
                      <a:pt x="40117" y="4056"/>
                    </a:lnTo>
                    <a:lnTo>
                      <a:pt x="40734" y="2910"/>
                    </a:lnTo>
                    <a:lnTo>
                      <a:pt x="40734" y="2292"/>
                    </a:lnTo>
                    <a:lnTo>
                      <a:pt x="40999" y="1763"/>
                    </a:lnTo>
                    <a:lnTo>
                      <a:pt x="41263" y="1146"/>
                    </a:lnTo>
                    <a:lnTo>
                      <a:pt x="41528" y="264"/>
                    </a:lnTo>
                    <a:lnTo>
                      <a:pt x="41792" y="0"/>
                    </a:lnTo>
                    <a:lnTo>
                      <a:pt x="42056" y="0"/>
                    </a:lnTo>
                    <a:lnTo>
                      <a:pt x="42321" y="0"/>
                    </a:lnTo>
                    <a:lnTo>
                      <a:pt x="42585" y="0"/>
                    </a:lnTo>
                    <a:lnTo>
                      <a:pt x="42850" y="0"/>
                    </a:lnTo>
                    <a:lnTo>
                      <a:pt x="42850" y="264"/>
                    </a:lnTo>
                    <a:lnTo>
                      <a:pt x="42585" y="264"/>
                    </a:lnTo>
                    <a:lnTo>
                      <a:pt x="42321" y="264"/>
                    </a:lnTo>
                    <a:lnTo>
                      <a:pt x="42056" y="264"/>
                    </a:lnTo>
                    <a:lnTo>
                      <a:pt x="41792" y="264"/>
                    </a:lnTo>
                    <a:lnTo>
                      <a:pt x="41792" y="529"/>
                    </a:lnTo>
                    <a:lnTo>
                      <a:pt x="42056" y="264"/>
                    </a:lnTo>
                    <a:lnTo>
                      <a:pt x="42321" y="529"/>
                    </a:lnTo>
                    <a:lnTo>
                      <a:pt x="42056" y="793"/>
                    </a:lnTo>
                    <a:lnTo>
                      <a:pt x="41792" y="793"/>
                    </a:lnTo>
                    <a:lnTo>
                      <a:pt x="41792" y="1146"/>
                    </a:lnTo>
                    <a:lnTo>
                      <a:pt x="41528" y="1146"/>
                    </a:lnTo>
                    <a:lnTo>
                      <a:pt x="41263" y="2028"/>
                    </a:lnTo>
                    <a:lnTo>
                      <a:pt x="41263" y="2557"/>
                    </a:lnTo>
                    <a:lnTo>
                      <a:pt x="41263" y="2821"/>
                    </a:lnTo>
                    <a:lnTo>
                      <a:pt x="41263" y="3439"/>
                    </a:lnTo>
                    <a:lnTo>
                      <a:pt x="41528" y="3703"/>
                    </a:lnTo>
                    <a:lnTo>
                      <a:pt x="42409" y="3703"/>
                    </a:lnTo>
                    <a:lnTo>
                      <a:pt x="43026" y="3703"/>
                    </a:lnTo>
                    <a:lnTo>
                      <a:pt x="43291" y="3968"/>
                    </a:lnTo>
                    <a:lnTo>
                      <a:pt x="43643" y="4232"/>
                    </a:lnTo>
                    <a:lnTo>
                      <a:pt x="45407" y="3968"/>
                    </a:lnTo>
                    <a:lnTo>
                      <a:pt x="45671" y="3968"/>
                    </a:lnTo>
                    <a:lnTo>
                      <a:pt x="46288" y="3439"/>
                    </a:lnTo>
                    <a:lnTo>
                      <a:pt x="47787" y="3703"/>
                    </a:lnTo>
                    <a:lnTo>
                      <a:pt x="48669" y="3968"/>
                    </a:lnTo>
                    <a:lnTo>
                      <a:pt x="50697" y="3439"/>
                    </a:lnTo>
                    <a:lnTo>
                      <a:pt x="53607" y="3703"/>
                    </a:lnTo>
                    <a:lnTo>
                      <a:pt x="55987" y="4320"/>
                    </a:lnTo>
                    <a:lnTo>
                      <a:pt x="58015" y="4937"/>
                    </a:lnTo>
                    <a:lnTo>
                      <a:pt x="57750" y="5819"/>
                    </a:lnTo>
                    <a:lnTo>
                      <a:pt x="60395" y="5819"/>
                    </a:lnTo>
                    <a:lnTo>
                      <a:pt x="61013" y="4937"/>
                    </a:lnTo>
                    <a:lnTo>
                      <a:pt x="61894" y="5555"/>
                    </a:lnTo>
                    <a:lnTo>
                      <a:pt x="62511" y="6172"/>
                    </a:lnTo>
                    <a:lnTo>
                      <a:pt x="63658" y="5907"/>
                    </a:lnTo>
                    <a:lnTo>
                      <a:pt x="64804" y="5643"/>
                    </a:lnTo>
                    <a:lnTo>
                      <a:pt x="66832" y="5907"/>
                    </a:lnTo>
                    <a:lnTo>
                      <a:pt x="67714" y="6525"/>
                    </a:lnTo>
                    <a:lnTo>
                      <a:pt x="68859" y="6789"/>
                    </a:lnTo>
                    <a:lnTo>
                      <a:pt x="69477" y="6525"/>
                    </a:lnTo>
                    <a:lnTo>
                      <a:pt x="70358" y="6525"/>
                    </a:lnTo>
                    <a:lnTo>
                      <a:pt x="70976" y="6525"/>
                    </a:lnTo>
                    <a:lnTo>
                      <a:pt x="71593" y="7142"/>
                    </a:lnTo>
                    <a:lnTo>
                      <a:pt x="72474" y="8288"/>
                    </a:lnTo>
                    <a:lnTo>
                      <a:pt x="72210" y="8905"/>
                    </a:lnTo>
                    <a:lnTo>
                      <a:pt x="73356" y="9169"/>
                    </a:lnTo>
                    <a:lnTo>
                      <a:pt x="73356" y="10316"/>
                    </a:lnTo>
                    <a:lnTo>
                      <a:pt x="73356" y="11197"/>
                    </a:lnTo>
                    <a:lnTo>
                      <a:pt x="73621" y="12079"/>
                    </a:lnTo>
                    <a:lnTo>
                      <a:pt x="72474" y="12696"/>
                    </a:lnTo>
                    <a:lnTo>
                      <a:pt x="71857" y="13578"/>
                    </a:lnTo>
                    <a:lnTo>
                      <a:pt x="70711" y="13842"/>
                    </a:lnTo>
                    <a:lnTo>
                      <a:pt x="69829" y="13842"/>
                    </a:lnTo>
                    <a:lnTo>
                      <a:pt x="70711" y="14724"/>
                    </a:lnTo>
                    <a:lnTo>
                      <a:pt x="71328" y="14460"/>
                    </a:lnTo>
                    <a:lnTo>
                      <a:pt x="72827" y="14724"/>
                    </a:lnTo>
                    <a:lnTo>
                      <a:pt x="73444" y="13842"/>
                    </a:lnTo>
                    <a:lnTo>
                      <a:pt x="74943" y="13578"/>
                    </a:lnTo>
                    <a:lnTo>
                      <a:pt x="75472" y="13578"/>
                    </a:lnTo>
                    <a:lnTo>
                      <a:pt x="74943" y="14195"/>
                    </a:lnTo>
                    <a:lnTo>
                      <a:pt x="75472" y="14812"/>
                    </a:lnTo>
                    <a:lnTo>
                      <a:pt x="74943" y="15958"/>
                    </a:lnTo>
                    <a:lnTo>
                      <a:pt x="75208" y="17105"/>
                    </a:lnTo>
                    <a:lnTo>
                      <a:pt x="75825" y="16487"/>
                    </a:lnTo>
                    <a:lnTo>
                      <a:pt x="76707" y="15958"/>
                    </a:lnTo>
                    <a:lnTo>
                      <a:pt x="76707" y="15341"/>
                    </a:lnTo>
                    <a:lnTo>
                      <a:pt x="77588" y="14724"/>
                    </a:lnTo>
                    <a:lnTo>
                      <a:pt x="77853" y="14724"/>
                    </a:lnTo>
                    <a:lnTo>
                      <a:pt x="78470" y="14724"/>
                    </a:lnTo>
                    <a:lnTo>
                      <a:pt x="79616" y="14107"/>
                    </a:lnTo>
                    <a:lnTo>
                      <a:pt x="80498" y="14107"/>
                    </a:lnTo>
                    <a:lnTo>
                      <a:pt x="82261" y="14371"/>
                    </a:lnTo>
                    <a:lnTo>
                      <a:pt x="82526" y="15253"/>
                    </a:lnTo>
                    <a:lnTo>
                      <a:pt x="83143" y="16135"/>
                    </a:lnTo>
                    <a:lnTo>
                      <a:pt x="84906" y="17016"/>
                    </a:lnTo>
                    <a:lnTo>
                      <a:pt x="85788" y="17898"/>
                    </a:lnTo>
                    <a:lnTo>
                      <a:pt x="86934" y="17369"/>
                    </a:lnTo>
                    <a:lnTo>
                      <a:pt x="88433" y="17105"/>
                    </a:lnTo>
                    <a:lnTo>
                      <a:pt x="90196" y="15958"/>
                    </a:lnTo>
                    <a:lnTo>
                      <a:pt x="91607" y="16223"/>
                    </a:lnTo>
                    <a:lnTo>
                      <a:pt x="92224" y="15958"/>
                    </a:lnTo>
                    <a:lnTo>
                      <a:pt x="93106" y="15958"/>
                    </a:lnTo>
                    <a:lnTo>
                      <a:pt x="92841" y="16487"/>
                    </a:lnTo>
                    <a:lnTo>
                      <a:pt x="93106" y="17986"/>
                    </a:lnTo>
                    <a:lnTo>
                      <a:pt x="93370" y="19750"/>
                    </a:lnTo>
                    <a:lnTo>
                      <a:pt x="93106" y="20896"/>
                    </a:lnTo>
                    <a:lnTo>
                      <a:pt x="92224" y="21778"/>
                    </a:lnTo>
                    <a:lnTo>
                      <a:pt x="90725" y="22042"/>
                    </a:lnTo>
                    <a:lnTo>
                      <a:pt x="89579" y="22924"/>
                    </a:lnTo>
                    <a:lnTo>
                      <a:pt x="88433" y="23188"/>
                    </a:lnTo>
                    <a:lnTo>
                      <a:pt x="87551" y="23805"/>
                    </a:lnTo>
                    <a:lnTo>
                      <a:pt x="87904" y="24952"/>
                    </a:lnTo>
                    <a:lnTo>
                      <a:pt x="89050" y="25216"/>
                    </a:lnTo>
                    <a:lnTo>
                      <a:pt x="89932" y="25481"/>
                    </a:lnTo>
                    <a:lnTo>
                      <a:pt x="89932" y="26362"/>
                    </a:lnTo>
                    <a:lnTo>
                      <a:pt x="89315" y="27508"/>
                    </a:lnTo>
                    <a:lnTo>
                      <a:pt x="90196" y="26627"/>
                    </a:lnTo>
                    <a:lnTo>
                      <a:pt x="90461" y="26010"/>
                    </a:lnTo>
                    <a:lnTo>
                      <a:pt x="91960" y="25128"/>
                    </a:lnTo>
                    <a:lnTo>
                      <a:pt x="93723" y="24511"/>
                    </a:lnTo>
                    <a:lnTo>
                      <a:pt x="95487" y="24511"/>
                    </a:lnTo>
                    <a:lnTo>
                      <a:pt x="96104" y="24775"/>
                    </a:lnTo>
                    <a:lnTo>
                      <a:pt x="96985" y="24511"/>
                    </a:lnTo>
                    <a:lnTo>
                      <a:pt x="97867" y="25393"/>
                    </a:lnTo>
                    <a:lnTo>
                      <a:pt x="99278" y="25657"/>
                    </a:lnTo>
                    <a:lnTo>
                      <a:pt x="101041" y="26274"/>
                    </a:lnTo>
                    <a:lnTo>
                      <a:pt x="101041" y="25657"/>
                    </a:lnTo>
                    <a:lnTo>
                      <a:pt x="101658" y="24775"/>
                    </a:lnTo>
                    <a:lnTo>
                      <a:pt x="101923" y="24158"/>
                    </a:lnTo>
                    <a:lnTo>
                      <a:pt x="102804" y="23012"/>
                    </a:lnTo>
                    <a:lnTo>
                      <a:pt x="103686" y="23276"/>
                    </a:lnTo>
                    <a:lnTo>
                      <a:pt x="103686" y="22395"/>
                    </a:lnTo>
                    <a:lnTo>
                      <a:pt x="104303" y="21249"/>
                    </a:lnTo>
                    <a:lnTo>
                      <a:pt x="106596" y="19750"/>
                    </a:lnTo>
                    <a:lnTo>
                      <a:pt x="108624" y="19133"/>
                    </a:lnTo>
                    <a:lnTo>
                      <a:pt x="109770" y="18868"/>
                    </a:lnTo>
                    <a:lnTo>
                      <a:pt x="110651" y="19750"/>
                    </a:lnTo>
                    <a:lnTo>
                      <a:pt x="111533" y="20014"/>
                    </a:lnTo>
                    <a:lnTo>
                      <a:pt x="112415" y="21160"/>
                    </a:lnTo>
                    <a:lnTo>
                      <a:pt x="112679" y="21778"/>
                    </a:lnTo>
                    <a:lnTo>
                      <a:pt x="112415" y="20631"/>
                    </a:lnTo>
                    <a:lnTo>
                      <a:pt x="113296" y="20014"/>
                    </a:lnTo>
                    <a:lnTo>
                      <a:pt x="114443" y="19133"/>
                    </a:lnTo>
                    <a:lnTo>
                      <a:pt x="115942" y="18515"/>
                    </a:lnTo>
                    <a:lnTo>
                      <a:pt x="116559" y="17634"/>
                    </a:lnTo>
                    <a:lnTo>
                      <a:pt x="118058" y="15870"/>
                    </a:lnTo>
                    <a:lnTo>
                      <a:pt x="117793" y="15870"/>
                    </a:lnTo>
                    <a:lnTo>
                      <a:pt x="117793" y="15606"/>
                    </a:lnTo>
                    <a:lnTo>
                      <a:pt x="118675" y="14724"/>
                    </a:lnTo>
                    <a:lnTo>
                      <a:pt x="118939" y="13842"/>
                    </a:lnTo>
                    <a:lnTo>
                      <a:pt x="119556" y="13578"/>
                    </a:lnTo>
                    <a:lnTo>
                      <a:pt x="119821" y="14107"/>
                    </a:lnTo>
                    <a:lnTo>
                      <a:pt x="122731" y="14371"/>
                    </a:lnTo>
                    <a:lnTo>
                      <a:pt x="123612" y="14107"/>
                    </a:lnTo>
                    <a:lnTo>
                      <a:pt x="124229" y="14371"/>
                    </a:lnTo>
                    <a:lnTo>
                      <a:pt x="125111" y="14371"/>
                    </a:lnTo>
                    <a:lnTo>
                      <a:pt x="125993" y="14107"/>
                    </a:lnTo>
                    <a:lnTo>
                      <a:pt x="126610" y="14107"/>
                    </a:lnTo>
                    <a:lnTo>
                      <a:pt x="126874" y="14724"/>
                    </a:lnTo>
                    <a:lnTo>
                      <a:pt x="126874" y="15077"/>
                    </a:lnTo>
                    <a:lnTo>
                      <a:pt x="126610" y="15341"/>
                    </a:lnTo>
                    <a:lnTo>
                      <a:pt x="124846" y="15077"/>
                    </a:lnTo>
                    <a:lnTo>
                      <a:pt x="123700" y="15077"/>
                    </a:lnTo>
                    <a:lnTo>
                      <a:pt x="122819" y="14724"/>
                    </a:lnTo>
                    <a:lnTo>
                      <a:pt x="122202" y="15341"/>
                    </a:lnTo>
                    <a:lnTo>
                      <a:pt x="121584" y="15341"/>
                    </a:lnTo>
                    <a:lnTo>
                      <a:pt x="121320" y="15077"/>
                    </a:lnTo>
                    <a:lnTo>
                      <a:pt x="120174" y="15341"/>
                    </a:lnTo>
                    <a:lnTo>
                      <a:pt x="119027" y="15606"/>
                    </a:lnTo>
                    <a:lnTo>
                      <a:pt x="118146" y="16135"/>
                    </a:lnTo>
                    <a:lnTo>
                      <a:pt x="117529" y="16752"/>
                    </a:lnTo>
                    <a:lnTo>
                      <a:pt x="117000" y="17898"/>
                    </a:lnTo>
                    <a:lnTo>
                      <a:pt x="117264" y="18515"/>
                    </a:lnTo>
                    <a:lnTo>
                      <a:pt x="117529" y="18868"/>
                    </a:lnTo>
                    <a:lnTo>
                      <a:pt x="118146" y="19133"/>
                    </a:lnTo>
                    <a:lnTo>
                      <a:pt x="118410" y="19397"/>
                    </a:lnTo>
                    <a:lnTo>
                      <a:pt x="118675" y="18868"/>
                    </a:lnTo>
                    <a:lnTo>
                      <a:pt x="117793" y="18515"/>
                    </a:lnTo>
                    <a:lnTo>
                      <a:pt x="118058" y="17634"/>
                    </a:lnTo>
                    <a:lnTo>
                      <a:pt x="119204" y="17105"/>
                    </a:lnTo>
                    <a:lnTo>
                      <a:pt x="120085" y="16487"/>
                    </a:lnTo>
                    <a:lnTo>
                      <a:pt x="121584" y="15870"/>
                    </a:lnTo>
                    <a:lnTo>
                      <a:pt x="123877" y="16135"/>
                    </a:lnTo>
                    <a:lnTo>
                      <a:pt x="125287" y="15870"/>
                    </a:lnTo>
                    <a:lnTo>
                      <a:pt x="127668" y="15606"/>
                    </a:lnTo>
                    <a:lnTo>
                      <a:pt x="128550" y="15606"/>
                    </a:lnTo>
                    <a:lnTo>
                      <a:pt x="129696" y="15606"/>
                    </a:lnTo>
                    <a:lnTo>
                      <a:pt x="129431" y="16487"/>
                    </a:lnTo>
                    <a:lnTo>
                      <a:pt x="130577" y="18515"/>
                    </a:lnTo>
                    <a:lnTo>
                      <a:pt x="131724" y="18868"/>
                    </a:lnTo>
                    <a:lnTo>
                      <a:pt x="132341" y="19133"/>
                    </a:lnTo>
                    <a:lnTo>
                      <a:pt x="133840" y="19133"/>
                    </a:lnTo>
                    <a:lnTo>
                      <a:pt x="134457" y="19397"/>
                    </a:lnTo>
                    <a:lnTo>
                      <a:pt x="134986" y="19662"/>
                    </a:lnTo>
                    <a:lnTo>
                      <a:pt x="134721" y="20279"/>
                    </a:lnTo>
                    <a:lnTo>
                      <a:pt x="135603" y="20543"/>
                    </a:lnTo>
                    <a:lnTo>
                      <a:pt x="136220" y="21425"/>
                    </a:lnTo>
                    <a:lnTo>
                      <a:pt x="136838" y="22042"/>
                    </a:lnTo>
                    <a:lnTo>
                      <a:pt x="137366" y="22307"/>
                    </a:lnTo>
                    <a:lnTo>
                      <a:pt x="137631" y="22924"/>
                    </a:lnTo>
                    <a:lnTo>
                      <a:pt x="137895" y="22042"/>
                    </a:lnTo>
                    <a:lnTo>
                      <a:pt x="138513" y="21778"/>
                    </a:lnTo>
                    <a:lnTo>
                      <a:pt x="139394" y="21778"/>
                    </a:lnTo>
                    <a:lnTo>
                      <a:pt x="141158" y="21513"/>
                    </a:lnTo>
                    <a:lnTo>
                      <a:pt x="142039" y="20631"/>
                    </a:lnTo>
                    <a:lnTo>
                      <a:pt x="142657" y="21249"/>
                    </a:lnTo>
                    <a:lnTo>
                      <a:pt x="143186" y="22130"/>
                    </a:lnTo>
                    <a:lnTo>
                      <a:pt x="143803" y="23012"/>
                    </a:lnTo>
                    <a:lnTo>
                      <a:pt x="143538" y="23894"/>
                    </a:lnTo>
                    <a:lnTo>
                      <a:pt x="144420" y="24775"/>
                    </a:lnTo>
                    <a:lnTo>
                      <a:pt x="145831" y="24775"/>
                    </a:lnTo>
                    <a:lnTo>
                      <a:pt x="148740" y="25922"/>
                    </a:lnTo>
                    <a:lnTo>
                      <a:pt x="150503" y="26539"/>
                    </a:lnTo>
                    <a:lnTo>
                      <a:pt x="149005" y="26803"/>
                    </a:lnTo>
                    <a:lnTo>
                      <a:pt x="147241" y="26539"/>
                    </a:lnTo>
                    <a:lnTo>
                      <a:pt x="145478" y="27420"/>
                    </a:lnTo>
                    <a:lnTo>
                      <a:pt x="143979" y="28567"/>
                    </a:lnTo>
                    <a:lnTo>
                      <a:pt x="144861" y="28831"/>
                    </a:lnTo>
                    <a:lnTo>
                      <a:pt x="146360" y="29096"/>
                    </a:lnTo>
                    <a:lnTo>
                      <a:pt x="153325" y="30859"/>
                    </a:lnTo>
                    <a:lnTo>
                      <a:pt x="153589" y="31741"/>
                    </a:lnTo>
                    <a:lnTo>
                      <a:pt x="154736" y="33504"/>
                    </a:lnTo>
                    <a:lnTo>
                      <a:pt x="154736" y="34650"/>
                    </a:lnTo>
                    <a:lnTo>
                      <a:pt x="155000" y="37295"/>
                    </a:lnTo>
                    <a:lnTo>
                      <a:pt x="157292" y="39323"/>
                    </a:lnTo>
                    <a:lnTo>
                      <a:pt x="158174" y="41704"/>
                    </a:lnTo>
                    <a:lnTo>
                      <a:pt x="157028" y="43731"/>
                    </a:lnTo>
                    <a:lnTo>
                      <a:pt x="156763" y="44878"/>
                    </a:lnTo>
                    <a:lnTo>
                      <a:pt x="156146" y="47258"/>
                    </a:lnTo>
                    <a:lnTo>
                      <a:pt x="153501" y="48140"/>
                    </a:lnTo>
                    <a:lnTo>
                      <a:pt x="152884" y="51314"/>
                    </a:lnTo>
                    <a:lnTo>
                      <a:pt x="153766" y="51931"/>
                    </a:lnTo>
                    <a:lnTo>
                      <a:pt x="154647" y="53077"/>
                    </a:lnTo>
                    <a:lnTo>
                      <a:pt x="156411" y="54224"/>
                    </a:lnTo>
                    <a:lnTo>
                      <a:pt x="156411" y="54752"/>
                    </a:lnTo>
                    <a:lnTo>
                      <a:pt x="159320" y="56251"/>
                    </a:lnTo>
                    <a:lnTo>
                      <a:pt x="162847" y="57133"/>
                    </a:lnTo>
                    <a:lnTo>
                      <a:pt x="163729" y="59161"/>
                    </a:lnTo>
                    <a:lnTo>
                      <a:pt x="163112" y="59778"/>
                    </a:lnTo>
                    <a:lnTo>
                      <a:pt x="162847" y="60660"/>
                    </a:lnTo>
                    <a:lnTo>
                      <a:pt x="162318" y="61541"/>
                    </a:lnTo>
                    <a:lnTo>
                      <a:pt x="161436" y="62070"/>
                    </a:lnTo>
                    <a:lnTo>
                      <a:pt x="162054" y="63217"/>
                    </a:lnTo>
                    <a:lnTo>
                      <a:pt x="163200" y="64627"/>
                    </a:lnTo>
                    <a:lnTo>
                      <a:pt x="165228" y="66391"/>
                    </a:lnTo>
                    <a:lnTo>
                      <a:pt x="164610" y="69917"/>
                    </a:lnTo>
                    <a:lnTo>
                      <a:pt x="165492" y="70447"/>
                    </a:lnTo>
                    <a:lnTo>
                      <a:pt x="166109" y="71945"/>
                    </a:lnTo>
                    <a:lnTo>
                      <a:pt x="165492" y="73709"/>
                    </a:lnTo>
                    <a:lnTo>
                      <a:pt x="165228" y="74855"/>
                    </a:lnTo>
                    <a:lnTo>
                      <a:pt x="164346" y="75472"/>
                    </a:lnTo>
                    <a:lnTo>
                      <a:pt x="164610" y="76883"/>
                    </a:lnTo>
                    <a:lnTo>
                      <a:pt x="165228" y="77764"/>
                    </a:lnTo>
                    <a:lnTo>
                      <a:pt x="165492" y="78911"/>
                    </a:lnTo>
                    <a:lnTo>
                      <a:pt x="166374" y="79528"/>
                    </a:lnTo>
                    <a:lnTo>
                      <a:pt x="167784" y="81820"/>
                    </a:lnTo>
                    <a:lnTo>
                      <a:pt x="168931" y="82437"/>
                    </a:lnTo>
                    <a:lnTo>
                      <a:pt x="170959" y="83584"/>
                    </a:lnTo>
                    <a:lnTo>
                      <a:pt x="171576" y="86229"/>
                    </a:lnTo>
                    <a:lnTo>
                      <a:pt x="173075" y="87992"/>
                    </a:lnTo>
                    <a:lnTo>
                      <a:pt x="172457" y="90373"/>
                    </a:lnTo>
                    <a:lnTo>
                      <a:pt x="171311" y="93899"/>
                    </a:lnTo>
                    <a:lnTo>
                      <a:pt x="170430" y="97426"/>
                    </a:lnTo>
                    <a:lnTo>
                      <a:pt x="169548" y="98837"/>
                    </a:lnTo>
                    <a:lnTo>
                      <a:pt x="169812" y="99718"/>
                    </a:lnTo>
                    <a:lnTo>
                      <a:pt x="169548" y="100336"/>
                    </a:lnTo>
                    <a:lnTo>
                      <a:pt x="167784" y="100600"/>
                    </a:lnTo>
                    <a:lnTo>
                      <a:pt x="166638" y="99718"/>
                    </a:lnTo>
                    <a:lnTo>
                      <a:pt x="166903" y="97426"/>
                    </a:lnTo>
                    <a:lnTo>
                      <a:pt x="166021" y="97162"/>
                    </a:lnTo>
                    <a:lnTo>
                      <a:pt x="166021" y="96280"/>
                    </a:lnTo>
                    <a:lnTo>
                      <a:pt x="165404" y="96544"/>
                    </a:lnTo>
                    <a:lnTo>
                      <a:pt x="163024" y="96015"/>
                    </a:lnTo>
                    <a:lnTo>
                      <a:pt x="162495" y="95486"/>
                    </a:lnTo>
                    <a:lnTo>
                      <a:pt x="162230" y="96368"/>
                    </a:lnTo>
                    <a:lnTo>
                      <a:pt x="159849" y="94869"/>
                    </a:lnTo>
                    <a:lnTo>
                      <a:pt x="158968" y="95751"/>
                    </a:lnTo>
                    <a:lnTo>
                      <a:pt x="159849" y="96368"/>
                    </a:lnTo>
                    <a:lnTo>
                      <a:pt x="160114" y="96985"/>
                    </a:lnTo>
                    <a:lnTo>
                      <a:pt x="160114" y="97602"/>
                    </a:lnTo>
                    <a:lnTo>
                      <a:pt x="161260" y="97867"/>
                    </a:lnTo>
                    <a:lnTo>
                      <a:pt x="161877" y="98749"/>
                    </a:lnTo>
                    <a:lnTo>
                      <a:pt x="158968" y="99013"/>
                    </a:lnTo>
                    <a:lnTo>
                      <a:pt x="156940" y="99895"/>
                    </a:lnTo>
                    <a:lnTo>
                      <a:pt x="155794" y="100776"/>
                    </a:lnTo>
                    <a:lnTo>
                      <a:pt x="154030" y="101041"/>
                    </a:lnTo>
                    <a:lnTo>
                      <a:pt x="153766" y="100776"/>
                    </a:lnTo>
                    <a:lnTo>
                      <a:pt x="153148" y="101041"/>
                    </a:lnTo>
                    <a:lnTo>
                      <a:pt x="152531" y="101041"/>
                    </a:lnTo>
                    <a:lnTo>
                      <a:pt x="152267" y="102540"/>
                    </a:lnTo>
                    <a:lnTo>
                      <a:pt x="151385" y="103069"/>
                    </a:lnTo>
                    <a:lnTo>
                      <a:pt x="149975" y="103069"/>
                    </a:lnTo>
                    <a:lnTo>
                      <a:pt x="144684" y="103333"/>
                    </a:lnTo>
                    <a:lnTo>
                      <a:pt x="144420" y="103686"/>
                    </a:lnTo>
                    <a:lnTo>
                      <a:pt x="145037" y="104215"/>
                    </a:lnTo>
                    <a:lnTo>
                      <a:pt x="144420" y="104744"/>
                    </a:lnTo>
                    <a:lnTo>
                      <a:pt x="144420" y="105361"/>
                    </a:lnTo>
                    <a:lnTo>
                      <a:pt x="144420" y="105978"/>
                    </a:lnTo>
                    <a:lnTo>
                      <a:pt x="144155" y="105361"/>
                    </a:lnTo>
                    <a:lnTo>
                      <a:pt x="142127" y="105978"/>
                    </a:lnTo>
                    <a:lnTo>
                      <a:pt x="141246" y="106860"/>
                    </a:lnTo>
                    <a:lnTo>
                      <a:pt x="140629" y="106860"/>
                    </a:lnTo>
                    <a:lnTo>
                      <a:pt x="139218" y="108623"/>
                    </a:lnTo>
                    <a:lnTo>
                      <a:pt x="138601" y="108359"/>
                    </a:lnTo>
                    <a:lnTo>
                      <a:pt x="135956" y="109241"/>
                    </a:lnTo>
                    <a:lnTo>
                      <a:pt x="135339" y="110387"/>
                    </a:lnTo>
                    <a:lnTo>
                      <a:pt x="135074" y="110651"/>
                    </a:lnTo>
                    <a:lnTo>
                      <a:pt x="134810" y="110916"/>
                    </a:lnTo>
                    <a:lnTo>
                      <a:pt x="132429" y="110299"/>
                    </a:lnTo>
                    <a:lnTo>
                      <a:pt x="131812" y="110299"/>
                    </a:lnTo>
                    <a:lnTo>
                      <a:pt x="128902" y="110916"/>
                    </a:lnTo>
                    <a:lnTo>
                      <a:pt x="125993" y="110916"/>
                    </a:lnTo>
                    <a:lnTo>
                      <a:pt x="125728" y="111533"/>
                    </a:lnTo>
                    <a:lnTo>
                      <a:pt x="125728" y="112150"/>
                    </a:lnTo>
                    <a:lnTo>
                      <a:pt x="124582" y="113032"/>
                    </a:lnTo>
                    <a:lnTo>
                      <a:pt x="124582" y="113296"/>
                    </a:lnTo>
                    <a:lnTo>
                      <a:pt x="123083" y="114178"/>
                    </a:lnTo>
                    <a:lnTo>
                      <a:pt x="122466" y="114443"/>
                    </a:lnTo>
                    <a:lnTo>
                      <a:pt x="121849" y="114443"/>
                    </a:lnTo>
                    <a:lnTo>
                      <a:pt x="121584" y="114178"/>
                    </a:lnTo>
                    <a:lnTo>
                      <a:pt x="120438" y="113561"/>
                    </a:lnTo>
                    <a:lnTo>
                      <a:pt x="119556" y="112944"/>
                    </a:lnTo>
                    <a:lnTo>
                      <a:pt x="118939" y="112944"/>
                    </a:lnTo>
                    <a:lnTo>
                      <a:pt x="118939" y="113561"/>
                    </a:lnTo>
                    <a:lnTo>
                      <a:pt x="118939" y="114178"/>
                    </a:lnTo>
                    <a:lnTo>
                      <a:pt x="119204" y="114443"/>
                    </a:lnTo>
                    <a:lnTo>
                      <a:pt x="119821" y="115941"/>
                    </a:lnTo>
                    <a:lnTo>
                      <a:pt x="120438" y="116206"/>
                    </a:lnTo>
                    <a:lnTo>
                      <a:pt x="119821" y="117088"/>
                    </a:lnTo>
                    <a:lnTo>
                      <a:pt x="120438" y="118234"/>
                    </a:lnTo>
                    <a:lnTo>
                      <a:pt x="122202" y="118498"/>
                    </a:lnTo>
                    <a:lnTo>
                      <a:pt x="122819" y="119115"/>
                    </a:lnTo>
                    <a:lnTo>
                      <a:pt x="122819" y="119733"/>
                    </a:lnTo>
                    <a:lnTo>
                      <a:pt x="125993" y="120879"/>
                    </a:lnTo>
                    <a:lnTo>
                      <a:pt x="126257" y="121143"/>
                    </a:lnTo>
                    <a:lnTo>
                      <a:pt x="126522" y="121408"/>
                    </a:lnTo>
                    <a:lnTo>
                      <a:pt x="126257" y="122025"/>
                    </a:lnTo>
                    <a:lnTo>
                      <a:pt x="127139" y="122642"/>
                    </a:lnTo>
                    <a:lnTo>
                      <a:pt x="126610" y="124670"/>
                    </a:lnTo>
                    <a:lnTo>
                      <a:pt x="126610" y="126169"/>
                    </a:lnTo>
                    <a:lnTo>
                      <a:pt x="125993" y="126433"/>
                    </a:lnTo>
                    <a:lnTo>
                      <a:pt x="125728" y="127580"/>
                    </a:lnTo>
                    <a:lnTo>
                      <a:pt x="126874" y="128197"/>
                    </a:lnTo>
                    <a:lnTo>
                      <a:pt x="126874" y="128726"/>
                    </a:lnTo>
                    <a:lnTo>
                      <a:pt x="126874" y="129872"/>
                    </a:lnTo>
                    <a:lnTo>
                      <a:pt x="129255" y="130754"/>
                    </a:lnTo>
                    <a:lnTo>
                      <a:pt x="130137" y="131900"/>
                    </a:lnTo>
                    <a:lnTo>
                      <a:pt x="130401" y="132164"/>
                    </a:lnTo>
                    <a:lnTo>
                      <a:pt x="131018" y="133311"/>
                    </a:lnTo>
                    <a:lnTo>
                      <a:pt x="130754" y="134192"/>
                    </a:lnTo>
                    <a:lnTo>
                      <a:pt x="133663" y="134457"/>
                    </a:lnTo>
                    <a:lnTo>
                      <a:pt x="134545" y="135956"/>
                    </a:lnTo>
                    <a:lnTo>
                      <a:pt x="135162" y="135956"/>
                    </a:lnTo>
                    <a:lnTo>
                      <a:pt x="137190" y="135956"/>
                    </a:lnTo>
                    <a:lnTo>
                      <a:pt x="137807" y="137102"/>
                    </a:lnTo>
                    <a:lnTo>
                      <a:pt x="138072" y="137719"/>
                    </a:lnTo>
                    <a:lnTo>
                      <a:pt x="139571" y="138336"/>
                    </a:lnTo>
                    <a:lnTo>
                      <a:pt x="140452" y="139835"/>
                    </a:lnTo>
                    <a:lnTo>
                      <a:pt x="141069" y="140981"/>
                    </a:lnTo>
                    <a:lnTo>
                      <a:pt x="141069" y="141598"/>
                    </a:lnTo>
                    <a:lnTo>
                      <a:pt x="143979" y="142480"/>
                    </a:lnTo>
                    <a:lnTo>
                      <a:pt x="146360" y="143626"/>
                    </a:lnTo>
                    <a:lnTo>
                      <a:pt x="146360" y="145919"/>
                    </a:lnTo>
                    <a:lnTo>
                      <a:pt x="147506" y="146536"/>
                    </a:lnTo>
                    <a:lnTo>
                      <a:pt x="147770" y="145919"/>
                    </a:lnTo>
                    <a:lnTo>
                      <a:pt x="151561" y="146536"/>
                    </a:lnTo>
                    <a:lnTo>
                      <a:pt x="151826" y="147153"/>
                    </a:lnTo>
                    <a:lnTo>
                      <a:pt x="151826" y="147770"/>
                    </a:lnTo>
                    <a:lnTo>
                      <a:pt x="152179" y="147770"/>
                    </a:lnTo>
                    <a:lnTo>
                      <a:pt x="154207" y="150415"/>
                    </a:lnTo>
                    <a:lnTo>
                      <a:pt x="154471" y="151032"/>
                    </a:lnTo>
                    <a:lnTo>
                      <a:pt x="154207" y="151914"/>
                    </a:lnTo>
                    <a:lnTo>
                      <a:pt x="154207" y="153060"/>
                    </a:lnTo>
                    <a:lnTo>
                      <a:pt x="154824" y="154824"/>
                    </a:lnTo>
                    <a:lnTo>
                      <a:pt x="153942" y="155705"/>
                    </a:lnTo>
                    <a:lnTo>
                      <a:pt x="152443" y="156851"/>
                    </a:lnTo>
                    <a:lnTo>
                      <a:pt x="151297" y="156323"/>
                    </a:lnTo>
                    <a:lnTo>
                      <a:pt x="150415" y="155176"/>
                    </a:lnTo>
                    <a:lnTo>
                      <a:pt x="147770" y="154912"/>
                    </a:lnTo>
                    <a:lnTo>
                      <a:pt x="147506" y="154912"/>
                    </a:lnTo>
                    <a:lnTo>
                      <a:pt x="147506" y="155176"/>
                    </a:lnTo>
                    <a:lnTo>
                      <a:pt x="148035" y="156058"/>
                    </a:lnTo>
                    <a:lnTo>
                      <a:pt x="147506" y="157204"/>
                    </a:lnTo>
                    <a:lnTo>
                      <a:pt x="147770" y="158350"/>
                    </a:lnTo>
                    <a:lnTo>
                      <a:pt x="146889" y="159761"/>
                    </a:lnTo>
                    <a:lnTo>
                      <a:pt x="144861" y="161524"/>
                    </a:lnTo>
                    <a:lnTo>
                      <a:pt x="142216" y="161524"/>
                    </a:lnTo>
                    <a:lnTo>
                      <a:pt x="139835" y="162406"/>
                    </a:lnTo>
                    <a:lnTo>
                      <a:pt x="138072" y="163552"/>
                    </a:lnTo>
                    <a:lnTo>
                      <a:pt x="136573" y="164698"/>
                    </a:lnTo>
                    <a:lnTo>
                      <a:pt x="135691" y="164698"/>
                    </a:lnTo>
                    <a:lnTo>
                      <a:pt x="134810" y="166197"/>
                    </a:lnTo>
                    <a:lnTo>
                      <a:pt x="135427" y="167961"/>
                    </a:lnTo>
                    <a:lnTo>
                      <a:pt x="136309" y="169107"/>
                    </a:lnTo>
                    <a:lnTo>
                      <a:pt x="137454" y="169989"/>
                    </a:lnTo>
                    <a:lnTo>
                      <a:pt x="138601" y="171399"/>
                    </a:lnTo>
                    <a:lnTo>
                      <a:pt x="139218" y="172545"/>
                    </a:lnTo>
                    <a:lnTo>
                      <a:pt x="138601" y="174309"/>
                    </a:lnTo>
                    <a:lnTo>
                      <a:pt x="138601" y="174926"/>
                    </a:lnTo>
                    <a:lnTo>
                      <a:pt x="140364" y="175543"/>
                    </a:lnTo>
                    <a:lnTo>
                      <a:pt x="141863" y="176425"/>
                    </a:lnTo>
                    <a:lnTo>
                      <a:pt x="141863" y="177836"/>
                    </a:lnTo>
                    <a:lnTo>
                      <a:pt x="141598" y="178453"/>
                    </a:lnTo>
                    <a:lnTo>
                      <a:pt x="141598" y="179334"/>
                    </a:lnTo>
                    <a:lnTo>
                      <a:pt x="141598" y="180481"/>
                    </a:lnTo>
                    <a:lnTo>
                      <a:pt x="141334" y="180745"/>
                    </a:lnTo>
                    <a:lnTo>
                      <a:pt x="141069" y="181362"/>
                    </a:lnTo>
                    <a:lnTo>
                      <a:pt x="139923" y="181362"/>
                    </a:lnTo>
                    <a:lnTo>
                      <a:pt x="137895" y="180216"/>
                    </a:lnTo>
                    <a:lnTo>
                      <a:pt x="136396" y="179070"/>
                    </a:lnTo>
                    <a:lnTo>
                      <a:pt x="136925" y="177924"/>
                    </a:lnTo>
                    <a:lnTo>
                      <a:pt x="135515" y="176513"/>
                    </a:lnTo>
                    <a:lnTo>
                      <a:pt x="133134" y="176513"/>
                    </a:lnTo>
                    <a:lnTo>
                      <a:pt x="132870" y="177130"/>
                    </a:lnTo>
                    <a:lnTo>
                      <a:pt x="132341" y="177130"/>
                    </a:lnTo>
                    <a:lnTo>
                      <a:pt x="130313" y="177747"/>
                    </a:lnTo>
                    <a:lnTo>
                      <a:pt x="130048" y="177130"/>
                    </a:lnTo>
                    <a:lnTo>
                      <a:pt x="129519" y="176513"/>
                    </a:lnTo>
                    <a:lnTo>
                      <a:pt x="130048" y="175896"/>
                    </a:lnTo>
                    <a:lnTo>
                      <a:pt x="127756" y="176249"/>
                    </a:lnTo>
                    <a:lnTo>
                      <a:pt x="126610" y="175896"/>
                    </a:lnTo>
                    <a:lnTo>
                      <a:pt x="125993" y="176249"/>
                    </a:lnTo>
                    <a:lnTo>
                      <a:pt x="125728" y="176513"/>
                    </a:lnTo>
                    <a:lnTo>
                      <a:pt x="125111" y="177130"/>
                    </a:lnTo>
                    <a:lnTo>
                      <a:pt x="125375" y="177747"/>
                    </a:lnTo>
                    <a:lnTo>
                      <a:pt x="122466" y="177747"/>
                    </a:lnTo>
                    <a:lnTo>
                      <a:pt x="120174" y="178629"/>
                    </a:lnTo>
                    <a:lnTo>
                      <a:pt x="116118" y="178629"/>
                    </a:lnTo>
                    <a:lnTo>
                      <a:pt x="114354" y="179511"/>
                    </a:lnTo>
                    <a:lnTo>
                      <a:pt x="113737" y="179246"/>
                    </a:lnTo>
                    <a:lnTo>
                      <a:pt x="113473" y="179863"/>
                    </a:lnTo>
                    <a:lnTo>
                      <a:pt x="113208" y="181010"/>
                    </a:lnTo>
                    <a:lnTo>
                      <a:pt x="111180" y="180745"/>
                    </a:lnTo>
                    <a:lnTo>
                      <a:pt x="110299" y="181010"/>
                    </a:lnTo>
                    <a:lnTo>
                      <a:pt x="110034" y="181627"/>
                    </a:lnTo>
                    <a:lnTo>
                      <a:pt x="109770" y="182244"/>
                    </a:lnTo>
                    <a:lnTo>
                      <a:pt x="110034" y="182861"/>
                    </a:lnTo>
                    <a:lnTo>
                      <a:pt x="108006" y="183126"/>
                    </a:lnTo>
                    <a:lnTo>
                      <a:pt x="108535" y="184007"/>
                    </a:lnTo>
                    <a:lnTo>
                      <a:pt x="107389" y="184007"/>
                    </a:lnTo>
                    <a:lnTo>
                      <a:pt x="107125" y="183743"/>
                    </a:lnTo>
                    <a:lnTo>
                      <a:pt x="106508" y="183743"/>
                    </a:lnTo>
                    <a:lnTo>
                      <a:pt x="104215" y="184360"/>
                    </a:lnTo>
                    <a:lnTo>
                      <a:pt x="102452" y="184096"/>
                    </a:lnTo>
                    <a:lnTo>
                      <a:pt x="101835" y="183478"/>
                    </a:lnTo>
                    <a:lnTo>
                      <a:pt x="101217" y="181715"/>
                    </a:lnTo>
                    <a:lnTo>
                      <a:pt x="100600" y="181715"/>
                    </a:lnTo>
                    <a:lnTo>
                      <a:pt x="101217" y="181098"/>
                    </a:lnTo>
                    <a:lnTo>
                      <a:pt x="100336" y="180481"/>
                    </a:lnTo>
                    <a:lnTo>
                      <a:pt x="98308" y="181098"/>
                    </a:lnTo>
                    <a:lnTo>
                      <a:pt x="96544" y="179599"/>
                    </a:lnTo>
                    <a:lnTo>
                      <a:pt x="94252" y="179599"/>
                    </a:lnTo>
                    <a:lnTo>
                      <a:pt x="93370" y="180481"/>
                    </a:lnTo>
                    <a:lnTo>
                      <a:pt x="91872" y="180216"/>
                    </a:lnTo>
                    <a:lnTo>
                      <a:pt x="91607" y="180216"/>
                    </a:lnTo>
                    <a:lnTo>
                      <a:pt x="90990" y="180216"/>
                    </a:lnTo>
                    <a:lnTo>
                      <a:pt x="90725" y="180481"/>
                    </a:lnTo>
                    <a:lnTo>
                      <a:pt x="90725" y="181098"/>
                    </a:lnTo>
                    <a:lnTo>
                      <a:pt x="90990" y="181715"/>
                    </a:lnTo>
                    <a:lnTo>
                      <a:pt x="91254" y="183478"/>
                    </a:lnTo>
                    <a:lnTo>
                      <a:pt x="90990" y="184360"/>
                    </a:lnTo>
                    <a:lnTo>
                      <a:pt x="90373" y="184977"/>
                    </a:lnTo>
                    <a:lnTo>
                      <a:pt x="88080" y="186741"/>
                    </a:lnTo>
                    <a:lnTo>
                      <a:pt x="87816" y="187622"/>
                    </a:lnTo>
                    <a:lnTo>
                      <a:pt x="86052" y="187622"/>
                    </a:lnTo>
                    <a:lnTo>
                      <a:pt x="85435" y="186741"/>
                    </a:lnTo>
                    <a:lnTo>
                      <a:pt x="86052" y="186123"/>
                    </a:lnTo>
                    <a:lnTo>
                      <a:pt x="85435" y="185506"/>
                    </a:lnTo>
                    <a:lnTo>
                      <a:pt x="85700" y="184977"/>
                    </a:lnTo>
                    <a:lnTo>
                      <a:pt x="85083" y="184713"/>
                    </a:lnTo>
                    <a:lnTo>
                      <a:pt x="84818" y="184448"/>
                    </a:lnTo>
                    <a:lnTo>
                      <a:pt x="84553" y="184184"/>
                    </a:lnTo>
                    <a:lnTo>
                      <a:pt x="84818" y="183919"/>
                    </a:lnTo>
                    <a:lnTo>
                      <a:pt x="83936" y="181891"/>
                    </a:lnTo>
                    <a:lnTo>
                      <a:pt x="82437" y="181627"/>
                    </a:lnTo>
                    <a:lnTo>
                      <a:pt x="81556" y="180745"/>
                    </a:lnTo>
                    <a:lnTo>
                      <a:pt x="80939" y="180745"/>
                    </a:lnTo>
                    <a:lnTo>
                      <a:pt x="80674" y="180481"/>
                    </a:lnTo>
                    <a:lnTo>
                      <a:pt x="78029" y="180745"/>
                    </a:lnTo>
                    <a:lnTo>
                      <a:pt x="78029" y="180481"/>
                    </a:lnTo>
                    <a:lnTo>
                      <a:pt x="77765" y="180481"/>
                    </a:lnTo>
                    <a:lnTo>
                      <a:pt x="77500" y="180481"/>
                    </a:lnTo>
                    <a:lnTo>
                      <a:pt x="77236" y="180745"/>
                    </a:lnTo>
                    <a:lnTo>
                      <a:pt x="74326" y="180745"/>
                    </a:lnTo>
                    <a:lnTo>
                      <a:pt x="67890" y="177571"/>
                    </a:lnTo>
                    <a:lnTo>
                      <a:pt x="66126" y="178188"/>
                    </a:lnTo>
                    <a:lnTo>
                      <a:pt x="64628" y="177571"/>
                    </a:lnTo>
                    <a:lnTo>
                      <a:pt x="64099" y="176954"/>
                    </a:lnTo>
                    <a:lnTo>
                      <a:pt x="62952" y="177571"/>
                    </a:lnTo>
                    <a:lnTo>
                      <a:pt x="62071" y="178188"/>
                    </a:lnTo>
                    <a:lnTo>
                      <a:pt x="60660" y="177042"/>
                    </a:lnTo>
                    <a:lnTo>
                      <a:pt x="60395" y="176160"/>
                    </a:lnTo>
                    <a:lnTo>
                      <a:pt x="59778" y="176160"/>
                    </a:lnTo>
                    <a:lnTo>
                      <a:pt x="59161" y="176425"/>
                    </a:lnTo>
                    <a:lnTo>
                      <a:pt x="58632" y="176425"/>
                    </a:lnTo>
                    <a:lnTo>
                      <a:pt x="59161" y="177571"/>
                    </a:lnTo>
                    <a:lnTo>
                      <a:pt x="58279" y="177307"/>
                    </a:lnTo>
                    <a:lnTo>
                      <a:pt x="57662" y="177307"/>
                    </a:lnTo>
                    <a:lnTo>
                      <a:pt x="57662" y="177042"/>
                    </a:lnTo>
                    <a:lnTo>
                      <a:pt x="57927" y="175896"/>
                    </a:lnTo>
                    <a:lnTo>
                      <a:pt x="57662" y="175279"/>
                    </a:lnTo>
                    <a:lnTo>
                      <a:pt x="57398" y="175014"/>
                    </a:lnTo>
                    <a:lnTo>
                      <a:pt x="56251" y="174750"/>
                    </a:lnTo>
                    <a:lnTo>
                      <a:pt x="55370" y="174750"/>
                    </a:lnTo>
                    <a:lnTo>
                      <a:pt x="54224" y="174750"/>
                    </a:lnTo>
                    <a:lnTo>
                      <a:pt x="52813" y="175367"/>
                    </a:lnTo>
                    <a:lnTo>
                      <a:pt x="51314" y="177130"/>
                    </a:lnTo>
                    <a:lnTo>
                      <a:pt x="51579" y="177747"/>
                    </a:lnTo>
                    <a:lnTo>
                      <a:pt x="52725" y="178629"/>
                    </a:lnTo>
                    <a:lnTo>
                      <a:pt x="53607" y="178629"/>
                    </a:lnTo>
                    <a:lnTo>
                      <a:pt x="54224" y="178012"/>
                    </a:lnTo>
                    <a:lnTo>
                      <a:pt x="55370" y="178012"/>
                    </a:lnTo>
                    <a:lnTo>
                      <a:pt x="55987" y="178276"/>
                    </a:lnTo>
                    <a:lnTo>
                      <a:pt x="55105" y="179423"/>
                    </a:lnTo>
                    <a:lnTo>
                      <a:pt x="54841" y="179687"/>
                    </a:lnTo>
                    <a:lnTo>
                      <a:pt x="54576" y="179070"/>
                    </a:lnTo>
                    <a:lnTo>
                      <a:pt x="53695" y="178805"/>
                    </a:lnTo>
                    <a:lnTo>
                      <a:pt x="53166" y="179334"/>
                    </a:lnTo>
                    <a:lnTo>
                      <a:pt x="52284" y="180216"/>
                    </a:lnTo>
                    <a:lnTo>
                      <a:pt x="51402" y="179952"/>
                    </a:lnTo>
                    <a:lnTo>
                      <a:pt x="49374" y="179334"/>
                    </a:lnTo>
                    <a:lnTo>
                      <a:pt x="47876" y="179070"/>
                    </a:lnTo>
                    <a:lnTo>
                      <a:pt x="45583" y="179952"/>
                    </a:lnTo>
                    <a:lnTo>
                      <a:pt x="43820" y="180569"/>
                    </a:lnTo>
                    <a:lnTo>
                      <a:pt x="41792" y="180569"/>
                    </a:lnTo>
                    <a:lnTo>
                      <a:pt x="41263" y="180569"/>
                    </a:lnTo>
                    <a:lnTo>
                      <a:pt x="39500" y="180833"/>
                    </a:lnTo>
                    <a:lnTo>
                      <a:pt x="38089" y="180833"/>
                    </a:lnTo>
                    <a:lnTo>
                      <a:pt x="37207" y="180833"/>
                    </a:lnTo>
                    <a:lnTo>
                      <a:pt x="36590" y="180569"/>
                    </a:lnTo>
                    <a:lnTo>
                      <a:pt x="37472" y="180304"/>
                    </a:lnTo>
                    <a:lnTo>
                      <a:pt x="37472" y="179687"/>
                    </a:lnTo>
                    <a:lnTo>
                      <a:pt x="37472" y="179423"/>
                    </a:lnTo>
                    <a:lnTo>
                      <a:pt x="36943" y="179423"/>
                    </a:lnTo>
                    <a:lnTo>
                      <a:pt x="35796" y="180040"/>
                    </a:lnTo>
                    <a:lnTo>
                      <a:pt x="35532" y="180040"/>
                    </a:lnTo>
                    <a:lnTo>
                      <a:pt x="34915" y="179158"/>
                    </a:lnTo>
                    <a:lnTo>
                      <a:pt x="34298" y="178012"/>
                    </a:lnTo>
                    <a:lnTo>
                      <a:pt x="34298" y="176866"/>
                    </a:lnTo>
                    <a:lnTo>
                      <a:pt x="34915" y="175984"/>
                    </a:lnTo>
                    <a:lnTo>
                      <a:pt x="34650" y="175102"/>
                    </a:lnTo>
                    <a:lnTo>
                      <a:pt x="35267" y="173604"/>
                    </a:lnTo>
                    <a:lnTo>
                      <a:pt x="34650" y="172457"/>
                    </a:lnTo>
                    <a:lnTo>
                      <a:pt x="35267" y="170958"/>
                    </a:lnTo>
                    <a:lnTo>
                      <a:pt x="35003" y="168931"/>
                    </a:lnTo>
                    <a:lnTo>
                      <a:pt x="35003" y="167167"/>
                    </a:lnTo>
                    <a:lnTo>
                      <a:pt x="36149" y="163376"/>
                    </a:lnTo>
                    <a:lnTo>
                      <a:pt x="36149" y="162230"/>
                    </a:lnTo>
                    <a:lnTo>
                      <a:pt x="37295" y="160466"/>
                    </a:lnTo>
                    <a:lnTo>
                      <a:pt x="37824" y="157821"/>
                    </a:lnTo>
                    <a:lnTo>
                      <a:pt x="38971" y="156675"/>
                    </a:lnTo>
                    <a:lnTo>
                      <a:pt x="40117" y="155794"/>
                    </a:lnTo>
                    <a:lnTo>
                      <a:pt x="40999" y="154647"/>
                    </a:lnTo>
                    <a:lnTo>
                      <a:pt x="41880" y="152619"/>
                    </a:lnTo>
                    <a:lnTo>
                      <a:pt x="43379" y="151738"/>
                    </a:lnTo>
                    <a:lnTo>
                      <a:pt x="44613" y="150239"/>
                    </a:lnTo>
                    <a:lnTo>
                      <a:pt x="45759" y="147594"/>
                    </a:lnTo>
                    <a:lnTo>
                      <a:pt x="45759" y="146977"/>
                    </a:lnTo>
                    <a:lnTo>
                      <a:pt x="45495" y="146712"/>
                    </a:lnTo>
                    <a:lnTo>
                      <a:pt x="43467" y="146095"/>
                    </a:lnTo>
                    <a:lnTo>
                      <a:pt x="40293" y="144596"/>
                    </a:lnTo>
                    <a:lnTo>
                      <a:pt x="37648" y="144596"/>
                    </a:lnTo>
                    <a:lnTo>
                      <a:pt x="35885" y="144861"/>
                    </a:lnTo>
                    <a:lnTo>
                      <a:pt x="34474" y="144596"/>
                    </a:lnTo>
                    <a:lnTo>
                      <a:pt x="32711" y="142833"/>
                    </a:lnTo>
                    <a:lnTo>
                      <a:pt x="31564" y="141951"/>
                    </a:lnTo>
                    <a:lnTo>
                      <a:pt x="29801" y="141687"/>
                    </a:lnTo>
                    <a:lnTo>
                      <a:pt x="29184" y="142304"/>
                    </a:lnTo>
                    <a:lnTo>
                      <a:pt x="28302" y="142921"/>
                    </a:lnTo>
                    <a:lnTo>
                      <a:pt x="27156" y="143186"/>
                    </a:lnTo>
                    <a:lnTo>
                      <a:pt x="24246" y="142921"/>
                    </a:lnTo>
                    <a:lnTo>
                      <a:pt x="23100" y="141775"/>
                    </a:lnTo>
                    <a:lnTo>
                      <a:pt x="21337" y="140629"/>
                    </a:lnTo>
                    <a:lnTo>
                      <a:pt x="21072" y="140011"/>
                    </a:lnTo>
                    <a:lnTo>
                      <a:pt x="20191" y="140011"/>
                    </a:lnTo>
                    <a:lnTo>
                      <a:pt x="19926" y="141775"/>
                    </a:lnTo>
                    <a:lnTo>
                      <a:pt x="18515" y="141775"/>
                    </a:lnTo>
                    <a:lnTo>
                      <a:pt x="18251" y="140629"/>
                    </a:lnTo>
                    <a:lnTo>
                      <a:pt x="16752" y="139747"/>
                    </a:lnTo>
                    <a:lnTo>
                      <a:pt x="17017" y="139482"/>
                    </a:lnTo>
                    <a:lnTo>
                      <a:pt x="15518" y="137454"/>
                    </a:lnTo>
                    <a:lnTo>
                      <a:pt x="14371" y="135956"/>
                    </a:lnTo>
                    <a:lnTo>
                      <a:pt x="14371" y="135338"/>
                    </a:lnTo>
                    <a:lnTo>
                      <a:pt x="13225" y="134457"/>
                    </a:lnTo>
                    <a:lnTo>
                      <a:pt x="12696" y="133840"/>
                    </a:lnTo>
                    <a:lnTo>
                      <a:pt x="11198" y="133222"/>
                    </a:lnTo>
                    <a:lnTo>
                      <a:pt x="11198" y="132605"/>
                    </a:lnTo>
                    <a:lnTo>
                      <a:pt x="10580" y="131106"/>
                    </a:lnTo>
                    <a:lnTo>
                      <a:pt x="11198" y="129607"/>
                    </a:lnTo>
                    <a:lnTo>
                      <a:pt x="12344" y="129343"/>
                    </a:lnTo>
                    <a:lnTo>
                      <a:pt x="11727" y="125816"/>
                    </a:lnTo>
                    <a:lnTo>
                      <a:pt x="10845" y="125552"/>
                    </a:lnTo>
                    <a:lnTo>
                      <a:pt x="10580" y="125287"/>
                    </a:lnTo>
                    <a:lnTo>
                      <a:pt x="9699" y="125287"/>
                    </a:lnTo>
                    <a:lnTo>
                      <a:pt x="9346" y="124670"/>
                    </a:lnTo>
                    <a:lnTo>
                      <a:pt x="8464" y="124406"/>
                    </a:lnTo>
                    <a:lnTo>
                      <a:pt x="8200" y="122378"/>
                    </a:lnTo>
                    <a:lnTo>
                      <a:pt x="7318" y="122113"/>
                    </a:lnTo>
                    <a:lnTo>
                      <a:pt x="7054" y="120967"/>
                    </a:lnTo>
                    <a:lnTo>
                      <a:pt x="7054" y="120085"/>
                    </a:lnTo>
                    <a:lnTo>
                      <a:pt x="7054" y="118322"/>
                    </a:lnTo>
                    <a:lnTo>
                      <a:pt x="7318" y="117176"/>
                    </a:lnTo>
                    <a:lnTo>
                      <a:pt x="7847" y="115412"/>
                    </a:lnTo>
                    <a:lnTo>
                      <a:pt x="8464" y="115412"/>
                    </a:lnTo>
                    <a:lnTo>
                      <a:pt x="8729" y="113914"/>
                    </a:lnTo>
                    <a:lnTo>
                      <a:pt x="8729" y="112767"/>
                    </a:lnTo>
                    <a:lnTo>
                      <a:pt x="10492" y="113032"/>
                    </a:lnTo>
                    <a:lnTo>
                      <a:pt x="10228" y="112150"/>
                    </a:lnTo>
                    <a:lnTo>
                      <a:pt x="8729" y="111268"/>
                    </a:lnTo>
                    <a:lnTo>
                      <a:pt x="9346" y="110122"/>
                    </a:lnTo>
                    <a:lnTo>
                      <a:pt x="8729" y="109505"/>
                    </a:lnTo>
                    <a:lnTo>
                      <a:pt x="7583" y="108888"/>
                    </a:lnTo>
                    <a:lnTo>
                      <a:pt x="6436" y="107742"/>
                    </a:lnTo>
                    <a:lnTo>
                      <a:pt x="7583" y="106596"/>
                    </a:lnTo>
                    <a:lnTo>
                      <a:pt x="7847" y="105714"/>
                    </a:lnTo>
                    <a:lnTo>
                      <a:pt x="6701" y="104832"/>
                    </a:lnTo>
                    <a:lnTo>
                      <a:pt x="5731" y="104656"/>
                    </a:lnTo>
                    <a:close/>
                    <a:moveTo>
                      <a:pt x="130225" y="16840"/>
                    </a:moveTo>
                    <a:lnTo>
                      <a:pt x="130842" y="16840"/>
                    </a:lnTo>
                    <a:lnTo>
                      <a:pt x="131106" y="17105"/>
                    </a:lnTo>
                    <a:lnTo>
                      <a:pt x="131371" y="17369"/>
                    </a:lnTo>
                    <a:lnTo>
                      <a:pt x="131636" y="17634"/>
                    </a:lnTo>
                    <a:lnTo>
                      <a:pt x="132253" y="18251"/>
                    </a:lnTo>
                    <a:lnTo>
                      <a:pt x="133752" y="18868"/>
                    </a:lnTo>
                    <a:lnTo>
                      <a:pt x="134898" y="19133"/>
                    </a:lnTo>
                    <a:lnTo>
                      <a:pt x="135780" y="19397"/>
                    </a:lnTo>
                    <a:lnTo>
                      <a:pt x="135515" y="19133"/>
                    </a:lnTo>
                    <a:lnTo>
                      <a:pt x="135515" y="18515"/>
                    </a:lnTo>
                    <a:lnTo>
                      <a:pt x="135515" y="18251"/>
                    </a:lnTo>
                    <a:lnTo>
                      <a:pt x="136396" y="17634"/>
                    </a:lnTo>
                    <a:lnTo>
                      <a:pt x="137543" y="17105"/>
                    </a:lnTo>
                    <a:lnTo>
                      <a:pt x="138424" y="16840"/>
                    </a:lnTo>
                    <a:lnTo>
                      <a:pt x="139306" y="16576"/>
                    </a:lnTo>
                    <a:lnTo>
                      <a:pt x="139923" y="16576"/>
                    </a:lnTo>
                    <a:lnTo>
                      <a:pt x="140188" y="16840"/>
                    </a:lnTo>
                    <a:lnTo>
                      <a:pt x="140805" y="16840"/>
                    </a:lnTo>
                    <a:lnTo>
                      <a:pt x="141069" y="17457"/>
                    </a:lnTo>
                    <a:lnTo>
                      <a:pt x="141334" y="18075"/>
                    </a:lnTo>
                    <a:lnTo>
                      <a:pt x="141598" y="18339"/>
                    </a:lnTo>
                    <a:lnTo>
                      <a:pt x="141598" y="18075"/>
                    </a:lnTo>
                    <a:lnTo>
                      <a:pt x="141863" y="17457"/>
                    </a:lnTo>
                    <a:lnTo>
                      <a:pt x="141598" y="16576"/>
                    </a:lnTo>
                    <a:lnTo>
                      <a:pt x="140981" y="15958"/>
                    </a:lnTo>
                    <a:lnTo>
                      <a:pt x="140100" y="15694"/>
                    </a:lnTo>
                    <a:lnTo>
                      <a:pt x="139482" y="15429"/>
                    </a:lnTo>
                    <a:lnTo>
                      <a:pt x="138865" y="15165"/>
                    </a:lnTo>
                    <a:lnTo>
                      <a:pt x="138601" y="14548"/>
                    </a:lnTo>
                    <a:lnTo>
                      <a:pt x="138601" y="13666"/>
                    </a:lnTo>
                    <a:lnTo>
                      <a:pt x="139218" y="13049"/>
                    </a:lnTo>
                    <a:lnTo>
                      <a:pt x="139835" y="12167"/>
                    </a:lnTo>
                    <a:lnTo>
                      <a:pt x="139835" y="11550"/>
                    </a:lnTo>
                    <a:lnTo>
                      <a:pt x="138689" y="11286"/>
                    </a:lnTo>
                    <a:lnTo>
                      <a:pt x="137190" y="11286"/>
                    </a:lnTo>
                    <a:lnTo>
                      <a:pt x="135691" y="11021"/>
                    </a:lnTo>
                    <a:lnTo>
                      <a:pt x="134810" y="10668"/>
                    </a:lnTo>
                    <a:lnTo>
                      <a:pt x="134810" y="10051"/>
                    </a:lnTo>
                    <a:lnTo>
                      <a:pt x="134810" y="9434"/>
                    </a:lnTo>
                    <a:lnTo>
                      <a:pt x="135427" y="9169"/>
                    </a:lnTo>
                    <a:lnTo>
                      <a:pt x="134810" y="8905"/>
                    </a:lnTo>
                    <a:lnTo>
                      <a:pt x="133311" y="8905"/>
                    </a:lnTo>
                    <a:lnTo>
                      <a:pt x="132165" y="9522"/>
                    </a:lnTo>
                    <a:lnTo>
                      <a:pt x="131900" y="10139"/>
                    </a:lnTo>
                    <a:lnTo>
                      <a:pt x="131900" y="10757"/>
                    </a:lnTo>
                    <a:lnTo>
                      <a:pt x="132165" y="11374"/>
                    </a:lnTo>
                    <a:lnTo>
                      <a:pt x="132694" y="11374"/>
                    </a:lnTo>
                    <a:lnTo>
                      <a:pt x="133311" y="11374"/>
                    </a:lnTo>
                    <a:lnTo>
                      <a:pt x="133928" y="11109"/>
                    </a:lnTo>
                    <a:lnTo>
                      <a:pt x="134192" y="10757"/>
                    </a:lnTo>
                    <a:lnTo>
                      <a:pt x="134457" y="11109"/>
                    </a:lnTo>
                    <a:lnTo>
                      <a:pt x="134721" y="11374"/>
                    </a:lnTo>
                    <a:lnTo>
                      <a:pt x="134986" y="11638"/>
                    </a:lnTo>
                    <a:lnTo>
                      <a:pt x="135603" y="11903"/>
                    </a:lnTo>
                    <a:lnTo>
                      <a:pt x="136220" y="11903"/>
                    </a:lnTo>
                    <a:lnTo>
                      <a:pt x="136485" y="12167"/>
                    </a:lnTo>
                    <a:lnTo>
                      <a:pt x="136749" y="12784"/>
                    </a:lnTo>
                    <a:lnTo>
                      <a:pt x="136485" y="13402"/>
                    </a:lnTo>
                    <a:lnTo>
                      <a:pt x="135868" y="13402"/>
                    </a:lnTo>
                    <a:lnTo>
                      <a:pt x="135250" y="12784"/>
                    </a:lnTo>
                    <a:lnTo>
                      <a:pt x="134633" y="11903"/>
                    </a:lnTo>
                    <a:lnTo>
                      <a:pt x="133752" y="11638"/>
                    </a:lnTo>
                    <a:lnTo>
                      <a:pt x="133134" y="11638"/>
                    </a:lnTo>
                    <a:lnTo>
                      <a:pt x="131636" y="11903"/>
                    </a:lnTo>
                    <a:lnTo>
                      <a:pt x="131018" y="12167"/>
                    </a:lnTo>
                    <a:lnTo>
                      <a:pt x="130401" y="12432"/>
                    </a:lnTo>
                    <a:lnTo>
                      <a:pt x="130666" y="12696"/>
                    </a:lnTo>
                    <a:lnTo>
                      <a:pt x="130930" y="12961"/>
                    </a:lnTo>
                    <a:lnTo>
                      <a:pt x="131547" y="13225"/>
                    </a:lnTo>
                    <a:lnTo>
                      <a:pt x="131283" y="13842"/>
                    </a:lnTo>
                    <a:lnTo>
                      <a:pt x="131283" y="14460"/>
                    </a:lnTo>
                    <a:lnTo>
                      <a:pt x="131283" y="14724"/>
                    </a:lnTo>
                    <a:lnTo>
                      <a:pt x="131900" y="15341"/>
                    </a:lnTo>
                    <a:lnTo>
                      <a:pt x="132165" y="15606"/>
                    </a:lnTo>
                    <a:lnTo>
                      <a:pt x="131547" y="15870"/>
                    </a:lnTo>
                    <a:lnTo>
                      <a:pt x="130666" y="16135"/>
                    </a:lnTo>
                    <a:lnTo>
                      <a:pt x="130225" y="16840"/>
                    </a:lnTo>
                    <a:close/>
                    <a:moveTo>
                      <a:pt x="92048" y="12167"/>
                    </a:moveTo>
                    <a:lnTo>
                      <a:pt x="91431" y="12784"/>
                    </a:lnTo>
                    <a:lnTo>
                      <a:pt x="91166" y="13402"/>
                    </a:lnTo>
                    <a:lnTo>
                      <a:pt x="91166" y="14019"/>
                    </a:lnTo>
                    <a:lnTo>
                      <a:pt x="91166" y="14283"/>
                    </a:lnTo>
                    <a:lnTo>
                      <a:pt x="91431" y="14548"/>
                    </a:lnTo>
                    <a:lnTo>
                      <a:pt x="93194" y="15429"/>
                    </a:lnTo>
                    <a:lnTo>
                      <a:pt x="94340" y="15429"/>
                    </a:lnTo>
                    <a:lnTo>
                      <a:pt x="95222" y="15429"/>
                    </a:lnTo>
                    <a:lnTo>
                      <a:pt x="96721" y="15694"/>
                    </a:lnTo>
                    <a:lnTo>
                      <a:pt x="96985" y="14812"/>
                    </a:lnTo>
                    <a:lnTo>
                      <a:pt x="96721" y="13931"/>
                    </a:lnTo>
                    <a:lnTo>
                      <a:pt x="95574" y="13313"/>
                    </a:lnTo>
                    <a:lnTo>
                      <a:pt x="95574" y="12696"/>
                    </a:lnTo>
                    <a:lnTo>
                      <a:pt x="94164" y="12432"/>
                    </a:lnTo>
                    <a:lnTo>
                      <a:pt x="93282" y="12432"/>
                    </a:lnTo>
                    <a:lnTo>
                      <a:pt x="92048" y="121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5" name="Freihandform: Form 1594">
                <a:extLst>
                  <a:ext uri="{FF2B5EF4-FFF2-40B4-BE49-F238E27FC236}">
                    <a16:creationId xmlns:a16="http://schemas.microsoft.com/office/drawing/2014/main" id="{6B8FFA38-7B7C-C762-8A71-8CABC506D1CA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6" name="Freihandform: Form 1595">
                <a:extLst>
                  <a:ext uri="{FF2B5EF4-FFF2-40B4-BE49-F238E27FC236}">
                    <a16:creationId xmlns:a16="http://schemas.microsoft.com/office/drawing/2014/main" id="{C0AC0D50-43D4-5056-2821-FFC70806ABCD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7" name="Freihandform: Form 1596">
                <a:extLst>
                  <a:ext uri="{FF2B5EF4-FFF2-40B4-BE49-F238E27FC236}">
                    <a16:creationId xmlns:a16="http://schemas.microsoft.com/office/drawing/2014/main" id="{34A3A2A0-4EE4-3585-818E-A2EEA082CD28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8" name="Freihandform: Form 1597">
                <a:extLst>
                  <a:ext uri="{FF2B5EF4-FFF2-40B4-BE49-F238E27FC236}">
                    <a16:creationId xmlns:a16="http://schemas.microsoft.com/office/drawing/2014/main" id="{67A71882-B790-BF9C-755C-55D996E31979}"/>
                  </a:ext>
                </a:extLst>
              </p:cNvPr>
              <p:cNvSpPr/>
              <p:nvPr/>
            </p:nvSpPr>
            <p:spPr>
              <a:xfrm>
                <a:off x="4330907" y="2983661"/>
                <a:ext cx="58632" cy="38794"/>
              </a:xfrm>
              <a:custGeom>
                <a:avLst/>
                <a:gdLst>
                  <a:gd name="connsiteX0" fmla="*/ 58632 w 58632"/>
                  <a:gd name="connsiteY0" fmla="*/ 4937 h 38794"/>
                  <a:gd name="connsiteX1" fmla="*/ 57486 w 58632"/>
                  <a:gd name="connsiteY1" fmla="*/ 4673 h 38794"/>
                  <a:gd name="connsiteX2" fmla="*/ 55370 w 58632"/>
                  <a:gd name="connsiteY2" fmla="*/ 3174 h 38794"/>
                  <a:gd name="connsiteX3" fmla="*/ 55370 w 58632"/>
                  <a:gd name="connsiteY3" fmla="*/ 2028 h 38794"/>
                  <a:gd name="connsiteX4" fmla="*/ 55370 w 58632"/>
                  <a:gd name="connsiteY4" fmla="*/ 882 h 38794"/>
                  <a:gd name="connsiteX5" fmla="*/ 53959 w 58632"/>
                  <a:gd name="connsiteY5" fmla="*/ 0 h 38794"/>
                  <a:gd name="connsiteX6" fmla="*/ 52196 w 58632"/>
                  <a:gd name="connsiteY6" fmla="*/ 529 h 38794"/>
                  <a:gd name="connsiteX7" fmla="*/ 49551 w 58632"/>
                  <a:gd name="connsiteY7" fmla="*/ 1146 h 38794"/>
                  <a:gd name="connsiteX8" fmla="*/ 49903 w 58632"/>
                  <a:gd name="connsiteY8" fmla="*/ 3174 h 38794"/>
                  <a:gd name="connsiteX9" fmla="*/ 50432 w 58632"/>
                  <a:gd name="connsiteY9" fmla="*/ 4673 h 38794"/>
                  <a:gd name="connsiteX10" fmla="*/ 50432 w 58632"/>
                  <a:gd name="connsiteY10" fmla="*/ 5819 h 38794"/>
                  <a:gd name="connsiteX11" fmla="*/ 49903 w 58632"/>
                  <a:gd name="connsiteY11" fmla="*/ 4937 h 38794"/>
                  <a:gd name="connsiteX12" fmla="*/ 46377 w 58632"/>
                  <a:gd name="connsiteY12" fmla="*/ 4673 h 38794"/>
                  <a:gd name="connsiteX13" fmla="*/ 45759 w 58632"/>
                  <a:gd name="connsiteY13" fmla="*/ 4673 h 38794"/>
                  <a:gd name="connsiteX14" fmla="*/ 45230 w 58632"/>
                  <a:gd name="connsiteY14" fmla="*/ 4673 h 38794"/>
                  <a:gd name="connsiteX15" fmla="*/ 43467 w 58632"/>
                  <a:gd name="connsiteY15" fmla="*/ 4673 h 38794"/>
                  <a:gd name="connsiteX16" fmla="*/ 43467 w 58632"/>
                  <a:gd name="connsiteY16" fmla="*/ 4937 h 38794"/>
                  <a:gd name="connsiteX17" fmla="*/ 40558 w 58632"/>
                  <a:gd name="connsiteY17" fmla="*/ 5819 h 38794"/>
                  <a:gd name="connsiteX18" fmla="*/ 40558 w 58632"/>
                  <a:gd name="connsiteY18" fmla="*/ 6084 h 38794"/>
                  <a:gd name="connsiteX19" fmla="*/ 39676 w 58632"/>
                  <a:gd name="connsiteY19" fmla="*/ 6084 h 38794"/>
                  <a:gd name="connsiteX20" fmla="*/ 38530 w 58632"/>
                  <a:gd name="connsiteY20" fmla="*/ 5555 h 38794"/>
                  <a:gd name="connsiteX21" fmla="*/ 35620 w 58632"/>
                  <a:gd name="connsiteY21" fmla="*/ 5819 h 38794"/>
                  <a:gd name="connsiteX22" fmla="*/ 32975 w 58632"/>
                  <a:gd name="connsiteY22" fmla="*/ 6436 h 38794"/>
                  <a:gd name="connsiteX23" fmla="*/ 29713 w 58632"/>
                  <a:gd name="connsiteY23" fmla="*/ 5819 h 38794"/>
                  <a:gd name="connsiteX24" fmla="*/ 30065 w 58632"/>
                  <a:gd name="connsiteY24" fmla="*/ 6084 h 38794"/>
                  <a:gd name="connsiteX25" fmla="*/ 29184 w 58632"/>
                  <a:gd name="connsiteY25" fmla="*/ 6084 h 38794"/>
                  <a:gd name="connsiteX26" fmla="*/ 27156 w 58632"/>
                  <a:gd name="connsiteY26" fmla="*/ 6965 h 38794"/>
                  <a:gd name="connsiteX27" fmla="*/ 27156 w 58632"/>
                  <a:gd name="connsiteY27" fmla="*/ 10139 h 38794"/>
                  <a:gd name="connsiteX28" fmla="*/ 25040 w 58632"/>
                  <a:gd name="connsiteY28" fmla="*/ 10139 h 38794"/>
                  <a:gd name="connsiteX29" fmla="*/ 24511 w 58632"/>
                  <a:gd name="connsiteY29" fmla="*/ 11374 h 38794"/>
                  <a:gd name="connsiteX30" fmla="*/ 23365 w 58632"/>
                  <a:gd name="connsiteY30" fmla="*/ 11903 h 38794"/>
                  <a:gd name="connsiteX31" fmla="*/ 23365 w 58632"/>
                  <a:gd name="connsiteY31" fmla="*/ 12784 h 38794"/>
                  <a:gd name="connsiteX32" fmla="*/ 20367 w 58632"/>
                  <a:gd name="connsiteY32" fmla="*/ 11903 h 38794"/>
                  <a:gd name="connsiteX33" fmla="*/ 19838 w 58632"/>
                  <a:gd name="connsiteY33" fmla="*/ 11374 h 38794"/>
                  <a:gd name="connsiteX34" fmla="*/ 17457 w 58632"/>
                  <a:gd name="connsiteY34" fmla="*/ 11903 h 38794"/>
                  <a:gd name="connsiteX35" fmla="*/ 14019 w 58632"/>
                  <a:gd name="connsiteY35" fmla="*/ 11374 h 38794"/>
                  <a:gd name="connsiteX36" fmla="*/ 14019 w 58632"/>
                  <a:gd name="connsiteY36" fmla="*/ 10757 h 38794"/>
                  <a:gd name="connsiteX37" fmla="*/ 11109 w 58632"/>
                  <a:gd name="connsiteY37" fmla="*/ 10139 h 38794"/>
                  <a:gd name="connsiteX38" fmla="*/ 8993 w 58632"/>
                  <a:gd name="connsiteY38" fmla="*/ 11109 h 38794"/>
                  <a:gd name="connsiteX39" fmla="*/ 5555 w 58632"/>
                  <a:gd name="connsiteY39" fmla="*/ 8993 h 38794"/>
                  <a:gd name="connsiteX40" fmla="*/ 4938 w 58632"/>
                  <a:gd name="connsiteY40" fmla="*/ 11374 h 38794"/>
                  <a:gd name="connsiteX41" fmla="*/ 3791 w 58632"/>
                  <a:gd name="connsiteY41" fmla="*/ 11903 h 38794"/>
                  <a:gd name="connsiteX42" fmla="*/ 3527 w 58632"/>
                  <a:gd name="connsiteY42" fmla="*/ 12784 h 38794"/>
                  <a:gd name="connsiteX43" fmla="*/ 882 w 58632"/>
                  <a:gd name="connsiteY43" fmla="*/ 13137 h 38794"/>
                  <a:gd name="connsiteX44" fmla="*/ 882 w 58632"/>
                  <a:gd name="connsiteY44" fmla="*/ 14283 h 38794"/>
                  <a:gd name="connsiteX45" fmla="*/ 0 w 58632"/>
                  <a:gd name="connsiteY45" fmla="*/ 15165 h 38794"/>
                  <a:gd name="connsiteX46" fmla="*/ 0 w 58632"/>
                  <a:gd name="connsiteY46" fmla="*/ 15429 h 38794"/>
                  <a:gd name="connsiteX47" fmla="*/ 264 w 58632"/>
                  <a:gd name="connsiteY47" fmla="*/ 16047 h 38794"/>
                  <a:gd name="connsiteX48" fmla="*/ 529 w 58632"/>
                  <a:gd name="connsiteY48" fmla="*/ 16311 h 38794"/>
                  <a:gd name="connsiteX49" fmla="*/ 882 w 58632"/>
                  <a:gd name="connsiteY49" fmla="*/ 16311 h 38794"/>
                  <a:gd name="connsiteX50" fmla="*/ 529 w 58632"/>
                  <a:gd name="connsiteY50" fmla="*/ 15694 h 38794"/>
                  <a:gd name="connsiteX51" fmla="*/ 882 w 58632"/>
                  <a:gd name="connsiteY51" fmla="*/ 15694 h 38794"/>
                  <a:gd name="connsiteX52" fmla="*/ 2028 w 58632"/>
                  <a:gd name="connsiteY52" fmla="*/ 16576 h 38794"/>
                  <a:gd name="connsiteX53" fmla="*/ 3791 w 58632"/>
                  <a:gd name="connsiteY53" fmla="*/ 16928 h 38794"/>
                  <a:gd name="connsiteX54" fmla="*/ 5290 w 58632"/>
                  <a:gd name="connsiteY54" fmla="*/ 16928 h 38794"/>
                  <a:gd name="connsiteX55" fmla="*/ 4408 w 58632"/>
                  <a:gd name="connsiteY55" fmla="*/ 19485 h 38794"/>
                  <a:gd name="connsiteX56" fmla="*/ 1499 w 58632"/>
                  <a:gd name="connsiteY56" fmla="*/ 20102 h 38794"/>
                  <a:gd name="connsiteX57" fmla="*/ 1146 w 58632"/>
                  <a:gd name="connsiteY57" fmla="*/ 20719 h 38794"/>
                  <a:gd name="connsiteX58" fmla="*/ 2292 w 58632"/>
                  <a:gd name="connsiteY58" fmla="*/ 22747 h 38794"/>
                  <a:gd name="connsiteX59" fmla="*/ 4056 w 58632"/>
                  <a:gd name="connsiteY59" fmla="*/ 21866 h 38794"/>
                  <a:gd name="connsiteX60" fmla="*/ 5290 w 58632"/>
                  <a:gd name="connsiteY60" fmla="*/ 21866 h 38794"/>
                  <a:gd name="connsiteX61" fmla="*/ 5819 w 58632"/>
                  <a:gd name="connsiteY61" fmla="*/ 23012 h 38794"/>
                  <a:gd name="connsiteX62" fmla="*/ 4408 w 58632"/>
                  <a:gd name="connsiteY62" fmla="*/ 25657 h 38794"/>
                  <a:gd name="connsiteX63" fmla="*/ 4673 w 58632"/>
                  <a:gd name="connsiteY63" fmla="*/ 26186 h 38794"/>
                  <a:gd name="connsiteX64" fmla="*/ 5819 w 58632"/>
                  <a:gd name="connsiteY64" fmla="*/ 26803 h 38794"/>
                  <a:gd name="connsiteX65" fmla="*/ 6701 w 58632"/>
                  <a:gd name="connsiteY65" fmla="*/ 26803 h 38794"/>
                  <a:gd name="connsiteX66" fmla="*/ 8729 w 58632"/>
                  <a:gd name="connsiteY66" fmla="*/ 27949 h 38794"/>
                  <a:gd name="connsiteX67" fmla="*/ 9346 w 58632"/>
                  <a:gd name="connsiteY67" fmla="*/ 30947 h 38794"/>
                  <a:gd name="connsiteX68" fmla="*/ 11374 w 58632"/>
                  <a:gd name="connsiteY68" fmla="*/ 30947 h 38794"/>
                  <a:gd name="connsiteX69" fmla="*/ 6436 w 58632"/>
                  <a:gd name="connsiteY69" fmla="*/ 32622 h 38794"/>
                  <a:gd name="connsiteX70" fmla="*/ 5290 w 58632"/>
                  <a:gd name="connsiteY70" fmla="*/ 33769 h 38794"/>
                  <a:gd name="connsiteX71" fmla="*/ 5290 w 58632"/>
                  <a:gd name="connsiteY71" fmla="*/ 35003 h 38794"/>
                  <a:gd name="connsiteX72" fmla="*/ 4938 w 58632"/>
                  <a:gd name="connsiteY72" fmla="*/ 35003 h 38794"/>
                  <a:gd name="connsiteX73" fmla="*/ 6701 w 58632"/>
                  <a:gd name="connsiteY73" fmla="*/ 35884 h 38794"/>
                  <a:gd name="connsiteX74" fmla="*/ 7847 w 58632"/>
                  <a:gd name="connsiteY74" fmla="*/ 35003 h 38794"/>
                  <a:gd name="connsiteX75" fmla="*/ 9611 w 58632"/>
                  <a:gd name="connsiteY75" fmla="*/ 35003 h 38794"/>
                  <a:gd name="connsiteX76" fmla="*/ 10757 w 58632"/>
                  <a:gd name="connsiteY76" fmla="*/ 36149 h 38794"/>
                  <a:gd name="connsiteX77" fmla="*/ 12520 w 58632"/>
                  <a:gd name="connsiteY77" fmla="*/ 37560 h 38794"/>
                  <a:gd name="connsiteX78" fmla="*/ 12256 w 58632"/>
                  <a:gd name="connsiteY78" fmla="*/ 35003 h 38794"/>
                  <a:gd name="connsiteX79" fmla="*/ 12256 w 58632"/>
                  <a:gd name="connsiteY79" fmla="*/ 34386 h 38794"/>
                  <a:gd name="connsiteX80" fmla="*/ 12873 w 58632"/>
                  <a:gd name="connsiteY80" fmla="*/ 34386 h 38794"/>
                  <a:gd name="connsiteX81" fmla="*/ 16047 w 58632"/>
                  <a:gd name="connsiteY81" fmla="*/ 38794 h 38794"/>
                  <a:gd name="connsiteX82" fmla="*/ 18075 w 58632"/>
                  <a:gd name="connsiteY82" fmla="*/ 37560 h 38794"/>
                  <a:gd name="connsiteX83" fmla="*/ 18692 w 58632"/>
                  <a:gd name="connsiteY83" fmla="*/ 34386 h 38794"/>
                  <a:gd name="connsiteX84" fmla="*/ 20984 w 58632"/>
                  <a:gd name="connsiteY84" fmla="*/ 34386 h 38794"/>
                  <a:gd name="connsiteX85" fmla="*/ 22130 w 58632"/>
                  <a:gd name="connsiteY85" fmla="*/ 34386 h 38794"/>
                  <a:gd name="connsiteX86" fmla="*/ 26274 w 58632"/>
                  <a:gd name="connsiteY86" fmla="*/ 33769 h 38794"/>
                  <a:gd name="connsiteX87" fmla="*/ 25922 w 58632"/>
                  <a:gd name="connsiteY87" fmla="*/ 32093 h 38794"/>
                  <a:gd name="connsiteX88" fmla="*/ 29184 w 58632"/>
                  <a:gd name="connsiteY88" fmla="*/ 35003 h 38794"/>
                  <a:gd name="connsiteX89" fmla="*/ 31741 w 58632"/>
                  <a:gd name="connsiteY89" fmla="*/ 32622 h 38794"/>
                  <a:gd name="connsiteX90" fmla="*/ 35620 w 58632"/>
                  <a:gd name="connsiteY90" fmla="*/ 35003 h 38794"/>
                  <a:gd name="connsiteX91" fmla="*/ 38530 w 58632"/>
                  <a:gd name="connsiteY91" fmla="*/ 33769 h 38794"/>
                  <a:gd name="connsiteX92" fmla="*/ 37913 w 58632"/>
                  <a:gd name="connsiteY92" fmla="*/ 28831 h 38794"/>
                  <a:gd name="connsiteX93" fmla="*/ 40822 w 58632"/>
                  <a:gd name="connsiteY93" fmla="*/ 27949 h 38794"/>
                  <a:gd name="connsiteX94" fmla="*/ 41439 w 58632"/>
                  <a:gd name="connsiteY94" fmla="*/ 26803 h 38794"/>
                  <a:gd name="connsiteX95" fmla="*/ 40822 w 58632"/>
                  <a:gd name="connsiteY95" fmla="*/ 23629 h 38794"/>
                  <a:gd name="connsiteX96" fmla="*/ 39411 w 58632"/>
                  <a:gd name="connsiteY96" fmla="*/ 22130 h 38794"/>
                  <a:gd name="connsiteX97" fmla="*/ 40558 w 58632"/>
                  <a:gd name="connsiteY97" fmla="*/ 18075 h 38794"/>
                  <a:gd name="connsiteX98" fmla="*/ 43467 w 58632"/>
                  <a:gd name="connsiteY98" fmla="*/ 18075 h 38794"/>
                  <a:gd name="connsiteX99" fmla="*/ 45230 w 58632"/>
                  <a:gd name="connsiteY99" fmla="*/ 17457 h 38794"/>
                  <a:gd name="connsiteX100" fmla="*/ 48140 w 58632"/>
                  <a:gd name="connsiteY100" fmla="*/ 16311 h 38794"/>
                  <a:gd name="connsiteX101" fmla="*/ 49022 w 58632"/>
                  <a:gd name="connsiteY101" fmla="*/ 14548 h 38794"/>
                  <a:gd name="connsiteX102" fmla="*/ 52196 w 58632"/>
                  <a:gd name="connsiteY102" fmla="*/ 14019 h 38794"/>
                  <a:gd name="connsiteX103" fmla="*/ 50785 w 58632"/>
                  <a:gd name="connsiteY103" fmla="*/ 10492 h 38794"/>
                  <a:gd name="connsiteX104" fmla="*/ 51579 w 58632"/>
                  <a:gd name="connsiteY104" fmla="*/ 6965 h 38794"/>
                  <a:gd name="connsiteX105" fmla="*/ 55722 w 58632"/>
                  <a:gd name="connsiteY105" fmla="*/ 6965 h 38794"/>
                  <a:gd name="connsiteX106" fmla="*/ 58632 w 58632"/>
                  <a:gd name="connsiteY106" fmla="*/ 6084 h 38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58632" h="38794">
                    <a:moveTo>
                      <a:pt x="58632" y="4937"/>
                    </a:moveTo>
                    <a:lnTo>
                      <a:pt x="57486" y="4673"/>
                    </a:lnTo>
                    <a:lnTo>
                      <a:pt x="55370" y="3174"/>
                    </a:lnTo>
                    <a:lnTo>
                      <a:pt x="55370" y="2028"/>
                    </a:lnTo>
                    <a:lnTo>
                      <a:pt x="55370" y="882"/>
                    </a:lnTo>
                    <a:lnTo>
                      <a:pt x="53959" y="0"/>
                    </a:lnTo>
                    <a:lnTo>
                      <a:pt x="52196" y="529"/>
                    </a:lnTo>
                    <a:lnTo>
                      <a:pt x="49551" y="1146"/>
                    </a:lnTo>
                    <a:lnTo>
                      <a:pt x="49903" y="3174"/>
                    </a:lnTo>
                    <a:lnTo>
                      <a:pt x="50432" y="4673"/>
                    </a:lnTo>
                    <a:lnTo>
                      <a:pt x="50432" y="5819"/>
                    </a:lnTo>
                    <a:lnTo>
                      <a:pt x="49903" y="4937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230" y="4673"/>
                    </a:lnTo>
                    <a:lnTo>
                      <a:pt x="43467" y="4673"/>
                    </a:lnTo>
                    <a:lnTo>
                      <a:pt x="43467" y="4937"/>
                    </a:lnTo>
                    <a:lnTo>
                      <a:pt x="40558" y="5819"/>
                    </a:lnTo>
                    <a:lnTo>
                      <a:pt x="40558" y="6084"/>
                    </a:lnTo>
                    <a:lnTo>
                      <a:pt x="39676" y="6084"/>
                    </a:lnTo>
                    <a:lnTo>
                      <a:pt x="38530" y="5555"/>
                    </a:lnTo>
                    <a:lnTo>
                      <a:pt x="35620" y="5819"/>
                    </a:lnTo>
                    <a:lnTo>
                      <a:pt x="32975" y="6436"/>
                    </a:lnTo>
                    <a:lnTo>
                      <a:pt x="29713" y="5819"/>
                    </a:lnTo>
                    <a:lnTo>
                      <a:pt x="30065" y="6084"/>
                    </a:lnTo>
                    <a:lnTo>
                      <a:pt x="29184" y="6084"/>
                    </a:lnTo>
                    <a:lnTo>
                      <a:pt x="27156" y="6965"/>
                    </a:lnTo>
                    <a:lnTo>
                      <a:pt x="27156" y="10139"/>
                    </a:lnTo>
                    <a:lnTo>
                      <a:pt x="25040" y="10139"/>
                    </a:lnTo>
                    <a:lnTo>
                      <a:pt x="24511" y="11374"/>
                    </a:lnTo>
                    <a:lnTo>
                      <a:pt x="23365" y="11903"/>
                    </a:lnTo>
                    <a:lnTo>
                      <a:pt x="23365" y="12784"/>
                    </a:lnTo>
                    <a:lnTo>
                      <a:pt x="20367" y="11903"/>
                    </a:lnTo>
                    <a:lnTo>
                      <a:pt x="19838" y="11374"/>
                    </a:lnTo>
                    <a:lnTo>
                      <a:pt x="17457" y="11903"/>
                    </a:lnTo>
                    <a:lnTo>
                      <a:pt x="14019" y="11374"/>
                    </a:lnTo>
                    <a:lnTo>
                      <a:pt x="14019" y="10757"/>
                    </a:lnTo>
                    <a:lnTo>
                      <a:pt x="11109" y="10139"/>
                    </a:lnTo>
                    <a:lnTo>
                      <a:pt x="8993" y="11109"/>
                    </a:lnTo>
                    <a:lnTo>
                      <a:pt x="5555" y="8993"/>
                    </a:lnTo>
                    <a:lnTo>
                      <a:pt x="4938" y="11374"/>
                    </a:lnTo>
                    <a:lnTo>
                      <a:pt x="3791" y="11903"/>
                    </a:lnTo>
                    <a:lnTo>
                      <a:pt x="3527" y="12784"/>
                    </a:lnTo>
                    <a:lnTo>
                      <a:pt x="882" y="13137"/>
                    </a:lnTo>
                    <a:lnTo>
                      <a:pt x="882" y="14283"/>
                    </a:lnTo>
                    <a:lnTo>
                      <a:pt x="0" y="15165"/>
                    </a:lnTo>
                    <a:lnTo>
                      <a:pt x="0" y="15429"/>
                    </a:lnTo>
                    <a:lnTo>
                      <a:pt x="264" y="16047"/>
                    </a:lnTo>
                    <a:lnTo>
                      <a:pt x="529" y="16311"/>
                    </a:lnTo>
                    <a:lnTo>
                      <a:pt x="882" y="16311"/>
                    </a:lnTo>
                    <a:lnTo>
                      <a:pt x="529" y="15694"/>
                    </a:lnTo>
                    <a:lnTo>
                      <a:pt x="882" y="15694"/>
                    </a:lnTo>
                    <a:lnTo>
                      <a:pt x="2028" y="16576"/>
                    </a:lnTo>
                    <a:lnTo>
                      <a:pt x="3791" y="16928"/>
                    </a:lnTo>
                    <a:lnTo>
                      <a:pt x="5290" y="16928"/>
                    </a:lnTo>
                    <a:lnTo>
                      <a:pt x="4408" y="19485"/>
                    </a:lnTo>
                    <a:lnTo>
                      <a:pt x="1499" y="20102"/>
                    </a:lnTo>
                    <a:lnTo>
                      <a:pt x="1146" y="20719"/>
                    </a:lnTo>
                    <a:lnTo>
                      <a:pt x="2292" y="22747"/>
                    </a:lnTo>
                    <a:lnTo>
                      <a:pt x="4056" y="21866"/>
                    </a:lnTo>
                    <a:lnTo>
                      <a:pt x="5290" y="21866"/>
                    </a:lnTo>
                    <a:lnTo>
                      <a:pt x="5819" y="23012"/>
                    </a:lnTo>
                    <a:lnTo>
                      <a:pt x="4408" y="25657"/>
                    </a:lnTo>
                    <a:lnTo>
                      <a:pt x="4673" y="26186"/>
                    </a:lnTo>
                    <a:lnTo>
                      <a:pt x="5819" y="26803"/>
                    </a:lnTo>
                    <a:lnTo>
                      <a:pt x="6701" y="26803"/>
                    </a:lnTo>
                    <a:lnTo>
                      <a:pt x="8729" y="27949"/>
                    </a:lnTo>
                    <a:lnTo>
                      <a:pt x="9346" y="30947"/>
                    </a:lnTo>
                    <a:lnTo>
                      <a:pt x="11374" y="30947"/>
                    </a:lnTo>
                    <a:lnTo>
                      <a:pt x="6436" y="32622"/>
                    </a:lnTo>
                    <a:lnTo>
                      <a:pt x="5290" y="33769"/>
                    </a:lnTo>
                    <a:lnTo>
                      <a:pt x="5290" y="35003"/>
                    </a:lnTo>
                    <a:lnTo>
                      <a:pt x="4938" y="35003"/>
                    </a:lnTo>
                    <a:lnTo>
                      <a:pt x="6701" y="35884"/>
                    </a:lnTo>
                    <a:lnTo>
                      <a:pt x="7847" y="35003"/>
                    </a:lnTo>
                    <a:lnTo>
                      <a:pt x="9611" y="35003"/>
                    </a:lnTo>
                    <a:lnTo>
                      <a:pt x="10757" y="36149"/>
                    </a:lnTo>
                    <a:lnTo>
                      <a:pt x="12520" y="37560"/>
                    </a:lnTo>
                    <a:lnTo>
                      <a:pt x="12256" y="35003"/>
                    </a:lnTo>
                    <a:lnTo>
                      <a:pt x="12256" y="34386"/>
                    </a:lnTo>
                    <a:lnTo>
                      <a:pt x="12873" y="34386"/>
                    </a:lnTo>
                    <a:lnTo>
                      <a:pt x="16047" y="38794"/>
                    </a:lnTo>
                    <a:lnTo>
                      <a:pt x="18075" y="37560"/>
                    </a:lnTo>
                    <a:lnTo>
                      <a:pt x="18692" y="34386"/>
                    </a:lnTo>
                    <a:lnTo>
                      <a:pt x="20984" y="34386"/>
                    </a:lnTo>
                    <a:lnTo>
                      <a:pt x="22130" y="34386"/>
                    </a:lnTo>
                    <a:lnTo>
                      <a:pt x="26274" y="33769"/>
                    </a:lnTo>
                    <a:lnTo>
                      <a:pt x="25922" y="32093"/>
                    </a:lnTo>
                    <a:lnTo>
                      <a:pt x="29184" y="35003"/>
                    </a:lnTo>
                    <a:lnTo>
                      <a:pt x="31741" y="32622"/>
                    </a:lnTo>
                    <a:lnTo>
                      <a:pt x="35620" y="35003"/>
                    </a:lnTo>
                    <a:lnTo>
                      <a:pt x="38530" y="33769"/>
                    </a:lnTo>
                    <a:lnTo>
                      <a:pt x="37913" y="28831"/>
                    </a:lnTo>
                    <a:lnTo>
                      <a:pt x="40822" y="27949"/>
                    </a:lnTo>
                    <a:lnTo>
                      <a:pt x="41439" y="26803"/>
                    </a:lnTo>
                    <a:lnTo>
                      <a:pt x="40822" y="23629"/>
                    </a:lnTo>
                    <a:lnTo>
                      <a:pt x="39411" y="22130"/>
                    </a:lnTo>
                    <a:lnTo>
                      <a:pt x="40558" y="18075"/>
                    </a:lnTo>
                    <a:lnTo>
                      <a:pt x="43467" y="18075"/>
                    </a:lnTo>
                    <a:lnTo>
                      <a:pt x="45230" y="17457"/>
                    </a:lnTo>
                    <a:lnTo>
                      <a:pt x="48140" y="16311"/>
                    </a:lnTo>
                    <a:lnTo>
                      <a:pt x="49022" y="14548"/>
                    </a:lnTo>
                    <a:lnTo>
                      <a:pt x="52196" y="14019"/>
                    </a:lnTo>
                    <a:lnTo>
                      <a:pt x="50785" y="10492"/>
                    </a:lnTo>
                    <a:lnTo>
                      <a:pt x="51579" y="6965"/>
                    </a:lnTo>
                    <a:lnTo>
                      <a:pt x="55722" y="6965"/>
                    </a:lnTo>
                    <a:lnTo>
                      <a:pt x="58632" y="60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9" name="Freihandform: Form 1598">
                <a:extLst>
                  <a:ext uri="{FF2B5EF4-FFF2-40B4-BE49-F238E27FC236}">
                    <a16:creationId xmlns:a16="http://schemas.microsoft.com/office/drawing/2014/main" id="{02867217-F8BF-52BB-9148-EC6867262EF3}"/>
                  </a:ext>
                </a:extLst>
              </p:cNvPr>
              <p:cNvSpPr/>
              <p:nvPr/>
            </p:nvSpPr>
            <p:spPr>
              <a:xfrm>
                <a:off x="4332406" y="2989833"/>
                <a:ext cx="118939" cy="102804"/>
              </a:xfrm>
              <a:custGeom>
                <a:avLst/>
                <a:gdLst>
                  <a:gd name="connsiteX0" fmla="*/ 76971 w 118939"/>
                  <a:gd name="connsiteY0" fmla="*/ 92136 h 102804"/>
                  <a:gd name="connsiteX1" fmla="*/ 76707 w 118939"/>
                  <a:gd name="connsiteY1" fmla="*/ 91871 h 102804"/>
                  <a:gd name="connsiteX2" fmla="*/ 76089 w 118939"/>
                  <a:gd name="connsiteY2" fmla="*/ 91871 h 102804"/>
                  <a:gd name="connsiteX3" fmla="*/ 75472 w 118939"/>
                  <a:gd name="connsiteY3" fmla="*/ 91871 h 102804"/>
                  <a:gd name="connsiteX4" fmla="*/ 74326 w 118939"/>
                  <a:gd name="connsiteY4" fmla="*/ 92136 h 102804"/>
                  <a:gd name="connsiteX5" fmla="*/ 73444 w 118939"/>
                  <a:gd name="connsiteY5" fmla="*/ 91871 h 102804"/>
                  <a:gd name="connsiteX6" fmla="*/ 72827 w 118939"/>
                  <a:gd name="connsiteY6" fmla="*/ 92136 h 102804"/>
                  <a:gd name="connsiteX7" fmla="*/ 72210 w 118939"/>
                  <a:gd name="connsiteY7" fmla="*/ 92400 h 102804"/>
                  <a:gd name="connsiteX8" fmla="*/ 71328 w 118939"/>
                  <a:gd name="connsiteY8" fmla="*/ 92400 h 102804"/>
                  <a:gd name="connsiteX9" fmla="*/ 70535 w 118939"/>
                  <a:gd name="connsiteY9" fmla="*/ 92400 h 102804"/>
                  <a:gd name="connsiteX10" fmla="*/ 70006 w 118939"/>
                  <a:gd name="connsiteY10" fmla="*/ 92400 h 102804"/>
                  <a:gd name="connsiteX11" fmla="*/ 69388 w 118939"/>
                  <a:gd name="connsiteY11" fmla="*/ 92400 h 102804"/>
                  <a:gd name="connsiteX12" fmla="*/ 69653 w 118939"/>
                  <a:gd name="connsiteY12" fmla="*/ 92136 h 102804"/>
                  <a:gd name="connsiteX13" fmla="*/ 69917 w 118939"/>
                  <a:gd name="connsiteY13" fmla="*/ 91519 h 102804"/>
                  <a:gd name="connsiteX14" fmla="*/ 69917 w 118939"/>
                  <a:gd name="connsiteY14" fmla="*/ 91254 h 102804"/>
                  <a:gd name="connsiteX15" fmla="*/ 69036 w 118939"/>
                  <a:gd name="connsiteY15" fmla="*/ 90990 h 102804"/>
                  <a:gd name="connsiteX16" fmla="*/ 69036 w 118939"/>
                  <a:gd name="connsiteY16" fmla="*/ 90373 h 102804"/>
                  <a:gd name="connsiteX17" fmla="*/ 69917 w 118939"/>
                  <a:gd name="connsiteY17" fmla="*/ 90373 h 102804"/>
                  <a:gd name="connsiteX18" fmla="*/ 70799 w 118939"/>
                  <a:gd name="connsiteY18" fmla="*/ 90637 h 102804"/>
                  <a:gd name="connsiteX19" fmla="*/ 71328 w 118939"/>
                  <a:gd name="connsiteY19" fmla="*/ 90637 h 102804"/>
                  <a:gd name="connsiteX20" fmla="*/ 72210 w 118939"/>
                  <a:gd name="connsiteY20" fmla="*/ 90373 h 102804"/>
                  <a:gd name="connsiteX21" fmla="*/ 73092 w 118939"/>
                  <a:gd name="connsiteY21" fmla="*/ 90637 h 102804"/>
                  <a:gd name="connsiteX22" fmla="*/ 73709 w 118939"/>
                  <a:gd name="connsiteY22" fmla="*/ 90373 h 102804"/>
                  <a:gd name="connsiteX23" fmla="*/ 74855 w 118939"/>
                  <a:gd name="connsiteY23" fmla="*/ 90637 h 102804"/>
                  <a:gd name="connsiteX24" fmla="*/ 76001 w 118939"/>
                  <a:gd name="connsiteY24" fmla="*/ 90637 h 102804"/>
                  <a:gd name="connsiteX25" fmla="*/ 76618 w 118939"/>
                  <a:gd name="connsiteY25" fmla="*/ 90373 h 102804"/>
                  <a:gd name="connsiteX26" fmla="*/ 76618 w 118939"/>
                  <a:gd name="connsiteY26" fmla="*/ 90637 h 102804"/>
                  <a:gd name="connsiteX27" fmla="*/ 76618 w 118939"/>
                  <a:gd name="connsiteY27" fmla="*/ 91254 h 102804"/>
                  <a:gd name="connsiteX28" fmla="*/ 76618 w 118939"/>
                  <a:gd name="connsiteY28" fmla="*/ 91519 h 102804"/>
                  <a:gd name="connsiteX29" fmla="*/ 76971 w 118939"/>
                  <a:gd name="connsiteY29" fmla="*/ 92136 h 102804"/>
                  <a:gd name="connsiteX30" fmla="*/ 59425 w 118939"/>
                  <a:gd name="connsiteY30" fmla="*/ 91254 h 102804"/>
                  <a:gd name="connsiteX31" fmla="*/ 58896 w 118939"/>
                  <a:gd name="connsiteY31" fmla="*/ 90990 h 102804"/>
                  <a:gd name="connsiteX32" fmla="*/ 57398 w 118939"/>
                  <a:gd name="connsiteY32" fmla="*/ 91254 h 102804"/>
                  <a:gd name="connsiteX33" fmla="*/ 56516 w 118939"/>
                  <a:gd name="connsiteY33" fmla="*/ 91519 h 102804"/>
                  <a:gd name="connsiteX34" fmla="*/ 55634 w 118939"/>
                  <a:gd name="connsiteY34" fmla="*/ 91519 h 102804"/>
                  <a:gd name="connsiteX35" fmla="*/ 54752 w 118939"/>
                  <a:gd name="connsiteY35" fmla="*/ 91783 h 102804"/>
                  <a:gd name="connsiteX36" fmla="*/ 55017 w 118939"/>
                  <a:gd name="connsiteY36" fmla="*/ 91166 h 102804"/>
                  <a:gd name="connsiteX37" fmla="*/ 54752 w 118939"/>
                  <a:gd name="connsiteY37" fmla="*/ 90902 h 102804"/>
                  <a:gd name="connsiteX38" fmla="*/ 54752 w 118939"/>
                  <a:gd name="connsiteY38" fmla="*/ 90284 h 102804"/>
                  <a:gd name="connsiteX39" fmla="*/ 54752 w 118939"/>
                  <a:gd name="connsiteY39" fmla="*/ 90020 h 102804"/>
                  <a:gd name="connsiteX40" fmla="*/ 55634 w 118939"/>
                  <a:gd name="connsiteY40" fmla="*/ 90020 h 102804"/>
                  <a:gd name="connsiteX41" fmla="*/ 56516 w 118939"/>
                  <a:gd name="connsiteY41" fmla="*/ 90020 h 102804"/>
                  <a:gd name="connsiteX42" fmla="*/ 57398 w 118939"/>
                  <a:gd name="connsiteY42" fmla="*/ 89755 h 102804"/>
                  <a:gd name="connsiteX43" fmla="*/ 58279 w 118939"/>
                  <a:gd name="connsiteY43" fmla="*/ 90020 h 102804"/>
                  <a:gd name="connsiteX44" fmla="*/ 59425 w 118939"/>
                  <a:gd name="connsiteY44" fmla="*/ 90020 h 102804"/>
                  <a:gd name="connsiteX45" fmla="*/ 59161 w 118939"/>
                  <a:gd name="connsiteY45" fmla="*/ 90284 h 102804"/>
                  <a:gd name="connsiteX46" fmla="*/ 59425 w 118939"/>
                  <a:gd name="connsiteY46" fmla="*/ 91254 h 102804"/>
                  <a:gd name="connsiteX47" fmla="*/ 107918 w 118939"/>
                  <a:gd name="connsiteY47" fmla="*/ 17457 h 102804"/>
                  <a:gd name="connsiteX48" fmla="*/ 107918 w 118939"/>
                  <a:gd name="connsiteY48" fmla="*/ 20102 h 102804"/>
                  <a:gd name="connsiteX49" fmla="*/ 108447 w 118939"/>
                  <a:gd name="connsiteY49" fmla="*/ 21866 h 102804"/>
                  <a:gd name="connsiteX50" fmla="*/ 108447 w 118939"/>
                  <a:gd name="connsiteY50" fmla="*/ 24775 h 102804"/>
                  <a:gd name="connsiteX51" fmla="*/ 110210 w 118939"/>
                  <a:gd name="connsiteY51" fmla="*/ 28302 h 102804"/>
                  <a:gd name="connsiteX52" fmla="*/ 110475 w 118939"/>
                  <a:gd name="connsiteY52" fmla="*/ 30947 h 102804"/>
                  <a:gd name="connsiteX53" fmla="*/ 111974 w 118939"/>
                  <a:gd name="connsiteY53" fmla="*/ 32710 h 102804"/>
                  <a:gd name="connsiteX54" fmla="*/ 114883 w 118939"/>
                  <a:gd name="connsiteY54" fmla="*/ 33328 h 102804"/>
                  <a:gd name="connsiteX55" fmla="*/ 117793 w 118939"/>
                  <a:gd name="connsiteY55" fmla="*/ 32710 h 102804"/>
                  <a:gd name="connsiteX56" fmla="*/ 118939 w 118939"/>
                  <a:gd name="connsiteY56" fmla="*/ 33592 h 102804"/>
                  <a:gd name="connsiteX57" fmla="*/ 118675 w 118939"/>
                  <a:gd name="connsiteY57" fmla="*/ 34738 h 102804"/>
                  <a:gd name="connsiteX58" fmla="*/ 116647 w 118939"/>
                  <a:gd name="connsiteY58" fmla="*/ 35620 h 102804"/>
                  <a:gd name="connsiteX59" fmla="*/ 115501 w 118939"/>
                  <a:gd name="connsiteY59" fmla="*/ 37119 h 102804"/>
                  <a:gd name="connsiteX60" fmla="*/ 112238 w 118939"/>
                  <a:gd name="connsiteY60" fmla="*/ 37119 h 102804"/>
                  <a:gd name="connsiteX61" fmla="*/ 111621 w 118939"/>
                  <a:gd name="connsiteY61" fmla="*/ 39764 h 102804"/>
                  <a:gd name="connsiteX62" fmla="*/ 111092 w 118939"/>
                  <a:gd name="connsiteY62" fmla="*/ 40646 h 102804"/>
                  <a:gd name="connsiteX63" fmla="*/ 111621 w 118939"/>
                  <a:gd name="connsiteY63" fmla="*/ 39764 h 102804"/>
                  <a:gd name="connsiteX64" fmla="*/ 108447 w 118939"/>
                  <a:gd name="connsiteY64" fmla="*/ 41792 h 102804"/>
                  <a:gd name="connsiteX65" fmla="*/ 106419 w 118939"/>
                  <a:gd name="connsiteY65" fmla="*/ 40293 h 102804"/>
                  <a:gd name="connsiteX66" fmla="*/ 103774 w 118939"/>
                  <a:gd name="connsiteY66" fmla="*/ 40028 h 102804"/>
                  <a:gd name="connsiteX67" fmla="*/ 103510 w 118939"/>
                  <a:gd name="connsiteY67" fmla="*/ 38882 h 102804"/>
                  <a:gd name="connsiteX68" fmla="*/ 102011 w 118939"/>
                  <a:gd name="connsiteY68" fmla="*/ 37119 h 102804"/>
                  <a:gd name="connsiteX69" fmla="*/ 101482 w 118939"/>
                  <a:gd name="connsiteY69" fmla="*/ 37736 h 102804"/>
                  <a:gd name="connsiteX70" fmla="*/ 98572 w 118939"/>
                  <a:gd name="connsiteY70" fmla="*/ 38353 h 102804"/>
                  <a:gd name="connsiteX71" fmla="*/ 97955 w 118939"/>
                  <a:gd name="connsiteY71" fmla="*/ 37736 h 102804"/>
                  <a:gd name="connsiteX72" fmla="*/ 96809 w 118939"/>
                  <a:gd name="connsiteY72" fmla="*/ 38618 h 102804"/>
                  <a:gd name="connsiteX73" fmla="*/ 95663 w 118939"/>
                  <a:gd name="connsiteY73" fmla="*/ 36590 h 102804"/>
                  <a:gd name="connsiteX74" fmla="*/ 91254 w 118939"/>
                  <a:gd name="connsiteY74" fmla="*/ 37119 h 102804"/>
                  <a:gd name="connsiteX75" fmla="*/ 90637 w 118939"/>
                  <a:gd name="connsiteY75" fmla="*/ 37119 h 102804"/>
                  <a:gd name="connsiteX76" fmla="*/ 89755 w 118939"/>
                  <a:gd name="connsiteY76" fmla="*/ 36590 h 102804"/>
                  <a:gd name="connsiteX77" fmla="*/ 88609 w 118939"/>
                  <a:gd name="connsiteY77" fmla="*/ 37119 h 102804"/>
                  <a:gd name="connsiteX78" fmla="*/ 86846 w 118939"/>
                  <a:gd name="connsiteY78" fmla="*/ 37736 h 102804"/>
                  <a:gd name="connsiteX79" fmla="*/ 85700 w 118939"/>
                  <a:gd name="connsiteY79" fmla="*/ 36590 h 102804"/>
                  <a:gd name="connsiteX80" fmla="*/ 84201 w 118939"/>
                  <a:gd name="connsiteY80" fmla="*/ 36237 h 102804"/>
                  <a:gd name="connsiteX81" fmla="*/ 83055 w 118939"/>
                  <a:gd name="connsiteY81" fmla="*/ 35091 h 102804"/>
                  <a:gd name="connsiteX82" fmla="*/ 80410 w 118939"/>
                  <a:gd name="connsiteY82" fmla="*/ 37119 h 102804"/>
                  <a:gd name="connsiteX83" fmla="*/ 79263 w 118939"/>
                  <a:gd name="connsiteY83" fmla="*/ 34826 h 102804"/>
                  <a:gd name="connsiteX84" fmla="*/ 76354 w 118939"/>
                  <a:gd name="connsiteY84" fmla="*/ 32799 h 102804"/>
                  <a:gd name="connsiteX85" fmla="*/ 75472 w 118939"/>
                  <a:gd name="connsiteY85" fmla="*/ 32799 h 102804"/>
                  <a:gd name="connsiteX86" fmla="*/ 73180 w 118939"/>
                  <a:gd name="connsiteY86" fmla="*/ 33063 h 102804"/>
                  <a:gd name="connsiteX87" fmla="*/ 71681 w 118939"/>
                  <a:gd name="connsiteY87" fmla="*/ 32799 h 102804"/>
                  <a:gd name="connsiteX88" fmla="*/ 69388 w 118939"/>
                  <a:gd name="connsiteY88" fmla="*/ 33416 h 102804"/>
                  <a:gd name="connsiteX89" fmla="*/ 67890 w 118939"/>
                  <a:gd name="connsiteY89" fmla="*/ 33680 h 102804"/>
                  <a:gd name="connsiteX90" fmla="*/ 66744 w 118939"/>
                  <a:gd name="connsiteY90" fmla="*/ 32799 h 102804"/>
                  <a:gd name="connsiteX91" fmla="*/ 64716 w 118939"/>
                  <a:gd name="connsiteY91" fmla="*/ 33945 h 102804"/>
                  <a:gd name="connsiteX92" fmla="*/ 63305 w 118939"/>
                  <a:gd name="connsiteY92" fmla="*/ 33328 h 102804"/>
                  <a:gd name="connsiteX93" fmla="*/ 62423 w 118939"/>
                  <a:gd name="connsiteY93" fmla="*/ 33945 h 102804"/>
                  <a:gd name="connsiteX94" fmla="*/ 60395 w 118939"/>
                  <a:gd name="connsiteY94" fmla="*/ 34826 h 102804"/>
                  <a:gd name="connsiteX95" fmla="*/ 60131 w 118939"/>
                  <a:gd name="connsiteY95" fmla="*/ 36237 h 102804"/>
                  <a:gd name="connsiteX96" fmla="*/ 59866 w 118939"/>
                  <a:gd name="connsiteY96" fmla="*/ 37119 h 102804"/>
                  <a:gd name="connsiteX97" fmla="*/ 57574 w 118939"/>
                  <a:gd name="connsiteY97" fmla="*/ 38618 h 102804"/>
                  <a:gd name="connsiteX98" fmla="*/ 56075 w 118939"/>
                  <a:gd name="connsiteY98" fmla="*/ 37472 h 102804"/>
                  <a:gd name="connsiteX99" fmla="*/ 54047 w 118939"/>
                  <a:gd name="connsiteY99" fmla="*/ 37472 h 102804"/>
                  <a:gd name="connsiteX100" fmla="*/ 50873 w 118939"/>
                  <a:gd name="connsiteY100" fmla="*/ 35179 h 102804"/>
                  <a:gd name="connsiteX101" fmla="*/ 47699 w 118939"/>
                  <a:gd name="connsiteY101" fmla="*/ 35179 h 102804"/>
                  <a:gd name="connsiteX102" fmla="*/ 47964 w 118939"/>
                  <a:gd name="connsiteY102" fmla="*/ 36678 h 102804"/>
                  <a:gd name="connsiteX103" fmla="*/ 47435 w 118939"/>
                  <a:gd name="connsiteY103" fmla="*/ 38089 h 102804"/>
                  <a:gd name="connsiteX104" fmla="*/ 45936 w 118939"/>
                  <a:gd name="connsiteY104" fmla="*/ 39852 h 102804"/>
                  <a:gd name="connsiteX105" fmla="*/ 45319 w 118939"/>
                  <a:gd name="connsiteY105" fmla="*/ 40117 h 102804"/>
                  <a:gd name="connsiteX106" fmla="*/ 46465 w 118939"/>
                  <a:gd name="connsiteY106" fmla="*/ 42144 h 102804"/>
                  <a:gd name="connsiteX107" fmla="*/ 46729 w 118939"/>
                  <a:gd name="connsiteY107" fmla="*/ 44172 h 102804"/>
                  <a:gd name="connsiteX108" fmla="*/ 48493 w 118939"/>
                  <a:gd name="connsiteY108" fmla="*/ 46553 h 102804"/>
                  <a:gd name="connsiteX109" fmla="*/ 51138 w 118939"/>
                  <a:gd name="connsiteY109" fmla="*/ 48316 h 102804"/>
                  <a:gd name="connsiteX110" fmla="*/ 52284 w 118939"/>
                  <a:gd name="connsiteY110" fmla="*/ 48316 h 102804"/>
                  <a:gd name="connsiteX111" fmla="*/ 53783 w 118939"/>
                  <a:gd name="connsiteY111" fmla="*/ 49462 h 102804"/>
                  <a:gd name="connsiteX112" fmla="*/ 53783 w 118939"/>
                  <a:gd name="connsiteY112" fmla="*/ 50961 h 102804"/>
                  <a:gd name="connsiteX113" fmla="*/ 55281 w 118939"/>
                  <a:gd name="connsiteY113" fmla="*/ 52725 h 102804"/>
                  <a:gd name="connsiteX114" fmla="*/ 55899 w 118939"/>
                  <a:gd name="connsiteY114" fmla="*/ 52989 h 102804"/>
                  <a:gd name="connsiteX115" fmla="*/ 58279 w 118939"/>
                  <a:gd name="connsiteY115" fmla="*/ 57045 h 102804"/>
                  <a:gd name="connsiteX116" fmla="*/ 58015 w 118939"/>
                  <a:gd name="connsiteY116" fmla="*/ 58191 h 102804"/>
                  <a:gd name="connsiteX117" fmla="*/ 60043 w 118939"/>
                  <a:gd name="connsiteY117" fmla="*/ 59073 h 102804"/>
                  <a:gd name="connsiteX118" fmla="*/ 60660 w 118939"/>
                  <a:gd name="connsiteY118" fmla="*/ 61101 h 102804"/>
                  <a:gd name="connsiteX119" fmla="*/ 62423 w 118939"/>
                  <a:gd name="connsiteY119" fmla="*/ 63129 h 102804"/>
                  <a:gd name="connsiteX120" fmla="*/ 64187 w 118939"/>
                  <a:gd name="connsiteY120" fmla="*/ 63129 h 102804"/>
                  <a:gd name="connsiteX121" fmla="*/ 65068 w 118939"/>
                  <a:gd name="connsiteY121" fmla="*/ 64275 h 102804"/>
                  <a:gd name="connsiteX122" fmla="*/ 67449 w 118939"/>
                  <a:gd name="connsiteY122" fmla="*/ 66303 h 102804"/>
                  <a:gd name="connsiteX123" fmla="*/ 69212 w 118939"/>
                  <a:gd name="connsiteY123" fmla="*/ 68066 h 102804"/>
                  <a:gd name="connsiteX124" fmla="*/ 71504 w 118939"/>
                  <a:gd name="connsiteY124" fmla="*/ 68683 h 102804"/>
                  <a:gd name="connsiteX125" fmla="*/ 73003 w 118939"/>
                  <a:gd name="connsiteY125" fmla="*/ 68066 h 102804"/>
                  <a:gd name="connsiteX126" fmla="*/ 73621 w 118939"/>
                  <a:gd name="connsiteY126" fmla="*/ 70711 h 102804"/>
                  <a:gd name="connsiteX127" fmla="*/ 74767 w 118939"/>
                  <a:gd name="connsiteY127" fmla="*/ 72739 h 102804"/>
                  <a:gd name="connsiteX128" fmla="*/ 78294 w 118939"/>
                  <a:gd name="connsiteY128" fmla="*/ 75648 h 102804"/>
                  <a:gd name="connsiteX129" fmla="*/ 80674 w 118939"/>
                  <a:gd name="connsiteY129" fmla="*/ 76530 h 102804"/>
                  <a:gd name="connsiteX130" fmla="*/ 81291 w 118939"/>
                  <a:gd name="connsiteY130" fmla="*/ 77676 h 102804"/>
                  <a:gd name="connsiteX131" fmla="*/ 80939 w 118939"/>
                  <a:gd name="connsiteY131" fmla="*/ 81468 h 102804"/>
                  <a:gd name="connsiteX132" fmla="*/ 82966 w 118939"/>
                  <a:gd name="connsiteY132" fmla="*/ 81732 h 102804"/>
                  <a:gd name="connsiteX133" fmla="*/ 83848 w 118939"/>
                  <a:gd name="connsiteY133" fmla="*/ 83760 h 102804"/>
                  <a:gd name="connsiteX134" fmla="*/ 84994 w 118939"/>
                  <a:gd name="connsiteY134" fmla="*/ 85523 h 102804"/>
                  <a:gd name="connsiteX135" fmla="*/ 86140 w 118939"/>
                  <a:gd name="connsiteY135" fmla="*/ 86141 h 102804"/>
                  <a:gd name="connsiteX136" fmla="*/ 86669 w 118939"/>
                  <a:gd name="connsiteY136" fmla="*/ 87639 h 102804"/>
                  <a:gd name="connsiteX137" fmla="*/ 88168 w 118939"/>
                  <a:gd name="connsiteY137" fmla="*/ 89138 h 102804"/>
                  <a:gd name="connsiteX138" fmla="*/ 89050 w 118939"/>
                  <a:gd name="connsiteY138" fmla="*/ 91166 h 102804"/>
                  <a:gd name="connsiteX139" fmla="*/ 89315 w 118939"/>
                  <a:gd name="connsiteY139" fmla="*/ 89667 h 102804"/>
                  <a:gd name="connsiteX140" fmla="*/ 94869 w 118939"/>
                  <a:gd name="connsiteY140" fmla="*/ 93459 h 102804"/>
                  <a:gd name="connsiteX141" fmla="*/ 101041 w 118939"/>
                  <a:gd name="connsiteY141" fmla="*/ 93988 h 102804"/>
                  <a:gd name="connsiteX142" fmla="*/ 106596 w 118939"/>
                  <a:gd name="connsiteY142" fmla="*/ 99278 h 102804"/>
                  <a:gd name="connsiteX143" fmla="*/ 106596 w 118939"/>
                  <a:gd name="connsiteY143" fmla="*/ 102804 h 102804"/>
                  <a:gd name="connsiteX144" fmla="*/ 104568 w 118939"/>
                  <a:gd name="connsiteY144" fmla="*/ 102804 h 102804"/>
                  <a:gd name="connsiteX145" fmla="*/ 104568 w 118939"/>
                  <a:gd name="connsiteY145" fmla="*/ 101923 h 102804"/>
                  <a:gd name="connsiteX146" fmla="*/ 100512 w 118939"/>
                  <a:gd name="connsiteY146" fmla="*/ 99630 h 102804"/>
                  <a:gd name="connsiteX147" fmla="*/ 100512 w 118939"/>
                  <a:gd name="connsiteY147" fmla="*/ 99013 h 102804"/>
                  <a:gd name="connsiteX148" fmla="*/ 99630 w 118939"/>
                  <a:gd name="connsiteY148" fmla="*/ 99013 h 102804"/>
                  <a:gd name="connsiteX149" fmla="*/ 96456 w 118939"/>
                  <a:gd name="connsiteY149" fmla="*/ 97867 h 102804"/>
                  <a:gd name="connsiteX150" fmla="*/ 96456 w 118939"/>
                  <a:gd name="connsiteY150" fmla="*/ 97338 h 102804"/>
                  <a:gd name="connsiteX151" fmla="*/ 95310 w 118939"/>
                  <a:gd name="connsiteY151" fmla="*/ 96721 h 102804"/>
                  <a:gd name="connsiteX152" fmla="*/ 94164 w 118939"/>
                  <a:gd name="connsiteY152" fmla="*/ 95574 h 102804"/>
                  <a:gd name="connsiteX153" fmla="*/ 94164 w 118939"/>
                  <a:gd name="connsiteY153" fmla="*/ 94693 h 102804"/>
                  <a:gd name="connsiteX154" fmla="*/ 90902 w 118939"/>
                  <a:gd name="connsiteY154" fmla="*/ 94428 h 102804"/>
                  <a:gd name="connsiteX155" fmla="*/ 89755 w 118939"/>
                  <a:gd name="connsiteY155" fmla="*/ 94428 h 102804"/>
                  <a:gd name="connsiteX156" fmla="*/ 89755 w 118939"/>
                  <a:gd name="connsiteY156" fmla="*/ 94693 h 102804"/>
                  <a:gd name="connsiteX157" fmla="*/ 83936 w 118939"/>
                  <a:gd name="connsiteY157" fmla="*/ 92929 h 102804"/>
                  <a:gd name="connsiteX158" fmla="*/ 83672 w 118939"/>
                  <a:gd name="connsiteY158" fmla="*/ 92312 h 102804"/>
                  <a:gd name="connsiteX159" fmla="*/ 82525 w 118939"/>
                  <a:gd name="connsiteY159" fmla="*/ 90813 h 102804"/>
                  <a:gd name="connsiteX160" fmla="*/ 80762 w 118939"/>
                  <a:gd name="connsiteY160" fmla="*/ 90196 h 102804"/>
                  <a:gd name="connsiteX161" fmla="*/ 79881 w 118939"/>
                  <a:gd name="connsiteY161" fmla="*/ 90196 h 102804"/>
                  <a:gd name="connsiteX162" fmla="*/ 79263 w 118939"/>
                  <a:gd name="connsiteY162" fmla="*/ 90461 h 102804"/>
                  <a:gd name="connsiteX163" fmla="*/ 78117 w 118939"/>
                  <a:gd name="connsiteY163" fmla="*/ 90196 h 102804"/>
                  <a:gd name="connsiteX164" fmla="*/ 77236 w 118939"/>
                  <a:gd name="connsiteY164" fmla="*/ 89932 h 102804"/>
                  <a:gd name="connsiteX165" fmla="*/ 76971 w 118939"/>
                  <a:gd name="connsiteY165" fmla="*/ 89667 h 102804"/>
                  <a:gd name="connsiteX166" fmla="*/ 76971 w 118939"/>
                  <a:gd name="connsiteY166" fmla="*/ 89403 h 102804"/>
                  <a:gd name="connsiteX167" fmla="*/ 77236 w 118939"/>
                  <a:gd name="connsiteY167" fmla="*/ 89403 h 102804"/>
                  <a:gd name="connsiteX168" fmla="*/ 77853 w 118939"/>
                  <a:gd name="connsiteY168" fmla="*/ 89403 h 102804"/>
                  <a:gd name="connsiteX169" fmla="*/ 78382 w 118939"/>
                  <a:gd name="connsiteY169" fmla="*/ 89403 h 102804"/>
                  <a:gd name="connsiteX170" fmla="*/ 78646 w 118939"/>
                  <a:gd name="connsiteY170" fmla="*/ 89667 h 102804"/>
                  <a:gd name="connsiteX171" fmla="*/ 79528 w 118939"/>
                  <a:gd name="connsiteY171" fmla="*/ 89667 h 102804"/>
                  <a:gd name="connsiteX172" fmla="*/ 80674 w 118939"/>
                  <a:gd name="connsiteY172" fmla="*/ 89667 h 102804"/>
                  <a:gd name="connsiteX173" fmla="*/ 81291 w 118939"/>
                  <a:gd name="connsiteY173" fmla="*/ 90284 h 102804"/>
                  <a:gd name="connsiteX174" fmla="*/ 82173 w 118939"/>
                  <a:gd name="connsiteY174" fmla="*/ 90284 h 102804"/>
                  <a:gd name="connsiteX175" fmla="*/ 83672 w 118939"/>
                  <a:gd name="connsiteY175" fmla="*/ 90902 h 102804"/>
                  <a:gd name="connsiteX176" fmla="*/ 87463 w 118939"/>
                  <a:gd name="connsiteY176" fmla="*/ 91519 h 102804"/>
                  <a:gd name="connsiteX177" fmla="*/ 89844 w 118939"/>
                  <a:gd name="connsiteY177" fmla="*/ 92929 h 102804"/>
                  <a:gd name="connsiteX178" fmla="*/ 89579 w 118939"/>
                  <a:gd name="connsiteY178" fmla="*/ 92312 h 102804"/>
                  <a:gd name="connsiteX179" fmla="*/ 88697 w 118939"/>
                  <a:gd name="connsiteY179" fmla="*/ 91166 h 102804"/>
                  <a:gd name="connsiteX180" fmla="*/ 87199 w 118939"/>
                  <a:gd name="connsiteY180" fmla="*/ 90902 h 102804"/>
                  <a:gd name="connsiteX181" fmla="*/ 83672 w 118939"/>
                  <a:gd name="connsiteY181" fmla="*/ 89755 h 102804"/>
                  <a:gd name="connsiteX182" fmla="*/ 83672 w 118939"/>
                  <a:gd name="connsiteY182" fmla="*/ 89226 h 102804"/>
                  <a:gd name="connsiteX183" fmla="*/ 82525 w 118939"/>
                  <a:gd name="connsiteY183" fmla="*/ 88609 h 102804"/>
                  <a:gd name="connsiteX184" fmla="*/ 82261 w 118939"/>
                  <a:gd name="connsiteY184" fmla="*/ 88609 h 102804"/>
                  <a:gd name="connsiteX185" fmla="*/ 82525 w 118939"/>
                  <a:gd name="connsiteY185" fmla="*/ 88874 h 102804"/>
                  <a:gd name="connsiteX186" fmla="*/ 82525 w 118939"/>
                  <a:gd name="connsiteY186" fmla="*/ 89138 h 102804"/>
                  <a:gd name="connsiteX187" fmla="*/ 81909 w 118939"/>
                  <a:gd name="connsiteY187" fmla="*/ 89138 h 102804"/>
                  <a:gd name="connsiteX188" fmla="*/ 81380 w 118939"/>
                  <a:gd name="connsiteY188" fmla="*/ 88257 h 102804"/>
                  <a:gd name="connsiteX189" fmla="*/ 81380 w 118939"/>
                  <a:gd name="connsiteY189" fmla="*/ 87639 h 102804"/>
                  <a:gd name="connsiteX190" fmla="*/ 80498 w 118939"/>
                  <a:gd name="connsiteY190" fmla="*/ 87022 h 102804"/>
                  <a:gd name="connsiteX191" fmla="*/ 79616 w 118939"/>
                  <a:gd name="connsiteY191" fmla="*/ 86758 h 102804"/>
                  <a:gd name="connsiteX192" fmla="*/ 78734 w 118939"/>
                  <a:gd name="connsiteY192" fmla="*/ 86141 h 102804"/>
                  <a:gd name="connsiteX193" fmla="*/ 77853 w 118939"/>
                  <a:gd name="connsiteY193" fmla="*/ 85876 h 102804"/>
                  <a:gd name="connsiteX194" fmla="*/ 77236 w 118939"/>
                  <a:gd name="connsiteY194" fmla="*/ 84994 h 102804"/>
                  <a:gd name="connsiteX195" fmla="*/ 77236 w 118939"/>
                  <a:gd name="connsiteY195" fmla="*/ 84377 h 102804"/>
                  <a:gd name="connsiteX196" fmla="*/ 76354 w 118939"/>
                  <a:gd name="connsiteY196" fmla="*/ 83760 h 102804"/>
                  <a:gd name="connsiteX197" fmla="*/ 75737 w 118939"/>
                  <a:gd name="connsiteY197" fmla="*/ 84024 h 102804"/>
                  <a:gd name="connsiteX198" fmla="*/ 75737 w 118939"/>
                  <a:gd name="connsiteY198" fmla="*/ 83760 h 102804"/>
                  <a:gd name="connsiteX199" fmla="*/ 74855 w 118939"/>
                  <a:gd name="connsiteY199" fmla="*/ 83495 h 102804"/>
                  <a:gd name="connsiteX200" fmla="*/ 74590 w 118939"/>
                  <a:gd name="connsiteY200" fmla="*/ 83231 h 102804"/>
                  <a:gd name="connsiteX201" fmla="*/ 74326 w 118939"/>
                  <a:gd name="connsiteY201" fmla="*/ 82702 h 102804"/>
                  <a:gd name="connsiteX202" fmla="*/ 73180 w 118939"/>
                  <a:gd name="connsiteY202" fmla="*/ 80674 h 102804"/>
                  <a:gd name="connsiteX203" fmla="*/ 71681 w 118939"/>
                  <a:gd name="connsiteY203" fmla="*/ 79792 h 102804"/>
                  <a:gd name="connsiteX204" fmla="*/ 69917 w 118939"/>
                  <a:gd name="connsiteY204" fmla="*/ 78911 h 102804"/>
                  <a:gd name="connsiteX205" fmla="*/ 67537 w 118939"/>
                  <a:gd name="connsiteY205" fmla="*/ 78294 h 102804"/>
                  <a:gd name="connsiteX206" fmla="*/ 66038 w 118939"/>
                  <a:gd name="connsiteY206" fmla="*/ 78029 h 102804"/>
                  <a:gd name="connsiteX207" fmla="*/ 65421 w 118939"/>
                  <a:gd name="connsiteY207" fmla="*/ 77147 h 102804"/>
                  <a:gd name="connsiteX208" fmla="*/ 64275 w 118939"/>
                  <a:gd name="connsiteY208" fmla="*/ 76530 h 102804"/>
                  <a:gd name="connsiteX209" fmla="*/ 63129 w 118939"/>
                  <a:gd name="connsiteY209" fmla="*/ 76530 h 102804"/>
                  <a:gd name="connsiteX210" fmla="*/ 62600 w 118939"/>
                  <a:gd name="connsiteY210" fmla="*/ 76530 h 102804"/>
                  <a:gd name="connsiteX211" fmla="*/ 63129 w 118939"/>
                  <a:gd name="connsiteY211" fmla="*/ 75913 h 102804"/>
                  <a:gd name="connsiteX212" fmla="*/ 63481 w 118939"/>
                  <a:gd name="connsiteY212" fmla="*/ 75648 h 102804"/>
                  <a:gd name="connsiteX213" fmla="*/ 63746 w 118939"/>
                  <a:gd name="connsiteY213" fmla="*/ 75031 h 102804"/>
                  <a:gd name="connsiteX214" fmla="*/ 63129 w 118939"/>
                  <a:gd name="connsiteY214" fmla="*/ 75031 h 102804"/>
                  <a:gd name="connsiteX215" fmla="*/ 62600 w 118939"/>
                  <a:gd name="connsiteY215" fmla="*/ 75648 h 102804"/>
                  <a:gd name="connsiteX216" fmla="*/ 61718 w 118939"/>
                  <a:gd name="connsiteY216" fmla="*/ 75031 h 102804"/>
                  <a:gd name="connsiteX217" fmla="*/ 61101 w 118939"/>
                  <a:gd name="connsiteY217" fmla="*/ 75031 h 102804"/>
                  <a:gd name="connsiteX218" fmla="*/ 60219 w 118939"/>
                  <a:gd name="connsiteY218" fmla="*/ 75296 h 102804"/>
                  <a:gd name="connsiteX219" fmla="*/ 59602 w 118939"/>
                  <a:gd name="connsiteY219" fmla="*/ 75031 h 102804"/>
                  <a:gd name="connsiteX220" fmla="*/ 58720 w 118939"/>
                  <a:gd name="connsiteY220" fmla="*/ 75913 h 102804"/>
                  <a:gd name="connsiteX221" fmla="*/ 57574 w 118939"/>
                  <a:gd name="connsiteY221" fmla="*/ 76530 h 102804"/>
                  <a:gd name="connsiteX222" fmla="*/ 56957 w 118939"/>
                  <a:gd name="connsiteY222" fmla="*/ 76266 h 102804"/>
                  <a:gd name="connsiteX223" fmla="*/ 56428 w 118939"/>
                  <a:gd name="connsiteY223" fmla="*/ 76530 h 102804"/>
                  <a:gd name="connsiteX224" fmla="*/ 55810 w 118939"/>
                  <a:gd name="connsiteY224" fmla="*/ 76266 h 102804"/>
                  <a:gd name="connsiteX225" fmla="*/ 55193 w 118939"/>
                  <a:gd name="connsiteY225" fmla="*/ 76530 h 102804"/>
                  <a:gd name="connsiteX226" fmla="*/ 56340 w 118939"/>
                  <a:gd name="connsiteY226" fmla="*/ 76795 h 102804"/>
                  <a:gd name="connsiteX227" fmla="*/ 57838 w 118939"/>
                  <a:gd name="connsiteY227" fmla="*/ 77059 h 102804"/>
                  <a:gd name="connsiteX228" fmla="*/ 57574 w 118939"/>
                  <a:gd name="connsiteY228" fmla="*/ 77324 h 102804"/>
                  <a:gd name="connsiteX229" fmla="*/ 56075 w 118939"/>
                  <a:gd name="connsiteY229" fmla="*/ 77324 h 102804"/>
                  <a:gd name="connsiteX230" fmla="*/ 55458 w 118939"/>
                  <a:gd name="connsiteY230" fmla="*/ 77059 h 102804"/>
                  <a:gd name="connsiteX231" fmla="*/ 54576 w 118939"/>
                  <a:gd name="connsiteY231" fmla="*/ 77676 h 102804"/>
                  <a:gd name="connsiteX232" fmla="*/ 53430 w 118939"/>
                  <a:gd name="connsiteY232" fmla="*/ 77412 h 102804"/>
                  <a:gd name="connsiteX233" fmla="*/ 52548 w 118939"/>
                  <a:gd name="connsiteY233" fmla="*/ 77147 h 102804"/>
                  <a:gd name="connsiteX234" fmla="*/ 52284 w 118939"/>
                  <a:gd name="connsiteY234" fmla="*/ 76883 h 102804"/>
                  <a:gd name="connsiteX235" fmla="*/ 52548 w 118939"/>
                  <a:gd name="connsiteY235" fmla="*/ 76618 h 102804"/>
                  <a:gd name="connsiteX236" fmla="*/ 53166 w 118939"/>
                  <a:gd name="connsiteY236" fmla="*/ 76001 h 102804"/>
                  <a:gd name="connsiteX237" fmla="*/ 54312 w 118939"/>
                  <a:gd name="connsiteY237" fmla="*/ 76618 h 102804"/>
                  <a:gd name="connsiteX238" fmla="*/ 54312 w 118939"/>
                  <a:gd name="connsiteY238" fmla="*/ 75737 h 102804"/>
                  <a:gd name="connsiteX239" fmla="*/ 54047 w 118939"/>
                  <a:gd name="connsiteY239" fmla="*/ 75120 h 102804"/>
                  <a:gd name="connsiteX240" fmla="*/ 53166 w 118939"/>
                  <a:gd name="connsiteY240" fmla="*/ 74855 h 102804"/>
                  <a:gd name="connsiteX241" fmla="*/ 52548 w 118939"/>
                  <a:gd name="connsiteY241" fmla="*/ 75120 h 102804"/>
                  <a:gd name="connsiteX242" fmla="*/ 52284 w 118939"/>
                  <a:gd name="connsiteY242" fmla="*/ 74855 h 102804"/>
                  <a:gd name="connsiteX243" fmla="*/ 52284 w 118939"/>
                  <a:gd name="connsiteY243" fmla="*/ 74238 h 102804"/>
                  <a:gd name="connsiteX244" fmla="*/ 52284 w 118939"/>
                  <a:gd name="connsiteY244" fmla="*/ 73356 h 102804"/>
                  <a:gd name="connsiteX245" fmla="*/ 52548 w 118939"/>
                  <a:gd name="connsiteY245" fmla="*/ 73092 h 102804"/>
                  <a:gd name="connsiteX246" fmla="*/ 52284 w 118939"/>
                  <a:gd name="connsiteY246" fmla="*/ 72827 h 102804"/>
                  <a:gd name="connsiteX247" fmla="*/ 51667 w 118939"/>
                  <a:gd name="connsiteY247" fmla="*/ 72210 h 102804"/>
                  <a:gd name="connsiteX248" fmla="*/ 51402 w 118939"/>
                  <a:gd name="connsiteY248" fmla="*/ 72210 h 102804"/>
                  <a:gd name="connsiteX249" fmla="*/ 50785 w 118939"/>
                  <a:gd name="connsiteY249" fmla="*/ 72210 h 102804"/>
                  <a:gd name="connsiteX250" fmla="*/ 50521 w 118939"/>
                  <a:gd name="connsiteY250" fmla="*/ 71593 h 102804"/>
                  <a:gd name="connsiteX251" fmla="*/ 49639 w 118939"/>
                  <a:gd name="connsiteY251" fmla="*/ 70976 h 102804"/>
                  <a:gd name="connsiteX252" fmla="*/ 47875 w 118939"/>
                  <a:gd name="connsiteY252" fmla="*/ 70976 h 102804"/>
                  <a:gd name="connsiteX253" fmla="*/ 47611 w 118939"/>
                  <a:gd name="connsiteY253" fmla="*/ 69829 h 102804"/>
                  <a:gd name="connsiteX254" fmla="*/ 45583 w 118939"/>
                  <a:gd name="connsiteY254" fmla="*/ 69212 h 102804"/>
                  <a:gd name="connsiteX255" fmla="*/ 43820 w 118939"/>
                  <a:gd name="connsiteY255" fmla="*/ 66832 h 102804"/>
                  <a:gd name="connsiteX256" fmla="*/ 41792 w 118939"/>
                  <a:gd name="connsiteY256" fmla="*/ 66214 h 102804"/>
                  <a:gd name="connsiteX257" fmla="*/ 41175 w 118939"/>
                  <a:gd name="connsiteY257" fmla="*/ 65068 h 102804"/>
                  <a:gd name="connsiteX258" fmla="*/ 40029 w 118939"/>
                  <a:gd name="connsiteY258" fmla="*/ 64187 h 102804"/>
                  <a:gd name="connsiteX259" fmla="*/ 40029 w 118939"/>
                  <a:gd name="connsiteY259" fmla="*/ 63305 h 102804"/>
                  <a:gd name="connsiteX260" fmla="*/ 39147 w 118939"/>
                  <a:gd name="connsiteY260" fmla="*/ 62423 h 102804"/>
                  <a:gd name="connsiteX261" fmla="*/ 38001 w 118939"/>
                  <a:gd name="connsiteY261" fmla="*/ 61806 h 102804"/>
                  <a:gd name="connsiteX262" fmla="*/ 36854 w 118939"/>
                  <a:gd name="connsiteY262" fmla="*/ 61189 h 102804"/>
                  <a:gd name="connsiteX263" fmla="*/ 36237 w 118939"/>
                  <a:gd name="connsiteY263" fmla="*/ 60043 h 102804"/>
                  <a:gd name="connsiteX264" fmla="*/ 36237 w 118939"/>
                  <a:gd name="connsiteY264" fmla="*/ 58896 h 102804"/>
                  <a:gd name="connsiteX265" fmla="*/ 36237 w 118939"/>
                  <a:gd name="connsiteY265" fmla="*/ 58015 h 102804"/>
                  <a:gd name="connsiteX266" fmla="*/ 35973 w 118939"/>
                  <a:gd name="connsiteY266" fmla="*/ 57398 h 102804"/>
                  <a:gd name="connsiteX267" fmla="*/ 36590 w 118939"/>
                  <a:gd name="connsiteY267" fmla="*/ 57662 h 102804"/>
                  <a:gd name="connsiteX268" fmla="*/ 36590 w 118939"/>
                  <a:gd name="connsiteY268" fmla="*/ 56780 h 102804"/>
                  <a:gd name="connsiteX269" fmla="*/ 38089 w 118939"/>
                  <a:gd name="connsiteY269" fmla="*/ 57309 h 102804"/>
                  <a:gd name="connsiteX270" fmla="*/ 38971 w 118939"/>
                  <a:gd name="connsiteY270" fmla="*/ 57309 h 102804"/>
                  <a:gd name="connsiteX271" fmla="*/ 37560 w 118939"/>
                  <a:gd name="connsiteY271" fmla="*/ 55546 h 102804"/>
                  <a:gd name="connsiteX272" fmla="*/ 40469 w 118939"/>
                  <a:gd name="connsiteY272" fmla="*/ 57574 h 102804"/>
                  <a:gd name="connsiteX273" fmla="*/ 41351 w 118939"/>
                  <a:gd name="connsiteY273" fmla="*/ 57838 h 102804"/>
                  <a:gd name="connsiteX274" fmla="*/ 41704 w 118939"/>
                  <a:gd name="connsiteY274" fmla="*/ 57221 h 102804"/>
                  <a:gd name="connsiteX275" fmla="*/ 41351 w 118939"/>
                  <a:gd name="connsiteY275" fmla="*/ 56692 h 102804"/>
                  <a:gd name="connsiteX276" fmla="*/ 40205 w 118939"/>
                  <a:gd name="connsiteY276" fmla="*/ 55546 h 102804"/>
                  <a:gd name="connsiteX277" fmla="*/ 38706 w 118939"/>
                  <a:gd name="connsiteY277" fmla="*/ 55546 h 102804"/>
                  <a:gd name="connsiteX278" fmla="*/ 37560 w 118939"/>
                  <a:gd name="connsiteY278" fmla="*/ 52372 h 102804"/>
                  <a:gd name="connsiteX279" fmla="*/ 35179 w 118939"/>
                  <a:gd name="connsiteY279" fmla="*/ 51755 h 102804"/>
                  <a:gd name="connsiteX280" fmla="*/ 32005 w 118939"/>
                  <a:gd name="connsiteY280" fmla="*/ 49991 h 102804"/>
                  <a:gd name="connsiteX281" fmla="*/ 29360 w 118939"/>
                  <a:gd name="connsiteY281" fmla="*/ 47346 h 102804"/>
                  <a:gd name="connsiteX282" fmla="*/ 29095 w 118939"/>
                  <a:gd name="connsiteY282" fmla="*/ 44172 h 102804"/>
                  <a:gd name="connsiteX283" fmla="*/ 29977 w 118939"/>
                  <a:gd name="connsiteY283" fmla="*/ 39764 h 102804"/>
                  <a:gd name="connsiteX284" fmla="*/ 28214 w 118939"/>
                  <a:gd name="connsiteY284" fmla="*/ 36854 h 102804"/>
                  <a:gd name="connsiteX285" fmla="*/ 25922 w 118939"/>
                  <a:gd name="connsiteY285" fmla="*/ 36325 h 102804"/>
                  <a:gd name="connsiteX286" fmla="*/ 25040 w 118939"/>
                  <a:gd name="connsiteY286" fmla="*/ 34562 h 102804"/>
                  <a:gd name="connsiteX287" fmla="*/ 22747 w 118939"/>
                  <a:gd name="connsiteY287" fmla="*/ 33063 h 102804"/>
                  <a:gd name="connsiteX288" fmla="*/ 23012 w 118939"/>
                  <a:gd name="connsiteY288" fmla="*/ 32799 h 102804"/>
                  <a:gd name="connsiteX289" fmla="*/ 22747 w 118939"/>
                  <a:gd name="connsiteY289" fmla="*/ 32534 h 102804"/>
                  <a:gd name="connsiteX290" fmla="*/ 22130 w 118939"/>
                  <a:gd name="connsiteY290" fmla="*/ 32270 h 102804"/>
                  <a:gd name="connsiteX291" fmla="*/ 21513 w 118939"/>
                  <a:gd name="connsiteY291" fmla="*/ 32534 h 102804"/>
                  <a:gd name="connsiteX292" fmla="*/ 21513 w 118939"/>
                  <a:gd name="connsiteY292" fmla="*/ 33151 h 102804"/>
                  <a:gd name="connsiteX293" fmla="*/ 21249 w 118939"/>
                  <a:gd name="connsiteY293" fmla="*/ 33151 h 102804"/>
                  <a:gd name="connsiteX294" fmla="*/ 20984 w 118939"/>
                  <a:gd name="connsiteY294" fmla="*/ 32534 h 102804"/>
                  <a:gd name="connsiteX295" fmla="*/ 19485 w 118939"/>
                  <a:gd name="connsiteY295" fmla="*/ 31388 h 102804"/>
                  <a:gd name="connsiteX296" fmla="*/ 17986 w 118939"/>
                  <a:gd name="connsiteY296" fmla="*/ 31388 h 102804"/>
                  <a:gd name="connsiteX297" fmla="*/ 17369 w 118939"/>
                  <a:gd name="connsiteY297" fmla="*/ 32534 h 102804"/>
                  <a:gd name="connsiteX298" fmla="*/ 17722 w 118939"/>
                  <a:gd name="connsiteY298" fmla="*/ 33680 h 102804"/>
                  <a:gd name="connsiteX299" fmla="*/ 16576 w 118939"/>
                  <a:gd name="connsiteY299" fmla="*/ 36325 h 102804"/>
                  <a:gd name="connsiteX300" fmla="*/ 15429 w 118939"/>
                  <a:gd name="connsiteY300" fmla="*/ 36325 h 102804"/>
                  <a:gd name="connsiteX301" fmla="*/ 15429 w 118939"/>
                  <a:gd name="connsiteY301" fmla="*/ 36854 h 102804"/>
                  <a:gd name="connsiteX302" fmla="*/ 15429 w 118939"/>
                  <a:gd name="connsiteY302" fmla="*/ 37472 h 102804"/>
                  <a:gd name="connsiteX303" fmla="*/ 14900 w 118939"/>
                  <a:gd name="connsiteY303" fmla="*/ 37472 h 102804"/>
                  <a:gd name="connsiteX304" fmla="*/ 14900 w 118939"/>
                  <a:gd name="connsiteY304" fmla="*/ 38353 h 102804"/>
                  <a:gd name="connsiteX305" fmla="*/ 15429 w 118939"/>
                  <a:gd name="connsiteY305" fmla="*/ 38970 h 102804"/>
                  <a:gd name="connsiteX306" fmla="*/ 14900 w 118939"/>
                  <a:gd name="connsiteY306" fmla="*/ 39852 h 102804"/>
                  <a:gd name="connsiteX307" fmla="*/ 14283 w 118939"/>
                  <a:gd name="connsiteY307" fmla="*/ 40117 h 102804"/>
                  <a:gd name="connsiteX308" fmla="*/ 13401 w 118939"/>
                  <a:gd name="connsiteY308" fmla="*/ 41263 h 102804"/>
                  <a:gd name="connsiteX309" fmla="*/ 13666 w 118939"/>
                  <a:gd name="connsiteY309" fmla="*/ 39764 h 102804"/>
                  <a:gd name="connsiteX310" fmla="*/ 12785 w 118939"/>
                  <a:gd name="connsiteY310" fmla="*/ 39147 h 102804"/>
                  <a:gd name="connsiteX311" fmla="*/ 12167 w 118939"/>
                  <a:gd name="connsiteY311" fmla="*/ 39411 h 102804"/>
                  <a:gd name="connsiteX312" fmla="*/ 12167 w 118939"/>
                  <a:gd name="connsiteY312" fmla="*/ 39676 h 102804"/>
                  <a:gd name="connsiteX313" fmla="*/ 13049 w 118939"/>
                  <a:gd name="connsiteY313" fmla="*/ 39940 h 102804"/>
                  <a:gd name="connsiteX314" fmla="*/ 12785 w 118939"/>
                  <a:gd name="connsiteY314" fmla="*/ 40558 h 102804"/>
                  <a:gd name="connsiteX315" fmla="*/ 12167 w 118939"/>
                  <a:gd name="connsiteY315" fmla="*/ 41175 h 102804"/>
                  <a:gd name="connsiteX316" fmla="*/ 11903 w 118939"/>
                  <a:gd name="connsiteY316" fmla="*/ 42321 h 102804"/>
                  <a:gd name="connsiteX317" fmla="*/ 11638 w 118939"/>
                  <a:gd name="connsiteY317" fmla="*/ 42056 h 102804"/>
                  <a:gd name="connsiteX318" fmla="*/ 11374 w 118939"/>
                  <a:gd name="connsiteY318" fmla="*/ 42938 h 102804"/>
                  <a:gd name="connsiteX319" fmla="*/ 11638 w 118939"/>
                  <a:gd name="connsiteY319" fmla="*/ 44966 h 102804"/>
                  <a:gd name="connsiteX320" fmla="*/ 11903 w 118939"/>
                  <a:gd name="connsiteY320" fmla="*/ 45230 h 102804"/>
                  <a:gd name="connsiteX321" fmla="*/ 11286 w 118939"/>
                  <a:gd name="connsiteY321" fmla="*/ 44966 h 102804"/>
                  <a:gd name="connsiteX322" fmla="*/ 9875 w 118939"/>
                  <a:gd name="connsiteY322" fmla="*/ 44084 h 102804"/>
                  <a:gd name="connsiteX323" fmla="*/ 9522 w 118939"/>
                  <a:gd name="connsiteY323" fmla="*/ 44966 h 102804"/>
                  <a:gd name="connsiteX324" fmla="*/ 9258 w 118939"/>
                  <a:gd name="connsiteY324" fmla="*/ 44084 h 102804"/>
                  <a:gd name="connsiteX325" fmla="*/ 8641 w 118939"/>
                  <a:gd name="connsiteY325" fmla="*/ 42938 h 102804"/>
                  <a:gd name="connsiteX326" fmla="*/ 9258 w 118939"/>
                  <a:gd name="connsiteY326" fmla="*/ 42938 h 102804"/>
                  <a:gd name="connsiteX327" fmla="*/ 8641 w 118939"/>
                  <a:gd name="connsiteY327" fmla="*/ 42056 h 102804"/>
                  <a:gd name="connsiteX328" fmla="*/ 8905 w 118939"/>
                  <a:gd name="connsiteY328" fmla="*/ 40558 h 102804"/>
                  <a:gd name="connsiteX329" fmla="*/ 8288 w 118939"/>
                  <a:gd name="connsiteY329" fmla="*/ 39676 h 102804"/>
                  <a:gd name="connsiteX330" fmla="*/ 7671 w 118939"/>
                  <a:gd name="connsiteY330" fmla="*/ 39059 h 102804"/>
                  <a:gd name="connsiteX331" fmla="*/ 6172 w 118939"/>
                  <a:gd name="connsiteY331" fmla="*/ 39323 h 102804"/>
                  <a:gd name="connsiteX332" fmla="*/ 6436 w 118939"/>
                  <a:gd name="connsiteY332" fmla="*/ 38441 h 102804"/>
                  <a:gd name="connsiteX333" fmla="*/ 6172 w 118939"/>
                  <a:gd name="connsiteY333" fmla="*/ 38177 h 102804"/>
                  <a:gd name="connsiteX334" fmla="*/ 5907 w 118939"/>
                  <a:gd name="connsiteY334" fmla="*/ 37295 h 102804"/>
                  <a:gd name="connsiteX335" fmla="*/ 4408 w 118939"/>
                  <a:gd name="connsiteY335" fmla="*/ 36678 h 102804"/>
                  <a:gd name="connsiteX336" fmla="*/ 3791 w 118939"/>
                  <a:gd name="connsiteY336" fmla="*/ 35532 h 102804"/>
                  <a:gd name="connsiteX337" fmla="*/ 4056 w 118939"/>
                  <a:gd name="connsiteY337" fmla="*/ 34650 h 102804"/>
                  <a:gd name="connsiteX338" fmla="*/ 4673 w 118939"/>
                  <a:gd name="connsiteY338" fmla="*/ 33504 h 102804"/>
                  <a:gd name="connsiteX339" fmla="*/ 4056 w 118939"/>
                  <a:gd name="connsiteY339" fmla="*/ 32887 h 102804"/>
                  <a:gd name="connsiteX340" fmla="*/ 4056 w 118939"/>
                  <a:gd name="connsiteY340" fmla="*/ 32270 h 102804"/>
                  <a:gd name="connsiteX341" fmla="*/ 3439 w 118939"/>
                  <a:gd name="connsiteY341" fmla="*/ 31652 h 102804"/>
                  <a:gd name="connsiteX342" fmla="*/ 1675 w 118939"/>
                  <a:gd name="connsiteY342" fmla="*/ 31388 h 102804"/>
                  <a:gd name="connsiteX343" fmla="*/ 1411 w 118939"/>
                  <a:gd name="connsiteY343" fmla="*/ 31123 h 102804"/>
                  <a:gd name="connsiteX344" fmla="*/ 2028 w 118939"/>
                  <a:gd name="connsiteY344" fmla="*/ 30594 h 102804"/>
                  <a:gd name="connsiteX345" fmla="*/ 1411 w 118939"/>
                  <a:gd name="connsiteY345" fmla="*/ 29713 h 102804"/>
                  <a:gd name="connsiteX346" fmla="*/ 0 w 118939"/>
                  <a:gd name="connsiteY346" fmla="*/ 29360 h 102804"/>
                  <a:gd name="connsiteX347" fmla="*/ 529 w 118939"/>
                  <a:gd name="connsiteY347" fmla="*/ 28743 h 102804"/>
                  <a:gd name="connsiteX348" fmla="*/ 264 w 118939"/>
                  <a:gd name="connsiteY348" fmla="*/ 28214 h 102804"/>
                  <a:gd name="connsiteX349" fmla="*/ 1763 w 118939"/>
                  <a:gd name="connsiteY349" fmla="*/ 28743 h 102804"/>
                  <a:gd name="connsiteX350" fmla="*/ 3527 w 118939"/>
                  <a:gd name="connsiteY350" fmla="*/ 28743 h 102804"/>
                  <a:gd name="connsiteX351" fmla="*/ 5290 w 118939"/>
                  <a:gd name="connsiteY351" fmla="*/ 29625 h 102804"/>
                  <a:gd name="connsiteX352" fmla="*/ 6436 w 118939"/>
                  <a:gd name="connsiteY352" fmla="*/ 28743 h 102804"/>
                  <a:gd name="connsiteX353" fmla="*/ 8200 w 118939"/>
                  <a:gd name="connsiteY353" fmla="*/ 28743 h 102804"/>
                  <a:gd name="connsiteX354" fmla="*/ 9346 w 118939"/>
                  <a:gd name="connsiteY354" fmla="*/ 29889 h 102804"/>
                  <a:gd name="connsiteX355" fmla="*/ 11109 w 118939"/>
                  <a:gd name="connsiteY355" fmla="*/ 31388 h 102804"/>
                  <a:gd name="connsiteX356" fmla="*/ 10845 w 118939"/>
                  <a:gd name="connsiteY356" fmla="*/ 28743 h 102804"/>
                  <a:gd name="connsiteX357" fmla="*/ 10845 w 118939"/>
                  <a:gd name="connsiteY357" fmla="*/ 28214 h 102804"/>
                  <a:gd name="connsiteX358" fmla="*/ 11462 w 118939"/>
                  <a:gd name="connsiteY358" fmla="*/ 28214 h 102804"/>
                  <a:gd name="connsiteX359" fmla="*/ 14636 w 118939"/>
                  <a:gd name="connsiteY359" fmla="*/ 32622 h 102804"/>
                  <a:gd name="connsiteX360" fmla="*/ 16664 w 118939"/>
                  <a:gd name="connsiteY360" fmla="*/ 31476 h 102804"/>
                  <a:gd name="connsiteX361" fmla="*/ 17281 w 118939"/>
                  <a:gd name="connsiteY361" fmla="*/ 28302 h 102804"/>
                  <a:gd name="connsiteX362" fmla="*/ 19573 w 118939"/>
                  <a:gd name="connsiteY362" fmla="*/ 28302 h 102804"/>
                  <a:gd name="connsiteX363" fmla="*/ 20720 w 118939"/>
                  <a:gd name="connsiteY363" fmla="*/ 28302 h 102804"/>
                  <a:gd name="connsiteX364" fmla="*/ 24775 w 118939"/>
                  <a:gd name="connsiteY364" fmla="*/ 27685 h 102804"/>
                  <a:gd name="connsiteX365" fmla="*/ 24511 w 118939"/>
                  <a:gd name="connsiteY365" fmla="*/ 25922 h 102804"/>
                  <a:gd name="connsiteX366" fmla="*/ 27685 w 118939"/>
                  <a:gd name="connsiteY366" fmla="*/ 28831 h 102804"/>
                  <a:gd name="connsiteX367" fmla="*/ 30330 w 118939"/>
                  <a:gd name="connsiteY367" fmla="*/ 26539 h 102804"/>
                  <a:gd name="connsiteX368" fmla="*/ 34121 w 118939"/>
                  <a:gd name="connsiteY368" fmla="*/ 28831 h 102804"/>
                  <a:gd name="connsiteX369" fmla="*/ 37031 w 118939"/>
                  <a:gd name="connsiteY369" fmla="*/ 27685 h 102804"/>
                  <a:gd name="connsiteX370" fmla="*/ 36414 w 118939"/>
                  <a:gd name="connsiteY370" fmla="*/ 22747 h 102804"/>
                  <a:gd name="connsiteX371" fmla="*/ 39323 w 118939"/>
                  <a:gd name="connsiteY371" fmla="*/ 21866 h 102804"/>
                  <a:gd name="connsiteX372" fmla="*/ 39940 w 118939"/>
                  <a:gd name="connsiteY372" fmla="*/ 20720 h 102804"/>
                  <a:gd name="connsiteX373" fmla="*/ 39323 w 118939"/>
                  <a:gd name="connsiteY373" fmla="*/ 17546 h 102804"/>
                  <a:gd name="connsiteX374" fmla="*/ 37824 w 118939"/>
                  <a:gd name="connsiteY374" fmla="*/ 16047 h 102804"/>
                  <a:gd name="connsiteX375" fmla="*/ 38971 w 118939"/>
                  <a:gd name="connsiteY375" fmla="*/ 11991 h 102804"/>
                  <a:gd name="connsiteX376" fmla="*/ 41880 w 118939"/>
                  <a:gd name="connsiteY376" fmla="*/ 11991 h 102804"/>
                  <a:gd name="connsiteX377" fmla="*/ 43643 w 118939"/>
                  <a:gd name="connsiteY377" fmla="*/ 11462 h 102804"/>
                  <a:gd name="connsiteX378" fmla="*/ 46553 w 118939"/>
                  <a:gd name="connsiteY378" fmla="*/ 10316 h 102804"/>
                  <a:gd name="connsiteX379" fmla="*/ 47435 w 118939"/>
                  <a:gd name="connsiteY379" fmla="*/ 8552 h 102804"/>
                  <a:gd name="connsiteX380" fmla="*/ 50609 w 118939"/>
                  <a:gd name="connsiteY380" fmla="*/ 7935 h 102804"/>
                  <a:gd name="connsiteX381" fmla="*/ 49198 w 118939"/>
                  <a:gd name="connsiteY381" fmla="*/ 4408 h 102804"/>
                  <a:gd name="connsiteX382" fmla="*/ 50080 w 118939"/>
                  <a:gd name="connsiteY382" fmla="*/ 882 h 102804"/>
                  <a:gd name="connsiteX383" fmla="*/ 54136 w 118939"/>
                  <a:gd name="connsiteY383" fmla="*/ 882 h 102804"/>
                  <a:gd name="connsiteX384" fmla="*/ 57045 w 118939"/>
                  <a:gd name="connsiteY384" fmla="*/ 0 h 102804"/>
                  <a:gd name="connsiteX385" fmla="*/ 57309 w 118939"/>
                  <a:gd name="connsiteY385" fmla="*/ 2028 h 102804"/>
                  <a:gd name="connsiteX386" fmla="*/ 59602 w 118939"/>
                  <a:gd name="connsiteY386" fmla="*/ 2028 h 102804"/>
                  <a:gd name="connsiteX387" fmla="*/ 59602 w 118939"/>
                  <a:gd name="connsiteY387" fmla="*/ 4056 h 102804"/>
                  <a:gd name="connsiteX388" fmla="*/ 61982 w 118939"/>
                  <a:gd name="connsiteY388" fmla="*/ 4673 h 102804"/>
                  <a:gd name="connsiteX389" fmla="*/ 63481 w 118939"/>
                  <a:gd name="connsiteY389" fmla="*/ 6701 h 102804"/>
                  <a:gd name="connsiteX390" fmla="*/ 64627 w 118939"/>
                  <a:gd name="connsiteY390" fmla="*/ 6701 h 102804"/>
                  <a:gd name="connsiteX391" fmla="*/ 66391 w 118939"/>
                  <a:gd name="connsiteY391" fmla="*/ 7847 h 102804"/>
                  <a:gd name="connsiteX392" fmla="*/ 66655 w 118939"/>
                  <a:gd name="connsiteY392" fmla="*/ 9610 h 102804"/>
                  <a:gd name="connsiteX393" fmla="*/ 67802 w 118939"/>
                  <a:gd name="connsiteY393" fmla="*/ 9610 h 102804"/>
                  <a:gd name="connsiteX394" fmla="*/ 70711 w 118939"/>
                  <a:gd name="connsiteY394" fmla="*/ 10757 h 102804"/>
                  <a:gd name="connsiteX395" fmla="*/ 71857 w 118939"/>
                  <a:gd name="connsiteY395" fmla="*/ 10757 h 102804"/>
                  <a:gd name="connsiteX396" fmla="*/ 71593 w 118939"/>
                  <a:gd name="connsiteY396" fmla="*/ 11903 h 102804"/>
                  <a:gd name="connsiteX397" fmla="*/ 72210 w 118939"/>
                  <a:gd name="connsiteY397" fmla="*/ 12784 h 102804"/>
                  <a:gd name="connsiteX398" fmla="*/ 73709 w 118939"/>
                  <a:gd name="connsiteY398" fmla="*/ 13049 h 102804"/>
                  <a:gd name="connsiteX399" fmla="*/ 73092 w 118939"/>
                  <a:gd name="connsiteY399" fmla="*/ 13578 h 102804"/>
                  <a:gd name="connsiteX400" fmla="*/ 73709 w 118939"/>
                  <a:gd name="connsiteY400" fmla="*/ 13842 h 102804"/>
                  <a:gd name="connsiteX401" fmla="*/ 73973 w 118939"/>
                  <a:gd name="connsiteY401" fmla="*/ 14107 h 102804"/>
                  <a:gd name="connsiteX402" fmla="*/ 74855 w 118939"/>
                  <a:gd name="connsiteY402" fmla="*/ 14371 h 102804"/>
                  <a:gd name="connsiteX403" fmla="*/ 74590 w 118939"/>
                  <a:gd name="connsiteY403" fmla="*/ 15253 h 102804"/>
                  <a:gd name="connsiteX404" fmla="*/ 76354 w 118939"/>
                  <a:gd name="connsiteY404" fmla="*/ 15518 h 102804"/>
                  <a:gd name="connsiteX405" fmla="*/ 76354 w 118939"/>
                  <a:gd name="connsiteY405" fmla="*/ 16047 h 102804"/>
                  <a:gd name="connsiteX406" fmla="*/ 76971 w 118939"/>
                  <a:gd name="connsiteY406" fmla="*/ 16311 h 102804"/>
                  <a:gd name="connsiteX407" fmla="*/ 76971 w 118939"/>
                  <a:gd name="connsiteY407" fmla="*/ 16576 h 102804"/>
                  <a:gd name="connsiteX408" fmla="*/ 78734 w 118939"/>
                  <a:gd name="connsiteY408" fmla="*/ 17193 h 102804"/>
                  <a:gd name="connsiteX409" fmla="*/ 81644 w 118939"/>
                  <a:gd name="connsiteY409" fmla="*/ 16576 h 102804"/>
                  <a:gd name="connsiteX410" fmla="*/ 82790 w 118939"/>
                  <a:gd name="connsiteY410" fmla="*/ 17722 h 102804"/>
                  <a:gd name="connsiteX411" fmla="*/ 82790 w 118939"/>
                  <a:gd name="connsiteY411" fmla="*/ 19221 h 102804"/>
                  <a:gd name="connsiteX412" fmla="*/ 85435 w 118939"/>
                  <a:gd name="connsiteY412" fmla="*/ 19838 h 102804"/>
                  <a:gd name="connsiteX413" fmla="*/ 86934 w 118939"/>
                  <a:gd name="connsiteY413" fmla="*/ 20720 h 102804"/>
                  <a:gd name="connsiteX414" fmla="*/ 87199 w 118939"/>
                  <a:gd name="connsiteY414" fmla="*/ 20455 h 102804"/>
                  <a:gd name="connsiteX415" fmla="*/ 89226 w 118939"/>
                  <a:gd name="connsiteY415" fmla="*/ 20720 h 102804"/>
                  <a:gd name="connsiteX416" fmla="*/ 90108 w 118939"/>
                  <a:gd name="connsiteY416" fmla="*/ 21249 h 102804"/>
                  <a:gd name="connsiteX417" fmla="*/ 92401 w 118939"/>
                  <a:gd name="connsiteY417" fmla="*/ 20367 h 102804"/>
                  <a:gd name="connsiteX418" fmla="*/ 95574 w 118939"/>
                  <a:gd name="connsiteY418" fmla="*/ 21249 h 102804"/>
                  <a:gd name="connsiteX419" fmla="*/ 97073 w 118939"/>
                  <a:gd name="connsiteY419" fmla="*/ 21249 h 102804"/>
                  <a:gd name="connsiteX420" fmla="*/ 97690 w 118939"/>
                  <a:gd name="connsiteY420" fmla="*/ 21249 h 102804"/>
                  <a:gd name="connsiteX421" fmla="*/ 98837 w 118939"/>
                  <a:gd name="connsiteY421" fmla="*/ 21249 h 102804"/>
                  <a:gd name="connsiteX422" fmla="*/ 99454 w 118939"/>
                  <a:gd name="connsiteY422" fmla="*/ 20720 h 102804"/>
                  <a:gd name="connsiteX423" fmla="*/ 100600 w 118939"/>
                  <a:gd name="connsiteY423" fmla="*/ 20455 h 102804"/>
                  <a:gd name="connsiteX424" fmla="*/ 101746 w 118939"/>
                  <a:gd name="connsiteY424" fmla="*/ 19309 h 102804"/>
                  <a:gd name="connsiteX425" fmla="*/ 102011 w 118939"/>
                  <a:gd name="connsiteY425" fmla="*/ 17546 h 102804"/>
                  <a:gd name="connsiteX426" fmla="*/ 104920 w 118939"/>
                  <a:gd name="connsiteY426" fmla="*/ 17810 h 102804"/>
                  <a:gd name="connsiteX427" fmla="*/ 105538 w 118939"/>
                  <a:gd name="connsiteY427" fmla="*/ 17546 h 102804"/>
                  <a:gd name="connsiteX428" fmla="*/ 107918 w 118939"/>
                  <a:gd name="connsiteY428" fmla="*/ 17457 h 102804"/>
                  <a:gd name="connsiteX429" fmla="*/ 21249 w 118939"/>
                  <a:gd name="connsiteY429" fmla="*/ 48052 h 102804"/>
                  <a:gd name="connsiteX430" fmla="*/ 20367 w 118939"/>
                  <a:gd name="connsiteY430" fmla="*/ 47787 h 102804"/>
                  <a:gd name="connsiteX431" fmla="*/ 18868 w 118939"/>
                  <a:gd name="connsiteY431" fmla="*/ 45495 h 102804"/>
                  <a:gd name="connsiteX432" fmla="*/ 18868 w 118939"/>
                  <a:gd name="connsiteY432" fmla="*/ 42585 h 102804"/>
                  <a:gd name="connsiteX433" fmla="*/ 17986 w 118939"/>
                  <a:gd name="connsiteY433" fmla="*/ 40822 h 102804"/>
                  <a:gd name="connsiteX434" fmla="*/ 17722 w 118939"/>
                  <a:gd name="connsiteY434" fmla="*/ 38530 h 102804"/>
                  <a:gd name="connsiteX435" fmla="*/ 17457 w 118939"/>
                  <a:gd name="connsiteY435" fmla="*/ 37031 h 102804"/>
                  <a:gd name="connsiteX436" fmla="*/ 17193 w 118939"/>
                  <a:gd name="connsiteY436" fmla="*/ 41439 h 102804"/>
                  <a:gd name="connsiteX437" fmla="*/ 16311 w 118939"/>
                  <a:gd name="connsiteY437" fmla="*/ 41704 h 102804"/>
                  <a:gd name="connsiteX438" fmla="*/ 17193 w 118939"/>
                  <a:gd name="connsiteY438" fmla="*/ 42585 h 102804"/>
                  <a:gd name="connsiteX439" fmla="*/ 17810 w 118939"/>
                  <a:gd name="connsiteY439" fmla="*/ 45230 h 102804"/>
                  <a:gd name="connsiteX440" fmla="*/ 18956 w 118939"/>
                  <a:gd name="connsiteY440" fmla="*/ 47875 h 102804"/>
                  <a:gd name="connsiteX441" fmla="*/ 18956 w 118939"/>
                  <a:gd name="connsiteY441" fmla="*/ 48757 h 102804"/>
                  <a:gd name="connsiteX442" fmla="*/ 20720 w 118939"/>
                  <a:gd name="connsiteY442" fmla="*/ 50520 h 102804"/>
                  <a:gd name="connsiteX443" fmla="*/ 21249 w 118939"/>
                  <a:gd name="connsiteY443" fmla="*/ 48052 h 102804"/>
                  <a:gd name="connsiteX444" fmla="*/ 25657 w 118939"/>
                  <a:gd name="connsiteY444" fmla="*/ 39588 h 102804"/>
                  <a:gd name="connsiteX445" fmla="*/ 25128 w 118939"/>
                  <a:gd name="connsiteY445" fmla="*/ 38177 h 102804"/>
                  <a:gd name="connsiteX446" fmla="*/ 22483 w 118939"/>
                  <a:gd name="connsiteY446" fmla="*/ 35884 h 102804"/>
                  <a:gd name="connsiteX447" fmla="*/ 21337 w 118939"/>
                  <a:gd name="connsiteY447" fmla="*/ 34738 h 102804"/>
                  <a:gd name="connsiteX448" fmla="*/ 19838 w 118939"/>
                  <a:gd name="connsiteY448" fmla="*/ 34121 h 102804"/>
                  <a:gd name="connsiteX449" fmla="*/ 20102 w 118939"/>
                  <a:gd name="connsiteY449" fmla="*/ 35884 h 102804"/>
                  <a:gd name="connsiteX450" fmla="*/ 18956 w 118939"/>
                  <a:gd name="connsiteY450" fmla="*/ 36766 h 102804"/>
                  <a:gd name="connsiteX451" fmla="*/ 20102 w 118939"/>
                  <a:gd name="connsiteY451" fmla="*/ 38530 h 102804"/>
                  <a:gd name="connsiteX452" fmla="*/ 22130 w 118939"/>
                  <a:gd name="connsiteY452" fmla="*/ 38530 h 102804"/>
                  <a:gd name="connsiteX453" fmla="*/ 23012 w 118939"/>
                  <a:gd name="connsiteY453" fmla="*/ 39411 h 102804"/>
                  <a:gd name="connsiteX454" fmla="*/ 25040 w 118939"/>
                  <a:gd name="connsiteY454" fmla="*/ 39676 h 102804"/>
                  <a:gd name="connsiteX455" fmla="*/ 25657 w 118939"/>
                  <a:gd name="connsiteY455" fmla="*/ 39676 h 102804"/>
                  <a:gd name="connsiteX456" fmla="*/ 60307 w 118939"/>
                  <a:gd name="connsiteY456" fmla="*/ 78999 h 102804"/>
                  <a:gd name="connsiteX457" fmla="*/ 60924 w 118939"/>
                  <a:gd name="connsiteY457" fmla="*/ 78734 h 102804"/>
                  <a:gd name="connsiteX458" fmla="*/ 61542 w 118939"/>
                  <a:gd name="connsiteY458" fmla="*/ 79352 h 102804"/>
                  <a:gd name="connsiteX459" fmla="*/ 63834 w 118939"/>
                  <a:gd name="connsiteY459" fmla="*/ 79352 h 102804"/>
                  <a:gd name="connsiteX460" fmla="*/ 64451 w 118939"/>
                  <a:gd name="connsiteY460" fmla="*/ 79352 h 102804"/>
                  <a:gd name="connsiteX461" fmla="*/ 66744 w 118939"/>
                  <a:gd name="connsiteY461" fmla="*/ 80233 h 102804"/>
                  <a:gd name="connsiteX462" fmla="*/ 67890 w 118939"/>
                  <a:gd name="connsiteY462" fmla="*/ 80850 h 102804"/>
                  <a:gd name="connsiteX463" fmla="*/ 69653 w 118939"/>
                  <a:gd name="connsiteY463" fmla="*/ 80850 h 102804"/>
                  <a:gd name="connsiteX464" fmla="*/ 70535 w 118939"/>
                  <a:gd name="connsiteY464" fmla="*/ 80850 h 102804"/>
                  <a:gd name="connsiteX465" fmla="*/ 70535 w 118939"/>
                  <a:gd name="connsiteY465" fmla="*/ 81468 h 102804"/>
                  <a:gd name="connsiteX466" fmla="*/ 70270 w 118939"/>
                  <a:gd name="connsiteY466" fmla="*/ 82349 h 102804"/>
                  <a:gd name="connsiteX467" fmla="*/ 69653 w 118939"/>
                  <a:gd name="connsiteY467" fmla="*/ 82349 h 102804"/>
                  <a:gd name="connsiteX468" fmla="*/ 69388 w 118939"/>
                  <a:gd name="connsiteY468" fmla="*/ 82702 h 102804"/>
                  <a:gd name="connsiteX469" fmla="*/ 68859 w 118939"/>
                  <a:gd name="connsiteY469" fmla="*/ 82966 h 102804"/>
                  <a:gd name="connsiteX470" fmla="*/ 67978 w 118939"/>
                  <a:gd name="connsiteY470" fmla="*/ 82702 h 102804"/>
                  <a:gd name="connsiteX471" fmla="*/ 65686 w 118939"/>
                  <a:gd name="connsiteY471" fmla="*/ 82085 h 102804"/>
                  <a:gd name="connsiteX472" fmla="*/ 62776 w 118939"/>
                  <a:gd name="connsiteY472" fmla="*/ 81468 h 102804"/>
                  <a:gd name="connsiteX473" fmla="*/ 60748 w 118939"/>
                  <a:gd name="connsiteY473" fmla="*/ 81732 h 102804"/>
                  <a:gd name="connsiteX474" fmla="*/ 59866 w 118939"/>
                  <a:gd name="connsiteY474" fmla="*/ 81732 h 102804"/>
                  <a:gd name="connsiteX475" fmla="*/ 58720 w 118939"/>
                  <a:gd name="connsiteY475" fmla="*/ 81203 h 102804"/>
                  <a:gd name="connsiteX476" fmla="*/ 57574 w 118939"/>
                  <a:gd name="connsiteY476" fmla="*/ 80586 h 102804"/>
                  <a:gd name="connsiteX477" fmla="*/ 56957 w 118939"/>
                  <a:gd name="connsiteY477" fmla="*/ 79704 h 102804"/>
                  <a:gd name="connsiteX478" fmla="*/ 58103 w 118939"/>
                  <a:gd name="connsiteY478" fmla="*/ 79704 h 102804"/>
                  <a:gd name="connsiteX479" fmla="*/ 58720 w 118939"/>
                  <a:gd name="connsiteY479" fmla="*/ 79969 h 102804"/>
                  <a:gd name="connsiteX480" fmla="*/ 60219 w 118939"/>
                  <a:gd name="connsiteY480" fmla="*/ 81115 h 102804"/>
                  <a:gd name="connsiteX481" fmla="*/ 60483 w 118939"/>
                  <a:gd name="connsiteY481" fmla="*/ 80498 h 102804"/>
                  <a:gd name="connsiteX482" fmla="*/ 60483 w 118939"/>
                  <a:gd name="connsiteY482" fmla="*/ 78999 h 102804"/>
                  <a:gd name="connsiteX483" fmla="*/ 74943 w 118939"/>
                  <a:gd name="connsiteY483" fmla="*/ 87992 h 102804"/>
                  <a:gd name="connsiteX484" fmla="*/ 73444 w 118939"/>
                  <a:gd name="connsiteY484" fmla="*/ 88257 h 102804"/>
                  <a:gd name="connsiteX485" fmla="*/ 71064 w 118939"/>
                  <a:gd name="connsiteY485" fmla="*/ 88521 h 102804"/>
                  <a:gd name="connsiteX486" fmla="*/ 69036 w 118939"/>
                  <a:gd name="connsiteY486" fmla="*/ 88257 h 102804"/>
                  <a:gd name="connsiteX487" fmla="*/ 68419 w 118939"/>
                  <a:gd name="connsiteY487" fmla="*/ 89138 h 102804"/>
                  <a:gd name="connsiteX488" fmla="*/ 66655 w 118939"/>
                  <a:gd name="connsiteY488" fmla="*/ 89403 h 102804"/>
                  <a:gd name="connsiteX489" fmla="*/ 64010 w 118939"/>
                  <a:gd name="connsiteY489" fmla="*/ 89138 h 102804"/>
                  <a:gd name="connsiteX490" fmla="*/ 61718 w 118939"/>
                  <a:gd name="connsiteY490" fmla="*/ 89403 h 102804"/>
                  <a:gd name="connsiteX491" fmla="*/ 62335 w 118939"/>
                  <a:gd name="connsiteY491" fmla="*/ 88874 h 102804"/>
                  <a:gd name="connsiteX492" fmla="*/ 60307 w 118939"/>
                  <a:gd name="connsiteY492" fmla="*/ 87992 h 102804"/>
                  <a:gd name="connsiteX493" fmla="*/ 60043 w 118939"/>
                  <a:gd name="connsiteY493" fmla="*/ 87110 h 102804"/>
                  <a:gd name="connsiteX494" fmla="*/ 61189 w 118939"/>
                  <a:gd name="connsiteY494" fmla="*/ 87110 h 102804"/>
                  <a:gd name="connsiteX495" fmla="*/ 64098 w 118939"/>
                  <a:gd name="connsiteY495" fmla="*/ 87728 h 102804"/>
                  <a:gd name="connsiteX496" fmla="*/ 63217 w 118939"/>
                  <a:gd name="connsiteY496" fmla="*/ 86581 h 102804"/>
                  <a:gd name="connsiteX497" fmla="*/ 63481 w 118939"/>
                  <a:gd name="connsiteY497" fmla="*/ 85700 h 102804"/>
                  <a:gd name="connsiteX498" fmla="*/ 64980 w 118939"/>
                  <a:gd name="connsiteY498" fmla="*/ 85700 h 102804"/>
                  <a:gd name="connsiteX499" fmla="*/ 66479 w 118939"/>
                  <a:gd name="connsiteY499" fmla="*/ 85700 h 102804"/>
                  <a:gd name="connsiteX500" fmla="*/ 67361 w 118939"/>
                  <a:gd name="connsiteY500" fmla="*/ 85700 h 102804"/>
                  <a:gd name="connsiteX501" fmla="*/ 68242 w 118939"/>
                  <a:gd name="connsiteY501" fmla="*/ 87110 h 102804"/>
                  <a:gd name="connsiteX502" fmla="*/ 70006 w 118939"/>
                  <a:gd name="connsiteY502" fmla="*/ 86846 h 102804"/>
                  <a:gd name="connsiteX503" fmla="*/ 70887 w 118939"/>
                  <a:gd name="connsiteY503" fmla="*/ 87110 h 102804"/>
                  <a:gd name="connsiteX504" fmla="*/ 71769 w 118939"/>
                  <a:gd name="connsiteY504" fmla="*/ 87110 h 102804"/>
                  <a:gd name="connsiteX505" fmla="*/ 73532 w 118939"/>
                  <a:gd name="connsiteY505" fmla="*/ 86846 h 102804"/>
                  <a:gd name="connsiteX506" fmla="*/ 75031 w 118939"/>
                  <a:gd name="connsiteY506" fmla="*/ 86581 h 102804"/>
                  <a:gd name="connsiteX507" fmla="*/ 76178 w 118939"/>
                  <a:gd name="connsiteY507" fmla="*/ 87463 h 102804"/>
                  <a:gd name="connsiteX508" fmla="*/ 75913 w 118939"/>
                  <a:gd name="connsiteY508" fmla="*/ 87728 h 102804"/>
                  <a:gd name="connsiteX509" fmla="*/ 74943 w 118939"/>
                  <a:gd name="connsiteY509" fmla="*/ 87992 h 102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</a:cxnLst>
                <a:rect l="l" t="t" r="r" b="b"/>
                <a:pathLst>
                  <a:path w="118939" h="102804">
                    <a:moveTo>
                      <a:pt x="76971" y="92136"/>
                    </a:moveTo>
                    <a:lnTo>
                      <a:pt x="76707" y="91871"/>
                    </a:lnTo>
                    <a:lnTo>
                      <a:pt x="76089" y="91871"/>
                    </a:lnTo>
                    <a:lnTo>
                      <a:pt x="75472" y="91871"/>
                    </a:lnTo>
                    <a:lnTo>
                      <a:pt x="74326" y="92136"/>
                    </a:lnTo>
                    <a:lnTo>
                      <a:pt x="73444" y="91871"/>
                    </a:lnTo>
                    <a:lnTo>
                      <a:pt x="72827" y="92136"/>
                    </a:lnTo>
                    <a:lnTo>
                      <a:pt x="72210" y="92400"/>
                    </a:lnTo>
                    <a:lnTo>
                      <a:pt x="71328" y="92400"/>
                    </a:lnTo>
                    <a:lnTo>
                      <a:pt x="70535" y="92400"/>
                    </a:lnTo>
                    <a:lnTo>
                      <a:pt x="70006" y="92400"/>
                    </a:lnTo>
                    <a:lnTo>
                      <a:pt x="69388" y="92400"/>
                    </a:lnTo>
                    <a:lnTo>
                      <a:pt x="69653" y="92136"/>
                    </a:lnTo>
                    <a:lnTo>
                      <a:pt x="69917" y="91519"/>
                    </a:lnTo>
                    <a:lnTo>
                      <a:pt x="69917" y="91254"/>
                    </a:lnTo>
                    <a:lnTo>
                      <a:pt x="69036" y="90990"/>
                    </a:lnTo>
                    <a:lnTo>
                      <a:pt x="69036" y="90373"/>
                    </a:lnTo>
                    <a:lnTo>
                      <a:pt x="69917" y="90373"/>
                    </a:lnTo>
                    <a:lnTo>
                      <a:pt x="70799" y="90637"/>
                    </a:lnTo>
                    <a:lnTo>
                      <a:pt x="71328" y="90637"/>
                    </a:lnTo>
                    <a:lnTo>
                      <a:pt x="72210" y="90373"/>
                    </a:lnTo>
                    <a:lnTo>
                      <a:pt x="73092" y="90637"/>
                    </a:lnTo>
                    <a:lnTo>
                      <a:pt x="73709" y="90373"/>
                    </a:lnTo>
                    <a:lnTo>
                      <a:pt x="74855" y="90637"/>
                    </a:lnTo>
                    <a:lnTo>
                      <a:pt x="76001" y="90637"/>
                    </a:lnTo>
                    <a:lnTo>
                      <a:pt x="76618" y="90373"/>
                    </a:lnTo>
                    <a:lnTo>
                      <a:pt x="76618" y="90637"/>
                    </a:lnTo>
                    <a:lnTo>
                      <a:pt x="76618" y="91254"/>
                    </a:lnTo>
                    <a:lnTo>
                      <a:pt x="76618" y="91519"/>
                    </a:lnTo>
                    <a:lnTo>
                      <a:pt x="76971" y="92136"/>
                    </a:lnTo>
                    <a:close/>
                    <a:moveTo>
                      <a:pt x="59425" y="91254"/>
                    </a:moveTo>
                    <a:lnTo>
                      <a:pt x="58896" y="90990"/>
                    </a:lnTo>
                    <a:lnTo>
                      <a:pt x="57398" y="91254"/>
                    </a:lnTo>
                    <a:lnTo>
                      <a:pt x="56516" y="91519"/>
                    </a:lnTo>
                    <a:lnTo>
                      <a:pt x="55634" y="91519"/>
                    </a:lnTo>
                    <a:lnTo>
                      <a:pt x="54752" y="91783"/>
                    </a:lnTo>
                    <a:lnTo>
                      <a:pt x="55017" y="91166"/>
                    </a:lnTo>
                    <a:lnTo>
                      <a:pt x="54752" y="90902"/>
                    </a:lnTo>
                    <a:lnTo>
                      <a:pt x="54752" y="90284"/>
                    </a:lnTo>
                    <a:lnTo>
                      <a:pt x="54752" y="90020"/>
                    </a:lnTo>
                    <a:lnTo>
                      <a:pt x="55634" y="90020"/>
                    </a:lnTo>
                    <a:lnTo>
                      <a:pt x="56516" y="90020"/>
                    </a:lnTo>
                    <a:lnTo>
                      <a:pt x="57398" y="89755"/>
                    </a:lnTo>
                    <a:lnTo>
                      <a:pt x="58279" y="90020"/>
                    </a:lnTo>
                    <a:lnTo>
                      <a:pt x="59425" y="90020"/>
                    </a:lnTo>
                    <a:lnTo>
                      <a:pt x="59161" y="90284"/>
                    </a:lnTo>
                    <a:lnTo>
                      <a:pt x="59425" y="91254"/>
                    </a:lnTo>
                    <a:close/>
                    <a:moveTo>
                      <a:pt x="107918" y="17457"/>
                    </a:moveTo>
                    <a:lnTo>
                      <a:pt x="107918" y="20102"/>
                    </a:lnTo>
                    <a:lnTo>
                      <a:pt x="108447" y="21866"/>
                    </a:lnTo>
                    <a:lnTo>
                      <a:pt x="108447" y="24775"/>
                    </a:lnTo>
                    <a:lnTo>
                      <a:pt x="110210" y="28302"/>
                    </a:lnTo>
                    <a:lnTo>
                      <a:pt x="110475" y="30947"/>
                    </a:lnTo>
                    <a:lnTo>
                      <a:pt x="111974" y="32710"/>
                    </a:lnTo>
                    <a:lnTo>
                      <a:pt x="114883" y="33328"/>
                    </a:lnTo>
                    <a:lnTo>
                      <a:pt x="117793" y="32710"/>
                    </a:lnTo>
                    <a:lnTo>
                      <a:pt x="118939" y="33592"/>
                    </a:lnTo>
                    <a:lnTo>
                      <a:pt x="118675" y="34738"/>
                    </a:lnTo>
                    <a:lnTo>
                      <a:pt x="116647" y="35620"/>
                    </a:lnTo>
                    <a:lnTo>
                      <a:pt x="115501" y="37119"/>
                    </a:lnTo>
                    <a:lnTo>
                      <a:pt x="112238" y="37119"/>
                    </a:lnTo>
                    <a:lnTo>
                      <a:pt x="111621" y="39764"/>
                    </a:lnTo>
                    <a:lnTo>
                      <a:pt x="111092" y="40646"/>
                    </a:lnTo>
                    <a:lnTo>
                      <a:pt x="111621" y="39764"/>
                    </a:lnTo>
                    <a:lnTo>
                      <a:pt x="108447" y="41792"/>
                    </a:lnTo>
                    <a:lnTo>
                      <a:pt x="106419" y="40293"/>
                    </a:lnTo>
                    <a:lnTo>
                      <a:pt x="103774" y="40028"/>
                    </a:lnTo>
                    <a:lnTo>
                      <a:pt x="103510" y="38882"/>
                    </a:lnTo>
                    <a:lnTo>
                      <a:pt x="102011" y="37119"/>
                    </a:lnTo>
                    <a:lnTo>
                      <a:pt x="101482" y="37736"/>
                    </a:lnTo>
                    <a:lnTo>
                      <a:pt x="98572" y="38353"/>
                    </a:lnTo>
                    <a:lnTo>
                      <a:pt x="97955" y="37736"/>
                    </a:lnTo>
                    <a:lnTo>
                      <a:pt x="96809" y="38618"/>
                    </a:lnTo>
                    <a:lnTo>
                      <a:pt x="95663" y="36590"/>
                    </a:lnTo>
                    <a:lnTo>
                      <a:pt x="91254" y="37119"/>
                    </a:lnTo>
                    <a:lnTo>
                      <a:pt x="90637" y="37119"/>
                    </a:lnTo>
                    <a:lnTo>
                      <a:pt x="89755" y="36590"/>
                    </a:lnTo>
                    <a:lnTo>
                      <a:pt x="88609" y="37119"/>
                    </a:lnTo>
                    <a:lnTo>
                      <a:pt x="86846" y="37736"/>
                    </a:lnTo>
                    <a:lnTo>
                      <a:pt x="85700" y="36590"/>
                    </a:lnTo>
                    <a:lnTo>
                      <a:pt x="84201" y="36237"/>
                    </a:lnTo>
                    <a:lnTo>
                      <a:pt x="83055" y="35091"/>
                    </a:lnTo>
                    <a:lnTo>
                      <a:pt x="80410" y="37119"/>
                    </a:lnTo>
                    <a:lnTo>
                      <a:pt x="79263" y="34826"/>
                    </a:lnTo>
                    <a:lnTo>
                      <a:pt x="76354" y="32799"/>
                    </a:lnTo>
                    <a:lnTo>
                      <a:pt x="75472" y="32799"/>
                    </a:lnTo>
                    <a:lnTo>
                      <a:pt x="73180" y="33063"/>
                    </a:lnTo>
                    <a:lnTo>
                      <a:pt x="71681" y="32799"/>
                    </a:lnTo>
                    <a:lnTo>
                      <a:pt x="69388" y="33416"/>
                    </a:lnTo>
                    <a:lnTo>
                      <a:pt x="67890" y="33680"/>
                    </a:lnTo>
                    <a:lnTo>
                      <a:pt x="66744" y="32799"/>
                    </a:lnTo>
                    <a:lnTo>
                      <a:pt x="64716" y="33945"/>
                    </a:lnTo>
                    <a:lnTo>
                      <a:pt x="63305" y="33328"/>
                    </a:lnTo>
                    <a:lnTo>
                      <a:pt x="62423" y="33945"/>
                    </a:lnTo>
                    <a:lnTo>
                      <a:pt x="60395" y="34826"/>
                    </a:lnTo>
                    <a:lnTo>
                      <a:pt x="60131" y="36237"/>
                    </a:lnTo>
                    <a:lnTo>
                      <a:pt x="59866" y="37119"/>
                    </a:lnTo>
                    <a:lnTo>
                      <a:pt x="57574" y="38618"/>
                    </a:lnTo>
                    <a:lnTo>
                      <a:pt x="56075" y="37472"/>
                    </a:lnTo>
                    <a:lnTo>
                      <a:pt x="54047" y="37472"/>
                    </a:lnTo>
                    <a:lnTo>
                      <a:pt x="50873" y="35179"/>
                    </a:lnTo>
                    <a:lnTo>
                      <a:pt x="47699" y="35179"/>
                    </a:lnTo>
                    <a:lnTo>
                      <a:pt x="47964" y="36678"/>
                    </a:lnTo>
                    <a:lnTo>
                      <a:pt x="47435" y="38089"/>
                    </a:lnTo>
                    <a:lnTo>
                      <a:pt x="45936" y="39852"/>
                    </a:lnTo>
                    <a:lnTo>
                      <a:pt x="45319" y="40117"/>
                    </a:lnTo>
                    <a:lnTo>
                      <a:pt x="46465" y="42144"/>
                    </a:lnTo>
                    <a:lnTo>
                      <a:pt x="46729" y="44172"/>
                    </a:lnTo>
                    <a:lnTo>
                      <a:pt x="48493" y="46553"/>
                    </a:lnTo>
                    <a:lnTo>
                      <a:pt x="51138" y="48316"/>
                    </a:lnTo>
                    <a:lnTo>
                      <a:pt x="52284" y="48316"/>
                    </a:lnTo>
                    <a:lnTo>
                      <a:pt x="53783" y="49462"/>
                    </a:lnTo>
                    <a:lnTo>
                      <a:pt x="53783" y="50961"/>
                    </a:lnTo>
                    <a:lnTo>
                      <a:pt x="55281" y="52725"/>
                    </a:lnTo>
                    <a:lnTo>
                      <a:pt x="55899" y="52989"/>
                    </a:lnTo>
                    <a:lnTo>
                      <a:pt x="58279" y="57045"/>
                    </a:lnTo>
                    <a:lnTo>
                      <a:pt x="58015" y="58191"/>
                    </a:lnTo>
                    <a:lnTo>
                      <a:pt x="60043" y="59073"/>
                    </a:lnTo>
                    <a:lnTo>
                      <a:pt x="60660" y="61101"/>
                    </a:lnTo>
                    <a:lnTo>
                      <a:pt x="62423" y="63129"/>
                    </a:lnTo>
                    <a:lnTo>
                      <a:pt x="64187" y="63129"/>
                    </a:lnTo>
                    <a:lnTo>
                      <a:pt x="65068" y="64275"/>
                    </a:lnTo>
                    <a:lnTo>
                      <a:pt x="67449" y="66303"/>
                    </a:lnTo>
                    <a:lnTo>
                      <a:pt x="69212" y="68066"/>
                    </a:lnTo>
                    <a:lnTo>
                      <a:pt x="71504" y="68683"/>
                    </a:lnTo>
                    <a:lnTo>
                      <a:pt x="73003" y="68066"/>
                    </a:lnTo>
                    <a:lnTo>
                      <a:pt x="73621" y="70711"/>
                    </a:lnTo>
                    <a:lnTo>
                      <a:pt x="74767" y="72739"/>
                    </a:lnTo>
                    <a:lnTo>
                      <a:pt x="78294" y="75648"/>
                    </a:lnTo>
                    <a:lnTo>
                      <a:pt x="80674" y="76530"/>
                    </a:lnTo>
                    <a:lnTo>
                      <a:pt x="81291" y="77676"/>
                    </a:lnTo>
                    <a:lnTo>
                      <a:pt x="80939" y="81468"/>
                    </a:lnTo>
                    <a:lnTo>
                      <a:pt x="82966" y="81732"/>
                    </a:lnTo>
                    <a:lnTo>
                      <a:pt x="83848" y="83760"/>
                    </a:lnTo>
                    <a:lnTo>
                      <a:pt x="84994" y="85523"/>
                    </a:lnTo>
                    <a:lnTo>
                      <a:pt x="86140" y="86141"/>
                    </a:lnTo>
                    <a:lnTo>
                      <a:pt x="86669" y="87639"/>
                    </a:lnTo>
                    <a:lnTo>
                      <a:pt x="88168" y="89138"/>
                    </a:lnTo>
                    <a:lnTo>
                      <a:pt x="89050" y="91166"/>
                    </a:lnTo>
                    <a:lnTo>
                      <a:pt x="89315" y="89667"/>
                    </a:lnTo>
                    <a:lnTo>
                      <a:pt x="94869" y="93459"/>
                    </a:lnTo>
                    <a:lnTo>
                      <a:pt x="101041" y="93988"/>
                    </a:lnTo>
                    <a:lnTo>
                      <a:pt x="106596" y="99278"/>
                    </a:lnTo>
                    <a:lnTo>
                      <a:pt x="106596" y="102804"/>
                    </a:lnTo>
                    <a:lnTo>
                      <a:pt x="104568" y="102804"/>
                    </a:lnTo>
                    <a:lnTo>
                      <a:pt x="104568" y="101923"/>
                    </a:lnTo>
                    <a:lnTo>
                      <a:pt x="100512" y="99630"/>
                    </a:lnTo>
                    <a:lnTo>
                      <a:pt x="100512" y="99013"/>
                    </a:lnTo>
                    <a:lnTo>
                      <a:pt x="99630" y="99013"/>
                    </a:lnTo>
                    <a:lnTo>
                      <a:pt x="96456" y="97867"/>
                    </a:lnTo>
                    <a:lnTo>
                      <a:pt x="96456" y="97338"/>
                    </a:lnTo>
                    <a:lnTo>
                      <a:pt x="95310" y="96721"/>
                    </a:lnTo>
                    <a:lnTo>
                      <a:pt x="94164" y="95574"/>
                    </a:lnTo>
                    <a:lnTo>
                      <a:pt x="94164" y="94693"/>
                    </a:lnTo>
                    <a:lnTo>
                      <a:pt x="90902" y="94428"/>
                    </a:lnTo>
                    <a:lnTo>
                      <a:pt x="89755" y="94428"/>
                    </a:lnTo>
                    <a:lnTo>
                      <a:pt x="89755" y="94693"/>
                    </a:lnTo>
                    <a:lnTo>
                      <a:pt x="83936" y="92929"/>
                    </a:lnTo>
                    <a:lnTo>
                      <a:pt x="83672" y="92312"/>
                    </a:lnTo>
                    <a:lnTo>
                      <a:pt x="82525" y="90813"/>
                    </a:lnTo>
                    <a:lnTo>
                      <a:pt x="80762" y="90196"/>
                    </a:lnTo>
                    <a:lnTo>
                      <a:pt x="79881" y="90196"/>
                    </a:lnTo>
                    <a:lnTo>
                      <a:pt x="79263" y="90461"/>
                    </a:lnTo>
                    <a:lnTo>
                      <a:pt x="78117" y="90196"/>
                    </a:lnTo>
                    <a:lnTo>
                      <a:pt x="77236" y="89932"/>
                    </a:lnTo>
                    <a:lnTo>
                      <a:pt x="76971" y="89667"/>
                    </a:lnTo>
                    <a:lnTo>
                      <a:pt x="76971" y="89403"/>
                    </a:lnTo>
                    <a:lnTo>
                      <a:pt x="77236" y="89403"/>
                    </a:lnTo>
                    <a:lnTo>
                      <a:pt x="77853" y="89403"/>
                    </a:lnTo>
                    <a:lnTo>
                      <a:pt x="78382" y="89403"/>
                    </a:lnTo>
                    <a:lnTo>
                      <a:pt x="78646" y="89667"/>
                    </a:lnTo>
                    <a:lnTo>
                      <a:pt x="79528" y="89667"/>
                    </a:lnTo>
                    <a:lnTo>
                      <a:pt x="80674" y="89667"/>
                    </a:lnTo>
                    <a:lnTo>
                      <a:pt x="81291" y="90284"/>
                    </a:lnTo>
                    <a:lnTo>
                      <a:pt x="82173" y="90284"/>
                    </a:lnTo>
                    <a:lnTo>
                      <a:pt x="83672" y="90902"/>
                    </a:lnTo>
                    <a:lnTo>
                      <a:pt x="87463" y="91519"/>
                    </a:lnTo>
                    <a:lnTo>
                      <a:pt x="89844" y="92929"/>
                    </a:lnTo>
                    <a:lnTo>
                      <a:pt x="89579" y="92312"/>
                    </a:lnTo>
                    <a:lnTo>
                      <a:pt x="88697" y="91166"/>
                    </a:lnTo>
                    <a:lnTo>
                      <a:pt x="87199" y="90902"/>
                    </a:lnTo>
                    <a:lnTo>
                      <a:pt x="83672" y="89755"/>
                    </a:lnTo>
                    <a:lnTo>
                      <a:pt x="83672" y="89226"/>
                    </a:lnTo>
                    <a:lnTo>
                      <a:pt x="82525" y="88609"/>
                    </a:lnTo>
                    <a:lnTo>
                      <a:pt x="82261" y="88609"/>
                    </a:lnTo>
                    <a:lnTo>
                      <a:pt x="82525" y="88874"/>
                    </a:lnTo>
                    <a:lnTo>
                      <a:pt x="82525" y="89138"/>
                    </a:lnTo>
                    <a:lnTo>
                      <a:pt x="81909" y="89138"/>
                    </a:lnTo>
                    <a:lnTo>
                      <a:pt x="81380" y="88257"/>
                    </a:lnTo>
                    <a:lnTo>
                      <a:pt x="81380" y="87639"/>
                    </a:lnTo>
                    <a:lnTo>
                      <a:pt x="80498" y="87022"/>
                    </a:lnTo>
                    <a:lnTo>
                      <a:pt x="79616" y="86758"/>
                    </a:lnTo>
                    <a:lnTo>
                      <a:pt x="78734" y="86141"/>
                    </a:lnTo>
                    <a:lnTo>
                      <a:pt x="77853" y="85876"/>
                    </a:lnTo>
                    <a:lnTo>
                      <a:pt x="77236" y="84994"/>
                    </a:lnTo>
                    <a:lnTo>
                      <a:pt x="77236" y="84377"/>
                    </a:lnTo>
                    <a:lnTo>
                      <a:pt x="76354" y="83760"/>
                    </a:lnTo>
                    <a:lnTo>
                      <a:pt x="75737" y="84024"/>
                    </a:lnTo>
                    <a:lnTo>
                      <a:pt x="75737" y="83760"/>
                    </a:lnTo>
                    <a:lnTo>
                      <a:pt x="74855" y="83495"/>
                    </a:lnTo>
                    <a:lnTo>
                      <a:pt x="74590" y="83231"/>
                    </a:lnTo>
                    <a:lnTo>
                      <a:pt x="74326" y="82702"/>
                    </a:lnTo>
                    <a:lnTo>
                      <a:pt x="73180" y="80674"/>
                    </a:lnTo>
                    <a:lnTo>
                      <a:pt x="71681" y="79792"/>
                    </a:lnTo>
                    <a:lnTo>
                      <a:pt x="69917" y="78911"/>
                    </a:lnTo>
                    <a:lnTo>
                      <a:pt x="67537" y="78294"/>
                    </a:lnTo>
                    <a:lnTo>
                      <a:pt x="66038" y="78029"/>
                    </a:lnTo>
                    <a:lnTo>
                      <a:pt x="65421" y="77147"/>
                    </a:lnTo>
                    <a:lnTo>
                      <a:pt x="64275" y="76530"/>
                    </a:lnTo>
                    <a:lnTo>
                      <a:pt x="63129" y="76530"/>
                    </a:lnTo>
                    <a:lnTo>
                      <a:pt x="62600" y="76530"/>
                    </a:lnTo>
                    <a:lnTo>
                      <a:pt x="63129" y="75913"/>
                    </a:lnTo>
                    <a:lnTo>
                      <a:pt x="63481" y="75648"/>
                    </a:lnTo>
                    <a:lnTo>
                      <a:pt x="63746" y="75031"/>
                    </a:lnTo>
                    <a:lnTo>
                      <a:pt x="63129" y="75031"/>
                    </a:lnTo>
                    <a:lnTo>
                      <a:pt x="62600" y="75648"/>
                    </a:lnTo>
                    <a:lnTo>
                      <a:pt x="61718" y="75031"/>
                    </a:lnTo>
                    <a:lnTo>
                      <a:pt x="61101" y="75031"/>
                    </a:lnTo>
                    <a:lnTo>
                      <a:pt x="60219" y="75296"/>
                    </a:lnTo>
                    <a:lnTo>
                      <a:pt x="59602" y="75031"/>
                    </a:lnTo>
                    <a:lnTo>
                      <a:pt x="58720" y="75913"/>
                    </a:lnTo>
                    <a:lnTo>
                      <a:pt x="57574" y="76530"/>
                    </a:lnTo>
                    <a:lnTo>
                      <a:pt x="56957" y="76266"/>
                    </a:lnTo>
                    <a:lnTo>
                      <a:pt x="56428" y="76530"/>
                    </a:lnTo>
                    <a:lnTo>
                      <a:pt x="55810" y="76266"/>
                    </a:lnTo>
                    <a:lnTo>
                      <a:pt x="55193" y="76530"/>
                    </a:lnTo>
                    <a:lnTo>
                      <a:pt x="56340" y="76795"/>
                    </a:lnTo>
                    <a:lnTo>
                      <a:pt x="57838" y="77059"/>
                    </a:lnTo>
                    <a:lnTo>
                      <a:pt x="57574" y="77324"/>
                    </a:lnTo>
                    <a:lnTo>
                      <a:pt x="56075" y="77324"/>
                    </a:lnTo>
                    <a:lnTo>
                      <a:pt x="55458" y="77059"/>
                    </a:lnTo>
                    <a:lnTo>
                      <a:pt x="54576" y="77676"/>
                    </a:lnTo>
                    <a:lnTo>
                      <a:pt x="53430" y="77412"/>
                    </a:lnTo>
                    <a:lnTo>
                      <a:pt x="52548" y="77147"/>
                    </a:lnTo>
                    <a:lnTo>
                      <a:pt x="52284" y="76883"/>
                    </a:lnTo>
                    <a:lnTo>
                      <a:pt x="52548" y="76618"/>
                    </a:lnTo>
                    <a:lnTo>
                      <a:pt x="53166" y="76001"/>
                    </a:lnTo>
                    <a:lnTo>
                      <a:pt x="54312" y="76618"/>
                    </a:lnTo>
                    <a:lnTo>
                      <a:pt x="54312" y="75737"/>
                    </a:lnTo>
                    <a:lnTo>
                      <a:pt x="54047" y="75120"/>
                    </a:lnTo>
                    <a:lnTo>
                      <a:pt x="53166" y="74855"/>
                    </a:lnTo>
                    <a:lnTo>
                      <a:pt x="52548" y="75120"/>
                    </a:lnTo>
                    <a:lnTo>
                      <a:pt x="52284" y="74855"/>
                    </a:lnTo>
                    <a:lnTo>
                      <a:pt x="52284" y="74238"/>
                    </a:lnTo>
                    <a:lnTo>
                      <a:pt x="52284" y="73356"/>
                    </a:lnTo>
                    <a:lnTo>
                      <a:pt x="52548" y="73092"/>
                    </a:lnTo>
                    <a:lnTo>
                      <a:pt x="52284" y="72827"/>
                    </a:lnTo>
                    <a:lnTo>
                      <a:pt x="51667" y="72210"/>
                    </a:lnTo>
                    <a:lnTo>
                      <a:pt x="51402" y="72210"/>
                    </a:lnTo>
                    <a:lnTo>
                      <a:pt x="50785" y="72210"/>
                    </a:lnTo>
                    <a:lnTo>
                      <a:pt x="50521" y="71593"/>
                    </a:lnTo>
                    <a:lnTo>
                      <a:pt x="49639" y="70976"/>
                    </a:lnTo>
                    <a:lnTo>
                      <a:pt x="47875" y="70976"/>
                    </a:lnTo>
                    <a:lnTo>
                      <a:pt x="47611" y="69829"/>
                    </a:lnTo>
                    <a:lnTo>
                      <a:pt x="45583" y="69212"/>
                    </a:lnTo>
                    <a:lnTo>
                      <a:pt x="43820" y="66832"/>
                    </a:lnTo>
                    <a:lnTo>
                      <a:pt x="41792" y="66214"/>
                    </a:lnTo>
                    <a:lnTo>
                      <a:pt x="41175" y="65068"/>
                    </a:lnTo>
                    <a:lnTo>
                      <a:pt x="40029" y="64187"/>
                    </a:lnTo>
                    <a:lnTo>
                      <a:pt x="40029" y="63305"/>
                    </a:lnTo>
                    <a:lnTo>
                      <a:pt x="39147" y="62423"/>
                    </a:lnTo>
                    <a:lnTo>
                      <a:pt x="38001" y="61806"/>
                    </a:lnTo>
                    <a:lnTo>
                      <a:pt x="36854" y="61189"/>
                    </a:lnTo>
                    <a:lnTo>
                      <a:pt x="36237" y="60043"/>
                    </a:lnTo>
                    <a:lnTo>
                      <a:pt x="36237" y="58896"/>
                    </a:lnTo>
                    <a:lnTo>
                      <a:pt x="36237" y="58015"/>
                    </a:lnTo>
                    <a:lnTo>
                      <a:pt x="35973" y="57398"/>
                    </a:lnTo>
                    <a:lnTo>
                      <a:pt x="36590" y="57662"/>
                    </a:lnTo>
                    <a:lnTo>
                      <a:pt x="36590" y="56780"/>
                    </a:lnTo>
                    <a:lnTo>
                      <a:pt x="38089" y="57309"/>
                    </a:lnTo>
                    <a:lnTo>
                      <a:pt x="38971" y="57309"/>
                    </a:lnTo>
                    <a:lnTo>
                      <a:pt x="37560" y="55546"/>
                    </a:lnTo>
                    <a:lnTo>
                      <a:pt x="40469" y="57574"/>
                    </a:lnTo>
                    <a:lnTo>
                      <a:pt x="41351" y="57838"/>
                    </a:lnTo>
                    <a:lnTo>
                      <a:pt x="41704" y="57221"/>
                    </a:lnTo>
                    <a:lnTo>
                      <a:pt x="41351" y="56692"/>
                    </a:lnTo>
                    <a:lnTo>
                      <a:pt x="40205" y="55546"/>
                    </a:lnTo>
                    <a:lnTo>
                      <a:pt x="38706" y="55546"/>
                    </a:lnTo>
                    <a:lnTo>
                      <a:pt x="37560" y="52372"/>
                    </a:lnTo>
                    <a:lnTo>
                      <a:pt x="35179" y="51755"/>
                    </a:lnTo>
                    <a:lnTo>
                      <a:pt x="32005" y="49991"/>
                    </a:lnTo>
                    <a:lnTo>
                      <a:pt x="29360" y="47346"/>
                    </a:lnTo>
                    <a:lnTo>
                      <a:pt x="29095" y="44172"/>
                    </a:lnTo>
                    <a:lnTo>
                      <a:pt x="29977" y="39764"/>
                    </a:lnTo>
                    <a:lnTo>
                      <a:pt x="28214" y="36854"/>
                    </a:lnTo>
                    <a:lnTo>
                      <a:pt x="25922" y="36325"/>
                    </a:lnTo>
                    <a:lnTo>
                      <a:pt x="25040" y="34562"/>
                    </a:lnTo>
                    <a:lnTo>
                      <a:pt x="22747" y="33063"/>
                    </a:lnTo>
                    <a:lnTo>
                      <a:pt x="23012" y="32799"/>
                    </a:lnTo>
                    <a:lnTo>
                      <a:pt x="22747" y="32534"/>
                    </a:lnTo>
                    <a:lnTo>
                      <a:pt x="22130" y="32270"/>
                    </a:lnTo>
                    <a:lnTo>
                      <a:pt x="21513" y="32534"/>
                    </a:lnTo>
                    <a:lnTo>
                      <a:pt x="21513" y="33151"/>
                    </a:lnTo>
                    <a:lnTo>
                      <a:pt x="21249" y="33151"/>
                    </a:lnTo>
                    <a:lnTo>
                      <a:pt x="20984" y="32534"/>
                    </a:lnTo>
                    <a:lnTo>
                      <a:pt x="19485" y="31388"/>
                    </a:lnTo>
                    <a:lnTo>
                      <a:pt x="17986" y="31388"/>
                    </a:lnTo>
                    <a:lnTo>
                      <a:pt x="17369" y="32534"/>
                    </a:lnTo>
                    <a:lnTo>
                      <a:pt x="17722" y="33680"/>
                    </a:lnTo>
                    <a:lnTo>
                      <a:pt x="16576" y="36325"/>
                    </a:lnTo>
                    <a:lnTo>
                      <a:pt x="15429" y="36325"/>
                    </a:lnTo>
                    <a:lnTo>
                      <a:pt x="15429" y="36854"/>
                    </a:lnTo>
                    <a:lnTo>
                      <a:pt x="15429" y="37472"/>
                    </a:lnTo>
                    <a:lnTo>
                      <a:pt x="14900" y="37472"/>
                    </a:lnTo>
                    <a:lnTo>
                      <a:pt x="14900" y="38353"/>
                    </a:lnTo>
                    <a:lnTo>
                      <a:pt x="15429" y="38970"/>
                    </a:lnTo>
                    <a:lnTo>
                      <a:pt x="14900" y="39852"/>
                    </a:lnTo>
                    <a:lnTo>
                      <a:pt x="14283" y="40117"/>
                    </a:lnTo>
                    <a:lnTo>
                      <a:pt x="13401" y="41263"/>
                    </a:lnTo>
                    <a:lnTo>
                      <a:pt x="13666" y="39764"/>
                    </a:lnTo>
                    <a:lnTo>
                      <a:pt x="12785" y="39147"/>
                    </a:lnTo>
                    <a:lnTo>
                      <a:pt x="12167" y="39411"/>
                    </a:lnTo>
                    <a:lnTo>
                      <a:pt x="12167" y="39676"/>
                    </a:lnTo>
                    <a:lnTo>
                      <a:pt x="13049" y="39940"/>
                    </a:lnTo>
                    <a:lnTo>
                      <a:pt x="12785" y="40558"/>
                    </a:lnTo>
                    <a:lnTo>
                      <a:pt x="12167" y="41175"/>
                    </a:lnTo>
                    <a:lnTo>
                      <a:pt x="11903" y="42321"/>
                    </a:lnTo>
                    <a:lnTo>
                      <a:pt x="11638" y="42056"/>
                    </a:lnTo>
                    <a:lnTo>
                      <a:pt x="11374" y="42938"/>
                    </a:lnTo>
                    <a:lnTo>
                      <a:pt x="11638" y="44966"/>
                    </a:lnTo>
                    <a:lnTo>
                      <a:pt x="11903" y="45230"/>
                    </a:lnTo>
                    <a:lnTo>
                      <a:pt x="11286" y="44966"/>
                    </a:lnTo>
                    <a:lnTo>
                      <a:pt x="9875" y="44084"/>
                    </a:lnTo>
                    <a:lnTo>
                      <a:pt x="9522" y="44966"/>
                    </a:lnTo>
                    <a:lnTo>
                      <a:pt x="9258" y="44084"/>
                    </a:lnTo>
                    <a:lnTo>
                      <a:pt x="8641" y="42938"/>
                    </a:lnTo>
                    <a:lnTo>
                      <a:pt x="9258" y="42938"/>
                    </a:lnTo>
                    <a:lnTo>
                      <a:pt x="8641" y="42056"/>
                    </a:lnTo>
                    <a:lnTo>
                      <a:pt x="8905" y="40558"/>
                    </a:lnTo>
                    <a:lnTo>
                      <a:pt x="8288" y="39676"/>
                    </a:lnTo>
                    <a:lnTo>
                      <a:pt x="7671" y="39059"/>
                    </a:lnTo>
                    <a:lnTo>
                      <a:pt x="6172" y="39323"/>
                    </a:lnTo>
                    <a:lnTo>
                      <a:pt x="6436" y="38441"/>
                    </a:lnTo>
                    <a:lnTo>
                      <a:pt x="6172" y="38177"/>
                    </a:lnTo>
                    <a:lnTo>
                      <a:pt x="5907" y="37295"/>
                    </a:lnTo>
                    <a:lnTo>
                      <a:pt x="4408" y="36678"/>
                    </a:lnTo>
                    <a:lnTo>
                      <a:pt x="3791" y="35532"/>
                    </a:lnTo>
                    <a:lnTo>
                      <a:pt x="4056" y="34650"/>
                    </a:lnTo>
                    <a:lnTo>
                      <a:pt x="4673" y="33504"/>
                    </a:lnTo>
                    <a:lnTo>
                      <a:pt x="4056" y="32887"/>
                    </a:lnTo>
                    <a:lnTo>
                      <a:pt x="4056" y="32270"/>
                    </a:lnTo>
                    <a:lnTo>
                      <a:pt x="3439" y="31652"/>
                    </a:lnTo>
                    <a:lnTo>
                      <a:pt x="1675" y="31388"/>
                    </a:lnTo>
                    <a:lnTo>
                      <a:pt x="1411" y="31123"/>
                    </a:lnTo>
                    <a:lnTo>
                      <a:pt x="2028" y="30594"/>
                    </a:lnTo>
                    <a:lnTo>
                      <a:pt x="1411" y="29713"/>
                    </a:lnTo>
                    <a:lnTo>
                      <a:pt x="0" y="29360"/>
                    </a:lnTo>
                    <a:lnTo>
                      <a:pt x="529" y="28743"/>
                    </a:lnTo>
                    <a:lnTo>
                      <a:pt x="264" y="28214"/>
                    </a:lnTo>
                    <a:lnTo>
                      <a:pt x="1763" y="28743"/>
                    </a:lnTo>
                    <a:lnTo>
                      <a:pt x="3527" y="28743"/>
                    </a:lnTo>
                    <a:lnTo>
                      <a:pt x="5290" y="29625"/>
                    </a:lnTo>
                    <a:lnTo>
                      <a:pt x="6436" y="28743"/>
                    </a:lnTo>
                    <a:lnTo>
                      <a:pt x="8200" y="28743"/>
                    </a:lnTo>
                    <a:lnTo>
                      <a:pt x="9346" y="29889"/>
                    </a:lnTo>
                    <a:lnTo>
                      <a:pt x="11109" y="31388"/>
                    </a:lnTo>
                    <a:lnTo>
                      <a:pt x="10845" y="28743"/>
                    </a:lnTo>
                    <a:lnTo>
                      <a:pt x="10845" y="28214"/>
                    </a:lnTo>
                    <a:lnTo>
                      <a:pt x="11462" y="28214"/>
                    </a:lnTo>
                    <a:lnTo>
                      <a:pt x="14636" y="32622"/>
                    </a:lnTo>
                    <a:lnTo>
                      <a:pt x="16664" y="31476"/>
                    </a:lnTo>
                    <a:lnTo>
                      <a:pt x="17281" y="28302"/>
                    </a:lnTo>
                    <a:lnTo>
                      <a:pt x="19573" y="28302"/>
                    </a:lnTo>
                    <a:lnTo>
                      <a:pt x="20720" y="28302"/>
                    </a:lnTo>
                    <a:lnTo>
                      <a:pt x="24775" y="27685"/>
                    </a:lnTo>
                    <a:lnTo>
                      <a:pt x="24511" y="25922"/>
                    </a:lnTo>
                    <a:lnTo>
                      <a:pt x="27685" y="28831"/>
                    </a:lnTo>
                    <a:lnTo>
                      <a:pt x="30330" y="26539"/>
                    </a:lnTo>
                    <a:lnTo>
                      <a:pt x="34121" y="28831"/>
                    </a:lnTo>
                    <a:lnTo>
                      <a:pt x="37031" y="27685"/>
                    </a:lnTo>
                    <a:lnTo>
                      <a:pt x="36414" y="22747"/>
                    </a:lnTo>
                    <a:lnTo>
                      <a:pt x="39323" y="21866"/>
                    </a:lnTo>
                    <a:lnTo>
                      <a:pt x="39940" y="20720"/>
                    </a:lnTo>
                    <a:lnTo>
                      <a:pt x="39323" y="17546"/>
                    </a:lnTo>
                    <a:lnTo>
                      <a:pt x="37824" y="16047"/>
                    </a:lnTo>
                    <a:lnTo>
                      <a:pt x="38971" y="11991"/>
                    </a:lnTo>
                    <a:lnTo>
                      <a:pt x="41880" y="11991"/>
                    </a:lnTo>
                    <a:lnTo>
                      <a:pt x="43643" y="11462"/>
                    </a:lnTo>
                    <a:lnTo>
                      <a:pt x="46553" y="10316"/>
                    </a:lnTo>
                    <a:lnTo>
                      <a:pt x="47435" y="8552"/>
                    </a:lnTo>
                    <a:lnTo>
                      <a:pt x="50609" y="7935"/>
                    </a:lnTo>
                    <a:lnTo>
                      <a:pt x="49198" y="4408"/>
                    </a:lnTo>
                    <a:lnTo>
                      <a:pt x="50080" y="882"/>
                    </a:lnTo>
                    <a:lnTo>
                      <a:pt x="54136" y="882"/>
                    </a:lnTo>
                    <a:lnTo>
                      <a:pt x="57045" y="0"/>
                    </a:lnTo>
                    <a:lnTo>
                      <a:pt x="57309" y="2028"/>
                    </a:lnTo>
                    <a:lnTo>
                      <a:pt x="59602" y="2028"/>
                    </a:lnTo>
                    <a:lnTo>
                      <a:pt x="59602" y="4056"/>
                    </a:lnTo>
                    <a:lnTo>
                      <a:pt x="61982" y="4673"/>
                    </a:lnTo>
                    <a:lnTo>
                      <a:pt x="63481" y="6701"/>
                    </a:lnTo>
                    <a:lnTo>
                      <a:pt x="64627" y="6701"/>
                    </a:lnTo>
                    <a:lnTo>
                      <a:pt x="66391" y="7847"/>
                    </a:lnTo>
                    <a:lnTo>
                      <a:pt x="66655" y="9610"/>
                    </a:lnTo>
                    <a:lnTo>
                      <a:pt x="67802" y="9610"/>
                    </a:lnTo>
                    <a:lnTo>
                      <a:pt x="70711" y="10757"/>
                    </a:lnTo>
                    <a:lnTo>
                      <a:pt x="71857" y="10757"/>
                    </a:lnTo>
                    <a:lnTo>
                      <a:pt x="71593" y="11903"/>
                    </a:lnTo>
                    <a:lnTo>
                      <a:pt x="72210" y="12784"/>
                    </a:lnTo>
                    <a:lnTo>
                      <a:pt x="73709" y="13049"/>
                    </a:lnTo>
                    <a:lnTo>
                      <a:pt x="73092" y="13578"/>
                    </a:lnTo>
                    <a:lnTo>
                      <a:pt x="73709" y="13842"/>
                    </a:lnTo>
                    <a:lnTo>
                      <a:pt x="73973" y="14107"/>
                    </a:lnTo>
                    <a:lnTo>
                      <a:pt x="74855" y="14371"/>
                    </a:lnTo>
                    <a:lnTo>
                      <a:pt x="74590" y="15253"/>
                    </a:lnTo>
                    <a:lnTo>
                      <a:pt x="76354" y="15518"/>
                    </a:lnTo>
                    <a:lnTo>
                      <a:pt x="76354" y="16047"/>
                    </a:lnTo>
                    <a:lnTo>
                      <a:pt x="76971" y="16311"/>
                    </a:lnTo>
                    <a:lnTo>
                      <a:pt x="76971" y="16576"/>
                    </a:lnTo>
                    <a:lnTo>
                      <a:pt x="78734" y="17193"/>
                    </a:lnTo>
                    <a:lnTo>
                      <a:pt x="81644" y="16576"/>
                    </a:lnTo>
                    <a:lnTo>
                      <a:pt x="82790" y="17722"/>
                    </a:lnTo>
                    <a:lnTo>
                      <a:pt x="82790" y="19221"/>
                    </a:lnTo>
                    <a:lnTo>
                      <a:pt x="85435" y="19838"/>
                    </a:lnTo>
                    <a:lnTo>
                      <a:pt x="86934" y="20720"/>
                    </a:lnTo>
                    <a:lnTo>
                      <a:pt x="87199" y="20455"/>
                    </a:lnTo>
                    <a:lnTo>
                      <a:pt x="89226" y="20720"/>
                    </a:lnTo>
                    <a:lnTo>
                      <a:pt x="90108" y="21249"/>
                    </a:lnTo>
                    <a:lnTo>
                      <a:pt x="92401" y="20367"/>
                    </a:lnTo>
                    <a:lnTo>
                      <a:pt x="95574" y="21249"/>
                    </a:lnTo>
                    <a:lnTo>
                      <a:pt x="97073" y="21249"/>
                    </a:lnTo>
                    <a:lnTo>
                      <a:pt x="97690" y="21249"/>
                    </a:lnTo>
                    <a:lnTo>
                      <a:pt x="98837" y="21249"/>
                    </a:lnTo>
                    <a:lnTo>
                      <a:pt x="99454" y="20720"/>
                    </a:lnTo>
                    <a:lnTo>
                      <a:pt x="100600" y="20455"/>
                    </a:lnTo>
                    <a:lnTo>
                      <a:pt x="101746" y="19309"/>
                    </a:lnTo>
                    <a:lnTo>
                      <a:pt x="102011" y="17546"/>
                    </a:lnTo>
                    <a:lnTo>
                      <a:pt x="104920" y="17810"/>
                    </a:lnTo>
                    <a:lnTo>
                      <a:pt x="105538" y="17546"/>
                    </a:lnTo>
                    <a:lnTo>
                      <a:pt x="107918" y="17457"/>
                    </a:lnTo>
                    <a:close/>
                    <a:moveTo>
                      <a:pt x="21249" y="48052"/>
                    </a:moveTo>
                    <a:lnTo>
                      <a:pt x="20367" y="47787"/>
                    </a:lnTo>
                    <a:lnTo>
                      <a:pt x="18868" y="45495"/>
                    </a:lnTo>
                    <a:lnTo>
                      <a:pt x="18868" y="42585"/>
                    </a:lnTo>
                    <a:lnTo>
                      <a:pt x="17986" y="40822"/>
                    </a:lnTo>
                    <a:lnTo>
                      <a:pt x="17722" y="38530"/>
                    </a:lnTo>
                    <a:lnTo>
                      <a:pt x="17457" y="37031"/>
                    </a:lnTo>
                    <a:lnTo>
                      <a:pt x="17193" y="41439"/>
                    </a:lnTo>
                    <a:lnTo>
                      <a:pt x="16311" y="41704"/>
                    </a:lnTo>
                    <a:lnTo>
                      <a:pt x="17193" y="42585"/>
                    </a:lnTo>
                    <a:lnTo>
                      <a:pt x="17810" y="45230"/>
                    </a:lnTo>
                    <a:lnTo>
                      <a:pt x="18956" y="47875"/>
                    </a:lnTo>
                    <a:lnTo>
                      <a:pt x="18956" y="48757"/>
                    </a:lnTo>
                    <a:lnTo>
                      <a:pt x="20720" y="50520"/>
                    </a:lnTo>
                    <a:lnTo>
                      <a:pt x="21249" y="48052"/>
                    </a:lnTo>
                    <a:close/>
                    <a:moveTo>
                      <a:pt x="25657" y="39588"/>
                    </a:moveTo>
                    <a:lnTo>
                      <a:pt x="25128" y="38177"/>
                    </a:lnTo>
                    <a:lnTo>
                      <a:pt x="22483" y="35884"/>
                    </a:lnTo>
                    <a:lnTo>
                      <a:pt x="21337" y="34738"/>
                    </a:lnTo>
                    <a:lnTo>
                      <a:pt x="19838" y="34121"/>
                    </a:lnTo>
                    <a:lnTo>
                      <a:pt x="20102" y="35884"/>
                    </a:lnTo>
                    <a:lnTo>
                      <a:pt x="18956" y="36766"/>
                    </a:lnTo>
                    <a:lnTo>
                      <a:pt x="20102" y="38530"/>
                    </a:lnTo>
                    <a:lnTo>
                      <a:pt x="22130" y="38530"/>
                    </a:lnTo>
                    <a:lnTo>
                      <a:pt x="23012" y="39411"/>
                    </a:lnTo>
                    <a:lnTo>
                      <a:pt x="25040" y="39676"/>
                    </a:lnTo>
                    <a:lnTo>
                      <a:pt x="25657" y="39676"/>
                    </a:lnTo>
                    <a:close/>
                    <a:moveTo>
                      <a:pt x="60307" y="78999"/>
                    </a:moveTo>
                    <a:lnTo>
                      <a:pt x="60924" y="78734"/>
                    </a:lnTo>
                    <a:lnTo>
                      <a:pt x="61542" y="79352"/>
                    </a:lnTo>
                    <a:lnTo>
                      <a:pt x="63834" y="79352"/>
                    </a:lnTo>
                    <a:lnTo>
                      <a:pt x="64451" y="79352"/>
                    </a:lnTo>
                    <a:lnTo>
                      <a:pt x="66744" y="80233"/>
                    </a:lnTo>
                    <a:lnTo>
                      <a:pt x="67890" y="80850"/>
                    </a:lnTo>
                    <a:lnTo>
                      <a:pt x="69653" y="80850"/>
                    </a:lnTo>
                    <a:lnTo>
                      <a:pt x="70535" y="80850"/>
                    </a:lnTo>
                    <a:lnTo>
                      <a:pt x="70535" y="81468"/>
                    </a:lnTo>
                    <a:lnTo>
                      <a:pt x="70270" y="82349"/>
                    </a:lnTo>
                    <a:lnTo>
                      <a:pt x="69653" y="82349"/>
                    </a:lnTo>
                    <a:lnTo>
                      <a:pt x="69388" y="82702"/>
                    </a:lnTo>
                    <a:lnTo>
                      <a:pt x="68859" y="82966"/>
                    </a:lnTo>
                    <a:lnTo>
                      <a:pt x="67978" y="82702"/>
                    </a:lnTo>
                    <a:lnTo>
                      <a:pt x="65686" y="82085"/>
                    </a:lnTo>
                    <a:lnTo>
                      <a:pt x="62776" y="81468"/>
                    </a:lnTo>
                    <a:lnTo>
                      <a:pt x="60748" y="81732"/>
                    </a:lnTo>
                    <a:lnTo>
                      <a:pt x="59866" y="81732"/>
                    </a:lnTo>
                    <a:lnTo>
                      <a:pt x="58720" y="81203"/>
                    </a:lnTo>
                    <a:lnTo>
                      <a:pt x="57574" y="80586"/>
                    </a:lnTo>
                    <a:lnTo>
                      <a:pt x="56957" y="79704"/>
                    </a:lnTo>
                    <a:lnTo>
                      <a:pt x="58103" y="79704"/>
                    </a:lnTo>
                    <a:lnTo>
                      <a:pt x="58720" y="79969"/>
                    </a:lnTo>
                    <a:lnTo>
                      <a:pt x="60219" y="81115"/>
                    </a:lnTo>
                    <a:lnTo>
                      <a:pt x="60483" y="80498"/>
                    </a:lnTo>
                    <a:lnTo>
                      <a:pt x="60483" y="78999"/>
                    </a:lnTo>
                    <a:close/>
                    <a:moveTo>
                      <a:pt x="74943" y="87992"/>
                    </a:moveTo>
                    <a:lnTo>
                      <a:pt x="73444" y="88257"/>
                    </a:lnTo>
                    <a:lnTo>
                      <a:pt x="71064" y="88521"/>
                    </a:lnTo>
                    <a:lnTo>
                      <a:pt x="69036" y="88257"/>
                    </a:lnTo>
                    <a:lnTo>
                      <a:pt x="68419" y="89138"/>
                    </a:lnTo>
                    <a:lnTo>
                      <a:pt x="66655" y="89403"/>
                    </a:lnTo>
                    <a:lnTo>
                      <a:pt x="64010" y="89138"/>
                    </a:lnTo>
                    <a:lnTo>
                      <a:pt x="61718" y="89403"/>
                    </a:lnTo>
                    <a:lnTo>
                      <a:pt x="62335" y="88874"/>
                    </a:lnTo>
                    <a:lnTo>
                      <a:pt x="60307" y="87992"/>
                    </a:lnTo>
                    <a:lnTo>
                      <a:pt x="60043" y="87110"/>
                    </a:lnTo>
                    <a:lnTo>
                      <a:pt x="61189" y="87110"/>
                    </a:lnTo>
                    <a:lnTo>
                      <a:pt x="64098" y="87728"/>
                    </a:lnTo>
                    <a:lnTo>
                      <a:pt x="63217" y="86581"/>
                    </a:lnTo>
                    <a:lnTo>
                      <a:pt x="63481" y="85700"/>
                    </a:lnTo>
                    <a:lnTo>
                      <a:pt x="64980" y="85700"/>
                    </a:lnTo>
                    <a:lnTo>
                      <a:pt x="66479" y="85700"/>
                    </a:lnTo>
                    <a:lnTo>
                      <a:pt x="67361" y="85700"/>
                    </a:lnTo>
                    <a:lnTo>
                      <a:pt x="68242" y="87110"/>
                    </a:lnTo>
                    <a:lnTo>
                      <a:pt x="70006" y="86846"/>
                    </a:lnTo>
                    <a:lnTo>
                      <a:pt x="70887" y="87110"/>
                    </a:lnTo>
                    <a:lnTo>
                      <a:pt x="71769" y="87110"/>
                    </a:lnTo>
                    <a:lnTo>
                      <a:pt x="73532" y="86846"/>
                    </a:lnTo>
                    <a:lnTo>
                      <a:pt x="75031" y="86581"/>
                    </a:lnTo>
                    <a:lnTo>
                      <a:pt x="76178" y="87463"/>
                    </a:lnTo>
                    <a:lnTo>
                      <a:pt x="75913" y="87728"/>
                    </a:lnTo>
                    <a:lnTo>
                      <a:pt x="74943" y="8799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0" name="Freihandform: Form 1599">
                <a:extLst>
                  <a:ext uri="{FF2B5EF4-FFF2-40B4-BE49-F238E27FC236}">
                    <a16:creationId xmlns:a16="http://schemas.microsoft.com/office/drawing/2014/main" id="{F9D1C42F-1558-EF9D-F74A-6E4D1F1F5C8F}"/>
                  </a:ext>
                </a:extLst>
              </p:cNvPr>
              <p:cNvSpPr/>
              <p:nvPr/>
            </p:nvSpPr>
            <p:spPr>
              <a:xfrm>
                <a:off x="4377548" y="3022455"/>
                <a:ext cx="75824" cy="66479"/>
              </a:xfrm>
              <a:custGeom>
                <a:avLst/>
                <a:gdLst>
                  <a:gd name="connsiteX0" fmla="*/ 61013 w 75824"/>
                  <a:gd name="connsiteY0" fmla="*/ 66479 h 66479"/>
                  <a:gd name="connsiteX1" fmla="*/ 62423 w 75824"/>
                  <a:gd name="connsiteY1" fmla="*/ 65333 h 66479"/>
                  <a:gd name="connsiteX2" fmla="*/ 63305 w 75824"/>
                  <a:gd name="connsiteY2" fmla="*/ 63305 h 66479"/>
                  <a:gd name="connsiteX3" fmla="*/ 63569 w 75824"/>
                  <a:gd name="connsiteY3" fmla="*/ 60660 h 66479"/>
                  <a:gd name="connsiteX4" fmla="*/ 61542 w 75824"/>
                  <a:gd name="connsiteY4" fmla="*/ 59514 h 66479"/>
                  <a:gd name="connsiteX5" fmla="*/ 61277 w 75824"/>
                  <a:gd name="connsiteY5" fmla="*/ 55722 h 66479"/>
                  <a:gd name="connsiteX6" fmla="*/ 62776 w 75824"/>
                  <a:gd name="connsiteY6" fmla="*/ 52196 h 66479"/>
                  <a:gd name="connsiteX7" fmla="*/ 64804 w 75824"/>
                  <a:gd name="connsiteY7" fmla="*/ 49286 h 66479"/>
                  <a:gd name="connsiteX8" fmla="*/ 66832 w 75824"/>
                  <a:gd name="connsiteY8" fmla="*/ 49815 h 66479"/>
                  <a:gd name="connsiteX9" fmla="*/ 67713 w 75824"/>
                  <a:gd name="connsiteY9" fmla="*/ 47523 h 66479"/>
                  <a:gd name="connsiteX10" fmla="*/ 66215 w 75824"/>
                  <a:gd name="connsiteY10" fmla="*/ 43379 h 66479"/>
                  <a:gd name="connsiteX11" fmla="*/ 67361 w 75824"/>
                  <a:gd name="connsiteY11" fmla="*/ 41704 h 66479"/>
                  <a:gd name="connsiteX12" fmla="*/ 70006 w 75824"/>
                  <a:gd name="connsiteY12" fmla="*/ 40469 h 66479"/>
                  <a:gd name="connsiteX13" fmla="*/ 70887 w 75824"/>
                  <a:gd name="connsiteY13" fmla="*/ 39059 h 66479"/>
                  <a:gd name="connsiteX14" fmla="*/ 72034 w 75824"/>
                  <a:gd name="connsiteY14" fmla="*/ 38794 h 66479"/>
                  <a:gd name="connsiteX15" fmla="*/ 73268 w 75824"/>
                  <a:gd name="connsiteY15" fmla="*/ 37031 h 66479"/>
                  <a:gd name="connsiteX16" fmla="*/ 73532 w 75824"/>
                  <a:gd name="connsiteY16" fmla="*/ 36414 h 66479"/>
                  <a:gd name="connsiteX17" fmla="*/ 71769 w 75824"/>
                  <a:gd name="connsiteY17" fmla="*/ 35532 h 66479"/>
                  <a:gd name="connsiteX18" fmla="*/ 70623 w 75824"/>
                  <a:gd name="connsiteY18" fmla="*/ 35003 h 66479"/>
                  <a:gd name="connsiteX19" fmla="*/ 70006 w 75824"/>
                  <a:gd name="connsiteY19" fmla="*/ 31741 h 66479"/>
                  <a:gd name="connsiteX20" fmla="*/ 72915 w 75824"/>
                  <a:gd name="connsiteY20" fmla="*/ 28567 h 66479"/>
                  <a:gd name="connsiteX21" fmla="*/ 74679 w 75824"/>
                  <a:gd name="connsiteY21" fmla="*/ 26803 h 66479"/>
                  <a:gd name="connsiteX22" fmla="*/ 74679 w 75824"/>
                  <a:gd name="connsiteY22" fmla="*/ 24775 h 66479"/>
                  <a:gd name="connsiteX23" fmla="*/ 75825 w 75824"/>
                  <a:gd name="connsiteY23" fmla="*/ 22395 h 66479"/>
                  <a:gd name="connsiteX24" fmla="*/ 73797 w 75824"/>
                  <a:gd name="connsiteY24" fmla="*/ 21249 h 66479"/>
                  <a:gd name="connsiteX25" fmla="*/ 73532 w 75824"/>
                  <a:gd name="connsiteY25" fmla="*/ 19221 h 66479"/>
                  <a:gd name="connsiteX26" fmla="*/ 72386 w 75824"/>
                  <a:gd name="connsiteY26" fmla="*/ 18339 h 66479"/>
                  <a:gd name="connsiteX27" fmla="*/ 69741 w 75824"/>
                  <a:gd name="connsiteY27" fmla="*/ 18956 h 66479"/>
                  <a:gd name="connsiteX28" fmla="*/ 68595 w 75824"/>
                  <a:gd name="connsiteY28" fmla="*/ 17457 h 66479"/>
                  <a:gd name="connsiteX29" fmla="*/ 69477 w 75824"/>
                  <a:gd name="connsiteY29" fmla="*/ 15429 h 66479"/>
                  <a:gd name="connsiteX30" fmla="*/ 69477 w 75824"/>
                  <a:gd name="connsiteY30" fmla="*/ 13402 h 66479"/>
                  <a:gd name="connsiteX31" fmla="*/ 70887 w 75824"/>
                  <a:gd name="connsiteY31" fmla="*/ 12255 h 66479"/>
                  <a:gd name="connsiteX32" fmla="*/ 69477 w 75824"/>
                  <a:gd name="connsiteY32" fmla="*/ 9346 h 66479"/>
                  <a:gd name="connsiteX33" fmla="*/ 68242 w 75824"/>
                  <a:gd name="connsiteY33" fmla="*/ 8464 h 66479"/>
                  <a:gd name="connsiteX34" fmla="*/ 66567 w 75824"/>
                  <a:gd name="connsiteY34" fmla="*/ 8464 h 66479"/>
                  <a:gd name="connsiteX35" fmla="*/ 65950 w 75824"/>
                  <a:gd name="connsiteY35" fmla="*/ 7847 h 66479"/>
                  <a:gd name="connsiteX36" fmla="*/ 66567 w 75824"/>
                  <a:gd name="connsiteY36" fmla="*/ 6965 h 66479"/>
                  <a:gd name="connsiteX37" fmla="*/ 63305 w 75824"/>
                  <a:gd name="connsiteY37" fmla="*/ 8993 h 66479"/>
                  <a:gd name="connsiteX38" fmla="*/ 61277 w 75824"/>
                  <a:gd name="connsiteY38" fmla="*/ 7582 h 66479"/>
                  <a:gd name="connsiteX39" fmla="*/ 58632 w 75824"/>
                  <a:gd name="connsiteY39" fmla="*/ 7230 h 66479"/>
                  <a:gd name="connsiteX40" fmla="*/ 58367 w 75824"/>
                  <a:gd name="connsiteY40" fmla="*/ 6084 h 66479"/>
                  <a:gd name="connsiteX41" fmla="*/ 56869 w 75824"/>
                  <a:gd name="connsiteY41" fmla="*/ 4320 h 66479"/>
                  <a:gd name="connsiteX42" fmla="*/ 56340 w 75824"/>
                  <a:gd name="connsiteY42" fmla="*/ 4937 h 66479"/>
                  <a:gd name="connsiteX43" fmla="*/ 53430 w 75824"/>
                  <a:gd name="connsiteY43" fmla="*/ 5555 h 66479"/>
                  <a:gd name="connsiteX44" fmla="*/ 52813 w 75824"/>
                  <a:gd name="connsiteY44" fmla="*/ 4937 h 66479"/>
                  <a:gd name="connsiteX45" fmla="*/ 51667 w 75824"/>
                  <a:gd name="connsiteY45" fmla="*/ 5819 h 66479"/>
                  <a:gd name="connsiteX46" fmla="*/ 50521 w 75824"/>
                  <a:gd name="connsiteY46" fmla="*/ 3791 h 66479"/>
                  <a:gd name="connsiteX47" fmla="*/ 46112 w 75824"/>
                  <a:gd name="connsiteY47" fmla="*/ 4320 h 66479"/>
                  <a:gd name="connsiteX48" fmla="*/ 45495 w 75824"/>
                  <a:gd name="connsiteY48" fmla="*/ 4320 h 66479"/>
                  <a:gd name="connsiteX49" fmla="*/ 44613 w 75824"/>
                  <a:gd name="connsiteY49" fmla="*/ 3791 h 66479"/>
                  <a:gd name="connsiteX50" fmla="*/ 43467 w 75824"/>
                  <a:gd name="connsiteY50" fmla="*/ 4320 h 66479"/>
                  <a:gd name="connsiteX51" fmla="*/ 41704 w 75824"/>
                  <a:gd name="connsiteY51" fmla="*/ 4937 h 66479"/>
                  <a:gd name="connsiteX52" fmla="*/ 40558 w 75824"/>
                  <a:gd name="connsiteY52" fmla="*/ 3791 h 66479"/>
                  <a:gd name="connsiteX53" fmla="*/ 39147 w 75824"/>
                  <a:gd name="connsiteY53" fmla="*/ 3439 h 66479"/>
                  <a:gd name="connsiteX54" fmla="*/ 37913 w 75824"/>
                  <a:gd name="connsiteY54" fmla="*/ 2292 h 66479"/>
                  <a:gd name="connsiteX55" fmla="*/ 35356 w 75824"/>
                  <a:gd name="connsiteY55" fmla="*/ 4320 h 66479"/>
                  <a:gd name="connsiteX56" fmla="*/ 34121 w 75824"/>
                  <a:gd name="connsiteY56" fmla="*/ 2028 h 66479"/>
                  <a:gd name="connsiteX57" fmla="*/ 31212 w 75824"/>
                  <a:gd name="connsiteY57" fmla="*/ 0 h 66479"/>
                  <a:gd name="connsiteX58" fmla="*/ 30330 w 75824"/>
                  <a:gd name="connsiteY58" fmla="*/ 0 h 66479"/>
                  <a:gd name="connsiteX59" fmla="*/ 28037 w 75824"/>
                  <a:gd name="connsiteY59" fmla="*/ 264 h 66479"/>
                  <a:gd name="connsiteX60" fmla="*/ 26539 w 75824"/>
                  <a:gd name="connsiteY60" fmla="*/ 0 h 66479"/>
                  <a:gd name="connsiteX61" fmla="*/ 24246 w 75824"/>
                  <a:gd name="connsiteY61" fmla="*/ 529 h 66479"/>
                  <a:gd name="connsiteX62" fmla="*/ 22748 w 75824"/>
                  <a:gd name="connsiteY62" fmla="*/ 882 h 66479"/>
                  <a:gd name="connsiteX63" fmla="*/ 21601 w 75824"/>
                  <a:gd name="connsiteY63" fmla="*/ 0 h 66479"/>
                  <a:gd name="connsiteX64" fmla="*/ 19573 w 75824"/>
                  <a:gd name="connsiteY64" fmla="*/ 1146 h 66479"/>
                  <a:gd name="connsiteX65" fmla="*/ 18075 w 75824"/>
                  <a:gd name="connsiteY65" fmla="*/ 529 h 66479"/>
                  <a:gd name="connsiteX66" fmla="*/ 17193 w 75824"/>
                  <a:gd name="connsiteY66" fmla="*/ 1146 h 66479"/>
                  <a:gd name="connsiteX67" fmla="*/ 15165 w 75824"/>
                  <a:gd name="connsiteY67" fmla="*/ 2028 h 66479"/>
                  <a:gd name="connsiteX68" fmla="*/ 14900 w 75824"/>
                  <a:gd name="connsiteY68" fmla="*/ 3439 h 66479"/>
                  <a:gd name="connsiteX69" fmla="*/ 14636 w 75824"/>
                  <a:gd name="connsiteY69" fmla="*/ 4320 h 66479"/>
                  <a:gd name="connsiteX70" fmla="*/ 12256 w 75824"/>
                  <a:gd name="connsiteY70" fmla="*/ 5819 h 66479"/>
                  <a:gd name="connsiteX71" fmla="*/ 10845 w 75824"/>
                  <a:gd name="connsiteY71" fmla="*/ 4673 h 66479"/>
                  <a:gd name="connsiteX72" fmla="*/ 8729 w 75824"/>
                  <a:gd name="connsiteY72" fmla="*/ 4673 h 66479"/>
                  <a:gd name="connsiteX73" fmla="*/ 5555 w 75824"/>
                  <a:gd name="connsiteY73" fmla="*/ 2292 h 66479"/>
                  <a:gd name="connsiteX74" fmla="*/ 2381 w 75824"/>
                  <a:gd name="connsiteY74" fmla="*/ 2292 h 66479"/>
                  <a:gd name="connsiteX75" fmla="*/ 2645 w 75824"/>
                  <a:gd name="connsiteY75" fmla="*/ 3791 h 66479"/>
                  <a:gd name="connsiteX76" fmla="*/ 2028 w 75824"/>
                  <a:gd name="connsiteY76" fmla="*/ 5202 h 66479"/>
                  <a:gd name="connsiteX77" fmla="*/ 617 w 75824"/>
                  <a:gd name="connsiteY77" fmla="*/ 6965 h 66479"/>
                  <a:gd name="connsiteX78" fmla="*/ 0 w 75824"/>
                  <a:gd name="connsiteY78" fmla="*/ 7230 h 66479"/>
                  <a:gd name="connsiteX79" fmla="*/ 1234 w 75824"/>
                  <a:gd name="connsiteY79" fmla="*/ 9346 h 66479"/>
                  <a:gd name="connsiteX80" fmla="*/ 1499 w 75824"/>
                  <a:gd name="connsiteY80" fmla="*/ 11374 h 66479"/>
                  <a:gd name="connsiteX81" fmla="*/ 3262 w 75824"/>
                  <a:gd name="connsiteY81" fmla="*/ 13666 h 66479"/>
                  <a:gd name="connsiteX82" fmla="*/ 5819 w 75824"/>
                  <a:gd name="connsiteY82" fmla="*/ 15429 h 66479"/>
                  <a:gd name="connsiteX83" fmla="*/ 7054 w 75824"/>
                  <a:gd name="connsiteY83" fmla="*/ 15429 h 66479"/>
                  <a:gd name="connsiteX84" fmla="*/ 8464 w 75824"/>
                  <a:gd name="connsiteY84" fmla="*/ 16576 h 66479"/>
                  <a:gd name="connsiteX85" fmla="*/ 8464 w 75824"/>
                  <a:gd name="connsiteY85" fmla="*/ 18075 h 66479"/>
                  <a:gd name="connsiteX86" fmla="*/ 9963 w 75824"/>
                  <a:gd name="connsiteY86" fmla="*/ 19838 h 66479"/>
                  <a:gd name="connsiteX87" fmla="*/ 10492 w 75824"/>
                  <a:gd name="connsiteY87" fmla="*/ 20102 h 66479"/>
                  <a:gd name="connsiteX88" fmla="*/ 12873 w 75824"/>
                  <a:gd name="connsiteY88" fmla="*/ 24158 h 66479"/>
                  <a:gd name="connsiteX89" fmla="*/ 12520 w 75824"/>
                  <a:gd name="connsiteY89" fmla="*/ 25304 h 66479"/>
                  <a:gd name="connsiteX90" fmla="*/ 14636 w 75824"/>
                  <a:gd name="connsiteY90" fmla="*/ 26186 h 66479"/>
                  <a:gd name="connsiteX91" fmla="*/ 15165 w 75824"/>
                  <a:gd name="connsiteY91" fmla="*/ 28302 h 66479"/>
                  <a:gd name="connsiteX92" fmla="*/ 16928 w 75824"/>
                  <a:gd name="connsiteY92" fmla="*/ 30330 h 66479"/>
                  <a:gd name="connsiteX93" fmla="*/ 18692 w 75824"/>
                  <a:gd name="connsiteY93" fmla="*/ 30330 h 66479"/>
                  <a:gd name="connsiteX94" fmla="*/ 19573 w 75824"/>
                  <a:gd name="connsiteY94" fmla="*/ 31476 h 66479"/>
                  <a:gd name="connsiteX95" fmla="*/ 21866 w 75824"/>
                  <a:gd name="connsiteY95" fmla="*/ 33504 h 66479"/>
                  <a:gd name="connsiteX96" fmla="*/ 23629 w 75824"/>
                  <a:gd name="connsiteY96" fmla="*/ 35267 h 66479"/>
                  <a:gd name="connsiteX97" fmla="*/ 26010 w 75824"/>
                  <a:gd name="connsiteY97" fmla="*/ 35885 h 66479"/>
                  <a:gd name="connsiteX98" fmla="*/ 27421 w 75824"/>
                  <a:gd name="connsiteY98" fmla="*/ 35267 h 66479"/>
                  <a:gd name="connsiteX99" fmla="*/ 28037 w 75824"/>
                  <a:gd name="connsiteY99" fmla="*/ 37912 h 66479"/>
                  <a:gd name="connsiteX100" fmla="*/ 29184 w 75824"/>
                  <a:gd name="connsiteY100" fmla="*/ 39940 h 66479"/>
                  <a:gd name="connsiteX101" fmla="*/ 32710 w 75824"/>
                  <a:gd name="connsiteY101" fmla="*/ 42850 h 66479"/>
                  <a:gd name="connsiteX102" fmla="*/ 35003 w 75824"/>
                  <a:gd name="connsiteY102" fmla="*/ 43732 h 66479"/>
                  <a:gd name="connsiteX103" fmla="*/ 35620 w 75824"/>
                  <a:gd name="connsiteY103" fmla="*/ 44878 h 66479"/>
                  <a:gd name="connsiteX104" fmla="*/ 35356 w 75824"/>
                  <a:gd name="connsiteY104" fmla="*/ 48669 h 66479"/>
                  <a:gd name="connsiteX105" fmla="*/ 37383 w 75824"/>
                  <a:gd name="connsiteY105" fmla="*/ 48933 h 66479"/>
                  <a:gd name="connsiteX106" fmla="*/ 38265 w 75824"/>
                  <a:gd name="connsiteY106" fmla="*/ 51050 h 66479"/>
                  <a:gd name="connsiteX107" fmla="*/ 39411 w 75824"/>
                  <a:gd name="connsiteY107" fmla="*/ 52725 h 66479"/>
                  <a:gd name="connsiteX108" fmla="*/ 40558 w 75824"/>
                  <a:gd name="connsiteY108" fmla="*/ 53342 h 66479"/>
                  <a:gd name="connsiteX109" fmla="*/ 41175 w 75824"/>
                  <a:gd name="connsiteY109" fmla="*/ 54841 h 66479"/>
                  <a:gd name="connsiteX110" fmla="*/ 42585 w 75824"/>
                  <a:gd name="connsiteY110" fmla="*/ 56251 h 66479"/>
                  <a:gd name="connsiteX111" fmla="*/ 43467 w 75824"/>
                  <a:gd name="connsiteY111" fmla="*/ 58279 h 66479"/>
                  <a:gd name="connsiteX112" fmla="*/ 43731 w 75824"/>
                  <a:gd name="connsiteY112" fmla="*/ 56869 h 66479"/>
                  <a:gd name="connsiteX113" fmla="*/ 49286 w 75824"/>
                  <a:gd name="connsiteY113" fmla="*/ 60660 h 66479"/>
                  <a:gd name="connsiteX114" fmla="*/ 55458 w 75824"/>
                  <a:gd name="connsiteY114" fmla="*/ 61189 h 66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75824" h="66479">
                    <a:moveTo>
                      <a:pt x="61013" y="66479"/>
                    </a:moveTo>
                    <a:lnTo>
                      <a:pt x="62423" y="65333"/>
                    </a:lnTo>
                    <a:lnTo>
                      <a:pt x="63305" y="63305"/>
                    </a:lnTo>
                    <a:lnTo>
                      <a:pt x="63569" y="60660"/>
                    </a:lnTo>
                    <a:lnTo>
                      <a:pt x="61542" y="59514"/>
                    </a:lnTo>
                    <a:lnTo>
                      <a:pt x="61277" y="55722"/>
                    </a:lnTo>
                    <a:lnTo>
                      <a:pt x="62776" y="52196"/>
                    </a:lnTo>
                    <a:lnTo>
                      <a:pt x="64804" y="49286"/>
                    </a:lnTo>
                    <a:lnTo>
                      <a:pt x="66832" y="49815"/>
                    </a:lnTo>
                    <a:lnTo>
                      <a:pt x="67713" y="47523"/>
                    </a:lnTo>
                    <a:lnTo>
                      <a:pt x="66215" y="43379"/>
                    </a:lnTo>
                    <a:lnTo>
                      <a:pt x="67361" y="41704"/>
                    </a:lnTo>
                    <a:lnTo>
                      <a:pt x="70006" y="40469"/>
                    </a:lnTo>
                    <a:lnTo>
                      <a:pt x="70887" y="39059"/>
                    </a:lnTo>
                    <a:lnTo>
                      <a:pt x="72034" y="38794"/>
                    </a:lnTo>
                    <a:lnTo>
                      <a:pt x="73268" y="37031"/>
                    </a:lnTo>
                    <a:lnTo>
                      <a:pt x="73532" y="36414"/>
                    </a:lnTo>
                    <a:lnTo>
                      <a:pt x="71769" y="35532"/>
                    </a:lnTo>
                    <a:lnTo>
                      <a:pt x="70623" y="35003"/>
                    </a:lnTo>
                    <a:lnTo>
                      <a:pt x="70006" y="31741"/>
                    </a:lnTo>
                    <a:lnTo>
                      <a:pt x="72915" y="28567"/>
                    </a:lnTo>
                    <a:lnTo>
                      <a:pt x="74679" y="26803"/>
                    </a:lnTo>
                    <a:lnTo>
                      <a:pt x="74679" y="24775"/>
                    </a:lnTo>
                    <a:lnTo>
                      <a:pt x="75825" y="22395"/>
                    </a:lnTo>
                    <a:lnTo>
                      <a:pt x="73797" y="21249"/>
                    </a:lnTo>
                    <a:lnTo>
                      <a:pt x="73532" y="19221"/>
                    </a:lnTo>
                    <a:lnTo>
                      <a:pt x="72386" y="18339"/>
                    </a:lnTo>
                    <a:lnTo>
                      <a:pt x="69741" y="18956"/>
                    </a:lnTo>
                    <a:lnTo>
                      <a:pt x="68595" y="17457"/>
                    </a:lnTo>
                    <a:lnTo>
                      <a:pt x="69477" y="15429"/>
                    </a:lnTo>
                    <a:lnTo>
                      <a:pt x="69477" y="13402"/>
                    </a:lnTo>
                    <a:lnTo>
                      <a:pt x="70887" y="12255"/>
                    </a:lnTo>
                    <a:lnTo>
                      <a:pt x="69477" y="9346"/>
                    </a:lnTo>
                    <a:lnTo>
                      <a:pt x="68242" y="8464"/>
                    </a:lnTo>
                    <a:lnTo>
                      <a:pt x="66567" y="8464"/>
                    </a:lnTo>
                    <a:lnTo>
                      <a:pt x="65950" y="7847"/>
                    </a:lnTo>
                    <a:lnTo>
                      <a:pt x="66567" y="6965"/>
                    </a:lnTo>
                    <a:lnTo>
                      <a:pt x="63305" y="8993"/>
                    </a:lnTo>
                    <a:lnTo>
                      <a:pt x="61277" y="7582"/>
                    </a:lnTo>
                    <a:lnTo>
                      <a:pt x="58632" y="7230"/>
                    </a:lnTo>
                    <a:lnTo>
                      <a:pt x="58367" y="6084"/>
                    </a:lnTo>
                    <a:lnTo>
                      <a:pt x="56869" y="4320"/>
                    </a:lnTo>
                    <a:lnTo>
                      <a:pt x="56340" y="4937"/>
                    </a:lnTo>
                    <a:lnTo>
                      <a:pt x="53430" y="5555"/>
                    </a:lnTo>
                    <a:lnTo>
                      <a:pt x="52813" y="4937"/>
                    </a:lnTo>
                    <a:lnTo>
                      <a:pt x="51667" y="5819"/>
                    </a:lnTo>
                    <a:lnTo>
                      <a:pt x="50521" y="3791"/>
                    </a:lnTo>
                    <a:lnTo>
                      <a:pt x="46112" y="4320"/>
                    </a:lnTo>
                    <a:lnTo>
                      <a:pt x="45495" y="4320"/>
                    </a:lnTo>
                    <a:lnTo>
                      <a:pt x="44613" y="3791"/>
                    </a:lnTo>
                    <a:lnTo>
                      <a:pt x="43467" y="4320"/>
                    </a:lnTo>
                    <a:lnTo>
                      <a:pt x="41704" y="4937"/>
                    </a:lnTo>
                    <a:lnTo>
                      <a:pt x="40558" y="3791"/>
                    </a:lnTo>
                    <a:lnTo>
                      <a:pt x="39147" y="3439"/>
                    </a:lnTo>
                    <a:lnTo>
                      <a:pt x="37913" y="2292"/>
                    </a:lnTo>
                    <a:lnTo>
                      <a:pt x="35356" y="4320"/>
                    </a:lnTo>
                    <a:lnTo>
                      <a:pt x="34121" y="2028"/>
                    </a:lnTo>
                    <a:lnTo>
                      <a:pt x="31212" y="0"/>
                    </a:lnTo>
                    <a:lnTo>
                      <a:pt x="30330" y="0"/>
                    </a:lnTo>
                    <a:lnTo>
                      <a:pt x="28037" y="264"/>
                    </a:lnTo>
                    <a:lnTo>
                      <a:pt x="26539" y="0"/>
                    </a:lnTo>
                    <a:lnTo>
                      <a:pt x="24246" y="529"/>
                    </a:lnTo>
                    <a:lnTo>
                      <a:pt x="22748" y="882"/>
                    </a:lnTo>
                    <a:lnTo>
                      <a:pt x="21601" y="0"/>
                    </a:lnTo>
                    <a:lnTo>
                      <a:pt x="19573" y="1146"/>
                    </a:lnTo>
                    <a:lnTo>
                      <a:pt x="18075" y="529"/>
                    </a:lnTo>
                    <a:lnTo>
                      <a:pt x="17193" y="1146"/>
                    </a:lnTo>
                    <a:lnTo>
                      <a:pt x="15165" y="2028"/>
                    </a:lnTo>
                    <a:lnTo>
                      <a:pt x="14900" y="3439"/>
                    </a:lnTo>
                    <a:lnTo>
                      <a:pt x="14636" y="4320"/>
                    </a:lnTo>
                    <a:lnTo>
                      <a:pt x="12256" y="5819"/>
                    </a:lnTo>
                    <a:lnTo>
                      <a:pt x="10845" y="4673"/>
                    </a:lnTo>
                    <a:lnTo>
                      <a:pt x="8729" y="4673"/>
                    </a:lnTo>
                    <a:lnTo>
                      <a:pt x="5555" y="2292"/>
                    </a:lnTo>
                    <a:lnTo>
                      <a:pt x="2381" y="2292"/>
                    </a:lnTo>
                    <a:lnTo>
                      <a:pt x="2645" y="3791"/>
                    </a:lnTo>
                    <a:lnTo>
                      <a:pt x="2028" y="5202"/>
                    </a:lnTo>
                    <a:lnTo>
                      <a:pt x="617" y="6965"/>
                    </a:lnTo>
                    <a:lnTo>
                      <a:pt x="0" y="7230"/>
                    </a:lnTo>
                    <a:lnTo>
                      <a:pt x="1234" y="9346"/>
                    </a:lnTo>
                    <a:lnTo>
                      <a:pt x="1499" y="11374"/>
                    </a:lnTo>
                    <a:lnTo>
                      <a:pt x="3262" y="13666"/>
                    </a:lnTo>
                    <a:lnTo>
                      <a:pt x="5819" y="15429"/>
                    </a:lnTo>
                    <a:lnTo>
                      <a:pt x="7054" y="15429"/>
                    </a:lnTo>
                    <a:lnTo>
                      <a:pt x="8464" y="16576"/>
                    </a:lnTo>
                    <a:lnTo>
                      <a:pt x="8464" y="18075"/>
                    </a:lnTo>
                    <a:lnTo>
                      <a:pt x="9963" y="19838"/>
                    </a:lnTo>
                    <a:lnTo>
                      <a:pt x="10492" y="20102"/>
                    </a:lnTo>
                    <a:lnTo>
                      <a:pt x="12873" y="24158"/>
                    </a:lnTo>
                    <a:lnTo>
                      <a:pt x="12520" y="25304"/>
                    </a:lnTo>
                    <a:lnTo>
                      <a:pt x="14636" y="26186"/>
                    </a:lnTo>
                    <a:lnTo>
                      <a:pt x="15165" y="28302"/>
                    </a:lnTo>
                    <a:lnTo>
                      <a:pt x="16928" y="30330"/>
                    </a:lnTo>
                    <a:lnTo>
                      <a:pt x="18692" y="30330"/>
                    </a:lnTo>
                    <a:lnTo>
                      <a:pt x="19573" y="31476"/>
                    </a:lnTo>
                    <a:lnTo>
                      <a:pt x="21866" y="33504"/>
                    </a:lnTo>
                    <a:lnTo>
                      <a:pt x="23629" y="35267"/>
                    </a:lnTo>
                    <a:lnTo>
                      <a:pt x="26010" y="35885"/>
                    </a:lnTo>
                    <a:lnTo>
                      <a:pt x="27421" y="35267"/>
                    </a:lnTo>
                    <a:lnTo>
                      <a:pt x="28037" y="37912"/>
                    </a:lnTo>
                    <a:lnTo>
                      <a:pt x="29184" y="39940"/>
                    </a:lnTo>
                    <a:lnTo>
                      <a:pt x="32710" y="42850"/>
                    </a:lnTo>
                    <a:lnTo>
                      <a:pt x="35003" y="43732"/>
                    </a:lnTo>
                    <a:lnTo>
                      <a:pt x="35620" y="44878"/>
                    </a:lnTo>
                    <a:lnTo>
                      <a:pt x="35356" y="48669"/>
                    </a:lnTo>
                    <a:lnTo>
                      <a:pt x="37383" y="48933"/>
                    </a:lnTo>
                    <a:lnTo>
                      <a:pt x="38265" y="51050"/>
                    </a:lnTo>
                    <a:lnTo>
                      <a:pt x="39411" y="52725"/>
                    </a:lnTo>
                    <a:lnTo>
                      <a:pt x="40558" y="53342"/>
                    </a:lnTo>
                    <a:lnTo>
                      <a:pt x="41175" y="54841"/>
                    </a:lnTo>
                    <a:lnTo>
                      <a:pt x="42585" y="56251"/>
                    </a:lnTo>
                    <a:lnTo>
                      <a:pt x="43467" y="58279"/>
                    </a:lnTo>
                    <a:lnTo>
                      <a:pt x="43731" y="56869"/>
                    </a:lnTo>
                    <a:lnTo>
                      <a:pt x="49286" y="60660"/>
                    </a:lnTo>
                    <a:lnTo>
                      <a:pt x="55458" y="611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1" name="Freihandform: Form 1600">
                <a:extLst>
                  <a:ext uri="{FF2B5EF4-FFF2-40B4-BE49-F238E27FC236}">
                    <a16:creationId xmlns:a16="http://schemas.microsoft.com/office/drawing/2014/main" id="{44C4C44C-565E-BF51-1055-486FAB6CBE19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2" name="Freihandform: Form 1601">
                <a:extLst>
                  <a:ext uri="{FF2B5EF4-FFF2-40B4-BE49-F238E27FC236}">
                    <a16:creationId xmlns:a16="http://schemas.microsoft.com/office/drawing/2014/main" id="{6C863225-5657-0F17-29A4-DC353CB93B8D}"/>
                  </a:ext>
                </a:extLst>
              </p:cNvPr>
              <p:cNvSpPr/>
              <p:nvPr/>
            </p:nvSpPr>
            <p:spPr>
              <a:xfrm>
                <a:off x="4535105" y="3177631"/>
                <a:ext cx="37030" cy="26186"/>
              </a:xfrm>
              <a:custGeom>
                <a:avLst/>
                <a:gdLst>
                  <a:gd name="connsiteX0" fmla="*/ 37031 w 37030"/>
                  <a:gd name="connsiteY0" fmla="*/ 20631 h 26186"/>
                  <a:gd name="connsiteX1" fmla="*/ 36414 w 37030"/>
                  <a:gd name="connsiteY1" fmla="*/ 22395 h 26186"/>
                  <a:gd name="connsiteX2" fmla="*/ 35532 w 37030"/>
                  <a:gd name="connsiteY2" fmla="*/ 23629 h 26186"/>
                  <a:gd name="connsiteX3" fmla="*/ 35532 w 37030"/>
                  <a:gd name="connsiteY3" fmla="*/ 24775 h 26186"/>
                  <a:gd name="connsiteX4" fmla="*/ 35885 w 37030"/>
                  <a:gd name="connsiteY4" fmla="*/ 25657 h 26186"/>
                  <a:gd name="connsiteX5" fmla="*/ 34386 w 37030"/>
                  <a:gd name="connsiteY5" fmla="*/ 26186 h 26186"/>
                  <a:gd name="connsiteX6" fmla="*/ 33857 w 37030"/>
                  <a:gd name="connsiteY6" fmla="*/ 25922 h 26186"/>
                  <a:gd name="connsiteX7" fmla="*/ 32358 w 37030"/>
                  <a:gd name="connsiteY7" fmla="*/ 24158 h 26186"/>
                  <a:gd name="connsiteX8" fmla="*/ 32093 w 37030"/>
                  <a:gd name="connsiteY8" fmla="*/ 23012 h 26186"/>
                  <a:gd name="connsiteX9" fmla="*/ 29096 w 37030"/>
                  <a:gd name="connsiteY9" fmla="*/ 20631 h 26186"/>
                  <a:gd name="connsiteX10" fmla="*/ 28567 w 37030"/>
                  <a:gd name="connsiteY10" fmla="*/ 18956 h 26186"/>
                  <a:gd name="connsiteX11" fmla="*/ 25657 w 37030"/>
                  <a:gd name="connsiteY11" fmla="*/ 18339 h 26186"/>
                  <a:gd name="connsiteX12" fmla="*/ 24775 w 37030"/>
                  <a:gd name="connsiteY12" fmla="*/ 17457 h 26186"/>
                  <a:gd name="connsiteX13" fmla="*/ 23012 w 37030"/>
                  <a:gd name="connsiteY13" fmla="*/ 15694 h 26186"/>
                  <a:gd name="connsiteX14" fmla="*/ 23277 w 37030"/>
                  <a:gd name="connsiteY14" fmla="*/ 15077 h 26186"/>
                  <a:gd name="connsiteX15" fmla="*/ 21601 w 37030"/>
                  <a:gd name="connsiteY15" fmla="*/ 14812 h 26186"/>
                  <a:gd name="connsiteX16" fmla="*/ 20102 w 37030"/>
                  <a:gd name="connsiteY16" fmla="*/ 13049 h 26186"/>
                  <a:gd name="connsiteX17" fmla="*/ 18604 w 37030"/>
                  <a:gd name="connsiteY17" fmla="*/ 13401 h 26186"/>
                  <a:gd name="connsiteX18" fmla="*/ 17193 w 37030"/>
                  <a:gd name="connsiteY18" fmla="*/ 13049 h 26186"/>
                  <a:gd name="connsiteX19" fmla="*/ 15165 w 37030"/>
                  <a:gd name="connsiteY19" fmla="*/ 12520 h 26186"/>
                  <a:gd name="connsiteX20" fmla="*/ 12785 w 37030"/>
                  <a:gd name="connsiteY20" fmla="*/ 11374 h 26186"/>
                  <a:gd name="connsiteX21" fmla="*/ 11374 w 37030"/>
                  <a:gd name="connsiteY21" fmla="*/ 10492 h 26186"/>
                  <a:gd name="connsiteX22" fmla="*/ 11374 w 37030"/>
                  <a:gd name="connsiteY22" fmla="*/ 9258 h 26186"/>
                  <a:gd name="connsiteX23" fmla="*/ 11021 w 37030"/>
                  <a:gd name="connsiteY23" fmla="*/ 8111 h 26186"/>
                  <a:gd name="connsiteX24" fmla="*/ 11021 w 37030"/>
                  <a:gd name="connsiteY24" fmla="*/ 6701 h 26186"/>
                  <a:gd name="connsiteX25" fmla="*/ 9875 w 37030"/>
                  <a:gd name="connsiteY25" fmla="*/ 6084 h 26186"/>
                  <a:gd name="connsiteX26" fmla="*/ 8464 w 37030"/>
                  <a:gd name="connsiteY26" fmla="*/ 5466 h 26186"/>
                  <a:gd name="connsiteX27" fmla="*/ 6701 w 37030"/>
                  <a:gd name="connsiteY27" fmla="*/ 5466 h 26186"/>
                  <a:gd name="connsiteX28" fmla="*/ 1675 w 37030"/>
                  <a:gd name="connsiteY28" fmla="*/ 4937 h 26186"/>
                  <a:gd name="connsiteX29" fmla="*/ 0 w 37030"/>
                  <a:gd name="connsiteY29" fmla="*/ 5466 h 26186"/>
                  <a:gd name="connsiteX30" fmla="*/ 0 w 37030"/>
                  <a:gd name="connsiteY30" fmla="*/ 4585 h 26186"/>
                  <a:gd name="connsiteX31" fmla="*/ 264 w 37030"/>
                  <a:gd name="connsiteY31" fmla="*/ 4320 h 26186"/>
                  <a:gd name="connsiteX32" fmla="*/ 1146 w 37030"/>
                  <a:gd name="connsiteY32" fmla="*/ 4320 h 26186"/>
                  <a:gd name="connsiteX33" fmla="*/ 1675 w 37030"/>
                  <a:gd name="connsiteY33" fmla="*/ 2910 h 26186"/>
                  <a:gd name="connsiteX34" fmla="*/ 2028 w 37030"/>
                  <a:gd name="connsiteY34" fmla="*/ 3174 h 26186"/>
                  <a:gd name="connsiteX35" fmla="*/ 4320 w 37030"/>
                  <a:gd name="connsiteY35" fmla="*/ 2292 h 26186"/>
                  <a:gd name="connsiteX36" fmla="*/ 4937 w 37030"/>
                  <a:gd name="connsiteY36" fmla="*/ 1146 h 26186"/>
                  <a:gd name="connsiteX37" fmla="*/ 4320 w 37030"/>
                  <a:gd name="connsiteY37" fmla="*/ 793 h 26186"/>
                  <a:gd name="connsiteX38" fmla="*/ 4320 w 37030"/>
                  <a:gd name="connsiteY38" fmla="*/ 529 h 26186"/>
                  <a:gd name="connsiteX39" fmla="*/ 5819 w 37030"/>
                  <a:gd name="connsiteY39" fmla="*/ 0 h 26186"/>
                  <a:gd name="connsiteX40" fmla="*/ 8112 w 37030"/>
                  <a:gd name="connsiteY40" fmla="*/ 529 h 26186"/>
                  <a:gd name="connsiteX41" fmla="*/ 9258 w 37030"/>
                  <a:gd name="connsiteY41" fmla="*/ 529 h 26186"/>
                  <a:gd name="connsiteX42" fmla="*/ 10757 w 37030"/>
                  <a:gd name="connsiteY42" fmla="*/ 2910 h 26186"/>
                  <a:gd name="connsiteX43" fmla="*/ 13402 w 37030"/>
                  <a:gd name="connsiteY43" fmla="*/ 4585 h 26186"/>
                  <a:gd name="connsiteX44" fmla="*/ 14548 w 37030"/>
                  <a:gd name="connsiteY44" fmla="*/ 6084 h 26186"/>
                  <a:gd name="connsiteX45" fmla="*/ 14548 w 37030"/>
                  <a:gd name="connsiteY45" fmla="*/ 6348 h 26186"/>
                  <a:gd name="connsiteX46" fmla="*/ 17810 w 37030"/>
                  <a:gd name="connsiteY46" fmla="*/ 7582 h 26186"/>
                  <a:gd name="connsiteX47" fmla="*/ 18339 w 37030"/>
                  <a:gd name="connsiteY47" fmla="*/ 8111 h 26186"/>
                  <a:gd name="connsiteX48" fmla="*/ 21866 w 37030"/>
                  <a:gd name="connsiteY48" fmla="*/ 8376 h 26186"/>
                  <a:gd name="connsiteX49" fmla="*/ 22748 w 37030"/>
                  <a:gd name="connsiteY49" fmla="*/ 9258 h 26186"/>
                  <a:gd name="connsiteX50" fmla="*/ 26539 w 37030"/>
                  <a:gd name="connsiteY50" fmla="*/ 10139 h 26186"/>
                  <a:gd name="connsiteX51" fmla="*/ 27685 w 37030"/>
                  <a:gd name="connsiteY51" fmla="*/ 9875 h 26186"/>
                  <a:gd name="connsiteX52" fmla="*/ 27949 w 37030"/>
                  <a:gd name="connsiteY52" fmla="*/ 10492 h 26186"/>
                  <a:gd name="connsiteX53" fmla="*/ 27685 w 37030"/>
                  <a:gd name="connsiteY53" fmla="*/ 11638 h 26186"/>
                  <a:gd name="connsiteX54" fmla="*/ 28302 w 37030"/>
                  <a:gd name="connsiteY54" fmla="*/ 13666 h 26186"/>
                  <a:gd name="connsiteX55" fmla="*/ 27949 w 37030"/>
                  <a:gd name="connsiteY55" fmla="*/ 14283 h 26186"/>
                  <a:gd name="connsiteX56" fmla="*/ 28567 w 37030"/>
                  <a:gd name="connsiteY56" fmla="*/ 16576 h 26186"/>
                  <a:gd name="connsiteX57" fmla="*/ 28302 w 37030"/>
                  <a:gd name="connsiteY57" fmla="*/ 17457 h 26186"/>
                  <a:gd name="connsiteX58" fmla="*/ 30859 w 37030"/>
                  <a:gd name="connsiteY58" fmla="*/ 18075 h 26186"/>
                  <a:gd name="connsiteX59" fmla="*/ 31741 w 37030"/>
                  <a:gd name="connsiteY59" fmla="*/ 19221 h 26186"/>
                  <a:gd name="connsiteX60" fmla="*/ 33504 w 37030"/>
                  <a:gd name="connsiteY60" fmla="*/ 19221 h 26186"/>
                  <a:gd name="connsiteX61" fmla="*/ 35003 w 37030"/>
                  <a:gd name="connsiteY61" fmla="*/ 19221 h 26186"/>
                  <a:gd name="connsiteX62" fmla="*/ 36149 w 37030"/>
                  <a:gd name="connsiteY62" fmla="*/ 19838 h 26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37030" h="26186">
                    <a:moveTo>
                      <a:pt x="37031" y="20631"/>
                    </a:moveTo>
                    <a:lnTo>
                      <a:pt x="36414" y="22395"/>
                    </a:lnTo>
                    <a:lnTo>
                      <a:pt x="35532" y="23629"/>
                    </a:lnTo>
                    <a:lnTo>
                      <a:pt x="35532" y="24775"/>
                    </a:lnTo>
                    <a:lnTo>
                      <a:pt x="35885" y="25657"/>
                    </a:lnTo>
                    <a:lnTo>
                      <a:pt x="34386" y="26186"/>
                    </a:lnTo>
                    <a:lnTo>
                      <a:pt x="33857" y="25922"/>
                    </a:lnTo>
                    <a:lnTo>
                      <a:pt x="32358" y="24158"/>
                    </a:lnTo>
                    <a:lnTo>
                      <a:pt x="32093" y="23012"/>
                    </a:lnTo>
                    <a:lnTo>
                      <a:pt x="29096" y="20631"/>
                    </a:lnTo>
                    <a:lnTo>
                      <a:pt x="28567" y="18956"/>
                    </a:lnTo>
                    <a:lnTo>
                      <a:pt x="25657" y="18339"/>
                    </a:lnTo>
                    <a:lnTo>
                      <a:pt x="24775" y="17457"/>
                    </a:lnTo>
                    <a:lnTo>
                      <a:pt x="23012" y="15694"/>
                    </a:lnTo>
                    <a:lnTo>
                      <a:pt x="23277" y="15077"/>
                    </a:lnTo>
                    <a:lnTo>
                      <a:pt x="21601" y="14812"/>
                    </a:lnTo>
                    <a:lnTo>
                      <a:pt x="20102" y="13049"/>
                    </a:lnTo>
                    <a:lnTo>
                      <a:pt x="18604" y="13401"/>
                    </a:lnTo>
                    <a:lnTo>
                      <a:pt x="17193" y="13049"/>
                    </a:lnTo>
                    <a:lnTo>
                      <a:pt x="15165" y="12520"/>
                    </a:lnTo>
                    <a:lnTo>
                      <a:pt x="12785" y="11374"/>
                    </a:lnTo>
                    <a:lnTo>
                      <a:pt x="11374" y="10492"/>
                    </a:lnTo>
                    <a:lnTo>
                      <a:pt x="11374" y="9258"/>
                    </a:lnTo>
                    <a:lnTo>
                      <a:pt x="11021" y="8111"/>
                    </a:lnTo>
                    <a:lnTo>
                      <a:pt x="11021" y="6701"/>
                    </a:lnTo>
                    <a:lnTo>
                      <a:pt x="9875" y="6084"/>
                    </a:lnTo>
                    <a:lnTo>
                      <a:pt x="8464" y="5466"/>
                    </a:lnTo>
                    <a:lnTo>
                      <a:pt x="6701" y="5466"/>
                    </a:lnTo>
                    <a:lnTo>
                      <a:pt x="1675" y="4937"/>
                    </a:lnTo>
                    <a:lnTo>
                      <a:pt x="0" y="5466"/>
                    </a:lnTo>
                    <a:lnTo>
                      <a:pt x="0" y="4585"/>
                    </a:lnTo>
                    <a:lnTo>
                      <a:pt x="264" y="4320"/>
                    </a:lnTo>
                    <a:lnTo>
                      <a:pt x="1146" y="4320"/>
                    </a:lnTo>
                    <a:lnTo>
                      <a:pt x="1675" y="2910"/>
                    </a:lnTo>
                    <a:lnTo>
                      <a:pt x="2028" y="3174"/>
                    </a:lnTo>
                    <a:lnTo>
                      <a:pt x="4320" y="2292"/>
                    </a:lnTo>
                    <a:lnTo>
                      <a:pt x="4937" y="1146"/>
                    </a:lnTo>
                    <a:lnTo>
                      <a:pt x="4320" y="793"/>
                    </a:lnTo>
                    <a:lnTo>
                      <a:pt x="4320" y="529"/>
                    </a:lnTo>
                    <a:lnTo>
                      <a:pt x="5819" y="0"/>
                    </a:lnTo>
                    <a:lnTo>
                      <a:pt x="8112" y="529"/>
                    </a:lnTo>
                    <a:lnTo>
                      <a:pt x="9258" y="529"/>
                    </a:lnTo>
                    <a:lnTo>
                      <a:pt x="10757" y="2910"/>
                    </a:lnTo>
                    <a:lnTo>
                      <a:pt x="13402" y="4585"/>
                    </a:lnTo>
                    <a:lnTo>
                      <a:pt x="14548" y="6084"/>
                    </a:lnTo>
                    <a:lnTo>
                      <a:pt x="14548" y="6348"/>
                    </a:lnTo>
                    <a:lnTo>
                      <a:pt x="17810" y="7582"/>
                    </a:lnTo>
                    <a:lnTo>
                      <a:pt x="18339" y="8111"/>
                    </a:lnTo>
                    <a:lnTo>
                      <a:pt x="21866" y="8376"/>
                    </a:lnTo>
                    <a:lnTo>
                      <a:pt x="22748" y="9258"/>
                    </a:lnTo>
                    <a:lnTo>
                      <a:pt x="26539" y="10139"/>
                    </a:lnTo>
                    <a:lnTo>
                      <a:pt x="27685" y="9875"/>
                    </a:lnTo>
                    <a:lnTo>
                      <a:pt x="27949" y="10492"/>
                    </a:lnTo>
                    <a:lnTo>
                      <a:pt x="27685" y="11638"/>
                    </a:lnTo>
                    <a:lnTo>
                      <a:pt x="28302" y="13666"/>
                    </a:lnTo>
                    <a:lnTo>
                      <a:pt x="27949" y="14283"/>
                    </a:lnTo>
                    <a:lnTo>
                      <a:pt x="28567" y="16576"/>
                    </a:lnTo>
                    <a:lnTo>
                      <a:pt x="28302" y="17457"/>
                    </a:lnTo>
                    <a:lnTo>
                      <a:pt x="30859" y="18075"/>
                    </a:lnTo>
                    <a:lnTo>
                      <a:pt x="31741" y="19221"/>
                    </a:lnTo>
                    <a:lnTo>
                      <a:pt x="33504" y="19221"/>
                    </a:lnTo>
                    <a:lnTo>
                      <a:pt x="35003" y="19221"/>
                    </a:lnTo>
                    <a:lnTo>
                      <a:pt x="36149" y="198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3" name="Freihandform: Form 1602">
                <a:extLst>
                  <a:ext uri="{FF2B5EF4-FFF2-40B4-BE49-F238E27FC236}">
                    <a16:creationId xmlns:a16="http://schemas.microsoft.com/office/drawing/2014/main" id="{AFF2B0B1-2140-B173-2A7B-0F256EEA8251}"/>
                  </a:ext>
                </a:extLst>
              </p:cNvPr>
              <p:cNvSpPr/>
              <p:nvPr/>
            </p:nvSpPr>
            <p:spPr>
              <a:xfrm>
                <a:off x="4555472" y="3260686"/>
                <a:ext cx="58632" cy="19308"/>
              </a:xfrm>
              <a:custGeom>
                <a:avLst/>
                <a:gdLst>
                  <a:gd name="connsiteX0" fmla="*/ 57221 w 58632"/>
                  <a:gd name="connsiteY0" fmla="*/ 9610 h 19308"/>
                  <a:gd name="connsiteX1" fmla="*/ 56604 w 58632"/>
                  <a:gd name="connsiteY1" fmla="*/ 9963 h 19308"/>
                  <a:gd name="connsiteX2" fmla="*/ 57486 w 58632"/>
                  <a:gd name="connsiteY2" fmla="*/ 11374 h 19308"/>
                  <a:gd name="connsiteX3" fmla="*/ 58632 w 58632"/>
                  <a:gd name="connsiteY3" fmla="*/ 11374 h 19308"/>
                  <a:gd name="connsiteX4" fmla="*/ 58368 w 58632"/>
                  <a:gd name="connsiteY4" fmla="*/ 11726 h 19308"/>
                  <a:gd name="connsiteX5" fmla="*/ 57486 w 58632"/>
                  <a:gd name="connsiteY5" fmla="*/ 11991 h 19308"/>
                  <a:gd name="connsiteX6" fmla="*/ 57750 w 58632"/>
                  <a:gd name="connsiteY6" fmla="*/ 14019 h 19308"/>
                  <a:gd name="connsiteX7" fmla="*/ 57750 w 58632"/>
                  <a:gd name="connsiteY7" fmla="*/ 15518 h 19308"/>
                  <a:gd name="connsiteX8" fmla="*/ 56604 w 58632"/>
                  <a:gd name="connsiteY8" fmla="*/ 15782 h 19308"/>
                  <a:gd name="connsiteX9" fmla="*/ 56251 w 58632"/>
                  <a:gd name="connsiteY9" fmla="*/ 16399 h 19308"/>
                  <a:gd name="connsiteX10" fmla="*/ 55458 w 58632"/>
                  <a:gd name="connsiteY10" fmla="*/ 16664 h 19308"/>
                  <a:gd name="connsiteX11" fmla="*/ 54841 w 58632"/>
                  <a:gd name="connsiteY11" fmla="*/ 15782 h 19308"/>
                  <a:gd name="connsiteX12" fmla="*/ 51667 w 58632"/>
                  <a:gd name="connsiteY12" fmla="*/ 15782 h 19308"/>
                  <a:gd name="connsiteX13" fmla="*/ 51667 w 58632"/>
                  <a:gd name="connsiteY13" fmla="*/ 15518 h 19308"/>
                  <a:gd name="connsiteX14" fmla="*/ 46994 w 58632"/>
                  <a:gd name="connsiteY14" fmla="*/ 16664 h 19308"/>
                  <a:gd name="connsiteX15" fmla="*/ 45848 w 58632"/>
                  <a:gd name="connsiteY15" fmla="*/ 15782 h 19308"/>
                  <a:gd name="connsiteX16" fmla="*/ 43820 w 58632"/>
                  <a:gd name="connsiteY16" fmla="*/ 15782 h 19308"/>
                  <a:gd name="connsiteX17" fmla="*/ 43203 w 58632"/>
                  <a:gd name="connsiteY17" fmla="*/ 16664 h 19308"/>
                  <a:gd name="connsiteX18" fmla="*/ 42585 w 58632"/>
                  <a:gd name="connsiteY18" fmla="*/ 17810 h 19308"/>
                  <a:gd name="connsiteX19" fmla="*/ 42056 w 58632"/>
                  <a:gd name="connsiteY19" fmla="*/ 18075 h 19308"/>
                  <a:gd name="connsiteX20" fmla="*/ 39676 w 58632"/>
                  <a:gd name="connsiteY20" fmla="*/ 16664 h 19308"/>
                  <a:gd name="connsiteX21" fmla="*/ 38530 w 58632"/>
                  <a:gd name="connsiteY21" fmla="*/ 18692 h 19308"/>
                  <a:gd name="connsiteX22" fmla="*/ 35885 w 58632"/>
                  <a:gd name="connsiteY22" fmla="*/ 18427 h 19308"/>
                  <a:gd name="connsiteX23" fmla="*/ 32093 w 58632"/>
                  <a:gd name="connsiteY23" fmla="*/ 18075 h 19308"/>
                  <a:gd name="connsiteX24" fmla="*/ 31212 w 58632"/>
                  <a:gd name="connsiteY24" fmla="*/ 19309 h 19308"/>
                  <a:gd name="connsiteX25" fmla="*/ 28038 w 58632"/>
                  <a:gd name="connsiteY25" fmla="*/ 19309 h 19308"/>
                  <a:gd name="connsiteX26" fmla="*/ 26892 w 58632"/>
                  <a:gd name="connsiteY26" fmla="*/ 19309 h 19308"/>
                  <a:gd name="connsiteX27" fmla="*/ 26274 w 58632"/>
                  <a:gd name="connsiteY27" fmla="*/ 19309 h 19308"/>
                  <a:gd name="connsiteX28" fmla="*/ 26274 w 58632"/>
                  <a:gd name="connsiteY28" fmla="*/ 18075 h 19308"/>
                  <a:gd name="connsiteX29" fmla="*/ 27156 w 58632"/>
                  <a:gd name="connsiteY29" fmla="*/ 18075 h 19308"/>
                  <a:gd name="connsiteX30" fmla="*/ 26539 w 58632"/>
                  <a:gd name="connsiteY30" fmla="*/ 15782 h 19308"/>
                  <a:gd name="connsiteX31" fmla="*/ 26010 w 58632"/>
                  <a:gd name="connsiteY31" fmla="*/ 14019 h 19308"/>
                  <a:gd name="connsiteX32" fmla="*/ 22748 w 58632"/>
                  <a:gd name="connsiteY32" fmla="*/ 14019 h 19308"/>
                  <a:gd name="connsiteX33" fmla="*/ 21337 w 58632"/>
                  <a:gd name="connsiteY33" fmla="*/ 12608 h 19308"/>
                  <a:gd name="connsiteX34" fmla="*/ 20102 w 58632"/>
                  <a:gd name="connsiteY34" fmla="*/ 12608 h 19308"/>
                  <a:gd name="connsiteX35" fmla="*/ 18075 w 58632"/>
                  <a:gd name="connsiteY35" fmla="*/ 11374 h 19308"/>
                  <a:gd name="connsiteX36" fmla="*/ 17810 w 58632"/>
                  <a:gd name="connsiteY36" fmla="*/ 11991 h 19308"/>
                  <a:gd name="connsiteX37" fmla="*/ 14636 w 58632"/>
                  <a:gd name="connsiteY37" fmla="*/ 11374 h 19308"/>
                  <a:gd name="connsiteX38" fmla="*/ 12256 w 58632"/>
                  <a:gd name="connsiteY38" fmla="*/ 11374 h 19308"/>
                  <a:gd name="connsiteX39" fmla="*/ 11109 w 58632"/>
                  <a:gd name="connsiteY39" fmla="*/ 10845 h 19308"/>
                  <a:gd name="connsiteX40" fmla="*/ 7935 w 58632"/>
                  <a:gd name="connsiteY40" fmla="*/ 11374 h 19308"/>
                  <a:gd name="connsiteX41" fmla="*/ 6701 w 58632"/>
                  <a:gd name="connsiteY41" fmla="*/ 9963 h 19308"/>
                  <a:gd name="connsiteX42" fmla="*/ 5555 w 58632"/>
                  <a:gd name="connsiteY42" fmla="*/ 10845 h 19308"/>
                  <a:gd name="connsiteX43" fmla="*/ 2381 w 58632"/>
                  <a:gd name="connsiteY43" fmla="*/ 10845 h 19308"/>
                  <a:gd name="connsiteX44" fmla="*/ 1763 w 58632"/>
                  <a:gd name="connsiteY44" fmla="*/ 9963 h 19308"/>
                  <a:gd name="connsiteX45" fmla="*/ 264 w 58632"/>
                  <a:gd name="connsiteY45" fmla="*/ 8817 h 19308"/>
                  <a:gd name="connsiteX46" fmla="*/ 264 w 58632"/>
                  <a:gd name="connsiteY46" fmla="*/ 8200 h 19308"/>
                  <a:gd name="connsiteX47" fmla="*/ 264 w 58632"/>
                  <a:gd name="connsiteY47" fmla="*/ 7053 h 19308"/>
                  <a:gd name="connsiteX48" fmla="*/ 1234 w 58632"/>
                  <a:gd name="connsiteY48" fmla="*/ 5907 h 19308"/>
                  <a:gd name="connsiteX49" fmla="*/ 1499 w 58632"/>
                  <a:gd name="connsiteY49" fmla="*/ 5026 h 19308"/>
                  <a:gd name="connsiteX50" fmla="*/ 0 w 58632"/>
                  <a:gd name="connsiteY50" fmla="*/ 4408 h 19308"/>
                  <a:gd name="connsiteX51" fmla="*/ 1234 w 58632"/>
                  <a:gd name="connsiteY51" fmla="*/ 3527 h 19308"/>
                  <a:gd name="connsiteX52" fmla="*/ 1234 w 58632"/>
                  <a:gd name="connsiteY52" fmla="*/ 1763 h 19308"/>
                  <a:gd name="connsiteX53" fmla="*/ 1499 w 58632"/>
                  <a:gd name="connsiteY53" fmla="*/ 1234 h 19308"/>
                  <a:gd name="connsiteX54" fmla="*/ 2028 w 58632"/>
                  <a:gd name="connsiteY54" fmla="*/ 3262 h 19308"/>
                  <a:gd name="connsiteX55" fmla="*/ 3262 w 58632"/>
                  <a:gd name="connsiteY55" fmla="*/ 4408 h 19308"/>
                  <a:gd name="connsiteX56" fmla="*/ 4408 w 58632"/>
                  <a:gd name="connsiteY56" fmla="*/ 3791 h 19308"/>
                  <a:gd name="connsiteX57" fmla="*/ 3791 w 58632"/>
                  <a:gd name="connsiteY57" fmla="*/ 3262 h 19308"/>
                  <a:gd name="connsiteX58" fmla="*/ 3791 w 58632"/>
                  <a:gd name="connsiteY58" fmla="*/ 1763 h 19308"/>
                  <a:gd name="connsiteX59" fmla="*/ 3527 w 58632"/>
                  <a:gd name="connsiteY59" fmla="*/ 1234 h 19308"/>
                  <a:gd name="connsiteX60" fmla="*/ 2910 w 58632"/>
                  <a:gd name="connsiteY60" fmla="*/ 617 h 19308"/>
                  <a:gd name="connsiteX61" fmla="*/ 4144 w 58632"/>
                  <a:gd name="connsiteY61" fmla="*/ 0 h 19308"/>
                  <a:gd name="connsiteX62" fmla="*/ 4673 w 58632"/>
                  <a:gd name="connsiteY62" fmla="*/ 617 h 19308"/>
                  <a:gd name="connsiteX63" fmla="*/ 4673 w 58632"/>
                  <a:gd name="connsiteY63" fmla="*/ 3262 h 19308"/>
                  <a:gd name="connsiteX64" fmla="*/ 6172 w 58632"/>
                  <a:gd name="connsiteY64" fmla="*/ 3791 h 19308"/>
                  <a:gd name="connsiteX65" fmla="*/ 10228 w 58632"/>
                  <a:gd name="connsiteY65" fmla="*/ 3791 h 19308"/>
                  <a:gd name="connsiteX66" fmla="*/ 11727 w 58632"/>
                  <a:gd name="connsiteY66" fmla="*/ 3262 h 19308"/>
                  <a:gd name="connsiteX67" fmla="*/ 11374 w 58632"/>
                  <a:gd name="connsiteY67" fmla="*/ 2028 h 19308"/>
                  <a:gd name="connsiteX68" fmla="*/ 12256 w 58632"/>
                  <a:gd name="connsiteY68" fmla="*/ 2028 h 19308"/>
                  <a:gd name="connsiteX69" fmla="*/ 12873 w 58632"/>
                  <a:gd name="connsiteY69" fmla="*/ 1763 h 19308"/>
                  <a:gd name="connsiteX70" fmla="*/ 14019 w 58632"/>
                  <a:gd name="connsiteY70" fmla="*/ 2028 h 19308"/>
                  <a:gd name="connsiteX71" fmla="*/ 14019 w 58632"/>
                  <a:gd name="connsiteY71" fmla="*/ 3262 h 19308"/>
                  <a:gd name="connsiteX72" fmla="*/ 14019 w 58632"/>
                  <a:gd name="connsiteY72" fmla="*/ 3791 h 19308"/>
                  <a:gd name="connsiteX73" fmla="*/ 13490 w 58632"/>
                  <a:gd name="connsiteY73" fmla="*/ 4144 h 19308"/>
                  <a:gd name="connsiteX74" fmla="*/ 13137 w 58632"/>
                  <a:gd name="connsiteY74" fmla="*/ 4408 h 19308"/>
                  <a:gd name="connsiteX75" fmla="*/ 12608 w 58632"/>
                  <a:gd name="connsiteY75" fmla="*/ 5290 h 19308"/>
                  <a:gd name="connsiteX76" fmla="*/ 14284 w 58632"/>
                  <a:gd name="connsiteY76" fmla="*/ 5026 h 19308"/>
                  <a:gd name="connsiteX77" fmla="*/ 16047 w 58632"/>
                  <a:gd name="connsiteY77" fmla="*/ 4408 h 19308"/>
                  <a:gd name="connsiteX78" fmla="*/ 16928 w 58632"/>
                  <a:gd name="connsiteY78" fmla="*/ 5907 h 19308"/>
                  <a:gd name="connsiteX79" fmla="*/ 16311 w 58632"/>
                  <a:gd name="connsiteY79" fmla="*/ 7582 h 19308"/>
                  <a:gd name="connsiteX80" fmla="*/ 17546 w 58632"/>
                  <a:gd name="connsiteY80" fmla="*/ 7582 h 19308"/>
                  <a:gd name="connsiteX81" fmla="*/ 20455 w 58632"/>
                  <a:gd name="connsiteY81" fmla="*/ 7582 h 19308"/>
                  <a:gd name="connsiteX82" fmla="*/ 22748 w 58632"/>
                  <a:gd name="connsiteY82" fmla="*/ 7053 h 19308"/>
                  <a:gd name="connsiteX83" fmla="*/ 23982 w 58632"/>
                  <a:gd name="connsiteY83" fmla="*/ 6172 h 19308"/>
                  <a:gd name="connsiteX84" fmla="*/ 25128 w 58632"/>
                  <a:gd name="connsiteY84" fmla="*/ 5026 h 19308"/>
                  <a:gd name="connsiteX85" fmla="*/ 25657 w 58632"/>
                  <a:gd name="connsiteY85" fmla="*/ 5290 h 19308"/>
                  <a:gd name="connsiteX86" fmla="*/ 26892 w 58632"/>
                  <a:gd name="connsiteY86" fmla="*/ 6172 h 19308"/>
                  <a:gd name="connsiteX87" fmla="*/ 28302 w 58632"/>
                  <a:gd name="connsiteY87" fmla="*/ 6172 h 19308"/>
                  <a:gd name="connsiteX88" fmla="*/ 30065 w 58632"/>
                  <a:gd name="connsiteY88" fmla="*/ 6172 h 19308"/>
                  <a:gd name="connsiteX89" fmla="*/ 31212 w 58632"/>
                  <a:gd name="connsiteY89" fmla="*/ 6172 h 19308"/>
                  <a:gd name="connsiteX90" fmla="*/ 31212 w 58632"/>
                  <a:gd name="connsiteY90" fmla="*/ 7053 h 19308"/>
                  <a:gd name="connsiteX91" fmla="*/ 33240 w 58632"/>
                  <a:gd name="connsiteY91" fmla="*/ 7582 h 19308"/>
                  <a:gd name="connsiteX92" fmla="*/ 35003 w 58632"/>
                  <a:gd name="connsiteY92" fmla="*/ 7582 h 19308"/>
                  <a:gd name="connsiteX93" fmla="*/ 36502 w 58632"/>
                  <a:gd name="connsiteY93" fmla="*/ 7582 h 19308"/>
                  <a:gd name="connsiteX94" fmla="*/ 38794 w 58632"/>
                  <a:gd name="connsiteY94" fmla="*/ 7582 h 19308"/>
                  <a:gd name="connsiteX95" fmla="*/ 40558 w 58632"/>
                  <a:gd name="connsiteY95" fmla="*/ 8817 h 19308"/>
                  <a:gd name="connsiteX96" fmla="*/ 43820 w 58632"/>
                  <a:gd name="connsiteY96" fmla="*/ 7582 h 19308"/>
                  <a:gd name="connsiteX97" fmla="*/ 46112 w 58632"/>
                  <a:gd name="connsiteY97" fmla="*/ 7582 h 19308"/>
                  <a:gd name="connsiteX98" fmla="*/ 46377 w 58632"/>
                  <a:gd name="connsiteY98" fmla="*/ 8817 h 19308"/>
                  <a:gd name="connsiteX99" fmla="*/ 45848 w 58632"/>
                  <a:gd name="connsiteY99" fmla="*/ 8817 h 19308"/>
                  <a:gd name="connsiteX100" fmla="*/ 46377 w 58632"/>
                  <a:gd name="connsiteY100" fmla="*/ 9963 h 19308"/>
                  <a:gd name="connsiteX101" fmla="*/ 46377 w 58632"/>
                  <a:gd name="connsiteY101" fmla="*/ 8817 h 19308"/>
                  <a:gd name="connsiteX102" fmla="*/ 46377 w 58632"/>
                  <a:gd name="connsiteY102" fmla="*/ 9963 h 19308"/>
                  <a:gd name="connsiteX103" fmla="*/ 45495 w 58632"/>
                  <a:gd name="connsiteY103" fmla="*/ 10492 h 19308"/>
                  <a:gd name="connsiteX104" fmla="*/ 46729 w 58632"/>
                  <a:gd name="connsiteY104" fmla="*/ 12608 h 19308"/>
                  <a:gd name="connsiteX105" fmla="*/ 46729 w 58632"/>
                  <a:gd name="connsiteY105" fmla="*/ 14019 h 19308"/>
                  <a:gd name="connsiteX106" fmla="*/ 48757 w 58632"/>
                  <a:gd name="connsiteY106" fmla="*/ 13490 h 19308"/>
                  <a:gd name="connsiteX107" fmla="*/ 48405 w 58632"/>
                  <a:gd name="connsiteY107" fmla="*/ 12608 h 19308"/>
                  <a:gd name="connsiteX108" fmla="*/ 49639 w 58632"/>
                  <a:gd name="connsiteY108" fmla="*/ 11991 h 19308"/>
                  <a:gd name="connsiteX109" fmla="*/ 49639 w 58632"/>
                  <a:gd name="connsiteY109" fmla="*/ 11374 h 19308"/>
                  <a:gd name="connsiteX110" fmla="*/ 51314 w 58632"/>
                  <a:gd name="connsiteY110" fmla="*/ 11374 h 19308"/>
                  <a:gd name="connsiteX111" fmla="*/ 53166 w 58632"/>
                  <a:gd name="connsiteY111" fmla="*/ 10845 h 19308"/>
                  <a:gd name="connsiteX112" fmla="*/ 54841 w 58632"/>
                  <a:gd name="connsiteY112" fmla="*/ 11374 h 19308"/>
                  <a:gd name="connsiteX113" fmla="*/ 56251 w 58632"/>
                  <a:gd name="connsiteY113" fmla="*/ 11374 h 19308"/>
                  <a:gd name="connsiteX114" fmla="*/ 55987 w 58632"/>
                  <a:gd name="connsiteY114" fmla="*/ 9610 h 19308"/>
                  <a:gd name="connsiteX115" fmla="*/ 57221 w 58632"/>
                  <a:gd name="connsiteY115" fmla="*/ 8817 h 19308"/>
                  <a:gd name="connsiteX116" fmla="*/ 58368 w 58632"/>
                  <a:gd name="connsiteY116" fmla="*/ 8817 h 19308"/>
                  <a:gd name="connsiteX117" fmla="*/ 57750 w 58632"/>
                  <a:gd name="connsiteY117" fmla="*/ 9610 h 1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58632" h="19308">
                    <a:moveTo>
                      <a:pt x="57221" y="9610"/>
                    </a:moveTo>
                    <a:lnTo>
                      <a:pt x="56604" y="9963"/>
                    </a:lnTo>
                    <a:lnTo>
                      <a:pt x="57486" y="11374"/>
                    </a:lnTo>
                    <a:lnTo>
                      <a:pt x="58632" y="11374"/>
                    </a:lnTo>
                    <a:lnTo>
                      <a:pt x="58368" y="11726"/>
                    </a:lnTo>
                    <a:lnTo>
                      <a:pt x="57486" y="11991"/>
                    </a:lnTo>
                    <a:lnTo>
                      <a:pt x="57750" y="14019"/>
                    </a:lnTo>
                    <a:lnTo>
                      <a:pt x="57750" y="15518"/>
                    </a:lnTo>
                    <a:lnTo>
                      <a:pt x="56604" y="15782"/>
                    </a:lnTo>
                    <a:lnTo>
                      <a:pt x="56251" y="16399"/>
                    </a:lnTo>
                    <a:lnTo>
                      <a:pt x="55458" y="16664"/>
                    </a:lnTo>
                    <a:lnTo>
                      <a:pt x="54841" y="15782"/>
                    </a:lnTo>
                    <a:lnTo>
                      <a:pt x="51667" y="15782"/>
                    </a:lnTo>
                    <a:lnTo>
                      <a:pt x="51667" y="15518"/>
                    </a:lnTo>
                    <a:lnTo>
                      <a:pt x="46994" y="16664"/>
                    </a:lnTo>
                    <a:lnTo>
                      <a:pt x="45848" y="15782"/>
                    </a:lnTo>
                    <a:lnTo>
                      <a:pt x="43820" y="15782"/>
                    </a:lnTo>
                    <a:lnTo>
                      <a:pt x="43203" y="16664"/>
                    </a:lnTo>
                    <a:lnTo>
                      <a:pt x="42585" y="17810"/>
                    </a:lnTo>
                    <a:lnTo>
                      <a:pt x="42056" y="18075"/>
                    </a:lnTo>
                    <a:lnTo>
                      <a:pt x="39676" y="16664"/>
                    </a:lnTo>
                    <a:lnTo>
                      <a:pt x="38530" y="18692"/>
                    </a:lnTo>
                    <a:lnTo>
                      <a:pt x="35885" y="18427"/>
                    </a:lnTo>
                    <a:lnTo>
                      <a:pt x="32093" y="18075"/>
                    </a:lnTo>
                    <a:lnTo>
                      <a:pt x="31212" y="19309"/>
                    </a:lnTo>
                    <a:lnTo>
                      <a:pt x="28038" y="19309"/>
                    </a:lnTo>
                    <a:lnTo>
                      <a:pt x="26892" y="19309"/>
                    </a:lnTo>
                    <a:lnTo>
                      <a:pt x="26274" y="19309"/>
                    </a:lnTo>
                    <a:lnTo>
                      <a:pt x="26274" y="18075"/>
                    </a:lnTo>
                    <a:lnTo>
                      <a:pt x="27156" y="18075"/>
                    </a:lnTo>
                    <a:lnTo>
                      <a:pt x="26539" y="15782"/>
                    </a:lnTo>
                    <a:lnTo>
                      <a:pt x="26010" y="14019"/>
                    </a:lnTo>
                    <a:lnTo>
                      <a:pt x="22748" y="14019"/>
                    </a:lnTo>
                    <a:lnTo>
                      <a:pt x="21337" y="12608"/>
                    </a:lnTo>
                    <a:lnTo>
                      <a:pt x="20102" y="12608"/>
                    </a:lnTo>
                    <a:lnTo>
                      <a:pt x="18075" y="11374"/>
                    </a:lnTo>
                    <a:lnTo>
                      <a:pt x="17810" y="11991"/>
                    </a:lnTo>
                    <a:lnTo>
                      <a:pt x="14636" y="11374"/>
                    </a:lnTo>
                    <a:lnTo>
                      <a:pt x="12256" y="11374"/>
                    </a:lnTo>
                    <a:lnTo>
                      <a:pt x="11109" y="10845"/>
                    </a:lnTo>
                    <a:lnTo>
                      <a:pt x="7935" y="11374"/>
                    </a:lnTo>
                    <a:lnTo>
                      <a:pt x="6701" y="9963"/>
                    </a:lnTo>
                    <a:lnTo>
                      <a:pt x="5555" y="10845"/>
                    </a:lnTo>
                    <a:lnTo>
                      <a:pt x="2381" y="10845"/>
                    </a:lnTo>
                    <a:lnTo>
                      <a:pt x="1763" y="9963"/>
                    </a:lnTo>
                    <a:lnTo>
                      <a:pt x="264" y="8817"/>
                    </a:lnTo>
                    <a:lnTo>
                      <a:pt x="264" y="8200"/>
                    </a:lnTo>
                    <a:lnTo>
                      <a:pt x="264" y="7053"/>
                    </a:lnTo>
                    <a:lnTo>
                      <a:pt x="1234" y="5907"/>
                    </a:lnTo>
                    <a:lnTo>
                      <a:pt x="1499" y="5026"/>
                    </a:lnTo>
                    <a:lnTo>
                      <a:pt x="0" y="4408"/>
                    </a:lnTo>
                    <a:lnTo>
                      <a:pt x="1234" y="3527"/>
                    </a:lnTo>
                    <a:lnTo>
                      <a:pt x="1234" y="1763"/>
                    </a:lnTo>
                    <a:lnTo>
                      <a:pt x="1499" y="1234"/>
                    </a:lnTo>
                    <a:lnTo>
                      <a:pt x="2028" y="3262"/>
                    </a:lnTo>
                    <a:lnTo>
                      <a:pt x="3262" y="4408"/>
                    </a:lnTo>
                    <a:lnTo>
                      <a:pt x="4408" y="3791"/>
                    </a:lnTo>
                    <a:lnTo>
                      <a:pt x="3791" y="3262"/>
                    </a:lnTo>
                    <a:lnTo>
                      <a:pt x="3791" y="1763"/>
                    </a:lnTo>
                    <a:lnTo>
                      <a:pt x="3527" y="1234"/>
                    </a:lnTo>
                    <a:lnTo>
                      <a:pt x="2910" y="617"/>
                    </a:lnTo>
                    <a:lnTo>
                      <a:pt x="4144" y="0"/>
                    </a:lnTo>
                    <a:lnTo>
                      <a:pt x="4673" y="617"/>
                    </a:lnTo>
                    <a:lnTo>
                      <a:pt x="4673" y="3262"/>
                    </a:lnTo>
                    <a:lnTo>
                      <a:pt x="6172" y="3791"/>
                    </a:lnTo>
                    <a:lnTo>
                      <a:pt x="10228" y="3791"/>
                    </a:lnTo>
                    <a:lnTo>
                      <a:pt x="11727" y="3262"/>
                    </a:lnTo>
                    <a:lnTo>
                      <a:pt x="11374" y="2028"/>
                    </a:lnTo>
                    <a:lnTo>
                      <a:pt x="12256" y="2028"/>
                    </a:lnTo>
                    <a:lnTo>
                      <a:pt x="12873" y="1763"/>
                    </a:lnTo>
                    <a:lnTo>
                      <a:pt x="14019" y="2028"/>
                    </a:lnTo>
                    <a:lnTo>
                      <a:pt x="14019" y="3262"/>
                    </a:lnTo>
                    <a:lnTo>
                      <a:pt x="14019" y="3791"/>
                    </a:lnTo>
                    <a:lnTo>
                      <a:pt x="13490" y="4144"/>
                    </a:lnTo>
                    <a:lnTo>
                      <a:pt x="13137" y="4408"/>
                    </a:lnTo>
                    <a:lnTo>
                      <a:pt x="12608" y="5290"/>
                    </a:lnTo>
                    <a:lnTo>
                      <a:pt x="14284" y="5026"/>
                    </a:lnTo>
                    <a:lnTo>
                      <a:pt x="16047" y="4408"/>
                    </a:lnTo>
                    <a:lnTo>
                      <a:pt x="16928" y="5907"/>
                    </a:lnTo>
                    <a:lnTo>
                      <a:pt x="16311" y="7582"/>
                    </a:lnTo>
                    <a:lnTo>
                      <a:pt x="17546" y="7582"/>
                    </a:lnTo>
                    <a:lnTo>
                      <a:pt x="20455" y="7582"/>
                    </a:lnTo>
                    <a:lnTo>
                      <a:pt x="22748" y="7053"/>
                    </a:lnTo>
                    <a:lnTo>
                      <a:pt x="23982" y="6172"/>
                    </a:lnTo>
                    <a:lnTo>
                      <a:pt x="25128" y="5026"/>
                    </a:lnTo>
                    <a:lnTo>
                      <a:pt x="25657" y="5290"/>
                    </a:lnTo>
                    <a:lnTo>
                      <a:pt x="26892" y="6172"/>
                    </a:lnTo>
                    <a:lnTo>
                      <a:pt x="28302" y="6172"/>
                    </a:lnTo>
                    <a:lnTo>
                      <a:pt x="30065" y="6172"/>
                    </a:lnTo>
                    <a:lnTo>
                      <a:pt x="31212" y="6172"/>
                    </a:lnTo>
                    <a:lnTo>
                      <a:pt x="31212" y="7053"/>
                    </a:lnTo>
                    <a:lnTo>
                      <a:pt x="33240" y="7582"/>
                    </a:lnTo>
                    <a:lnTo>
                      <a:pt x="35003" y="7582"/>
                    </a:lnTo>
                    <a:lnTo>
                      <a:pt x="36502" y="7582"/>
                    </a:lnTo>
                    <a:lnTo>
                      <a:pt x="38794" y="7582"/>
                    </a:lnTo>
                    <a:lnTo>
                      <a:pt x="40558" y="8817"/>
                    </a:lnTo>
                    <a:lnTo>
                      <a:pt x="43820" y="7582"/>
                    </a:lnTo>
                    <a:lnTo>
                      <a:pt x="46112" y="7582"/>
                    </a:lnTo>
                    <a:lnTo>
                      <a:pt x="46377" y="8817"/>
                    </a:lnTo>
                    <a:lnTo>
                      <a:pt x="45848" y="8817"/>
                    </a:lnTo>
                    <a:lnTo>
                      <a:pt x="46377" y="9963"/>
                    </a:lnTo>
                    <a:lnTo>
                      <a:pt x="46377" y="8817"/>
                    </a:lnTo>
                    <a:lnTo>
                      <a:pt x="46377" y="9963"/>
                    </a:lnTo>
                    <a:lnTo>
                      <a:pt x="45495" y="10492"/>
                    </a:lnTo>
                    <a:lnTo>
                      <a:pt x="46729" y="12608"/>
                    </a:lnTo>
                    <a:lnTo>
                      <a:pt x="46729" y="14019"/>
                    </a:lnTo>
                    <a:lnTo>
                      <a:pt x="48757" y="13490"/>
                    </a:lnTo>
                    <a:lnTo>
                      <a:pt x="48405" y="12608"/>
                    </a:lnTo>
                    <a:lnTo>
                      <a:pt x="49639" y="11991"/>
                    </a:lnTo>
                    <a:lnTo>
                      <a:pt x="49639" y="11374"/>
                    </a:lnTo>
                    <a:lnTo>
                      <a:pt x="51314" y="11374"/>
                    </a:lnTo>
                    <a:lnTo>
                      <a:pt x="53166" y="10845"/>
                    </a:lnTo>
                    <a:lnTo>
                      <a:pt x="54841" y="11374"/>
                    </a:lnTo>
                    <a:lnTo>
                      <a:pt x="56251" y="11374"/>
                    </a:lnTo>
                    <a:lnTo>
                      <a:pt x="55987" y="9610"/>
                    </a:lnTo>
                    <a:lnTo>
                      <a:pt x="57221" y="8817"/>
                    </a:lnTo>
                    <a:lnTo>
                      <a:pt x="58368" y="8817"/>
                    </a:lnTo>
                    <a:lnTo>
                      <a:pt x="57750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4" name="Freihandform: Form 1603">
                <a:extLst>
                  <a:ext uri="{FF2B5EF4-FFF2-40B4-BE49-F238E27FC236}">
                    <a16:creationId xmlns:a16="http://schemas.microsoft.com/office/drawing/2014/main" id="{03344107-18DF-B946-BE96-84D91D486011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5" name="Freihandform: Form 1604">
                <a:extLst>
                  <a:ext uri="{FF2B5EF4-FFF2-40B4-BE49-F238E27FC236}">
                    <a16:creationId xmlns:a16="http://schemas.microsoft.com/office/drawing/2014/main" id="{25367520-59A4-2745-26E8-CE59A8C60C31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6" name="Freihandform: Form 1605">
                <a:extLst>
                  <a:ext uri="{FF2B5EF4-FFF2-40B4-BE49-F238E27FC236}">
                    <a16:creationId xmlns:a16="http://schemas.microsoft.com/office/drawing/2014/main" id="{C75EA6AF-7FBA-4355-2EFD-D6A9A33927ED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7" name="Freihandform: Form 1606">
                <a:extLst>
                  <a:ext uri="{FF2B5EF4-FFF2-40B4-BE49-F238E27FC236}">
                    <a16:creationId xmlns:a16="http://schemas.microsoft.com/office/drawing/2014/main" id="{DF986285-875F-F2EB-191C-9EE846B76338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8" name="Freihandform: Form 1607">
                <a:extLst>
                  <a:ext uri="{FF2B5EF4-FFF2-40B4-BE49-F238E27FC236}">
                    <a16:creationId xmlns:a16="http://schemas.microsoft.com/office/drawing/2014/main" id="{94A50D7A-F4DC-4363-E718-54228FC9F3A2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9" name="Freihandform: Form 1608">
                <a:extLst>
                  <a:ext uri="{FF2B5EF4-FFF2-40B4-BE49-F238E27FC236}">
                    <a16:creationId xmlns:a16="http://schemas.microsoft.com/office/drawing/2014/main" id="{E395E916-3CEC-A00D-6B0B-27FD31AAF708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0" name="Freihandform: Form 1609">
                <a:extLst>
                  <a:ext uri="{FF2B5EF4-FFF2-40B4-BE49-F238E27FC236}">
                    <a16:creationId xmlns:a16="http://schemas.microsoft.com/office/drawing/2014/main" id="{184E4DAA-4DD2-1EFC-C7D5-3856E018577F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1" name="Freihandform: Form 1610">
                <a:extLst>
                  <a:ext uri="{FF2B5EF4-FFF2-40B4-BE49-F238E27FC236}">
                    <a16:creationId xmlns:a16="http://schemas.microsoft.com/office/drawing/2014/main" id="{8DB8A30B-264F-5F35-8BF6-87E43A9B974C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2" name="Freihandform: Form 1611">
                <a:extLst>
                  <a:ext uri="{FF2B5EF4-FFF2-40B4-BE49-F238E27FC236}">
                    <a16:creationId xmlns:a16="http://schemas.microsoft.com/office/drawing/2014/main" id="{FD56BFED-64CD-0D80-B565-389EE3690C69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3" name="Freihandform: Form 1612">
                <a:extLst>
                  <a:ext uri="{FF2B5EF4-FFF2-40B4-BE49-F238E27FC236}">
                    <a16:creationId xmlns:a16="http://schemas.microsoft.com/office/drawing/2014/main" id="{0AFB21F0-97EE-7753-AE0F-AACD81C67506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4" name="Freihandform: Form 1613">
                <a:extLst>
                  <a:ext uri="{FF2B5EF4-FFF2-40B4-BE49-F238E27FC236}">
                    <a16:creationId xmlns:a16="http://schemas.microsoft.com/office/drawing/2014/main" id="{AA1362C5-9A8C-90CE-7D34-423F43B2E157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5" name="Freihandform: Form 1614">
                <a:extLst>
                  <a:ext uri="{FF2B5EF4-FFF2-40B4-BE49-F238E27FC236}">
                    <a16:creationId xmlns:a16="http://schemas.microsoft.com/office/drawing/2014/main" id="{D41A4B8F-C8EB-AE0E-2D23-33AF20B6BECD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6" name="Freihandform: Form 1615">
                <a:extLst>
                  <a:ext uri="{FF2B5EF4-FFF2-40B4-BE49-F238E27FC236}">
                    <a16:creationId xmlns:a16="http://schemas.microsoft.com/office/drawing/2014/main" id="{3CBAC870-43CB-B764-1653-CC1C812EA1C6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7" name="Freihandform: Form 1616">
                <a:extLst>
                  <a:ext uri="{FF2B5EF4-FFF2-40B4-BE49-F238E27FC236}">
                    <a16:creationId xmlns:a16="http://schemas.microsoft.com/office/drawing/2014/main" id="{D5400579-1534-43E2-58E1-69F20B3ED725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8" name="Freihandform: Form 1617">
                <a:extLst>
                  <a:ext uri="{FF2B5EF4-FFF2-40B4-BE49-F238E27FC236}">
                    <a16:creationId xmlns:a16="http://schemas.microsoft.com/office/drawing/2014/main" id="{F8C898C1-4FD2-FC26-B56B-8A380F676811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9" name="Freihandform: Form 1618">
                <a:extLst>
                  <a:ext uri="{FF2B5EF4-FFF2-40B4-BE49-F238E27FC236}">
                    <a16:creationId xmlns:a16="http://schemas.microsoft.com/office/drawing/2014/main" id="{5C2AAC4E-0110-A961-F8A6-0B0965DD7637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0" name="Freihandform: Form 1619">
                <a:extLst>
                  <a:ext uri="{FF2B5EF4-FFF2-40B4-BE49-F238E27FC236}">
                    <a16:creationId xmlns:a16="http://schemas.microsoft.com/office/drawing/2014/main" id="{C29A4501-5C93-1819-5333-F99D117319B4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1" name="Freihandform: Form 1620">
                <a:extLst>
                  <a:ext uri="{FF2B5EF4-FFF2-40B4-BE49-F238E27FC236}">
                    <a16:creationId xmlns:a16="http://schemas.microsoft.com/office/drawing/2014/main" id="{EBE451BD-B400-2436-2AA7-4240891863F3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2" name="Freihandform: Form 1621">
                <a:extLst>
                  <a:ext uri="{FF2B5EF4-FFF2-40B4-BE49-F238E27FC236}">
                    <a16:creationId xmlns:a16="http://schemas.microsoft.com/office/drawing/2014/main" id="{176F313F-0AFF-4BDF-9E85-4E44DED8DEA9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3" name="Freihandform: Form 1622">
                <a:extLst>
                  <a:ext uri="{FF2B5EF4-FFF2-40B4-BE49-F238E27FC236}">
                    <a16:creationId xmlns:a16="http://schemas.microsoft.com/office/drawing/2014/main" id="{1CF79B18-A41E-9E17-3769-CDF145D82E59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4" name="Freihandform: Form 1623">
                <a:extLst>
                  <a:ext uri="{FF2B5EF4-FFF2-40B4-BE49-F238E27FC236}">
                    <a16:creationId xmlns:a16="http://schemas.microsoft.com/office/drawing/2014/main" id="{9E4943C9-4DC7-DB58-E9F0-E2620F07DFF5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5" name="Freihandform: Form 1624">
                <a:extLst>
                  <a:ext uri="{FF2B5EF4-FFF2-40B4-BE49-F238E27FC236}">
                    <a16:creationId xmlns:a16="http://schemas.microsoft.com/office/drawing/2014/main" id="{3900D0DF-4B8E-5846-D37A-180E9595A3D2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6" name="Freihandform: Form 1625">
                <a:extLst>
                  <a:ext uri="{FF2B5EF4-FFF2-40B4-BE49-F238E27FC236}">
                    <a16:creationId xmlns:a16="http://schemas.microsoft.com/office/drawing/2014/main" id="{741F5396-674C-C71C-AAAE-DEA86BA1DDC1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7" name="Freihandform: Form 1626">
                <a:extLst>
                  <a:ext uri="{FF2B5EF4-FFF2-40B4-BE49-F238E27FC236}">
                    <a16:creationId xmlns:a16="http://schemas.microsoft.com/office/drawing/2014/main" id="{121D98BC-AE5A-57BA-A97B-5590B8D5C340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8" name="Freihandform: Form 1627">
                <a:extLst>
                  <a:ext uri="{FF2B5EF4-FFF2-40B4-BE49-F238E27FC236}">
                    <a16:creationId xmlns:a16="http://schemas.microsoft.com/office/drawing/2014/main" id="{D1B1192B-CE2E-FD54-B3C4-E5D876080402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9" name="Freihandform: Form 1628">
                <a:extLst>
                  <a:ext uri="{FF2B5EF4-FFF2-40B4-BE49-F238E27FC236}">
                    <a16:creationId xmlns:a16="http://schemas.microsoft.com/office/drawing/2014/main" id="{5F883E8A-9C82-38B5-4F05-B6FC5CCD2810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0" name="Freihandform: Form 1629">
                <a:extLst>
                  <a:ext uri="{FF2B5EF4-FFF2-40B4-BE49-F238E27FC236}">
                    <a16:creationId xmlns:a16="http://schemas.microsoft.com/office/drawing/2014/main" id="{9FE2CC59-927E-4ADE-EC95-5E017C66F3C2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1" name="Freihandform: Form 1630">
                <a:extLst>
                  <a:ext uri="{FF2B5EF4-FFF2-40B4-BE49-F238E27FC236}">
                    <a16:creationId xmlns:a16="http://schemas.microsoft.com/office/drawing/2014/main" id="{2E0BA737-6E02-E888-EED8-164A554435C3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2" name="Freihandform: Form 1631">
                <a:extLst>
                  <a:ext uri="{FF2B5EF4-FFF2-40B4-BE49-F238E27FC236}">
                    <a16:creationId xmlns:a16="http://schemas.microsoft.com/office/drawing/2014/main" id="{53A4DB94-0D03-7518-C697-98CEFCEEE65A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3" name="Freihandform: Form 1632">
                <a:extLst>
                  <a:ext uri="{FF2B5EF4-FFF2-40B4-BE49-F238E27FC236}">
                    <a16:creationId xmlns:a16="http://schemas.microsoft.com/office/drawing/2014/main" id="{C6DA407C-DBBA-8D1D-0081-E1834147819D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4" name="Freihandform: Form 1633">
                <a:extLst>
                  <a:ext uri="{FF2B5EF4-FFF2-40B4-BE49-F238E27FC236}">
                    <a16:creationId xmlns:a16="http://schemas.microsoft.com/office/drawing/2014/main" id="{53E655E7-370F-EF88-C29B-84077AE9E829}"/>
                  </a:ext>
                </a:extLst>
              </p:cNvPr>
              <p:cNvSpPr/>
              <p:nvPr/>
            </p:nvSpPr>
            <p:spPr>
              <a:xfrm>
                <a:off x="3869787" y="2780080"/>
                <a:ext cx="84817" cy="92753"/>
              </a:xfrm>
              <a:custGeom>
                <a:avLst/>
                <a:gdLst>
                  <a:gd name="connsiteX0" fmla="*/ 57133 w 84817"/>
                  <a:gd name="connsiteY0" fmla="*/ 3527 h 92753"/>
                  <a:gd name="connsiteX1" fmla="*/ 57133 w 84817"/>
                  <a:gd name="connsiteY1" fmla="*/ 3174 h 92753"/>
                  <a:gd name="connsiteX2" fmla="*/ 56869 w 84817"/>
                  <a:gd name="connsiteY2" fmla="*/ 2557 h 92753"/>
                  <a:gd name="connsiteX3" fmla="*/ 56516 w 84817"/>
                  <a:gd name="connsiteY3" fmla="*/ 2292 h 92753"/>
                  <a:gd name="connsiteX4" fmla="*/ 56251 w 84817"/>
                  <a:gd name="connsiteY4" fmla="*/ 2557 h 92753"/>
                  <a:gd name="connsiteX5" fmla="*/ 55722 w 84817"/>
                  <a:gd name="connsiteY5" fmla="*/ 2557 h 92753"/>
                  <a:gd name="connsiteX6" fmla="*/ 55105 w 84817"/>
                  <a:gd name="connsiteY6" fmla="*/ 2910 h 92753"/>
                  <a:gd name="connsiteX7" fmla="*/ 54488 w 84817"/>
                  <a:gd name="connsiteY7" fmla="*/ 2910 h 92753"/>
                  <a:gd name="connsiteX8" fmla="*/ 54224 w 84817"/>
                  <a:gd name="connsiteY8" fmla="*/ 3527 h 92753"/>
                  <a:gd name="connsiteX9" fmla="*/ 53959 w 84817"/>
                  <a:gd name="connsiteY9" fmla="*/ 4056 h 92753"/>
                  <a:gd name="connsiteX10" fmla="*/ 54224 w 84817"/>
                  <a:gd name="connsiteY10" fmla="*/ 4056 h 92753"/>
                  <a:gd name="connsiteX11" fmla="*/ 54488 w 84817"/>
                  <a:gd name="connsiteY11" fmla="*/ 4056 h 92753"/>
                  <a:gd name="connsiteX12" fmla="*/ 54841 w 84817"/>
                  <a:gd name="connsiteY12" fmla="*/ 4320 h 92753"/>
                  <a:gd name="connsiteX13" fmla="*/ 55105 w 84817"/>
                  <a:gd name="connsiteY13" fmla="*/ 4673 h 92753"/>
                  <a:gd name="connsiteX14" fmla="*/ 55370 w 84817"/>
                  <a:gd name="connsiteY14" fmla="*/ 4673 h 92753"/>
                  <a:gd name="connsiteX15" fmla="*/ 55370 w 84817"/>
                  <a:gd name="connsiteY15" fmla="*/ 4320 h 92753"/>
                  <a:gd name="connsiteX16" fmla="*/ 55370 w 84817"/>
                  <a:gd name="connsiteY16" fmla="*/ 4056 h 92753"/>
                  <a:gd name="connsiteX17" fmla="*/ 55370 w 84817"/>
                  <a:gd name="connsiteY17" fmla="*/ 3791 h 92753"/>
                  <a:gd name="connsiteX18" fmla="*/ 55722 w 84817"/>
                  <a:gd name="connsiteY18" fmla="*/ 3791 h 92753"/>
                  <a:gd name="connsiteX19" fmla="*/ 55722 w 84817"/>
                  <a:gd name="connsiteY19" fmla="*/ 4056 h 92753"/>
                  <a:gd name="connsiteX20" fmla="*/ 55987 w 84817"/>
                  <a:gd name="connsiteY20" fmla="*/ 4673 h 92753"/>
                  <a:gd name="connsiteX21" fmla="*/ 55987 w 84817"/>
                  <a:gd name="connsiteY21" fmla="*/ 4938 h 92753"/>
                  <a:gd name="connsiteX22" fmla="*/ 56251 w 84817"/>
                  <a:gd name="connsiteY22" fmla="*/ 5555 h 92753"/>
                  <a:gd name="connsiteX23" fmla="*/ 55987 w 84817"/>
                  <a:gd name="connsiteY23" fmla="*/ 5819 h 92753"/>
                  <a:gd name="connsiteX24" fmla="*/ 55722 w 84817"/>
                  <a:gd name="connsiteY24" fmla="*/ 6084 h 92753"/>
                  <a:gd name="connsiteX25" fmla="*/ 55722 w 84817"/>
                  <a:gd name="connsiteY25" fmla="*/ 6348 h 92753"/>
                  <a:gd name="connsiteX26" fmla="*/ 55370 w 84817"/>
                  <a:gd name="connsiteY26" fmla="*/ 6348 h 92753"/>
                  <a:gd name="connsiteX27" fmla="*/ 55722 w 84817"/>
                  <a:gd name="connsiteY27" fmla="*/ 6084 h 92753"/>
                  <a:gd name="connsiteX28" fmla="*/ 55722 w 84817"/>
                  <a:gd name="connsiteY28" fmla="*/ 5819 h 92753"/>
                  <a:gd name="connsiteX29" fmla="*/ 55722 w 84817"/>
                  <a:gd name="connsiteY29" fmla="*/ 5555 h 92753"/>
                  <a:gd name="connsiteX30" fmla="*/ 55370 w 84817"/>
                  <a:gd name="connsiteY30" fmla="*/ 5202 h 92753"/>
                  <a:gd name="connsiteX31" fmla="*/ 55105 w 84817"/>
                  <a:gd name="connsiteY31" fmla="*/ 4938 h 92753"/>
                  <a:gd name="connsiteX32" fmla="*/ 54224 w 84817"/>
                  <a:gd name="connsiteY32" fmla="*/ 4673 h 92753"/>
                  <a:gd name="connsiteX33" fmla="*/ 53959 w 84817"/>
                  <a:gd name="connsiteY33" fmla="*/ 4673 h 92753"/>
                  <a:gd name="connsiteX34" fmla="*/ 53606 w 84817"/>
                  <a:gd name="connsiteY34" fmla="*/ 4673 h 92753"/>
                  <a:gd name="connsiteX35" fmla="*/ 53606 w 84817"/>
                  <a:gd name="connsiteY35" fmla="*/ 4320 h 92753"/>
                  <a:gd name="connsiteX36" fmla="*/ 53342 w 84817"/>
                  <a:gd name="connsiteY36" fmla="*/ 4056 h 92753"/>
                  <a:gd name="connsiteX37" fmla="*/ 53606 w 84817"/>
                  <a:gd name="connsiteY37" fmla="*/ 3791 h 92753"/>
                  <a:gd name="connsiteX38" fmla="*/ 53959 w 84817"/>
                  <a:gd name="connsiteY38" fmla="*/ 3174 h 92753"/>
                  <a:gd name="connsiteX39" fmla="*/ 53959 w 84817"/>
                  <a:gd name="connsiteY39" fmla="*/ 2910 h 92753"/>
                  <a:gd name="connsiteX40" fmla="*/ 53606 w 84817"/>
                  <a:gd name="connsiteY40" fmla="*/ 3174 h 92753"/>
                  <a:gd name="connsiteX41" fmla="*/ 53342 w 84817"/>
                  <a:gd name="connsiteY41" fmla="*/ 3527 h 92753"/>
                  <a:gd name="connsiteX42" fmla="*/ 53077 w 84817"/>
                  <a:gd name="connsiteY42" fmla="*/ 3527 h 92753"/>
                  <a:gd name="connsiteX43" fmla="*/ 52460 w 84817"/>
                  <a:gd name="connsiteY43" fmla="*/ 3791 h 92753"/>
                  <a:gd name="connsiteX44" fmla="*/ 52460 w 84817"/>
                  <a:gd name="connsiteY44" fmla="*/ 4320 h 92753"/>
                  <a:gd name="connsiteX45" fmla="*/ 53077 w 84817"/>
                  <a:gd name="connsiteY45" fmla="*/ 4320 h 92753"/>
                  <a:gd name="connsiteX46" fmla="*/ 53342 w 84817"/>
                  <a:gd name="connsiteY46" fmla="*/ 4673 h 92753"/>
                  <a:gd name="connsiteX47" fmla="*/ 53077 w 84817"/>
                  <a:gd name="connsiteY47" fmla="*/ 4938 h 92753"/>
                  <a:gd name="connsiteX48" fmla="*/ 53077 w 84817"/>
                  <a:gd name="connsiteY48" fmla="*/ 5555 h 92753"/>
                  <a:gd name="connsiteX49" fmla="*/ 52725 w 84817"/>
                  <a:gd name="connsiteY49" fmla="*/ 5555 h 92753"/>
                  <a:gd name="connsiteX50" fmla="*/ 52196 w 84817"/>
                  <a:gd name="connsiteY50" fmla="*/ 5555 h 92753"/>
                  <a:gd name="connsiteX51" fmla="*/ 52460 w 84817"/>
                  <a:gd name="connsiteY51" fmla="*/ 5202 h 92753"/>
                  <a:gd name="connsiteX52" fmla="*/ 52460 w 84817"/>
                  <a:gd name="connsiteY52" fmla="*/ 4938 h 92753"/>
                  <a:gd name="connsiteX53" fmla="*/ 51931 w 84817"/>
                  <a:gd name="connsiteY53" fmla="*/ 5555 h 92753"/>
                  <a:gd name="connsiteX54" fmla="*/ 52196 w 84817"/>
                  <a:gd name="connsiteY54" fmla="*/ 4938 h 92753"/>
                  <a:gd name="connsiteX55" fmla="*/ 51931 w 84817"/>
                  <a:gd name="connsiteY55" fmla="*/ 4673 h 92753"/>
                  <a:gd name="connsiteX56" fmla="*/ 51314 w 84817"/>
                  <a:gd name="connsiteY56" fmla="*/ 4673 h 92753"/>
                  <a:gd name="connsiteX57" fmla="*/ 51314 w 84817"/>
                  <a:gd name="connsiteY57" fmla="*/ 3791 h 92753"/>
                  <a:gd name="connsiteX58" fmla="*/ 50697 w 84817"/>
                  <a:gd name="connsiteY58" fmla="*/ 3527 h 92753"/>
                  <a:gd name="connsiteX59" fmla="*/ 50697 w 84817"/>
                  <a:gd name="connsiteY59" fmla="*/ 2557 h 92753"/>
                  <a:gd name="connsiteX60" fmla="*/ 50168 w 84817"/>
                  <a:gd name="connsiteY60" fmla="*/ 2557 h 92753"/>
                  <a:gd name="connsiteX61" fmla="*/ 48933 w 84817"/>
                  <a:gd name="connsiteY61" fmla="*/ 3527 h 92753"/>
                  <a:gd name="connsiteX62" fmla="*/ 48933 w 84817"/>
                  <a:gd name="connsiteY62" fmla="*/ 3791 h 92753"/>
                  <a:gd name="connsiteX63" fmla="*/ 48669 w 84817"/>
                  <a:gd name="connsiteY63" fmla="*/ 4320 h 92753"/>
                  <a:gd name="connsiteX64" fmla="*/ 48140 w 84817"/>
                  <a:gd name="connsiteY64" fmla="*/ 4673 h 92753"/>
                  <a:gd name="connsiteX65" fmla="*/ 48140 w 84817"/>
                  <a:gd name="connsiteY65" fmla="*/ 4938 h 92753"/>
                  <a:gd name="connsiteX66" fmla="*/ 46906 w 84817"/>
                  <a:gd name="connsiteY66" fmla="*/ 5202 h 92753"/>
                  <a:gd name="connsiteX67" fmla="*/ 46641 w 84817"/>
                  <a:gd name="connsiteY67" fmla="*/ 5555 h 92753"/>
                  <a:gd name="connsiteX68" fmla="*/ 46377 w 84817"/>
                  <a:gd name="connsiteY68" fmla="*/ 5202 h 92753"/>
                  <a:gd name="connsiteX69" fmla="*/ 47787 w 84817"/>
                  <a:gd name="connsiteY69" fmla="*/ 4673 h 92753"/>
                  <a:gd name="connsiteX70" fmla="*/ 46641 w 84817"/>
                  <a:gd name="connsiteY70" fmla="*/ 4673 h 92753"/>
                  <a:gd name="connsiteX71" fmla="*/ 46377 w 84817"/>
                  <a:gd name="connsiteY71" fmla="*/ 4673 h 92753"/>
                  <a:gd name="connsiteX72" fmla="*/ 45759 w 84817"/>
                  <a:gd name="connsiteY72" fmla="*/ 4673 h 92753"/>
                  <a:gd name="connsiteX73" fmla="*/ 45142 w 84817"/>
                  <a:gd name="connsiteY73" fmla="*/ 4938 h 92753"/>
                  <a:gd name="connsiteX74" fmla="*/ 44878 w 84817"/>
                  <a:gd name="connsiteY74" fmla="*/ 5819 h 92753"/>
                  <a:gd name="connsiteX75" fmla="*/ 45142 w 84817"/>
                  <a:gd name="connsiteY75" fmla="*/ 5819 h 92753"/>
                  <a:gd name="connsiteX76" fmla="*/ 44878 w 84817"/>
                  <a:gd name="connsiteY76" fmla="*/ 6084 h 92753"/>
                  <a:gd name="connsiteX77" fmla="*/ 43731 w 84817"/>
                  <a:gd name="connsiteY77" fmla="*/ 6084 h 92753"/>
                  <a:gd name="connsiteX78" fmla="*/ 42850 w 84817"/>
                  <a:gd name="connsiteY78" fmla="*/ 6084 h 92753"/>
                  <a:gd name="connsiteX79" fmla="*/ 44349 w 84817"/>
                  <a:gd name="connsiteY79" fmla="*/ 6348 h 92753"/>
                  <a:gd name="connsiteX80" fmla="*/ 44878 w 84817"/>
                  <a:gd name="connsiteY80" fmla="*/ 6965 h 92753"/>
                  <a:gd name="connsiteX81" fmla="*/ 43731 w 84817"/>
                  <a:gd name="connsiteY81" fmla="*/ 6965 h 92753"/>
                  <a:gd name="connsiteX82" fmla="*/ 42850 w 84817"/>
                  <a:gd name="connsiteY82" fmla="*/ 6965 h 92753"/>
                  <a:gd name="connsiteX83" fmla="*/ 43114 w 84817"/>
                  <a:gd name="connsiteY83" fmla="*/ 7230 h 92753"/>
                  <a:gd name="connsiteX84" fmla="*/ 42850 w 84817"/>
                  <a:gd name="connsiteY84" fmla="*/ 7582 h 92753"/>
                  <a:gd name="connsiteX85" fmla="*/ 42585 w 84817"/>
                  <a:gd name="connsiteY85" fmla="*/ 7582 h 92753"/>
                  <a:gd name="connsiteX86" fmla="*/ 42233 w 84817"/>
                  <a:gd name="connsiteY86" fmla="*/ 7847 h 92753"/>
                  <a:gd name="connsiteX87" fmla="*/ 42233 w 84817"/>
                  <a:gd name="connsiteY87" fmla="*/ 8112 h 92753"/>
                  <a:gd name="connsiteX88" fmla="*/ 41968 w 84817"/>
                  <a:gd name="connsiteY88" fmla="*/ 7847 h 92753"/>
                  <a:gd name="connsiteX89" fmla="*/ 41704 w 84817"/>
                  <a:gd name="connsiteY89" fmla="*/ 8112 h 92753"/>
                  <a:gd name="connsiteX90" fmla="*/ 41968 w 84817"/>
                  <a:gd name="connsiteY90" fmla="*/ 8729 h 92753"/>
                  <a:gd name="connsiteX91" fmla="*/ 42233 w 84817"/>
                  <a:gd name="connsiteY91" fmla="*/ 9346 h 92753"/>
                  <a:gd name="connsiteX92" fmla="*/ 42850 w 84817"/>
                  <a:gd name="connsiteY92" fmla="*/ 9875 h 92753"/>
                  <a:gd name="connsiteX93" fmla="*/ 41968 w 84817"/>
                  <a:gd name="connsiteY93" fmla="*/ 9610 h 92753"/>
                  <a:gd name="connsiteX94" fmla="*/ 41351 w 84817"/>
                  <a:gd name="connsiteY94" fmla="*/ 9875 h 92753"/>
                  <a:gd name="connsiteX95" fmla="*/ 41351 w 84817"/>
                  <a:gd name="connsiteY95" fmla="*/ 10492 h 92753"/>
                  <a:gd name="connsiteX96" fmla="*/ 41968 w 84817"/>
                  <a:gd name="connsiteY96" fmla="*/ 10492 h 92753"/>
                  <a:gd name="connsiteX97" fmla="*/ 42233 w 84817"/>
                  <a:gd name="connsiteY97" fmla="*/ 10757 h 92753"/>
                  <a:gd name="connsiteX98" fmla="*/ 42850 w 84817"/>
                  <a:gd name="connsiteY98" fmla="*/ 11374 h 92753"/>
                  <a:gd name="connsiteX99" fmla="*/ 42585 w 84817"/>
                  <a:gd name="connsiteY99" fmla="*/ 12256 h 92753"/>
                  <a:gd name="connsiteX100" fmla="*/ 41704 w 84817"/>
                  <a:gd name="connsiteY100" fmla="*/ 12256 h 92753"/>
                  <a:gd name="connsiteX101" fmla="*/ 40822 w 84817"/>
                  <a:gd name="connsiteY101" fmla="*/ 12256 h 92753"/>
                  <a:gd name="connsiteX102" fmla="*/ 40205 w 84817"/>
                  <a:gd name="connsiteY102" fmla="*/ 11903 h 92753"/>
                  <a:gd name="connsiteX103" fmla="*/ 39588 w 84817"/>
                  <a:gd name="connsiteY103" fmla="*/ 12256 h 92753"/>
                  <a:gd name="connsiteX104" fmla="*/ 41351 w 84817"/>
                  <a:gd name="connsiteY104" fmla="*/ 12785 h 92753"/>
                  <a:gd name="connsiteX105" fmla="*/ 41968 w 84817"/>
                  <a:gd name="connsiteY105" fmla="*/ 12785 h 92753"/>
                  <a:gd name="connsiteX106" fmla="*/ 40822 w 84817"/>
                  <a:gd name="connsiteY106" fmla="*/ 12785 h 92753"/>
                  <a:gd name="connsiteX107" fmla="*/ 39940 w 84817"/>
                  <a:gd name="connsiteY107" fmla="*/ 13137 h 92753"/>
                  <a:gd name="connsiteX108" fmla="*/ 39059 w 84817"/>
                  <a:gd name="connsiteY108" fmla="*/ 12785 h 92753"/>
                  <a:gd name="connsiteX109" fmla="*/ 39588 w 84817"/>
                  <a:gd name="connsiteY109" fmla="*/ 13402 h 92753"/>
                  <a:gd name="connsiteX110" fmla="*/ 40469 w 84817"/>
                  <a:gd name="connsiteY110" fmla="*/ 13402 h 92753"/>
                  <a:gd name="connsiteX111" fmla="*/ 41351 w 84817"/>
                  <a:gd name="connsiteY111" fmla="*/ 13666 h 92753"/>
                  <a:gd name="connsiteX112" fmla="*/ 42233 w 84817"/>
                  <a:gd name="connsiteY112" fmla="*/ 14812 h 92753"/>
                  <a:gd name="connsiteX113" fmla="*/ 40822 w 84817"/>
                  <a:gd name="connsiteY113" fmla="*/ 14548 h 92753"/>
                  <a:gd name="connsiteX114" fmla="*/ 38177 w 84817"/>
                  <a:gd name="connsiteY114" fmla="*/ 14283 h 92753"/>
                  <a:gd name="connsiteX115" fmla="*/ 36414 w 84817"/>
                  <a:gd name="connsiteY115" fmla="*/ 14548 h 92753"/>
                  <a:gd name="connsiteX116" fmla="*/ 35885 w 84817"/>
                  <a:gd name="connsiteY116" fmla="*/ 15694 h 92753"/>
                  <a:gd name="connsiteX117" fmla="*/ 35003 w 84817"/>
                  <a:gd name="connsiteY117" fmla="*/ 16576 h 92753"/>
                  <a:gd name="connsiteX118" fmla="*/ 35003 w 84817"/>
                  <a:gd name="connsiteY118" fmla="*/ 16928 h 92753"/>
                  <a:gd name="connsiteX119" fmla="*/ 37295 w 84817"/>
                  <a:gd name="connsiteY119" fmla="*/ 17810 h 92753"/>
                  <a:gd name="connsiteX120" fmla="*/ 38442 w 84817"/>
                  <a:gd name="connsiteY120" fmla="*/ 18075 h 92753"/>
                  <a:gd name="connsiteX121" fmla="*/ 40469 w 84817"/>
                  <a:gd name="connsiteY121" fmla="*/ 17810 h 92753"/>
                  <a:gd name="connsiteX122" fmla="*/ 41704 w 84817"/>
                  <a:gd name="connsiteY122" fmla="*/ 17193 h 92753"/>
                  <a:gd name="connsiteX123" fmla="*/ 42233 w 84817"/>
                  <a:gd name="connsiteY123" fmla="*/ 17457 h 92753"/>
                  <a:gd name="connsiteX124" fmla="*/ 41086 w 84817"/>
                  <a:gd name="connsiteY124" fmla="*/ 18339 h 92753"/>
                  <a:gd name="connsiteX125" fmla="*/ 41086 w 84817"/>
                  <a:gd name="connsiteY125" fmla="*/ 18956 h 92753"/>
                  <a:gd name="connsiteX126" fmla="*/ 41968 w 84817"/>
                  <a:gd name="connsiteY126" fmla="*/ 18339 h 92753"/>
                  <a:gd name="connsiteX127" fmla="*/ 42850 w 84817"/>
                  <a:gd name="connsiteY127" fmla="*/ 18339 h 92753"/>
                  <a:gd name="connsiteX128" fmla="*/ 44349 w 84817"/>
                  <a:gd name="connsiteY128" fmla="*/ 16928 h 92753"/>
                  <a:gd name="connsiteX129" fmla="*/ 43996 w 84817"/>
                  <a:gd name="connsiteY129" fmla="*/ 17810 h 92753"/>
                  <a:gd name="connsiteX130" fmla="*/ 44613 w 84817"/>
                  <a:gd name="connsiteY130" fmla="*/ 18075 h 92753"/>
                  <a:gd name="connsiteX131" fmla="*/ 45495 w 84817"/>
                  <a:gd name="connsiteY131" fmla="*/ 17810 h 92753"/>
                  <a:gd name="connsiteX132" fmla="*/ 47258 w 84817"/>
                  <a:gd name="connsiteY132" fmla="*/ 16928 h 92753"/>
                  <a:gd name="connsiteX133" fmla="*/ 47523 w 84817"/>
                  <a:gd name="connsiteY133" fmla="*/ 17810 h 92753"/>
                  <a:gd name="connsiteX134" fmla="*/ 46641 w 84817"/>
                  <a:gd name="connsiteY134" fmla="*/ 18075 h 92753"/>
                  <a:gd name="connsiteX135" fmla="*/ 46024 w 84817"/>
                  <a:gd name="connsiteY135" fmla="*/ 17810 h 92753"/>
                  <a:gd name="connsiteX136" fmla="*/ 45142 w 84817"/>
                  <a:gd name="connsiteY136" fmla="*/ 19221 h 92753"/>
                  <a:gd name="connsiteX137" fmla="*/ 45142 w 84817"/>
                  <a:gd name="connsiteY137" fmla="*/ 20103 h 92753"/>
                  <a:gd name="connsiteX138" fmla="*/ 44878 w 84817"/>
                  <a:gd name="connsiteY138" fmla="*/ 20720 h 92753"/>
                  <a:gd name="connsiteX139" fmla="*/ 41351 w 84817"/>
                  <a:gd name="connsiteY139" fmla="*/ 21249 h 92753"/>
                  <a:gd name="connsiteX140" fmla="*/ 41086 w 84817"/>
                  <a:gd name="connsiteY140" fmla="*/ 20720 h 92753"/>
                  <a:gd name="connsiteX141" fmla="*/ 40205 w 84817"/>
                  <a:gd name="connsiteY141" fmla="*/ 20720 h 92753"/>
                  <a:gd name="connsiteX142" fmla="*/ 40205 w 84817"/>
                  <a:gd name="connsiteY142" fmla="*/ 21249 h 92753"/>
                  <a:gd name="connsiteX143" fmla="*/ 39588 w 84817"/>
                  <a:gd name="connsiteY143" fmla="*/ 21866 h 92753"/>
                  <a:gd name="connsiteX144" fmla="*/ 38794 w 84817"/>
                  <a:gd name="connsiteY144" fmla="*/ 22130 h 92753"/>
                  <a:gd name="connsiteX145" fmla="*/ 38442 w 84817"/>
                  <a:gd name="connsiteY145" fmla="*/ 21866 h 92753"/>
                  <a:gd name="connsiteX146" fmla="*/ 37912 w 84817"/>
                  <a:gd name="connsiteY146" fmla="*/ 22130 h 92753"/>
                  <a:gd name="connsiteX147" fmla="*/ 37560 w 84817"/>
                  <a:gd name="connsiteY147" fmla="*/ 22747 h 92753"/>
                  <a:gd name="connsiteX148" fmla="*/ 36766 w 84817"/>
                  <a:gd name="connsiteY148" fmla="*/ 23277 h 92753"/>
                  <a:gd name="connsiteX149" fmla="*/ 36414 w 84817"/>
                  <a:gd name="connsiteY149" fmla="*/ 23894 h 92753"/>
                  <a:gd name="connsiteX150" fmla="*/ 36766 w 84817"/>
                  <a:gd name="connsiteY150" fmla="*/ 24511 h 92753"/>
                  <a:gd name="connsiteX151" fmla="*/ 37912 w 84817"/>
                  <a:gd name="connsiteY151" fmla="*/ 23629 h 92753"/>
                  <a:gd name="connsiteX152" fmla="*/ 39323 w 84817"/>
                  <a:gd name="connsiteY152" fmla="*/ 23894 h 92753"/>
                  <a:gd name="connsiteX153" fmla="*/ 39940 w 84817"/>
                  <a:gd name="connsiteY153" fmla="*/ 24511 h 92753"/>
                  <a:gd name="connsiteX154" fmla="*/ 38794 w 84817"/>
                  <a:gd name="connsiteY154" fmla="*/ 24511 h 92753"/>
                  <a:gd name="connsiteX155" fmla="*/ 37912 w 84817"/>
                  <a:gd name="connsiteY155" fmla="*/ 24775 h 92753"/>
                  <a:gd name="connsiteX156" fmla="*/ 39940 w 84817"/>
                  <a:gd name="connsiteY156" fmla="*/ 25393 h 92753"/>
                  <a:gd name="connsiteX157" fmla="*/ 39940 w 84817"/>
                  <a:gd name="connsiteY157" fmla="*/ 25922 h 92753"/>
                  <a:gd name="connsiteX158" fmla="*/ 39059 w 84817"/>
                  <a:gd name="connsiteY158" fmla="*/ 25657 h 92753"/>
                  <a:gd name="connsiteX159" fmla="*/ 38177 w 84817"/>
                  <a:gd name="connsiteY159" fmla="*/ 25657 h 92753"/>
                  <a:gd name="connsiteX160" fmla="*/ 37560 w 84817"/>
                  <a:gd name="connsiteY160" fmla="*/ 26274 h 92753"/>
                  <a:gd name="connsiteX161" fmla="*/ 38177 w 84817"/>
                  <a:gd name="connsiteY161" fmla="*/ 26539 h 92753"/>
                  <a:gd name="connsiteX162" fmla="*/ 39323 w 84817"/>
                  <a:gd name="connsiteY162" fmla="*/ 27685 h 92753"/>
                  <a:gd name="connsiteX163" fmla="*/ 37912 w 84817"/>
                  <a:gd name="connsiteY163" fmla="*/ 27068 h 92753"/>
                  <a:gd name="connsiteX164" fmla="*/ 37560 w 84817"/>
                  <a:gd name="connsiteY164" fmla="*/ 26803 h 92753"/>
                  <a:gd name="connsiteX165" fmla="*/ 37031 w 84817"/>
                  <a:gd name="connsiteY165" fmla="*/ 26539 h 92753"/>
                  <a:gd name="connsiteX166" fmla="*/ 36766 w 84817"/>
                  <a:gd name="connsiteY166" fmla="*/ 25657 h 92753"/>
                  <a:gd name="connsiteX167" fmla="*/ 35267 w 84817"/>
                  <a:gd name="connsiteY167" fmla="*/ 25922 h 92753"/>
                  <a:gd name="connsiteX168" fmla="*/ 34650 w 84817"/>
                  <a:gd name="connsiteY168" fmla="*/ 25657 h 92753"/>
                  <a:gd name="connsiteX169" fmla="*/ 32975 w 84817"/>
                  <a:gd name="connsiteY169" fmla="*/ 26274 h 92753"/>
                  <a:gd name="connsiteX170" fmla="*/ 31741 w 84817"/>
                  <a:gd name="connsiteY170" fmla="*/ 25922 h 92753"/>
                  <a:gd name="connsiteX171" fmla="*/ 32358 w 84817"/>
                  <a:gd name="connsiteY171" fmla="*/ 25040 h 92753"/>
                  <a:gd name="connsiteX172" fmla="*/ 31741 w 84817"/>
                  <a:gd name="connsiteY172" fmla="*/ 24775 h 92753"/>
                  <a:gd name="connsiteX173" fmla="*/ 30594 w 84817"/>
                  <a:gd name="connsiteY173" fmla="*/ 25040 h 92753"/>
                  <a:gd name="connsiteX174" fmla="*/ 29095 w 84817"/>
                  <a:gd name="connsiteY174" fmla="*/ 24511 h 92753"/>
                  <a:gd name="connsiteX175" fmla="*/ 28566 w 84817"/>
                  <a:gd name="connsiteY175" fmla="*/ 24775 h 92753"/>
                  <a:gd name="connsiteX176" fmla="*/ 27949 w 84817"/>
                  <a:gd name="connsiteY176" fmla="*/ 25657 h 92753"/>
                  <a:gd name="connsiteX177" fmla="*/ 28302 w 84817"/>
                  <a:gd name="connsiteY177" fmla="*/ 26803 h 92753"/>
                  <a:gd name="connsiteX178" fmla="*/ 28302 w 84817"/>
                  <a:gd name="connsiteY178" fmla="*/ 27420 h 92753"/>
                  <a:gd name="connsiteX179" fmla="*/ 28831 w 84817"/>
                  <a:gd name="connsiteY179" fmla="*/ 27685 h 92753"/>
                  <a:gd name="connsiteX180" fmla="*/ 27949 w 84817"/>
                  <a:gd name="connsiteY180" fmla="*/ 28831 h 92753"/>
                  <a:gd name="connsiteX181" fmla="*/ 27949 w 84817"/>
                  <a:gd name="connsiteY181" fmla="*/ 27949 h 92753"/>
                  <a:gd name="connsiteX182" fmla="*/ 27685 w 84817"/>
                  <a:gd name="connsiteY182" fmla="*/ 27068 h 92753"/>
                  <a:gd name="connsiteX183" fmla="*/ 27421 w 84817"/>
                  <a:gd name="connsiteY183" fmla="*/ 26803 h 92753"/>
                  <a:gd name="connsiteX184" fmla="*/ 26803 w 84817"/>
                  <a:gd name="connsiteY184" fmla="*/ 27068 h 92753"/>
                  <a:gd name="connsiteX185" fmla="*/ 26539 w 84817"/>
                  <a:gd name="connsiteY185" fmla="*/ 26803 h 92753"/>
                  <a:gd name="connsiteX186" fmla="*/ 25922 w 84817"/>
                  <a:gd name="connsiteY186" fmla="*/ 26539 h 92753"/>
                  <a:gd name="connsiteX187" fmla="*/ 26539 w 84817"/>
                  <a:gd name="connsiteY187" fmla="*/ 26274 h 92753"/>
                  <a:gd name="connsiteX188" fmla="*/ 26539 w 84817"/>
                  <a:gd name="connsiteY188" fmla="*/ 25657 h 92753"/>
                  <a:gd name="connsiteX189" fmla="*/ 27068 w 84817"/>
                  <a:gd name="connsiteY189" fmla="*/ 25040 h 92753"/>
                  <a:gd name="connsiteX190" fmla="*/ 26539 w 84817"/>
                  <a:gd name="connsiteY190" fmla="*/ 24511 h 92753"/>
                  <a:gd name="connsiteX191" fmla="*/ 24158 w 84817"/>
                  <a:gd name="connsiteY191" fmla="*/ 23894 h 92753"/>
                  <a:gd name="connsiteX192" fmla="*/ 23277 w 84817"/>
                  <a:gd name="connsiteY192" fmla="*/ 24511 h 92753"/>
                  <a:gd name="connsiteX193" fmla="*/ 22747 w 84817"/>
                  <a:gd name="connsiteY193" fmla="*/ 24775 h 92753"/>
                  <a:gd name="connsiteX194" fmla="*/ 21866 w 84817"/>
                  <a:gd name="connsiteY194" fmla="*/ 24775 h 92753"/>
                  <a:gd name="connsiteX195" fmla="*/ 21513 w 84817"/>
                  <a:gd name="connsiteY195" fmla="*/ 24511 h 92753"/>
                  <a:gd name="connsiteX196" fmla="*/ 20631 w 84817"/>
                  <a:gd name="connsiteY196" fmla="*/ 24775 h 92753"/>
                  <a:gd name="connsiteX197" fmla="*/ 18339 w 84817"/>
                  <a:gd name="connsiteY197" fmla="*/ 24511 h 92753"/>
                  <a:gd name="connsiteX198" fmla="*/ 17193 w 84817"/>
                  <a:gd name="connsiteY198" fmla="*/ 23894 h 92753"/>
                  <a:gd name="connsiteX199" fmla="*/ 16311 w 84817"/>
                  <a:gd name="connsiteY199" fmla="*/ 23629 h 92753"/>
                  <a:gd name="connsiteX200" fmla="*/ 15694 w 84817"/>
                  <a:gd name="connsiteY200" fmla="*/ 23629 h 92753"/>
                  <a:gd name="connsiteX201" fmla="*/ 15165 w 84817"/>
                  <a:gd name="connsiteY201" fmla="*/ 23277 h 92753"/>
                  <a:gd name="connsiteX202" fmla="*/ 14283 w 84817"/>
                  <a:gd name="connsiteY202" fmla="*/ 23629 h 92753"/>
                  <a:gd name="connsiteX203" fmla="*/ 14548 w 84817"/>
                  <a:gd name="connsiteY203" fmla="*/ 24511 h 92753"/>
                  <a:gd name="connsiteX204" fmla="*/ 15429 w 84817"/>
                  <a:gd name="connsiteY204" fmla="*/ 24511 h 92753"/>
                  <a:gd name="connsiteX205" fmla="*/ 16311 w 84817"/>
                  <a:gd name="connsiteY205" fmla="*/ 24775 h 92753"/>
                  <a:gd name="connsiteX206" fmla="*/ 16047 w 84817"/>
                  <a:gd name="connsiteY206" fmla="*/ 25657 h 92753"/>
                  <a:gd name="connsiteX207" fmla="*/ 15429 w 84817"/>
                  <a:gd name="connsiteY207" fmla="*/ 25922 h 92753"/>
                  <a:gd name="connsiteX208" fmla="*/ 14812 w 84817"/>
                  <a:gd name="connsiteY208" fmla="*/ 26274 h 92753"/>
                  <a:gd name="connsiteX209" fmla="*/ 14019 w 84817"/>
                  <a:gd name="connsiteY209" fmla="*/ 25657 h 92753"/>
                  <a:gd name="connsiteX210" fmla="*/ 13401 w 84817"/>
                  <a:gd name="connsiteY210" fmla="*/ 27068 h 92753"/>
                  <a:gd name="connsiteX211" fmla="*/ 12785 w 84817"/>
                  <a:gd name="connsiteY211" fmla="*/ 26803 h 92753"/>
                  <a:gd name="connsiteX212" fmla="*/ 12256 w 84817"/>
                  <a:gd name="connsiteY212" fmla="*/ 26274 h 92753"/>
                  <a:gd name="connsiteX213" fmla="*/ 12785 w 84817"/>
                  <a:gd name="connsiteY213" fmla="*/ 26274 h 92753"/>
                  <a:gd name="connsiteX214" fmla="*/ 13049 w 84817"/>
                  <a:gd name="connsiteY214" fmla="*/ 26803 h 92753"/>
                  <a:gd name="connsiteX215" fmla="*/ 13401 w 84817"/>
                  <a:gd name="connsiteY215" fmla="*/ 25922 h 92753"/>
                  <a:gd name="connsiteX216" fmla="*/ 13401 w 84817"/>
                  <a:gd name="connsiteY216" fmla="*/ 25657 h 92753"/>
                  <a:gd name="connsiteX217" fmla="*/ 12785 w 84817"/>
                  <a:gd name="connsiteY217" fmla="*/ 25657 h 92753"/>
                  <a:gd name="connsiteX218" fmla="*/ 12785 w 84817"/>
                  <a:gd name="connsiteY218" fmla="*/ 24775 h 92753"/>
                  <a:gd name="connsiteX219" fmla="*/ 12256 w 84817"/>
                  <a:gd name="connsiteY219" fmla="*/ 24511 h 92753"/>
                  <a:gd name="connsiteX220" fmla="*/ 11021 w 84817"/>
                  <a:gd name="connsiteY220" fmla="*/ 25393 h 92753"/>
                  <a:gd name="connsiteX221" fmla="*/ 10139 w 84817"/>
                  <a:gd name="connsiteY221" fmla="*/ 25657 h 92753"/>
                  <a:gd name="connsiteX222" fmla="*/ 10139 w 84817"/>
                  <a:gd name="connsiteY222" fmla="*/ 26274 h 92753"/>
                  <a:gd name="connsiteX223" fmla="*/ 9875 w 84817"/>
                  <a:gd name="connsiteY223" fmla="*/ 26803 h 92753"/>
                  <a:gd name="connsiteX224" fmla="*/ 9258 w 84817"/>
                  <a:gd name="connsiteY224" fmla="*/ 27949 h 92753"/>
                  <a:gd name="connsiteX225" fmla="*/ 10139 w 84817"/>
                  <a:gd name="connsiteY225" fmla="*/ 29448 h 92753"/>
                  <a:gd name="connsiteX226" fmla="*/ 10492 w 84817"/>
                  <a:gd name="connsiteY226" fmla="*/ 28831 h 92753"/>
                  <a:gd name="connsiteX227" fmla="*/ 9875 w 84817"/>
                  <a:gd name="connsiteY227" fmla="*/ 27949 h 92753"/>
                  <a:gd name="connsiteX228" fmla="*/ 10492 w 84817"/>
                  <a:gd name="connsiteY228" fmla="*/ 27949 h 92753"/>
                  <a:gd name="connsiteX229" fmla="*/ 9875 w 84817"/>
                  <a:gd name="connsiteY229" fmla="*/ 27420 h 92753"/>
                  <a:gd name="connsiteX230" fmla="*/ 10492 w 84817"/>
                  <a:gd name="connsiteY230" fmla="*/ 27420 h 92753"/>
                  <a:gd name="connsiteX231" fmla="*/ 10492 w 84817"/>
                  <a:gd name="connsiteY231" fmla="*/ 26803 h 92753"/>
                  <a:gd name="connsiteX232" fmla="*/ 11021 w 84817"/>
                  <a:gd name="connsiteY232" fmla="*/ 26803 h 92753"/>
                  <a:gd name="connsiteX233" fmla="*/ 11638 w 84817"/>
                  <a:gd name="connsiteY233" fmla="*/ 27068 h 92753"/>
                  <a:gd name="connsiteX234" fmla="*/ 13049 w 84817"/>
                  <a:gd name="connsiteY234" fmla="*/ 27420 h 92753"/>
                  <a:gd name="connsiteX235" fmla="*/ 12785 w 84817"/>
                  <a:gd name="connsiteY235" fmla="*/ 27685 h 92753"/>
                  <a:gd name="connsiteX236" fmla="*/ 12785 w 84817"/>
                  <a:gd name="connsiteY236" fmla="*/ 27949 h 92753"/>
                  <a:gd name="connsiteX237" fmla="*/ 13049 w 84817"/>
                  <a:gd name="connsiteY237" fmla="*/ 27949 h 92753"/>
                  <a:gd name="connsiteX238" fmla="*/ 12785 w 84817"/>
                  <a:gd name="connsiteY238" fmla="*/ 28567 h 92753"/>
                  <a:gd name="connsiteX239" fmla="*/ 12520 w 84817"/>
                  <a:gd name="connsiteY239" fmla="*/ 29184 h 92753"/>
                  <a:gd name="connsiteX240" fmla="*/ 11903 w 84817"/>
                  <a:gd name="connsiteY240" fmla="*/ 29184 h 92753"/>
                  <a:gd name="connsiteX241" fmla="*/ 12520 w 84817"/>
                  <a:gd name="connsiteY241" fmla="*/ 30330 h 92753"/>
                  <a:gd name="connsiteX242" fmla="*/ 12785 w 84817"/>
                  <a:gd name="connsiteY242" fmla="*/ 30065 h 92753"/>
                  <a:gd name="connsiteX243" fmla="*/ 13049 w 84817"/>
                  <a:gd name="connsiteY243" fmla="*/ 29184 h 92753"/>
                  <a:gd name="connsiteX244" fmla="*/ 13666 w 84817"/>
                  <a:gd name="connsiteY244" fmla="*/ 29713 h 92753"/>
                  <a:gd name="connsiteX245" fmla="*/ 13049 w 84817"/>
                  <a:gd name="connsiteY245" fmla="*/ 30330 h 92753"/>
                  <a:gd name="connsiteX246" fmla="*/ 12520 w 84817"/>
                  <a:gd name="connsiteY246" fmla="*/ 30859 h 92753"/>
                  <a:gd name="connsiteX247" fmla="*/ 12785 w 84817"/>
                  <a:gd name="connsiteY247" fmla="*/ 31476 h 92753"/>
                  <a:gd name="connsiteX248" fmla="*/ 13401 w 84817"/>
                  <a:gd name="connsiteY248" fmla="*/ 31212 h 92753"/>
                  <a:gd name="connsiteX249" fmla="*/ 13666 w 84817"/>
                  <a:gd name="connsiteY249" fmla="*/ 31476 h 92753"/>
                  <a:gd name="connsiteX250" fmla="*/ 13666 w 84817"/>
                  <a:gd name="connsiteY250" fmla="*/ 31741 h 92753"/>
                  <a:gd name="connsiteX251" fmla="*/ 14283 w 84817"/>
                  <a:gd name="connsiteY251" fmla="*/ 32358 h 92753"/>
                  <a:gd name="connsiteX252" fmla="*/ 15165 w 84817"/>
                  <a:gd name="connsiteY252" fmla="*/ 32622 h 92753"/>
                  <a:gd name="connsiteX253" fmla="*/ 15165 w 84817"/>
                  <a:gd name="connsiteY253" fmla="*/ 31741 h 92753"/>
                  <a:gd name="connsiteX254" fmla="*/ 15429 w 84817"/>
                  <a:gd name="connsiteY254" fmla="*/ 31476 h 92753"/>
                  <a:gd name="connsiteX255" fmla="*/ 15694 w 84817"/>
                  <a:gd name="connsiteY255" fmla="*/ 31741 h 92753"/>
                  <a:gd name="connsiteX256" fmla="*/ 16311 w 84817"/>
                  <a:gd name="connsiteY256" fmla="*/ 32358 h 92753"/>
                  <a:gd name="connsiteX257" fmla="*/ 15694 w 84817"/>
                  <a:gd name="connsiteY257" fmla="*/ 33240 h 92753"/>
                  <a:gd name="connsiteX258" fmla="*/ 15165 w 84817"/>
                  <a:gd name="connsiteY258" fmla="*/ 32975 h 92753"/>
                  <a:gd name="connsiteX259" fmla="*/ 14019 w 84817"/>
                  <a:gd name="connsiteY259" fmla="*/ 33240 h 92753"/>
                  <a:gd name="connsiteX260" fmla="*/ 12785 w 84817"/>
                  <a:gd name="connsiteY260" fmla="*/ 32622 h 92753"/>
                  <a:gd name="connsiteX261" fmla="*/ 12256 w 84817"/>
                  <a:gd name="connsiteY261" fmla="*/ 33769 h 92753"/>
                  <a:gd name="connsiteX262" fmla="*/ 12785 w 84817"/>
                  <a:gd name="connsiteY262" fmla="*/ 35003 h 92753"/>
                  <a:gd name="connsiteX263" fmla="*/ 12785 w 84817"/>
                  <a:gd name="connsiteY263" fmla="*/ 35532 h 92753"/>
                  <a:gd name="connsiteX264" fmla="*/ 13401 w 84817"/>
                  <a:gd name="connsiteY264" fmla="*/ 35532 h 92753"/>
                  <a:gd name="connsiteX265" fmla="*/ 13401 w 84817"/>
                  <a:gd name="connsiteY265" fmla="*/ 35003 h 92753"/>
                  <a:gd name="connsiteX266" fmla="*/ 14812 w 84817"/>
                  <a:gd name="connsiteY266" fmla="*/ 34650 h 92753"/>
                  <a:gd name="connsiteX267" fmla="*/ 15694 w 84817"/>
                  <a:gd name="connsiteY267" fmla="*/ 33769 h 92753"/>
                  <a:gd name="connsiteX268" fmla="*/ 17722 w 84817"/>
                  <a:gd name="connsiteY268" fmla="*/ 34121 h 92753"/>
                  <a:gd name="connsiteX269" fmla="*/ 18956 w 84817"/>
                  <a:gd name="connsiteY269" fmla="*/ 33769 h 92753"/>
                  <a:gd name="connsiteX270" fmla="*/ 19221 w 84817"/>
                  <a:gd name="connsiteY270" fmla="*/ 34121 h 92753"/>
                  <a:gd name="connsiteX271" fmla="*/ 18956 w 84817"/>
                  <a:gd name="connsiteY271" fmla="*/ 35003 h 92753"/>
                  <a:gd name="connsiteX272" fmla="*/ 18339 w 84817"/>
                  <a:gd name="connsiteY272" fmla="*/ 35885 h 92753"/>
                  <a:gd name="connsiteX273" fmla="*/ 18604 w 84817"/>
                  <a:gd name="connsiteY273" fmla="*/ 36149 h 92753"/>
                  <a:gd name="connsiteX274" fmla="*/ 18604 w 84817"/>
                  <a:gd name="connsiteY274" fmla="*/ 36414 h 92753"/>
                  <a:gd name="connsiteX275" fmla="*/ 18604 w 84817"/>
                  <a:gd name="connsiteY275" fmla="*/ 36766 h 92753"/>
                  <a:gd name="connsiteX276" fmla="*/ 19838 w 84817"/>
                  <a:gd name="connsiteY276" fmla="*/ 37295 h 92753"/>
                  <a:gd name="connsiteX277" fmla="*/ 18604 w 84817"/>
                  <a:gd name="connsiteY277" fmla="*/ 37912 h 92753"/>
                  <a:gd name="connsiteX278" fmla="*/ 16928 w 84817"/>
                  <a:gd name="connsiteY278" fmla="*/ 37912 h 92753"/>
                  <a:gd name="connsiteX279" fmla="*/ 15429 w 84817"/>
                  <a:gd name="connsiteY279" fmla="*/ 37295 h 92753"/>
                  <a:gd name="connsiteX280" fmla="*/ 13049 w 84817"/>
                  <a:gd name="connsiteY280" fmla="*/ 37295 h 92753"/>
                  <a:gd name="connsiteX281" fmla="*/ 12520 w 84817"/>
                  <a:gd name="connsiteY281" fmla="*/ 37912 h 92753"/>
                  <a:gd name="connsiteX282" fmla="*/ 12256 w 84817"/>
                  <a:gd name="connsiteY282" fmla="*/ 38177 h 92753"/>
                  <a:gd name="connsiteX283" fmla="*/ 12520 w 84817"/>
                  <a:gd name="connsiteY283" fmla="*/ 39059 h 92753"/>
                  <a:gd name="connsiteX284" fmla="*/ 13666 w 84817"/>
                  <a:gd name="connsiteY284" fmla="*/ 39940 h 92753"/>
                  <a:gd name="connsiteX285" fmla="*/ 12256 w 84817"/>
                  <a:gd name="connsiteY285" fmla="*/ 41086 h 92753"/>
                  <a:gd name="connsiteX286" fmla="*/ 11903 w 84817"/>
                  <a:gd name="connsiteY286" fmla="*/ 41086 h 92753"/>
                  <a:gd name="connsiteX287" fmla="*/ 9258 w 84817"/>
                  <a:gd name="connsiteY287" fmla="*/ 40558 h 92753"/>
                  <a:gd name="connsiteX288" fmla="*/ 8993 w 84817"/>
                  <a:gd name="connsiteY288" fmla="*/ 41086 h 92753"/>
                  <a:gd name="connsiteX289" fmla="*/ 10492 w 84817"/>
                  <a:gd name="connsiteY289" fmla="*/ 41086 h 92753"/>
                  <a:gd name="connsiteX290" fmla="*/ 11021 w 84817"/>
                  <a:gd name="connsiteY290" fmla="*/ 41704 h 92753"/>
                  <a:gd name="connsiteX291" fmla="*/ 9258 w 84817"/>
                  <a:gd name="connsiteY291" fmla="*/ 41704 h 92753"/>
                  <a:gd name="connsiteX292" fmla="*/ 8993 w 84817"/>
                  <a:gd name="connsiteY292" fmla="*/ 42233 h 92753"/>
                  <a:gd name="connsiteX293" fmla="*/ 8729 w 84817"/>
                  <a:gd name="connsiteY293" fmla="*/ 42233 h 92753"/>
                  <a:gd name="connsiteX294" fmla="*/ 8112 w 84817"/>
                  <a:gd name="connsiteY294" fmla="*/ 42233 h 92753"/>
                  <a:gd name="connsiteX295" fmla="*/ 7847 w 84817"/>
                  <a:gd name="connsiteY295" fmla="*/ 42585 h 92753"/>
                  <a:gd name="connsiteX296" fmla="*/ 8993 w 84817"/>
                  <a:gd name="connsiteY296" fmla="*/ 42850 h 92753"/>
                  <a:gd name="connsiteX297" fmla="*/ 8993 w 84817"/>
                  <a:gd name="connsiteY297" fmla="*/ 43467 h 92753"/>
                  <a:gd name="connsiteX298" fmla="*/ 8993 w 84817"/>
                  <a:gd name="connsiteY298" fmla="*/ 43996 h 92753"/>
                  <a:gd name="connsiteX299" fmla="*/ 8729 w 84817"/>
                  <a:gd name="connsiteY299" fmla="*/ 44613 h 92753"/>
                  <a:gd name="connsiteX300" fmla="*/ 8464 w 84817"/>
                  <a:gd name="connsiteY300" fmla="*/ 44878 h 92753"/>
                  <a:gd name="connsiteX301" fmla="*/ 8112 w 84817"/>
                  <a:gd name="connsiteY301" fmla="*/ 44613 h 92753"/>
                  <a:gd name="connsiteX302" fmla="*/ 7230 w 84817"/>
                  <a:gd name="connsiteY302" fmla="*/ 45230 h 92753"/>
                  <a:gd name="connsiteX303" fmla="*/ 6348 w 84817"/>
                  <a:gd name="connsiteY303" fmla="*/ 45230 h 92753"/>
                  <a:gd name="connsiteX304" fmla="*/ 5819 w 84817"/>
                  <a:gd name="connsiteY304" fmla="*/ 45759 h 92753"/>
                  <a:gd name="connsiteX305" fmla="*/ 7583 w 84817"/>
                  <a:gd name="connsiteY305" fmla="*/ 45759 h 92753"/>
                  <a:gd name="connsiteX306" fmla="*/ 8112 w 84817"/>
                  <a:gd name="connsiteY306" fmla="*/ 45495 h 92753"/>
                  <a:gd name="connsiteX307" fmla="*/ 8729 w 84817"/>
                  <a:gd name="connsiteY307" fmla="*/ 45759 h 92753"/>
                  <a:gd name="connsiteX308" fmla="*/ 8729 w 84817"/>
                  <a:gd name="connsiteY308" fmla="*/ 45495 h 92753"/>
                  <a:gd name="connsiteX309" fmla="*/ 9258 w 84817"/>
                  <a:gd name="connsiteY309" fmla="*/ 45759 h 92753"/>
                  <a:gd name="connsiteX310" fmla="*/ 9610 w 84817"/>
                  <a:gd name="connsiteY310" fmla="*/ 45759 h 92753"/>
                  <a:gd name="connsiteX311" fmla="*/ 10139 w 84817"/>
                  <a:gd name="connsiteY311" fmla="*/ 46377 h 92753"/>
                  <a:gd name="connsiteX312" fmla="*/ 10757 w 84817"/>
                  <a:gd name="connsiteY312" fmla="*/ 46377 h 92753"/>
                  <a:gd name="connsiteX313" fmla="*/ 11374 w 84817"/>
                  <a:gd name="connsiteY313" fmla="*/ 46377 h 92753"/>
                  <a:gd name="connsiteX314" fmla="*/ 11638 w 84817"/>
                  <a:gd name="connsiteY314" fmla="*/ 45495 h 92753"/>
                  <a:gd name="connsiteX315" fmla="*/ 12785 w 84817"/>
                  <a:gd name="connsiteY315" fmla="*/ 45230 h 92753"/>
                  <a:gd name="connsiteX316" fmla="*/ 14548 w 84817"/>
                  <a:gd name="connsiteY316" fmla="*/ 45230 h 92753"/>
                  <a:gd name="connsiteX317" fmla="*/ 15165 w 84817"/>
                  <a:gd name="connsiteY317" fmla="*/ 45759 h 92753"/>
                  <a:gd name="connsiteX318" fmla="*/ 13049 w 84817"/>
                  <a:gd name="connsiteY318" fmla="*/ 45759 h 92753"/>
                  <a:gd name="connsiteX319" fmla="*/ 12256 w 84817"/>
                  <a:gd name="connsiteY319" fmla="*/ 46024 h 92753"/>
                  <a:gd name="connsiteX320" fmla="*/ 13666 w 84817"/>
                  <a:gd name="connsiteY320" fmla="*/ 46377 h 92753"/>
                  <a:gd name="connsiteX321" fmla="*/ 14283 w 84817"/>
                  <a:gd name="connsiteY321" fmla="*/ 46024 h 92753"/>
                  <a:gd name="connsiteX322" fmla="*/ 14812 w 84817"/>
                  <a:gd name="connsiteY322" fmla="*/ 46377 h 92753"/>
                  <a:gd name="connsiteX323" fmla="*/ 13666 w 84817"/>
                  <a:gd name="connsiteY323" fmla="*/ 46906 h 92753"/>
                  <a:gd name="connsiteX324" fmla="*/ 11903 w 84817"/>
                  <a:gd name="connsiteY324" fmla="*/ 46906 h 92753"/>
                  <a:gd name="connsiteX325" fmla="*/ 11374 w 84817"/>
                  <a:gd name="connsiteY325" fmla="*/ 47787 h 92753"/>
                  <a:gd name="connsiteX326" fmla="*/ 11903 w 84817"/>
                  <a:gd name="connsiteY326" fmla="*/ 48140 h 92753"/>
                  <a:gd name="connsiteX327" fmla="*/ 12520 w 84817"/>
                  <a:gd name="connsiteY327" fmla="*/ 48140 h 92753"/>
                  <a:gd name="connsiteX328" fmla="*/ 13049 w 84817"/>
                  <a:gd name="connsiteY328" fmla="*/ 48404 h 92753"/>
                  <a:gd name="connsiteX329" fmla="*/ 14812 w 84817"/>
                  <a:gd name="connsiteY329" fmla="*/ 48140 h 92753"/>
                  <a:gd name="connsiteX330" fmla="*/ 16311 w 84817"/>
                  <a:gd name="connsiteY330" fmla="*/ 47787 h 92753"/>
                  <a:gd name="connsiteX331" fmla="*/ 16928 w 84817"/>
                  <a:gd name="connsiteY331" fmla="*/ 46906 h 92753"/>
                  <a:gd name="connsiteX332" fmla="*/ 17722 w 84817"/>
                  <a:gd name="connsiteY332" fmla="*/ 46641 h 92753"/>
                  <a:gd name="connsiteX333" fmla="*/ 18604 w 84817"/>
                  <a:gd name="connsiteY333" fmla="*/ 46906 h 92753"/>
                  <a:gd name="connsiteX334" fmla="*/ 18074 w 84817"/>
                  <a:gd name="connsiteY334" fmla="*/ 47787 h 92753"/>
                  <a:gd name="connsiteX335" fmla="*/ 17722 w 84817"/>
                  <a:gd name="connsiteY335" fmla="*/ 48140 h 92753"/>
                  <a:gd name="connsiteX336" fmla="*/ 17457 w 84817"/>
                  <a:gd name="connsiteY336" fmla="*/ 48669 h 92753"/>
                  <a:gd name="connsiteX337" fmla="*/ 18074 w 84817"/>
                  <a:gd name="connsiteY337" fmla="*/ 49022 h 92753"/>
                  <a:gd name="connsiteX338" fmla="*/ 18339 w 84817"/>
                  <a:gd name="connsiteY338" fmla="*/ 48404 h 92753"/>
                  <a:gd name="connsiteX339" fmla="*/ 18074 w 84817"/>
                  <a:gd name="connsiteY339" fmla="*/ 49551 h 92753"/>
                  <a:gd name="connsiteX340" fmla="*/ 18074 w 84817"/>
                  <a:gd name="connsiteY340" fmla="*/ 50168 h 92753"/>
                  <a:gd name="connsiteX341" fmla="*/ 20102 w 84817"/>
                  <a:gd name="connsiteY341" fmla="*/ 50168 h 92753"/>
                  <a:gd name="connsiteX342" fmla="*/ 21866 w 84817"/>
                  <a:gd name="connsiteY342" fmla="*/ 49815 h 92753"/>
                  <a:gd name="connsiteX343" fmla="*/ 24511 w 84817"/>
                  <a:gd name="connsiteY343" fmla="*/ 50168 h 92753"/>
                  <a:gd name="connsiteX344" fmla="*/ 25922 w 84817"/>
                  <a:gd name="connsiteY344" fmla="*/ 49551 h 92753"/>
                  <a:gd name="connsiteX345" fmla="*/ 26803 w 84817"/>
                  <a:gd name="connsiteY345" fmla="*/ 49551 h 92753"/>
                  <a:gd name="connsiteX346" fmla="*/ 27068 w 84817"/>
                  <a:gd name="connsiteY346" fmla="*/ 49022 h 92753"/>
                  <a:gd name="connsiteX347" fmla="*/ 27685 w 84817"/>
                  <a:gd name="connsiteY347" fmla="*/ 48404 h 92753"/>
                  <a:gd name="connsiteX348" fmla="*/ 29713 w 84817"/>
                  <a:gd name="connsiteY348" fmla="*/ 48669 h 92753"/>
                  <a:gd name="connsiteX349" fmla="*/ 30330 w 84817"/>
                  <a:gd name="connsiteY349" fmla="*/ 49022 h 92753"/>
                  <a:gd name="connsiteX350" fmla="*/ 30330 w 84817"/>
                  <a:gd name="connsiteY350" fmla="*/ 49551 h 92753"/>
                  <a:gd name="connsiteX351" fmla="*/ 29713 w 84817"/>
                  <a:gd name="connsiteY351" fmla="*/ 49815 h 92753"/>
                  <a:gd name="connsiteX352" fmla="*/ 29095 w 84817"/>
                  <a:gd name="connsiteY352" fmla="*/ 49551 h 92753"/>
                  <a:gd name="connsiteX353" fmla="*/ 29095 w 84817"/>
                  <a:gd name="connsiteY353" fmla="*/ 50168 h 92753"/>
                  <a:gd name="connsiteX354" fmla="*/ 28831 w 84817"/>
                  <a:gd name="connsiteY354" fmla="*/ 50697 h 92753"/>
                  <a:gd name="connsiteX355" fmla="*/ 30330 w 84817"/>
                  <a:gd name="connsiteY355" fmla="*/ 50168 h 92753"/>
                  <a:gd name="connsiteX356" fmla="*/ 30859 w 84817"/>
                  <a:gd name="connsiteY356" fmla="*/ 51050 h 92753"/>
                  <a:gd name="connsiteX357" fmla="*/ 30330 w 84817"/>
                  <a:gd name="connsiteY357" fmla="*/ 51314 h 92753"/>
                  <a:gd name="connsiteX358" fmla="*/ 30330 w 84817"/>
                  <a:gd name="connsiteY358" fmla="*/ 51931 h 92753"/>
                  <a:gd name="connsiteX359" fmla="*/ 28831 w 84817"/>
                  <a:gd name="connsiteY359" fmla="*/ 51579 h 92753"/>
                  <a:gd name="connsiteX360" fmla="*/ 28302 w 84817"/>
                  <a:gd name="connsiteY360" fmla="*/ 51314 h 92753"/>
                  <a:gd name="connsiteX361" fmla="*/ 27421 w 84817"/>
                  <a:gd name="connsiteY361" fmla="*/ 51314 h 92753"/>
                  <a:gd name="connsiteX362" fmla="*/ 28302 w 84817"/>
                  <a:gd name="connsiteY362" fmla="*/ 51579 h 92753"/>
                  <a:gd name="connsiteX363" fmla="*/ 29977 w 84817"/>
                  <a:gd name="connsiteY363" fmla="*/ 52196 h 92753"/>
                  <a:gd name="connsiteX364" fmla="*/ 29448 w 84817"/>
                  <a:gd name="connsiteY364" fmla="*/ 52460 h 92753"/>
                  <a:gd name="connsiteX365" fmla="*/ 28302 w 84817"/>
                  <a:gd name="connsiteY365" fmla="*/ 52196 h 92753"/>
                  <a:gd name="connsiteX366" fmla="*/ 27421 w 84817"/>
                  <a:gd name="connsiteY366" fmla="*/ 52196 h 92753"/>
                  <a:gd name="connsiteX367" fmla="*/ 26539 w 84817"/>
                  <a:gd name="connsiteY367" fmla="*/ 52196 h 92753"/>
                  <a:gd name="connsiteX368" fmla="*/ 26539 w 84817"/>
                  <a:gd name="connsiteY368" fmla="*/ 52460 h 92753"/>
                  <a:gd name="connsiteX369" fmla="*/ 27949 w 84817"/>
                  <a:gd name="connsiteY369" fmla="*/ 53342 h 92753"/>
                  <a:gd name="connsiteX370" fmla="*/ 27685 w 84817"/>
                  <a:gd name="connsiteY370" fmla="*/ 53606 h 92753"/>
                  <a:gd name="connsiteX371" fmla="*/ 27068 w 84817"/>
                  <a:gd name="connsiteY371" fmla="*/ 53959 h 92753"/>
                  <a:gd name="connsiteX372" fmla="*/ 25922 w 84817"/>
                  <a:gd name="connsiteY372" fmla="*/ 53342 h 92753"/>
                  <a:gd name="connsiteX373" fmla="*/ 25040 w 84817"/>
                  <a:gd name="connsiteY373" fmla="*/ 52725 h 92753"/>
                  <a:gd name="connsiteX374" fmla="*/ 23894 w 84817"/>
                  <a:gd name="connsiteY374" fmla="*/ 52460 h 92753"/>
                  <a:gd name="connsiteX375" fmla="*/ 23277 w 84817"/>
                  <a:gd name="connsiteY375" fmla="*/ 53959 h 92753"/>
                  <a:gd name="connsiteX376" fmla="*/ 22395 w 84817"/>
                  <a:gd name="connsiteY376" fmla="*/ 54224 h 92753"/>
                  <a:gd name="connsiteX377" fmla="*/ 21513 w 84817"/>
                  <a:gd name="connsiteY377" fmla="*/ 55370 h 92753"/>
                  <a:gd name="connsiteX378" fmla="*/ 20631 w 84817"/>
                  <a:gd name="connsiteY378" fmla="*/ 56516 h 92753"/>
                  <a:gd name="connsiteX379" fmla="*/ 19838 w 84817"/>
                  <a:gd name="connsiteY379" fmla="*/ 56869 h 92753"/>
                  <a:gd name="connsiteX380" fmla="*/ 19485 w 84817"/>
                  <a:gd name="connsiteY380" fmla="*/ 57398 h 92753"/>
                  <a:gd name="connsiteX381" fmla="*/ 20102 w 84817"/>
                  <a:gd name="connsiteY381" fmla="*/ 57398 h 92753"/>
                  <a:gd name="connsiteX382" fmla="*/ 21249 w 84817"/>
                  <a:gd name="connsiteY382" fmla="*/ 57750 h 92753"/>
                  <a:gd name="connsiteX383" fmla="*/ 22130 w 84817"/>
                  <a:gd name="connsiteY383" fmla="*/ 57750 h 92753"/>
                  <a:gd name="connsiteX384" fmla="*/ 21249 w 84817"/>
                  <a:gd name="connsiteY384" fmla="*/ 58897 h 92753"/>
                  <a:gd name="connsiteX385" fmla="*/ 20631 w 84817"/>
                  <a:gd name="connsiteY385" fmla="*/ 59514 h 92753"/>
                  <a:gd name="connsiteX386" fmla="*/ 20102 w 84817"/>
                  <a:gd name="connsiteY386" fmla="*/ 60307 h 92753"/>
                  <a:gd name="connsiteX387" fmla="*/ 19485 w 84817"/>
                  <a:gd name="connsiteY387" fmla="*/ 60924 h 92753"/>
                  <a:gd name="connsiteX388" fmla="*/ 18956 w 84817"/>
                  <a:gd name="connsiteY388" fmla="*/ 61542 h 92753"/>
                  <a:gd name="connsiteX389" fmla="*/ 19221 w 84817"/>
                  <a:gd name="connsiteY389" fmla="*/ 61806 h 92753"/>
                  <a:gd name="connsiteX390" fmla="*/ 18604 w 84817"/>
                  <a:gd name="connsiteY390" fmla="*/ 62423 h 92753"/>
                  <a:gd name="connsiteX391" fmla="*/ 17722 w 84817"/>
                  <a:gd name="connsiteY391" fmla="*/ 62423 h 92753"/>
                  <a:gd name="connsiteX392" fmla="*/ 17193 w 84817"/>
                  <a:gd name="connsiteY392" fmla="*/ 62071 h 92753"/>
                  <a:gd name="connsiteX393" fmla="*/ 15694 w 84817"/>
                  <a:gd name="connsiteY393" fmla="*/ 63834 h 92753"/>
                  <a:gd name="connsiteX394" fmla="*/ 14019 w 84817"/>
                  <a:gd name="connsiteY394" fmla="*/ 64716 h 92753"/>
                  <a:gd name="connsiteX395" fmla="*/ 13049 w 84817"/>
                  <a:gd name="connsiteY395" fmla="*/ 65862 h 92753"/>
                  <a:gd name="connsiteX396" fmla="*/ 11903 w 84817"/>
                  <a:gd name="connsiteY396" fmla="*/ 65862 h 92753"/>
                  <a:gd name="connsiteX397" fmla="*/ 10757 w 84817"/>
                  <a:gd name="connsiteY397" fmla="*/ 66479 h 92753"/>
                  <a:gd name="connsiteX398" fmla="*/ 10492 w 84817"/>
                  <a:gd name="connsiteY398" fmla="*/ 66744 h 92753"/>
                  <a:gd name="connsiteX399" fmla="*/ 10757 w 84817"/>
                  <a:gd name="connsiteY399" fmla="*/ 67096 h 92753"/>
                  <a:gd name="connsiteX400" fmla="*/ 11638 w 84817"/>
                  <a:gd name="connsiteY400" fmla="*/ 67361 h 92753"/>
                  <a:gd name="connsiteX401" fmla="*/ 12785 w 84817"/>
                  <a:gd name="connsiteY401" fmla="*/ 67096 h 92753"/>
                  <a:gd name="connsiteX402" fmla="*/ 14019 w 84817"/>
                  <a:gd name="connsiteY402" fmla="*/ 65862 h 92753"/>
                  <a:gd name="connsiteX403" fmla="*/ 15694 w 84817"/>
                  <a:gd name="connsiteY403" fmla="*/ 65597 h 92753"/>
                  <a:gd name="connsiteX404" fmla="*/ 16928 w 84817"/>
                  <a:gd name="connsiteY404" fmla="*/ 64716 h 92753"/>
                  <a:gd name="connsiteX405" fmla="*/ 17193 w 84817"/>
                  <a:gd name="connsiteY405" fmla="*/ 64187 h 92753"/>
                  <a:gd name="connsiteX406" fmla="*/ 16928 w 84817"/>
                  <a:gd name="connsiteY406" fmla="*/ 63834 h 92753"/>
                  <a:gd name="connsiteX407" fmla="*/ 17193 w 84817"/>
                  <a:gd name="connsiteY407" fmla="*/ 63569 h 92753"/>
                  <a:gd name="connsiteX408" fmla="*/ 17457 w 84817"/>
                  <a:gd name="connsiteY408" fmla="*/ 63834 h 92753"/>
                  <a:gd name="connsiteX409" fmla="*/ 17722 w 84817"/>
                  <a:gd name="connsiteY409" fmla="*/ 64716 h 92753"/>
                  <a:gd name="connsiteX410" fmla="*/ 20367 w 84817"/>
                  <a:gd name="connsiteY410" fmla="*/ 65333 h 92753"/>
                  <a:gd name="connsiteX411" fmla="*/ 22747 w 84817"/>
                  <a:gd name="connsiteY411" fmla="*/ 65333 h 92753"/>
                  <a:gd name="connsiteX412" fmla="*/ 24158 w 84817"/>
                  <a:gd name="connsiteY412" fmla="*/ 64716 h 92753"/>
                  <a:gd name="connsiteX413" fmla="*/ 26186 w 84817"/>
                  <a:gd name="connsiteY413" fmla="*/ 64451 h 92753"/>
                  <a:gd name="connsiteX414" fmla="*/ 26803 w 84817"/>
                  <a:gd name="connsiteY414" fmla="*/ 63569 h 92753"/>
                  <a:gd name="connsiteX415" fmla="*/ 27685 w 84817"/>
                  <a:gd name="connsiteY415" fmla="*/ 62423 h 92753"/>
                  <a:gd name="connsiteX416" fmla="*/ 28566 w 84817"/>
                  <a:gd name="connsiteY416" fmla="*/ 61542 h 92753"/>
                  <a:gd name="connsiteX417" fmla="*/ 29448 w 84817"/>
                  <a:gd name="connsiteY417" fmla="*/ 61542 h 92753"/>
                  <a:gd name="connsiteX418" fmla="*/ 29713 w 84817"/>
                  <a:gd name="connsiteY418" fmla="*/ 62071 h 92753"/>
                  <a:gd name="connsiteX419" fmla="*/ 29448 w 84817"/>
                  <a:gd name="connsiteY419" fmla="*/ 63305 h 92753"/>
                  <a:gd name="connsiteX420" fmla="*/ 30330 w 84817"/>
                  <a:gd name="connsiteY420" fmla="*/ 63305 h 92753"/>
                  <a:gd name="connsiteX421" fmla="*/ 32358 w 84817"/>
                  <a:gd name="connsiteY421" fmla="*/ 63569 h 92753"/>
                  <a:gd name="connsiteX422" fmla="*/ 33239 w 84817"/>
                  <a:gd name="connsiteY422" fmla="*/ 63834 h 92753"/>
                  <a:gd name="connsiteX423" fmla="*/ 32358 w 84817"/>
                  <a:gd name="connsiteY423" fmla="*/ 64187 h 92753"/>
                  <a:gd name="connsiteX424" fmla="*/ 30330 w 84817"/>
                  <a:gd name="connsiteY424" fmla="*/ 63569 h 92753"/>
                  <a:gd name="connsiteX425" fmla="*/ 29713 w 84817"/>
                  <a:gd name="connsiteY425" fmla="*/ 64187 h 92753"/>
                  <a:gd name="connsiteX426" fmla="*/ 29095 w 84817"/>
                  <a:gd name="connsiteY426" fmla="*/ 64187 h 92753"/>
                  <a:gd name="connsiteX427" fmla="*/ 28566 w 84817"/>
                  <a:gd name="connsiteY427" fmla="*/ 64980 h 92753"/>
                  <a:gd name="connsiteX428" fmla="*/ 27685 w 84817"/>
                  <a:gd name="connsiteY428" fmla="*/ 64716 h 92753"/>
                  <a:gd name="connsiteX429" fmla="*/ 25922 w 84817"/>
                  <a:gd name="connsiteY429" fmla="*/ 65333 h 92753"/>
                  <a:gd name="connsiteX430" fmla="*/ 23012 w 84817"/>
                  <a:gd name="connsiteY430" fmla="*/ 66215 h 92753"/>
                  <a:gd name="connsiteX431" fmla="*/ 20102 w 84817"/>
                  <a:gd name="connsiteY431" fmla="*/ 65862 h 92753"/>
                  <a:gd name="connsiteX432" fmla="*/ 18956 w 84817"/>
                  <a:gd name="connsiteY432" fmla="*/ 66479 h 92753"/>
                  <a:gd name="connsiteX433" fmla="*/ 16311 w 84817"/>
                  <a:gd name="connsiteY433" fmla="*/ 66479 h 92753"/>
                  <a:gd name="connsiteX434" fmla="*/ 15694 w 84817"/>
                  <a:gd name="connsiteY434" fmla="*/ 67096 h 92753"/>
                  <a:gd name="connsiteX435" fmla="*/ 15694 w 84817"/>
                  <a:gd name="connsiteY435" fmla="*/ 68242 h 92753"/>
                  <a:gd name="connsiteX436" fmla="*/ 16576 w 84817"/>
                  <a:gd name="connsiteY436" fmla="*/ 68771 h 92753"/>
                  <a:gd name="connsiteX437" fmla="*/ 14548 w 84817"/>
                  <a:gd name="connsiteY437" fmla="*/ 68507 h 92753"/>
                  <a:gd name="connsiteX438" fmla="*/ 13401 w 84817"/>
                  <a:gd name="connsiteY438" fmla="*/ 69389 h 92753"/>
                  <a:gd name="connsiteX439" fmla="*/ 12785 w 84817"/>
                  <a:gd name="connsiteY439" fmla="*/ 69653 h 92753"/>
                  <a:gd name="connsiteX440" fmla="*/ 11638 w 84817"/>
                  <a:gd name="connsiteY440" fmla="*/ 69389 h 92753"/>
                  <a:gd name="connsiteX441" fmla="*/ 10492 w 84817"/>
                  <a:gd name="connsiteY441" fmla="*/ 70270 h 92753"/>
                  <a:gd name="connsiteX442" fmla="*/ 10139 w 84817"/>
                  <a:gd name="connsiteY442" fmla="*/ 70535 h 92753"/>
                  <a:gd name="connsiteX443" fmla="*/ 10139 w 84817"/>
                  <a:gd name="connsiteY443" fmla="*/ 71152 h 92753"/>
                  <a:gd name="connsiteX444" fmla="*/ 11021 w 84817"/>
                  <a:gd name="connsiteY444" fmla="*/ 70535 h 92753"/>
                  <a:gd name="connsiteX445" fmla="*/ 11021 w 84817"/>
                  <a:gd name="connsiteY445" fmla="*/ 71152 h 92753"/>
                  <a:gd name="connsiteX446" fmla="*/ 11021 w 84817"/>
                  <a:gd name="connsiteY446" fmla="*/ 72034 h 92753"/>
                  <a:gd name="connsiteX447" fmla="*/ 11021 w 84817"/>
                  <a:gd name="connsiteY447" fmla="*/ 72298 h 92753"/>
                  <a:gd name="connsiteX448" fmla="*/ 11021 w 84817"/>
                  <a:gd name="connsiteY448" fmla="*/ 72563 h 92753"/>
                  <a:gd name="connsiteX449" fmla="*/ 10492 w 84817"/>
                  <a:gd name="connsiteY449" fmla="*/ 72563 h 92753"/>
                  <a:gd name="connsiteX450" fmla="*/ 9875 w 84817"/>
                  <a:gd name="connsiteY450" fmla="*/ 72915 h 92753"/>
                  <a:gd name="connsiteX451" fmla="*/ 10492 w 84817"/>
                  <a:gd name="connsiteY451" fmla="*/ 73180 h 92753"/>
                  <a:gd name="connsiteX452" fmla="*/ 12520 w 84817"/>
                  <a:gd name="connsiteY452" fmla="*/ 72563 h 92753"/>
                  <a:gd name="connsiteX453" fmla="*/ 13049 w 84817"/>
                  <a:gd name="connsiteY453" fmla="*/ 73180 h 92753"/>
                  <a:gd name="connsiteX454" fmla="*/ 13401 w 84817"/>
                  <a:gd name="connsiteY454" fmla="*/ 73444 h 92753"/>
                  <a:gd name="connsiteX455" fmla="*/ 13049 w 84817"/>
                  <a:gd name="connsiteY455" fmla="*/ 74326 h 92753"/>
                  <a:gd name="connsiteX456" fmla="*/ 13049 w 84817"/>
                  <a:gd name="connsiteY456" fmla="*/ 74943 h 92753"/>
                  <a:gd name="connsiteX457" fmla="*/ 12520 w 84817"/>
                  <a:gd name="connsiteY457" fmla="*/ 74943 h 92753"/>
                  <a:gd name="connsiteX458" fmla="*/ 12520 w 84817"/>
                  <a:gd name="connsiteY458" fmla="*/ 74326 h 92753"/>
                  <a:gd name="connsiteX459" fmla="*/ 11638 w 84817"/>
                  <a:gd name="connsiteY459" fmla="*/ 74943 h 92753"/>
                  <a:gd name="connsiteX460" fmla="*/ 10139 w 84817"/>
                  <a:gd name="connsiteY460" fmla="*/ 74943 h 92753"/>
                  <a:gd name="connsiteX461" fmla="*/ 9875 w 84817"/>
                  <a:gd name="connsiteY461" fmla="*/ 74943 h 92753"/>
                  <a:gd name="connsiteX462" fmla="*/ 8729 w 84817"/>
                  <a:gd name="connsiteY462" fmla="*/ 74679 h 92753"/>
                  <a:gd name="connsiteX463" fmla="*/ 7847 w 84817"/>
                  <a:gd name="connsiteY463" fmla="*/ 73180 h 92753"/>
                  <a:gd name="connsiteX464" fmla="*/ 7583 w 84817"/>
                  <a:gd name="connsiteY464" fmla="*/ 72563 h 92753"/>
                  <a:gd name="connsiteX465" fmla="*/ 7230 w 84817"/>
                  <a:gd name="connsiteY465" fmla="*/ 72298 h 92753"/>
                  <a:gd name="connsiteX466" fmla="*/ 6965 w 84817"/>
                  <a:gd name="connsiteY466" fmla="*/ 72563 h 92753"/>
                  <a:gd name="connsiteX467" fmla="*/ 7583 w 84817"/>
                  <a:gd name="connsiteY467" fmla="*/ 73180 h 92753"/>
                  <a:gd name="connsiteX468" fmla="*/ 7583 w 84817"/>
                  <a:gd name="connsiteY468" fmla="*/ 74062 h 92753"/>
                  <a:gd name="connsiteX469" fmla="*/ 6965 w 84817"/>
                  <a:gd name="connsiteY469" fmla="*/ 74062 h 92753"/>
                  <a:gd name="connsiteX470" fmla="*/ 6084 w 84817"/>
                  <a:gd name="connsiteY470" fmla="*/ 74679 h 92753"/>
                  <a:gd name="connsiteX471" fmla="*/ 5819 w 84817"/>
                  <a:gd name="connsiteY471" fmla="*/ 74326 h 92753"/>
                  <a:gd name="connsiteX472" fmla="*/ 6084 w 84817"/>
                  <a:gd name="connsiteY472" fmla="*/ 73180 h 92753"/>
                  <a:gd name="connsiteX473" fmla="*/ 3174 w 84817"/>
                  <a:gd name="connsiteY473" fmla="*/ 74326 h 92753"/>
                  <a:gd name="connsiteX474" fmla="*/ 2028 w 84817"/>
                  <a:gd name="connsiteY474" fmla="*/ 74679 h 92753"/>
                  <a:gd name="connsiteX475" fmla="*/ 2028 w 84817"/>
                  <a:gd name="connsiteY475" fmla="*/ 74943 h 92753"/>
                  <a:gd name="connsiteX476" fmla="*/ 1675 w 84817"/>
                  <a:gd name="connsiteY476" fmla="*/ 75560 h 92753"/>
                  <a:gd name="connsiteX477" fmla="*/ 2028 w 84817"/>
                  <a:gd name="connsiteY477" fmla="*/ 75825 h 92753"/>
                  <a:gd name="connsiteX478" fmla="*/ 1146 w 84817"/>
                  <a:gd name="connsiteY478" fmla="*/ 75825 h 92753"/>
                  <a:gd name="connsiteX479" fmla="*/ 1146 w 84817"/>
                  <a:gd name="connsiteY479" fmla="*/ 75208 h 92753"/>
                  <a:gd name="connsiteX480" fmla="*/ 0 w 84817"/>
                  <a:gd name="connsiteY480" fmla="*/ 75825 h 92753"/>
                  <a:gd name="connsiteX481" fmla="*/ 0 w 84817"/>
                  <a:gd name="connsiteY481" fmla="*/ 76354 h 92753"/>
                  <a:gd name="connsiteX482" fmla="*/ 529 w 84817"/>
                  <a:gd name="connsiteY482" fmla="*/ 76354 h 92753"/>
                  <a:gd name="connsiteX483" fmla="*/ 0 w 84817"/>
                  <a:gd name="connsiteY483" fmla="*/ 76707 h 92753"/>
                  <a:gd name="connsiteX484" fmla="*/ 264 w 84817"/>
                  <a:gd name="connsiteY484" fmla="*/ 76971 h 92753"/>
                  <a:gd name="connsiteX485" fmla="*/ 0 w 84817"/>
                  <a:gd name="connsiteY485" fmla="*/ 77588 h 92753"/>
                  <a:gd name="connsiteX486" fmla="*/ 0 w 84817"/>
                  <a:gd name="connsiteY486" fmla="*/ 77853 h 92753"/>
                  <a:gd name="connsiteX487" fmla="*/ 529 w 84817"/>
                  <a:gd name="connsiteY487" fmla="*/ 78117 h 92753"/>
                  <a:gd name="connsiteX488" fmla="*/ 529 w 84817"/>
                  <a:gd name="connsiteY488" fmla="*/ 77588 h 92753"/>
                  <a:gd name="connsiteX489" fmla="*/ 793 w 84817"/>
                  <a:gd name="connsiteY489" fmla="*/ 77324 h 92753"/>
                  <a:gd name="connsiteX490" fmla="*/ 1675 w 84817"/>
                  <a:gd name="connsiteY490" fmla="*/ 77324 h 92753"/>
                  <a:gd name="connsiteX491" fmla="*/ 793 w 84817"/>
                  <a:gd name="connsiteY491" fmla="*/ 77588 h 92753"/>
                  <a:gd name="connsiteX492" fmla="*/ 2028 w 84817"/>
                  <a:gd name="connsiteY492" fmla="*/ 77853 h 92753"/>
                  <a:gd name="connsiteX493" fmla="*/ 3174 w 84817"/>
                  <a:gd name="connsiteY493" fmla="*/ 77853 h 92753"/>
                  <a:gd name="connsiteX494" fmla="*/ 3439 w 84817"/>
                  <a:gd name="connsiteY494" fmla="*/ 77324 h 92753"/>
                  <a:gd name="connsiteX495" fmla="*/ 4056 w 84817"/>
                  <a:gd name="connsiteY495" fmla="*/ 77324 h 92753"/>
                  <a:gd name="connsiteX496" fmla="*/ 4673 w 84817"/>
                  <a:gd name="connsiteY496" fmla="*/ 77324 h 92753"/>
                  <a:gd name="connsiteX497" fmla="*/ 8112 w 84817"/>
                  <a:gd name="connsiteY497" fmla="*/ 76971 h 92753"/>
                  <a:gd name="connsiteX498" fmla="*/ 8729 w 84817"/>
                  <a:gd name="connsiteY498" fmla="*/ 77324 h 92753"/>
                  <a:gd name="connsiteX499" fmla="*/ 8993 w 84817"/>
                  <a:gd name="connsiteY499" fmla="*/ 76707 h 92753"/>
                  <a:gd name="connsiteX500" fmla="*/ 9258 w 84817"/>
                  <a:gd name="connsiteY500" fmla="*/ 76971 h 92753"/>
                  <a:gd name="connsiteX501" fmla="*/ 9610 w 84817"/>
                  <a:gd name="connsiteY501" fmla="*/ 76707 h 92753"/>
                  <a:gd name="connsiteX502" fmla="*/ 10139 w 84817"/>
                  <a:gd name="connsiteY502" fmla="*/ 76707 h 92753"/>
                  <a:gd name="connsiteX503" fmla="*/ 12256 w 84817"/>
                  <a:gd name="connsiteY503" fmla="*/ 76971 h 92753"/>
                  <a:gd name="connsiteX504" fmla="*/ 12785 w 84817"/>
                  <a:gd name="connsiteY504" fmla="*/ 77588 h 92753"/>
                  <a:gd name="connsiteX505" fmla="*/ 12785 w 84817"/>
                  <a:gd name="connsiteY505" fmla="*/ 77853 h 92753"/>
                  <a:gd name="connsiteX506" fmla="*/ 12256 w 84817"/>
                  <a:gd name="connsiteY506" fmla="*/ 77853 h 92753"/>
                  <a:gd name="connsiteX507" fmla="*/ 10139 w 84817"/>
                  <a:gd name="connsiteY507" fmla="*/ 77588 h 92753"/>
                  <a:gd name="connsiteX508" fmla="*/ 9875 w 84817"/>
                  <a:gd name="connsiteY508" fmla="*/ 78734 h 92753"/>
                  <a:gd name="connsiteX509" fmla="*/ 9610 w 84817"/>
                  <a:gd name="connsiteY509" fmla="*/ 78117 h 92753"/>
                  <a:gd name="connsiteX510" fmla="*/ 8993 w 84817"/>
                  <a:gd name="connsiteY510" fmla="*/ 78734 h 92753"/>
                  <a:gd name="connsiteX511" fmla="*/ 6348 w 84817"/>
                  <a:gd name="connsiteY511" fmla="*/ 78999 h 92753"/>
                  <a:gd name="connsiteX512" fmla="*/ 6084 w 84817"/>
                  <a:gd name="connsiteY512" fmla="*/ 79616 h 92753"/>
                  <a:gd name="connsiteX513" fmla="*/ 3174 w 84817"/>
                  <a:gd name="connsiteY513" fmla="*/ 80498 h 92753"/>
                  <a:gd name="connsiteX514" fmla="*/ 3439 w 84817"/>
                  <a:gd name="connsiteY514" fmla="*/ 80762 h 92753"/>
                  <a:gd name="connsiteX515" fmla="*/ 3174 w 84817"/>
                  <a:gd name="connsiteY515" fmla="*/ 81027 h 92753"/>
                  <a:gd name="connsiteX516" fmla="*/ 2909 w 84817"/>
                  <a:gd name="connsiteY516" fmla="*/ 81027 h 92753"/>
                  <a:gd name="connsiteX517" fmla="*/ 3174 w 84817"/>
                  <a:gd name="connsiteY517" fmla="*/ 81644 h 92753"/>
                  <a:gd name="connsiteX518" fmla="*/ 3174 w 84817"/>
                  <a:gd name="connsiteY518" fmla="*/ 82261 h 92753"/>
                  <a:gd name="connsiteX519" fmla="*/ 2292 w 84817"/>
                  <a:gd name="connsiteY519" fmla="*/ 82790 h 92753"/>
                  <a:gd name="connsiteX520" fmla="*/ 1411 w 84817"/>
                  <a:gd name="connsiteY520" fmla="*/ 82526 h 92753"/>
                  <a:gd name="connsiteX521" fmla="*/ 793 w 84817"/>
                  <a:gd name="connsiteY521" fmla="*/ 82790 h 92753"/>
                  <a:gd name="connsiteX522" fmla="*/ 1411 w 84817"/>
                  <a:gd name="connsiteY522" fmla="*/ 83407 h 92753"/>
                  <a:gd name="connsiteX523" fmla="*/ 2028 w 84817"/>
                  <a:gd name="connsiteY523" fmla="*/ 83672 h 92753"/>
                  <a:gd name="connsiteX524" fmla="*/ 2028 w 84817"/>
                  <a:gd name="connsiteY524" fmla="*/ 84818 h 92753"/>
                  <a:gd name="connsiteX525" fmla="*/ 3174 w 84817"/>
                  <a:gd name="connsiteY525" fmla="*/ 84289 h 92753"/>
                  <a:gd name="connsiteX526" fmla="*/ 3439 w 84817"/>
                  <a:gd name="connsiteY526" fmla="*/ 82790 h 92753"/>
                  <a:gd name="connsiteX527" fmla="*/ 4937 w 84817"/>
                  <a:gd name="connsiteY527" fmla="*/ 83143 h 92753"/>
                  <a:gd name="connsiteX528" fmla="*/ 5819 w 84817"/>
                  <a:gd name="connsiteY528" fmla="*/ 84289 h 92753"/>
                  <a:gd name="connsiteX529" fmla="*/ 3791 w 84817"/>
                  <a:gd name="connsiteY529" fmla="*/ 85171 h 92753"/>
                  <a:gd name="connsiteX530" fmla="*/ 3174 w 84817"/>
                  <a:gd name="connsiteY530" fmla="*/ 85700 h 92753"/>
                  <a:gd name="connsiteX531" fmla="*/ 5819 w 84817"/>
                  <a:gd name="connsiteY531" fmla="*/ 85171 h 92753"/>
                  <a:gd name="connsiteX532" fmla="*/ 6348 w 84817"/>
                  <a:gd name="connsiteY532" fmla="*/ 85700 h 92753"/>
                  <a:gd name="connsiteX533" fmla="*/ 6965 w 84817"/>
                  <a:gd name="connsiteY533" fmla="*/ 85435 h 92753"/>
                  <a:gd name="connsiteX534" fmla="*/ 8729 w 84817"/>
                  <a:gd name="connsiteY534" fmla="*/ 84818 h 92753"/>
                  <a:gd name="connsiteX535" fmla="*/ 9258 w 84817"/>
                  <a:gd name="connsiteY535" fmla="*/ 84554 h 92753"/>
                  <a:gd name="connsiteX536" fmla="*/ 9610 w 84817"/>
                  <a:gd name="connsiteY536" fmla="*/ 84818 h 92753"/>
                  <a:gd name="connsiteX537" fmla="*/ 10492 w 84817"/>
                  <a:gd name="connsiteY537" fmla="*/ 84289 h 92753"/>
                  <a:gd name="connsiteX538" fmla="*/ 10757 w 84817"/>
                  <a:gd name="connsiteY538" fmla="*/ 84554 h 92753"/>
                  <a:gd name="connsiteX539" fmla="*/ 12256 w 84817"/>
                  <a:gd name="connsiteY539" fmla="*/ 84289 h 92753"/>
                  <a:gd name="connsiteX540" fmla="*/ 13049 w 84817"/>
                  <a:gd name="connsiteY540" fmla="*/ 83672 h 92753"/>
                  <a:gd name="connsiteX541" fmla="*/ 14812 w 84817"/>
                  <a:gd name="connsiteY541" fmla="*/ 82790 h 92753"/>
                  <a:gd name="connsiteX542" fmla="*/ 15694 w 84817"/>
                  <a:gd name="connsiteY542" fmla="*/ 82790 h 92753"/>
                  <a:gd name="connsiteX543" fmla="*/ 14283 w 84817"/>
                  <a:gd name="connsiteY543" fmla="*/ 84025 h 92753"/>
                  <a:gd name="connsiteX544" fmla="*/ 12785 w 84817"/>
                  <a:gd name="connsiteY544" fmla="*/ 84818 h 92753"/>
                  <a:gd name="connsiteX545" fmla="*/ 11903 w 84817"/>
                  <a:gd name="connsiteY545" fmla="*/ 85171 h 92753"/>
                  <a:gd name="connsiteX546" fmla="*/ 11903 w 84817"/>
                  <a:gd name="connsiteY546" fmla="*/ 85700 h 92753"/>
                  <a:gd name="connsiteX547" fmla="*/ 10139 w 84817"/>
                  <a:gd name="connsiteY547" fmla="*/ 85171 h 92753"/>
                  <a:gd name="connsiteX548" fmla="*/ 9610 w 84817"/>
                  <a:gd name="connsiteY548" fmla="*/ 85700 h 92753"/>
                  <a:gd name="connsiteX549" fmla="*/ 9610 w 84817"/>
                  <a:gd name="connsiteY549" fmla="*/ 85171 h 92753"/>
                  <a:gd name="connsiteX550" fmla="*/ 9258 w 84817"/>
                  <a:gd name="connsiteY550" fmla="*/ 85435 h 92753"/>
                  <a:gd name="connsiteX551" fmla="*/ 8464 w 84817"/>
                  <a:gd name="connsiteY551" fmla="*/ 85700 h 92753"/>
                  <a:gd name="connsiteX552" fmla="*/ 8112 w 84817"/>
                  <a:gd name="connsiteY552" fmla="*/ 86052 h 92753"/>
                  <a:gd name="connsiteX553" fmla="*/ 8464 w 84817"/>
                  <a:gd name="connsiteY553" fmla="*/ 86317 h 92753"/>
                  <a:gd name="connsiteX554" fmla="*/ 8993 w 84817"/>
                  <a:gd name="connsiteY554" fmla="*/ 86317 h 92753"/>
                  <a:gd name="connsiteX555" fmla="*/ 8993 w 84817"/>
                  <a:gd name="connsiteY555" fmla="*/ 87199 h 92753"/>
                  <a:gd name="connsiteX556" fmla="*/ 8464 w 84817"/>
                  <a:gd name="connsiteY556" fmla="*/ 87816 h 92753"/>
                  <a:gd name="connsiteX557" fmla="*/ 6348 w 84817"/>
                  <a:gd name="connsiteY557" fmla="*/ 86934 h 92753"/>
                  <a:gd name="connsiteX558" fmla="*/ 6084 w 84817"/>
                  <a:gd name="connsiteY558" fmla="*/ 87816 h 92753"/>
                  <a:gd name="connsiteX559" fmla="*/ 6084 w 84817"/>
                  <a:gd name="connsiteY559" fmla="*/ 88080 h 92753"/>
                  <a:gd name="connsiteX560" fmla="*/ 6348 w 84817"/>
                  <a:gd name="connsiteY560" fmla="*/ 88345 h 92753"/>
                  <a:gd name="connsiteX561" fmla="*/ 6084 w 84817"/>
                  <a:gd name="connsiteY561" fmla="*/ 88962 h 92753"/>
                  <a:gd name="connsiteX562" fmla="*/ 5466 w 84817"/>
                  <a:gd name="connsiteY562" fmla="*/ 88609 h 92753"/>
                  <a:gd name="connsiteX563" fmla="*/ 5466 w 84817"/>
                  <a:gd name="connsiteY563" fmla="*/ 88962 h 92753"/>
                  <a:gd name="connsiteX564" fmla="*/ 5466 w 84817"/>
                  <a:gd name="connsiteY564" fmla="*/ 89226 h 92753"/>
                  <a:gd name="connsiteX565" fmla="*/ 5819 w 84817"/>
                  <a:gd name="connsiteY565" fmla="*/ 89491 h 92753"/>
                  <a:gd name="connsiteX566" fmla="*/ 6084 w 84817"/>
                  <a:gd name="connsiteY566" fmla="*/ 89226 h 92753"/>
                  <a:gd name="connsiteX567" fmla="*/ 6348 w 84817"/>
                  <a:gd name="connsiteY567" fmla="*/ 89226 h 92753"/>
                  <a:gd name="connsiteX568" fmla="*/ 7583 w 84817"/>
                  <a:gd name="connsiteY568" fmla="*/ 89226 h 92753"/>
                  <a:gd name="connsiteX569" fmla="*/ 8993 w 84817"/>
                  <a:gd name="connsiteY569" fmla="*/ 88962 h 92753"/>
                  <a:gd name="connsiteX570" fmla="*/ 9258 w 84817"/>
                  <a:gd name="connsiteY570" fmla="*/ 88080 h 92753"/>
                  <a:gd name="connsiteX571" fmla="*/ 11021 w 84817"/>
                  <a:gd name="connsiteY571" fmla="*/ 88080 h 92753"/>
                  <a:gd name="connsiteX572" fmla="*/ 12520 w 84817"/>
                  <a:gd name="connsiteY572" fmla="*/ 87463 h 92753"/>
                  <a:gd name="connsiteX573" fmla="*/ 14283 w 84817"/>
                  <a:gd name="connsiteY573" fmla="*/ 87816 h 92753"/>
                  <a:gd name="connsiteX574" fmla="*/ 15694 w 84817"/>
                  <a:gd name="connsiteY574" fmla="*/ 87816 h 92753"/>
                  <a:gd name="connsiteX575" fmla="*/ 15165 w 84817"/>
                  <a:gd name="connsiteY575" fmla="*/ 86581 h 92753"/>
                  <a:gd name="connsiteX576" fmla="*/ 15694 w 84817"/>
                  <a:gd name="connsiteY576" fmla="*/ 85700 h 92753"/>
                  <a:gd name="connsiteX577" fmla="*/ 15694 w 84817"/>
                  <a:gd name="connsiteY577" fmla="*/ 85171 h 92753"/>
                  <a:gd name="connsiteX578" fmla="*/ 16311 w 84817"/>
                  <a:gd name="connsiteY578" fmla="*/ 85700 h 92753"/>
                  <a:gd name="connsiteX579" fmla="*/ 18074 w 84817"/>
                  <a:gd name="connsiteY579" fmla="*/ 86317 h 92753"/>
                  <a:gd name="connsiteX580" fmla="*/ 18604 w 84817"/>
                  <a:gd name="connsiteY580" fmla="*/ 86317 h 92753"/>
                  <a:gd name="connsiteX581" fmla="*/ 19221 w 84817"/>
                  <a:gd name="connsiteY581" fmla="*/ 86934 h 92753"/>
                  <a:gd name="connsiteX582" fmla="*/ 18604 w 84817"/>
                  <a:gd name="connsiteY582" fmla="*/ 87816 h 92753"/>
                  <a:gd name="connsiteX583" fmla="*/ 17722 w 84817"/>
                  <a:gd name="connsiteY583" fmla="*/ 87816 h 92753"/>
                  <a:gd name="connsiteX584" fmla="*/ 16311 w 84817"/>
                  <a:gd name="connsiteY584" fmla="*/ 88080 h 92753"/>
                  <a:gd name="connsiteX585" fmla="*/ 14812 w 84817"/>
                  <a:gd name="connsiteY585" fmla="*/ 88609 h 92753"/>
                  <a:gd name="connsiteX586" fmla="*/ 13401 w 84817"/>
                  <a:gd name="connsiteY586" fmla="*/ 88609 h 92753"/>
                  <a:gd name="connsiteX587" fmla="*/ 13049 w 84817"/>
                  <a:gd name="connsiteY587" fmla="*/ 89491 h 92753"/>
                  <a:gd name="connsiteX588" fmla="*/ 12520 w 84817"/>
                  <a:gd name="connsiteY588" fmla="*/ 89491 h 92753"/>
                  <a:gd name="connsiteX589" fmla="*/ 12256 w 84817"/>
                  <a:gd name="connsiteY589" fmla="*/ 90108 h 92753"/>
                  <a:gd name="connsiteX590" fmla="*/ 15694 w 84817"/>
                  <a:gd name="connsiteY590" fmla="*/ 88962 h 92753"/>
                  <a:gd name="connsiteX591" fmla="*/ 14548 w 84817"/>
                  <a:gd name="connsiteY591" fmla="*/ 90108 h 92753"/>
                  <a:gd name="connsiteX592" fmla="*/ 13049 w 84817"/>
                  <a:gd name="connsiteY592" fmla="*/ 90373 h 92753"/>
                  <a:gd name="connsiteX593" fmla="*/ 12256 w 84817"/>
                  <a:gd name="connsiteY593" fmla="*/ 91254 h 92753"/>
                  <a:gd name="connsiteX594" fmla="*/ 10492 w 84817"/>
                  <a:gd name="connsiteY594" fmla="*/ 91254 h 92753"/>
                  <a:gd name="connsiteX595" fmla="*/ 9875 w 84817"/>
                  <a:gd name="connsiteY595" fmla="*/ 91872 h 92753"/>
                  <a:gd name="connsiteX596" fmla="*/ 9875 w 84817"/>
                  <a:gd name="connsiteY596" fmla="*/ 92136 h 92753"/>
                  <a:gd name="connsiteX597" fmla="*/ 11374 w 84817"/>
                  <a:gd name="connsiteY597" fmla="*/ 92401 h 92753"/>
                  <a:gd name="connsiteX598" fmla="*/ 11638 w 84817"/>
                  <a:gd name="connsiteY598" fmla="*/ 92753 h 92753"/>
                  <a:gd name="connsiteX599" fmla="*/ 11903 w 84817"/>
                  <a:gd name="connsiteY599" fmla="*/ 92401 h 92753"/>
                  <a:gd name="connsiteX600" fmla="*/ 12520 w 84817"/>
                  <a:gd name="connsiteY600" fmla="*/ 92401 h 92753"/>
                  <a:gd name="connsiteX601" fmla="*/ 12256 w 84817"/>
                  <a:gd name="connsiteY601" fmla="*/ 91872 h 92753"/>
                  <a:gd name="connsiteX602" fmla="*/ 13401 w 84817"/>
                  <a:gd name="connsiteY602" fmla="*/ 92136 h 92753"/>
                  <a:gd name="connsiteX603" fmla="*/ 14283 w 84817"/>
                  <a:gd name="connsiteY603" fmla="*/ 91254 h 92753"/>
                  <a:gd name="connsiteX604" fmla="*/ 14812 w 84817"/>
                  <a:gd name="connsiteY604" fmla="*/ 91872 h 92753"/>
                  <a:gd name="connsiteX605" fmla="*/ 15429 w 84817"/>
                  <a:gd name="connsiteY605" fmla="*/ 91872 h 92753"/>
                  <a:gd name="connsiteX606" fmla="*/ 15429 w 84817"/>
                  <a:gd name="connsiteY606" fmla="*/ 91254 h 92753"/>
                  <a:gd name="connsiteX607" fmla="*/ 16047 w 84817"/>
                  <a:gd name="connsiteY607" fmla="*/ 91254 h 92753"/>
                  <a:gd name="connsiteX608" fmla="*/ 16928 w 84817"/>
                  <a:gd name="connsiteY608" fmla="*/ 91607 h 92753"/>
                  <a:gd name="connsiteX609" fmla="*/ 18339 w 84817"/>
                  <a:gd name="connsiteY609" fmla="*/ 91254 h 92753"/>
                  <a:gd name="connsiteX610" fmla="*/ 18339 w 84817"/>
                  <a:gd name="connsiteY610" fmla="*/ 90108 h 92753"/>
                  <a:gd name="connsiteX611" fmla="*/ 18956 w 84817"/>
                  <a:gd name="connsiteY611" fmla="*/ 90108 h 92753"/>
                  <a:gd name="connsiteX612" fmla="*/ 19485 w 84817"/>
                  <a:gd name="connsiteY612" fmla="*/ 90990 h 92753"/>
                  <a:gd name="connsiteX613" fmla="*/ 18604 w 84817"/>
                  <a:gd name="connsiteY613" fmla="*/ 91872 h 92753"/>
                  <a:gd name="connsiteX614" fmla="*/ 18604 w 84817"/>
                  <a:gd name="connsiteY614" fmla="*/ 92401 h 92753"/>
                  <a:gd name="connsiteX615" fmla="*/ 19485 w 84817"/>
                  <a:gd name="connsiteY615" fmla="*/ 92401 h 92753"/>
                  <a:gd name="connsiteX616" fmla="*/ 19838 w 84817"/>
                  <a:gd name="connsiteY616" fmla="*/ 92753 h 92753"/>
                  <a:gd name="connsiteX617" fmla="*/ 20367 w 84817"/>
                  <a:gd name="connsiteY617" fmla="*/ 92401 h 92753"/>
                  <a:gd name="connsiteX618" fmla="*/ 20984 w 84817"/>
                  <a:gd name="connsiteY618" fmla="*/ 91872 h 92753"/>
                  <a:gd name="connsiteX619" fmla="*/ 21249 w 84817"/>
                  <a:gd name="connsiteY619" fmla="*/ 91607 h 92753"/>
                  <a:gd name="connsiteX620" fmla="*/ 22747 w 84817"/>
                  <a:gd name="connsiteY620" fmla="*/ 91872 h 92753"/>
                  <a:gd name="connsiteX621" fmla="*/ 23277 w 84817"/>
                  <a:gd name="connsiteY621" fmla="*/ 92136 h 92753"/>
                  <a:gd name="connsiteX622" fmla="*/ 23541 w 84817"/>
                  <a:gd name="connsiteY622" fmla="*/ 91872 h 92753"/>
                  <a:gd name="connsiteX623" fmla="*/ 23541 w 84817"/>
                  <a:gd name="connsiteY623" fmla="*/ 91254 h 92753"/>
                  <a:gd name="connsiteX624" fmla="*/ 23894 w 84817"/>
                  <a:gd name="connsiteY624" fmla="*/ 90990 h 92753"/>
                  <a:gd name="connsiteX625" fmla="*/ 24775 w 84817"/>
                  <a:gd name="connsiteY625" fmla="*/ 91254 h 92753"/>
                  <a:gd name="connsiteX626" fmla="*/ 24511 w 84817"/>
                  <a:gd name="connsiteY626" fmla="*/ 90725 h 92753"/>
                  <a:gd name="connsiteX627" fmla="*/ 25040 w 84817"/>
                  <a:gd name="connsiteY627" fmla="*/ 90108 h 92753"/>
                  <a:gd name="connsiteX628" fmla="*/ 25657 w 84817"/>
                  <a:gd name="connsiteY628" fmla="*/ 90108 h 92753"/>
                  <a:gd name="connsiteX629" fmla="*/ 26186 w 84817"/>
                  <a:gd name="connsiteY629" fmla="*/ 89844 h 92753"/>
                  <a:gd name="connsiteX630" fmla="*/ 27068 w 84817"/>
                  <a:gd name="connsiteY630" fmla="*/ 90108 h 92753"/>
                  <a:gd name="connsiteX631" fmla="*/ 27949 w 84817"/>
                  <a:gd name="connsiteY631" fmla="*/ 91254 h 92753"/>
                  <a:gd name="connsiteX632" fmla="*/ 28302 w 84817"/>
                  <a:gd name="connsiteY632" fmla="*/ 90725 h 92753"/>
                  <a:gd name="connsiteX633" fmla="*/ 28302 w 84817"/>
                  <a:gd name="connsiteY633" fmla="*/ 90108 h 92753"/>
                  <a:gd name="connsiteX634" fmla="*/ 28302 w 84817"/>
                  <a:gd name="connsiteY634" fmla="*/ 89226 h 92753"/>
                  <a:gd name="connsiteX635" fmla="*/ 29448 w 84817"/>
                  <a:gd name="connsiteY635" fmla="*/ 89226 h 92753"/>
                  <a:gd name="connsiteX636" fmla="*/ 31212 w 84817"/>
                  <a:gd name="connsiteY636" fmla="*/ 89226 h 92753"/>
                  <a:gd name="connsiteX637" fmla="*/ 31741 w 84817"/>
                  <a:gd name="connsiteY637" fmla="*/ 90108 h 92753"/>
                  <a:gd name="connsiteX638" fmla="*/ 33239 w 84817"/>
                  <a:gd name="connsiteY638" fmla="*/ 88962 h 92753"/>
                  <a:gd name="connsiteX639" fmla="*/ 33768 w 84817"/>
                  <a:gd name="connsiteY639" fmla="*/ 89226 h 92753"/>
                  <a:gd name="connsiteX640" fmla="*/ 34386 w 84817"/>
                  <a:gd name="connsiteY640" fmla="*/ 88962 h 92753"/>
                  <a:gd name="connsiteX641" fmla="*/ 35003 w 84817"/>
                  <a:gd name="connsiteY641" fmla="*/ 89226 h 92753"/>
                  <a:gd name="connsiteX642" fmla="*/ 34386 w 84817"/>
                  <a:gd name="connsiteY642" fmla="*/ 88080 h 92753"/>
                  <a:gd name="connsiteX643" fmla="*/ 35267 w 84817"/>
                  <a:gd name="connsiteY643" fmla="*/ 87816 h 92753"/>
                  <a:gd name="connsiteX644" fmla="*/ 35532 w 84817"/>
                  <a:gd name="connsiteY644" fmla="*/ 87199 h 92753"/>
                  <a:gd name="connsiteX645" fmla="*/ 35267 w 84817"/>
                  <a:gd name="connsiteY645" fmla="*/ 86317 h 92753"/>
                  <a:gd name="connsiteX646" fmla="*/ 35885 w 84817"/>
                  <a:gd name="connsiteY646" fmla="*/ 86317 h 92753"/>
                  <a:gd name="connsiteX647" fmla="*/ 37295 w 84817"/>
                  <a:gd name="connsiteY647" fmla="*/ 87816 h 92753"/>
                  <a:gd name="connsiteX648" fmla="*/ 38177 w 84817"/>
                  <a:gd name="connsiteY648" fmla="*/ 86317 h 92753"/>
                  <a:gd name="connsiteX649" fmla="*/ 38442 w 84817"/>
                  <a:gd name="connsiteY649" fmla="*/ 86317 h 92753"/>
                  <a:gd name="connsiteX650" fmla="*/ 38794 w 84817"/>
                  <a:gd name="connsiteY650" fmla="*/ 86052 h 92753"/>
                  <a:gd name="connsiteX651" fmla="*/ 40822 w 84817"/>
                  <a:gd name="connsiteY651" fmla="*/ 85171 h 92753"/>
                  <a:gd name="connsiteX652" fmla="*/ 41351 w 84817"/>
                  <a:gd name="connsiteY652" fmla="*/ 84289 h 92753"/>
                  <a:gd name="connsiteX653" fmla="*/ 40205 w 84817"/>
                  <a:gd name="connsiteY653" fmla="*/ 84025 h 92753"/>
                  <a:gd name="connsiteX654" fmla="*/ 38794 w 84817"/>
                  <a:gd name="connsiteY654" fmla="*/ 82790 h 92753"/>
                  <a:gd name="connsiteX655" fmla="*/ 38177 w 84817"/>
                  <a:gd name="connsiteY655" fmla="*/ 82790 h 92753"/>
                  <a:gd name="connsiteX656" fmla="*/ 38177 w 84817"/>
                  <a:gd name="connsiteY656" fmla="*/ 82261 h 92753"/>
                  <a:gd name="connsiteX657" fmla="*/ 38794 w 84817"/>
                  <a:gd name="connsiteY657" fmla="*/ 82261 h 92753"/>
                  <a:gd name="connsiteX658" fmla="*/ 40822 w 84817"/>
                  <a:gd name="connsiteY658" fmla="*/ 82790 h 92753"/>
                  <a:gd name="connsiteX659" fmla="*/ 42585 w 84817"/>
                  <a:gd name="connsiteY659" fmla="*/ 82261 h 92753"/>
                  <a:gd name="connsiteX660" fmla="*/ 41968 w 84817"/>
                  <a:gd name="connsiteY660" fmla="*/ 82790 h 92753"/>
                  <a:gd name="connsiteX661" fmla="*/ 42233 w 84817"/>
                  <a:gd name="connsiteY661" fmla="*/ 83407 h 92753"/>
                  <a:gd name="connsiteX662" fmla="*/ 41968 w 84817"/>
                  <a:gd name="connsiteY662" fmla="*/ 84289 h 92753"/>
                  <a:gd name="connsiteX663" fmla="*/ 41968 w 84817"/>
                  <a:gd name="connsiteY663" fmla="*/ 84818 h 92753"/>
                  <a:gd name="connsiteX664" fmla="*/ 42585 w 84817"/>
                  <a:gd name="connsiteY664" fmla="*/ 84818 h 92753"/>
                  <a:gd name="connsiteX665" fmla="*/ 43731 w 84817"/>
                  <a:gd name="connsiteY665" fmla="*/ 84818 h 92753"/>
                  <a:gd name="connsiteX666" fmla="*/ 44878 w 84817"/>
                  <a:gd name="connsiteY666" fmla="*/ 84289 h 92753"/>
                  <a:gd name="connsiteX667" fmla="*/ 43996 w 84817"/>
                  <a:gd name="connsiteY667" fmla="*/ 84289 h 92753"/>
                  <a:gd name="connsiteX668" fmla="*/ 44878 w 84817"/>
                  <a:gd name="connsiteY668" fmla="*/ 82790 h 92753"/>
                  <a:gd name="connsiteX669" fmla="*/ 47787 w 84817"/>
                  <a:gd name="connsiteY669" fmla="*/ 82261 h 92753"/>
                  <a:gd name="connsiteX670" fmla="*/ 47787 w 84817"/>
                  <a:gd name="connsiteY670" fmla="*/ 81644 h 92753"/>
                  <a:gd name="connsiteX671" fmla="*/ 47523 w 84817"/>
                  <a:gd name="connsiteY671" fmla="*/ 80762 h 92753"/>
                  <a:gd name="connsiteX672" fmla="*/ 47787 w 84817"/>
                  <a:gd name="connsiteY672" fmla="*/ 80498 h 92753"/>
                  <a:gd name="connsiteX673" fmla="*/ 48669 w 84817"/>
                  <a:gd name="connsiteY673" fmla="*/ 80145 h 92753"/>
                  <a:gd name="connsiteX674" fmla="*/ 49286 w 84817"/>
                  <a:gd name="connsiteY674" fmla="*/ 81027 h 92753"/>
                  <a:gd name="connsiteX675" fmla="*/ 50432 w 84817"/>
                  <a:gd name="connsiteY675" fmla="*/ 81027 h 92753"/>
                  <a:gd name="connsiteX676" fmla="*/ 51050 w 84817"/>
                  <a:gd name="connsiteY676" fmla="*/ 81027 h 92753"/>
                  <a:gd name="connsiteX677" fmla="*/ 51314 w 84817"/>
                  <a:gd name="connsiteY677" fmla="*/ 80498 h 92753"/>
                  <a:gd name="connsiteX678" fmla="*/ 51579 w 84817"/>
                  <a:gd name="connsiteY678" fmla="*/ 80762 h 92753"/>
                  <a:gd name="connsiteX679" fmla="*/ 54488 w 84817"/>
                  <a:gd name="connsiteY679" fmla="*/ 79881 h 92753"/>
                  <a:gd name="connsiteX680" fmla="*/ 54224 w 84817"/>
                  <a:gd name="connsiteY680" fmla="*/ 79616 h 92753"/>
                  <a:gd name="connsiteX681" fmla="*/ 54488 w 84817"/>
                  <a:gd name="connsiteY681" fmla="*/ 79352 h 92753"/>
                  <a:gd name="connsiteX682" fmla="*/ 55722 w 84817"/>
                  <a:gd name="connsiteY682" fmla="*/ 78734 h 92753"/>
                  <a:gd name="connsiteX683" fmla="*/ 54841 w 84817"/>
                  <a:gd name="connsiteY683" fmla="*/ 78470 h 92753"/>
                  <a:gd name="connsiteX684" fmla="*/ 54224 w 84817"/>
                  <a:gd name="connsiteY684" fmla="*/ 78734 h 92753"/>
                  <a:gd name="connsiteX685" fmla="*/ 54224 w 84817"/>
                  <a:gd name="connsiteY685" fmla="*/ 78117 h 92753"/>
                  <a:gd name="connsiteX686" fmla="*/ 54488 w 84817"/>
                  <a:gd name="connsiteY686" fmla="*/ 77853 h 92753"/>
                  <a:gd name="connsiteX687" fmla="*/ 55722 w 84817"/>
                  <a:gd name="connsiteY687" fmla="*/ 78117 h 92753"/>
                  <a:gd name="connsiteX688" fmla="*/ 57133 w 84817"/>
                  <a:gd name="connsiteY688" fmla="*/ 77588 h 92753"/>
                  <a:gd name="connsiteX689" fmla="*/ 60660 w 84817"/>
                  <a:gd name="connsiteY689" fmla="*/ 77588 h 92753"/>
                  <a:gd name="connsiteX690" fmla="*/ 61806 w 84817"/>
                  <a:gd name="connsiteY690" fmla="*/ 77588 h 92753"/>
                  <a:gd name="connsiteX691" fmla="*/ 61806 w 84817"/>
                  <a:gd name="connsiteY691" fmla="*/ 76971 h 92753"/>
                  <a:gd name="connsiteX692" fmla="*/ 62423 w 84817"/>
                  <a:gd name="connsiteY692" fmla="*/ 76707 h 92753"/>
                  <a:gd name="connsiteX693" fmla="*/ 62952 w 84817"/>
                  <a:gd name="connsiteY693" fmla="*/ 76971 h 92753"/>
                  <a:gd name="connsiteX694" fmla="*/ 63569 w 84817"/>
                  <a:gd name="connsiteY694" fmla="*/ 76707 h 92753"/>
                  <a:gd name="connsiteX695" fmla="*/ 63569 w 84817"/>
                  <a:gd name="connsiteY695" fmla="*/ 76354 h 92753"/>
                  <a:gd name="connsiteX696" fmla="*/ 63834 w 84817"/>
                  <a:gd name="connsiteY696" fmla="*/ 76354 h 92753"/>
                  <a:gd name="connsiteX697" fmla="*/ 63569 w 84817"/>
                  <a:gd name="connsiteY697" fmla="*/ 77588 h 92753"/>
                  <a:gd name="connsiteX698" fmla="*/ 64451 w 84817"/>
                  <a:gd name="connsiteY698" fmla="*/ 77853 h 92753"/>
                  <a:gd name="connsiteX699" fmla="*/ 64980 w 84817"/>
                  <a:gd name="connsiteY699" fmla="*/ 77588 h 92753"/>
                  <a:gd name="connsiteX700" fmla="*/ 65597 w 84817"/>
                  <a:gd name="connsiteY700" fmla="*/ 76354 h 92753"/>
                  <a:gd name="connsiteX701" fmla="*/ 65597 w 84817"/>
                  <a:gd name="connsiteY701" fmla="*/ 74943 h 92753"/>
                  <a:gd name="connsiteX702" fmla="*/ 64980 w 84817"/>
                  <a:gd name="connsiteY702" fmla="*/ 73180 h 92753"/>
                  <a:gd name="connsiteX703" fmla="*/ 65862 w 84817"/>
                  <a:gd name="connsiteY703" fmla="*/ 74326 h 92753"/>
                  <a:gd name="connsiteX704" fmla="*/ 66744 w 84817"/>
                  <a:gd name="connsiteY704" fmla="*/ 74943 h 92753"/>
                  <a:gd name="connsiteX705" fmla="*/ 66744 w 84817"/>
                  <a:gd name="connsiteY705" fmla="*/ 76354 h 92753"/>
                  <a:gd name="connsiteX706" fmla="*/ 66744 w 84817"/>
                  <a:gd name="connsiteY706" fmla="*/ 76707 h 92753"/>
                  <a:gd name="connsiteX707" fmla="*/ 68507 w 84817"/>
                  <a:gd name="connsiteY707" fmla="*/ 76354 h 92753"/>
                  <a:gd name="connsiteX708" fmla="*/ 67625 w 84817"/>
                  <a:gd name="connsiteY708" fmla="*/ 74943 h 92753"/>
                  <a:gd name="connsiteX709" fmla="*/ 68507 w 84817"/>
                  <a:gd name="connsiteY709" fmla="*/ 75560 h 92753"/>
                  <a:gd name="connsiteX710" fmla="*/ 70270 w 84817"/>
                  <a:gd name="connsiteY710" fmla="*/ 74943 h 92753"/>
                  <a:gd name="connsiteX711" fmla="*/ 73444 w 84817"/>
                  <a:gd name="connsiteY711" fmla="*/ 76354 h 92753"/>
                  <a:gd name="connsiteX712" fmla="*/ 74326 w 84817"/>
                  <a:gd name="connsiteY712" fmla="*/ 75825 h 92753"/>
                  <a:gd name="connsiteX713" fmla="*/ 75208 w 84817"/>
                  <a:gd name="connsiteY713" fmla="*/ 75560 h 92753"/>
                  <a:gd name="connsiteX714" fmla="*/ 75560 w 84817"/>
                  <a:gd name="connsiteY714" fmla="*/ 75825 h 92753"/>
                  <a:gd name="connsiteX715" fmla="*/ 75208 w 84817"/>
                  <a:gd name="connsiteY715" fmla="*/ 76354 h 92753"/>
                  <a:gd name="connsiteX716" fmla="*/ 76971 w 84817"/>
                  <a:gd name="connsiteY716" fmla="*/ 75825 h 92753"/>
                  <a:gd name="connsiteX717" fmla="*/ 77236 w 84817"/>
                  <a:gd name="connsiteY717" fmla="*/ 75560 h 92753"/>
                  <a:gd name="connsiteX718" fmla="*/ 77236 w 84817"/>
                  <a:gd name="connsiteY718" fmla="*/ 76354 h 92753"/>
                  <a:gd name="connsiteX719" fmla="*/ 77853 w 84817"/>
                  <a:gd name="connsiteY719" fmla="*/ 76354 h 92753"/>
                  <a:gd name="connsiteX720" fmla="*/ 78734 w 84817"/>
                  <a:gd name="connsiteY720" fmla="*/ 75560 h 92753"/>
                  <a:gd name="connsiteX721" fmla="*/ 78470 w 84817"/>
                  <a:gd name="connsiteY721" fmla="*/ 74326 h 92753"/>
                  <a:gd name="connsiteX722" fmla="*/ 77588 w 84817"/>
                  <a:gd name="connsiteY722" fmla="*/ 73180 h 92753"/>
                  <a:gd name="connsiteX723" fmla="*/ 78117 w 84817"/>
                  <a:gd name="connsiteY723" fmla="*/ 72034 h 92753"/>
                  <a:gd name="connsiteX724" fmla="*/ 77588 w 84817"/>
                  <a:gd name="connsiteY724" fmla="*/ 72563 h 92753"/>
                  <a:gd name="connsiteX725" fmla="*/ 76354 w 84817"/>
                  <a:gd name="connsiteY725" fmla="*/ 72034 h 92753"/>
                  <a:gd name="connsiteX726" fmla="*/ 76354 w 84817"/>
                  <a:gd name="connsiteY726" fmla="*/ 71416 h 92753"/>
                  <a:gd name="connsiteX727" fmla="*/ 76971 w 84817"/>
                  <a:gd name="connsiteY727" fmla="*/ 71152 h 92753"/>
                  <a:gd name="connsiteX728" fmla="*/ 77588 w 84817"/>
                  <a:gd name="connsiteY728" fmla="*/ 71416 h 92753"/>
                  <a:gd name="connsiteX729" fmla="*/ 78734 w 84817"/>
                  <a:gd name="connsiteY729" fmla="*/ 70270 h 92753"/>
                  <a:gd name="connsiteX730" fmla="*/ 79881 w 84817"/>
                  <a:gd name="connsiteY730" fmla="*/ 67096 h 92753"/>
                  <a:gd name="connsiteX731" fmla="*/ 80145 w 84817"/>
                  <a:gd name="connsiteY731" fmla="*/ 63569 h 92753"/>
                  <a:gd name="connsiteX732" fmla="*/ 81909 w 84817"/>
                  <a:gd name="connsiteY732" fmla="*/ 62071 h 92753"/>
                  <a:gd name="connsiteX733" fmla="*/ 81909 w 84817"/>
                  <a:gd name="connsiteY733" fmla="*/ 59778 h 92753"/>
                  <a:gd name="connsiteX734" fmla="*/ 83672 w 84817"/>
                  <a:gd name="connsiteY734" fmla="*/ 59778 h 92753"/>
                  <a:gd name="connsiteX735" fmla="*/ 84818 w 84817"/>
                  <a:gd name="connsiteY735" fmla="*/ 56516 h 92753"/>
                  <a:gd name="connsiteX736" fmla="*/ 83936 w 84817"/>
                  <a:gd name="connsiteY736" fmla="*/ 56251 h 92753"/>
                  <a:gd name="connsiteX737" fmla="*/ 83936 w 84817"/>
                  <a:gd name="connsiteY737" fmla="*/ 52460 h 92753"/>
                  <a:gd name="connsiteX738" fmla="*/ 82261 w 84817"/>
                  <a:gd name="connsiteY738" fmla="*/ 50168 h 92753"/>
                  <a:gd name="connsiteX739" fmla="*/ 82526 w 84817"/>
                  <a:gd name="connsiteY739" fmla="*/ 49022 h 92753"/>
                  <a:gd name="connsiteX740" fmla="*/ 82526 w 84817"/>
                  <a:gd name="connsiteY740" fmla="*/ 48140 h 92753"/>
                  <a:gd name="connsiteX741" fmla="*/ 80762 w 84817"/>
                  <a:gd name="connsiteY741" fmla="*/ 46906 h 92753"/>
                  <a:gd name="connsiteX742" fmla="*/ 80762 w 84817"/>
                  <a:gd name="connsiteY742" fmla="*/ 46641 h 92753"/>
                  <a:gd name="connsiteX743" fmla="*/ 82526 w 84817"/>
                  <a:gd name="connsiteY743" fmla="*/ 45759 h 92753"/>
                  <a:gd name="connsiteX744" fmla="*/ 82526 w 84817"/>
                  <a:gd name="connsiteY744" fmla="*/ 44613 h 92753"/>
                  <a:gd name="connsiteX745" fmla="*/ 82526 w 84817"/>
                  <a:gd name="connsiteY745" fmla="*/ 42850 h 92753"/>
                  <a:gd name="connsiteX746" fmla="*/ 82526 w 84817"/>
                  <a:gd name="connsiteY746" fmla="*/ 41704 h 92753"/>
                  <a:gd name="connsiteX747" fmla="*/ 81027 w 84817"/>
                  <a:gd name="connsiteY747" fmla="*/ 40205 h 92753"/>
                  <a:gd name="connsiteX748" fmla="*/ 81027 w 84817"/>
                  <a:gd name="connsiteY748" fmla="*/ 39059 h 92753"/>
                  <a:gd name="connsiteX749" fmla="*/ 81027 w 84817"/>
                  <a:gd name="connsiteY749" fmla="*/ 37912 h 92753"/>
                  <a:gd name="connsiteX750" fmla="*/ 81027 w 84817"/>
                  <a:gd name="connsiteY750" fmla="*/ 37295 h 92753"/>
                  <a:gd name="connsiteX751" fmla="*/ 81027 w 84817"/>
                  <a:gd name="connsiteY751" fmla="*/ 36766 h 92753"/>
                  <a:gd name="connsiteX752" fmla="*/ 81027 w 84817"/>
                  <a:gd name="connsiteY752" fmla="*/ 35003 h 92753"/>
                  <a:gd name="connsiteX753" fmla="*/ 80145 w 84817"/>
                  <a:gd name="connsiteY753" fmla="*/ 35003 h 92753"/>
                  <a:gd name="connsiteX754" fmla="*/ 78999 w 84817"/>
                  <a:gd name="connsiteY754" fmla="*/ 33769 h 92753"/>
                  <a:gd name="connsiteX755" fmla="*/ 78999 w 84817"/>
                  <a:gd name="connsiteY755" fmla="*/ 31741 h 92753"/>
                  <a:gd name="connsiteX756" fmla="*/ 80145 w 84817"/>
                  <a:gd name="connsiteY756" fmla="*/ 31476 h 92753"/>
                  <a:gd name="connsiteX757" fmla="*/ 81380 w 84817"/>
                  <a:gd name="connsiteY757" fmla="*/ 31741 h 92753"/>
                  <a:gd name="connsiteX758" fmla="*/ 84818 w 84817"/>
                  <a:gd name="connsiteY758" fmla="*/ 30330 h 92753"/>
                  <a:gd name="connsiteX759" fmla="*/ 82261 w 84817"/>
                  <a:gd name="connsiteY759" fmla="*/ 30330 h 92753"/>
                  <a:gd name="connsiteX760" fmla="*/ 80145 w 84817"/>
                  <a:gd name="connsiteY760" fmla="*/ 30330 h 92753"/>
                  <a:gd name="connsiteX761" fmla="*/ 79263 w 84817"/>
                  <a:gd name="connsiteY761" fmla="*/ 30330 h 92753"/>
                  <a:gd name="connsiteX762" fmla="*/ 76971 w 84817"/>
                  <a:gd name="connsiteY762" fmla="*/ 30330 h 92753"/>
                  <a:gd name="connsiteX763" fmla="*/ 76354 w 84817"/>
                  <a:gd name="connsiteY763" fmla="*/ 30330 h 92753"/>
                  <a:gd name="connsiteX764" fmla="*/ 74943 w 84817"/>
                  <a:gd name="connsiteY764" fmla="*/ 30594 h 92753"/>
                  <a:gd name="connsiteX765" fmla="*/ 73797 w 84817"/>
                  <a:gd name="connsiteY765" fmla="*/ 30330 h 92753"/>
                  <a:gd name="connsiteX766" fmla="*/ 73797 w 84817"/>
                  <a:gd name="connsiteY766" fmla="*/ 27949 h 92753"/>
                  <a:gd name="connsiteX767" fmla="*/ 73797 w 84817"/>
                  <a:gd name="connsiteY767" fmla="*/ 27420 h 92753"/>
                  <a:gd name="connsiteX768" fmla="*/ 72298 w 84817"/>
                  <a:gd name="connsiteY768" fmla="*/ 26803 h 92753"/>
                  <a:gd name="connsiteX769" fmla="*/ 72298 w 84817"/>
                  <a:gd name="connsiteY769" fmla="*/ 27420 h 92753"/>
                  <a:gd name="connsiteX770" fmla="*/ 70535 w 84817"/>
                  <a:gd name="connsiteY770" fmla="*/ 26803 h 92753"/>
                  <a:gd name="connsiteX771" fmla="*/ 69124 w 84817"/>
                  <a:gd name="connsiteY771" fmla="*/ 23629 h 92753"/>
                  <a:gd name="connsiteX772" fmla="*/ 68242 w 84817"/>
                  <a:gd name="connsiteY772" fmla="*/ 22130 h 92753"/>
                  <a:gd name="connsiteX773" fmla="*/ 66479 w 84817"/>
                  <a:gd name="connsiteY773" fmla="*/ 22130 h 92753"/>
                  <a:gd name="connsiteX774" fmla="*/ 62952 w 84817"/>
                  <a:gd name="connsiteY774" fmla="*/ 24511 h 92753"/>
                  <a:gd name="connsiteX775" fmla="*/ 64716 w 84817"/>
                  <a:gd name="connsiteY775" fmla="*/ 25657 h 92753"/>
                  <a:gd name="connsiteX776" fmla="*/ 64716 w 84817"/>
                  <a:gd name="connsiteY776" fmla="*/ 26803 h 92753"/>
                  <a:gd name="connsiteX777" fmla="*/ 62952 w 84817"/>
                  <a:gd name="connsiteY777" fmla="*/ 26803 h 92753"/>
                  <a:gd name="connsiteX778" fmla="*/ 61806 w 84817"/>
                  <a:gd name="connsiteY778" fmla="*/ 29184 h 92753"/>
                  <a:gd name="connsiteX779" fmla="*/ 59425 w 84817"/>
                  <a:gd name="connsiteY779" fmla="*/ 28567 h 92753"/>
                  <a:gd name="connsiteX780" fmla="*/ 59425 w 84817"/>
                  <a:gd name="connsiteY780" fmla="*/ 27949 h 92753"/>
                  <a:gd name="connsiteX781" fmla="*/ 58015 w 84817"/>
                  <a:gd name="connsiteY781" fmla="*/ 29184 h 92753"/>
                  <a:gd name="connsiteX782" fmla="*/ 56869 w 84817"/>
                  <a:gd name="connsiteY782" fmla="*/ 28567 h 92753"/>
                  <a:gd name="connsiteX783" fmla="*/ 54841 w 84817"/>
                  <a:gd name="connsiteY783" fmla="*/ 26803 h 92753"/>
                  <a:gd name="connsiteX784" fmla="*/ 52196 w 84817"/>
                  <a:gd name="connsiteY784" fmla="*/ 26803 h 92753"/>
                  <a:gd name="connsiteX785" fmla="*/ 50697 w 84817"/>
                  <a:gd name="connsiteY785" fmla="*/ 24775 h 92753"/>
                  <a:gd name="connsiteX786" fmla="*/ 50697 w 84817"/>
                  <a:gd name="connsiteY786" fmla="*/ 24511 h 92753"/>
                  <a:gd name="connsiteX787" fmla="*/ 49551 w 84817"/>
                  <a:gd name="connsiteY787" fmla="*/ 23277 h 92753"/>
                  <a:gd name="connsiteX788" fmla="*/ 47258 w 84817"/>
                  <a:gd name="connsiteY788" fmla="*/ 23277 h 92753"/>
                  <a:gd name="connsiteX789" fmla="*/ 45759 w 84817"/>
                  <a:gd name="connsiteY789" fmla="*/ 21249 h 92753"/>
                  <a:gd name="connsiteX790" fmla="*/ 47523 w 84817"/>
                  <a:gd name="connsiteY790" fmla="*/ 20720 h 92753"/>
                  <a:gd name="connsiteX791" fmla="*/ 47523 w 84817"/>
                  <a:gd name="connsiteY791" fmla="*/ 20103 h 92753"/>
                  <a:gd name="connsiteX792" fmla="*/ 49815 w 84817"/>
                  <a:gd name="connsiteY792" fmla="*/ 20103 h 92753"/>
                  <a:gd name="connsiteX793" fmla="*/ 51050 w 84817"/>
                  <a:gd name="connsiteY793" fmla="*/ 20103 h 92753"/>
                  <a:gd name="connsiteX794" fmla="*/ 52460 w 84817"/>
                  <a:gd name="connsiteY794" fmla="*/ 19221 h 92753"/>
                  <a:gd name="connsiteX795" fmla="*/ 55370 w 84817"/>
                  <a:gd name="connsiteY795" fmla="*/ 17810 h 92753"/>
                  <a:gd name="connsiteX796" fmla="*/ 54224 w 84817"/>
                  <a:gd name="connsiteY796" fmla="*/ 17810 h 92753"/>
                  <a:gd name="connsiteX797" fmla="*/ 51050 w 84817"/>
                  <a:gd name="connsiteY797" fmla="*/ 16928 h 92753"/>
                  <a:gd name="connsiteX798" fmla="*/ 51050 w 84817"/>
                  <a:gd name="connsiteY798" fmla="*/ 16576 h 92753"/>
                  <a:gd name="connsiteX799" fmla="*/ 51314 w 84817"/>
                  <a:gd name="connsiteY799" fmla="*/ 14019 h 92753"/>
                  <a:gd name="connsiteX800" fmla="*/ 52725 w 84817"/>
                  <a:gd name="connsiteY800" fmla="*/ 14019 h 92753"/>
                  <a:gd name="connsiteX801" fmla="*/ 54224 w 84817"/>
                  <a:gd name="connsiteY801" fmla="*/ 15694 h 92753"/>
                  <a:gd name="connsiteX802" fmla="*/ 56251 w 84817"/>
                  <a:gd name="connsiteY802" fmla="*/ 14019 h 92753"/>
                  <a:gd name="connsiteX803" fmla="*/ 57750 w 84817"/>
                  <a:gd name="connsiteY803" fmla="*/ 14019 h 92753"/>
                  <a:gd name="connsiteX804" fmla="*/ 58896 w 84817"/>
                  <a:gd name="connsiteY804" fmla="*/ 12256 h 92753"/>
                  <a:gd name="connsiteX805" fmla="*/ 58896 w 84817"/>
                  <a:gd name="connsiteY805" fmla="*/ 11109 h 92753"/>
                  <a:gd name="connsiteX806" fmla="*/ 58896 w 84817"/>
                  <a:gd name="connsiteY806" fmla="*/ 9875 h 92753"/>
                  <a:gd name="connsiteX807" fmla="*/ 60660 w 84817"/>
                  <a:gd name="connsiteY807" fmla="*/ 8464 h 92753"/>
                  <a:gd name="connsiteX808" fmla="*/ 60660 w 84817"/>
                  <a:gd name="connsiteY808" fmla="*/ 7582 h 92753"/>
                  <a:gd name="connsiteX809" fmla="*/ 61542 w 84817"/>
                  <a:gd name="connsiteY809" fmla="*/ 7230 h 92753"/>
                  <a:gd name="connsiteX810" fmla="*/ 63569 w 84817"/>
                  <a:gd name="connsiteY810" fmla="*/ 7230 h 92753"/>
                  <a:gd name="connsiteX811" fmla="*/ 64187 w 84817"/>
                  <a:gd name="connsiteY811" fmla="*/ 6348 h 92753"/>
                  <a:gd name="connsiteX812" fmla="*/ 63569 w 84817"/>
                  <a:gd name="connsiteY812" fmla="*/ 6348 h 92753"/>
                  <a:gd name="connsiteX813" fmla="*/ 64187 w 84817"/>
                  <a:gd name="connsiteY813" fmla="*/ 5555 h 92753"/>
                  <a:gd name="connsiteX814" fmla="*/ 64451 w 84817"/>
                  <a:gd name="connsiteY814" fmla="*/ 5202 h 92753"/>
                  <a:gd name="connsiteX815" fmla="*/ 65597 w 84817"/>
                  <a:gd name="connsiteY815" fmla="*/ 5202 h 92753"/>
                  <a:gd name="connsiteX816" fmla="*/ 67008 w 84817"/>
                  <a:gd name="connsiteY816" fmla="*/ 5202 h 92753"/>
                  <a:gd name="connsiteX817" fmla="*/ 67625 w 84817"/>
                  <a:gd name="connsiteY817" fmla="*/ 4320 h 92753"/>
                  <a:gd name="connsiteX818" fmla="*/ 68507 w 84817"/>
                  <a:gd name="connsiteY818" fmla="*/ 3174 h 92753"/>
                  <a:gd name="connsiteX819" fmla="*/ 68771 w 84817"/>
                  <a:gd name="connsiteY819" fmla="*/ 2557 h 92753"/>
                  <a:gd name="connsiteX820" fmla="*/ 67978 w 84817"/>
                  <a:gd name="connsiteY820" fmla="*/ 2557 h 92753"/>
                  <a:gd name="connsiteX821" fmla="*/ 67008 w 84817"/>
                  <a:gd name="connsiteY821" fmla="*/ 2292 h 92753"/>
                  <a:gd name="connsiteX822" fmla="*/ 66744 w 84817"/>
                  <a:gd name="connsiteY822" fmla="*/ 2028 h 92753"/>
                  <a:gd name="connsiteX823" fmla="*/ 65862 w 84817"/>
                  <a:gd name="connsiteY823" fmla="*/ 1763 h 92753"/>
                  <a:gd name="connsiteX824" fmla="*/ 65597 w 84817"/>
                  <a:gd name="connsiteY824" fmla="*/ 1411 h 92753"/>
                  <a:gd name="connsiteX825" fmla="*/ 65333 w 84817"/>
                  <a:gd name="connsiteY825" fmla="*/ 882 h 92753"/>
                  <a:gd name="connsiteX826" fmla="*/ 64716 w 84817"/>
                  <a:gd name="connsiteY826" fmla="*/ 529 h 92753"/>
                  <a:gd name="connsiteX827" fmla="*/ 64187 w 84817"/>
                  <a:gd name="connsiteY827" fmla="*/ 265 h 92753"/>
                  <a:gd name="connsiteX828" fmla="*/ 62952 w 84817"/>
                  <a:gd name="connsiteY828" fmla="*/ 265 h 92753"/>
                  <a:gd name="connsiteX829" fmla="*/ 61542 w 84817"/>
                  <a:gd name="connsiteY829" fmla="*/ 0 h 92753"/>
                  <a:gd name="connsiteX830" fmla="*/ 62071 w 84817"/>
                  <a:gd name="connsiteY830" fmla="*/ 529 h 92753"/>
                  <a:gd name="connsiteX831" fmla="*/ 62071 w 84817"/>
                  <a:gd name="connsiteY831" fmla="*/ 1146 h 92753"/>
                  <a:gd name="connsiteX832" fmla="*/ 62952 w 84817"/>
                  <a:gd name="connsiteY832" fmla="*/ 1411 h 92753"/>
                  <a:gd name="connsiteX833" fmla="*/ 63834 w 84817"/>
                  <a:gd name="connsiteY833" fmla="*/ 2028 h 92753"/>
                  <a:gd name="connsiteX834" fmla="*/ 64187 w 84817"/>
                  <a:gd name="connsiteY834" fmla="*/ 2557 h 92753"/>
                  <a:gd name="connsiteX835" fmla="*/ 63217 w 84817"/>
                  <a:gd name="connsiteY835" fmla="*/ 2557 h 92753"/>
                  <a:gd name="connsiteX836" fmla="*/ 62688 w 84817"/>
                  <a:gd name="connsiteY836" fmla="*/ 2028 h 92753"/>
                  <a:gd name="connsiteX837" fmla="*/ 62071 w 84817"/>
                  <a:gd name="connsiteY837" fmla="*/ 1411 h 92753"/>
                  <a:gd name="connsiteX838" fmla="*/ 61189 w 84817"/>
                  <a:gd name="connsiteY838" fmla="*/ 1763 h 92753"/>
                  <a:gd name="connsiteX839" fmla="*/ 60924 w 84817"/>
                  <a:gd name="connsiteY839" fmla="*/ 2292 h 92753"/>
                  <a:gd name="connsiteX840" fmla="*/ 60307 w 84817"/>
                  <a:gd name="connsiteY840" fmla="*/ 2028 h 92753"/>
                  <a:gd name="connsiteX841" fmla="*/ 60043 w 84817"/>
                  <a:gd name="connsiteY841" fmla="*/ 1763 h 92753"/>
                  <a:gd name="connsiteX842" fmla="*/ 59778 w 84817"/>
                  <a:gd name="connsiteY842" fmla="*/ 2292 h 92753"/>
                  <a:gd name="connsiteX843" fmla="*/ 59161 w 84817"/>
                  <a:gd name="connsiteY843" fmla="*/ 2028 h 92753"/>
                  <a:gd name="connsiteX844" fmla="*/ 59161 w 84817"/>
                  <a:gd name="connsiteY844" fmla="*/ 2557 h 92753"/>
                  <a:gd name="connsiteX845" fmla="*/ 58896 w 84817"/>
                  <a:gd name="connsiteY845" fmla="*/ 3174 h 92753"/>
                  <a:gd name="connsiteX846" fmla="*/ 58632 w 84817"/>
                  <a:gd name="connsiteY846" fmla="*/ 4056 h 92753"/>
                  <a:gd name="connsiteX847" fmla="*/ 59161 w 84817"/>
                  <a:gd name="connsiteY847" fmla="*/ 4673 h 92753"/>
                  <a:gd name="connsiteX848" fmla="*/ 59425 w 84817"/>
                  <a:gd name="connsiteY848" fmla="*/ 5202 h 92753"/>
                  <a:gd name="connsiteX849" fmla="*/ 60043 w 84817"/>
                  <a:gd name="connsiteY849" fmla="*/ 5202 h 92753"/>
                  <a:gd name="connsiteX850" fmla="*/ 60043 w 84817"/>
                  <a:gd name="connsiteY850" fmla="*/ 6084 h 92753"/>
                  <a:gd name="connsiteX851" fmla="*/ 59778 w 84817"/>
                  <a:gd name="connsiteY851" fmla="*/ 6701 h 92753"/>
                  <a:gd name="connsiteX852" fmla="*/ 60043 w 84817"/>
                  <a:gd name="connsiteY852" fmla="*/ 6701 h 92753"/>
                  <a:gd name="connsiteX853" fmla="*/ 60307 w 84817"/>
                  <a:gd name="connsiteY853" fmla="*/ 7582 h 92753"/>
                  <a:gd name="connsiteX854" fmla="*/ 59161 w 84817"/>
                  <a:gd name="connsiteY854" fmla="*/ 8112 h 92753"/>
                  <a:gd name="connsiteX855" fmla="*/ 57750 w 84817"/>
                  <a:gd name="connsiteY855" fmla="*/ 8729 h 92753"/>
                  <a:gd name="connsiteX856" fmla="*/ 55987 w 84817"/>
                  <a:gd name="connsiteY856" fmla="*/ 9875 h 92753"/>
                  <a:gd name="connsiteX857" fmla="*/ 55987 w 84817"/>
                  <a:gd name="connsiteY857" fmla="*/ 9610 h 92753"/>
                  <a:gd name="connsiteX858" fmla="*/ 56869 w 84817"/>
                  <a:gd name="connsiteY858" fmla="*/ 8729 h 92753"/>
                  <a:gd name="connsiteX859" fmla="*/ 57133 w 84817"/>
                  <a:gd name="connsiteY859" fmla="*/ 8464 h 92753"/>
                  <a:gd name="connsiteX860" fmla="*/ 58015 w 84817"/>
                  <a:gd name="connsiteY860" fmla="*/ 7847 h 92753"/>
                  <a:gd name="connsiteX861" fmla="*/ 57750 w 84817"/>
                  <a:gd name="connsiteY861" fmla="*/ 7582 h 92753"/>
                  <a:gd name="connsiteX862" fmla="*/ 56516 w 84817"/>
                  <a:gd name="connsiteY862" fmla="*/ 7847 h 92753"/>
                  <a:gd name="connsiteX863" fmla="*/ 56869 w 84817"/>
                  <a:gd name="connsiteY863" fmla="*/ 7230 h 92753"/>
                  <a:gd name="connsiteX864" fmla="*/ 57398 w 84817"/>
                  <a:gd name="connsiteY864" fmla="*/ 7582 h 92753"/>
                  <a:gd name="connsiteX865" fmla="*/ 57750 w 84817"/>
                  <a:gd name="connsiteY865" fmla="*/ 6965 h 92753"/>
                  <a:gd name="connsiteX866" fmla="*/ 58015 w 84817"/>
                  <a:gd name="connsiteY866" fmla="*/ 6701 h 92753"/>
                  <a:gd name="connsiteX867" fmla="*/ 58279 w 84817"/>
                  <a:gd name="connsiteY867" fmla="*/ 6701 h 92753"/>
                  <a:gd name="connsiteX868" fmla="*/ 58632 w 84817"/>
                  <a:gd name="connsiteY868" fmla="*/ 6348 h 92753"/>
                  <a:gd name="connsiteX869" fmla="*/ 58896 w 84817"/>
                  <a:gd name="connsiteY869" fmla="*/ 6084 h 92753"/>
                  <a:gd name="connsiteX870" fmla="*/ 58015 w 84817"/>
                  <a:gd name="connsiteY870" fmla="*/ 4673 h 92753"/>
                  <a:gd name="connsiteX871" fmla="*/ 57398 w 84817"/>
                  <a:gd name="connsiteY871" fmla="*/ 4320 h 92753"/>
                  <a:gd name="connsiteX872" fmla="*/ 57133 w 84817"/>
                  <a:gd name="connsiteY872" fmla="*/ 3791 h 92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</a:cxnLst>
                <a:rect l="l" t="t" r="r" b="b"/>
                <a:pathLst>
                  <a:path w="84817" h="92753">
                    <a:moveTo>
                      <a:pt x="57133" y="3527"/>
                    </a:moveTo>
                    <a:lnTo>
                      <a:pt x="57133" y="3174"/>
                    </a:lnTo>
                    <a:lnTo>
                      <a:pt x="56869" y="2557"/>
                    </a:lnTo>
                    <a:lnTo>
                      <a:pt x="56516" y="2292"/>
                    </a:lnTo>
                    <a:lnTo>
                      <a:pt x="56251" y="2557"/>
                    </a:lnTo>
                    <a:lnTo>
                      <a:pt x="55722" y="2557"/>
                    </a:lnTo>
                    <a:lnTo>
                      <a:pt x="55105" y="2910"/>
                    </a:lnTo>
                    <a:lnTo>
                      <a:pt x="54488" y="2910"/>
                    </a:lnTo>
                    <a:lnTo>
                      <a:pt x="54224" y="3527"/>
                    </a:lnTo>
                    <a:lnTo>
                      <a:pt x="53959" y="4056"/>
                    </a:lnTo>
                    <a:lnTo>
                      <a:pt x="54224" y="4056"/>
                    </a:lnTo>
                    <a:lnTo>
                      <a:pt x="54488" y="4056"/>
                    </a:lnTo>
                    <a:lnTo>
                      <a:pt x="54841" y="4320"/>
                    </a:lnTo>
                    <a:lnTo>
                      <a:pt x="55105" y="4673"/>
                    </a:lnTo>
                    <a:lnTo>
                      <a:pt x="55370" y="4673"/>
                    </a:lnTo>
                    <a:lnTo>
                      <a:pt x="55370" y="4320"/>
                    </a:lnTo>
                    <a:lnTo>
                      <a:pt x="55370" y="4056"/>
                    </a:lnTo>
                    <a:lnTo>
                      <a:pt x="55370" y="3791"/>
                    </a:lnTo>
                    <a:lnTo>
                      <a:pt x="55722" y="3791"/>
                    </a:lnTo>
                    <a:lnTo>
                      <a:pt x="55722" y="4056"/>
                    </a:lnTo>
                    <a:lnTo>
                      <a:pt x="55987" y="4673"/>
                    </a:lnTo>
                    <a:lnTo>
                      <a:pt x="55987" y="4938"/>
                    </a:lnTo>
                    <a:lnTo>
                      <a:pt x="56251" y="5555"/>
                    </a:lnTo>
                    <a:lnTo>
                      <a:pt x="55987" y="5819"/>
                    </a:lnTo>
                    <a:lnTo>
                      <a:pt x="55722" y="6084"/>
                    </a:lnTo>
                    <a:lnTo>
                      <a:pt x="55722" y="6348"/>
                    </a:lnTo>
                    <a:lnTo>
                      <a:pt x="55370" y="6348"/>
                    </a:lnTo>
                    <a:lnTo>
                      <a:pt x="55722" y="6084"/>
                    </a:lnTo>
                    <a:lnTo>
                      <a:pt x="55722" y="5819"/>
                    </a:lnTo>
                    <a:lnTo>
                      <a:pt x="55722" y="5555"/>
                    </a:lnTo>
                    <a:lnTo>
                      <a:pt x="55370" y="5202"/>
                    </a:lnTo>
                    <a:lnTo>
                      <a:pt x="55105" y="4938"/>
                    </a:lnTo>
                    <a:lnTo>
                      <a:pt x="54224" y="4673"/>
                    </a:lnTo>
                    <a:lnTo>
                      <a:pt x="53959" y="4673"/>
                    </a:lnTo>
                    <a:lnTo>
                      <a:pt x="53606" y="4673"/>
                    </a:lnTo>
                    <a:lnTo>
                      <a:pt x="53606" y="4320"/>
                    </a:lnTo>
                    <a:lnTo>
                      <a:pt x="53342" y="4056"/>
                    </a:lnTo>
                    <a:lnTo>
                      <a:pt x="53606" y="3791"/>
                    </a:lnTo>
                    <a:lnTo>
                      <a:pt x="53959" y="3174"/>
                    </a:lnTo>
                    <a:lnTo>
                      <a:pt x="53959" y="2910"/>
                    </a:lnTo>
                    <a:lnTo>
                      <a:pt x="53606" y="3174"/>
                    </a:lnTo>
                    <a:lnTo>
                      <a:pt x="53342" y="3527"/>
                    </a:lnTo>
                    <a:lnTo>
                      <a:pt x="53077" y="3527"/>
                    </a:lnTo>
                    <a:lnTo>
                      <a:pt x="52460" y="3791"/>
                    </a:lnTo>
                    <a:lnTo>
                      <a:pt x="52460" y="4320"/>
                    </a:lnTo>
                    <a:lnTo>
                      <a:pt x="53077" y="4320"/>
                    </a:lnTo>
                    <a:lnTo>
                      <a:pt x="53342" y="4673"/>
                    </a:lnTo>
                    <a:lnTo>
                      <a:pt x="53077" y="4938"/>
                    </a:lnTo>
                    <a:lnTo>
                      <a:pt x="53077" y="5555"/>
                    </a:lnTo>
                    <a:lnTo>
                      <a:pt x="52725" y="5555"/>
                    </a:lnTo>
                    <a:lnTo>
                      <a:pt x="52196" y="5555"/>
                    </a:lnTo>
                    <a:lnTo>
                      <a:pt x="52460" y="5202"/>
                    </a:lnTo>
                    <a:lnTo>
                      <a:pt x="52460" y="4938"/>
                    </a:lnTo>
                    <a:lnTo>
                      <a:pt x="51931" y="5555"/>
                    </a:lnTo>
                    <a:lnTo>
                      <a:pt x="52196" y="4938"/>
                    </a:lnTo>
                    <a:lnTo>
                      <a:pt x="51931" y="4673"/>
                    </a:lnTo>
                    <a:lnTo>
                      <a:pt x="51314" y="4673"/>
                    </a:lnTo>
                    <a:lnTo>
                      <a:pt x="51314" y="3791"/>
                    </a:lnTo>
                    <a:lnTo>
                      <a:pt x="50697" y="3527"/>
                    </a:lnTo>
                    <a:lnTo>
                      <a:pt x="50697" y="2557"/>
                    </a:lnTo>
                    <a:lnTo>
                      <a:pt x="50168" y="2557"/>
                    </a:lnTo>
                    <a:lnTo>
                      <a:pt x="48933" y="3527"/>
                    </a:lnTo>
                    <a:lnTo>
                      <a:pt x="48933" y="3791"/>
                    </a:lnTo>
                    <a:lnTo>
                      <a:pt x="48669" y="4320"/>
                    </a:lnTo>
                    <a:lnTo>
                      <a:pt x="48140" y="4673"/>
                    </a:lnTo>
                    <a:lnTo>
                      <a:pt x="48140" y="4938"/>
                    </a:lnTo>
                    <a:lnTo>
                      <a:pt x="46906" y="5202"/>
                    </a:lnTo>
                    <a:lnTo>
                      <a:pt x="46641" y="5555"/>
                    </a:lnTo>
                    <a:lnTo>
                      <a:pt x="46377" y="5202"/>
                    </a:lnTo>
                    <a:lnTo>
                      <a:pt x="47787" y="4673"/>
                    </a:lnTo>
                    <a:lnTo>
                      <a:pt x="46641" y="4673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142" y="4938"/>
                    </a:lnTo>
                    <a:lnTo>
                      <a:pt x="44878" y="5819"/>
                    </a:lnTo>
                    <a:lnTo>
                      <a:pt x="45142" y="5819"/>
                    </a:lnTo>
                    <a:lnTo>
                      <a:pt x="44878" y="6084"/>
                    </a:lnTo>
                    <a:lnTo>
                      <a:pt x="43731" y="6084"/>
                    </a:lnTo>
                    <a:lnTo>
                      <a:pt x="42850" y="6084"/>
                    </a:lnTo>
                    <a:lnTo>
                      <a:pt x="44349" y="6348"/>
                    </a:lnTo>
                    <a:lnTo>
                      <a:pt x="44878" y="6965"/>
                    </a:lnTo>
                    <a:lnTo>
                      <a:pt x="43731" y="6965"/>
                    </a:lnTo>
                    <a:lnTo>
                      <a:pt x="42850" y="6965"/>
                    </a:lnTo>
                    <a:lnTo>
                      <a:pt x="43114" y="7230"/>
                    </a:lnTo>
                    <a:lnTo>
                      <a:pt x="42850" y="7582"/>
                    </a:lnTo>
                    <a:lnTo>
                      <a:pt x="42585" y="7582"/>
                    </a:lnTo>
                    <a:lnTo>
                      <a:pt x="42233" y="7847"/>
                    </a:lnTo>
                    <a:lnTo>
                      <a:pt x="42233" y="8112"/>
                    </a:lnTo>
                    <a:lnTo>
                      <a:pt x="41968" y="7847"/>
                    </a:lnTo>
                    <a:lnTo>
                      <a:pt x="41704" y="8112"/>
                    </a:lnTo>
                    <a:lnTo>
                      <a:pt x="41968" y="8729"/>
                    </a:lnTo>
                    <a:lnTo>
                      <a:pt x="42233" y="9346"/>
                    </a:lnTo>
                    <a:lnTo>
                      <a:pt x="42850" y="9875"/>
                    </a:lnTo>
                    <a:lnTo>
                      <a:pt x="41968" y="9610"/>
                    </a:lnTo>
                    <a:lnTo>
                      <a:pt x="41351" y="9875"/>
                    </a:lnTo>
                    <a:lnTo>
                      <a:pt x="41351" y="10492"/>
                    </a:lnTo>
                    <a:lnTo>
                      <a:pt x="41968" y="10492"/>
                    </a:lnTo>
                    <a:lnTo>
                      <a:pt x="42233" y="10757"/>
                    </a:lnTo>
                    <a:lnTo>
                      <a:pt x="42850" y="11374"/>
                    </a:lnTo>
                    <a:lnTo>
                      <a:pt x="42585" y="12256"/>
                    </a:lnTo>
                    <a:lnTo>
                      <a:pt x="41704" y="12256"/>
                    </a:lnTo>
                    <a:lnTo>
                      <a:pt x="40822" y="12256"/>
                    </a:lnTo>
                    <a:lnTo>
                      <a:pt x="40205" y="11903"/>
                    </a:lnTo>
                    <a:lnTo>
                      <a:pt x="39588" y="12256"/>
                    </a:lnTo>
                    <a:lnTo>
                      <a:pt x="41351" y="12785"/>
                    </a:lnTo>
                    <a:lnTo>
                      <a:pt x="41968" y="12785"/>
                    </a:lnTo>
                    <a:lnTo>
                      <a:pt x="40822" y="12785"/>
                    </a:lnTo>
                    <a:lnTo>
                      <a:pt x="39940" y="13137"/>
                    </a:lnTo>
                    <a:lnTo>
                      <a:pt x="39059" y="12785"/>
                    </a:lnTo>
                    <a:lnTo>
                      <a:pt x="39588" y="13402"/>
                    </a:lnTo>
                    <a:lnTo>
                      <a:pt x="40469" y="13402"/>
                    </a:lnTo>
                    <a:lnTo>
                      <a:pt x="41351" y="13666"/>
                    </a:lnTo>
                    <a:lnTo>
                      <a:pt x="42233" y="14812"/>
                    </a:lnTo>
                    <a:lnTo>
                      <a:pt x="40822" y="14548"/>
                    </a:lnTo>
                    <a:lnTo>
                      <a:pt x="38177" y="14283"/>
                    </a:lnTo>
                    <a:lnTo>
                      <a:pt x="36414" y="14548"/>
                    </a:lnTo>
                    <a:lnTo>
                      <a:pt x="35885" y="15694"/>
                    </a:lnTo>
                    <a:lnTo>
                      <a:pt x="35003" y="16576"/>
                    </a:lnTo>
                    <a:lnTo>
                      <a:pt x="35003" y="16928"/>
                    </a:lnTo>
                    <a:lnTo>
                      <a:pt x="37295" y="17810"/>
                    </a:lnTo>
                    <a:lnTo>
                      <a:pt x="38442" y="18075"/>
                    </a:lnTo>
                    <a:lnTo>
                      <a:pt x="40469" y="17810"/>
                    </a:lnTo>
                    <a:lnTo>
                      <a:pt x="41704" y="17193"/>
                    </a:lnTo>
                    <a:lnTo>
                      <a:pt x="42233" y="17457"/>
                    </a:lnTo>
                    <a:lnTo>
                      <a:pt x="41086" y="18339"/>
                    </a:lnTo>
                    <a:lnTo>
                      <a:pt x="41086" y="18956"/>
                    </a:lnTo>
                    <a:lnTo>
                      <a:pt x="41968" y="18339"/>
                    </a:lnTo>
                    <a:lnTo>
                      <a:pt x="42850" y="18339"/>
                    </a:lnTo>
                    <a:lnTo>
                      <a:pt x="44349" y="16928"/>
                    </a:lnTo>
                    <a:lnTo>
                      <a:pt x="43996" y="17810"/>
                    </a:lnTo>
                    <a:lnTo>
                      <a:pt x="44613" y="18075"/>
                    </a:lnTo>
                    <a:lnTo>
                      <a:pt x="45495" y="17810"/>
                    </a:lnTo>
                    <a:lnTo>
                      <a:pt x="47258" y="16928"/>
                    </a:lnTo>
                    <a:lnTo>
                      <a:pt x="47523" y="17810"/>
                    </a:lnTo>
                    <a:lnTo>
                      <a:pt x="46641" y="18075"/>
                    </a:lnTo>
                    <a:lnTo>
                      <a:pt x="46024" y="17810"/>
                    </a:lnTo>
                    <a:lnTo>
                      <a:pt x="45142" y="19221"/>
                    </a:lnTo>
                    <a:lnTo>
                      <a:pt x="45142" y="20103"/>
                    </a:lnTo>
                    <a:lnTo>
                      <a:pt x="44878" y="20720"/>
                    </a:lnTo>
                    <a:lnTo>
                      <a:pt x="41351" y="21249"/>
                    </a:lnTo>
                    <a:lnTo>
                      <a:pt x="41086" y="20720"/>
                    </a:lnTo>
                    <a:lnTo>
                      <a:pt x="40205" y="20720"/>
                    </a:lnTo>
                    <a:lnTo>
                      <a:pt x="40205" y="21249"/>
                    </a:lnTo>
                    <a:lnTo>
                      <a:pt x="39588" y="21866"/>
                    </a:lnTo>
                    <a:lnTo>
                      <a:pt x="38794" y="22130"/>
                    </a:lnTo>
                    <a:lnTo>
                      <a:pt x="38442" y="21866"/>
                    </a:lnTo>
                    <a:lnTo>
                      <a:pt x="37912" y="22130"/>
                    </a:lnTo>
                    <a:lnTo>
                      <a:pt x="37560" y="22747"/>
                    </a:lnTo>
                    <a:lnTo>
                      <a:pt x="36766" y="23277"/>
                    </a:lnTo>
                    <a:lnTo>
                      <a:pt x="36414" y="23894"/>
                    </a:lnTo>
                    <a:lnTo>
                      <a:pt x="36766" y="24511"/>
                    </a:lnTo>
                    <a:lnTo>
                      <a:pt x="37912" y="23629"/>
                    </a:lnTo>
                    <a:lnTo>
                      <a:pt x="39323" y="23894"/>
                    </a:lnTo>
                    <a:lnTo>
                      <a:pt x="39940" y="24511"/>
                    </a:lnTo>
                    <a:lnTo>
                      <a:pt x="38794" y="24511"/>
                    </a:lnTo>
                    <a:lnTo>
                      <a:pt x="37912" y="24775"/>
                    </a:lnTo>
                    <a:lnTo>
                      <a:pt x="39940" y="25393"/>
                    </a:lnTo>
                    <a:lnTo>
                      <a:pt x="39940" y="25922"/>
                    </a:lnTo>
                    <a:lnTo>
                      <a:pt x="39059" y="25657"/>
                    </a:lnTo>
                    <a:lnTo>
                      <a:pt x="38177" y="25657"/>
                    </a:lnTo>
                    <a:lnTo>
                      <a:pt x="37560" y="26274"/>
                    </a:lnTo>
                    <a:lnTo>
                      <a:pt x="38177" y="26539"/>
                    </a:lnTo>
                    <a:lnTo>
                      <a:pt x="39323" y="27685"/>
                    </a:lnTo>
                    <a:lnTo>
                      <a:pt x="37912" y="27068"/>
                    </a:lnTo>
                    <a:lnTo>
                      <a:pt x="37560" y="26803"/>
                    </a:lnTo>
                    <a:lnTo>
                      <a:pt x="37031" y="26539"/>
                    </a:lnTo>
                    <a:lnTo>
                      <a:pt x="36766" y="25657"/>
                    </a:lnTo>
                    <a:lnTo>
                      <a:pt x="35267" y="25922"/>
                    </a:lnTo>
                    <a:lnTo>
                      <a:pt x="34650" y="25657"/>
                    </a:lnTo>
                    <a:lnTo>
                      <a:pt x="32975" y="26274"/>
                    </a:lnTo>
                    <a:lnTo>
                      <a:pt x="31741" y="25922"/>
                    </a:lnTo>
                    <a:lnTo>
                      <a:pt x="32358" y="25040"/>
                    </a:lnTo>
                    <a:lnTo>
                      <a:pt x="31741" y="24775"/>
                    </a:lnTo>
                    <a:lnTo>
                      <a:pt x="30594" y="25040"/>
                    </a:lnTo>
                    <a:lnTo>
                      <a:pt x="29095" y="24511"/>
                    </a:lnTo>
                    <a:lnTo>
                      <a:pt x="28566" y="24775"/>
                    </a:lnTo>
                    <a:lnTo>
                      <a:pt x="27949" y="25657"/>
                    </a:lnTo>
                    <a:lnTo>
                      <a:pt x="28302" y="26803"/>
                    </a:lnTo>
                    <a:lnTo>
                      <a:pt x="28302" y="27420"/>
                    </a:lnTo>
                    <a:lnTo>
                      <a:pt x="28831" y="27685"/>
                    </a:lnTo>
                    <a:lnTo>
                      <a:pt x="27949" y="28831"/>
                    </a:lnTo>
                    <a:lnTo>
                      <a:pt x="27949" y="27949"/>
                    </a:lnTo>
                    <a:lnTo>
                      <a:pt x="27685" y="27068"/>
                    </a:lnTo>
                    <a:lnTo>
                      <a:pt x="27421" y="26803"/>
                    </a:lnTo>
                    <a:lnTo>
                      <a:pt x="26803" y="27068"/>
                    </a:lnTo>
                    <a:lnTo>
                      <a:pt x="26539" y="26803"/>
                    </a:lnTo>
                    <a:lnTo>
                      <a:pt x="25922" y="26539"/>
                    </a:lnTo>
                    <a:lnTo>
                      <a:pt x="26539" y="26274"/>
                    </a:lnTo>
                    <a:lnTo>
                      <a:pt x="26539" y="25657"/>
                    </a:lnTo>
                    <a:lnTo>
                      <a:pt x="27068" y="25040"/>
                    </a:lnTo>
                    <a:lnTo>
                      <a:pt x="26539" y="24511"/>
                    </a:lnTo>
                    <a:lnTo>
                      <a:pt x="24158" y="23894"/>
                    </a:lnTo>
                    <a:lnTo>
                      <a:pt x="23277" y="24511"/>
                    </a:lnTo>
                    <a:lnTo>
                      <a:pt x="22747" y="24775"/>
                    </a:lnTo>
                    <a:lnTo>
                      <a:pt x="21866" y="24775"/>
                    </a:lnTo>
                    <a:lnTo>
                      <a:pt x="21513" y="24511"/>
                    </a:lnTo>
                    <a:lnTo>
                      <a:pt x="20631" y="24775"/>
                    </a:lnTo>
                    <a:lnTo>
                      <a:pt x="18339" y="24511"/>
                    </a:lnTo>
                    <a:lnTo>
                      <a:pt x="17193" y="23894"/>
                    </a:lnTo>
                    <a:lnTo>
                      <a:pt x="16311" y="23629"/>
                    </a:lnTo>
                    <a:lnTo>
                      <a:pt x="15694" y="23629"/>
                    </a:lnTo>
                    <a:lnTo>
                      <a:pt x="15165" y="23277"/>
                    </a:lnTo>
                    <a:lnTo>
                      <a:pt x="14283" y="23629"/>
                    </a:lnTo>
                    <a:lnTo>
                      <a:pt x="14548" y="24511"/>
                    </a:lnTo>
                    <a:lnTo>
                      <a:pt x="15429" y="24511"/>
                    </a:lnTo>
                    <a:lnTo>
                      <a:pt x="16311" y="24775"/>
                    </a:lnTo>
                    <a:lnTo>
                      <a:pt x="16047" y="25657"/>
                    </a:lnTo>
                    <a:lnTo>
                      <a:pt x="15429" y="25922"/>
                    </a:lnTo>
                    <a:lnTo>
                      <a:pt x="14812" y="26274"/>
                    </a:lnTo>
                    <a:lnTo>
                      <a:pt x="14019" y="25657"/>
                    </a:lnTo>
                    <a:lnTo>
                      <a:pt x="13401" y="27068"/>
                    </a:lnTo>
                    <a:lnTo>
                      <a:pt x="12785" y="26803"/>
                    </a:lnTo>
                    <a:lnTo>
                      <a:pt x="12256" y="26274"/>
                    </a:lnTo>
                    <a:lnTo>
                      <a:pt x="12785" y="26274"/>
                    </a:lnTo>
                    <a:lnTo>
                      <a:pt x="13049" y="26803"/>
                    </a:lnTo>
                    <a:lnTo>
                      <a:pt x="13401" y="25922"/>
                    </a:lnTo>
                    <a:lnTo>
                      <a:pt x="13401" y="25657"/>
                    </a:lnTo>
                    <a:lnTo>
                      <a:pt x="12785" y="25657"/>
                    </a:lnTo>
                    <a:lnTo>
                      <a:pt x="12785" y="24775"/>
                    </a:lnTo>
                    <a:lnTo>
                      <a:pt x="12256" y="24511"/>
                    </a:lnTo>
                    <a:lnTo>
                      <a:pt x="11021" y="25393"/>
                    </a:lnTo>
                    <a:lnTo>
                      <a:pt x="10139" y="25657"/>
                    </a:lnTo>
                    <a:lnTo>
                      <a:pt x="10139" y="26274"/>
                    </a:lnTo>
                    <a:lnTo>
                      <a:pt x="9875" y="26803"/>
                    </a:lnTo>
                    <a:lnTo>
                      <a:pt x="9258" y="27949"/>
                    </a:lnTo>
                    <a:lnTo>
                      <a:pt x="10139" y="29448"/>
                    </a:lnTo>
                    <a:lnTo>
                      <a:pt x="10492" y="28831"/>
                    </a:lnTo>
                    <a:lnTo>
                      <a:pt x="9875" y="27949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492" y="27420"/>
                    </a:lnTo>
                    <a:lnTo>
                      <a:pt x="10492" y="26803"/>
                    </a:lnTo>
                    <a:lnTo>
                      <a:pt x="11021" y="26803"/>
                    </a:lnTo>
                    <a:lnTo>
                      <a:pt x="11638" y="27068"/>
                    </a:lnTo>
                    <a:lnTo>
                      <a:pt x="13049" y="27420"/>
                    </a:lnTo>
                    <a:lnTo>
                      <a:pt x="12785" y="27685"/>
                    </a:lnTo>
                    <a:lnTo>
                      <a:pt x="12785" y="27949"/>
                    </a:lnTo>
                    <a:lnTo>
                      <a:pt x="13049" y="27949"/>
                    </a:lnTo>
                    <a:lnTo>
                      <a:pt x="12785" y="28567"/>
                    </a:lnTo>
                    <a:lnTo>
                      <a:pt x="12520" y="29184"/>
                    </a:lnTo>
                    <a:lnTo>
                      <a:pt x="11903" y="29184"/>
                    </a:lnTo>
                    <a:lnTo>
                      <a:pt x="12520" y="30330"/>
                    </a:lnTo>
                    <a:lnTo>
                      <a:pt x="12785" y="30065"/>
                    </a:lnTo>
                    <a:lnTo>
                      <a:pt x="13049" y="29184"/>
                    </a:lnTo>
                    <a:lnTo>
                      <a:pt x="13666" y="29713"/>
                    </a:lnTo>
                    <a:lnTo>
                      <a:pt x="13049" y="30330"/>
                    </a:lnTo>
                    <a:lnTo>
                      <a:pt x="12520" y="30859"/>
                    </a:lnTo>
                    <a:lnTo>
                      <a:pt x="12785" y="31476"/>
                    </a:lnTo>
                    <a:lnTo>
                      <a:pt x="13401" y="31212"/>
                    </a:lnTo>
                    <a:lnTo>
                      <a:pt x="13666" y="31476"/>
                    </a:lnTo>
                    <a:lnTo>
                      <a:pt x="13666" y="31741"/>
                    </a:lnTo>
                    <a:lnTo>
                      <a:pt x="14283" y="32358"/>
                    </a:lnTo>
                    <a:lnTo>
                      <a:pt x="15165" y="32622"/>
                    </a:lnTo>
                    <a:lnTo>
                      <a:pt x="15165" y="31741"/>
                    </a:lnTo>
                    <a:lnTo>
                      <a:pt x="15429" y="31476"/>
                    </a:lnTo>
                    <a:lnTo>
                      <a:pt x="15694" y="31741"/>
                    </a:lnTo>
                    <a:lnTo>
                      <a:pt x="16311" y="32358"/>
                    </a:lnTo>
                    <a:lnTo>
                      <a:pt x="15694" y="33240"/>
                    </a:lnTo>
                    <a:lnTo>
                      <a:pt x="15165" y="32975"/>
                    </a:lnTo>
                    <a:lnTo>
                      <a:pt x="14019" y="33240"/>
                    </a:lnTo>
                    <a:lnTo>
                      <a:pt x="12785" y="32622"/>
                    </a:lnTo>
                    <a:lnTo>
                      <a:pt x="12256" y="33769"/>
                    </a:lnTo>
                    <a:lnTo>
                      <a:pt x="12785" y="35003"/>
                    </a:lnTo>
                    <a:lnTo>
                      <a:pt x="12785" y="35532"/>
                    </a:lnTo>
                    <a:lnTo>
                      <a:pt x="13401" y="35532"/>
                    </a:lnTo>
                    <a:lnTo>
                      <a:pt x="13401" y="35003"/>
                    </a:lnTo>
                    <a:lnTo>
                      <a:pt x="14812" y="34650"/>
                    </a:lnTo>
                    <a:lnTo>
                      <a:pt x="15694" y="33769"/>
                    </a:lnTo>
                    <a:lnTo>
                      <a:pt x="17722" y="34121"/>
                    </a:lnTo>
                    <a:lnTo>
                      <a:pt x="18956" y="33769"/>
                    </a:lnTo>
                    <a:lnTo>
                      <a:pt x="19221" y="34121"/>
                    </a:lnTo>
                    <a:lnTo>
                      <a:pt x="18956" y="35003"/>
                    </a:lnTo>
                    <a:lnTo>
                      <a:pt x="18339" y="35885"/>
                    </a:lnTo>
                    <a:lnTo>
                      <a:pt x="18604" y="36149"/>
                    </a:lnTo>
                    <a:lnTo>
                      <a:pt x="18604" y="36414"/>
                    </a:lnTo>
                    <a:lnTo>
                      <a:pt x="18604" y="36766"/>
                    </a:lnTo>
                    <a:lnTo>
                      <a:pt x="19838" y="37295"/>
                    </a:lnTo>
                    <a:lnTo>
                      <a:pt x="18604" y="37912"/>
                    </a:lnTo>
                    <a:lnTo>
                      <a:pt x="16928" y="37912"/>
                    </a:lnTo>
                    <a:lnTo>
                      <a:pt x="15429" y="37295"/>
                    </a:lnTo>
                    <a:lnTo>
                      <a:pt x="13049" y="37295"/>
                    </a:lnTo>
                    <a:lnTo>
                      <a:pt x="12520" y="37912"/>
                    </a:lnTo>
                    <a:lnTo>
                      <a:pt x="12256" y="38177"/>
                    </a:lnTo>
                    <a:lnTo>
                      <a:pt x="12520" y="39059"/>
                    </a:lnTo>
                    <a:lnTo>
                      <a:pt x="13666" y="39940"/>
                    </a:lnTo>
                    <a:lnTo>
                      <a:pt x="12256" y="41086"/>
                    </a:lnTo>
                    <a:lnTo>
                      <a:pt x="11903" y="41086"/>
                    </a:lnTo>
                    <a:lnTo>
                      <a:pt x="9258" y="40558"/>
                    </a:lnTo>
                    <a:lnTo>
                      <a:pt x="8993" y="41086"/>
                    </a:lnTo>
                    <a:lnTo>
                      <a:pt x="10492" y="41086"/>
                    </a:lnTo>
                    <a:lnTo>
                      <a:pt x="11021" y="41704"/>
                    </a:lnTo>
                    <a:lnTo>
                      <a:pt x="9258" y="41704"/>
                    </a:lnTo>
                    <a:lnTo>
                      <a:pt x="8993" y="42233"/>
                    </a:lnTo>
                    <a:lnTo>
                      <a:pt x="8729" y="42233"/>
                    </a:lnTo>
                    <a:lnTo>
                      <a:pt x="8112" y="42233"/>
                    </a:lnTo>
                    <a:lnTo>
                      <a:pt x="7847" y="42585"/>
                    </a:lnTo>
                    <a:lnTo>
                      <a:pt x="8993" y="42850"/>
                    </a:lnTo>
                    <a:lnTo>
                      <a:pt x="8993" y="43467"/>
                    </a:lnTo>
                    <a:lnTo>
                      <a:pt x="8993" y="43996"/>
                    </a:lnTo>
                    <a:lnTo>
                      <a:pt x="8729" y="44613"/>
                    </a:lnTo>
                    <a:lnTo>
                      <a:pt x="8464" y="44878"/>
                    </a:lnTo>
                    <a:lnTo>
                      <a:pt x="8112" y="44613"/>
                    </a:lnTo>
                    <a:lnTo>
                      <a:pt x="7230" y="45230"/>
                    </a:lnTo>
                    <a:lnTo>
                      <a:pt x="6348" y="45230"/>
                    </a:lnTo>
                    <a:lnTo>
                      <a:pt x="5819" y="45759"/>
                    </a:lnTo>
                    <a:lnTo>
                      <a:pt x="7583" y="45759"/>
                    </a:lnTo>
                    <a:lnTo>
                      <a:pt x="8112" y="45495"/>
                    </a:lnTo>
                    <a:lnTo>
                      <a:pt x="8729" y="45759"/>
                    </a:lnTo>
                    <a:lnTo>
                      <a:pt x="8729" y="45495"/>
                    </a:lnTo>
                    <a:lnTo>
                      <a:pt x="9258" y="45759"/>
                    </a:lnTo>
                    <a:lnTo>
                      <a:pt x="9610" y="45759"/>
                    </a:lnTo>
                    <a:lnTo>
                      <a:pt x="10139" y="46377"/>
                    </a:lnTo>
                    <a:lnTo>
                      <a:pt x="10757" y="46377"/>
                    </a:lnTo>
                    <a:lnTo>
                      <a:pt x="11374" y="46377"/>
                    </a:lnTo>
                    <a:lnTo>
                      <a:pt x="11638" y="45495"/>
                    </a:lnTo>
                    <a:lnTo>
                      <a:pt x="12785" y="45230"/>
                    </a:lnTo>
                    <a:lnTo>
                      <a:pt x="14548" y="45230"/>
                    </a:lnTo>
                    <a:lnTo>
                      <a:pt x="15165" y="45759"/>
                    </a:lnTo>
                    <a:lnTo>
                      <a:pt x="13049" y="45759"/>
                    </a:lnTo>
                    <a:lnTo>
                      <a:pt x="12256" y="46024"/>
                    </a:lnTo>
                    <a:lnTo>
                      <a:pt x="13666" y="46377"/>
                    </a:lnTo>
                    <a:lnTo>
                      <a:pt x="14283" y="46024"/>
                    </a:lnTo>
                    <a:lnTo>
                      <a:pt x="14812" y="46377"/>
                    </a:lnTo>
                    <a:lnTo>
                      <a:pt x="13666" y="46906"/>
                    </a:lnTo>
                    <a:lnTo>
                      <a:pt x="11903" y="46906"/>
                    </a:lnTo>
                    <a:lnTo>
                      <a:pt x="11374" y="47787"/>
                    </a:lnTo>
                    <a:lnTo>
                      <a:pt x="11903" y="48140"/>
                    </a:lnTo>
                    <a:lnTo>
                      <a:pt x="12520" y="48140"/>
                    </a:lnTo>
                    <a:lnTo>
                      <a:pt x="13049" y="48404"/>
                    </a:lnTo>
                    <a:lnTo>
                      <a:pt x="14812" y="48140"/>
                    </a:lnTo>
                    <a:lnTo>
                      <a:pt x="16311" y="47787"/>
                    </a:lnTo>
                    <a:lnTo>
                      <a:pt x="16928" y="46906"/>
                    </a:lnTo>
                    <a:lnTo>
                      <a:pt x="17722" y="46641"/>
                    </a:lnTo>
                    <a:lnTo>
                      <a:pt x="18604" y="46906"/>
                    </a:lnTo>
                    <a:lnTo>
                      <a:pt x="18074" y="47787"/>
                    </a:lnTo>
                    <a:lnTo>
                      <a:pt x="17722" y="48140"/>
                    </a:lnTo>
                    <a:lnTo>
                      <a:pt x="17457" y="48669"/>
                    </a:lnTo>
                    <a:lnTo>
                      <a:pt x="18074" y="49022"/>
                    </a:lnTo>
                    <a:lnTo>
                      <a:pt x="18339" y="48404"/>
                    </a:lnTo>
                    <a:lnTo>
                      <a:pt x="18074" y="49551"/>
                    </a:lnTo>
                    <a:lnTo>
                      <a:pt x="18074" y="50168"/>
                    </a:lnTo>
                    <a:lnTo>
                      <a:pt x="20102" y="50168"/>
                    </a:lnTo>
                    <a:lnTo>
                      <a:pt x="21866" y="49815"/>
                    </a:lnTo>
                    <a:lnTo>
                      <a:pt x="24511" y="50168"/>
                    </a:lnTo>
                    <a:lnTo>
                      <a:pt x="25922" y="49551"/>
                    </a:lnTo>
                    <a:lnTo>
                      <a:pt x="26803" y="49551"/>
                    </a:lnTo>
                    <a:lnTo>
                      <a:pt x="27068" y="49022"/>
                    </a:lnTo>
                    <a:lnTo>
                      <a:pt x="27685" y="48404"/>
                    </a:lnTo>
                    <a:lnTo>
                      <a:pt x="29713" y="48669"/>
                    </a:lnTo>
                    <a:lnTo>
                      <a:pt x="30330" y="49022"/>
                    </a:lnTo>
                    <a:lnTo>
                      <a:pt x="30330" y="49551"/>
                    </a:lnTo>
                    <a:lnTo>
                      <a:pt x="29713" y="49815"/>
                    </a:lnTo>
                    <a:lnTo>
                      <a:pt x="29095" y="49551"/>
                    </a:lnTo>
                    <a:lnTo>
                      <a:pt x="29095" y="50168"/>
                    </a:lnTo>
                    <a:lnTo>
                      <a:pt x="28831" y="50697"/>
                    </a:lnTo>
                    <a:lnTo>
                      <a:pt x="30330" y="50168"/>
                    </a:lnTo>
                    <a:lnTo>
                      <a:pt x="30859" y="51050"/>
                    </a:lnTo>
                    <a:lnTo>
                      <a:pt x="30330" y="51314"/>
                    </a:lnTo>
                    <a:lnTo>
                      <a:pt x="30330" y="51931"/>
                    </a:lnTo>
                    <a:lnTo>
                      <a:pt x="28831" y="51579"/>
                    </a:lnTo>
                    <a:lnTo>
                      <a:pt x="28302" y="51314"/>
                    </a:lnTo>
                    <a:lnTo>
                      <a:pt x="27421" y="51314"/>
                    </a:lnTo>
                    <a:lnTo>
                      <a:pt x="28302" y="51579"/>
                    </a:lnTo>
                    <a:lnTo>
                      <a:pt x="29977" y="52196"/>
                    </a:lnTo>
                    <a:lnTo>
                      <a:pt x="29448" y="52460"/>
                    </a:lnTo>
                    <a:lnTo>
                      <a:pt x="28302" y="52196"/>
                    </a:lnTo>
                    <a:lnTo>
                      <a:pt x="27421" y="52196"/>
                    </a:lnTo>
                    <a:lnTo>
                      <a:pt x="26539" y="52196"/>
                    </a:lnTo>
                    <a:lnTo>
                      <a:pt x="26539" y="52460"/>
                    </a:lnTo>
                    <a:lnTo>
                      <a:pt x="27949" y="53342"/>
                    </a:lnTo>
                    <a:lnTo>
                      <a:pt x="27685" y="53606"/>
                    </a:lnTo>
                    <a:lnTo>
                      <a:pt x="27068" y="53959"/>
                    </a:lnTo>
                    <a:lnTo>
                      <a:pt x="25922" y="53342"/>
                    </a:lnTo>
                    <a:lnTo>
                      <a:pt x="25040" y="52725"/>
                    </a:lnTo>
                    <a:lnTo>
                      <a:pt x="23894" y="52460"/>
                    </a:lnTo>
                    <a:lnTo>
                      <a:pt x="23277" y="53959"/>
                    </a:lnTo>
                    <a:lnTo>
                      <a:pt x="22395" y="54224"/>
                    </a:lnTo>
                    <a:lnTo>
                      <a:pt x="21513" y="55370"/>
                    </a:lnTo>
                    <a:lnTo>
                      <a:pt x="20631" y="56516"/>
                    </a:lnTo>
                    <a:lnTo>
                      <a:pt x="19838" y="56869"/>
                    </a:lnTo>
                    <a:lnTo>
                      <a:pt x="19485" y="57398"/>
                    </a:lnTo>
                    <a:lnTo>
                      <a:pt x="20102" y="57398"/>
                    </a:lnTo>
                    <a:lnTo>
                      <a:pt x="21249" y="57750"/>
                    </a:lnTo>
                    <a:lnTo>
                      <a:pt x="22130" y="57750"/>
                    </a:lnTo>
                    <a:lnTo>
                      <a:pt x="21249" y="58897"/>
                    </a:lnTo>
                    <a:lnTo>
                      <a:pt x="20631" y="59514"/>
                    </a:lnTo>
                    <a:lnTo>
                      <a:pt x="20102" y="60307"/>
                    </a:lnTo>
                    <a:lnTo>
                      <a:pt x="19485" y="60924"/>
                    </a:lnTo>
                    <a:lnTo>
                      <a:pt x="18956" y="61542"/>
                    </a:lnTo>
                    <a:lnTo>
                      <a:pt x="19221" y="61806"/>
                    </a:lnTo>
                    <a:lnTo>
                      <a:pt x="18604" y="62423"/>
                    </a:lnTo>
                    <a:lnTo>
                      <a:pt x="17722" y="62423"/>
                    </a:lnTo>
                    <a:lnTo>
                      <a:pt x="17193" y="62071"/>
                    </a:lnTo>
                    <a:lnTo>
                      <a:pt x="15694" y="63834"/>
                    </a:lnTo>
                    <a:lnTo>
                      <a:pt x="14019" y="64716"/>
                    </a:lnTo>
                    <a:lnTo>
                      <a:pt x="13049" y="65862"/>
                    </a:lnTo>
                    <a:lnTo>
                      <a:pt x="11903" y="65862"/>
                    </a:lnTo>
                    <a:lnTo>
                      <a:pt x="10757" y="66479"/>
                    </a:lnTo>
                    <a:lnTo>
                      <a:pt x="10492" y="66744"/>
                    </a:lnTo>
                    <a:lnTo>
                      <a:pt x="10757" y="67096"/>
                    </a:lnTo>
                    <a:lnTo>
                      <a:pt x="11638" y="67361"/>
                    </a:lnTo>
                    <a:lnTo>
                      <a:pt x="12785" y="67096"/>
                    </a:lnTo>
                    <a:lnTo>
                      <a:pt x="14019" y="65862"/>
                    </a:lnTo>
                    <a:lnTo>
                      <a:pt x="15694" y="65597"/>
                    </a:lnTo>
                    <a:lnTo>
                      <a:pt x="16928" y="64716"/>
                    </a:lnTo>
                    <a:lnTo>
                      <a:pt x="17193" y="64187"/>
                    </a:lnTo>
                    <a:lnTo>
                      <a:pt x="16928" y="63834"/>
                    </a:lnTo>
                    <a:lnTo>
                      <a:pt x="17193" y="63569"/>
                    </a:lnTo>
                    <a:lnTo>
                      <a:pt x="17457" y="63834"/>
                    </a:lnTo>
                    <a:lnTo>
                      <a:pt x="17722" y="64716"/>
                    </a:lnTo>
                    <a:lnTo>
                      <a:pt x="20367" y="65333"/>
                    </a:lnTo>
                    <a:lnTo>
                      <a:pt x="22747" y="65333"/>
                    </a:lnTo>
                    <a:lnTo>
                      <a:pt x="24158" y="64716"/>
                    </a:lnTo>
                    <a:lnTo>
                      <a:pt x="26186" y="64451"/>
                    </a:lnTo>
                    <a:lnTo>
                      <a:pt x="26803" y="63569"/>
                    </a:lnTo>
                    <a:lnTo>
                      <a:pt x="27685" y="62423"/>
                    </a:lnTo>
                    <a:lnTo>
                      <a:pt x="28566" y="61542"/>
                    </a:lnTo>
                    <a:lnTo>
                      <a:pt x="29448" y="61542"/>
                    </a:lnTo>
                    <a:lnTo>
                      <a:pt x="29713" y="62071"/>
                    </a:lnTo>
                    <a:lnTo>
                      <a:pt x="29448" y="63305"/>
                    </a:lnTo>
                    <a:lnTo>
                      <a:pt x="30330" y="63305"/>
                    </a:lnTo>
                    <a:lnTo>
                      <a:pt x="32358" y="63569"/>
                    </a:lnTo>
                    <a:lnTo>
                      <a:pt x="33239" y="63834"/>
                    </a:lnTo>
                    <a:lnTo>
                      <a:pt x="32358" y="64187"/>
                    </a:lnTo>
                    <a:lnTo>
                      <a:pt x="30330" y="63569"/>
                    </a:lnTo>
                    <a:lnTo>
                      <a:pt x="29713" y="64187"/>
                    </a:lnTo>
                    <a:lnTo>
                      <a:pt x="29095" y="64187"/>
                    </a:lnTo>
                    <a:lnTo>
                      <a:pt x="28566" y="64980"/>
                    </a:lnTo>
                    <a:lnTo>
                      <a:pt x="27685" y="64716"/>
                    </a:lnTo>
                    <a:lnTo>
                      <a:pt x="25922" y="65333"/>
                    </a:lnTo>
                    <a:lnTo>
                      <a:pt x="23012" y="66215"/>
                    </a:lnTo>
                    <a:lnTo>
                      <a:pt x="20102" y="65862"/>
                    </a:lnTo>
                    <a:lnTo>
                      <a:pt x="18956" y="66479"/>
                    </a:lnTo>
                    <a:lnTo>
                      <a:pt x="16311" y="66479"/>
                    </a:lnTo>
                    <a:lnTo>
                      <a:pt x="15694" y="67096"/>
                    </a:lnTo>
                    <a:lnTo>
                      <a:pt x="15694" y="68242"/>
                    </a:lnTo>
                    <a:lnTo>
                      <a:pt x="16576" y="68771"/>
                    </a:lnTo>
                    <a:lnTo>
                      <a:pt x="14548" y="68507"/>
                    </a:lnTo>
                    <a:lnTo>
                      <a:pt x="13401" y="69389"/>
                    </a:lnTo>
                    <a:lnTo>
                      <a:pt x="12785" y="69653"/>
                    </a:lnTo>
                    <a:lnTo>
                      <a:pt x="11638" y="69389"/>
                    </a:lnTo>
                    <a:lnTo>
                      <a:pt x="10492" y="70270"/>
                    </a:lnTo>
                    <a:lnTo>
                      <a:pt x="10139" y="70535"/>
                    </a:lnTo>
                    <a:lnTo>
                      <a:pt x="10139" y="71152"/>
                    </a:lnTo>
                    <a:lnTo>
                      <a:pt x="11021" y="70535"/>
                    </a:lnTo>
                    <a:lnTo>
                      <a:pt x="11021" y="71152"/>
                    </a:lnTo>
                    <a:lnTo>
                      <a:pt x="11021" y="72034"/>
                    </a:lnTo>
                    <a:lnTo>
                      <a:pt x="11021" y="72298"/>
                    </a:lnTo>
                    <a:lnTo>
                      <a:pt x="11021" y="72563"/>
                    </a:lnTo>
                    <a:lnTo>
                      <a:pt x="10492" y="72563"/>
                    </a:lnTo>
                    <a:lnTo>
                      <a:pt x="9875" y="72915"/>
                    </a:lnTo>
                    <a:lnTo>
                      <a:pt x="10492" y="73180"/>
                    </a:lnTo>
                    <a:lnTo>
                      <a:pt x="12520" y="72563"/>
                    </a:lnTo>
                    <a:lnTo>
                      <a:pt x="13049" y="73180"/>
                    </a:lnTo>
                    <a:lnTo>
                      <a:pt x="13401" y="73444"/>
                    </a:lnTo>
                    <a:lnTo>
                      <a:pt x="13049" y="74326"/>
                    </a:lnTo>
                    <a:lnTo>
                      <a:pt x="13049" y="74943"/>
                    </a:lnTo>
                    <a:lnTo>
                      <a:pt x="12520" y="74943"/>
                    </a:lnTo>
                    <a:lnTo>
                      <a:pt x="12520" y="74326"/>
                    </a:lnTo>
                    <a:lnTo>
                      <a:pt x="11638" y="74943"/>
                    </a:lnTo>
                    <a:lnTo>
                      <a:pt x="10139" y="74943"/>
                    </a:lnTo>
                    <a:lnTo>
                      <a:pt x="9875" y="74943"/>
                    </a:lnTo>
                    <a:lnTo>
                      <a:pt x="8729" y="74679"/>
                    </a:lnTo>
                    <a:lnTo>
                      <a:pt x="7847" y="73180"/>
                    </a:lnTo>
                    <a:lnTo>
                      <a:pt x="7583" y="72563"/>
                    </a:lnTo>
                    <a:lnTo>
                      <a:pt x="7230" y="72298"/>
                    </a:lnTo>
                    <a:lnTo>
                      <a:pt x="6965" y="72563"/>
                    </a:lnTo>
                    <a:lnTo>
                      <a:pt x="7583" y="73180"/>
                    </a:lnTo>
                    <a:lnTo>
                      <a:pt x="7583" y="74062"/>
                    </a:lnTo>
                    <a:lnTo>
                      <a:pt x="6965" y="74062"/>
                    </a:lnTo>
                    <a:lnTo>
                      <a:pt x="6084" y="74679"/>
                    </a:lnTo>
                    <a:lnTo>
                      <a:pt x="5819" y="74326"/>
                    </a:lnTo>
                    <a:lnTo>
                      <a:pt x="6084" y="73180"/>
                    </a:lnTo>
                    <a:lnTo>
                      <a:pt x="3174" y="74326"/>
                    </a:lnTo>
                    <a:lnTo>
                      <a:pt x="2028" y="74679"/>
                    </a:lnTo>
                    <a:lnTo>
                      <a:pt x="2028" y="74943"/>
                    </a:lnTo>
                    <a:lnTo>
                      <a:pt x="1675" y="75560"/>
                    </a:lnTo>
                    <a:lnTo>
                      <a:pt x="2028" y="75825"/>
                    </a:lnTo>
                    <a:lnTo>
                      <a:pt x="1146" y="75825"/>
                    </a:lnTo>
                    <a:lnTo>
                      <a:pt x="1146" y="75208"/>
                    </a:lnTo>
                    <a:lnTo>
                      <a:pt x="0" y="75825"/>
                    </a:lnTo>
                    <a:lnTo>
                      <a:pt x="0" y="76354"/>
                    </a:lnTo>
                    <a:lnTo>
                      <a:pt x="529" y="76354"/>
                    </a:lnTo>
                    <a:lnTo>
                      <a:pt x="0" y="76707"/>
                    </a:lnTo>
                    <a:lnTo>
                      <a:pt x="264" y="76971"/>
                    </a:lnTo>
                    <a:lnTo>
                      <a:pt x="0" y="77588"/>
                    </a:lnTo>
                    <a:lnTo>
                      <a:pt x="0" y="77853"/>
                    </a:lnTo>
                    <a:lnTo>
                      <a:pt x="529" y="78117"/>
                    </a:lnTo>
                    <a:lnTo>
                      <a:pt x="529" y="77588"/>
                    </a:lnTo>
                    <a:lnTo>
                      <a:pt x="793" y="77324"/>
                    </a:lnTo>
                    <a:lnTo>
                      <a:pt x="1675" y="77324"/>
                    </a:lnTo>
                    <a:lnTo>
                      <a:pt x="793" y="77588"/>
                    </a:lnTo>
                    <a:lnTo>
                      <a:pt x="2028" y="77853"/>
                    </a:lnTo>
                    <a:lnTo>
                      <a:pt x="3174" y="77853"/>
                    </a:lnTo>
                    <a:lnTo>
                      <a:pt x="3439" y="77324"/>
                    </a:lnTo>
                    <a:lnTo>
                      <a:pt x="4056" y="77324"/>
                    </a:lnTo>
                    <a:lnTo>
                      <a:pt x="4673" y="77324"/>
                    </a:lnTo>
                    <a:lnTo>
                      <a:pt x="8112" y="76971"/>
                    </a:lnTo>
                    <a:lnTo>
                      <a:pt x="8729" y="77324"/>
                    </a:lnTo>
                    <a:lnTo>
                      <a:pt x="8993" y="76707"/>
                    </a:lnTo>
                    <a:lnTo>
                      <a:pt x="9258" y="76971"/>
                    </a:lnTo>
                    <a:lnTo>
                      <a:pt x="9610" y="76707"/>
                    </a:lnTo>
                    <a:lnTo>
                      <a:pt x="10139" y="76707"/>
                    </a:lnTo>
                    <a:lnTo>
                      <a:pt x="12256" y="76971"/>
                    </a:lnTo>
                    <a:lnTo>
                      <a:pt x="12785" y="77588"/>
                    </a:lnTo>
                    <a:lnTo>
                      <a:pt x="12785" y="77853"/>
                    </a:lnTo>
                    <a:lnTo>
                      <a:pt x="12256" y="77853"/>
                    </a:lnTo>
                    <a:lnTo>
                      <a:pt x="10139" y="77588"/>
                    </a:lnTo>
                    <a:lnTo>
                      <a:pt x="9875" y="78734"/>
                    </a:lnTo>
                    <a:lnTo>
                      <a:pt x="9610" y="78117"/>
                    </a:lnTo>
                    <a:lnTo>
                      <a:pt x="8993" y="78734"/>
                    </a:lnTo>
                    <a:lnTo>
                      <a:pt x="6348" y="78999"/>
                    </a:lnTo>
                    <a:lnTo>
                      <a:pt x="6084" y="79616"/>
                    </a:lnTo>
                    <a:lnTo>
                      <a:pt x="3174" y="80498"/>
                    </a:lnTo>
                    <a:lnTo>
                      <a:pt x="3439" y="80762"/>
                    </a:lnTo>
                    <a:lnTo>
                      <a:pt x="3174" y="81027"/>
                    </a:lnTo>
                    <a:lnTo>
                      <a:pt x="2909" y="81027"/>
                    </a:lnTo>
                    <a:lnTo>
                      <a:pt x="3174" y="81644"/>
                    </a:lnTo>
                    <a:lnTo>
                      <a:pt x="3174" y="82261"/>
                    </a:lnTo>
                    <a:lnTo>
                      <a:pt x="2292" y="82790"/>
                    </a:lnTo>
                    <a:lnTo>
                      <a:pt x="1411" y="82526"/>
                    </a:lnTo>
                    <a:lnTo>
                      <a:pt x="793" y="82790"/>
                    </a:lnTo>
                    <a:lnTo>
                      <a:pt x="1411" y="83407"/>
                    </a:lnTo>
                    <a:lnTo>
                      <a:pt x="2028" y="83672"/>
                    </a:lnTo>
                    <a:lnTo>
                      <a:pt x="2028" y="84818"/>
                    </a:lnTo>
                    <a:lnTo>
                      <a:pt x="3174" y="84289"/>
                    </a:lnTo>
                    <a:lnTo>
                      <a:pt x="3439" y="82790"/>
                    </a:lnTo>
                    <a:lnTo>
                      <a:pt x="4937" y="83143"/>
                    </a:lnTo>
                    <a:lnTo>
                      <a:pt x="5819" y="84289"/>
                    </a:lnTo>
                    <a:lnTo>
                      <a:pt x="3791" y="85171"/>
                    </a:lnTo>
                    <a:lnTo>
                      <a:pt x="3174" y="85700"/>
                    </a:lnTo>
                    <a:lnTo>
                      <a:pt x="5819" y="85171"/>
                    </a:lnTo>
                    <a:lnTo>
                      <a:pt x="6348" y="85700"/>
                    </a:lnTo>
                    <a:lnTo>
                      <a:pt x="6965" y="85435"/>
                    </a:lnTo>
                    <a:lnTo>
                      <a:pt x="8729" y="84818"/>
                    </a:lnTo>
                    <a:lnTo>
                      <a:pt x="9258" y="84554"/>
                    </a:lnTo>
                    <a:lnTo>
                      <a:pt x="9610" y="84818"/>
                    </a:lnTo>
                    <a:lnTo>
                      <a:pt x="10492" y="84289"/>
                    </a:lnTo>
                    <a:lnTo>
                      <a:pt x="10757" y="84554"/>
                    </a:lnTo>
                    <a:lnTo>
                      <a:pt x="12256" y="84289"/>
                    </a:lnTo>
                    <a:lnTo>
                      <a:pt x="13049" y="83672"/>
                    </a:lnTo>
                    <a:lnTo>
                      <a:pt x="14812" y="82790"/>
                    </a:lnTo>
                    <a:lnTo>
                      <a:pt x="15694" y="82790"/>
                    </a:lnTo>
                    <a:lnTo>
                      <a:pt x="14283" y="84025"/>
                    </a:lnTo>
                    <a:lnTo>
                      <a:pt x="12785" y="84818"/>
                    </a:lnTo>
                    <a:lnTo>
                      <a:pt x="11903" y="85171"/>
                    </a:lnTo>
                    <a:lnTo>
                      <a:pt x="11903" y="85700"/>
                    </a:lnTo>
                    <a:lnTo>
                      <a:pt x="10139" y="85171"/>
                    </a:lnTo>
                    <a:lnTo>
                      <a:pt x="9610" y="85700"/>
                    </a:lnTo>
                    <a:lnTo>
                      <a:pt x="9610" y="85171"/>
                    </a:lnTo>
                    <a:lnTo>
                      <a:pt x="9258" y="85435"/>
                    </a:lnTo>
                    <a:lnTo>
                      <a:pt x="8464" y="85700"/>
                    </a:lnTo>
                    <a:lnTo>
                      <a:pt x="8112" y="86052"/>
                    </a:lnTo>
                    <a:lnTo>
                      <a:pt x="8464" y="86317"/>
                    </a:lnTo>
                    <a:lnTo>
                      <a:pt x="8993" y="86317"/>
                    </a:lnTo>
                    <a:lnTo>
                      <a:pt x="8993" y="87199"/>
                    </a:lnTo>
                    <a:lnTo>
                      <a:pt x="8464" y="87816"/>
                    </a:lnTo>
                    <a:lnTo>
                      <a:pt x="6348" y="86934"/>
                    </a:lnTo>
                    <a:lnTo>
                      <a:pt x="6084" y="87816"/>
                    </a:lnTo>
                    <a:lnTo>
                      <a:pt x="6084" y="88080"/>
                    </a:lnTo>
                    <a:lnTo>
                      <a:pt x="6348" y="88345"/>
                    </a:lnTo>
                    <a:lnTo>
                      <a:pt x="6084" y="88962"/>
                    </a:lnTo>
                    <a:lnTo>
                      <a:pt x="5466" y="88609"/>
                    </a:lnTo>
                    <a:lnTo>
                      <a:pt x="5466" y="88962"/>
                    </a:lnTo>
                    <a:lnTo>
                      <a:pt x="5466" y="89226"/>
                    </a:lnTo>
                    <a:lnTo>
                      <a:pt x="5819" y="89491"/>
                    </a:lnTo>
                    <a:lnTo>
                      <a:pt x="6084" y="89226"/>
                    </a:lnTo>
                    <a:lnTo>
                      <a:pt x="6348" y="89226"/>
                    </a:lnTo>
                    <a:lnTo>
                      <a:pt x="7583" y="89226"/>
                    </a:lnTo>
                    <a:lnTo>
                      <a:pt x="8993" y="88962"/>
                    </a:lnTo>
                    <a:lnTo>
                      <a:pt x="9258" y="88080"/>
                    </a:lnTo>
                    <a:lnTo>
                      <a:pt x="11021" y="88080"/>
                    </a:lnTo>
                    <a:lnTo>
                      <a:pt x="12520" y="87463"/>
                    </a:lnTo>
                    <a:lnTo>
                      <a:pt x="14283" y="87816"/>
                    </a:lnTo>
                    <a:lnTo>
                      <a:pt x="15694" y="87816"/>
                    </a:lnTo>
                    <a:lnTo>
                      <a:pt x="15165" y="86581"/>
                    </a:lnTo>
                    <a:lnTo>
                      <a:pt x="15694" y="85700"/>
                    </a:lnTo>
                    <a:lnTo>
                      <a:pt x="15694" y="85171"/>
                    </a:lnTo>
                    <a:lnTo>
                      <a:pt x="16311" y="85700"/>
                    </a:lnTo>
                    <a:lnTo>
                      <a:pt x="18074" y="86317"/>
                    </a:lnTo>
                    <a:lnTo>
                      <a:pt x="18604" y="86317"/>
                    </a:lnTo>
                    <a:lnTo>
                      <a:pt x="19221" y="86934"/>
                    </a:lnTo>
                    <a:lnTo>
                      <a:pt x="18604" y="87816"/>
                    </a:lnTo>
                    <a:lnTo>
                      <a:pt x="17722" y="87816"/>
                    </a:lnTo>
                    <a:lnTo>
                      <a:pt x="16311" y="88080"/>
                    </a:lnTo>
                    <a:lnTo>
                      <a:pt x="14812" y="88609"/>
                    </a:lnTo>
                    <a:lnTo>
                      <a:pt x="13401" y="88609"/>
                    </a:lnTo>
                    <a:lnTo>
                      <a:pt x="13049" y="89491"/>
                    </a:lnTo>
                    <a:lnTo>
                      <a:pt x="12520" y="89491"/>
                    </a:lnTo>
                    <a:lnTo>
                      <a:pt x="12256" y="90108"/>
                    </a:lnTo>
                    <a:lnTo>
                      <a:pt x="15694" y="88962"/>
                    </a:lnTo>
                    <a:lnTo>
                      <a:pt x="14548" y="90108"/>
                    </a:lnTo>
                    <a:lnTo>
                      <a:pt x="13049" y="90373"/>
                    </a:lnTo>
                    <a:lnTo>
                      <a:pt x="12256" y="91254"/>
                    </a:lnTo>
                    <a:lnTo>
                      <a:pt x="10492" y="91254"/>
                    </a:lnTo>
                    <a:lnTo>
                      <a:pt x="9875" y="91872"/>
                    </a:lnTo>
                    <a:lnTo>
                      <a:pt x="9875" y="92136"/>
                    </a:lnTo>
                    <a:lnTo>
                      <a:pt x="11374" y="92401"/>
                    </a:lnTo>
                    <a:lnTo>
                      <a:pt x="11638" y="92753"/>
                    </a:lnTo>
                    <a:lnTo>
                      <a:pt x="11903" y="92401"/>
                    </a:lnTo>
                    <a:lnTo>
                      <a:pt x="12520" y="92401"/>
                    </a:lnTo>
                    <a:lnTo>
                      <a:pt x="12256" y="91872"/>
                    </a:lnTo>
                    <a:lnTo>
                      <a:pt x="13401" y="92136"/>
                    </a:lnTo>
                    <a:lnTo>
                      <a:pt x="14283" y="91254"/>
                    </a:lnTo>
                    <a:lnTo>
                      <a:pt x="14812" y="91872"/>
                    </a:lnTo>
                    <a:lnTo>
                      <a:pt x="15429" y="91872"/>
                    </a:lnTo>
                    <a:lnTo>
                      <a:pt x="15429" y="91254"/>
                    </a:lnTo>
                    <a:lnTo>
                      <a:pt x="16047" y="91254"/>
                    </a:lnTo>
                    <a:lnTo>
                      <a:pt x="16928" y="91607"/>
                    </a:lnTo>
                    <a:lnTo>
                      <a:pt x="18339" y="91254"/>
                    </a:lnTo>
                    <a:lnTo>
                      <a:pt x="18339" y="90108"/>
                    </a:lnTo>
                    <a:lnTo>
                      <a:pt x="18956" y="90108"/>
                    </a:lnTo>
                    <a:lnTo>
                      <a:pt x="19485" y="90990"/>
                    </a:lnTo>
                    <a:lnTo>
                      <a:pt x="18604" y="91872"/>
                    </a:lnTo>
                    <a:lnTo>
                      <a:pt x="18604" y="92401"/>
                    </a:lnTo>
                    <a:lnTo>
                      <a:pt x="19485" y="92401"/>
                    </a:lnTo>
                    <a:lnTo>
                      <a:pt x="19838" y="92753"/>
                    </a:lnTo>
                    <a:lnTo>
                      <a:pt x="20367" y="92401"/>
                    </a:lnTo>
                    <a:lnTo>
                      <a:pt x="20984" y="91872"/>
                    </a:lnTo>
                    <a:lnTo>
                      <a:pt x="21249" y="91607"/>
                    </a:lnTo>
                    <a:lnTo>
                      <a:pt x="22747" y="91872"/>
                    </a:lnTo>
                    <a:lnTo>
                      <a:pt x="23277" y="92136"/>
                    </a:lnTo>
                    <a:lnTo>
                      <a:pt x="23541" y="91872"/>
                    </a:lnTo>
                    <a:lnTo>
                      <a:pt x="23541" y="91254"/>
                    </a:lnTo>
                    <a:lnTo>
                      <a:pt x="23894" y="90990"/>
                    </a:lnTo>
                    <a:lnTo>
                      <a:pt x="24775" y="91254"/>
                    </a:lnTo>
                    <a:lnTo>
                      <a:pt x="24511" y="90725"/>
                    </a:lnTo>
                    <a:lnTo>
                      <a:pt x="25040" y="90108"/>
                    </a:lnTo>
                    <a:lnTo>
                      <a:pt x="25657" y="90108"/>
                    </a:lnTo>
                    <a:lnTo>
                      <a:pt x="26186" y="89844"/>
                    </a:lnTo>
                    <a:lnTo>
                      <a:pt x="27068" y="90108"/>
                    </a:lnTo>
                    <a:lnTo>
                      <a:pt x="27949" y="91254"/>
                    </a:lnTo>
                    <a:lnTo>
                      <a:pt x="28302" y="90725"/>
                    </a:lnTo>
                    <a:lnTo>
                      <a:pt x="28302" y="90108"/>
                    </a:lnTo>
                    <a:lnTo>
                      <a:pt x="28302" y="89226"/>
                    </a:lnTo>
                    <a:lnTo>
                      <a:pt x="29448" y="89226"/>
                    </a:lnTo>
                    <a:lnTo>
                      <a:pt x="31212" y="89226"/>
                    </a:lnTo>
                    <a:lnTo>
                      <a:pt x="31741" y="90108"/>
                    </a:lnTo>
                    <a:lnTo>
                      <a:pt x="33239" y="88962"/>
                    </a:lnTo>
                    <a:lnTo>
                      <a:pt x="33768" y="89226"/>
                    </a:lnTo>
                    <a:lnTo>
                      <a:pt x="34386" y="88962"/>
                    </a:lnTo>
                    <a:lnTo>
                      <a:pt x="35003" y="89226"/>
                    </a:lnTo>
                    <a:lnTo>
                      <a:pt x="34386" y="88080"/>
                    </a:lnTo>
                    <a:lnTo>
                      <a:pt x="35267" y="87816"/>
                    </a:lnTo>
                    <a:lnTo>
                      <a:pt x="35532" y="87199"/>
                    </a:lnTo>
                    <a:lnTo>
                      <a:pt x="35267" y="86317"/>
                    </a:lnTo>
                    <a:lnTo>
                      <a:pt x="35885" y="86317"/>
                    </a:lnTo>
                    <a:lnTo>
                      <a:pt x="37295" y="87816"/>
                    </a:lnTo>
                    <a:lnTo>
                      <a:pt x="38177" y="86317"/>
                    </a:lnTo>
                    <a:lnTo>
                      <a:pt x="38442" y="86317"/>
                    </a:lnTo>
                    <a:lnTo>
                      <a:pt x="38794" y="86052"/>
                    </a:lnTo>
                    <a:lnTo>
                      <a:pt x="40822" y="85171"/>
                    </a:lnTo>
                    <a:lnTo>
                      <a:pt x="41351" y="84289"/>
                    </a:lnTo>
                    <a:lnTo>
                      <a:pt x="40205" y="84025"/>
                    </a:lnTo>
                    <a:lnTo>
                      <a:pt x="38794" y="82790"/>
                    </a:lnTo>
                    <a:lnTo>
                      <a:pt x="38177" y="82790"/>
                    </a:lnTo>
                    <a:lnTo>
                      <a:pt x="38177" y="82261"/>
                    </a:lnTo>
                    <a:lnTo>
                      <a:pt x="38794" y="82261"/>
                    </a:lnTo>
                    <a:lnTo>
                      <a:pt x="40822" y="82790"/>
                    </a:lnTo>
                    <a:lnTo>
                      <a:pt x="42585" y="82261"/>
                    </a:lnTo>
                    <a:lnTo>
                      <a:pt x="41968" y="82790"/>
                    </a:lnTo>
                    <a:lnTo>
                      <a:pt x="42233" y="83407"/>
                    </a:lnTo>
                    <a:lnTo>
                      <a:pt x="41968" y="84289"/>
                    </a:lnTo>
                    <a:lnTo>
                      <a:pt x="41968" y="84818"/>
                    </a:lnTo>
                    <a:lnTo>
                      <a:pt x="42585" y="84818"/>
                    </a:lnTo>
                    <a:lnTo>
                      <a:pt x="43731" y="84818"/>
                    </a:lnTo>
                    <a:lnTo>
                      <a:pt x="44878" y="84289"/>
                    </a:lnTo>
                    <a:lnTo>
                      <a:pt x="43996" y="84289"/>
                    </a:lnTo>
                    <a:lnTo>
                      <a:pt x="44878" y="82790"/>
                    </a:lnTo>
                    <a:lnTo>
                      <a:pt x="47787" y="82261"/>
                    </a:lnTo>
                    <a:lnTo>
                      <a:pt x="47787" y="81644"/>
                    </a:lnTo>
                    <a:lnTo>
                      <a:pt x="47523" y="80762"/>
                    </a:lnTo>
                    <a:lnTo>
                      <a:pt x="47787" y="80498"/>
                    </a:lnTo>
                    <a:lnTo>
                      <a:pt x="48669" y="80145"/>
                    </a:lnTo>
                    <a:lnTo>
                      <a:pt x="49286" y="81027"/>
                    </a:lnTo>
                    <a:lnTo>
                      <a:pt x="50432" y="81027"/>
                    </a:lnTo>
                    <a:lnTo>
                      <a:pt x="51050" y="81027"/>
                    </a:lnTo>
                    <a:lnTo>
                      <a:pt x="51314" y="80498"/>
                    </a:lnTo>
                    <a:lnTo>
                      <a:pt x="51579" y="80762"/>
                    </a:lnTo>
                    <a:lnTo>
                      <a:pt x="54488" y="79881"/>
                    </a:lnTo>
                    <a:lnTo>
                      <a:pt x="54224" y="79616"/>
                    </a:lnTo>
                    <a:lnTo>
                      <a:pt x="54488" y="79352"/>
                    </a:lnTo>
                    <a:lnTo>
                      <a:pt x="55722" y="78734"/>
                    </a:lnTo>
                    <a:lnTo>
                      <a:pt x="54841" y="78470"/>
                    </a:lnTo>
                    <a:lnTo>
                      <a:pt x="54224" y="78734"/>
                    </a:lnTo>
                    <a:lnTo>
                      <a:pt x="54224" y="78117"/>
                    </a:lnTo>
                    <a:lnTo>
                      <a:pt x="54488" y="77853"/>
                    </a:lnTo>
                    <a:lnTo>
                      <a:pt x="55722" y="78117"/>
                    </a:lnTo>
                    <a:lnTo>
                      <a:pt x="57133" y="77588"/>
                    </a:lnTo>
                    <a:lnTo>
                      <a:pt x="60660" y="77588"/>
                    </a:lnTo>
                    <a:lnTo>
                      <a:pt x="61806" y="77588"/>
                    </a:lnTo>
                    <a:lnTo>
                      <a:pt x="61806" y="76971"/>
                    </a:lnTo>
                    <a:lnTo>
                      <a:pt x="62423" y="76707"/>
                    </a:lnTo>
                    <a:lnTo>
                      <a:pt x="62952" y="76971"/>
                    </a:lnTo>
                    <a:lnTo>
                      <a:pt x="63569" y="76707"/>
                    </a:lnTo>
                    <a:lnTo>
                      <a:pt x="63569" y="76354"/>
                    </a:lnTo>
                    <a:lnTo>
                      <a:pt x="63834" y="76354"/>
                    </a:lnTo>
                    <a:lnTo>
                      <a:pt x="63569" y="77588"/>
                    </a:lnTo>
                    <a:lnTo>
                      <a:pt x="64451" y="77853"/>
                    </a:lnTo>
                    <a:lnTo>
                      <a:pt x="64980" y="77588"/>
                    </a:lnTo>
                    <a:lnTo>
                      <a:pt x="65597" y="76354"/>
                    </a:lnTo>
                    <a:lnTo>
                      <a:pt x="65597" y="74943"/>
                    </a:lnTo>
                    <a:lnTo>
                      <a:pt x="64980" y="73180"/>
                    </a:lnTo>
                    <a:lnTo>
                      <a:pt x="65862" y="74326"/>
                    </a:lnTo>
                    <a:lnTo>
                      <a:pt x="66744" y="74943"/>
                    </a:lnTo>
                    <a:lnTo>
                      <a:pt x="66744" y="76354"/>
                    </a:lnTo>
                    <a:lnTo>
                      <a:pt x="66744" y="76707"/>
                    </a:lnTo>
                    <a:lnTo>
                      <a:pt x="68507" y="76354"/>
                    </a:lnTo>
                    <a:lnTo>
                      <a:pt x="67625" y="74943"/>
                    </a:lnTo>
                    <a:lnTo>
                      <a:pt x="68507" y="75560"/>
                    </a:lnTo>
                    <a:lnTo>
                      <a:pt x="70270" y="74943"/>
                    </a:lnTo>
                    <a:lnTo>
                      <a:pt x="73444" y="76354"/>
                    </a:lnTo>
                    <a:lnTo>
                      <a:pt x="74326" y="75825"/>
                    </a:lnTo>
                    <a:lnTo>
                      <a:pt x="75208" y="75560"/>
                    </a:lnTo>
                    <a:lnTo>
                      <a:pt x="75560" y="75825"/>
                    </a:lnTo>
                    <a:lnTo>
                      <a:pt x="75208" y="76354"/>
                    </a:lnTo>
                    <a:lnTo>
                      <a:pt x="76971" y="75825"/>
                    </a:lnTo>
                    <a:lnTo>
                      <a:pt x="77236" y="75560"/>
                    </a:lnTo>
                    <a:lnTo>
                      <a:pt x="77236" y="76354"/>
                    </a:lnTo>
                    <a:lnTo>
                      <a:pt x="77853" y="76354"/>
                    </a:lnTo>
                    <a:lnTo>
                      <a:pt x="78734" y="75560"/>
                    </a:lnTo>
                    <a:lnTo>
                      <a:pt x="78470" y="74326"/>
                    </a:lnTo>
                    <a:lnTo>
                      <a:pt x="77588" y="73180"/>
                    </a:lnTo>
                    <a:lnTo>
                      <a:pt x="78117" y="72034"/>
                    </a:lnTo>
                    <a:lnTo>
                      <a:pt x="77588" y="72563"/>
                    </a:lnTo>
                    <a:lnTo>
                      <a:pt x="76354" y="72034"/>
                    </a:lnTo>
                    <a:lnTo>
                      <a:pt x="76354" y="71416"/>
                    </a:lnTo>
                    <a:lnTo>
                      <a:pt x="76971" y="71152"/>
                    </a:lnTo>
                    <a:lnTo>
                      <a:pt x="77588" y="71416"/>
                    </a:lnTo>
                    <a:lnTo>
                      <a:pt x="78734" y="70270"/>
                    </a:lnTo>
                    <a:lnTo>
                      <a:pt x="79881" y="67096"/>
                    </a:lnTo>
                    <a:lnTo>
                      <a:pt x="80145" y="63569"/>
                    </a:lnTo>
                    <a:lnTo>
                      <a:pt x="81909" y="62071"/>
                    </a:lnTo>
                    <a:lnTo>
                      <a:pt x="81909" y="59778"/>
                    </a:lnTo>
                    <a:lnTo>
                      <a:pt x="83672" y="59778"/>
                    </a:lnTo>
                    <a:lnTo>
                      <a:pt x="84818" y="56516"/>
                    </a:lnTo>
                    <a:lnTo>
                      <a:pt x="83936" y="56251"/>
                    </a:lnTo>
                    <a:lnTo>
                      <a:pt x="83936" y="52460"/>
                    </a:lnTo>
                    <a:lnTo>
                      <a:pt x="82261" y="50168"/>
                    </a:lnTo>
                    <a:lnTo>
                      <a:pt x="82526" y="49022"/>
                    </a:lnTo>
                    <a:lnTo>
                      <a:pt x="82526" y="48140"/>
                    </a:lnTo>
                    <a:lnTo>
                      <a:pt x="80762" y="46906"/>
                    </a:lnTo>
                    <a:lnTo>
                      <a:pt x="80762" y="46641"/>
                    </a:lnTo>
                    <a:lnTo>
                      <a:pt x="82526" y="45759"/>
                    </a:lnTo>
                    <a:lnTo>
                      <a:pt x="82526" y="44613"/>
                    </a:lnTo>
                    <a:lnTo>
                      <a:pt x="82526" y="42850"/>
                    </a:lnTo>
                    <a:lnTo>
                      <a:pt x="82526" y="41704"/>
                    </a:lnTo>
                    <a:lnTo>
                      <a:pt x="81027" y="40205"/>
                    </a:lnTo>
                    <a:lnTo>
                      <a:pt x="81027" y="39059"/>
                    </a:lnTo>
                    <a:lnTo>
                      <a:pt x="81027" y="37912"/>
                    </a:lnTo>
                    <a:lnTo>
                      <a:pt x="81027" y="37295"/>
                    </a:lnTo>
                    <a:lnTo>
                      <a:pt x="81027" y="36766"/>
                    </a:lnTo>
                    <a:lnTo>
                      <a:pt x="81027" y="35003"/>
                    </a:lnTo>
                    <a:lnTo>
                      <a:pt x="80145" y="35003"/>
                    </a:lnTo>
                    <a:lnTo>
                      <a:pt x="78999" y="33769"/>
                    </a:lnTo>
                    <a:lnTo>
                      <a:pt x="78999" y="31741"/>
                    </a:lnTo>
                    <a:lnTo>
                      <a:pt x="80145" y="31476"/>
                    </a:lnTo>
                    <a:lnTo>
                      <a:pt x="81380" y="31741"/>
                    </a:lnTo>
                    <a:lnTo>
                      <a:pt x="84818" y="30330"/>
                    </a:lnTo>
                    <a:lnTo>
                      <a:pt x="82261" y="30330"/>
                    </a:lnTo>
                    <a:lnTo>
                      <a:pt x="80145" y="30330"/>
                    </a:lnTo>
                    <a:lnTo>
                      <a:pt x="79263" y="30330"/>
                    </a:lnTo>
                    <a:lnTo>
                      <a:pt x="76971" y="30330"/>
                    </a:lnTo>
                    <a:lnTo>
                      <a:pt x="76354" y="30330"/>
                    </a:lnTo>
                    <a:lnTo>
                      <a:pt x="74943" y="30594"/>
                    </a:lnTo>
                    <a:lnTo>
                      <a:pt x="73797" y="30330"/>
                    </a:lnTo>
                    <a:lnTo>
                      <a:pt x="73797" y="27949"/>
                    </a:lnTo>
                    <a:lnTo>
                      <a:pt x="73797" y="27420"/>
                    </a:lnTo>
                    <a:lnTo>
                      <a:pt x="72298" y="26803"/>
                    </a:lnTo>
                    <a:lnTo>
                      <a:pt x="72298" y="27420"/>
                    </a:lnTo>
                    <a:lnTo>
                      <a:pt x="70535" y="26803"/>
                    </a:lnTo>
                    <a:lnTo>
                      <a:pt x="69124" y="23629"/>
                    </a:lnTo>
                    <a:lnTo>
                      <a:pt x="68242" y="22130"/>
                    </a:lnTo>
                    <a:lnTo>
                      <a:pt x="66479" y="22130"/>
                    </a:lnTo>
                    <a:lnTo>
                      <a:pt x="62952" y="24511"/>
                    </a:lnTo>
                    <a:lnTo>
                      <a:pt x="64716" y="25657"/>
                    </a:lnTo>
                    <a:lnTo>
                      <a:pt x="64716" y="26803"/>
                    </a:lnTo>
                    <a:lnTo>
                      <a:pt x="62952" y="26803"/>
                    </a:lnTo>
                    <a:lnTo>
                      <a:pt x="61806" y="29184"/>
                    </a:lnTo>
                    <a:lnTo>
                      <a:pt x="59425" y="28567"/>
                    </a:lnTo>
                    <a:lnTo>
                      <a:pt x="59425" y="27949"/>
                    </a:lnTo>
                    <a:lnTo>
                      <a:pt x="58015" y="29184"/>
                    </a:lnTo>
                    <a:lnTo>
                      <a:pt x="56869" y="28567"/>
                    </a:lnTo>
                    <a:lnTo>
                      <a:pt x="54841" y="26803"/>
                    </a:lnTo>
                    <a:lnTo>
                      <a:pt x="52196" y="26803"/>
                    </a:lnTo>
                    <a:lnTo>
                      <a:pt x="50697" y="24775"/>
                    </a:lnTo>
                    <a:lnTo>
                      <a:pt x="50697" y="24511"/>
                    </a:lnTo>
                    <a:lnTo>
                      <a:pt x="49551" y="23277"/>
                    </a:lnTo>
                    <a:lnTo>
                      <a:pt x="47258" y="23277"/>
                    </a:lnTo>
                    <a:lnTo>
                      <a:pt x="45759" y="21249"/>
                    </a:lnTo>
                    <a:lnTo>
                      <a:pt x="47523" y="20720"/>
                    </a:lnTo>
                    <a:lnTo>
                      <a:pt x="47523" y="20103"/>
                    </a:lnTo>
                    <a:lnTo>
                      <a:pt x="49815" y="20103"/>
                    </a:lnTo>
                    <a:lnTo>
                      <a:pt x="51050" y="20103"/>
                    </a:lnTo>
                    <a:lnTo>
                      <a:pt x="52460" y="19221"/>
                    </a:lnTo>
                    <a:lnTo>
                      <a:pt x="55370" y="17810"/>
                    </a:lnTo>
                    <a:lnTo>
                      <a:pt x="54224" y="17810"/>
                    </a:lnTo>
                    <a:lnTo>
                      <a:pt x="51050" y="16928"/>
                    </a:lnTo>
                    <a:lnTo>
                      <a:pt x="51050" y="16576"/>
                    </a:lnTo>
                    <a:lnTo>
                      <a:pt x="51314" y="14019"/>
                    </a:lnTo>
                    <a:lnTo>
                      <a:pt x="52725" y="14019"/>
                    </a:lnTo>
                    <a:lnTo>
                      <a:pt x="54224" y="15694"/>
                    </a:lnTo>
                    <a:lnTo>
                      <a:pt x="56251" y="14019"/>
                    </a:lnTo>
                    <a:lnTo>
                      <a:pt x="57750" y="14019"/>
                    </a:lnTo>
                    <a:lnTo>
                      <a:pt x="58896" y="12256"/>
                    </a:lnTo>
                    <a:lnTo>
                      <a:pt x="58896" y="11109"/>
                    </a:lnTo>
                    <a:lnTo>
                      <a:pt x="58896" y="9875"/>
                    </a:lnTo>
                    <a:lnTo>
                      <a:pt x="60660" y="8464"/>
                    </a:lnTo>
                    <a:lnTo>
                      <a:pt x="60660" y="7582"/>
                    </a:lnTo>
                    <a:lnTo>
                      <a:pt x="61542" y="7230"/>
                    </a:lnTo>
                    <a:lnTo>
                      <a:pt x="63569" y="7230"/>
                    </a:lnTo>
                    <a:lnTo>
                      <a:pt x="64187" y="6348"/>
                    </a:lnTo>
                    <a:lnTo>
                      <a:pt x="63569" y="6348"/>
                    </a:lnTo>
                    <a:lnTo>
                      <a:pt x="64187" y="5555"/>
                    </a:lnTo>
                    <a:lnTo>
                      <a:pt x="64451" y="5202"/>
                    </a:lnTo>
                    <a:lnTo>
                      <a:pt x="65597" y="5202"/>
                    </a:lnTo>
                    <a:lnTo>
                      <a:pt x="67008" y="5202"/>
                    </a:lnTo>
                    <a:lnTo>
                      <a:pt x="67625" y="4320"/>
                    </a:lnTo>
                    <a:lnTo>
                      <a:pt x="68507" y="3174"/>
                    </a:lnTo>
                    <a:lnTo>
                      <a:pt x="68771" y="2557"/>
                    </a:lnTo>
                    <a:lnTo>
                      <a:pt x="67978" y="2557"/>
                    </a:lnTo>
                    <a:lnTo>
                      <a:pt x="67008" y="2292"/>
                    </a:lnTo>
                    <a:lnTo>
                      <a:pt x="66744" y="2028"/>
                    </a:lnTo>
                    <a:lnTo>
                      <a:pt x="65862" y="1763"/>
                    </a:lnTo>
                    <a:lnTo>
                      <a:pt x="65597" y="1411"/>
                    </a:lnTo>
                    <a:lnTo>
                      <a:pt x="65333" y="882"/>
                    </a:lnTo>
                    <a:lnTo>
                      <a:pt x="64716" y="529"/>
                    </a:lnTo>
                    <a:lnTo>
                      <a:pt x="64187" y="265"/>
                    </a:lnTo>
                    <a:lnTo>
                      <a:pt x="62952" y="265"/>
                    </a:lnTo>
                    <a:lnTo>
                      <a:pt x="61542" y="0"/>
                    </a:lnTo>
                    <a:lnTo>
                      <a:pt x="62071" y="529"/>
                    </a:lnTo>
                    <a:lnTo>
                      <a:pt x="62071" y="1146"/>
                    </a:lnTo>
                    <a:lnTo>
                      <a:pt x="62952" y="1411"/>
                    </a:lnTo>
                    <a:lnTo>
                      <a:pt x="63834" y="2028"/>
                    </a:lnTo>
                    <a:lnTo>
                      <a:pt x="64187" y="2557"/>
                    </a:lnTo>
                    <a:lnTo>
                      <a:pt x="63217" y="2557"/>
                    </a:lnTo>
                    <a:lnTo>
                      <a:pt x="62688" y="2028"/>
                    </a:lnTo>
                    <a:lnTo>
                      <a:pt x="62071" y="1411"/>
                    </a:lnTo>
                    <a:lnTo>
                      <a:pt x="61189" y="1763"/>
                    </a:lnTo>
                    <a:lnTo>
                      <a:pt x="60924" y="2292"/>
                    </a:lnTo>
                    <a:lnTo>
                      <a:pt x="60307" y="2028"/>
                    </a:lnTo>
                    <a:lnTo>
                      <a:pt x="60043" y="1763"/>
                    </a:lnTo>
                    <a:lnTo>
                      <a:pt x="59778" y="2292"/>
                    </a:lnTo>
                    <a:lnTo>
                      <a:pt x="59161" y="2028"/>
                    </a:lnTo>
                    <a:lnTo>
                      <a:pt x="59161" y="2557"/>
                    </a:lnTo>
                    <a:lnTo>
                      <a:pt x="58896" y="3174"/>
                    </a:lnTo>
                    <a:lnTo>
                      <a:pt x="58632" y="4056"/>
                    </a:lnTo>
                    <a:lnTo>
                      <a:pt x="59161" y="4673"/>
                    </a:lnTo>
                    <a:lnTo>
                      <a:pt x="59425" y="5202"/>
                    </a:lnTo>
                    <a:lnTo>
                      <a:pt x="60043" y="5202"/>
                    </a:lnTo>
                    <a:lnTo>
                      <a:pt x="60043" y="6084"/>
                    </a:lnTo>
                    <a:lnTo>
                      <a:pt x="59778" y="6701"/>
                    </a:lnTo>
                    <a:lnTo>
                      <a:pt x="60043" y="6701"/>
                    </a:lnTo>
                    <a:lnTo>
                      <a:pt x="60307" y="7582"/>
                    </a:lnTo>
                    <a:lnTo>
                      <a:pt x="59161" y="8112"/>
                    </a:lnTo>
                    <a:lnTo>
                      <a:pt x="57750" y="8729"/>
                    </a:lnTo>
                    <a:lnTo>
                      <a:pt x="55987" y="9875"/>
                    </a:lnTo>
                    <a:lnTo>
                      <a:pt x="55987" y="9610"/>
                    </a:lnTo>
                    <a:lnTo>
                      <a:pt x="56869" y="8729"/>
                    </a:lnTo>
                    <a:lnTo>
                      <a:pt x="57133" y="8464"/>
                    </a:lnTo>
                    <a:lnTo>
                      <a:pt x="58015" y="7847"/>
                    </a:lnTo>
                    <a:lnTo>
                      <a:pt x="57750" y="7582"/>
                    </a:lnTo>
                    <a:lnTo>
                      <a:pt x="56516" y="7847"/>
                    </a:lnTo>
                    <a:lnTo>
                      <a:pt x="56869" y="7230"/>
                    </a:lnTo>
                    <a:lnTo>
                      <a:pt x="57398" y="7582"/>
                    </a:lnTo>
                    <a:lnTo>
                      <a:pt x="57750" y="6965"/>
                    </a:lnTo>
                    <a:lnTo>
                      <a:pt x="58015" y="6701"/>
                    </a:lnTo>
                    <a:lnTo>
                      <a:pt x="58279" y="6701"/>
                    </a:lnTo>
                    <a:lnTo>
                      <a:pt x="58632" y="6348"/>
                    </a:lnTo>
                    <a:lnTo>
                      <a:pt x="58896" y="6084"/>
                    </a:lnTo>
                    <a:lnTo>
                      <a:pt x="58015" y="4673"/>
                    </a:lnTo>
                    <a:lnTo>
                      <a:pt x="57398" y="4320"/>
                    </a:lnTo>
                    <a:lnTo>
                      <a:pt x="57133" y="379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5" name="Freihandform: Form 1634">
                <a:extLst>
                  <a:ext uri="{FF2B5EF4-FFF2-40B4-BE49-F238E27FC236}">
                    <a16:creationId xmlns:a16="http://schemas.microsoft.com/office/drawing/2014/main" id="{D3AD3FB7-ED4B-0B1E-DF2C-F366258BE95D}"/>
                  </a:ext>
                </a:extLst>
              </p:cNvPr>
              <p:cNvSpPr/>
              <p:nvPr/>
            </p:nvSpPr>
            <p:spPr>
              <a:xfrm>
                <a:off x="4093470" y="3171460"/>
                <a:ext cx="7582" cy="9962"/>
              </a:xfrm>
              <a:custGeom>
                <a:avLst/>
                <a:gdLst>
                  <a:gd name="connsiteX0" fmla="*/ 6701 w 7582"/>
                  <a:gd name="connsiteY0" fmla="*/ 617 h 9962"/>
                  <a:gd name="connsiteX1" fmla="*/ 7583 w 7582"/>
                  <a:gd name="connsiteY1" fmla="*/ 882 h 9962"/>
                  <a:gd name="connsiteX2" fmla="*/ 7583 w 7582"/>
                  <a:gd name="connsiteY2" fmla="*/ 3527 h 9962"/>
                  <a:gd name="connsiteX3" fmla="*/ 7583 w 7582"/>
                  <a:gd name="connsiteY3" fmla="*/ 4408 h 9962"/>
                  <a:gd name="connsiteX4" fmla="*/ 6701 w 7582"/>
                  <a:gd name="connsiteY4" fmla="*/ 4408 h 9962"/>
                  <a:gd name="connsiteX5" fmla="*/ 6701 w 7582"/>
                  <a:gd name="connsiteY5" fmla="*/ 5555 h 9962"/>
                  <a:gd name="connsiteX6" fmla="*/ 5555 w 7582"/>
                  <a:gd name="connsiteY6" fmla="*/ 4937 h 9962"/>
                  <a:gd name="connsiteX7" fmla="*/ 6436 w 7582"/>
                  <a:gd name="connsiteY7" fmla="*/ 6701 h 9962"/>
                  <a:gd name="connsiteX8" fmla="*/ 4673 w 7582"/>
                  <a:gd name="connsiteY8" fmla="*/ 7318 h 9962"/>
                  <a:gd name="connsiteX9" fmla="*/ 3527 w 7582"/>
                  <a:gd name="connsiteY9" fmla="*/ 9963 h 9962"/>
                  <a:gd name="connsiteX10" fmla="*/ 2910 w 7582"/>
                  <a:gd name="connsiteY10" fmla="*/ 8464 h 9962"/>
                  <a:gd name="connsiteX11" fmla="*/ 0 w 7582"/>
                  <a:gd name="connsiteY11" fmla="*/ 8464 h 9962"/>
                  <a:gd name="connsiteX12" fmla="*/ 0 w 7582"/>
                  <a:gd name="connsiteY12" fmla="*/ 7318 h 9962"/>
                  <a:gd name="connsiteX13" fmla="*/ 0 w 7582"/>
                  <a:gd name="connsiteY13" fmla="*/ 6701 h 9962"/>
                  <a:gd name="connsiteX14" fmla="*/ 1499 w 7582"/>
                  <a:gd name="connsiteY14" fmla="*/ 4673 h 9962"/>
                  <a:gd name="connsiteX15" fmla="*/ 2381 w 7582"/>
                  <a:gd name="connsiteY15" fmla="*/ 3527 h 9962"/>
                  <a:gd name="connsiteX16" fmla="*/ 3527 w 7582"/>
                  <a:gd name="connsiteY16" fmla="*/ 1763 h 9962"/>
                  <a:gd name="connsiteX17" fmla="*/ 5290 w 7582"/>
                  <a:gd name="connsiteY17" fmla="*/ 0 h 9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582" h="9962">
                    <a:moveTo>
                      <a:pt x="6701" y="617"/>
                    </a:moveTo>
                    <a:lnTo>
                      <a:pt x="7583" y="882"/>
                    </a:lnTo>
                    <a:lnTo>
                      <a:pt x="7583" y="3527"/>
                    </a:lnTo>
                    <a:lnTo>
                      <a:pt x="7583" y="4408"/>
                    </a:lnTo>
                    <a:lnTo>
                      <a:pt x="6701" y="4408"/>
                    </a:lnTo>
                    <a:lnTo>
                      <a:pt x="6701" y="5555"/>
                    </a:lnTo>
                    <a:lnTo>
                      <a:pt x="5555" y="4937"/>
                    </a:lnTo>
                    <a:lnTo>
                      <a:pt x="6436" y="6701"/>
                    </a:lnTo>
                    <a:lnTo>
                      <a:pt x="4673" y="7318"/>
                    </a:lnTo>
                    <a:lnTo>
                      <a:pt x="3527" y="9963"/>
                    </a:lnTo>
                    <a:lnTo>
                      <a:pt x="2910" y="8464"/>
                    </a:lnTo>
                    <a:lnTo>
                      <a:pt x="0" y="8464"/>
                    </a:lnTo>
                    <a:lnTo>
                      <a:pt x="0" y="7318"/>
                    </a:lnTo>
                    <a:lnTo>
                      <a:pt x="0" y="6701"/>
                    </a:lnTo>
                    <a:lnTo>
                      <a:pt x="1499" y="4673"/>
                    </a:lnTo>
                    <a:lnTo>
                      <a:pt x="2381" y="3527"/>
                    </a:lnTo>
                    <a:lnTo>
                      <a:pt x="3527" y="1763"/>
                    </a:lnTo>
                    <a:lnTo>
                      <a:pt x="5290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6" name="Freihandform: Form 1635">
                <a:extLst>
                  <a:ext uri="{FF2B5EF4-FFF2-40B4-BE49-F238E27FC236}">
                    <a16:creationId xmlns:a16="http://schemas.microsoft.com/office/drawing/2014/main" id="{F32B5CA2-C320-21B7-80D2-825EBA2B7792}"/>
                  </a:ext>
                </a:extLst>
              </p:cNvPr>
              <p:cNvSpPr/>
              <p:nvPr/>
            </p:nvSpPr>
            <p:spPr>
              <a:xfrm>
                <a:off x="4145137" y="3148095"/>
                <a:ext cx="11638" cy="8464"/>
              </a:xfrm>
              <a:custGeom>
                <a:avLst/>
                <a:gdLst>
                  <a:gd name="connsiteX0" fmla="*/ 9346 w 11638"/>
                  <a:gd name="connsiteY0" fmla="*/ 2645 h 8464"/>
                  <a:gd name="connsiteX1" fmla="*/ 10492 w 11638"/>
                  <a:gd name="connsiteY1" fmla="*/ 4144 h 8464"/>
                  <a:gd name="connsiteX2" fmla="*/ 10492 w 11638"/>
                  <a:gd name="connsiteY2" fmla="*/ 4761 h 8464"/>
                  <a:gd name="connsiteX3" fmla="*/ 11021 w 11638"/>
                  <a:gd name="connsiteY3" fmla="*/ 5290 h 8464"/>
                  <a:gd name="connsiteX4" fmla="*/ 11638 w 11638"/>
                  <a:gd name="connsiteY4" fmla="*/ 7053 h 8464"/>
                  <a:gd name="connsiteX5" fmla="*/ 10757 w 11638"/>
                  <a:gd name="connsiteY5" fmla="*/ 7318 h 8464"/>
                  <a:gd name="connsiteX6" fmla="*/ 11638 w 11638"/>
                  <a:gd name="connsiteY6" fmla="*/ 7935 h 8464"/>
                  <a:gd name="connsiteX7" fmla="*/ 11638 w 11638"/>
                  <a:gd name="connsiteY7" fmla="*/ 8464 h 8464"/>
                  <a:gd name="connsiteX8" fmla="*/ 9346 w 11638"/>
                  <a:gd name="connsiteY8" fmla="*/ 7582 h 8464"/>
                  <a:gd name="connsiteX9" fmla="*/ 8729 w 11638"/>
                  <a:gd name="connsiteY9" fmla="*/ 7053 h 8464"/>
                  <a:gd name="connsiteX10" fmla="*/ 8111 w 11638"/>
                  <a:gd name="connsiteY10" fmla="*/ 6789 h 8464"/>
                  <a:gd name="connsiteX11" fmla="*/ 6965 w 11638"/>
                  <a:gd name="connsiteY11" fmla="*/ 6436 h 8464"/>
                  <a:gd name="connsiteX12" fmla="*/ 5202 w 11638"/>
                  <a:gd name="connsiteY12" fmla="*/ 7053 h 8464"/>
                  <a:gd name="connsiteX13" fmla="*/ 4320 w 11638"/>
                  <a:gd name="connsiteY13" fmla="*/ 5290 h 8464"/>
                  <a:gd name="connsiteX14" fmla="*/ 4320 w 11638"/>
                  <a:gd name="connsiteY14" fmla="*/ 4761 h 8464"/>
                  <a:gd name="connsiteX15" fmla="*/ 2557 w 11638"/>
                  <a:gd name="connsiteY15" fmla="*/ 5290 h 8464"/>
                  <a:gd name="connsiteX16" fmla="*/ 1146 w 11638"/>
                  <a:gd name="connsiteY16" fmla="*/ 5907 h 8464"/>
                  <a:gd name="connsiteX17" fmla="*/ 264 w 11638"/>
                  <a:gd name="connsiteY17" fmla="*/ 5290 h 8464"/>
                  <a:gd name="connsiteX18" fmla="*/ 793 w 11638"/>
                  <a:gd name="connsiteY18" fmla="*/ 4144 h 8464"/>
                  <a:gd name="connsiteX19" fmla="*/ 2028 w 11638"/>
                  <a:gd name="connsiteY19" fmla="*/ 3527 h 8464"/>
                  <a:gd name="connsiteX20" fmla="*/ 0 w 11638"/>
                  <a:gd name="connsiteY20" fmla="*/ 2998 h 8464"/>
                  <a:gd name="connsiteX21" fmla="*/ 2028 w 11638"/>
                  <a:gd name="connsiteY21" fmla="*/ 2116 h 8464"/>
                  <a:gd name="connsiteX22" fmla="*/ 3174 w 11638"/>
                  <a:gd name="connsiteY22" fmla="*/ 1763 h 8464"/>
                  <a:gd name="connsiteX23" fmla="*/ 5202 w 11638"/>
                  <a:gd name="connsiteY23" fmla="*/ 1234 h 8464"/>
                  <a:gd name="connsiteX24" fmla="*/ 6348 w 11638"/>
                  <a:gd name="connsiteY24" fmla="*/ 0 h 8464"/>
                  <a:gd name="connsiteX25" fmla="*/ 7847 w 11638"/>
                  <a:gd name="connsiteY25" fmla="*/ 617 h 8464"/>
                  <a:gd name="connsiteX26" fmla="*/ 9610 w 11638"/>
                  <a:gd name="connsiteY26" fmla="*/ 1234 h 8464"/>
                  <a:gd name="connsiteX27" fmla="*/ 10492 w 11638"/>
                  <a:gd name="connsiteY27" fmla="*/ 2116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638" h="8464">
                    <a:moveTo>
                      <a:pt x="9346" y="2645"/>
                    </a:moveTo>
                    <a:lnTo>
                      <a:pt x="10492" y="4144"/>
                    </a:lnTo>
                    <a:lnTo>
                      <a:pt x="10492" y="4761"/>
                    </a:lnTo>
                    <a:lnTo>
                      <a:pt x="11021" y="5290"/>
                    </a:lnTo>
                    <a:lnTo>
                      <a:pt x="11638" y="7053"/>
                    </a:lnTo>
                    <a:lnTo>
                      <a:pt x="10757" y="7318"/>
                    </a:lnTo>
                    <a:lnTo>
                      <a:pt x="11638" y="7935"/>
                    </a:lnTo>
                    <a:lnTo>
                      <a:pt x="11638" y="8464"/>
                    </a:lnTo>
                    <a:lnTo>
                      <a:pt x="9346" y="7582"/>
                    </a:lnTo>
                    <a:lnTo>
                      <a:pt x="8729" y="7053"/>
                    </a:lnTo>
                    <a:lnTo>
                      <a:pt x="8111" y="6789"/>
                    </a:lnTo>
                    <a:lnTo>
                      <a:pt x="6965" y="6436"/>
                    </a:lnTo>
                    <a:lnTo>
                      <a:pt x="5202" y="7053"/>
                    </a:lnTo>
                    <a:lnTo>
                      <a:pt x="4320" y="5290"/>
                    </a:lnTo>
                    <a:lnTo>
                      <a:pt x="4320" y="4761"/>
                    </a:lnTo>
                    <a:lnTo>
                      <a:pt x="2557" y="5290"/>
                    </a:lnTo>
                    <a:lnTo>
                      <a:pt x="1146" y="5907"/>
                    </a:lnTo>
                    <a:lnTo>
                      <a:pt x="264" y="5290"/>
                    </a:lnTo>
                    <a:lnTo>
                      <a:pt x="793" y="4144"/>
                    </a:lnTo>
                    <a:lnTo>
                      <a:pt x="2028" y="3527"/>
                    </a:lnTo>
                    <a:lnTo>
                      <a:pt x="0" y="2998"/>
                    </a:lnTo>
                    <a:lnTo>
                      <a:pt x="2028" y="2116"/>
                    </a:lnTo>
                    <a:lnTo>
                      <a:pt x="3174" y="1763"/>
                    </a:lnTo>
                    <a:lnTo>
                      <a:pt x="5202" y="1234"/>
                    </a:lnTo>
                    <a:lnTo>
                      <a:pt x="6348" y="0"/>
                    </a:lnTo>
                    <a:lnTo>
                      <a:pt x="7847" y="617"/>
                    </a:lnTo>
                    <a:lnTo>
                      <a:pt x="9610" y="1234"/>
                    </a:lnTo>
                    <a:lnTo>
                      <a:pt x="10492" y="211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7" name="Freihandform: Form 1636">
                <a:extLst>
                  <a:ext uri="{FF2B5EF4-FFF2-40B4-BE49-F238E27FC236}">
                    <a16:creationId xmlns:a16="http://schemas.microsoft.com/office/drawing/2014/main" id="{D0CD8F3C-5CCD-8AB0-F218-EF2A7FD9E51F}"/>
                  </a:ext>
                </a:extLst>
              </p:cNvPr>
              <p:cNvSpPr/>
              <p:nvPr/>
            </p:nvSpPr>
            <p:spPr>
              <a:xfrm>
                <a:off x="4115336" y="3149858"/>
                <a:ext cx="23629" cy="18691"/>
              </a:xfrm>
              <a:custGeom>
                <a:avLst/>
                <a:gdLst>
                  <a:gd name="connsiteX0" fmla="*/ 14283 w 23629"/>
                  <a:gd name="connsiteY0" fmla="*/ 617 h 18691"/>
                  <a:gd name="connsiteX1" fmla="*/ 16311 w 23629"/>
                  <a:gd name="connsiteY1" fmla="*/ 0 h 18691"/>
                  <a:gd name="connsiteX2" fmla="*/ 17810 w 23629"/>
                  <a:gd name="connsiteY2" fmla="*/ 1763 h 18691"/>
                  <a:gd name="connsiteX3" fmla="*/ 18074 w 23629"/>
                  <a:gd name="connsiteY3" fmla="*/ 2998 h 18691"/>
                  <a:gd name="connsiteX4" fmla="*/ 16311 w 23629"/>
                  <a:gd name="connsiteY4" fmla="*/ 2381 h 18691"/>
                  <a:gd name="connsiteX5" fmla="*/ 16047 w 23629"/>
                  <a:gd name="connsiteY5" fmla="*/ 5026 h 18691"/>
                  <a:gd name="connsiteX6" fmla="*/ 17193 w 23629"/>
                  <a:gd name="connsiteY6" fmla="*/ 5290 h 18691"/>
                  <a:gd name="connsiteX7" fmla="*/ 16047 w 23629"/>
                  <a:gd name="connsiteY7" fmla="*/ 5555 h 18691"/>
                  <a:gd name="connsiteX8" fmla="*/ 15782 w 23629"/>
                  <a:gd name="connsiteY8" fmla="*/ 6172 h 18691"/>
                  <a:gd name="connsiteX9" fmla="*/ 16047 w 23629"/>
                  <a:gd name="connsiteY9" fmla="*/ 6701 h 18691"/>
                  <a:gd name="connsiteX10" fmla="*/ 16047 w 23629"/>
                  <a:gd name="connsiteY10" fmla="*/ 7935 h 18691"/>
                  <a:gd name="connsiteX11" fmla="*/ 18074 w 23629"/>
                  <a:gd name="connsiteY11" fmla="*/ 7935 h 18691"/>
                  <a:gd name="connsiteX12" fmla="*/ 19573 w 23629"/>
                  <a:gd name="connsiteY12" fmla="*/ 8729 h 18691"/>
                  <a:gd name="connsiteX13" fmla="*/ 21337 w 23629"/>
                  <a:gd name="connsiteY13" fmla="*/ 7935 h 18691"/>
                  <a:gd name="connsiteX14" fmla="*/ 21866 w 23629"/>
                  <a:gd name="connsiteY14" fmla="*/ 7935 h 18691"/>
                  <a:gd name="connsiteX15" fmla="*/ 21866 w 23629"/>
                  <a:gd name="connsiteY15" fmla="*/ 8729 h 18691"/>
                  <a:gd name="connsiteX16" fmla="*/ 23629 w 23629"/>
                  <a:gd name="connsiteY16" fmla="*/ 9081 h 18691"/>
                  <a:gd name="connsiteX17" fmla="*/ 23100 w 23629"/>
                  <a:gd name="connsiteY17" fmla="*/ 10845 h 18691"/>
                  <a:gd name="connsiteX18" fmla="*/ 21866 w 23629"/>
                  <a:gd name="connsiteY18" fmla="*/ 11109 h 18691"/>
                  <a:gd name="connsiteX19" fmla="*/ 21866 w 23629"/>
                  <a:gd name="connsiteY19" fmla="*/ 11726 h 18691"/>
                  <a:gd name="connsiteX20" fmla="*/ 21866 w 23629"/>
                  <a:gd name="connsiteY20" fmla="*/ 13137 h 18691"/>
                  <a:gd name="connsiteX21" fmla="*/ 20191 w 23629"/>
                  <a:gd name="connsiteY21" fmla="*/ 14636 h 18691"/>
                  <a:gd name="connsiteX22" fmla="*/ 19573 w 23629"/>
                  <a:gd name="connsiteY22" fmla="*/ 16311 h 18691"/>
                  <a:gd name="connsiteX23" fmla="*/ 18427 w 23629"/>
                  <a:gd name="connsiteY23" fmla="*/ 17546 h 18691"/>
                  <a:gd name="connsiteX24" fmla="*/ 14900 w 23629"/>
                  <a:gd name="connsiteY24" fmla="*/ 18692 h 18691"/>
                  <a:gd name="connsiteX25" fmla="*/ 14636 w 23629"/>
                  <a:gd name="connsiteY25" fmla="*/ 15782 h 18691"/>
                  <a:gd name="connsiteX26" fmla="*/ 12520 w 23629"/>
                  <a:gd name="connsiteY26" fmla="*/ 16047 h 18691"/>
                  <a:gd name="connsiteX27" fmla="*/ 8464 w 23629"/>
                  <a:gd name="connsiteY27" fmla="*/ 16311 h 18691"/>
                  <a:gd name="connsiteX28" fmla="*/ 8464 w 23629"/>
                  <a:gd name="connsiteY28" fmla="*/ 14900 h 18691"/>
                  <a:gd name="connsiteX29" fmla="*/ 8729 w 23629"/>
                  <a:gd name="connsiteY29" fmla="*/ 14283 h 18691"/>
                  <a:gd name="connsiteX30" fmla="*/ 8200 w 23629"/>
                  <a:gd name="connsiteY30" fmla="*/ 13754 h 18691"/>
                  <a:gd name="connsiteX31" fmla="*/ 7582 w 23629"/>
                  <a:gd name="connsiteY31" fmla="*/ 12520 h 18691"/>
                  <a:gd name="connsiteX32" fmla="*/ 5819 w 23629"/>
                  <a:gd name="connsiteY32" fmla="*/ 12520 h 18691"/>
                  <a:gd name="connsiteX33" fmla="*/ 4673 w 23629"/>
                  <a:gd name="connsiteY33" fmla="*/ 13490 h 18691"/>
                  <a:gd name="connsiteX34" fmla="*/ 4408 w 23629"/>
                  <a:gd name="connsiteY34" fmla="*/ 15165 h 18691"/>
                  <a:gd name="connsiteX35" fmla="*/ 3262 w 23629"/>
                  <a:gd name="connsiteY35" fmla="*/ 14900 h 18691"/>
                  <a:gd name="connsiteX36" fmla="*/ 3262 w 23629"/>
                  <a:gd name="connsiteY36" fmla="*/ 13754 h 18691"/>
                  <a:gd name="connsiteX37" fmla="*/ 2380 w 23629"/>
                  <a:gd name="connsiteY37" fmla="*/ 12520 h 18691"/>
                  <a:gd name="connsiteX38" fmla="*/ 882 w 23629"/>
                  <a:gd name="connsiteY38" fmla="*/ 13137 h 18691"/>
                  <a:gd name="connsiteX39" fmla="*/ 617 w 23629"/>
                  <a:gd name="connsiteY39" fmla="*/ 12873 h 18691"/>
                  <a:gd name="connsiteX40" fmla="*/ 0 w 23629"/>
                  <a:gd name="connsiteY40" fmla="*/ 12255 h 18691"/>
                  <a:gd name="connsiteX41" fmla="*/ 353 w 23629"/>
                  <a:gd name="connsiteY41" fmla="*/ 11726 h 18691"/>
                  <a:gd name="connsiteX42" fmla="*/ 3262 w 23629"/>
                  <a:gd name="connsiteY42" fmla="*/ 10492 h 18691"/>
                  <a:gd name="connsiteX43" fmla="*/ 3527 w 23629"/>
                  <a:gd name="connsiteY43" fmla="*/ 8729 h 18691"/>
                  <a:gd name="connsiteX44" fmla="*/ 3527 w 23629"/>
                  <a:gd name="connsiteY44" fmla="*/ 7582 h 18691"/>
                  <a:gd name="connsiteX45" fmla="*/ 4937 w 23629"/>
                  <a:gd name="connsiteY45" fmla="*/ 7582 h 18691"/>
                  <a:gd name="connsiteX46" fmla="*/ 4937 w 23629"/>
                  <a:gd name="connsiteY46" fmla="*/ 6701 h 18691"/>
                  <a:gd name="connsiteX47" fmla="*/ 5819 w 23629"/>
                  <a:gd name="connsiteY47" fmla="*/ 6172 h 18691"/>
                  <a:gd name="connsiteX48" fmla="*/ 7318 w 23629"/>
                  <a:gd name="connsiteY48" fmla="*/ 5290 h 18691"/>
                  <a:gd name="connsiteX49" fmla="*/ 8729 w 23629"/>
                  <a:gd name="connsiteY49" fmla="*/ 4408 h 18691"/>
                  <a:gd name="connsiteX50" fmla="*/ 10492 w 23629"/>
                  <a:gd name="connsiteY50" fmla="*/ 4408 h 18691"/>
                  <a:gd name="connsiteX51" fmla="*/ 10757 w 23629"/>
                  <a:gd name="connsiteY51" fmla="*/ 2998 h 18691"/>
                  <a:gd name="connsiteX52" fmla="*/ 11991 w 23629"/>
                  <a:gd name="connsiteY52" fmla="*/ 2998 h 18691"/>
                  <a:gd name="connsiteX53" fmla="*/ 12520 w 23629"/>
                  <a:gd name="connsiteY53" fmla="*/ 2645 h 18691"/>
                  <a:gd name="connsiteX54" fmla="*/ 14019 w 23629"/>
                  <a:gd name="connsiteY54" fmla="*/ 1234 h 18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3629" h="18691">
                    <a:moveTo>
                      <a:pt x="14283" y="617"/>
                    </a:moveTo>
                    <a:lnTo>
                      <a:pt x="16311" y="0"/>
                    </a:lnTo>
                    <a:lnTo>
                      <a:pt x="17810" y="1763"/>
                    </a:lnTo>
                    <a:lnTo>
                      <a:pt x="18074" y="2998"/>
                    </a:lnTo>
                    <a:lnTo>
                      <a:pt x="16311" y="2381"/>
                    </a:lnTo>
                    <a:lnTo>
                      <a:pt x="16047" y="5026"/>
                    </a:lnTo>
                    <a:lnTo>
                      <a:pt x="17193" y="5290"/>
                    </a:lnTo>
                    <a:lnTo>
                      <a:pt x="16047" y="5555"/>
                    </a:lnTo>
                    <a:lnTo>
                      <a:pt x="15782" y="6172"/>
                    </a:lnTo>
                    <a:lnTo>
                      <a:pt x="16047" y="6701"/>
                    </a:lnTo>
                    <a:lnTo>
                      <a:pt x="16047" y="7935"/>
                    </a:lnTo>
                    <a:lnTo>
                      <a:pt x="18074" y="7935"/>
                    </a:lnTo>
                    <a:lnTo>
                      <a:pt x="19573" y="8729"/>
                    </a:lnTo>
                    <a:lnTo>
                      <a:pt x="21337" y="7935"/>
                    </a:lnTo>
                    <a:lnTo>
                      <a:pt x="21866" y="7935"/>
                    </a:lnTo>
                    <a:lnTo>
                      <a:pt x="21866" y="8729"/>
                    </a:lnTo>
                    <a:lnTo>
                      <a:pt x="23629" y="9081"/>
                    </a:lnTo>
                    <a:lnTo>
                      <a:pt x="23100" y="10845"/>
                    </a:lnTo>
                    <a:lnTo>
                      <a:pt x="21866" y="11109"/>
                    </a:lnTo>
                    <a:lnTo>
                      <a:pt x="21866" y="11726"/>
                    </a:lnTo>
                    <a:lnTo>
                      <a:pt x="21866" y="13137"/>
                    </a:lnTo>
                    <a:lnTo>
                      <a:pt x="20191" y="14636"/>
                    </a:lnTo>
                    <a:lnTo>
                      <a:pt x="19573" y="16311"/>
                    </a:lnTo>
                    <a:lnTo>
                      <a:pt x="18427" y="17546"/>
                    </a:lnTo>
                    <a:lnTo>
                      <a:pt x="14900" y="18692"/>
                    </a:lnTo>
                    <a:lnTo>
                      <a:pt x="14636" y="15782"/>
                    </a:lnTo>
                    <a:lnTo>
                      <a:pt x="12520" y="16047"/>
                    </a:lnTo>
                    <a:lnTo>
                      <a:pt x="8464" y="16311"/>
                    </a:lnTo>
                    <a:lnTo>
                      <a:pt x="8464" y="14900"/>
                    </a:lnTo>
                    <a:lnTo>
                      <a:pt x="8729" y="14283"/>
                    </a:lnTo>
                    <a:lnTo>
                      <a:pt x="8200" y="13754"/>
                    </a:lnTo>
                    <a:lnTo>
                      <a:pt x="7582" y="12520"/>
                    </a:lnTo>
                    <a:lnTo>
                      <a:pt x="5819" y="12520"/>
                    </a:lnTo>
                    <a:lnTo>
                      <a:pt x="4673" y="13490"/>
                    </a:lnTo>
                    <a:lnTo>
                      <a:pt x="4408" y="15165"/>
                    </a:lnTo>
                    <a:lnTo>
                      <a:pt x="3262" y="14900"/>
                    </a:lnTo>
                    <a:lnTo>
                      <a:pt x="3262" y="13754"/>
                    </a:lnTo>
                    <a:lnTo>
                      <a:pt x="2380" y="12520"/>
                    </a:lnTo>
                    <a:lnTo>
                      <a:pt x="882" y="13137"/>
                    </a:lnTo>
                    <a:lnTo>
                      <a:pt x="617" y="12873"/>
                    </a:lnTo>
                    <a:lnTo>
                      <a:pt x="0" y="12255"/>
                    </a:lnTo>
                    <a:lnTo>
                      <a:pt x="353" y="11726"/>
                    </a:lnTo>
                    <a:lnTo>
                      <a:pt x="3262" y="10492"/>
                    </a:lnTo>
                    <a:lnTo>
                      <a:pt x="3527" y="8729"/>
                    </a:lnTo>
                    <a:lnTo>
                      <a:pt x="3527" y="7582"/>
                    </a:lnTo>
                    <a:lnTo>
                      <a:pt x="4937" y="7582"/>
                    </a:lnTo>
                    <a:lnTo>
                      <a:pt x="4937" y="6701"/>
                    </a:lnTo>
                    <a:lnTo>
                      <a:pt x="5819" y="6172"/>
                    </a:lnTo>
                    <a:lnTo>
                      <a:pt x="7318" y="5290"/>
                    </a:lnTo>
                    <a:lnTo>
                      <a:pt x="8729" y="4408"/>
                    </a:lnTo>
                    <a:lnTo>
                      <a:pt x="10492" y="4408"/>
                    </a:lnTo>
                    <a:lnTo>
                      <a:pt x="10757" y="2998"/>
                    </a:lnTo>
                    <a:lnTo>
                      <a:pt x="11991" y="2998"/>
                    </a:lnTo>
                    <a:lnTo>
                      <a:pt x="12520" y="2645"/>
                    </a:lnTo>
                    <a:lnTo>
                      <a:pt x="14019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8" name="Freihandform: Form 1637">
                <a:extLst>
                  <a:ext uri="{FF2B5EF4-FFF2-40B4-BE49-F238E27FC236}">
                    <a16:creationId xmlns:a16="http://schemas.microsoft.com/office/drawing/2014/main" id="{027C04A5-2881-1878-7149-35635CBD88B7}"/>
                  </a:ext>
                </a:extLst>
              </p:cNvPr>
              <p:cNvSpPr/>
              <p:nvPr/>
            </p:nvSpPr>
            <p:spPr>
              <a:xfrm>
                <a:off x="4239565" y="3079059"/>
                <a:ext cx="21072" cy="40822"/>
              </a:xfrm>
              <a:custGeom>
                <a:avLst/>
                <a:gdLst>
                  <a:gd name="connsiteX0" fmla="*/ 16928 w 21072"/>
                  <a:gd name="connsiteY0" fmla="*/ 264 h 40822"/>
                  <a:gd name="connsiteX1" fmla="*/ 16399 w 21072"/>
                  <a:gd name="connsiteY1" fmla="*/ 0 h 40822"/>
                  <a:gd name="connsiteX2" fmla="*/ 15518 w 21072"/>
                  <a:gd name="connsiteY2" fmla="*/ 529 h 40822"/>
                  <a:gd name="connsiteX3" fmla="*/ 15253 w 21072"/>
                  <a:gd name="connsiteY3" fmla="*/ 264 h 40822"/>
                  <a:gd name="connsiteX4" fmla="*/ 14636 w 21072"/>
                  <a:gd name="connsiteY4" fmla="*/ 264 h 40822"/>
                  <a:gd name="connsiteX5" fmla="*/ 14371 w 21072"/>
                  <a:gd name="connsiteY5" fmla="*/ 529 h 40822"/>
                  <a:gd name="connsiteX6" fmla="*/ 14636 w 21072"/>
                  <a:gd name="connsiteY6" fmla="*/ 1411 h 40822"/>
                  <a:gd name="connsiteX7" fmla="*/ 15518 w 21072"/>
                  <a:gd name="connsiteY7" fmla="*/ 2028 h 40822"/>
                  <a:gd name="connsiteX8" fmla="*/ 15518 w 21072"/>
                  <a:gd name="connsiteY8" fmla="*/ 2292 h 40822"/>
                  <a:gd name="connsiteX9" fmla="*/ 14019 w 21072"/>
                  <a:gd name="connsiteY9" fmla="*/ 2557 h 40822"/>
                  <a:gd name="connsiteX10" fmla="*/ 14371 w 21072"/>
                  <a:gd name="connsiteY10" fmla="*/ 3703 h 40822"/>
                  <a:gd name="connsiteX11" fmla="*/ 14900 w 21072"/>
                  <a:gd name="connsiteY11" fmla="*/ 4585 h 40822"/>
                  <a:gd name="connsiteX12" fmla="*/ 14019 w 21072"/>
                  <a:gd name="connsiteY12" fmla="*/ 4585 h 40822"/>
                  <a:gd name="connsiteX13" fmla="*/ 14371 w 21072"/>
                  <a:gd name="connsiteY13" fmla="*/ 5467 h 40822"/>
                  <a:gd name="connsiteX14" fmla="*/ 15253 w 21072"/>
                  <a:gd name="connsiteY14" fmla="*/ 5467 h 40822"/>
                  <a:gd name="connsiteX15" fmla="*/ 15782 w 21072"/>
                  <a:gd name="connsiteY15" fmla="*/ 6084 h 40822"/>
                  <a:gd name="connsiteX16" fmla="*/ 15782 w 21072"/>
                  <a:gd name="connsiteY16" fmla="*/ 6701 h 40822"/>
                  <a:gd name="connsiteX17" fmla="*/ 15253 w 21072"/>
                  <a:gd name="connsiteY17" fmla="*/ 7230 h 40822"/>
                  <a:gd name="connsiteX18" fmla="*/ 14371 w 21072"/>
                  <a:gd name="connsiteY18" fmla="*/ 8111 h 40822"/>
                  <a:gd name="connsiteX19" fmla="*/ 14019 w 21072"/>
                  <a:gd name="connsiteY19" fmla="*/ 7230 h 40822"/>
                  <a:gd name="connsiteX20" fmla="*/ 13490 w 21072"/>
                  <a:gd name="connsiteY20" fmla="*/ 6965 h 40822"/>
                  <a:gd name="connsiteX21" fmla="*/ 12873 w 21072"/>
                  <a:gd name="connsiteY21" fmla="*/ 6348 h 40822"/>
                  <a:gd name="connsiteX22" fmla="*/ 11374 w 21072"/>
                  <a:gd name="connsiteY22" fmla="*/ 6084 h 40822"/>
                  <a:gd name="connsiteX23" fmla="*/ 11109 w 21072"/>
                  <a:gd name="connsiteY23" fmla="*/ 6348 h 40822"/>
                  <a:gd name="connsiteX24" fmla="*/ 10580 w 21072"/>
                  <a:gd name="connsiteY24" fmla="*/ 6965 h 40822"/>
                  <a:gd name="connsiteX25" fmla="*/ 9699 w 21072"/>
                  <a:gd name="connsiteY25" fmla="*/ 7230 h 40822"/>
                  <a:gd name="connsiteX26" fmla="*/ 9963 w 21072"/>
                  <a:gd name="connsiteY26" fmla="*/ 7847 h 40822"/>
                  <a:gd name="connsiteX27" fmla="*/ 9081 w 21072"/>
                  <a:gd name="connsiteY27" fmla="*/ 8729 h 40822"/>
                  <a:gd name="connsiteX28" fmla="*/ 8464 w 21072"/>
                  <a:gd name="connsiteY28" fmla="*/ 8729 h 40822"/>
                  <a:gd name="connsiteX29" fmla="*/ 7053 w 21072"/>
                  <a:gd name="connsiteY29" fmla="*/ 8993 h 40822"/>
                  <a:gd name="connsiteX30" fmla="*/ 7318 w 21072"/>
                  <a:gd name="connsiteY30" fmla="*/ 9258 h 40822"/>
                  <a:gd name="connsiteX31" fmla="*/ 6789 w 21072"/>
                  <a:gd name="connsiteY31" fmla="*/ 9610 h 40822"/>
                  <a:gd name="connsiteX32" fmla="*/ 5907 w 21072"/>
                  <a:gd name="connsiteY32" fmla="*/ 9610 h 40822"/>
                  <a:gd name="connsiteX33" fmla="*/ 5026 w 21072"/>
                  <a:gd name="connsiteY33" fmla="*/ 9610 h 40822"/>
                  <a:gd name="connsiteX34" fmla="*/ 3527 w 21072"/>
                  <a:gd name="connsiteY34" fmla="*/ 9875 h 40822"/>
                  <a:gd name="connsiteX35" fmla="*/ 3527 w 21072"/>
                  <a:gd name="connsiteY35" fmla="*/ 10139 h 40822"/>
                  <a:gd name="connsiteX36" fmla="*/ 2998 w 21072"/>
                  <a:gd name="connsiteY36" fmla="*/ 10757 h 40822"/>
                  <a:gd name="connsiteX37" fmla="*/ 2645 w 21072"/>
                  <a:gd name="connsiteY37" fmla="*/ 11286 h 40822"/>
                  <a:gd name="connsiteX38" fmla="*/ 2116 w 21072"/>
                  <a:gd name="connsiteY38" fmla="*/ 11903 h 40822"/>
                  <a:gd name="connsiteX39" fmla="*/ 1763 w 21072"/>
                  <a:gd name="connsiteY39" fmla="*/ 11638 h 40822"/>
                  <a:gd name="connsiteX40" fmla="*/ 1234 w 21072"/>
                  <a:gd name="connsiteY40" fmla="*/ 12167 h 40822"/>
                  <a:gd name="connsiteX41" fmla="*/ 1499 w 21072"/>
                  <a:gd name="connsiteY41" fmla="*/ 12784 h 40822"/>
                  <a:gd name="connsiteX42" fmla="*/ 2116 w 21072"/>
                  <a:gd name="connsiteY42" fmla="*/ 13049 h 40822"/>
                  <a:gd name="connsiteX43" fmla="*/ 2116 w 21072"/>
                  <a:gd name="connsiteY43" fmla="*/ 13402 h 40822"/>
                  <a:gd name="connsiteX44" fmla="*/ 1499 w 21072"/>
                  <a:gd name="connsiteY44" fmla="*/ 13666 h 40822"/>
                  <a:gd name="connsiteX45" fmla="*/ 1763 w 21072"/>
                  <a:gd name="connsiteY45" fmla="*/ 13666 h 40822"/>
                  <a:gd name="connsiteX46" fmla="*/ 2116 w 21072"/>
                  <a:gd name="connsiteY46" fmla="*/ 13666 h 40822"/>
                  <a:gd name="connsiteX47" fmla="*/ 1763 w 21072"/>
                  <a:gd name="connsiteY47" fmla="*/ 13666 h 40822"/>
                  <a:gd name="connsiteX48" fmla="*/ 1234 w 21072"/>
                  <a:gd name="connsiteY48" fmla="*/ 13931 h 40822"/>
                  <a:gd name="connsiteX49" fmla="*/ 617 w 21072"/>
                  <a:gd name="connsiteY49" fmla="*/ 14548 h 40822"/>
                  <a:gd name="connsiteX50" fmla="*/ 0 w 21072"/>
                  <a:gd name="connsiteY50" fmla="*/ 15429 h 40822"/>
                  <a:gd name="connsiteX51" fmla="*/ 353 w 21072"/>
                  <a:gd name="connsiteY51" fmla="*/ 15958 h 40822"/>
                  <a:gd name="connsiteX52" fmla="*/ 353 w 21072"/>
                  <a:gd name="connsiteY52" fmla="*/ 16576 h 40822"/>
                  <a:gd name="connsiteX53" fmla="*/ 617 w 21072"/>
                  <a:gd name="connsiteY53" fmla="*/ 16576 h 40822"/>
                  <a:gd name="connsiteX54" fmla="*/ 1234 w 21072"/>
                  <a:gd name="connsiteY54" fmla="*/ 16840 h 40822"/>
                  <a:gd name="connsiteX55" fmla="*/ 1499 w 21072"/>
                  <a:gd name="connsiteY55" fmla="*/ 17457 h 40822"/>
                  <a:gd name="connsiteX56" fmla="*/ 2116 w 21072"/>
                  <a:gd name="connsiteY56" fmla="*/ 17722 h 40822"/>
                  <a:gd name="connsiteX57" fmla="*/ 3791 w 21072"/>
                  <a:gd name="connsiteY57" fmla="*/ 18604 h 40822"/>
                  <a:gd name="connsiteX58" fmla="*/ 2380 w 21072"/>
                  <a:gd name="connsiteY58" fmla="*/ 18339 h 40822"/>
                  <a:gd name="connsiteX59" fmla="*/ 1234 w 21072"/>
                  <a:gd name="connsiteY59" fmla="*/ 18604 h 40822"/>
                  <a:gd name="connsiteX60" fmla="*/ 882 w 21072"/>
                  <a:gd name="connsiteY60" fmla="*/ 18956 h 40822"/>
                  <a:gd name="connsiteX61" fmla="*/ 353 w 21072"/>
                  <a:gd name="connsiteY61" fmla="*/ 19221 h 40822"/>
                  <a:gd name="connsiteX62" fmla="*/ 882 w 21072"/>
                  <a:gd name="connsiteY62" fmla="*/ 20102 h 40822"/>
                  <a:gd name="connsiteX63" fmla="*/ 882 w 21072"/>
                  <a:gd name="connsiteY63" fmla="*/ 20631 h 40822"/>
                  <a:gd name="connsiteX64" fmla="*/ 882 w 21072"/>
                  <a:gd name="connsiteY64" fmla="*/ 20984 h 40822"/>
                  <a:gd name="connsiteX65" fmla="*/ 1234 w 21072"/>
                  <a:gd name="connsiteY65" fmla="*/ 21249 h 40822"/>
                  <a:gd name="connsiteX66" fmla="*/ 1234 w 21072"/>
                  <a:gd name="connsiteY66" fmla="*/ 21866 h 40822"/>
                  <a:gd name="connsiteX67" fmla="*/ 2116 w 21072"/>
                  <a:gd name="connsiteY67" fmla="*/ 22130 h 40822"/>
                  <a:gd name="connsiteX68" fmla="*/ 2998 w 21072"/>
                  <a:gd name="connsiteY68" fmla="*/ 22130 h 40822"/>
                  <a:gd name="connsiteX69" fmla="*/ 3527 w 21072"/>
                  <a:gd name="connsiteY69" fmla="*/ 22395 h 40822"/>
                  <a:gd name="connsiteX70" fmla="*/ 3791 w 21072"/>
                  <a:gd name="connsiteY70" fmla="*/ 23012 h 40822"/>
                  <a:gd name="connsiteX71" fmla="*/ 3791 w 21072"/>
                  <a:gd name="connsiteY71" fmla="*/ 23541 h 40822"/>
                  <a:gd name="connsiteX72" fmla="*/ 3262 w 21072"/>
                  <a:gd name="connsiteY72" fmla="*/ 23894 h 40822"/>
                  <a:gd name="connsiteX73" fmla="*/ 2380 w 21072"/>
                  <a:gd name="connsiteY73" fmla="*/ 24158 h 40822"/>
                  <a:gd name="connsiteX74" fmla="*/ 1763 w 21072"/>
                  <a:gd name="connsiteY74" fmla="*/ 24423 h 40822"/>
                  <a:gd name="connsiteX75" fmla="*/ 2116 w 21072"/>
                  <a:gd name="connsiteY75" fmla="*/ 24423 h 40822"/>
                  <a:gd name="connsiteX76" fmla="*/ 2645 w 21072"/>
                  <a:gd name="connsiteY76" fmla="*/ 24775 h 40822"/>
                  <a:gd name="connsiteX77" fmla="*/ 2380 w 21072"/>
                  <a:gd name="connsiteY77" fmla="*/ 25040 h 40822"/>
                  <a:gd name="connsiteX78" fmla="*/ 1763 w 21072"/>
                  <a:gd name="connsiteY78" fmla="*/ 25657 h 40822"/>
                  <a:gd name="connsiteX79" fmla="*/ 882 w 21072"/>
                  <a:gd name="connsiteY79" fmla="*/ 25922 h 40822"/>
                  <a:gd name="connsiteX80" fmla="*/ 1499 w 21072"/>
                  <a:gd name="connsiteY80" fmla="*/ 26186 h 40822"/>
                  <a:gd name="connsiteX81" fmla="*/ 1763 w 21072"/>
                  <a:gd name="connsiteY81" fmla="*/ 26803 h 40822"/>
                  <a:gd name="connsiteX82" fmla="*/ 2116 w 21072"/>
                  <a:gd name="connsiteY82" fmla="*/ 27068 h 40822"/>
                  <a:gd name="connsiteX83" fmla="*/ 2380 w 21072"/>
                  <a:gd name="connsiteY83" fmla="*/ 26803 h 40822"/>
                  <a:gd name="connsiteX84" fmla="*/ 3262 w 21072"/>
                  <a:gd name="connsiteY84" fmla="*/ 26803 h 40822"/>
                  <a:gd name="connsiteX85" fmla="*/ 3791 w 21072"/>
                  <a:gd name="connsiteY85" fmla="*/ 26186 h 40822"/>
                  <a:gd name="connsiteX86" fmla="*/ 4144 w 21072"/>
                  <a:gd name="connsiteY86" fmla="*/ 26539 h 40822"/>
                  <a:gd name="connsiteX87" fmla="*/ 4408 w 21072"/>
                  <a:gd name="connsiteY87" fmla="*/ 27068 h 40822"/>
                  <a:gd name="connsiteX88" fmla="*/ 4408 w 21072"/>
                  <a:gd name="connsiteY88" fmla="*/ 27949 h 40822"/>
                  <a:gd name="connsiteX89" fmla="*/ 4408 w 21072"/>
                  <a:gd name="connsiteY89" fmla="*/ 28567 h 40822"/>
                  <a:gd name="connsiteX90" fmla="*/ 4144 w 21072"/>
                  <a:gd name="connsiteY90" fmla="*/ 28831 h 40822"/>
                  <a:gd name="connsiteX91" fmla="*/ 3527 w 21072"/>
                  <a:gd name="connsiteY91" fmla="*/ 29713 h 40822"/>
                  <a:gd name="connsiteX92" fmla="*/ 3262 w 21072"/>
                  <a:gd name="connsiteY92" fmla="*/ 29977 h 40822"/>
                  <a:gd name="connsiteX93" fmla="*/ 2998 w 21072"/>
                  <a:gd name="connsiteY93" fmla="*/ 30330 h 40822"/>
                  <a:gd name="connsiteX94" fmla="*/ 2380 w 21072"/>
                  <a:gd name="connsiteY94" fmla="*/ 30594 h 40822"/>
                  <a:gd name="connsiteX95" fmla="*/ 2116 w 21072"/>
                  <a:gd name="connsiteY95" fmla="*/ 30859 h 40822"/>
                  <a:gd name="connsiteX96" fmla="*/ 2380 w 21072"/>
                  <a:gd name="connsiteY96" fmla="*/ 31123 h 40822"/>
                  <a:gd name="connsiteX97" fmla="*/ 2998 w 21072"/>
                  <a:gd name="connsiteY97" fmla="*/ 30859 h 40822"/>
                  <a:gd name="connsiteX98" fmla="*/ 3527 w 21072"/>
                  <a:gd name="connsiteY98" fmla="*/ 30859 h 40822"/>
                  <a:gd name="connsiteX99" fmla="*/ 4144 w 21072"/>
                  <a:gd name="connsiteY99" fmla="*/ 31123 h 40822"/>
                  <a:gd name="connsiteX100" fmla="*/ 4408 w 21072"/>
                  <a:gd name="connsiteY100" fmla="*/ 31741 h 40822"/>
                  <a:gd name="connsiteX101" fmla="*/ 5026 w 21072"/>
                  <a:gd name="connsiteY101" fmla="*/ 31741 h 40822"/>
                  <a:gd name="connsiteX102" fmla="*/ 5907 w 21072"/>
                  <a:gd name="connsiteY102" fmla="*/ 31476 h 40822"/>
                  <a:gd name="connsiteX103" fmla="*/ 6172 w 21072"/>
                  <a:gd name="connsiteY103" fmla="*/ 31476 h 40822"/>
                  <a:gd name="connsiteX104" fmla="*/ 6789 w 21072"/>
                  <a:gd name="connsiteY104" fmla="*/ 31476 h 40822"/>
                  <a:gd name="connsiteX105" fmla="*/ 7582 w 21072"/>
                  <a:gd name="connsiteY105" fmla="*/ 31741 h 40822"/>
                  <a:gd name="connsiteX106" fmla="*/ 8464 w 21072"/>
                  <a:gd name="connsiteY106" fmla="*/ 32005 h 40822"/>
                  <a:gd name="connsiteX107" fmla="*/ 8464 w 21072"/>
                  <a:gd name="connsiteY107" fmla="*/ 32622 h 40822"/>
                  <a:gd name="connsiteX108" fmla="*/ 7582 w 21072"/>
                  <a:gd name="connsiteY108" fmla="*/ 32887 h 40822"/>
                  <a:gd name="connsiteX109" fmla="*/ 6789 w 21072"/>
                  <a:gd name="connsiteY109" fmla="*/ 33151 h 40822"/>
                  <a:gd name="connsiteX110" fmla="*/ 6436 w 21072"/>
                  <a:gd name="connsiteY110" fmla="*/ 33504 h 40822"/>
                  <a:gd name="connsiteX111" fmla="*/ 5290 w 21072"/>
                  <a:gd name="connsiteY111" fmla="*/ 33504 h 40822"/>
                  <a:gd name="connsiteX112" fmla="*/ 5026 w 21072"/>
                  <a:gd name="connsiteY112" fmla="*/ 33151 h 40822"/>
                  <a:gd name="connsiteX113" fmla="*/ 4761 w 21072"/>
                  <a:gd name="connsiteY113" fmla="*/ 33769 h 40822"/>
                  <a:gd name="connsiteX114" fmla="*/ 4761 w 21072"/>
                  <a:gd name="connsiteY114" fmla="*/ 34121 h 40822"/>
                  <a:gd name="connsiteX115" fmla="*/ 4408 w 21072"/>
                  <a:gd name="connsiteY115" fmla="*/ 34386 h 40822"/>
                  <a:gd name="connsiteX116" fmla="*/ 4761 w 21072"/>
                  <a:gd name="connsiteY116" fmla="*/ 35532 h 40822"/>
                  <a:gd name="connsiteX117" fmla="*/ 4761 w 21072"/>
                  <a:gd name="connsiteY117" fmla="*/ 36414 h 40822"/>
                  <a:gd name="connsiteX118" fmla="*/ 5290 w 21072"/>
                  <a:gd name="connsiteY118" fmla="*/ 36678 h 40822"/>
                  <a:gd name="connsiteX119" fmla="*/ 6436 w 21072"/>
                  <a:gd name="connsiteY119" fmla="*/ 36414 h 40822"/>
                  <a:gd name="connsiteX120" fmla="*/ 6436 w 21072"/>
                  <a:gd name="connsiteY120" fmla="*/ 36149 h 40822"/>
                  <a:gd name="connsiteX121" fmla="*/ 7318 w 21072"/>
                  <a:gd name="connsiteY121" fmla="*/ 36678 h 40822"/>
                  <a:gd name="connsiteX122" fmla="*/ 7935 w 21072"/>
                  <a:gd name="connsiteY122" fmla="*/ 37031 h 40822"/>
                  <a:gd name="connsiteX123" fmla="*/ 8200 w 21072"/>
                  <a:gd name="connsiteY123" fmla="*/ 37295 h 40822"/>
                  <a:gd name="connsiteX124" fmla="*/ 8200 w 21072"/>
                  <a:gd name="connsiteY124" fmla="*/ 37560 h 40822"/>
                  <a:gd name="connsiteX125" fmla="*/ 8817 w 21072"/>
                  <a:gd name="connsiteY125" fmla="*/ 37560 h 40822"/>
                  <a:gd name="connsiteX126" fmla="*/ 9699 w 21072"/>
                  <a:gd name="connsiteY126" fmla="*/ 38177 h 40822"/>
                  <a:gd name="connsiteX127" fmla="*/ 9963 w 21072"/>
                  <a:gd name="connsiteY127" fmla="*/ 38441 h 40822"/>
                  <a:gd name="connsiteX128" fmla="*/ 10580 w 21072"/>
                  <a:gd name="connsiteY128" fmla="*/ 38177 h 40822"/>
                  <a:gd name="connsiteX129" fmla="*/ 11374 w 21072"/>
                  <a:gd name="connsiteY129" fmla="*/ 38177 h 40822"/>
                  <a:gd name="connsiteX130" fmla="*/ 11726 w 21072"/>
                  <a:gd name="connsiteY130" fmla="*/ 38177 h 40822"/>
                  <a:gd name="connsiteX131" fmla="*/ 11726 w 21072"/>
                  <a:gd name="connsiteY131" fmla="*/ 38441 h 40822"/>
                  <a:gd name="connsiteX132" fmla="*/ 11991 w 21072"/>
                  <a:gd name="connsiteY132" fmla="*/ 39059 h 40822"/>
                  <a:gd name="connsiteX133" fmla="*/ 12255 w 21072"/>
                  <a:gd name="connsiteY133" fmla="*/ 39323 h 40822"/>
                  <a:gd name="connsiteX134" fmla="*/ 12255 w 21072"/>
                  <a:gd name="connsiteY134" fmla="*/ 39940 h 40822"/>
                  <a:gd name="connsiteX135" fmla="*/ 13137 w 21072"/>
                  <a:gd name="connsiteY135" fmla="*/ 40469 h 40822"/>
                  <a:gd name="connsiteX136" fmla="*/ 13490 w 21072"/>
                  <a:gd name="connsiteY136" fmla="*/ 39940 h 40822"/>
                  <a:gd name="connsiteX137" fmla="*/ 13490 w 21072"/>
                  <a:gd name="connsiteY137" fmla="*/ 40822 h 40822"/>
                  <a:gd name="connsiteX138" fmla="*/ 14371 w 21072"/>
                  <a:gd name="connsiteY138" fmla="*/ 40822 h 40822"/>
                  <a:gd name="connsiteX139" fmla="*/ 14636 w 21072"/>
                  <a:gd name="connsiteY139" fmla="*/ 40469 h 40822"/>
                  <a:gd name="connsiteX140" fmla="*/ 15253 w 21072"/>
                  <a:gd name="connsiteY140" fmla="*/ 39940 h 40822"/>
                  <a:gd name="connsiteX141" fmla="*/ 14900 w 21072"/>
                  <a:gd name="connsiteY141" fmla="*/ 39588 h 40822"/>
                  <a:gd name="connsiteX142" fmla="*/ 15253 w 21072"/>
                  <a:gd name="connsiteY142" fmla="*/ 39059 h 40822"/>
                  <a:gd name="connsiteX143" fmla="*/ 15253 w 21072"/>
                  <a:gd name="connsiteY143" fmla="*/ 38177 h 40822"/>
                  <a:gd name="connsiteX144" fmla="*/ 15518 w 21072"/>
                  <a:gd name="connsiteY144" fmla="*/ 37912 h 40822"/>
                  <a:gd name="connsiteX145" fmla="*/ 15518 w 21072"/>
                  <a:gd name="connsiteY145" fmla="*/ 37295 h 40822"/>
                  <a:gd name="connsiteX146" fmla="*/ 15518 w 21072"/>
                  <a:gd name="connsiteY146" fmla="*/ 36678 h 40822"/>
                  <a:gd name="connsiteX147" fmla="*/ 16047 w 21072"/>
                  <a:gd name="connsiteY147" fmla="*/ 36678 h 40822"/>
                  <a:gd name="connsiteX148" fmla="*/ 16928 w 21072"/>
                  <a:gd name="connsiteY148" fmla="*/ 35796 h 40822"/>
                  <a:gd name="connsiteX149" fmla="*/ 17281 w 21072"/>
                  <a:gd name="connsiteY149" fmla="*/ 35796 h 40822"/>
                  <a:gd name="connsiteX150" fmla="*/ 17281 w 21072"/>
                  <a:gd name="connsiteY150" fmla="*/ 35267 h 40822"/>
                  <a:gd name="connsiteX151" fmla="*/ 16928 w 21072"/>
                  <a:gd name="connsiteY151" fmla="*/ 34650 h 40822"/>
                  <a:gd name="connsiteX152" fmla="*/ 16399 w 21072"/>
                  <a:gd name="connsiteY152" fmla="*/ 34650 h 40822"/>
                  <a:gd name="connsiteX153" fmla="*/ 15782 w 21072"/>
                  <a:gd name="connsiteY153" fmla="*/ 34121 h 40822"/>
                  <a:gd name="connsiteX154" fmla="*/ 15253 w 21072"/>
                  <a:gd name="connsiteY154" fmla="*/ 34386 h 40822"/>
                  <a:gd name="connsiteX155" fmla="*/ 14900 w 21072"/>
                  <a:gd name="connsiteY155" fmla="*/ 34121 h 40822"/>
                  <a:gd name="connsiteX156" fmla="*/ 15253 w 21072"/>
                  <a:gd name="connsiteY156" fmla="*/ 33504 h 40822"/>
                  <a:gd name="connsiteX157" fmla="*/ 15782 w 21072"/>
                  <a:gd name="connsiteY157" fmla="*/ 33151 h 40822"/>
                  <a:gd name="connsiteX158" fmla="*/ 16047 w 21072"/>
                  <a:gd name="connsiteY158" fmla="*/ 33151 h 40822"/>
                  <a:gd name="connsiteX159" fmla="*/ 16664 w 21072"/>
                  <a:gd name="connsiteY159" fmla="*/ 33151 h 40822"/>
                  <a:gd name="connsiteX160" fmla="*/ 17281 w 21072"/>
                  <a:gd name="connsiteY160" fmla="*/ 32887 h 40822"/>
                  <a:gd name="connsiteX161" fmla="*/ 17545 w 21072"/>
                  <a:gd name="connsiteY161" fmla="*/ 32358 h 40822"/>
                  <a:gd name="connsiteX162" fmla="*/ 17810 w 21072"/>
                  <a:gd name="connsiteY162" fmla="*/ 32358 h 40822"/>
                  <a:gd name="connsiteX163" fmla="*/ 18074 w 21072"/>
                  <a:gd name="connsiteY163" fmla="*/ 31741 h 40822"/>
                  <a:gd name="connsiteX164" fmla="*/ 18427 w 21072"/>
                  <a:gd name="connsiteY164" fmla="*/ 31741 h 40822"/>
                  <a:gd name="connsiteX165" fmla="*/ 18692 w 21072"/>
                  <a:gd name="connsiteY165" fmla="*/ 31123 h 40822"/>
                  <a:gd name="connsiteX166" fmla="*/ 18427 w 21072"/>
                  <a:gd name="connsiteY166" fmla="*/ 30594 h 40822"/>
                  <a:gd name="connsiteX167" fmla="*/ 18692 w 21072"/>
                  <a:gd name="connsiteY167" fmla="*/ 29977 h 40822"/>
                  <a:gd name="connsiteX168" fmla="*/ 18692 w 21072"/>
                  <a:gd name="connsiteY168" fmla="*/ 29448 h 40822"/>
                  <a:gd name="connsiteX169" fmla="*/ 18427 w 21072"/>
                  <a:gd name="connsiteY169" fmla="*/ 29096 h 40822"/>
                  <a:gd name="connsiteX170" fmla="*/ 18427 w 21072"/>
                  <a:gd name="connsiteY170" fmla="*/ 28214 h 40822"/>
                  <a:gd name="connsiteX171" fmla="*/ 18427 w 21072"/>
                  <a:gd name="connsiteY171" fmla="*/ 27685 h 40822"/>
                  <a:gd name="connsiteX172" fmla="*/ 18427 w 21072"/>
                  <a:gd name="connsiteY172" fmla="*/ 26186 h 40822"/>
                  <a:gd name="connsiteX173" fmla="*/ 18074 w 21072"/>
                  <a:gd name="connsiteY173" fmla="*/ 26186 h 40822"/>
                  <a:gd name="connsiteX174" fmla="*/ 18427 w 21072"/>
                  <a:gd name="connsiteY174" fmla="*/ 25304 h 40822"/>
                  <a:gd name="connsiteX175" fmla="*/ 18427 w 21072"/>
                  <a:gd name="connsiteY175" fmla="*/ 25040 h 40822"/>
                  <a:gd name="connsiteX176" fmla="*/ 18956 w 21072"/>
                  <a:gd name="connsiteY176" fmla="*/ 24158 h 40822"/>
                  <a:gd name="connsiteX177" fmla="*/ 18956 w 21072"/>
                  <a:gd name="connsiteY177" fmla="*/ 23894 h 40822"/>
                  <a:gd name="connsiteX178" fmla="*/ 19838 w 21072"/>
                  <a:gd name="connsiteY178" fmla="*/ 23276 h 40822"/>
                  <a:gd name="connsiteX179" fmla="*/ 20191 w 21072"/>
                  <a:gd name="connsiteY179" fmla="*/ 23276 h 40822"/>
                  <a:gd name="connsiteX180" fmla="*/ 20455 w 21072"/>
                  <a:gd name="connsiteY180" fmla="*/ 21866 h 40822"/>
                  <a:gd name="connsiteX181" fmla="*/ 20720 w 21072"/>
                  <a:gd name="connsiteY181" fmla="*/ 21513 h 40822"/>
                  <a:gd name="connsiteX182" fmla="*/ 21072 w 21072"/>
                  <a:gd name="connsiteY182" fmla="*/ 20984 h 40822"/>
                  <a:gd name="connsiteX183" fmla="*/ 21072 w 21072"/>
                  <a:gd name="connsiteY183" fmla="*/ 20102 h 40822"/>
                  <a:gd name="connsiteX184" fmla="*/ 20455 w 21072"/>
                  <a:gd name="connsiteY184" fmla="*/ 18956 h 40822"/>
                  <a:gd name="connsiteX185" fmla="*/ 20720 w 21072"/>
                  <a:gd name="connsiteY185" fmla="*/ 18075 h 40822"/>
                  <a:gd name="connsiteX186" fmla="*/ 20455 w 21072"/>
                  <a:gd name="connsiteY186" fmla="*/ 17193 h 40822"/>
                  <a:gd name="connsiteX187" fmla="*/ 20455 w 21072"/>
                  <a:gd name="connsiteY187" fmla="*/ 16311 h 40822"/>
                  <a:gd name="connsiteX188" fmla="*/ 20191 w 21072"/>
                  <a:gd name="connsiteY188" fmla="*/ 15429 h 40822"/>
                  <a:gd name="connsiteX189" fmla="*/ 20191 w 21072"/>
                  <a:gd name="connsiteY189" fmla="*/ 14548 h 40822"/>
                  <a:gd name="connsiteX190" fmla="*/ 20455 w 21072"/>
                  <a:gd name="connsiteY190" fmla="*/ 14548 h 40822"/>
                  <a:gd name="connsiteX191" fmla="*/ 20455 w 21072"/>
                  <a:gd name="connsiteY191" fmla="*/ 13049 h 40822"/>
                  <a:gd name="connsiteX192" fmla="*/ 20191 w 21072"/>
                  <a:gd name="connsiteY192" fmla="*/ 13049 h 40822"/>
                  <a:gd name="connsiteX193" fmla="*/ 19838 w 21072"/>
                  <a:gd name="connsiteY193" fmla="*/ 11638 h 40822"/>
                  <a:gd name="connsiteX194" fmla="*/ 18692 w 21072"/>
                  <a:gd name="connsiteY194" fmla="*/ 10492 h 40822"/>
                  <a:gd name="connsiteX195" fmla="*/ 18427 w 21072"/>
                  <a:gd name="connsiteY195" fmla="*/ 10492 h 40822"/>
                  <a:gd name="connsiteX196" fmla="*/ 17545 w 21072"/>
                  <a:gd name="connsiteY196" fmla="*/ 10492 h 40822"/>
                  <a:gd name="connsiteX197" fmla="*/ 17281 w 21072"/>
                  <a:gd name="connsiteY197" fmla="*/ 9875 h 40822"/>
                  <a:gd name="connsiteX198" fmla="*/ 17545 w 21072"/>
                  <a:gd name="connsiteY198" fmla="*/ 9258 h 40822"/>
                  <a:gd name="connsiteX199" fmla="*/ 16928 w 21072"/>
                  <a:gd name="connsiteY199" fmla="*/ 8729 h 40822"/>
                  <a:gd name="connsiteX200" fmla="*/ 17545 w 21072"/>
                  <a:gd name="connsiteY200" fmla="*/ 8111 h 40822"/>
                  <a:gd name="connsiteX201" fmla="*/ 17281 w 21072"/>
                  <a:gd name="connsiteY201" fmla="*/ 7847 h 40822"/>
                  <a:gd name="connsiteX202" fmla="*/ 17281 w 21072"/>
                  <a:gd name="connsiteY202" fmla="*/ 6701 h 40822"/>
                  <a:gd name="connsiteX203" fmla="*/ 17545 w 21072"/>
                  <a:gd name="connsiteY203" fmla="*/ 5819 h 40822"/>
                  <a:gd name="connsiteX204" fmla="*/ 17545 w 21072"/>
                  <a:gd name="connsiteY204" fmla="*/ 4585 h 40822"/>
                  <a:gd name="connsiteX205" fmla="*/ 16928 w 21072"/>
                  <a:gd name="connsiteY205" fmla="*/ 3703 h 40822"/>
                  <a:gd name="connsiteX206" fmla="*/ 17281 w 21072"/>
                  <a:gd name="connsiteY206" fmla="*/ 2910 h 40822"/>
                  <a:gd name="connsiteX207" fmla="*/ 17281 w 21072"/>
                  <a:gd name="connsiteY207" fmla="*/ 2028 h 40822"/>
                  <a:gd name="connsiteX208" fmla="*/ 17545 w 21072"/>
                  <a:gd name="connsiteY208" fmla="*/ 1675 h 40822"/>
                  <a:gd name="connsiteX209" fmla="*/ 17281 w 21072"/>
                  <a:gd name="connsiteY209" fmla="*/ 793 h 40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</a:cxnLst>
                <a:rect l="l" t="t" r="r" b="b"/>
                <a:pathLst>
                  <a:path w="21072" h="40822">
                    <a:moveTo>
                      <a:pt x="16928" y="264"/>
                    </a:moveTo>
                    <a:lnTo>
                      <a:pt x="16399" y="0"/>
                    </a:lnTo>
                    <a:lnTo>
                      <a:pt x="15518" y="529"/>
                    </a:lnTo>
                    <a:lnTo>
                      <a:pt x="15253" y="264"/>
                    </a:lnTo>
                    <a:lnTo>
                      <a:pt x="14636" y="264"/>
                    </a:lnTo>
                    <a:lnTo>
                      <a:pt x="14371" y="529"/>
                    </a:lnTo>
                    <a:lnTo>
                      <a:pt x="14636" y="1411"/>
                    </a:lnTo>
                    <a:lnTo>
                      <a:pt x="15518" y="2028"/>
                    </a:lnTo>
                    <a:lnTo>
                      <a:pt x="15518" y="2292"/>
                    </a:lnTo>
                    <a:lnTo>
                      <a:pt x="14019" y="2557"/>
                    </a:lnTo>
                    <a:lnTo>
                      <a:pt x="14371" y="3703"/>
                    </a:lnTo>
                    <a:lnTo>
                      <a:pt x="14900" y="4585"/>
                    </a:lnTo>
                    <a:lnTo>
                      <a:pt x="14019" y="4585"/>
                    </a:lnTo>
                    <a:lnTo>
                      <a:pt x="14371" y="5467"/>
                    </a:lnTo>
                    <a:lnTo>
                      <a:pt x="15253" y="5467"/>
                    </a:lnTo>
                    <a:lnTo>
                      <a:pt x="15782" y="6084"/>
                    </a:lnTo>
                    <a:lnTo>
                      <a:pt x="15782" y="6701"/>
                    </a:lnTo>
                    <a:lnTo>
                      <a:pt x="15253" y="7230"/>
                    </a:lnTo>
                    <a:lnTo>
                      <a:pt x="14371" y="8111"/>
                    </a:lnTo>
                    <a:lnTo>
                      <a:pt x="14019" y="7230"/>
                    </a:lnTo>
                    <a:lnTo>
                      <a:pt x="13490" y="6965"/>
                    </a:lnTo>
                    <a:lnTo>
                      <a:pt x="12873" y="6348"/>
                    </a:lnTo>
                    <a:lnTo>
                      <a:pt x="11374" y="6084"/>
                    </a:lnTo>
                    <a:lnTo>
                      <a:pt x="11109" y="6348"/>
                    </a:lnTo>
                    <a:lnTo>
                      <a:pt x="10580" y="6965"/>
                    </a:lnTo>
                    <a:lnTo>
                      <a:pt x="9699" y="7230"/>
                    </a:lnTo>
                    <a:lnTo>
                      <a:pt x="9963" y="7847"/>
                    </a:lnTo>
                    <a:lnTo>
                      <a:pt x="9081" y="8729"/>
                    </a:lnTo>
                    <a:lnTo>
                      <a:pt x="8464" y="8729"/>
                    </a:lnTo>
                    <a:lnTo>
                      <a:pt x="7053" y="8993"/>
                    </a:lnTo>
                    <a:lnTo>
                      <a:pt x="7318" y="9258"/>
                    </a:lnTo>
                    <a:lnTo>
                      <a:pt x="6789" y="9610"/>
                    </a:lnTo>
                    <a:lnTo>
                      <a:pt x="5907" y="9610"/>
                    </a:lnTo>
                    <a:lnTo>
                      <a:pt x="5026" y="9610"/>
                    </a:lnTo>
                    <a:lnTo>
                      <a:pt x="3527" y="9875"/>
                    </a:lnTo>
                    <a:lnTo>
                      <a:pt x="3527" y="10139"/>
                    </a:lnTo>
                    <a:lnTo>
                      <a:pt x="2998" y="10757"/>
                    </a:lnTo>
                    <a:lnTo>
                      <a:pt x="2645" y="11286"/>
                    </a:lnTo>
                    <a:lnTo>
                      <a:pt x="2116" y="11903"/>
                    </a:lnTo>
                    <a:lnTo>
                      <a:pt x="1763" y="11638"/>
                    </a:lnTo>
                    <a:lnTo>
                      <a:pt x="1234" y="12167"/>
                    </a:lnTo>
                    <a:lnTo>
                      <a:pt x="1499" y="12784"/>
                    </a:lnTo>
                    <a:lnTo>
                      <a:pt x="2116" y="13049"/>
                    </a:lnTo>
                    <a:lnTo>
                      <a:pt x="2116" y="13402"/>
                    </a:lnTo>
                    <a:lnTo>
                      <a:pt x="1499" y="13666"/>
                    </a:lnTo>
                    <a:lnTo>
                      <a:pt x="1763" y="13666"/>
                    </a:lnTo>
                    <a:lnTo>
                      <a:pt x="2116" y="13666"/>
                    </a:lnTo>
                    <a:lnTo>
                      <a:pt x="1763" y="13666"/>
                    </a:lnTo>
                    <a:lnTo>
                      <a:pt x="1234" y="13931"/>
                    </a:lnTo>
                    <a:lnTo>
                      <a:pt x="617" y="14548"/>
                    </a:lnTo>
                    <a:lnTo>
                      <a:pt x="0" y="15429"/>
                    </a:lnTo>
                    <a:lnTo>
                      <a:pt x="353" y="15958"/>
                    </a:lnTo>
                    <a:lnTo>
                      <a:pt x="353" y="16576"/>
                    </a:lnTo>
                    <a:lnTo>
                      <a:pt x="617" y="16576"/>
                    </a:lnTo>
                    <a:lnTo>
                      <a:pt x="1234" y="16840"/>
                    </a:lnTo>
                    <a:lnTo>
                      <a:pt x="1499" y="17457"/>
                    </a:lnTo>
                    <a:lnTo>
                      <a:pt x="2116" y="17722"/>
                    </a:lnTo>
                    <a:lnTo>
                      <a:pt x="3791" y="18604"/>
                    </a:lnTo>
                    <a:lnTo>
                      <a:pt x="2380" y="18339"/>
                    </a:lnTo>
                    <a:lnTo>
                      <a:pt x="1234" y="18604"/>
                    </a:lnTo>
                    <a:lnTo>
                      <a:pt x="882" y="18956"/>
                    </a:lnTo>
                    <a:lnTo>
                      <a:pt x="353" y="19221"/>
                    </a:lnTo>
                    <a:lnTo>
                      <a:pt x="882" y="20102"/>
                    </a:lnTo>
                    <a:lnTo>
                      <a:pt x="882" y="20631"/>
                    </a:lnTo>
                    <a:lnTo>
                      <a:pt x="882" y="20984"/>
                    </a:lnTo>
                    <a:lnTo>
                      <a:pt x="1234" y="21249"/>
                    </a:lnTo>
                    <a:lnTo>
                      <a:pt x="1234" y="21866"/>
                    </a:lnTo>
                    <a:lnTo>
                      <a:pt x="2116" y="22130"/>
                    </a:lnTo>
                    <a:lnTo>
                      <a:pt x="2998" y="22130"/>
                    </a:lnTo>
                    <a:lnTo>
                      <a:pt x="3527" y="22395"/>
                    </a:lnTo>
                    <a:lnTo>
                      <a:pt x="3791" y="23012"/>
                    </a:lnTo>
                    <a:lnTo>
                      <a:pt x="3791" y="23541"/>
                    </a:lnTo>
                    <a:lnTo>
                      <a:pt x="3262" y="23894"/>
                    </a:lnTo>
                    <a:lnTo>
                      <a:pt x="2380" y="24158"/>
                    </a:lnTo>
                    <a:lnTo>
                      <a:pt x="1763" y="24423"/>
                    </a:lnTo>
                    <a:lnTo>
                      <a:pt x="2116" y="24423"/>
                    </a:lnTo>
                    <a:lnTo>
                      <a:pt x="2645" y="24775"/>
                    </a:lnTo>
                    <a:lnTo>
                      <a:pt x="2380" y="25040"/>
                    </a:lnTo>
                    <a:lnTo>
                      <a:pt x="1763" y="25657"/>
                    </a:lnTo>
                    <a:lnTo>
                      <a:pt x="882" y="25922"/>
                    </a:lnTo>
                    <a:lnTo>
                      <a:pt x="1499" y="26186"/>
                    </a:lnTo>
                    <a:lnTo>
                      <a:pt x="1763" y="26803"/>
                    </a:lnTo>
                    <a:lnTo>
                      <a:pt x="2116" y="27068"/>
                    </a:lnTo>
                    <a:lnTo>
                      <a:pt x="2380" y="26803"/>
                    </a:lnTo>
                    <a:lnTo>
                      <a:pt x="3262" y="26803"/>
                    </a:lnTo>
                    <a:lnTo>
                      <a:pt x="3791" y="26186"/>
                    </a:lnTo>
                    <a:lnTo>
                      <a:pt x="4144" y="26539"/>
                    </a:lnTo>
                    <a:lnTo>
                      <a:pt x="4408" y="27068"/>
                    </a:lnTo>
                    <a:lnTo>
                      <a:pt x="4408" y="27949"/>
                    </a:lnTo>
                    <a:lnTo>
                      <a:pt x="4408" y="28567"/>
                    </a:lnTo>
                    <a:lnTo>
                      <a:pt x="4144" y="28831"/>
                    </a:lnTo>
                    <a:lnTo>
                      <a:pt x="3527" y="29713"/>
                    </a:lnTo>
                    <a:lnTo>
                      <a:pt x="3262" y="29977"/>
                    </a:lnTo>
                    <a:lnTo>
                      <a:pt x="2998" y="30330"/>
                    </a:lnTo>
                    <a:lnTo>
                      <a:pt x="2380" y="30594"/>
                    </a:lnTo>
                    <a:lnTo>
                      <a:pt x="2116" y="30859"/>
                    </a:lnTo>
                    <a:lnTo>
                      <a:pt x="2380" y="31123"/>
                    </a:lnTo>
                    <a:lnTo>
                      <a:pt x="2998" y="30859"/>
                    </a:lnTo>
                    <a:lnTo>
                      <a:pt x="3527" y="30859"/>
                    </a:lnTo>
                    <a:lnTo>
                      <a:pt x="4144" y="31123"/>
                    </a:lnTo>
                    <a:lnTo>
                      <a:pt x="4408" y="31741"/>
                    </a:lnTo>
                    <a:lnTo>
                      <a:pt x="5026" y="31741"/>
                    </a:lnTo>
                    <a:lnTo>
                      <a:pt x="5907" y="31476"/>
                    </a:lnTo>
                    <a:lnTo>
                      <a:pt x="6172" y="31476"/>
                    </a:lnTo>
                    <a:lnTo>
                      <a:pt x="6789" y="31476"/>
                    </a:lnTo>
                    <a:lnTo>
                      <a:pt x="7582" y="31741"/>
                    </a:lnTo>
                    <a:lnTo>
                      <a:pt x="8464" y="32005"/>
                    </a:lnTo>
                    <a:lnTo>
                      <a:pt x="8464" y="32622"/>
                    </a:lnTo>
                    <a:lnTo>
                      <a:pt x="7582" y="32887"/>
                    </a:lnTo>
                    <a:lnTo>
                      <a:pt x="6789" y="33151"/>
                    </a:lnTo>
                    <a:lnTo>
                      <a:pt x="6436" y="33504"/>
                    </a:lnTo>
                    <a:lnTo>
                      <a:pt x="5290" y="33504"/>
                    </a:lnTo>
                    <a:lnTo>
                      <a:pt x="5026" y="33151"/>
                    </a:lnTo>
                    <a:lnTo>
                      <a:pt x="4761" y="33769"/>
                    </a:lnTo>
                    <a:lnTo>
                      <a:pt x="4761" y="34121"/>
                    </a:lnTo>
                    <a:lnTo>
                      <a:pt x="4408" y="34386"/>
                    </a:lnTo>
                    <a:lnTo>
                      <a:pt x="4761" y="35532"/>
                    </a:lnTo>
                    <a:lnTo>
                      <a:pt x="4761" y="36414"/>
                    </a:lnTo>
                    <a:lnTo>
                      <a:pt x="5290" y="36678"/>
                    </a:lnTo>
                    <a:lnTo>
                      <a:pt x="6436" y="36414"/>
                    </a:lnTo>
                    <a:lnTo>
                      <a:pt x="6436" y="36149"/>
                    </a:lnTo>
                    <a:lnTo>
                      <a:pt x="7318" y="36678"/>
                    </a:lnTo>
                    <a:lnTo>
                      <a:pt x="7935" y="37031"/>
                    </a:lnTo>
                    <a:lnTo>
                      <a:pt x="8200" y="37295"/>
                    </a:lnTo>
                    <a:lnTo>
                      <a:pt x="8200" y="37560"/>
                    </a:lnTo>
                    <a:lnTo>
                      <a:pt x="8817" y="37560"/>
                    </a:lnTo>
                    <a:lnTo>
                      <a:pt x="9699" y="38177"/>
                    </a:lnTo>
                    <a:lnTo>
                      <a:pt x="9963" y="38441"/>
                    </a:lnTo>
                    <a:lnTo>
                      <a:pt x="10580" y="38177"/>
                    </a:lnTo>
                    <a:lnTo>
                      <a:pt x="11374" y="38177"/>
                    </a:lnTo>
                    <a:lnTo>
                      <a:pt x="11726" y="38177"/>
                    </a:lnTo>
                    <a:lnTo>
                      <a:pt x="11726" y="38441"/>
                    </a:lnTo>
                    <a:lnTo>
                      <a:pt x="11991" y="39059"/>
                    </a:lnTo>
                    <a:lnTo>
                      <a:pt x="12255" y="39323"/>
                    </a:lnTo>
                    <a:lnTo>
                      <a:pt x="12255" y="39940"/>
                    </a:lnTo>
                    <a:lnTo>
                      <a:pt x="13137" y="40469"/>
                    </a:lnTo>
                    <a:lnTo>
                      <a:pt x="13490" y="39940"/>
                    </a:lnTo>
                    <a:lnTo>
                      <a:pt x="13490" y="40822"/>
                    </a:lnTo>
                    <a:lnTo>
                      <a:pt x="14371" y="40822"/>
                    </a:lnTo>
                    <a:lnTo>
                      <a:pt x="14636" y="40469"/>
                    </a:lnTo>
                    <a:lnTo>
                      <a:pt x="15253" y="39940"/>
                    </a:lnTo>
                    <a:lnTo>
                      <a:pt x="14900" y="39588"/>
                    </a:lnTo>
                    <a:lnTo>
                      <a:pt x="15253" y="39059"/>
                    </a:lnTo>
                    <a:lnTo>
                      <a:pt x="15253" y="38177"/>
                    </a:lnTo>
                    <a:lnTo>
                      <a:pt x="15518" y="37912"/>
                    </a:lnTo>
                    <a:lnTo>
                      <a:pt x="15518" y="37295"/>
                    </a:lnTo>
                    <a:lnTo>
                      <a:pt x="15518" y="36678"/>
                    </a:lnTo>
                    <a:lnTo>
                      <a:pt x="16047" y="36678"/>
                    </a:lnTo>
                    <a:lnTo>
                      <a:pt x="16928" y="35796"/>
                    </a:lnTo>
                    <a:lnTo>
                      <a:pt x="17281" y="35796"/>
                    </a:lnTo>
                    <a:lnTo>
                      <a:pt x="17281" y="35267"/>
                    </a:lnTo>
                    <a:lnTo>
                      <a:pt x="16928" y="34650"/>
                    </a:lnTo>
                    <a:lnTo>
                      <a:pt x="16399" y="34650"/>
                    </a:lnTo>
                    <a:lnTo>
                      <a:pt x="15782" y="34121"/>
                    </a:lnTo>
                    <a:lnTo>
                      <a:pt x="15253" y="34386"/>
                    </a:lnTo>
                    <a:lnTo>
                      <a:pt x="14900" y="34121"/>
                    </a:lnTo>
                    <a:lnTo>
                      <a:pt x="15253" y="33504"/>
                    </a:lnTo>
                    <a:lnTo>
                      <a:pt x="15782" y="33151"/>
                    </a:lnTo>
                    <a:lnTo>
                      <a:pt x="16047" y="33151"/>
                    </a:lnTo>
                    <a:lnTo>
                      <a:pt x="16664" y="33151"/>
                    </a:lnTo>
                    <a:lnTo>
                      <a:pt x="17281" y="32887"/>
                    </a:lnTo>
                    <a:lnTo>
                      <a:pt x="17545" y="32358"/>
                    </a:lnTo>
                    <a:lnTo>
                      <a:pt x="17810" y="32358"/>
                    </a:lnTo>
                    <a:lnTo>
                      <a:pt x="18074" y="31741"/>
                    </a:lnTo>
                    <a:lnTo>
                      <a:pt x="18427" y="31741"/>
                    </a:lnTo>
                    <a:lnTo>
                      <a:pt x="18692" y="31123"/>
                    </a:lnTo>
                    <a:lnTo>
                      <a:pt x="18427" y="30594"/>
                    </a:lnTo>
                    <a:lnTo>
                      <a:pt x="18692" y="29977"/>
                    </a:lnTo>
                    <a:lnTo>
                      <a:pt x="18692" y="29448"/>
                    </a:lnTo>
                    <a:lnTo>
                      <a:pt x="18427" y="29096"/>
                    </a:lnTo>
                    <a:lnTo>
                      <a:pt x="18427" y="28214"/>
                    </a:lnTo>
                    <a:lnTo>
                      <a:pt x="18427" y="27685"/>
                    </a:lnTo>
                    <a:lnTo>
                      <a:pt x="18427" y="26186"/>
                    </a:lnTo>
                    <a:lnTo>
                      <a:pt x="18074" y="26186"/>
                    </a:lnTo>
                    <a:lnTo>
                      <a:pt x="18427" y="25304"/>
                    </a:lnTo>
                    <a:lnTo>
                      <a:pt x="18427" y="25040"/>
                    </a:lnTo>
                    <a:lnTo>
                      <a:pt x="18956" y="24158"/>
                    </a:lnTo>
                    <a:lnTo>
                      <a:pt x="18956" y="23894"/>
                    </a:lnTo>
                    <a:lnTo>
                      <a:pt x="19838" y="23276"/>
                    </a:lnTo>
                    <a:lnTo>
                      <a:pt x="20191" y="23276"/>
                    </a:lnTo>
                    <a:lnTo>
                      <a:pt x="20455" y="21866"/>
                    </a:lnTo>
                    <a:lnTo>
                      <a:pt x="20720" y="21513"/>
                    </a:lnTo>
                    <a:lnTo>
                      <a:pt x="21072" y="20984"/>
                    </a:lnTo>
                    <a:lnTo>
                      <a:pt x="21072" y="20102"/>
                    </a:lnTo>
                    <a:lnTo>
                      <a:pt x="20455" y="18956"/>
                    </a:lnTo>
                    <a:lnTo>
                      <a:pt x="20720" y="18075"/>
                    </a:lnTo>
                    <a:lnTo>
                      <a:pt x="20455" y="17193"/>
                    </a:lnTo>
                    <a:lnTo>
                      <a:pt x="20455" y="16311"/>
                    </a:lnTo>
                    <a:lnTo>
                      <a:pt x="20191" y="15429"/>
                    </a:lnTo>
                    <a:lnTo>
                      <a:pt x="20191" y="14548"/>
                    </a:lnTo>
                    <a:lnTo>
                      <a:pt x="20455" y="14548"/>
                    </a:lnTo>
                    <a:lnTo>
                      <a:pt x="20455" y="13049"/>
                    </a:lnTo>
                    <a:lnTo>
                      <a:pt x="20191" y="13049"/>
                    </a:lnTo>
                    <a:lnTo>
                      <a:pt x="19838" y="11638"/>
                    </a:lnTo>
                    <a:lnTo>
                      <a:pt x="18692" y="10492"/>
                    </a:lnTo>
                    <a:lnTo>
                      <a:pt x="18427" y="10492"/>
                    </a:lnTo>
                    <a:lnTo>
                      <a:pt x="17545" y="10492"/>
                    </a:lnTo>
                    <a:lnTo>
                      <a:pt x="17281" y="9875"/>
                    </a:lnTo>
                    <a:lnTo>
                      <a:pt x="17545" y="9258"/>
                    </a:lnTo>
                    <a:lnTo>
                      <a:pt x="16928" y="8729"/>
                    </a:lnTo>
                    <a:lnTo>
                      <a:pt x="17545" y="8111"/>
                    </a:lnTo>
                    <a:lnTo>
                      <a:pt x="17281" y="7847"/>
                    </a:lnTo>
                    <a:lnTo>
                      <a:pt x="17281" y="6701"/>
                    </a:lnTo>
                    <a:lnTo>
                      <a:pt x="17545" y="5819"/>
                    </a:lnTo>
                    <a:lnTo>
                      <a:pt x="17545" y="4585"/>
                    </a:lnTo>
                    <a:lnTo>
                      <a:pt x="16928" y="3703"/>
                    </a:lnTo>
                    <a:lnTo>
                      <a:pt x="17281" y="2910"/>
                    </a:lnTo>
                    <a:lnTo>
                      <a:pt x="17281" y="2028"/>
                    </a:lnTo>
                    <a:lnTo>
                      <a:pt x="17545" y="1675"/>
                    </a:lnTo>
                    <a:lnTo>
                      <a:pt x="17281" y="79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9" name="Freihandform: Form 1638">
                <a:extLst>
                  <a:ext uri="{FF2B5EF4-FFF2-40B4-BE49-F238E27FC236}">
                    <a16:creationId xmlns:a16="http://schemas.microsoft.com/office/drawing/2014/main" id="{EB67E08B-5F63-7E59-F59A-D211EA4C87C9}"/>
                  </a:ext>
                </a:extLst>
              </p:cNvPr>
              <p:cNvSpPr/>
              <p:nvPr/>
            </p:nvSpPr>
            <p:spPr>
              <a:xfrm>
                <a:off x="4233217" y="3121292"/>
                <a:ext cx="34650" cy="59778"/>
              </a:xfrm>
              <a:custGeom>
                <a:avLst/>
                <a:gdLst>
                  <a:gd name="connsiteX0" fmla="*/ 19221 w 34650"/>
                  <a:gd name="connsiteY0" fmla="*/ 57133 h 59778"/>
                  <a:gd name="connsiteX1" fmla="*/ 20984 w 34650"/>
                  <a:gd name="connsiteY1" fmla="*/ 55987 h 59778"/>
                  <a:gd name="connsiteX2" fmla="*/ 19221 w 34650"/>
                  <a:gd name="connsiteY2" fmla="*/ 54841 h 59778"/>
                  <a:gd name="connsiteX3" fmla="*/ 18956 w 34650"/>
                  <a:gd name="connsiteY3" fmla="*/ 53077 h 59778"/>
                  <a:gd name="connsiteX4" fmla="*/ 20367 w 34650"/>
                  <a:gd name="connsiteY4" fmla="*/ 52196 h 59778"/>
                  <a:gd name="connsiteX5" fmla="*/ 20367 w 34650"/>
                  <a:gd name="connsiteY5" fmla="*/ 51314 h 59778"/>
                  <a:gd name="connsiteX6" fmla="*/ 19485 w 34650"/>
                  <a:gd name="connsiteY6" fmla="*/ 51049 h 59778"/>
                  <a:gd name="connsiteX7" fmla="*/ 18956 w 34650"/>
                  <a:gd name="connsiteY7" fmla="*/ 49639 h 59778"/>
                  <a:gd name="connsiteX8" fmla="*/ 20720 w 34650"/>
                  <a:gd name="connsiteY8" fmla="*/ 50432 h 59778"/>
                  <a:gd name="connsiteX9" fmla="*/ 21601 w 34650"/>
                  <a:gd name="connsiteY9" fmla="*/ 51667 h 59778"/>
                  <a:gd name="connsiteX10" fmla="*/ 22130 w 34650"/>
                  <a:gd name="connsiteY10" fmla="*/ 52196 h 59778"/>
                  <a:gd name="connsiteX11" fmla="*/ 22130 w 34650"/>
                  <a:gd name="connsiteY11" fmla="*/ 51667 h 59778"/>
                  <a:gd name="connsiteX12" fmla="*/ 24775 w 34650"/>
                  <a:gd name="connsiteY12" fmla="*/ 50432 h 59778"/>
                  <a:gd name="connsiteX13" fmla="*/ 25304 w 34650"/>
                  <a:gd name="connsiteY13" fmla="*/ 51667 h 59778"/>
                  <a:gd name="connsiteX14" fmla="*/ 27949 w 34650"/>
                  <a:gd name="connsiteY14" fmla="*/ 53077 h 59778"/>
                  <a:gd name="connsiteX15" fmla="*/ 31212 w 34650"/>
                  <a:gd name="connsiteY15" fmla="*/ 52548 h 59778"/>
                  <a:gd name="connsiteX16" fmla="*/ 32358 w 34650"/>
                  <a:gd name="connsiteY16" fmla="*/ 50432 h 59778"/>
                  <a:gd name="connsiteX17" fmla="*/ 32093 w 34650"/>
                  <a:gd name="connsiteY17" fmla="*/ 49286 h 59778"/>
                  <a:gd name="connsiteX18" fmla="*/ 32093 w 34650"/>
                  <a:gd name="connsiteY18" fmla="*/ 47875 h 59778"/>
                  <a:gd name="connsiteX19" fmla="*/ 32093 w 34650"/>
                  <a:gd name="connsiteY19" fmla="*/ 45495 h 59778"/>
                  <a:gd name="connsiteX20" fmla="*/ 32093 w 34650"/>
                  <a:gd name="connsiteY20" fmla="*/ 44084 h 59778"/>
                  <a:gd name="connsiteX21" fmla="*/ 31741 w 34650"/>
                  <a:gd name="connsiteY21" fmla="*/ 42056 h 59778"/>
                  <a:gd name="connsiteX22" fmla="*/ 31741 w 34650"/>
                  <a:gd name="connsiteY22" fmla="*/ 40822 h 59778"/>
                  <a:gd name="connsiteX23" fmla="*/ 32622 w 34650"/>
                  <a:gd name="connsiteY23" fmla="*/ 38794 h 59778"/>
                  <a:gd name="connsiteX24" fmla="*/ 32358 w 34650"/>
                  <a:gd name="connsiteY24" fmla="*/ 34386 h 59778"/>
                  <a:gd name="connsiteX25" fmla="*/ 34386 w 34650"/>
                  <a:gd name="connsiteY25" fmla="*/ 35267 h 59778"/>
                  <a:gd name="connsiteX26" fmla="*/ 34121 w 34650"/>
                  <a:gd name="connsiteY26" fmla="*/ 33239 h 59778"/>
                  <a:gd name="connsiteX27" fmla="*/ 32622 w 34650"/>
                  <a:gd name="connsiteY27" fmla="*/ 33592 h 59778"/>
                  <a:gd name="connsiteX28" fmla="*/ 32358 w 34650"/>
                  <a:gd name="connsiteY28" fmla="*/ 32710 h 59778"/>
                  <a:gd name="connsiteX29" fmla="*/ 34650 w 34650"/>
                  <a:gd name="connsiteY29" fmla="*/ 30065 h 59778"/>
                  <a:gd name="connsiteX30" fmla="*/ 34650 w 34650"/>
                  <a:gd name="connsiteY30" fmla="*/ 29448 h 59778"/>
                  <a:gd name="connsiteX31" fmla="*/ 31212 w 34650"/>
                  <a:gd name="connsiteY31" fmla="*/ 27420 h 59778"/>
                  <a:gd name="connsiteX32" fmla="*/ 32358 w 34650"/>
                  <a:gd name="connsiteY32" fmla="*/ 26274 h 59778"/>
                  <a:gd name="connsiteX33" fmla="*/ 31212 w 34650"/>
                  <a:gd name="connsiteY33" fmla="*/ 25128 h 59778"/>
                  <a:gd name="connsiteX34" fmla="*/ 33504 w 34650"/>
                  <a:gd name="connsiteY34" fmla="*/ 23365 h 59778"/>
                  <a:gd name="connsiteX35" fmla="*/ 34386 w 34650"/>
                  <a:gd name="connsiteY35" fmla="*/ 21601 h 59778"/>
                  <a:gd name="connsiteX36" fmla="*/ 34650 w 34650"/>
                  <a:gd name="connsiteY36" fmla="*/ 19573 h 59778"/>
                  <a:gd name="connsiteX37" fmla="*/ 34121 w 34650"/>
                  <a:gd name="connsiteY37" fmla="*/ 16928 h 59778"/>
                  <a:gd name="connsiteX38" fmla="*/ 34121 w 34650"/>
                  <a:gd name="connsiteY38" fmla="*/ 15782 h 59778"/>
                  <a:gd name="connsiteX39" fmla="*/ 33239 w 34650"/>
                  <a:gd name="connsiteY39" fmla="*/ 15165 h 59778"/>
                  <a:gd name="connsiteX40" fmla="*/ 33239 w 34650"/>
                  <a:gd name="connsiteY40" fmla="*/ 14019 h 59778"/>
                  <a:gd name="connsiteX41" fmla="*/ 31476 w 34650"/>
                  <a:gd name="connsiteY41" fmla="*/ 12520 h 59778"/>
                  <a:gd name="connsiteX42" fmla="*/ 30594 w 34650"/>
                  <a:gd name="connsiteY42" fmla="*/ 11991 h 59778"/>
                  <a:gd name="connsiteX43" fmla="*/ 31476 w 34650"/>
                  <a:gd name="connsiteY43" fmla="*/ 11374 h 59778"/>
                  <a:gd name="connsiteX44" fmla="*/ 33239 w 34650"/>
                  <a:gd name="connsiteY44" fmla="*/ 11374 h 59778"/>
                  <a:gd name="connsiteX45" fmla="*/ 31476 w 34650"/>
                  <a:gd name="connsiteY45" fmla="*/ 10757 h 59778"/>
                  <a:gd name="connsiteX46" fmla="*/ 30594 w 34650"/>
                  <a:gd name="connsiteY46" fmla="*/ 9346 h 59778"/>
                  <a:gd name="connsiteX47" fmla="*/ 30594 w 34650"/>
                  <a:gd name="connsiteY47" fmla="*/ 7582 h 59778"/>
                  <a:gd name="connsiteX48" fmla="*/ 29184 w 34650"/>
                  <a:gd name="connsiteY48" fmla="*/ 6965 h 59778"/>
                  <a:gd name="connsiteX49" fmla="*/ 29448 w 34650"/>
                  <a:gd name="connsiteY49" fmla="*/ 5819 h 59778"/>
                  <a:gd name="connsiteX50" fmla="*/ 27068 w 34650"/>
                  <a:gd name="connsiteY50" fmla="*/ 6436 h 59778"/>
                  <a:gd name="connsiteX51" fmla="*/ 29184 w 34650"/>
                  <a:gd name="connsiteY51" fmla="*/ 5290 h 59778"/>
                  <a:gd name="connsiteX52" fmla="*/ 29713 w 34650"/>
                  <a:gd name="connsiteY52" fmla="*/ 5290 h 59778"/>
                  <a:gd name="connsiteX53" fmla="*/ 29713 w 34650"/>
                  <a:gd name="connsiteY53" fmla="*/ 4408 h 59778"/>
                  <a:gd name="connsiteX54" fmla="*/ 29184 w 34650"/>
                  <a:gd name="connsiteY54" fmla="*/ 4408 h 59778"/>
                  <a:gd name="connsiteX55" fmla="*/ 29184 w 34650"/>
                  <a:gd name="connsiteY55" fmla="*/ 3791 h 59778"/>
                  <a:gd name="connsiteX56" fmla="*/ 27068 w 34650"/>
                  <a:gd name="connsiteY56" fmla="*/ 3791 h 59778"/>
                  <a:gd name="connsiteX57" fmla="*/ 26539 w 34650"/>
                  <a:gd name="connsiteY57" fmla="*/ 4056 h 59778"/>
                  <a:gd name="connsiteX58" fmla="*/ 25922 w 34650"/>
                  <a:gd name="connsiteY58" fmla="*/ 3262 h 59778"/>
                  <a:gd name="connsiteX59" fmla="*/ 26539 w 34650"/>
                  <a:gd name="connsiteY59" fmla="*/ 2645 h 59778"/>
                  <a:gd name="connsiteX60" fmla="*/ 22747 w 34650"/>
                  <a:gd name="connsiteY60" fmla="*/ 2028 h 59778"/>
                  <a:gd name="connsiteX61" fmla="*/ 23277 w 34650"/>
                  <a:gd name="connsiteY61" fmla="*/ 1499 h 59778"/>
                  <a:gd name="connsiteX62" fmla="*/ 22747 w 34650"/>
                  <a:gd name="connsiteY62" fmla="*/ 617 h 59778"/>
                  <a:gd name="connsiteX63" fmla="*/ 22747 w 34650"/>
                  <a:gd name="connsiteY63" fmla="*/ 0 h 59778"/>
                  <a:gd name="connsiteX64" fmla="*/ 20102 w 34650"/>
                  <a:gd name="connsiteY64" fmla="*/ 1499 h 59778"/>
                  <a:gd name="connsiteX65" fmla="*/ 19485 w 34650"/>
                  <a:gd name="connsiteY65" fmla="*/ 1763 h 59778"/>
                  <a:gd name="connsiteX66" fmla="*/ 20102 w 34650"/>
                  <a:gd name="connsiteY66" fmla="*/ 2645 h 59778"/>
                  <a:gd name="connsiteX67" fmla="*/ 19485 w 34650"/>
                  <a:gd name="connsiteY67" fmla="*/ 3791 h 59778"/>
                  <a:gd name="connsiteX68" fmla="*/ 17193 w 34650"/>
                  <a:gd name="connsiteY68" fmla="*/ 4408 h 59778"/>
                  <a:gd name="connsiteX69" fmla="*/ 16576 w 34650"/>
                  <a:gd name="connsiteY69" fmla="*/ 6436 h 59778"/>
                  <a:gd name="connsiteX70" fmla="*/ 16047 w 34650"/>
                  <a:gd name="connsiteY70" fmla="*/ 6436 h 59778"/>
                  <a:gd name="connsiteX71" fmla="*/ 15429 w 34650"/>
                  <a:gd name="connsiteY71" fmla="*/ 7582 h 59778"/>
                  <a:gd name="connsiteX72" fmla="*/ 12256 w 34650"/>
                  <a:gd name="connsiteY72" fmla="*/ 9081 h 59778"/>
                  <a:gd name="connsiteX73" fmla="*/ 11638 w 34650"/>
                  <a:gd name="connsiteY73" fmla="*/ 9081 h 59778"/>
                  <a:gd name="connsiteX74" fmla="*/ 9346 w 34650"/>
                  <a:gd name="connsiteY74" fmla="*/ 9346 h 59778"/>
                  <a:gd name="connsiteX75" fmla="*/ 9346 w 34650"/>
                  <a:gd name="connsiteY75" fmla="*/ 10757 h 59778"/>
                  <a:gd name="connsiteX76" fmla="*/ 5819 w 34650"/>
                  <a:gd name="connsiteY76" fmla="*/ 11374 h 59778"/>
                  <a:gd name="connsiteX77" fmla="*/ 1763 w 34650"/>
                  <a:gd name="connsiteY77" fmla="*/ 10757 h 59778"/>
                  <a:gd name="connsiteX78" fmla="*/ 1763 w 34650"/>
                  <a:gd name="connsiteY78" fmla="*/ 9346 h 59778"/>
                  <a:gd name="connsiteX79" fmla="*/ 1763 w 34650"/>
                  <a:gd name="connsiteY79" fmla="*/ 8200 h 59778"/>
                  <a:gd name="connsiteX80" fmla="*/ 1146 w 34650"/>
                  <a:gd name="connsiteY80" fmla="*/ 7582 h 59778"/>
                  <a:gd name="connsiteX81" fmla="*/ 529 w 34650"/>
                  <a:gd name="connsiteY81" fmla="*/ 9081 h 59778"/>
                  <a:gd name="connsiteX82" fmla="*/ 882 w 34650"/>
                  <a:gd name="connsiteY82" fmla="*/ 9346 h 59778"/>
                  <a:gd name="connsiteX83" fmla="*/ 0 w 34650"/>
                  <a:gd name="connsiteY83" fmla="*/ 12873 h 59778"/>
                  <a:gd name="connsiteX84" fmla="*/ 1411 w 34650"/>
                  <a:gd name="connsiteY84" fmla="*/ 15782 h 59778"/>
                  <a:gd name="connsiteX85" fmla="*/ 882 w 34650"/>
                  <a:gd name="connsiteY85" fmla="*/ 16311 h 59778"/>
                  <a:gd name="connsiteX86" fmla="*/ 0 w 34650"/>
                  <a:gd name="connsiteY86" fmla="*/ 16664 h 59778"/>
                  <a:gd name="connsiteX87" fmla="*/ 882 w 34650"/>
                  <a:gd name="connsiteY87" fmla="*/ 18074 h 59778"/>
                  <a:gd name="connsiteX88" fmla="*/ 882 w 34650"/>
                  <a:gd name="connsiteY88" fmla="*/ 17810 h 59778"/>
                  <a:gd name="connsiteX89" fmla="*/ 882 w 34650"/>
                  <a:gd name="connsiteY89" fmla="*/ 16928 h 59778"/>
                  <a:gd name="connsiteX90" fmla="*/ 2028 w 34650"/>
                  <a:gd name="connsiteY90" fmla="*/ 16928 h 59778"/>
                  <a:gd name="connsiteX91" fmla="*/ 1411 w 34650"/>
                  <a:gd name="connsiteY91" fmla="*/ 17810 h 59778"/>
                  <a:gd name="connsiteX92" fmla="*/ 1763 w 34650"/>
                  <a:gd name="connsiteY92" fmla="*/ 18074 h 59778"/>
                  <a:gd name="connsiteX93" fmla="*/ 2028 w 34650"/>
                  <a:gd name="connsiteY93" fmla="*/ 18074 h 59778"/>
                  <a:gd name="connsiteX94" fmla="*/ 2557 w 34650"/>
                  <a:gd name="connsiteY94" fmla="*/ 17810 h 59778"/>
                  <a:gd name="connsiteX95" fmla="*/ 2909 w 34650"/>
                  <a:gd name="connsiteY95" fmla="*/ 19573 h 59778"/>
                  <a:gd name="connsiteX96" fmla="*/ 4673 w 34650"/>
                  <a:gd name="connsiteY96" fmla="*/ 19573 h 59778"/>
                  <a:gd name="connsiteX97" fmla="*/ 6084 w 34650"/>
                  <a:gd name="connsiteY97" fmla="*/ 21601 h 59778"/>
                  <a:gd name="connsiteX98" fmla="*/ 5555 w 34650"/>
                  <a:gd name="connsiteY98" fmla="*/ 23365 h 59778"/>
                  <a:gd name="connsiteX99" fmla="*/ 6348 w 34650"/>
                  <a:gd name="connsiteY99" fmla="*/ 23629 h 59778"/>
                  <a:gd name="connsiteX100" fmla="*/ 6348 w 34650"/>
                  <a:gd name="connsiteY100" fmla="*/ 24511 h 59778"/>
                  <a:gd name="connsiteX101" fmla="*/ 6348 w 34650"/>
                  <a:gd name="connsiteY101" fmla="*/ 27420 h 59778"/>
                  <a:gd name="connsiteX102" fmla="*/ 6348 w 34650"/>
                  <a:gd name="connsiteY102" fmla="*/ 29448 h 59778"/>
                  <a:gd name="connsiteX103" fmla="*/ 6348 w 34650"/>
                  <a:gd name="connsiteY103" fmla="*/ 30065 h 59778"/>
                  <a:gd name="connsiteX104" fmla="*/ 5819 w 34650"/>
                  <a:gd name="connsiteY104" fmla="*/ 30594 h 59778"/>
                  <a:gd name="connsiteX105" fmla="*/ 6701 w 34650"/>
                  <a:gd name="connsiteY105" fmla="*/ 31212 h 59778"/>
                  <a:gd name="connsiteX106" fmla="*/ 5819 w 34650"/>
                  <a:gd name="connsiteY106" fmla="*/ 32710 h 59778"/>
                  <a:gd name="connsiteX107" fmla="*/ 6348 w 34650"/>
                  <a:gd name="connsiteY107" fmla="*/ 34386 h 59778"/>
                  <a:gd name="connsiteX108" fmla="*/ 8993 w 34650"/>
                  <a:gd name="connsiteY108" fmla="*/ 34386 h 59778"/>
                  <a:gd name="connsiteX109" fmla="*/ 9346 w 34650"/>
                  <a:gd name="connsiteY109" fmla="*/ 35884 h 59778"/>
                  <a:gd name="connsiteX110" fmla="*/ 9610 w 34650"/>
                  <a:gd name="connsiteY110" fmla="*/ 37031 h 59778"/>
                  <a:gd name="connsiteX111" fmla="*/ 8993 w 34650"/>
                  <a:gd name="connsiteY111" fmla="*/ 38265 h 59778"/>
                  <a:gd name="connsiteX112" fmla="*/ 7230 w 34650"/>
                  <a:gd name="connsiteY112" fmla="*/ 38794 h 59778"/>
                  <a:gd name="connsiteX113" fmla="*/ 8729 w 34650"/>
                  <a:gd name="connsiteY113" fmla="*/ 40557 h 59778"/>
                  <a:gd name="connsiteX114" fmla="*/ 6348 w 34650"/>
                  <a:gd name="connsiteY114" fmla="*/ 38530 h 59778"/>
                  <a:gd name="connsiteX115" fmla="*/ 6701 w 34650"/>
                  <a:gd name="connsiteY115" fmla="*/ 40293 h 59778"/>
                  <a:gd name="connsiteX116" fmla="*/ 6965 w 34650"/>
                  <a:gd name="connsiteY116" fmla="*/ 41439 h 59778"/>
                  <a:gd name="connsiteX117" fmla="*/ 6965 w 34650"/>
                  <a:gd name="connsiteY117" fmla="*/ 43467 h 59778"/>
                  <a:gd name="connsiteX118" fmla="*/ 6348 w 34650"/>
                  <a:gd name="connsiteY118" fmla="*/ 44613 h 59778"/>
                  <a:gd name="connsiteX119" fmla="*/ 6965 w 34650"/>
                  <a:gd name="connsiteY119" fmla="*/ 45759 h 59778"/>
                  <a:gd name="connsiteX120" fmla="*/ 5555 w 34650"/>
                  <a:gd name="connsiteY120" fmla="*/ 47258 h 59778"/>
                  <a:gd name="connsiteX121" fmla="*/ 6701 w 34650"/>
                  <a:gd name="connsiteY121" fmla="*/ 47875 h 59778"/>
                  <a:gd name="connsiteX122" fmla="*/ 7230 w 34650"/>
                  <a:gd name="connsiteY122" fmla="*/ 49286 h 59778"/>
                  <a:gd name="connsiteX123" fmla="*/ 6701 w 34650"/>
                  <a:gd name="connsiteY123" fmla="*/ 49903 h 59778"/>
                  <a:gd name="connsiteX124" fmla="*/ 5819 w 34650"/>
                  <a:gd name="connsiteY124" fmla="*/ 50432 h 59778"/>
                  <a:gd name="connsiteX125" fmla="*/ 5819 w 34650"/>
                  <a:gd name="connsiteY125" fmla="*/ 51049 h 59778"/>
                  <a:gd name="connsiteX126" fmla="*/ 7230 w 34650"/>
                  <a:gd name="connsiteY126" fmla="*/ 51667 h 59778"/>
                  <a:gd name="connsiteX127" fmla="*/ 7230 w 34650"/>
                  <a:gd name="connsiteY127" fmla="*/ 52196 h 59778"/>
                  <a:gd name="connsiteX128" fmla="*/ 7230 w 34650"/>
                  <a:gd name="connsiteY128" fmla="*/ 53342 h 59778"/>
                  <a:gd name="connsiteX129" fmla="*/ 7230 w 34650"/>
                  <a:gd name="connsiteY129" fmla="*/ 54841 h 59778"/>
                  <a:gd name="connsiteX130" fmla="*/ 7230 w 34650"/>
                  <a:gd name="connsiteY130" fmla="*/ 55722 h 59778"/>
                  <a:gd name="connsiteX131" fmla="*/ 9610 w 34650"/>
                  <a:gd name="connsiteY131" fmla="*/ 54576 h 59778"/>
                  <a:gd name="connsiteX132" fmla="*/ 8729 w 34650"/>
                  <a:gd name="connsiteY132" fmla="*/ 55722 h 59778"/>
                  <a:gd name="connsiteX133" fmla="*/ 10139 w 34650"/>
                  <a:gd name="connsiteY133" fmla="*/ 55987 h 59778"/>
                  <a:gd name="connsiteX134" fmla="*/ 11109 w 34650"/>
                  <a:gd name="connsiteY134" fmla="*/ 58015 h 59778"/>
                  <a:gd name="connsiteX135" fmla="*/ 11109 w 34650"/>
                  <a:gd name="connsiteY135" fmla="*/ 59249 h 59778"/>
                  <a:gd name="connsiteX136" fmla="*/ 13401 w 34650"/>
                  <a:gd name="connsiteY136" fmla="*/ 58632 h 59778"/>
                  <a:gd name="connsiteX137" fmla="*/ 13666 w 34650"/>
                  <a:gd name="connsiteY137" fmla="*/ 59249 h 59778"/>
                  <a:gd name="connsiteX138" fmla="*/ 17193 w 34650"/>
                  <a:gd name="connsiteY138" fmla="*/ 59778 h 59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</a:cxnLst>
                <a:rect l="l" t="t" r="r" b="b"/>
                <a:pathLst>
                  <a:path w="34650" h="59778">
                    <a:moveTo>
                      <a:pt x="19221" y="57133"/>
                    </a:moveTo>
                    <a:lnTo>
                      <a:pt x="20984" y="55987"/>
                    </a:lnTo>
                    <a:lnTo>
                      <a:pt x="19221" y="54841"/>
                    </a:lnTo>
                    <a:lnTo>
                      <a:pt x="18956" y="53077"/>
                    </a:lnTo>
                    <a:lnTo>
                      <a:pt x="20367" y="52196"/>
                    </a:lnTo>
                    <a:lnTo>
                      <a:pt x="20367" y="51314"/>
                    </a:lnTo>
                    <a:lnTo>
                      <a:pt x="19485" y="51049"/>
                    </a:lnTo>
                    <a:lnTo>
                      <a:pt x="18956" y="49639"/>
                    </a:lnTo>
                    <a:lnTo>
                      <a:pt x="20720" y="50432"/>
                    </a:lnTo>
                    <a:lnTo>
                      <a:pt x="21601" y="51667"/>
                    </a:lnTo>
                    <a:lnTo>
                      <a:pt x="22130" y="52196"/>
                    </a:lnTo>
                    <a:lnTo>
                      <a:pt x="22130" y="51667"/>
                    </a:lnTo>
                    <a:lnTo>
                      <a:pt x="24775" y="50432"/>
                    </a:lnTo>
                    <a:lnTo>
                      <a:pt x="25304" y="51667"/>
                    </a:lnTo>
                    <a:lnTo>
                      <a:pt x="27949" y="53077"/>
                    </a:lnTo>
                    <a:lnTo>
                      <a:pt x="31212" y="52548"/>
                    </a:lnTo>
                    <a:lnTo>
                      <a:pt x="32358" y="50432"/>
                    </a:lnTo>
                    <a:lnTo>
                      <a:pt x="32093" y="49286"/>
                    </a:lnTo>
                    <a:lnTo>
                      <a:pt x="32093" y="47875"/>
                    </a:lnTo>
                    <a:lnTo>
                      <a:pt x="32093" y="45495"/>
                    </a:lnTo>
                    <a:lnTo>
                      <a:pt x="32093" y="44084"/>
                    </a:lnTo>
                    <a:lnTo>
                      <a:pt x="31741" y="42056"/>
                    </a:lnTo>
                    <a:lnTo>
                      <a:pt x="31741" y="40822"/>
                    </a:lnTo>
                    <a:lnTo>
                      <a:pt x="32622" y="38794"/>
                    </a:lnTo>
                    <a:lnTo>
                      <a:pt x="32358" y="34386"/>
                    </a:lnTo>
                    <a:lnTo>
                      <a:pt x="34386" y="35267"/>
                    </a:lnTo>
                    <a:lnTo>
                      <a:pt x="34121" y="33239"/>
                    </a:lnTo>
                    <a:lnTo>
                      <a:pt x="32622" y="33592"/>
                    </a:lnTo>
                    <a:lnTo>
                      <a:pt x="32358" y="32710"/>
                    </a:lnTo>
                    <a:lnTo>
                      <a:pt x="34650" y="30065"/>
                    </a:lnTo>
                    <a:lnTo>
                      <a:pt x="34650" y="29448"/>
                    </a:lnTo>
                    <a:lnTo>
                      <a:pt x="31212" y="27420"/>
                    </a:lnTo>
                    <a:lnTo>
                      <a:pt x="32358" y="26274"/>
                    </a:lnTo>
                    <a:lnTo>
                      <a:pt x="31212" y="25128"/>
                    </a:lnTo>
                    <a:lnTo>
                      <a:pt x="33504" y="23365"/>
                    </a:lnTo>
                    <a:lnTo>
                      <a:pt x="34386" y="21601"/>
                    </a:lnTo>
                    <a:lnTo>
                      <a:pt x="34650" y="19573"/>
                    </a:lnTo>
                    <a:lnTo>
                      <a:pt x="34121" y="16928"/>
                    </a:lnTo>
                    <a:lnTo>
                      <a:pt x="34121" y="15782"/>
                    </a:lnTo>
                    <a:lnTo>
                      <a:pt x="33239" y="15165"/>
                    </a:lnTo>
                    <a:lnTo>
                      <a:pt x="33239" y="14019"/>
                    </a:lnTo>
                    <a:lnTo>
                      <a:pt x="31476" y="12520"/>
                    </a:lnTo>
                    <a:lnTo>
                      <a:pt x="30594" y="11991"/>
                    </a:lnTo>
                    <a:lnTo>
                      <a:pt x="31476" y="11374"/>
                    </a:lnTo>
                    <a:lnTo>
                      <a:pt x="33239" y="11374"/>
                    </a:lnTo>
                    <a:lnTo>
                      <a:pt x="31476" y="10757"/>
                    </a:lnTo>
                    <a:lnTo>
                      <a:pt x="30594" y="9346"/>
                    </a:lnTo>
                    <a:lnTo>
                      <a:pt x="30594" y="7582"/>
                    </a:lnTo>
                    <a:lnTo>
                      <a:pt x="29184" y="6965"/>
                    </a:lnTo>
                    <a:lnTo>
                      <a:pt x="29448" y="5819"/>
                    </a:lnTo>
                    <a:lnTo>
                      <a:pt x="27068" y="6436"/>
                    </a:lnTo>
                    <a:lnTo>
                      <a:pt x="29184" y="5290"/>
                    </a:lnTo>
                    <a:lnTo>
                      <a:pt x="29713" y="5290"/>
                    </a:lnTo>
                    <a:lnTo>
                      <a:pt x="29713" y="4408"/>
                    </a:lnTo>
                    <a:lnTo>
                      <a:pt x="29184" y="4408"/>
                    </a:lnTo>
                    <a:lnTo>
                      <a:pt x="29184" y="3791"/>
                    </a:lnTo>
                    <a:lnTo>
                      <a:pt x="27068" y="3791"/>
                    </a:lnTo>
                    <a:lnTo>
                      <a:pt x="26539" y="4056"/>
                    </a:lnTo>
                    <a:lnTo>
                      <a:pt x="25922" y="3262"/>
                    </a:lnTo>
                    <a:lnTo>
                      <a:pt x="26539" y="2645"/>
                    </a:lnTo>
                    <a:lnTo>
                      <a:pt x="22747" y="2028"/>
                    </a:lnTo>
                    <a:lnTo>
                      <a:pt x="23277" y="1499"/>
                    </a:lnTo>
                    <a:lnTo>
                      <a:pt x="22747" y="617"/>
                    </a:lnTo>
                    <a:lnTo>
                      <a:pt x="22747" y="0"/>
                    </a:lnTo>
                    <a:lnTo>
                      <a:pt x="20102" y="1499"/>
                    </a:lnTo>
                    <a:lnTo>
                      <a:pt x="19485" y="1763"/>
                    </a:lnTo>
                    <a:lnTo>
                      <a:pt x="20102" y="2645"/>
                    </a:lnTo>
                    <a:lnTo>
                      <a:pt x="19485" y="3791"/>
                    </a:lnTo>
                    <a:lnTo>
                      <a:pt x="17193" y="4408"/>
                    </a:lnTo>
                    <a:lnTo>
                      <a:pt x="16576" y="6436"/>
                    </a:lnTo>
                    <a:lnTo>
                      <a:pt x="16047" y="6436"/>
                    </a:lnTo>
                    <a:lnTo>
                      <a:pt x="15429" y="7582"/>
                    </a:lnTo>
                    <a:lnTo>
                      <a:pt x="12256" y="9081"/>
                    </a:lnTo>
                    <a:lnTo>
                      <a:pt x="11638" y="9081"/>
                    </a:lnTo>
                    <a:lnTo>
                      <a:pt x="9346" y="9346"/>
                    </a:lnTo>
                    <a:lnTo>
                      <a:pt x="9346" y="10757"/>
                    </a:lnTo>
                    <a:lnTo>
                      <a:pt x="5819" y="11374"/>
                    </a:lnTo>
                    <a:lnTo>
                      <a:pt x="1763" y="10757"/>
                    </a:lnTo>
                    <a:lnTo>
                      <a:pt x="1763" y="9346"/>
                    </a:lnTo>
                    <a:lnTo>
                      <a:pt x="1763" y="8200"/>
                    </a:lnTo>
                    <a:lnTo>
                      <a:pt x="1146" y="7582"/>
                    </a:lnTo>
                    <a:lnTo>
                      <a:pt x="529" y="9081"/>
                    </a:lnTo>
                    <a:lnTo>
                      <a:pt x="882" y="9346"/>
                    </a:lnTo>
                    <a:lnTo>
                      <a:pt x="0" y="12873"/>
                    </a:lnTo>
                    <a:lnTo>
                      <a:pt x="1411" y="15782"/>
                    </a:lnTo>
                    <a:lnTo>
                      <a:pt x="882" y="16311"/>
                    </a:lnTo>
                    <a:lnTo>
                      <a:pt x="0" y="16664"/>
                    </a:lnTo>
                    <a:lnTo>
                      <a:pt x="882" y="18074"/>
                    </a:lnTo>
                    <a:lnTo>
                      <a:pt x="882" y="17810"/>
                    </a:lnTo>
                    <a:lnTo>
                      <a:pt x="882" y="16928"/>
                    </a:lnTo>
                    <a:lnTo>
                      <a:pt x="2028" y="16928"/>
                    </a:lnTo>
                    <a:lnTo>
                      <a:pt x="1411" y="17810"/>
                    </a:lnTo>
                    <a:lnTo>
                      <a:pt x="1763" y="18074"/>
                    </a:lnTo>
                    <a:lnTo>
                      <a:pt x="2028" y="18074"/>
                    </a:lnTo>
                    <a:lnTo>
                      <a:pt x="2557" y="17810"/>
                    </a:lnTo>
                    <a:lnTo>
                      <a:pt x="2909" y="19573"/>
                    </a:lnTo>
                    <a:lnTo>
                      <a:pt x="4673" y="19573"/>
                    </a:lnTo>
                    <a:lnTo>
                      <a:pt x="6084" y="21601"/>
                    </a:lnTo>
                    <a:lnTo>
                      <a:pt x="5555" y="23365"/>
                    </a:lnTo>
                    <a:lnTo>
                      <a:pt x="6348" y="23629"/>
                    </a:lnTo>
                    <a:lnTo>
                      <a:pt x="6348" y="24511"/>
                    </a:lnTo>
                    <a:lnTo>
                      <a:pt x="6348" y="27420"/>
                    </a:lnTo>
                    <a:lnTo>
                      <a:pt x="6348" y="29448"/>
                    </a:lnTo>
                    <a:lnTo>
                      <a:pt x="6348" y="30065"/>
                    </a:lnTo>
                    <a:lnTo>
                      <a:pt x="5819" y="30594"/>
                    </a:lnTo>
                    <a:lnTo>
                      <a:pt x="6701" y="31212"/>
                    </a:lnTo>
                    <a:lnTo>
                      <a:pt x="5819" y="32710"/>
                    </a:lnTo>
                    <a:lnTo>
                      <a:pt x="6348" y="34386"/>
                    </a:lnTo>
                    <a:lnTo>
                      <a:pt x="8993" y="34386"/>
                    </a:lnTo>
                    <a:lnTo>
                      <a:pt x="9346" y="35884"/>
                    </a:lnTo>
                    <a:lnTo>
                      <a:pt x="9610" y="37031"/>
                    </a:lnTo>
                    <a:lnTo>
                      <a:pt x="8993" y="38265"/>
                    </a:lnTo>
                    <a:lnTo>
                      <a:pt x="7230" y="38794"/>
                    </a:lnTo>
                    <a:lnTo>
                      <a:pt x="8729" y="40557"/>
                    </a:lnTo>
                    <a:lnTo>
                      <a:pt x="6348" y="38530"/>
                    </a:lnTo>
                    <a:lnTo>
                      <a:pt x="6701" y="40293"/>
                    </a:lnTo>
                    <a:lnTo>
                      <a:pt x="6965" y="41439"/>
                    </a:lnTo>
                    <a:lnTo>
                      <a:pt x="6965" y="43467"/>
                    </a:lnTo>
                    <a:lnTo>
                      <a:pt x="6348" y="44613"/>
                    </a:lnTo>
                    <a:lnTo>
                      <a:pt x="6965" y="45759"/>
                    </a:lnTo>
                    <a:lnTo>
                      <a:pt x="5555" y="47258"/>
                    </a:lnTo>
                    <a:lnTo>
                      <a:pt x="6701" y="47875"/>
                    </a:lnTo>
                    <a:lnTo>
                      <a:pt x="7230" y="49286"/>
                    </a:lnTo>
                    <a:lnTo>
                      <a:pt x="6701" y="49903"/>
                    </a:lnTo>
                    <a:lnTo>
                      <a:pt x="5819" y="50432"/>
                    </a:lnTo>
                    <a:lnTo>
                      <a:pt x="5819" y="51049"/>
                    </a:lnTo>
                    <a:lnTo>
                      <a:pt x="7230" y="51667"/>
                    </a:lnTo>
                    <a:lnTo>
                      <a:pt x="7230" y="52196"/>
                    </a:lnTo>
                    <a:lnTo>
                      <a:pt x="7230" y="53342"/>
                    </a:lnTo>
                    <a:lnTo>
                      <a:pt x="7230" y="54841"/>
                    </a:lnTo>
                    <a:lnTo>
                      <a:pt x="7230" y="55722"/>
                    </a:lnTo>
                    <a:lnTo>
                      <a:pt x="9610" y="54576"/>
                    </a:lnTo>
                    <a:lnTo>
                      <a:pt x="8729" y="55722"/>
                    </a:lnTo>
                    <a:lnTo>
                      <a:pt x="10139" y="55987"/>
                    </a:lnTo>
                    <a:lnTo>
                      <a:pt x="11109" y="58015"/>
                    </a:lnTo>
                    <a:lnTo>
                      <a:pt x="11109" y="59249"/>
                    </a:lnTo>
                    <a:lnTo>
                      <a:pt x="13401" y="58632"/>
                    </a:lnTo>
                    <a:lnTo>
                      <a:pt x="13666" y="59249"/>
                    </a:lnTo>
                    <a:lnTo>
                      <a:pt x="17193" y="5977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0" name="Freihandform: Form 1639">
                <a:extLst>
                  <a:ext uri="{FF2B5EF4-FFF2-40B4-BE49-F238E27FC236}">
                    <a16:creationId xmlns:a16="http://schemas.microsoft.com/office/drawing/2014/main" id="{A8C73740-6CF4-3DF7-48DA-DC49D5B0B828}"/>
                  </a:ext>
                </a:extLst>
              </p:cNvPr>
              <p:cNvSpPr/>
              <p:nvPr/>
            </p:nvSpPr>
            <p:spPr>
              <a:xfrm>
                <a:off x="4025492" y="2926175"/>
                <a:ext cx="4143" cy="1763"/>
              </a:xfrm>
              <a:custGeom>
                <a:avLst/>
                <a:gdLst>
                  <a:gd name="connsiteX0" fmla="*/ 353 w 4143"/>
                  <a:gd name="connsiteY0" fmla="*/ 0 h 1763"/>
                  <a:gd name="connsiteX1" fmla="*/ 0 w 4143"/>
                  <a:gd name="connsiteY1" fmla="*/ 0 h 1763"/>
                  <a:gd name="connsiteX2" fmla="*/ 617 w 4143"/>
                  <a:gd name="connsiteY2" fmla="*/ 617 h 1763"/>
                  <a:gd name="connsiteX3" fmla="*/ 353 w 4143"/>
                  <a:gd name="connsiteY3" fmla="*/ 882 h 1763"/>
                  <a:gd name="connsiteX4" fmla="*/ 1499 w 4143"/>
                  <a:gd name="connsiteY4" fmla="*/ 1146 h 1763"/>
                  <a:gd name="connsiteX5" fmla="*/ 1763 w 4143"/>
                  <a:gd name="connsiteY5" fmla="*/ 1146 h 1763"/>
                  <a:gd name="connsiteX6" fmla="*/ 3262 w 4143"/>
                  <a:gd name="connsiteY6" fmla="*/ 1763 h 1763"/>
                  <a:gd name="connsiteX7" fmla="*/ 3791 w 4143"/>
                  <a:gd name="connsiteY7" fmla="*/ 1763 h 1763"/>
                  <a:gd name="connsiteX8" fmla="*/ 4144 w 4143"/>
                  <a:gd name="connsiteY8" fmla="*/ 1499 h 1763"/>
                  <a:gd name="connsiteX9" fmla="*/ 3791 w 4143"/>
                  <a:gd name="connsiteY9" fmla="*/ 1146 h 1763"/>
                  <a:gd name="connsiteX10" fmla="*/ 3262 w 4143"/>
                  <a:gd name="connsiteY10" fmla="*/ 617 h 1763"/>
                  <a:gd name="connsiteX11" fmla="*/ 2028 w 4143"/>
                  <a:gd name="connsiteY11" fmla="*/ 264 h 1763"/>
                  <a:gd name="connsiteX12" fmla="*/ 882 w 4143"/>
                  <a:gd name="connsiteY1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143" h="1763">
                    <a:moveTo>
                      <a:pt x="353" y="0"/>
                    </a:moveTo>
                    <a:lnTo>
                      <a:pt x="0" y="0"/>
                    </a:lnTo>
                    <a:lnTo>
                      <a:pt x="617" y="617"/>
                    </a:lnTo>
                    <a:lnTo>
                      <a:pt x="353" y="882"/>
                    </a:lnTo>
                    <a:lnTo>
                      <a:pt x="1499" y="1146"/>
                    </a:lnTo>
                    <a:lnTo>
                      <a:pt x="1763" y="1146"/>
                    </a:lnTo>
                    <a:lnTo>
                      <a:pt x="3262" y="1763"/>
                    </a:lnTo>
                    <a:lnTo>
                      <a:pt x="3791" y="1763"/>
                    </a:lnTo>
                    <a:lnTo>
                      <a:pt x="4144" y="1499"/>
                    </a:lnTo>
                    <a:lnTo>
                      <a:pt x="3791" y="1146"/>
                    </a:lnTo>
                    <a:lnTo>
                      <a:pt x="3262" y="617"/>
                    </a:lnTo>
                    <a:lnTo>
                      <a:pt x="2028" y="264"/>
                    </a:lnTo>
                    <a:lnTo>
                      <a:pt x="882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1" name="Freihandform: Form 1640">
                <a:extLst>
                  <a:ext uri="{FF2B5EF4-FFF2-40B4-BE49-F238E27FC236}">
                    <a16:creationId xmlns:a16="http://schemas.microsoft.com/office/drawing/2014/main" id="{661E060C-D7B9-47BE-D78F-04149314F4CB}"/>
                  </a:ext>
                </a:extLst>
              </p:cNvPr>
              <p:cNvSpPr/>
              <p:nvPr/>
            </p:nvSpPr>
            <p:spPr>
              <a:xfrm>
                <a:off x="4017380" y="2918593"/>
                <a:ext cx="2556" cy="1763"/>
              </a:xfrm>
              <a:custGeom>
                <a:avLst/>
                <a:gdLst>
                  <a:gd name="connsiteX0" fmla="*/ 1146 w 2556"/>
                  <a:gd name="connsiteY0" fmla="*/ 264 h 1763"/>
                  <a:gd name="connsiteX1" fmla="*/ 882 w 2556"/>
                  <a:gd name="connsiteY1" fmla="*/ 882 h 1763"/>
                  <a:gd name="connsiteX2" fmla="*/ 0 w 2556"/>
                  <a:gd name="connsiteY2" fmla="*/ 1499 h 1763"/>
                  <a:gd name="connsiteX3" fmla="*/ 1146 w 2556"/>
                  <a:gd name="connsiteY3" fmla="*/ 1499 h 1763"/>
                  <a:gd name="connsiteX4" fmla="*/ 1411 w 2556"/>
                  <a:gd name="connsiteY4" fmla="*/ 1763 h 1763"/>
                  <a:gd name="connsiteX5" fmla="*/ 2028 w 2556"/>
                  <a:gd name="connsiteY5" fmla="*/ 1763 h 1763"/>
                  <a:gd name="connsiteX6" fmla="*/ 2028 w 2556"/>
                  <a:gd name="connsiteY6" fmla="*/ 882 h 1763"/>
                  <a:gd name="connsiteX7" fmla="*/ 2557 w 2556"/>
                  <a:gd name="connsiteY7" fmla="*/ 264 h 1763"/>
                  <a:gd name="connsiteX8" fmla="*/ 2028 w 2556"/>
                  <a:gd name="connsiteY8" fmla="*/ 264 h 1763"/>
                  <a:gd name="connsiteX9" fmla="*/ 1675 w 2556"/>
                  <a:gd name="connsiteY9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56" h="1763">
                    <a:moveTo>
                      <a:pt x="1146" y="264"/>
                    </a:moveTo>
                    <a:lnTo>
                      <a:pt x="882" y="882"/>
                    </a:lnTo>
                    <a:lnTo>
                      <a:pt x="0" y="1499"/>
                    </a:lnTo>
                    <a:lnTo>
                      <a:pt x="1146" y="1499"/>
                    </a:lnTo>
                    <a:lnTo>
                      <a:pt x="1411" y="1763"/>
                    </a:lnTo>
                    <a:lnTo>
                      <a:pt x="2028" y="1763"/>
                    </a:lnTo>
                    <a:lnTo>
                      <a:pt x="2028" y="882"/>
                    </a:lnTo>
                    <a:lnTo>
                      <a:pt x="2557" y="264"/>
                    </a:lnTo>
                    <a:lnTo>
                      <a:pt x="2028" y="264"/>
                    </a:lnTo>
                    <a:lnTo>
                      <a:pt x="1675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2" name="Freihandform: Form 1641">
                <a:extLst>
                  <a:ext uri="{FF2B5EF4-FFF2-40B4-BE49-F238E27FC236}">
                    <a16:creationId xmlns:a16="http://schemas.microsoft.com/office/drawing/2014/main" id="{55A5C6F3-3D99-4CB7-60DE-559C1A59B5C2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3" name="Freihandform: Form 1642">
                <a:extLst>
                  <a:ext uri="{FF2B5EF4-FFF2-40B4-BE49-F238E27FC236}">
                    <a16:creationId xmlns:a16="http://schemas.microsoft.com/office/drawing/2014/main" id="{0CDE4DDE-1866-C6AA-6CA4-26DCCB17B2C3}"/>
                  </a:ext>
                </a:extLst>
              </p:cNvPr>
              <p:cNvSpPr/>
              <p:nvPr/>
            </p:nvSpPr>
            <p:spPr>
              <a:xfrm>
                <a:off x="4421015" y="2670663"/>
                <a:ext cx="4408" cy="2645"/>
              </a:xfrm>
              <a:custGeom>
                <a:avLst/>
                <a:gdLst>
                  <a:gd name="connsiteX0" fmla="*/ 2028 w 4408"/>
                  <a:gd name="connsiteY0" fmla="*/ 0 h 2645"/>
                  <a:gd name="connsiteX1" fmla="*/ 2381 w 4408"/>
                  <a:gd name="connsiteY1" fmla="*/ 353 h 2645"/>
                  <a:gd name="connsiteX2" fmla="*/ 2910 w 4408"/>
                  <a:gd name="connsiteY2" fmla="*/ 617 h 2645"/>
                  <a:gd name="connsiteX3" fmla="*/ 3527 w 4408"/>
                  <a:gd name="connsiteY3" fmla="*/ 617 h 2645"/>
                  <a:gd name="connsiteX4" fmla="*/ 3791 w 4408"/>
                  <a:gd name="connsiteY4" fmla="*/ 617 h 2645"/>
                  <a:gd name="connsiteX5" fmla="*/ 4408 w 4408"/>
                  <a:gd name="connsiteY5" fmla="*/ 2116 h 2645"/>
                  <a:gd name="connsiteX6" fmla="*/ 4144 w 4408"/>
                  <a:gd name="connsiteY6" fmla="*/ 2645 h 2645"/>
                  <a:gd name="connsiteX7" fmla="*/ 2645 w 4408"/>
                  <a:gd name="connsiteY7" fmla="*/ 2381 h 2645"/>
                  <a:gd name="connsiteX8" fmla="*/ 353 w 4408"/>
                  <a:gd name="connsiteY8" fmla="*/ 882 h 2645"/>
                  <a:gd name="connsiteX9" fmla="*/ 0 w 4408"/>
                  <a:gd name="connsiteY9" fmla="*/ 882 h 2645"/>
                  <a:gd name="connsiteX10" fmla="*/ 0 w 4408"/>
                  <a:gd name="connsiteY10" fmla="*/ 617 h 2645"/>
                  <a:gd name="connsiteX11" fmla="*/ 353 w 4408"/>
                  <a:gd name="connsiteY11" fmla="*/ 617 h 2645"/>
                  <a:gd name="connsiteX12" fmla="*/ 1763 w 4408"/>
                  <a:gd name="connsiteY12" fmla="*/ 0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08" h="2645">
                    <a:moveTo>
                      <a:pt x="2028" y="0"/>
                    </a:moveTo>
                    <a:lnTo>
                      <a:pt x="2381" y="353"/>
                    </a:lnTo>
                    <a:lnTo>
                      <a:pt x="2910" y="617"/>
                    </a:lnTo>
                    <a:lnTo>
                      <a:pt x="3527" y="617"/>
                    </a:lnTo>
                    <a:lnTo>
                      <a:pt x="3791" y="617"/>
                    </a:lnTo>
                    <a:lnTo>
                      <a:pt x="4408" y="2116"/>
                    </a:lnTo>
                    <a:lnTo>
                      <a:pt x="4144" y="2645"/>
                    </a:lnTo>
                    <a:lnTo>
                      <a:pt x="2645" y="2381"/>
                    </a:lnTo>
                    <a:lnTo>
                      <a:pt x="353" y="882"/>
                    </a:lnTo>
                    <a:lnTo>
                      <a:pt x="0" y="882"/>
                    </a:lnTo>
                    <a:lnTo>
                      <a:pt x="0" y="617"/>
                    </a:lnTo>
                    <a:lnTo>
                      <a:pt x="353" y="617"/>
                    </a:lnTo>
                    <a:lnTo>
                      <a:pt x="1763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4" name="Freihandform: Form 1643">
                <a:extLst>
                  <a:ext uri="{FF2B5EF4-FFF2-40B4-BE49-F238E27FC236}">
                    <a16:creationId xmlns:a16="http://schemas.microsoft.com/office/drawing/2014/main" id="{AD534BEC-EEEE-9C8B-6871-6DB285EFF4DC}"/>
                  </a:ext>
                </a:extLst>
              </p:cNvPr>
              <p:cNvSpPr/>
              <p:nvPr/>
            </p:nvSpPr>
            <p:spPr>
              <a:xfrm>
                <a:off x="4423043" y="2668371"/>
                <a:ext cx="1763" cy="2027"/>
              </a:xfrm>
              <a:custGeom>
                <a:avLst/>
                <a:gdLst>
                  <a:gd name="connsiteX0" fmla="*/ 1499 w 1763"/>
                  <a:gd name="connsiteY0" fmla="*/ 2028 h 2027"/>
                  <a:gd name="connsiteX1" fmla="*/ 353 w 1763"/>
                  <a:gd name="connsiteY1" fmla="*/ 1411 h 2027"/>
                  <a:gd name="connsiteX2" fmla="*/ 0 w 1763"/>
                  <a:gd name="connsiteY2" fmla="*/ 1146 h 2027"/>
                  <a:gd name="connsiteX3" fmla="*/ 0 w 1763"/>
                  <a:gd name="connsiteY3" fmla="*/ 882 h 2027"/>
                  <a:gd name="connsiteX4" fmla="*/ 353 w 1763"/>
                  <a:gd name="connsiteY4" fmla="*/ 0 h 2027"/>
                  <a:gd name="connsiteX5" fmla="*/ 1234 w 1763"/>
                  <a:gd name="connsiteY5" fmla="*/ 0 h 2027"/>
                  <a:gd name="connsiteX6" fmla="*/ 1499 w 1763"/>
                  <a:gd name="connsiteY6" fmla="*/ 264 h 2027"/>
                  <a:gd name="connsiteX7" fmla="*/ 1763 w 1763"/>
                  <a:gd name="connsiteY7" fmla="*/ 264 h 2027"/>
                  <a:gd name="connsiteX8" fmla="*/ 1763 w 1763"/>
                  <a:gd name="connsiteY8" fmla="*/ 529 h 2027"/>
                  <a:gd name="connsiteX9" fmla="*/ 1763 w 1763"/>
                  <a:gd name="connsiteY9" fmla="*/ 882 h 2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3" h="2027">
                    <a:moveTo>
                      <a:pt x="1499" y="2028"/>
                    </a:moveTo>
                    <a:lnTo>
                      <a:pt x="353" y="1411"/>
                    </a:lnTo>
                    <a:lnTo>
                      <a:pt x="0" y="1146"/>
                    </a:lnTo>
                    <a:lnTo>
                      <a:pt x="0" y="882"/>
                    </a:lnTo>
                    <a:lnTo>
                      <a:pt x="353" y="0"/>
                    </a:lnTo>
                    <a:lnTo>
                      <a:pt x="1234" y="0"/>
                    </a:lnTo>
                    <a:lnTo>
                      <a:pt x="1499" y="264"/>
                    </a:lnTo>
                    <a:lnTo>
                      <a:pt x="1763" y="264"/>
                    </a:lnTo>
                    <a:lnTo>
                      <a:pt x="1763" y="529"/>
                    </a:lnTo>
                    <a:lnTo>
                      <a:pt x="1763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5" name="Freihandform: Form 1644">
                <a:extLst>
                  <a:ext uri="{FF2B5EF4-FFF2-40B4-BE49-F238E27FC236}">
                    <a16:creationId xmlns:a16="http://schemas.microsoft.com/office/drawing/2014/main" id="{05BEADB3-F9CB-8FD7-40C1-B943257AE242}"/>
                  </a:ext>
                </a:extLst>
              </p:cNvPr>
              <p:cNvSpPr/>
              <p:nvPr/>
            </p:nvSpPr>
            <p:spPr>
              <a:xfrm>
                <a:off x="4409906" y="2665461"/>
                <a:ext cx="3262" cy="3174"/>
              </a:xfrm>
              <a:custGeom>
                <a:avLst/>
                <a:gdLst>
                  <a:gd name="connsiteX0" fmla="*/ 1499 w 3262"/>
                  <a:gd name="connsiteY0" fmla="*/ 3174 h 3174"/>
                  <a:gd name="connsiteX1" fmla="*/ 1234 w 3262"/>
                  <a:gd name="connsiteY1" fmla="*/ 3174 h 3174"/>
                  <a:gd name="connsiteX2" fmla="*/ 882 w 3262"/>
                  <a:gd name="connsiteY2" fmla="*/ 2910 h 3174"/>
                  <a:gd name="connsiteX3" fmla="*/ 352 w 3262"/>
                  <a:gd name="connsiteY3" fmla="*/ 2292 h 3174"/>
                  <a:gd name="connsiteX4" fmla="*/ 0 w 3262"/>
                  <a:gd name="connsiteY4" fmla="*/ 1763 h 3174"/>
                  <a:gd name="connsiteX5" fmla="*/ 352 w 3262"/>
                  <a:gd name="connsiteY5" fmla="*/ 529 h 3174"/>
                  <a:gd name="connsiteX6" fmla="*/ 617 w 3262"/>
                  <a:gd name="connsiteY6" fmla="*/ 529 h 3174"/>
                  <a:gd name="connsiteX7" fmla="*/ 882 w 3262"/>
                  <a:gd name="connsiteY7" fmla="*/ 264 h 3174"/>
                  <a:gd name="connsiteX8" fmla="*/ 882 w 3262"/>
                  <a:gd name="connsiteY8" fmla="*/ 0 h 3174"/>
                  <a:gd name="connsiteX9" fmla="*/ 1234 w 3262"/>
                  <a:gd name="connsiteY9" fmla="*/ 0 h 3174"/>
                  <a:gd name="connsiteX10" fmla="*/ 1499 w 3262"/>
                  <a:gd name="connsiteY10" fmla="*/ 0 h 3174"/>
                  <a:gd name="connsiteX11" fmla="*/ 1763 w 3262"/>
                  <a:gd name="connsiteY11" fmla="*/ 0 h 3174"/>
                  <a:gd name="connsiteX12" fmla="*/ 2116 w 3262"/>
                  <a:gd name="connsiteY12" fmla="*/ 264 h 3174"/>
                  <a:gd name="connsiteX13" fmla="*/ 2998 w 3262"/>
                  <a:gd name="connsiteY13" fmla="*/ 1411 h 3174"/>
                  <a:gd name="connsiteX14" fmla="*/ 2998 w 3262"/>
                  <a:gd name="connsiteY14" fmla="*/ 2028 h 3174"/>
                  <a:gd name="connsiteX15" fmla="*/ 3262 w 3262"/>
                  <a:gd name="connsiteY15" fmla="*/ 2292 h 3174"/>
                  <a:gd name="connsiteX16" fmla="*/ 1763 w 3262"/>
                  <a:gd name="connsiteY16" fmla="*/ 2292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262" h="3174">
                    <a:moveTo>
                      <a:pt x="1499" y="3174"/>
                    </a:moveTo>
                    <a:lnTo>
                      <a:pt x="1234" y="3174"/>
                    </a:lnTo>
                    <a:lnTo>
                      <a:pt x="882" y="2910"/>
                    </a:lnTo>
                    <a:lnTo>
                      <a:pt x="352" y="2292"/>
                    </a:lnTo>
                    <a:lnTo>
                      <a:pt x="0" y="1763"/>
                    </a:lnTo>
                    <a:lnTo>
                      <a:pt x="352" y="529"/>
                    </a:lnTo>
                    <a:lnTo>
                      <a:pt x="617" y="529"/>
                    </a:lnTo>
                    <a:lnTo>
                      <a:pt x="882" y="264"/>
                    </a:lnTo>
                    <a:lnTo>
                      <a:pt x="882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0"/>
                    </a:lnTo>
                    <a:lnTo>
                      <a:pt x="2116" y="264"/>
                    </a:lnTo>
                    <a:lnTo>
                      <a:pt x="2998" y="1411"/>
                    </a:lnTo>
                    <a:lnTo>
                      <a:pt x="2998" y="2028"/>
                    </a:lnTo>
                    <a:lnTo>
                      <a:pt x="3262" y="2292"/>
                    </a:lnTo>
                    <a:lnTo>
                      <a:pt x="1763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6" name="Freihandform: Form 1645">
                <a:extLst>
                  <a:ext uri="{FF2B5EF4-FFF2-40B4-BE49-F238E27FC236}">
                    <a16:creationId xmlns:a16="http://schemas.microsoft.com/office/drawing/2014/main" id="{451D3270-62D2-1FC8-4A56-C8C769EE04B5}"/>
                  </a:ext>
                </a:extLst>
              </p:cNvPr>
              <p:cNvSpPr/>
              <p:nvPr/>
            </p:nvSpPr>
            <p:spPr>
              <a:xfrm>
                <a:off x="4425159" y="2665461"/>
                <a:ext cx="1675" cy="1763"/>
              </a:xfrm>
              <a:custGeom>
                <a:avLst/>
                <a:gdLst>
                  <a:gd name="connsiteX0" fmla="*/ 1146 w 1675"/>
                  <a:gd name="connsiteY0" fmla="*/ 1763 h 1763"/>
                  <a:gd name="connsiteX1" fmla="*/ 264 w 1675"/>
                  <a:gd name="connsiteY1" fmla="*/ 882 h 1763"/>
                  <a:gd name="connsiteX2" fmla="*/ 0 w 1675"/>
                  <a:gd name="connsiteY2" fmla="*/ 529 h 1763"/>
                  <a:gd name="connsiteX3" fmla="*/ 264 w 1675"/>
                  <a:gd name="connsiteY3" fmla="*/ 264 h 1763"/>
                  <a:gd name="connsiteX4" fmla="*/ 529 w 1675"/>
                  <a:gd name="connsiteY4" fmla="*/ 0 h 1763"/>
                  <a:gd name="connsiteX5" fmla="*/ 793 w 1675"/>
                  <a:gd name="connsiteY5" fmla="*/ 0 h 1763"/>
                  <a:gd name="connsiteX6" fmla="*/ 1675 w 1675"/>
                  <a:gd name="connsiteY6" fmla="*/ 264 h 1763"/>
                  <a:gd name="connsiteX7" fmla="*/ 1675 w 1675"/>
                  <a:gd name="connsiteY7" fmla="*/ 529 h 1763"/>
                  <a:gd name="connsiteX8" fmla="*/ 1411 w 1675"/>
                  <a:gd name="connsiteY8" fmla="*/ 1411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1763">
                    <a:moveTo>
                      <a:pt x="1146" y="1763"/>
                    </a:moveTo>
                    <a:lnTo>
                      <a:pt x="264" y="882"/>
                    </a:lnTo>
                    <a:lnTo>
                      <a:pt x="0" y="529"/>
                    </a:lnTo>
                    <a:lnTo>
                      <a:pt x="264" y="264"/>
                    </a:lnTo>
                    <a:lnTo>
                      <a:pt x="529" y="0"/>
                    </a:lnTo>
                    <a:lnTo>
                      <a:pt x="793" y="0"/>
                    </a:lnTo>
                    <a:lnTo>
                      <a:pt x="1675" y="264"/>
                    </a:lnTo>
                    <a:lnTo>
                      <a:pt x="1675" y="529"/>
                    </a:lnTo>
                    <a:lnTo>
                      <a:pt x="1411" y="14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7" name="Freihandform: Form 1646">
                <a:extLst>
                  <a:ext uri="{FF2B5EF4-FFF2-40B4-BE49-F238E27FC236}">
                    <a16:creationId xmlns:a16="http://schemas.microsoft.com/office/drawing/2014/main" id="{DF3DB6A1-E774-6D20-C45E-6DF48C205D3C}"/>
                  </a:ext>
                </a:extLst>
              </p:cNvPr>
              <p:cNvSpPr/>
              <p:nvPr/>
            </p:nvSpPr>
            <p:spPr>
              <a:xfrm>
                <a:off x="4432389" y="2664579"/>
                <a:ext cx="1498" cy="1146"/>
              </a:xfrm>
              <a:custGeom>
                <a:avLst/>
                <a:gdLst>
                  <a:gd name="connsiteX0" fmla="*/ 0 w 1498"/>
                  <a:gd name="connsiteY0" fmla="*/ 529 h 1146"/>
                  <a:gd name="connsiteX1" fmla="*/ 0 w 1498"/>
                  <a:gd name="connsiteY1" fmla="*/ 529 h 1146"/>
                  <a:gd name="connsiteX2" fmla="*/ 0 w 1498"/>
                  <a:gd name="connsiteY2" fmla="*/ 264 h 1146"/>
                  <a:gd name="connsiteX3" fmla="*/ 0 w 1498"/>
                  <a:gd name="connsiteY3" fmla="*/ 0 h 1146"/>
                  <a:gd name="connsiteX4" fmla="*/ 353 w 1498"/>
                  <a:gd name="connsiteY4" fmla="*/ 0 h 1146"/>
                  <a:gd name="connsiteX5" fmla="*/ 1499 w 1498"/>
                  <a:gd name="connsiteY5" fmla="*/ 882 h 1146"/>
                  <a:gd name="connsiteX6" fmla="*/ 1234 w 1498"/>
                  <a:gd name="connsiteY6" fmla="*/ 1146 h 1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98" h="1146">
                    <a:moveTo>
                      <a:pt x="0" y="529"/>
                    </a:moveTo>
                    <a:lnTo>
                      <a:pt x="0" y="529"/>
                    </a:lnTo>
                    <a:lnTo>
                      <a:pt x="0" y="264"/>
                    </a:lnTo>
                    <a:lnTo>
                      <a:pt x="0" y="0"/>
                    </a:lnTo>
                    <a:lnTo>
                      <a:pt x="353" y="0"/>
                    </a:lnTo>
                    <a:lnTo>
                      <a:pt x="1499" y="882"/>
                    </a:lnTo>
                    <a:lnTo>
                      <a:pt x="1234" y="114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8" name="Freihandform: Form 1647">
                <a:extLst>
                  <a:ext uri="{FF2B5EF4-FFF2-40B4-BE49-F238E27FC236}">
                    <a16:creationId xmlns:a16="http://schemas.microsoft.com/office/drawing/2014/main" id="{96CEDF32-CC11-E54A-B57C-7AE2A1416539}"/>
                  </a:ext>
                </a:extLst>
              </p:cNvPr>
              <p:cNvSpPr/>
              <p:nvPr/>
            </p:nvSpPr>
            <p:spPr>
              <a:xfrm>
                <a:off x="4413433" y="2661934"/>
                <a:ext cx="11109" cy="8464"/>
              </a:xfrm>
              <a:custGeom>
                <a:avLst/>
                <a:gdLst>
                  <a:gd name="connsiteX0" fmla="*/ 6172 w 11109"/>
                  <a:gd name="connsiteY0" fmla="*/ 8464 h 8464"/>
                  <a:gd name="connsiteX1" fmla="*/ 5819 w 11109"/>
                  <a:gd name="connsiteY1" fmla="*/ 7847 h 8464"/>
                  <a:gd name="connsiteX2" fmla="*/ 5555 w 11109"/>
                  <a:gd name="connsiteY2" fmla="*/ 7318 h 8464"/>
                  <a:gd name="connsiteX3" fmla="*/ 5290 w 11109"/>
                  <a:gd name="connsiteY3" fmla="*/ 7318 h 8464"/>
                  <a:gd name="connsiteX4" fmla="*/ 5290 w 11109"/>
                  <a:gd name="connsiteY4" fmla="*/ 6965 h 8464"/>
                  <a:gd name="connsiteX5" fmla="*/ 4937 w 11109"/>
                  <a:gd name="connsiteY5" fmla="*/ 6965 h 8464"/>
                  <a:gd name="connsiteX6" fmla="*/ 4673 w 11109"/>
                  <a:gd name="connsiteY6" fmla="*/ 6965 h 8464"/>
                  <a:gd name="connsiteX7" fmla="*/ 4408 w 11109"/>
                  <a:gd name="connsiteY7" fmla="*/ 7318 h 8464"/>
                  <a:gd name="connsiteX8" fmla="*/ 4673 w 11109"/>
                  <a:gd name="connsiteY8" fmla="*/ 7318 h 8464"/>
                  <a:gd name="connsiteX9" fmla="*/ 4673 w 11109"/>
                  <a:gd name="connsiteY9" fmla="*/ 7582 h 8464"/>
                  <a:gd name="connsiteX10" fmla="*/ 4408 w 11109"/>
                  <a:gd name="connsiteY10" fmla="*/ 7582 h 8464"/>
                  <a:gd name="connsiteX11" fmla="*/ 4144 w 11109"/>
                  <a:gd name="connsiteY11" fmla="*/ 7582 h 8464"/>
                  <a:gd name="connsiteX12" fmla="*/ 2909 w 11109"/>
                  <a:gd name="connsiteY12" fmla="*/ 7582 h 8464"/>
                  <a:gd name="connsiteX13" fmla="*/ 2380 w 11109"/>
                  <a:gd name="connsiteY13" fmla="*/ 6965 h 8464"/>
                  <a:gd name="connsiteX14" fmla="*/ 1763 w 11109"/>
                  <a:gd name="connsiteY14" fmla="*/ 6436 h 8464"/>
                  <a:gd name="connsiteX15" fmla="*/ 1146 w 11109"/>
                  <a:gd name="connsiteY15" fmla="*/ 5555 h 8464"/>
                  <a:gd name="connsiteX16" fmla="*/ 0 w 11109"/>
                  <a:gd name="connsiteY16" fmla="*/ 3527 h 8464"/>
                  <a:gd name="connsiteX17" fmla="*/ 0 w 11109"/>
                  <a:gd name="connsiteY17" fmla="*/ 3174 h 8464"/>
                  <a:gd name="connsiteX18" fmla="*/ 1763 w 11109"/>
                  <a:gd name="connsiteY18" fmla="*/ 2381 h 8464"/>
                  <a:gd name="connsiteX19" fmla="*/ 2380 w 11109"/>
                  <a:gd name="connsiteY19" fmla="*/ 2645 h 8464"/>
                  <a:gd name="connsiteX20" fmla="*/ 2380 w 11109"/>
                  <a:gd name="connsiteY20" fmla="*/ 3174 h 8464"/>
                  <a:gd name="connsiteX21" fmla="*/ 2028 w 11109"/>
                  <a:gd name="connsiteY21" fmla="*/ 3527 h 8464"/>
                  <a:gd name="connsiteX22" fmla="*/ 2028 w 11109"/>
                  <a:gd name="connsiteY22" fmla="*/ 3791 h 8464"/>
                  <a:gd name="connsiteX23" fmla="*/ 2909 w 11109"/>
                  <a:gd name="connsiteY23" fmla="*/ 4937 h 8464"/>
                  <a:gd name="connsiteX24" fmla="*/ 3262 w 11109"/>
                  <a:gd name="connsiteY24" fmla="*/ 4937 h 8464"/>
                  <a:gd name="connsiteX25" fmla="*/ 4937 w 11109"/>
                  <a:gd name="connsiteY25" fmla="*/ 2910 h 8464"/>
                  <a:gd name="connsiteX26" fmla="*/ 4937 w 11109"/>
                  <a:gd name="connsiteY26" fmla="*/ 2645 h 8464"/>
                  <a:gd name="connsiteX27" fmla="*/ 4937 w 11109"/>
                  <a:gd name="connsiteY27" fmla="*/ 2381 h 8464"/>
                  <a:gd name="connsiteX28" fmla="*/ 4144 w 11109"/>
                  <a:gd name="connsiteY28" fmla="*/ 1499 h 8464"/>
                  <a:gd name="connsiteX29" fmla="*/ 3791 w 11109"/>
                  <a:gd name="connsiteY29" fmla="*/ 1499 h 8464"/>
                  <a:gd name="connsiteX30" fmla="*/ 3791 w 11109"/>
                  <a:gd name="connsiteY30" fmla="*/ 1763 h 8464"/>
                  <a:gd name="connsiteX31" fmla="*/ 3791 w 11109"/>
                  <a:gd name="connsiteY31" fmla="*/ 2028 h 8464"/>
                  <a:gd name="connsiteX32" fmla="*/ 3262 w 11109"/>
                  <a:gd name="connsiteY32" fmla="*/ 1763 h 8464"/>
                  <a:gd name="connsiteX33" fmla="*/ 2028 w 11109"/>
                  <a:gd name="connsiteY33" fmla="*/ 1146 h 8464"/>
                  <a:gd name="connsiteX34" fmla="*/ 2380 w 11109"/>
                  <a:gd name="connsiteY34" fmla="*/ 617 h 8464"/>
                  <a:gd name="connsiteX35" fmla="*/ 2645 w 11109"/>
                  <a:gd name="connsiteY35" fmla="*/ 264 h 8464"/>
                  <a:gd name="connsiteX36" fmla="*/ 3262 w 11109"/>
                  <a:gd name="connsiteY36" fmla="*/ 0 h 8464"/>
                  <a:gd name="connsiteX37" fmla="*/ 3527 w 11109"/>
                  <a:gd name="connsiteY37" fmla="*/ 0 h 8464"/>
                  <a:gd name="connsiteX38" fmla="*/ 4144 w 11109"/>
                  <a:gd name="connsiteY38" fmla="*/ 0 h 8464"/>
                  <a:gd name="connsiteX39" fmla="*/ 7582 w 11109"/>
                  <a:gd name="connsiteY39" fmla="*/ 1146 h 8464"/>
                  <a:gd name="connsiteX40" fmla="*/ 11109 w 11109"/>
                  <a:gd name="connsiteY40" fmla="*/ 2910 h 8464"/>
                  <a:gd name="connsiteX41" fmla="*/ 10228 w 11109"/>
                  <a:gd name="connsiteY41" fmla="*/ 4408 h 8464"/>
                  <a:gd name="connsiteX42" fmla="*/ 9610 w 11109"/>
                  <a:gd name="connsiteY42" fmla="*/ 5555 h 8464"/>
                  <a:gd name="connsiteX43" fmla="*/ 8200 w 11109"/>
                  <a:gd name="connsiteY43" fmla="*/ 5290 h 8464"/>
                  <a:gd name="connsiteX44" fmla="*/ 8200 w 11109"/>
                  <a:gd name="connsiteY44" fmla="*/ 4408 h 8464"/>
                  <a:gd name="connsiteX45" fmla="*/ 8200 w 11109"/>
                  <a:gd name="connsiteY45" fmla="*/ 4056 h 8464"/>
                  <a:gd name="connsiteX46" fmla="*/ 8464 w 11109"/>
                  <a:gd name="connsiteY46" fmla="*/ 4056 h 8464"/>
                  <a:gd name="connsiteX47" fmla="*/ 8464 w 11109"/>
                  <a:gd name="connsiteY47" fmla="*/ 3791 h 8464"/>
                  <a:gd name="connsiteX48" fmla="*/ 7318 w 11109"/>
                  <a:gd name="connsiteY48" fmla="*/ 2381 h 8464"/>
                  <a:gd name="connsiteX49" fmla="*/ 7053 w 11109"/>
                  <a:gd name="connsiteY49" fmla="*/ 2028 h 8464"/>
                  <a:gd name="connsiteX50" fmla="*/ 6701 w 11109"/>
                  <a:gd name="connsiteY50" fmla="*/ 2028 h 8464"/>
                  <a:gd name="connsiteX51" fmla="*/ 6436 w 11109"/>
                  <a:gd name="connsiteY51" fmla="*/ 2028 h 8464"/>
                  <a:gd name="connsiteX52" fmla="*/ 4937 w 11109"/>
                  <a:gd name="connsiteY52" fmla="*/ 4408 h 8464"/>
                  <a:gd name="connsiteX53" fmla="*/ 5290 w 11109"/>
                  <a:gd name="connsiteY53" fmla="*/ 4937 h 8464"/>
                  <a:gd name="connsiteX54" fmla="*/ 5555 w 11109"/>
                  <a:gd name="connsiteY54" fmla="*/ 4937 h 8464"/>
                  <a:gd name="connsiteX55" fmla="*/ 5555 w 11109"/>
                  <a:gd name="connsiteY55" fmla="*/ 5290 h 8464"/>
                  <a:gd name="connsiteX56" fmla="*/ 6436 w 11109"/>
                  <a:gd name="connsiteY56" fmla="*/ 5290 h 8464"/>
                  <a:gd name="connsiteX57" fmla="*/ 7053 w 11109"/>
                  <a:gd name="connsiteY57" fmla="*/ 5819 h 8464"/>
                  <a:gd name="connsiteX58" fmla="*/ 7935 w 11109"/>
                  <a:gd name="connsiteY58" fmla="*/ 6965 h 8464"/>
                  <a:gd name="connsiteX59" fmla="*/ 7935 w 11109"/>
                  <a:gd name="connsiteY59" fmla="*/ 7318 h 8464"/>
                  <a:gd name="connsiteX60" fmla="*/ 7582 w 11109"/>
                  <a:gd name="connsiteY60" fmla="*/ 7318 h 8464"/>
                  <a:gd name="connsiteX61" fmla="*/ 7318 w 11109"/>
                  <a:gd name="connsiteY61" fmla="*/ 7318 h 8464"/>
                  <a:gd name="connsiteX62" fmla="*/ 6701 w 11109"/>
                  <a:gd name="connsiteY62" fmla="*/ 7318 h 8464"/>
                  <a:gd name="connsiteX63" fmla="*/ 6436 w 11109"/>
                  <a:gd name="connsiteY63" fmla="*/ 7318 h 8464"/>
                  <a:gd name="connsiteX64" fmla="*/ 6172 w 11109"/>
                  <a:gd name="connsiteY64" fmla="*/ 7318 h 8464"/>
                  <a:gd name="connsiteX65" fmla="*/ 5819 w 11109"/>
                  <a:gd name="connsiteY65" fmla="*/ 7582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11109" h="8464">
                    <a:moveTo>
                      <a:pt x="6172" y="8464"/>
                    </a:moveTo>
                    <a:lnTo>
                      <a:pt x="5819" y="7847"/>
                    </a:lnTo>
                    <a:lnTo>
                      <a:pt x="5555" y="7318"/>
                    </a:lnTo>
                    <a:lnTo>
                      <a:pt x="5290" y="7318"/>
                    </a:lnTo>
                    <a:lnTo>
                      <a:pt x="5290" y="6965"/>
                    </a:lnTo>
                    <a:lnTo>
                      <a:pt x="4937" y="6965"/>
                    </a:lnTo>
                    <a:lnTo>
                      <a:pt x="4673" y="6965"/>
                    </a:lnTo>
                    <a:lnTo>
                      <a:pt x="4408" y="7318"/>
                    </a:lnTo>
                    <a:lnTo>
                      <a:pt x="4673" y="7318"/>
                    </a:lnTo>
                    <a:lnTo>
                      <a:pt x="4673" y="7582"/>
                    </a:lnTo>
                    <a:lnTo>
                      <a:pt x="4408" y="7582"/>
                    </a:lnTo>
                    <a:lnTo>
                      <a:pt x="4144" y="7582"/>
                    </a:lnTo>
                    <a:lnTo>
                      <a:pt x="2909" y="7582"/>
                    </a:lnTo>
                    <a:lnTo>
                      <a:pt x="2380" y="6965"/>
                    </a:lnTo>
                    <a:lnTo>
                      <a:pt x="1763" y="6436"/>
                    </a:lnTo>
                    <a:lnTo>
                      <a:pt x="1146" y="5555"/>
                    </a:lnTo>
                    <a:lnTo>
                      <a:pt x="0" y="3527"/>
                    </a:lnTo>
                    <a:lnTo>
                      <a:pt x="0" y="3174"/>
                    </a:lnTo>
                    <a:lnTo>
                      <a:pt x="1763" y="2381"/>
                    </a:lnTo>
                    <a:lnTo>
                      <a:pt x="2380" y="2645"/>
                    </a:lnTo>
                    <a:lnTo>
                      <a:pt x="2380" y="3174"/>
                    </a:lnTo>
                    <a:lnTo>
                      <a:pt x="2028" y="3527"/>
                    </a:lnTo>
                    <a:lnTo>
                      <a:pt x="2028" y="3791"/>
                    </a:lnTo>
                    <a:lnTo>
                      <a:pt x="2909" y="4937"/>
                    </a:lnTo>
                    <a:lnTo>
                      <a:pt x="3262" y="4937"/>
                    </a:lnTo>
                    <a:lnTo>
                      <a:pt x="4937" y="2910"/>
                    </a:lnTo>
                    <a:lnTo>
                      <a:pt x="4937" y="2645"/>
                    </a:lnTo>
                    <a:lnTo>
                      <a:pt x="4937" y="2381"/>
                    </a:lnTo>
                    <a:lnTo>
                      <a:pt x="4144" y="1499"/>
                    </a:lnTo>
                    <a:lnTo>
                      <a:pt x="3791" y="1499"/>
                    </a:lnTo>
                    <a:lnTo>
                      <a:pt x="3791" y="1763"/>
                    </a:lnTo>
                    <a:lnTo>
                      <a:pt x="3791" y="2028"/>
                    </a:lnTo>
                    <a:lnTo>
                      <a:pt x="3262" y="1763"/>
                    </a:lnTo>
                    <a:lnTo>
                      <a:pt x="2028" y="1146"/>
                    </a:lnTo>
                    <a:lnTo>
                      <a:pt x="2380" y="617"/>
                    </a:lnTo>
                    <a:lnTo>
                      <a:pt x="2645" y="264"/>
                    </a:lnTo>
                    <a:lnTo>
                      <a:pt x="3262" y="0"/>
                    </a:lnTo>
                    <a:lnTo>
                      <a:pt x="3527" y="0"/>
                    </a:lnTo>
                    <a:lnTo>
                      <a:pt x="4144" y="0"/>
                    </a:lnTo>
                    <a:lnTo>
                      <a:pt x="7582" y="1146"/>
                    </a:lnTo>
                    <a:lnTo>
                      <a:pt x="11109" y="2910"/>
                    </a:lnTo>
                    <a:lnTo>
                      <a:pt x="10228" y="4408"/>
                    </a:lnTo>
                    <a:lnTo>
                      <a:pt x="9610" y="5555"/>
                    </a:lnTo>
                    <a:lnTo>
                      <a:pt x="8200" y="5290"/>
                    </a:lnTo>
                    <a:lnTo>
                      <a:pt x="8200" y="4408"/>
                    </a:lnTo>
                    <a:lnTo>
                      <a:pt x="8200" y="4056"/>
                    </a:lnTo>
                    <a:lnTo>
                      <a:pt x="8464" y="4056"/>
                    </a:lnTo>
                    <a:lnTo>
                      <a:pt x="8464" y="3791"/>
                    </a:lnTo>
                    <a:lnTo>
                      <a:pt x="7318" y="2381"/>
                    </a:lnTo>
                    <a:lnTo>
                      <a:pt x="7053" y="2028"/>
                    </a:lnTo>
                    <a:lnTo>
                      <a:pt x="6701" y="2028"/>
                    </a:lnTo>
                    <a:lnTo>
                      <a:pt x="6436" y="2028"/>
                    </a:lnTo>
                    <a:lnTo>
                      <a:pt x="4937" y="4408"/>
                    </a:lnTo>
                    <a:lnTo>
                      <a:pt x="5290" y="4937"/>
                    </a:lnTo>
                    <a:lnTo>
                      <a:pt x="5555" y="4937"/>
                    </a:lnTo>
                    <a:lnTo>
                      <a:pt x="5555" y="5290"/>
                    </a:lnTo>
                    <a:lnTo>
                      <a:pt x="6436" y="5290"/>
                    </a:lnTo>
                    <a:lnTo>
                      <a:pt x="7053" y="5819"/>
                    </a:lnTo>
                    <a:lnTo>
                      <a:pt x="7935" y="6965"/>
                    </a:lnTo>
                    <a:lnTo>
                      <a:pt x="7935" y="7318"/>
                    </a:lnTo>
                    <a:lnTo>
                      <a:pt x="7582" y="7318"/>
                    </a:lnTo>
                    <a:lnTo>
                      <a:pt x="7318" y="7318"/>
                    </a:lnTo>
                    <a:lnTo>
                      <a:pt x="6701" y="7318"/>
                    </a:lnTo>
                    <a:lnTo>
                      <a:pt x="6436" y="7318"/>
                    </a:lnTo>
                    <a:lnTo>
                      <a:pt x="6172" y="7318"/>
                    </a:lnTo>
                    <a:lnTo>
                      <a:pt x="5819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9" name="Freihandform: Form 1648">
                <a:extLst>
                  <a:ext uri="{FF2B5EF4-FFF2-40B4-BE49-F238E27FC236}">
                    <a16:creationId xmlns:a16="http://schemas.microsoft.com/office/drawing/2014/main" id="{0A18FDF0-C1CE-0557-0B99-9E7698C4DC23}"/>
                  </a:ext>
                </a:extLst>
              </p:cNvPr>
              <p:cNvSpPr/>
              <p:nvPr/>
            </p:nvSpPr>
            <p:spPr>
              <a:xfrm>
                <a:off x="4458046" y="2692529"/>
                <a:ext cx="16663" cy="9610"/>
              </a:xfrm>
              <a:custGeom>
                <a:avLst/>
                <a:gdLst>
                  <a:gd name="connsiteX0" fmla="*/ 8729 w 16663"/>
                  <a:gd name="connsiteY0" fmla="*/ 9610 h 9610"/>
                  <a:gd name="connsiteX1" fmla="*/ 10845 w 16663"/>
                  <a:gd name="connsiteY1" fmla="*/ 7935 h 9610"/>
                  <a:gd name="connsiteX2" fmla="*/ 13754 w 16663"/>
                  <a:gd name="connsiteY2" fmla="*/ 7318 h 9610"/>
                  <a:gd name="connsiteX3" fmla="*/ 16664 w 16663"/>
                  <a:gd name="connsiteY3" fmla="*/ 6172 h 9610"/>
                  <a:gd name="connsiteX4" fmla="*/ 14636 w 16663"/>
                  <a:gd name="connsiteY4" fmla="*/ 5290 h 9610"/>
                  <a:gd name="connsiteX5" fmla="*/ 14900 w 16663"/>
                  <a:gd name="connsiteY5" fmla="*/ 2116 h 9610"/>
                  <a:gd name="connsiteX6" fmla="*/ 9081 w 16663"/>
                  <a:gd name="connsiteY6" fmla="*/ 882 h 9610"/>
                  <a:gd name="connsiteX7" fmla="*/ 8464 w 16663"/>
                  <a:gd name="connsiteY7" fmla="*/ 0 h 9610"/>
                  <a:gd name="connsiteX8" fmla="*/ 6436 w 16663"/>
                  <a:gd name="connsiteY8" fmla="*/ 617 h 9610"/>
                  <a:gd name="connsiteX9" fmla="*/ 5555 w 16663"/>
                  <a:gd name="connsiteY9" fmla="*/ 1234 h 9610"/>
                  <a:gd name="connsiteX10" fmla="*/ 5907 w 16663"/>
                  <a:gd name="connsiteY10" fmla="*/ 2381 h 9610"/>
                  <a:gd name="connsiteX11" fmla="*/ 5907 w 16663"/>
                  <a:gd name="connsiteY11" fmla="*/ 3262 h 9610"/>
                  <a:gd name="connsiteX12" fmla="*/ 3527 w 16663"/>
                  <a:gd name="connsiteY12" fmla="*/ 2381 h 9610"/>
                  <a:gd name="connsiteX13" fmla="*/ 0 w 16663"/>
                  <a:gd name="connsiteY13" fmla="*/ 3527 h 9610"/>
                  <a:gd name="connsiteX14" fmla="*/ 353 w 16663"/>
                  <a:gd name="connsiteY14" fmla="*/ 4673 h 9610"/>
                  <a:gd name="connsiteX15" fmla="*/ 1234 w 16663"/>
                  <a:gd name="connsiteY15" fmla="*/ 4673 h 9610"/>
                  <a:gd name="connsiteX16" fmla="*/ 5907 w 16663"/>
                  <a:gd name="connsiteY16" fmla="*/ 6172 h 9610"/>
                  <a:gd name="connsiteX17" fmla="*/ 7935 w 16663"/>
                  <a:gd name="connsiteY17" fmla="*/ 9081 h 9610"/>
                  <a:gd name="connsiteX18" fmla="*/ 7935 w 16663"/>
                  <a:gd name="connsiteY18" fmla="*/ 9610 h 9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663" h="9610">
                    <a:moveTo>
                      <a:pt x="8729" y="9610"/>
                    </a:moveTo>
                    <a:lnTo>
                      <a:pt x="10845" y="7935"/>
                    </a:lnTo>
                    <a:lnTo>
                      <a:pt x="13754" y="7318"/>
                    </a:lnTo>
                    <a:lnTo>
                      <a:pt x="16664" y="6172"/>
                    </a:lnTo>
                    <a:lnTo>
                      <a:pt x="14636" y="5290"/>
                    </a:lnTo>
                    <a:lnTo>
                      <a:pt x="14900" y="2116"/>
                    </a:lnTo>
                    <a:lnTo>
                      <a:pt x="9081" y="882"/>
                    </a:lnTo>
                    <a:lnTo>
                      <a:pt x="8464" y="0"/>
                    </a:lnTo>
                    <a:lnTo>
                      <a:pt x="6436" y="617"/>
                    </a:lnTo>
                    <a:lnTo>
                      <a:pt x="5555" y="1234"/>
                    </a:lnTo>
                    <a:lnTo>
                      <a:pt x="5907" y="2381"/>
                    </a:lnTo>
                    <a:lnTo>
                      <a:pt x="5907" y="3262"/>
                    </a:lnTo>
                    <a:lnTo>
                      <a:pt x="3527" y="2381"/>
                    </a:lnTo>
                    <a:lnTo>
                      <a:pt x="0" y="3527"/>
                    </a:lnTo>
                    <a:lnTo>
                      <a:pt x="353" y="4673"/>
                    </a:lnTo>
                    <a:lnTo>
                      <a:pt x="1234" y="4673"/>
                    </a:lnTo>
                    <a:lnTo>
                      <a:pt x="5907" y="6172"/>
                    </a:lnTo>
                    <a:lnTo>
                      <a:pt x="7935" y="9081"/>
                    </a:lnTo>
                    <a:lnTo>
                      <a:pt x="7935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0" name="Freihandform: Form 1649">
                <a:extLst>
                  <a:ext uri="{FF2B5EF4-FFF2-40B4-BE49-F238E27FC236}">
                    <a16:creationId xmlns:a16="http://schemas.microsoft.com/office/drawing/2014/main" id="{E931F659-D5E8-6F57-3152-019F6176BE15}"/>
                  </a:ext>
                </a:extLst>
              </p:cNvPr>
              <p:cNvSpPr/>
              <p:nvPr/>
            </p:nvSpPr>
            <p:spPr>
              <a:xfrm>
                <a:off x="4457164" y="2703021"/>
                <a:ext cx="23100" cy="17280"/>
              </a:xfrm>
              <a:custGeom>
                <a:avLst/>
                <a:gdLst>
                  <a:gd name="connsiteX0" fmla="*/ 7583 w 23100"/>
                  <a:gd name="connsiteY0" fmla="*/ 882 h 17280"/>
                  <a:gd name="connsiteX1" fmla="*/ 6172 w 23100"/>
                  <a:gd name="connsiteY1" fmla="*/ 1763 h 17280"/>
                  <a:gd name="connsiteX2" fmla="*/ 5026 w 23100"/>
                  <a:gd name="connsiteY2" fmla="*/ 2645 h 17280"/>
                  <a:gd name="connsiteX3" fmla="*/ 3262 w 23100"/>
                  <a:gd name="connsiteY3" fmla="*/ 1763 h 17280"/>
                  <a:gd name="connsiteX4" fmla="*/ 2381 w 23100"/>
                  <a:gd name="connsiteY4" fmla="*/ 2910 h 17280"/>
                  <a:gd name="connsiteX5" fmla="*/ 882 w 23100"/>
                  <a:gd name="connsiteY5" fmla="*/ 2381 h 17280"/>
                  <a:gd name="connsiteX6" fmla="*/ 0 w 23100"/>
                  <a:gd name="connsiteY6" fmla="*/ 2910 h 17280"/>
                  <a:gd name="connsiteX7" fmla="*/ 1234 w 23100"/>
                  <a:gd name="connsiteY7" fmla="*/ 5290 h 17280"/>
                  <a:gd name="connsiteX8" fmla="*/ 882 w 23100"/>
                  <a:gd name="connsiteY8" fmla="*/ 8817 h 17280"/>
                  <a:gd name="connsiteX9" fmla="*/ 2381 w 23100"/>
                  <a:gd name="connsiteY9" fmla="*/ 8817 h 17280"/>
                  <a:gd name="connsiteX10" fmla="*/ 3527 w 23100"/>
                  <a:gd name="connsiteY10" fmla="*/ 9699 h 17280"/>
                  <a:gd name="connsiteX11" fmla="*/ 5026 w 23100"/>
                  <a:gd name="connsiteY11" fmla="*/ 11462 h 17280"/>
                  <a:gd name="connsiteX12" fmla="*/ 4144 w 23100"/>
                  <a:gd name="connsiteY12" fmla="*/ 13137 h 17280"/>
                  <a:gd name="connsiteX13" fmla="*/ 3527 w 23100"/>
                  <a:gd name="connsiteY13" fmla="*/ 15165 h 17280"/>
                  <a:gd name="connsiteX14" fmla="*/ 5026 w 23100"/>
                  <a:gd name="connsiteY14" fmla="*/ 17281 h 17280"/>
                  <a:gd name="connsiteX15" fmla="*/ 6172 w 23100"/>
                  <a:gd name="connsiteY15" fmla="*/ 15518 h 17280"/>
                  <a:gd name="connsiteX16" fmla="*/ 7318 w 23100"/>
                  <a:gd name="connsiteY16" fmla="*/ 13490 h 17280"/>
                  <a:gd name="connsiteX17" fmla="*/ 7318 w 23100"/>
                  <a:gd name="connsiteY17" fmla="*/ 11726 h 17280"/>
                  <a:gd name="connsiteX18" fmla="*/ 7583 w 23100"/>
                  <a:gd name="connsiteY18" fmla="*/ 10227 h 17280"/>
                  <a:gd name="connsiteX19" fmla="*/ 9346 w 23100"/>
                  <a:gd name="connsiteY19" fmla="*/ 10845 h 17280"/>
                  <a:gd name="connsiteX20" fmla="*/ 10228 w 23100"/>
                  <a:gd name="connsiteY20" fmla="*/ 9699 h 17280"/>
                  <a:gd name="connsiteX21" fmla="*/ 13137 w 23100"/>
                  <a:gd name="connsiteY21" fmla="*/ 9963 h 17280"/>
                  <a:gd name="connsiteX22" fmla="*/ 14900 w 23100"/>
                  <a:gd name="connsiteY22" fmla="*/ 9699 h 17280"/>
                  <a:gd name="connsiteX23" fmla="*/ 16047 w 23100"/>
                  <a:gd name="connsiteY23" fmla="*/ 7582 h 17280"/>
                  <a:gd name="connsiteX24" fmla="*/ 17810 w 23100"/>
                  <a:gd name="connsiteY24" fmla="*/ 8464 h 17280"/>
                  <a:gd name="connsiteX25" fmla="*/ 19309 w 23100"/>
                  <a:gd name="connsiteY25" fmla="*/ 5555 h 17280"/>
                  <a:gd name="connsiteX26" fmla="*/ 21072 w 23100"/>
                  <a:gd name="connsiteY26" fmla="*/ 6172 h 17280"/>
                  <a:gd name="connsiteX27" fmla="*/ 22483 w 23100"/>
                  <a:gd name="connsiteY27" fmla="*/ 4673 h 17280"/>
                  <a:gd name="connsiteX28" fmla="*/ 23100 w 23100"/>
                  <a:gd name="connsiteY28" fmla="*/ 4144 h 17280"/>
                  <a:gd name="connsiteX29" fmla="*/ 21337 w 23100"/>
                  <a:gd name="connsiteY29" fmla="*/ 2116 h 17280"/>
                  <a:gd name="connsiteX30" fmla="*/ 18427 w 23100"/>
                  <a:gd name="connsiteY30" fmla="*/ 1499 h 17280"/>
                  <a:gd name="connsiteX31" fmla="*/ 16047 w 23100"/>
                  <a:gd name="connsiteY31" fmla="*/ 0 h 17280"/>
                  <a:gd name="connsiteX32" fmla="*/ 13137 w 23100"/>
                  <a:gd name="connsiteY32" fmla="*/ 1499 h 17280"/>
                  <a:gd name="connsiteX33" fmla="*/ 9610 w 23100"/>
                  <a:gd name="connsiteY33" fmla="*/ 1763 h 1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3100" h="17280">
                    <a:moveTo>
                      <a:pt x="7583" y="882"/>
                    </a:moveTo>
                    <a:lnTo>
                      <a:pt x="6172" y="1763"/>
                    </a:lnTo>
                    <a:lnTo>
                      <a:pt x="5026" y="2645"/>
                    </a:lnTo>
                    <a:lnTo>
                      <a:pt x="3262" y="1763"/>
                    </a:lnTo>
                    <a:lnTo>
                      <a:pt x="2381" y="2910"/>
                    </a:lnTo>
                    <a:lnTo>
                      <a:pt x="882" y="2381"/>
                    </a:lnTo>
                    <a:lnTo>
                      <a:pt x="0" y="2910"/>
                    </a:lnTo>
                    <a:lnTo>
                      <a:pt x="1234" y="5290"/>
                    </a:lnTo>
                    <a:lnTo>
                      <a:pt x="882" y="8817"/>
                    </a:lnTo>
                    <a:lnTo>
                      <a:pt x="2381" y="8817"/>
                    </a:lnTo>
                    <a:lnTo>
                      <a:pt x="3527" y="9699"/>
                    </a:lnTo>
                    <a:lnTo>
                      <a:pt x="5026" y="11462"/>
                    </a:lnTo>
                    <a:lnTo>
                      <a:pt x="4144" y="13137"/>
                    </a:lnTo>
                    <a:lnTo>
                      <a:pt x="3527" y="15165"/>
                    </a:lnTo>
                    <a:lnTo>
                      <a:pt x="5026" y="17281"/>
                    </a:lnTo>
                    <a:lnTo>
                      <a:pt x="6172" y="15518"/>
                    </a:lnTo>
                    <a:lnTo>
                      <a:pt x="7318" y="13490"/>
                    </a:lnTo>
                    <a:lnTo>
                      <a:pt x="7318" y="11726"/>
                    </a:lnTo>
                    <a:lnTo>
                      <a:pt x="7583" y="10227"/>
                    </a:lnTo>
                    <a:lnTo>
                      <a:pt x="9346" y="10845"/>
                    </a:lnTo>
                    <a:lnTo>
                      <a:pt x="10228" y="9699"/>
                    </a:lnTo>
                    <a:lnTo>
                      <a:pt x="13137" y="9963"/>
                    </a:lnTo>
                    <a:lnTo>
                      <a:pt x="14900" y="9699"/>
                    </a:lnTo>
                    <a:lnTo>
                      <a:pt x="16047" y="7582"/>
                    </a:lnTo>
                    <a:lnTo>
                      <a:pt x="17810" y="8464"/>
                    </a:lnTo>
                    <a:lnTo>
                      <a:pt x="19309" y="5555"/>
                    </a:lnTo>
                    <a:lnTo>
                      <a:pt x="21072" y="6172"/>
                    </a:lnTo>
                    <a:lnTo>
                      <a:pt x="22483" y="4673"/>
                    </a:lnTo>
                    <a:lnTo>
                      <a:pt x="23100" y="4144"/>
                    </a:lnTo>
                    <a:lnTo>
                      <a:pt x="21337" y="2116"/>
                    </a:lnTo>
                    <a:lnTo>
                      <a:pt x="18427" y="1499"/>
                    </a:lnTo>
                    <a:lnTo>
                      <a:pt x="16047" y="0"/>
                    </a:lnTo>
                    <a:lnTo>
                      <a:pt x="13137" y="1499"/>
                    </a:lnTo>
                    <a:lnTo>
                      <a:pt x="9610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1" name="Freihandform: Form 1650">
                <a:extLst>
                  <a:ext uri="{FF2B5EF4-FFF2-40B4-BE49-F238E27FC236}">
                    <a16:creationId xmlns:a16="http://schemas.microsoft.com/office/drawing/2014/main" id="{18255894-4047-3AE2-8A7E-E5BBD540ADE5}"/>
                  </a:ext>
                </a:extLst>
              </p:cNvPr>
              <p:cNvSpPr/>
              <p:nvPr/>
            </p:nvSpPr>
            <p:spPr>
              <a:xfrm>
                <a:off x="4393948" y="2717921"/>
                <a:ext cx="17721" cy="26009"/>
              </a:xfrm>
              <a:custGeom>
                <a:avLst/>
                <a:gdLst>
                  <a:gd name="connsiteX0" fmla="*/ 15429 w 17721"/>
                  <a:gd name="connsiteY0" fmla="*/ 4056 h 26009"/>
                  <a:gd name="connsiteX1" fmla="*/ 15958 w 17721"/>
                  <a:gd name="connsiteY1" fmla="*/ 2645 h 26009"/>
                  <a:gd name="connsiteX2" fmla="*/ 16311 w 17721"/>
                  <a:gd name="connsiteY2" fmla="*/ 2028 h 26009"/>
                  <a:gd name="connsiteX3" fmla="*/ 16840 w 17721"/>
                  <a:gd name="connsiteY3" fmla="*/ 2028 h 26009"/>
                  <a:gd name="connsiteX4" fmla="*/ 17722 w 17721"/>
                  <a:gd name="connsiteY4" fmla="*/ 1763 h 26009"/>
                  <a:gd name="connsiteX5" fmla="*/ 17457 w 17721"/>
                  <a:gd name="connsiteY5" fmla="*/ 617 h 26009"/>
                  <a:gd name="connsiteX6" fmla="*/ 17457 w 17721"/>
                  <a:gd name="connsiteY6" fmla="*/ 0 h 26009"/>
                  <a:gd name="connsiteX7" fmla="*/ 15429 w 17721"/>
                  <a:gd name="connsiteY7" fmla="*/ 0 h 26009"/>
                  <a:gd name="connsiteX8" fmla="*/ 13666 w 17721"/>
                  <a:gd name="connsiteY8" fmla="*/ 0 h 26009"/>
                  <a:gd name="connsiteX9" fmla="*/ 11903 w 17721"/>
                  <a:gd name="connsiteY9" fmla="*/ 0 h 26009"/>
                  <a:gd name="connsiteX10" fmla="*/ 9875 w 17721"/>
                  <a:gd name="connsiteY10" fmla="*/ 617 h 26009"/>
                  <a:gd name="connsiteX11" fmla="*/ 9258 w 17721"/>
                  <a:gd name="connsiteY11" fmla="*/ 882 h 26009"/>
                  <a:gd name="connsiteX12" fmla="*/ 8993 w 17721"/>
                  <a:gd name="connsiteY12" fmla="*/ 1146 h 26009"/>
                  <a:gd name="connsiteX13" fmla="*/ 8993 w 17721"/>
                  <a:gd name="connsiteY13" fmla="*/ 2381 h 26009"/>
                  <a:gd name="connsiteX14" fmla="*/ 7847 w 17721"/>
                  <a:gd name="connsiteY14" fmla="*/ 2381 h 26009"/>
                  <a:gd name="connsiteX15" fmla="*/ 6965 w 17721"/>
                  <a:gd name="connsiteY15" fmla="*/ 2381 h 26009"/>
                  <a:gd name="connsiteX16" fmla="*/ 5202 w 17721"/>
                  <a:gd name="connsiteY16" fmla="*/ 3262 h 26009"/>
                  <a:gd name="connsiteX17" fmla="*/ 4937 w 17721"/>
                  <a:gd name="connsiteY17" fmla="*/ 3262 h 26009"/>
                  <a:gd name="connsiteX18" fmla="*/ 4320 w 17721"/>
                  <a:gd name="connsiteY18" fmla="*/ 3527 h 26009"/>
                  <a:gd name="connsiteX19" fmla="*/ 4056 w 17721"/>
                  <a:gd name="connsiteY19" fmla="*/ 4056 h 26009"/>
                  <a:gd name="connsiteX20" fmla="*/ 4056 w 17721"/>
                  <a:gd name="connsiteY20" fmla="*/ 5555 h 26009"/>
                  <a:gd name="connsiteX21" fmla="*/ 4056 w 17721"/>
                  <a:gd name="connsiteY21" fmla="*/ 5819 h 26009"/>
                  <a:gd name="connsiteX22" fmla="*/ 2909 w 17721"/>
                  <a:gd name="connsiteY22" fmla="*/ 7053 h 26009"/>
                  <a:gd name="connsiteX23" fmla="*/ 2028 w 17721"/>
                  <a:gd name="connsiteY23" fmla="*/ 7582 h 26009"/>
                  <a:gd name="connsiteX24" fmla="*/ 1411 w 17721"/>
                  <a:gd name="connsiteY24" fmla="*/ 7582 h 26009"/>
                  <a:gd name="connsiteX25" fmla="*/ 793 w 17721"/>
                  <a:gd name="connsiteY25" fmla="*/ 8200 h 26009"/>
                  <a:gd name="connsiteX26" fmla="*/ 793 w 17721"/>
                  <a:gd name="connsiteY26" fmla="*/ 9081 h 26009"/>
                  <a:gd name="connsiteX27" fmla="*/ 264 w 17721"/>
                  <a:gd name="connsiteY27" fmla="*/ 10492 h 26009"/>
                  <a:gd name="connsiteX28" fmla="*/ 264 w 17721"/>
                  <a:gd name="connsiteY28" fmla="*/ 10845 h 26009"/>
                  <a:gd name="connsiteX29" fmla="*/ 0 w 17721"/>
                  <a:gd name="connsiteY29" fmla="*/ 11991 h 26009"/>
                  <a:gd name="connsiteX30" fmla="*/ 0 w 17721"/>
                  <a:gd name="connsiteY30" fmla="*/ 12873 h 26009"/>
                  <a:gd name="connsiteX31" fmla="*/ 793 w 17721"/>
                  <a:gd name="connsiteY31" fmla="*/ 13402 h 26009"/>
                  <a:gd name="connsiteX32" fmla="*/ 793 w 17721"/>
                  <a:gd name="connsiteY32" fmla="*/ 14548 h 26009"/>
                  <a:gd name="connsiteX33" fmla="*/ 529 w 17721"/>
                  <a:gd name="connsiteY33" fmla="*/ 16047 h 26009"/>
                  <a:gd name="connsiteX34" fmla="*/ 264 w 17721"/>
                  <a:gd name="connsiteY34" fmla="*/ 17546 h 26009"/>
                  <a:gd name="connsiteX35" fmla="*/ 793 w 17721"/>
                  <a:gd name="connsiteY35" fmla="*/ 18075 h 26009"/>
                  <a:gd name="connsiteX36" fmla="*/ 1411 w 17721"/>
                  <a:gd name="connsiteY36" fmla="*/ 18427 h 26009"/>
                  <a:gd name="connsiteX37" fmla="*/ 1675 w 17721"/>
                  <a:gd name="connsiteY37" fmla="*/ 18075 h 26009"/>
                  <a:gd name="connsiteX38" fmla="*/ 2292 w 17721"/>
                  <a:gd name="connsiteY38" fmla="*/ 19573 h 26009"/>
                  <a:gd name="connsiteX39" fmla="*/ 2028 w 17721"/>
                  <a:gd name="connsiteY39" fmla="*/ 21337 h 26009"/>
                  <a:gd name="connsiteX40" fmla="*/ 2292 w 17721"/>
                  <a:gd name="connsiteY40" fmla="*/ 21866 h 26009"/>
                  <a:gd name="connsiteX41" fmla="*/ 4056 w 17721"/>
                  <a:gd name="connsiteY41" fmla="*/ 21866 h 26009"/>
                  <a:gd name="connsiteX42" fmla="*/ 3791 w 17721"/>
                  <a:gd name="connsiteY42" fmla="*/ 22483 h 26009"/>
                  <a:gd name="connsiteX43" fmla="*/ 2292 w 17721"/>
                  <a:gd name="connsiteY43" fmla="*/ 22483 h 26009"/>
                  <a:gd name="connsiteX44" fmla="*/ 2028 w 17721"/>
                  <a:gd name="connsiteY44" fmla="*/ 22747 h 26009"/>
                  <a:gd name="connsiteX45" fmla="*/ 2292 w 17721"/>
                  <a:gd name="connsiteY45" fmla="*/ 23100 h 26009"/>
                  <a:gd name="connsiteX46" fmla="*/ 3438 w 17721"/>
                  <a:gd name="connsiteY46" fmla="*/ 23629 h 26009"/>
                  <a:gd name="connsiteX47" fmla="*/ 4056 w 17721"/>
                  <a:gd name="connsiteY47" fmla="*/ 23629 h 26009"/>
                  <a:gd name="connsiteX48" fmla="*/ 4937 w 17721"/>
                  <a:gd name="connsiteY48" fmla="*/ 22483 h 26009"/>
                  <a:gd name="connsiteX49" fmla="*/ 4320 w 17721"/>
                  <a:gd name="connsiteY49" fmla="*/ 24246 h 26009"/>
                  <a:gd name="connsiteX50" fmla="*/ 2909 w 17721"/>
                  <a:gd name="connsiteY50" fmla="*/ 24246 h 26009"/>
                  <a:gd name="connsiteX51" fmla="*/ 2557 w 17721"/>
                  <a:gd name="connsiteY51" fmla="*/ 24246 h 26009"/>
                  <a:gd name="connsiteX52" fmla="*/ 2557 w 17721"/>
                  <a:gd name="connsiteY52" fmla="*/ 24775 h 26009"/>
                  <a:gd name="connsiteX53" fmla="*/ 2557 w 17721"/>
                  <a:gd name="connsiteY53" fmla="*/ 25393 h 26009"/>
                  <a:gd name="connsiteX54" fmla="*/ 2909 w 17721"/>
                  <a:gd name="connsiteY54" fmla="*/ 26010 h 26009"/>
                  <a:gd name="connsiteX55" fmla="*/ 4056 w 17721"/>
                  <a:gd name="connsiteY55" fmla="*/ 26010 h 26009"/>
                  <a:gd name="connsiteX56" fmla="*/ 5466 w 17721"/>
                  <a:gd name="connsiteY56" fmla="*/ 25393 h 26009"/>
                  <a:gd name="connsiteX57" fmla="*/ 6348 w 17721"/>
                  <a:gd name="connsiteY57" fmla="*/ 24775 h 26009"/>
                  <a:gd name="connsiteX58" fmla="*/ 6348 w 17721"/>
                  <a:gd name="connsiteY58" fmla="*/ 24246 h 26009"/>
                  <a:gd name="connsiteX59" fmla="*/ 6701 w 17721"/>
                  <a:gd name="connsiteY59" fmla="*/ 24246 h 26009"/>
                  <a:gd name="connsiteX60" fmla="*/ 5202 w 17721"/>
                  <a:gd name="connsiteY60" fmla="*/ 24246 h 26009"/>
                  <a:gd name="connsiteX61" fmla="*/ 5819 w 17721"/>
                  <a:gd name="connsiteY61" fmla="*/ 23894 h 26009"/>
                  <a:gd name="connsiteX62" fmla="*/ 6084 w 17721"/>
                  <a:gd name="connsiteY62" fmla="*/ 22483 h 26009"/>
                  <a:gd name="connsiteX63" fmla="*/ 8111 w 17721"/>
                  <a:gd name="connsiteY63" fmla="*/ 21866 h 26009"/>
                  <a:gd name="connsiteX64" fmla="*/ 6348 w 17721"/>
                  <a:gd name="connsiteY64" fmla="*/ 21866 h 26009"/>
                  <a:gd name="connsiteX65" fmla="*/ 7494 w 17721"/>
                  <a:gd name="connsiteY65" fmla="*/ 21601 h 26009"/>
                  <a:gd name="connsiteX66" fmla="*/ 8729 w 17721"/>
                  <a:gd name="connsiteY66" fmla="*/ 20720 h 26009"/>
                  <a:gd name="connsiteX67" fmla="*/ 9610 w 17721"/>
                  <a:gd name="connsiteY67" fmla="*/ 20455 h 26009"/>
                  <a:gd name="connsiteX68" fmla="*/ 10139 w 17721"/>
                  <a:gd name="connsiteY68" fmla="*/ 20455 h 26009"/>
                  <a:gd name="connsiteX69" fmla="*/ 10404 w 17721"/>
                  <a:gd name="connsiteY69" fmla="*/ 20102 h 26009"/>
                  <a:gd name="connsiteX70" fmla="*/ 10404 w 17721"/>
                  <a:gd name="connsiteY70" fmla="*/ 19309 h 26009"/>
                  <a:gd name="connsiteX71" fmla="*/ 9875 w 17721"/>
                  <a:gd name="connsiteY71" fmla="*/ 19573 h 26009"/>
                  <a:gd name="connsiteX72" fmla="*/ 9258 w 17721"/>
                  <a:gd name="connsiteY72" fmla="*/ 19309 h 26009"/>
                  <a:gd name="connsiteX73" fmla="*/ 10757 w 17721"/>
                  <a:gd name="connsiteY73" fmla="*/ 18075 h 26009"/>
                  <a:gd name="connsiteX74" fmla="*/ 10757 w 17721"/>
                  <a:gd name="connsiteY74" fmla="*/ 17810 h 26009"/>
                  <a:gd name="connsiteX75" fmla="*/ 10404 w 17721"/>
                  <a:gd name="connsiteY75" fmla="*/ 17546 h 26009"/>
                  <a:gd name="connsiteX76" fmla="*/ 10757 w 17721"/>
                  <a:gd name="connsiteY76" fmla="*/ 16928 h 26009"/>
                  <a:gd name="connsiteX77" fmla="*/ 11021 w 17721"/>
                  <a:gd name="connsiteY77" fmla="*/ 16928 h 26009"/>
                  <a:gd name="connsiteX78" fmla="*/ 12167 w 17721"/>
                  <a:gd name="connsiteY78" fmla="*/ 16664 h 26009"/>
                  <a:gd name="connsiteX79" fmla="*/ 13401 w 17721"/>
                  <a:gd name="connsiteY79" fmla="*/ 15782 h 26009"/>
                  <a:gd name="connsiteX80" fmla="*/ 14283 w 17721"/>
                  <a:gd name="connsiteY80" fmla="*/ 15782 h 26009"/>
                  <a:gd name="connsiteX81" fmla="*/ 14812 w 17721"/>
                  <a:gd name="connsiteY81" fmla="*/ 15518 h 26009"/>
                  <a:gd name="connsiteX82" fmla="*/ 14548 w 17721"/>
                  <a:gd name="connsiteY82" fmla="*/ 14900 h 26009"/>
                  <a:gd name="connsiteX83" fmla="*/ 14548 w 17721"/>
                  <a:gd name="connsiteY83" fmla="*/ 14548 h 26009"/>
                  <a:gd name="connsiteX84" fmla="*/ 14548 w 17721"/>
                  <a:gd name="connsiteY84" fmla="*/ 14283 h 26009"/>
                  <a:gd name="connsiteX85" fmla="*/ 13930 w 17721"/>
                  <a:gd name="connsiteY85" fmla="*/ 14019 h 26009"/>
                  <a:gd name="connsiteX86" fmla="*/ 13401 w 17721"/>
                  <a:gd name="connsiteY86" fmla="*/ 14283 h 26009"/>
                  <a:gd name="connsiteX87" fmla="*/ 13049 w 17721"/>
                  <a:gd name="connsiteY87" fmla="*/ 14283 h 26009"/>
                  <a:gd name="connsiteX88" fmla="*/ 12784 w 17721"/>
                  <a:gd name="connsiteY88" fmla="*/ 13754 h 26009"/>
                  <a:gd name="connsiteX89" fmla="*/ 13049 w 17721"/>
                  <a:gd name="connsiteY89" fmla="*/ 13402 h 26009"/>
                  <a:gd name="connsiteX90" fmla="*/ 12784 w 17721"/>
                  <a:gd name="connsiteY90" fmla="*/ 13137 h 26009"/>
                  <a:gd name="connsiteX91" fmla="*/ 12520 w 17721"/>
                  <a:gd name="connsiteY91" fmla="*/ 12873 h 26009"/>
                  <a:gd name="connsiteX92" fmla="*/ 12520 w 17721"/>
                  <a:gd name="connsiteY92" fmla="*/ 13402 h 26009"/>
                  <a:gd name="connsiteX93" fmla="*/ 11903 w 17721"/>
                  <a:gd name="connsiteY93" fmla="*/ 13137 h 26009"/>
                  <a:gd name="connsiteX94" fmla="*/ 11638 w 17721"/>
                  <a:gd name="connsiteY94" fmla="*/ 12873 h 26009"/>
                  <a:gd name="connsiteX95" fmla="*/ 12167 w 17721"/>
                  <a:gd name="connsiteY95" fmla="*/ 12520 h 26009"/>
                  <a:gd name="connsiteX96" fmla="*/ 11638 w 17721"/>
                  <a:gd name="connsiteY96" fmla="*/ 12255 h 26009"/>
                  <a:gd name="connsiteX97" fmla="*/ 12167 w 17721"/>
                  <a:gd name="connsiteY97" fmla="*/ 11109 h 26009"/>
                  <a:gd name="connsiteX98" fmla="*/ 12520 w 17721"/>
                  <a:gd name="connsiteY98" fmla="*/ 9963 h 26009"/>
                  <a:gd name="connsiteX99" fmla="*/ 11374 w 17721"/>
                  <a:gd name="connsiteY99" fmla="*/ 9346 h 26009"/>
                  <a:gd name="connsiteX100" fmla="*/ 12167 w 17721"/>
                  <a:gd name="connsiteY100" fmla="*/ 8464 h 26009"/>
                  <a:gd name="connsiteX101" fmla="*/ 13930 w 17721"/>
                  <a:gd name="connsiteY101" fmla="*/ 8200 h 26009"/>
                  <a:gd name="connsiteX102" fmla="*/ 14548 w 17721"/>
                  <a:gd name="connsiteY102" fmla="*/ 7582 h 26009"/>
                  <a:gd name="connsiteX103" fmla="*/ 14548 w 17721"/>
                  <a:gd name="connsiteY103" fmla="*/ 6701 h 26009"/>
                  <a:gd name="connsiteX104" fmla="*/ 14548 w 17721"/>
                  <a:gd name="connsiteY104" fmla="*/ 5555 h 26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7721" h="26009">
                    <a:moveTo>
                      <a:pt x="15429" y="4056"/>
                    </a:moveTo>
                    <a:lnTo>
                      <a:pt x="15958" y="2645"/>
                    </a:lnTo>
                    <a:lnTo>
                      <a:pt x="16311" y="2028"/>
                    </a:lnTo>
                    <a:lnTo>
                      <a:pt x="16840" y="2028"/>
                    </a:lnTo>
                    <a:lnTo>
                      <a:pt x="17722" y="1763"/>
                    </a:lnTo>
                    <a:lnTo>
                      <a:pt x="17457" y="617"/>
                    </a:lnTo>
                    <a:lnTo>
                      <a:pt x="17457" y="0"/>
                    </a:lnTo>
                    <a:lnTo>
                      <a:pt x="15429" y="0"/>
                    </a:lnTo>
                    <a:lnTo>
                      <a:pt x="13666" y="0"/>
                    </a:lnTo>
                    <a:lnTo>
                      <a:pt x="11903" y="0"/>
                    </a:lnTo>
                    <a:lnTo>
                      <a:pt x="9875" y="617"/>
                    </a:lnTo>
                    <a:lnTo>
                      <a:pt x="9258" y="882"/>
                    </a:lnTo>
                    <a:lnTo>
                      <a:pt x="8993" y="1146"/>
                    </a:lnTo>
                    <a:lnTo>
                      <a:pt x="8993" y="2381"/>
                    </a:lnTo>
                    <a:lnTo>
                      <a:pt x="7847" y="2381"/>
                    </a:lnTo>
                    <a:lnTo>
                      <a:pt x="6965" y="2381"/>
                    </a:lnTo>
                    <a:lnTo>
                      <a:pt x="5202" y="3262"/>
                    </a:lnTo>
                    <a:lnTo>
                      <a:pt x="4937" y="3262"/>
                    </a:lnTo>
                    <a:lnTo>
                      <a:pt x="4320" y="3527"/>
                    </a:lnTo>
                    <a:lnTo>
                      <a:pt x="4056" y="4056"/>
                    </a:lnTo>
                    <a:lnTo>
                      <a:pt x="4056" y="5555"/>
                    </a:lnTo>
                    <a:lnTo>
                      <a:pt x="4056" y="5819"/>
                    </a:lnTo>
                    <a:lnTo>
                      <a:pt x="2909" y="7053"/>
                    </a:lnTo>
                    <a:lnTo>
                      <a:pt x="2028" y="7582"/>
                    </a:lnTo>
                    <a:lnTo>
                      <a:pt x="1411" y="7582"/>
                    </a:lnTo>
                    <a:lnTo>
                      <a:pt x="793" y="8200"/>
                    </a:lnTo>
                    <a:lnTo>
                      <a:pt x="793" y="9081"/>
                    </a:lnTo>
                    <a:lnTo>
                      <a:pt x="264" y="10492"/>
                    </a:lnTo>
                    <a:lnTo>
                      <a:pt x="264" y="10845"/>
                    </a:lnTo>
                    <a:lnTo>
                      <a:pt x="0" y="11991"/>
                    </a:lnTo>
                    <a:lnTo>
                      <a:pt x="0" y="12873"/>
                    </a:lnTo>
                    <a:lnTo>
                      <a:pt x="793" y="13402"/>
                    </a:lnTo>
                    <a:lnTo>
                      <a:pt x="793" y="14548"/>
                    </a:lnTo>
                    <a:lnTo>
                      <a:pt x="529" y="16047"/>
                    </a:lnTo>
                    <a:lnTo>
                      <a:pt x="264" y="17546"/>
                    </a:lnTo>
                    <a:lnTo>
                      <a:pt x="793" y="18075"/>
                    </a:lnTo>
                    <a:lnTo>
                      <a:pt x="1411" y="18427"/>
                    </a:lnTo>
                    <a:lnTo>
                      <a:pt x="1675" y="18075"/>
                    </a:lnTo>
                    <a:lnTo>
                      <a:pt x="2292" y="19573"/>
                    </a:lnTo>
                    <a:lnTo>
                      <a:pt x="2028" y="21337"/>
                    </a:lnTo>
                    <a:lnTo>
                      <a:pt x="2292" y="21866"/>
                    </a:lnTo>
                    <a:lnTo>
                      <a:pt x="4056" y="21866"/>
                    </a:lnTo>
                    <a:lnTo>
                      <a:pt x="3791" y="22483"/>
                    </a:lnTo>
                    <a:lnTo>
                      <a:pt x="2292" y="22483"/>
                    </a:lnTo>
                    <a:lnTo>
                      <a:pt x="2028" y="22747"/>
                    </a:lnTo>
                    <a:lnTo>
                      <a:pt x="2292" y="23100"/>
                    </a:lnTo>
                    <a:lnTo>
                      <a:pt x="3438" y="23629"/>
                    </a:lnTo>
                    <a:lnTo>
                      <a:pt x="4056" y="23629"/>
                    </a:lnTo>
                    <a:lnTo>
                      <a:pt x="4937" y="22483"/>
                    </a:lnTo>
                    <a:lnTo>
                      <a:pt x="4320" y="24246"/>
                    </a:lnTo>
                    <a:lnTo>
                      <a:pt x="2909" y="24246"/>
                    </a:lnTo>
                    <a:lnTo>
                      <a:pt x="2557" y="24246"/>
                    </a:lnTo>
                    <a:lnTo>
                      <a:pt x="2557" y="24775"/>
                    </a:lnTo>
                    <a:lnTo>
                      <a:pt x="2557" y="25393"/>
                    </a:lnTo>
                    <a:lnTo>
                      <a:pt x="2909" y="26010"/>
                    </a:lnTo>
                    <a:lnTo>
                      <a:pt x="4056" y="26010"/>
                    </a:lnTo>
                    <a:lnTo>
                      <a:pt x="5466" y="25393"/>
                    </a:lnTo>
                    <a:lnTo>
                      <a:pt x="6348" y="24775"/>
                    </a:lnTo>
                    <a:lnTo>
                      <a:pt x="6348" y="24246"/>
                    </a:lnTo>
                    <a:lnTo>
                      <a:pt x="6701" y="24246"/>
                    </a:lnTo>
                    <a:lnTo>
                      <a:pt x="5202" y="24246"/>
                    </a:lnTo>
                    <a:lnTo>
                      <a:pt x="5819" y="23894"/>
                    </a:lnTo>
                    <a:lnTo>
                      <a:pt x="6084" y="22483"/>
                    </a:lnTo>
                    <a:lnTo>
                      <a:pt x="8111" y="21866"/>
                    </a:lnTo>
                    <a:lnTo>
                      <a:pt x="6348" y="21866"/>
                    </a:lnTo>
                    <a:lnTo>
                      <a:pt x="7494" y="21601"/>
                    </a:lnTo>
                    <a:lnTo>
                      <a:pt x="8729" y="20720"/>
                    </a:lnTo>
                    <a:lnTo>
                      <a:pt x="9610" y="20455"/>
                    </a:lnTo>
                    <a:lnTo>
                      <a:pt x="10139" y="20455"/>
                    </a:lnTo>
                    <a:lnTo>
                      <a:pt x="10404" y="20102"/>
                    </a:lnTo>
                    <a:lnTo>
                      <a:pt x="10404" y="19309"/>
                    </a:lnTo>
                    <a:lnTo>
                      <a:pt x="9875" y="19573"/>
                    </a:lnTo>
                    <a:lnTo>
                      <a:pt x="9258" y="19309"/>
                    </a:lnTo>
                    <a:lnTo>
                      <a:pt x="10757" y="18075"/>
                    </a:lnTo>
                    <a:lnTo>
                      <a:pt x="10757" y="17810"/>
                    </a:lnTo>
                    <a:lnTo>
                      <a:pt x="10404" y="17546"/>
                    </a:lnTo>
                    <a:lnTo>
                      <a:pt x="10757" y="16928"/>
                    </a:lnTo>
                    <a:lnTo>
                      <a:pt x="11021" y="16928"/>
                    </a:lnTo>
                    <a:lnTo>
                      <a:pt x="12167" y="16664"/>
                    </a:lnTo>
                    <a:lnTo>
                      <a:pt x="13401" y="15782"/>
                    </a:lnTo>
                    <a:lnTo>
                      <a:pt x="14283" y="15782"/>
                    </a:lnTo>
                    <a:lnTo>
                      <a:pt x="14812" y="15518"/>
                    </a:lnTo>
                    <a:lnTo>
                      <a:pt x="14548" y="14900"/>
                    </a:lnTo>
                    <a:lnTo>
                      <a:pt x="14548" y="14548"/>
                    </a:lnTo>
                    <a:lnTo>
                      <a:pt x="14548" y="14283"/>
                    </a:lnTo>
                    <a:lnTo>
                      <a:pt x="13930" y="14019"/>
                    </a:lnTo>
                    <a:lnTo>
                      <a:pt x="13401" y="14283"/>
                    </a:lnTo>
                    <a:lnTo>
                      <a:pt x="13049" y="14283"/>
                    </a:lnTo>
                    <a:lnTo>
                      <a:pt x="12784" y="13754"/>
                    </a:lnTo>
                    <a:lnTo>
                      <a:pt x="13049" y="13402"/>
                    </a:lnTo>
                    <a:lnTo>
                      <a:pt x="12784" y="13137"/>
                    </a:lnTo>
                    <a:lnTo>
                      <a:pt x="12520" y="12873"/>
                    </a:lnTo>
                    <a:lnTo>
                      <a:pt x="12520" y="13402"/>
                    </a:lnTo>
                    <a:lnTo>
                      <a:pt x="11903" y="13137"/>
                    </a:lnTo>
                    <a:lnTo>
                      <a:pt x="11638" y="12873"/>
                    </a:lnTo>
                    <a:lnTo>
                      <a:pt x="12167" y="12520"/>
                    </a:lnTo>
                    <a:lnTo>
                      <a:pt x="11638" y="12255"/>
                    </a:lnTo>
                    <a:lnTo>
                      <a:pt x="12167" y="11109"/>
                    </a:lnTo>
                    <a:lnTo>
                      <a:pt x="12520" y="9963"/>
                    </a:lnTo>
                    <a:lnTo>
                      <a:pt x="11374" y="9346"/>
                    </a:lnTo>
                    <a:lnTo>
                      <a:pt x="12167" y="8464"/>
                    </a:lnTo>
                    <a:lnTo>
                      <a:pt x="13930" y="8200"/>
                    </a:lnTo>
                    <a:lnTo>
                      <a:pt x="14548" y="7582"/>
                    </a:lnTo>
                    <a:lnTo>
                      <a:pt x="14548" y="6701"/>
                    </a:lnTo>
                    <a:lnTo>
                      <a:pt x="14548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2" name="Freihandform: Form 1651">
                <a:extLst>
                  <a:ext uri="{FF2B5EF4-FFF2-40B4-BE49-F238E27FC236}">
                    <a16:creationId xmlns:a16="http://schemas.microsoft.com/office/drawing/2014/main" id="{41A922C5-6F65-A2A2-CA42-F1F2E8BDC931}"/>
                  </a:ext>
                </a:extLst>
              </p:cNvPr>
              <p:cNvSpPr/>
              <p:nvPr/>
            </p:nvSpPr>
            <p:spPr>
              <a:xfrm>
                <a:off x="4192659" y="2822313"/>
                <a:ext cx="881" cy="881"/>
              </a:xfrm>
              <a:custGeom>
                <a:avLst/>
                <a:gdLst>
                  <a:gd name="connsiteX0" fmla="*/ 264 w 881"/>
                  <a:gd name="connsiteY0" fmla="*/ 882 h 881"/>
                  <a:gd name="connsiteX1" fmla="*/ 264 w 881"/>
                  <a:gd name="connsiteY1" fmla="*/ 882 h 881"/>
                  <a:gd name="connsiteX2" fmla="*/ 529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529 w 881"/>
                  <a:gd name="connsiteY6" fmla="*/ 0 h 881"/>
                  <a:gd name="connsiteX7" fmla="*/ 264 w 881"/>
                  <a:gd name="connsiteY7" fmla="*/ 0 h 881"/>
                  <a:gd name="connsiteX8" fmla="*/ 264 w 881"/>
                  <a:gd name="connsiteY8" fmla="*/ 353 h 881"/>
                  <a:gd name="connsiteX9" fmla="*/ 0 w 881"/>
                  <a:gd name="connsiteY9" fmla="*/ 353 h 881"/>
                  <a:gd name="connsiteX10" fmla="*/ 0 w 881"/>
                  <a:gd name="connsiteY10" fmla="*/ 617 h 881"/>
                  <a:gd name="connsiteX11" fmla="*/ 0 w 881"/>
                  <a:gd name="connsiteY11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881">
                    <a:moveTo>
                      <a:pt x="264" y="882"/>
                    </a:moveTo>
                    <a:lnTo>
                      <a:pt x="264" y="882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3" name="Freihandform: Form 1652">
                <a:extLst>
                  <a:ext uri="{FF2B5EF4-FFF2-40B4-BE49-F238E27FC236}">
                    <a16:creationId xmlns:a16="http://schemas.microsoft.com/office/drawing/2014/main" id="{2FC925EA-04E8-E47B-E3D7-219041041B60}"/>
                  </a:ext>
                </a:extLst>
              </p:cNvPr>
              <p:cNvSpPr/>
              <p:nvPr/>
            </p:nvSpPr>
            <p:spPr>
              <a:xfrm>
                <a:off x="4196098" y="2820285"/>
                <a:ext cx="4143" cy="617"/>
              </a:xfrm>
              <a:custGeom>
                <a:avLst/>
                <a:gdLst>
                  <a:gd name="connsiteX0" fmla="*/ 1499 w 4143"/>
                  <a:gd name="connsiteY0" fmla="*/ 617 h 617"/>
                  <a:gd name="connsiteX1" fmla="*/ 1763 w 4143"/>
                  <a:gd name="connsiteY1" fmla="*/ 353 h 617"/>
                  <a:gd name="connsiteX2" fmla="*/ 2645 w 4143"/>
                  <a:gd name="connsiteY2" fmla="*/ 353 h 617"/>
                  <a:gd name="connsiteX3" fmla="*/ 3262 w 4143"/>
                  <a:gd name="connsiteY3" fmla="*/ 353 h 617"/>
                  <a:gd name="connsiteX4" fmla="*/ 3879 w 4143"/>
                  <a:gd name="connsiteY4" fmla="*/ 353 h 617"/>
                  <a:gd name="connsiteX5" fmla="*/ 4144 w 4143"/>
                  <a:gd name="connsiteY5" fmla="*/ 353 h 617"/>
                  <a:gd name="connsiteX6" fmla="*/ 4144 w 4143"/>
                  <a:gd name="connsiteY6" fmla="*/ 0 h 617"/>
                  <a:gd name="connsiteX7" fmla="*/ 3527 w 4143"/>
                  <a:gd name="connsiteY7" fmla="*/ 0 h 617"/>
                  <a:gd name="connsiteX8" fmla="*/ 2998 w 4143"/>
                  <a:gd name="connsiteY8" fmla="*/ 0 h 617"/>
                  <a:gd name="connsiteX9" fmla="*/ 2380 w 4143"/>
                  <a:gd name="connsiteY9" fmla="*/ 0 h 617"/>
                  <a:gd name="connsiteX10" fmla="*/ 1763 w 4143"/>
                  <a:gd name="connsiteY10" fmla="*/ 0 h 617"/>
                  <a:gd name="connsiteX11" fmla="*/ 1234 w 4143"/>
                  <a:gd name="connsiteY11" fmla="*/ 353 h 617"/>
                  <a:gd name="connsiteX12" fmla="*/ 882 w 4143"/>
                  <a:gd name="connsiteY12" fmla="*/ 353 h 617"/>
                  <a:gd name="connsiteX13" fmla="*/ 352 w 4143"/>
                  <a:gd name="connsiteY13" fmla="*/ 353 h 617"/>
                  <a:gd name="connsiteX14" fmla="*/ 0 w 4143"/>
                  <a:gd name="connsiteY14" fmla="*/ 617 h 617"/>
                  <a:gd name="connsiteX15" fmla="*/ 352 w 4143"/>
                  <a:gd name="connsiteY15" fmla="*/ 617 h 617"/>
                  <a:gd name="connsiteX16" fmla="*/ 617 w 4143"/>
                  <a:gd name="connsiteY16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143" h="617">
                    <a:moveTo>
                      <a:pt x="1499" y="617"/>
                    </a:moveTo>
                    <a:lnTo>
                      <a:pt x="1763" y="353"/>
                    </a:lnTo>
                    <a:lnTo>
                      <a:pt x="2645" y="353"/>
                    </a:lnTo>
                    <a:lnTo>
                      <a:pt x="3262" y="353"/>
                    </a:lnTo>
                    <a:lnTo>
                      <a:pt x="3879" y="353"/>
                    </a:lnTo>
                    <a:lnTo>
                      <a:pt x="4144" y="353"/>
                    </a:lnTo>
                    <a:lnTo>
                      <a:pt x="4144" y="0"/>
                    </a:lnTo>
                    <a:lnTo>
                      <a:pt x="3527" y="0"/>
                    </a:lnTo>
                    <a:lnTo>
                      <a:pt x="2998" y="0"/>
                    </a:lnTo>
                    <a:lnTo>
                      <a:pt x="2380" y="0"/>
                    </a:lnTo>
                    <a:lnTo>
                      <a:pt x="1763" y="0"/>
                    </a:lnTo>
                    <a:lnTo>
                      <a:pt x="1234" y="353"/>
                    </a:lnTo>
                    <a:lnTo>
                      <a:pt x="882" y="353"/>
                    </a:lnTo>
                    <a:lnTo>
                      <a:pt x="352" y="353"/>
                    </a:lnTo>
                    <a:lnTo>
                      <a:pt x="0" y="617"/>
                    </a:lnTo>
                    <a:lnTo>
                      <a:pt x="352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4" name="Freihandform: Form 1653">
                <a:extLst>
                  <a:ext uri="{FF2B5EF4-FFF2-40B4-BE49-F238E27FC236}">
                    <a16:creationId xmlns:a16="http://schemas.microsoft.com/office/drawing/2014/main" id="{60C91216-3209-1CDC-78DA-56AB8A09FF9B}"/>
                  </a:ext>
                </a:extLst>
              </p:cNvPr>
              <p:cNvSpPr/>
              <p:nvPr/>
            </p:nvSpPr>
            <p:spPr>
              <a:xfrm>
                <a:off x="4201123" y="2819403"/>
                <a:ext cx="3791" cy="617"/>
              </a:xfrm>
              <a:custGeom>
                <a:avLst/>
                <a:gdLst>
                  <a:gd name="connsiteX0" fmla="*/ 882 w 3791"/>
                  <a:gd name="connsiteY0" fmla="*/ 617 h 617"/>
                  <a:gd name="connsiteX1" fmla="*/ 1411 w 3791"/>
                  <a:gd name="connsiteY1" fmla="*/ 617 h 617"/>
                  <a:gd name="connsiteX2" fmla="*/ 2292 w 3791"/>
                  <a:gd name="connsiteY2" fmla="*/ 617 h 617"/>
                  <a:gd name="connsiteX3" fmla="*/ 2910 w 3791"/>
                  <a:gd name="connsiteY3" fmla="*/ 353 h 617"/>
                  <a:gd name="connsiteX4" fmla="*/ 3174 w 3791"/>
                  <a:gd name="connsiteY4" fmla="*/ 353 h 617"/>
                  <a:gd name="connsiteX5" fmla="*/ 3527 w 3791"/>
                  <a:gd name="connsiteY5" fmla="*/ 353 h 617"/>
                  <a:gd name="connsiteX6" fmla="*/ 3791 w 3791"/>
                  <a:gd name="connsiteY6" fmla="*/ 353 h 617"/>
                  <a:gd name="connsiteX7" fmla="*/ 3791 w 3791"/>
                  <a:gd name="connsiteY7" fmla="*/ 0 h 617"/>
                  <a:gd name="connsiteX8" fmla="*/ 3527 w 3791"/>
                  <a:gd name="connsiteY8" fmla="*/ 0 h 617"/>
                  <a:gd name="connsiteX9" fmla="*/ 2557 w 3791"/>
                  <a:gd name="connsiteY9" fmla="*/ 0 h 617"/>
                  <a:gd name="connsiteX10" fmla="*/ 1763 w 3791"/>
                  <a:gd name="connsiteY10" fmla="*/ 0 h 617"/>
                  <a:gd name="connsiteX11" fmla="*/ 1146 w 3791"/>
                  <a:gd name="connsiteY11" fmla="*/ 0 h 617"/>
                  <a:gd name="connsiteX12" fmla="*/ 529 w 3791"/>
                  <a:gd name="connsiteY12" fmla="*/ 0 h 617"/>
                  <a:gd name="connsiteX13" fmla="*/ 265 w 3791"/>
                  <a:gd name="connsiteY13" fmla="*/ 353 h 617"/>
                  <a:gd name="connsiteX14" fmla="*/ 0 w 3791"/>
                  <a:gd name="connsiteY14" fmla="*/ 353 h 617"/>
                  <a:gd name="connsiteX15" fmla="*/ 0 w 3791"/>
                  <a:gd name="connsiteY15" fmla="*/ 617 h 617"/>
                  <a:gd name="connsiteX16" fmla="*/ 265 w 3791"/>
                  <a:gd name="connsiteY16" fmla="*/ 617 h 617"/>
                  <a:gd name="connsiteX17" fmla="*/ 529 w 3791"/>
                  <a:gd name="connsiteY17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791" h="617">
                    <a:moveTo>
                      <a:pt x="882" y="617"/>
                    </a:moveTo>
                    <a:lnTo>
                      <a:pt x="1411" y="617"/>
                    </a:lnTo>
                    <a:lnTo>
                      <a:pt x="2292" y="617"/>
                    </a:lnTo>
                    <a:lnTo>
                      <a:pt x="2910" y="353"/>
                    </a:lnTo>
                    <a:lnTo>
                      <a:pt x="3174" y="353"/>
                    </a:lnTo>
                    <a:lnTo>
                      <a:pt x="3527" y="353"/>
                    </a:lnTo>
                    <a:lnTo>
                      <a:pt x="3791" y="353"/>
                    </a:lnTo>
                    <a:lnTo>
                      <a:pt x="3791" y="0"/>
                    </a:lnTo>
                    <a:lnTo>
                      <a:pt x="3527" y="0"/>
                    </a:lnTo>
                    <a:lnTo>
                      <a:pt x="2557" y="0"/>
                    </a:lnTo>
                    <a:lnTo>
                      <a:pt x="1763" y="0"/>
                    </a:lnTo>
                    <a:lnTo>
                      <a:pt x="1146" y="0"/>
                    </a:lnTo>
                    <a:lnTo>
                      <a:pt x="529" y="0"/>
                    </a:lnTo>
                    <a:lnTo>
                      <a:pt x="265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5" y="617"/>
                    </a:lnTo>
                    <a:lnTo>
                      <a:pt x="529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5" name="Freihandform: Form 1654">
                <a:extLst>
                  <a:ext uri="{FF2B5EF4-FFF2-40B4-BE49-F238E27FC236}">
                    <a16:creationId xmlns:a16="http://schemas.microsoft.com/office/drawing/2014/main" id="{979BFB8A-D388-A09D-80EF-A48F4338B517}"/>
                  </a:ext>
                </a:extLst>
              </p:cNvPr>
              <p:cNvSpPr/>
              <p:nvPr/>
            </p:nvSpPr>
            <p:spPr>
              <a:xfrm>
                <a:off x="4207207" y="2818521"/>
                <a:ext cx="2909" cy="881"/>
              </a:xfrm>
              <a:custGeom>
                <a:avLst/>
                <a:gdLst>
                  <a:gd name="connsiteX0" fmla="*/ 882 w 2909"/>
                  <a:gd name="connsiteY0" fmla="*/ 353 h 881"/>
                  <a:gd name="connsiteX1" fmla="*/ 1234 w 2909"/>
                  <a:gd name="connsiteY1" fmla="*/ 353 h 881"/>
                  <a:gd name="connsiteX2" fmla="*/ 1763 w 2909"/>
                  <a:gd name="connsiteY2" fmla="*/ 353 h 881"/>
                  <a:gd name="connsiteX3" fmla="*/ 2028 w 2909"/>
                  <a:gd name="connsiteY3" fmla="*/ 353 h 881"/>
                  <a:gd name="connsiteX4" fmla="*/ 2645 w 2909"/>
                  <a:gd name="connsiteY4" fmla="*/ 353 h 881"/>
                  <a:gd name="connsiteX5" fmla="*/ 2645 w 2909"/>
                  <a:gd name="connsiteY5" fmla="*/ 617 h 881"/>
                  <a:gd name="connsiteX6" fmla="*/ 2910 w 2909"/>
                  <a:gd name="connsiteY6" fmla="*/ 617 h 881"/>
                  <a:gd name="connsiteX7" fmla="*/ 2645 w 2909"/>
                  <a:gd name="connsiteY7" fmla="*/ 353 h 881"/>
                  <a:gd name="connsiteX8" fmla="*/ 2645 w 2909"/>
                  <a:gd name="connsiteY8" fmla="*/ 0 h 881"/>
                  <a:gd name="connsiteX9" fmla="*/ 2028 w 2909"/>
                  <a:gd name="connsiteY9" fmla="*/ 0 h 881"/>
                  <a:gd name="connsiteX10" fmla="*/ 1234 w 2909"/>
                  <a:gd name="connsiteY10" fmla="*/ 0 h 881"/>
                  <a:gd name="connsiteX11" fmla="*/ 617 w 2909"/>
                  <a:gd name="connsiteY11" fmla="*/ 0 h 881"/>
                  <a:gd name="connsiteX12" fmla="*/ 264 w 2909"/>
                  <a:gd name="connsiteY12" fmla="*/ 0 h 881"/>
                  <a:gd name="connsiteX13" fmla="*/ 0 w 2909"/>
                  <a:gd name="connsiteY13" fmla="*/ 353 h 881"/>
                  <a:gd name="connsiteX14" fmla="*/ 0 w 2909"/>
                  <a:gd name="connsiteY14" fmla="*/ 617 h 881"/>
                  <a:gd name="connsiteX15" fmla="*/ 0 w 2909"/>
                  <a:gd name="connsiteY15" fmla="*/ 882 h 881"/>
                  <a:gd name="connsiteX16" fmla="*/ 264 w 2909"/>
                  <a:gd name="connsiteY16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09" h="881">
                    <a:moveTo>
                      <a:pt x="882" y="353"/>
                    </a:moveTo>
                    <a:lnTo>
                      <a:pt x="1234" y="353"/>
                    </a:lnTo>
                    <a:lnTo>
                      <a:pt x="1763" y="353"/>
                    </a:lnTo>
                    <a:lnTo>
                      <a:pt x="2028" y="353"/>
                    </a:lnTo>
                    <a:lnTo>
                      <a:pt x="2645" y="353"/>
                    </a:lnTo>
                    <a:lnTo>
                      <a:pt x="2645" y="617"/>
                    </a:lnTo>
                    <a:lnTo>
                      <a:pt x="2910" y="617"/>
                    </a:lnTo>
                    <a:lnTo>
                      <a:pt x="2645" y="353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234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lnTo>
                      <a:pt x="264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6" name="Freihandform: Form 1655">
                <a:extLst>
                  <a:ext uri="{FF2B5EF4-FFF2-40B4-BE49-F238E27FC236}">
                    <a16:creationId xmlns:a16="http://schemas.microsoft.com/office/drawing/2014/main" id="{16AD1F23-0B47-71B9-5A38-8978EFAFF814}"/>
                  </a:ext>
                </a:extLst>
              </p:cNvPr>
              <p:cNvSpPr/>
              <p:nvPr/>
            </p:nvSpPr>
            <p:spPr>
              <a:xfrm>
                <a:off x="4210734" y="2818257"/>
                <a:ext cx="2644" cy="617"/>
              </a:xfrm>
              <a:custGeom>
                <a:avLst/>
                <a:gdLst>
                  <a:gd name="connsiteX0" fmla="*/ 881 w 2644"/>
                  <a:gd name="connsiteY0" fmla="*/ 264 h 617"/>
                  <a:gd name="connsiteX1" fmla="*/ 1146 w 2644"/>
                  <a:gd name="connsiteY1" fmla="*/ 264 h 617"/>
                  <a:gd name="connsiteX2" fmla="*/ 1763 w 2644"/>
                  <a:gd name="connsiteY2" fmla="*/ 264 h 617"/>
                  <a:gd name="connsiteX3" fmla="*/ 2028 w 2644"/>
                  <a:gd name="connsiteY3" fmla="*/ 264 h 617"/>
                  <a:gd name="connsiteX4" fmla="*/ 2292 w 2644"/>
                  <a:gd name="connsiteY4" fmla="*/ 264 h 617"/>
                  <a:gd name="connsiteX5" fmla="*/ 2645 w 2644"/>
                  <a:gd name="connsiteY5" fmla="*/ 0 h 617"/>
                  <a:gd name="connsiteX6" fmla="*/ 2028 w 2644"/>
                  <a:gd name="connsiteY6" fmla="*/ 0 h 617"/>
                  <a:gd name="connsiteX7" fmla="*/ 1146 w 2644"/>
                  <a:gd name="connsiteY7" fmla="*/ 0 h 617"/>
                  <a:gd name="connsiteX8" fmla="*/ 881 w 2644"/>
                  <a:gd name="connsiteY8" fmla="*/ 0 h 617"/>
                  <a:gd name="connsiteX9" fmla="*/ 617 w 2644"/>
                  <a:gd name="connsiteY9" fmla="*/ 0 h 617"/>
                  <a:gd name="connsiteX10" fmla="*/ 264 w 2644"/>
                  <a:gd name="connsiteY10" fmla="*/ 0 h 617"/>
                  <a:gd name="connsiteX11" fmla="*/ 0 w 2644"/>
                  <a:gd name="connsiteY11" fmla="*/ 0 h 617"/>
                  <a:gd name="connsiteX12" fmla="*/ 0 w 2644"/>
                  <a:gd name="connsiteY12" fmla="*/ 264 h 617"/>
                  <a:gd name="connsiteX13" fmla="*/ 264 w 2644"/>
                  <a:gd name="connsiteY13" fmla="*/ 617 h 617"/>
                  <a:gd name="connsiteX14" fmla="*/ 617 w 2644"/>
                  <a:gd name="connsiteY1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44" h="617">
                    <a:moveTo>
                      <a:pt x="881" y="264"/>
                    </a:moveTo>
                    <a:lnTo>
                      <a:pt x="1146" y="264"/>
                    </a:lnTo>
                    <a:lnTo>
                      <a:pt x="1763" y="264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146" y="0"/>
                    </a:lnTo>
                    <a:lnTo>
                      <a:pt x="881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0"/>
                    </a:lnTo>
                    <a:lnTo>
                      <a:pt x="0" y="264"/>
                    </a:lnTo>
                    <a:lnTo>
                      <a:pt x="264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7" name="Freihandform: Form 1656">
                <a:extLst>
                  <a:ext uri="{FF2B5EF4-FFF2-40B4-BE49-F238E27FC236}">
                    <a16:creationId xmlns:a16="http://schemas.microsoft.com/office/drawing/2014/main" id="{8EE9FF0B-F2BA-6D58-0186-1990BA72E051}"/>
                  </a:ext>
                </a:extLst>
              </p:cNvPr>
              <p:cNvSpPr/>
              <p:nvPr/>
            </p:nvSpPr>
            <p:spPr>
              <a:xfrm>
                <a:off x="4219198" y="2819139"/>
                <a:ext cx="1410" cy="617"/>
              </a:xfrm>
              <a:custGeom>
                <a:avLst/>
                <a:gdLst>
                  <a:gd name="connsiteX0" fmla="*/ 0 w 1410"/>
                  <a:gd name="connsiteY0" fmla="*/ 617 h 617"/>
                  <a:gd name="connsiteX1" fmla="*/ 0 w 1410"/>
                  <a:gd name="connsiteY1" fmla="*/ 617 h 617"/>
                  <a:gd name="connsiteX2" fmla="*/ 264 w 1410"/>
                  <a:gd name="connsiteY2" fmla="*/ 617 h 617"/>
                  <a:gd name="connsiteX3" fmla="*/ 529 w 1410"/>
                  <a:gd name="connsiteY3" fmla="*/ 617 h 617"/>
                  <a:gd name="connsiteX4" fmla="*/ 882 w 1410"/>
                  <a:gd name="connsiteY4" fmla="*/ 617 h 617"/>
                  <a:gd name="connsiteX5" fmla="*/ 1146 w 1410"/>
                  <a:gd name="connsiteY5" fmla="*/ 264 h 617"/>
                  <a:gd name="connsiteX6" fmla="*/ 1411 w 1410"/>
                  <a:gd name="connsiteY6" fmla="*/ 264 h 617"/>
                  <a:gd name="connsiteX7" fmla="*/ 1146 w 1410"/>
                  <a:gd name="connsiteY7" fmla="*/ 264 h 617"/>
                  <a:gd name="connsiteX8" fmla="*/ 1146 w 1410"/>
                  <a:gd name="connsiteY8" fmla="*/ 0 h 617"/>
                  <a:gd name="connsiteX9" fmla="*/ 882 w 1410"/>
                  <a:gd name="connsiteY9" fmla="*/ 0 h 617"/>
                  <a:gd name="connsiteX10" fmla="*/ 529 w 1410"/>
                  <a:gd name="connsiteY10" fmla="*/ 0 h 617"/>
                  <a:gd name="connsiteX11" fmla="*/ 264 w 1410"/>
                  <a:gd name="connsiteY11" fmla="*/ 0 h 617"/>
                  <a:gd name="connsiteX12" fmla="*/ 264 w 1410"/>
                  <a:gd name="connsiteY12" fmla="*/ 264 h 617"/>
                  <a:gd name="connsiteX13" fmla="*/ 0 w 1410"/>
                  <a:gd name="connsiteY13" fmla="*/ 264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10" h="617">
                    <a:moveTo>
                      <a:pt x="0" y="617"/>
                    </a:moveTo>
                    <a:lnTo>
                      <a:pt x="0" y="617"/>
                    </a:lnTo>
                    <a:lnTo>
                      <a:pt x="264" y="617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1146" y="264"/>
                    </a:lnTo>
                    <a:lnTo>
                      <a:pt x="1411" y="264"/>
                    </a:lnTo>
                    <a:lnTo>
                      <a:pt x="1146" y="264"/>
                    </a:lnTo>
                    <a:lnTo>
                      <a:pt x="1146" y="0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264"/>
                    </a:lnTo>
                    <a:lnTo>
                      <a:pt x="0" y="26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8" name="Freihandform: Form 1657">
                <a:extLst>
                  <a:ext uri="{FF2B5EF4-FFF2-40B4-BE49-F238E27FC236}">
                    <a16:creationId xmlns:a16="http://schemas.microsoft.com/office/drawing/2014/main" id="{1E9D0503-7B59-9068-B56D-8EF1C6F14846}"/>
                  </a:ext>
                </a:extLst>
              </p:cNvPr>
              <p:cNvSpPr/>
              <p:nvPr/>
            </p:nvSpPr>
            <p:spPr>
              <a:xfrm>
                <a:off x="4224135" y="2813848"/>
                <a:ext cx="881" cy="881"/>
              </a:xfrm>
              <a:custGeom>
                <a:avLst/>
                <a:gdLst>
                  <a:gd name="connsiteX0" fmla="*/ 353 w 881"/>
                  <a:gd name="connsiteY0" fmla="*/ 882 h 881"/>
                  <a:gd name="connsiteX1" fmla="*/ 617 w 881"/>
                  <a:gd name="connsiteY1" fmla="*/ 882 h 881"/>
                  <a:gd name="connsiteX2" fmla="*/ 617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617 w 881"/>
                  <a:gd name="connsiteY6" fmla="*/ 0 h 881"/>
                  <a:gd name="connsiteX7" fmla="*/ 353 w 881"/>
                  <a:gd name="connsiteY7" fmla="*/ 0 h 881"/>
                  <a:gd name="connsiteX8" fmla="*/ 0 w 881"/>
                  <a:gd name="connsiteY8" fmla="*/ 353 h 881"/>
                  <a:gd name="connsiteX9" fmla="*/ 0 w 881"/>
                  <a:gd name="connsiteY9" fmla="*/ 617 h 881"/>
                  <a:gd name="connsiteX10" fmla="*/ 353 w 881"/>
                  <a:gd name="connsiteY10" fmla="*/ 617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81" h="881">
                    <a:moveTo>
                      <a:pt x="353" y="882"/>
                    </a:moveTo>
                    <a:lnTo>
                      <a:pt x="617" y="882"/>
                    </a:lnTo>
                    <a:lnTo>
                      <a:pt x="617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617" y="0"/>
                    </a:lnTo>
                    <a:lnTo>
                      <a:pt x="353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353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9" name="Freihandform: Form 1658">
                <a:extLst>
                  <a:ext uri="{FF2B5EF4-FFF2-40B4-BE49-F238E27FC236}">
                    <a16:creationId xmlns:a16="http://schemas.microsoft.com/office/drawing/2014/main" id="{B2D26CCE-C5B9-E7AC-56A2-8ED99F9B00DA}"/>
                  </a:ext>
                </a:extLst>
              </p:cNvPr>
              <p:cNvSpPr/>
              <p:nvPr/>
            </p:nvSpPr>
            <p:spPr>
              <a:xfrm>
                <a:off x="4228808" y="2810939"/>
                <a:ext cx="881" cy="1234"/>
              </a:xfrm>
              <a:custGeom>
                <a:avLst/>
                <a:gdLst>
                  <a:gd name="connsiteX0" fmla="*/ 617 w 881"/>
                  <a:gd name="connsiteY0" fmla="*/ 1234 h 1234"/>
                  <a:gd name="connsiteX1" fmla="*/ 617 w 881"/>
                  <a:gd name="connsiteY1" fmla="*/ 1234 h 1234"/>
                  <a:gd name="connsiteX2" fmla="*/ 882 w 881"/>
                  <a:gd name="connsiteY2" fmla="*/ 882 h 1234"/>
                  <a:gd name="connsiteX3" fmla="*/ 882 w 881"/>
                  <a:gd name="connsiteY3" fmla="*/ 617 h 1234"/>
                  <a:gd name="connsiteX4" fmla="*/ 882 w 881"/>
                  <a:gd name="connsiteY4" fmla="*/ 353 h 1234"/>
                  <a:gd name="connsiteX5" fmla="*/ 617 w 881"/>
                  <a:gd name="connsiteY5" fmla="*/ 0 h 1234"/>
                  <a:gd name="connsiteX6" fmla="*/ 264 w 881"/>
                  <a:gd name="connsiteY6" fmla="*/ 0 h 1234"/>
                  <a:gd name="connsiteX7" fmla="*/ 264 w 881"/>
                  <a:gd name="connsiteY7" fmla="*/ 353 h 1234"/>
                  <a:gd name="connsiteX8" fmla="*/ 0 w 881"/>
                  <a:gd name="connsiteY8" fmla="*/ 353 h 1234"/>
                  <a:gd name="connsiteX9" fmla="*/ 0 w 881"/>
                  <a:gd name="connsiteY9" fmla="*/ 617 h 1234"/>
                  <a:gd name="connsiteX10" fmla="*/ 264 w 881"/>
                  <a:gd name="connsiteY10" fmla="*/ 882 h 1234"/>
                  <a:gd name="connsiteX11" fmla="*/ 264 w 881"/>
                  <a:gd name="connsiteY11" fmla="*/ 1234 h 1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1234">
                    <a:moveTo>
                      <a:pt x="617" y="1234"/>
                    </a:moveTo>
                    <a:lnTo>
                      <a:pt x="617" y="1234"/>
                    </a:lnTo>
                    <a:lnTo>
                      <a:pt x="882" y="882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4" y="882"/>
                    </a:lnTo>
                    <a:lnTo>
                      <a:pt x="264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0" name="Freihandform: Form 1659">
                <a:extLst>
                  <a:ext uri="{FF2B5EF4-FFF2-40B4-BE49-F238E27FC236}">
                    <a16:creationId xmlns:a16="http://schemas.microsoft.com/office/drawing/2014/main" id="{BB493A62-8B3D-EBAC-B12C-414D91E5D36C}"/>
                  </a:ext>
                </a:extLst>
              </p:cNvPr>
              <p:cNvSpPr/>
              <p:nvPr/>
            </p:nvSpPr>
            <p:spPr>
              <a:xfrm>
                <a:off x="4222989" y="2795245"/>
                <a:ext cx="3791" cy="1410"/>
              </a:xfrm>
              <a:custGeom>
                <a:avLst/>
                <a:gdLst>
                  <a:gd name="connsiteX0" fmla="*/ 0 w 3791"/>
                  <a:gd name="connsiteY0" fmla="*/ 882 h 1410"/>
                  <a:gd name="connsiteX1" fmla="*/ 264 w 3791"/>
                  <a:gd name="connsiteY1" fmla="*/ 1146 h 1410"/>
                  <a:gd name="connsiteX2" fmla="*/ 1146 w 3791"/>
                  <a:gd name="connsiteY2" fmla="*/ 1411 h 1410"/>
                  <a:gd name="connsiteX3" fmla="*/ 1763 w 3791"/>
                  <a:gd name="connsiteY3" fmla="*/ 1411 h 1410"/>
                  <a:gd name="connsiteX4" fmla="*/ 2028 w 3791"/>
                  <a:gd name="connsiteY4" fmla="*/ 1411 h 1410"/>
                  <a:gd name="connsiteX5" fmla="*/ 2645 w 3791"/>
                  <a:gd name="connsiteY5" fmla="*/ 1411 h 1410"/>
                  <a:gd name="connsiteX6" fmla="*/ 3174 w 3791"/>
                  <a:gd name="connsiteY6" fmla="*/ 1411 h 1410"/>
                  <a:gd name="connsiteX7" fmla="*/ 3527 w 3791"/>
                  <a:gd name="connsiteY7" fmla="*/ 1146 h 1410"/>
                  <a:gd name="connsiteX8" fmla="*/ 3791 w 3791"/>
                  <a:gd name="connsiteY8" fmla="*/ 882 h 1410"/>
                  <a:gd name="connsiteX9" fmla="*/ 3527 w 3791"/>
                  <a:gd name="connsiteY9" fmla="*/ 264 h 1410"/>
                  <a:gd name="connsiteX10" fmla="*/ 3174 w 3791"/>
                  <a:gd name="connsiteY10" fmla="*/ 0 h 1410"/>
                  <a:gd name="connsiteX11" fmla="*/ 2910 w 3791"/>
                  <a:gd name="connsiteY11" fmla="*/ 0 h 1410"/>
                  <a:gd name="connsiteX12" fmla="*/ 2028 w 3791"/>
                  <a:gd name="connsiteY12" fmla="*/ 0 h 1410"/>
                  <a:gd name="connsiteX13" fmla="*/ 1499 w 3791"/>
                  <a:gd name="connsiteY13" fmla="*/ 0 h 1410"/>
                  <a:gd name="connsiteX14" fmla="*/ 882 w 3791"/>
                  <a:gd name="connsiteY14" fmla="*/ 0 h 1410"/>
                  <a:gd name="connsiteX15" fmla="*/ 264 w 3791"/>
                  <a:gd name="connsiteY15" fmla="*/ 264 h 1410"/>
                  <a:gd name="connsiteX16" fmla="*/ 264 w 3791"/>
                  <a:gd name="connsiteY16" fmla="*/ 529 h 1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791" h="1410">
                    <a:moveTo>
                      <a:pt x="0" y="882"/>
                    </a:moveTo>
                    <a:lnTo>
                      <a:pt x="264" y="1146"/>
                    </a:lnTo>
                    <a:lnTo>
                      <a:pt x="1146" y="1411"/>
                    </a:lnTo>
                    <a:lnTo>
                      <a:pt x="1763" y="1411"/>
                    </a:lnTo>
                    <a:lnTo>
                      <a:pt x="2028" y="1411"/>
                    </a:lnTo>
                    <a:lnTo>
                      <a:pt x="2645" y="1411"/>
                    </a:lnTo>
                    <a:lnTo>
                      <a:pt x="3174" y="1411"/>
                    </a:lnTo>
                    <a:lnTo>
                      <a:pt x="3527" y="1146"/>
                    </a:lnTo>
                    <a:lnTo>
                      <a:pt x="3791" y="882"/>
                    </a:lnTo>
                    <a:lnTo>
                      <a:pt x="3527" y="264"/>
                    </a:lnTo>
                    <a:lnTo>
                      <a:pt x="3174" y="0"/>
                    </a:lnTo>
                    <a:lnTo>
                      <a:pt x="2910" y="0"/>
                    </a:lnTo>
                    <a:lnTo>
                      <a:pt x="2028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264" y="264"/>
                    </a:lnTo>
                    <a:lnTo>
                      <a:pt x="264" y="5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1" name="Freihandform: Form 1660">
                <a:extLst>
                  <a:ext uri="{FF2B5EF4-FFF2-40B4-BE49-F238E27FC236}">
                    <a16:creationId xmlns:a16="http://schemas.microsoft.com/office/drawing/2014/main" id="{304DC040-A7FC-44F0-A170-C127D0C1BFE3}"/>
                  </a:ext>
                </a:extLst>
              </p:cNvPr>
              <p:cNvSpPr/>
              <p:nvPr/>
            </p:nvSpPr>
            <p:spPr>
              <a:xfrm>
                <a:off x="4227045" y="2799918"/>
                <a:ext cx="2027" cy="1763"/>
              </a:xfrm>
              <a:custGeom>
                <a:avLst/>
                <a:gdLst>
                  <a:gd name="connsiteX0" fmla="*/ 0 w 2027"/>
                  <a:gd name="connsiteY0" fmla="*/ 1146 h 1763"/>
                  <a:gd name="connsiteX1" fmla="*/ 264 w 2027"/>
                  <a:gd name="connsiteY1" fmla="*/ 1411 h 1763"/>
                  <a:gd name="connsiteX2" fmla="*/ 617 w 2027"/>
                  <a:gd name="connsiteY2" fmla="*/ 1763 h 1763"/>
                  <a:gd name="connsiteX3" fmla="*/ 1146 w 2027"/>
                  <a:gd name="connsiteY3" fmla="*/ 1411 h 1763"/>
                  <a:gd name="connsiteX4" fmla="*/ 1499 w 2027"/>
                  <a:gd name="connsiteY4" fmla="*/ 1146 h 1763"/>
                  <a:gd name="connsiteX5" fmla="*/ 2028 w 2027"/>
                  <a:gd name="connsiteY5" fmla="*/ 529 h 1763"/>
                  <a:gd name="connsiteX6" fmla="*/ 1763 w 2027"/>
                  <a:gd name="connsiteY6" fmla="*/ 0 h 1763"/>
                  <a:gd name="connsiteX7" fmla="*/ 1499 w 2027"/>
                  <a:gd name="connsiteY7" fmla="*/ 0 h 1763"/>
                  <a:gd name="connsiteX8" fmla="*/ 882 w 2027"/>
                  <a:gd name="connsiteY8" fmla="*/ 0 h 1763"/>
                  <a:gd name="connsiteX9" fmla="*/ 617 w 2027"/>
                  <a:gd name="connsiteY9" fmla="*/ 265 h 1763"/>
                  <a:gd name="connsiteX10" fmla="*/ 0 w 2027"/>
                  <a:gd name="connsiteY10" fmla="*/ 529 h 1763"/>
                  <a:gd name="connsiteX11" fmla="*/ 0 w 2027"/>
                  <a:gd name="connsiteY11" fmla="*/ 882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27" h="1763">
                    <a:moveTo>
                      <a:pt x="0" y="1146"/>
                    </a:moveTo>
                    <a:lnTo>
                      <a:pt x="264" y="1411"/>
                    </a:lnTo>
                    <a:lnTo>
                      <a:pt x="617" y="1763"/>
                    </a:lnTo>
                    <a:lnTo>
                      <a:pt x="1146" y="1411"/>
                    </a:lnTo>
                    <a:lnTo>
                      <a:pt x="1499" y="1146"/>
                    </a:lnTo>
                    <a:lnTo>
                      <a:pt x="2028" y="529"/>
                    </a:lnTo>
                    <a:lnTo>
                      <a:pt x="1763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617" y="265"/>
                    </a:lnTo>
                    <a:lnTo>
                      <a:pt x="0" y="529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2" name="Freihandform: Form 1661">
                <a:extLst>
                  <a:ext uri="{FF2B5EF4-FFF2-40B4-BE49-F238E27FC236}">
                    <a16:creationId xmlns:a16="http://schemas.microsoft.com/office/drawing/2014/main" id="{51C13A6E-6C1D-B288-9375-66EE9C8D76DC}"/>
                  </a:ext>
                </a:extLst>
              </p:cNvPr>
              <p:cNvSpPr/>
              <p:nvPr/>
            </p:nvSpPr>
            <p:spPr>
              <a:xfrm>
                <a:off x="4221226" y="2796127"/>
                <a:ext cx="2644" cy="2556"/>
              </a:xfrm>
              <a:custGeom>
                <a:avLst/>
                <a:gdLst>
                  <a:gd name="connsiteX0" fmla="*/ 264 w 2644"/>
                  <a:gd name="connsiteY0" fmla="*/ 264 h 2556"/>
                  <a:gd name="connsiteX1" fmla="*/ 264 w 2644"/>
                  <a:gd name="connsiteY1" fmla="*/ 529 h 2556"/>
                  <a:gd name="connsiteX2" fmla="*/ 0 w 2644"/>
                  <a:gd name="connsiteY2" fmla="*/ 882 h 2556"/>
                  <a:gd name="connsiteX3" fmla="*/ 0 w 2644"/>
                  <a:gd name="connsiteY3" fmla="*/ 1411 h 2556"/>
                  <a:gd name="connsiteX4" fmla="*/ 0 w 2644"/>
                  <a:gd name="connsiteY4" fmla="*/ 1763 h 2556"/>
                  <a:gd name="connsiteX5" fmla="*/ 1146 w 2644"/>
                  <a:gd name="connsiteY5" fmla="*/ 2028 h 2556"/>
                  <a:gd name="connsiteX6" fmla="*/ 1499 w 2644"/>
                  <a:gd name="connsiteY6" fmla="*/ 2292 h 2556"/>
                  <a:gd name="connsiteX7" fmla="*/ 2645 w 2644"/>
                  <a:gd name="connsiteY7" fmla="*/ 2557 h 2556"/>
                  <a:gd name="connsiteX8" fmla="*/ 2645 w 2644"/>
                  <a:gd name="connsiteY8" fmla="*/ 2028 h 2556"/>
                  <a:gd name="connsiteX9" fmla="*/ 1763 w 2644"/>
                  <a:gd name="connsiteY9" fmla="*/ 1146 h 2556"/>
                  <a:gd name="connsiteX10" fmla="*/ 1499 w 2644"/>
                  <a:gd name="connsiteY10" fmla="*/ 529 h 2556"/>
                  <a:gd name="connsiteX11" fmla="*/ 1146 w 2644"/>
                  <a:gd name="connsiteY11" fmla="*/ 264 h 2556"/>
                  <a:gd name="connsiteX12" fmla="*/ 881 w 2644"/>
                  <a:gd name="connsiteY12" fmla="*/ 0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44" h="2556">
                    <a:moveTo>
                      <a:pt x="264" y="264"/>
                    </a:moveTo>
                    <a:lnTo>
                      <a:pt x="264" y="529"/>
                    </a:lnTo>
                    <a:lnTo>
                      <a:pt x="0" y="882"/>
                    </a:lnTo>
                    <a:lnTo>
                      <a:pt x="0" y="1411"/>
                    </a:lnTo>
                    <a:lnTo>
                      <a:pt x="0" y="1763"/>
                    </a:lnTo>
                    <a:lnTo>
                      <a:pt x="1146" y="2028"/>
                    </a:lnTo>
                    <a:lnTo>
                      <a:pt x="1499" y="2292"/>
                    </a:lnTo>
                    <a:lnTo>
                      <a:pt x="2645" y="2557"/>
                    </a:lnTo>
                    <a:lnTo>
                      <a:pt x="2645" y="2028"/>
                    </a:lnTo>
                    <a:lnTo>
                      <a:pt x="1763" y="1146"/>
                    </a:lnTo>
                    <a:lnTo>
                      <a:pt x="1499" y="529"/>
                    </a:lnTo>
                    <a:lnTo>
                      <a:pt x="1146" y="264"/>
                    </a:lnTo>
                    <a:lnTo>
                      <a:pt x="8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3" name="Freihandform: Form 1662">
                <a:extLst>
                  <a:ext uri="{FF2B5EF4-FFF2-40B4-BE49-F238E27FC236}">
                    <a16:creationId xmlns:a16="http://schemas.microsoft.com/office/drawing/2014/main" id="{12CAE661-4080-428B-D039-0DF6EE428469}"/>
                  </a:ext>
                </a:extLst>
              </p:cNvPr>
              <p:cNvSpPr/>
              <p:nvPr/>
            </p:nvSpPr>
            <p:spPr>
              <a:xfrm>
                <a:off x="4231189" y="2800447"/>
                <a:ext cx="2556" cy="1498"/>
              </a:xfrm>
              <a:custGeom>
                <a:avLst/>
                <a:gdLst>
                  <a:gd name="connsiteX0" fmla="*/ 0 w 2556"/>
                  <a:gd name="connsiteY0" fmla="*/ 1234 h 1498"/>
                  <a:gd name="connsiteX1" fmla="*/ 0 w 2556"/>
                  <a:gd name="connsiteY1" fmla="*/ 1499 h 1498"/>
                  <a:gd name="connsiteX2" fmla="*/ 529 w 2556"/>
                  <a:gd name="connsiteY2" fmla="*/ 1499 h 1498"/>
                  <a:gd name="connsiteX3" fmla="*/ 1411 w 2556"/>
                  <a:gd name="connsiteY3" fmla="*/ 1499 h 1498"/>
                  <a:gd name="connsiteX4" fmla="*/ 1763 w 2556"/>
                  <a:gd name="connsiteY4" fmla="*/ 1499 h 1498"/>
                  <a:gd name="connsiteX5" fmla="*/ 2028 w 2556"/>
                  <a:gd name="connsiteY5" fmla="*/ 882 h 1498"/>
                  <a:gd name="connsiteX6" fmla="*/ 2292 w 2556"/>
                  <a:gd name="connsiteY6" fmla="*/ 617 h 1498"/>
                  <a:gd name="connsiteX7" fmla="*/ 2557 w 2556"/>
                  <a:gd name="connsiteY7" fmla="*/ 353 h 1498"/>
                  <a:gd name="connsiteX8" fmla="*/ 2028 w 2556"/>
                  <a:gd name="connsiteY8" fmla="*/ 0 h 1498"/>
                  <a:gd name="connsiteX9" fmla="*/ 1411 w 2556"/>
                  <a:gd name="connsiteY9" fmla="*/ 0 h 1498"/>
                  <a:gd name="connsiteX10" fmla="*/ 882 w 2556"/>
                  <a:gd name="connsiteY10" fmla="*/ 0 h 1498"/>
                  <a:gd name="connsiteX11" fmla="*/ 264 w 2556"/>
                  <a:gd name="connsiteY11" fmla="*/ 353 h 1498"/>
                  <a:gd name="connsiteX12" fmla="*/ 0 w 2556"/>
                  <a:gd name="connsiteY12" fmla="*/ 617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6" h="1498">
                    <a:moveTo>
                      <a:pt x="0" y="1234"/>
                    </a:moveTo>
                    <a:lnTo>
                      <a:pt x="0" y="1499"/>
                    </a:lnTo>
                    <a:lnTo>
                      <a:pt x="529" y="1499"/>
                    </a:lnTo>
                    <a:lnTo>
                      <a:pt x="1411" y="1499"/>
                    </a:lnTo>
                    <a:lnTo>
                      <a:pt x="1763" y="1499"/>
                    </a:lnTo>
                    <a:lnTo>
                      <a:pt x="2028" y="882"/>
                    </a:lnTo>
                    <a:lnTo>
                      <a:pt x="2292" y="617"/>
                    </a:lnTo>
                    <a:lnTo>
                      <a:pt x="2557" y="353"/>
                    </a:lnTo>
                    <a:lnTo>
                      <a:pt x="2028" y="0"/>
                    </a:lnTo>
                    <a:lnTo>
                      <a:pt x="1411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65036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46" name="Object 6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86673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8" imgW="360" imgH="360" progId="TCLayout.ActiveDocument.1">
                  <p:embed/>
                </p:oleObj>
              </mc:Choice>
              <mc:Fallback>
                <p:oleObj name="think-cell Folie" r:id="rId98" imgW="360" imgH="360" progId="TCLayout.ActiveDocument.1">
                  <p:embed/>
                  <p:pic>
                    <p:nvPicPr>
                      <p:cNvPr id="57346" name="Object 6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AC79AC5-444F-4834-B68D-68902FE324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34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Headline</a:t>
            </a:r>
          </a:p>
        </p:txBody>
      </p:sp>
      <p:sp>
        <p:nvSpPr>
          <p:cNvPr id="5734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735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DA092E-396E-48F9-89E4-3034AD34FF96}" type="slidenum">
              <a:rPr lang="en-GB" smtClean="0"/>
              <a:pPr/>
              <a:t>67</a:t>
            </a:fld>
            <a:endParaRPr lang="en-GB" dirty="0"/>
          </a:p>
        </p:txBody>
      </p:sp>
      <p:sp>
        <p:nvSpPr>
          <p:cNvPr id="57349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C25172A-08B1-4148-82A0-BE6EC99895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8" name="Text Box 5"/>
          <p:cNvSpPr txBox="1">
            <a:spLocks noChangeArrowheads="1"/>
          </p:cNvSpPr>
          <p:nvPr/>
        </p:nvSpPr>
        <p:spPr bwMode="auto">
          <a:xfrm>
            <a:off x="759541" y="1294416"/>
            <a:ext cx="5375629" cy="209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endParaRPr lang="en-GB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3C6E3BC-C351-4211-1CFF-D0B24E457B8D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6D542EC-A838-0728-889B-64EA86B35BE1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6E97678-1C95-6C44-42DB-7109738D3C02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9899DA8-34C2-1C60-10F5-1C8AC8B14D6B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6D3A064-C0DF-090F-AD27-3E0181024B83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defRPr sz="1862" b="0" i="0" u="none" strike="noStrike" kern="1200" spc="0" baseline="0">
                <a:solidFill>
                  <a:srgbClr val="0E233B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GB" sz="1000" b="1" dirty="0">
                <a:solidFill>
                  <a:schemeClr val="tx1"/>
                </a:solidFill>
              </a:rPr>
              <a:t>Locations Europ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3B0DC276-54FB-29B8-7457-888C58BC28DF}"/>
              </a:ext>
            </a:extLst>
          </p:cNvPr>
          <p:cNvGrpSpPr/>
          <p:nvPr/>
        </p:nvGrpSpPr>
        <p:grpSpPr>
          <a:xfrm>
            <a:off x="2687702" y="1857799"/>
            <a:ext cx="4802439" cy="4130098"/>
            <a:chOff x="798513" y="411163"/>
            <a:chExt cx="5159375" cy="4437062"/>
          </a:xfrm>
        </p:grpSpPr>
        <p:grpSp>
          <p:nvGrpSpPr>
            <p:cNvPr id="11" name="Gruppieren 5">
              <a:extLst>
                <a:ext uri="{FF2B5EF4-FFF2-40B4-BE49-F238E27FC236}">
                  <a16:creationId xmlns:a16="http://schemas.microsoft.com/office/drawing/2014/main" id="{3E6940D2-171B-0F66-9161-705A676A538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8513" y="411163"/>
              <a:ext cx="5159375" cy="4437062"/>
              <a:chOff x="798513" y="411163"/>
              <a:chExt cx="5159375" cy="4437062"/>
            </a:xfrm>
          </p:grpSpPr>
          <p:sp>
            <p:nvSpPr>
              <p:cNvPr id="34" name="Rectangle 4">
                <a:extLst>
                  <a:ext uri="{FF2B5EF4-FFF2-40B4-BE49-F238E27FC236}">
                    <a16:creationId xmlns:a16="http://schemas.microsoft.com/office/drawing/2014/main" id="{2573E6F4-CF66-69C6-ECE2-CD564BFB2D5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5445125" y="1890713"/>
                <a:ext cx="508000" cy="1209675"/>
              </a:xfrm>
              <a:prstGeom prst="rect">
                <a:avLst/>
              </a:prstGeom>
              <a:solidFill>
                <a:schemeClr val="accent4"/>
              </a:solidFill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algn="ctr" defTabSz="104250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GB" sz="798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Freeform 5">
                <a:extLst>
                  <a:ext uri="{FF2B5EF4-FFF2-40B4-BE49-F238E27FC236}">
                    <a16:creationId xmlns:a16="http://schemas.microsoft.com/office/drawing/2014/main" id="{4C5390BD-5332-BBBA-8DF2-F78D6DCDFEB9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794250" y="2822575"/>
                <a:ext cx="708025" cy="320675"/>
              </a:xfrm>
              <a:custGeom>
                <a:avLst/>
                <a:gdLst>
                  <a:gd name="T0" fmla="*/ 53102 w 440"/>
                  <a:gd name="T1" fmla="*/ 289498 h 216"/>
                  <a:gd name="T2" fmla="*/ 72412 w 440"/>
                  <a:gd name="T3" fmla="*/ 293952 h 216"/>
                  <a:gd name="T4" fmla="*/ 104595 w 440"/>
                  <a:gd name="T5" fmla="*/ 319190 h 216"/>
                  <a:gd name="T6" fmla="*/ 183443 w 440"/>
                  <a:gd name="T7" fmla="*/ 320675 h 216"/>
                  <a:gd name="T8" fmla="*/ 241372 w 440"/>
                  <a:gd name="T9" fmla="*/ 316221 h 216"/>
                  <a:gd name="T10" fmla="*/ 263900 w 440"/>
                  <a:gd name="T11" fmla="*/ 276137 h 216"/>
                  <a:gd name="T12" fmla="*/ 333094 w 440"/>
                  <a:gd name="T13" fmla="*/ 280591 h 216"/>
                  <a:gd name="T14" fmla="*/ 410333 w 440"/>
                  <a:gd name="T15" fmla="*/ 244960 h 216"/>
                  <a:gd name="T16" fmla="*/ 456998 w 440"/>
                  <a:gd name="T17" fmla="*/ 209330 h 216"/>
                  <a:gd name="T18" fmla="*/ 471480 w 440"/>
                  <a:gd name="T19" fmla="*/ 190030 h 216"/>
                  <a:gd name="T20" fmla="*/ 577684 w 440"/>
                  <a:gd name="T21" fmla="*/ 182607 h 216"/>
                  <a:gd name="T22" fmla="*/ 588948 w 440"/>
                  <a:gd name="T23" fmla="*/ 198937 h 216"/>
                  <a:gd name="T24" fmla="*/ 606649 w 440"/>
                  <a:gd name="T25" fmla="*/ 200422 h 216"/>
                  <a:gd name="T26" fmla="*/ 621131 w 440"/>
                  <a:gd name="T27" fmla="*/ 213783 h 216"/>
                  <a:gd name="T28" fmla="*/ 659751 w 440"/>
                  <a:gd name="T29" fmla="*/ 200422 h 216"/>
                  <a:gd name="T30" fmla="*/ 679060 w 440"/>
                  <a:gd name="T31" fmla="*/ 194483 h 216"/>
                  <a:gd name="T32" fmla="*/ 664578 w 440"/>
                  <a:gd name="T33" fmla="*/ 164791 h 216"/>
                  <a:gd name="T34" fmla="*/ 680669 w 440"/>
                  <a:gd name="T35" fmla="*/ 118769 h 216"/>
                  <a:gd name="T36" fmla="*/ 708025 w 440"/>
                  <a:gd name="T37" fmla="*/ 92046 h 216"/>
                  <a:gd name="T38" fmla="*/ 683888 w 440"/>
                  <a:gd name="T39" fmla="*/ 87592 h 216"/>
                  <a:gd name="T40" fmla="*/ 659751 w 440"/>
                  <a:gd name="T41" fmla="*/ 80169 h 216"/>
                  <a:gd name="T42" fmla="*/ 640441 w 440"/>
                  <a:gd name="T43" fmla="*/ 56415 h 216"/>
                  <a:gd name="T44" fmla="*/ 608258 w 440"/>
                  <a:gd name="T45" fmla="*/ 35631 h 216"/>
                  <a:gd name="T46" fmla="*/ 584121 w 440"/>
                  <a:gd name="T47" fmla="*/ 17815 h 216"/>
                  <a:gd name="T48" fmla="*/ 550329 w 440"/>
                  <a:gd name="T49" fmla="*/ 44538 h 216"/>
                  <a:gd name="T50" fmla="*/ 502054 w 440"/>
                  <a:gd name="T51" fmla="*/ 60869 h 216"/>
                  <a:gd name="T52" fmla="*/ 502054 w 440"/>
                  <a:gd name="T53" fmla="*/ 16331 h 216"/>
                  <a:gd name="T54" fmla="*/ 482744 w 440"/>
                  <a:gd name="T55" fmla="*/ 31177 h 216"/>
                  <a:gd name="T56" fmla="*/ 466653 w 440"/>
                  <a:gd name="T57" fmla="*/ 31177 h 216"/>
                  <a:gd name="T58" fmla="*/ 447343 w 440"/>
                  <a:gd name="T59" fmla="*/ 17815 h 216"/>
                  <a:gd name="T60" fmla="*/ 410333 w 440"/>
                  <a:gd name="T61" fmla="*/ 31177 h 216"/>
                  <a:gd name="T62" fmla="*/ 410333 w 440"/>
                  <a:gd name="T63" fmla="*/ 48992 h 216"/>
                  <a:gd name="T64" fmla="*/ 395850 w 440"/>
                  <a:gd name="T65" fmla="*/ 56415 h 216"/>
                  <a:gd name="T66" fmla="*/ 395850 w 440"/>
                  <a:gd name="T67" fmla="*/ 25238 h 216"/>
                  <a:gd name="T68" fmla="*/ 371713 w 440"/>
                  <a:gd name="T69" fmla="*/ 17815 h 216"/>
                  <a:gd name="T70" fmla="*/ 355622 w 440"/>
                  <a:gd name="T71" fmla="*/ 29692 h 216"/>
                  <a:gd name="T72" fmla="*/ 336312 w 440"/>
                  <a:gd name="T73" fmla="*/ 35631 h 216"/>
                  <a:gd name="T74" fmla="*/ 308956 w 440"/>
                  <a:gd name="T75" fmla="*/ 31177 h 216"/>
                  <a:gd name="T76" fmla="*/ 273555 w 440"/>
                  <a:gd name="T77" fmla="*/ 31177 h 216"/>
                  <a:gd name="T78" fmla="*/ 244590 w 440"/>
                  <a:gd name="T79" fmla="*/ 8908 h 216"/>
                  <a:gd name="T80" fmla="*/ 225281 w 440"/>
                  <a:gd name="T81" fmla="*/ 0 h 216"/>
                  <a:gd name="T82" fmla="*/ 231717 w 440"/>
                  <a:gd name="T83" fmla="*/ 16331 h 216"/>
                  <a:gd name="T84" fmla="*/ 181834 w 440"/>
                  <a:gd name="T85" fmla="*/ 57900 h 216"/>
                  <a:gd name="T86" fmla="*/ 173788 w 440"/>
                  <a:gd name="T87" fmla="*/ 71261 h 216"/>
                  <a:gd name="T88" fmla="*/ 172179 w 440"/>
                  <a:gd name="T89" fmla="*/ 146976 h 216"/>
                  <a:gd name="T90" fmla="*/ 139996 w 440"/>
                  <a:gd name="T91" fmla="*/ 151430 h 216"/>
                  <a:gd name="T92" fmla="*/ 96549 w 440"/>
                  <a:gd name="T93" fmla="*/ 158853 h 216"/>
                  <a:gd name="T94" fmla="*/ 33792 w 440"/>
                  <a:gd name="T95" fmla="*/ 149945 h 216"/>
                  <a:gd name="T96" fmla="*/ 8046 w 440"/>
                  <a:gd name="T97" fmla="*/ 181122 h 216"/>
                  <a:gd name="T98" fmla="*/ 9655 w 440"/>
                  <a:gd name="T99" fmla="*/ 203391 h 216"/>
                  <a:gd name="T100" fmla="*/ 3218 w 440"/>
                  <a:gd name="T101" fmla="*/ 221206 h 216"/>
                  <a:gd name="T102" fmla="*/ 0 w 440"/>
                  <a:gd name="T103" fmla="*/ 261291 h 216"/>
                  <a:gd name="T104" fmla="*/ 32183 w 440"/>
                  <a:gd name="T105" fmla="*/ 288014 h 216"/>
                  <a:gd name="T106" fmla="*/ 53102 w 440"/>
                  <a:gd name="T107" fmla="*/ 289498 h 21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40"/>
                  <a:gd name="T163" fmla="*/ 0 h 216"/>
                  <a:gd name="T164" fmla="*/ 440 w 440"/>
                  <a:gd name="T165" fmla="*/ 216 h 21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40" h="216">
                    <a:moveTo>
                      <a:pt x="33" y="195"/>
                    </a:moveTo>
                    <a:lnTo>
                      <a:pt x="45" y="198"/>
                    </a:lnTo>
                    <a:lnTo>
                      <a:pt x="65" y="215"/>
                    </a:lnTo>
                    <a:lnTo>
                      <a:pt x="114" y="216"/>
                    </a:lnTo>
                    <a:lnTo>
                      <a:pt x="150" y="213"/>
                    </a:lnTo>
                    <a:lnTo>
                      <a:pt x="164" y="186"/>
                    </a:lnTo>
                    <a:lnTo>
                      <a:pt x="207" y="189"/>
                    </a:lnTo>
                    <a:lnTo>
                      <a:pt x="255" y="165"/>
                    </a:lnTo>
                    <a:lnTo>
                      <a:pt x="284" y="141"/>
                    </a:lnTo>
                    <a:lnTo>
                      <a:pt x="293" y="128"/>
                    </a:lnTo>
                    <a:lnTo>
                      <a:pt x="359" y="123"/>
                    </a:lnTo>
                    <a:lnTo>
                      <a:pt x="366" y="134"/>
                    </a:lnTo>
                    <a:lnTo>
                      <a:pt x="377" y="135"/>
                    </a:lnTo>
                    <a:lnTo>
                      <a:pt x="386" y="144"/>
                    </a:lnTo>
                    <a:lnTo>
                      <a:pt x="410" y="135"/>
                    </a:lnTo>
                    <a:lnTo>
                      <a:pt x="422" y="131"/>
                    </a:lnTo>
                    <a:lnTo>
                      <a:pt x="413" y="111"/>
                    </a:lnTo>
                    <a:lnTo>
                      <a:pt x="423" y="80"/>
                    </a:lnTo>
                    <a:lnTo>
                      <a:pt x="440" y="62"/>
                    </a:lnTo>
                    <a:lnTo>
                      <a:pt x="425" y="59"/>
                    </a:lnTo>
                    <a:lnTo>
                      <a:pt x="410" y="54"/>
                    </a:lnTo>
                    <a:lnTo>
                      <a:pt x="398" y="38"/>
                    </a:lnTo>
                    <a:lnTo>
                      <a:pt x="378" y="24"/>
                    </a:lnTo>
                    <a:lnTo>
                      <a:pt x="363" y="12"/>
                    </a:lnTo>
                    <a:lnTo>
                      <a:pt x="342" y="30"/>
                    </a:lnTo>
                    <a:lnTo>
                      <a:pt x="312" y="41"/>
                    </a:lnTo>
                    <a:lnTo>
                      <a:pt x="312" y="11"/>
                    </a:lnTo>
                    <a:lnTo>
                      <a:pt x="300" y="21"/>
                    </a:lnTo>
                    <a:lnTo>
                      <a:pt x="290" y="21"/>
                    </a:lnTo>
                    <a:lnTo>
                      <a:pt x="278" y="12"/>
                    </a:lnTo>
                    <a:lnTo>
                      <a:pt x="255" y="21"/>
                    </a:lnTo>
                    <a:lnTo>
                      <a:pt x="255" y="33"/>
                    </a:lnTo>
                    <a:lnTo>
                      <a:pt x="246" y="38"/>
                    </a:lnTo>
                    <a:lnTo>
                      <a:pt x="246" y="17"/>
                    </a:lnTo>
                    <a:lnTo>
                      <a:pt x="231" y="12"/>
                    </a:lnTo>
                    <a:lnTo>
                      <a:pt x="221" y="20"/>
                    </a:lnTo>
                    <a:lnTo>
                      <a:pt x="209" y="24"/>
                    </a:lnTo>
                    <a:lnTo>
                      <a:pt x="192" y="21"/>
                    </a:lnTo>
                    <a:lnTo>
                      <a:pt x="170" y="21"/>
                    </a:lnTo>
                    <a:lnTo>
                      <a:pt x="152" y="6"/>
                    </a:lnTo>
                    <a:lnTo>
                      <a:pt x="140" y="0"/>
                    </a:lnTo>
                    <a:lnTo>
                      <a:pt x="144" y="11"/>
                    </a:lnTo>
                    <a:lnTo>
                      <a:pt x="113" y="39"/>
                    </a:lnTo>
                    <a:lnTo>
                      <a:pt x="108" y="48"/>
                    </a:lnTo>
                    <a:lnTo>
                      <a:pt x="107" y="99"/>
                    </a:lnTo>
                    <a:lnTo>
                      <a:pt x="87" y="102"/>
                    </a:lnTo>
                    <a:lnTo>
                      <a:pt x="60" y="107"/>
                    </a:lnTo>
                    <a:lnTo>
                      <a:pt x="21" y="101"/>
                    </a:lnTo>
                    <a:lnTo>
                      <a:pt x="5" y="122"/>
                    </a:lnTo>
                    <a:lnTo>
                      <a:pt x="6" y="137"/>
                    </a:lnTo>
                    <a:lnTo>
                      <a:pt x="2" y="149"/>
                    </a:lnTo>
                    <a:lnTo>
                      <a:pt x="0" y="176"/>
                    </a:lnTo>
                    <a:lnTo>
                      <a:pt x="20" y="194"/>
                    </a:lnTo>
                    <a:lnTo>
                      <a:pt x="33" y="1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" name="Freeform 6">
                <a:extLst>
                  <a:ext uri="{FF2B5EF4-FFF2-40B4-BE49-F238E27FC236}">
                    <a16:creationId xmlns:a16="http://schemas.microsoft.com/office/drawing/2014/main" id="{12EB3441-496A-0933-3829-5F75066DF2B6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5226050" y="4064000"/>
                <a:ext cx="725488" cy="784225"/>
              </a:xfrm>
              <a:custGeom>
                <a:avLst/>
                <a:gdLst>
                  <a:gd name="T0" fmla="*/ 495964 w 452"/>
                  <a:gd name="T1" fmla="*/ 31132 h 529"/>
                  <a:gd name="T2" fmla="*/ 566587 w 452"/>
                  <a:gd name="T3" fmla="*/ 14825 h 529"/>
                  <a:gd name="T4" fmla="*/ 646840 w 452"/>
                  <a:gd name="T5" fmla="*/ 0 h 529"/>
                  <a:gd name="T6" fmla="*/ 685361 w 452"/>
                  <a:gd name="T7" fmla="*/ 31132 h 529"/>
                  <a:gd name="T8" fmla="*/ 720673 w 452"/>
                  <a:gd name="T9" fmla="*/ 102290 h 529"/>
                  <a:gd name="T10" fmla="*/ 633999 w 452"/>
                  <a:gd name="T11" fmla="*/ 85983 h 529"/>
                  <a:gd name="T12" fmla="*/ 598688 w 452"/>
                  <a:gd name="T13" fmla="*/ 130457 h 529"/>
                  <a:gd name="T14" fmla="*/ 547326 w 452"/>
                  <a:gd name="T15" fmla="*/ 160106 h 529"/>
                  <a:gd name="T16" fmla="*/ 651655 w 452"/>
                  <a:gd name="T17" fmla="*/ 201615 h 529"/>
                  <a:gd name="T18" fmla="*/ 564982 w 452"/>
                  <a:gd name="T19" fmla="*/ 201615 h 529"/>
                  <a:gd name="T20" fmla="*/ 564982 w 452"/>
                  <a:gd name="T21" fmla="*/ 243125 h 529"/>
                  <a:gd name="T22" fmla="*/ 513620 w 452"/>
                  <a:gd name="T23" fmla="*/ 228300 h 529"/>
                  <a:gd name="T24" fmla="*/ 478309 w 452"/>
                  <a:gd name="T25" fmla="*/ 228300 h 529"/>
                  <a:gd name="T26" fmla="*/ 495964 w 452"/>
                  <a:gd name="T27" fmla="*/ 257949 h 529"/>
                  <a:gd name="T28" fmla="*/ 409291 w 452"/>
                  <a:gd name="T29" fmla="*/ 171966 h 529"/>
                  <a:gd name="T30" fmla="*/ 343483 w 452"/>
                  <a:gd name="T31" fmla="*/ 171966 h 529"/>
                  <a:gd name="T32" fmla="*/ 361139 w 452"/>
                  <a:gd name="T33" fmla="*/ 243125 h 529"/>
                  <a:gd name="T34" fmla="*/ 478309 w 452"/>
                  <a:gd name="T35" fmla="*/ 343932 h 529"/>
                  <a:gd name="T36" fmla="*/ 462258 w 452"/>
                  <a:gd name="T37" fmla="*/ 360239 h 529"/>
                  <a:gd name="T38" fmla="*/ 393240 w 452"/>
                  <a:gd name="T39" fmla="*/ 329108 h 529"/>
                  <a:gd name="T40" fmla="*/ 409291 w 452"/>
                  <a:gd name="T41" fmla="*/ 386924 h 529"/>
                  <a:gd name="T42" fmla="*/ 426947 w 452"/>
                  <a:gd name="T43" fmla="*/ 429915 h 529"/>
                  <a:gd name="T44" fmla="*/ 532881 w 452"/>
                  <a:gd name="T45" fmla="*/ 486249 h 529"/>
                  <a:gd name="T46" fmla="*/ 582638 w 452"/>
                  <a:gd name="T47" fmla="*/ 557407 h 529"/>
                  <a:gd name="T48" fmla="*/ 532881 w 452"/>
                  <a:gd name="T49" fmla="*/ 544065 h 529"/>
                  <a:gd name="T50" fmla="*/ 462258 w 452"/>
                  <a:gd name="T51" fmla="*/ 600399 h 529"/>
                  <a:gd name="T52" fmla="*/ 532881 w 452"/>
                  <a:gd name="T53" fmla="*/ 628566 h 529"/>
                  <a:gd name="T54" fmla="*/ 426947 w 452"/>
                  <a:gd name="T55" fmla="*/ 644873 h 529"/>
                  <a:gd name="T56" fmla="*/ 393240 w 452"/>
                  <a:gd name="T57" fmla="*/ 644873 h 529"/>
                  <a:gd name="T58" fmla="*/ 444602 w 452"/>
                  <a:gd name="T59" fmla="*/ 713066 h 529"/>
                  <a:gd name="T60" fmla="*/ 495964 w 452"/>
                  <a:gd name="T61" fmla="*/ 770883 h 529"/>
                  <a:gd name="T62" fmla="*/ 393240 w 452"/>
                  <a:gd name="T63" fmla="*/ 741233 h 529"/>
                  <a:gd name="T64" fmla="*/ 377190 w 452"/>
                  <a:gd name="T65" fmla="*/ 757540 h 529"/>
                  <a:gd name="T66" fmla="*/ 327433 w 452"/>
                  <a:gd name="T67" fmla="*/ 757540 h 529"/>
                  <a:gd name="T68" fmla="*/ 308172 w 452"/>
                  <a:gd name="T69" fmla="*/ 699724 h 529"/>
                  <a:gd name="T70" fmla="*/ 292121 w 452"/>
                  <a:gd name="T71" fmla="*/ 729374 h 529"/>
                  <a:gd name="T72" fmla="*/ 221499 w 452"/>
                  <a:gd name="T73" fmla="*/ 713066 h 529"/>
                  <a:gd name="T74" fmla="*/ 221499 w 452"/>
                  <a:gd name="T75" fmla="*/ 656733 h 529"/>
                  <a:gd name="T76" fmla="*/ 189397 w 452"/>
                  <a:gd name="T77" fmla="*/ 585574 h 529"/>
                  <a:gd name="T78" fmla="*/ 170137 w 452"/>
                  <a:gd name="T79" fmla="*/ 527758 h 529"/>
                  <a:gd name="T80" fmla="*/ 239154 w 452"/>
                  <a:gd name="T81" fmla="*/ 527758 h 529"/>
                  <a:gd name="T82" fmla="*/ 308172 w 452"/>
                  <a:gd name="T83" fmla="*/ 515898 h 529"/>
                  <a:gd name="T84" fmla="*/ 377190 w 452"/>
                  <a:gd name="T85" fmla="*/ 527758 h 529"/>
                  <a:gd name="T86" fmla="*/ 426947 w 452"/>
                  <a:gd name="T87" fmla="*/ 544065 h 529"/>
                  <a:gd name="T88" fmla="*/ 377190 w 452"/>
                  <a:gd name="T89" fmla="*/ 486249 h 529"/>
                  <a:gd name="T90" fmla="*/ 308172 w 452"/>
                  <a:gd name="T91" fmla="*/ 472907 h 529"/>
                  <a:gd name="T92" fmla="*/ 203843 w 452"/>
                  <a:gd name="T93" fmla="*/ 486249 h 529"/>
                  <a:gd name="T94" fmla="*/ 152481 w 452"/>
                  <a:gd name="T95" fmla="*/ 486249 h 529"/>
                  <a:gd name="T96" fmla="*/ 101119 w 452"/>
                  <a:gd name="T97" fmla="*/ 444740 h 529"/>
                  <a:gd name="T98" fmla="*/ 152481 w 452"/>
                  <a:gd name="T99" fmla="*/ 415091 h 529"/>
                  <a:gd name="T100" fmla="*/ 118775 w 452"/>
                  <a:gd name="T101" fmla="*/ 386924 h 529"/>
                  <a:gd name="T102" fmla="*/ 69018 w 452"/>
                  <a:gd name="T103" fmla="*/ 360239 h 529"/>
                  <a:gd name="T104" fmla="*/ 0 w 452"/>
                  <a:gd name="T105" fmla="*/ 300941 h 529"/>
                  <a:gd name="T106" fmla="*/ 33706 w 452"/>
                  <a:gd name="T107" fmla="*/ 257949 h 529"/>
                  <a:gd name="T108" fmla="*/ 85068 w 452"/>
                  <a:gd name="T109" fmla="*/ 228300 h 529"/>
                  <a:gd name="T110" fmla="*/ 138035 w 452"/>
                  <a:gd name="T111" fmla="*/ 160106 h 529"/>
                  <a:gd name="T112" fmla="*/ 118775 w 452"/>
                  <a:gd name="T113" fmla="*/ 102290 h 529"/>
                  <a:gd name="T114" fmla="*/ 189397 w 452"/>
                  <a:gd name="T115" fmla="*/ 102290 h 529"/>
                  <a:gd name="T116" fmla="*/ 292121 w 452"/>
                  <a:gd name="T117" fmla="*/ 72641 h 529"/>
                  <a:gd name="T118" fmla="*/ 361139 w 452"/>
                  <a:gd name="T119" fmla="*/ 72641 h 529"/>
                  <a:gd name="T120" fmla="*/ 393240 w 452"/>
                  <a:gd name="T121" fmla="*/ 31132 h 52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52"/>
                  <a:gd name="T184" fmla="*/ 0 h 529"/>
                  <a:gd name="T185" fmla="*/ 452 w 452"/>
                  <a:gd name="T186" fmla="*/ 529 h 52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52" h="529">
                    <a:moveTo>
                      <a:pt x="245" y="21"/>
                    </a:moveTo>
                    <a:lnTo>
                      <a:pt x="266" y="21"/>
                    </a:lnTo>
                    <a:lnTo>
                      <a:pt x="288" y="21"/>
                    </a:lnTo>
                    <a:lnTo>
                      <a:pt x="309" y="21"/>
                    </a:lnTo>
                    <a:lnTo>
                      <a:pt x="332" y="21"/>
                    </a:lnTo>
                    <a:lnTo>
                      <a:pt x="341" y="29"/>
                    </a:lnTo>
                    <a:lnTo>
                      <a:pt x="356" y="21"/>
                    </a:lnTo>
                    <a:lnTo>
                      <a:pt x="353" y="10"/>
                    </a:lnTo>
                    <a:lnTo>
                      <a:pt x="360" y="6"/>
                    </a:lnTo>
                    <a:lnTo>
                      <a:pt x="384" y="0"/>
                    </a:lnTo>
                    <a:lnTo>
                      <a:pt x="395" y="6"/>
                    </a:lnTo>
                    <a:lnTo>
                      <a:pt x="403" y="0"/>
                    </a:lnTo>
                    <a:lnTo>
                      <a:pt x="406" y="0"/>
                    </a:lnTo>
                    <a:lnTo>
                      <a:pt x="416" y="10"/>
                    </a:lnTo>
                    <a:lnTo>
                      <a:pt x="427" y="10"/>
                    </a:lnTo>
                    <a:lnTo>
                      <a:pt x="427" y="21"/>
                    </a:lnTo>
                    <a:lnTo>
                      <a:pt x="449" y="13"/>
                    </a:lnTo>
                    <a:lnTo>
                      <a:pt x="452" y="58"/>
                    </a:lnTo>
                    <a:lnTo>
                      <a:pt x="437" y="58"/>
                    </a:lnTo>
                    <a:lnTo>
                      <a:pt x="449" y="69"/>
                    </a:lnTo>
                    <a:lnTo>
                      <a:pt x="437" y="79"/>
                    </a:lnTo>
                    <a:lnTo>
                      <a:pt x="416" y="79"/>
                    </a:lnTo>
                    <a:lnTo>
                      <a:pt x="406" y="69"/>
                    </a:lnTo>
                    <a:lnTo>
                      <a:pt x="395" y="58"/>
                    </a:lnTo>
                    <a:lnTo>
                      <a:pt x="384" y="69"/>
                    </a:lnTo>
                    <a:lnTo>
                      <a:pt x="384" y="79"/>
                    </a:lnTo>
                    <a:lnTo>
                      <a:pt x="384" y="88"/>
                    </a:lnTo>
                    <a:lnTo>
                      <a:pt x="373" y="88"/>
                    </a:lnTo>
                    <a:lnTo>
                      <a:pt x="341" y="88"/>
                    </a:lnTo>
                    <a:lnTo>
                      <a:pt x="332" y="88"/>
                    </a:lnTo>
                    <a:lnTo>
                      <a:pt x="332" y="97"/>
                    </a:lnTo>
                    <a:lnTo>
                      <a:pt x="341" y="108"/>
                    </a:lnTo>
                    <a:lnTo>
                      <a:pt x="352" y="116"/>
                    </a:lnTo>
                    <a:lnTo>
                      <a:pt x="373" y="127"/>
                    </a:lnTo>
                    <a:lnTo>
                      <a:pt x="395" y="136"/>
                    </a:lnTo>
                    <a:lnTo>
                      <a:pt x="406" y="136"/>
                    </a:lnTo>
                    <a:lnTo>
                      <a:pt x="395" y="146"/>
                    </a:lnTo>
                    <a:lnTo>
                      <a:pt x="373" y="154"/>
                    </a:lnTo>
                    <a:lnTo>
                      <a:pt x="352" y="154"/>
                    </a:lnTo>
                    <a:lnTo>
                      <a:pt x="352" y="136"/>
                    </a:lnTo>
                    <a:lnTo>
                      <a:pt x="341" y="136"/>
                    </a:lnTo>
                    <a:lnTo>
                      <a:pt x="332" y="136"/>
                    </a:lnTo>
                    <a:lnTo>
                      <a:pt x="341" y="146"/>
                    </a:lnTo>
                    <a:lnTo>
                      <a:pt x="352" y="164"/>
                    </a:lnTo>
                    <a:lnTo>
                      <a:pt x="363" y="164"/>
                    </a:lnTo>
                    <a:lnTo>
                      <a:pt x="363" y="174"/>
                    </a:lnTo>
                    <a:lnTo>
                      <a:pt x="332" y="164"/>
                    </a:lnTo>
                    <a:lnTo>
                      <a:pt x="320" y="154"/>
                    </a:lnTo>
                    <a:lnTo>
                      <a:pt x="309" y="146"/>
                    </a:lnTo>
                    <a:lnTo>
                      <a:pt x="298" y="136"/>
                    </a:lnTo>
                    <a:lnTo>
                      <a:pt x="298" y="146"/>
                    </a:lnTo>
                    <a:lnTo>
                      <a:pt x="298" y="154"/>
                    </a:lnTo>
                    <a:lnTo>
                      <a:pt x="309" y="164"/>
                    </a:lnTo>
                    <a:lnTo>
                      <a:pt x="332" y="174"/>
                    </a:lnTo>
                    <a:lnTo>
                      <a:pt x="332" y="184"/>
                    </a:lnTo>
                    <a:lnTo>
                      <a:pt x="309" y="174"/>
                    </a:lnTo>
                    <a:lnTo>
                      <a:pt x="288" y="164"/>
                    </a:lnTo>
                    <a:lnTo>
                      <a:pt x="277" y="146"/>
                    </a:lnTo>
                    <a:lnTo>
                      <a:pt x="266" y="127"/>
                    </a:lnTo>
                    <a:lnTo>
                      <a:pt x="255" y="116"/>
                    </a:lnTo>
                    <a:lnTo>
                      <a:pt x="255" y="97"/>
                    </a:lnTo>
                    <a:lnTo>
                      <a:pt x="245" y="97"/>
                    </a:lnTo>
                    <a:lnTo>
                      <a:pt x="225" y="108"/>
                    </a:lnTo>
                    <a:lnTo>
                      <a:pt x="214" y="116"/>
                    </a:lnTo>
                    <a:lnTo>
                      <a:pt x="225" y="127"/>
                    </a:lnTo>
                    <a:lnTo>
                      <a:pt x="225" y="136"/>
                    </a:lnTo>
                    <a:lnTo>
                      <a:pt x="225" y="146"/>
                    </a:lnTo>
                    <a:lnTo>
                      <a:pt x="225" y="164"/>
                    </a:lnTo>
                    <a:lnTo>
                      <a:pt x="235" y="174"/>
                    </a:lnTo>
                    <a:lnTo>
                      <a:pt x="255" y="184"/>
                    </a:lnTo>
                    <a:lnTo>
                      <a:pt x="266" y="203"/>
                    </a:lnTo>
                    <a:lnTo>
                      <a:pt x="298" y="232"/>
                    </a:lnTo>
                    <a:lnTo>
                      <a:pt x="309" y="232"/>
                    </a:lnTo>
                    <a:lnTo>
                      <a:pt x="298" y="251"/>
                    </a:lnTo>
                    <a:lnTo>
                      <a:pt x="288" y="251"/>
                    </a:lnTo>
                    <a:lnTo>
                      <a:pt x="288" y="243"/>
                    </a:lnTo>
                    <a:lnTo>
                      <a:pt x="288" y="232"/>
                    </a:lnTo>
                    <a:lnTo>
                      <a:pt x="277" y="222"/>
                    </a:lnTo>
                    <a:lnTo>
                      <a:pt x="255" y="222"/>
                    </a:lnTo>
                    <a:lnTo>
                      <a:pt x="245" y="222"/>
                    </a:lnTo>
                    <a:lnTo>
                      <a:pt x="235" y="232"/>
                    </a:lnTo>
                    <a:lnTo>
                      <a:pt x="245" y="251"/>
                    </a:lnTo>
                    <a:lnTo>
                      <a:pt x="255" y="251"/>
                    </a:lnTo>
                    <a:lnTo>
                      <a:pt x="255" y="261"/>
                    </a:lnTo>
                    <a:lnTo>
                      <a:pt x="245" y="271"/>
                    </a:lnTo>
                    <a:lnTo>
                      <a:pt x="235" y="280"/>
                    </a:lnTo>
                    <a:lnTo>
                      <a:pt x="245" y="290"/>
                    </a:lnTo>
                    <a:lnTo>
                      <a:pt x="266" y="290"/>
                    </a:lnTo>
                    <a:lnTo>
                      <a:pt x="288" y="300"/>
                    </a:lnTo>
                    <a:lnTo>
                      <a:pt x="309" y="308"/>
                    </a:lnTo>
                    <a:lnTo>
                      <a:pt x="320" y="308"/>
                    </a:lnTo>
                    <a:lnTo>
                      <a:pt x="332" y="328"/>
                    </a:lnTo>
                    <a:lnTo>
                      <a:pt x="352" y="337"/>
                    </a:lnTo>
                    <a:lnTo>
                      <a:pt x="363" y="337"/>
                    </a:lnTo>
                    <a:lnTo>
                      <a:pt x="363" y="356"/>
                    </a:lnTo>
                    <a:lnTo>
                      <a:pt x="363" y="376"/>
                    </a:lnTo>
                    <a:lnTo>
                      <a:pt x="363" y="385"/>
                    </a:lnTo>
                    <a:lnTo>
                      <a:pt x="363" y="395"/>
                    </a:lnTo>
                    <a:lnTo>
                      <a:pt x="341" y="385"/>
                    </a:lnTo>
                    <a:lnTo>
                      <a:pt x="332" y="367"/>
                    </a:lnTo>
                    <a:lnTo>
                      <a:pt x="320" y="367"/>
                    </a:lnTo>
                    <a:lnTo>
                      <a:pt x="298" y="385"/>
                    </a:lnTo>
                    <a:lnTo>
                      <a:pt x="288" y="395"/>
                    </a:lnTo>
                    <a:lnTo>
                      <a:pt x="288" y="405"/>
                    </a:lnTo>
                    <a:lnTo>
                      <a:pt x="298" y="415"/>
                    </a:lnTo>
                    <a:lnTo>
                      <a:pt x="309" y="415"/>
                    </a:lnTo>
                    <a:lnTo>
                      <a:pt x="332" y="405"/>
                    </a:lnTo>
                    <a:lnTo>
                      <a:pt x="332" y="424"/>
                    </a:lnTo>
                    <a:lnTo>
                      <a:pt x="309" y="435"/>
                    </a:lnTo>
                    <a:lnTo>
                      <a:pt x="288" y="443"/>
                    </a:lnTo>
                    <a:lnTo>
                      <a:pt x="277" y="443"/>
                    </a:lnTo>
                    <a:lnTo>
                      <a:pt x="266" y="435"/>
                    </a:lnTo>
                    <a:lnTo>
                      <a:pt x="266" y="424"/>
                    </a:lnTo>
                    <a:lnTo>
                      <a:pt x="255" y="415"/>
                    </a:lnTo>
                    <a:lnTo>
                      <a:pt x="245" y="415"/>
                    </a:lnTo>
                    <a:lnTo>
                      <a:pt x="245" y="435"/>
                    </a:lnTo>
                    <a:lnTo>
                      <a:pt x="255" y="443"/>
                    </a:lnTo>
                    <a:lnTo>
                      <a:pt x="266" y="461"/>
                    </a:lnTo>
                    <a:lnTo>
                      <a:pt x="277" y="461"/>
                    </a:lnTo>
                    <a:lnTo>
                      <a:pt x="277" y="481"/>
                    </a:lnTo>
                    <a:lnTo>
                      <a:pt x="288" y="492"/>
                    </a:lnTo>
                    <a:lnTo>
                      <a:pt x="288" y="500"/>
                    </a:lnTo>
                    <a:lnTo>
                      <a:pt x="309" y="511"/>
                    </a:lnTo>
                    <a:lnTo>
                      <a:pt x="309" y="520"/>
                    </a:lnTo>
                    <a:lnTo>
                      <a:pt x="266" y="520"/>
                    </a:lnTo>
                    <a:lnTo>
                      <a:pt x="255" y="520"/>
                    </a:lnTo>
                    <a:lnTo>
                      <a:pt x="255" y="500"/>
                    </a:lnTo>
                    <a:lnTo>
                      <a:pt x="245" y="500"/>
                    </a:lnTo>
                    <a:lnTo>
                      <a:pt x="245" y="481"/>
                    </a:lnTo>
                    <a:lnTo>
                      <a:pt x="235" y="492"/>
                    </a:lnTo>
                    <a:lnTo>
                      <a:pt x="235" y="500"/>
                    </a:lnTo>
                    <a:lnTo>
                      <a:pt x="235" y="511"/>
                    </a:lnTo>
                    <a:lnTo>
                      <a:pt x="235" y="529"/>
                    </a:lnTo>
                    <a:lnTo>
                      <a:pt x="225" y="529"/>
                    </a:lnTo>
                    <a:lnTo>
                      <a:pt x="214" y="511"/>
                    </a:lnTo>
                    <a:lnTo>
                      <a:pt x="204" y="511"/>
                    </a:lnTo>
                    <a:lnTo>
                      <a:pt x="192" y="500"/>
                    </a:lnTo>
                    <a:lnTo>
                      <a:pt x="192" y="492"/>
                    </a:lnTo>
                    <a:lnTo>
                      <a:pt x="192" y="481"/>
                    </a:lnTo>
                    <a:lnTo>
                      <a:pt x="192" y="472"/>
                    </a:lnTo>
                    <a:lnTo>
                      <a:pt x="182" y="461"/>
                    </a:lnTo>
                    <a:lnTo>
                      <a:pt x="170" y="472"/>
                    </a:lnTo>
                    <a:lnTo>
                      <a:pt x="170" y="481"/>
                    </a:lnTo>
                    <a:lnTo>
                      <a:pt x="182" y="492"/>
                    </a:lnTo>
                    <a:lnTo>
                      <a:pt x="170" y="500"/>
                    </a:lnTo>
                    <a:lnTo>
                      <a:pt x="159" y="500"/>
                    </a:lnTo>
                    <a:lnTo>
                      <a:pt x="149" y="500"/>
                    </a:lnTo>
                    <a:lnTo>
                      <a:pt x="138" y="481"/>
                    </a:lnTo>
                    <a:lnTo>
                      <a:pt x="138" y="472"/>
                    </a:lnTo>
                    <a:lnTo>
                      <a:pt x="138" y="461"/>
                    </a:lnTo>
                    <a:lnTo>
                      <a:pt x="127" y="454"/>
                    </a:lnTo>
                    <a:lnTo>
                      <a:pt x="138" y="443"/>
                    </a:lnTo>
                    <a:lnTo>
                      <a:pt x="138" y="424"/>
                    </a:lnTo>
                    <a:lnTo>
                      <a:pt x="138" y="415"/>
                    </a:lnTo>
                    <a:lnTo>
                      <a:pt x="127" y="405"/>
                    </a:lnTo>
                    <a:lnTo>
                      <a:pt x="118" y="395"/>
                    </a:lnTo>
                    <a:lnTo>
                      <a:pt x="106" y="395"/>
                    </a:lnTo>
                    <a:lnTo>
                      <a:pt x="95" y="376"/>
                    </a:lnTo>
                    <a:lnTo>
                      <a:pt x="95" y="367"/>
                    </a:lnTo>
                    <a:lnTo>
                      <a:pt x="106" y="356"/>
                    </a:lnTo>
                    <a:lnTo>
                      <a:pt x="118" y="356"/>
                    </a:lnTo>
                    <a:lnTo>
                      <a:pt x="127" y="356"/>
                    </a:lnTo>
                    <a:lnTo>
                      <a:pt x="138" y="356"/>
                    </a:lnTo>
                    <a:lnTo>
                      <a:pt x="149" y="356"/>
                    </a:lnTo>
                    <a:lnTo>
                      <a:pt x="159" y="348"/>
                    </a:lnTo>
                    <a:lnTo>
                      <a:pt x="170" y="348"/>
                    </a:lnTo>
                    <a:lnTo>
                      <a:pt x="182" y="348"/>
                    </a:lnTo>
                    <a:lnTo>
                      <a:pt x="192" y="348"/>
                    </a:lnTo>
                    <a:lnTo>
                      <a:pt x="204" y="348"/>
                    </a:lnTo>
                    <a:lnTo>
                      <a:pt x="204" y="356"/>
                    </a:lnTo>
                    <a:lnTo>
                      <a:pt x="225" y="348"/>
                    </a:lnTo>
                    <a:lnTo>
                      <a:pt x="235" y="356"/>
                    </a:lnTo>
                    <a:lnTo>
                      <a:pt x="235" y="367"/>
                    </a:lnTo>
                    <a:lnTo>
                      <a:pt x="245" y="376"/>
                    </a:lnTo>
                    <a:lnTo>
                      <a:pt x="255" y="367"/>
                    </a:lnTo>
                    <a:lnTo>
                      <a:pt x="266" y="367"/>
                    </a:lnTo>
                    <a:lnTo>
                      <a:pt x="277" y="356"/>
                    </a:lnTo>
                    <a:lnTo>
                      <a:pt x="255" y="348"/>
                    </a:lnTo>
                    <a:lnTo>
                      <a:pt x="245" y="337"/>
                    </a:lnTo>
                    <a:lnTo>
                      <a:pt x="235" y="328"/>
                    </a:lnTo>
                    <a:lnTo>
                      <a:pt x="214" y="328"/>
                    </a:lnTo>
                    <a:lnTo>
                      <a:pt x="214" y="337"/>
                    </a:lnTo>
                    <a:lnTo>
                      <a:pt x="204" y="328"/>
                    </a:lnTo>
                    <a:lnTo>
                      <a:pt x="192" y="319"/>
                    </a:lnTo>
                    <a:lnTo>
                      <a:pt x="170" y="319"/>
                    </a:lnTo>
                    <a:lnTo>
                      <a:pt x="159" y="319"/>
                    </a:lnTo>
                    <a:lnTo>
                      <a:pt x="149" y="319"/>
                    </a:lnTo>
                    <a:lnTo>
                      <a:pt x="127" y="328"/>
                    </a:lnTo>
                    <a:lnTo>
                      <a:pt x="127" y="319"/>
                    </a:lnTo>
                    <a:lnTo>
                      <a:pt x="118" y="319"/>
                    </a:lnTo>
                    <a:lnTo>
                      <a:pt x="106" y="319"/>
                    </a:lnTo>
                    <a:lnTo>
                      <a:pt x="95" y="328"/>
                    </a:lnTo>
                    <a:lnTo>
                      <a:pt x="74" y="319"/>
                    </a:lnTo>
                    <a:lnTo>
                      <a:pt x="63" y="319"/>
                    </a:lnTo>
                    <a:lnTo>
                      <a:pt x="63" y="308"/>
                    </a:lnTo>
                    <a:lnTo>
                      <a:pt x="63" y="300"/>
                    </a:lnTo>
                    <a:lnTo>
                      <a:pt x="53" y="290"/>
                    </a:lnTo>
                    <a:lnTo>
                      <a:pt x="63" y="280"/>
                    </a:lnTo>
                    <a:lnTo>
                      <a:pt x="74" y="280"/>
                    </a:lnTo>
                    <a:lnTo>
                      <a:pt x="95" y="280"/>
                    </a:lnTo>
                    <a:lnTo>
                      <a:pt x="95" y="271"/>
                    </a:lnTo>
                    <a:lnTo>
                      <a:pt x="95" y="261"/>
                    </a:lnTo>
                    <a:lnTo>
                      <a:pt x="86" y="261"/>
                    </a:lnTo>
                    <a:lnTo>
                      <a:pt x="74" y="261"/>
                    </a:lnTo>
                    <a:lnTo>
                      <a:pt x="63" y="261"/>
                    </a:lnTo>
                    <a:lnTo>
                      <a:pt x="53" y="271"/>
                    </a:lnTo>
                    <a:lnTo>
                      <a:pt x="43" y="261"/>
                    </a:lnTo>
                    <a:lnTo>
                      <a:pt x="43" y="243"/>
                    </a:lnTo>
                    <a:lnTo>
                      <a:pt x="43" y="232"/>
                    </a:lnTo>
                    <a:lnTo>
                      <a:pt x="21" y="232"/>
                    </a:lnTo>
                    <a:lnTo>
                      <a:pt x="11" y="222"/>
                    </a:lnTo>
                    <a:lnTo>
                      <a:pt x="0" y="203"/>
                    </a:lnTo>
                    <a:lnTo>
                      <a:pt x="11" y="203"/>
                    </a:lnTo>
                    <a:lnTo>
                      <a:pt x="11" y="193"/>
                    </a:lnTo>
                    <a:lnTo>
                      <a:pt x="11" y="184"/>
                    </a:lnTo>
                    <a:lnTo>
                      <a:pt x="21" y="174"/>
                    </a:lnTo>
                    <a:lnTo>
                      <a:pt x="33" y="174"/>
                    </a:lnTo>
                    <a:lnTo>
                      <a:pt x="53" y="164"/>
                    </a:lnTo>
                    <a:lnTo>
                      <a:pt x="43" y="154"/>
                    </a:lnTo>
                    <a:lnTo>
                      <a:pt x="53" y="154"/>
                    </a:lnTo>
                    <a:lnTo>
                      <a:pt x="63" y="146"/>
                    </a:lnTo>
                    <a:lnTo>
                      <a:pt x="74" y="127"/>
                    </a:lnTo>
                    <a:lnTo>
                      <a:pt x="86" y="116"/>
                    </a:lnTo>
                    <a:lnTo>
                      <a:pt x="86" y="108"/>
                    </a:lnTo>
                    <a:lnTo>
                      <a:pt x="86" y="97"/>
                    </a:lnTo>
                    <a:lnTo>
                      <a:pt x="74" y="88"/>
                    </a:lnTo>
                    <a:lnTo>
                      <a:pt x="63" y="79"/>
                    </a:lnTo>
                    <a:lnTo>
                      <a:pt x="74" y="69"/>
                    </a:lnTo>
                    <a:lnTo>
                      <a:pt x="86" y="69"/>
                    </a:lnTo>
                    <a:lnTo>
                      <a:pt x="86" y="58"/>
                    </a:lnTo>
                    <a:lnTo>
                      <a:pt x="95" y="69"/>
                    </a:lnTo>
                    <a:lnTo>
                      <a:pt x="118" y="69"/>
                    </a:lnTo>
                    <a:lnTo>
                      <a:pt x="127" y="69"/>
                    </a:lnTo>
                    <a:lnTo>
                      <a:pt x="149" y="58"/>
                    </a:lnTo>
                    <a:lnTo>
                      <a:pt x="170" y="58"/>
                    </a:lnTo>
                    <a:lnTo>
                      <a:pt x="182" y="49"/>
                    </a:lnTo>
                    <a:lnTo>
                      <a:pt x="192" y="40"/>
                    </a:lnTo>
                    <a:lnTo>
                      <a:pt x="204" y="49"/>
                    </a:lnTo>
                    <a:lnTo>
                      <a:pt x="214" y="49"/>
                    </a:lnTo>
                    <a:lnTo>
                      <a:pt x="225" y="49"/>
                    </a:lnTo>
                    <a:lnTo>
                      <a:pt x="235" y="40"/>
                    </a:lnTo>
                    <a:lnTo>
                      <a:pt x="245" y="29"/>
                    </a:lnTo>
                    <a:lnTo>
                      <a:pt x="266" y="21"/>
                    </a:lnTo>
                    <a:lnTo>
                      <a:pt x="245" y="2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D91C39EB-4704-345F-DD33-73998AE9EECB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5510213" y="3665538"/>
                <a:ext cx="442912" cy="447675"/>
              </a:xfrm>
              <a:custGeom>
                <a:avLst/>
                <a:gdLst>
                  <a:gd name="T0" fmla="*/ 135912 w 277"/>
                  <a:gd name="T1" fmla="*/ 434245 h 300"/>
                  <a:gd name="T2" fmla="*/ 207865 w 277"/>
                  <a:gd name="T3" fmla="*/ 434245 h 300"/>
                  <a:gd name="T4" fmla="*/ 257433 w 277"/>
                  <a:gd name="T5" fmla="*/ 447675 h 300"/>
                  <a:gd name="T6" fmla="*/ 291011 w 277"/>
                  <a:gd name="T7" fmla="*/ 419322 h 300"/>
                  <a:gd name="T8" fmla="*/ 324589 w 277"/>
                  <a:gd name="T9" fmla="*/ 405892 h 300"/>
                  <a:gd name="T10" fmla="*/ 342177 w 277"/>
                  <a:gd name="T11" fmla="*/ 405892 h 300"/>
                  <a:gd name="T12" fmla="*/ 375756 w 277"/>
                  <a:gd name="T13" fmla="*/ 419322 h 300"/>
                  <a:gd name="T14" fmla="*/ 393344 w 277"/>
                  <a:gd name="T15" fmla="*/ 434245 h 300"/>
                  <a:gd name="T16" fmla="*/ 442912 w 277"/>
                  <a:gd name="T17" fmla="*/ 419322 h 300"/>
                  <a:gd name="T18" fmla="*/ 430120 w 277"/>
                  <a:gd name="T19" fmla="*/ 86550 h 300"/>
                  <a:gd name="T20" fmla="*/ 361365 w 277"/>
                  <a:gd name="T21" fmla="*/ 74612 h 300"/>
                  <a:gd name="T22" fmla="*/ 307000 w 277"/>
                  <a:gd name="T23" fmla="*/ 74612 h 300"/>
                  <a:gd name="T24" fmla="*/ 257433 w 277"/>
                  <a:gd name="T25" fmla="*/ 74612 h 300"/>
                  <a:gd name="T26" fmla="*/ 207865 w 277"/>
                  <a:gd name="T27" fmla="*/ 59690 h 300"/>
                  <a:gd name="T28" fmla="*/ 135912 w 277"/>
                  <a:gd name="T29" fmla="*/ 59690 h 300"/>
                  <a:gd name="T30" fmla="*/ 84745 w 277"/>
                  <a:gd name="T31" fmla="*/ 44767 h 300"/>
                  <a:gd name="T32" fmla="*/ 84745 w 277"/>
                  <a:gd name="T33" fmla="*/ 0 h 300"/>
                  <a:gd name="T34" fmla="*/ 68755 w 277"/>
                  <a:gd name="T35" fmla="*/ 0 h 300"/>
                  <a:gd name="T36" fmla="*/ 19188 w 277"/>
                  <a:gd name="T37" fmla="*/ 44767 h 300"/>
                  <a:gd name="T38" fmla="*/ 19188 w 277"/>
                  <a:gd name="T39" fmla="*/ 74612 h 300"/>
                  <a:gd name="T40" fmla="*/ 33578 w 277"/>
                  <a:gd name="T41" fmla="*/ 114903 h 300"/>
                  <a:gd name="T42" fmla="*/ 52766 w 277"/>
                  <a:gd name="T43" fmla="*/ 132810 h 300"/>
                  <a:gd name="T44" fmla="*/ 84745 w 277"/>
                  <a:gd name="T45" fmla="*/ 146240 h 300"/>
                  <a:gd name="T46" fmla="*/ 68755 w 277"/>
                  <a:gd name="T47" fmla="*/ 173101 h 300"/>
                  <a:gd name="T48" fmla="*/ 33578 w 277"/>
                  <a:gd name="T49" fmla="*/ 202946 h 300"/>
                  <a:gd name="T50" fmla="*/ 19188 w 277"/>
                  <a:gd name="T51" fmla="*/ 231299 h 300"/>
                  <a:gd name="T52" fmla="*/ 19188 w 277"/>
                  <a:gd name="T53" fmla="*/ 274574 h 300"/>
                  <a:gd name="T54" fmla="*/ 52766 w 277"/>
                  <a:gd name="T55" fmla="*/ 319341 h 300"/>
                  <a:gd name="T56" fmla="*/ 84745 w 277"/>
                  <a:gd name="T57" fmla="*/ 347694 h 300"/>
                  <a:gd name="T58" fmla="*/ 119922 w 277"/>
                  <a:gd name="T59" fmla="*/ 376047 h 300"/>
                  <a:gd name="T60" fmla="*/ 119922 w 277"/>
                  <a:gd name="T61" fmla="*/ 405892 h 300"/>
                  <a:gd name="T62" fmla="*/ 100734 w 277"/>
                  <a:gd name="T63" fmla="*/ 434245 h 30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7"/>
                  <a:gd name="T97" fmla="*/ 0 h 300"/>
                  <a:gd name="T98" fmla="*/ 277 w 277"/>
                  <a:gd name="T99" fmla="*/ 300 h 30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7" h="300">
                    <a:moveTo>
                      <a:pt x="63" y="291"/>
                    </a:moveTo>
                    <a:lnTo>
                      <a:pt x="85" y="291"/>
                    </a:lnTo>
                    <a:lnTo>
                      <a:pt x="108" y="291"/>
                    </a:lnTo>
                    <a:lnTo>
                      <a:pt x="130" y="291"/>
                    </a:lnTo>
                    <a:lnTo>
                      <a:pt x="150" y="291"/>
                    </a:lnTo>
                    <a:lnTo>
                      <a:pt x="161" y="300"/>
                    </a:lnTo>
                    <a:lnTo>
                      <a:pt x="182" y="291"/>
                    </a:lnTo>
                    <a:lnTo>
                      <a:pt x="182" y="281"/>
                    </a:lnTo>
                    <a:lnTo>
                      <a:pt x="192" y="281"/>
                    </a:lnTo>
                    <a:lnTo>
                      <a:pt x="203" y="272"/>
                    </a:lnTo>
                    <a:lnTo>
                      <a:pt x="214" y="281"/>
                    </a:lnTo>
                    <a:lnTo>
                      <a:pt x="214" y="272"/>
                    </a:lnTo>
                    <a:lnTo>
                      <a:pt x="226" y="272"/>
                    </a:lnTo>
                    <a:lnTo>
                      <a:pt x="235" y="281"/>
                    </a:lnTo>
                    <a:lnTo>
                      <a:pt x="246" y="281"/>
                    </a:lnTo>
                    <a:lnTo>
                      <a:pt x="246" y="291"/>
                    </a:lnTo>
                    <a:lnTo>
                      <a:pt x="269" y="281"/>
                    </a:lnTo>
                    <a:lnTo>
                      <a:pt x="277" y="281"/>
                    </a:lnTo>
                    <a:lnTo>
                      <a:pt x="277" y="50"/>
                    </a:lnTo>
                    <a:lnTo>
                      <a:pt x="269" y="58"/>
                    </a:lnTo>
                    <a:lnTo>
                      <a:pt x="246" y="58"/>
                    </a:lnTo>
                    <a:lnTo>
                      <a:pt x="226" y="50"/>
                    </a:lnTo>
                    <a:lnTo>
                      <a:pt x="214" y="50"/>
                    </a:lnTo>
                    <a:lnTo>
                      <a:pt x="192" y="50"/>
                    </a:lnTo>
                    <a:lnTo>
                      <a:pt x="182" y="50"/>
                    </a:lnTo>
                    <a:lnTo>
                      <a:pt x="161" y="50"/>
                    </a:lnTo>
                    <a:lnTo>
                      <a:pt x="139" y="50"/>
                    </a:lnTo>
                    <a:lnTo>
                      <a:pt x="130" y="40"/>
                    </a:lnTo>
                    <a:lnTo>
                      <a:pt x="108" y="40"/>
                    </a:lnTo>
                    <a:lnTo>
                      <a:pt x="85" y="40"/>
                    </a:lnTo>
                    <a:lnTo>
                      <a:pt x="63" y="40"/>
                    </a:lnTo>
                    <a:lnTo>
                      <a:pt x="53" y="30"/>
                    </a:lnTo>
                    <a:lnTo>
                      <a:pt x="53" y="20"/>
                    </a:lnTo>
                    <a:lnTo>
                      <a:pt x="53" y="0"/>
                    </a:lnTo>
                    <a:lnTo>
                      <a:pt x="33" y="0"/>
                    </a:lnTo>
                    <a:lnTo>
                      <a:pt x="43" y="0"/>
                    </a:lnTo>
                    <a:lnTo>
                      <a:pt x="21" y="20"/>
                    </a:lnTo>
                    <a:lnTo>
                      <a:pt x="12" y="30"/>
                    </a:lnTo>
                    <a:lnTo>
                      <a:pt x="0" y="30"/>
                    </a:lnTo>
                    <a:lnTo>
                      <a:pt x="12" y="50"/>
                    </a:lnTo>
                    <a:lnTo>
                      <a:pt x="12" y="68"/>
                    </a:lnTo>
                    <a:lnTo>
                      <a:pt x="21" y="77"/>
                    </a:lnTo>
                    <a:lnTo>
                      <a:pt x="21" y="89"/>
                    </a:lnTo>
                    <a:lnTo>
                      <a:pt x="33" y="89"/>
                    </a:lnTo>
                    <a:lnTo>
                      <a:pt x="43" y="89"/>
                    </a:lnTo>
                    <a:lnTo>
                      <a:pt x="53" y="98"/>
                    </a:lnTo>
                    <a:lnTo>
                      <a:pt x="43" y="107"/>
                    </a:lnTo>
                    <a:lnTo>
                      <a:pt x="43" y="116"/>
                    </a:lnTo>
                    <a:lnTo>
                      <a:pt x="21" y="127"/>
                    </a:lnTo>
                    <a:lnTo>
                      <a:pt x="21" y="136"/>
                    </a:lnTo>
                    <a:lnTo>
                      <a:pt x="21" y="155"/>
                    </a:lnTo>
                    <a:lnTo>
                      <a:pt x="12" y="155"/>
                    </a:lnTo>
                    <a:lnTo>
                      <a:pt x="12" y="175"/>
                    </a:lnTo>
                    <a:lnTo>
                      <a:pt x="12" y="184"/>
                    </a:lnTo>
                    <a:lnTo>
                      <a:pt x="12" y="204"/>
                    </a:lnTo>
                    <a:lnTo>
                      <a:pt x="33" y="214"/>
                    </a:lnTo>
                    <a:lnTo>
                      <a:pt x="43" y="223"/>
                    </a:lnTo>
                    <a:lnTo>
                      <a:pt x="53" y="233"/>
                    </a:lnTo>
                    <a:lnTo>
                      <a:pt x="63" y="242"/>
                    </a:lnTo>
                    <a:lnTo>
                      <a:pt x="75" y="252"/>
                    </a:lnTo>
                    <a:lnTo>
                      <a:pt x="75" y="261"/>
                    </a:lnTo>
                    <a:lnTo>
                      <a:pt x="75" y="272"/>
                    </a:lnTo>
                    <a:lnTo>
                      <a:pt x="63" y="281"/>
                    </a:lnTo>
                    <a:lnTo>
                      <a:pt x="63" y="29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AAA8A488-2077-E98F-4301-406FEDF951AF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5126038" y="3935413"/>
                <a:ext cx="241300" cy="430212"/>
              </a:xfrm>
              <a:custGeom>
                <a:avLst/>
                <a:gdLst>
                  <a:gd name="T0" fmla="*/ 241300 w 202"/>
                  <a:gd name="T1" fmla="*/ 271870 h 432"/>
                  <a:gd name="T2" fmla="*/ 241300 w 202"/>
                  <a:gd name="T3" fmla="*/ 300750 h 432"/>
                  <a:gd name="T4" fmla="*/ 206658 w 202"/>
                  <a:gd name="T5" fmla="*/ 345564 h 432"/>
                  <a:gd name="T6" fmla="*/ 172016 w 202"/>
                  <a:gd name="T7" fmla="*/ 357514 h 432"/>
                  <a:gd name="T8" fmla="*/ 155292 w 202"/>
                  <a:gd name="T9" fmla="*/ 386394 h 432"/>
                  <a:gd name="T10" fmla="*/ 120650 w 202"/>
                  <a:gd name="T11" fmla="*/ 401332 h 432"/>
                  <a:gd name="T12" fmla="*/ 120650 w 202"/>
                  <a:gd name="T13" fmla="*/ 430212 h 432"/>
                  <a:gd name="T14" fmla="*/ 86008 w 202"/>
                  <a:gd name="T15" fmla="*/ 401332 h 432"/>
                  <a:gd name="T16" fmla="*/ 51366 w 202"/>
                  <a:gd name="T17" fmla="*/ 386394 h 432"/>
                  <a:gd name="T18" fmla="*/ 0 w 202"/>
                  <a:gd name="T19" fmla="*/ 372452 h 432"/>
                  <a:gd name="T20" fmla="*/ 16724 w 202"/>
                  <a:gd name="T21" fmla="*/ 345564 h 432"/>
                  <a:gd name="T22" fmla="*/ 0 w 202"/>
                  <a:gd name="T23" fmla="*/ 330626 h 432"/>
                  <a:gd name="T24" fmla="*/ 16724 w 202"/>
                  <a:gd name="T25" fmla="*/ 300750 h 432"/>
                  <a:gd name="T26" fmla="*/ 0 w 202"/>
                  <a:gd name="T27" fmla="*/ 271870 h 432"/>
                  <a:gd name="T28" fmla="*/ 16724 w 202"/>
                  <a:gd name="T29" fmla="*/ 244982 h 432"/>
                  <a:gd name="T30" fmla="*/ 16724 w 202"/>
                  <a:gd name="T31" fmla="*/ 201164 h 432"/>
                  <a:gd name="T32" fmla="*/ 16724 w 202"/>
                  <a:gd name="T33" fmla="*/ 171288 h 432"/>
                  <a:gd name="T34" fmla="*/ 16724 w 202"/>
                  <a:gd name="T35" fmla="*/ 142408 h 432"/>
                  <a:gd name="T36" fmla="*/ 34642 w 202"/>
                  <a:gd name="T37" fmla="*/ 129462 h 432"/>
                  <a:gd name="T38" fmla="*/ 16724 w 202"/>
                  <a:gd name="T39" fmla="*/ 100582 h 432"/>
                  <a:gd name="T40" fmla="*/ 16724 w 202"/>
                  <a:gd name="T41" fmla="*/ 57760 h 432"/>
                  <a:gd name="T42" fmla="*/ 16724 w 202"/>
                  <a:gd name="T43" fmla="*/ 28880 h 432"/>
                  <a:gd name="T44" fmla="*/ 51366 w 202"/>
                  <a:gd name="T45" fmla="*/ 14938 h 432"/>
                  <a:gd name="T46" fmla="*/ 101537 w 202"/>
                  <a:gd name="T47" fmla="*/ 14938 h 432"/>
                  <a:gd name="T48" fmla="*/ 155292 w 202"/>
                  <a:gd name="T49" fmla="*/ 28880 h 432"/>
                  <a:gd name="T50" fmla="*/ 172016 w 202"/>
                  <a:gd name="T51" fmla="*/ 73694 h 432"/>
                  <a:gd name="T52" fmla="*/ 155292 w 202"/>
                  <a:gd name="T53" fmla="*/ 100582 h 432"/>
                  <a:gd name="T54" fmla="*/ 155292 w 202"/>
                  <a:gd name="T55" fmla="*/ 142408 h 432"/>
                  <a:gd name="T56" fmla="*/ 172016 w 202"/>
                  <a:gd name="T57" fmla="*/ 171288 h 432"/>
                  <a:gd name="T58" fmla="*/ 187545 w 202"/>
                  <a:gd name="T59" fmla="*/ 201164 h 432"/>
                  <a:gd name="T60" fmla="*/ 206658 w 202"/>
                  <a:gd name="T61" fmla="*/ 244982 h 432"/>
                  <a:gd name="T62" fmla="*/ 222187 w 202"/>
                  <a:gd name="T63" fmla="*/ 258924 h 43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2"/>
                  <a:gd name="T97" fmla="*/ 0 h 432"/>
                  <a:gd name="T98" fmla="*/ 202 w 202"/>
                  <a:gd name="T99" fmla="*/ 432 h 43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2" h="432">
                    <a:moveTo>
                      <a:pt x="186" y="260"/>
                    </a:moveTo>
                    <a:lnTo>
                      <a:pt x="202" y="273"/>
                    </a:lnTo>
                    <a:lnTo>
                      <a:pt x="202" y="289"/>
                    </a:lnTo>
                    <a:lnTo>
                      <a:pt x="202" y="302"/>
                    </a:lnTo>
                    <a:lnTo>
                      <a:pt x="186" y="318"/>
                    </a:lnTo>
                    <a:lnTo>
                      <a:pt x="173" y="347"/>
                    </a:lnTo>
                    <a:lnTo>
                      <a:pt x="157" y="359"/>
                    </a:lnTo>
                    <a:lnTo>
                      <a:pt x="144" y="359"/>
                    </a:lnTo>
                    <a:lnTo>
                      <a:pt x="157" y="374"/>
                    </a:lnTo>
                    <a:lnTo>
                      <a:pt x="130" y="388"/>
                    </a:lnTo>
                    <a:lnTo>
                      <a:pt x="115" y="388"/>
                    </a:lnTo>
                    <a:lnTo>
                      <a:pt x="101" y="403"/>
                    </a:lnTo>
                    <a:lnTo>
                      <a:pt x="101" y="417"/>
                    </a:lnTo>
                    <a:lnTo>
                      <a:pt x="101" y="432"/>
                    </a:lnTo>
                    <a:lnTo>
                      <a:pt x="85" y="432"/>
                    </a:lnTo>
                    <a:lnTo>
                      <a:pt x="72" y="403"/>
                    </a:lnTo>
                    <a:lnTo>
                      <a:pt x="72" y="388"/>
                    </a:lnTo>
                    <a:lnTo>
                      <a:pt x="43" y="388"/>
                    </a:lnTo>
                    <a:lnTo>
                      <a:pt x="29" y="374"/>
                    </a:lnTo>
                    <a:lnTo>
                      <a:pt x="0" y="374"/>
                    </a:lnTo>
                    <a:lnTo>
                      <a:pt x="0" y="347"/>
                    </a:lnTo>
                    <a:lnTo>
                      <a:pt x="14" y="347"/>
                    </a:lnTo>
                    <a:lnTo>
                      <a:pt x="14" y="332"/>
                    </a:lnTo>
                    <a:lnTo>
                      <a:pt x="0" y="332"/>
                    </a:lnTo>
                    <a:lnTo>
                      <a:pt x="0" y="318"/>
                    </a:lnTo>
                    <a:lnTo>
                      <a:pt x="14" y="302"/>
                    </a:lnTo>
                    <a:lnTo>
                      <a:pt x="0" y="289"/>
                    </a:lnTo>
                    <a:lnTo>
                      <a:pt x="0" y="273"/>
                    </a:lnTo>
                    <a:lnTo>
                      <a:pt x="0" y="260"/>
                    </a:lnTo>
                    <a:lnTo>
                      <a:pt x="14" y="246"/>
                    </a:lnTo>
                    <a:lnTo>
                      <a:pt x="14" y="215"/>
                    </a:lnTo>
                    <a:lnTo>
                      <a:pt x="14" y="202"/>
                    </a:lnTo>
                    <a:lnTo>
                      <a:pt x="14" y="188"/>
                    </a:lnTo>
                    <a:lnTo>
                      <a:pt x="14" y="172"/>
                    </a:lnTo>
                    <a:lnTo>
                      <a:pt x="14" y="159"/>
                    </a:lnTo>
                    <a:lnTo>
                      <a:pt x="14" y="143"/>
                    </a:lnTo>
                    <a:lnTo>
                      <a:pt x="29" y="143"/>
                    </a:lnTo>
                    <a:lnTo>
                      <a:pt x="29" y="130"/>
                    </a:lnTo>
                    <a:lnTo>
                      <a:pt x="29" y="116"/>
                    </a:lnTo>
                    <a:lnTo>
                      <a:pt x="14" y="101"/>
                    </a:lnTo>
                    <a:lnTo>
                      <a:pt x="14" y="74"/>
                    </a:lnTo>
                    <a:lnTo>
                      <a:pt x="14" y="58"/>
                    </a:lnTo>
                    <a:lnTo>
                      <a:pt x="14" y="45"/>
                    </a:lnTo>
                    <a:lnTo>
                      <a:pt x="14" y="29"/>
                    </a:lnTo>
                    <a:lnTo>
                      <a:pt x="29" y="15"/>
                    </a:lnTo>
                    <a:lnTo>
                      <a:pt x="43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101" y="29"/>
                    </a:lnTo>
                    <a:lnTo>
                      <a:pt x="130" y="29"/>
                    </a:lnTo>
                    <a:lnTo>
                      <a:pt x="130" y="45"/>
                    </a:lnTo>
                    <a:lnTo>
                      <a:pt x="144" y="74"/>
                    </a:lnTo>
                    <a:lnTo>
                      <a:pt x="144" y="87"/>
                    </a:lnTo>
                    <a:lnTo>
                      <a:pt x="130" y="101"/>
                    </a:lnTo>
                    <a:lnTo>
                      <a:pt x="130" y="116"/>
                    </a:lnTo>
                    <a:lnTo>
                      <a:pt x="130" y="143"/>
                    </a:lnTo>
                    <a:lnTo>
                      <a:pt x="144" y="159"/>
                    </a:lnTo>
                    <a:lnTo>
                      <a:pt x="144" y="172"/>
                    </a:lnTo>
                    <a:lnTo>
                      <a:pt x="144" y="202"/>
                    </a:lnTo>
                    <a:lnTo>
                      <a:pt x="157" y="202"/>
                    </a:lnTo>
                    <a:lnTo>
                      <a:pt x="157" y="231"/>
                    </a:lnTo>
                    <a:lnTo>
                      <a:pt x="173" y="246"/>
                    </a:lnTo>
                    <a:lnTo>
                      <a:pt x="186" y="260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80CCFE4A-D15A-50E6-E782-EEC3F8C5D217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329113" y="3268663"/>
                <a:ext cx="439737" cy="228600"/>
              </a:xfrm>
              <a:custGeom>
                <a:avLst/>
                <a:gdLst>
                  <a:gd name="T0" fmla="*/ 294769 w 273"/>
                  <a:gd name="T1" fmla="*/ 141019 h 154"/>
                  <a:gd name="T2" fmla="*/ 281883 w 273"/>
                  <a:gd name="T3" fmla="*/ 169223 h 154"/>
                  <a:gd name="T4" fmla="*/ 256111 w 273"/>
                  <a:gd name="T5" fmla="*/ 170708 h 154"/>
                  <a:gd name="T6" fmla="*/ 251278 w 273"/>
                  <a:gd name="T7" fmla="*/ 200396 h 154"/>
                  <a:gd name="T8" fmla="*/ 238392 w 273"/>
                  <a:gd name="T9" fmla="*/ 228600 h 154"/>
                  <a:gd name="T10" fmla="*/ 212620 w 273"/>
                  <a:gd name="T11" fmla="*/ 227116 h 154"/>
                  <a:gd name="T12" fmla="*/ 185237 w 273"/>
                  <a:gd name="T13" fmla="*/ 219694 h 154"/>
                  <a:gd name="T14" fmla="*/ 170740 w 273"/>
                  <a:gd name="T15" fmla="*/ 201881 h 154"/>
                  <a:gd name="T16" fmla="*/ 143357 w 273"/>
                  <a:gd name="T17" fmla="*/ 200396 h 154"/>
                  <a:gd name="T18" fmla="*/ 117585 w 273"/>
                  <a:gd name="T19" fmla="*/ 200396 h 154"/>
                  <a:gd name="T20" fmla="*/ 120807 w 273"/>
                  <a:gd name="T21" fmla="*/ 207818 h 154"/>
                  <a:gd name="T22" fmla="*/ 95035 w 273"/>
                  <a:gd name="T23" fmla="*/ 212271 h 154"/>
                  <a:gd name="T24" fmla="*/ 72484 w 273"/>
                  <a:gd name="T25" fmla="*/ 218209 h 154"/>
                  <a:gd name="T26" fmla="*/ 45101 w 273"/>
                  <a:gd name="T27" fmla="*/ 209303 h 154"/>
                  <a:gd name="T28" fmla="*/ 0 w 273"/>
                  <a:gd name="T29" fmla="*/ 178130 h 154"/>
                  <a:gd name="T30" fmla="*/ 0 w 273"/>
                  <a:gd name="T31" fmla="*/ 155864 h 154"/>
                  <a:gd name="T32" fmla="*/ 19329 w 273"/>
                  <a:gd name="T33" fmla="*/ 152895 h 154"/>
                  <a:gd name="T34" fmla="*/ 40269 w 273"/>
                  <a:gd name="T35" fmla="*/ 141019 h 154"/>
                  <a:gd name="T36" fmla="*/ 1611 w 273"/>
                  <a:gd name="T37" fmla="*/ 108362 h 154"/>
                  <a:gd name="T38" fmla="*/ 25772 w 273"/>
                  <a:gd name="T39" fmla="*/ 103909 h 154"/>
                  <a:gd name="T40" fmla="*/ 40269 w 273"/>
                  <a:gd name="T41" fmla="*/ 87581 h 154"/>
                  <a:gd name="T42" fmla="*/ 20940 w 273"/>
                  <a:gd name="T43" fmla="*/ 69768 h 154"/>
                  <a:gd name="T44" fmla="*/ 11275 w 273"/>
                  <a:gd name="T45" fmla="*/ 40079 h 154"/>
                  <a:gd name="T46" fmla="*/ 114364 w 273"/>
                  <a:gd name="T47" fmla="*/ 51955 h 154"/>
                  <a:gd name="T48" fmla="*/ 127250 w 273"/>
                  <a:gd name="T49" fmla="*/ 47501 h 154"/>
                  <a:gd name="T50" fmla="*/ 149800 w 273"/>
                  <a:gd name="T51" fmla="*/ 34142 h 154"/>
                  <a:gd name="T52" fmla="*/ 177183 w 273"/>
                  <a:gd name="T53" fmla="*/ 37110 h 154"/>
                  <a:gd name="T54" fmla="*/ 173962 w 273"/>
                  <a:gd name="T55" fmla="*/ 28204 h 154"/>
                  <a:gd name="T56" fmla="*/ 199734 w 273"/>
                  <a:gd name="T57" fmla="*/ 20782 h 154"/>
                  <a:gd name="T58" fmla="*/ 209399 w 273"/>
                  <a:gd name="T59" fmla="*/ 19297 h 154"/>
                  <a:gd name="T60" fmla="*/ 220674 w 273"/>
                  <a:gd name="T61" fmla="*/ 16329 h 154"/>
                  <a:gd name="T62" fmla="*/ 236781 w 273"/>
                  <a:gd name="T63" fmla="*/ 11875 h 154"/>
                  <a:gd name="T64" fmla="*/ 251278 w 273"/>
                  <a:gd name="T65" fmla="*/ 19297 h 154"/>
                  <a:gd name="T66" fmla="*/ 260943 w 273"/>
                  <a:gd name="T67" fmla="*/ 16329 h 154"/>
                  <a:gd name="T68" fmla="*/ 285104 w 273"/>
                  <a:gd name="T69" fmla="*/ 10391 h 154"/>
                  <a:gd name="T70" fmla="*/ 299601 w 273"/>
                  <a:gd name="T71" fmla="*/ 5938 h 154"/>
                  <a:gd name="T72" fmla="*/ 310876 w 273"/>
                  <a:gd name="T73" fmla="*/ 4453 h 154"/>
                  <a:gd name="T74" fmla="*/ 325373 w 273"/>
                  <a:gd name="T75" fmla="*/ 0 h 154"/>
                  <a:gd name="T76" fmla="*/ 326984 w 273"/>
                  <a:gd name="T77" fmla="*/ 5938 h 154"/>
                  <a:gd name="T78" fmla="*/ 328595 w 273"/>
                  <a:gd name="T79" fmla="*/ 14844 h 154"/>
                  <a:gd name="T80" fmla="*/ 339870 w 273"/>
                  <a:gd name="T81" fmla="*/ 11875 h 154"/>
                  <a:gd name="T82" fmla="*/ 352756 w 273"/>
                  <a:gd name="T83" fmla="*/ 10391 h 154"/>
                  <a:gd name="T84" fmla="*/ 364031 w 273"/>
                  <a:gd name="T85" fmla="*/ 5938 h 154"/>
                  <a:gd name="T86" fmla="*/ 380139 w 273"/>
                  <a:gd name="T87" fmla="*/ 11875 h 154"/>
                  <a:gd name="T88" fmla="*/ 397857 w 273"/>
                  <a:gd name="T89" fmla="*/ 17813 h 154"/>
                  <a:gd name="T90" fmla="*/ 415576 w 273"/>
                  <a:gd name="T91" fmla="*/ 41564 h 154"/>
                  <a:gd name="T92" fmla="*/ 439737 w 273"/>
                  <a:gd name="T93" fmla="*/ 53439 h 154"/>
                  <a:gd name="T94" fmla="*/ 388193 w 273"/>
                  <a:gd name="T95" fmla="*/ 68283 h 154"/>
                  <a:gd name="T96" fmla="*/ 367253 w 273"/>
                  <a:gd name="T97" fmla="*/ 86096 h 154"/>
                  <a:gd name="T98" fmla="*/ 352756 w 273"/>
                  <a:gd name="T99" fmla="*/ 96487 h 154"/>
                  <a:gd name="T100" fmla="*/ 349534 w 273"/>
                  <a:gd name="T101" fmla="*/ 95003 h 154"/>
                  <a:gd name="T102" fmla="*/ 325373 w 273"/>
                  <a:gd name="T103" fmla="*/ 93518 h 154"/>
                  <a:gd name="T104" fmla="*/ 312487 w 273"/>
                  <a:gd name="T105" fmla="*/ 105394 h 154"/>
                  <a:gd name="T106" fmla="*/ 330205 w 273"/>
                  <a:gd name="T107" fmla="*/ 115784 h 154"/>
                  <a:gd name="T108" fmla="*/ 291547 w 273"/>
                  <a:gd name="T109" fmla="*/ 117269 h 154"/>
                  <a:gd name="T110" fmla="*/ 294769 w 273"/>
                  <a:gd name="T111" fmla="*/ 141019 h 15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73"/>
                  <a:gd name="T169" fmla="*/ 0 h 154"/>
                  <a:gd name="T170" fmla="*/ 273 w 273"/>
                  <a:gd name="T171" fmla="*/ 154 h 15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73" h="154">
                    <a:moveTo>
                      <a:pt x="183" y="95"/>
                    </a:moveTo>
                    <a:lnTo>
                      <a:pt x="175" y="114"/>
                    </a:lnTo>
                    <a:lnTo>
                      <a:pt x="159" y="115"/>
                    </a:lnTo>
                    <a:lnTo>
                      <a:pt x="156" y="135"/>
                    </a:lnTo>
                    <a:lnTo>
                      <a:pt x="148" y="154"/>
                    </a:lnTo>
                    <a:lnTo>
                      <a:pt x="132" y="153"/>
                    </a:lnTo>
                    <a:lnTo>
                      <a:pt x="115" y="148"/>
                    </a:lnTo>
                    <a:lnTo>
                      <a:pt x="106" y="136"/>
                    </a:lnTo>
                    <a:lnTo>
                      <a:pt x="89" y="135"/>
                    </a:lnTo>
                    <a:lnTo>
                      <a:pt x="73" y="135"/>
                    </a:lnTo>
                    <a:lnTo>
                      <a:pt x="75" y="140"/>
                    </a:lnTo>
                    <a:lnTo>
                      <a:pt x="59" y="143"/>
                    </a:lnTo>
                    <a:lnTo>
                      <a:pt x="45" y="147"/>
                    </a:lnTo>
                    <a:lnTo>
                      <a:pt x="28" y="141"/>
                    </a:lnTo>
                    <a:lnTo>
                      <a:pt x="0" y="120"/>
                    </a:lnTo>
                    <a:lnTo>
                      <a:pt x="0" y="105"/>
                    </a:lnTo>
                    <a:lnTo>
                      <a:pt x="12" y="103"/>
                    </a:lnTo>
                    <a:lnTo>
                      <a:pt x="25" y="95"/>
                    </a:lnTo>
                    <a:lnTo>
                      <a:pt x="1" y="73"/>
                    </a:lnTo>
                    <a:lnTo>
                      <a:pt x="16" y="70"/>
                    </a:lnTo>
                    <a:lnTo>
                      <a:pt x="25" y="59"/>
                    </a:lnTo>
                    <a:lnTo>
                      <a:pt x="13" y="47"/>
                    </a:lnTo>
                    <a:lnTo>
                      <a:pt x="7" y="27"/>
                    </a:lnTo>
                    <a:lnTo>
                      <a:pt x="71" y="35"/>
                    </a:lnTo>
                    <a:lnTo>
                      <a:pt x="79" y="32"/>
                    </a:lnTo>
                    <a:lnTo>
                      <a:pt x="93" y="23"/>
                    </a:lnTo>
                    <a:lnTo>
                      <a:pt x="110" y="25"/>
                    </a:lnTo>
                    <a:lnTo>
                      <a:pt x="108" y="19"/>
                    </a:lnTo>
                    <a:lnTo>
                      <a:pt x="124" y="14"/>
                    </a:lnTo>
                    <a:lnTo>
                      <a:pt x="130" y="13"/>
                    </a:lnTo>
                    <a:lnTo>
                      <a:pt x="137" y="11"/>
                    </a:lnTo>
                    <a:lnTo>
                      <a:pt x="147" y="8"/>
                    </a:lnTo>
                    <a:lnTo>
                      <a:pt x="156" y="13"/>
                    </a:lnTo>
                    <a:lnTo>
                      <a:pt x="162" y="11"/>
                    </a:lnTo>
                    <a:lnTo>
                      <a:pt x="177" y="7"/>
                    </a:lnTo>
                    <a:lnTo>
                      <a:pt x="186" y="4"/>
                    </a:lnTo>
                    <a:lnTo>
                      <a:pt x="193" y="3"/>
                    </a:lnTo>
                    <a:lnTo>
                      <a:pt x="202" y="0"/>
                    </a:lnTo>
                    <a:lnTo>
                      <a:pt x="203" y="4"/>
                    </a:lnTo>
                    <a:lnTo>
                      <a:pt x="204" y="10"/>
                    </a:lnTo>
                    <a:lnTo>
                      <a:pt x="211" y="8"/>
                    </a:lnTo>
                    <a:lnTo>
                      <a:pt x="219" y="7"/>
                    </a:lnTo>
                    <a:lnTo>
                      <a:pt x="226" y="4"/>
                    </a:lnTo>
                    <a:lnTo>
                      <a:pt x="236" y="8"/>
                    </a:lnTo>
                    <a:lnTo>
                      <a:pt x="247" y="12"/>
                    </a:lnTo>
                    <a:lnTo>
                      <a:pt x="258" y="28"/>
                    </a:lnTo>
                    <a:lnTo>
                      <a:pt x="273" y="36"/>
                    </a:lnTo>
                    <a:lnTo>
                      <a:pt x="241" y="46"/>
                    </a:lnTo>
                    <a:lnTo>
                      <a:pt x="228" y="58"/>
                    </a:lnTo>
                    <a:lnTo>
                      <a:pt x="219" y="65"/>
                    </a:lnTo>
                    <a:lnTo>
                      <a:pt x="217" y="64"/>
                    </a:lnTo>
                    <a:lnTo>
                      <a:pt x="202" y="63"/>
                    </a:lnTo>
                    <a:lnTo>
                      <a:pt x="194" y="71"/>
                    </a:lnTo>
                    <a:lnTo>
                      <a:pt x="205" y="78"/>
                    </a:lnTo>
                    <a:lnTo>
                      <a:pt x="181" y="79"/>
                    </a:lnTo>
                    <a:lnTo>
                      <a:pt x="183" y="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8F6193F8-89F7-27ED-6E5C-F8726E601674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267325" y="3970338"/>
                <a:ext cx="395288" cy="247650"/>
              </a:xfrm>
              <a:custGeom>
                <a:avLst/>
                <a:gdLst>
                  <a:gd name="T0" fmla="*/ 123728 w 246"/>
                  <a:gd name="T1" fmla="*/ 39801 h 168"/>
                  <a:gd name="T2" fmla="*/ 144618 w 246"/>
                  <a:gd name="T3" fmla="*/ 35379 h 168"/>
                  <a:gd name="T4" fmla="*/ 168720 w 246"/>
                  <a:gd name="T5" fmla="*/ 30956 h 168"/>
                  <a:gd name="T6" fmla="*/ 197644 w 246"/>
                  <a:gd name="T7" fmla="*/ 33904 h 168"/>
                  <a:gd name="T8" fmla="*/ 224961 w 246"/>
                  <a:gd name="T9" fmla="*/ 30956 h 168"/>
                  <a:gd name="T10" fmla="*/ 250670 w 246"/>
                  <a:gd name="T11" fmla="*/ 22112 h 168"/>
                  <a:gd name="T12" fmla="*/ 263525 w 246"/>
                  <a:gd name="T13" fmla="*/ 0 h 168"/>
                  <a:gd name="T14" fmla="*/ 311731 w 246"/>
                  <a:gd name="T15" fmla="*/ 20637 h 168"/>
                  <a:gd name="T16" fmla="*/ 361544 w 246"/>
                  <a:gd name="T17" fmla="*/ 66335 h 168"/>
                  <a:gd name="T18" fmla="*/ 364758 w 246"/>
                  <a:gd name="T19" fmla="*/ 97291 h 168"/>
                  <a:gd name="T20" fmla="*/ 345475 w 246"/>
                  <a:gd name="T21" fmla="*/ 117929 h 168"/>
                  <a:gd name="T22" fmla="*/ 395288 w 246"/>
                  <a:gd name="T23" fmla="*/ 123825 h 168"/>
                  <a:gd name="T24" fmla="*/ 347082 w 246"/>
                  <a:gd name="T25" fmla="*/ 141514 h 168"/>
                  <a:gd name="T26" fmla="*/ 318159 w 246"/>
                  <a:gd name="T27" fmla="*/ 170996 h 168"/>
                  <a:gd name="T28" fmla="*/ 308517 w 246"/>
                  <a:gd name="T29" fmla="*/ 190160 h 168"/>
                  <a:gd name="T30" fmla="*/ 297269 w 246"/>
                  <a:gd name="T31" fmla="*/ 190160 h 168"/>
                  <a:gd name="T32" fmla="*/ 297269 w 246"/>
                  <a:gd name="T33" fmla="*/ 184263 h 168"/>
                  <a:gd name="T34" fmla="*/ 287628 w 246"/>
                  <a:gd name="T35" fmla="*/ 175419 h 168"/>
                  <a:gd name="T36" fmla="*/ 274773 w 246"/>
                  <a:gd name="T37" fmla="*/ 175419 h 168"/>
                  <a:gd name="T38" fmla="*/ 261919 w 246"/>
                  <a:gd name="T39" fmla="*/ 184263 h 168"/>
                  <a:gd name="T40" fmla="*/ 274773 w 246"/>
                  <a:gd name="T41" fmla="*/ 199004 h 168"/>
                  <a:gd name="T42" fmla="*/ 239422 w 246"/>
                  <a:gd name="T43" fmla="*/ 215220 h 168"/>
                  <a:gd name="T44" fmla="*/ 229781 w 246"/>
                  <a:gd name="T45" fmla="*/ 206375 h 168"/>
                  <a:gd name="T46" fmla="*/ 220140 w 246"/>
                  <a:gd name="T47" fmla="*/ 215220 h 168"/>
                  <a:gd name="T48" fmla="*/ 205678 w 246"/>
                  <a:gd name="T49" fmla="*/ 215220 h 168"/>
                  <a:gd name="T50" fmla="*/ 205678 w 246"/>
                  <a:gd name="T51" fmla="*/ 206375 h 168"/>
                  <a:gd name="T52" fmla="*/ 186396 w 246"/>
                  <a:gd name="T53" fmla="*/ 215220 h 168"/>
                  <a:gd name="T54" fmla="*/ 173541 w 246"/>
                  <a:gd name="T55" fmla="*/ 215220 h 168"/>
                  <a:gd name="T56" fmla="*/ 173541 w 246"/>
                  <a:gd name="T57" fmla="*/ 222590 h 168"/>
                  <a:gd name="T58" fmla="*/ 162293 w 246"/>
                  <a:gd name="T59" fmla="*/ 231435 h 168"/>
                  <a:gd name="T60" fmla="*/ 149438 w 246"/>
                  <a:gd name="T61" fmla="*/ 231435 h 168"/>
                  <a:gd name="T62" fmla="*/ 128549 w 246"/>
                  <a:gd name="T63" fmla="*/ 231435 h 168"/>
                  <a:gd name="T64" fmla="*/ 117301 w 246"/>
                  <a:gd name="T65" fmla="*/ 247650 h 168"/>
                  <a:gd name="T66" fmla="*/ 94805 w 246"/>
                  <a:gd name="T67" fmla="*/ 238805 h 168"/>
                  <a:gd name="T68" fmla="*/ 70702 w 246"/>
                  <a:gd name="T69" fmla="*/ 231435 h 168"/>
                  <a:gd name="T70" fmla="*/ 70702 w 246"/>
                  <a:gd name="T71" fmla="*/ 238805 h 168"/>
                  <a:gd name="T72" fmla="*/ 49813 w 246"/>
                  <a:gd name="T73" fmla="*/ 238805 h 168"/>
                  <a:gd name="T74" fmla="*/ 49813 w 246"/>
                  <a:gd name="T75" fmla="*/ 222590 h 168"/>
                  <a:gd name="T76" fmla="*/ 61061 w 246"/>
                  <a:gd name="T77" fmla="*/ 215220 h 168"/>
                  <a:gd name="T78" fmla="*/ 61061 w 246"/>
                  <a:gd name="T79" fmla="*/ 206375 h 168"/>
                  <a:gd name="T80" fmla="*/ 49813 w 246"/>
                  <a:gd name="T81" fmla="*/ 199004 h 168"/>
                  <a:gd name="T82" fmla="*/ 36958 w 246"/>
                  <a:gd name="T83" fmla="*/ 206375 h 168"/>
                  <a:gd name="T84" fmla="*/ 27317 w 246"/>
                  <a:gd name="T85" fmla="*/ 215220 h 168"/>
                  <a:gd name="T86" fmla="*/ 27317 w 246"/>
                  <a:gd name="T87" fmla="*/ 190160 h 168"/>
                  <a:gd name="T88" fmla="*/ 49813 w 246"/>
                  <a:gd name="T89" fmla="*/ 184263 h 168"/>
                  <a:gd name="T90" fmla="*/ 17675 w 246"/>
                  <a:gd name="T91" fmla="*/ 159204 h 168"/>
                  <a:gd name="T92" fmla="*/ 24103 w 246"/>
                  <a:gd name="T93" fmla="*/ 128247 h 168"/>
                  <a:gd name="T94" fmla="*/ 0 w 246"/>
                  <a:gd name="T95" fmla="*/ 100239 h 168"/>
                  <a:gd name="T96" fmla="*/ 3214 w 246"/>
                  <a:gd name="T97" fmla="*/ 66335 h 168"/>
                  <a:gd name="T98" fmla="*/ 43385 w 246"/>
                  <a:gd name="T99" fmla="*/ 60438 h 168"/>
                  <a:gd name="T100" fmla="*/ 62668 w 246"/>
                  <a:gd name="T101" fmla="*/ 47171 h 168"/>
                  <a:gd name="T102" fmla="*/ 85164 w 246"/>
                  <a:gd name="T103" fmla="*/ 42749 h 168"/>
                  <a:gd name="T104" fmla="*/ 120515 w 246"/>
                  <a:gd name="T105" fmla="*/ 39801 h 16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168"/>
                  <a:gd name="T161" fmla="*/ 246 w 246"/>
                  <a:gd name="T162" fmla="*/ 168 h 168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168">
                    <a:moveTo>
                      <a:pt x="77" y="27"/>
                    </a:moveTo>
                    <a:lnTo>
                      <a:pt x="90" y="24"/>
                    </a:lnTo>
                    <a:lnTo>
                      <a:pt x="105" y="21"/>
                    </a:lnTo>
                    <a:lnTo>
                      <a:pt x="123" y="23"/>
                    </a:lnTo>
                    <a:lnTo>
                      <a:pt x="140" y="21"/>
                    </a:lnTo>
                    <a:lnTo>
                      <a:pt x="156" y="15"/>
                    </a:lnTo>
                    <a:lnTo>
                      <a:pt x="164" y="0"/>
                    </a:lnTo>
                    <a:lnTo>
                      <a:pt x="194" y="14"/>
                    </a:lnTo>
                    <a:lnTo>
                      <a:pt x="225" y="45"/>
                    </a:lnTo>
                    <a:lnTo>
                      <a:pt x="227" y="66"/>
                    </a:lnTo>
                    <a:lnTo>
                      <a:pt x="215" y="80"/>
                    </a:lnTo>
                    <a:lnTo>
                      <a:pt x="246" y="84"/>
                    </a:lnTo>
                    <a:lnTo>
                      <a:pt x="216" y="96"/>
                    </a:lnTo>
                    <a:lnTo>
                      <a:pt x="198" y="116"/>
                    </a:lnTo>
                    <a:lnTo>
                      <a:pt x="192" y="129"/>
                    </a:lnTo>
                    <a:lnTo>
                      <a:pt x="185" y="129"/>
                    </a:lnTo>
                    <a:lnTo>
                      <a:pt x="185" y="125"/>
                    </a:lnTo>
                    <a:lnTo>
                      <a:pt x="179" y="119"/>
                    </a:lnTo>
                    <a:lnTo>
                      <a:pt x="171" y="119"/>
                    </a:lnTo>
                    <a:lnTo>
                      <a:pt x="163" y="125"/>
                    </a:lnTo>
                    <a:lnTo>
                      <a:pt x="171" y="135"/>
                    </a:lnTo>
                    <a:lnTo>
                      <a:pt x="149" y="146"/>
                    </a:lnTo>
                    <a:lnTo>
                      <a:pt x="143" y="140"/>
                    </a:lnTo>
                    <a:lnTo>
                      <a:pt x="137" y="146"/>
                    </a:lnTo>
                    <a:lnTo>
                      <a:pt x="128" y="146"/>
                    </a:lnTo>
                    <a:lnTo>
                      <a:pt x="128" y="140"/>
                    </a:lnTo>
                    <a:lnTo>
                      <a:pt x="116" y="146"/>
                    </a:lnTo>
                    <a:lnTo>
                      <a:pt x="108" y="146"/>
                    </a:lnTo>
                    <a:lnTo>
                      <a:pt x="108" y="151"/>
                    </a:lnTo>
                    <a:lnTo>
                      <a:pt x="101" y="157"/>
                    </a:lnTo>
                    <a:lnTo>
                      <a:pt x="93" y="157"/>
                    </a:lnTo>
                    <a:lnTo>
                      <a:pt x="80" y="157"/>
                    </a:lnTo>
                    <a:lnTo>
                      <a:pt x="73" y="168"/>
                    </a:lnTo>
                    <a:lnTo>
                      <a:pt x="59" y="162"/>
                    </a:lnTo>
                    <a:lnTo>
                      <a:pt x="44" y="157"/>
                    </a:lnTo>
                    <a:lnTo>
                      <a:pt x="44" y="162"/>
                    </a:lnTo>
                    <a:lnTo>
                      <a:pt x="31" y="162"/>
                    </a:lnTo>
                    <a:lnTo>
                      <a:pt x="31" y="151"/>
                    </a:lnTo>
                    <a:lnTo>
                      <a:pt x="38" y="146"/>
                    </a:lnTo>
                    <a:lnTo>
                      <a:pt x="38" y="140"/>
                    </a:lnTo>
                    <a:lnTo>
                      <a:pt x="31" y="135"/>
                    </a:lnTo>
                    <a:lnTo>
                      <a:pt x="23" y="140"/>
                    </a:lnTo>
                    <a:lnTo>
                      <a:pt x="17" y="146"/>
                    </a:lnTo>
                    <a:lnTo>
                      <a:pt x="17" y="129"/>
                    </a:lnTo>
                    <a:lnTo>
                      <a:pt x="31" y="125"/>
                    </a:lnTo>
                    <a:lnTo>
                      <a:pt x="11" y="108"/>
                    </a:lnTo>
                    <a:lnTo>
                      <a:pt x="15" y="87"/>
                    </a:lnTo>
                    <a:lnTo>
                      <a:pt x="0" y="68"/>
                    </a:lnTo>
                    <a:lnTo>
                      <a:pt x="2" y="45"/>
                    </a:lnTo>
                    <a:lnTo>
                      <a:pt x="27" y="41"/>
                    </a:lnTo>
                    <a:lnTo>
                      <a:pt x="39" y="32"/>
                    </a:lnTo>
                    <a:lnTo>
                      <a:pt x="53" y="29"/>
                    </a:lnTo>
                    <a:lnTo>
                      <a:pt x="75" y="27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0C24D5B8-4E77-BE5C-8AE9-B2D4285BD29F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7409699C-859D-61C1-1282-45C1830CF91D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211638" y="2611438"/>
                <a:ext cx="819150" cy="404812"/>
              </a:xfrm>
              <a:custGeom>
                <a:avLst/>
                <a:gdLst>
                  <a:gd name="T0" fmla="*/ 780526 w 509"/>
                  <a:gd name="T1" fmla="*/ 197216 h 273"/>
                  <a:gd name="T2" fmla="*/ 724199 w 509"/>
                  <a:gd name="T3" fmla="*/ 174974 h 273"/>
                  <a:gd name="T4" fmla="*/ 669482 w 509"/>
                  <a:gd name="T5" fmla="*/ 134937 h 273"/>
                  <a:gd name="T6" fmla="*/ 619593 w 509"/>
                  <a:gd name="T7" fmla="*/ 131972 h 273"/>
                  <a:gd name="T8" fmla="*/ 585797 w 509"/>
                  <a:gd name="T9" fmla="*/ 155697 h 273"/>
                  <a:gd name="T10" fmla="*/ 552001 w 509"/>
                  <a:gd name="T11" fmla="*/ 131972 h 273"/>
                  <a:gd name="T12" fmla="*/ 534298 w 509"/>
                  <a:gd name="T13" fmla="*/ 118626 h 273"/>
                  <a:gd name="T14" fmla="*/ 534298 w 509"/>
                  <a:gd name="T15" fmla="*/ 90452 h 273"/>
                  <a:gd name="T16" fmla="*/ 466706 w 509"/>
                  <a:gd name="T17" fmla="*/ 75624 h 273"/>
                  <a:gd name="T18" fmla="*/ 431301 w 509"/>
                  <a:gd name="T19" fmla="*/ 60796 h 273"/>
                  <a:gd name="T20" fmla="*/ 411989 w 509"/>
                  <a:gd name="T21" fmla="*/ 47450 h 273"/>
                  <a:gd name="T22" fmla="*/ 411989 w 509"/>
                  <a:gd name="T23" fmla="*/ 4448 h 273"/>
                  <a:gd name="T24" fmla="*/ 362100 w 509"/>
                  <a:gd name="T25" fmla="*/ 4448 h 273"/>
                  <a:gd name="T26" fmla="*/ 346006 w 509"/>
                  <a:gd name="T27" fmla="*/ 32622 h 273"/>
                  <a:gd name="T28" fmla="*/ 320257 w 509"/>
                  <a:gd name="T29" fmla="*/ 0 h 273"/>
                  <a:gd name="T30" fmla="*/ 257493 w 509"/>
                  <a:gd name="T31" fmla="*/ 32622 h 273"/>
                  <a:gd name="T32" fmla="*/ 188292 w 509"/>
                  <a:gd name="T33" fmla="*/ 75624 h 273"/>
                  <a:gd name="T34" fmla="*/ 152887 w 509"/>
                  <a:gd name="T35" fmla="*/ 90452 h 273"/>
                  <a:gd name="T36" fmla="*/ 101388 w 509"/>
                  <a:gd name="T37" fmla="*/ 103798 h 273"/>
                  <a:gd name="T38" fmla="*/ 54717 w 509"/>
                  <a:gd name="T39" fmla="*/ 81556 h 273"/>
                  <a:gd name="T40" fmla="*/ 0 w 509"/>
                  <a:gd name="T41" fmla="*/ 75624 h 273"/>
                  <a:gd name="T42" fmla="*/ 16093 w 509"/>
                  <a:gd name="T43" fmla="*/ 131972 h 273"/>
                  <a:gd name="T44" fmla="*/ 35405 w 509"/>
                  <a:gd name="T45" fmla="*/ 161628 h 273"/>
                  <a:gd name="T46" fmla="*/ 67592 w 509"/>
                  <a:gd name="T47" fmla="*/ 191285 h 273"/>
                  <a:gd name="T48" fmla="*/ 67592 w 509"/>
                  <a:gd name="T49" fmla="*/ 232804 h 273"/>
                  <a:gd name="T50" fmla="*/ 101388 w 509"/>
                  <a:gd name="T51" fmla="*/ 275806 h 273"/>
                  <a:gd name="T52" fmla="*/ 138403 w 509"/>
                  <a:gd name="T53" fmla="*/ 320291 h 273"/>
                  <a:gd name="T54" fmla="*/ 167371 w 509"/>
                  <a:gd name="T55" fmla="*/ 335119 h 273"/>
                  <a:gd name="T56" fmla="*/ 194729 w 509"/>
                  <a:gd name="T57" fmla="*/ 363293 h 273"/>
                  <a:gd name="T58" fmla="*/ 222088 w 509"/>
                  <a:gd name="T59" fmla="*/ 376638 h 273"/>
                  <a:gd name="T60" fmla="*/ 273586 w 509"/>
                  <a:gd name="T61" fmla="*/ 389984 h 273"/>
                  <a:gd name="T62" fmla="*/ 326694 w 509"/>
                  <a:gd name="T63" fmla="*/ 376638 h 273"/>
                  <a:gd name="T64" fmla="*/ 333132 w 509"/>
                  <a:gd name="T65" fmla="*/ 355879 h 273"/>
                  <a:gd name="T66" fmla="*/ 378193 w 509"/>
                  <a:gd name="T67" fmla="*/ 346982 h 273"/>
                  <a:gd name="T68" fmla="*/ 411989 w 509"/>
                  <a:gd name="T69" fmla="*/ 346982 h 273"/>
                  <a:gd name="T70" fmla="*/ 447394 w 509"/>
                  <a:gd name="T71" fmla="*/ 360327 h 273"/>
                  <a:gd name="T72" fmla="*/ 492456 w 509"/>
                  <a:gd name="T73" fmla="*/ 376638 h 273"/>
                  <a:gd name="T74" fmla="*/ 508549 w 509"/>
                  <a:gd name="T75" fmla="*/ 392949 h 273"/>
                  <a:gd name="T76" fmla="*/ 592234 w 509"/>
                  <a:gd name="T77" fmla="*/ 401846 h 273"/>
                  <a:gd name="T78" fmla="*/ 672701 w 509"/>
                  <a:gd name="T79" fmla="*/ 379604 h 273"/>
                  <a:gd name="T80" fmla="*/ 759605 w 509"/>
                  <a:gd name="T81" fmla="*/ 364776 h 273"/>
                  <a:gd name="T82" fmla="*/ 804666 w 509"/>
                  <a:gd name="T83" fmla="*/ 240218 h 273"/>
                  <a:gd name="T84" fmla="*/ 814322 w 509"/>
                  <a:gd name="T85" fmla="*/ 197216 h 2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09"/>
                  <a:gd name="T130" fmla="*/ 0 h 273"/>
                  <a:gd name="T131" fmla="*/ 509 w 509"/>
                  <a:gd name="T132" fmla="*/ 273 h 2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09" h="273">
                    <a:moveTo>
                      <a:pt x="506" y="133"/>
                    </a:moveTo>
                    <a:lnTo>
                      <a:pt x="485" y="133"/>
                    </a:lnTo>
                    <a:lnTo>
                      <a:pt x="462" y="129"/>
                    </a:lnTo>
                    <a:lnTo>
                      <a:pt x="450" y="118"/>
                    </a:lnTo>
                    <a:lnTo>
                      <a:pt x="428" y="89"/>
                    </a:lnTo>
                    <a:lnTo>
                      <a:pt x="416" y="91"/>
                    </a:lnTo>
                    <a:lnTo>
                      <a:pt x="407" y="89"/>
                    </a:lnTo>
                    <a:lnTo>
                      <a:pt x="385" y="89"/>
                    </a:lnTo>
                    <a:lnTo>
                      <a:pt x="375" y="89"/>
                    </a:lnTo>
                    <a:lnTo>
                      <a:pt x="364" y="105"/>
                    </a:lnTo>
                    <a:lnTo>
                      <a:pt x="353" y="99"/>
                    </a:lnTo>
                    <a:lnTo>
                      <a:pt x="343" y="89"/>
                    </a:lnTo>
                    <a:lnTo>
                      <a:pt x="321" y="89"/>
                    </a:lnTo>
                    <a:lnTo>
                      <a:pt x="332" y="80"/>
                    </a:lnTo>
                    <a:lnTo>
                      <a:pt x="343" y="70"/>
                    </a:lnTo>
                    <a:lnTo>
                      <a:pt x="332" y="61"/>
                    </a:lnTo>
                    <a:lnTo>
                      <a:pt x="312" y="61"/>
                    </a:lnTo>
                    <a:lnTo>
                      <a:pt x="290" y="51"/>
                    </a:lnTo>
                    <a:lnTo>
                      <a:pt x="278" y="51"/>
                    </a:lnTo>
                    <a:lnTo>
                      <a:pt x="268" y="41"/>
                    </a:lnTo>
                    <a:lnTo>
                      <a:pt x="256" y="41"/>
                    </a:lnTo>
                    <a:lnTo>
                      <a:pt x="256" y="32"/>
                    </a:lnTo>
                    <a:lnTo>
                      <a:pt x="256" y="22"/>
                    </a:lnTo>
                    <a:lnTo>
                      <a:pt x="256" y="3"/>
                    </a:lnTo>
                    <a:lnTo>
                      <a:pt x="247" y="3"/>
                    </a:lnTo>
                    <a:lnTo>
                      <a:pt x="225" y="3"/>
                    </a:lnTo>
                    <a:lnTo>
                      <a:pt x="225" y="12"/>
                    </a:lnTo>
                    <a:lnTo>
                      <a:pt x="215" y="22"/>
                    </a:lnTo>
                    <a:lnTo>
                      <a:pt x="208" y="9"/>
                    </a:lnTo>
                    <a:lnTo>
                      <a:pt x="199" y="0"/>
                    </a:lnTo>
                    <a:lnTo>
                      <a:pt x="170" y="12"/>
                    </a:lnTo>
                    <a:lnTo>
                      <a:pt x="160" y="22"/>
                    </a:lnTo>
                    <a:lnTo>
                      <a:pt x="150" y="32"/>
                    </a:lnTo>
                    <a:lnTo>
                      <a:pt x="117" y="51"/>
                    </a:lnTo>
                    <a:lnTo>
                      <a:pt x="106" y="51"/>
                    </a:lnTo>
                    <a:lnTo>
                      <a:pt x="95" y="61"/>
                    </a:lnTo>
                    <a:lnTo>
                      <a:pt x="86" y="61"/>
                    </a:lnTo>
                    <a:lnTo>
                      <a:pt x="63" y="70"/>
                    </a:lnTo>
                    <a:lnTo>
                      <a:pt x="44" y="61"/>
                    </a:lnTo>
                    <a:lnTo>
                      <a:pt x="34" y="55"/>
                    </a:lnTo>
                    <a:lnTo>
                      <a:pt x="16" y="60"/>
                    </a:lnTo>
                    <a:lnTo>
                      <a:pt x="0" y="51"/>
                    </a:lnTo>
                    <a:lnTo>
                      <a:pt x="0" y="70"/>
                    </a:lnTo>
                    <a:lnTo>
                      <a:pt x="10" y="89"/>
                    </a:lnTo>
                    <a:lnTo>
                      <a:pt x="22" y="89"/>
                    </a:lnTo>
                    <a:lnTo>
                      <a:pt x="22" y="109"/>
                    </a:lnTo>
                    <a:lnTo>
                      <a:pt x="32" y="118"/>
                    </a:lnTo>
                    <a:lnTo>
                      <a:pt x="42" y="129"/>
                    </a:lnTo>
                    <a:lnTo>
                      <a:pt x="42" y="148"/>
                    </a:lnTo>
                    <a:lnTo>
                      <a:pt x="42" y="157"/>
                    </a:lnTo>
                    <a:lnTo>
                      <a:pt x="54" y="167"/>
                    </a:lnTo>
                    <a:lnTo>
                      <a:pt x="63" y="186"/>
                    </a:lnTo>
                    <a:lnTo>
                      <a:pt x="75" y="206"/>
                    </a:lnTo>
                    <a:lnTo>
                      <a:pt x="86" y="216"/>
                    </a:lnTo>
                    <a:lnTo>
                      <a:pt x="95" y="216"/>
                    </a:lnTo>
                    <a:lnTo>
                      <a:pt x="104" y="226"/>
                    </a:lnTo>
                    <a:lnTo>
                      <a:pt x="112" y="234"/>
                    </a:lnTo>
                    <a:lnTo>
                      <a:pt x="121" y="245"/>
                    </a:lnTo>
                    <a:lnTo>
                      <a:pt x="129" y="254"/>
                    </a:lnTo>
                    <a:lnTo>
                      <a:pt x="138" y="254"/>
                    </a:lnTo>
                    <a:lnTo>
                      <a:pt x="150" y="263"/>
                    </a:lnTo>
                    <a:lnTo>
                      <a:pt x="170" y="263"/>
                    </a:lnTo>
                    <a:lnTo>
                      <a:pt x="193" y="263"/>
                    </a:lnTo>
                    <a:lnTo>
                      <a:pt x="203" y="254"/>
                    </a:lnTo>
                    <a:lnTo>
                      <a:pt x="203" y="243"/>
                    </a:lnTo>
                    <a:lnTo>
                      <a:pt x="207" y="240"/>
                    </a:lnTo>
                    <a:lnTo>
                      <a:pt x="215" y="234"/>
                    </a:lnTo>
                    <a:lnTo>
                      <a:pt x="235" y="234"/>
                    </a:lnTo>
                    <a:lnTo>
                      <a:pt x="247" y="234"/>
                    </a:lnTo>
                    <a:lnTo>
                      <a:pt x="256" y="234"/>
                    </a:lnTo>
                    <a:lnTo>
                      <a:pt x="268" y="243"/>
                    </a:lnTo>
                    <a:lnTo>
                      <a:pt x="278" y="243"/>
                    </a:lnTo>
                    <a:lnTo>
                      <a:pt x="300" y="243"/>
                    </a:lnTo>
                    <a:lnTo>
                      <a:pt x="306" y="254"/>
                    </a:lnTo>
                    <a:lnTo>
                      <a:pt x="313" y="259"/>
                    </a:lnTo>
                    <a:lnTo>
                      <a:pt x="316" y="265"/>
                    </a:lnTo>
                    <a:lnTo>
                      <a:pt x="332" y="273"/>
                    </a:lnTo>
                    <a:lnTo>
                      <a:pt x="368" y="271"/>
                    </a:lnTo>
                    <a:lnTo>
                      <a:pt x="386" y="246"/>
                    </a:lnTo>
                    <a:lnTo>
                      <a:pt x="418" y="256"/>
                    </a:lnTo>
                    <a:lnTo>
                      <a:pt x="434" y="250"/>
                    </a:lnTo>
                    <a:lnTo>
                      <a:pt x="472" y="246"/>
                    </a:lnTo>
                    <a:lnTo>
                      <a:pt x="475" y="187"/>
                    </a:lnTo>
                    <a:lnTo>
                      <a:pt x="500" y="162"/>
                    </a:lnTo>
                    <a:lnTo>
                      <a:pt x="509" y="157"/>
                    </a:lnTo>
                    <a:lnTo>
                      <a:pt x="506" y="133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2E470C46-F466-AA69-D9C5-A7F95EED3C73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8975" y="2001838"/>
                <a:ext cx="1219200" cy="933450"/>
              </a:xfrm>
              <a:custGeom>
                <a:avLst/>
                <a:gdLst>
                  <a:gd name="T0" fmla="*/ 83529 w 759"/>
                  <a:gd name="T1" fmla="*/ 240030 h 630"/>
                  <a:gd name="T2" fmla="*/ 70678 w 759"/>
                  <a:gd name="T3" fmla="*/ 211878 h 630"/>
                  <a:gd name="T4" fmla="*/ 139750 w 759"/>
                  <a:gd name="T5" fmla="*/ 154093 h 630"/>
                  <a:gd name="T6" fmla="*/ 208822 w 759"/>
                  <a:gd name="T7" fmla="*/ 154093 h 630"/>
                  <a:gd name="T8" fmla="*/ 240949 w 759"/>
                  <a:gd name="T9" fmla="*/ 127423 h 630"/>
                  <a:gd name="T10" fmla="*/ 293957 w 759"/>
                  <a:gd name="T11" fmla="*/ 99272 h 630"/>
                  <a:gd name="T12" fmla="*/ 345360 w 759"/>
                  <a:gd name="T13" fmla="*/ 82973 h 630"/>
                  <a:gd name="T14" fmla="*/ 379092 w 759"/>
                  <a:gd name="T15" fmla="*/ 69638 h 630"/>
                  <a:gd name="T16" fmla="*/ 449771 w 759"/>
                  <a:gd name="T17" fmla="*/ 69638 h 630"/>
                  <a:gd name="T18" fmla="*/ 518843 w 759"/>
                  <a:gd name="T19" fmla="*/ 69638 h 630"/>
                  <a:gd name="T20" fmla="*/ 531693 w 759"/>
                  <a:gd name="T21" fmla="*/ 114088 h 630"/>
                  <a:gd name="T22" fmla="*/ 605584 w 759"/>
                  <a:gd name="T23" fmla="*/ 127423 h 630"/>
                  <a:gd name="T24" fmla="*/ 639317 w 759"/>
                  <a:gd name="T25" fmla="*/ 140758 h 630"/>
                  <a:gd name="T26" fmla="*/ 671443 w 759"/>
                  <a:gd name="T27" fmla="*/ 114088 h 630"/>
                  <a:gd name="T28" fmla="*/ 708389 w 759"/>
                  <a:gd name="T29" fmla="*/ 82973 h 630"/>
                  <a:gd name="T30" fmla="*/ 708389 w 759"/>
                  <a:gd name="T31" fmla="*/ 41487 h 630"/>
                  <a:gd name="T32" fmla="*/ 758185 w 759"/>
                  <a:gd name="T33" fmla="*/ 13335 h 630"/>
                  <a:gd name="T34" fmla="*/ 799949 w 759"/>
                  <a:gd name="T35" fmla="*/ 37042 h 630"/>
                  <a:gd name="T36" fmla="*/ 1058568 w 759"/>
                  <a:gd name="T37" fmla="*/ 106680 h 630"/>
                  <a:gd name="T38" fmla="*/ 1122821 w 759"/>
                  <a:gd name="T39" fmla="*/ 168910 h 630"/>
                  <a:gd name="T40" fmla="*/ 1138884 w 759"/>
                  <a:gd name="T41" fmla="*/ 241512 h 630"/>
                  <a:gd name="T42" fmla="*/ 1187074 w 759"/>
                  <a:gd name="T43" fmla="*/ 312632 h 630"/>
                  <a:gd name="T44" fmla="*/ 1113183 w 759"/>
                  <a:gd name="T45" fmla="*/ 419312 h 630"/>
                  <a:gd name="T46" fmla="*/ 1145309 w 759"/>
                  <a:gd name="T47" fmla="*/ 485987 h 630"/>
                  <a:gd name="T48" fmla="*/ 1153341 w 759"/>
                  <a:gd name="T49" fmla="*/ 528955 h 630"/>
                  <a:gd name="T50" fmla="*/ 1138884 w 759"/>
                  <a:gd name="T51" fmla="*/ 565997 h 630"/>
                  <a:gd name="T52" fmla="*/ 1207956 w 759"/>
                  <a:gd name="T53" fmla="*/ 635635 h 630"/>
                  <a:gd name="T54" fmla="*/ 1207956 w 759"/>
                  <a:gd name="T55" fmla="*/ 663787 h 630"/>
                  <a:gd name="T56" fmla="*/ 1187074 w 759"/>
                  <a:gd name="T57" fmla="*/ 726017 h 630"/>
                  <a:gd name="T58" fmla="*/ 1108364 w 759"/>
                  <a:gd name="T59" fmla="*/ 763058 h 630"/>
                  <a:gd name="T60" fmla="*/ 1060174 w 759"/>
                  <a:gd name="T61" fmla="*/ 807508 h 630"/>
                  <a:gd name="T62" fmla="*/ 1045717 w 759"/>
                  <a:gd name="T63" fmla="*/ 869738 h 630"/>
                  <a:gd name="T64" fmla="*/ 1039292 w 759"/>
                  <a:gd name="T65" fmla="*/ 912707 h 630"/>
                  <a:gd name="T66" fmla="*/ 999134 w 759"/>
                  <a:gd name="T67" fmla="*/ 912707 h 630"/>
                  <a:gd name="T68" fmla="*/ 947731 w 759"/>
                  <a:gd name="T69" fmla="*/ 899372 h 630"/>
                  <a:gd name="T70" fmla="*/ 896329 w 759"/>
                  <a:gd name="T71" fmla="*/ 869738 h 630"/>
                  <a:gd name="T72" fmla="*/ 844927 w 759"/>
                  <a:gd name="T73" fmla="*/ 869738 h 630"/>
                  <a:gd name="T74" fmla="*/ 795130 w 759"/>
                  <a:gd name="T75" fmla="*/ 841587 h 630"/>
                  <a:gd name="T76" fmla="*/ 740515 w 759"/>
                  <a:gd name="T77" fmla="*/ 841587 h 630"/>
                  <a:gd name="T78" fmla="*/ 689113 w 759"/>
                  <a:gd name="T79" fmla="*/ 883073 h 630"/>
                  <a:gd name="T80" fmla="*/ 655380 w 759"/>
                  <a:gd name="T81" fmla="*/ 854922 h 630"/>
                  <a:gd name="T82" fmla="*/ 605584 w 759"/>
                  <a:gd name="T83" fmla="*/ 854922 h 630"/>
                  <a:gd name="T84" fmla="*/ 531693 w 759"/>
                  <a:gd name="T85" fmla="*/ 828252 h 630"/>
                  <a:gd name="T86" fmla="*/ 449771 w 759"/>
                  <a:gd name="T87" fmla="*/ 798618 h 630"/>
                  <a:gd name="T88" fmla="*/ 379092 w 759"/>
                  <a:gd name="T89" fmla="*/ 754168 h 630"/>
                  <a:gd name="T90" fmla="*/ 310021 w 759"/>
                  <a:gd name="T91" fmla="*/ 740833 h 630"/>
                  <a:gd name="T92" fmla="*/ 293957 w 759"/>
                  <a:gd name="T93" fmla="*/ 770467 h 630"/>
                  <a:gd name="T94" fmla="*/ 260225 w 759"/>
                  <a:gd name="T95" fmla="*/ 740833 h 630"/>
                  <a:gd name="T96" fmla="*/ 260225 w 759"/>
                  <a:gd name="T97" fmla="*/ 711200 h 630"/>
                  <a:gd name="T98" fmla="*/ 173483 w 759"/>
                  <a:gd name="T99" fmla="*/ 684530 h 630"/>
                  <a:gd name="T100" fmla="*/ 120474 w 759"/>
                  <a:gd name="T101" fmla="*/ 669713 h 630"/>
                  <a:gd name="T102" fmla="*/ 120474 w 759"/>
                  <a:gd name="T103" fmla="*/ 613410 h 630"/>
                  <a:gd name="T104" fmla="*/ 70678 w 759"/>
                  <a:gd name="T105" fmla="*/ 626745 h 630"/>
                  <a:gd name="T106" fmla="*/ 85135 w 759"/>
                  <a:gd name="T107" fmla="*/ 555625 h 630"/>
                  <a:gd name="T108" fmla="*/ 70678 w 759"/>
                  <a:gd name="T109" fmla="*/ 525992 h 630"/>
                  <a:gd name="T110" fmla="*/ 53009 w 759"/>
                  <a:gd name="T111" fmla="*/ 441537 h 630"/>
                  <a:gd name="T112" fmla="*/ 70678 w 759"/>
                  <a:gd name="T113" fmla="*/ 397087 h 630"/>
                  <a:gd name="T114" fmla="*/ 35339 w 759"/>
                  <a:gd name="T115" fmla="*/ 370417 h 630"/>
                  <a:gd name="T116" fmla="*/ 19276 w 759"/>
                  <a:gd name="T117" fmla="*/ 312632 h 630"/>
                  <a:gd name="T118" fmla="*/ 35339 w 759"/>
                  <a:gd name="T119" fmla="*/ 269663 h 630"/>
                  <a:gd name="T120" fmla="*/ 36945 w 759"/>
                  <a:gd name="T121" fmla="*/ 220768 h 63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59"/>
                  <a:gd name="T184" fmla="*/ 0 h 630"/>
                  <a:gd name="T185" fmla="*/ 759 w 759"/>
                  <a:gd name="T186" fmla="*/ 630 h 63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59" h="630">
                    <a:moveTo>
                      <a:pt x="23" y="149"/>
                    </a:moveTo>
                    <a:lnTo>
                      <a:pt x="35" y="162"/>
                    </a:lnTo>
                    <a:lnTo>
                      <a:pt x="52" y="162"/>
                    </a:lnTo>
                    <a:lnTo>
                      <a:pt x="53" y="163"/>
                    </a:lnTo>
                    <a:lnTo>
                      <a:pt x="53" y="153"/>
                    </a:lnTo>
                    <a:lnTo>
                      <a:pt x="44" y="143"/>
                    </a:lnTo>
                    <a:lnTo>
                      <a:pt x="53" y="135"/>
                    </a:lnTo>
                    <a:lnTo>
                      <a:pt x="65" y="115"/>
                    </a:lnTo>
                    <a:lnTo>
                      <a:pt x="87" y="104"/>
                    </a:lnTo>
                    <a:lnTo>
                      <a:pt x="97" y="104"/>
                    </a:lnTo>
                    <a:lnTo>
                      <a:pt x="118" y="104"/>
                    </a:lnTo>
                    <a:lnTo>
                      <a:pt x="130" y="104"/>
                    </a:lnTo>
                    <a:lnTo>
                      <a:pt x="130" y="95"/>
                    </a:lnTo>
                    <a:lnTo>
                      <a:pt x="140" y="95"/>
                    </a:lnTo>
                    <a:lnTo>
                      <a:pt x="150" y="86"/>
                    </a:lnTo>
                    <a:lnTo>
                      <a:pt x="162" y="86"/>
                    </a:lnTo>
                    <a:lnTo>
                      <a:pt x="172" y="77"/>
                    </a:lnTo>
                    <a:lnTo>
                      <a:pt x="183" y="67"/>
                    </a:lnTo>
                    <a:lnTo>
                      <a:pt x="193" y="56"/>
                    </a:lnTo>
                    <a:lnTo>
                      <a:pt x="205" y="67"/>
                    </a:lnTo>
                    <a:lnTo>
                      <a:pt x="215" y="56"/>
                    </a:lnTo>
                    <a:lnTo>
                      <a:pt x="227" y="56"/>
                    </a:lnTo>
                    <a:lnTo>
                      <a:pt x="227" y="47"/>
                    </a:lnTo>
                    <a:lnTo>
                      <a:pt x="236" y="47"/>
                    </a:lnTo>
                    <a:lnTo>
                      <a:pt x="248" y="38"/>
                    </a:lnTo>
                    <a:lnTo>
                      <a:pt x="268" y="47"/>
                    </a:lnTo>
                    <a:lnTo>
                      <a:pt x="280" y="47"/>
                    </a:lnTo>
                    <a:lnTo>
                      <a:pt x="290" y="38"/>
                    </a:lnTo>
                    <a:lnTo>
                      <a:pt x="323" y="38"/>
                    </a:lnTo>
                    <a:lnTo>
                      <a:pt x="323" y="47"/>
                    </a:lnTo>
                    <a:lnTo>
                      <a:pt x="331" y="56"/>
                    </a:lnTo>
                    <a:lnTo>
                      <a:pt x="331" y="67"/>
                    </a:lnTo>
                    <a:lnTo>
                      <a:pt x="331" y="77"/>
                    </a:lnTo>
                    <a:lnTo>
                      <a:pt x="331" y="86"/>
                    </a:lnTo>
                    <a:lnTo>
                      <a:pt x="343" y="95"/>
                    </a:lnTo>
                    <a:lnTo>
                      <a:pt x="377" y="86"/>
                    </a:lnTo>
                    <a:lnTo>
                      <a:pt x="386" y="86"/>
                    </a:lnTo>
                    <a:lnTo>
                      <a:pt x="386" y="95"/>
                    </a:lnTo>
                    <a:lnTo>
                      <a:pt x="398" y="95"/>
                    </a:lnTo>
                    <a:lnTo>
                      <a:pt x="418" y="95"/>
                    </a:lnTo>
                    <a:lnTo>
                      <a:pt x="418" y="86"/>
                    </a:lnTo>
                    <a:lnTo>
                      <a:pt x="418" y="77"/>
                    </a:lnTo>
                    <a:lnTo>
                      <a:pt x="418" y="67"/>
                    </a:lnTo>
                    <a:lnTo>
                      <a:pt x="429" y="67"/>
                    </a:lnTo>
                    <a:lnTo>
                      <a:pt x="441" y="56"/>
                    </a:lnTo>
                    <a:lnTo>
                      <a:pt x="441" y="47"/>
                    </a:lnTo>
                    <a:lnTo>
                      <a:pt x="421" y="42"/>
                    </a:lnTo>
                    <a:lnTo>
                      <a:pt x="441" y="28"/>
                    </a:lnTo>
                    <a:lnTo>
                      <a:pt x="441" y="19"/>
                    </a:lnTo>
                    <a:lnTo>
                      <a:pt x="472" y="0"/>
                    </a:lnTo>
                    <a:lnTo>
                      <a:pt x="472" y="9"/>
                    </a:lnTo>
                    <a:lnTo>
                      <a:pt x="472" y="19"/>
                    </a:lnTo>
                    <a:lnTo>
                      <a:pt x="472" y="28"/>
                    </a:lnTo>
                    <a:lnTo>
                      <a:pt x="498" y="25"/>
                    </a:lnTo>
                    <a:lnTo>
                      <a:pt x="636" y="49"/>
                    </a:lnTo>
                    <a:lnTo>
                      <a:pt x="639" y="62"/>
                    </a:lnTo>
                    <a:lnTo>
                      <a:pt x="659" y="72"/>
                    </a:lnTo>
                    <a:lnTo>
                      <a:pt x="674" y="77"/>
                    </a:lnTo>
                    <a:lnTo>
                      <a:pt x="700" y="93"/>
                    </a:lnTo>
                    <a:lnTo>
                      <a:pt x="699" y="114"/>
                    </a:lnTo>
                    <a:lnTo>
                      <a:pt x="702" y="128"/>
                    </a:lnTo>
                    <a:lnTo>
                      <a:pt x="709" y="135"/>
                    </a:lnTo>
                    <a:lnTo>
                      <a:pt x="709" y="163"/>
                    </a:lnTo>
                    <a:lnTo>
                      <a:pt x="714" y="170"/>
                    </a:lnTo>
                    <a:lnTo>
                      <a:pt x="741" y="195"/>
                    </a:lnTo>
                    <a:lnTo>
                      <a:pt x="739" y="211"/>
                    </a:lnTo>
                    <a:lnTo>
                      <a:pt x="747" y="250"/>
                    </a:lnTo>
                    <a:lnTo>
                      <a:pt x="732" y="260"/>
                    </a:lnTo>
                    <a:lnTo>
                      <a:pt x="693" y="283"/>
                    </a:lnTo>
                    <a:lnTo>
                      <a:pt x="702" y="296"/>
                    </a:lnTo>
                    <a:lnTo>
                      <a:pt x="720" y="300"/>
                    </a:lnTo>
                    <a:lnTo>
                      <a:pt x="713" y="328"/>
                    </a:lnTo>
                    <a:lnTo>
                      <a:pt x="713" y="335"/>
                    </a:lnTo>
                    <a:lnTo>
                      <a:pt x="716" y="339"/>
                    </a:lnTo>
                    <a:lnTo>
                      <a:pt x="718" y="357"/>
                    </a:lnTo>
                    <a:lnTo>
                      <a:pt x="709" y="366"/>
                    </a:lnTo>
                    <a:lnTo>
                      <a:pt x="714" y="374"/>
                    </a:lnTo>
                    <a:lnTo>
                      <a:pt x="709" y="382"/>
                    </a:lnTo>
                    <a:lnTo>
                      <a:pt x="723" y="392"/>
                    </a:lnTo>
                    <a:lnTo>
                      <a:pt x="742" y="406"/>
                    </a:lnTo>
                    <a:lnTo>
                      <a:pt x="752" y="429"/>
                    </a:lnTo>
                    <a:lnTo>
                      <a:pt x="743" y="431"/>
                    </a:lnTo>
                    <a:lnTo>
                      <a:pt x="743" y="444"/>
                    </a:lnTo>
                    <a:lnTo>
                      <a:pt x="752" y="448"/>
                    </a:lnTo>
                    <a:lnTo>
                      <a:pt x="759" y="461"/>
                    </a:lnTo>
                    <a:lnTo>
                      <a:pt x="752" y="482"/>
                    </a:lnTo>
                    <a:lnTo>
                      <a:pt x="739" y="490"/>
                    </a:lnTo>
                    <a:lnTo>
                      <a:pt x="717" y="487"/>
                    </a:lnTo>
                    <a:lnTo>
                      <a:pt x="696" y="504"/>
                    </a:lnTo>
                    <a:lnTo>
                      <a:pt x="690" y="515"/>
                    </a:lnTo>
                    <a:lnTo>
                      <a:pt x="680" y="531"/>
                    </a:lnTo>
                    <a:lnTo>
                      <a:pt x="668" y="534"/>
                    </a:lnTo>
                    <a:lnTo>
                      <a:pt x="660" y="545"/>
                    </a:lnTo>
                    <a:lnTo>
                      <a:pt x="656" y="558"/>
                    </a:lnTo>
                    <a:lnTo>
                      <a:pt x="651" y="578"/>
                    </a:lnTo>
                    <a:lnTo>
                      <a:pt x="651" y="587"/>
                    </a:lnTo>
                    <a:lnTo>
                      <a:pt x="651" y="598"/>
                    </a:lnTo>
                    <a:lnTo>
                      <a:pt x="647" y="606"/>
                    </a:lnTo>
                    <a:lnTo>
                      <a:pt x="647" y="616"/>
                    </a:lnTo>
                    <a:lnTo>
                      <a:pt x="636" y="630"/>
                    </a:lnTo>
                    <a:lnTo>
                      <a:pt x="633" y="616"/>
                    </a:lnTo>
                    <a:lnTo>
                      <a:pt x="622" y="616"/>
                    </a:lnTo>
                    <a:lnTo>
                      <a:pt x="611" y="616"/>
                    </a:lnTo>
                    <a:lnTo>
                      <a:pt x="601" y="616"/>
                    </a:lnTo>
                    <a:lnTo>
                      <a:pt x="590" y="607"/>
                    </a:lnTo>
                    <a:lnTo>
                      <a:pt x="579" y="596"/>
                    </a:lnTo>
                    <a:lnTo>
                      <a:pt x="567" y="587"/>
                    </a:lnTo>
                    <a:lnTo>
                      <a:pt x="558" y="587"/>
                    </a:lnTo>
                    <a:lnTo>
                      <a:pt x="546" y="568"/>
                    </a:lnTo>
                    <a:lnTo>
                      <a:pt x="538" y="577"/>
                    </a:lnTo>
                    <a:lnTo>
                      <a:pt x="526" y="587"/>
                    </a:lnTo>
                    <a:lnTo>
                      <a:pt x="495" y="596"/>
                    </a:lnTo>
                    <a:lnTo>
                      <a:pt x="495" y="587"/>
                    </a:lnTo>
                    <a:lnTo>
                      <a:pt x="495" y="568"/>
                    </a:lnTo>
                    <a:lnTo>
                      <a:pt x="483" y="577"/>
                    </a:lnTo>
                    <a:lnTo>
                      <a:pt x="472" y="577"/>
                    </a:lnTo>
                    <a:lnTo>
                      <a:pt x="461" y="568"/>
                    </a:lnTo>
                    <a:lnTo>
                      <a:pt x="441" y="577"/>
                    </a:lnTo>
                    <a:lnTo>
                      <a:pt x="441" y="587"/>
                    </a:lnTo>
                    <a:lnTo>
                      <a:pt x="429" y="596"/>
                    </a:lnTo>
                    <a:lnTo>
                      <a:pt x="429" y="577"/>
                    </a:lnTo>
                    <a:lnTo>
                      <a:pt x="418" y="568"/>
                    </a:lnTo>
                    <a:lnTo>
                      <a:pt x="408" y="577"/>
                    </a:lnTo>
                    <a:lnTo>
                      <a:pt x="398" y="577"/>
                    </a:lnTo>
                    <a:lnTo>
                      <a:pt x="386" y="587"/>
                    </a:lnTo>
                    <a:lnTo>
                      <a:pt x="377" y="577"/>
                    </a:lnTo>
                    <a:lnTo>
                      <a:pt x="354" y="577"/>
                    </a:lnTo>
                    <a:lnTo>
                      <a:pt x="343" y="568"/>
                    </a:lnTo>
                    <a:lnTo>
                      <a:pt x="331" y="559"/>
                    </a:lnTo>
                    <a:lnTo>
                      <a:pt x="323" y="548"/>
                    </a:lnTo>
                    <a:lnTo>
                      <a:pt x="302" y="548"/>
                    </a:lnTo>
                    <a:lnTo>
                      <a:pt x="280" y="539"/>
                    </a:lnTo>
                    <a:lnTo>
                      <a:pt x="268" y="529"/>
                    </a:lnTo>
                    <a:lnTo>
                      <a:pt x="248" y="500"/>
                    </a:lnTo>
                    <a:lnTo>
                      <a:pt x="236" y="509"/>
                    </a:lnTo>
                    <a:lnTo>
                      <a:pt x="227" y="500"/>
                    </a:lnTo>
                    <a:lnTo>
                      <a:pt x="205" y="500"/>
                    </a:lnTo>
                    <a:lnTo>
                      <a:pt x="193" y="500"/>
                    </a:lnTo>
                    <a:lnTo>
                      <a:pt x="205" y="509"/>
                    </a:lnTo>
                    <a:lnTo>
                      <a:pt x="193" y="509"/>
                    </a:lnTo>
                    <a:lnTo>
                      <a:pt x="183" y="520"/>
                    </a:lnTo>
                    <a:lnTo>
                      <a:pt x="183" y="529"/>
                    </a:lnTo>
                    <a:lnTo>
                      <a:pt x="172" y="509"/>
                    </a:lnTo>
                    <a:lnTo>
                      <a:pt x="162" y="500"/>
                    </a:lnTo>
                    <a:lnTo>
                      <a:pt x="140" y="500"/>
                    </a:lnTo>
                    <a:lnTo>
                      <a:pt x="150" y="491"/>
                    </a:lnTo>
                    <a:lnTo>
                      <a:pt x="162" y="480"/>
                    </a:lnTo>
                    <a:lnTo>
                      <a:pt x="150" y="472"/>
                    </a:lnTo>
                    <a:lnTo>
                      <a:pt x="130" y="472"/>
                    </a:lnTo>
                    <a:lnTo>
                      <a:pt x="108" y="462"/>
                    </a:lnTo>
                    <a:lnTo>
                      <a:pt x="97" y="462"/>
                    </a:lnTo>
                    <a:lnTo>
                      <a:pt x="87" y="452"/>
                    </a:lnTo>
                    <a:lnTo>
                      <a:pt x="75" y="452"/>
                    </a:lnTo>
                    <a:lnTo>
                      <a:pt x="75" y="443"/>
                    </a:lnTo>
                    <a:lnTo>
                      <a:pt x="75" y="433"/>
                    </a:lnTo>
                    <a:lnTo>
                      <a:pt x="75" y="414"/>
                    </a:lnTo>
                    <a:lnTo>
                      <a:pt x="65" y="414"/>
                    </a:lnTo>
                    <a:lnTo>
                      <a:pt x="49" y="415"/>
                    </a:lnTo>
                    <a:lnTo>
                      <a:pt x="44" y="423"/>
                    </a:lnTo>
                    <a:lnTo>
                      <a:pt x="44" y="414"/>
                    </a:lnTo>
                    <a:lnTo>
                      <a:pt x="44" y="384"/>
                    </a:lnTo>
                    <a:lnTo>
                      <a:pt x="53" y="375"/>
                    </a:lnTo>
                    <a:lnTo>
                      <a:pt x="44" y="375"/>
                    </a:lnTo>
                    <a:lnTo>
                      <a:pt x="44" y="365"/>
                    </a:lnTo>
                    <a:lnTo>
                      <a:pt x="44" y="355"/>
                    </a:lnTo>
                    <a:lnTo>
                      <a:pt x="44" y="327"/>
                    </a:lnTo>
                    <a:lnTo>
                      <a:pt x="44" y="318"/>
                    </a:lnTo>
                    <a:lnTo>
                      <a:pt x="33" y="298"/>
                    </a:lnTo>
                    <a:lnTo>
                      <a:pt x="33" y="288"/>
                    </a:lnTo>
                    <a:lnTo>
                      <a:pt x="33" y="279"/>
                    </a:lnTo>
                    <a:lnTo>
                      <a:pt x="44" y="268"/>
                    </a:lnTo>
                    <a:lnTo>
                      <a:pt x="33" y="268"/>
                    </a:lnTo>
                    <a:lnTo>
                      <a:pt x="22" y="260"/>
                    </a:lnTo>
                    <a:lnTo>
                      <a:pt x="22" y="250"/>
                    </a:lnTo>
                    <a:lnTo>
                      <a:pt x="12" y="241"/>
                    </a:lnTo>
                    <a:lnTo>
                      <a:pt x="0" y="221"/>
                    </a:lnTo>
                    <a:lnTo>
                      <a:pt x="12" y="211"/>
                    </a:lnTo>
                    <a:lnTo>
                      <a:pt x="22" y="200"/>
                    </a:lnTo>
                    <a:lnTo>
                      <a:pt x="22" y="192"/>
                    </a:lnTo>
                    <a:lnTo>
                      <a:pt x="22" y="182"/>
                    </a:lnTo>
                    <a:lnTo>
                      <a:pt x="22" y="174"/>
                    </a:lnTo>
                    <a:lnTo>
                      <a:pt x="22" y="163"/>
                    </a:lnTo>
                    <a:lnTo>
                      <a:pt x="23" y="14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FCD91A1B-F000-A178-C8A9-00C08D7B6992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5299075" y="1981200"/>
                <a:ext cx="236538" cy="93663"/>
              </a:xfrm>
              <a:custGeom>
                <a:avLst/>
                <a:gdLst>
                  <a:gd name="T0" fmla="*/ 220447 w 147"/>
                  <a:gd name="T1" fmla="*/ 92176 h 63"/>
                  <a:gd name="T2" fmla="*/ 149646 w 147"/>
                  <a:gd name="T3" fmla="*/ 93663 h 63"/>
                  <a:gd name="T4" fmla="*/ 51491 w 147"/>
                  <a:gd name="T5" fmla="*/ 78796 h 63"/>
                  <a:gd name="T6" fmla="*/ 0 w 147"/>
                  <a:gd name="T7" fmla="*/ 56495 h 63"/>
                  <a:gd name="T8" fmla="*/ 12873 w 147"/>
                  <a:gd name="T9" fmla="*/ 43115 h 63"/>
                  <a:gd name="T10" fmla="*/ 17700 w 147"/>
                  <a:gd name="T11" fmla="*/ 31221 h 63"/>
                  <a:gd name="T12" fmla="*/ 27355 w 147"/>
                  <a:gd name="T13" fmla="*/ 20814 h 63"/>
                  <a:gd name="T14" fmla="*/ 8046 w 147"/>
                  <a:gd name="T15" fmla="*/ 16354 h 63"/>
                  <a:gd name="T16" fmla="*/ 12873 w 147"/>
                  <a:gd name="T17" fmla="*/ 4460 h 63"/>
                  <a:gd name="T18" fmla="*/ 41837 w 147"/>
                  <a:gd name="T19" fmla="*/ 2973 h 63"/>
                  <a:gd name="T20" fmla="*/ 53100 w 147"/>
                  <a:gd name="T21" fmla="*/ 0 h 63"/>
                  <a:gd name="T22" fmla="*/ 75628 w 147"/>
                  <a:gd name="T23" fmla="*/ 26761 h 63"/>
                  <a:gd name="T24" fmla="*/ 133555 w 147"/>
                  <a:gd name="T25" fmla="*/ 29734 h 63"/>
                  <a:gd name="T26" fmla="*/ 135165 w 147"/>
                  <a:gd name="T27" fmla="*/ 22301 h 63"/>
                  <a:gd name="T28" fmla="*/ 157692 w 147"/>
                  <a:gd name="T29" fmla="*/ 22301 h 63"/>
                  <a:gd name="T30" fmla="*/ 181829 w 147"/>
                  <a:gd name="T31" fmla="*/ 20814 h 63"/>
                  <a:gd name="T32" fmla="*/ 186656 w 147"/>
                  <a:gd name="T33" fmla="*/ 8920 h 63"/>
                  <a:gd name="T34" fmla="*/ 197920 w 147"/>
                  <a:gd name="T35" fmla="*/ 11894 h 63"/>
                  <a:gd name="T36" fmla="*/ 215620 w 147"/>
                  <a:gd name="T37" fmla="*/ 22301 h 63"/>
                  <a:gd name="T38" fmla="*/ 210792 w 147"/>
                  <a:gd name="T39" fmla="*/ 38655 h 63"/>
                  <a:gd name="T40" fmla="*/ 226883 w 147"/>
                  <a:gd name="T41" fmla="*/ 47575 h 63"/>
                  <a:gd name="T42" fmla="*/ 236538 w 147"/>
                  <a:gd name="T43" fmla="*/ 53522 h 63"/>
                  <a:gd name="T44" fmla="*/ 230102 w 147"/>
                  <a:gd name="T45" fmla="*/ 78796 h 63"/>
                  <a:gd name="T46" fmla="*/ 222056 w 147"/>
                  <a:gd name="T47" fmla="*/ 89203 h 6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47"/>
                  <a:gd name="T73" fmla="*/ 0 h 63"/>
                  <a:gd name="T74" fmla="*/ 147 w 147"/>
                  <a:gd name="T75" fmla="*/ 63 h 6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47" h="63">
                    <a:moveTo>
                      <a:pt x="137" y="62"/>
                    </a:moveTo>
                    <a:lnTo>
                      <a:pt x="93" y="63"/>
                    </a:lnTo>
                    <a:lnTo>
                      <a:pt x="32" y="53"/>
                    </a:lnTo>
                    <a:lnTo>
                      <a:pt x="0" y="38"/>
                    </a:lnTo>
                    <a:lnTo>
                      <a:pt x="8" y="29"/>
                    </a:lnTo>
                    <a:lnTo>
                      <a:pt x="11" y="21"/>
                    </a:lnTo>
                    <a:lnTo>
                      <a:pt x="17" y="14"/>
                    </a:lnTo>
                    <a:lnTo>
                      <a:pt x="5" y="11"/>
                    </a:lnTo>
                    <a:lnTo>
                      <a:pt x="8" y="3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47" y="18"/>
                    </a:lnTo>
                    <a:lnTo>
                      <a:pt x="83" y="20"/>
                    </a:lnTo>
                    <a:lnTo>
                      <a:pt x="84" y="15"/>
                    </a:lnTo>
                    <a:lnTo>
                      <a:pt x="98" y="15"/>
                    </a:lnTo>
                    <a:lnTo>
                      <a:pt x="113" y="14"/>
                    </a:lnTo>
                    <a:lnTo>
                      <a:pt x="116" y="6"/>
                    </a:lnTo>
                    <a:lnTo>
                      <a:pt x="123" y="8"/>
                    </a:lnTo>
                    <a:lnTo>
                      <a:pt x="134" y="15"/>
                    </a:lnTo>
                    <a:lnTo>
                      <a:pt x="131" y="26"/>
                    </a:lnTo>
                    <a:lnTo>
                      <a:pt x="141" y="32"/>
                    </a:lnTo>
                    <a:lnTo>
                      <a:pt x="147" y="36"/>
                    </a:lnTo>
                    <a:lnTo>
                      <a:pt x="143" y="53"/>
                    </a:lnTo>
                    <a:lnTo>
                      <a:pt x="138" y="60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57081699-2AD7-72E5-6B30-1428C4252F78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399088" y="1455738"/>
                <a:ext cx="152400" cy="84137"/>
              </a:xfrm>
              <a:custGeom>
                <a:avLst/>
                <a:gdLst>
                  <a:gd name="T0" fmla="*/ 50409 w 130"/>
                  <a:gd name="T1" fmla="*/ 84137 h 85"/>
                  <a:gd name="T2" fmla="*/ 67994 w 130"/>
                  <a:gd name="T3" fmla="*/ 69289 h 85"/>
                  <a:gd name="T4" fmla="*/ 67994 w 130"/>
                  <a:gd name="T5" fmla="*/ 55431 h 85"/>
                  <a:gd name="T6" fmla="*/ 101991 w 130"/>
                  <a:gd name="T7" fmla="*/ 55431 h 85"/>
                  <a:gd name="T8" fmla="*/ 116058 w 130"/>
                  <a:gd name="T9" fmla="*/ 55431 h 85"/>
                  <a:gd name="T10" fmla="*/ 116058 w 130"/>
                  <a:gd name="T11" fmla="*/ 44543 h 85"/>
                  <a:gd name="T12" fmla="*/ 133643 w 130"/>
                  <a:gd name="T13" fmla="*/ 28706 h 85"/>
                  <a:gd name="T14" fmla="*/ 152400 w 130"/>
                  <a:gd name="T15" fmla="*/ 11878 h 85"/>
                  <a:gd name="T16" fmla="*/ 116058 w 130"/>
                  <a:gd name="T17" fmla="*/ 0 h 85"/>
                  <a:gd name="T18" fmla="*/ 67994 w 130"/>
                  <a:gd name="T19" fmla="*/ 28706 h 85"/>
                  <a:gd name="T20" fmla="*/ 50409 w 130"/>
                  <a:gd name="T21" fmla="*/ 0 h 85"/>
                  <a:gd name="T22" fmla="*/ 33997 w 130"/>
                  <a:gd name="T23" fmla="*/ 11878 h 85"/>
                  <a:gd name="T24" fmla="*/ 33997 w 130"/>
                  <a:gd name="T25" fmla="*/ 28706 h 85"/>
                  <a:gd name="T26" fmla="*/ 33997 w 130"/>
                  <a:gd name="T27" fmla="*/ 44543 h 85"/>
                  <a:gd name="T28" fmla="*/ 0 w 130"/>
                  <a:gd name="T29" fmla="*/ 55431 h 85"/>
                  <a:gd name="T30" fmla="*/ 16412 w 130"/>
                  <a:gd name="T31" fmla="*/ 55431 h 85"/>
                  <a:gd name="T32" fmla="*/ 33997 w 130"/>
                  <a:gd name="T33" fmla="*/ 55431 h 85"/>
                  <a:gd name="T34" fmla="*/ 50409 w 130"/>
                  <a:gd name="T35" fmla="*/ 69289 h 85"/>
                  <a:gd name="T36" fmla="*/ 50409 w 130"/>
                  <a:gd name="T37" fmla="*/ 84137 h 85"/>
                  <a:gd name="T38" fmla="*/ 50409 w 130"/>
                  <a:gd name="T39" fmla="*/ 84137 h 8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30"/>
                  <a:gd name="T61" fmla="*/ 0 h 85"/>
                  <a:gd name="T62" fmla="*/ 130 w 130"/>
                  <a:gd name="T63" fmla="*/ 85 h 8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30" h="85">
                    <a:moveTo>
                      <a:pt x="43" y="85"/>
                    </a:moveTo>
                    <a:lnTo>
                      <a:pt x="58" y="70"/>
                    </a:lnTo>
                    <a:lnTo>
                      <a:pt x="58" y="56"/>
                    </a:lnTo>
                    <a:lnTo>
                      <a:pt x="87" y="56"/>
                    </a:lnTo>
                    <a:lnTo>
                      <a:pt x="99" y="56"/>
                    </a:lnTo>
                    <a:lnTo>
                      <a:pt x="99" y="45"/>
                    </a:lnTo>
                    <a:lnTo>
                      <a:pt x="114" y="29"/>
                    </a:lnTo>
                    <a:lnTo>
                      <a:pt x="130" y="12"/>
                    </a:lnTo>
                    <a:lnTo>
                      <a:pt x="99" y="0"/>
                    </a:lnTo>
                    <a:lnTo>
                      <a:pt x="58" y="29"/>
                    </a:lnTo>
                    <a:lnTo>
                      <a:pt x="43" y="0"/>
                    </a:lnTo>
                    <a:lnTo>
                      <a:pt x="29" y="12"/>
                    </a:lnTo>
                    <a:lnTo>
                      <a:pt x="29" y="29"/>
                    </a:lnTo>
                    <a:lnTo>
                      <a:pt x="29" y="45"/>
                    </a:lnTo>
                    <a:lnTo>
                      <a:pt x="0" y="56"/>
                    </a:lnTo>
                    <a:lnTo>
                      <a:pt x="14" y="56"/>
                    </a:lnTo>
                    <a:lnTo>
                      <a:pt x="29" y="56"/>
                    </a:lnTo>
                    <a:lnTo>
                      <a:pt x="43" y="70"/>
                    </a:lnTo>
                    <a:lnTo>
                      <a:pt x="43" y="8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391081C0-CA26-65CE-A43F-B10599DABD55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5453063" y="1381125"/>
                <a:ext cx="61912" cy="57150"/>
              </a:xfrm>
              <a:custGeom>
                <a:avLst/>
                <a:gdLst>
                  <a:gd name="T0" fmla="*/ 32062 w 56"/>
                  <a:gd name="T1" fmla="*/ 57150 h 57"/>
                  <a:gd name="T2" fmla="*/ 32062 w 56"/>
                  <a:gd name="T3" fmla="*/ 29076 h 57"/>
                  <a:gd name="T4" fmla="*/ 16584 w 56"/>
                  <a:gd name="T5" fmla="*/ 29076 h 57"/>
                  <a:gd name="T6" fmla="*/ 0 w 56"/>
                  <a:gd name="T7" fmla="*/ 29076 h 57"/>
                  <a:gd name="T8" fmla="*/ 0 w 56"/>
                  <a:gd name="T9" fmla="*/ 16042 h 57"/>
                  <a:gd name="T10" fmla="*/ 16584 w 56"/>
                  <a:gd name="T11" fmla="*/ 16042 h 57"/>
                  <a:gd name="T12" fmla="*/ 32062 w 56"/>
                  <a:gd name="T13" fmla="*/ 0 h 57"/>
                  <a:gd name="T14" fmla="*/ 61912 w 56"/>
                  <a:gd name="T15" fmla="*/ 16042 h 57"/>
                  <a:gd name="T16" fmla="*/ 61912 w 56"/>
                  <a:gd name="T17" fmla="*/ 29076 h 57"/>
                  <a:gd name="T18" fmla="*/ 48645 w 56"/>
                  <a:gd name="T19" fmla="*/ 43113 h 57"/>
                  <a:gd name="T20" fmla="*/ 32062 w 56"/>
                  <a:gd name="T21" fmla="*/ 57150 h 57"/>
                  <a:gd name="T22" fmla="*/ 32062 w 56"/>
                  <a:gd name="T23" fmla="*/ 57150 h 5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6"/>
                  <a:gd name="T37" fmla="*/ 0 h 57"/>
                  <a:gd name="T38" fmla="*/ 56 w 56"/>
                  <a:gd name="T39" fmla="*/ 57 h 5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6" h="57">
                    <a:moveTo>
                      <a:pt x="29" y="57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29"/>
                    </a:lnTo>
                    <a:lnTo>
                      <a:pt x="0" y="16"/>
                    </a:lnTo>
                    <a:lnTo>
                      <a:pt x="15" y="16"/>
                    </a:lnTo>
                    <a:lnTo>
                      <a:pt x="29" y="0"/>
                    </a:lnTo>
                    <a:lnTo>
                      <a:pt x="56" y="16"/>
                    </a:lnTo>
                    <a:lnTo>
                      <a:pt x="56" y="29"/>
                    </a:lnTo>
                    <a:lnTo>
                      <a:pt x="44" y="43"/>
                    </a:lnTo>
                    <a:lnTo>
                      <a:pt x="29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17">
                <a:extLst>
                  <a:ext uri="{FF2B5EF4-FFF2-40B4-BE49-F238E27FC236}">
                    <a16:creationId xmlns:a16="http://schemas.microsoft.com/office/drawing/2014/main" id="{70E3F3BA-14C4-2F9E-F4DD-80A0F625BADD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036638" y="3181350"/>
                <a:ext cx="1771650" cy="1243013"/>
              </a:xfrm>
              <a:custGeom>
                <a:avLst/>
                <a:gdLst>
                  <a:gd name="T0" fmla="*/ 1031187 w 1103"/>
                  <a:gd name="T1" fmla="*/ 259270 h 839"/>
                  <a:gd name="T2" fmla="*/ 929996 w 1103"/>
                  <a:gd name="T3" fmla="*/ 226676 h 839"/>
                  <a:gd name="T4" fmla="*/ 807924 w 1103"/>
                  <a:gd name="T5" fmla="*/ 185193 h 839"/>
                  <a:gd name="T6" fmla="*/ 724401 w 1103"/>
                  <a:gd name="T7" fmla="*/ 155562 h 839"/>
                  <a:gd name="T8" fmla="*/ 602329 w 1103"/>
                  <a:gd name="T9" fmla="*/ 114079 h 839"/>
                  <a:gd name="T10" fmla="*/ 499531 w 1103"/>
                  <a:gd name="T11" fmla="*/ 84448 h 839"/>
                  <a:gd name="T12" fmla="*/ 395128 w 1103"/>
                  <a:gd name="T13" fmla="*/ 28149 h 839"/>
                  <a:gd name="T14" fmla="*/ 326061 w 1103"/>
                  <a:gd name="T15" fmla="*/ 0 h 839"/>
                  <a:gd name="T16" fmla="*/ 292330 w 1103"/>
                  <a:gd name="T17" fmla="*/ 28149 h 839"/>
                  <a:gd name="T18" fmla="*/ 223263 w 1103"/>
                  <a:gd name="T19" fmla="*/ 28149 h 839"/>
                  <a:gd name="T20" fmla="*/ 139740 w 1103"/>
                  <a:gd name="T21" fmla="*/ 41483 h 839"/>
                  <a:gd name="T22" fmla="*/ 154196 w 1103"/>
                  <a:gd name="T23" fmla="*/ 84448 h 839"/>
                  <a:gd name="T24" fmla="*/ 139740 w 1103"/>
                  <a:gd name="T25" fmla="*/ 99263 h 839"/>
                  <a:gd name="T26" fmla="*/ 139740 w 1103"/>
                  <a:gd name="T27" fmla="*/ 155562 h 839"/>
                  <a:gd name="T28" fmla="*/ 104404 w 1103"/>
                  <a:gd name="T29" fmla="*/ 185193 h 839"/>
                  <a:gd name="T30" fmla="*/ 189533 w 1103"/>
                  <a:gd name="T31" fmla="*/ 213342 h 839"/>
                  <a:gd name="T32" fmla="*/ 223263 w 1103"/>
                  <a:gd name="T33" fmla="*/ 259270 h 839"/>
                  <a:gd name="T34" fmla="*/ 309999 w 1103"/>
                  <a:gd name="T35" fmla="*/ 287419 h 839"/>
                  <a:gd name="T36" fmla="*/ 361397 w 1103"/>
                  <a:gd name="T37" fmla="*/ 299271 h 839"/>
                  <a:gd name="T38" fmla="*/ 395128 w 1103"/>
                  <a:gd name="T39" fmla="*/ 343718 h 839"/>
                  <a:gd name="T40" fmla="*/ 412796 w 1103"/>
                  <a:gd name="T41" fmla="*/ 385201 h 839"/>
                  <a:gd name="T42" fmla="*/ 361397 w 1103"/>
                  <a:gd name="T43" fmla="*/ 414832 h 839"/>
                  <a:gd name="T44" fmla="*/ 309999 w 1103"/>
                  <a:gd name="T45" fmla="*/ 456315 h 839"/>
                  <a:gd name="T46" fmla="*/ 274662 w 1103"/>
                  <a:gd name="T47" fmla="*/ 528910 h 839"/>
                  <a:gd name="T48" fmla="*/ 240932 w 1103"/>
                  <a:gd name="T49" fmla="*/ 571875 h 839"/>
                  <a:gd name="T50" fmla="*/ 173471 w 1103"/>
                  <a:gd name="T51" fmla="*/ 641507 h 839"/>
                  <a:gd name="T52" fmla="*/ 154196 w 1103"/>
                  <a:gd name="T53" fmla="*/ 700769 h 839"/>
                  <a:gd name="T54" fmla="*/ 120466 w 1103"/>
                  <a:gd name="T55" fmla="*/ 771883 h 839"/>
                  <a:gd name="T56" fmla="*/ 85129 w 1103"/>
                  <a:gd name="T57" fmla="*/ 829663 h 839"/>
                  <a:gd name="T58" fmla="*/ 70673 w 1103"/>
                  <a:gd name="T59" fmla="*/ 871146 h 839"/>
                  <a:gd name="T60" fmla="*/ 16062 w 1103"/>
                  <a:gd name="T61" fmla="*/ 900777 h 839"/>
                  <a:gd name="T62" fmla="*/ 35337 w 1103"/>
                  <a:gd name="T63" fmla="*/ 970410 h 839"/>
                  <a:gd name="T64" fmla="*/ 120466 w 1103"/>
                  <a:gd name="T65" fmla="*/ 1044487 h 839"/>
                  <a:gd name="T66" fmla="*/ 154196 w 1103"/>
                  <a:gd name="T67" fmla="*/ 1085970 h 839"/>
                  <a:gd name="T68" fmla="*/ 120466 w 1103"/>
                  <a:gd name="T69" fmla="*/ 1173381 h 839"/>
                  <a:gd name="T70" fmla="*/ 205595 w 1103"/>
                  <a:gd name="T71" fmla="*/ 1213382 h 839"/>
                  <a:gd name="T72" fmla="*/ 309999 w 1103"/>
                  <a:gd name="T73" fmla="*/ 1173381 h 839"/>
                  <a:gd name="T74" fmla="*/ 446526 w 1103"/>
                  <a:gd name="T75" fmla="*/ 1173381 h 839"/>
                  <a:gd name="T76" fmla="*/ 602329 w 1103"/>
                  <a:gd name="T77" fmla="*/ 1213382 h 839"/>
                  <a:gd name="T78" fmla="*/ 724401 w 1103"/>
                  <a:gd name="T79" fmla="*/ 1226716 h 839"/>
                  <a:gd name="T80" fmla="*/ 774193 w 1103"/>
                  <a:gd name="T81" fmla="*/ 1213382 h 839"/>
                  <a:gd name="T82" fmla="*/ 860929 w 1103"/>
                  <a:gd name="T83" fmla="*/ 1157084 h 839"/>
                  <a:gd name="T84" fmla="*/ 997457 w 1103"/>
                  <a:gd name="T85" fmla="*/ 1143750 h 839"/>
                  <a:gd name="T86" fmla="*/ 1050461 w 1103"/>
                  <a:gd name="T87" fmla="*/ 1071154 h 839"/>
                  <a:gd name="T88" fmla="*/ 1151653 w 1103"/>
                  <a:gd name="T89" fmla="*/ 1013374 h 839"/>
                  <a:gd name="T90" fmla="*/ 1135591 w 1103"/>
                  <a:gd name="T91" fmla="*/ 928926 h 839"/>
                  <a:gd name="T92" fmla="*/ 1236782 w 1103"/>
                  <a:gd name="T93" fmla="*/ 829663 h 839"/>
                  <a:gd name="T94" fmla="*/ 1360460 w 1103"/>
                  <a:gd name="T95" fmla="*/ 757067 h 839"/>
                  <a:gd name="T96" fmla="*/ 1376522 w 1103"/>
                  <a:gd name="T97" fmla="*/ 728918 h 839"/>
                  <a:gd name="T98" fmla="*/ 1513050 w 1103"/>
                  <a:gd name="T99" fmla="*/ 714103 h 839"/>
                  <a:gd name="T100" fmla="*/ 1617453 w 1103"/>
                  <a:gd name="T101" fmla="*/ 700769 h 839"/>
                  <a:gd name="T102" fmla="*/ 1720251 w 1103"/>
                  <a:gd name="T103" fmla="*/ 671138 h 839"/>
                  <a:gd name="T104" fmla="*/ 1771650 w 1103"/>
                  <a:gd name="T105" fmla="*/ 600024 h 839"/>
                  <a:gd name="T106" fmla="*/ 1720251 w 1103"/>
                  <a:gd name="T107" fmla="*/ 557059 h 839"/>
                  <a:gd name="T108" fmla="*/ 1615847 w 1103"/>
                  <a:gd name="T109" fmla="*/ 560023 h 839"/>
                  <a:gd name="T110" fmla="*/ 1530718 w 1103"/>
                  <a:gd name="T111" fmla="*/ 514095 h 839"/>
                  <a:gd name="T112" fmla="*/ 1461651 w 1103"/>
                  <a:gd name="T113" fmla="*/ 472612 h 839"/>
                  <a:gd name="T114" fmla="*/ 1360460 w 1103"/>
                  <a:gd name="T115" fmla="*/ 444462 h 839"/>
                  <a:gd name="T116" fmla="*/ 1236782 w 1103"/>
                  <a:gd name="T117" fmla="*/ 371867 h 839"/>
                  <a:gd name="T118" fmla="*/ 1167715 w 1103"/>
                  <a:gd name="T119" fmla="*/ 327421 h 839"/>
                  <a:gd name="T120" fmla="*/ 1133984 w 1103"/>
                  <a:gd name="T121" fmla="*/ 285937 h 83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103"/>
                  <a:gd name="T184" fmla="*/ 0 h 839"/>
                  <a:gd name="T185" fmla="*/ 1103 w 1103"/>
                  <a:gd name="T186" fmla="*/ 839 h 83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103" h="839">
                    <a:moveTo>
                      <a:pt x="706" y="193"/>
                    </a:moveTo>
                    <a:lnTo>
                      <a:pt x="695" y="194"/>
                    </a:lnTo>
                    <a:lnTo>
                      <a:pt x="684" y="183"/>
                    </a:lnTo>
                    <a:lnTo>
                      <a:pt x="664" y="183"/>
                    </a:lnTo>
                    <a:lnTo>
                      <a:pt x="642" y="175"/>
                    </a:lnTo>
                    <a:lnTo>
                      <a:pt x="632" y="164"/>
                    </a:lnTo>
                    <a:lnTo>
                      <a:pt x="621" y="164"/>
                    </a:lnTo>
                    <a:lnTo>
                      <a:pt x="611" y="164"/>
                    </a:lnTo>
                    <a:lnTo>
                      <a:pt x="589" y="164"/>
                    </a:lnTo>
                    <a:lnTo>
                      <a:pt x="579" y="153"/>
                    </a:lnTo>
                    <a:lnTo>
                      <a:pt x="568" y="135"/>
                    </a:lnTo>
                    <a:lnTo>
                      <a:pt x="546" y="135"/>
                    </a:lnTo>
                    <a:lnTo>
                      <a:pt x="536" y="125"/>
                    </a:lnTo>
                    <a:lnTo>
                      <a:pt x="526" y="125"/>
                    </a:lnTo>
                    <a:lnTo>
                      <a:pt x="503" y="125"/>
                    </a:lnTo>
                    <a:lnTo>
                      <a:pt x="493" y="125"/>
                    </a:lnTo>
                    <a:lnTo>
                      <a:pt x="482" y="116"/>
                    </a:lnTo>
                    <a:lnTo>
                      <a:pt x="471" y="116"/>
                    </a:lnTo>
                    <a:lnTo>
                      <a:pt x="461" y="116"/>
                    </a:lnTo>
                    <a:lnTo>
                      <a:pt x="451" y="105"/>
                    </a:lnTo>
                    <a:lnTo>
                      <a:pt x="439" y="96"/>
                    </a:lnTo>
                    <a:lnTo>
                      <a:pt x="429" y="96"/>
                    </a:lnTo>
                    <a:lnTo>
                      <a:pt x="408" y="87"/>
                    </a:lnTo>
                    <a:lnTo>
                      <a:pt x="396" y="87"/>
                    </a:lnTo>
                    <a:lnTo>
                      <a:pt x="375" y="77"/>
                    </a:lnTo>
                    <a:lnTo>
                      <a:pt x="375" y="67"/>
                    </a:lnTo>
                    <a:lnTo>
                      <a:pt x="353" y="67"/>
                    </a:lnTo>
                    <a:lnTo>
                      <a:pt x="343" y="57"/>
                    </a:lnTo>
                    <a:lnTo>
                      <a:pt x="332" y="57"/>
                    </a:lnTo>
                    <a:lnTo>
                      <a:pt x="311" y="57"/>
                    </a:lnTo>
                    <a:lnTo>
                      <a:pt x="300" y="48"/>
                    </a:lnTo>
                    <a:lnTo>
                      <a:pt x="288" y="39"/>
                    </a:lnTo>
                    <a:lnTo>
                      <a:pt x="268" y="48"/>
                    </a:lnTo>
                    <a:lnTo>
                      <a:pt x="257" y="28"/>
                    </a:lnTo>
                    <a:lnTo>
                      <a:pt x="246" y="19"/>
                    </a:lnTo>
                    <a:lnTo>
                      <a:pt x="246" y="10"/>
                    </a:lnTo>
                    <a:lnTo>
                      <a:pt x="246" y="0"/>
                    </a:lnTo>
                    <a:lnTo>
                      <a:pt x="225" y="10"/>
                    </a:lnTo>
                    <a:lnTo>
                      <a:pt x="215" y="10"/>
                    </a:lnTo>
                    <a:lnTo>
                      <a:pt x="203" y="0"/>
                    </a:lnTo>
                    <a:lnTo>
                      <a:pt x="203" y="10"/>
                    </a:lnTo>
                    <a:lnTo>
                      <a:pt x="193" y="10"/>
                    </a:lnTo>
                    <a:lnTo>
                      <a:pt x="182" y="10"/>
                    </a:lnTo>
                    <a:lnTo>
                      <a:pt x="171" y="10"/>
                    </a:lnTo>
                    <a:lnTo>
                      <a:pt x="182" y="19"/>
                    </a:lnTo>
                    <a:lnTo>
                      <a:pt x="171" y="28"/>
                    </a:lnTo>
                    <a:lnTo>
                      <a:pt x="160" y="39"/>
                    </a:lnTo>
                    <a:lnTo>
                      <a:pt x="160" y="28"/>
                    </a:lnTo>
                    <a:lnTo>
                      <a:pt x="150" y="19"/>
                    </a:lnTo>
                    <a:lnTo>
                      <a:pt x="139" y="19"/>
                    </a:lnTo>
                    <a:lnTo>
                      <a:pt x="128" y="19"/>
                    </a:lnTo>
                    <a:lnTo>
                      <a:pt x="118" y="10"/>
                    </a:lnTo>
                    <a:lnTo>
                      <a:pt x="108" y="28"/>
                    </a:lnTo>
                    <a:lnTo>
                      <a:pt x="96" y="19"/>
                    </a:lnTo>
                    <a:lnTo>
                      <a:pt x="87" y="28"/>
                    </a:lnTo>
                    <a:lnTo>
                      <a:pt x="75" y="39"/>
                    </a:lnTo>
                    <a:lnTo>
                      <a:pt x="87" y="48"/>
                    </a:lnTo>
                    <a:lnTo>
                      <a:pt x="87" y="57"/>
                    </a:lnTo>
                    <a:lnTo>
                      <a:pt x="96" y="48"/>
                    </a:lnTo>
                    <a:lnTo>
                      <a:pt x="96" y="57"/>
                    </a:lnTo>
                    <a:lnTo>
                      <a:pt x="87" y="67"/>
                    </a:lnTo>
                    <a:lnTo>
                      <a:pt x="75" y="67"/>
                    </a:lnTo>
                    <a:lnTo>
                      <a:pt x="75" y="77"/>
                    </a:lnTo>
                    <a:lnTo>
                      <a:pt x="87" y="77"/>
                    </a:lnTo>
                    <a:lnTo>
                      <a:pt x="87" y="67"/>
                    </a:lnTo>
                    <a:lnTo>
                      <a:pt x="108" y="67"/>
                    </a:lnTo>
                    <a:lnTo>
                      <a:pt x="108" y="77"/>
                    </a:lnTo>
                    <a:lnTo>
                      <a:pt x="96" y="87"/>
                    </a:lnTo>
                    <a:lnTo>
                      <a:pt x="96" y="96"/>
                    </a:lnTo>
                    <a:lnTo>
                      <a:pt x="87" y="105"/>
                    </a:lnTo>
                    <a:lnTo>
                      <a:pt x="96" y="105"/>
                    </a:lnTo>
                    <a:lnTo>
                      <a:pt x="96" y="116"/>
                    </a:lnTo>
                    <a:lnTo>
                      <a:pt x="87" y="125"/>
                    </a:lnTo>
                    <a:lnTo>
                      <a:pt x="75" y="116"/>
                    </a:lnTo>
                    <a:lnTo>
                      <a:pt x="65" y="125"/>
                    </a:lnTo>
                    <a:lnTo>
                      <a:pt x="65" y="144"/>
                    </a:lnTo>
                    <a:lnTo>
                      <a:pt x="87" y="144"/>
                    </a:lnTo>
                    <a:lnTo>
                      <a:pt x="96" y="144"/>
                    </a:lnTo>
                    <a:lnTo>
                      <a:pt x="96" y="135"/>
                    </a:lnTo>
                    <a:lnTo>
                      <a:pt x="118" y="144"/>
                    </a:lnTo>
                    <a:lnTo>
                      <a:pt x="128" y="144"/>
                    </a:lnTo>
                    <a:lnTo>
                      <a:pt x="128" y="153"/>
                    </a:lnTo>
                    <a:lnTo>
                      <a:pt x="128" y="164"/>
                    </a:lnTo>
                    <a:lnTo>
                      <a:pt x="128" y="175"/>
                    </a:lnTo>
                    <a:lnTo>
                      <a:pt x="139" y="175"/>
                    </a:lnTo>
                    <a:lnTo>
                      <a:pt x="150" y="175"/>
                    </a:lnTo>
                    <a:lnTo>
                      <a:pt x="160" y="175"/>
                    </a:lnTo>
                    <a:lnTo>
                      <a:pt x="171" y="183"/>
                    </a:lnTo>
                    <a:lnTo>
                      <a:pt x="182" y="183"/>
                    </a:lnTo>
                    <a:lnTo>
                      <a:pt x="193" y="194"/>
                    </a:lnTo>
                    <a:lnTo>
                      <a:pt x="203" y="202"/>
                    </a:lnTo>
                    <a:lnTo>
                      <a:pt x="203" y="194"/>
                    </a:lnTo>
                    <a:lnTo>
                      <a:pt x="215" y="194"/>
                    </a:lnTo>
                    <a:lnTo>
                      <a:pt x="225" y="194"/>
                    </a:lnTo>
                    <a:lnTo>
                      <a:pt x="225" y="202"/>
                    </a:lnTo>
                    <a:lnTo>
                      <a:pt x="235" y="202"/>
                    </a:lnTo>
                    <a:lnTo>
                      <a:pt x="246" y="202"/>
                    </a:lnTo>
                    <a:lnTo>
                      <a:pt x="257" y="212"/>
                    </a:lnTo>
                    <a:lnTo>
                      <a:pt x="246" y="221"/>
                    </a:lnTo>
                    <a:lnTo>
                      <a:pt x="246" y="232"/>
                    </a:lnTo>
                    <a:lnTo>
                      <a:pt x="246" y="240"/>
                    </a:lnTo>
                    <a:lnTo>
                      <a:pt x="257" y="240"/>
                    </a:lnTo>
                    <a:lnTo>
                      <a:pt x="268" y="251"/>
                    </a:lnTo>
                    <a:lnTo>
                      <a:pt x="268" y="260"/>
                    </a:lnTo>
                    <a:lnTo>
                      <a:pt x="257" y="260"/>
                    </a:lnTo>
                    <a:lnTo>
                      <a:pt x="257" y="269"/>
                    </a:lnTo>
                    <a:lnTo>
                      <a:pt x="246" y="269"/>
                    </a:lnTo>
                    <a:lnTo>
                      <a:pt x="235" y="269"/>
                    </a:lnTo>
                    <a:lnTo>
                      <a:pt x="235" y="280"/>
                    </a:lnTo>
                    <a:lnTo>
                      <a:pt x="225" y="280"/>
                    </a:lnTo>
                    <a:lnTo>
                      <a:pt x="215" y="280"/>
                    </a:lnTo>
                    <a:lnTo>
                      <a:pt x="215" y="289"/>
                    </a:lnTo>
                    <a:lnTo>
                      <a:pt x="203" y="289"/>
                    </a:lnTo>
                    <a:lnTo>
                      <a:pt x="193" y="300"/>
                    </a:lnTo>
                    <a:lnTo>
                      <a:pt x="193" y="308"/>
                    </a:lnTo>
                    <a:lnTo>
                      <a:pt x="182" y="319"/>
                    </a:lnTo>
                    <a:lnTo>
                      <a:pt x="182" y="326"/>
                    </a:lnTo>
                    <a:lnTo>
                      <a:pt x="171" y="337"/>
                    </a:lnTo>
                    <a:lnTo>
                      <a:pt x="171" y="347"/>
                    </a:lnTo>
                    <a:lnTo>
                      <a:pt x="171" y="357"/>
                    </a:lnTo>
                    <a:lnTo>
                      <a:pt x="171" y="367"/>
                    </a:lnTo>
                    <a:lnTo>
                      <a:pt x="171" y="376"/>
                    </a:lnTo>
                    <a:lnTo>
                      <a:pt x="160" y="376"/>
                    </a:lnTo>
                    <a:lnTo>
                      <a:pt x="150" y="376"/>
                    </a:lnTo>
                    <a:lnTo>
                      <a:pt x="150" y="386"/>
                    </a:lnTo>
                    <a:lnTo>
                      <a:pt x="128" y="405"/>
                    </a:lnTo>
                    <a:lnTo>
                      <a:pt x="128" y="415"/>
                    </a:lnTo>
                    <a:lnTo>
                      <a:pt x="118" y="425"/>
                    </a:lnTo>
                    <a:lnTo>
                      <a:pt x="118" y="433"/>
                    </a:lnTo>
                    <a:lnTo>
                      <a:pt x="108" y="433"/>
                    </a:lnTo>
                    <a:lnTo>
                      <a:pt x="87" y="425"/>
                    </a:lnTo>
                    <a:lnTo>
                      <a:pt x="87" y="444"/>
                    </a:lnTo>
                    <a:lnTo>
                      <a:pt x="87" y="453"/>
                    </a:lnTo>
                    <a:lnTo>
                      <a:pt x="87" y="463"/>
                    </a:lnTo>
                    <a:lnTo>
                      <a:pt x="96" y="473"/>
                    </a:lnTo>
                    <a:lnTo>
                      <a:pt x="96" y="482"/>
                    </a:lnTo>
                    <a:lnTo>
                      <a:pt x="96" y="492"/>
                    </a:lnTo>
                    <a:lnTo>
                      <a:pt x="87" y="501"/>
                    </a:lnTo>
                    <a:lnTo>
                      <a:pt x="75" y="511"/>
                    </a:lnTo>
                    <a:lnTo>
                      <a:pt x="75" y="521"/>
                    </a:lnTo>
                    <a:lnTo>
                      <a:pt x="65" y="521"/>
                    </a:lnTo>
                    <a:lnTo>
                      <a:pt x="53" y="530"/>
                    </a:lnTo>
                    <a:lnTo>
                      <a:pt x="53" y="540"/>
                    </a:lnTo>
                    <a:lnTo>
                      <a:pt x="44" y="549"/>
                    </a:lnTo>
                    <a:lnTo>
                      <a:pt x="53" y="560"/>
                    </a:lnTo>
                    <a:lnTo>
                      <a:pt x="65" y="560"/>
                    </a:lnTo>
                    <a:lnTo>
                      <a:pt x="65" y="569"/>
                    </a:lnTo>
                    <a:lnTo>
                      <a:pt x="65" y="578"/>
                    </a:lnTo>
                    <a:lnTo>
                      <a:pt x="53" y="578"/>
                    </a:lnTo>
                    <a:lnTo>
                      <a:pt x="44" y="588"/>
                    </a:lnTo>
                    <a:lnTo>
                      <a:pt x="32" y="588"/>
                    </a:lnTo>
                    <a:lnTo>
                      <a:pt x="22" y="588"/>
                    </a:lnTo>
                    <a:lnTo>
                      <a:pt x="22" y="598"/>
                    </a:lnTo>
                    <a:lnTo>
                      <a:pt x="10" y="598"/>
                    </a:lnTo>
                    <a:lnTo>
                      <a:pt x="10" y="608"/>
                    </a:lnTo>
                    <a:lnTo>
                      <a:pt x="0" y="617"/>
                    </a:lnTo>
                    <a:lnTo>
                      <a:pt x="0" y="635"/>
                    </a:lnTo>
                    <a:lnTo>
                      <a:pt x="0" y="655"/>
                    </a:lnTo>
                    <a:lnTo>
                      <a:pt x="10" y="655"/>
                    </a:lnTo>
                    <a:lnTo>
                      <a:pt x="22" y="655"/>
                    </a:lnTo>
                    <a:lnTo>
                      <a:pt x="32" y="666"/>
                    </a:lnTo>
                    <a:lnTo>
                      <a:pt x="44" y="674"/>
                    </a:lnTo>
                    <a:lnTo>
                      <a:pt x="53" y="684"/>
                    </a:lnTo>
                    <a:lnTo>
                      <a:pt x="53" y="694"/>
                    </a:lnTo>
                    <a:lnTo>
                      <a:pt x="75" y="705"/>
                    </a:lnTo>
                    <a:lnTo>
                      <a:pt x="87" y="713"/>
                    </a:lnTo>
                    <a:lnTo>
                      <a:pt x="87" y="723"/>
                    </a:lnTo>
                    <a:lnTo>
                      <a:pt x="75" y="733"/>
                    </a:lnTo>
                    <a:lnTo>
                      <a:pt x="87" y="733"/>
                    </a:lnTo>
                    <a:lnTo>
                      <a:pt x="96" y="733"/>
                    </a:lnTo>
                    <a:lnTo>
                      <a:pt x="87" y="753"/>
                    </a:lnTo>
                    <a:lnTo>
                      <a:pt x="87" y="762"/>
                    </a:lnTo>
                    <a:lnTo>
                      <a:pt x="65" y="762"/>
                    </a:lnTo>
                    <a:lnTo>
                      <a:pt x="75" y="772"/>
                    </a:lnTo>
                    <a:lnTo>
                      <a:pt x="75" y="792"/>
                    </a:lnTo>
                    <a:lnTo>
                      <a:pt x="87" y="801"/>
                    </a:lnTo>
                    <a:lnTo>
                      <a:pt x="96" y="801"/>
                    </a:lnTo>
                    <a:lnTo>
                      <a:pt x="108" y="810"/>
                    </a:lnTo>
                    <a:lnTo>
                      <a:pt x="118" y="828"/>
                    </a:lnTo>
                    <a:lnTo>
                      <a:pt x="128" y="819"/>
                    </a:lnTo>
                    <a:lnTo>
                      <a:pt x="128" y="810"/>
                    </a:lnTo>
                    <a:lnTo>
                      <a:pt x="150" y="801"/>
                    </a:lnTo>
                    <a:lnTo>
                      <a:pt x="171" y="801"/>
                    </a:lnTo>
                    <a:lnTo>
                      <a:pt x="182" y="792"/>
                    </a:lnTo>
                    <a:lnTo>
                      <a:pt x="193" y="792"/>
                    </a:lnTo>
                    <a:lnTo>
                      <a:pt x="215" y="801"/>
                    </a:lnTo>
                    <a:lnTo>
                      <a:pt x="225" y="801"/>
                    </a:lnTo>
                    <a:lnTo>
                      <a:pt x="235" y="781"/>
                    </a:lnTo>
                    <a:lnTo>
                      <a:pt x="257" y="781"/>
                    </a:lnTo>
                    <a:lnTo>
                      <a:pt x="278" y="792"/>
                    </a:lnTo>
                    <a:lnTo>
                      <a:pt x="288" y="801"/>
                    </a:lnTo>
                    <a:lnTo>
                      <a:pt x="311" y="801"/>
                    </a:lnTo>
                    <a:lnTo>
                      <a:pt x="321" y="819"/>
                    </a:lnTo>
                    <a:lnTo>
                      <a:pt x="343" y="819"/>
                    </a:lnTo>
                    <a:lnTo>
                      <a:pt x="375" y="819"/>
                    </a:lnTo>
                    <a:lnTo>
                      <a:pt x="386" y="819"/>
                    </a:lnTo>
                    <a:lnTo>
                      <a:pt x="408" y="828"/>
                    </a:lnTo>
                    <a:lnTo>
                      <a:pt x="418" y="819"/>
                    </a:lnTo>
                    <a:lnTo>
                      <a:pt x="439" y="819"/>
                    </a:lnTo>
                    <a:lnTo>
                      <a:pt x="451" y="828"/>
                    </a:lnTo>
                    <a:lnTo>
                      <a:pt x="461" y="828"/>
                    </a:lnTo>
                    <a:lnTo>
                      <a:pt x="461" y="839"/>
                    </a:lnTo>
                    <a:lnTo>
                      <a:pt x="471" y="839"/>
                    </a:lnTo>
                    <a:lnTo>
                      <a:pt x="482" y="828"/>
                    </a:lnTo>
                    <a:lnTo>
                      <a:pt x="482" y="819"/>
                    </a:lnTo>
                    <a:lnTo>
                      <a:pt x="482" y="810"/>
                    </a:lnTo>
                    <a:lnTo>
                      <a:pt x="503" y="801"/>
                    </a:lnTo>
                    <a:lnTo>
                      <a:pt x="503" y="792"/>
                    </a:lnTo>
                    <a:lnTo>
                      <a:pt x="526" y="792"/>
                    </a:lnTo>
                    <a:lnTo>
                      <a:pt x="536" y="781"/>
                    </a:lnTo>
                    <a:lnTo>
                      <a:pt x="557" y="781"/>
                    </a:lnTo>
                    <a:lnTo>
                      <a:pt x="568" y="781"/>
                    </a:lnTo>
                    <a:lnTo>
                      <a:pt x="589" y="792"/>
                    </a:lnTo>
                    <a:lnTo>
                      <a:pt x="600" y="781"/>
                    </a:lnTo>
                    <a:lnTo>
                      <a:pt x="621" y="772"/>
                    </a:lnTo>
                    <a:lnTo>
                      <a:pt x="621" y="753"/>
                    </a:lnTo>
                    <a:lnTo>
                      <a:pt x="632" y="744"/>
                    </a:lnTo>
                    <a:lnTo>
                      <a:pt x="642" y="744"/>
                    </a:lnTo>
                    <a:lnTo>
                      <a:pt x="654" y="733"/>
                    </a:lnTo>
                    <a:lnTo>
                      <a:pt x="654" y="723"/>
                    </a:lnTo>
                    <a:lnTo>
                      <a:pt x="675" y="713"/>
                    </a:lnTo>
                    <a:lnTo>
                      <a:pt x="684" y="713"/>
                    </a:lnTo>
                    <a:lnTo>
                      <a:pt x="707" y="713"/>
                    </a:lnTo>
                    <a:lnTo>
                      <a:pt x="727" y="694"/>
                    </a:lnTo>
                    <a:lnTo>
                      <a:pt x="717" y="684"/>
                    </a:lnTo>
                    <a:lnTo>
                      <a:pt x="717" y="674"/>
                    </a:lnTo>
                    <a:lnTo>
                      <a:pt x="707" y="666"/>
                    </a:lnTo>
                    <a:lnTo>
                      <a:pt x="707" y="655"/>
                    </a:lnTo>
                    <a:lnTo>
                      <a:pt x="707" y="646"/>
                    </a:lnTo>
                    <a:lnTo>
                      <a:pt x="707" y="627"/>
                    </a:lnTo>
                    <a:lnTo>
                      <a:pt x="707" y="608"/>
                    </a:lnTo>
                    <a:lnTo>
                      <a:pt x="717" y="598"/>
                    </a:lnTo>
                    <a:lnTo>
                      <a:pt x="727" y="588"/>
                    </a:lnTo>
                    <a:lnTo>
                      <a:pt x="749" y="578"/>
                    </a:lnTo>
                    <a:lnTo>
                      <a:pt x="770" y="560"/>
                    </a:lnTo>
                    <a:lnTo>
                      <a:pt x="782" y="560"/>
                    </a:lnTo>
                    <a:lnTo>
                      <a:pt x="793" y="549"/>
                    </a:lnTo>
                    <a:lnTo>
                      <a:pt x="815" y="530"/>
                    </a:lnTo>
                    <a:lnTo>
                      <a:pt x="824" y="521"/>
                    </a:lnTo>
                    <a:lnTo>
                      <a:pt x="847" y="511"/>
                    </a:lnTo>
                    <a:lnTo>
                      <a:pt x="857" y="511"/>
                    </a:lnTo>
                    <a:lnTo>
                      <a:pt x="847" y="511"/>
                    </a:lnTo>
                    <a:lnTo>
                      <a:pt x="847" y="501"/>
                    </a:lnTo>
                    <a:lnTo>
                      <a:pt x="857" y="501"/>
                    </a:lnTo>
                    <a:lnTo>
                      <a:pt x="857" y="492"/>
                    </a:lnTo>
                    <a:lnTo>
                      <a:pt x="868" y="482"/>
                    </a:lnTo>
                    <a:lnTo>
                      <a:pt x="878" y="482"/>
                    </a:lnTo>
                    <a:lnTo>
                      <a:pt x="899" y="482"/>
                    </a:lnTo>
                    <a:lnTo>
                      <a:pt x="920" y="482"/>
                    </a:lnTo>
                    <a:lnTo>
                      <a:pt x="942" y="482"/>
                    </a:lnTo>
                    <a:lnTo>
                      <a:pt x="953" y="482"/>
                    </a:lnTo>
                    <a:lnTo>
                      <a:pt x="963" y="482"/>
                    </a:lnTo>
                    <a:lnTo>
                      <a:pt x="975" y="482"/>
                    </a:lnTo>
                    <a:lnTo>
                      <a:pt x="995" y="473"/>
                    </a:lnTo>
                    <a:lnTo>
                      <a:pt x="1007" y="473"/>
                    </a:lnTo>
                    <a:lnTo>
                      <a:pt x="1017" y="463"/>
                    </a:lnTo>
                    <a:lnTo>
                      <a:pt x="1038" y="463"/>
                    </a:lnTo>
                    <a:lnTo>
                      <a:pt x="1050" y="463"/>
                    </a:lnTo>
                    <a:lnTo>
                      <a:pt x="1060" y="453"/>
                    </a:lnTo>
                    <a:lnTo>
                      <a:pt x="1071" y="453"/>
                    </a:lnTo>
                    <a:lnTo>
                      <a:pt x="1081" y="444"/>
                    </a:lnTo>
                    <a:lnTo>
                      <a:pt x="1093" y="433"/>
                    </a:lnTo>
                    <a:lnTo>
                      <a:pt x="1093" y="425"/>
                    </a:lnTo>
                    <a:lnTo>
                      <a:pt x="1103" y="415"/>
                    </a:lnTo>
                    <a:lnTo>
                      <a:pt x="1103" y="405"/>
                    </a:lnTo>
                    <a:lnTo>
                      <a:pt x="1103" y="386"/>
                    </a:lnTo>
                    <a:lnTo>
                      <a:pt x="1097" y="379"/>
                    </a:lnTo>
                    <a:lnTo>
                      <a:pt x="1093" y="386"/>
                    </a:lnTo>
                    <a:lnTo>
                      <a:pt x="1081" y="386"/>
                    </a:lnTo>
                    <a:lnTo>
                      <a:pt x="1071" y="376"/>
                    </a:lnTo>
                    <a:lnTo>
                      <a:pt x="1060" y="386"/>
                    </a:lnTo>
                    <a:lnTo>
                      <a:pt x="1050" y="376"/>
                    </a:lnTo>
                    <a:lnTo>
                      <a:pt x="1028" y="376"/>
                    </a:lnTo>
                    <a:lnTo>
                      <a:pt x="1017" y="376"/>
                    </a:lnTo>
                    <a:lnTo>
                      <a:pt x="1006" y="378"/>
                    </a:lnTo>
                    <a:lnTo>
                      <a:pt x="988" y="378"/>
                    </a:lnTo>
                    <a:lnTo>
                      <a:pt x="975" y="375"/>
                    </a:lnTo>
                    <a:lnTo>
                      <a:pt x="970" y="363"/>
                    </a:lnTo>
                    <a:lnTo>
                      <a:pt x="972" y="357"/>
                    </a:lnTo>
                    <a:lnTo>
                      <a:pt x="953" y="347"/>
                    </a:lnTo>
                    <a:lnTo>
                      <a:pt x="956" y="335"/>
                    </a:lnTo>
                    <a:lnTo>
                      <a:pt x="948" y="326"/>
                    </a:lnTo>
                    <a:lnTo>
                      <a:pt x="939" y="318"/>
                    </a:lnTo>
                    <a:lnTo>
                      <a:pt x="923" y="308"/>
                    </a:lnTo>
                    <a:lnTo>
                      <a:pt x="910" y="319"/>
                    </a:lnTo>
                    <a:lnTo>
                      <a:pt x="888" y="319"/>
                    </a:lnTo>
                    <a:lnTo>
                      <a:pt x="888" y="308"/>
                    </a:lnTo>
                    <a:lnTo>
                      <a:pt x="878" y="308"/>
                    </a:lnTo>
                    <a:lnTo>
                      <a:pt x="857" y="300"/>
                    </a:lnTo>
                    <a:lnTo>
                      <a:pt x="847" y="300"/>
                    </a:lnTo>
                    <a:lnTo>
                      <a:pt x="824" y="289"/>
                    </a:lnTo>
                    <a:lnTo>
                      <a:pt x="824" y="280"/>
                    </a:lnTo>
                    <a:lnTo>
                      <a:pt x="804" y="269"/>
                    </a:lnTo>
                    <a:lnTo>
                      <a:pt x="793" y="269"/>
                    </a:lnTo>
                    <a:lnTo>
                      <a:pt x="770" y="251"/>
                    </a:lnTo>
                    <a:lnTo>
                      <a:pt x="760" y="251"/>
                    </a:lnTo>
                    <a:lnTo>
                      <a:pt x="749" y="240"/>
                    </a:lnTo>
                    <a:lnTo>
                      <a:pt x="739" y="232"/>
                    </a:lnTo>
                    <a:lnTo>
                      <a:pt x="727" y="232"/>
                    </a:lnTo>
                    <a:lnTo>
                      <a:pt x="727" y="221"/>
                    </a:lnTo>
                    <a:lnTo>
                      <a:pt x="727" y="212"/>
                    </a:lnTo>
                    <a:lnTo>
                      <a:pt x="717" y="202"/>
                    </a:lnTo>
                    <a:lnTo>
                      <a:pt x="707" y="194"/>
                    </a:lnTo>
                    <a:lnTo>
                      <a:pt x="706" y="19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Freeform 18">
                <a:extLst>
                  <a:ext uri="{FF2B5EF4-FFF2-40B4-BE49-F238E27FC236}">
                    <a16:creationId xmlns:a16="http://schemas.microsoft.com/office/drawing/2014/main" id="{C5302689-D5B4-F357-4FE7-2AD82203E602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798513" y="3381375"/>
                <a:ext cx="666750" cy="785813"/>
              </a:xfrm>
              <a:custGeom>
                <a:avLst/>
                <a:gdLst>
                  <a:gd name="T0" fmla="*/ 188636 w 562"/>
                  <a:gd name="T1" fmla="*/ 785813 h 790"/>
                  <a:gd name="T2" fmla="*/ 154230 w 562"/>
                  <a:gd name="T3" fmla="*/ 769898 h 790"/>
                  <a:gd name="T4" fmla="*/ 86606 w 562"/>
                  <a:gd name="T5" fmla="*/ 743041 h 790"/>
                  <a:gd name="T6" fmla="*/ 49828 w 562"/>
                  <a:gd name="T7" fmla="*/ 714195 h 790"/>
                  <a:gd name="T8" fmla="*/ 0 w 562"/>
                  <a:gd name="T9" fmla="*/ 727126 h 790"/>
                  <a:gd name="T10" fmla="*/ 34405 w 562"/>
                  <a:gd name="T11" fmla="*/ 671423 h 790"/>
                  <a:gd name="T12" fmla="*/ 68810 w 562"/>
                  <a:gd name="T13" fmla="*/ 642576 h 790"/>
                  <a:gd name="T14" fmla="*/ 68810 w 562"/>
                  <a:gd name="T15" fmla="*/ 584884 h 790"/>
                  <a:gd name="T16" fmla="*/ 103216 w 562"/>
                  <a:gd name="T17" fmla="*/ 542112 h 790"/>
                  <a:gd name="T18" fmla="*/ 119825 w 562"/>
                  <a:gd name="T19" fmla="*/ 484419 h 790"/>
                  <a:gd name="T20" fmla="*/ 49828 w 562"/>
                  <a:gd name="T21" fmla="*/ 471488 h 790"/>
                  <a:gd name="T22" fmla="*/ 68810 w 562"/>
                  <a:gd name="T23" fmla="*/ 428716 h 790"/>
                  <a:gd name="T24" fmla="*/ 86606 w 562"/>
                  <a:gd name="T25" fmla="*/ 385944 h 790"/>
                  <a:gd name="T26" fmla="*/ 135248 w 562"/>
                  <a:gd name="T27" fmla="*/ 357097 h 790"/>
                  <a:gd name="T28" fmla="*/ 188636 w 562"/>
                  <a:gd name="T29" fmla="*/ 314325 h 790"/>
                  <a:gd name="T30" fmla="*/ 223041 w 562"/>
                  <a:gd name="T31" fmla="*/ 270558 h 790"/>
                  <a:gd name="T32" fmla="*/ 257446 w 562"/>
                  <a:gd name="T33" fmla="*/ 198940 h 790"/>
                  <a:gd name="T34" fmla="*/ 291851 w 562"/>
                  <a:gd name="T35" fmla="*/ 143237 h 790"/>
                  <a:gd name="T36" fmla="*/ 323884 w 562"/>
                  <a:gd name="T37" fmla="*/ 85544 h 790"/>
                  <a:gd name="T38" fmla="*/ 342866 w 562"/>
                  <a:gd name="T39" fmla="*/ 42772 h 790"/>
                  <a:gd name="T40" fmla="*/ 377271 w 562"/>
                  <a:gd name="T41" fmla="*/ 13926 h 790"/>
                  <a:gd name="T42" fmla="*/ 427100 w 562"/>
                  <a:gd name="T43" fmla="*/ 13926 h 790"/>
                  <a:gd name="T44" fmla="*/ 443709 w 562"/>
                  <a:gd name="T45" fmla="*/ 42772 h 790"/>
                  <a:gd name="T46" fmla="*/ 478114 w 562"/>
                  <a:gd name="T47" fmla="*/ 56698 h 790"/>
                  <a:gd name="T48" fmla="*/ 531502 w 562"/>
                  <a:gd name="T49" fmla="*/ 71618 h 790"/>
                  <a:gd name="T50" fmla="*/ 563534 w 562"/>
                  <a:gd name="T51" fmla="*/ 85544 h 790"/>
                  <a:gd name="T52" fmla="*/ 600312 w 562"/>
                  <a:gd name="T53" fmla="*/ 98475 h 790"/>
                  <a:gd name="T54" fmla="*/ 648954 w 562"/>
                  <a:gd name="T55" fmla="*/ 114390 h 790"/>
                  <a:gd name="T56" fmla="*/ 634718 w 562"/>
                  <a:gd name="T57" fmla="*/ 156168 h 790"/>
                  <a:gd name="T58" fmla="*/ 666750 w 562"/>
                  <a:gd name="T59" fmla="*/ 186009 h 790"/>
                  <a:gd name="T60" fmla="*/ 634718 w 562"/>
                  <a:gd name="T61" fmla="*/ 198940 h 790"/>
                  <a:gd name="T62" fmla="*/ 600312 w 562"/>
                  <a:gd name="T63" fmla="*/ 214855 h 790"/>
                  <a:gd name="T64" fmla="*/ 563534 w 562"/>
                  <a:gd name="T65" fmla="*/ 229776 h 790"/>
                  <a:gd name="T66" fmla="*/ 531502 w 562"/>
                  <a:gd name="T67" fmla="*/ 270558 h 790"/>
                  <a:gd name="T68" fmla="*/ 512519 w 562"/>
                  <a:gd name="T69" fmla="*/ 314325 h 790"/>
                  <a:gd name="T70" fmla="*/ 512519 w 562"/>
                  <a:gd name="T71" fmla="*/ 357097 h 790"/>
                  <a:gd name="T72" fmla="*/ 478114 w 562"/>
                  <a:gd name="T73" fmla="*/ 371023 h 790"/>
                  <a:gd name="T74" fmla="*/ 427100 w 562"/>
                  <a:gd name="T75" fmla="*/ 428716 h 790"/>
                  <a:gd name="T76" fmla="*/ 377271 w 562"/>
                  <a:gd name="T77" fmla="*/ 428716 h 790"/>
                  <a:gd name="T78" fmla="*/ 377271 w 562"/>
                  <a:gd name="T79" fmla="*/ 484419 h 790"/>
                  <a:gd name="T80" fmla="*/ 392694 w 562"/>
                  <a:gd name="T81" fmla="*/ 529180 h 790"/>
                  <a:gd name="T82" fmla="*/ 358289 w 562"/>
                  <a:gd name="T83" fmla="*/ 570958 h 790"/>
                  <a:gd name="T84" fmla="*/ 323884 w 562"/>
                  <a:gd name="T85" fmla="*/ 600799 h 790"/>
                  <a:gd name="T86" fmla="*/ 342866 w 562"/>
                  <a:gd name="T87" fmla="*/ 629645 h 790"/>
                  <a:gd name="T88" fmla="*/ 323884 w 562"/>
                  <a:gd name="T89" fmla="*/ 656502 h 790"/>
                  <a:gd name="T90" fmla="*/ 272869 w 562"/>
                  <a:gd name="T91" fmla="*/ 671423 h 790"/>
                  <a:gd name="T92" fmla="*/ 257446 w 562"/>
                  <a:gd name="T93" fmla="*/ 698279 h 790"/>
                  <a:gd name="T94" fmla="*/ 240837 w 562"/>
                  <a:gd name="T95" fmla="*/ 769898 h 790"/>
                  <a:gd name="T96" fmla="*/ 257446 w 562"/>
                  <a:gd name="T97" fmla="*/ 769898 h 7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62"/>
                  <a:gd name="T148" fmla="*/ 0 h 790"/>
                  <a:gd name="T149" fmla="*/ 562 w 562"/>
                  <a:gd name="T150" fmla="*/ 790 h 7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62" h="790">
                    <a:moveTo>
                      <a:pt x="217" y="774"/>
                    </a:moveTo>
                    <a:lnTo>
                      <a:pt x="172" y="790"/>
                    </a:lnTo>
                    <a:lnTo>
                      <a:pt x="159" y="790"/>
                    </a:lnTo>
                    <a:lnTo>
                      <a:pt x="159" y="774"/>
                    </a:lnTo>
                    <a:lnTo>
                      <a:pt x="145" y="790"/>
                    </a:lnTo>
                    <a:lnTo>
                      <a:pt x="130" y="774"/>
                    </a:lnTo>
                    <a:lnTo>
                      <a:pt x="101" y="761"/>
                    </a:lnTo>
                    <a:lnTo>
                      <a:pt x="87" y="747"/>
                    </a:lnTo>
                    <a:lnTo>
                      <a:pt x="73" y="747"/>
                    </a:lnTo>
                    <a:lnTo>
                      <a:pt x="58" y="747"/>
                    </a:lnTo>
                    <a:lnTo>
                      <a:pt x="58" y="731"/>
                    </a:lnTo>
                    <a:lnTo>
                      <a:pt x="42" y="718"/>
                    </a:lnTo>
                    <a:lnTo>
                      <a:pt x="29" y="731"/>
                    </a:lnTo>
                    <a:lnTo>
                      <a:pt x="13" y="731"/>
                    </a:lnTo>
                    <a:lnTo>
                      <a:pt x="0" y="731"/>
                    </a:lnTo>
                    <a:lnTo>
                      <a:pt x="0" y="718"/>
                    </a:lnTo>
                    <a:lnTo>
                      <a:pt x="13" y="702"/>
                    </a:lnTo>
                    <a:lnTo>
                      <a:pt x="29" y="675"/>
                    </a:lnTo>
                    <a:lnTo>
                      <a:pt x="29" y="660"/>
                    </a:lnTo>
                    <a:lnTo>
                      <a:pt x="42" y="646"/>
                    </a:lnTo>
                    <a:lnTo>
                      <a:pt x="58" y="646"/>
                    </a:lnTo>
                    <a:lnTo>
                      <a:pt x="58" y="633"/>
                    </a:lnTo>
                    <a:lnTo>
                      <a:pt x="73" y="604"/>
                    </a:lnTo>
                    <a:lnTo>
                      <a:pt x="58" y="588"/>
                    </a:lnTo>
                    <a:lnTo>
                      <a:pt x="73" y="574"/>
                    </a:lnTo>
                    <a:lnTo>
                      <a:pt x="73" y="559"/>
                    </a:lnTo>
                    <a:lnTo>
                      <a:pt x="87" y="545"/>
                    </a:lnTo>
                    <a:lnTo>
                      <a:pt x="101" y="532"/>
                    </a:lnTo>
                    <a:lnTo>
                      <a:pt x="101" y="516"/>
                    </a:lnTo>
                    <a:lnTo>
                      <a:pt x="101" y="487"/>
                    </a:lnTo>
                    <a:lnTo>
                      <a:pt x="87" y="487"/>
                    </a:lnTo>
                    <a:lnTo>
                      <a:pt x="73" y="474"/>
                    </a:lnTo>
                    <a:lnTo>
                      <a:pt x="42" y="474"/>
                    </a:lnTo>
                    <a:lnTo>
                      <a:pt x="42" y="460"/>
                    </a:lnTo>
                    <a:lnTo>
                      <a:pt x="42" y="444"/>
                    </a:lnTo>
                    <a:lnTo>
                      <a:pt x="58" y="431"/>
                    </a:lnTo>
                    <a:lnTo>
                      <a:pt x="73" y="417"/>
                    </a:lnTo>
                    <a:lnTo>
                      <a:pt x="73" y="402"/>
                    </a:lnTo>
                    <a:lnTo>
                      <a:pt x="73" y="388"/>
                    </a:lnTo>
                    <a:lnTo>
                      <a:pt x="73" y="373"/>
                    </a:lnTo>
                    <a:lnTo>
                      <a:pt x="87" y="359"/>
                    </a:lnTo>
                    <a:lnTo>
                      <a:pt x="114" y="359"/>
                    </a:lnTo>
                    <a:lnTo>
                      <a:pt x="130" y="359"/>
                    </a:lnTo>
                    <a:lnTo>
                      <a:pt x="145" y="330"/>
                    </a:lnTo>
                    <a:lnTo>
                      <a:pt x="159" y="316"/>
                    </a:lnTo>
                    <a:lnTo>
                      <a:pt x="159" y="301"/>
                    </a:lnTo>
                    <a:lnTo>
                      <a:pt x="172" y="287"/>
                    </a:lnTo>
                    <a:lnTo>
                      <a:pt x="188" y="272"/>
                    </a:lnTo>
                    <a:lnTo>
                      <a:pt x="203" y="245"/>
                    </a:lnTo>
                    <a:lnTo>
                      <a:pt x="217" y="231"/>
                    </a:lnTo>
                    <a:lnTo>
                      <a:pt x="217" y="200"/>
                    </a:lnTo>
                    <a:lnTo>
                      <a:pt x="230" y="187"/>
                    </a:lnTo>
                    <a:lnTo>
                      <a:pt x="246" y="173"/>
                    </a:lnTo>
                    <a:lnTo>
                      <a:pt x="246" y="144"/>
                    </a:lnTo>
                    <a:lnTo>
                      <a:pt x="260" y="128"/>
                    </a:lnTo>
                    <a:lnTo>
                      <a:pt x="273" y="115"/>
                    </a:lnTo>
                    <a:lnTo>
                      <a:pt x="273" y="86"/>
                    </a:lnTo>
                    <a:lnTo>
                      <a:pt x="273" y="72"/>
                    </a:lnTo>
                    <a:lnTo>
                      <a:pt x="289" y="57"/>
                    </a:lnTo>
                    <a:lnTo>
                      <a:pt x="289" y="43"/>
                    </a:lnTo>
                    <a:lnTo>
                      <a:pt x="289" y="28"/>
                    </a:lnTo>
                    <a:lnTo>
                      <a:pt x="289" y="14"/>
                    </a:lnTo>
                    <a:lnTo>
                      <a:pt x="318" y="14"/>
                    </a:lnTo>
                    <a:lnTo>
                      <a:pt x="331" y="14"/>
                    </a:lnTo>
                    <a:lnTo>
                      <a:pt x="331" y="0"/>
                    </a:lnTo>
                    <a:lnTo>
                      <a:pt x="360" y="14"/>
                    </a:lnTo>
                    <a:lnTo>
                      <a:pt x="374" y="14"/>
                    </a:lnTo>
                    <a:lnTo>
                      <a:pt x="374" y="28"/>
                    </a:lnTo>
                    <a:lnTo>
                      <a:pt x="374" y="43"/>
                    </a:lnTo>
                    <a:lnTo>
                      <a:pt x="374" y="57"/>
                    </a:lnTo>
                    <a:lnTo>
                      <a:pt x="390" y="57"/>
                    </a:lnTo>
                    <a:lnTo>
                      <a:pt x="403" y="57"/>
                    </a:lnTo>
                    <a:lnTo>
                      <a:pt x="419" y="57"/>
                    </a:lnTo>
                    <a:lnTo>
                      <a:pt x="432" y="72"/>
                    </a:lnTo>
                    <a:lnTo>
                      <a:pt x="448" y="72"/>
                    </a:lnTo>
                    <a:lnTo>
                      <a:pt x="461" y="86"/>
                    </a:lnTo>
                    <a:lnTo>
                      <a:pt x="475" y="99"/>
                    </a:lnTo>
                    <a:lnTo>
                      <a:pt x="475" y="86"/>
                    </a:lnTo>
                    <a:lnTo>
                      <a:pt x="490" y="86"/>
                    </a:lnTo>
                    <a:lnTo>
                      <a:pt x="506" y="86"/>
                    </a:lnTo>
                    <a:lnTo>
                      <a:pt x="506" y="99"/>
                    </a:lnTo>
                    <a:lnTo>
                      <a:pt x="519" y="99"/>
                    </a:lnTo>
                    <a:lnTo>
                      <a:pt x="535" y="99"/>
                    </a:lnTo>
                    <a:lnTo>
                      <a:pt x="547" y="115"/>
                    </a:lnTo>
                    <a:lnTo>
                      <a:pt x="535" y="128"/>
                    </a:lnTo>
                    <a:lnTo>
                      <a:pt x="535" y="144"/>
                    </a:lnTo>
                    <a:lnTo>
                      <a:pt x="535" y="157"/>
                    </a:lnTo>
                    <a:lnTo>
                      <a:pt x="547" y="157"/>
                    </a:lnTo>
                    <a:lnTo>
                      <a:pt x="562" y="173"/>
                    </a:lnTo>
                    <a:lnTo>
                      <a:pt x="562" y="187"/>
                    </a:lnTo>
                    <a:lnTo>
                      <a:pt x="547" y="187"/>
                    </a:lnTo>
                    <a:lnTo>
                      <a:pt x="547" y="200"/>
                    </a:lnTo>
                    <a:lnTo>
                      <a:pt x="535" y="200"/>
                    </a:lnTo>
                    <a:lnTo>
                      <a:pt x="519" y="200"/>
                    </a:lnTo>
                    <a:lnTo>
                      <a:pt x="519" y="216"/>
                    </a:lnTo>
                    <a:lnTo>
                      <a:pt x="506" y="216"/>
                    </a:lnTo>
                    <a:lnTo>
                      <a:pt x="490" y="216"/>
                    </a:lnTo>
                    <a:lnTo>
                      <a:pt x="490" y="231"/>
                    </a:lnTo>
                    <a:lnTo>
                      <a:pt x="475" y="231"/>
                    </a:lnTo>
                    <a:lnTo>
                      <a:pt x="461" y="245"/>
                    </a:lnTo>
                    <a:lnTo>
                      <a:pt x="461" y="258"/>
                    </a:lnTo>
                    <a:lnTo>
                      <a:pt x="448" y="272"/>
                    </a:lnTo>
                    <a:lnTo>
                      <a:pt x="448" y="287"/>
                    </a:lnTo>
                    <a:lnTo>
                      <a:pt x="432" y="301"/>
                    </a:lnTo>
                    <a:lnTo>
                      <a:pt x="432" y="316"/>
                    </a:lnTo>
                    <a:lnTo>
                      <a:pt x="432" y="330"/>
                    </a:lnTo>
                    <a:lnTo>
                      <a:pt x="432" y="346"/>
                    </a:lnTo>
                    <a:lnTo>
                      <a:pt x="432" y="359"/>
                    </a:lnTo>
                    <a:lnTo>
                      <a:pt x="419" y="359"/>
                    </a:lnTo>
                    <a:lnTo>
                      <a:pt x="403" y="359"/>
                    </a:lnTo>
                    <a:lnTo>
                      <a:pt x="403" y="373"/>
                    </a:lnTo>
                    <a:lnTo>
                      <a:pt x="374" y="402"/>
                    </a:lnTo>
                    <a:lnTo>
                      <a:pt x="374" y="417"/>
                    </a:lnTo>
                    <a:lnTo>
                      <a:pt x="360" y="431"/>
                    </a:lnTo>
                    <a:lnTo>
                      <a:pt x="360" y="444"/>
                    </a:lnTo>
                    <a:lnTo>
                      <a:pt x="347" y="444"/>
                    </a:lnTo>
                    <a:lnTo>
                      <a:pt x="318" y="431"/>
                    </a:lnTo>
                    <a:lnTo>
                      <a:pt x="318" y="460"/>
                    </a:lnTo>
                    <a:lnTo>
                      <a:pt x="318" y="474"/>
                    </a:lnTo>
                    <a:lnTo>
                      <a:pt x="318" y="487"/>
                    </a:lnTo>
                    <a:lnTo>
                      <a:pt x="331" y="503"/>
                    </a:lnTo>
                    <a:lnTo>
                      <a:pt x="331" y="516"/>
                    </a:lnTo>
                    <a:lnTo>
                      <a:pt x="331" y="532"/>
                    </a:lnTo>
                    <a:lnTo>
                      <a:pt x="318" y="545"/>
                    </a:lnTo>
                    <a:lnTo>
                      <a:pt x="302" y="559"/>
                    </a:lnTo>
                    <a:lnTo>
                      <a:pt x="302" y="574"/>
                    </a:lnTo>
                    <a:lnTo>
                      <a:pt x="289" y="574"/>
                    </a:lnTo>
                    <a:lnTo>
                      <a:pt x="273" y="588"/>
                    </a:lnTo>
                    <a:lnTo>
                      <a:pt x="273" y="604"/>
                    </a:lnTo>
                    <a:lnTo>
                      <a:pt x="260" y="617"/>
                    </a:lnTo>
                    <a:lnTo>
                      <a:pt x="273" y="633"/>
                    </a:lnTo>
                    <a:lnTo>
                      <a:pt x="289" y="633"/>
                    </a:lnTo>
                    <a:lnTo>
                      <a:pt x="289" y="646"/>
                    </a:lnTo>
                    <a:lnTo>
                      <a:pt x="289" y="660"/>
                    </a:lnTo>
                    <a:lnTo>
                      <a:pt x="273" y="660"/>
                    </a:lnTo>
                    <a:lnTo>
                      <a:pt x="260" y="675"/>
                    </a:lnTo>
                    <a:lnTo>
                      <a:pt x="246" y="675"/>
                    </a:lnTo>
                    <a:lnTo>
                      <a:pt x="230" y="675"/>
                    </a:lnTo>
                    <a:lnTo>
                      <a:pt x="230" y="689"/>
                    </a:lnTo>
                    <a:lnTo>
                      <a:pt x="217" y="689"/>
                    </a:lnTo>
                    <a:lnTo>
                      <a:pt x="217" y="702"/>
                    </a:lnTo>
                    <a:lnTo>
                      <a:pt x="203" y="718"/>
                    </a:lnTo>
                    <a:lnTo>
                      <a:pt x="203" y="747"/>
                    </a:lnTo>
                    <a:lnTo>
                      <a:pt x="203" y="774"/>
                    </a:lnTo>
                    <a:lnTo>
                      <a:pt x="217" y="7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Freeform 19">
                <a:extLst>
                  <a:ext uri="{FF2B5EF4-FFF2-40B4-BE49-F238E27FC236}">
                    <a16:creationId xmlns:a16="http://schemas.microsoft.com/office/drawing/2014/main" id="{BE33042B-5D6B-C30E-1976-3F6C8F86F13C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2584450" y="4125913"/>
                <a:ext cx="155575" cy="85725"/>
              </a:xfrm>
              <a:custGeom>
                <a:avLst/>
                <a:gdLst>
                  <a:gd name="T0" fmla="*/ 86165 w 130"/>
                  <a:gd name="T1" fmla="*/ 85725 h 87"/>
                  <a:gd name="T2" fmla="*/ 86165 w 130"/>
                  <a:gd name="T3" fmla="*/ 72916 h 87"/>
                  <a:gd name="T4" fmla="*/ 69410 w 130"/>
                  <a:gd name="T5" fmla="*/ 72916 h 87"/>
                  <a:gd name="T6" fmla="*/ 50263 w 130"/>
                  <a:gd name="T7" fmla="*/ 43355 h 87"/>
                  <a:gd name="T8" fmla="*/ 34705 w 130"/>
                  <a:gd name="T9" fmla="*/ 43355 h 87"/>
                  <a:gd name="T10" fmla="*/ 0 w 130"/>
                  <a:gd name="T11" fmla="*/ 43355 h 87"/>
                  <a:gd name="T12" fmla="*/ 0 w 130"/>
                  <a:gd name="T13" fmla="*/ 28575 h 87"/>
                  <a:gd name="T14" fmla="*/ 15557 w 130"/>
                  <a:gd name="T15" fmla="*/ 28575 h 87"/>
                  <a:gd name="T16" fmla="*/ 34705 w 130"/>
                  <a:gd name="T17" fmla="*/ 28575 h 87"/>
                  <a:gd name="T18" fmla="*/ 69410 w 130"/>
                  <a:gd name="T19" fmla="*/ 28575 h 87"/>
                  <a:gd name="T20" fmla="*/ 69410 w 130"/>
                  <a:gd name="T21" fmla="*/ 14780 h 87"/>
                  <a:gd name="T22" fmla="*/ 86165 w 130"/>
                  <a:gd name="T23" fmla="*/ 0 h 87"/>
                  <a:gd name="T24" fmla="*/ 101722 w 130"/>
                  <a:gd name="T25" fmla="*/ 14780 h 87"/>
                  <a:gd name="T26" fmla="*/ 101722 w 130"/>
                  <a:gd name="T27" fmla="*/ 28575 h 87"/>
                  <a:gd name="T28" fmla="*/ 120870 w 130"/>
                  <a:gd name="T29" fmla="*/ 43355 h 87"/>
                  <a:gd name="T30" fmla="*/ 136427 w 130"/>
                  <a:gd name="T31" fmla="*/ 43355 h 87"/>
                  <a:gd name="T32" fmla="*/ 155575 w 130"/>
                  <a:gd name="T33" fmla="*/ 43355 h 87"/>
                  <a:gd name="T34" fmla="*/ 136427 w 130"/>
                  <a:gd name="T35" fmla="*/ 57150 h 87"/>
                  <a:gd name="T36" fmla="*/ 120870 w 130"/>
                  <a:gd name="T37" fmla="*/ 57150 h 87"/>
                  <a:gd name="T38" fmla="*/ 120870 w 130"/>
                  <a:gd name="T39" fmla="*/ 72916 h 87"/>
                  <a:gd name="T40" fmla="*/ 101722 w 130"/>
                  <a:gd name="T41" fmla="*/ 85725 h 87"/>
                  <a:gd name="T42" fmla="*/ 86165 w 130"/>
                  <a:gd name="T43" fmla="*/ 85725 h 87"/>
                  <a:gd name="T44" fmla="*/ 86165 w 130"/>
                  <a:gd name="T45" fmla="*/ 85725 h 87"/>
                  <a:gd name="T46" fmla="*/ 86165 w 130"/>
                  <a:gd name="T47" fmla="*/ 85725 h 8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30"/>
                  <a:gd name="T73" fmla="*/ 0 h 87"/>
                  <a:gd name="T74" fmla="*/ 130 w 130"/>
                  <a:gd name="T75" fmla="*/ 87 h 8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30" h="87">
                    <a:moveTo>
                      <a:pt x="72" y="87"/>
                    </a:moveTo>
                    <a:lnTo>
                      <a:pt x="72" y="74"/>
                    </a:lnTo>
                    <a:lnTo>
                      <a:pt x="58" y="74"/>
                    </a:lnTo>
                    <a:lnTo>
                      <a:pt x="42" y="44"/>
                    </a:lnTo>
                    <a:lnTo>
                      <a:pt x="29" y="44"/>
                    </a:lnTo>
                    <a:lnTo>
                      <a:pt x="0" y="44"/>
                    </a:lnTo>
                    <a:lnTo>
                      <a:pt x="0" y="29"/>
                    </a:lnTo>
                    <a:lnTo>
                      <a:pt x="13" y="29"/>
                    </a:lnTo>
                    <a:lnTo>
                      <a:pt x="29" y="29"/>
                    </a:lnTo>
                    <a:lnTo>
                      <a:pt x="58" y="29"/>
                    </a:lnTo>
                    <a:lnTo>
                      <a:pt x="58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85" y="29"/>
                    </a:lnTo>
                    <a:lnTo>
                      <a:pt x="101" y="44"/>
                    </a:lnTo>
                    <a:lnTo>
                      <a:pt x="114" y="44"/>
                    </a:lnTo>
                    <a:lnTo>
                      <a:pt x="130" y="44"/>
                    </a:lnTo>
                    <a:lnTo>
                      <a:pt x="114" y="58"/>
                    </a:lnTo>
                    <a:lnTo>
                      <a:pt x="101" y="58"/>
                    </a:lnTo>
                    <a:lnTo>
                      <a:pt x="101" y="74"/>
                    </a:lnTo>
                    <a:lnTo>
                      <a:pt x="85" y="87"/>
                    </a:lnTo>
                    <a:lnTo>
                      <a:pt x="72" y="87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20">
                <a:extLst>
                  <a:ext uri="{FF2B5EF4-FFF2-40B4-BE49-F238E27FC236}">
                    <a16:creationId xmlns:a16="http://schemas.microsoft.com/office/drawing/2014/main" id="{9A37A564-A929-299E-5334-8046AE27C26D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2808288" y="4125913"/>
                <a:ext cx="73025" cy="47625"/>
              </a:xfrm>
              <a:custGeom>
                <a:avLst/>
                <a:gdLst>
                  <a:gd name="T0" fmla="*/ 56657 w 58"/>
                  <a:gd name="T1" fmla="*/ 47625 h 44"/>
                  <a:gd name="T2" fmla="*/ 36513 w 58"/>
                  <a:gd name="T3" fmla="*/ 31389 h 44"/>
                  <a:gd name="T4" fmla="*/ 18886 w 58"/>
                  <a:gd name="T5" fmla="*/ 31389 h 44"/>
                  <a:gd name="T6" fmla="*/ 0 w 58"/>
                  <a:gd name="T7" fmla="*/ 16236 h 44"/>
                  <a:gd name="T8" fmla="*/ 0 w 58"/>
                  <a:gd name="T9" fmla="*/ 0 h 44"/>
                  <a:gd name="T10" fmla="*/ 18886 w 58"/>
                  <a:gd name="T11" fmla="*/ 0 h 44"/>
                  <a:gd name="T12" fmla="*/ 36513 w 58"/>
                  <a:gd name="T13" fmla="*/ 16236 h 44"/>
                  <a:gd name="T14" fmla="*/ 56657 w 58"/>
                  <a:gd name="T15" fmla="*/ 16236 h 44"/>
                  <a:gd name="T16" fmla="*/ 73025 w 58"/>
                  <a:gd name="T17" fmla="*/ 16236 h 44"/>
                  <a:gd name="T18" fmla="*/ 73025 w 58"/>
                  <a:gd name="T19" fmla="*/ 31389 h 44"/>
                  <a:gd name="T20" fmla="*/ 73025 w 58"/>
                  <a:gd name="T21" fmla="*/ 47625 h 44"/>
                  <a:gd name="T22" fmla="*/ 56657 w 58"/>
                  <a:gd name="T23" fmla="*/ 47625 h 44"/>
                  <a:gd name="T24" fmla="*/ 56657 w 58"/>
                  <a:gd name="T25" fmla="*/ 47625 h 44"/>
                  <a:gd name="T26" fmla="*/ 56657 w 58"/>
                  <a:gd name="T27" fmla="*/ 47625 h 4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8"/>
                  <a:gd name="T43" fmla="*/ 0 h 44"/>
                  <a:gd name="T44" fmla="*/ 58 w 58"/>
                  <a:gd name="T45" fmla="*/ 44 h 4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8" h="44">
                    <a:moveTo>
                      <a:pt x="45" y="44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15"/>
                    </a:lnTo>
                    <a:lnTo>
                      <a:pt x="45" y="15"/>
                    </a:lnTo>
                    <a:lnTo>
                      <a:pt x="58" y="15"/>
                    </a:lnTo>
                    <a:lnTo>
                      <a:pt x="58" y="29"/>
                    </a:lnTo>
                    <a:lnTo>
                      <a:pt x="58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1" name="Freeform 21">
                <a:extLst>
                  <a:ext uri="{FF2B5EF4-FFF2-40B4-BE49-F238E27FC236}">
                    <a16:creationId xmlns:a16="http://schemas.microsoft.com/office/drawing/2014/main" id="{8E243447-CB45-D250-1188-080BC7DF6BF5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2359025" y="4211638"/>
                <a:ext cx="71438" cy="44450"/>
              </a:xfrm>
              <a:custGeom>
                <a:avLst/>
                <a:gdLst>
                  <a:gd name="T0" fmla="*/ 35719 w 58"/>
                  <a:gd name="T1" fmla="*/ 29978 h 43"/>
                  <a:gd name="T2" fmla="*/ 51731 w 58"/>
                  <a:gd name="T3" fmla="*/ 29978 h 43"/>
                  <a:gd name="T4" fmla="*/ 51731 w 58"/>
                  <a:gd name="T5" fmla="*/ 14472 h 43"/>
                  <a:gd name="T6" fmla="*/ 71438 w 58"/>
                  <a:gd name="T7" fmla="*/ 0 h 43"/>
                  <a:gd name="T8" fmla="*/ 51731 w 58"/>
                  <a:gd name="T9" fmla="*/ 0 h 43"/>
                  <a:gd name="T10" fmla="*/ 35719 w 58"/>
                  <a:gd name="T11" fmla="*/ 0 h 43"/>
                  <a:gd name="T12" fmla="*/ 35719 w 58"/>
                  <a:gd name="T13" fmla="*/ 14472 h 43"/>
                  <a:gd name="T14" fmla="*/ 0 w 58"/>
                  <a:gd name="T15" fmla="*/ 14472 h 43"/>
                  <a:gd name="T16" fmla="*/ 0 w 58"/>
                  <a:gd name="T17" fmla="*/ 29978 h 43"/>
                  <a:gd name="T18" fmla="*/ 0 w 58"/>
                  <a:gd name="T19" fmla="*/ 44450 h 43"/>
                  <a:gd name="T20" fmla="*/ 35719 w 58"/>
                  <a:gd name="T21" fmla="*/ 29978 h 43"/>
                  <a:gd name="T22" fmla="*/ 35719 w 58"/>
                  <a:gd name="T23" fmla="*/ 29978 h 43"/>
                  <a:gd name="T24" fmla="*/ 35719 w 58"/>
                  <a:gd name="T25" fmla="*/ 29978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8"/>
                  <a:gd name="T40" fmla="*/ 0 h 43"/>
                  <a:gd name="T41" fmla="*/ 58 w 58"/>
                  <a:gd name="T42" fmla="*/ 43 h 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8" h="43">
                    <a:moveTo>
                      <a:pt x="29" y="29"/>
                    </a:moveTo>
                    <a:lnTo>
                      <a:pt x="42" y="29"/>
                    </a:lnTo>
                    <a:lnTo>
                      <a:pt x="42" y="14"/>
                    </a:lnTo>
                    <a:lnTo>
                      <a:pt x="58" y="0"/>
                    </a:lnTo>
                    <a:lnTo>
                      <a:pt x="42" y="0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0" y="14"/>
                    </a:lnTo>
                    <a:lnTo>
                      <a:pt x="0" y="29"/>
                    </a:lnTo>
                    <a:lnTo>
                      <a:pt x="0" y="43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2" name="Freeform 22">
                <a:extLst>
                  <a:ext uri="{FF2B5EF4-FFF2-40B4-BE49-F238E27FC236}">
                    <a16:creationId xmlns:a16="http://schemas.microsoft.com/office/drawing/2014/main" id="{2895C3A1-05E7-C338-2AD8-0A4349411392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73225" y="1531938"/>
                <a:ext cx="631825" cy="501650"/>
              </a:xfrm>
              <a:custGeom>
                <a:avLst/>
                <a:gdLst>
                  <a:gd name="T0" fmla="*/ 615229 w 533"/>
                  <a:gd name="T1" fmla="*/ 242862 h 504"/>
                  <a:gd name="T2" fmla="*/ 597448 w 533"/>
                  <a:gd name="T3" fmla="*/ 271727 h 504"/>
                  <a:gd name="T4" fmla="*/ 580852 w 533"/>
                  <a:gd name="T5" fmla="*/ 329457 h 504"/>
                  <a:gd name="T6" fmla="*/ 565442 w 533"/>
                  <a:gd name="T7" fmla="*/ 372256 h 504"/>
                  <a:gd name="T8" fmla="*/ 565442 w 533"/>
                  <a:gd name="T9" fmla="*/ 415056 h 504"/>
                  <a:gd name="T10" fmla="*/ 531065 w 533"/>
                  <a:gd name="T11" fmla="*/ 443920 h 504"/>
                  <a:gd name="T12" fmla="*/ 496688 w 533"/>
                  <a:gd name="T13" fmla="*/ 472785 h 504"/>
                  <a:gd name="T14" fmla="*/ 411338 w 533"/>
                  <a:gd name="T15" fmla="*/ 472785 h 504"/>
                  <a:gd name="T16" fmla="*/ 323618 w 533"/>
                  <a:gd name="T17" fmla="*/ 472785 h 504"/>
                  <a:gd name="T18" fmla="*/ 289241 w 533"/>
                  <a:gd name="T19" fmla="*/ 472785 h 504"/>
                  <a:gd name="T20" fmla="*/ 254864 w 533"/>
                  <a:gd name="T21" fmla="*/ 501650 h 504"/>
                  <a:gd name="T22" fmla="*/ 188481 w 533"/>
                  <a:gd name="T23" fmla="*/ 501650 h 504"/>
                  <a:gd name="T24" fmla="*/ 119727 w 533"/>
                  <a:gd name="T25" fmla="*/ 485725 h 504"/>
                  <a:gd name="T26" fmla="*/ 84164 w 533"/>
                  <a:gd name="T27" fmla="*/ 472785 h 504"/>
                  <a:gd name="T28" fmla="*/ 84164 w 533"/>
                  <a:gd name="T29" fmla="*/ 472785 h 504"/>
                  <a:gd name="T30" fmla="*/ 52158 w 533"/>
                  <a:gd name="T31" fmla="*/ 458851 h 504"/>
                  <a:gd name="T32" fmla="*/ 52158 w 533"/>
                  <a:gd name="T33" fmla="*/ 429986 h 504"/>
                  <a:gd name="T34" fmla="*/ 68754 w 533"/>
                  <a:gd name="T35" fmla="*/ 429986 h 504"/>
                  <a:gd name="T36" fmla="*/ 15410 w 533"/>
                  <a:gd name="T37" fmla="*/ 429986 h 504"/>
                  <a:gd name="T38" fmla="*/ 34377 w 533"/>
                  <a:gd name="T39" fmla="*/ 385196 h 504"/>
                  <a:gd name="T40" fmla="*/ 84164 w 533"/>
                  <a:gd name="T41" fmla="*/ 385196 h 504"/>
                  <a:gd name="T42" fmla="*/ 15410 w 533"/>
                  <a:gd name="T43" fmla="*/ 372256 h 504"/>
                  <a:gd name="T44" fmla="*/ 52158 w 533"/>
                  <a:gd name="T45" fmla="*/ 343391 h 504"/>
                  <a:gd name="T46" fmla="*/ 135137 w 533"/>
                  <a:gd name="T47" fmla="*/ 329457 h 504"/>
                  <a:gd name="T48" fmla="*/ 206262 w 533"/>
                  <a:gd name="T49" fmla="*/ 343391 h 504"/>
                  <a:gd name="T50" fmla="*/ 188481 w 533"/>
                  <a:gd name="T51" fmla="*/ 329457 h 504"/>
                  <a:gd name="T52" fmla="*/ 119727 w 533"/>
                  <a:gd name="T53" fmla="*/ 329457 h 504"/>
                  <a:gd name="T54" fmla="*/ 169514 w 533"/>
                  <a:gd name="T55" fmla="*/ 287653 h 504"/>
                  <a:gd name="T56" fmla="*/ 254864 w 533"/>
                  <a:gd name="T57" fmla="*/ 257792 h 504"/>
                  <a:gd name="T58" fmla="*/ 206262 w 533"/>
                  <a:gd name="T59" fmla="*/ 242862 h 504"/>
                  <a:gd name="T60" fmla="*/ 169514 w 533"/>
                  <a:gd name="T61" fmla="*/ 228928 h 504"/>
                  <a:gd name="T62" fmla="*/ 169514 w 533"/>
                  <a:gd name="T63" fmla="*/ 173189 h 504"/>
                  <a:gd name="T64" fmla="*/ 222858 w 533"/>
                  <a:gd name="T65" fmla="*/ 142333 h 504"/>
                  <a:gd name="T66" fmla="*/ 222858 w 533"/>
                  <a:gd name="T67" fmla="*/ 129394 h 504"/>
                  <a:gd name="T68" fmla="*/ 222858 w 533"/>
                  <a:gd name="T69" fmla="*/ 101524 h 504"/>
                  <a:gd name="T70" fmla="*/ 289241 w 533"/>
                  <a:gd name="T71" fmla="*/ 86594 h 504"/>
                  <a:gd name="T72" fmla="*/ 342584 w 533"/>
                  <a:gd name="T73" fmla="*/ 129394 h 504"/>
                  <a:gd name="T74" fmla="*/ 392372 w 533"/>
                  <a:gd name="T75" fmla="*/ 115459 h 504"/>
                  <a:gd name="T76" fmla="*/ 443344 w 533"/>
                  <a:gd name="T77" fmla="*/ 86594 h 504"/>
                  <a:gd name="T78" fmla="*/ 376961 w 533"/>
                  <a:gd name="T79" fmla="*/ 57730 h 504"/>
                  <a:gd name="T80" fmla="*/ 462311 w 533"/>
                  <a:gd name="T81" fmla="*/ 28865 h 504"/>
                  <a:gd name="T82" fmla="*/ 496688 w 533"/>
                  <a:gd name="T83" fmla="*/ 14930 h 504"/>
                  <a:gd name="T84" fmla="*/ 565442 w 533"/>
                  <a:gd name="T85" fmla="*/ 14930 h 504"/>
                  <a:gd name="T86" fmla="*/ 597448 w 533"/>
                  <a:gd name="T87" fmla="*/ 0 h 504"/>
                  <a:gd name="T88" fmla="*/ 615229 w 533"/>
                  <a:gd name="T89" fmla="*/ 43795 h 504"/>
                  <a:gd name="T90" fmla="*/ 597448 w 533"/>
                  <a:gd name="T91" fmla="*/ 57730 h 504"/>
                  <a:gd name="T92" fmla="*/ 531065 w 533"/>
                  <a:gd name="T93" fmla="*/ 70669 h 504"/>
                  <a:gd name="T94" fmla="*/ 496688 w 533"/>
                  <a:gd name="T95" fmla="*/ 115459 h 504"/>
                  <a:gd name="T96" fmla="*/ 462311 w 533"/>
                  <a:gd name="T97" fmla="*/ 115459 h 504"/>
                  <a:gd name="T98" fmla="*/ 477721 w 533"/>
                  <a:gd name="T99" fmla="*/ 158259 h 504"/>
                  <a:gd name="T100" fmla="*/ 531065 w 533"/>
                  <a:gd name="T101" fmla="*/ 173189 h 504"/>
                  <a:gd name="T102" fmla="*/ 597448 w 533"/>
                  <a:gd name="T103" fmla="*/ 187123 h 504"/>
                  <a:gd name="T104" fmla="*/ 631825 w 533"/>
                  <a:gd name="T105" fmla="*/ 242862 h 50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33"/>
                  <a:gd name="T160" fmla="*/ 0 h 504"/>
                  <a:gd name="T161" fmla="*/ 533 w 533"/>
                  <a:gd name="T162" fmla="*/ 504 h 50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33" h="504">
                    <a:moveTo>
                      <a:pt x="533" y="244"/>
                    </a:moveTo>
                    <a:lnTo>
                      <a:pt x="519" y="259"/>
                    </a:lnTo>
                    <a:lnTo>
                      <a:pt x="519" y="244"/>
                    </a:lnTo>
                    <a:lnTo>
                      <a:pt x="504" y="244"/>
                    </a:lnTo>
                    <a:lnTo>
                      <a:pt x="519" y="259"/>
                    </a:lnTo>
                    <a:lnTo>
                      <a:pt x="504" y="273"/>
                    </a:lnTo>
                    <a:lnTo>
                      <a:pt x="504" y="289"/>
                    </a:lnTo>
                    <a:lnTo>
                      <a:pt x="504" y="316"/>
                    </a:lnTo>
                    <a:lnTo>
                      <a:pt x="490" y="331"/>
                    </a:lnTo>
                    <a:lnTo>
                      <a:pt x="490" y="345"/>
                    </a:lnTo>
                    <a:lnTo>
                      <a:pt x="490" y="360"/>
                    </a:lnTo>
                    <a:lnTo>
                      <a:pt x="477" y="374"/>
                    </a:lnTo>
                    <a:lnTo>
                      <a:pt x="477" y="387"/>
                    </a:lnTo>
                    <a:lnTo>
                      <a:pt x="477" y="403"/>
                    </a:lnTo>
                    <a:lnTo>
                      <a:pt x="477" y="417"/>
                    </a:lnTo>
                    <a:lnTo>
                      <a:pt x="461" y="417"/>
                    </a:lnTo>
                    <a:lnTo>
                      <a:pt x="461" y="432"/>
                    </a:lnTo>
                    <a:lnTo>
                      <a:pt x="448" y="446"/>
                    </a:lnTo>
                    <a:lnTo>
                      <a:pt x="432" y="446"/>
                    </a:lnTo>
                    <a:lnTo>
                      <a:pt x="432" y="461"/>
                    </a:lnTo>
                    <a:lnTo>
                      <a:pt x="419" y="475"/>
                    </a:lnTo>
                    <a:lnTo>
                      <a:pt x="390" y="488"/>
                    </a:lnTo>
                    <a:lnTo>
                      <a:pt x="374" y="475"/>
                    </a:lnTo>
                    <a:lnTo>
                      <a:pt x="347" y="475"/>
                    </a:lnTo>
                    <a:lnTo>
                      <a:pt x="318" y="475"/>
                    </a:lnTo>
                    <a:lnTo>
                      <a:pt x="289" y="475"/>
                    </a:lnTo>
                    <a:lnTo>
                      <a:pt x="273" y="475"/>
                    </a:lnTo>
                    <a:lnTo>
                      <a:pt x="260" y="488"/>
                    </a:lnTo>
                    <a:lnTo>
                      <a:pt x="244" y="488"/>
                    </a:lnTo>
                    <a:lnTo>
                      <a:pt x="244" y="475"/>
                    </a:lnTo>
                    <a:lnTo>
                      <a:pt x="231" y="488"/>
                    </a:lnTo>
                    <a:lnTo>
                      <a:pt x="215" y="488"/>
                    </a:lnTo>
                    <a:lnTo>
                      <a:pt x="215" y="504"/>
                    </a:lnTo>
                    <a:lnTo>
                      <a:pt x="188" y="504"/>
                    </a:lnTo>
                    <a:lnTo>
                      <a:pt x="174" y="488"/>
                    </a:lnTo>
                    <a:lnTo>
                      <a:pt x="159" y="504"/>
                    </a:lnTo>
                    <a:lnTo>
                      <a:pt x="130" y="504"/>
                    </a:lnTo>
                    <a:lnTo>
                      <a:pt x="114" y="488"/>
                    </a:lnTo>
                    <a:lnTo>
                      <a:pt x="101" y="488"/>
                    </a:lnTo>
                    <a:lnTo>
                      <a:pt x="71" y="504"/>
                    </a:lnTo>
                    <a:lnTo>
                      <a:pt x="71" y="488"/>
                    </a:lnTo>
                    <a:lnTo>
                      <a:pt x="71" y="475"/>
                    </a:lnTo>
                    <a:lnTo>
                      <a:pt x="29" y="488"/>
                    </a:lnTo>
                    <a:lnTo>
                      <a:pt x="44" y="488"/>
                    </a:lnTo>
                    <a:lnTo>
                      <a:pt x="71" y="475"/>
                    </a:lnTo>
                    <a:lnTo>
                      <a:pt x="29" y="475"/>
                    </a:lnTo>
                    <a:lnTo>
                      <a:pt x="58" y="461"/>
                    </a:lnTo>
                    <a:lnTo>
                      <a:pt x="44" y="461"/>
                    </a:lnTo>
                    <a:lnTo>
                      <a:pt x="29" y="461"/>
                    </a:lnTo>
                    <a:lnTo>
                      <a:pt x="29" y="446"/>
                    </a:lnTo>
                    <a:lnTo>
                      <a:pt x="44" y="432"/>
                    </a:lnTo>
                    <a:lnTo>
                      <a:pt x="58" y="432"/>
                    </a:lnTo>
                    <a:lnTo>
                      <a:pt x="71" y="432"/>
                    </a:lnTo>
                    <a:lnTo>
                      <a:pt x="58" y="432"/>
                    </a:lnTo>
                    <a:lnTo>
                      <a:pt x="44" y="432"/>
                    </a:lnTo>
                    <a:lnTo>
                      <a:pt x="29" y="417"/>
                    </a:lnTo>
                    <a:lnTo>
                      <a:pt x="13" y="432"/>
                    </a:lnTo>
                    <a:lnTo>
                      <a:pt x="0" y="417"/>
                    </a:lnTo>
                    <a:lnTo>
                      <a:pt x="13" y="403"/>
                    </a:lnTo>
                    <a:lnTo>
                      <a:pt x="29" y="387"/>
                    </a:lnTo>
                    <a:lnTo>
                      <a:pt x="44" y="387"/>
                    </a:lnTo>
                    <a:lnTo>
                      <a:pt x="58" y="387"/>
                    </a:lnTo>
                    <a:lnTo>
                      <a:pt x="71" y="387"/>
                    </a:lnTo>
                    <a:lnTo>
                      <a:pt x="58" y="374"/>
                    </a:lnTo>
                    <a:lnTo>
                      <a:pt x="29" y="374"/>
                    </a:lnTo>
                    <a:lnTo>
                      <a:pt x="13" y="374"/>
                    </a:lnTo>
                    <a:lnTo>
                      <a:pt x="13" y="360"/>
                    </a:lnTo>
                    <a:lnTo>
                      <a:pt x="29" y="345"/>
                    </a:lnTo>
                    <a:lnTo>
                      <a:pt x="44" y="345"/>
                    </a:lnTo>
                    <a:lnTo>
                      <a:pt x="85" y="345"/>
                    </a:lnTo>
                    <a:lnTo>
                      <a:pt x="85" y="331"/>
                    </a:lnTo>
                    <a:lnTo>
                      <a:pt x="114" y="331"/>
                    </a:lnTo>
                    <a:lnTo>
                      <a:pt x="130" y="331"/>
                    </a:lnTo>
                    <a:lnTo>
                      <a:pt x="143" y="345"/>
                    </a:lnTo>
                    <a:lnTo>
                      <a:pt x="174" y="345"/>
                    </a:lnTo>
                    <a:lnTo>
                      <a:pt x="188" y="345"/>
                    </a:lnTo>
                    <a:lnTo>
                      <a:pt x="174" y="331"/>
                    </a:lnTo>
                    <a:lnTo>
                      <a:pt x="159" y="331"/>
                    </a:lnTo>
                    <a:lnTo>
                      <a:pt x="143" y="331"/>
                    </a:lnTo>
                    <a:lnTo>
                      <a:pt x="130" y="316"/>
                    </a:lnTo>
                    <a:lnTo>
                      <a:pt x="101" y="331"/>
                    </a:lnTo>
                    <a:lnTo>
                      <a:pt x="85" y="316"/>
                    </a:lnTo>
                    <a:lnTo>
                      <a:pt x="114" y="316"/>
                    </a:lnTo>
                    <a:lnTo>
                      <a:pt x="143" y="289"/>
                    </a:lnTo>
                    <a:lnTo>
                      <a:pt x="188" y="273"/>
                    </a:lnTo>
                    <a:lnTo>
                      <a:pt x="201" y="273"/>
                    </a:lnTo>
                    <a:lnTo>
                      <a:pt x="215" y="259"/>
                    </a:lnTo>
                    <a:lnTo>
                      <a:pt x="215" y="244"/>
                    </a:lnTo>
                    <a:lnTo>
                      <a:pt x="201" y="244"/>
                    </a:lnTo>
                    <a:lnTo>
                      <a:pt x="174" y="244"/>
                    </a:lnTo>
                    <a:lnTo>
                      <a:pt x="159" y="259"/>
                    </a:lnTo>
                    <a:lnTo>
                      <a:pt x="159" y="230"/>
                    </a:lnTo>
                    <a:lnTo>
                      <a:pt x="143" y="230"/>
                    </a:lnTo>
                    <a:lnTo>
                      <a:pt x="143" y="217"/>
                    </a:lnTo>
                    <a:lnTo>
                      <a:pt x="130" y="188"/>
                    </a:lnTo>
                    <a:lnTo>
                      <a:pt x="143" y="174"/>
                    </a:lnTo>
                    <a:lnTo>
                      <a:pt x="159" y="174"/>
                    </a:lnTo>
                    <a:lnTo>
                      <a:pt x="174" y="159"/>
                    </a:lnTo>
                    <a:lnTo>
                      <a:pt x="188" y="143"/>
                    </a:lnTo>
                    <a:lnTo>
                      <a:pt x="201" y="143"/>
                    </a:lnTo>
                    <a:lnTo>
                      <a:pt x="188" y="143"/>
                    </a:lnTo>
                    <a:lnTo>
                      <a:pt x="188" y="130"/>
                    </a:lnTo>
                    <a:lnTo>
                      <a:pt x="188" y="116"/>
                    </a:lnTo>
                    <a:lnTo>
                      <a:pt x="174" y="102"/>
                    </a:lnTo>
                    <a:lnTo>
                      <a:pt x="188" y="102"/>
                    </a:lnTo>
                    <a:lnTo>
                      <a:pt x="201" y="71"/>
                    </a:lnTo>
                    <a:lnTo>
                      <a:pt x="231" y="71"/>
                    </a:lnTo>
                    <a:lnTo>
                      <a:pt x="244" y="87"/>
                    </a:lnTo>
                    <a:lnTo>
                      <a:pt x="260" y="102"/>
                    </a:lnTo>
                    <a:lnTo>
                      <a:pt x="260" y="116"/>
                    </a:lnTo>
                    <a:lnTo>
                      <a:pt x="289" y="130"/>
                    </a:lnTo>
                    <a:lnTo>
                      <a:pt x="302" y="143"/>
                    </a:lnTo>
                    <a:lnTo>
                      <a:pt x="331" y="130"/>
                    </a:lnTo>
                    <a:lnTo>
                      <a:pt x="331" y="116"/>
                    </a:lnTo>
                    <a:lnTo>
                      <a:pt x="331" y="102"/>
                    </a:lnTo>
                    <a:lnTo>
                      <a:pt x="360" y="102"/>
                    </a:lnTo>
                    <a:lnTo>
                      <a:pt x="374" y="87"/>
                    </a:lnTo>
                    <a:lnTo>
                      <a:pt x="360" y="87"/>
                    </a:lnTo>
                    <a:lnTo>
                      <a:pt x="331" y="71"/>
                    </a:lnTo>
                    <a:lnTo>
                      <a:pt x="318" y="58"/>
                    </a:lnTo>
                    <a:lnTo>
                      <a:pt x="360" y="44"/>
                    </a:lnTo>
                    <a:lnTo>
                      <a:pt x="374" y="29"/>
                    </a:lnTo>
                    <a:lnTo>
                      <a:pt x="390" y="29"/>
                    </a:lnTo>
                    <a:lnTo>
                      <a:pt x="374" y="29"/>
                    </a:lnTo>
                    <a:lnTo>
                      <a:pt x="390" y="15"/>
                    </a:lnTo>
                    <a:lnTo>
                      <a:pt x="419" y="15"/>
                    </a:lnTo>
                    <a:lnTo>
                      <a:pt x="432" y="0"/>
                    </a:lnTo>
                    <a:lnTo>
                      <a:pt x="461" y="15"/>
                    </a:lnTo>
                    <a:lnTo>
                      <a:pt x="477" y="15"/>
                    </a:lnTo>
                    <a:lnTo>
                      <a:pt x="490" y="15"/>
                    </a:lnTo>
                    <a:lnTo>
                      <a:pt x="504" y="15"/>
                    </a:lnTo>
                    <a:lnTo>
                      <a:pt x="504" y="0"/>
                    </a:lnTo>
                    <a:lnTo>
                      <a:pt x="519" y="15"/>
                    </a:lnTo>
                    <a:lnTo>
                      <a:pt x="533" y="29"/>
                    </a:lnTo>
                    <a:lnTo>
                      <a:pt x="519" y="44"/>
                    </a:lnTo>
                    <a:lnTo>
                      <a:pt x="504" y="44"/>
                    </a:lnTo>
                    <a:lnTo>
                      <a:pt x="490" y="44"/>
                    </a:lnTo>
                    <a:lnTo>
                      <a:pt x="504" y="58"/>
                    </a:lnTo>
                    <a:lnTo>
                      <a:pt x="490" y="58"/>
                    </a:lnTo>
                    <a:lnTo>
                      <a:pt x="461" y="58"/>
                    </a:lnTo>
                    <a:lnTo>
                      <a:pt x="448" y="71"/>
                    </a:lnTo>
                    <a:lnTo>
                      <a:pt x="432" y="87"/>
                    </a:lnTo>
                    <a:lnTo>
                      <a:pt x="432" y="102"/>
                    </a:lnTo>
                    <a:lnTo>
                      <a:pt x="419" y="116"/>
                    </a:lnTo>
                    <a:lnTo>
                      <a:pt x="403" y="102"/>
                    </a:lnTo>
                    <a:lnTo>
                      <a:pt x="390" y="102"/>
                    </a:lnTo>
                    <a:lnTo>
                      <a:pt x="390" y="116"/>
                    </a:lnTo>
                    <a:lnTo>
                      <a:pt x="374" y="130"/>
                    </a:lnTo>
                    <a:lnTo>
                      <a:pt x="390" y="143"/>
                    </a:lnTo>
                    <a:lnTo>
                      <a:pt x="403" y="159"/>
                    </a:lnTo>
                    <a:lnTo>
                      <a:pt x="419" y="174"/>
                    </a:lnTo>
                    <a:lnTo>
                      <a:pt x="432" y="188"/>
                    </a:lnTo>
                    <a:lnTo>
                      <a:pt x="448" y="174"/>
                    </a:lnTo>
                    <a:lnTo>
                      <a:pt x="461" y="174"/>
                    </a:lnTo>
                    <a:lnTo>
                      <a:pt x="477" y="174"/>
                    </a:lnTo>
                    <a:lnTo>
                      <a:pt x="504" y="188"/>
                    </a:lnTo>
                    <a:lnTo>
                      <a:pt x="504" y="201"/>
                    </a:lnTo>
                    <a:lnTo>
                      <a:pt x="519" y="217"/>
                    </a:lnTo>
                    <a:lnTo>
                      <a:pt x="533" y="24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3" name="Freeform 23">
                <a:extLst>
                  <a:ext uri="{FF2B5EF4-FFF2-40B4-BE49-F238E27FC236}">
                    <a16:creationId xmlns:a16="http://schemas.microsoft.com/office/drawing/2014/main" id="{96FDBA1C-DA4F-A9FC-613D-2A9263F53733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2116138" y="1571625"/>
                <a:ext cx="290512" cy="211138"/>
              </a:xfrm>
              <a:custGeom>
                <a:avLst/>
                <a:gdLst>
                  <a:gd name="T0" fmla="*/ 154781 w 244"/>
                  <a:gd name="T1" fmla="*/ 14633 h 202"/>
                  <a:gd name="T2" fmla="*/ 136922 w 244"/>
                  <a:gd name="T3" fmla="*/ 14633 h 202"/>
                  <a:gd name="T4" fmla="*/ 101203 w 244"/>
                  <a:gd name="T5" fmla="*/ 14633 h 202"/>
                  <a:gd name="T6" fmla="*/ 85725 w 244"/>
                  <a:gd name="T7" fmla="*/ 30312 h 202"/>
                  <a:gd name="T8" fmla="*/ 69056 w 244"/>
                  <a:gd name="T9" fmla="*/ 44945 h 202"/>
                  <a:gd name="T10" fmla="*/ 69056 w 244"/>
                  <a:gd name="T11" fmla="*/ 60624 h 202"/>
                  <a:gd name="T12" fmla="*/ 51197 w 244"/>
                  <a:gd name="T13" fmla="*/ 75257 h 202"/>
                  <a:gd name="T14" fmla="*/ 32147 w 244"/>
                  <a:gd name="T15" fmla="*/ 60624 h 202"/>
                  <a:gd name="T16" fmla="*/ 16669 w 244"/>
                  <a:gd name="T17" fmla="*/ 60624 h 202"/>
                  <a:gd name="T18" fmla="*/ 16669 w 244"/>
                  <a:gd name="T19" fmla="*/ 75257 h 202"/>
                  <a:gd name="T20" fmla="*/ 0 w 244"/>
                  <a:gd name="T21" fmla="*/ 90936 h 202"/>
                  <a:gd name="T22" fmla="*/ 16669 w 244"/>
                  <a:gd name="T23" fmla="*/ 105569 h 202"/>
                  <a:gd name="T24" fmla="*/ 32147 w 244"/>
                  <a:gd name="T25" fmla="*/ 120202 h 202"/>
                  <a:gd name="T26" fmla="*/ 51197 w 244"/>
                  <a:gd name="T27" fmla="*/ 135881 h 202"/>
                  <a:gd name="T28" fmla="*/ 69056 w 244"/>
                  <a:gd name="T29" fmla="*/ 150514 h 202"/>
                  <a:gd name="T30" fmla="*/ 85725 w 244"/>
                  <a:gd name="T31" fmla="*/ 135881 h 202"/>
                  <a:gd name="T32" fmla="*/ 101203 w 244"/>
                  <a:gd name="T33" fmla="*/ 135881 h 202"/>
                  <a:gd name="T34" fmla="*/ 120253 w 244"/>
                  <a:gd name="T35" fmla="*/ 135881 h 202"/>
                  <a:gd name="T36" fmla="*/ 154781 w 244"/>
                  <a:gd name="T37" fmla="*/ 150514 h 202"/>
                  <a:gd name="T38" fmla="*/ 154781 w 244"/>
                  <a:gd name="T39" fmla="*/ 166193 h 202"/>
                  <a:gd name="T40" fmla="*/ 171450 w 244"/>
                  <a:gd name="T41" fmla="*/ 180826 h 202"/>
                  <a:gd name="T42" fmla="*/ 189309 w 244"/>
                  <a:gd name="T43" fmla="*/ 211138 h 202"/>
                  <a:gd name="T44" fmla="*/ 205978 w 244"/>
                  <a:gd name="T45" fmla="*/ 196505 h 202"/>
                  <a:gd name="T46" fmla="*/ 221456 w 244"/>
                  <a:gd name="T47" fmla="*/ 180826 h 202"/>
                  <a:gd name="T48" fmla="*/ 240506 w 244"/>
                  <a:gd name="T49" fmla="*/ 180826 h 202"/>
                  <a:gd name="T50" fmla="*/ 255984 w 244"/>
                  <a:gd name="T51" fmla="*/ 180826 h 202"/>
                  <a:gd name="T52" fmla="*/ 255984 w 244"/>
                  <a:gd name="T53" fmla="*/ 150514 h 202"/>
                  <a:gd name="T54" fmla="*/ 275034 w 244"/>
                  <a:gd name="T55" fmla="*/ 135881 h 202"/>
                  <a:gd name="T56" fmla="*/ 275034 w 244"/>
                  <a:gd name="T57" fmla="*/ 150514 h 202"/>
                  <a:gd name="T58" fmla="*/ 275034 w 244"/>
                  <a:gd name="T59" fmla="*/ 166193 h 202"/>
                  <a:gd name="T60" fmla="*/ 290512 w 244"/>
                  <a:gd name="T61" fmla="*/ 166193 h 202"/>
                  <a:gd name="T62" fmla="*/ 290512 w 244"/>
                  <a:gd name="T63" fmla="*/ 150514 h 202"/>
                  <a:gd name="T64" fmla="*/ 290512 w 244"/>
                  <a:gd name="T65" fmla="*/ 135881 h 202"/>
                  <a:gd name="T66" fmla="*/ 275034 w 244"/>
                  <a:gd name="T67" fmla="*/ 120202 h 202"/>
                  <a:gd name="T68" fmla="*/ 255984 w 244"/>
                  <a:gd name="T69" fmla="*/ 135881 h 202"/>
                  <a:gd name="T70" fmla="*/ 240506 w 244"/>
                  <a:gd name="T71" fmla="*/ 120202 h 202"/>
                  <a:gd name="T72" fmla="*/ 255984 w 244"/>
                  <a:gd name="T73" fmla="*/ 105569 h 202"/>
                  <a:gd name="T74" fmla="*/ 275034 w 244"/>
                  <a:gd name="T75" fmla="*/ 105569 h 202"/>
                  <a:gd name="T76" fmla="*/ 275034 w 244"/>
                  <a:gd name="T77" fmla="*/ 90936 h 202"/>
                  <a:gd name="T78" fmla="*/ 275034 w 244"/>
                  <a:gd name="T79" fmla="*/ 75257 h 202"/>
                  <a:gd name="T80" fmla="*/ 255984 w 244"/>
                  <a:gd name="T81" fmla="*/ 44945 h 202"/>
                  <a:gd name="T82" fmla="*/ 255984 w 244"/>
                  <a:gd name="T83" fmla="*/ 30312 h 202"/>
                  <a:gd name="T84" fmla="*/ 255984 w 244"/>
                  <a:gd name="T85" fmla="*/ 14633 h 202"/>
                  <a:gd name="T86" fmla="*/ 240506 w 244"/>
                  <a:gd name="T87" fmla="*/ 14633 h 202"/>
                  <a:gd name="T88" fmla="*/ 221456 w 244"/>
                  <a:gd name="T89" fmla="*/ 14633 h 202"/>
                  <a:gd name="T90" fmla="*/ 205978 w 244"/>
                  <a:gd name="T91" fmla="*/ 14633 h 202"/>
                  <a:gd name="T92" fmla="*/ 205978 w 244"/>
                  <a:gd name="T93" fmla="*/ 0 h 202"/>
                  <a:gd name="T94" fmla="*/ 189309 w 244"/>
                  <a:gd name="T95" fmla="*/ 0 h 202"/>
                  <a:gd name="T96" fmla="*/ 171450 w 244"/>
                  <a:gd name="T97" fmla="*/ 14633 h 202"/>
                  <a:gd name="T98" fmla="*/ 154781 w 244"/>
                  <a:gd name="T99" fmla="*/ 14633 h 202"/>
                  <a:gd name="T100" fmla="*/ 154781 w 244"/>
                  <a:gd name="T101" fmla="*/ 14633 h 20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44"/>
                  <a:gd name="T154" fmla="*/ 0 h 202"/>
                  <a:gd name="T155" fmla="*/ 244 w 244"/>
                  <a:gd name="T156" fmla="*/ 202 h 20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44" h="202">
                    <a:moveTo>
                      <a:pt x="130" y="14"/>
                    </a:moveTo>
                    <a:lnTo>
                      <a:pt x="115" y="14"/>
                    </a:lnTo>
                    <a:lnTo>
                      <a:pt x="85" y="14"/>
                    </a:lnTo>
                    <a:lnTo>
                      <a:pt x="72" y="29"/>
                    </a:lnTo>
                    <a:lnTo>
                      <a:pt x="58" y="43"/>
                    </a:lnTo>
                    <a:lnTo>
                      <a:pt x="58" y="58"/>
                    </a:lnTo>
                    <a:lnTo>
                      <a:pt x="43" y="72"/>
                    </a:lnTo>
                    <a:lnTo>
                      <a:pt x="27" y="58"/>
                    </a:lnTo>
                    <a:lnTo>
                      <a:pt x="14" y="58"/>
                    </a:lnTo>
                    <a:lnTo>
                      <a:pt x="14" y="72"/>
                    </a:lnTo>
                    <a:lnTo>
                      <a:pt x="0" y="87"/>
                    </a:lnTo>
                    <a:lnTo>
                      <a:pt x="14" y="101"/>
                    </a:lnTo>
                    <a:lnTo>
                      <a:pt x="27" y="115"/>
                    </a:lnTo>
                    <a:lnTo>
                      <a:pt x="43" y="130"/>
                    </a:lnTo>
                    <a:lnTo>
                      <a:pt x="58" y="144"/>
                    </a:lnTo>
                    <a:lnTo>
                      <a:pt x="72" y="130"/>
                    </a:lnTo>
                    <a:lnTo>
                      <a:pt x="85" y="130"/>
                    </a:lnTo>
                    <a:lnTo>
                      <a:pt x="101" y="130"/>
                    </a:lnTo>
                    <a:lnTo>
                      <a:pt x="130" y="144"/>
                    </a:lnTo>
                    <a:lnTo>
                      <a:pt x="130" y="159"/>
                    </a:lnTo>
                    <a:lnTo>
                      <a:pt x="144" y="173"/>
                    </a:lnTo>
                    <a:lnTo>
                      <a:pt x="159" y="202"/>
                    </a:lnTo>
                    <a:lnTo>
                      <a:pt x="173" y="188"/>
                    </a:lnTo>
                    <a:lnTo>
                      <a:pt x="186" y="173"/>
                    </a:lnTo>
                    <a:lnTo>
                      <a:pt x="202" y="173"/>
                    </a:lnTo>
                    <a:lnTo>
                      <a:pt x="215" y="173"/>
                    </a:lnTo>
                    <a:lnTo>
                      <a:pt x="215" y="144"/>
                    </a:lnTo>
                    <a:lnTo>
                      <a:pt x="231" y="130"/>
                    </a:lnTo>
                    <a:lnTo>
                      <a:pt x="231" y="144"/>
                    </a:lnTo>
                    <a:lnTo>
                      <a:pt x="231" y="159"/>
                    </a:lnTo>
                    <a:lnTo>
                      <a:pt x="244" y="159"/>
                    </a:lnTo>
                    <a:lnTo>
                      <a:pt x="244" y="144"/>
                    </a:lnTo>
                    <a:lnTo>
                      <a:pt x="244" y="130"/>
                    </a:lnTo>
                    <a:lnTo>
                      <a:pt x="231" y="115"/>
                    </a:lnTo>
                    <a:lnTo>
                      <a:pt x="215" y="130"/>
                    </a:lnTo>
                    <a:lnTo>
                      <a:pt x="202" y="115"/>
                    </a:lnTo>
                    <a:lnTo>
                      <a:pt x="215" y="101"/>
                    </a:lnTo>
                    <a:lnTo>
                      <a:pt x="231" y="101"/>
                    </a:lnTo>
                    <a:lnTo>
                      <a:pt x="231" y="87"/>
                    </a:lnTo>
                    <a:lnTo>
                      <a:pt x="231" y="72"/>
                    </a:lnTo>
                    <a:lnTo>
                      <a:pt x="215" y="43"/>
                    </a:lnTo>
                    <a:lnTo>
                      <a:pt x="215" y="29"/>
                    </a:lnTo>
                    <a:lnTo>
                      <a:pt x="215" y="14"/>
                    </a:lnTo>
                    <a:lnTo>
                      <a:pt x="202" y="14"/>
                    </a:lnTo>
                    <a:lnTo>
                      <a:pt x="186" y="14"/>
                    </a:lnTo>
                    <a:lnTo>
                      <a:pt x="173" y="14"/>
                    </a:lnTo>
                    <a:lnTo>
                      <a:pt x="173" y="0"/>
                    </a:lnTo>
                    <a:lnTo>
                      <a:pt x="159" y="0"/>
                    </a:lnTo>
                    <a:lnTo>
                      <a:pt x="144" y="14"/>
                    </a:lnTo>
                    <a:lnTo>
                      <a:pt x="130" y="1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4" name="Freeform 24">
                <a:extLst>
                  <a:ext uri="{FF2B5EF4-FFF2-40B4-BE49-F238E27FC236}">
                    <a16:creationId xmlns:a16="http://schemas.microsoft.com/office/drawing/2014/main" id="{DE257D4E-14E2-EF27-A041-83A4C33C2AF7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571875" y="3827463"/>
                <a:ext cx="131763" cy="206375"/>
              </a:xfrm>
              <a:custGeom>
                <a:avLst/>
                <a:gdLst>
                  <a:gd name="T0" fmla="*/ 44320 w 110"/>
                  <a:gd name="T1" fmla="*/ 192484 h 208"/>
                  <a:gd name="T2" fmla="*/ 34738 w 110"/>
                  <a:gd name="T3" fmla="*/ 188516 h 208"/>
                  <a:gd name="T4" fmla="*/ 22759 w 110"/>
                  <a:gd name="T5" fmla="*/ 177602 h 208"/>
                  <a:gd name="T6" fmla="*/ 22759 w 110"/>
                  <a:gd name="T7" fmla="*/ 161727 h 208"/>
                  <a:gd name="T8" fmla="*/ 11978 w 110"/>
                  <a:gd name="T9" fmla="*/ 148828 h 208"/>
                  <a:gd name="T10" fmla="*/ 0 w 110"/>
                  <a:gd name="T11" fmla="*/ 134938 h 208"/>
                  <a:gd name="T12" fmla="*/ 11978 w 110"/>
                  <a:gd name="T13" fmla="*/ 125016 h 208"/>
                  <a:gd name="T14" fmla="*/ 11978 w 110"/>
                  <a:gd name="T15" fmla="*/ 120055 h 208"/>
                  <a:gd name="T16" fmla="*/ 11978 w 110"/>
                  <a:gd name="T17" fmla="*/ 106164 h 208"/>
                  <a:gd name="T18" fmla="*/ 4791 w 110"/>
                  <a:gd name="T19" fmla="*/ 94258 h 208"/>
                  <a:gd name="T20" fmla="*/ 0 w 110"/>
                  <a:gd name="T21" fmla="*/ 77391 h 208"/>
                  <a:gd name="T22" fmla="*/ 4791 w 110"/>
                  <a:gd name="T23" fmla="*/ 61516 h 208"/>
                  <a:gd name="T24" fmla="*/ 0 w 110"/>
                  <a:gd name="T25" fmla="*/ 50602 h 208"/>
                  <a:gd name="T26" fmla="*/ 11978 w 110"/>
                  <a:gd name="T27" fmla="*/ 40680 h 208"/>
                  <a:gd name="T28" fmla="*/ 27550 w 110"/>
                  <a:gd name="T29" fmla="*/ 25797 h 208"/>
                  <a:gd name="T30" fmla="*/ 46716 w 110"/>
                  <a:gd name="T31" fmla="*/ 17859 h 208"/>
                  <a:gd name="T32" fmla="*/ 53903 w 110"/>
                  <a:gd name="T33" fmla="*/ 9922 h 208"/>
                  <a:gd name="T34" fmla="*/ 62288 w 110"/>
                  <a:gd name="T35" fmla="*/ 5953 h 208"/>
                  <a:gd name="T36" fmla="*/ 81454 w 110"/>
                  <a:gd name="T37" fmla="*/ 5953 h 208"/>
                  <a:gd name="T38" fmla="*/ 97025 w 110"/>
                  <a:gd name="T39" fmla="*/ 0 h 208"/>
                  <a:gd name="T40" fmla="*/ 113795 w 110"/>
                  <a:gd name="T41" fmla="*/ 3969 h 208"/>
                  <a:gd name="T42" fmla="*/ 118587 w 110"/>
                  <a:gd name="T43" fmla="*/ 0 h 208"/>
                  <a:gd name="T44" fmla="*/ 125774 w 110"/>
                  <a:gd name="T45" fmla="*/ 5953 h 208"/>
                  <a:gd name="T46" fmla="*/ 131763 w 110"/>
                  <a:gd name="T47" fmla="*/ 21828 h 208"/>
                  <a:gd name="T48" fmla="*/ 131763 w 110"/>
                  <a:gd name="T49" fmla="*/ 34727 h 208"/>
                  <a:gd name="T50" fmla="*/ 131763 w 110"/>
                  <a:gd name="T51" fmla="*/ 50602 h 208"/>
                  <a:gd name="T52" fmla="*/ 131763 w 110"/>
                  <a:gd name="T53" fmla="*/ 79375 h 208"/>
                  <a:gd name="T54" fmla="*/ 116191 w 110"/>
                  <a:gd name="T55" fmla="*/ 92273 h 208"/>
                  <a:gd name="T56" fmla="*/ 97025 w 110"/>
                  <a:gd name="T57" fmla="*/ 106164 h 208"/>
                  <a:gd name="T58" fmla="*/ 97025 w 110"/>
                  <a:gd name="T59" fmla="*/ 120055 h 208"/>
                  <a:gd name="T60" fmla="*/ 97025 w 110"/>
                  <a:gd name="T61" fmla="*/ 134938 h 208"/>
                  <a:gd name="T62" fmla="*/ 81454 w 110"/>
                  <a:gd name="T63" fmla="*/ 163711 h 208"/>
                  <a:gd name="T64" fmla="*/ 81454 w 110"/>
                  <a:gd name="T65" fmla="*/ 177602 h 208"/>
                  <a:gd name="T66" fmla="*/ 62288 w 110"/>
                  <a:gd name="T67" fmla="*/ 192484 h 208"/>
                  <a:gd name="T68" fmla="*/ 62288 w 110"/>
                  <a:gd name="T69" fmla="*/ 206375 h 208"/>
                  <a:gd name="T70" fmla="*/ 46716 w 110"/>
                  <a:gd name="T71" fmla="*/ 192484 h 208"/>
                  <a:gd name="T72" fmla="*/ 46716 w 110"/>
                  <a:gd name="T73" fmla="*/ 192484 h 208"/>
                  <a:gd name="T74" fmla="*/ 44320 w 110"/>
                  <a:gd name="T75" fmla="*/ 192484 h 20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10"/>
                  <a:gd name="T115" fmla="*/ 0 h 208"/>
                  <a:gd name="T116" fmla="*/ 110 w 110"/>
                  <a:gd name="T117" fmla="*/ 208 h 20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10" h="208">
                    <a:moveTo>
                      <a:pt x="37" y="194"/>
                    </a:moveTo>
                    <a:lnTo>
                      <a:pt x="29" y="190"/>
                    </a:lnTo>
                    <a:lnTo>
                      <a:pt x="19" y="179"/>
                    </a:lnTo>
                    <a:lnTo>
                      <a:pt x="19" y="163"/>
                    </a:lnTo>
                    <a:lnTo>
                      <a:pt x="10" y="150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0" y="121"/>
                    </a:lnTo>
                    <a:lnTo>
                      <a:pt x="10" y="107"/>
                    </a:lnTo>
                    <a:lnTo>
                      <a:pt x="4" y="95"/>
                    </a:lnTo>
                    <a:lnTo>
                      <a:pt x="0" y="78"/>
                    </a:lnTo>
                    <a:lnTo>
                      <a:pt x="4" y="62"/>
                    </a:lnTo>
                    <a:lnTo>
                      <a:pt x="0" y="51"/>
                    </a:lnTo>
                    <a:lnTo>
                      <a:pt x="10" y="41"/>
                    </a:lnTo>
                    <a:lnTo>
                      <a:pt x="23" y="26"/>
                    </a:lnTo>
                    <a:lnTo>
                      <a:pt x="39" y="18"/>
                    </a:lnTo>
                    <a:lnTo>
                      <a:pt x="45" y="10"/>
                    </a:lnTo>
                    <a:lnTo>
                      <a:pt x="52" y="6"/>
                    </a:lnTo>
                    <a:lnTo>
                      <a:pt x="68" y="6"/>
                    </a:lnTo>
                    <a:lnTo>
                      <a:pt x="81" y="0"/>
                    </a:lnTo>
                    <a:lnTo>
                      <a:pt x="95" y="4"/>
                    </a:lnTo>
                    <a:lnTo>
                      <a:pt x="99" y="0"/>
                    </a:lnTo>
                    <a:lnTo>
                      <a:pt x="105" y="6"/>
                    </a:lnTo>
                    <a:lnTo>
                      <a:pt x="110" y="22"/>
                    </a:lnTo>
                    <a:lnTo>
                      <a:pt x="110" y="35"/>
                    </a:lnTo>
                    <a:lnTo>
                      <a:pt x="110" y="51"/>
                    </a:lnTo>
                    <a:lnTo>
                      <a:pt x="110" y="80"/>
                    </a:lnTo>
                    <a:lnTo>
                      <a:pt x="97" y="93"/>
                    </a:lnTo>
                    <a:lnTo>
                      <a:pt x="81" y="107"/>
                    </a:lnTo>
                    <a:lnTo>
                      <a:pt x="81" y="121"/>
                    </a:lnTo>
                    <a:lnTo>
                      <a:pt x="81" y="136"/>
                    </a:lnTo>
                    <a:lnTo>
                      <a:pt x="68" y="165"/>
                    </a:lnTo>
                    <a:lnTo>
                      <a:pt x="68" y="179"/>
                    </a:lnTo>
                    <a:lnTo>
                      <a:pt x="52" y="194"/>
                    </a:lnTo>
                    <a:lnTo>
                      <a:pt x="52" y="208"/>
                    </a:lnTo>
                    <a:lnTo>
                      <a:pt x="39" y="194"/>
                    </a:lnTo>
                    <a:lnTo>
                      <a:pt x="37" y="19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5" name="Freeform 25">
                <a:extLst>
                  <a:ext uri="{FF2B5EF4-FFF2-40B4-BE49-F238E27FC236}">
                    <a16:creationId xmlns:a16="http://schemas.microsoft.com/office/drawing/2014/main" id="{7493229C-BDEF-2665-4FCF-80479E34B4DC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3443288" y="4048125"/>
                <a:ext cx="244475" cy="341313"/>
              </a:xfrm>
              <a:custGeom>
                <a:avLst/>
                <a:gdLst>
                  <a:gd name="T0" fmla="*/ 34754 w 204"/>
                  <a:gd name="T1" fmla="*/ 56555 h 344"/>
                  <a:gd name="T2" fmla="*/ 86285 w 204"/>
                  <a:gd name="T3" fmla="*/ 42664 h 344"/>
                  <a:gd name="T4" fmla="*/ 121039 w 204"/>
                  <a:gd name="T5" fmla="*/ 26789 h 344"/>
                  <a:gd name="T6" fmla="*/ 155793 w 204"/>
                  <a:gd name="T7" fmla="*/ 26789 h 344"/>
                  <a:gd name="T8" fmla="*/ 174967 w 204"/>
                  <a:gd name="T9" fmla="*/ 13891 h 344"/>
                  <a:gd name="T10" fmla="*/ 190547 w 204"/>
                  <a:gd name="T11" fmla="*/ 13891 h 344"/>
                  <a:gd name="T12" fmla="*/ 225300 w 204"/>
                  <a:gd name="T13" fmla="*/ 42664 h 344"/>
                  <a:gd name="T14" fmla="*/ 225300 w 204"/>
                  <a:gd name="T15" fmla="*/ 56555 h 344"/>
                  <a:gd name="T16" fmla="*/ 244475 w 204"/>
                  <a:gd name="T17" fmla="*/ 69453 h 344"/>
                  <a:gd name="T18" fmla="*/ 225300 w 204"/>
                  <a:gd name="T19" fmla="*/ 114102 h 344"/>
                  <a:gd name="T20" fmla="*/ 244475 w 204"/>
                  <a:gd name="T21" fmla="*/ 127000 h 344"/>
                  <a:gd name="T22" fmla="*/ 209721 w 204"/>
                  <a:gd name="T23" fmla="*/ 140891 h 344"/>
                  <a:gd name="T24" fmla="*/ 209721 w 204"/>
                  <a:gd name="T25" fmla="*/ 169664 h 344"/>
                  <a:gd name="T26" fmla="*/ 209721 w 204"/>
                  <a:gd name="T27" fmla="*/ 198438 h 344"/>
                  <a:gd name="T28" fmla="*/ 190547 w 204"/>
                  <a:gd name="T29" fmla="*/ 241102 h 344"/>
                  <a:gd name="T30" fmla="*/ 190547 w 204"/>
                  <a:gd name="T31" fmla="*/ 298649 h 344"/>
                  <a:gd name="T32" fmla="*/ 174967 w 204"/>
                  <a:gd name="T33" fmla="*/ 327422 h 344"/>
                  <a:gd name="T34" fmla="*/ 140214 w 204"/>
                  <a:gd name="T35" fmla="*/ 313532 h 344"/>
                  <a:gd name="T36" fmla="*/ 86285 w 204"/>
                  <a:gd name="T37" fmla="*/ 313532 h 344"/>
                  <a:gd name="T38" fmla="*/ 86285 w 204"/>
                  <a:gd name="T39" fmla="*/ 341313 h 344"/>
                  <a:gd name="T40" fmla="*/ 51531 w 204"/>
                  <a:gd name="T41" fmla="*/ 341313 h 344"/>
                  <a:gd name="T42" fmla="*/ 19175 w 204"/>
                  <a:gd name="T43" fmla="*/ 313532 h 344"/>
                  <a:gd name="T44" fmla="*/ 0 w 204"/>
                  <a:gd name="T45" fmla="*/ 284758 h 344"/>
                  <a:gd name="T46" fmla="*/ 0 w 204"/>
                  <a:gd name="T47" fmla="*/ 241102 h 344"/>
                  <a:gd name="T48" fmla="*/ 34754 w 204"/>
                  <a:gd name="T49" fmla="*/ 227211 h 344"/>
                  <a:gd name="T50" fmla="*/ 34754 w 204"/>
                  <a:gd name="T51" fmla="*/ 198438 h 344"/>
                  <a:gd name="T52" fmla="*/ 69508 w 204"/>
                  <a:gd name="T53" fmla="*/ 169664 h 344"/>
                  <a:gd name="T54" fmla="*/ 19175 w 204"/>
                  <a:gd name="T55" fmla="*/ 169664 h 344"/>
                  <a:gd name="T56" fmla="*/ 19175 w 204"/>
                  <a:gd name="T57" fmla="*/ 127000 h 344"/>
                  <a:gd name="T58" fmla="*/ 0 w 204"/>
                  <a:gd name="T59" fmla="*/ 85328 h 344"/>
                  <a:gd name="T60" fmla="*/ 19175 w 204"/>
                  <a:gd name="T61" fmla="*/ 56555 h 344"/>
                  <a:gd name="T62" fmla="*/ 19175 w 204"/>
                  <a:gd name="T63" fmla="*/ 42664 h 34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4"/>
                  <a:gd name="T97" fmla="*/ 0 h 344"/>
                  <a:gd name="T98" fmla="*/ 204 w 204"/>
                  <a:gd name="T99" fmla="*/ 344 h 34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4" h="344">
                    <a:moveTo>
                      <a:pt x="16" y="43"/>
                    </a:moveTo>
                    <a:lnTo>
                      <a:pt x="29" y="57"/>
                    </a:lnTo>
                    <a:lnTo>
                      <a:pt x="43" y="43"/>
                    </a:lnTo>
                    <a:lnTo>
                      <a:pt x="72" y="43"/>
                    </a:lnTo>
                    <a:lnTo>
                      <a:pt x="88" y="43"/>
                    </a:lnTo>
                    <a:lnTo>
                      <a:pt x="101" y="27"/>
                    </a:lnTo>
                    <a:lnTo>
                      <a:pt x="117" y="27"/>
                    </a:lnTo>
                    <a:lnTo>
                      <a:pt x="130" y="27"/>
                    </a:lnTo>
                    <a:lnTo>
                      <a:pt x="130" y="14"/>
                    </a:lnTo>
                    <a:lnTo>
                      <a:pt x="146" y="14"/>
                    </a:lnTo>
                    <a:lnTo>
                      <a:pt x="159" y="0"/>
                    </a:lnTo>
                    <a:lnTo>
                      <a:pt x="159" y="14"/>
                    </a:lnTo>
                    <a:lnTo>
                      <a:pt x="175" y="27"/>
                    </a:lnTo>
                    <a:lnTo>
                      <a:pt x="188" y="43"/>
                    </a:lnTo>
                    <a:lnTo>
                      <a:pt x="175" y="43"/>
                    </a:lnTo>
                    <a:lnTo>
                      <a:pt x="188" y="57"/>
                    </a:lnTo>
                    <a:lnTo>
                      <a:pt x="188" y="70"/>
                    </a:lnTo>
                    <a:lnTo>
                      <a:pt x="204" y="70"/>
                    </a:lnTo>
                    <a:lnTo>
                      <a:pt x="204" y="86"/>
                    </a:lnTo>
                    <a:lnTo>
                      <a:pt x="188" y="115"/>
                    </a:lnTo>
                    <a:lnTo>
                      <a:pt x="204" y="115"/>
                    </a:lnTo>
                    <a:lnTo>
                      <a:pt x="204" y="128"/>
                    </a:lnTo>
                    <a:lnTo>
                      <a:pt x="188" y="142"/>
                    </a:lnTo>
                    <a:lnTo>
                      <a:pt x="175" y="142"/>
                    </a:lnTo>
                    <a:lnTo>
                      <a:pt x="175" y="157"/>
                    </a:lnTo>
                    <a:lnTo>
                      <a:pt x="175" y="171"/>
                    </a:lnTo>
                    <a:lnTo>
                      <a:pt x="175" y="186"/>
                    </a:lnTo>
                    <a:lnTo>
                      <a:pt x="175" y="200"/>
                    </a:lnTo>
                    <a:lnTo>
                      <a:pt x="175" y="214"/>
                    </a:lnTo>
                    <a:lnTo>
                      <a:pt x="159" y="243"/>
                    </a:lnTo>
                    <a:lnTo>
                      <a:pt x="159" y="272"/>
                    </a:lnTo>
                    <a:lnTo>
                      <a:pt x="159" y="301"/>
                    </a:lnTo>
                    <a:lnTo>
                      <a:pt x="159" y="316"/>
                    </a:lnTo>
                    <a:lnTo>
                      <a:pt x="146" y="330"/>
                    </a:lnTo>
                    <a:lnTo>
                      <a:pt x="130" y="316"/>
                    </a:lnTo>
                    <a:lnTo>
                      <a:pt x="117" y="316"/>
                    </a:lnTo>
                    <a:lnTo>
                      <a:pt x="88" y="301"/>
                    </a:lnTo>
                    <a:lnTo>
                      <a:pt x="72" y="316"/>
                    </a:lnTo>
                    <a:lnTo>
                      <a:pt x="72" y="330"/>
                    </a:lnTo>
                    <a:lnTo>
                      <a:pt x="72" y="344"/>
                    </a:lnTo>
                    <a:lnTo>
                      <a:pt x="58" y="344"/>
                    </a:lnTo>
                    <a:lnTo>
                      <a:pt x="43" y="344"/>
                    </a:lnTo>
                    <a:lnTo>
                      <a:pt x="16" y="330"/>
                    </a:lnTo>
                    <a:lnTo>
                      <a:pt x="16" y="316"/>
                    </a:lnTo>
                    <a:lnTo>
                      <a:pt x="16" y="301"/>
                    </a:lnTo>
                    <a:lnTo>
                      <a:pt x="0" y="287"/>
                    </a:lnTo>
                    <a:lnTo>
                      <a:pt x="16" y="258"/>
                    </a:lnTo>
                    <a:lnTo>
                      <a:pt x="0" y="243"/>
                    </a:lnTo>
                    <a:lnTo>
                      <a:pt x="16" y="243"/>
                    </a:lnTo>
                    <a:lnTo>
                      <a:pt x="29" y="229"/>
                    </a:lnTo>
                    <a:lnTo>
                      <a:pt x="29" y="214"/>
                    </a:lnTo>
                    <a:lnTo>
                      <a:pt x="29" y="200"/>
                    </a:lnTo>
                    <a:lnTo>
                      <a:pt x="43" y="186"/>
                    </a:lnTo>
                    <a:lnTo>
                      <a:pt x="58" y="171"/>
                    </a:lnTo>
                    <a:lnTo>
                      <a:pt x="29" y="171"/>
                    </a:lnTo>
                    <a:lnTo>
                      <a:pt x="16" y="171"/>
                    </a:lnTo>
                    <a:lnTo>
                      <a:pt x="16" y="142"/>
                    </a:lnTo>
                    <a:lnTo>
                      <a:pt x="16" y="128"/>
                    </a:lnTo>
                    <a:lnTo>
                      <a:pt x="0" y="99"/>
                    </a:lnTo>
                    <a:lnTo>
                      <a:pt x="0" y="86"/>
                    </a:lnTo>
                    <a:lnTo>
                      <a:pt x="0" y="70"/>
                    </a:lnTo>
                    <a:lnTo>
                      <a:pt x="16" y="57"/>
                    </a:lnTo>
                    <a:lnTo>
                      <a:pt x="16" y="4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6" name="Freeform 26">
                <a:extLst>
                  <a:ext uri="{FF2B5EF4-FFF2-40B4-BE49-F238E27FC236}">
                    <a16:creationId xmlns:a16="http://schemas.microsoft.com/office/drawing/2014/main" id="{E916BD7B-C369-D288-DB38-852FA2A3CBAE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027488" y="4549775"/>
                <a:ext cx="479425" cy="255588"/>
              </a:xfrm>
              <a:custGeom>
                <a:avLst/>
                <a:gdLst>
                  <a:gd name="T0" fmla="*/ 479425 w 403"/>
                  <a:gd name="T1" fmla="*/ 12878 h 258"/>
                  <a:gd name="T2" fmla="*/ 479425 w 403"/>
                  <a:gd name="T3" fmla="*/ 28729 h 258"/>
                  <a:gd name="T4" fmla="*/ 479425 w 403"/>
                  <a:gd name="T5" fmla="*/ 41607 h 258"/>
                  <a:gd name="T6" fmla="*/ 463960 w 403"/>
                  <a:gd name="T7" fmla="*/ 70336 h 258"/>
                  <a:gd name="T8" fmla="*/ 447305 w 403"/>
                  <a:gd name="T9" fmla="*/ 70336 h 258"/>
                  <a:gd name="T10" fmla="*/ 429460 w 403"/>
                  <a:gd name="T11" fmla="*/ 84205 h 258"/>
                  <a:gd name="T12" fmla="*/ 429460 w 403"/>
                  <a:gd name="T13" fmla="*/ 99065 h 258"/>
                  <a:gd name="T14" fmla="*/ 429460 w 403"/>
                  <a:gd name="T15" fmla="*/ 112934 h 258"/>
                  <a:gd name="T16" fmla="*/ 429460 w 403"/>
                  <a:gd name="T17" fmla="*/ 126803 h 258"/>
                  <a:gd name="T18" fmla="*/ 412805 w 403"/>
                  <a:gd name="T19" fmla="*/ 141663 h 258"/>
                  <a:gd name="T20" fmla="*/ 412805 w 403"/>
                  <a:gd name="T21" fmla="*/ 155532 h 258"/>
                  <a:gd name="T22" fmla="*/ 412805 w 403"/>
                  <a:gd name="T23" fmla="*/ 170392 h 258"/>
                  <a:gd name="T24" fmla="*/ 429460 w 403"/>
                  <a:gd name="T25" fmla="*/ 170392 h 258"/>
                  <a:gd name="T26" fmla="*/ 412805 w 403"/>
                  <a:gd name="T27" fmla="*/ 184261 h 258"/>
                  <a:gd name="T28" fmla="*/ 429460 w 403"/>
                  <a:gd name="T29" fmla="*/ 184261 h 258"/>
                  <a:gd name="T30" fmla="*/ 429460 w 403"/>
                  <a:gd name="T31" fmla="*/ 212990 h 258"/>
                  <a:gd name="T32" fmla="*/ 394961 w 403"/>
                  <a:gd name="T33" fmla="*/ 225868 h 258"/>
                  <a:gd name="T34" fmla="*/ 394961 w 403"/>
                  <a:gd name="T35" fmla="*/ 255588 h 258"/>
                  <a:gd name="T36" fmla="*/ 359271 w 403"/>
                  <a:gd name="T37" fmla="*/ 241719 h 258"/>
                  <a:gd name="T38" fmla="*/ 343806 w 403"/>
                  <a:gd name="T39" fmla="*/ 255588 h 258"/>
                  <a:gd name="T40" fmla="*/ 309307 w 403"/>
                  <a:gd name="T41" fmla="*/ 241719 h 258"/>
                  <a:gd name="T42" fmla="*/ 290272 w 403"/>
                  <a:gd name="T43" fmla="*/ 212990 h 258"/>
                  <a:gd name="T44" fmla="*/ 290272 w 403"/>
                  <a:gd name="T45" fmla="*/ 197140 h 258"/>
                  <a:gd name="T46" fmla="*/ 255773 w 403"/>
                  <a:gd name="T47" fmla="*/ 184261 h 258"/>
                  <a:gd name="T48" fmla="*/ 223652 w 403"/>
                  <a:gd name="T49" fmla="*/ 184261 h 258"/>
                  <a:gd name="T50" fmla="*/ 206997 w 403"/>
                  <a:gd name="T51" fmla="*/ 170392 h 258"/>
                  <a:gd name="T52" fmla="*/ 172498 w 403"/>
                  <a:gd name="T53" fmla="*/ 170392 h 258"/>
                  <a:gd name="T54" fmla="*/ 154653 w 403"/>
                  <a:gd name="T55" fmla="*/ 141663 h 258"/>
                  <a:gd name="T56" fmla="*/ 137998 w 403"/>
                  <a:gd name="T57" fmla="*/ 126803 h 258"/>
                  <a:gd name="T58" fmla="*/ 88033 w 403"/>
                  <a:gd name="T59" fmla="*/ 112934 h 258"/>
                  <a:gd name="T60" fmla="*/ 68999 w 403"/>
                  <a:gd name="T61" fmla="*/ 99065 h 258"/>
                  <a:gd name="T62" fmla="*/ 53534 w 403"/>
                  <a:gd name="T63" fmla="*/ 99065 h 258"/>
                  <a:gd name="T64" fmla="*/ 16655 w 403"/>
                  <a:gd name="T65" fmla="*/ 84205 h 258"/>
                  <a:gd name="T66" fmla="*/ 0 w 403"/>
                  <a:gd name="T67" fmla="*/ 70336 h 258"/>
                  <a:gd name="T68" fmla="*/ 0 w 403"/>
                  <a:gd name="T69" fmla="*/ 57458 h 258"/>
                  <a:gd name="T70" fmla="*/ 16655 w 403"/>
                  <a:gd name="T71" fmla="*/ 41607 h 258"/>
                  <a:gd name="T72" fmla="*/ 16655 w 403"/>
                  <a:gd name="T73" fmla="*/ 12878 h 258"/>
                  <a:gd name="T74" fmla="*/ 34500 w 403"/>
                  <a:gd name="T75" fmla="*/ 12878 h 258"/>
                  <a:gd name="T76" fmla="*/ 53534 w 403"/>
                  <a:gd name="T77" fmla="*/ 0 h 258"/>
                  <a:gd name="T78" fmla="*/ 68999 w 403"/>
                  <a:gd name="T79" fmla="*/ 12878 h 258"/>
                  <a:gd name="T80" fmla="*/ 68999 w 403"/>
                  <a:gd name="T81" fmla="*/ 28729 h 258"/>
                  <a:gd name="T82" fmla="*/ 103499 w 403"/>
                  <a:gd name="T83" fmla="*/ 12878 h 258"/>
                  <a:gd name="T84" fmla="*/ 137998 w 403"/>
                  <a:gd name="T85" fmla="*/ 12878 h 258"/>
                  <a:gd name="T86" fmla="*/ 154653 w 403"/>
                  <a:gd name="T87" fmla="*/ 28729 h 258"/>
                  <a:gd name="T88" fmla="*/ 189153 w 403"/>
                  <a:gd name="T89" fmla="*/ 41607 h 258"/>
                  <a:gd name="T90" fmla="*/ 223652 w 403"/>
                  <a:gd name="T91" fmla="*/ 57458 h 258"/>
                  <a:gd name="T92" fmla="*/ 255773 w 403"/>
                  <a:gd name="T93" fmla="*/ 57458 h 258"/>
                  <a:gd name="T94" fmla="*/ 290272 w 403"/>
                  <a:gd name="T95" fmla="*/ 41607 h 258"/>
                  <a:gd name="T96" fmla="*/ 309307 w 403"/>
                  <a:gd name="T97" fmla="*/ 41607 h 258"/>
                  <a:gd name="T98" fmla="*/ 324772 w 403"/>
                  <a:gd name="T99" fmla="*/ 41607 h 258"/>
                  <a:gd name="T100" fmla="*/ 343806 w 403"/>
                  <a:gd name="T101" fmla="*/ 41607 h 258"/>
                  <a:gd name="T102" fmla="*/ 359271 w 403"/>
                  <a:gd name="T103" fmla="*/ 28729 h 258"/>
                  <a:gd name="T104" fmla="*/ 378306 w 403"/>
                  <a:gd name="T105" fmla="*/ 28729 h 258"/>
                  <a:gd name="T106" fmla="*/ 394961 w 403"/>
                  <a:gd name="T107" fmla="*/ 41607 h 258"/>
                  <a:gd name="T108" fmla="*/ 412805 w 403"/>
                  <a:gd name="T109" fmla="*/ 28729 h 258"/>
                  <a:gd name="T110" fmla="*/ 447305 w 403"/>
                  <a:gd name="T111" fmla="*/ 28729 h 258"/>
                  <a:gd name="T112" fmla="*/ 479425 w 403"/>
                  <a:gd name="T113" fmla="*/ 12878 h 258"/>
                  <a:gd name="T114" fmla="*/ 479425 w 403"/>
                  <a:gd name="T115" fmla="*/ 12878 h 258"/>
                  <a:gd name="T116" fmla="*/ 479425 w 403"/>
                  <a:gd name="T117" fmla="*/ 12878 h 25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3"/>
                  <a:gd name="T178" fmla="*/ 0 h 258"/>
                  <a:gd name="T179" fmla="*/ 403 w 403"/>
                  <a:gd name="T180" fmla="*/ 258 h 25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3" h="258">
                    <a:moveTo>
                      <a:pt x="403" y="13"/>
                    </a:moveTo>
                    <a:lnTo>
                      <a:pt x="403" y="29"/>
                    </a:lnTo>
                    <a:lnTo>
                      <a:pt x="403" y="42"/>
                    </a:lnTo>
                    <a:lnTo>
                      <a:pt x="390" y="71"/>
                    </a:lnTo>
                    <a:lnTo>
                      <a:pt x="376" y="71"/>
                    </a:lnTo>
                    <a:lnTo>
                      <a:pt x="361" y="85"/>
                    </a:lnTo>
                    <a:lnTo>
                      <a:pt x="361" y="100"/>
                    </a:lnTo>
                    <a:lnTo>
                      <a:pt x="361" y="114"/>
                    </a:lnTo>
                    <a:lnTo>
                      <a:pt x="361" y="128"/>
                    </a:lnTo>
                    <a:lnTo>
                      <a:pt x="347" y="143"/>
                    </a:lnTo>
                    <a:lnTo>
                      <a:pt x="347" y="157"/>
                    </a:lnTo>
                    <a:lnTo>
                      <a:pt x="347" y="172"/>
                    </a:lnTo>
                    <a:lnTo>
                      <a:pt x="361" y="172"/>
                    </a:lnTo>
                    <a:lnTo>
                      <a:pt x="347" y="186"/>
                    </a:lnTo>
                    <a:lnTo>
                      <a:pt x="361" y="186"/>
                    </a:lnTo>
                    <a:lnTo>
                      <a:pt x="361" y="215"/>
                    </a:lnTo>
                    <a:lnTo>
                      <a:pt x="332" y="228"/>
                    </a:lnTo>
                    <a:lnTo>
                      <a:pt x="332" y="258"/>
                    </a:lnTo>
                    <a:lnTo>
                      <a:pt x="302" y="244"/>
                    </a:lnTo>
                    <a:lnTo>
                      <a:pt x="289" y="258"/>
                    </a:lnTo>
                    <a:lnTo>
                      <a:pt x="260" y="244"/>
                    </a:lnTo>
                    <a:lnTo>
                      <a:pt x="244" y="215"/>
                    </a:lnTo>
                    <a:lnTo>
                      <a:pt x="244" y="199"/>
                    </a:lnTo>
                    <a:lnTo>
                      <a:pt x="215" y="186"/>
                    </a:lnTo>
                    <a:lnTo>
                      <a:pt x="188" y="186"/>
                    </a:lnTo>
                    <a:lnTo>
                      <a:pt x="174" y="172"/>
                    </a:lnTo>
                    <a:lnTo>
                      <a:pt x="145" y="172"/>
                    </a:lnTo>
                    <a:lnTo>
                      <a:pt x="130" y="143"/>
                    </a:lnTo>
                    <a:lnTo>
                      <a:pt x="116" y="128"/>
                    </a:lnTo>
                    <a:lnTo>
                      <a:pt x="74" y="114"/>
                    </a:lnTo>
                    <a:lnTo>
                      <a:pt x="58" y="100"/>
                    </a:lnTo>
                    <a:lnTo>
                      <a:pt x="45" y="100"/>
                    </a:lnTo>
                    <a:lnTo>
                      <a:pt x="14" y="85"/>
                    </a:lnTo>
                    <a:lnTo>
                      <a:pt x="0" y="71"/>
                    </a:lnTo>
                    <a:lnTo>
                      <a:pt x="0" y="58"/>
                    </a:lnTo>
                    <a:lnTo>
                      <a:pt x="14" y="42"/>
                    </a:lnTo>
                    <a:lnTo>
                      <a:pt x="14" y="13"/>
                    </a:lnTo>
                    <a:lnTo>
                      <a:pt x="29" y="13"/>
                    </a:lnTo>
                    <a:lnTo>
                      <a:pt x="45" y="0"/>
                    </a:lnTo>
                    <a:lnTo>
                      <a:pt x="58" y="13"/>
                    </a:lnTo>
                    <a:lnTo>
                      <a:pt x="58" y="29"/>
                    </a:lnTo>
                    <a:lnTo>
                      <a:pt x="87" y="13"/>
                    </a:lnTo>
                    <a:lnTo>
                      <a:pt x="116" y="13"/>
                    </a:lnTo>
                    <a:lnTo>
                      <a:pt x="130" y="29"/>
                    </a:lnTo>
                    <a:lnTo>
                      <a:pt x="159" y="42"/>
                    </a:lnTo>
                    <a:lnTo>
                      <a:pt x="188" y="58"/>
                    </a:lnTo>
                    <a:lnTo>
                      <a:pt x="215" y="58"/>
                    </a:lnTo>
                    <a:lnTo>
                      <a:pt x="244" y="42"/>
                    </a:lnTo>
                    <a:lnTo>
                      <a:pt x="260" y="42"/>
                    </a:lnTo>
                    <a:lnTo>
                      <a:pt x="273" y="42"/>
                    </a:lnTo>
                    <a:lnTo>
                      <a:pt x="289" y="42"/>
                    </a:lnTo>
                    <a:lnTo>
                      <a:pt x="302" y="29"/>
                    </a:lnTo>
                    <a:lnTo>
                      <a:pt x="318" y="29"/>
                    </a:lnTo>
                    <a:lnTo>
                      <a:pt x="332" y="42"/>
                    </a:lnTo>
                    <a:lnTo>
                      <a:pt x="347" y="29"/>
                    </a:lnTo>
                    <a:lnTo>
                      <a:pt x="376" y="29"/>
                    </a:lnTo>
                    <a:lnTo>
                      <a:pt x="403" y="1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 27">
                <a:extLst>
                  <a:ext uri="{FF2B5EF4-FFF2-40B4-BE49-F238E27FC236}">
                    <a16:creationId xmlns:a16="http://schemas.microsoft.com/office/drawing/2014/main" id="{8032FA1D-5F2D-B947-FFC1-02F85D93A90F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8" name="Freeform 28">
                <a:extLst>
                  <a:ext uri="{FF2B5EF4-FFF2-40B4-BE49-F238E27FC236}">
                    <a16:creationId xmlns:a16="http://schemas.microsoft.com/office/drawing/2014/main" id="{120C50DE-6251-9935-0847-240393CEF806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9" name="Freeform 29">
                <a:extLst>
                  <a:ext uri="{FF2B5EF4-FFF2-40B4-BE49-F238E27FC236}">
                    <a16:creationId xmlns:a16="http://schemas.microsoft.com/office/drawing/2014/main" id="{3DEFCC49-BBE1-BF80-2924-2367EA980D94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w 43"/>
                  <a:gd name="T17" fmla="*/ 0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3"/>
                  <a:gd name="T28" fmla="*/ 0 h 14"/>
                  <a:gd name="T29" fmla="*/ 43 w 43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0" name="Freeform 30">
                <a:extLst>
                  <a:ext uri="{FF2B5EF4-FFF2-40B4-BE49-F238E27FC236}">
                    <a16:creationId xmlns:a16="http://schemas.microsoft.com/office/drawing/2014/main" id="{DE95F32D-483D-B97B-258A-AE94C2D51064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3"/>
                  <a:gd name="T25" fmla="*/ 0 h 14"/>
                  <a:gd name="T26" fmla="*/ 43 w 43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1" name="Freeform 31">
                <a:extLst>
                  <a:ext uri="{FF2B5EF4-FFF2-40B4-BE49-F238E27FC236}">
                    <a16:creationId xmlns:a16="http://schemas.microsoft.com/office/drawing/2014/main" id="{BF6F88E9-0BE4-9E41-FADA-391689104188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2484438" y="1766888"/>
                <a:ext cx="49212" cy="39687"/>
              </a:xfrm>
              <a:custGeom>
                <a:avLst/>
                <a:gdLst>
                  <a:gd name="T0" fmla="*/ 0 w 42"/>
                  <a:gd name="T1" fmla="*/ 26766 h 43"/>
                  <a:gd name="T2" fmla="*/ 15232 w 42"/>
                  <a:gd name="T3" fmla="*/ 12921 h 43"/>
                  <a:gd name="T4" fmla="*/ 33980 w 42"/>
                  <a:gd name="T5" fmla="*/ 0 h 43"/>
                  <a:gd name="T6" fmla="*/ 49212 w 42"/>
                  <a:gd name="T7" fmla="*/ 12921 h 43"/>
                  <a:gd name="T8" fmla="*/ 49212 w 42"/>
                  <a:gd name="T9" fmla="*/ 26766 h 43"/>
                  <a:gd name="T10" fmla="*/ 15232 w 42"/>
                  <a:gd name="T11" fmla="*/ 39687 h 43"/>
                  <a:gd name="T12" fmla="*/ 0 w 42"/>
                  <a:gd name="T13" fmla="*/ 26766 h 43"/>
                  <a:gd name="T14" fmla="*/ 0 w 42"/>
                  <a:gd name="T15" fmla="*/ 26766 h 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2"/>
                  <a:gd name="T25" fmla="*/ 0 h 43"/>
                  <a:gd name="T26" fmla="*/ 42 w 42"/>
                  <a:gd name="T27" fmla="*/ 43 h 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2" h="43">
                    <a:moveTo>
                      <a:pt x="0" y="29"/>
                    </a:moveTo>
                    <a:lnTo>
                      <a:pt x="13" y="14"/>
                    </a:lnTo>
                    <a:lnTo>
                      <a:pt x="29" y="0"/>
                    </a:lnTo>
                    <a:lnTo>
                      <a:pt x="42" y="14"/>
                    </a:lnTo>
                    <a:lnTo>
                      <a:pt x="42" y="29"/>
                    </a:lnTo>
                    <a:lnTo>
                      <a:pt x="13" y="43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2" name="Freeform 32">
                <a:extLst>
                  <a:ext uri="{FF2B5EF4-FFF2-40B4-BE49-F238E27FC236}">
                    <a16:creationId xmlns:a16="http://schemas.microsoft.com/office/drawing/2014/main" id="{5A06E142-B278-0E03-2949-D5042CB4EB7A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2101850" y="1627188"/>
                <a:ext cx="996950" cy="801687"/>
              </a:xfrm>
              <a:custGeom>
                <a:avLst/>
                <a:gdLst>
                  <a:gd name="T0" fmla="*/ 84771 w 835"/>
                  <a:gd name="T1" fmla="*/ 688015 h 804"/>
                  <a:gd name="T2" fmla="*/ 187450 w 835"/>
                  <a:gd name="T3" fmla="*/ 630182 h 804"/>
                  <a:gd name="T4" fmla="*/ 222075 w 835"/>
                  <a:gd name="T5" fmla="*/ 616222 h 804"/>
                  <a:gd name="T6" fmla="*/ 272221 w 835"/>
                  <a:gd name="T7" fmla="*/ 630182 h 804"/>
                  <a:gd name="T8" fmla="*/ 342664 w 835"/>
                  <a:gd name="T9" fmla="*/ 643144 h 804"/>
                  <a:gd name="T10" fmla="*/ 409526 w 835"/>
                  <a:gd name="T11" fmla="*/ 616222 h 804"/>
                  <a:gd name="T12" fmla="*/ 478775 w 835"/>
                  <a:gd name="T13" fmla="*/ 585311 h 804"/>
                  <a:gd name="T14" fmla="*/ 444150 w 835"/>
                  <a:gd name="T15" fmla="*/ 574343 h 804"/>
                  <a:gd name="T16" fmla="*/ 427435 w 835"/>
                  <a:gd name="T17" fmla="*/ 515513 h 804"/>
                  <a:gd name="T18" fmla="*/ 464447 w 835"/>
                  <a:gd name="T19" fmla="*/ 473633 h 804"/>
                  <a:gd name="T20" fmla="*/ 496684 w 835"/>
                  <a:gd name="T21" fmla="*/ 415800 h 804"/>
                  <a:gd name="T22" fmla="*/ 496684 w 835"/>
                  <a:gd name="T23" fmla="*/ 358964 h 804"/>
                  <a:gd name="T24" fmla="*/ 548024 w 835"/>
                  <a:gd name="T25" fmla="*/ 344007 h 804"/>
                  <a:gd name="T26" fmla="*/ 513399 w 835"/>
                  <a:gd name="T27" fmla="*/ 315091 h 804"/>
                  <a:gd name="T28" fmla="*/ 548024 w 835"/>
                  <a:gd name="T29" fmla="*/ 272215 h 804"/>
                  <a:gd name="T30" fmla="*/ 599364 w 835"/>
                  <a:gd name="T31" fmla="*/ 243298 h 804"/>
                  <a:gd name="T32" fmla="*/ 532503 w 835"/>
                  <a:gd name="T33" fmla="*/ 227344 h 804"/>
                  <a:gd name="T34" fmla="*/ 532503 w 835"/>
                  <a:gd name="T35" fmla="*/ 171505 h 804"/>
                  <a:gd name="T36" fmla="*/ 567127 w 835"/>
                  <a:gd name="T37" fmla="*/ 101707 h 804"/>
                  <a:gd name="T38" fmla="*/ 617273 w 835"/>
                  <a:gd name="T39" fmla="*/ 86750 h 804"/>
                  <a:gd name="T40" fmla="*/ 668613 w 835"/>
                  <a:gd name="T41" fmla="*/ 70796 h 804"/>
                  <a:gd name="T42" fmla="*/ 703238 w 835"/>
                  <a:gd name="T43" fmla="*/ 41879 h 804"/>
                  <a:gd name="T44" fmla="*/ 737862 w 835"/>
                  <a:gd name="T45" fmla="*/ 28917 h 804"/>
                  <a:gd name="T46" fmla="*/ 804724 w 835"/>
                  <a:gd name="T47" fmla="*/ 41879 h 804"/>
                  <a:gd name="T48" fmla="*/ 804724 w 835"/>
                  <a:gd name="T49" fmla="*/ 115666 h 804"/>
                  <a:gd name="T50" fmla="*/ 789202 w 835"/>
                  <a:gd name="T51" fmla="*/ 185465 h 804"/>
                  <a:gd name="T52" fmla="*/ 841736 w 835"/>
                  <a:gd name="T53" fmla="*/ 214381 h 804"/>
                  <a:gd name="T54" fmla="*/ 858452 w 835"/>
                  <a:gd name="T55" fmla="*/ 272215 h 804"/>
                  <a:gd name="T56" fmla="*/ 823827 w 835"/>
                  <a:gd name="T57" fmla="*/ 344007 h 804"/>
                  <a:gd name="T58" fmla="*/ 858452 w 835"/>
                  <a:gd name="T59" fmla="*/ 372924 h 804"/>
                  <a:gd name="T60" fmla="*/ 877555 w 835"/>
                  <a:gd name="T61" fmla="*/ 428763 h 804"/>
                  <a:gd name="T62" fmla="*/ 823827 w 835"/>
                  <a:gd name="T63" fmla="*/ 473633 h 804"/>
                  <a:gd name="T64" fmla="*/ 858452 w 835"/>
                  <a:gd name="T65" fmla="*/ 500556 h 804"/>
                  <a:gd name="T66" fmla="*/ 944416 w 835"/>
                  <a:gd name="T67" fmla="*/ 500556 h 804"/>
                  <a:gd name="T68" fmla="*/ 996950 w 835"/>
                  <a:gd name="T69" fmla="*/ 574343 h 804"/>
                  <a:gd name="T70" fmla="*/ 944416 w 835"/>
                  <a:gd name="T71" fmla="*/ 643144 h 804"/>
                  <a:gd name="T72" fmla="*/ 893076 w 835"/>
                  <a:gd name="T73" fmla="*/ 659098 h 804"/>
                  <a:gd name="T74" fmla="*/ 858452 w 835"/>
                  <a:gd name="T75" fmla="*/ 672061 h 804"/>
                  <a:gd name="T76" fmla="*/ 804724 w 835"/>
                  <a:gd name="T77" fmla="*/ 688015 h 804"/>
                  <a:gd name="T78" fmla="*/ 823827 w 835"/>
                  <a:gd name="T79" fmla="*/ 730891 h 804"/>
                  <a:gd name="T80" fmla="*/ 893076 w 835"/>
                  <a:gd name="T81" fmla="*/ 730891 h 804"/>
                  <a:gd name="T82" fmla="*/ 858452 w 835"/>
                  <a:gd name="T83" fmla="*/ 772770 h 804"/>
                  <a:gd name="T84" fmla="*/ 789202 w 835"/>
                  <a:gd name="T85" fmla="*/ 786730 h 804"/>
                  <a:gd name="T86" fmla="*/ 703238 w 835"/>
                  <a:gd name="T87" fmla="*/ 772770 h 804"/>
                  <a:gd name="T88" fmla="*/ 617273 w 835"/>
                  <a:gd name="T89" fmla="*/ 772770 h 804"/>
                  <a:gd name="T90" fmla="*/ 567127 w 835"/>
                  <a:gd name="T91" fmla="*/ 743854 h 804"/>
                  <a:gd name="T92" fmla="*/ 496684 w 835"/>
                  <a:gd name="T93" fmla="*/ 757814 h 804"/>
                  <a:gd name="T94" fmla="*/ 409526 w 835"/>
                  <a:gd name="T95" fmla="*/ 757814 h 804"/>
                  <a:gd name="T96" fmla="*/ 358186 w 835"/>
                  <a:gd name="T97" fmla="*/ 714937 h 804"/>
                  <a:gd name="T98" fmla="*/ 288936 w 835"/>
                  <a:gd name="T99" fmla="*/ 701975 h 804"/>
                  <a:gd name="T100" fmla="*/ 254312 w 835"/>
                  <a:gd name="T101" fmla="*/ 757814 h 804"/>
                  <a:gd name="T102" fmla="*/ 170735 w 835"/>
                  <a:gd name="T103" fmla="*/ 730891 h 804"/>
                  <a:gd name="T104" fmla="*/ 84771 w 835"/>
                  <a:gd name="T105" fmla="*/ 730891 h 804"/>
                  <a:gd name="T106" fmla="*/ 32237 w 835"/>
                  <a:gd name="T107" fmla="*/ 743854 h 804"/>
                  <a:gd name="T108" fmla="*/ 32237 w 835"/>
                  <a:gd name="T109" fmla="*/ 714937 h 8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5"/>
                  <a:gd name="T166" fmla="*/ 0 h 804"/>
                  <a:gd name="T167" fmla="*/ 835 w 835"/>
                  <a:gd name="T168" fmla="*/ 804 h 8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5" h="804">
                    <a:moveTo>
                      <a:pt x="27" y="717"/>
                    </a:moveTo>
                    <a:lnTo>
                      <a:pt x="56" y="704"/>
                    </a:lnTo>
                    <a:lnTo>
                      <a:pt x="71" y="704"/>
                    </a:lnTo>
                    <a:lnTo>
                      <a:pt x="71" y="690"/>
                    </a:lnTo>
                    <a:lnTo>
                      <a:pt x="114" y="674"/>
                    </a:lnTo>
                    <a:lnTo>
                      <a:pt x="143" y="674"/>
                    </a:lnTo>
                    <a:lnTo>
                      <a:pt x="157" y="645"/>
                    </a:lnTo>
                    <a:lnTo>
                      <a:pt x="157" y="632"/>
                    </a:lnTo>
                    <a:lnTo>
                      <a:pt x="172" y="632"/>
                    </a:lnTo>
                    <a:lnTo>
                      <a:pt x="186" y="645"/>
                    </a:lnTo>
                    <a:lnTo>
                      <a:pt x="201" y="632"/>
                    </a:lnTo>
                    <a:lnTo>
                      <a:pt x="186" y="618"/>
                    </a:lnTo>
                    <a:lnTo>
                      <a:pt x="201" y="618"/>
                    </a:lnTo>
                    <a:lnTo>
                      <a:pt x="213" y="618"/>
                    </a:lnTo>
                    <a:lnTo>
                      <a:pt x="228" y="618"/>
                    </a:lnTo>
                    <a:lnTo>
                      <a:pt x="228" y="632"/>
                    </a:lnTo>
                    <a:lnTo>
                      <a:pt x="242" y="632"/>
                    </a:lnTo>
                    <a:lnTo>
                      <a:pt x="257" y="645"/>
                    </a:lnTo>
                    <a:lnTo>
                      <a:pt x="271" y="645"/>
                    </a:lnTo>
                    <a:lnTo>
                      <a:pt x="287" y="645"/>
                    </a:lnTo>
                    <a:lnTo>
                      <a:pt x="316" y="645"/>
                    </a:lnTo>
                    <a:lnTo>
                      <a:pt x="329" y="645"/>
                    </a:lnTo>
                    <a:lnTo>
                      <a:pt x="329" y="632"/>
                    </a:lnTo>
                    <a:lnTo>
                      <a:pt x="343" y="618"/>
                    </a:lnTo>
                    <a:lnTo>
                      <a:pt x="358" y="618"/>
                    </a:lnTo>
                    <a:lnTo>
                      <a:pt x="372" y="618"/>
                    </a:lnTo>
                    <a:lnTo>
                      <a:pt x="389" y="603"/>
                    </a:lnTo>
                    <a:lnTo>
                      <a:pt x="401" y="587"/>
                    </a:lnTo>
                    <a:lnTo>
                      <a:pt x="389" y="587"/>
                    </a:lnTo>
                    <a:lnTo>
                      <a:pt x="358" y="587"/>
                    </a:lnTo>
                    <a:lnTo>
                      <a:pt x="358" y="576"/>
                    </a:lnTo>
                    <a:lnTo>
                      <a:pt x="372" y="576"/>
                    </a:lnTo>
                    <a:lnTo>
                      <a:pt x="372" y="546"/>
                    </a:lnTo>
                    <a:lnTo>
                      <a:pt x="358" y="546"/>
                    </a:lnTo>
                    <a:lnTo>
                      <a:pt x="358" y="531"/>
                    </a:lnTo>
                    <a:lnTo>
                      <a:pt x="358" y="517"/>
                    </a:lnTo>
                    <a:lnTo>
                      <a:pt x="372" y="502"/>
                    </a:lnTo>
                    <a:lnTo>
                      <a:pt x="389" y="475"/>
                    </a:lnTo>
                    <a:lnTo>
                      <a:pt x="372" y="475"/>
                    </a:lnTo>
                    <a:lnTo>
                      <a:pt x="389" y="475"/>
                    </a:lnTo>
                    <a:lnTo>
                      <a:pt x="401" y="459"/>
                    </a:lnTo>
                    <a:lnTo>
                      <a:pt x="401" y="446"/>
                    </a:lnTo>
                    <a:lnTo>
                      <a:pt x="401" y="430"/>
                    </a:lnTo>
                    <a:lnTo>
                      <a:pt x="416" y="417"/>
                    </a:lnTo>
                    <a:lnTo>
                      <a:pt x="430" y="401"/>
                    </a:lnTo>
                    <a:lnTo>
                      <a:pt x="430" y="387"/>
                    </a:lnTo>
                    <a:lnTo>
                      <a:pt x="416" y="374"/>
                    </a:lnTo>
                    <a:lnTo>
                      <a:pt x="416" y="360"/>
                    </a:lnTo>
                    <a:lnTo>
                      <a:pt x="430" y="345"/>
                    </a:lnTo>
                    <a:lnTo>
                      <a:pt x="430" y="360"/>
                    </a:lnTo>
                    <a:lnTo>
                      <a:pt x="446" y="360"/>
                    </a:lnTo>
                    <a:lnTo>
                      <a:pt x="459" y="345"/>
                    </a:lnTo>
                    <a:lnTo>
                      <a:pt x="446" y="345"/>
                    </a:lnTo>
                    <a:lnTo>
                      <a:pt x="446" y="331"/>
                    </a:lnTo>
                    <a:lnTo>
                      <a:pt x="446" y="316"/>
                    </a:lnTo>
                    <a:lnTo>
                      <a:pt x="430" y="316"/>
                    </a:lnTo>
                    <a:lnTo>
                      <a:pt x="430" y="302"/>
                    </a:lnTo>
                    <a:lnTo>
                      <a:pt x="446" y="287"/>
                    </a:lnTo>
                    <a:lnTo>
                      <a:pt x="459" y="287"/>
                    </a:lnTo>
                    <a:lnTo>
                      <a:pt x="459" y="273"/>
                    </a:lnTo>
                    <a:lnTo>
                      <a:pt x="459" y="258"/>
                    </a:lnTo>
                    <a:lnTo>
                      <a:pt x="475" y="258"/>
                    </a:lnTo>
                    <a:lnTo>
                      <a:pt x="475" y="244"/>
                    </a:lnTo>
                    <a:lnTo>
                      <a:pt x="502" y="244"/>
                    </a:lnTo>
                    <a:lnTo>
                      <a:pt x="502" y="228"/>
                    </a:lnTo>
                    <a:lnTo>
                      <a:pt x="475" y="215"/>
                    </a:lnTo>
                    <a:lnTo>
                      <a:pt x="459" y="215"/>
                    </a:lnTo>
                    <a:lnTo>
                      <a:pt x="446" y="228"/>
                    </a:lnTo>
                    <a:lnTo>
                      <a:pt x="475" y="201"/>
                    </a:lnTo>
                    <a:lnTo>
                      <a:pt x="459" y="201"/>
                    </a:lnTo>
                    <a:lnTo>
                      <a:pt x="446" y="186"/>
                    </a:lnTo>
                    <a:lnTo>
                      <a:pt x="446" y="172"/>
                    </a:lnTo>
                    <a:lnTo>
                      <a:pt x="446" y="143"/>
                    </a:lnTo>
                    <a:lnTo>
                      <a:pt x="446" y="130"/>
                    </a:lnTo>
                    <a:lnTo>
                      <a:pt x="459" y="116"/>
                    </a:lnTo>
                    <a:lnTo>
                      <a:pt x="475" y="102"/>
                    </a:lnTo>
                    <a:lnTo>
                      <a:pt x="488" y="116"/>
                    </a:lnTo>
                    <a:lnTo>
                      <a:pt x="488" y="102"/>
                    </a:lnTo>
                    <a:lnTo>
                      <a:pt x="502" y="102"/>
                    </a:lnTo>
                    <a:lnTo>
                      <a:pt x="517" y="87"/>
                    </a:lnTo>
                    <a:lnTo>
                      <a:pt x="517" y="102"/>
                    </a:lnTo>
                    <a:lnTo>
                      <a:pt x="531" y="102"/>
                    </a:lnTo>
                    <a:lnTo>
                      <a:pt x="546" y="87"/>
                    </a:lnTo>
                    <a:lnTo>
                      <a:pt x="560" y="71"/>
                    </a:lnTo>
                    <a:lnTo>
                      <a:pt x="575" y="71"/>
                    </a:lnTo>
                    <a:lnTo>
                      <a:pt x="575" y="58"/>
                    </a:lnTo>
                    <a:lnTo>
                      <a:pt x="589" y="58"/>
                    </a:lnTo>
                    <a:lnTo>
                      <a:pt x="589" y="42"/>
                    </a:lnTo>
                    <a:lnTo>
                      <a:pt x="603" y="42"/>
                    </a:lnTo>
                    <a:lnTo>
                      <a:pt x="618" y="58"/>
                    </a:lnTo>
                    <a:lnTo>
                      <a:pt x="632" y="42"/>
                    </a:lnTo>
                    <a:lnTo>
                      <a:pt x="618" y="29"/>
                    </a:lnTo>
                    <a:lnTo>
                      <a:pt x="632" y="29"/>
                    </a:lnTo>
                    <a:lnTo>
                      <a:pt x="647" y="0"/>
                    </a:lnTo>
                    <a:lnTo>
                      <a:pt x="661" y="29"/>
                    </a:lnTo>
                    <a:lnTo>
                      <a:pt x="674" y="42"/>
                    </a:lnTo>
                    <a:lnTo>
                      <a:pt x="661" y="71"/>
                    </a:lnTo>
                    <a:lnTo>
                      <a:pt x="661" y="87"/>
                    </a:lnTo>
                    <a:lnTo>
                      <a:pt x="661" y="102"/>
                    </a:lnTo>
                    <a:lnTo>
                      <a:pt x="674" y="116"/>
                    </a:lnTo>
                    <a:lnTo>
                      <a:pt x="674" y="130"/>
                    </a:lnTo>
                    <a:lnTo>
                      <a:pt x="661" y="143"/>
                    </a:lnTo>
                    <a:lnTo>
                      <a:pt x="661" y="157"/>
                    </a:lnTo>
                    <a:lnTo>
                      <a:pt x="661" y="186"/>
                    </a:lnTo>
                    <a:lnTo>
                      <a:pt x="661" y="201"/>
                    </a:lnTo>
                    <a:lnTo>
                      <a:pt x="674" y="201"/>
                    </a:lnTo>
                    <a:lnTo>
                      <a:pt x="690" y="215"/>
                    </a:lnTo>
                    <a:lnTo>
                      <a:pt x="705" y="215"/>
                    </a:lnTo>
                    <a:lnTo>
                      <a:pt x="705" y="228"/>
                    </a:lnTo>
                    <a:lnTo>
                      <a:pt x="719" y="244"/>
                    </a:lnTo>
                    <a:lnTo>
                      <a:pt x="719" y="258"/>
                    </a:lnTo>
                    <a:lnTo>
                      <a:pt x="719" y="273"/>
                    </a:lnTo>
                    <a:lnTo>
                      <a:pt x="719" y="287"/>
                    </a:lnTo>
                    <a:lnTo>
                      <a:pt x="719" y="360"/>
                    </a:lnTo>
                    <a:lnTo>
                      <a:pt x="705" y="345"/>
                    </a:lnTo>
                    <a:lnTo>
                      <a:pt x="690" y="345"/>
                    </a:lnTo>
                    <a:lnTo>
                      <a:pt x="674" y="345"/>
                    </a:lnTo>
                    <a:lnTo>
                      <a:pt x="674" y="360"/>
                    </a:lnTo>
                    <a:lnTo>
                      <a:pt x="690" y="360"/>
                    </a:lnTo>
                    <a:lnTo>
                      <a:pt x="719" y="374"/>
                    </a:lnTo>
                    <a:lnTo>
                      <a:pt x="719" y="387"/>
                    </a:lnTo>
                    <a:lnTo>
                      <a:pt x="735" y="401"/>
                    </a:lnTo>
                    <a:lnTo>
                      <a:pt x="735" y="417"/>
                    </a:lnTo>
                    <a:lnTo>
                      <a:pt x="735" y="430"/>
                    </a:lnTo>
                    <a:lnTo>
                      <a:pt x="735" y="446"/>
                    </a:lnTo>
                    <a:lnTo>
                      <a:pt x="719" y="459"/>
                    </a:lnTo>
                    <a:lnTo>
                      <a:pt x="705" y="475"/>
                    </a:lnTo>
                    <a:lnTo>
                      <a:pt x="690" y="475"/>
                    </a:lnTo>
                    <a:lnTo>
                      <a:pt x="690" y="488"/>
                    </a:lnTo>
                    <a:lnTo>
                      <a:pt x="690" y="502"/>
                    </a:lnTo>
                    <a:lnTo>
                      <a:pt x="705" y="517"/>
                    </a:lnTo>
                    <a:lnTo>
                      <a:pt x="719" y="502"/>
                    </a:lnTo>
                    <a:lnTo>
                      <a:pt x="735" y="502"/>
                    </a:lnTo>
                    <a:lnTo>
                      <a:pt x="748" y="488"/>
                    </a:lnTo>
                    <a:lnTo>
                      <a:pt x="764" y="502"/>
                    </a:lnTo>
                    <a:lnTo>
                      <a:pt x="791" y="502"/>
                    </a:lnTo>
                    <a:lnTo>
                      <a:pt x="820" y="517"/>
                    </a:lnTo>
                    <a:lnTo>
                      <a:pt x="835" y="531"/>
                    </a:lnTo>
                    <a:lnTo>
                      <a:pt x="835" y="560"/>
                    </a:lnTo>
                    <a:lnTo>
                      <a:pt x="835" y="576"/>
                    </a:lnTo>
                    <a:lnTo>
                      <a:pt x="820" y="603"/>
                    </a:lnTo>
                    <a:lnTo>
                      <a:pt x="820" y="618"/>
                    </a:lnTo>
                    <a:lnTo>
                      <a:pt x="806" y="632"/>
                    </a:lnTo>
                    <a:lnTo>
                      <a:pt x="791" y="645"/>
                    </a:lnTo>
                    <a:lnTo>
                      <a:pt x="777" y="645"/>
                    </a:lnTo>
                    <a:lnTo>
                      <a:pt x="764" y="645"/>
                    </a:lnTo>
                    <a:lnTo>
                      <a:pt x="764" y="661"/>
                    </a:lnTo>
                    <a:lnTo>
                      <a:pt x="748" y="661"/>
                    </a:lnTo>
                    <a:lnTo>
                      <a:pt x="735" y="661"/>
                    </a:lnTo>
                    <a:lnTo>
                      <a:pt x="719" y="661"/>
                    </a:lnTo>
                    <a:lnTo>
                      <a:pt x="705" y="674"/>
                    </a:lnTo>
                    <a:lnTo>
                      <a:pt x="719" y="674"/>
                    </a:lnTo>
                    <a:lnTo>
                      <a:pt x="719" y="690"/>
                    </a:lnTo>
                    <a:lnTo>
                      <a:pt x="705" y="704"/>
                    </a:lnTo>
                    <a:lnTo>
                      <a:pt x="690" y="690"/>
                    </a:lnTo>
                    <a:lnTo>
                      <a:pt x="674" y="690"/>
                    </a:lnTo>
                    <a:lnTo>
                      <a:pt x="661" y="690"/>
                    </a:lnTo>
                    <a:lnTo>
                      <a:pt x="661" y="704"/>
                    </a:lnTo>
                    <a:lnTo>
                      <a:pt x="674" y="717"/>
                    </a:lnTo>
                    <a:lnTo>
                      <a:pt x="690" y="733"/>
                    </a:lnTo>
                    <a:lnTo>
                      <a:pt x="705" y="733"/>
                    </a:lnTo>
                    <a:lnTo>
                      <a:pt x="719" y="746"/>
                    </a:lnTo>
                    <a:lnTo>
                      <a:pt x="735" y="733"/>
                    </a:lnTo>
                    <a:lnTo>
                      <a:pt x="748" y="733"/>
                    </a:lnTo>
                    <a:lnTo>
                      <a:pt x="764" y="746"/>
                    </a:lnTo>
                    <a:lnTo>
                      <a:pt x="748" y="760"/>
                    </a:lnTo>
                    <a:lnTo>
                      <a:pt x="735" y="775"/>
                    </a:lnTo>
                    <a:lnTo>
                      <a:pt x="719" y="775"/>
                    </a:lnTo>
                    <a:lnTo>
                      <a:pt x="705" y="789"/>
                    </a:lnTo>
                    <a:lnTo>
                      <a:pt x="690" y="804"/>
                    </a:lnTo>
                    <a:lnTo>
                      <a:pt x="674" y="789"/>
                    </a:lnTo>
                    <a:lnTo>
                      <a:pt x="661" y="789"/>
                    </a:lnTo>
                    <a:lnTo>
                      <a:pt x="632" y="804"/>
                    </a:lnTo>
                    <a:lnTo>
                      <a:pt x="618" y="789"/>
                    </a:lnTo>
                    <a:lnTo>
                      <a:pt x="603" y="789"/>
                    </a:lnTo>
                    <a:lnTo>
                      <a:pt x="589" y="775"/>
                    </a:lnTo>
                    <a:lnTo>
                      <a:pt x="575" y="775"/>
                    </a:lnTo>
                    <a:lnTo>
                      <a:pt x="560" y="775"/>
                    </a:lnTo>
                    <a:lnTo>
                      <a:pt x="546" y="775"/>
                    </a:lnTo>
                    <a:lnTo>
                      <a:pt x="517" y="775"/>
                    </a:lnTo>
                    <a:lnTo>
                      <a:pt x="517" y="760"/>
                    </a:lnTo>
                    <a:lnTo>
                      <a:pt x="502" y="760"/>
                    </a:lnTo>
                    <a:lnTo>
                      <a:pt x="488" y="760"/>
                    </a:lnTo>
                    <a:lnTo>
                      <a:pt x="475" y="746"/>
                    </a:lnTo>
                    <a:lnTo>
                      <a:pt x="459" y="733"/>
                    </a:lnTo>
                    <a:lnTo>
                      <a:pt x="446" y="746"/>
                    </a:lnTo>
                    <a:lnTo>
                      <a:pt x="446" y="760"/>
                    </a:lnTo>
                    <a:lnTo>
                      <a:pt x="416" y="760"/>
                    </a:lnTo>
                    <a:lnTo>
                      <a:pt x="401" y="746"/>
                    </a:lnTo>
                    <a:lnTo>
                      <a:pt x="372" y="746"/>
                    </a:lnTo>
                    <a:lnTo>
                      <a:pt x="358" y="760"/>
                    </a:lnTo>
                    <a:lnTo>
                      <a:pt x="343" y="760"/>
                    </a:lnTo>
                    <a:lnTo>
                      <a:pt x="343" y="746"/>
                    </a:lnTo>
                    <a:lnTo>
                      <a:pt x="329" y="733"/>
                    </a:lnTo>
                    <a:lnTo>
                      <a:pt x="316" y="717"/>
                    </a:lnTo>
                    <a:lnTo>
                      <a:pt x="300" y="717"/>
                    </a:lnTo>
                    <a:lnTo>
                      <a:pt x="287" y="717"/>
                    </a:lnTo>
                    <a:lnTo>
                      <a:pt x="271" y="717"/>
                    </a:lnTo>
                    <a:lnTo>
                      <a:pt x="257" y="717"/>
                    </a:lnTo>
                    <a:lnTo>
                      <a:pt x="242" y="704"/>
                    </a:lnTo>
                    <a:lnTo>
                      <a:pt x="228" y="717"/>
                    </a:lnTo>
                    <a:lnTo>
                      <a:pt x="228" y="733"/>
                    </a:lnTo>
                    <a:lnTo>
                      <a:pt x="228" y="746"/>
                    </a:lnTo>
                    <a:lnTo>
                      <a:pt x="213" y="760"/>
                    </a:lnTo>
                    <a:lnTo>
                      <a:pt x="186" y="760"/>
                    </a:lnTo>
                    <a:lnTo>
                      <a:pt x="172" y="746"/>
                    </a:lnTo>
                    <a:lnTo>
                      <a:pt x="172" y="733"/>
                    </a:lnTo>
                    <a:lnTo>
                      <a:pt x="143" y="733"/>
                    </a:lnTo>
                    <a:lnTo>
                      <a:pt x="114" y="717"/>
                    </a:lnTo>
                    <a:lnTo>
                      <a:pt x="85" y="733"/>
                    </a:lnTo>
                    <a:lnTo>
                      <a:pt x="71" y="746"/>
                    </a:lnTo>
                    <a:lnTo>
                      <a:pt x="71" y="733"/>
                    </a:lnTo>
                    <a:lnTo>
                      <a:pt x="56" y="733"/>
                    </a:lnTo>
                    <a:lnTo>
                      <a:pt x="56" y="746"/>
                    </a:lnTo>
                    <a:lnTo>
                      <a:pt x="40" y="746"/>
                    </a:lnTo>
                    <a:lnTo>
                      <a:pt x="27" y="746"/>
                    </a:lnTo>
                    <a:lnTo>
                      <a:pt x="27" y="717"/>
                    </a:lnTo>
                    <a:lnTo>
                      <a:pt x="13" y="717"/>
                    </a:lnTo>
                    <a:lnTo>
                      <a:pt x="0" y="717"/>
                    </a:lnTo>
                    <a:lnTo>
                      <a:pt x="27" y="71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3" name="Freeform 33">
                <a:extLst>
                  <a:ext uri="{FF2B5EF4-FFF2-40B4-BE49-F238E27FC236}">
                    <a16:creationId xmlns:a16="http://schemas.microsoft.com/office/drawing/2014/main" id="{375DBC97-6EBB-D931-A2F5-7EF0CF6B1121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2263775" y="1944688"/>
                <a:ext cx="357188" cy="284162"/>
              </a:xfrm>
              <a:custGeom>
                <a:avLst/>
                <a:gdLst>
                  <a:gd name="T0" fmla="*/ 323002 w 303"/>
                  <a:gd name="T1" fmla="*/ 28713 h 287"/>
                  <a:gd name="T2" fmla="*/ 306498 w 303"/>
                  <a:gd name="T3" fmla="*/ 14852 h 287"/>
                  <a:gd name="T4" fmla="*/ 288815 w 303"/>
                  <a:gd name="T5" fmla="*/ 0 h 287"/>
                  <a:gd name="T6" fmla="*/ 220443 w 303"/>
                  <a:gd name="T7" fmla="*/ 14852 h 287"/>
                  <a:gd name="T8" fmla="*/ 169753 w 303"/>
                  <a:gd name="T9" fmla="*/ 28713 h 287"/>
                  <a:gd name="T10" fmla="*/ 135566 w 303"/>
                  <a:gd name="T11" fmla="*/ 43565 h 287"/>
                  <a:gd name="T12" fmla="*/ 153249 w 303"/>
                  <a:gd name="T13" fmla="*/ 57426 h 287"/>
                  <a:gd name="T14" fmla="*/ 187435 w 303"/>
                  <a:gd name="T15" fmla="*/ 57426 h 287"/>
                  <a:gd name="T16" fmla="*/ 220443 w 303"/>
                  <a:gd name="T17" fmla="*/ 43565 h 287"/>
                  <a:gd name="T18" fmla="*/ 201581 w 303"/>
                  <a:gd name="T19" fmla="*/ 70298 h 287"/>
                  <a:gd name="T20" fmla="*/ 201581 w 303"/>
                  <a:gd name="T21" fmla="*/ 99011 h 287"/>
                  <a:gd name="T22" fmla="*/ 201581 w 303"/>
                  <a:gd name="T23" fmla="*/ 114853 h 287"/>
                  <a:gd name="T24" fmla="*/ 169753 w 303"/>
                  <a:gd name="T25" fmla="*/ 128715 h 287"/>
                  <a:gd name="T26" fmla="*/ 135566 w 303"/>
                  <a:gd name="T27" fmla="*/ 157428 h 287"/>
                  <a:gd name="T28" fmla="*/ 101380 w 303"/>
                  <a:gd name="T29" fmla="*/ 157428 h 287"/>
                  <a:gd name="T30" fmla="*/ 69551 w 303"/>
                  <a:gd name="T31" fmla="*/ 157428 h 287"/>
                  <a:gd name="T32" fmla="*/ 31829 w 303"/>
                  <a:gd name="T33" fmla="*/ 141586 h 287"/>
                  <a:gd name="T34" fmla="*/ 16504 w 303"/>
                  <a:gd name="T35" fmla="*/ 172279 h 287"/>
                  <a:gd name="T36" fmla="*/ 31829 w 303"/>
                  <a:gd name="T37" fmla="*/ 186141 h 287"/>
                  <a:gd name="T38" fmla="*/ 50690 w 303"/>
                  <a:gd name="T39" fmla="*/ 199012 h 287"/>
                  <a:gd name="T40" fmla="*/ 31829 w 303"/>
                  <a:gd name="T41" fmla="*/ 212874 h 287"/>
                  <a:gd name="T42" fmla="*/ 84876 w 303"/>
                  <a:gd name="T43" fmla="*/ 199012 h 287"/>
                  <a:gd name="T44" fmla="*/ 119063 w 303"/>
                  <a:gd name="T45" fmla="*/ 199012 h 287"/>
                  <a:gd name="T46" fmla="*/ 119063 w 303"/>
                  <a:gd name="T47" fmla="*/ 227726 h 287"/>
                  <a:gd name="T48" fmla="*/ 119063 w 303"/>
                  <a:gd name="T49" fmla="*/ 227726 h 287"/>
                  <a:gd name="T50" fmla="*/ 153249 w 303"/>
                  <a:gd name="T51" fmla="*/ 241587 h 287"/>
                  <a:gd name="T52" fmla="*/ 153249 w 303"/>
                  <a:gd name="T53" fmla="*/ 256439 h 287"/>
                  <a:gd name="T54" fmla="*/ 187435 w 303"/>
                  <a:gd name="T55" fmla="*/ 284162 h 287"/>
                  <a:gd name="T56" fmla="*/ 238125 w 303"/>
                  <a:gd name="T57" fmla="*/ 284162 h 287"/>
                  <a:gd name="T58" fmla="*/ 272312 w 303"/>
                  <a:gd name="T59" fmla="*/ 270300 h 287"/>
                  <a:gd name="T60" fmla="*/ 288815 w 303"/>
                  <a:gd name="T61" fmla="*/ 256439 h 287"/>
                  <a:gd name="T62" fmla="*/ 272312 w 303"/>
                  <a:gd name="T63" fmla="*/ 227726 h 287"/>
                  <a:gd name="T64" fmla="*/ 272312 w 303"/>
                  <a:gd name="T65" fmla="*/ 199012 h 287"/>
                  <a:gd name="T66" fmla="*/ 306498 w 303"/>
                  <a:gd name="T67" fmla="*/ 157428 h 287"/>
                  <a:gd name="T68" fmla="*/ 306498 w 303"/>
                  <a:gd name="T69" fmla="*/ 157428 h 287"/>
                  <a:gd name="T70" fmla="*/ 323002 w 303"/>
                  <a:gd name="T71" fmla="*/ 128715 h 287"/>
                  <a:gd name="T72" fmla="*/ 340684 w 303"/>
                  <a:gd name="T73" fmla="*/ 99011 h 287"/>
                  <a:gd name="T74" fmla="*/ 357188 w 303"/>
                  <a:gd name="T75" fmla="*/ 70298 h 287"/>
                  <a:gd name="T76" fmla="*/ 340684 w 303"/>
                  <a:gd name="T77" fmla="*/ 43565 h 28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03"/>
                  <a:gd name="T118" fmla="*/ 0 h 287"/>
                  <a:gd name="T119" fmla="*/ 303 w 303"/>
                  <a:gd name="T120" fmla="*/ 287 h 28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03" h="287">
                    <a:moveTo>
                      <a:pt x="289" y="44"/>
                    </a:moveTo>
                    <a:lnTo>
                      <a:pt x="274" y="29"/>
                    </a:lnTo>
                    <a:lnTo>
                      <a:pt x="274" y="15"/>
                    </a:lnTo>
                    <a:lnTo>
                      <a:pt x="260" y="15"/>
                    </a:lnTo>
                    <a:lnTo>
                      <a:pt x="245" y="15"/>
                    </a:lnTo>
                    <a:lnTo>
                      <a:pt x="245" y="0"/>
                    </a:lnTo>
                    <a:lnTo>
                      <a:pt x="202" y="15"/>
                    </a:lnTo>
                    <a:lnTo>
                      <a:pt x="187" y="15"/>
                    </a:lnTo>
                    <a:lnTo>
                      <a:pt x="171" y="29"/>
                    </a:lnTo>
                    <a:lnTo>
                      <a:pt x="144" y="29"/>
                    </a:lnTo>
                    <a:lnTo>
                      <a:pt x="130" y="44"/>
                    </a:lnTo>
                    <a:lnTo>
                      <a:pt x="115" y="44"/>
                    </a:lnTo>
                    <a:lnTo>
                      <a:pt x="115" y="58"/>
                    </a:lnTo>
                    <a:lnTo>
                      <a:pt x="130" y="58"/>
                    </a:lnTo>
                    <a:lnTo>
                      <a:pt x="144" y="44"/>
                    </a:lnTo>
                    <a:lnTo>
                      <a:pt x="159" y="58"/>
                    </a:lnTo>
                    <a:lnTo>
                      <a:pt x="171" y="44"/>
                    </a:lnTo>
                    <a:lnTo>
                      <a:pt x="187" y="44"/>
                    </a:lnTo>
                    <a:lnTo>
                      <a:pt x="187" y="58"/>
                    </a:lnTo>
                    <a:lnTo>
                      <a:pt x="171" y="71"/>
                    </a:lnTo>
                    <a:lnTo>
                      <a:pt x="171" y="85"/>
                    </a:lnTo>
                    <a:lnTo>
                      <a:pt x="171" y="100"/>
                    </a:lnTo>
                    <a:lnTo>
                      <a:pt x="159" y="100"/>
                    </a:lnTo>
                    <a:lnTo>
                      <a:pt x="171" y="116"/>
                    </a:lnTo>
                    <a:lnTo>
                      <a:pt x="159" y="130"/>
                    </a:lnTo>
                    <a:lnTo>
                      <a:pt x="144" y="130"/>
                    </a:lnTo>
                    <a:lnTo>
                      <a:pt x="130" y="143"/>
                    </a:lnTo>
                    <a:lnTo>
                      <a:pt x="115" y="159"/>
                    </a:lnTo>
                    <a:lnTo>
                      <a:pt x="101" y="143"/>
                    </a:lnTo>
                    <a:lnTo>
                      <a:pt x="86" y="159"/>
                    </a:lnTo>
                    <a:lnTo>
                      <a:pt x="72" y="159"/>
                    </a:lnTo>
                    <a:lnTo>
                      <a:pt x="59" y="159"/>
                    </a:lnTo>
                    <a:lnTo>
                      <a:pt x="43" y="159"/>
                    </a:lnTo>
                    <a:lnTo>
                      <a:pt x="27" y="143"/>
                    </a:lnTo>
                    <a:lnTo>
                      <a:pt x="14" y="159"/>
                    </a:lnTo>
                    <a:lnTo>
                      <a:pt x="14" y="174"/>
                    </a:lnTo>
                    <a:lnTo>
                      <a:pt x="0" y="188"/>
                    </a:lnTo>
                    <a:lnTo>
                      <a:pt x="27" y="188"/>
                    </a:lnTo>
                    <a:lnTo>
                      <a:pt x="43" y="188"/>
                    </a:lnTo>
                    <a:lnTo>
                      <a:pt x="43" y="201"/>
                    </a:lnTo>
                    <a:lnTo>
                      <a:pt x="27" y="201"/>
                    </a:lnTo>
                    <a:lnTo>
                      <a:pt x="27" y="215"/>
                    </a:lnTo>
                    <a:lnTo>
                      <a:pt x="59" y="215"/>
                    </a:lnTo>
                    <a:lnTo>
                      <a:pt x="72" y="201"/>
                    </a:lnTo>
                    <a:lnTo>
                      <a:pt x="86" y="201"/>
                    </a:lnTo>
                    <a:lnTo>
                      <a:pt x="101" y="201"/>
                    </a:lnTo>
                    <a:lnTo>
                      <a:pt x="101" y="215"/>
                    </a:lnTo>
                    <a:lnTo>
                      <a:pt x="101" y="230"/>
                    </a:lnTo>
                    <a:lnTo>
                      <a:pt x="115" y="230"/>
                    </a:lnTo>
                    <a:lnTo>
                      <a:pt x="101" y="230"/>
                    </a:lnTo>
                    <a:lnTo>
                      <a:pt x="101" y="244"/>
                    </a:lnTo>
                    <a:lnTo>
                      <a:pt x="130" y="244"/>
                    </a:lnTo>
                    <a:lnTo>
                      <a:pt x="144" y="244"/>
                    </a:lnTo>
                    <a:lnTo>
                      <a:pt x="130" y="259"/>
                    </a:lnTo>
                    <a:lnTo>
                      <a:pt x="144" y="273"/>
                    </a:lnTo>
                    <a:lnTo>
                      <a:pt x="159" y="287"/>
                    </a:lnTo>
                    <a:lnTo>
                      <a:pt x="171" y="287"/>
                    </a:lnTo>
                    <a:lnTo>
                      <a:pt x="202" y="287"/>
                    </a:lnTo>
                    <a:lnTo>
                      <a:pt x="216" y="287"/>
                    </a:lnTo>
                    <a:lnTo>
                      <a:pt x="231" y="273"/>
                    </a:lnTo>
                    <a:lnTo>
                      <a:pt x="231" y="259"/>
                    </a:lnTo>
                    <a:lnTo>
                      <a:pt x="245" y="259"/>
                    </a:lnTo>
                    <a:lnTo>
                      <a:pt x="245" y="230"/>
                    </a:lnTo>
                    <a:lnTo>
                      <a:pt x="231" y="230"/>
                    </a:lnTo>
                    <a:lnTo>
                      <a:pt x="231" y="215"/>
                    </a:lnTo>
                    <a:lnTo>
                      <a:pt x="231" y="201"/>
                    </a:lnTo>
                    <a:lnTo>
                      <a:pt x="245" y="188"/>
                    </a:lnTo>
                    <a:lnTo>
                      <a:pt x="260" y="159"/>
                    </a:lnTo>
                    <a:lnTo>
                      <a:pt x="245" y="159"/>
                    </a:lnTo>
                    <a:lnTo>
                      <a:pt x="260" y="159"/>
                    </a:lnTo>
                    <a:lnTo>
                      <a:pt x="274" y="143"/>
                    </a:lnTo>
                    <a:lnTo>
                      <a:pt x="274" y="130"/>
                    </a:lnTo>
                    <a:lnTo>
                      <a:pt x="274" y="116"/>
                    </a:lnTo>
                    <a:lnTo>
                      <a:pt x="289" y="100"/>
                    </a:lnTo>
                    <a:lnTo>
                      <a:pt x="303" y="85"/>
                    </a:lnTo>
                    <a:lnTo>
                      <a:pt x="303" y="71"/>
                    </a:lnTo>
                    <a:lnTo>
                      <a:pt x="289" y="58"/>
                    </a:lnTo>
                    <a:lnTo>
                      <a:pt x="289" y="4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4" name="Freeform 34">
                <a:extLst>
                  <a:ext uri="{FF2B5EF4-FFF2-40B4-BE49-F238E27FC236}">
                    <a16:creationId xmlns:a16="http://schemas.microsoft.com/office/drawing/2014/main" id="{AD6E7E09-0D9F-CEE0-2E3A-D0AA243DC549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2498725" y="1144588"/>
                <a:ext cx="496888" cy="585787"/>
              </a:xfrm>
              <a:custGeom>
                <a:avLst/>
                <a:gdLst>
                  <a:gd name="T0" fmla="*/ 205159 w 419"/>
                  <a:gd name="T1" fmla="*/ 570869 h 589"/>
                  <a:gd name="T2" fmla="*/ 154166 w 419"/>
                  <a:gd name="T3" fmla="*/ 556945 h 589"/>
                  <a:gd name="T4" fmla="*/ 136377 w 419"/>
                  <a:gd name="T5" fmla="*/ 556945 h 589"/>
                  <a:gd name="T6" fmla="*/ 85384 w 419"/>
                  <a:gd name="T7" fmla="*/ 542027 h 589"/>
                  <a:gd name="T8" fmla="*/ 68782 w 419"/>
                  <a:gd name="T9" fmla="*/ 585787 h 589"/>
                  <a:gd name="T10" fmla="*/ 34391 w 419"/>
                  <a:gd name="T11" fmla="*/ 542027 h 589"/>
                  <a:gd name="T12" fmla="*/ 16602 w 419"/>
                  <a:gd name="T13" fmla="*/ 570869 h 589"/>
                  <a:gd name="T14" fmla="*/ 0 w 419"/>
                  <a:gd name="T15" fmla="*/ 528103 h 589"/>
                  <a:gd name="T16" fmla="*/ 16602 w 419"/>
                  <a:gd name="T17" fmla="*/ 499262 h 589"/>
                  <a:gd name="T18" fmla="*/ 50993 w 419"/>
                  <a:gd name="T19" fmla="*/ 470420 h 589"/>
                  <a:gd name="T20" fmla="*/ 103172 w 419"/>
                  <a:gd name="T21" fmla="*/ 441578 h 589"/>
                  <a:gd name="T22" fmla="*/ 136377 w 419"/>
                  <a:gd name="T23" fmla="*/ 414725 h 589"/>
                  <a:gd name="T24" fmla="*/ 103172 w 419"/>
                  <a:gd name="T25" fmla="*/ 385883 h 589"/>
                  <a:gd name="T26" fmla="*/ 68782 w 419"/>
                  <a:gd name="T27" fmla="*/ 371960 h 589"/>
                  <a:gd name="T28" fmla="*/ 103172 w 419"/>
                  <a:gd name="T29" fmla="*/ 341129 h 589"/>
                  <a:gd name="T30" fmla="*/ 50993 w 419"/>
                  <a:gd name="T31" fmla="*/ 356047 h 589"/>
                  <a:gd name="T32" fmla="*/ 34391 w 419"/>
                  <a:gd name="T33" fmla="*/ 341129 h 589"/>
                  <a:gd name="T34" fmla="*/ 85384 w 419"/>
                  <a:gd name="T35" fmla="*/ 300353 h 589"/>
                  <a:gd name="T36" fmla="*/ 85384 w 419"/>
                  <a:gd name="T37" fmla="*/ 285434 h 589"/>
                  <a:gd name="T38" fmla="*/ 136377 w 419"/>
                  <a:gd name="T39" fmla="*/ 242669 h 589"/>
                  <a:gd name="T40" fmla="*/ 85384 w 419"/>
                  <a:gd name="T41" fmla="*/ 256593 h 589"/>
                  <a:gd name="T42" fmla="*/ 34391 w 419"/>
                  <a:gd name="T43" fmla="*/ 256593 h 589"/>
                  <a:gd name="T44" fmla="*/ 68782 w 419"/>
                  <a:gd name="T45" fmla="*/ 213827 h 589"/>
                  <a:gd name="T46" fmla="*/ 103172 w 419"/>
                  <a:gd name="T47" fmla="*/ 184985 h 589"/>
                  <a:gd name="T48" fmla="*/ 136377 w 419"/>
                  <a:gd name="T49" fmla="*/ 156144 h 589"/>
                  <a:gd name="T50" fmla="*/ 119775 w 419"/>
                  <a:gd name="T51" fmla="*/ 142220 h 589"/>
                  <a:gd name="T52" fmla="*/ 119775 w 419"/>
                  <a:gd name="T53" fmla="*/ 100449 h 589"/>
                  <a:gd name="T54" fmla="*/ 170768 w 419"/>
                  <a:gd name="T55" fmla="*/ 84536 h 589"/>
                  <a:gd name="T56" fmla="*/ 205159 w 419"/>
                  <a:gd name="T57" fmla="*/ 113378 h 589"/>
                  <a:gd name="T58" fmla="*/ 186185 w 419"/>
                  <a:gd name="T59" fmla="*/ 70613 h 589"/>
                  <a:gd name="T60" fmla="*/ 205159 w 419"/>
                  <a:gd name="T61" fmla="*/ 41771 h 589"/>
                  <a:gd name="T62" fmla="*/ 239550 w 419"/>
                  <a:gd name="T63" fmla="*/ 41771 h 589"/>
                  <a:gd name="T64" fmla="*/ 273941 w 419"/>
                  <a:gd name="T65" fmla="*/ 0 h 589"/>
                  <a:gd name="T66" fmla="*/ 305960 w 419"/>
                  <a:gd name="T67" fmla="*/ 28842 h 589"/>
                  <a:gd name="T68" fmla="*/ 359325 w 419"/>
                  <a:gd name="T69" fmla="*/ 41771 h 589"/>
                  <a:gd name="T70" fmla="*/ 409132 w 419"/>
                  <a:gd name="T71" fmla="*/ 41771 h 589"/>
                  <a:gd name="T72" fmla="*/ 428106 w 419"/>
                  <a:gd name="T73" fmla="*/ 70613 h 589"/>
                  <a:gd name="T74" fmla="*/ 377113 w 419"/>
                  <a:gd name="T75" fmla="*/ 100449 h 589"/>
                  <a:gd name="T76" fmla="*/ 324934 w 419"/>
                  <a:gd name="T77" fmla="*/ 113378 h 589"/>
                  <a:gd name="T78" fmla="*/ 290543 w 419"/>
                  <a:gd name="T79" fmla="*/ 142220 h 589"/>
                  <a:gd name="T80" fmla="*/ 273941 w 419"/>
                  <a:gd name="T81" fmla="*/ 171062 h 589"/>
                  <a:gd name="T82" fmla="*/ 254966 w 419"/>
                  <a:gd name="T83" fmla="*/ 197914 h 589"/>
                  <a:gd name="T84" fmla="*/ 324934 w 419"/>
                  <a:gd name="T85" fmla="*/ 184985 h 589"/>
                  <a:gd name="T86" fmla="*/ 409132 w 419"/>
                  <a:gd name="T87" fmla="*/ 184985 h 589"/>
                  <a:gd name="T88" fmla="*/ 445895 w 419"/>
                  <a:gd name="T89" fmla="*/ 213827 h 589"/>
                  <a:gd name="T90" fmla="*/ 496888 w 419"/>
                  <a:gd name="T91" fmla="*/ 213827 h 589"/>
                  <a:gd name="T92" fmla="*/ 481471 w 419"/>
                  <a:gd name="T93" fmla="*/ 256593 h 589"/>
                  <a:gd name="T94" fmla="*/ 445895 w 419"/>
                  <a:gd name="T95" fmla="*/ 271511 h 589"/>
                  <a:gd name="T96" fmla="*/ 445895 w 419"/>
                  <a:gd name="T97" fmla="*/ 314276 h 589"/>
                  <a:gd name="T98" fmla="*/ 393716 w 419"/>
                  <a:gd name="T99" fmla="*/ 356047 h 589"/>
                  <a:gd name="T100" fmla="*/ 342722 w 419"/>
                  <a:gd name="T101" fmla="*/ 356047 h 589"/>
                  <a:gd name="T102" fmla="*/ 290543 w 419"/>
                  <a:gd name="T103" fmla="*/ 371960 h 589"/>
                  <a:gd name="T104" fmla="*/ 342722 w 419"/>
                  <a:gd name="T105" fmla="*/ 385883 h 589"/>
                  <a:gd name="T106" fmla="*/ 290543 w 419"/>
                  <a:gd name="T107" fmla="*/ 414725 h 589"/>
                  <a:gd name="T108" fmla="*/ 239550 w 419"/>
                  <a:gd name="T109" fmla="*/ 398812 h 589"/>
                  <a:gd name="T110" fmla="*/ 239550 w 419"/>
                  <a:gd name="T111" fmla="*/ 414725 h 589"/>
                  <a:gd name="T112" fmla="*/ 305960 w 419"/>
                  <a:gd name="T113" fmla="*/ 427654 h 589"/>
                  <a:gd name="T114" fmla="*/ 359325 w 419"/>
                  <a:gd name="T115" fmla="*/ 456496 h 589"/>
                  <a:gd name="T116" fmla="*/ 342722 w 419"/>
                  <a:gd name="T117" fmla="*/ 514180 h 589"/>
                  <a:gd name="T118" fmla="*/ 324934 w 419"/>
                  <a:gd name="T119" fmla="*/ 528103 h 589"/>
                  <a:gd name="T120" fmla="*/ 290543 w 419"/>
                  <a:gd name="T121" fmla="*/ 542027 h 589"/>
                  <a:gd name="T122" fmla="*/ 254966 w 419"/>
                  <a:gd name="T123" fmla="*/ 570869 h 589"/>
                  <a:gd name="T124" fmla="*/ 220576 w 419"/>
                  <a:gd name="T125" fmla="*/ 570869 h 5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19"/>
                  <a:gd name="T190" fmla="*/ 0 h 589"/>
                  <a:gd name="T191" fmla="*/ 419 w 419"/>
                  <a:gd name="T192" fmla="*/ 589 h 5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19" h="589">
                    <a:moveTo>
                      <a:pt x="186" y="574"/>
                    </a:moveTo>
                    <a:lnTo>
                      <a:pt x="186" y="560"/>
                    </a:lnTo>
                    <a:lnTo>
                      <a:pt x="173" y="574"/>
                    </a:lnTo>
                    <a:lnTo>
                      <a:pt x="157" y="574"/>
                    </a:lnTo>
                    <a:lnTo>
                      <a:pt x="144" y="560"/>
                    </a:lnTo>
                    <a:lnTo>
                      <a:pt x="130" y="560"/>
                    </a:lnTo>
                    <a:lnTo>
                      <a:pt x="130" y="574"/>
                    </a:lnTo>
                    <a:lnTo>
                      <a:pt x="115" y="574"/>
                    </a:lnTo>
                    <a:lnTo>
                      <a:pt x="115" y="560"/>
                    </a:lnTo>
                    <a:lnTo>
                      <a:pt x="87" y="574"/>
                    </a:lnTo>
                    <a:lnTo>
                      <a:pt x="87" y="560"/>
                    </a:lnTo>
                    <a:lnTo>
                      <a:pt x="72" y="545"/>
                    </a:lnTo>
                    <a:lnTo>
                      <a:pt x="58" y="560"/>
                    </a:lnTo>
                    <a:lnTo>
                      <a:pt x="58" y="574"/>
                    </a:lnTo>
                    <a:lnTo>
                      <a:pt x="58" y="589"/>
                    </a:lnTo>
                    <a:lnTo>
                      <a:pt x="43" y="574"/>
                    </a:lnTo>
                    <a:lnTo>
                      <a:pt x="43" y="560"/>
                    </a:lnTo>
                    <a:lnTo>
                      <a:pt x="29" y="545"/>
                    </a:lnTo>
                    <a:lnTo>
                      <a:pt x="14" y="545"/>
                    </a:lnTo>
                    <a:lnTo>
                      <a:pt x="14" y="560"/>
                    </a:lnTo>
                    <a:lnTo>
                      <a:pt x="14" y="574"/>
                    </a:lnTo>
                    <a:lnTo>
                      <a:pt x="0" y="574"/>
                    </a:lnTo>
                    <a:lnTo>
                      <a:pt x="0" y="560"/>
                    </a:lnTo>
                    <a:lnTo>
                      <a:pt x="0" y="531"/>
                    </a:lnTo>
                    <a:lnTo>
                      <a:pt x="0" y="517"/>
                    </a:lnTo>
                    <a:lnTo>
                      <a:pt x="14" y="517"/>
                    </a:lnTo>
                    <a:lnTo>
                      <a:pt x="14" y="502"/>
                    </a:lnTo>
                    <a:lnTo>
                      <a:pt x="29" y="502"/>
                    </a:lnTo>
                    <a:lnTo>
                      <a:pt x="43" y="488"/>
                    </a:lnTo>
                    <a:lnTo>
                      <a:pt x="43" y="473"/>
                    </a:lnTo>
                    <a:lnTo>
                      <a:pt x="58" y="473"/>
                    </a:lnTo>
                    <a:lnTo>
                      <a:pt x="72" y="459"/>
                    </a:lnTo>
                    <a:lnTo>
                      <a:pt x="87" y="444"/>
                    </a:lnTo>
                    <a:lnTo>
                      <a:pt x="101" y="430"/>
                    </a:lnTo>
                    <a:lnTo>
                      <a:pt x="101" y="417"/>
                    </a:lnTo>
                    <a:lnTo>
                      <a:pt x="115" y="417"/>
                    </a:lnTo>
                    <a:lnTo>
                      <a:pt x="115" y="401"/>
                    </a:lnTo>
                    <a:lnTo>
                      <a:pt x="101" y="401"/>
                    </a:lnTo>
                    <a:lnTo>
                      <a:pt x="87" y="388"/>
                    </a:lnTo>
                    <a:lnTo>
                      <a:pt x="72" y="388"/>
                    </a:lnTo>
                    <a:lnTo>
                      <a:pt x="58" y="388"/>
                    </a:lnTo>
                    <a:lnTo>
                      <a:pt x="58" y="374"/>
                    </a:lnTo>
                    <a:lnTo>
                      <a:pt x="72" y="374"/>
                    </a:lnTo>
                    <a:lnTo>
                      <a:pt x="87" y="358"/>
                    </a:lnTo>
                    <a:lnTo>
                      <a:pt x="87" y="343"/>
                    </a:lnTo>
                    <a:lnTo>
                      <a:pt x="72" y="331"/>
                    </a:lnTo>
                    <a:lnTo>
                      <a:pt x="58" y="331"/>
                    </a:lnTo>
                    <a:lnTo>
                      <a:pt x="43" y="358"/>
                    </a:lnTo>
                    <a:lnTo>
                      <a:pt x="29" y="374"/>
                    </a:lnTo>
                    <a:lnTo>
                      <a:pt x="29" y="358"/>
                    </a:lnTo>
                    <a:lnTo>
                      <a:pt x="29" y="343"/>
                    </a:lnTo>
                    <a:lnTo>
                      <a:pt x="43" y="316"/>
                    </a:lnTo>
                    <a:lnTo>
                      <a:pt x="58" y="302"/>
                    </a:lnTo>
                    <a:lnTo>
                      <a:pt x="72" y="302"/>
                    </a:lnTo>
                    <a:lnTo>
                      <a:pt x="87" y="302"/>
                    </a:lnTo>
                    <a:lnTo>
                      <a:pt x="87" y="287"/>
                    </a:lnTo>
                    <a:lnTo>
                      <a:pt x="72" y="287"/>
                    </a:lnTo>
                    <a:lnTo>
                      <a:pt x="87" y="273"/>
                    </a:lnTo>
                    <a:lnTo>
                      <a:pt x="101" y="258"/>
                    </a:lnTo>
                    <a:lnTo>
                      <a:pt x="115" y="244"/>
                    </a:lnTo>
                    <a:lnTo>
                      <a:pt x="101" y="244"/>
                    </a:lnTo>
                    <a:lnTo>
                      <a:pt x="87" y="258"/>
                    </a:lnTo>
                    <a:lnTo>
                      <a:pt x="72" y="258"/>
                    </a:lnTo>
                    <a:lnTo>
                      <a:pt x="58" y="287"/>
                    </a:lnTo>
                    <a:lnTo>
                      <a:pt x="43" y="273"/>
                    </a:lnTo>
                    <a:lnTo>
                      <a:pt x="29" y="258"/>
                    </a:lnTo>
                    <a:lnTo>
                      <a:pt x="58" y="244"/>
                    </a:lnTo>
                    <a:lnTo>
                      <a:pt x="58" y="229"/>
                    </a:lnTo>
                    <a:lnTo>
                      <a:pt x="58" y="215"/>
                    </a:lnTo>
                    <a:lnTo>
                      <a:pt x="72" y="199"/>
                    </a:lnTo>
                    <a:lnTo>
                      <a:pt x="87" y="199"/>
                    </a:lnTo>
                    <a:lnTo>
                      <a:pt x="87" y="186"/>
                    </a:lnTo>
                    <a:lnTo>
                      <a:pt x="87" y="172"/>
                    </a:lnTo>
                    <a:lnTo>
                      <a:pt x="115" y="172"/>
                    </a:lnTo>
                    <a:lnTo>
                      <a:pt x="115" y="157"/>
                    </a:lnTo>
                    <a:lnTo>
                      <a:pt x="101" y="143"/>
                    </a:lnTo>
                    <a:lnTo>
                      <a:pt x="87" y="143"/>
                    </a:lnTo>
                    <a:lnTo>
                      <a:pt x="101" y="143"/>
                    </a:lnTo>
                    <a:lnTo>
                      <a:pt x="101" y="130"/>
                    </a:lnTo>
                    <a:lnTo>
                      <a:pt x="101" y="114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44" y="85"/>
                    </a:lnTo>
                    <a:lnTo>
                      <a:pt x="144" y="101"/>
                    </a:lnTo>
                    <a:lnTo>
                      <a:pt x="157" y="101"/>
                    </a:lnTo>
                    <a:lnTo>
                      <a:pt x="173" y="114"/>
                    </a:lnTo>
                    <a:lnTo>
                      <a:pt x="173" y="101"/>
                    </a:lnTo>
                    <a:lnTo>
                      <a:pt x="173" y="85"/>
                    </a:lnTo>
                    <a:lnTo>
                      <a:pt x="157" y="71"/>
                    </a:lnTo>
                    <a:lnTo>
                      <a:pt x="173" y="58"/>
                    </a:lnTo>
                    <a:lnTo>
                      <a:pt x="186" y="58"/>
                    </a:lnTo>
                    <a:lnTo>
                      <a:pt x="173" y="42"/>
                    </a:lnTo>
                    <a:lnTo>
                      <a:pt x="202" y="58"/>
                    </a:lnTo>
                    <a:lnTo>
                      <a:pt x="215" y="42"/>
                    </a:lnTo>
                    <a:lnTo>
                      <a:pt x="202" y="42"/>
                    </a:lnTo>
                    <a:lnTo>
                      <a:pt x="215" y="13"/>
                    </a:lnTo>
                    <a:lnTo>
                      <a:pt x="215" y="0"/>
                    </a:lnTo>
                    <a:lnTo>
                      <a:pt x="231" y="0"/>
                    </a:lnTo>
                    <a:lnTo>
                      <a:pt x="258" y="13"/>
                    </a:lnTo>
                    <a:lnTo>
                      <a:pt x="245" y="13"/>
                    </a:lnTo>
                    <a:lnTo>
                      <a:pt x="258" y="29"/>
                    </a:lnTo>
                    <a:lnTo>
                      <a:pt x="274" y="13"/>
                    </a:lnTo>
                    <a:lnTo>
                      <a:pt x="274" y="29"/>
                    </a:lnTo>
                    <a:lnTo>
                      <a:pt x="303" y="42"/>
                    </a:lnTo>
                    <a:lnTo>
                      <a:pt x="332" y="29"/>
                    </a:lnTo>
                    <a:lnTo>
                      <a:pt x="332" y="42"/>
                    </a:lnTo>
                    <a:lnTo>
                      <a:pt x="345" y="42"/>
                    </a:lnTo>
                    <a:lnTo>
                      <a:pt x="361" y="42"/>
                    </a:lnTo>
                    <a:lnTo>
                      <a:pt x="376" y="58"/>
                    </a:lnTo>
                    <a:lnTo>
                      <a:pt x="361" y="71"/>
                    </a:lnTo>
                    <a:lnTo>
                      <a:pt x="361" y="85"/>
                    </a:lnTo>
                    <a:lnTo>
                      <a:pt x="332" y="85"/>
                    </a:lnTo>
                    <a:lnTo>
                      <a:pt x="318" y="101"/>
                    </a:lnTo>
                    <a:lnTo>
                      <a:pt x="303" y="114"/>
                    </a:lnTo>
                    <a:lnTo>
                      <a:pt x="289" y="114"/>
                    </a:lnTo>
                    <a:lnTo>
                      <a:pt x="274" y="114"/>
                    </a:lnTo>
                    <a:lnTo>
                      <a:pt x="258" y="130"/>
                    </a:lnTo>
                    <a:lnTo>
                      <a:pt x="258" y="143"/>
                    </a:lnTo>
                    <a:lnTo>
                      <a:pt x="245" y="143"/>
                    </a:lnTo>
                    <a:lnTo>
                      <a:pt x="215" y="157"/>
                    </a:lnTo>
                    <a:lnTo>
                      <a:pt x="215" y="172"/>
                    </a:lnTo>
                    <a:lnTo>
                      <a:pt x="231" y="172"/>
                    </a:lnTo>
                    <a:lnTo>
                      <a:pt x="215" y="172"/>
                    </a:lnTo>
                    <a:lnTo>
                      <a:pt x="215" y="186"/>
                    </a:lnTo>
                    <a:lnTo>
                      <a:pt x="215" y="199"/>
                    </a:lnTo>
                    <a:lnTo>
                      <a:pt x="231" y="199"/>
                    </a:lnTo>
                    <a:lnTo>
                      <a:pt x="258" y="186"/>
                    </a:lnTo>
                    <a:lnTo>
                      <a:pt x="274" y="186"/>
                    </a:lnTo>
                    <a:lnTo>
                      <a:pt x="303" y="186"/>
                    </a:lnTo>
                    <a:lnTo>
                      <a:pt x="318" y="186"/>
                    </a:lnTo>
                    <a:lnTo>
                      <a:pt x="345" y="186"/>
                    </a:lnTo>
                    <a:lnTo>
                      <a:pt x="361" y="186"/>
                    </a:lnTo>
                    <a:lnTo>
                      <a:pt x="376" y="199"/>
                    </a:lnTo>
                    <a:lnTo>
                      <a:pt x="376" y="215"/>
                    </a:lnTo>
                    <a:lnTo>
                      <a:pt x="390" y="215"/>
                    </a:lnTo>
                    <a:lnTo>
                      <a:pt x="406" y="215"/>
                    </a:lnTo>
                    <a:lnTo>
                      <a:pt x="419" y="215"/>
                    </a:lnTo>
                    <a:lnTo>
                      <a:pt x="419" y="229"/>
                    </a:lnTo>
                    <a:lnTo>
                      <a:pt x="419" y="244"/>
                    </a:lnTo>
                    <a:lnTo>
                      <a:pt x="406" y="258"/>
                    </a:lnTo>
                    <a:lnTo>
                      <a:pt x="390" y="258"/>
                    </a:lnTo>
                    <a:lnTo>
                      <a:pt x="390" y="273"/>
                    </a:lnTo>
                    <a:lnTo>
                      <a:pt x="376" y="273"/>
                    </a:lnTo>
                    <a:lnTo>
                      <a:pt x="361" y="287"/>
                    </a:lnTo>
                    <a:lnTo>
                      <a:pt x="376" y="302"/>
                    </a:lnTo>
                    <a:lnTo>
                      <a:pt x="376" y="316"/>
                    </a:lnTo>
                    <a:lnTo>
                      <a:pt x="361" y="331"/>
                    </a:lnTo>
                    <a:lnTo>
                      <a:pt x="332" y="343"/>
                    </a:lnTo>
                    <a:lnTo>
                      <a:pt x="332" y="358"/>
                    </a:lnTo>
                    <a:lnTo>
                      <a:pt x="318" y="358"/>
                    </a:lnTo>
                    <a:lnTo>
                      <a:pt x="303" y="374"/>
                    </a:lnTo>
                    <a:lnTo>
                      <a:pt x="289" y="358"/>
                    </a:lnTo>
                    <a:lnTo>
                      <a:pt x="274" y="358"/>
                    </a:lnTo>
                    <a:lnTo>
                      <a:pt x="245" y="358"/>
                    </a:lnTo>
                    <a:lnTo>
                      <a:pt x="245" y="374"/>
                    </a:lnTo>
                    <a:lnTo>
                      <a:pt x="258" y="374"/>
                    </a:lnTo>
                    <a:lnTo>
                      <a:pt x="274" y="388"/>
                    </a:lnTo>
                    <a:lnTo>
                      <a:pt x="289" y="388"/>
                    </a:lnTo>
                    <a:lnTo>
                      <a:pt x="274" y="401"/>
                    </a:lnTo>
                    <a:lnTo>
                      <a:pt x="245" y="401"/>
                    </a:lnTo>
                    <a:lnTo>
                      <a:pt x="245" y="417"/>
                    </a:lnTo>
                    <a:lnTo>
                      <a:pt x="231" y="417"/>
                    </a:lnTo>
                    <a:lnTo>
                      <a:pt x="215" y="417"/>
                    </a:lnTo>
                    <a:lnTo>
                      <a:pt x="202" y="401"/>
                    </a:lnTo>
                    <a:lnTo>
                      <a:pt x="186" y="401"/>
                    </a:lnTo>
                    <a:lnTo>
                      <a:pt x="186" y="417"/>
                    </a:lnTo>
                    <a:lnTo>
                      <a:pt x="202" y="417"/>
                    </a:lnTo>
                    <a:lnTo>
                      <a:pt x="215" y="430"/>
                    </a:lnTo>
                    <a:lnTo>
                      <a:pt x="231" y="430"/>
                    </a:lnTo>
                    <a:lnTo>
                      <a:pt x="258" y="430"/>
                    </a:lnTo>
                    <a:lnTo>
                      <a:pt x="274" y="430"/>
                    </a:lnTo>
                    <a:lnTo>
                      <a:pt x="289" y="444"/>
                    </a:lnTo>
                    <a:lnTo>
                      <a:pt x="303" y="459"/>
                    </a:lnTo>
                    <a:lnTo>
                      <a:pt x="318" y="488"/>
                    </a:lnTo>
                    <a:lnTo>
                      <a:pt x="303" y="517"/>
                    </a:lnTo>
                    <a:lnTo>
                      <a:pt x="289" y="517"/>
                    </a:lnTo>
                    <a:lnTo>
                      <a:pt x="303" y="531"/>
                    </a:lnTo>
                    <a:lnTo>
                      <a:pt x="289" y="545"/>
                    </a:lnTo>
                    <a:lnTo>
                      <a:pt x="274" y="531"/>
                    </a:lnTo>
                    <a:lnTo>
                      <a:pt x="258" y="531"/>
                    </a:lnTo>
                    <a:lnTo>
                      <a:pt x="258" y="545"/>
                    </a:lnTo>
                    <a:lnTo>
                      <a:pt x="245" y="545"/>
                    </a:lnTo>
                    <a:lnTo>
                      <a:pt x="245" y="560"/>
                    </a:lnTo>
                    <a:lnTo>
                      <a:pt x="231" y="560"/>
                    </a:lnTo>
                    <a:lnTo>
                      <a:pt x="215" y="574"/>
                    </a:lnTo>
                    <a:lnTo>
                      <a:pt x="202" y="589"/>
                    </a:lnTo>
                    <a:lnTo>
                      <a:pt x="186" y="589"/>
                    </a:lnTo>
                    <a:lnTo>
                      <a:pt x="186" y="5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5" name="Freeform 35">
                <a:extLst>
                  <a:ext uri="{FF2B5EF4-FFF2-40B4-BE49-F238E27FC236}">
                    <a16:creationId xmlns:a16="http://schemas.microsoft.com/office/drawing/2014/main" id="{62F32499-485F-1F7B-6F71-972B06C1EF27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3341688" y="3067050"/>
                <a:ext cx="617537" cy="271463"/>
              </a:xfrm>
              <a:custGeom>
                <a:avLst/>
                <a:gdLst>
                  <a:gd name="T0" fmla="*/ 85012 w 385"/>
                  <a:gd name="T1" fmla="*/ 215094 h 183"/>
                  <a:gd name="T2" fmla="*/ 101052 w 385"/>
                  <a:gd name="T3" fmla="*/ 200260 h 183"/>
                  <a:gd name="T4" fmla="*/ 85012 w 385"/>
                  <a:gd name="T5" fmla="*/ 172075 h 183"/>
                  <a:gd name="T6" fmla="*/ 120299 w 385"/>
                  <a:gd name="T7" fmla="*/ 172075 h 183"/>
                  <a:gd name="T8" fmla="*/ 101052 w 385"/>
                  <a:gd name="T9" fmla="*/ 127573 h 183"/>
                  <a:gd name="T10" fmla="*/ 85012 w 385"/>
                  <a:gd name="T11" fmla="*/ 143890 h 183"/>
                  <a:gd name="T12" fmla="*/ 51328 w 385"/>
                  <a:gd name="T13" fmla="*/ 172075 h 183"/>
                  <a:gd name="T14" fmla="*/ 0 w 385"/>
                  <a:gd name="T15" fmla="*/ 157241 h 183"/>
                  <a:gd name="T16" fmla="*/ 51328 w 385"/>
                  <a:gd name="T17" fmla="*/ 100872 h 183"/>
                  <a:gd name="T18" fmla="*/ 65764 w 385"/>
                  <a:gd name="T19" fmla="*/ 69720 h 183"/>
                  <a:gd name="T20" fmla="*/ 134735 w 385"/>
                  <a:gd name="T21" fmla="*/ 56369 h 183"/>
                  <a:gd name="T22" fmla="*/ 153983 w 385"/>
                  <a:gd name="T23" fmla="*/ 13351 h 183"/>
                  <a:gd name="T24" fmla="*/ 189271 w 385"/>
                  <a:gd name="T25" fmla="*/ 13351 h 183"/>
                  <a:gd name="T26" fmla="*/ 222955 w 385"/>
                  <a:gd name="T27" fmla="*/ 0 h 183"/>
                  <a:gd name="T28" fmla="*/ 240599 w 385"/>
                  <a:gd name="T29" fmla="*/ 0 h 183"/>
                  <a:gd name="T30" fmla="*/ 255035 w 385"/>
                  <a:gd name="T31" fmla="*/ 0 h 183"/>
                  <a:gd name="T32" fmla="*/ 309570 w 385"/>
                  <a:gd name="T33" fmla="*/ 13351 h 183"/>
                  <a:gd name="T34" fmla="*/ 340046 w 385"/>
                  <a:gd name="T35" fmla="*/ 13351 h 183"/>
                  <a:gd name="T36" fmla="*/ 375334 w 385"/>
                  <a:gd name="T37" fmla="*/ 13351 h 183"/>
                  <a:gd name="T38" fmla="*/ 436286 w 385"/>
                  <a:gd name="T39" fmla="*/ 19284 h 183"/>
                  <a:gd name="T40" fmla="*/ 444306 w 385"/>
                  <a:gd name="T41" fmla="*/ 29668 h 183"/>
                  <a:gd name="T42" fmla="*/ 465158 w 385"/>
                  <a:gd name="T43" fmla="*/ 43019 h 183"/>
                  <a:gd name="T44" fmla="*/ 495634 w 385"/>
                  <a:gd name="T45" fmla="*/ 69720 h 183"/>
                  <a:gd name="T46" fmla="*/ 477990 w 385"/>
                  <a:gd name="T47" fmla="*/ 100872 h 183"/>
                  <a:gd name="T48" fmla="*/ 495634 w 385"/>
                  <a:gd name="T49" fmla="*/ 114222 h 183"/>
                  <a:gd name="T50" fmla="*/ 532525 w 385"/>
                  <a:gd name="T51" fmla="*/ 127573 h 183"/>
                  <a:gd name="T52" fmla="*/ 617537 w 385"/>
                  <a:gd name="T53" fmla="*/ 143890 h 183"/>
                  <a:gd name="T54" fmla="*/ 598289 w 385"/>
                  <a:gd name="T55" fmla="*/ 157241 h 183"/>
                  <a:gd name="T56" fmla="*/ 598289 w 385"/>
                  <a:gd name="T57" fmla="*/ 185426 h 183"/>
                  <a:gd name="T58" fmla="*/ 564605 w 385"/>
                  <a:gd name="T59" fmla="*/ 172075 h 183"/>
                  <a:gd name="T60" fmla="*/ 532525 w 385"/>
                  <a:gd name="T61" fmla="*/ 200260 h 183"/>
                  <a:gd name="T62" fmla="*/ 532525 w 385"/>
                  <a:gd name="T63" fmla="*/ 228444 h 183"/>
                  <a:gd name="T64" fmla="*/ 495634 w 385"/>
                  <a:gd name="T65" fmla="*/ 215094 h 183"/>
                  <a:gd name="T66" fmla="*/ 460346 w 385"/>
                  <a:gd name="T67" fmla="*/ 215094 h 183"/>
                  <a:gd name="T68" fmla="*/ 444306 w 385"/>
                  <a:gd name="T69" fmla="*/ 185426 h 183"/>
                  <a:gd name="T70" fmla="*/ 428266 w 385"/>
                  <a:gd name="T71" fmla="*/ 200260 h 183"/>
                  <a:gd name="T72" fmla="*/ 409018 w 385"/>
                  <a:gd name="T73" fmla="*/ 228444 h 183"/>
                  <a:gd name="T74" fmla="*/ 375334 w 385"/>
                  <a:gd name="T75" fmla="*/ 258112 h 183"/>
                  <a:gd name="T76" fmla="*/ 359294 w 385"/>
                  <a:gd name="T77" fmla="*/ 258112 h 183"/>
                  <a:gd name="T78" fmla="*/ 324006 w 385"/>
                  <a:gd name="T79" fmla="*/ 228444 h 183"/>
                  <a:gd name="T80" fmla="*/ 324006 w 385"/>
                  <a:gd name="T81" fmla="*/ 200260 h 183"/>
                  <a:gd name="T82" fmla="*/ 290323 w 385"/>
                  <a:gd name="T83" fmla="*/ 185426 h 183"/>
                  <a:gd name="T84" fmla="*/ 274283 w 385"/>
                  <a:gd name="T85" fmla="*/ 215094 h 183"/>
                  <a:gd name="T86" fmla="*/ 240599 w 385"/>
                  <a:gd name="T87" fmla="*/ 244762 h 183"/>
                  <a:gd name="T88" fmla="*/ 189271 w 385"/>
                  <a:gd name="T89" fmla="*/ 228444 h 183"/>
                  <a:gd name="T90" fmla="*/ 101052 w 385"/>
                  <a:gd name="T91" fmla="*/ 228444 h 183"/>
                  <a:gd name="T92" fmla="*/ 101052 w 385"/>
                  <a:gd name="T93" fmla="*/ 228444 h 18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85"/>
                  <a:gd name="T142" fmla="*/ 0 h 183"/>
                  <a:gd name="T143" fmla="*/ 385 w 385"/>
                  <a:gd name="T144" fmla="*/ 183 h 183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85" h="183">
                    <a:moveTo>
                      <a:pt x="63" y="154"/>
                    </a:moveTo>
                    <a:lnTo>
                      <a:pt x="53" y="145"/>
                    </a:lnTo>
                    <a:lnTo>
                      <a:pt x="53" y="135"/>
                    </a:lnTo>
                    <a:lnTo>
                      <a:pt x="63" y="135"/>
                    </a:lnTo>
                    <a:lnTo>
                      <a:pt x="53" y="125"/>
                    </a:lnTo>
                    <a:lnTo>
                      <a:pt x="53" y="116"/>
                    </a:lnTo>
                    <a:lnTo>
                      <a:pt x="63" y="116"/>
                    </a:lnTo>
                    <a:lnTo>
                      <a:pt x="75" y="116"/>
                    </a:lnTo>
                    <a:lnTo>
                      <a:pt x="75" y="106"/>
                    </a:lnTo>
                    <a:lnTo>
                      <a:pt x="63" y="86"/>
                    </a:lnTo>
                    <a:lnTo>
                      <a:pt x="53" y="86"/>
                    </a:lnTo>
                    <a:lnTo>
                      <a:pt x="53" y="97"/>
                    </a:lnTo>
                    <a:lnTo>
                      <a:pt x="41" y="97"/>
                    </a:lnTo>
                    <a:lnTo>
                      <a:pt x="32" y="116"/>
                    </a:lnTo>
                    <a:lnTo>
                      <a:pt x="10" y="125"/>
                    </a:lnTo>
                    <a:lnTo>
                      <a:pt x="0" y="106"/>
                    </a:lnTo>
                    <a:lnTo>
                      <a:pt x="10" y="86"/>
                    </a:lnTo>
                    <a:lnTo>
                      <a:pt x="32" y="68"/>
                    </a:lnTo>
                    <a:lnTo>
                      <a:pt x="32" y="57"/>
                    </a:lnTo>
                    <a:lnTo>
                      <a:pt x="41" y="47"/>
                    </a:lnTo>
                    <a:lnTo>
                      <a:pt x="63" y="47"/>
                    </a:lnTo>
                    <a:lnTo>
                      <a:pt x="84" y="38"/>
                    </a:lnTo>
                    <a:lnTo>
                      <a:pt x="96" y="20"/>
                    </a:lnTo>
                    <a:lnTo>
                      <a:pt x="96" y="9"/>
                    </a:lnTo>
                    <a:lnTo>
                      <a:pt x="107" y="0"/>
                    </a:lnTo>
                    <a:lnTo>
                      <a:pt x="118" y="9"/>
                    </a:lnTo>
                    <a:lnTo>
                      <a:pt x="130" y="20"/>
                    </a:lnTo>
                    <a:lnTo>
                      <a:pt x="139" y="0"/>
                    </a:lnTo>
                    <a:lnTo>
                      <a:pt x="150" y="9"/>
                    </a:lnTo>
                    <a:lnTo>
                      <a:pt x="150" y="0"/>
                    </a:lnTo>
                    <a:lnTo>
                      <a:pt x="159" y="9"/>
                    </a:lnTo>
                    <a:lnTo>
                      <a:pt x="159" y="0"/>
                    </a:lnTo>
                    <a:lnTo>
                      <a:pt x="181" y="9"/>
                    </a:lnTo>
                    <a:lnTo>
                      <a:pt x="193" y="9"/>
                    </a:lnTo>
                    <a:lnTo>
                      <a:pt x="202" y="9"/>
                    </a:lnTo>
                    <a:lnTo>
                      <a:pt x="212" y="9"/>
                    </a:lnTo>
                    <a:lnTo>
                      <a:pt x="224" y="9"/>
                    </a:lnTo>
                    <a:lnTo>
                      <a:pt x="234" y="9"/>
                    </a:lnTo>
                    <a:lnTo>
                      <a:pt x="246" y="9"/>
                    </a:lnTo>
                    <a:lnTo>
                      <a:pt x="272" y="13"/>
                    </a:lnTo>
                    <a:lnTo>
                      <a:pt x="267" y="20"/>
                    </a:lnTo>
                    <a:lnTo>
                      <a:pt x="277" y="20"/>
                    </a:lnTo>
                    <a:lnTo>
                      <a:pt x="287" y="19"/>
                    </a:lnTo>
                    <a:lnTo>
                      <a:pt x="290" y="29"/>
                    </a:lnTo>
                    <a:lnTo>
                      <a:pt x="309" y="38"/>
                    </a:lnTo>
                    <a:lnTo>
                      <a:pt x="309" y="47"/>
                    </a:lnTo>
                    <a:lnTo>
                      <a:pt x="298" y="57"/>
                    </a:lnTo>
                    <a:lnTo>
                      <a:pt x="298" y="68"/>
                    </a:lnTo>
                    <a:lnTo>
                      <a:pt x="309" y="68"/>
                    </a:lnTo>
                    <a:lnTo>
                      <a:pt x="309" y="77"/>
                    </a:lnTo>
                    <a:lnTo>
                      <a:pt x="320" y="77"/>
                    </a:lnTo>
                    <a:lnTo>
                      <a:pt x="332" y="86"/>
                    </a:lnTo>
                    <a:lnTo>
                      <a:pt x="342" y="97"/>
                    </a:lnTo>
                    <a:lnTo>
                      <a:pt x="385" y="97"/>
                    </a:lnTo>
                    <a:lnTo>
                      <a:pt x="373" y="97"/>
                    </a:lnTo>
                    <a:lnTo>
                      <a:pt x="373" y="106"/>
                    </a:lnTo>
                    <a:lnTo>
                      <a:pt x="373" y="116"/>
                    </a:lnTo>
                    <a:lnTo>
                      <a:pt x="373" y="125"/>
                    </a:lnTo>
                    <a:lnTo>
                      <a:pt x="364" y="125"/>
                    </a:lnTo>
                    <a:lnTo>
                      <a:pt x="352" y="116"/>
                    </a:lnTo>
                    <a:lnTo>
                      <a:pt x="342" y="125"/>
                    </a:lnTo>
                    <a:lnTo>
                      <a:pt x="332" y="135"/>
                    </a:lnTo>
                    <a:lnTo>
                      <a:pt x="342" y="145"/>
                    </a:lnTo>
                    <a:lnTo>
                      <a:pt x="332" y="154"/>
                    </a:lnTo>
                    <a:lnTo>
                      <a:pt x="320" y="145"/>
                    </a:lnTo>
                    <a:lnTo>
                      <a:pt x="309" y="145"/>
                    </a:lnTo>
                    <a:lnTo>
                      <a:pt x="298" y="145"/>
                    </a:lnTo>
                    <a:lnTo>
                      <a:pt x="287" y="145"/>
                    </a:lnTo>
                    <a:lnTo>
                      <a:pt x="287" y="135"/>
                    </a:lnTo>
                    <a:lnTo>
                      <a:pt x="277" y="125"/>
                    </a:lnTo>
                    <a:lnTo>
                      <a:pt x="267" y="125"/>
                    </a:lnTo>
                    <a:lnTo>
                      <a:pt x="267" y="135"/>
                    </a:lnTo>
                    <a:lnTo>
                      <a:pt x="267" y="154"/>
                    </a:lnTo>
                    <a:lnTo>
                      <a:pt x="255" y="154"/>
                    </a:lnTo>
                    <a:lnTo>
                      <a:pt x="246" y="165"/>
                    </a:lnTo>
                    <a:lnTo>
                      <a:pt x="234" y="174"/>
                    </a:lnTo>
                    <a:lnTo>
                      <a:pt x="234" y="183"/>
                    </a:lnTo>
                    <a:lnTo>
                      <a:pt x="224" y="174"/>
                    </a:lnTo>
                    <a:lnTo>
                      <a:pt x="212" y="165"/>
                    </a:lnTo>
                    <a:lnTo>
                      <a:pt x="202" y="154"/>
                    </a:lnTo>
                    <a:lnTo>
                      <a:pt x="202" y="145"/>
                    </a:lnTo>
                    <a:lnTo>
                      <a:pt x="202" y="135"/>
                    </a:lnTo>
                    <a:lnTo>
                      <a:pt x="193" y="125"/>
                    </a:lnTo>
                    <a:lnTo>
                      <a:pt x="181" y="125"/>
                    </a:lnTo>
                    <a:lnTo>
                      <a:pt x="171" y="135"/>
                    </a:lnTo>
                    <a:lnTo>
                      <a:pt x="171" y="145"/>
                    </a:lnTo>
                    <a:lnTo>
                      <a:pt x="159" y="165"/>
                    </a:lnTo>
                    <a:lnTo>
                      <a:pt x="150" y="165"/>
                    </a:lnTo>
                    <a:lnTo>
                      <a:pt x="130" y="165"/>
                    </a:lnTo>
                    <a:lnTo>
                      <a:pt x="118" y="154"/>
                    </a:lnTo>
                    <a:lnTo>
                      <a:pt x="75" y="165"/>
                    </a:lnTo>
                    <a:lnTo>
                      <a:pt x="63" y="15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2" name="Freeform 36">
                <a:extLst>
                  <a:ext uri="{FF2B5EF4-FFF2-40B4-BE49-F238E27FC236}">
                    <a16:creationId xmlns:a16="http://schemas.microsoft.com/office/drawing/2014/main" id="{38D9E436-BF6B-8028-2D99-C2D0173E0B36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3" name="Freeform 37">
                <a:extLst>
                  <a:ext uri="{FF2B5EF4-FFF2-40B4-BE49-F238E27FC236}">
                    <a16:creationId xmlns:a16="http://schemas.microsoft.com/office/drawing/2014/main" id="{C0332333-C298-D00A-778E-E3A61644CB40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4" name="Freeform 38">
                <a:extLst>
                  <a:ext uri="{FF2B5EF4-FFF2-40B4-BE49-F238E27FC236}">
                    <a16:creationId xmlns:a16="http://schemas.microsoft.com/office/drawing/2014/main" id="{8E3BDAD5-AF57-8620-074F-D689F7C63E51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3481388" y="1970088"/>
                <a:ext cx="1116012" cy="1216025"/>
              </a:xfrm>
              <a:custGeom>
                <a:avLst/>
                <a:gdLst>
                  <a:gd name="T0" fmla="*/ 33721 w 695"/>
                  <a:gd name="T1" fmla="*/ 742384 h 819"/>
                  <a:gd name="T2" fmla="*/ 33721 w 695"/>
                  <a:gd name="T3" fmla="*/ 813653 h 819"/>
                  <a:gd name="T4" fmla="*/ 154154 w 695"/>
                  <a:gd name="T5" fmla="*/ 884922 h 819"/>
                  <a:gd name="T6" fmla="*/ 154154 w 695"/>
                  <a:gd name="T7" fmla="*/ 942828 h 819"/>
                  <a:gd name="T8" fmla="*/ 120433 w 695"/>
                  <a:gd name="T9" fmla="*/ 1043792 h 819"/>
                  <a:gd name="T10" fmla="*/ 120433 w 695"/>
                  <a:gd name="T11" fmla="*/ 1115061 h 819"/>
                  <a:gd name="T12" fmla="*/ 208750 w 695"/>
                  <a:gd name="T13" fmla="*/ 1115061 h 819"/>
                  <a:gd name="T14" fmla="*/ 297068 w 695"/>
                  <a:gd name="T15" fmla="*/ 1125454 h 819"/>
                  <a:gd name="T16" fmla="*/ 377357 w 695"/>
                  <a:gd name="T17" fmla="*/ 1144756 h 819"/>
                  <a:gd name="T18" fmla="*/ 464068 w 695"/>
                  <a:gd name="T19" fmla="*/ 1186330 h 819"/>
                  <a:gd name="T20" fmla="*/ 539540 w 695"/>
                  <a:gd name="T21" fmla="*/ 1169997 h 819"/>
                  <a:gd name="T22" fmla="*/ 637492 w 695"/>
                  <a:gd name="T23" fmla="*/ 1171482 h 819"/>
                  <a:gd name="T24" fmla="*/ 738655 w 695"/>
                  <a:gd name="T25" fmla="*/ 1156634 h 819"/>
                  <a:gd name="T26" fmla="*/ 794857 w 695"/>
                  <a:gd name="T27" fmla="*/ 1183360 h 819"/>
                  <a:gd name="T28" fmla="*/ 841425 w 695"/>
                  <a:gd name="T29" fmla="*/ 1186330 h 819"/>
                  <a:gd name="T30" fmla="*/ 807704 w 695"/>
                  <a:gd name="T31" fmla="*/ 1115061 h 819"/>
                  <a:gd name="T32" fmla="*/ 892810 w 695"/>
                  <a:gd name="T33" fmla="*/ 1043792 h 819"/>
                  <a:gd name="T34" fmla="*/ 944194 w 695"/>
                  <a:gd name="T35" fmla="*/ 1015581 h 819"/>
                  <a:gd name="T36" fmla="*/ 875146 w 695"/>
                  <a:gd name="T37" fmla="*/ 959160 h 819"/>
                  <a:gd name="T38" fmla="*/ 807704 w 695"/>
                  <a:gd name="T39" fmla="*/ 858196 h 819"/>
                  <a:gd name="T40" fmla="*/ 756319 w 695"/>
                  <a:gd name="T41" fmla="*/ 770595 h 819"/>
                  <a:gd name="T42" fmla="*/ 791646 w 695"/>
                  <a:gd name="T43" fmla="*/ 729021 h 819"/>
                  <a:gd name="T44" fmla="*/ 907262 w 695"/>
                  <a:gd name="T45" fmla="*/ 715658 h 819"/>
                  <a:gd name="T46" fmla="*/ 1050175 w 695"/>
                  <a:gd name="T47" fmla="*/ 644389 h 819"/>
                  <a:gd name="T48" fmla="*/ 1099954 w 695"/>
                  <a:gd name="T49" fmla="*/ 644389 h 819"/>
                  <a:gd name="T50" fmla="*/ 1099954 w 695"/>
                  <a:gd name="T51" fmla="*/ 556788 h 819"/>
                  <a:gd name="T52" fmla="*/ 1082291 w 695"/>
                  <a:gd name="T53" fmla="*/ 443946 h 819"/>
                  <a:gd name="T54" fmla="*/ 1050175 w 695"/>
                  <a:gd name="T55" fmla="*/ 387525 h 819"/>
                  <a:gd name="T56" fmla="*/ 1064627 w 695"/>
                  <a:gd name="T57" fmla="*/ 299923 h 819"/>
                  <a:gd name="T58" fmla="*/ 1013243 w 695"/>
                  <a:gd name="T59" fmla="*/ 200444 h 819"/>
                  <a:gd name="T60" fmla="*/ 944194 w 695"/>
                  <a:gd name="T61" fmla="*/ 144022 h 819"/>
                  <a:gd name="T62" fmla="*/ 875146 w 695"/>
                  <a:gd name="T63" fmla="*/ 144022 h 819"/>
                  <a:gd name="T64" fmla="*/ 772377 w 695"/>
                  <a:gd name="T65" fmla="*/ 170748 h 819"/>
                  <a:gd name="T66" fmla="*/ 706540 w 695"/>
                  <a:gd name="T67" fmla="*/ 144022 h 819"/>
                  <a:gd name="T68" fmla="*/ 687271 w 695"/>
                  <a:gd name="T69" fmla="*/ 112842 h 819"/>
                  <a:gd name="T70" fmla="*/ 618222 w 695"/>
                  <a:gd name="T71" fmla="*/ 86117 h 819"/>
                  <a:gd name="T72" fmla="*/ 582895 w 695"/>
                  <a:gd name="T73" fmla="*/ 43058 h 819"/>
                  <a:gd name="T74" fmla="*/ 483338 w 695"/>
                  <a:gd name="T75" fmla="*/ 0 h 819"/>
                  <a:gd name="T76" fmla="*/ 464068 w 695"/>
                  <a:gd name="T77" fmla="*/ 86117 h 819"/>
                  <a:gd name="T78" fmla="*/ 464068 w 695"/>
                  <a:gd name="T79" fmla="*/ 129175 h 819"/>
                  <a:gd name="T80" fmla="*/ 533117 w 695"/>
                  <a:gd name="T81" fmla="*/ 213807 h 819"/>
                  <a:gd name="T82" fmla="*/ 431953 w 695"/>
                  <a:gd name="T83" fmla="*/ 185596 h 819"/>
                  <a:gd name="T84" fmla="*/ 395020 w 695"/>
                  <a:gd name="T85" fmla="*/ 230139 h 819"/>
                  <a:gd name="T86" fmla="*/ 362905 w 695"/>
                  <a:gd name="T87" fmla="*/ 213807 h 819"/>
                  <a:gd name="T88" fmla="*/ 276193 w 695"/>
                  <a:gd name="T89" fmla="*/ 170748 h 819"/>
                  <a:gd name="T90" fmla="*/ 261741 w 695"/>
                  <a:gd name="T91" fmla="*/ 213807 h 819"/>
                  <a:gd name="T92" fmla="*/ 261741 w 695"/>
                  <a:gd name="T93" fmla="*/ 288045 h 819"/>
                  <a:gd name="T94" fmla="*/ 242472 w 695"/>
                  <a:gd name="T95" fmla="*/ 357829 h 819"/>
                  <a:gd name="T96" fmla="*/ 208750 w 695"/>
                  <a:gd name="T97" fmla="*/ 443946 h 819"/>
                  <a:gd name="T98" fmla="*/ 88317 w 695"/>
                  <a:gd name="T99" fmla="*/ 443946 h 819"/>
                  <a:gd name="T100" fmla="*/ 52991 w 695"/>
                  <a:gd name="T101" fmla="*/ 528577 h 819"/>
                  <a:gd name="T102" fmla="*/ 0 w 695"/>
                  <a:gd name="T103" fmla="*/ 614694 h 819"/>
                  <a:gd name="T104" fmla="*/ 0 w 695"/>
                  <a:gd name="T105" fmla="*/ 657752 h 81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95"/>
                  <a:gd name="T160" fmla="*/ 0 h 819"/>
                  <a:gd name="T161" fmla="*/ 695 w 695"/>
                  <a:gd name="T162" fmla="*/ 819 h 81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95" h="819">
                    <a:moveTo>
                      <a:pt x="0" y="462"/>
                    </a:moveTo>
                    <a:lnTo>
                      <a:pt x="0" y="472"/>
                    </a:lnTo>
                    <a:lnTo>
                      <a:pt x="12" y="482"/>
                    </a:lnTo>
                    <a:lnTo>
                      <a:pt x="21" y="491"/>
                    </a:lnTo>
                    <a:lnTo>
                      <a:pt x="21" y="500"/>
                    </a:lnTo>
                    <a:lnTo>
                      <a:pt x="21" y="511"/>
                    </a:lnTo>
                    <a:lnTo>
                      <a:pt x="21" y="519"/>
                    </a:lnTo>
                    <a:lnTo>
                      <a:pt x="21" y="529"/>
                    </a:lnTo>
                    <a:lnTo>
                      <a:pt x="12" y="529"/>
                    </a:lnTo>
                    <a:lnTo>
                      <a:pt x="21" y="548"/>
                    </a:lnTo>
                    <a:lnTo>
                      <a:pt x="33" y="568"/>
                    </a:lnTo>
                    <a:lnTo>
                      <a:pt x="44" y="578"/>
                    </a:lnTo>
                    <a:lnTo>
                      <a:pt x="65" y="587"/>
                    </a:lnTo>
                    <a:lnTo>
                      <a:pt x="87" y="587"/>
                    </a:lnTo>
                    <a:lnTo>
                      <a:pt x="96" y="596"/>
                    </a:lnTo>
                    <a:lnTo>
                      <a:pt x="108" y="596"/>
                    </a:lnTo>
                    <a:lnTo>
                      <a:pt x="118" y="596"/>
                    </a:lnTo>
                    <a:lnTo>
                      <a:pt x="125" y="605"/>
                    </a:lnTo>
                    <a:lnTo>
                      <a:pt x="101" y="621"/>
                    </a:lnTo>
                    <a:lnTo>
                      <a:pt x="96" y="635"/>
                    </a:lnTo>
                    <a:lnTo>
                      <a:pt x="87" y="655"/>
                    </a:lnTo>
                    <a:lnTo>
                      <a:pt x="87" y="664"/>
                    </a:lnTo>
                    <a:lnTo>
                      <a:pt x="75" y="673"/>
                    </a:lnTo>
                    <a:lnTo>
                      <a:pt x="75" y="684"/>
                    </a:lnTo>
                    <a:lnTo>
                      <a:pt x="75" y="703"/>
                    </a:lnTo>
                    <a:lnTo>
                      <a:pt x="75" y="712"/>
                    </a:lnTo>
                    <a:lnTo>
                      <a:pt x="65" y="721"/>
                    </a:lnTo>
                    <a:lnTo>
                      <a:pt x="65" y="743"/>
                    </a:lnTo>
                    <a:lnTo>
                      <a:pt x="65" y="742"/>
                    </a:lnTo>
                    <a:lnTo>
                      <a:pt x="75" y="751"/>
                    </a:lnTo>
                    <a:lnTo>
                      <a:pt x="75" y="742"/>
                    </a:lnTo>
                    <a:lnTo>
                      <a:pt x="96" y="751"/>
                    </a:lnTo>
                    <a:lnTo>
                      <a:pt x="108" y="751"/>
                    </a:lnTo>
                    <a:lnTo>
                      <a:pt x="118" y="751"/>
                    </a:lnTo>
                    <a:lnTo>
                      <a:pt x="130" y="751"/>
                    </a:lnTo>
                    <a:lnTo>
                      <a:pt x="139" y="751"/>
                    </a:lnTo>
                    <a:lnTo>
                      <a:pt x="151" y="751"/>
                    </a:lnTo>
                    <a:lnTo>
                      <a:pt x="163" y="751"/>
                    </a:lnTo>
                    <a:lnTo>
                      <a:pt x="177" y="758"/>
                    </a:lnTo>
                    <a:lnTo>
                      <a:pt x="185" y="758"/>
                    </a:lnTo>
                    <a:lnTo>
                      <a:pt x="194" y="761"/>
                    </a:lnTo>
                    <a:lnTo>
                      <a:pt x="204" y="761"/>
                    </a:lnTo>
                    <a:lnTo>
                      <a:pt x="198" y="770"/>
                    </a:lnTo>
                    <a:lnTo>
                      <a:pt x="226" y="779"/>
                    </a:lnTo>
                    <a:lnTo>
                      <a:pt x="235" y="771"/>
                    </a:lnTo>
                    <a:lnTo>
                      <a:pt x="246" y="771"/>
                    </a:lnTo>
                    <a:lnTo>
                      <a:pt x="258" y="779"/>
                    </a:lnTo>
                    <a:lnTo>
                      <a:pt x="269" y="789"/>
                    </a:lnTo>
                    <a:lnTo>
                      <a:pt x="279" y="789"/>
                    </a:lnTo>
                    <a:lnTo>
                      <a:pt x="289" y="799"/>
                    </a:lnTo>
                    <a:lnTo>
                      <a:pt x="301" y="789"/>
                    </a:lnTo>
                    <a:lnTo>
                      <a:pt x="310" y="789"/>
                    </a:lnTo>
                    <a:lnTo>
                      <a:pt x="322" y="771"/>
                    </a:lnTo>
                    <a:lnTo>
                      <a:pt x="336" y="777"/>
                    </a:lnTo>
                    <a:lnTo>
                      <a:pt x="336" y="788"/>
                    </a:lnTo>
                    <a:lnTo>
                      <a:pt x="352" y="789"/>
                    </a:lnTo>
                    <a:lnTo>
                      <a:pt x="363" y="789"/>
                    </a:lnTo>
                    <a:lnTo>
                      <a:pt x="375" y="779"/>
                    </a:lnTo>
                    <a:lnTo>
                      <a:pt x="385" y="789"/>
                    </a:lnTo>
                    <a:lnTo>
                      <a:pt x="397" y="789"/>
                    </a:lnTo>
                    <a:lnTo>
                      <a:pt x="406" y="789"/>
                    </a:lnTo>
                    <a:lnTo>
                      <a:pt x="418" y="779"/>
                    </a:lnTo>
                    <a:lnTo>
                      <a:pt x="428" y="779"/>
                    </a:lnTo>
                    <a:lnTo>
                      <a:pt x="449" y="779"/>
                    </a:lnTo>
                    <a:lnTo>
                      <a:pt x="460" y="779"/>
                    </a:lnTo>
                    <a:lnTo>
                      <a:pt x="471" y="789"/>
                    </a:lnTo>
                    <a:lnTo>
                      <a:pt x="471" y="779"/>
                    </a:lnTo>
                    <a:lnTo>
                      <a:pt x="481" y="779"/>
                    </a:lnTo>
                    <a:lnTo>
                      <a:pt x="498" y="788"/>
                    </a:lnTo>
                    <a:lnTo>
                      <a:pt x="495" y="797"/>
                    </a:lnTo>
                    <a:lnTo>
                      <a:pt x="503" y="810"/>
                    </a:lnTo>
                    <a:lnTo>
                      <a:pt x="514" y="819"/>
                    </a:lnTo>
                    <a:lnTo>
                      <a:pt x="514" y="810"/>
                    </a:lnTo>
                    <a:lnTo>
                      <a:pt x="524" y="810"/>
                    </a:lnTo>
                    <a:lnTo>
                      <a:pt x="524" y="799"/>
                    </a:lnTo>
                    <a:lnTo>
                      <a:pt x="524" y="789"/>
                    </a:lnTo>
                    <a:lnTo>
                      <a:pt x="514" y="779"/>
                    </a:lnTo>
                    <a:lnTo>
                      <a:pt x="514" y="771"/>
                    </a:lnTo>
                    <a:lnTo>
                      <a:pt x="514" y="761"/>
                    </a:lnTo>
                    <a:lnTo>
                      <a:pt x="503" y="751"/>
                    </a:lnTo>
                    <a:lnTo>
                      <a:pt x="503" y="742"/>
                    </a:lnTo>
                    <a:lnTo>
                      <a:pt x="503" y="721"/>
                    </a:lnTo>
                    <a:lnTo>
                      <a:pt x="536" y="721"/>
                    </a:lnTo>
                    <a:lnTo>
                      <a:pt x="545" y="712"/>
                    </a:lnTo>
                    <a:lnTo>
                      <a:pt x="556" y="703"/>
                    </a:lnTo>
                    <a:lnTo>
                      <a:pt x="556" y="692"/>
                    </a:lnTo>
                    <a:lnTo>
                      <a:pt x="565" y="692"/>
                    </a:lnTo>
                    <a:lnTo>
                      <a:pt x="577" y="692"/>
                    </a:lnTo>
                    <a:lnTo>
                      <a:pt x="588" y="692"/>
                    </a:lnTo>
                    <a:lnTo>
                      <a:pt x="588" y="684"/>
                    </a:lnTo>
                    <a:lnTo>
                      <a:pt x="588" y="673"/>
                    </a:lnTo>
                    <a:lnTo>
                      <a:pt x="577" y="664"/>
                    </a:lnTo>
                    <a:lnTo>
                      <a:pt x="565" y="655"/>
                    </a:lnTo>
                    <a:lnTo>
                      <a:pt x="556" y="646"/>
                    </a:lnTo>
                    <a:lnTo>
                      <a:pt x="545" y="646"/>
                    </a:lnTo>
                    <a:lnTo>
                      <a:pt x="536" y="635"/>
                    </a:lnTo>
                    <a:lnTo>
                      <a:pt x="524" y="616"/>
                    </a:lnTo>
                    <a:lnTo>
                      <a:pt x="514" y="596"/>
                    </a:lnTo>
                    <a:lnTo>
                      <a:pt x="503" y="587"/>
                    </a:lnTo>
                    <a:lnTo>
                      <a:pt x="503" y="578"/>
                    </a:lnTo>
                    <a:lnTo>
                      <a:pt x="503" y="559"/>
                    </a:lnTo>
                    <a:lnTo>
                      <a:pt x="493" y="548"/>
                    </a:lnTo>
                    <a:lnTo>
                      <a:pt x="481" y="540"/>
                    </a:lnTo>
                    <a:lnTo>
                      <a:pt x="481" y="519"/>
                    </a:lnTo>
                    <a:lnTo>
                      <a:pt x="471" y="519"/>
                    </a:lnTo>
                    <a:lnTo>
                      <a:pt x="460" y="500"/>
                    </a:lnTo>
                    <a:lnTo>
                      <a:pt x="460" y="482"/>
                    </a:lnTo>
                    <a:lnTo>
                      <a:pt x="471" y="491"/>
                    </a:lnTo>
                    <a:lnTo>
                      <a:pt x="471" y="500"/>
                    </a:lnTo>
                    <a:lnTo>
                      <a:pt x="493" y="491"/>
                    </a:lnTo>
                    <a:lnTo>
                      <a:pt x="503" y="500"/>
                    </a:lnTo>
                    <a:lnTo>
                      <a:pt x="524" y="500"/>
                    </a:lnTo>
                    <a:lnTo>
                      <a:pt x="545" y="491"/>
                    </a:lnTo>
                    <a:lnTo>
                      <a:pt x="556" y="491"/>
                    </a:lnTo>
                    <a:lnTo>
                      <a:pt x="565" y="482"/>
                    </a:lnTo>
                    <a:lnTo>
                      <a:pt x="577" y="482"/>
                    </a:lnTo>
                    <a:lnTo>
                      <a:pt x="611" y="462"/>
                    </a:lnTo>
                    <a:lnTo>
                      <a:pt x="620" y="452"/>
                    </a:lnTo>
                    <a:lnTo>
                      <a:pt x="631" y="443"/>
                    </a:lnTo>
                    <a:lnTo>
                      <a:pt x="654" y="434"/>
                    </a:lnTo>
                    <a:lnTo>
                      <a:pt x="663" y="443"/>
                    </a:lnTo>
                    <a:lnTo>
                      <a:pt x="663" y="452"/>
                    </a:lnTo>
                    <a:lnTo>
                      <a:pt x="674" y="452"/>
                    </a:lnTo>
                    <a:lnTo>
                      <a:pt x="685" y="443"/>
                    </a:lnTo>
                    <a:lnTo>
                      <a:pt x="685" y="434"/>
                    </a:lnTo>
                    <a:lnTo>
                      <a:pt x="685" y="404"/>
                    </a:lnTo>
                    <a:lnTo>
                      <a:pt x="695" y="395"/>
                    </a:lnTo>
                    <a:lnTo>
                      <a:pt x="685" y="395"/>
                    </a:lnTo>
                    <a:lnTo>
                      <a:pt x="685" y="385"/>
                    </a:lnTo>
                    <a:lnTo>
                      <a:pt x="685" y="375"/>
                    </a:lnTo>
                    <a:lnTo>
                      <a:pt x="685" y="347"/>
                    </a:lnTo>
                    <a:lnTo>
                      <a:pt x="685" y="338"/>
                    </a:lnTo>
                    <a:lnTo>
                      <a:pt x="674" y="318"/>
                    </a:lnTo>
                    <a:lnTo>
                      <a:pt x="674" y="308"/>
                    </a:lnTo>
                    <a:lnTo>
                      <a:pt x="674" y="299"/>
                    </a:lnTo>
                    <a:lnTo>
                      <a:pt x="685" y="288"/>
                    </a:lnTo>
                    <a:lnTo>
                      <a:pt x="674" y="288"/>
                    </a:lnTo>
                    <a:lnTo>
                      <a:pt x="663" y="279"/>
                    </a:lnTo>
                    <a:lnTo>
                      <a:pt x="663" y="270"/>
                    </a:lnTo>
                    <a:lnTo>
                      <a:pt x="654" y="261"/>
                    </a:lnTo>
                    <a:lnTo>
                      <a:pt x="642" y="241"/>
                    </a:lnTo>
                    <a:lnTo>
                      <a:pt x="654" y="231"/>
                    </a:lnTo>
                    <a:lnTo>
                      <a:pt x="663" y="221"/>
                    </a:lnTo>
                    <a:lnTo>
                      <a:pt x="663" y="212"/>
                    </a:lnTo>
                    <a:lnTo>
                      <a:pt x="663" y="202"/>
                    </a:lnTo>
                    <a:lnTo>
                      <a:pt x="663" y="194"/>
                    </a:lnTo>
                    <a:lnTo>
                      <a:pt x="663" y="183"/>
                    </a:lnTo>
                    <a:lnTo>
                      <a:pt x="663" y="155"/>
                    </a:lnTo>
                    <a:lnTo>
                      <a:pt x="631" y="155"/>
                    </a:lnTo>
                    <a:lnTo>
                      <a:pt x="631" y="135"/>
                    </a:lnTo>
                    <a:lnTo>
                      <a:pt x="631" y="115"/>
                    </a:lnTo>
                    <a:lnTo>
                      <a:pt x="611" y="115"/>
                    </a:lnTo>
                    <a:lnTo>
                      <a:pt x="599" y="115"/>
                    </a:lnTo>
                    <a:lnTo>
                      <a:pt x="599" y="107"/>
                    </a:lnTo>
                    <a:lnTo>
                      <a:pt x="588" y="97"/>
                    </a:lnTo>
                    <a:lnTo>
                      <a:pt x="588" y="87"/>
                    </a:lnTo>
                    <a:lnTo>
                      <a:pt x="577" y="87"/>
                    </a:lnTo>
                    <a:lnTo>
                      <a:pt x="565" y="97"/>
                    </a:lnTo>
                    <a:lnTo>
                      <a:pt x="556" y="97"/>
                    </a:lnTo>
                    <a:lnTo>
                      <a:pt x="545" y="97"/>
                    </a:lnTo>
                    <a:lnTo>
                      <a:pt x="524" y="107"/>
                    </a:lnTo>
                    <a:lnTo>
                      <a:pt x="503" y="115"/>
                    </a:lnTo>
                    <a:lnTo>
                      <a:pt x="493" y="107"/>
                    </a:lnTo>
                    <a:lnTo>
                      <a:pt x="493" y="115"/>
                    </a:lnTo>
                    <a:lnTo>
                      <a:pt x="481" y="115"/>
                    </a:lnTo>
                    <a:lnTo>
                      <a:pt x="460" y="115"/>
                    </a:lnTo>
                    <a:lnTo>
                      <a:pt x="449" y="115"/>
                    </a:lnTo>
                    <a:lnTo>
                      <a:pt x="428" y="107"/>
                    </a:lnTo>
                    <a:lnTo>
                      <a:pt x="440" y="107"/>
                    </a:lnTo>
                    <a:lnTo>
                      <a:pt x="440" y="97"/>
                    </a:lnTo>
                    <a:lnTo>
                      <a:pt x="449" y="97"/>
                    </a:lnTo>
                    <a:lnTo>
                      <a:pt x="449" y="87"/>
                    </a:lnTo>
                    <a:lnTo>
                      <a:pt x="449" y="76"/>
                    </a:lnTo>
                    <a:lnTo>
                      <a:pt x="440" y="76"/>
                    </a:lnTo>
                    <a:lnTo>
                      <a:pt x="428" y="76"/>
                    </a:lnTo>
                    <a:lnTo>
                      <a:pt x="418" y="87"/>
                    </a:lnTo>
                    <a:lnTo>
                      <a:pt x="406" y="68"/>
                    </a:lnTo>
                    <a:lnTo>
                      <a:pt x="397" y="68"/>
                    </a:lnTo>
                    <a:lnTo>
                      <a:pt x="385" y="68"/>
                    </a:lnTo>
                    <a:lnTo>
                      <a:pt x="385" y="58"/>
                    </a:lnTo>
                    <a:lnTo>
                      <a:pt x="375" y="58"/>
                    </a:lnTo>
                    <a:lnTo>
                      <a:pt x="363" y="58"/>
                    </a:lnTo>
                    <a:lnTo>
                      <a:pt x="363" y="48"/>
                    </a:lnTo>
                    <a:lnTo>
                      <a:pt x="375" y="39"/>
                    </a:lnTo>
                    <a:lnTo>
                      <a:pt x="363" y="29"/>
                    </a:lnTo>
                    <a:lnTo>
                      <a:pt x="352" y="21"/>
                    </a:lnTo>
                    <a:lnTo>
                      <a:pt x="342" y="10"/>
                    </a:lnTo>
                    <a:lnTo>
                      <a:pt x="322" y="10"/>
                    </a:lnTo>
                    <a:lnTo>
                      <a:pt x="310" y="0"/>
                    </a:lnTo>
                    <a:lnTo>
                      <a:pt x="301" y="0"/>
                    </a:lnTo>
                    <a:lnTo>
                      <a:pt x="301" y="21"/>
                    </a:lnTo>
                    <a:lnTo>
                      <a:pt x="301" y="29"/>
                    </a:lnTo>
                    <a:lnTo>
                      <a:pt x="310" y="39"/>
                    </a:lnTo>
                    <a:lnTo>
                      <a:pt x="310" y="48"/>
                    </a:lnTo>
                    <a:lnTo>
                      <a:pt x="289" y="58"/>
                    </a:lnTo>
                    <a:lnTo>
                      <a:pt x="279" y="58"/>
                    </a:lnTo>
                    <a:lnTo>
                      <a:pt x="279" y="68"/>
                    </a:lnTo>
                    <a:lnTo>
                      <a:pt x="289" y="68"/>
                    </a:lnTo>
                    <a:lnTo>
                      <a:pt x="289" y="76"/>
                    </a:lnTo>
                    <a:lnTo>
                      <a:pt x="289" y="87"/>
                    </a:lnTo>
                    <a:lnTo>
                      <a:pt x="310" y="97"/>
                    </a:lnTo>
                    <a:lnTo>
                      <a:pt x="301" y="107"/>
                    </a:lnTo>
                    <a:lnTo>
                      <a:pt x="310" y="115"/>
                    </a:lnTo>
                    <a:lnTo>
                      <a:pt x="332" y="125"/>
                    </a:lnTo>
                    <a:lnTo>
                      <a:pt x="332" y="144"/>
                    </a:lnTo>
                    <a:lnTo>
                      <a:pt x="322" y="125"/>
                    </a:lnTo>
                    <a:lnTo>
                      <a:pt x="310" y="115"/>
                    </a:lnTo>
                    <a:lnTo>
                      <a:pt x="289" y="115"/>
                    </a:lnTo>
                    <a:lnTo>
                      <a:pt x="269" y="115"/>
                    </a:lnTo>
                    <a:lnTo>
                      <a:pt x="269" y="125"/>
                    </a:lnTo>
                    <a:lnTo>
                      <a:pt x="269" y="144"/>
                    </a:lnTo>
                    <a:lnTo>
                      <a:pt x="269" y="155"/>
                    </a:lnTo>
                    <a:lnTo>
                      <a:pt x="258" y="164"/>
                    </a:lnTo>
                    <a:lnTo>
                      <a:pt x="258" y="173"/>
                    </a:lnTo>
                    <a:lnTo>
                      <a:pt x="246" y="155"/>
                    </a:lnTo>
                    <a:lnTo>
                      <a:pt x="246" y="144"/>
                    </a:lnTo>
                    <a:lnTo>
                      <a:pt x="246" y="135"/>
                    </a:lnTo>
                    <a:lnTo>
                      <a:pt x="235" y="135"/>
                    </a:lnTo>
                    <a:lnTo>
                      <a:pt x="235" y="144"/>
                    </a:lnTo>
                    <a:lnTo>
                      <a:pt x="226" y="144"/>
                    </a:lnTo>
                    <a:lnTo>
                      <a:pt x="226" y="135"/>
                    </a:lnTo>
                    <a:lnTo>
                      <a:pt x="235" y="125"/>
                    </a:lnTo>
                    <a:lnTo>
                      <a:pt x="214" y="115"/>
                    </a:lnTo>
                    <a:lnTo>
                      <a:pt x="194" y="115"/>
                    </a:lnTo>
                    <a:lnTo>
                      <a:pt x="172" y="115"/>
                    </a:lnTo>
                    <a:lnTo>
                      <a:pt x="163" y="115"/>
                    </a:lnTo>
                    <a:lnTo>
                      <a:pt x="163" y="125"/>
                    </a:lnTo>
                    <a:lnTo>
                      <a:pt x="151" y="135"/>
                    </a:lnTo>
                    <a:lnTo>
                      <a:pt x="151" y="144"/>
                    </a:lnTo>
                    <a:lnTo>
                      <a:pt x="163" y="144"/>
                    </a:lnTo>
                    <a:lnTo>
                      <a:pt x="163" y="155"/>
                    </a:lnTo>
                    <a:lnTo>
                      <a:pt x="172" y="164"/>
                    </a:lnTo>
                    <a:lnTo>
                      <a:pt x="163" y="173"/>
                    </a:lnTo>
                    <a:lnTo>
                      <a:pt x="163" y="183"/>
                    </a:lnTo>
                    <a:lnTo>
                      <a:pt x="163" y="194"/>
                    </a:lnTo>
                    <a:lnTo>
                      <a:pt x="163" y="202"/>
                    </a:lnTo>
                    <a:lnTo>
                      <a:pt x="151" y="202"/>
                    </a:lnTo>
                    <a:lnTo>
                      <a:pt x="151" y="212"/>
                    </a:lnTo>
                    <a:lnTo>
                      <a:pt x="151" y="231"/>
                    </a:lnTo>
                    <a:lnTo>
                      <a:pt x="151" y="241"/>
                    </a:lnTo>
                    <a:lnTo>
                      <a:pt x="139" y="251"/>
                    </a:lnTo>
                    <a:lnTo>
                      <a:pt x="151" y="261"/>
                    </a:lnTo>
                    <a:lnTo>
                      <a:pt x="151" y="270"/>
                    </a:lnTo>
                    <a:lnTo>
                      <a:pt x="139" y="299"/>
                    </a:lnTo>
                    <a:lnTo>
                      <a:pt x="130" y="299"/>
                    </a:lnTo>
                    <a:lnTo>
                      <a:pt x="118" y="299"/>
                    </a:lnTo>
                    <a:lnTo>
                      <a:pt x="108" y="299"/>
                    </a:lnTo>
                    <a:lnTo>
                      <a:pt x="96" y="299"/>
                    </a:lnTo>
                    <a:lnTo>
                      <a:pt x="87" y="288"/>
                    </a:lnTo>
                    <a:lnTo>
                      <a:pt x="55" y="299"/>
                    </a:lnTo>
                    <a:lnTo>
                      <a:pt x="33" y="308"/>
                    </a:lnTo>
                    <a:lnTo>
                      <a:pt x="33" y="318"/>
                    </a:lnTo>
                    <a:lnTo>
                      <a:pt x="33" y="327"/>
                    </a:lnTo>
                    <a:lnTo>
                      <a:pt x="33" y="347"/>
                    </a:lnTo>
                    <a:lnTo>
                      <a:pt x="33" y="356"/>
                    </a:lnTo>
                    <a:lnTo>
                      <a:pt x="12" y="365"/>
                    </a:lnTo>
                    <a:lnTo>
                      <a:pt x="12" y="375"/>
                    </a:lnTo>
                    <a:lnTo>
                      <a:pt x="12" y="385"/>
                    </a:lnTo>
                    <a:lnTo>
                      <a:pt x="12" y="395"/>
                    </a:lnTo>
                    <a:lnTo>
                      <a:pt x="0" y="414"/>
                    </a:lnTo>
                    <a:lnTo>
                      <a:pt x="12" y="414"/>
                    </a:lnTo>
                    <a:lnTo>
                      <a:pt x="12" y="424"/>
                    </a:lnTo>
                    <a:lnTo>
                      <a:pt x="12" y="434"/>
                    </a:lnTo>
                    <a:lnTo>
                      <a:pt x="0" y="434"/>
                    </a:lnTo>
                    <a:lnTo>
                      <a:pt x="0" y="443"/>
                    </a:lnTo>
                    <a:lnTo>
                      <a:pt x="0" y="452"/>
                    </a:lnTo>
                    <a:lnTo>
                      <a:pt x="0" y="46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5" name="Freeform 39">
                <a:extLst>
                  <a:ext uri="{FF2B5EF4-FFF2-40B4-BE49-F238E27FC236}">
                    <a16:creationId xmlns:a16="http://schemas.microsoft.com/office/drawing/2014/main" id="{5DFEB2D1-453E-AD5D-934D-E555973BDA81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3432175" y="2633663"/>
                <a:ext cx="87313" cy="120650"/>
              </a:xfrm>
              <a:custGeom>
                <a:avLst/>
                <a:gdLst>
                  <a:gd name="T0" fmla="*/ 4942 w 53"/>
                  <a:gd name="T1" fmla="*/ 102776 h 81"/>
                  <a:gd name="T2" fmla="*/ 8237 w 53"/>
                  <a:gd name="T3" fmla="*/ 77454 h 81"/>
                  <a:gd name="T4" fmla="*/ 0 w 53"/>
                  <a:gd name="T5" fmla="*/ 64049 h 81"/>
                  <a:gd name="T6" fmla="*/ 0 w 53"/>
                  <a:gd name="T7" fmla="*/ 49154 h 81"/>
                  <a:gd name="T8" fmla="*/ 0 w 53"/>
                  <a:gd name="T9" fmla="*/ 34259 h 81"/>
                  <a:gd name="T10" fmla="*/ 4942 w 53"/>
                  <a:gd name="T11" fmla="*/ 13406 h 81"/>
                  <a:gd name="T12" fmla="*/ 29653 w 53"/>
                  <a:gd name="T13" fmla="*/ 0 h 81"/>
                  <a:gd name="T14" fmla="*/ 51070 w 53"/>
                  <a:gd name="T15" fmla="*/ 20853 h 81"/>
                  <a:gd name="T16" fmla="*/ 51070 w 53"/>
                  <a:gd name="T17" fmla="*/ 34259 h 81"/>
                  <a:gd name="T18" fmla="*/ 70839 w 53"/>
                  <a:gd name="T19" fmla="*/ 49154 h 81"/>
                  <a:gd name="T20" fmla="*/ 87313 w 53"/>
                  <a:gd name="T21" fmla="*/ 64049 h 81"/>
                  <a:gd name="T22" fmla="*/ 87313 w 53"/>
                  <a:gd name="T23" fmla="*/ 75965 h 81"/>
                  <a:gd name="T24" fmla="*/ 87313 w 53"/>
                  <a:gd name="T25" fmla="*/ 92349 h 81"/>
                  <a:gd name="T26" fmla="*/ 82371 w 53"/>
                  <a:gd name="T27" fmla="*/ 120650 h 81"/>
                  <a:gd name="T28" fmla="*/ 70839 w 53"/>
                  <a:gd name="T29" fmla="*/ 120650 h 81"/>
                  <a:gd name="T30" fmla="*/ 28006 w 53"/>
                  <a:gd name="T31" fmla="*/ 120650 h 81"/>
                  <a:gd name="T32" fmla="*/ 4942 w 53"/>
                  <a:gd name="T33" fmla="*/ 102776 h 81"/>
                  <a:gd name="T34" fmla="*/ 4942 w 53"/>
                  <a:gd name="T35" fmla="*/ 102776 h 8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3"/>
                  <a:gd name="T55" fmla="*/ 0 h 81"/>
                  <a:gd name="T56" fmla="*/ 53 w 53"/>
                  <a:gd name="T57" fmla="*/ 81 h 81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3" h="81">
                    <a:moveTo>
                      <a:pt x="3" y="69"/>
                    </a:moveTo>
                    <a:lnTo>
                      <a:pt x="5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3" y="9"/>
                    </a:lnTo>
                    <a:lnTo>
                      <a:pt x="18" y="0"/>
                    </a:lnTo>
                    <a:lnTo>
                      <a:pt x="31" y="14"/>
                    </a:lnTo>
                    <a:lnTo>
                      <a:pt x="31" y="23"/>
                    </a:lnTo>
                    <a:lnTo>
                      <a:pt x="43" y="33"/>
                    </a:lnTo>
                    <a:lnTo>
                      <a:pt x="53" y="43"/>
                    </a:lnTo>
                    <a:lnTo>
                      <a:pt x="53" y="51"/>
                    </a:lnTo>
                    <a:lnTo>
                      <a:pt x="53" y="62"/>
                    </a:lnTo>
                    <a:lnTo>
                      <a:pt x="50" y="81"/>
                    </a:lnTo>
                    <a:lnTo>
                      <a:pt x="43" y="81"/>
                    </a:lnTo>
                    <a:lnTo>
                      <a:pt x="17" y="81"/>
                    </a:lnTo>
                    <a:lnTo>
                      <a:pt x="3" y="6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6" name="Freeform 40">
                <a:extLst>
                  <a:ext uri="{FF2B5EF4-FFF2-40B4-BE49-F238E27FC236}">
                    <a16:creationId xmlns:a16="http://schemas.microsoft.com/office/drawing/2014/main" id="{7A2C45F0-815B-CFE8-9EDE-C9BF3BE131E4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16741 w 231"/>
                  <a:gd name="T81" fmla="*/ 144463 h 14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31"/>
                  <a:gd name="T124" fmla="*/ 0 h 143"/>
                  <a:gd name="T125" fmla="*/ 231 w 231"/>
                  <a:gd name="T126" fmla="*/ 143 h 14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  <a:lnTo>
                      <a:pt x="14" y="1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4" name="Freeform 41">
                <a:extLst>
                  <a:ext uri="{FF2B5EF4-FFF2-40B4-BE49-F238E27FC236}">
                    <a16:creationId xmlns:a16="http://schemas.microsoft.com/office/drawing/2014/main" id="{D47D355A-9D82-2294-9B82-46D60A161368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31"/>
                  <a:gd name="T121" fmla="*/ 0 h 143"/>
                  <a:gd name="T122" fmla="*/ 231 w 231"/>
                  <a:gd name="T123" fmla="*/ 143 h 143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5" name="Freeform 42">
                <a:extLst>
                  <a:ext uri="{FF2B5EF4-FFF2-40B4-BE49-F238E27FC236}">
                    <a16:creationId xmlns:a16="http://schemas.microsoft.com/office/drawing/2014/main" id="{6079A5C5-5752-E37D-E727-562F756D353E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6" name="Freeform 43">
                <a:extLst>
                  <a:ext uri="{FF2B5EF4-FFF2-40B4-BE49-F238E27FC236}">
                    <a16:creationId xmlns:a16="http://schemas.microsoft.com/office/drawing/2014/main" id="{CB9605BC-DD0C-B69C-0F64-FCB94BC4DBEB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 44">
                <a:extLst>
                  <a:ext uri="{FF2B5EF4-FFF2-40B4-BE49-F238E27FC236}">
                    <a16:creationId xmlns:a16="http://schemas.microsoft.com/office/drawing/2014/main" id="{A47C9568-5866-5148-8153-9B73E81E2FD3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8" name="Freeform 45">
                <a:extLst>
                  <a:ext uri="{FF2B5EF4-FFF2-40B4-BE49-F238E27FC236}">
                    <a16:creationId xmlns:a16="http://schemas.microsoft.com/office/drawing/2014/main" id="{6A329A02-F691-BF6F-D9E5-FD8B957C47C2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9" name="Freeform 46">
                <a:extLst>
                  <a:ext uri="{FF2B5EF4-FFF2-40B4-BE49-F238E27FC236}">
                    <a16:creationId xmlns:a16="http://schemas.microsoft.com/office/drawing/2014/main" id="{6FF84AA7-4B95-53F4-F0F7-20D8D85AB3A1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0" name="Freeform 47">
                <a:extLst>
                  <a:ext uri="{FF2B5EF4-FFF2-40B4-BE49-F238E27FC236}">
                    <a16:creationId xmlns:a16="http://schemas.microsoft.com/office/drawing/2014/main" id="{ECBEBE09-8A7F-3707-33A0-F7EFA3154CB6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" name="Freeform 48">
                <a:extLst>
                  <a:ext uri="{FF2B5EF4-FFF2-40B4-BE49-F238E27FC236}">
                    <a16:creationId xmlns:a16="http://schemas.microsoft.com/office/drawing/2014/main" id="{E6846BD2-C766-B3F6-F94D-9D925AF9E0B2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w 27"/>
                  <a:gd name="T21" fmla="*/ 30343 h 4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7"/>
                  <a:gd name="T34" fmla="*/ 0 h 44"/>
                  <a:gd name="T35" fmla="*/ 27 w 27"/>
                  <a:gd name="T36" fmla="*/ 44 h 4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" name="Freeform 49">
                <a:extLst>
                  <a:ext uri="{FF2B5EF4-FFF2-40B4-BE49-F238E27FC236}">
                    <a16:creationId xmlns:a16="http://schemas.microsoft.com/office/drawing/2014/main" id="{AD8DD8DB-B627-FFD0-7CCD-7F6A5E9AB7D0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7"/>
                  <a:gd name="T31" fmla="*/ 0 h 44"/>
                  <a:gd name="T32" fmla="*/ 27 w 27"/>
                  <a:gd name="T33" fmla="*/ 44 h 4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id="{2BFE2C51-3542-BBFB-0646-84DE29FE7B53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692650" y="3000375"/>
                <a:ext cx="869950" cy="454025"/>
              </a:xfrm>
              <a:custGeom>
                <a:avLst/>
                <a:gdLst>
                  <a:gd name="T0" fmla="*/ 137047 w 730"/>
                  <a:gd name="T1" fmla="*/ 100123 h 458"/>
                  <a:gd name="T2" fmla="*/ 173990 w 730"/>
                  <a:gd name="T3" fmla="*/ 114002 h 458"/>
                  <a:gd name="T4" fmla="*/ 206166 w 730"/>
                  <a:gd name="T5" fmla="*/ 140768 h 458"/>
                  <a:gd name="T6" fmla="*/ 259793 w 730"/>
                  <a:gd name="T7" fmla="*/ 140768 h 458"/>
                  <a:gd name="T8" fmla="*/ 282436 w 730"/>
                  <a:gd name="T9" fmla="*/ 140768 h 458"/>
                  <a:gd name="T10" fmla="*/ 343213 w 730"/>
                  <a:gd name="T11" fmla="*/ 128872 h 458"/>
                  <a:gd name="T12" fmla="*/ 343213 w 730"/>
                  <a:gd name="T13" fmla="*/ 112019 h 458"/>
                  <a:gd name="T14" fmla="*/ 370623 w 730"/>
                  <a:gd name="T15" fmla="*/ 96158 h 458"/>
                  <a:gd name="T16" fmla="*/ 412332 w 730"/>
                  <a:gd name="T17" fmla="*/ 100123 h 458"/>
                  <a:gd name="T18" fmla="*/ 464768 w 730"/>
                  <a:gd name="T19" fmla="*/ 85254 h 458"/>
                  <a:gd name="T20" fmla="*/ 516011 w 730"/>
                  <a:gd name="T21" fmla="*/ 58488 h 458"/>
                  <a:gd name="T22" fmla="*/ 550571 w 730"/>
                  <a:gd name="T23" fmla="*/ 28748 h 458"/>
                  <a:gd name="T24" fmla="*/ 569638 w 730"/>
                  <a:gd name="T25" fmla="*/ 0 h 458"/>
                  <a:gd name="T26" fmla="*/ 604198 w 730"/>
                  <a:gd name="T27" fmla="*/ 0 h 458"/>
                  <a:gd name="T28" fmla="*/ 654250 w 730"/>
                  <a:gd name="T29" fmla="*/ 0 h 458"/>
                  <a:gd name="T30" fmla="*/ 686426 w 730"/>
                  <a:gd name="T31" fmla="*/ 0 h 458"/>
                  <a:gd name="T32" fmla="*/ 705494 w 730"/>
                  <a:gd name="T33" fmla="*/ 13878 h 458"/>
                  <a:gd name="T34" fmla="*/ 756737 w 730"/>
                  <a:gd name="T35" fmla="*/ 13878 h 458"/>
                  <a:gd name="T36" fmla="*/ 798447 w 730"/>
                  <a:gd name="T37" fmla="*/ 42627 h 458"/>
                  <a:gd name="T38" fmla="*/ 830624 w 730"/>
                  <a:gd name="T39" fmla="*/ 42627 h 458"/>
                  <a:gd name="T40" fmla="*/ 869950 w 730"/>
                  <a:gd name="T41" fmla="*/ 67410 h 458"/>
                  <a:gd name="T42" fmla="*/ 865183 w 730"/>
                  <a:gd name="T43" fmla="*/ 108054 h 458"/>
                  <a:gd name="T44" fmla="*/ 813940 w 730"/>
                  <a:gd name="T45" fmla="*/ 140768 h 458"/>
                  <a:gd name="T46" fmla="*/ 779380 w 730"/>
                  <a:gd name="T47" fmla="*/ 154646 h 458"/>
                  <a:gd name="T48" fmla="*/ 761504 w 730"/>
                  <a:gd name="T49" fmla="*/ 202229 h 458"/>
                  <a:gd name="T50" fmla="*/ 744820 w 730"/>
                  <a:gd name="T51" fmla="*/ 230978 h 458"/>
                  <a:gd name="T52" fmla="*/ 715027 w 730"/>
                  <a:gd name="T53" fmla="*/ 284509 h 458"/>
                  <a:gd name="T54" fmla="*/ 680468 w 730"/>
                  <a:gd name="T55" fmla="*/ 304336 h 458"/>
                  <a:gd name="T56" fmla="*/ 651867 w 730"/>
                  <a:gd name="T57" fmla="*/ 337049 h 458"/>
                  <a:gd name="T58" fmla="*/ 626841 w 730"/>
                  <a:gd name="T59" fmla="*/ 359850 h 458"/>
                  <a:gd name="T60" fmla="*/ 608965 w 730"/>
                  <a:gd name="T61" fmla="*/ 384633 h 458"/>
                  <a:gd name="T62" fmla="*/ 532695 w 730"/>
                  <a:gd name="T63" fmla="*/ 369763 h 458"/>
                  <a:gd name="T64" fmla="*/ 516011 w 730"/>
                  <a:gd name="T65" fmla="*/ 382650 h 458"/>
                  <a:gd name="T66" fmla="*/ 464768 w 730"/>
                  <a:gd name="T67" fmla="*/ 398511 h 458"/>
                  <a:gd name="T68" fmla="*/ 412332 w 730"/>
                  <a:gd name="T69" fmla="*/ 398511 h 458"/>
                  <a:gd name="T70" fmla="*/ 361089 w 730"/>
                  <a:gd name="T71" fmla="*/ 411398 h 458"/>
                  <a:gd name="T72" fmla="*/ 328913 w 730"/>
                  <a:gd name="T73" fmla="*/ 427259 h 458"/>
                  <a:gd name="T74" fmla="*/ 294353 w 730"/>
                  <a:gd name="T75" fmla="*/ 454025 h 458"/>
                  <a:gd name="T76" fmla="*/ 240726 w 730"/>
                  <a:gd name="T77" fmla="*/ 441138 h 458"/>
                  <a:gd name="T78" fmla="*/ 206166 w 730"/>
                  <a:gd name="T79" fmla="*/ 441138 h 458"/>
                  <a:gd name="T80" fmla="*/ 173990 w 730"/>
                  <a:gd name="T81" fmla="*/ 427259 h 458"/>
                  <a:gd name="T82" fmla="*/ 154923 w 730"/>
                  <a:gd name="T83" fmla="*/ 411398 h 458"/>
                  <a:gd name="T84" fmla="*/ 120363 w 730"/>
                  <a:gd name="T85" fmla="*/ 398511 h 458"/>
                  <a:gd name="T86" fmla="*/ 85803 w 730"/>
                  <a:gd name="T87" fmla="*/ 369763 h 458"/>
                  <a:gd name="T88" fmla="*/ 70311 w 730"/>
                  <a:gd name="T89" fmla="*/ 341014 h 458"/>
                  <a:gd name="T90" fmla="*/ 51244 w 730"/>
                  <a:gd name="T91" fmla="*/ 314249 h 458"/>
                  <a:gd name="T92" fmla="*/ 35751 w 730"/>
                  <a:gd name="T93" fmla="*/ 284509 h 458"/>
                  <a:gd name="T94" fmla="*/ 0 w 730"/>
                  <a:gd name="T95" fmla="*/ 298388 h 458"/>
                  <a:gd name="T96" fmla="*/ 16684 w 730"/>
                  <a:gd name="T97" fmla="*/ 255761 h 458"/>
                  <a:gd name="T98" fmla="*/ 51244 w 730"/>
                  <a:gd name="T99" fmla="*/ 227013 h 458"/>
                  <a:gd name="T100" fmla="*/ 70311 w 730"/>
                  <a:gd name="T101" fmla="*/ 198264 h 458"/>
                  <a:gd name="T102" fmla="*/ 70311 w 730"/>
                  <a:gd name="T103" fmla="*/ 171499 h 458"/>
                  <a:gd name="T104" fmla="*/ 51244 w 730"/>
                  <a:gd name="T105" fmla="*/ 140768 h 458"/>
                  <a:gd name="T106" fmla="*/ 90570 w 730"/>
                  <a:gd name="T107" fmla="*/ 132837 h 458"/>
                  <a:gd name="T108" fmla="*/ 104871 w 730"/>
                  <a:gd name="T109" fmla="*/ 150681 h 458"/>
                  <a:gd name="T110" fmla="*/ 120363 w 730"/>
                  <a:gd name="T111" fmla="*/ 126889 h 458"/>
                  <a:gd name="T112" fmla="*/ 100104 w 730"/>
                  <a:gd name="T113" fmla="*/ 77323 h 45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30"/>
                  <a:gd name="T172" fmla="*/ 0 h 458"/>
                  <a:gd name="T173" fmla="*/ 730 w 730"/>
                  <a:gd name="T174" fmla="*/ 458 h 45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30" h="458">
                    <a:moveTo>
                      <a:pt x="84" y="78"/>
                    </a:moveTo>
                    <a:lnTo>
                      <a:pt x="115" y="101"/>
                    </a:lnTo>
                    <a:lnTo>
                      <a:pt x="130" y="115"/>
                    </a:lnTo>
                    <a:lnTo>
                      <a:pt x="146" y="115"/>
                    </a:lnTo>
                    <a:lnTo>
                      <a:pt x="160" y="128"/>
                    </a:lnTo>
                    <a:lnTo>
                      <a:pt x="173" y="142"/>
                    </a:lnTo>
                    <a:lnTo>
                      <a:pt x="202" y="142"/>
                    </a:lnTo>
                    <a:lnTo>
                      <a:pt x="218" y="142"/>
                    </a:lnTo>
                    <a:lnTo>
                      <a:pt x="231" y="142"/>
                    </a:lnTo>
                    <a:lnTo>
                      <a:pt x="237" y="142"/>
                    </a:lnTo>
                    <a:lnTo>
                      <a:pt x="274" y="130"/>
                    </a:lnTo>
                    <a:lnTo>
                      <a:pt x="288" y="130"/>
                    </a:lnTo>
                    <a:lnTo>
                      <a:pt x="278" y="119"/>
                    </a:lnTo>
                    <a:lnTo>
                      <a:pt x="288" y="113"/>
                    </a:lnTo>
                    <a:lnTo>
                      <a:pt x="288" y="101"/>
                    </a:lnTo>
                    <a:lnTo>
                      <a:pt x="311" y="97"/>
                    </a:lnTo>
                    <a:lnTo>
                      <a:pt x="332" y="101"/>
                    </a:lnTo>
                    <a:lnTo>
                      <a:pt x="346" y="101"/>
                    </a:lnTo>
                    <a:lnTo>
                      <a:pt x="361" y="101"/>
                    </a:lnTo>
                    <a:lnTo>
                      <a:pt x="390" y="86"/>
                    </a:lnTo>
                    <a:lnTo>
                      <a:pt x="404" y="72"/>
                    </a:lnTo>
                    <a:lnTo>
                      <a:pt x="433" y="59"/>
                    </a:lnTo>
                    <a:lnTo>
                      <a:pt x="447" y="43"/>
                    </a:lnTo>
                    <a:lnTo>
                      <a:pt x="462" y="29"/>
                    </a:lnTo>
                    <a:lnTo>
                      <a:pt x="462" y="14"/>
                    </a:lnTo>
                    <a:lnTo>
                      <a:pt x="478" y="0"/>
                    </a:lnTo>
                    <a:lnTo>
                      <a:pt x="491" y="0"/>
                    </a:lnTo>
                    <a:lnTo>
                      <a:pt x="507" y="0"/>
                    </a:lnTo>
                    <a:lnTo>
                      <a:pt x="536" y="0"/>
                    </a:lnTo>
                    <a:lnTo>
                      <a:pt x="549" y="0"/>
                    </a:lnTo>
                    <a:lnTo>
                      <a:pt x="565" y="0"/>
                    </a:lnTo>
                    <a:lnTo>
                      <a:pt x="576" y="0"/>
                    </a:lnTo>
                    <a:lnTo>
                      <a:pt x="576" y="14"/>
                    </a:lnTo>
                    <a:lnTo>
                      <a:pt x="592" y="14"/>
                    </a:lnTo>
                    <a:lnTo>
                      <a:pt x="606" y="29"/>
                    </a:lnTo>
                    <a:lnTo>
                      <a:pt x="635" y="14"/>
                    </a:lnTo>
                    <a:lnTo>
                      <a:pt x="664" y="29"/>
                    </a:lnTo>
                    <a:lnTo>
                      <a:pt x="670" y="43"/>
                    </a:lnTo>
                    <a:lnTo>
                      <a:pt x="681" y="39"/>
                    </a:lnTo>
                    <a:lnTo>
                      <a:pt x="697" y="43"/>
                    </a:lnTo>
                    <a:lnTo>
                      <a:pt x="706" y="59"/>
                    </a:lnTo>
                    <a:lnTo>
                      <a:pt x="730" y="68"/>
                    </a:lnTo>
                    <a:lnTo>
                      <a:pt x="730" y="84"/>
                    </a:lnTo>
                    <a:lnTo>
                      <a:pt x="726" y="109"/>
                    </a:lnTo>
                    <a:lnTo>
                      <a:pt x="704" y="130"/>
                    </a:lnTo>
                    <a:lnTo>
                      <a:pt x="683" y="142"/>
                    </a:lnTo>
                    <a:lnTo>
                      <a:pt x="670" y="152"/>
                    </a:lnTo>
                    <a:lnTo>
                      <a:pt x="654" y="156"/>
                    </a:lnTo>
                    <a:lnTo>
                      <a:pt x="642" y="177"/>
                    </a:lnTo>
                    <a:lnTo>
                      <a:pt x="639" y="204"/>
                    </a:lnTo>
                    <a:lnTo>
                      <a:pt x="629" y="216"/>
                    </a:lnTo>
                    <a:lnTo>
                      <a:pt x="625" y="233"/>
                    </a:lnTo>
                    <a:lnTo>
                      <a:pt x="617" y="270"/>
                    </a:lnTo>
                    <a:lnTo>
                      <a:pt x="600" y="287"/>
                    </a:lnTo>
                    <a:lnTo>
                      <a:pt x="592" y="303"/>
                    </a:lnTo>
                    <a:lnTo>
                      <a:pt x="571" y="307"/>
                    </a:lnTo>
                    <a:lnTo>
                      <a:pt x="571" y="324"/>
                    </a:lnTo>
                    <a:lnTo>
                      <a:pt x="547" y="340"/>
                    </a:lnTo>
                    <a:lnTo>
                      <a:pt x="544" y="348"/>
                    </a:lnTo>
                    <a:lnTo>
                      <a:pt x="526" y="363"/>
                    </a:lnTo>
                    <a:lnTo>
                      <a:pt x="518" y="377"/>
                    </a:lnTo>
                    <a:lnTo>
                      <a:pt x="511" y="388"/>
                    </a:lnTo>
                    <a:lnTo>
                      <a:pt x="462" y="386"/>
                    </a:lnTo>
                    <a:lnTo>
                      <a:pt x="447" y="373"/>
                    </a:lnTo>
                    <a:lnTo>
                      <a:pt x="433" y="373"/>
                    </a:lnTo>
                    <a:lnTo>
                      <a:pt x="433" y="386"/>
                    </a:lnTo>
                    <a:lnTo>
                      <a:pt x="404" y="402"/>
                    </a:lnTo>
                    <a:lnTo>
                      <a:pt x="390" y="402"/>
                    </a:lnTo>
                    <a:lnTo>
                      <a:pt x="377" y="386"/>
                    </a:lnTo>
                    <a:lnTo>
                      <a:pt x="346" y="402"/>
                    </a:lnTo>
                    <a:lnTo>
                      <a:pt x="332" y="415"/>
                    </a:lnTo>
                    <a:lnTo>
                      <a:pt x="303" y="415"/>
                    </a:lnTo>
                    <a:lnTo>
                      <a:pt x="288" y="415"/>
                    </a:lnTo>
                    <a:lnTo>
                      <a:pt x="276" y="431"/>
                    </a:lnTo>
                    <a:lnTo>
                      <a:pt x="260" y="445"/>
                    </a:lnTo>
                    <a:lnTo>
                      <a:pt x="247" y="458"/>
                    </a:lnTo>
                    <a:lnTo>
                      <a:pt x="231" y="458"/>
                    </a:lnTo>
                    <a:lnTo>
                      <a:pt x="202" y="445"/>
                    </a:lnTo>
                    <a:lnTo>
                      <a:pt x="189" y="445"/>
                    </a:lnTo>
                    <a:lnTo>
                      <a:pt x="173" y="445"/>
                    </a:lnTo>
                    <a:lnTo>
                      <a:pt x="160" y="445"/>
                    </a:lnTo>
                    <a:lnTo>
                      <a:pt x="146" y="431"/>
                    </a:lnTo>
                    <a:lnTo>
                      <a:pt x="130" y="431"/>
                    </a:lnTo>
                    <a:lnTo>
                      <a:pt x="130" y="415"/>
                    </a:lnTo>
                    <a:lnTo>
                      <a:pt x="115" y="415"/>
                    </a:lnTo>
                    <a:lnTo>
                      <a:pt x="101" y="402"/>
                    </a:lnTo>
                    <a:lnTo>
                      <a:pt x="88" y="386"/>
                    </a:lnTo>
                    <a:lnTo>
                      <a:pt x="72" y="373"/>
                    </a:lnTo>
                    <a:lnTo>
                      <a:pt x="59" y="359"/>
                    </a:lnTo>
                    <a:lnTo>
                      <a:pt x="59" y="344"/>
                    </a:lnTo>
                    <a:lnTo>
                      <a:pt x="59" y="330"/>
                    </a:lnTo>
                    <a:lnTo>
                      <a:pt x="43" y="317"/>
                    </a:lnTo>
                    <a:lnTo>
                      <a:pt x="30" y="301"/>
                    </a:lnTo>
                    <a:lnTo>
                      <a:pt x="30" y="287"/>
                    </a:lnTo>
                    <a:lnTo>
                      <a:pt x="0" y="287"/>
                    </a:lnTo>
                    <a:lnTo>
                      <a:pt x="0" y="301"/>
                    </a:lnTo>
                    <a:lnTo>
                      <a:pt x="0" y="287"/>
                    </a:lnTo>
                    <a:lnTo>
                      <a:pt x="14" y="258"/>
                    </a:lnTo>
                    <a:lnTo>
                      <a:pt x="30" y="258"/>
                    </a:lnTo>
                    <a:lnTo>
                      <a:pt x="43" y="229"/>
                    </a:lnTo>
                    <a:lnTo>
                      <a:pt x="43" y="200"/>
                    </a:lnTo>
                    <a:lnTo>
                      <a:pt x="59" y="200"/>
                    </a:lnTo>
                    <a:lnTo>
                      <a:pt x="59" y="187"/>
                    </a:lnTo>
                    <a:lnTo>
                      <a:pt x="59" y="173"/>
                    </a:lnTo>
                    <a:lnTo>
                      <a:pt x="43" y="157"/>
                    </a:lnTo>
                    <a:lnTo>
                      <a:pt x="43" y="142"/>
                    </a:lnTo>
                    <a:lnTo>
                      <a:pt x="59" y="142"/>
                    </a:lnTo>
                    <a:lnTo>
                      <a:pt x="76" y="134"/>
                    </a:lnTo>
                    <a:lnTo>
                      <a:pt x="72" y="146"/>
                    </a:lnTo>
                    <a:lnTo>
                      <a:pt x="88" y="152"/>
                    </a:lnTo>
                    <a:lnTo>
                      <a:pt x="88" y="142"/>
                    </a:lnTo>
                    <a:lnTo>
                      <a:pt x="101" y="128"/>
                    </a:lnTo>
                    <a:lnTo>
                      <a:pt x="92" y="101"/>
                    </a:lnTo>
                    <a:lnTo>
                      <a:pt x="84" y="78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id="{80CAB6F6-78F2-4E08-4AE3-5C9AECBBF12E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5657850" y="4462463"/>
                <a:ext cx="239713" cy="141287"/>
              </a:xfrm>
              <a:custGeom>
                <a:avLst/>
                <a:gdLst>
                  <a:gd name="T0" fmla="*/ 0 w 202"/>
                  <a:gd name="T1" fmla="*/ 11940 h 142"/>
                  <a:gd name="T2" fmla="*/ 34414 w 202"/>
                  <a:gd name="T3" fmla="*/ 0 h 142"/>
                  <a:gd name="T4" fmla="*/ 53401 w 202"/>
                  <a:gd name="T5" fmla="*/ 0 h 142"/>
                  <a:gd name="T6" fmla="*/ 68828 w 202"/>
                  <a:gd name="T7" fmla="*/ 11940 h 142"/>
                  <a:gd name="T8" fmla="*/ 85442 w 202"/>
                  <a:gd name="T9" fmla="*/ 26864 h 142"/>
                  <a:gd name="T10" fmla="*/ 119857 w 202"/>
                  <a:gd name="T11" fmla="*/ 26864 h 142"/>
                  <a:gd name="T12" fmla="*/ 154271 w 202"/>
                  <a:gd name="T13" fmla="*/ 40794 h 142"/>
                  <a:gd name="T14" fmla="*/ 170885 w 202"/>
                  <a:gd name="T15" fmla="*/ 56714 h 142"/>
                  <a:gd name="T16" fmla="*/ 186312 w 202"/>
                  <a:gd name="T17" fmla="*/ 56714 h 142"/>
                  <a:gd name="T18" fmla="*/ 205299 w 202"/>
                  <a:gd name="T19" fmla="*/ 69649 h 142"/>
                  <a:gd name="T20" fmla="*/ 205299 w 202"/>
                  <a:gd name="T21" fmla="*/ 83578 h 142"/>
                  <a:gd name="T22" fmla="*/ 223099 w 202"/>
                  <a:gd name="T23" fmla="*/ 96513 h 142"/>
                  <a:gd name="T24" fmla="*/ 239713 w 202"/>
                  <a:gd name="T25" fmla="*/ 112433 h 142"/>
                  <a:gd name="T26" fmla="*/ 239713 w 202"/>
                  <a:gd name="T27" fmla="*/ 141287 h 142"/>
                  <a:gd name="T28" fmla="*/ 223099 w 202"/>
                  <a:gd name="T29" fmla="*/ 141287 h 142"/>
                  <a:gd name="T30" fmla="*/ 205299 w 202"/>
                  <a:gd name="T31" fmla="*/ 112433 h 142"/>
                  <a:gd name="T32" fmla="*/ 186312 w 202"/>
                  <a:gd name="T33" fmla="*/ 96513 h 142"/>
                  <a:gd name="T34" fmla="*/ 170885 w 202"/>
                  <a:gd name="T35" fmla="*/ 83578 h 142"/>
                  <a:gd name="T36" fmla="*/ 136470 w 202"/>
                  <a:gd name="T37" fmla="*/ 69649 h 142"/>
                  <a:gd name="T38" fmla="*/ 119857 w 202"/>
                  <a:gd name="T39" fmla="*/ 56714 h 142"/>
                  <a:gd name="T40" fmla="*/ 85442 w 202"/>
                  <a:gd name="T41" fmla="*/ 40794 h 142"/>
                  <a:gd name="T42" fmla="*/ 68828 w 202"/>
                  <a:gd name="T43" fmla="*/ 26864 h 142"/>
                  <a:gd name="T44" fmla="*/ 34414 w 202"/>
                  <a:gd name="T45" fmla="*/ 26864 h 142"/>
                  <a:gd name="T46" fmla="*/ 16614 w 202"/>
                  <a:gd name="T47" fmla="*/ 26864 h 142"/>
                  <a:gd name="T48" fmla="*/ 0 w 202"/>
                  <a:gd name="T49" fmla="*/ 11940 h 142"/>
                  <a:gd name="T50" fmla="*/ 0 w 202"/>
                  <a:gd name="T51" fmla="*/ 11940 h 14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2"/>
                  <a:gd name="T79" fmla="*/ 0 h 142"/>
                  <a:gd name="T80" fmla="*/ 202 w 202"/>
                  <a:gd name="T81" fmla="*/ 142 h 14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2" h="142">
                    <a:moveTo>
                      <a:pt x="0" y="12"/>
                    </a:moveTo>
                    <a:lnTo>
                      <a:pt x="29" y="0"/>
                    </a:lnTo>
                    <a:lnTo>
                      <a:pt x="45" y="0"/>
                    </a:lnTo>
                    <a:lnTo>
                      <a:pt x="58" y="12"/>
                    </a:lnTo>
                    <a:lnTo>
                      <a:pt x="72" y="27"/>
                    </a:lnTo>
                    <a:lnTo>
                      <a:pt x="101" y="27"/>
                    </a:lnTo>
                    <a:lnTo>
                      <a:pt x="130" y="41"/>
                    </a:lnTo>
                    <a:lnTo>
                      <a:pt x="144" y="57"/>
                    </a:lnTo>
                    <a:lnTo>
                      <a:pt x="157" y="57"/>
                    </a:lnTo>
                    <a:lnTo>
                      <a:pt x="173" y="70"/>
                    </a:lnTo>
                    <a:lnTo>
                      <a:pt x="173" y="84"/>
                    </a:lnTo>
                    <a:lnTo>
                      <a:pt x="188" y="97"/>
                    </a:lnTo>
                    <a:lnTo>
                      <a:pt x="202" y="113"/>
                    </a:lnTo>
                    <a:lnTo>
                      <a:pt x="202" y="142"/>
                    </a:lnTo>
                    <a:lnTo>
                      <a:pt x="188" y="142"/>
                    </a:lnTo>
                    <a:lnTo>
                      <a:pt x="173" y="113"/>
                    </a:lnTo>
                    <a:lnTo>
                      <a:pt x="157" y="97"/>
                    </a:lnTo>
                    <a:lnTo>
                      <a:pt x="144" y="84"/>
                    </a:lnTo>
                    <a:lnTo>
                      <a:pt x="115" y="70"/>
                    </a:lnTo>
                    <a:lnTo>
                      <a:pt x="101" y="57"/>
                    </a:lnTo>
                    <a:lnTo>
                      <a:pt x="72" y="41"/>
                    </a:lnTo>
                    <a:lnTo>
                      <a:pt x="58" y="27"/>
                    </a:lnTo>
                    <a:lnTo>
                      <a:pt x="29" y="27"/>
                    </a:lnTo>
                    <a:lnTo>
                      <a:pt x="14" y="27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C9C9C9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5" name="Freeform 52">
                <a:extLst>
                  <a:ext uri="{FF2B5EF4-FFF2-40B4-BE49-F238E27FC236}">
                    <a16:creationId xmlns:a16="http://schemas.microsoft.com/office/drawing/2014/main" id="{1243828C-DA14-39D5-F2D1-6580B1455155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5276850" y="3032125"/>
                <a:ext cx="674688" cy="728663"/>
              </a:xfrm>
              <a:custGeom>
                <a:avLst/>
                <a:gdLst>
                  <a:gd name="T0" fmla="*/ 287782 w 422"/>
                  <a:gd name="T1" fmla="*/ 611662 h 492"/>
                  <a:gd name="T2" fmla="*/ 271794 w 422"/>
                  <a:gd name="T3" fmla="*/ 592409 h 492"/>
                  <a:gd name="T4" fmla="*/ 271794 w 422"/>
                  <a:gd name="T5" fmla="*/ 564270 h 492"/>
                  <a:gd name="T6" fmla="*/ 223830 w 422"/>
                  <a:gd name="T7" fmla="*/ 592409 h 492"/>
                  <a:gd name="T8" fmla="*/ 171070 w 422"/>
                  <a:gd name="T9" fmla="*/ 564270 h 492"/>
                  <a:gd name="T10" fmla="*/ 119909 w 422"/>
                  <a:gd name="T11" fmla="*/ 564270 h 492"/>
                  <a:gd name="T12" fmla="*/ 102322 w 422"/>
                  <a:gd name="T13" fmla="*/ 547978 h 492"/>
                  <a:gd name="T14" fmla="*/ 119909 w 422"/>
                  <a:gd name="T15" fmla="*/ 521320 h 492"/>
                  <a:gd name="T16" fmla="*/ 102322 w 422"/>
                  <a:gd name="T17" fmla="*/ 491699 h 492"/>
                  <a:gd name="T18" fmla="*/ 67149 w 422"/>
                  <a:gd name="T19" fmla="*/ 476889 h 492"/>
                  <a:gd name="T20" fmla="*/ 51161 w 422"/>
                  <a:gd name="T21" fmla="*/ 447269 h 492"/>
                  <a:gd name="T22" fmla="*/ 31976 w 422"/>
                  <a:gd name="T23" fmla="*/ 420610 h 492"/>
                  <a:gd name="T24" fmla="*/ 31976 w 422"/>
                  <a:gd name="T25" fmla="*/ 376180 h 492"/>
                  <a:gd name="T26" fmla="*/ 0 w 422"/>
                  <a:gd name="T27" fmla="*/ 376180 h 492"/>
                  <a:gd name="T28" fmla="*/ 15988 w 422"/>
                  <a:gd name="T29" fmla="*/ 349521 h 492"/>
                  <a:gd name="T30" fmla="*/ 51161 w 422"/>
                  <a:gd name="T31" fmla="*/ 308053 h 492"/>
                  <a:gd name="T32" fmla="*/ 84736 w 422"/>
                  <a:gd name="T33" fmla="*/ 278432 h 492"/>
                  <a:gd name="T34" fmla="*/ 103921 w 422"/>
                  <a:gd name="T35" fmla="*/ 250293 h 492"/>
                  <a:gd name="T36" fmla="*/ 135897 w 422"/>
                  <a:gd name="T37" fmla="*/ 235483 h 492"/>
                  <a:gd name="T38" fmla="*/ 155082 w 422"/>
                  <a:gd name="T39" fmla="*/ 177723 h 492"/>
                  <a:gd name="T40" fmla="*/ 171070 w 422"/>
                  <a:gd name="T41" fmla="*/ 134773 h 492"/>
                  <a:gd name="T42" fmla="*/ 206244 w 422"/>
                  <a:gd name="T43" fmla="*/ 106634 h 492"/>
                  <a:gd name="T44" fmla="*/ 239818 w 422"/>
                  <a:gd name="T45" fmla="*/ 93304 h 492"/>
                  <a:gd name="T46" fmla="*/ 274991 w 422"/>
                  <a:gd name="T47" fmla="*/ 63684 h 492"/>
                  <a:gd name="T48" fmla="*/ 246213 w 422"/>
                  <a:gd name="T49" fmla="*/ 14810 h 492"/>
                  <a:gd name="T50" fmla="*/ 326152 w 422"/>
                  <a:gd name="T51" fmla="*/ 8886 h 492"/>
                  <a:gd name="T52" fmla="*/ 380511 w 422"/>
                  <a:gd name="T53" fmla="*/ 23696 h 492"/>
                  <a:gd name="T54" fmla="*/ 431672 w 422"/>
                  <a:gd name="T55" fmla="*/ 38507 h 492"/>
                  <a:gd name="T56" fmla="*/ 479636 w 422"/>
                  <a:gd name="T57" fmla="*/ 14810 h 492"/>
                  <a:gd name="T58" fmla="*/ 548384 w 422"/>
                  <a:gd name="T59" fmla="*/ 35545 h 492"/>
                  <a:gd name="T60" fmla="*/ 601144 w 422"/>
                  <a:gd name="T61" fmla="*/ 0 h 492"/>
                  <a:gd name="T62" fmla="*/ 642712 w 422"/>
                  <a:gd name="T63" fmla="*/ 0 h 492"/>
                  <a:gd name="T64" fmla="*/ 671490 w 422"/>
                  <a:gd name="T65" fmla="*/ 724220 h 492"/>
                  <a:gd name="T66" fmla="*/ 601144 w 422"/>
                  <a:gd name="T67" fmla="*/ 715334 h 492"/>
                  <a:gd name="T68" fmla="*/ 546785 w 422"/>
                  <a:gd name="T69" fmla="*/ 715334 h 492"/>
                  <a:gd name="T70" fmla="*/ 497223 w 422"/>
                  <a:gd name="T71" fmla="*/ 715334 h 492"/>
                  <a:gd name="T72" fmla="*/ 438068 w 422"/>
                  <a:gd name="T73" fmla="*/ 703486 h 492"/>
                  <a:gd name="T74" fmla="*/ 375715 w 422"/>
                  <a:gd name="T75" fmla="*/ 703486 h 492"/>
                  <a:gd name="T76" fmla="*/ 326152 w 422"/>
                  <a:gd name="T77" fmla="*/ 694599 h 492"/>
                  <a:gd name="T78" fmla="*/ 313362 w 422"/>
                  <a:gd name="T79" fmla="*/ 654612 h 492"/>
                  <a:gd name="T80" fmla="*/ 308566 w 422"/>
                  <a:gd name="T81" fmla="*/ 642764 h 492"/>
                  <a:gd name="T82" fmla="*/ 306967 w 422"/>
                  <a:gd name="T83" fmla="*/ 642764 h 49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22"/>
                  <a:gd name="T127" fmla="*/ 0 h 492"/>
                  <a:gd name="T128" fmla="*/ 422 w 422"/>
                  <a:gd name="T129" fmla="*/ 492 h 492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22" h="492">
                    <a:moveTo>
                      <a:pt x="192" y="434"/>
                    </a:moveTo>
                    <a:lnTo>
                      <a:pt x="180" y="413"/>
                    </a:lnTo>
                    <a:lnTo>
                      <a:pt x="170" y="409"/>
                    </a:lnTo>
                    <a:lnTo>
                      <a:pt x="170" y="400"/>
                    </a:lnTo>
                    <a:lnTo>
                      <a:pt x="182" y="389"/>
                    </a:lnTo>
                    <a:lnTo>
                      <a:pt x="170" y="381"/>
                    </a:lnTo>
                    <a:lnTo>
                      <a:pt x="150" y="389"/>
                    </a:lnTo>
                    <a:lnTo>
                      <a:pt x="140" y="400"/>
                    </a:lnTo>
                    <a:lnTo>
                      <a:pt x="118" y="389"/>
                    </a:lnTo>
                    <a:lnTo>
                      <a:pt x="107" y="381"/>
                    </a:lnTo>
                    <a:lnTo>
                      <a:pt x="97" y="381"/>
                    </a:lnTo>
                    <a:lnTo>
                      <a:pt x="75" y="381"/>
                    </a:lnTo>
                    <a:lnTo>
                      <a:pt x="64" y="381"/>
                    </a:lnTo>
                    <a:lnTo>
                      <a:pt x="64" y="370"/>
                    </a:lnTo>
                    <a:lnTo>
                      <a:pt x="64" y="360"/>
                    </a:lnTo>
                    <a:lnTo>
                      <a:pt x="75" y="352"/>
                    </a:lnTo>
                    <a:lnTo>
                      <a:pt x="75" y="341"/>
                    </a:lnTo>
                    <a:lnTo>
                      <a:pt x="64" y="332"/>
                    </a:lnTo>
                    <a:lnTo>
                      <a:pt x="53" y="322"/>
                    </a:lnTo>
                    <a:lnTo>
                      <a:pt x="42" y="322"/>
                    </a:lnTo>
                    <a:lnTo>
                      <a:pt x="32" y="322"/>
                    </a:lnTo>
                    <a:lnTo>
                      <a:pt x="32" y="302"/>
                    </a:lnTo>
                    <a:lnTo>
                      <a:pt x="20" y="295"/>
                    </a:lnTo>
                    <a:lnTo>
                      <a:pt x="20" y="284"/>
                    </a:lnTo>
                    <a:lnTo>
                      <a:pt x="20" y="265"/>
                    </a:lnTo>
                    <a:lnTo>
                      <a:pt x="20" y="254"/>
                    </a:lnTo>
                    <a:lnTo>
                      <a:pt x="10" y="254"/>
                    </a:lnTo>
                    <a:lnTo>
                      <a:pt x="0" y="254"/>
                    </a:lnTo>
                    <a:lnTo>
                      <a:pt x="10" y="236"/>
                    </a:lnTo>
                    <a:lnTo>
                      <a:pt x="22" y="216"/>
                    </a:lnTo>
                    <a:lnTo>
                      <a:pt x="32" y="208"/>
                    </a:lnTo>
                    <a:lnTo>
                      <a:pt x="43" y="197"/>
                    </a:lnTo>
                    <a:lnTo>
                      <a:pt x="53" y="188"/>
                    </a:lnTo>
                    <a:lnTo>
                      <a:pt x="65" y="177"/>
                    </a:lnTo>
                    <a:lnTo>
                      <a:pt x="65" y="169"/>
                    </a:lnTo>
                    <a:lnTo>
                      <a:pt x="75" y="169"/>
                    </a:lnTo>
                    <a:lnTo>
                      <a:pt x="85" y="159"/>
                    </a:lnTo>
                    <a:lnTo>
                      <a:pt x="97" y="150"/>
                    </a:lnTo>
                    <a:lnTo>
                      <a:pt x="97" y="120"/>
                    </a:lnTo>
                    <a:lnTo>
                      <a:pt x="107" y="111"/>
                    </a:lnTo>
                    <a:lnTo>
                      <a:pt x="107" y="91"/>
                    </a:lnTo>
                    <a:lnTo>
                      <a:pt x="118" y="81"/>
                    </a:lnTo>
                    <a:lnTo>
                      <a:pt x="129" y="72"/>
                    </a:lnTo>
                    <a:lnTo>
                      <a:pt x="140" y="72"/>
                    </a:lnTo>
                    <a:lnTo>
                      <a:pt x="150" y="63"/>
                    </a:lnTo>
                    <a:lnTo>
                      <a:pt x="161" y="53"/>
                    </a:lnTo>
                    <a:lnTo>
                      <a:pt x="172" y="43"/>
                    </a:lnTo>
                    <a:lnTo>
                      <a:pt x="172" y="33"/>
                    </a:lnTo>
                    <a:lnTo>
                      <a:pt x="154" y="10"/>
                    </a:lnTo>
                    <a:lnTo>
                      <a:pt x="173" y="6"/>
                    </a:lnTo>
                    <a:lnTo>
                      <a:pt x="204" y="6"/>
                    </a:lnTo>
                    <a:lnTo>
                      <a:pt x="224" y="10"/>
                    </a:lnTo>
                    <a:lnTo>
                      <a:pt x="238" y="16"/>
                    </a:lnTo>
                    <a:lnTo>
                      <a:pt x="250" y="24"/>
                    </a:lnTo>
                    <a:lnTo>
                      <a:pt x="270" y="26"/>
                    </a:lnTo>
                    <a:lnTo>
                      <a:pt x="281" y="14"/>
                    </a:lnTo>
                    <a:lnTo>
                      <a:pt x="300" y="10"/>
                    </a:lnTo>
                    <a:lnTo>
                      <a:pt x="311" y="10"/>
                    </a:lnTo>
                    <a:lnTo>
                      <a:pt x="343" y="24"/>
                    </a:lnTo>
                    <a:lnTo>
                      <a:pt x="354" y="16"/>
                    </a:lnTo>
                    <a:lnTo>
                      <a:pt x="376" y="0"/>
                    </a:lnTo>
                    <a:lnTo>
                      <a:pt x="383" y="0"/>
                    </a:lnTo>
                    <a:lnTo>
                      <a:pt x="402" y="0"/>
                    </a:lnTo>
                    <a:lnTo>
                      <a:pt x="422" y="0"/>
                    </a:lnTo>
                    <a:lnTo>
                      <a:pt x="420" y="489"/>
                    </a:lnTo>
                    <a:lnTo>
                      <a:pt x="395" y="492"/>
                    </a:lnTo>
                    <a:lnTo>
                      <a:pt x="376" y="483"/>
                    </a:lnTo>
                    <a:lnTo>
                      <a:pt x="365" y="483"/>
                    </a:lnTo>
                    <a:lnTo>
                      <a:pt x="342" y="483"/>
                    </a:lnTo>
                    <a:lnTo>
                      <a:pt x="330" y="483"/>
                    </a:lnTo>
                    <a:lnTo>
                      <a:pt x="311" y="483"/>
                    </a:lnTo>
                    <a:lnTo>
                      <a:pt x="288" y="483"/>
                    </a:lnTo>
                    <a:lnTo>
                      <a:pt x="274" y="475"/>
                    </a:lnTo>
                    <a:lnTo>
                      <a:pt x="258" y="475"/>
                    </a:lnTo>
                    <a:lnTo>
                      <a:pt x="235" y="475"/>
                    </a:lnTo>
                    <a:lnTo>
                      <a:pt x="216" y="475"/>
                    </a:lnTo>
                    <a:lnTo>
                      <a:pt x="204" y="469"/>
                    </a:lnTo>
                    <a:lnTo>
                      <a:pt x="201" y="454"/>
                    </a:lnTo>
                    <a:lnTo>
                      <a:pt x="196" y="442"/>
                    </a:lnTo>
                    <a:lnTo>
                      <a:pt x="193" y="438"/>
                    </a:lnTo>
                    <a:lnTo>
                      <a:pt x="193" y="434"/>
                    </a:lnTo>
                    <a:lnTo>
                      <a:pt x="192" y="43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" name="Freeform 53">
                <a:extLst>
                  <a:ext uri="{FF2B5EF4-FFF2-40B4-BE49-F238E27FC236}">
                    <a16:creationId xmlns:a16="http://schemas.microsoft.com/office/drawing/2014/main" id="{2E5C1181-9FBA-76B3-1B8F-44B8EAB0A376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" name="Freeform 54">
                <a:extLst>
                  <a:ext uri="{FF2B5EF4-FFF2-40B4-BE49-F238E27FC236}">
                    <a16:creationId xmlns:a16="http://schemas.microsoft.com/office/drawing/2014/main" id="{DD4C685A-3A84-BC5F-D0B7-ED77A782FCDF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" name="Freeform 55">
                <a:extLst>
                  <a:ext uri="{FF2B5EF4-FFF2-40B4-BE49-F238E27FC236}">
                    <a16:creationId xmlns:a16="http://schemas.microsoft.com/office/drawing/2014/main" id="{7858B6C4-7B3C-DAC9-409B-72200D801524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9" name="Freeform 56">
                <a:extLst>
                  <a:ext uri="{FF2B5EF4-FFF2-40B4-BE49-F238E27FC236}">
                    <a16:creationId xmlns:a16="http://schemas.microsoft.com/office/drawing/2014/main" id="{A9AC58F5-4B60-37F2-7826-3867106AF0DF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2928938" y="1096963"/>
                <a:ext cx="33337" cy="42862"/>
              </a:xfrm>
              <a:custGeom>
                <a:avLst/>
                <a:gdLst>
                  <a:gd name="T0" fmla="*/ 33337 w 29"/>
                  <a:gd name="T1" fmla="*/ 42862 h 43"/>
                  <a:gd name="T2" fmla="*/ 17243 w 29"/>
                  <a:gd name="T3" fmla="*/ 28907 h 43"/>
                  <a:gd name="T4" fmla="*/ 0 w 29"/>
                  <a:gd name="T5" fmla="*/ 13955 h 43"/>
                  <a:gd name="T6" fmla="*/ 17243 w 29"/>
                  <a:gd name="T7" fmla="*/ 13955 h 43"/>
                  <a:gd name="T8" fmla="*/ 33337 w 29"/>
                  <a:gd name="T9" fmla="*/ 0 h 43"/>
                  <a:gd name="T10" fmla="*/ 33337 w 29"/>
                  <a:gd name="T11" fmla="*/ 13955 h 43"/>
                  <a:gd name="T12" fmla="*/ 33337 w 29"/>
                  <a:gd name="T13" fmla="*/ 28907 h 43"/>
                  <a:gd name="T14" fmla="*/ 33337 w 29"/>
                  <a:gd name="T15" fmla="*/ 42862 h 43"/>
                  <a:gd name="T16" fmla="*/ 33337 w 29"/>
                  <a:gd name="T17" fmla="*/ 42862 h 43"/>
                  <a:gd name="T18" fmla="*/ 33337 w 29"/>
                  <a:gd name="T19" fmla="*/ 42862 h 4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"/>
                  <a:gd name="T31" fmla="*/ 0 h 43"/>
                  <a:gd name="T32" fmla="*/ 29 w 29"/>
                  <a:gd name="T33" fmla="*/ 43 h 4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" h="43">
                    <a:moveTo>
                      <a:pt x="29" y="43"/>
                    </a:moveTo>
                    <a:lnTo>
                      <a:pt x="15" y="29"/>
                    </a:lnTo>
                    <a:lnTo>
                      <a:pt x="0" y="14"/>
                    </a:lnTo>
                    <a:lnTo>
                      <a:pt x="15" y="14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29" y="29"/>
                    </a:lnTo>
                    <a:lnTo>
                      <a:pt x="29" y="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" name="Freeform 57">
                <a:extLst>
                  <a:ext uri="{FF2B5EF4-FFF2-40B4-BE49-F238E27FC236}">
                    <a16:creationId xmlns:a16="http://schemas.microsoft.com/office/drawing/2014/main" id="{5366641F-C34E-24FC-1FA9-C72AE3BA712D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3170238" y="923925"/>
                <a:ext cx="49212" cy="112713"/>
              </a:xfrm>
              <a:custGeom>
                <a:avLst/>
                <a:gdLst>
                  <a:gd name="T0" fmla="*/ 0 w 45"/>
                  <a:gd name="T1" fmla="*/ 112713 h 114"/>
                  <a:gd name="T2" fmla="*/ 17498 w 45"/>
                  <a:gd name="T3" fmla="*/ 99860 h 114"/>
                  <a:gd name="T4" fmla="*/ 17498 w 45"/>
                  <a:gd name="T5" fmla="*/ 84040 h 114"/>
                  <a:gd name="T6" fmla="*/ 0 w 45"/>
                  <a:gd name="T7" fmla="*/ 71187 h 114"/>
                  <a:gd name="T8" fmla="*/ 0 w 45"/>
                  <a:gd name="T9" fmla="*/ 57345 h 114"/>
                  <a:gd name="T10" fmla="*/ 32808 w 45"/>
                  <a:gd name="T11" fmla="*/ 57345 h 114"/>
                  <a:gd name="T12" fmla="*/ 32808 w 45"/>
                  <a:gd name="T13" fmla="*/ 41526 h 114"/>
                  <a:gd name="T14" fmla="*/ 49212 w 45"/>
                  <a:gd name="T15" fmla="*/ 0 h 114"/>
                  <a:gd name="T16" fmla="*/ 49212 w 45"/>
                  <a:gd name="T17" fmla="*/ 26695 h 114"/>
                  <a:gd name="T18" fmla="*/ 49212 w 45"/>
                  <a:gd name="T19" fmla="*/ 41526 h 114"/>
                  <a:gd name="T20" fmla="*/ 49212 w 45"/>
                  <a:gd name="T21" fmla="*/ 57345 h 114"/>
                  <a:gd name="T22" fmla="*/ 49212 w 45"/>
                  <a:gd name="T23" fmla="*/ 71187 h 114"/>
                  <a:gd name="T24" fmla="*/ 32808 w 45"/>
                  <a:gd name="T25" fmla="*/ 84040 h 114"/>
                  <a:gd name="T26" fmla="*/ 32808 w 45"/>
                  <a:gd name="T27" fmla="*/ 99860 h 114"/>
                  <a:gd name="T28" fmla="*/ 0 w 45"/>
                  <a:gd name="T29" fmla="*/ 112713 h 114"/>
                  <a:gd name="T30" fmla="*/ 0 w 45"/>
                  <a:gd name="T31" fmla="*/ 112713 h 114"/>
                  <a:gd name="T32" fmla="*/ 0 w 45"/>
                  <a:gd name="T33" fmla="*/ 112713 h 11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5"/>
                  <a:gd name="T52" fmla="*/ 0 h 114"/>
                  <a:gd name="T53" fmla="*/ 45 w 45"/>
                  <a:gd name="T54" fmla="*/ 114 h 11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5" h="114">
                    <a:moveTo>
                      <a:pt x="0" y="114"/>
                    </a:moveTo>
                    <a:lnTo>
                      <a:pt x="16" y="101"/>
                    </a:lnTo>
                    <a:lnTo>
                      <a:pt x="16" y="85"/>
                    </a:lnTo>
                    <a:lnTo>
                      <a:pt x="0" y="72"/>
                    </a:lnTo>
                    <a:lnTo>
                      <a:pt x="0" y="58"/>
                    </a:lnTo>
                    <a:lnTo>
                      <a:pt x="30" y="58"/>
                    </a:lnTo>
                    <a:lnTo>
                      <a:pt x="30" y="42"/>
                    </a:lnTo>
                    <a:lnTo>
                      <a:pt x="45" y="0"/>
                    </a:lnTo>
                    <a:lnTo>
                      <a:pt x="45" y="27"/>
                    </a:lnTo>
                    <a:lnTo>
                      <a:pt x="45" y="42"/>
                    </a:lnTo>
                    <a:lnTo>
                      <a:pt x="45" y="58"/>
                    </a:lnTo>
                    <a:lnTo>
                      <a:pt x="45" y="72"/>
                    </a:lnTo>
                    <a:lnTo>
                      <a:pt x="30" y="85"/>
                    </a:lnTo>
                    <a:lnTo>
                      <a:pt x="30" y="101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Freeform 58">
                <a:extLst>
                  <a:ext uri="{FF2B5EF4-FFF2-40B4-BE49-F238E27FC236}">
                    <a16:creationId xmlns:a16="http://schemas.microsoft.com/office/drawing/2014/main" id="{6C18EC99-5CA4-8169-B42C-B2A8581C85D6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2498725" y="1109663"/>
                <a:ext cx="119063" cy="98425"/>
              </a:xfrm>
              <a:custGeom>
                <a:avLst/>
                <a:gdLst>
                  <a:gd name="T0" fmla="*/ 0 w 101"/>
                  <a:gd name="T1" fmla="*/ 98425 h 101"/>
                  <a:gd name="T2" fmla="*/ 18861 w 101"/>
                  <a:gd name="T3" fmla="*/ 70164 h 101"/>
                  <a:gd name="T4" fmla="*/ 34186 w 101"/>
                  <a:gd name="T5" fmla="*/ 56521 h 101"/>
                  <a:gd name="T6" fmla="*/ 53048 w 101"/>
                  <a:gd name="T7" fmla="*/ 70164 h 101"/>
                  <a:gd name="T8" fmla="*/ 53048 w 101"/>
                  <a:gd name="T9" fmla="*/ 84782 h 101"/>
                  <a:gd name="T10" fmla="*/ 68373 w 101"/>
                  <a:gd name="T11" fmla="*/ 70164 h 101"/>
                  <a:gd name="T12" fmla="*/ 68373 w 101"/>
                  <a:gd name="T13" fmla="*/ 56521 h 101"/>
                  <a:gd name="T14" fmla="*/ 87234 w 101"/>
                  <a:gd name="T15" fmla="*/ 41904 h 101"/>
                  <a:gd name="T16" fmla="*/ 102559 w 101"/>
                  <a:gd name="T17" fmla="*/ 41904 h 101"/>
                  <a:gd name="T18" fmla="*/ 102559 w 101"/>
                  <a:gd name="T19" fmla="*/ 28261 h 101"/>
                  <a:gd name="T20" fmla="*/ 119063 w 101"/>
                  <a:gd name="T21" fmla="*/ 14618 h 101"/>
                  <a:gd name="T22" fmla="*/ 119063 w 101"/>
                  <a:gd name="T23" fmla="*/ 0 h 101"/>
                  <a:gd name="T24" fmla="*/ 102559 w 101"/>
                  <a:gd name="T25" fmla="*/ 14618 h 101"/>
                  <a:gd name="T26" fmla="*/ 87234 w 101"/>
                  <a:gd name="T27" fmla="*/ 14618 h 101"/>
                  <a:gd name="T28" fmla="*/ 53048 w 101"/>
                  <a:gd name="T29" fmla="*/ 14618 h 101"/>
                  <a:gd name="T30" fmla="*/ 53048 w 101"/>
                  <a:gd name="T31" fmla="*/ 41904 h 101"/>
                  <a:gd name="T32" fmla="*/ 34186 w 101"/>
                  <a:gd name="T33" fmla="*/ 28261 h 101"/>
                  <a:gd name="T34" fmla="*/ 34186 w 101"/>
                  <a:gd name="T35" fmla="*/ 14618 h 101"/>
                  <a:gd name="T36" fmla="*/ 18861 w 101"/>
                  <a:gd name="T37" fmla="*/ 28261 h 101"/>
                  <a:gd name="T38" fmla="*/ 18861 w 101"/>
                  <a:gd name="T39" fmla="*/ 41904 h 101"/>
                  <a:gd name="T40" fmla="*/ 0 w 101"/>
                  <a:gd name="T41" fmla="*/ 70164 h 101"/>
                  <a:gd name="T42" fmla="*/ 0 w 101"/>
                  <a:gd name="T43" fmla="*/ 84782 h 101"/>
                  <a:gd name="T44" fmla="*/ 0 w 101"/>
                  <a:gd name="T45" fmla="*/ 98425 h 101"/>
                  <a:gd name="T46" fmla="*/ 0 w 101"/>
                  <a:gd name="T47" fmla="*/ 98425 h 101"/>
                  <a:gd name="T48" fmla="*/ 0 w 101"/>
                  <a:gd name="T49" fmla="*/ 98425 h 10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01"/>
                  <a:gd name="T76" fmla="*/ 0 h 101"/>
                  <a:gd name="T77" fmla="*/ 101 w 101"/>
                  <a:gd name="T78" fmla="*/ 101 h 101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01" h="101">
                    <a:moveTo>
                      <a:pt x="0" y="101"/>
                    </a:moveTo>
                    <a:lnTo>
                      <a:pt x="16" y="72"/>
                    </a:lnTo>
                    <a:lnTo>
                      <a:pt x="29" y="58"/>
                    </a:lnTo>
                    <a:lnTo>
                      <a:pt x="45" y="72"/>
                    </a:lnTo>
                    <a:lnTo>
                      <a:pt x="45" y="87"/>
                    </a:lnTo>
                    <a:lnTo>
                      <a:pt x="58" y="72"/>
                    </a:lnTo>
                    <a:lnTo>
                      <a:pt x="58" y="58"/>
                    </a:lnTo>
                    <a:lnTo>
                      <a:pt x="74" y="43"/>
                    </a:lnTo>
                    <a:lnTo>
                      <a:pt x="87" y="43"/>
                    </a:lnTo>
                    <a:lnTo>
                      <a:pt x="87" y="29"/>
                    </a:lnTo>
                    <a:lnTo>
                      <a:pt x="101" y="15"/>
                    </a:lnTo>
                    <a:lnTo>
                      <a:pt x="101" y="0"/>
                    </a:lnTo>
                    <a:lnTo>
                      <a:pt x="87" y="15"/>
                    </a:lnTo>
                    <a:lnTo>
                      <a:pt x="74" y="15"/>
                    </a:lnTo>
                    <a:lnTo>
                      <a:pt x="45" y="15"/>
                    </a:lnTo>
                    <a:lnTo>
                      <a:pt x="45" y="43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16" y="29"/>
                    </a:lnTo>
                    <a:lnTo>
                      <a:pt x="16" y="43"/>
                    </a:lnTo>
                    <a:lnTo>
                      <a:pt x="0" y="72"/>
                    </a:lnTo>
                    <a:lnTo>
                      <a:pt x="0" y="87"/>
                    </a:lnTo>
                    <a:lnTo>
                      <a:pt x="0" y="10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2" name="Freeform 59">
                <a:extLst>
                  <a:ext uri="{FF2B5EF4-FFF2-40B4-BE49-F238E27FC236}">
                    <a16:creationId xmlns:a16="http://schemas.microsoft.com/office/drawing/2014/main" id="{6C433688-C21B-9B3F-3C31-903AD927AB0E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2513013" y="1239838"/>
                <a:ext cx="69850" cy="85725"/>
              </a:xfrm>
              <a:custGeom>
                <a:avLst/>
                <a:gdLst>
                  <a:gd name="T0" fmla="*/ 52990 w 58"/>
                  <a:gd name="T1" fmla="*/ 56478 h 85"/>
                  <a:gd name="T2" fmla="*/ 52990 w 58"/>
                  <a:gd name="T3" fmla="*/ 44375 h 85"/>
                  <a:gd name="T4" fmla="*/ 52990 w 58"/>
                  <a:gd name="T5" fmla="*/ 29247 h 85"/>
                  <a:gd name="T6" fmla="*/ 69850 w 58"/>
                  <a:gd name="T7" fmla="*/ 15128 h 85"/>
                  <a:gd name="T8" fmla="*/ 69850 w 58"/>
                  <a:gd name="T9" fmla="*/ 0 h 85"/>
                  <a:gd name="T10" fmla="*/ 52990 w 58"/>
                  <a:gd name="T11" fmla="*/ 15128 h 85"/>
                  <a:gd name="T12" fmla="*/ 34925 w 58"/>
                  <a:gd name="T13" fmla="*/ 29247 h 85"/>
                  <a:gd name="T14" fmla="*/ 34925 w 58"/>
                  <a:gd name="T15" fmla="*/ 15128 h 85"/>
                  <a:gd name="T16" fmla="*/ 34925 w 58"/>
                  <a:gd name="T17" fmla="*/ 0 h 85"/>
                  <a:gd name="T18" fmla="*/ 0 w 58"/>
                  <a:gd name="T19" fmla="*/ 15128 h 85"/>
                  <a:gd name="T20" fmla="*/ 0 w 58"/>
                  <a:gd name="T21" fmla="*/ 29247 h 85"/>
                  <a:gd name="T22" fmla="*/ 0 w 58"/>
                  <a:gd name="T23" fmla="*/ 44375 h 85"/>
                  <a:gd name="T24" fmla="*/ 34925 w 58"/>
                  <a:gd name="T25" fmla="*/ 29247 h 85"/>
                  <a:gd name="T26" fmla="*/ 18065 w 58"/>
                  <a:gd name="T27" fmla="*/ 56478 h 85"/>
                  <a:gd name="T28" fmla="*/ 34925 w 58"/>
                  <a:gd name="T29" fmla="*/ 72614 h 85"/>
                  <a:gd name="T30" fmla="*/ 34925 w 58"/>
                  <a:gd name="T31" fmla="*/ 85725 h 85"/>
                  <a:gd name="T32" fmla="*/ 52990 w 58"/>
                  <a:gd name="T33" fmla="*/ 56478 h 85"/>
                  <a:gd name="T34" fmla="*/ 52990 w 58"/>
                  <a:gd name="T35" fmla="*/ 56478 h 85"/>
                  <a:gd name="T36" fmla="*/ 52990 w 58"/>
                  <a:gd name="T37" fmla="*/ 56478 h 8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8"/>
                  <a:gd name="T58" fmla="*/ 0 h 85"/>
                  <a:gd name="T59" fmla="*/ 58 w 58"/>
                  <a:gd name="T60" fmla="*/ 85 h 8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8" h="85">
                    <a:moveTo>
                      <a:pt x="44" y="56"/>
                    </a:moveTo>
                    <a:lnTo>
                      <a:pt x="44" y="44"/>
                    </a:lnTo>
                    <a:lnTo>
                      <a:pt x="44" y="29"/>
                    </a:lnTo>
                    <a:lnTo>
                      <a:pt x="58" y="15"/>
                    </a:lnTo>
                    <a:lnTo>
                      <a:pt x="58" y="0"/>
                    </a:lnTo>
                    <a:lnTo>
                      <a:pt x="44" y="15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29" y="0"/>
                    </a:lnTo>
                    <a:lnTo>
                      <a:pt x="0" y="15"/>
                    </a:lnTo>
                    <a:lnTo>
                      <a:pt x="0" y="29"/>
                    </a:lnTo>
                    <a:lnTo>
                      <a:pt x="0" y="44"/>
                    </a:lnTo>
                    <a:lnTo>
                      <a:pt x="29" y="29"/>
                    </a:lnTo>
                    <a:lnTo>
                      <a:pt x="15" y="56"/>
                    </a:lnTo>
                    <a:lnTo>
                      <a:pt x="29" y="72"/>
                    </a:lnTo>
                    <a:lnTo>
                      <a:pt x="29" y="85"/>
                    </a:lnTo>
                    <a:lnTo>
                      <a:pt x="44" y="56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3" name="Freeform 60">
                <a:extLst>
                  <a:ext uri="{FF2B5EF4-FFF2-40B4-BE49-F238E27FC236}">
                    <a16:creationId xmlns:a16="http://schemas.microsoft.com/office/drawing/2014/main" id="{E8031FD0-0657-640A-FC27-85E586E83A07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2498725" y="1395413"/>
                <a:ext cx="34925" cy="44450"/>
              </a:xfrm>
              <a:custGeom>
                <a:avLst/>
                <a:gdLst>
                  <a:gd name="T0" fmla="*/ 16860 w 29"/>
                  <a:gd name="T1" fmla="*/ 44450 h 45"/>
                  <a:gd name="T2" fmla="*/ 16860 w 29"/>
                  <a:gd name="T3" fmla="*/ 28646 h 45"/>
                  <a:gd name="T4" fmla="*/ 0 w 29"/>
                  <a:gd name="T5" fmla="*/ 28646 h 45"/>
                  <a:gd name="T6" fmla="*/ 16860 w 29"/>
                  <a:gd name="T7" fmla="*/ 14817 h 45"/>
                  <a:gd name="T8" fmla="*/ 16860 w 29"/>
                  <a:gd name="T9" fmla="*/ 0 h 45"/>
                  <a:gd name="T10" fmla="*/ 0 w 29"/>
                  <a:gd name="T11" fmla="*/ 0 h 45"/>
                  <a:gd name="T12" fmla="*/ 34925 w 29"/>
                  <a:gd name="T13" fmla="*/ 14817 h 45"/>
                  <a:gd name="T14" fmla="*/ 34925 w 29"/>
                  <a:gd name="T15" fmla="*/ 28646 h 45"/>
                  <a:gd name="T16" fmla="*/ 16860 w 29"/>
                  <a:gd name="T17" fmla="*/ 28646 h 45"/>
                  <a:gd name="T18" fmla="*/ 16860 w 29"/>
                  <a:gd name="T19" fmla="*/ 44450 h 45"/>
                  <a:gd name="T20" fmla="*/ 16860 w 29"/>
                  <a:gd name="T21" fmla="*/ 44450 h 45"/>
                  <a:gd name="T22" fmla="*/ 16860 w 29"/>
                  <a:gd name="T23" fmla="*/ 44450 h 4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9"/>
                  <a:gd name="T37" fmla="*/ 0 h 45"/>
                  <a:gd name="T38" fmla="*/ 29 w 29"/>
                  <a:gd name="T39" fmla="*/ 45 h 4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9" h="45">
                    <a:moveTo>
                      <a:pt x="14" y="45"/>
                    </a:moveTo>
                    <a:lnTo>
                      <a:pt x="14" y="29"/>
                    </a:lnTo>
                    <a:lnTo>
                      <a:pt x="0" y="29"/>
                    </a:lnTo>
                    <a:lnTo>
                      <a:pt x="14" y="15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29" y="15"/>
                    </a:lnTo>
                    <a:lnTo>
                      <a:pt x="29" y="29"/>
                    </a:lnTo>
                    <a:lnTo>
                      <a:pt x="14" y="29"/>
                    </a:lnTo>
                    <a:lnTo>
                      <a:pt x="14" y="4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4" name="Freeform 61">
                <a:extLst>
                  <a:ext uri="{FF2B5EF4-FFF2-40B4-BE49-F238E27FC236}">
                    <a16:creationId xmlns:a16="http://schemas.microsoft.com/office/drawing/2014/main" id="{97F1C296-3868-0230-ABB8-F9310CE3C906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2055813" y="2438400"/>
                <a:ext cx="1635125" cy="1319213"/>
              </a:xfrm>
              <a:custGeom>
                <a:avLst/>
                <a:gdLst>
                  <a:gd name="T0" fmla="*/ 1376525 w 1018"/>
                  <a:gd name="T1" fmla="*/ 1155981 h 889"/>
                  <a:gd name="T2" fmla="*/ 1357250 w 1018"/>
                  <a:gd name="T3" fmla="*/ 1058042 h 889"/>
                  <a:gd name="T4" fmla="*/ 1307458 w 1018"/>
                  <a:gd name="T5" fmla="*/ 985329 h 889"/>
                  <a:gd name="T6" fmla="*/ 1410255 w 1018"/>
                  <a:gd name="T7" fmla="*/ 940811 h 889"/>
                  <a:gd name="T8" fmla="*/ 1392587 w 1018"/>
                  <a:gd name="T9" fmla="*/ 872550 h 889"/>
                  <a:gd name="T10" fmla="*/ 1376525 w 1018"/>
                  <a:gd name="T11" fmla="*/ 801322 h 889"/>
                  <a:gd name="T12" fmla="*/ 1344400 w 1018"/>
                  <a:gd name="T13" fmla="*/ 768675 h 889"/>
                  <a:gd name="T14" fmla="*/ 1341188 w 1018"/>
                  <a:gd name="T15" fmla="*/ 728609 h 889"/>
                  <a:gd name="T16" fmla="*/ 1442379 w 1018"/>
                  <a:gd name="T17" fmla="*/ 642541 h 889"/>
                  <a:gd name="T18" fmla="*/ 1530721 w 1018"/>
                  <a:gd name="T19" fmla="*/ 599507 h 889"/>
                  <a:gd name="T20" fmla="*/ 1566058 w 1018"/>
                  <a:gd name="T21" fmla="*/ 500084 h 889"/>
                  <a:gd name="T22" fmla="*/ 1582120 w 1018"/>
                  <a:gd name="T23" fmla="*/ 412532 h 889"/>
                  <a:gd name="T24" fmla="*/ 1442379 w 1018"/>
                  <a:gd name="T25" fmla="*/ 314593 h 889"/>
                  <a:gd name="T26" fmla="*/ 1341188 w 1018"/>
                  <a:gd name="T27" fmla="*/ 299754 h 889"/>
                  <a:gd name="T28" fmla="*/ 1273727 w 1018"/>
                  <a:gd name="T29" fmla="*/ 228525 h 889"/>
                  <a:gd name="T30" fmla="*/ 1201448 w 1018"/>
                  <a:gd name="T31" fmla="*/ 213686 h 889"/>
                  <a:gd name="T32" fmla="*/ 1169323 w 1018"/>
                  <a:gd name="T33" fmla="*/ 142457 h 889"/>
                  <a:gd name="T34" fmla="*/ 1098650 w 1018"/>
                  <a:gd name="T35" fmla="*/ 84584 h 889"/>
                  <a:gd name="T36" fmla="*/ 1047251 w 1018"/>
                  <a:gd name="T37" fmla="*/ 28195 h 889"/>
                  <a:gd name="T38" fmla="*/ 962122 w 1018"/>
                  <a:gd name="T39" fmla="*/ 0 h 889"/>
                  <a:gd name="T40" fmla="*/ 910723 w 1018"/>
                  <a:gd name="T41" fmla="*/ 71229 h 889"/>
                  <a:gd name="T42" fmla="*/ 841656 w 1018"/>
                  <a:gd name="T43" fmla="*/ 129102 h 889"/>
                  <a:gd name="T44" fmla="*/ 721190 w 1018"/>
                  <a:gd name="T45" fmla="*/ 172136 h 889"/>
                  <a:gd name="T46" fmla="*/ 687459 w 1018"/>
                  <a:gd name="T47" fmla="*/ 198847 h 889"/>
                  <a:gd name="T48" fmla="*/ 549325 w 1018"/>
                  <a:gd name="T49" fmla="*/ 172136 h 889"/>
                  <a:gd name="T50" fmla="*/ 515594 w 1018"/>
                  <a:gd name="T51" fmla="*/ 100907 h 889"/>
                  <a:gd name="T52" fmla="*/ 446527 w 1018"/>
                  <a:gd name="T53" fmla="*/ 142457 h 889"/>
                  <a:gd name="T54" fmla="*/ 465802 w 1018"/>
                  <a:gd name="T55" fmla="*/ 243364 h 889"/>
                  <a:gd name="T56" fmla="*/ 395128 w 1018"/>
                  <a:gd name="T57" fmla="*/ 228525 h 889"/>
                  <a:gd name="T58" fmla="*/ 276269 w 1018"/>
                  <a:gd name="T59" fmla="*/ 213686 h 889"/>
                  <a:gd name="T60" fmla="*/ 239326 w 1018"/>
                  <a:gd name="T61" fmla="*/ 172136 h 889"/>
                  <a:gd name="T62" fmla="*/ 120466 w 1018"/>
                  <a:gd name="T63" fmla="*/ 172136 h 889"/>
                  <a:gd name="T64" fmla="*/ 16062 w 1018"/>
                  <a:gd name="T65" fmla="*/ 172136 h 889"/>
                  <a:gd name="T66" fmla="*/ 67461 w 1018"/>
                  <a:gd name="T67" fmla="*/ 213686 h 889"/>
                  <a:gd name="T68" fmla="*/ 16062 w 1018"/>
                  <a:gd name="T69" fmla="*/ 243364 h 889"/>
                  <a:gd name="T70" fmla="*/ 101191 w 1018"/>
                  <a:gd name="T71" fmla="*/ 271559 h 889"/>
                  <a:gd name="T72" fmla="*/ 170259 w 1018"/>
                  <a:gd name="T73" fmla="*/ 342788 h 889"/>
                  <a:gd name="T74" fmla="*/ 256994 w 1018"/>
                  <a:gd name="T75" fmla="*/ 385822 h 889"/>
                  <a:gd name="T76" fmla="*/ 276269 w 1018"/>
                  <a:gd name="T77" fmla="*/ 442211 h 889"/>
                  <a:gd name="T78" fmla="*/ 290725 w 1018"/>
                  <a:gd name="T79" fmla="*/ 528279 h 889"/>
                  <a:gd name="T80" fmla="*/ 359792 w 1018"/>
                  <a:gd name="T81" fmla="*/ 599507 h 889"/>
                  <a:gd name="T82" fmla="*/ 342123 w 1018"/>
                  <a:gd name="T83" fmla="*/ 684091 h 889"/>
                  <a:gd name="T84" fmla="*/ 359792 w 1018"/>
                  <a:gd name="T85" fmla="*/ 756804 h 889"/>
                  <a:gd name="T86" fmla="*/ 342123 w 1018"/>
                  <a:gd name="T87" fmla="*/ 771643 h 889"/>
                  <a:gd name="T88" fmla="*/ 290725 w 1018"/>
                  <a:gd name="T89" fmla="*/ 771643 h 889"/>
                  <a:gd name="T90" fmla="*/ 276269 w 1018"/>
                  <a:gd name="T91" fmla="*/ 856227 h 889"/>
                  <a:gd name="T92" fmla="*/ 205595 w 1018"/>
                  <a:gd name="T93" fmla="*/ 914100 h 889"/>
                  <a:gd name="T94" fmla="*/ 101191 w 1018"/>
                  <a:gd name="T95" fmla="*/ 1028363 h 889"/>
                  <a:gd name="T96" fmla="*/ 170259 w 1018"/>
                  <a:gd name="T97" fmla="*/ 1084752 h 889"/>
                  <a:gd name="T98" fmla="*/ 290725 w 1018"/>
                  <a:gd name="T99" fmla="*/ 1155981 h 889"/>
                  <a:gd name="T100" fmla="*/ 433678 w 1018"/>
                  <a:gd name="T101" fmla="*/ 1218306 h 889"/>
                  <a:gd name="T102" fmla="*/ 534869 w 1018"/>
                  <a:gd name="T103" fmla="*/ 1271727 h 889"/>
                  <a:gd name="T104" fmla="*/ 652123 w 1018"/>
                  <a:gd name="T105" fmla="*/ 1299922 h 889"/>
                  <a:gd name="T106" fmla="*/ 753314 w 1018"/>
                  <a:gd name="T107" fmla="*/ 1305858 h 889"/>
                  <a:gd name="T108" fmla="*/ 756526 w 1018"/>
                  <a:gd name="T109" fmla="*/ 1227209 h 889"/>
                  <a:gd name="T110" fmla="*/ 841656 w 1018"/>
                  <a:gd name="T111" fmla="*/ 1184175 h 889"/>
                  <a:gd name="T112" fmla="*/ 946060 w 1018"/>
                  <a:gd name="T113" fmla="*/ 1184175 h 889"/>
                  <a:gd name="T114" fmla="*/ 1047251 w 1018"/>
                  <a:gd name="T115" fmla="*/ 1184175 h 889"/>
                  <a:gd name="T116" fmla="*/ 1098650 w 1018"/>
                  <a:gd name="T117" fmla="*/ 1227209 h 889"/>
                  <a:gd name="T118" fmla="*/ 1169323 w 1018"/>
                  <a:gd name="T119" fmla="*/ 1286567 h 889"/>
                  <a:gd name="T120" fmla="*/ 1273727 w 1018"/>
                  <a:gd name="T121" fmla="*/ 1271727 h 889"/>
                  <a:gd name="T122" fmla="*/ 1321914 w 1018"/>
                  <a:gd name="T123" fmla="*/ 1227209 h 889"/>
                  <a:gd name="T124" fmla="*/ 1392587 w 1018"/>
                  <a:gd name="T125" fmla="*/ 1215338 h 8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18"/>
                  <a:gd name="T190" fmla="*/ 0 h 889"/>
                  <a:gd name="T191" fmla="*/ 1018 w 1018"/>
                  <a:gd name="T192" fmla="*/ 889 h 8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18" h="889">
                    <a:moveTo>
                      <a:pt x="867" y="819"/>
                    </a:moveTo>
                    <a:lnTo>
                      <a:pt x="878" y="809"/>
                    </a:lnTo>
                    <a:lnTo>
                      <a:pt x="878" y="798"/>
                    </a:lnTo>
                    <a:lnTo>
                      <a:pt x="888" y="789"/>
                    </a:lnTo>
                    <a:lnTo>
                      <a:pt x="878" y="779"/>
                    </a:lnTo>
                    <a:lnTo>
                      <a:pt x="857" y="779"/>
                    </a:lnTo>
                    <a:lnTo>
                      <a:pt x="845" y="779"/>
                    </a:lnTo>
                    <a:lnTo>
                      <a:pt x="835" y="760"/>
                    </a:lnTo>
                    <a:lnTo>
                      <a:pt x="835" y="752"/>
                    </a:lnTo>
                    <a:lnTo>
                      <a:pt x="835" y="731"/>
                    </a:lnTo>
                    <a:lnTo>
                      <a:pt x="835" y="721"/>
                    </a:lnTo>
                    <a:lnTo>
                      <a:pt x="845" y="713"/>
                    </a:lnTo>
                    <a:lnTo>
                      <a:pt x="845" y="702"/>
                    </a:lnTo>
                    <a:lnTo>
                      <a:pt x="845" y="693"/>
                    </a:lnTo>
                    <a:lnTo>
                      <a:pt x="835" y="683"/>
                    </a:lnTo>
                    <a:lnTo>
                      <a:pt x="823" y="683"/>
                    </a:lnTo>
                    <a:lnTo>
                      <a:pt x="814" y="674"/>
                    </a:lnTo>
                    <a:lnTo>
                      <a:pt x="814" y="664"/>
                    </a:lnTo>
                    <a:lnTo>
                      <a:pt x="823" y="664"/>
                    </a:lnTo>
                    <a:lnTo>
                      <a:pt x="835" y="664"/>
                    </a:lnTo>
                    <a:lnTo>
                      <a:pt x="845" y="664"/>
                    </a:lnTo>
                    <a:lnTo>
                      <a:pt x="857" y="654"/>
                    </a:lnTo>
                    <a:lnTo>
                      <a:pt x="867" y="645"/>
                    </a:lnTo>
                    <a:lnTo>
                      <a:pt x="878" y="634"/>
                    </a:lnTo>
                    <a:lnTo>
                      <a:pt x="867" y="626"/>
                    </a:lnTo>
                    <a:lnTo>
                      <a:pt x="867" y="616"/>
                    </a:lnTo>
                    <a:lnTo>
                      <a:pt x="857" y="606"/>
                    </a:lnTo>
                    <a:lnTo>
                      <a:pt x="857" y="597"/>
                    </a:lnTo>
                    <a:lnTo>
                      <a:pt x="867" y="597"/>
                    </a:lnTo>
                    <a:lnTo>
                      <a:pt x="867" y="588"/>
                    </a:lnTo>
                    <a:lnTo>
                      <a:pt x="867" y="577"/>
                    </a:lnTo>
                    <a:lnTo>
                      <a:pt x="857" y="568"/>
                    </a:lnTo>
                    <a:lnTo>
                      <a:pt x="857" y="558"/>
                    </a:lnTo>
                    <a:lnTo>
                      <a:pt x="867" y="558"/>
                    </a:lnTo>
                    <a:lnTo>
                      <a:pt x="857" y="548"/>
                    </a:lnTo>
                    <a:lnTo>
                      <a:pt x="857" y="540"/>
                    </a:lnTo>
                    <a:lnTo>
                      <a:pt x="867" y="540"/>
                    </a:lnTo>
                    <a:lnTo>
                      <a:pt x="878" y="540"/>
                    </a:lnTo>
                    <a:lnTo>
                      <a:pt x="878" y="529"/>
                    </a:lnTo>
                    <a:lnTo>
                      <a:pt x="867" y="510"/>
                    </a:lnTo>
                    <a:lnTo>
                      <a:pt x="852" y="510"/>
                    </a:lnTo>
                    <a:lnTo>
                      <a:pt x="837" y="518"/>
                    </a:lnTo>
                    <a:lnTo>
                      <a:pt x="835" y="540"/>
                    </a:lnTo>
                    <a:lnTo>
                      <a:pt x="827" y="537"/>
                    </a:lnTo>
                    <a:lnTo>
                      <a:pt x="814" y="548"/>
                    </a:lnTo>
                    <a:lnTo>
                      <a:pt x="803" y="529"/>
                    </a:lnTo>
                    <a:lnTo>
                      <a:pt x="814" y="510"/>
                    </a:lnTo>
                    <a:lnTo>
                      <a:pt x="835" y="491"/>
                    </a:lnTo>
                    <a:lnTo>
                      <a:pt x="835" y="481"/>
                    </a:lnTo>
                    <a:lnTo>
                      <a:pt x="845" y="471"/>
                    </a:lnTo>
                    <a:lnTo>
                      <a:pt x="867" y="471"/>
                    </a:lnTo>
                    <a:lnTo>
                      <a:pt x="888" y="461"/>
                    </a:lnTo>
                    <a:lnTo>
                      <a:pt x="898" y="443"/>
                    </a:lnTo>
                    <a:lnTo>
                      <a:pt x="898" y="433"/>
                    </a:lnTo>
                    <a:lnTo>
                      <a:pt x="910" y="424"/>
                    </a:lnTo>
                    <a:lnTo>
                      <a:pt x="920" y="433"/>
                    </a:lnTo>
                    <a:lnTo>
                      <a:pt x="932" y="443"/>
                    </a:lnTo>
                    <a:lnTo>
                      <a:pt x="942" y="424"/>
                    </a:lnTo>
                    <a:lnTo>
                      <a:pt x="953" y="433"/>
                    </a:lnTo>
                    <a:lnTo>
                      <a:pt x="953" y="404"/>
                    </a:lnTo>
                    <a:lnTo>
                      <a:pt x="963" y="395"/>
                    </a:lnTo>
                    <a:lnTo>
                      <a:pt x="963" y="385"/>
                    </a:lnTo>
                    <a:lnTo>
                      <a:pt x="963" y="367"/>
                    </a:lnTo>
                    <a:lnTo>
                      <a:pt x="963" y="356"/>
                    </a:lnTo>
                    <a:lnTo>
                      <a:pt x="975" y="346"/>
                    </a:lnTo>
                    <a:lnTo>
                      <a:pt x="975" y="337"/>
                    </a:lnTo>
                    <a:lnTo>
                      <a:pt x="985" y="317"/>
                    </a:lnTo>
                    <a:lnTo>
                      <a:pt x="996" y="307"/>
                    </a:lnTo>
                    <a:lnTo>
                      <a:pt x="1018" y="288"/>
                    </a:lnTo>
                    <a:lnTo>
                      <a:pt x="1006" y="278"/>
                    </a:lnTo>
                    <a:lnTo>
                      <a:pt x="996" y="278"/>
                    </a:lnTo>
                    <a:lnTo>
                      <a:pt x="985" y="278"/>
                    </a:lnTo>
                    <a:lnTo>
                      <a:pt x="975" y="269"/>
                    </a:lnTo>
                    <a:lnTo>
                      <a:pt x="953" y="269"/>
                    </a:lnTo>
                    <a:lnTo>
                      <a:pt x="932" y="260"/>
                    </a:lnTo>
                    <a:lnTo>
                      <a:pt x="920" y="251"/>
                    </a:lnTo>
                    <a:lnTo>
                      <a:pt x="910" y="231"/>
                    </a:lnTo>
                    <a:lnTo>
                      <a:pt x="898" y="212"/>
                    </a:lnTo>
                    <a:lnTo>
                      <a:pt x="878" y="212"/>
                    </a:lnTo>
                    <a:lnTo>
                      <a:pt x="867" y="202"/>
                    </a:lnTo>
                    <a:lnTo>
                      <a:pt x="857" y="202"/>
                    </a:lnTo>
                    <a:lnTo>
                      <a:pt x="845" y="202"/>
                    </a:lnTo>
                    <a:lnTo>
                      <a:pt x="835" y="212"/>
                    </a:lnTo>
                    <a:lnTo>
                      <a:pt x="835" y="202"/>
                    </a:lnTo>
                    <a:lnTo>
                      <a:pt x="823" y="192"/>
                    </a:lnTo>
                    <a:lnTo>
                      <a:pt x="814" y="183"/>
                    </a:lnTo>
                    <a:lnTo>
                      <a:pt x="803" y="183"/>
                    </a:lnTo>
                    <a:lnTo>
                      <a:pt x="803" y="173"/>
                    </a:lnTo>
                    <a:lnTo>
                      <a:pt x="793" y="164"/>
                    </a:lnTo>
                    <a:lnTo>
                      <a:pt x="793" y="154"/>
                    </a:lnTo>
                    <a:lnTo>
                      <a:pt x="782" y="144"/>
                    </a:lnTo>
                    <a:lnTo>
                      <a:pt x="782" y="134"/>
                    </a:lnTo>
                    <a:lnTo>
                      <a:pt x="770" y="134"/>
                    </a:lnTo>
                    <a:lnTo>
                      <a:pt x="770" y="144"/>
                    </a:lnTo>
                    <a:lnTo>
                      <a:pt x="760" y="144"/>
                    </a:lnTo>
                    <a:lnTo>
                      <a:pt x="748" y="144"/>
                    </a:lnTo>
                    <a:lnTo>
                      <a:pt x="739" y="134"/>
                    </a:lnTo>
                    <a:lnTo>
                      <a:pt x="748" y="125"/>
                    </a:lnTo>
                    <a:lnTo>
                      <a:pt x="748" y="116"/>
                    </a:lnTo>
                    <a:lnTo>
                      <a:pt x="748" y="96"/>
                    </a:lnTo>
                    <a:lnTo>
                      <a:pt x="739" y="96"/>
                    </a:lnTo>
                    <a:lnTo>
                      <a:pt x="728" y="96"/>
                    </a:lnTo>
                    <a:lnTo>
                      <a:pt x="717" y="96"/>
                    </a:lnTo>
                    <a:lnTo>
                      <a:pt x="707" y="76"/>
                    </a:lnTo>
                    <a:lnTo>
                      <a:pt x="707" y="68"/>
                    </a:lnTo>
                    <a:lnTo>
                      <a:pt x="695" y="68"/>
                    </a:lnTo>
                    <a:lnTo>
                      <a:pt x="684" y="68"/>
                    </a:lnTo>
                    <a:lnTo>
                      <a:pt x="684" y="57"/>
                    </a:lnTo>
                    <a:lnTo>
                      <a:pt x="684" y="48"/>
                    </a:lnTo>
                    <a:lnTo>
                      <a:pt x="673" y="48"/>
                    </a:lnTo>
                    <a:lnTo>
                      <a:pt x="664" y="48"/>
                    </a:lnTo>
                    <a:lnTo>
                      <a:pt x="664" y="39"/>
                    </a:lnTo>
                    <a:lnTo>
                      <a:pt x="652" y="29"/>
                    </a:lnTo>
                    <a:lnTo>
                      <a:pt x="652" y="19"/>
                    </a:lnTo>
                    <a:lnTo>
                      <a:pt x="652" y="9"/>
                    </a:lnTo>
                    <a:lnTo>
                      <a:pt x="652" y="0"/>
                    </a:lnTo>
                    <a:lnTo>
                      <a:pt x="630" y="0"/>
                    </a:lnTo>
                    <a:lnTo>
                      <a:pt x="621" y="0"/>
                    </a:lnTo>
                    <a:lnTo>
                      <a:pt x="609" y="0"/>
                    </a:lnTo>
                    <a:lnTo>
                      <a:pt x="599" y="0"/>
                    </a:lnTo>
                    <a:lnTo>
                      <a:pt x="589" y="0"/>
                    </a:lnTo>
                    <a:lnTo>
                      <a:pt x="578" y="9"/>
                    </a:lnTo>
                    <a:lnTo>
                      <a:pt x="578" y="19"/>
                    </a:lnTo>
                    <a:lnTo>
                      <a:pt x="578" y="29"/>
                    </a:lnTo>
                    <a:lnTo>
                      <a:pt x="567" y="39"/>
                    </a:lnTo>
                    <a:lnTo>
                      <a:pt x="567" y="48"/>
                    </a:lnTo>
                    <a:lnTo>
                      <a:pt x="567" y="68"/>
                    </a:lnTo>
                    <a:lnTo>
                      <a:pt x="567" y="76"/>
                    </a:lnTo>
                    <a:lnTo>
                      <a:pt x="557" y="76"/>
                    </a:lnTo>
                    <a:lnTo>
                      <a:pt x="546" y="76"/>
                    </a:lnTo>
                    <a:lnTo>
                      <a:pt x="535" y="87"/>
                    </a:lnTo>
                    <a:lnTo>
                      <a:pt x="524" y="87"/>
                    </a:lnTo>
                    <a:lnTo>
                      <a:pt x="503" y="96"/>
                    </a:lnTo>
                    <a:lnTo>
                      <a:pt x="482" y="105"/>
                    </a:lnTo>
                    <a:lnTo>
                      <a:pt x="460" y="105"/>
                    </a:lnTo>
                    <a:lnTo>
                      <a:pt x="439" y="105"/>
                    </a:lnTo>
                    <a:lnTo>
                      <a:pt x="439" y="116"/>
                    </a:lnTo>
                    <a:lnTo>
                      <a:pt x="449" y="116"/>
                    </a:lnTo>
                    <a:lnTo>
                      <a:pt x="471" y="125"/>
                    </a:lnTo>
                    <a:lnTo>
                      <a:pt x="482" y="134"/>
                    </a:lnTo>
                    <a:lnTo>
                      <a:pt x="471" y="134"/>
                    </a:lnTo>
                    <a:lnTo>
                      <a:pt x="471" y="144"/>
                    </a:lnTo>
                    <a:lnTo>
                      <a:pt x="449" y="134"/>
                    </a:lnTo>
                    <a:lnTo>
                      <a:pt x="428" y="134"/>
                    </a:lnTo>
                    <a:lnTo>
                      <a:pt x="406" y="134"/>
                    </a:lnTo>
                    <a:lnTo>
                      <a:pt x="406" y="125"/>
                    </a:lnTo>
                    <a:lnTo>
                      <a:pt x="385" y="125"/>
                    </a:lnTo>
                    <a:lnTo>
                      <a:pt x="364" y="116"/>
                    </a:lnTo>
                    <a:lnTo>
                      <a:pt x="342" y="105"/>
                    </a:lnTo>
                    <a:lnTo>
                      <a:pt x="342" y="116"/>
                    </a:lnTo>
                    <a:lnTo>
                      <a:pt x="321" y="105"/>
                    </a:lnTo>
                    <a:lnTo>
                      <a:pt x="333" y="96"/>
                    </a:lnTo>
                    <a:lnTo>
                      <a:pt x="321" y="87"/>
                    </a:lnTo>
                    <a:lnTo>
                      <a:pt x="321" y="76"/>
                    </a:lnTo>
                    <a:lnTo>
                      <a:pt x="333" y="68"/>
                    </a:lnTo>
                    <a:lnTo>
                      <a:pt x="321" y="68"/>
                    </a:lnTo>
                    <a:lnTo>
                      <a:pt x="311" y="68"/>
                    </a:lnTo>
                    <a:lnTo>
                      <a:pt x="299" y="57"/>
                    </a:lnTo>
                    <a:lnTo>
                      <a:pt x="290" y="57"/>
                    </a:lnTo>
                    <a:lnTo>
                      <a:pt x="290" y="68"/>
                    </a:lnTo>
                    <a:lnTo>
                      <a:pt x="278" y="76"/>
                    </a:lnTo>
                    <a:lnTo>
                      <a:pt x="278" y="96"/>
                    </a:lnTo>
                    <a:lnTo>
                      <a:pt x="278" y="105"/>
                    </a:lnTo>
                    <a:lnTo>
                      <a:pt x="290" y="125"/>
                    </a:lnTo>
                    <a:lnTo>
                      <a:pt x="278" y="134"/>
                    </a:lnTo>
                    <a:lnTo>
                      <a:pt x="278" y="144"/>
                    </a:lnTo>
                    <a:lnTo>
                      <a:pt x="278" y="154"/>
                    </a:lnTo>
                    <a:lnTo>
                      <a:pt x="290" y="164"/>
                    </a:lnTo>
                    <a:lnTo>
                      <a:pt x="290" y="173"/>
                    </a:lnTo>
                    <a:lnTo>
                      <a:pt x="268" y="173"/>
                    </a:lnTo>
                    <a:lnTo>
                      <a:pt x="256" y="164"/>
                    </a:lnTo>
                    <a:lnTo>
                      <a:pt x="246" y="164"/>
                    </a:lnTo>
                    <a:lnTo>
                      <a:pt x="235" y="164"/>
                    </a:lnTo>
                    <a:lnTo>
                      <a:pt x="246" y="154"/>
                    </a:lnTo>
                    <a:lnTo>
                      <a:pt x="224" y="154"/>
                    </a:lnTo>
                    <a:lnTo>
                      <a:pt x="203" y="154"/>
                    </a:lnTo>
                    <a:lnTo>
                      <a:pt x="192" y="144"/>
                    </a:lnTo>
                    <a:lnTo>
                      <a:pt x="192" y="154"/>
                    </a:lnTo>
                    <a:lnTo>
                      <a:pt x="172" y="154"/>
                    </a:lnTo>
                    <a:lnTo>
                      <a:pt x="172" y="144"/>
                    </a:lnTo>
                    <a:lnTo>
                      <a:pt x="172" y="125"/>
                    </a:lnTo>
                    <a:lnTo>
                      <a:pt x="160" y="125"/>
                    </a:lnTo>
                    <a:lnTo>
                      <a:pt x="149" y="125"/>
                    </a:lnTo>
                    <a:lnTo>
                      <a:pt x="149" y="116"/>
                    </a:lnTo>
                    <a:lnTo>
                      <a:pt x="160" y="105"/>
                    </a:lnTo>
                    <a:lnTo>
                      <a:pt x="149" y="116"/>
                    </a:lnTo>
                    <a:lnTo>
                      <a:pt x="128" y="105"/>
                    </a:lnTo>
                    <a:lnTo>
                      <a:pt x="118" y="116"/>
                    </a:lnTo>
                    <a:lnTo>
                      <a:pt x="118" y="125"/>
                    </a:lnTo>
                    <a:lnTo>
                      <a:pt x="97" y="125"/>
                    </a:lnTo>
                    <a:lnTo>
                      <a:pt x="97" y="116"/>
                    </a:lnTo>
                    <a:lnTo>
                      <a:pt x="75" y="116"/>
                    </a:lnTo>
                    <a:lnTo>
                      <a:pt x="63" y="116"/>
                    </a:lnTo>
                    <a:lnTo>
                      <a:pt x="53" y="105"/>
                    </a:lnTo>
                    <a:lnTo>
                      <a:pt x="42" y="116"/>
                    </a:lnTo>
                    <a:lnTo>
                      <a:pt x="31" y="116"/>
                    </a:lnTo>
                    <a:lnTo>
                      <a:pt x="22" y="116"/>
                    </a:lnTo>
                    <a:lnTo>
                      <a:pt x="10" y="116"/>
                    </a:lnTo>
                    <a:lnTo>
                      <a:pt x="10" y="125"/>
                    </a:lnTo>
                    <a:lnTo>
                      <a:pt x="22" y="125"/>
                    </a:lnTo>
                    <a:lnTo>
                      <a:pt x="31" y="125"/>
                    </a:lnTo>
                    <a:lnTo>
                      <a:pt x="42" y="125"/>
                    </a:lnTo>
                    <a:lnTo>
                      <a:pt x="42" y="134"/>
                    </a:lnTo>
                    <a:lnTo>
                      <a:pt x="42" y="144"/>
                    </a:lnTo>
                    <a:lnTo>
                      <a:pt x="31" y="144"/>
                    </a:lnTo>
                    <a:lnTo>
                      <a:pt x="31" y="154"/>
                    </a:lnTo>
                    <a:lnTo>
                      <a:pt x="22" y="154"/>
                    </a:lnTo>
                    <a:lnTo>
                      <a:pt x="10" y="154"/>
                    </a:lnTo>
                    <a:lnTo>
                      <a:pt x="0" y="164"/>
                    </a:lnTo>
                    <a:lnTo>
                      <a:pt x="10" y="164"/>
                    </a:lnTo>
                    <a:lnTo>
                      <a:pt x="22" y="173"/>
                    </a:lnTo>
                    <a:lnTo>
                      <a:pt x="31" y="192"/>
                    </a:lnTo>
                    <a:lnTo>
                      <a:pt x="31" y="183"/>
                    </a:lnTo>
                    <a:lnTo>
                      <a:pt x="53" y="192"/>
                    </a:lnTo>
                    <a:lnTo>
                      <a:pt x="53" y="183"/>
                    </a:lnTo>
                    <a:lnTo>
                      <a:pt x="63" y="183"/>
                    </a:lnTo>
                    <a:lnTo>
                      <a:pt x="63" y="192"/>
                    </a:lnTo>
                    <a:lnTo>
                      <a:pt x="85" y="212"/>
                    </a:lnTo>
                    <a:lnTo>
                      <a:pt x="97" y="212"/>
                    </a:lnTo>
                    <a:lnTo>
                      <a:pt x="97" y="221"/>
                    </a:lnTo>
                    <a:lnTo>
                      <a:pt x="106" y="221"/>
                    </a:lnTo>
                    <a:lnTo>
                      <a:pt x="106" y="231"/>
                    </a:lnTo>
                    <a:lnTo>
                      <a:pt x="106" y="241"/>
                    </a:lnTo>
                    <a:lnTo>
                      <a:pt x="128" y="241"/>
                    </a:lnTo>
                    <a:lnTo>
                      <a:pt x="149" y="241"/>
                    </a:lnTo>
                    <a:lnTo>
                      <a:pt x="138" y="251"/>
                    </a:lnTo>
                    <a:lnTo>
                      <a:pt x="149" y="251"/>
                    </a:lnTo>
                    <a:lnTo>
                      <a:pt x="160" y="260"/>
                    </a:lnTo>
                    <a:lnTo>
                      <a:pt x="149" y="278"/>
                    </a:lnTo>
                    <a:lnTo>
                      <a:pt x="160" y="278"/>
                    </a:lnTo>
                    <a:lnTo>
                      <a:pt x="172" y="288"/>
                    </a:lnTo>
                    <a:lnTo>
                      <a:pt x="192" y="288"/>
                    </a:lnTo>
                    <a:lnTo>
                      <a:pt x="172" y="288"/>
                    </a:lnTo>
                    <a:lnTo>
                      <a:pt x="172" y="298"/>
                    </a:lnTo>
                    <a:lnTo>
                      <a:pt x="181" y="298"/>
                    </a:lnTo>
                    <a:lnTo>
                      <a:pt x="181" y="307"/>
                    </a:lnTo>
                    <a:lnTo>
                      <a:pt x="160" y="328"/>
                    </a:lnTo>
                    <a:lnTo>
                      <a:pt x="160" y="337"/>
                    </a:lnTo>
                    <a:lnTo>
                      <a:pt x="172" y="356"/>
                    </a:lnTo>
                    <a:lnTo>
                      <a:pt x="181" y="356"/>
                    </a:lnTo>
                    <a:lnTo>
                      <a:pt x="181" y="375"/>
                    </a:lnTo>
                    <a:lnTo>
                      <a:pt x="192" y="385"/>
                    </a:lnTo>
                    <a:lnTo>
                      <a:pt x="192" y="395"/>
                    </a:lnTo>
                    <a:lnTo>
                      <a:pt x="213" y="404"/>
                    </a:lnTo>
                    <a:lnTo>
                      <a:pt x="224" y="395"/>
                    </a:lnTo>
                    <a:lnTo>
                      <a:pt x="224" y="404"/>
                    </a:lnTo>
                    <a:lnTo>
                      <a:pt x="224" y="415"/>
                    </a:lnTo>
                    <a:lnTo>
                      <a:pt x="213" y="424"/>
                    </a:lnTo>
                    <a:lnTo>
                      <a:pt x="224" y="424"/>
                    </a:lnTo>
                    <a:lnTo>
                      <a:pt x="213" y="433"/>
                    </a:lnTo>
                    <a:lnTo>
                      <a:pt x="213" y="453"/>
                    </a:lnTo>
                    <a:lnTo>
                      <a:pt x="213" y="461"/>
                    </a:lnTo>
                    <a:lnTo>
                      <a:pt x="203" y="471"/>
                    </a:lnTo>
                    <a:lnTo>
                      <a:pt x="203" y="481"/>
                    </a:lnTo>
                    <a:lnTo>
                      <a:pt x="213" y="481"/>
                    </a:lnTo>
                    <a:lnTo>
                      <a:pt x="213" y="491"/>
                    </a:lnTo>
                    <a:lnTo>
                      <a:pt x="213" y="501"/>
                    </a:lnTo>
                    <a:lnTo>
                      <a:pt x="224" y="510"/>
                    </a:lnTo>
                    <a:lnTo>
                      <a:pt x="224" y="520"/>
                    </a:lnTo>
                    <a:lnTo>
                      <a:pt x="224" y="540"/>
                    </a:lnTo>
                    <a:lnTo>
                      <a:pt x="224" y="548"/>
                    </a:lnTo>
                    <a:lnTo>
                      <a:pt x="213" y="540"/>
                    </a:lnTo>
                    <a:lnTo>
                      <a:pt x="213" y="529"/>
                    </a:lnTo>
                    <a:lnTo>
                      <a:pt x="213" y="520"/>
                    </a:lnTo>
                    <a:lnTo>
                      <a:pt x="203" y="510"/>
                    </a:lnTo>
                    <a:lnTo>
                      <a:pt x="203" y="501"/>
                    </a:lnTo>
                    <a:lnTo>
                      <a:pt x="192" y="491"/>
                    </a:lnTo>
                    <a:lnTo>
                      <a:pt x="192" y="481"/>
                    </a:lnTo>
                    <a:lnTo>
                      <a:pt x="181" y="491"/>
                    </a:lnTo>
                    <a:lnTo>
                      <a:pt x="181" y="520"/>
                    </a:lnTo>
                    <a:lnTo>
                      <a:pt x="181" y="529"/>
                    </a:lnTo>
                    <a:lnTo>
                      <a:pt x="172" y="540"/>
                    </a:lnTo>
                    <a:lnTo>
                      <a:pt x="172" y="558"/>
                    </a:lnTo>
                    <a:lnTo>
                      <a:pt x="160" y="558"/>
                    </a:lnTo>
                    <a:lnTo>
                      <a:pt x="181" y="568"/>
                    </a:lnTo>
                    <a:lnTo>
                      <a:pt x="172" y="577"/>
                    </a:lnTo>
                    <a:lnTo>
                      <a:pt x="149" y="577"/>
                    </a:lnTo>
                    <a:lnTo>
                      <a:pt x="149" y="588"/>
                    </a:lnTo>
                    <a:lnTo>
                      <a:pt x="149" y="597"/>
                    </a:lnTo>
                    <a:lnTo>
                      <a:pt x="138" y="606"/>
                    </a:lnTo>
                    <a:lnTo>
                      <a:pt x="138" y="616"/>
                    </a:lnTo>
                    <a:lnTo>
                      <a:pt x="128" y="616"/>
                    </a:lnTo>
                    <a:lnTo>
                      <a:pt x="128" y="634"/>
                    </a:lnTo>
                    <a:lnTo>
                      <a:pt x="118" y="634"/>
                    </a:lnTo>
                    <a:lnTo>
                      <a:pt x="106" y="645"/>
                    </a:lnTo>
                    <a:lnTo>
                      <a:pt x="106" y="654"/>
                    </a:lnTo>
                    <a:lnTo>
                      <a:pt x="85" y="674"/>
                    </a:lnTo>
                    <a:lnTo>
                      <a:pt x="63" y="693"/>
                    </a:lnTo>
                    <a:lnTo>
                      <a:pt x="75" y="702"/>
                    </a:lnTo>
                    <a:lnTo>
                      <a:pt x="85" y="713"/>
                    </a:lnTo>
                    <a:lnTo>
                      <a:pt x="85" y="721"/>
                    </a:lnTo>
                    <a:lnTo>
                      <a:pt x="85" y="731"/>
                    </a:lnTo>
                    <a:lnTo>
                      <a:pt x="97" y="731"/>
                    </a:lnTo>
                    <a:lnTo>
                      <a:pt x="106" y="731"/>
                    </a:lnTo>
                    <a:lnTo>
                      <a:pt x="128" y="752"/>
                    </a:lnTo>
                    <a:lnTo>
                      <a:pt x="138" y="752"/>
                    </a:lnTo>
                    <a:lnTo>
                      <a:pt x="149" y="770"/>
                    </a:lnTo>
                    <a:lnTo>
                      <a:pt x="160" y="770"/>
                    </a:lnTo>
                    <a:lnTo>
                      <a:pt x="172" y="770"/>
                    </a:lnTo>
                    <a:lnTo>
                      <a:pt x="181" y="779"/>
                    </a:lnTo>
                    <a:lnTo>
                      <a:pt x="203" y="798"/>
                    </a:lnTo>
                    <a:lnTo>
                      <a:pt x="213" y="798"/>
                    </a:lnTo>
                    <a:lnTo>
                      <a:pt x="235" y="809"/>
                    </a:lnTo>
                    <a:lnTo>
                      <a:pt x="246" y="809"/>
                    </a:lnTo>
                    <a:lnTo>
                      <a:pt x="246" y="819"/>
                    </a:lnTo>
                    <a:lnTo>
                      <a:pt x="270" y="821"/>
                    </a:lnTo>
                    <a:lnTo>
                      <a:pt x="296" y="813"/>
                    </a:lnTo>
                    <a:lnTo>
                      <a:pt x="308" y="822"/>
                    </a:lnTo>
                    <a:lnTo>
                      <a:pt x="314" y="832"/>
                    </a:lnTo>
                    <a:lnTo>
                      <a:pt x="311" y="846"/>
                    </a:lnTo>
                    <a:lnTo>
                      <a:pt x="321" y="857"/>
                    </a:lnTo>
                    <a:lnTo>
                      <a:pt x="333" y="857"/>
                    </a:lnTo>
                    <a:lnTo>
                      <a:pt x="342" y="857"/>
                    </a:lnTo>
                    <a:lnTo>
                      <a:pt x="353" y="857"/>
                    </a:lnTo>
                    <a:lnTo>
                      <a:pt x="364" y="867"/>
                    </a:lnTo>
                    <a:lnTo>
                      <a:pt x="374" y="876"/>
                    </a:lnTo>
                    <a:lnTo>
                      <a:pt x="385" y="876"/>
                    </a:lnTo>
                    <a:lnTo>
                      <a:pt x="406" y="876"/>
                    </a:lnTo>
                    <a:lnTo>
                      <a:pt x="416" y="884"/>
                    </a:lnTo>
                    <a:lnTo>
                      <a:pt x="431" y="887"/>
                    </a:lnTo>
                    <a:lnTo>
                      <a:pt x="439" y="884"/>
                    </a:lnTo>
                    <a:lnTo>
                      <a:pt x="449" y="884"/>
                    </a:lnTo>
                    <a:lnTo>
                      <a:pt x="457" y="889"/>
                    </a:lnTo>
                    <a:lnTo>
                      <a:pt x="469" y="880"/>
                    </a:lnTo>
                    <a:lnTo>
                      <a:pt x="465" y="878"/>
                    </a:lnTo>
                    <a:lnTo>
                      <a:pt x="462" y="871"/>
                    </a:lnTo>
                    <a:lnTo>
                      <a:pt x="460" y="867"/>
                    </a:lnTo>
                    <a:lnTo>
                      <a:pt x="471" y="857"/>
                    </a:lnTo>
                    <a:lnTo>
                      <a:pt x="460" y="846"/>
                    </a:lnTo>
                    <a:lnTo>
                      <a:pt x="471" y="827"/>
                    </a:lnTo>
                    <a:lnTo>
                      <a:pt x="471" y="819"/>
                    </a:lnTo>
                    <a:lnTo>
                      <a:pt x="482" y="809"/>
                    </a:lnTo>
                    <a:lnTo>
                      <a:pt x="492" y="809"/>
                    </a:lnTo>
                    <a:lnTo>
                      <a:pt x="503" y="798"/>
                    </a:lnTo>
                    <a:lnTo>
                      <a:pt x="514" y="798"/>
                    </a:lnTo>
                    <a:lnTo>
                      <a:pt x="524" y="798"/>
                    </a:lnTo>
                    <a:lnTo>
                      <a:pt x="535" y="798"/>
                    </a:lnTo>
                    <a:lnTo>
                      <a:pt x="546" y="789"/>
                    </a:lnTo>
                    <a:lnTo>
                      <a:pt x="557" y="779"/>
                    </a:lnTo>
                    <a:lnTo>
                      <a:pt x="567" y="779"/>
                    </a:lnTo>
                    <a:lnTo>
                      <a:pt x="578" y="789"/>
                    </a:lnTo>
                    <a:lnTo>
                      <a:pt x="589" y="798"/>
                    </a:lnTo>
                    <a:lnTo>
                      <a:pt x="599" y="798"/>
                    </a:lnTo>
                    <a:lnTo>
                      <a:pt x="621" y="798"/>
                    </a:lnTo>
                    <a:lnTo>
                      <a:pt x="621" y="819"/>
                    </a:lnTo>
                    <a:lnTo>
                      <a:pt x="630" y="809"/>
                    </a:lnTo>
                    <a:lnTo>
                      <a:pt x="642" y="809"/>
                    </a:lnTo>
                    <a:lnTo>
                      <a:pt x="652" y="798"/>
                    </a:lnTo>
                    <a:lnTo>
                      <a:pt x="664" y="798"/>
                    </a:lnTo>
                    <a:lnTo>
                      <a:pt x="664" y="809"/>
                    </a:lnTo>
                    <a:lnTo>
                      <a:pt x="664" y="819"/>
                    </a:lnTo>
                    <a:lnTo>
                      <a:pt x="673" y="819"/>
                    </a:lnTo>
                    <a:lnTo>
                      <a:pt x="684" y="819"/>
                    </a:lnTo>
                    <a:lnTo>
                      <a:pt x="684" y="827"/>
                    </a:lnTo>
                    <a:lnTo>
                      <a:pt x="684" y="837"/>
                    </a:lnTo>
                    <a:lnTo>
                      <a:pt x="695" y="827"/>
                    </a:lnTo>
                    <a:lnTo>
                      <a:pt x="707" y="837"/>
                    </a:lnTo>
                    <a:lnTo>
                      <a:pt x="717" y="846"/>
                    </a:lnTo>
                    <a:lnTo>
                      <a:pt x="717" y="857"/>
                    </a:lnTo>
                    <a:lnTo>
                      <a:pt x="728" y="867"/>
                    </a:lnTo>
                    <a:lnTo>
                      <a:pt x="739" y="867"/>
                    </a:lnTo>
                    <a:lnTo>
                      <a:pt x="748" y="867"/>
                    </a:lnTo>
                    <a:lnTo>
                      <a:pt x="760" y="867"/>
                    </a:lnTo>
                    <a:lnTo>
                      <a:pt x="770" y="867"/>
                    </a:lnTo>
                    <a:lnTo>
                      <a:pt x="782" y="867"/>
                    </a:lnTo>
                    <a:lnTo>
                      <a:pt x="793" y="857"/>
                    </a:lnTo>
                    <a:lnTo>
                      <a:pt x="793" y="846"/>
                    </a:lnTo>
                    <a:lnTo>
                      <a:pt x="793" y="837"/>
                    </a:lnTo>
                    <a:lnTo>
                      <a:pt x="803" y="837"/>
                    </a:lnTo>
                    <a:lnTo>
                      <a:pt x="814" y="837"/>
                    </a:lnTo>
                    <a:lnTo>
                      <a:pt x="823" y="837"/>
                    </a:lnTo>
                    <a:lnTo>
                      <a:pt x="823" y="827"/>
                    </a:lnTo>
                    <a:lnTo>
                      <a:pt x="835" y="827"/>
                    </a:lnTo>
                    <a:lnTo>
                      <a:pt x="845" y="827"/>
                    </a:lnTo>
                    <a:lnTo>
                      <a:pt x="845" y="837"/>
                    </a:lnTo>
                    <a:lnTo>
                      <a:pt x="867" y="819"/>
                    </a:lnTo>
                    <a:lnTo>
                      <a:pt x="857" y="827"/>
                    </a:lnTo>
                    <a:lnTo>
                      <a:pt x="867" y="81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5" name="Freeform 62">
                <a:extLst>
                  <a:ext uri="{FF2B5EF4-FFF2-40B4-BE49-F238E27FC236}">
                    <a16:creationId xmlns:a16="http://schemas.microsoft.com/office/drawing/2014/main" id="{82875696-0762-D4CC-426C-3972FC557AD7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3354388" y="3208338"/>
                <a:ext cx="1612900" cy="1414462"/>
              </a:xfrm>
              <a:custGeom>
                <a:avLst/>
                <a:gdLst>
                  <a:gd name="T0" fmla="*/ 155518 w 1006"/>
                  <a:gd name="T1" fmla="*/ 428490 h 954"/>
                  <a:gd name="T2" fmla="*/ 238889 w 1006"/>
                  <a:gd name="T3" fmla="*/ 357322 h 954"/>
                  <a:gd name="T4" fmla="*/ 394407 w 1006"/>
                  <a:gd name="T5" fmla="*/ 401802 h 954"/>
                  <a:gd name="T6" fmla="*/ 428076 w 1006"/>
                  <a:gd name="T7" fmla="*/ 385493 h 954"/>
                  <a:gd name="T8" fmla="*/ 479381 w 1006"/>
                  <a:gd name="T9" fmla="*/ 515967 h 954"/>
                  <a:gd name="T10" fmla="*/ 599627 w 1006"/>
                  <a:gd name="T11" fmla="*/ 684991 h 954"/>
                  <a:gd name="T12" fmla="*/ 804847 w 1006"/>
                  <a:gd name="T13" fmla="*/ 870324 h 954"/>
                  <a:gd name="T14" fmla="*/ 909060 w 1006"/>
                  <a:gd name="T15" fmla="*/ 914804 h 954"/>
                  <a:gd name="T16" fmla="*/ 1046942 w 1006"/>
                  <a:gd name="T17" fmla="*/ 1015625 h 954"/>
                  <a:gd name="T18" fmla="*/ 1079008 w 1006"/>
                  <a:gd name="T19" fmla="*/ 1085311 h 954"/>
                  <a:gd name="T20" fmla="*/ 1202460 w 1006"/>
                  <a:gd name="T21" fmla="*/ 1128308 h 954"/>
                  <a:gd name="T22" fmla="*/ 1253765 w 1006"/>
                  <a:gd name="T23" fmla="*/ 1286953 h 954"/>
                  <a:gd name="T24" fmla="*/ 1202460 w 1006"/>
                  <a:gd name="T25" fmla="*/ 1329950 h 954"/>
                  <a:gd name="T26" fmla="*/ 1167188 w 1006"/>
                  <a:gd name="T27" fmla="*/ 1401118 h 954"/>
                  <a:gd name="T28" fmla="*/ 1253765 w 1006"/>
                  <a:gd name="T29" fmla="*/ 1401118 h 954"/>
                  <a:gd name="T30" fmla="*/ 1303467 w 1006"/>
                  <a:gd name="T31" fmla="*/ 1329950 h 954"/>
                  <a:gd name="T32" fmla="*/ 1388441 w 1006"/>
                  <a:gd name="T33" fmla="*/ 1286953 h 954"/>
                  <a:gd name="T34" fmla="*/ 1407680 w 1006"/>
                  <a:gd name="T35" fmla="*/ 1215785 h 954"/>
                  <a:gd name="T36" fmla="*/ 1337136 w 1006"/>
                  <a:gd name="T37" fmla="*/ 1159444 h 954"/>
                  <a:gd name="T38" fmla="*/ 1374011 w 1006"/>
                  <a:gd name="T39" fmla="*/ 1073449 h 954"/>
                  <a:gd name="T40" fmla="*/ 1423713 w 1006"/>
                  <a:gd name="T41" fmla="*/ 1043796 h 954"/>
                  <a:gd name="T42" fmla="*/ 1511893 w 1006"/>
                  <a:gd name="T43" fmla="*/ 1073449 h 954"/>
                  <a:gd name="T44" fmla="*/ 1543959 w 1006"/>
                  <a:gd name="T45" fmla="*/ 1128308 h 954"/>
                  <a:gd name="T46" fmla="*/ 1612900 w 1006"/>
                  <a:gd name="T47" fmla="*/ 1100137 h 954"/>
                  <a:gd name="T48" fmla="*/ 1543959 w 1006"/>
                  <a:gd name="T49" fmla="*/ 999316 h 954"/>
                  <a:gd name="T50" fmla="*/ 1388441 w 1006"/>
                  <a:gd name="T51" fmla="*/ 941492 h 954"/>
                  <a:gd name="T52" fmla="*/ 1287434 w 1006"/>
                  <a:gd name="T53" fmla="*/ 898495 h 954"/>
                  <a:gd name="T54" fmla="*/ 1287434 w 1006"/>
                  <a:gd name="T55" fmla="*/ 856980 h 954"/>
                  <a:gd name="T56" fmla="*/ 1133519 w 1006"/>
                  <a:gd name="T57" fmla="*/ 813983 h 954"/>
                  <a:gd name="T58" fmla="*/ 1013273 w 1006"/>
                  <a:gd name="T59" fmla="*/ 701300 h 954"/>
                  <a:gd name="T60" fmla="*/ 958762 w 1006"/>
                  <a:gd name="T61" fmla="*/ 570826 h 954"/>
                  <a:gd name="T62" fmla="*/ 893027 w 1006"/>
                  <a:gd name="T63" fmla="*/ 499658 h 954"/>
                  <a:gd name="T64" fmla="*/ 788814 w 1006"/>
                  <a:gd name="T65" fmla="*/ 441834 h 954"/>
                  <a:gd name="T66" fmla="*/ 788814 w 1006"/>
                  <a:gd name="T67" fmla="*/ 357322 h 954"/>
                  <a:gd name="T68" fmla="*/ 788814 w 1006"/>
                  <a:gd name="T69" fmla="*/ 298016 h 954"/>
                  <a:gd name="T70" fmla="*/ 804847 w 1006"/>
                  <a:gd name="T71" fmla="*/ 243157 h 954"/>
                  <a:gd name="T72" fmla="*/ 909060 w 1006"/>
                  <a:gd name="T73" fmla="*/ 228330 h 954"/>
                  <a:gd name="T74" fmla="*/ 958762 w 1006"/>
                  <a:gd name="T75" fmla="*/ 228330 h 954"/>
                  <a:gd name="T76" fmla="*/ 995637 w 1006"/>
                  <a:gd name="T77" fmla="*/ 185333 h 954"/>
                  <a:gd name="T78" fmla="*/ 995637 w 1006"/>
                  <a:gd name="T79" fmla="*/ 114165 h 954"/>
                  <a:gd name="T80" fmla="*/ 909060 w 1006"/>
                  <a:gd name="T81" fmla="*/ 84512 h 954"/>
                  <a:gd name="T82" fmla="*/ 840119 w 1006"/>
                  <a:gd name="T83" fmla="*/ 41515 h 954"/>
                  <a:gd name="T84" fmla="*/ 737509 w 1006"/>
                  <a:gd name="T85" fmla="*/ 13344 h 954"/>
                  <a:gd name="T86" fmla="*/ 652535 w 1006"/>
                  <a:gd name="T87" fmla="*/ 28171 h 954"/>
                  <a:gd name="T88" fmla="*/ 599627 w 1006"/>
                  <a:gd name="T89" fmla="*/ 0 h 954"/>
                  <a:gd name="T90" fmla="*/ 565958 w 1006"/>
                  <a:gd name="T91" fmla="*/ 41515 h 954"/>
                  <a:gd name="T92" fmla="*/ 514653 w 1006"/>
                  <a:gd name="T93" fmla="*/ 84512 h 954"/>
                  <a:gd name="T94" fmla="*/ 445712 w 1006"/>
                  <a:gd name="T95" fmla="*/ 56341 h 954"/>
                  <a:gd name="T96" fmla="*/ 394407 w 1006"/>
                  <a:gd name="T97" fmla="*/ 84512 h 954"/>
                  <a:gd name="T98" fmla="*/ 325466 w 1006"/>
                  <a:gd name="T99" fmla="*/ 100821 h 954"/>
                  <a:gd name="T100" fmla="*/ 274161 w 1006"/>
                  <a:gd name="T101" fmla="*/ 41515 h 954"/>
                  <a:gd name="T102" fmla="*/ 189187 w 1006"/>
                  <a:gd name="T103" fmla="*/ 100821 h 954"/>
                  <a:gd name="T104" fmla="*/ 68941 w 1006"/>
                  <a:gd name="T105" fmla="*/ 114165 h 954"/>
                  <a:gd name="T106" fmla="*/ 84974 w 1006"/>
                  <a:gd name="T107" fmla="*/ 185333 h 954"/>
                  <a:gd name="T108" fmla="*/ 0 w 1006"/>
                  <a:gd name="T109" fmla="*/ 213504 h 954"/>
                  <a:gd name="T110" fmla="*/ 49702 w 1006"/>
                  <a:gd name="T111" fmla="*/ 269845 h 954"/>
                  <a:gd name="T112" fmla="*/ 35272 w 1006"/>
                  <a:gd name="T113" fmla="*/ 357322 h 954"/>
                  <a:gd name="T114" fmla="*/ 101007 w 1006"/>
                  <a:gd name="T115" fmla="*/ 415146 h 95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006"/>
                  <a:gd name="T175" fmla="*/ 0 h 954"/>
                  <a:gd name="T176" fmla="*/ 1006 w 1006"/>
                  <a:gd name="T177" fmla="*/ 954 h 95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006" h="954">
                    <a:moveTo>
                      <a:pt x="43" y="308"/>
                    </a:moveTo>
                    <a:lnTo>
                      <a:pt x="63" y="298"/>
                    </a:lnTo>
                    <a:lnTo>
                      <a:pt x="74" y="289"/>
                    </a:lnTo>
                    <a:lnTo>
                      <a:pt x="85" y="289"/>
                    </a:lnTo>
                    <a:lnTo>
                      <a:pt x="97" y="289"/>
                    </a:lnTo>
                    <a:lnTo>
                      <a:pt x="118" y="280"/>
                    </a:lnTo>
                    <a:lnTo>
                      <a:pt x="128" y="271"/>
                    </a:lnTo>
                    <a:lnTo>
                      <a:pt x="128" y="260"/>
                    </a:lnTo>
                    <a:lnTo>
                      <a:pt x="138" y="250"/>
                    </a:lnTo>
                    <a:lnTo>
                      <a:pt x="149" y="241"/>
                    </a:lnTo>
                    <a:lnTo>
                      <a:pt x="171" y="241"/>
                    </a:lnTo>
                    <a:lnTo>
                      <a:pt x="183" y="241"/>
                    </a:lnTo>
                    <a:lnTo>
                      <a:pt x="203" y="260"/>
                    </a:lnTo>
                    <a:lnTo>
                      <a:pt x="215" y="250"/>
                    </a:lnTo>
                    <a:lnTo>
                      <a:pt x="246" y="271"/>
                    </a:lnTo>
                    <a:lnTo>
                      <a:pt x="246" y="260"/>
                    </a:lnTo>
                    <a:lnTo>
                      <a:pt x="258" y="250"/>
                    </a:lnTo>
                    <a:lnTo>
                      <a:pt x="267" y="250"/>
                    </a:lnTo>
                    <a:lnTo>
                      <a:pt x="278" y="250"/>
                    </a:lnTo>
                    <a:lnTo>
                      <a:pt x="267" y="260"/>
                    </a:lnTo>
                    <a:lnTo>
                      <a:pt x="267" y="271"/>
                    </a:lnTo>
                    <a:lnTo>
                      <a:pt x="278" y="280"/>
                    </a:lnTo>
                    <a:lnTo>
                      <a:pt x="267" y="289"/>
                    </a:lnTo>
                    <a:lnTo>
                      <a:pt x="289" y="308"/>
                    </a:lnTo>
                    <a:lnTo>
                      <a:pt x="299" y="348"/>
                    </a:lnTo>
                    <a:lnTo>
                      <a:pt x="311" y="385"/>
                    </a:lnTo>
                    <a:lnTo>
                      <a:pt x="321" y="395"/>
                    </a:lnTo>
                    <a:lnTo>
                      <a:pt x="342" y="442"/>
                    </a:lnTo>
                    <a:lnTo>
                      <a:pt x="353" y="442"/>
                    </a:lnTo>
                    <a:lnTo>
                      <a:pt x="374" y="462"/>
                    </a:lnTo>
                    <a:lnTo>
                      <a:pt x="385" y="481"/>
                    </a:lnTo>
                    <a:lnTo>
                      <a:pt x="396" y="491"/>
                    </a:lnTo>
                    <a:lnTo>
                      <a:pt x="407" y="501"/>
                    </a:lnTo>
                    <a:lnTo>
                      <a:pt x="439" y="530"/>
                    </a:lnTo>
                    <a:lnTo>
                      <a:pt x="502" y="587"/>
                    </a:lnTo>
                    <a:lnTo>
                      <a:pt x="514" y="587"/>
                    </a:lnTo>
                    <a:lnTo>
                      <a:pt x="524" y="606"/>
                    </a:lnTo>
                    <a:lnTo>
                      <a:pt x="546" y="606"/>
                    </a:lnTo>
                    <a:lnTo>
                      <a:pt x="557" y="626"/>
                    </a:lnTo>
                    <a:lnTo>
                      <a:pt x="567" y="617"/>
                    </a:lnTo>
                    <a:lnTo>
                      <a:pt x="598" y="646"/>
                    </a:lnTo>
                    <a:lnTo>
                      <a:pt x="610" y="656"/>
                    </a:lnTo>
                    <a:lnTo>
                      <a:pt x="621" y="665"/>
                    </a:lnTo>
                    <a:lnTo>
                      <a:pt x="632" y="665"/>
                    </a:lnTo>
                    <a:lnTo>
                      <a:pt x="653" y="685"/>
                    </a:lnTo>
                    <a:lnTo>
                      <a:pt x="664" y="685"/>
                    </a:lnTo>
                    <a:lnTo>
                      <a:pt x="673" y="694"/>
                    </a:lnTo>
                    <a:lnTo>
                      <a:pt x="673" y="714"/>
                    </a:lnTo>
                    <a:lnTo>
                      <a:pt x="673" y="724"/>
                    </a:lnTo>
                    <a:lnTo>
                      <a:pt x="673" y="732"/>
                    </a:lnTo>
                    <a:lnTo>
                      <a:pt x="696" y="742"/>
                    </a:lnTo>
                    <a:lnTo>
                      <a:pt x="707" y="742"/>
                    </a:lnTo>
                    <a:lnTo>
                      <a:pt x="716" y="742"/>
                    </a:lnTo>
                    <a:lnTo>
                      <a:pt x="739" y="751"/>
                    </a:lnTo>
                    <a:lnTo>
                      <a:pt x="750" y="761"/>
                    </a:lnTo>
                    <a:lnTo>
                      <a:pt x="750" y="771"/>
                    </a:lnTo>
                    <a:lnTo>
                      <a:pt x="760" y="781"/>
                    </a:lnTo>
                    <a:lnTo>
                      <a:pt x="770" y="810"/>
                    </a:lnTo>
                    <a:lnTo>
                      <a:pt x="782" y="839"/>
                    </a:lnTo>
                    <a:lnTo>
                      <a:pt x="782" y="868"/>
                    </a:lnTo>
                    <a:lnTo>
                      <a:pt x="770" y="877"/>
                    </a:lnTo>
                    <a:lnTo>
                      <a:pt x="760" y="877"/>
                    </a:lnTo>
                    <a:lnTo>
                      <a:pt x="750" y="877"/>
                    </a:lnTo>
                    <a:lnTo>
                      <a:pt x="750" y="886"/>
                    </a:lnTo>
                    <a:lnTo>
                      <a:pt x="750" y="897"/>
                    </a:lnTo>
                    <a:lnTo>
                      <a:pt x="750" y="906"/>
                    </a:lnTo>
                    <a:lnTo>
                      <a:pt x="750" y="915"/>
                    </a:lnTo>
                    <a:lnTo>
                      <a:pt x="739" y="926"/>
                    </a:lnTo>
                    <a:lnTo>
                      <a:pt x="728" y="935"/>
                    </a:lnTo>
                    <a:lnTo>
                      <a:pt x="728" y="945"/>
                    </a:lnTo>
                    <a:lnTo>
                      <a:pt x="739" y="954"/>
                    </a:lnTo>
                    <a:lnTo>
                      <a:pt x="750" y="954"/>
                    </a:lnTo>
                    <a:lnTo>
                      <a:pt x="760" y="954"/>
                    </a:lnTo>
                    <a:lnTo>
                      <a:pt x="770" y="954"/>
                    </a:lnTo>
                    <a:lnTo>
                      <a:pt x="782" y="945"/>
                    </a:lnTo>
                    <a:lnTo>
                      <a:pt x="791" y="945"/>
                    </a:lnTo>
                    <a:lnTo>
                      <a:pt x="791" y="935"/>
                    </a:lnTo>
                    <a:lnTo>
                      <a:pt x="813" y="926"/>
                    </a:lnTo>
                    <a:lnTo>
                      <a:pt x="813" y="915"/>
                    </a:lnTo>
                    <a:lnTo>
                      <a:pt x="813" y="897"/>
                    </a:lnTo>
                    <a:lnTo>
                      <a:pt x="825" y="886"/>
                    </a:lnTo>
                    <a:lnTo>
                      <a:pt x="834" y="877"/>
                    </a:lnTo>
                    <a:lnTo>
                      <a:pt x="845" y="868"/>
                    </a:lnTo>
                    <a:lnTo>
                      <a:pt x="857" y="868"/>
                    </a:lnTo>
                    <a:lnTo>
                      <a:pt x="866" y="868"/>
                    </a:lnTo>
                    <a:lnTo>
                      <a:pt x="878" y="868"/>
                    </a:lnTo>
                    <a:lnTo>
                      <a:pt x="878" y="858"/>
                    </a:lnTo>
                    <a:lnTo>
                      <a:pt x="878" y="849"/>
                    </a:lnTo>
                    <a:lnTo>
                      <a:pt x="878" y="839"/>
                    </a:lnTo>
                    <a:lnTo>
                      <a:pt x="878" y="820"/>
                    </a:lnTo>
                    <a:lnTo>
                      <a:pt x="878" y="810"/>
                    </a:lnTo>
                    <a:lnTo>
                      <a:pt x="878" y="800"/>
                    </a:lnTo>
                    <a:lnTo>
                      <a:pt x="866" y="790"/>
                    </a:lnTo>
                    <a:lnTo>
                      <a:pt x="845" y="800"/>
                    </a:lnTo>
                    <a:lnTo>
                      <a:pt x="834" y="782"/>
                    </a:lnTo>
                    <a:lnTo>
                      <a:pt x="832" y="757"/>
                    </a:lnTo>
                    <a:lnTo>
                      <a:pt x="834" y="742"/>
                    </a:lnTo>
                    <a:lnTo>
                      <a:pt x="845" y="742"/>
                    </a:lnTo>
                    <a:lnTo>
                      <a:pt x="845" y="732"/>
                    </a:lnTo>
                    <a:lnTo>
                      <a:pt x="857" y="724"/>
                    </a:lnTo>
                    <a:lnTo>
                      <a:pt x="845" y="724"/>
                    </a:lnTo>
                    <a:lnTo>
                      <a:pt x="857" y="714"/>
                    </a:lnTo>
                    <a:lnTo>
                      <a:pt x="866" y="704"/>
                    </a:lnTo>
                    <a:lnTo>
                      <a:pt x="878" y="704"/>
                    </a:lnTo>
                    <a:lnTo>
                      <a:pt x="888" y="704"/>
                    </a:lnTo>
                    <a:lnTo>
                      <a:pt x="888" y="714"/>
                    </a:lnTo>
                    <a:lnTo>
                      <a:pt x="909" y="724"/>
                    </a:lnTo>
                    <a:lnTo>
                      <a:pt x="920" y="724"/>
                    </a:lnTo>
                    <a:lnTo>
                      <a:pt x="931" y="724"/>
                    </a:lnTo>
                    <a:lnTo>
                      <a:pt x="943" y="724"/>
                    </a:lnTo>
                    <a:lnTo>
                      <a:pt x="953" y="724"/>
                    </a:lnTo>
                    <a:lnTo>
                      <a:pt x="953" y="732"/>
                    </a:lnTo>
                    <a:lnTo>
                      <a:pt x="953" y="742"/>
                    </a:lnTo>
                    <a:lnTo>
                      <a:pt x="963" y="751"/>
                    </a:lnTo>
                    <a:lnTo>
                      <a:pt x="963" y="761"/>
                    </a:lnTo>
                    <a:lnTo>
                      <a:pt x="975" y="771"/>
                    </a:lnTo>
                    <a:lnTo>
                      <a:pt x="984" y="771"/>
                    </a:lnTo>
                    <a:lnTo>
                      <a:pt x="996" y="771"/>
                    </a:lnTo>
                    <a:lnTo>
                      <a:pt x="1006" y="761"/>
                    </a:lnTo>
                    <a:lnTo>
                      <a:pt x="1006" y="742"/>
                    </a:lnTo>
                    <a:lnTo>
                      <a:pt x="1006" y="724"/>
                    </a:lnTo>
                    <a:lnTo>
                      <a:pt x="1006" y="714"/>
                    </a:lnTo>
                    <a:lnTo>
                      <a:pt x="984" y="704"/>
                    </a:lnTo>
                    <a:lnTo>
                      <a:pt x="975" y="685"/>
                    </a:lnTo>
                    <a:lnTo>
                      <a:pt x="963" y="674"/>
                    </a:lnTo>
                    <a:lnTo>
                      <a:pt x="943" y="665"/>
                    </a:lnTo>
                    <a:lnTo>
                      <a:pt x="920" y="665"/>
                    </a:lnTo>
                    <a:lnTo>
                      <a:pt x="909" y="656"/>
                    </a:lnTo>
                    <a:lnTo>
                      <a:pt x="900" y="646"/>
                    </a:lnTo>
                    <a:lnTo>
                      <a:pt x="866" y="635"/>
                    </a:lnTo>
                    <a:lnTo>
                      <a:pt x="857" y="626"/>
                    </a:lnTo>
                    <a:lnTo>
                      <a:pt x="845" y="617"/>
                    </a:lnTo>
                    <a:lnTo>
                      <a:pt x="834" y="617"/>
                    </a:lnTo>
                    <a:lnTo>
                      <a:pt x="813" y="617"/>
                    </a:lnTo>
                    <a:lnTo>
                      <a:pt x="803" y="606"/>
                    </a:lnTo>
                    <a:lnTo>
                      <a:pt x="782" y="598"/>
                    </a:lnTo>
                    <a:lnTo>
                      <a:pt x="770" y="598"/>
                    </a:lnTo>
                    <a:lnTo>
                      <a:pt x="782" y="587"/>
                    </a:lnTo>
                    <a:lnTo>
                      <a:pt x="791" y="587"/>
                    </a:lnTo>
                    <a:lnTo>
                      <a:pt x="803" y="578"/>
                    </a:lnTo>
                    <a:lnTo>
                      <a:pt x="803" y="559"/>
                    </a:lnTo>
                    <a:lnTo>
                      <a:pt x="770" y="549"/>
                    </a:lnTo>
                    <a:lnTo>
                      <a:pt x="760" y="549"/>
                    </a:lnTo>
                    <a:lnTo>
                      <a:pt x="728" y="549"/>
                    </a:lnTo>
                    <a:lnTo>
                      <a:pt x="707" y="549"/>
                    </a:lnTo>
                    <a:lnTo>
                      <a:pt x="685" y="540"/>
                    </a:lnTo>
                    <a:lnTo>
                      <a:pt x="673" y="521"/>
                    </a:lnTo>
                    <a:lnTo>
                      <a:pt x="664" y="510"/>
                    </a:lnTo>
                    <a:lnTo>
                      <a:pt x="642" y="491"/>
                    </a:lnTo>
                    <a:lnTo>
                      <a:pt x="632" y="473"/>
                    </a:lnTo>
                    <a:lnTo>
                      <a:pt x="610" y="453"/>
                    </a:lnTo>
                    <a:lnTo>
                      <a:pt x="610" y="434"/>
                    </a:lnTo>
                    <a:lnTo>
                      <a:pt x="621" y="424"/>
                    </a:lnTo>
                    <a:lnTo>
                      <a:pt x="610" y="405"/>
                    </a:lnTo>
                    <a:lnTo>
                      <a:pt x="598" y="385"/>
                    </a:lnTo>
                    <a:lnTo>
                      <a:pt x="598" y="376"/>
                    </a:lnTo>
                    <a:lnTo>
                      <a:pt x="589" y="366"/>
                    </a:lnTo>
                    <a:lnTo>
                      <a:pt x="589" y="348"/>
                    </a:lnTo>
                    <a:lnTo>
                      <a:pt x="577" y="348"/>
                    </a:lnTo>
                    <a:lnTo>
                      <a:pt x="557" y="337"/>
                    </a:lnTo>
                    <a:lnTo>
                      <a:pt x="535" y="328"/>
                    </a:lnTo>
                    <a:lnTo>
                      <a:pt x="524" y="328"/>
                    </a:lnTo>
                    <a:lnTo>
                      <a:pt x="502" y="318"/>
                    </a:lnTo>
                    <a:lnTo>
                      <a:pt x="502" y="308"/>
                    </a:lnTo>
                    <a:lnTo>
                      <a:pt x="492" y="298"/>
                    </a:lnTo>
                    <a:lnTo>
                      <a:pt x="492" y="289"/>
                    </a:lnTo>
                    <a:lnTo>
                      <a:pt x="482" y="271"/>
                    </a:lnTo>
                    <a:lnTo>
                      <a:pt x="492" y="260"/>
                    </a:lnTo>
                    <a:lnTo>
                      <a:pt x="492" y="250"/>
                    </a:lnTo>
                    <a:lnTo>
                      <a:pt x="492" y="241"/>
                    </a:lnTo>
                    <a:lnTo>
                      <a:pt x="502" y="232"/>
                    </a:lnTo>
                    <a:lnTo>
                      <a:pt x="514" y="221"/>
                    </a:lnTo>
                    <a:lnTo>
                      <a:pt x="514" y="212"/>
                    </a:lnTo>
                    <a:lnTo>
                      <a:pt x="502" y="212"/>
                    </a:lnTo>
                    <a:lnTo>
                      <a:pt x="492" y="201"/>
                    </a:lnTo>
                    <a:lnTo>
                      <a:pt x="492" y="193"/>
                    </a:lnTo>
                    <a:lnTo>
                      <a:pt x="482" y="193"/>
                    </a:lnTo>
                    <a:lnTo>
                      <a:pt x="492" y="182"/>
                    </a:lnTo>
                    <a:lnTo>
                      <a:pt x="502" y="182"/>
                    </a:lnTo>
                    <a:lnTo>
                      <a:pt x="502" y="164"/>
                    </a:lnTo>
                    <a:lnTo>
                      <a:pt x="524" y="164"/>
                    </a:lnTo>
                    <a:lnTo>
                      <a:pt x="535" y="164"/>
                    </a:lnTo>
                    <a:lnTo>
                      <a:pt x="546" y="164"/>
                    </a:lnTo>
                    <a:lnTo>
                      <a:pt x="557" y="164"/>
                    </a:lnTo>
                    <a:lnTo>
                      <a:pt x="567" y="154"/>
                    </a:lnTo>
                    <a:lnTo>
                      <a:pt x="577" y="154"/>
                    </a:lnTo>
                    <a:lnTo>
                      <a:pt x="577" y="144"/>
                    </a:lnTo>
                    <a:lnTo>
                      <a:pt x="589" y="144"/>
                    </a:lnTo>
                    <a:lnTo>
                      <a:pt x="598" y="144"/>
                    </a:lnTo>
                    <a:lnTo>
                      <a:pt x="598" y="154"/>
                    </a:lnTo>
                    <a:lnTo>
                      <a:pt x="610" y="164"/>
                    </a:lnTo>
                    <a:lnTo>
                      <a:pt x="610" y="144"/>
                    </a:lnTo>
                    <a:lnTo>
                      <a:pt x="621" y="144"/>
                    </a:lnTo>
                    <a:lnTo>
                      <a:pt x="632" y="134"/>
                    </a:lnTo>
                    <a:lnTo>
                      <a:pt x="621" y="125"/>
                    </a:lnTo>
                    <a:lnTo>
                      <a:pt x="610" y="115"/>
                    </a:lnTo>
                    <a:lnTo>
                      <a:pt x="632" y="107"/>
                    </a:lnTo>
                    <a:lnTo>
                      <a:pt x="632" y="97"/>
                    </a:lnTo>
                    <a:lnTo>
                      <a:pt x="621" y="87"/>
                    </a:lnTo>
                    <a:lnTo>
                      <a:pt x="621" y="77"/>
                    </a:lnTo>
                    <a:lnTo>
                      <a:pt x="621" y="68"/>
                    </a:lnTo>
                    <a:lnTo>
                      <a:pt x="610" y="68"/>
                    </a:lnTo>
                    <a:lnTo>
                      <a:pt x="598" y="57"/>
                    </a:lnTo>
                    <a:lnTo>
                      <a:pt x="577" y="57"/>
                    </a:lnTo>
                    <a:lnTo>
                      <a:pt x="567" y="57"/>
                    </a:lnTo>
                    <a:lnTo>
                      <a:pt x="557" y="57"/>
                    </a:lnTo>
                    <a:lnTo>
                      <a:pt x="546" y="57"/>
                    </a:lnTo>
                    <a:lnTo>
                      <a:pt x="535" y="48"/>
                    </a:lnTo>
                    <a:lnTo>
                      <a:pt x="524" y="38"/>
                    </a:lnTo>
                    <a:lnTo>
                      <a:pt x="524" y="28"/>
                    </a:lnTo>
                    <a:lnTo>
                      <a:pt x="514" y="19"/>
                    </a:lnTo>
                    <a:lnTo>
                      <a:pt x="502" y="9"/>
                    </a:lnTo>
                    <a:lnTo>
                      <a:pt x="482" y="9"/>
                    </a:lnTo>
                    <a:lnTo>
                      <a:pt x="472" y="9"/>
                    </a:lnTo>
                    <a:lnTo>
                      <a:pt x="460" y="9"/>
                    </a:lnTo>
                    <a:lnTo>
                      <a:pt x="449" y="9"/>
                    </a:lnTo>
                    <a:lnTo>
                      <a:pt x="439" y="0"/>
                    </a:lnTo>
                    <a:lnTo>
                      <a:pt x="429" y="0"/>
                    </a:lnTo>
                    <a:lnTo>
                      <a:pt x="429" y="9"/>
                    </a:lnTo>
                    <a:lnTo>
                      <a:pt x="407" y="19"/>
                    </a:lnTo>
                    <a:lnTo>
                      <a:pt x="396" y="19"/>
                    </a:lnTo>
                    <a:lnTo>
                      <a:pt x="385" y="19"/>
                    </a:lnTo>
                    <a:lnTo>
                      <a:pt x="385" y="9"/>
                    </a:lnTo>
                    <a:lnTo>
                      <a:pt x="385" y="0"/>
                    </a:lnTo>
                    <a:lnTo>
                      <a:pt x="374" y="0"/>
                    </a:lnTo>
                    <a:lnTo>
                      <a:pt x="362" y="0"/>
                    </a:lnTo>
                    <a:lnTo>
                      <a:pt x="362" y="9"/>
                    </a:lnTo>
                    <a:lnTo>
                      <a:pt x="362" y="19"/>
                    </a:lnTo>
                    <a:lnTo>
                      <a:pt x="362" y="28"/>
                    </a:lnTo>
                    <a:lnTo>
                      <a:pt x="353" y="28"/>
                    </a:lnTo>
                    <a:lnTo>
                      <a:pt x="342" y="19"/>
                    </a:lnTo>
                    <a:lnTo>
                      <a:pt x="333" y="28"/>
                    </a:lnTo>
                    <a:lnTo>
                      <a:pt x="321" y="38"/>
                    </a:lnTo>
                    <a:lnTo>
                      <a:pt x="333" y="48"/>
                    </a:lnTo>
                    <a:lnTo>
                      <a:pt x="321" y="57"/>
                    </a:lnTo>
                    <a:lnTo>
                      <a:pt x="311" y="48"/>
                    </a:lnTo>
                    <a:lnTo>
                      <a:pt x="299" y="48"/>
                    </a:lnTo>
                    <a:lnTo>
                      <a:pt x="289" y="48"/>
                    </a:lnTo>
                    <a:lnTo>
                      <a:pt x="278" y="48"/>
                    </a:lnTo>
                    <a:lnTo>
                      <a:pt x="278" y="38"/>
                    </a:lnTo>
                    <a:lnTo>
                      <a:pt x="267" y="28"/>
                    </a:lnTo>
                    <a:lnTo>
                      <a:pt x="258" y="28"/>
                    </a:lnTo>
                    <a:lnTo>
                      <a:pt x="258" y="38"/>
                    </a:lnTo>
                    <a:lnTo>
                      <a:pt x="258" y="57"/>
                    </a:lnTo>
                    <a:lnTo>
                      <a:pt x="246" y="57"/>
                    </a:lnTo>
                    <a:lnTo>
                      <a:pt x="236" y="68"/>
                    </a:lnTo>
                    <a:lnTo>
                      <a:pt x="224" y="77"/>
                    </a:lnTo>
                    <a:lnTo>
                      <a:pt x="224" y="87"/>
                    </a:lnTo>
                    <a:lnTo>
                      <a:pt x="215" y="77"/>
                    </a:lnTo>
                    <a:lnTo>
                      <a:pt x="203" y="68"/>
                    </a:lnTo>
                    <a:lnTo>
                      <a:pt x="193" y="57"/>
                    </a:lnTo>
                    <a:lnTo>
                      <a:pt x="193" y="48"/>
                    </a:lnTo>
                    <a:lnTo>
                      <a:pt x="193" y="38"/>
                    </a:lnTo>
                    <a:lnTo>
                      <a:pt x="183" y="28"/>
                    </a:lnTo>
                    <a:lnTo>
                      <a:pt x="171" y="28"/>
                    </a:lnTo>
                    <a:lnTo>
                      <a:pt x="160" y="38"/>
                    </a:lnTo>
                    <a:lnTo>
                      <a:pt x="160" y="48"/>
                    </a:lnTo>
                    <a:lnTo>
                      <a:pt x="149" y="68"/>
                    </a:lnTo>
                    <a:lnTo>
                      <a:pt x="138" y="68"/>
                    </a:lnTo>
                    <a:lnTo>
                      <a:pt x="118" y="68"/>
                    </a:lnTo>
                    <a:lnTo>
                      <a:pt x="106" y="57"/>
                    </a:lnTo>
                    <a:lnTo>
                      <a:pt x="63" y="68"/>
                    </a:lnTo>
                    <a:lnTo>
                      <a:pt x="55" y="53"/>
                    </a:lnTo>
                    <a:lnTo>
                      <a:pt x="53" y="77"/>
                    </a:lnTo>
                    <a:lnTo>
                      <a:pt x="43" y="77"/>
                    </a:lnTo>
                    <a:lnTo>
                      <a:pt x="43" y="87"/>
                    </a:lnTo>
                    <a:lnTo>
                      <a:pt x="53" y="97"/>
                    </a:lnTo>
                    <a:lnTo>
                      <a:pt x="53" y="107"/>
                    </a:lnTo>
                    <a:lnTo>
                      <a:pt x="63" y="115"/>
                    </a:lnTo>
                    <a:lnTo>
                      <a:pt x="53" y="125"/>
                    </a:lnTo>
                    <a:lnTo>
                      <a:pt x="43" y="134"/>
                    </a:lnTo>
                    <a:lnTo>
                      <a:pt x="31" y="144"/>
                    </a:lnTo>
                    <a:lnTo>
                      <a:pt x="22" y="144"/>
                    </a:lnTo>
                    <a:lnTo>
                      <a:pt x="10" y="144"/>
                    </a:lnTo>
                    <a:lnTo>
                      <a:pt x="0" y="144"/>
                    </a:lnTo>
                    <a:lnTo>
                      <a:pt x="0" y="154"/>
                    </a:lnTo>
                    <a:lnTo>
                      <a:pt x="10" y="164"/>
                    </a:lnTo>
                    <a:lnTo>
                      <a:pt x="22" y="164"/>
                    </a:lnTo>
                    <a:lnTo>
                      <a:pt x="31" y="173"/>
                    </a:lnTo>
                    <a:lnTo>
                      <a:pt x="31" y="182"/>
                    </a:lnTo>
                    <a:lnTo>
                      <a:pt x="31" y="193"/>
                    </a:lnTo>
                    <a:lnTo>
                      <a:pt x="22" y="201"/>
                    </a:lnTo>
                    <a:lnTo>
                      <a:pt x="22" y="212"/>
                    </a:lnTo>
                    <a:lnTo>
                      <a:pt x="22" y="232"/>
                    </a:lnTo>
                    <a:lnTo>
                      <a:pt x="22" y="241"/>
                    </a:lnTo>
                    <a:lnTo>
                      <a:pt x="31" y="260"/>
                    </a:lnTo>
                    <a:lnTo>
                      <a:pt x="43" y="260"/>
                    </a:lnTo>
                    <a:lnTo>
                      <a:pt x="63" y="260"/>
                    </a:lnTo>
                    <a:lnTo>
                      <a:pt x="74" y="271"/>
                    </a:lnTo>
                    <a:lnTo>
                      <a:pt x="63" y="280"/>
                    </a:lnTo>
                    <a:lnTo>
                      <a:pt x="63" y="289"/>
                    </a:lnTo>
                    <a:lnTo>
                      <a:pt x="53" y="298"/>
                    </a:lnTo>
                    <a:lnTo>
                      <a:pt x="43" y="30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6" name="Freeform 63">
                <a:extLst>
                  <a:ext uri="{FF2B5EF4-FFF2-40B4-BE49-F238E27FC236}">
                    <a16:creationId xmlns:a16="http://schemas.microsoft.com/office/drawing/2014/main" id="{1AE8DD4F-76A7-C35F-F9F5-EEB7C190DCE3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5584825" y="1300163"/>
                <a:ext cx="366713" cy="325437"/>
              </a:xfrm>
              <a:custGeom>
                <a:avLst/>
                <a:gdLst>
                  <a:gd name="T0" fmla="*/ 83636 w 228"/>
                  <a:gd name="T1" fmla="*/ 268968 h 219"/>
                  <a:gd name="T2" fmla="*/ 156014 w 228"/>
                  <a:gd name="T3" fmla="*/ 254108 h 219"/>
                  <a:gd name="T4" fmla="*/ 170489 w 228"/>
                  <a:gd name="T5" fmla="*/ 240734 h 219"/>
                  <a:gd name="T6" fmla="*/ 186573 w 228"/>
                  <a:gd name="T7" fmla="*/ 254108 h 219"/>
                  <a:gd name="T8" fmla="*/ 207482 w 228"/>
                  <a:gd name="T9" fmla="*/ 254108 h 219"/>
                  <a:gd name="T10" fmla="*/ 207482 w 228"/>
                  <a:gd name="T11" fmla="*/ 240734 h 219"/>
                  <a:gd name="T12" fmla="*/ 238042 w 228"/>
                  <a:gd name="T13" fmla="*/ 254108 h 219"/>
                  <a:gd name="T14" fmla="*/ 255734 w 228"/>
                  <a:gd name="T15" fmla="*/ 254108 h 219"/>
                  <a:gd name="T16" fmla="*/ 255734 w 228"/>
                  <a:gd name="T17" fmla="*/ 268968 h 219"/>
                  <a:gd name="T18" fmla="*/ 271818 w 228"/>
                  <a:gd name="T19" fmla="*/ 283829 h 219"/>
                  <a:gd name="T20" fmla="*/ 292727 w 228"/>
                  <a:gd name="T21" fmla="*/ 283829 h 219"/>
                  <a:gd name="T22" fmla="*/ 324895 w 228"/>
                  <a:gd name="T23" fmla="*/ 283829 h 219"/>
                  <a:gd name="T24" fmla="*/ 345804 w 228"/>
                  <a:gd name="T25" fmla="*/ 325437 h 219"/>
                  <a:gd name="T26" fmla="*/ 366713 w 228"/>
                  <a:gd name="T27" fmla="*/ 283829 h 219"/>
                  <a:gd name="T28" fmla="*/ 366713 w 228"/>
                  <a:gd name="T29" fmla="*/ 16346 h 219"/>
                  <a:gd name="T30" fmla="*/ 342587 w 228"/>
                  <a:gd name="T31" fmla="*/ 16346 h 219"/>
                  <a:gd name="T32" fmla="*/ 324895 w 228"/>
                  <a:gd name="T33" fmla="*/ 0 h 219"/>
                  <a:gd name="T34" fmla="*/ 307203 w 228"/>
                  <a:gd name="T35" fmla="*/ 0 h 219"/>
                  <a:gd name="T36" fmla="*/ 271818 w 228"/>
                  <a:gd name="T37" fmla="*/ 16346 h 219"/>
                  <a:gd name="T38" fmla="*/ 271818 w 228"/>
                  <a:gd name="T39" fmla="*/ 0 h 219"/>
                  <a:gd name="T40" fmla="*/ 238042 w 228"/>
                  <a:gd name="T41" fmla="*/ 0 h 219"/>
                  <a:gd name="T42" fmla="*/ 223566 w 228"/>
                  <a:gd name="T43" fmla="*/ 0 h 219"/>
                  <a:gd name="T44" fmla="*/ 207482 w 228"/>
                  <a:gd name="T45" fmla="*/ 0 h 219"/>
                  <a:gd name="T46" fmla="*/ 186573 w 228"/>
                  <a:gd name="T47" fmla="*/ 0 h 219"/>
                  <a:gd name="T48" fmla="*/ 170489 w 228"/>
                  <a:gd name="T49" fmla="*/ 16346 h 219"/>
                  <a:gd name="T50" fmla="*/ 156014 w 228"/>
                  <a:gd name="T51" fmla="*/ 16346 h 219"/>
                  <a:gd name="T52" fmla="*/ 120629 w 228"/>
                  <a:gd name="T53" fmla="*/ 16346 h 219"/>
                  <a:gd name="T54" fmla="*/ 101329 w 228"/>
                  <a:gd name="T55" fmla="*/ 16346 h 219"/>
                  <a:gd name="T56" fmla="*/ 83636 w 228"/>
                  <a:gd name="T57" fmla="*/ 16346 h 219"/>
                  <a:gd name="T58" fmla="*/ 67552 w 228"/>
                  <a:gd name="T59" fmla="*/ 16346 h 219"/>
                  <a:gd name="T60" fmla="*/ 67552 w 228"/>
                  <a:gd name="T61" fmla="*/ 28234 h 219"/>
                  <a:gd name="T62" fmla="*/ 67552 w 228"/>
                  <a:gd name="T63" fmla="*/ 44580 h 219"/>
                  <a:gd name="T64" fmla="*/ 51469 w 228"/>
                  <a:gd name="T65" fmla="*/ 44580 h 219"/>
                  <a:gd name="T66" fmla="*/ 35385 w 228"/>
                  <a:gd name="T67" fmla="*/ 44580 h 219"/>
                  <a:gd name="T68" fmla="*/ 16084 w 228"/>
                  <a:gd name="T69" fmla="*/ 44580 h 219"/>
                  <a:gd name="T70" fmla="*/ 0 w 228"/>
                  <a:gd name="T71" fmla="*/ 57955 h 219"/>
                  <a:gd name="T72" fmla="*/ 0 w 228"/>
                  <a:gd name="T73" fmla="*/ 71329 h 219"/>
                  <a:gd name="T74" fmla="*/ 0 w 228"/>
                  <a:gd name="T75" fmla="*/ 84703 h 219"/>
                  <a:gd name="T76" fmla="*/ 0 w 228"/>
                  <a:gd name="T77" fmla="*/ 101049 h 219"/>
                  <a:gd name="T78" fmla="*/ 35385 w 228"/>
                  <a:gd name="T79" fmla="*/ 101049 h 219"/>
                  <a:gd name="T80" fmla="*/ 35385 w 228"/>
                  <a:gd name="T81" fmla="*/ 112937 h 219"/>
                  <a:gd name="T82" fmla="*/ 35385 w 228"/>
                  <a:gd name="T83" fmla="*/ 127797 h 219"/>
                  <a:gd name="T84" fmla="*/ 16084 w 228"/>
                  <a:gd name="T85" fmla="*/ 127797 h 219"/>
                  <a:gd name="T86" fmla="*/ 16084 w 228"/>
                  <a:gd name="T87" fmla="*/ 141171 h 219"/>
                  <a:gd name="T88" fmla="*/ 16084 w 228"/>
                  <a:gd name="T89" fmla="*/ 184266 h 219"/>
                  <a:gd name="T90" fmla="*/ 51469 w 228"/>
                  <a:gd name="T91" fmla="*/ 211014 h 219"/>
                  <a:gd name="T92" fmla="*/ 67552 w 228"/>
                  <a:gd name="T93" fmla="*/ 211014 h 219"/>
                  <a:gd name="T94" fmla="*/ 67552 w 228"/>
                  <a:gd name="T95" fmla="*/ 200612 h 219"/>
                  <a:gd name="T96" fmla="*/ 83636 w 228"/>
                  <a:gd name="T97" fmla="*/ 184266 h 219"/>
                  <a:gd name="T98" fmla="*/ 101329 w 228"/>
                  <a:gd name="T99" fmla="*/ 184266 h 219"/>
                  <a:gd name="T100" fmla="*/ 120629 w 228"/>
                  <a:gd name="T101" fmla="*/ 200612 h 219"/>
                  <a:gd name="T102" fmla="*/ 101329 w 228"/>
                  <a:gd name="T103" fmla="*/ 225874 h 219"/>
                  <a:gd name="T104" fmla="*/ 101329 w 228"/>
                  <a:gd name="T105" fmla="*/ 254108 h 219"/>
                  <a:gd name="T106" fmla="*/ 101329 w 228"/>
                  <a:gd name="T107" fmla="*/ 268968 h 219"/>
                  <a:gd name="T108" fmla="*/ 83636 w 228"/>
                  <a:gd name="T109" fmla="*/ 268968 h 219"/>
                  <a:gd name="T110" fmla="*/ 83636 w 228"/>
                  <a:gd name="T111" fmla="*/ 268968 h 219"/>
                  <a:gd name="T112" fmla="*/ 83636 w 228"/>
                  <a:gd name="T113" fmla="*/ 268968 h 21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28"/>
                  <a:gd name="T172" fmla="*/ 0 h 219"/>
                  <a:gd name="T173" fmla="*/ 228 w 228"/>
                  <a:gd name="T174" fmla="*/ 219 h 21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28" h="219">
                    <a:moveTo>
                      <a:pt x="52" y="181"/>
                    </a:moveTo>
                    <a:lnTo>
                      <a:pt x="97" y="171"/>
                    </a:lnTo>
                    <a:lnTo>
                      <a:pt x="106" y="162"/>
                    </a:lnTo>
                    <a:lnTo>
                      <a:pt x="116" y="171"/>
                    </a:lnTo>
                    <a:lnTo>
                      <a:pt x="129" y="171"/>
                    </a:lnTo>
                    <a:lnTo>
                      <a:pt x="129" y="162"/>
                    </a:lnTo>
                    <a:lnTo>
                      <a:pt x="148" y="171"/>
                    </a:lnTo>
                    <a:lnTo>
                      <a:pt x="159" y="171"/>
                    </a:lnTo>
                    <a:lnTo>
                      <a:pt x="159" y="181"/>
                    </a:lnTo>
                    <a:lnTo>
                      <a:pt x="169" y="191"/>
                    </a:lnTo>
                    <a:lnTo>
                      <a:pt x="182" y="191"/>
                    </a:lnTo>
                    <a:lnTo>
                      <a:pt x="202" y="191"/>
                    </a:lnTo>
                    <a:lnTo>
                      <a:pt x="215" y="219"/>
                    </a:lnTo>
                    <a:lnTo>
                      <a:pt x="228" y="191"/>
                    </a:lnTo>
                    <a:lnTo>
                      <a:pt x="228" y="11"/>
                    </a:lnTo>
                    <a:lnTo>
                      <a:pt x="213" y="11"/>
                    </a:lnTo>
                    <a:lnTo>
                      <a:pt x="202" y="0"/>
                    </a:lnTo>
                    <a:lnTo>
                      <a:pt x="191" y="0"/>
                    </a:lnTo>
                    <a:lnTo>
                      <a:pt x="169" y="11"/>
                    </a:lnTo>
                    <a:lnTo>
                      <a:pt x="169" y="0"/>
                    </a:lnTo>
                    <a:lnTo>
                      <a:pt x="148" y="0"/>
                    </a:lnTo>
                    <a:lnTo>
                      <a:pt x="139" y="0"/>
                    </a:lnTo>
                    <a:lnTo>
                      <a:pt x="129" y="0"/>
                    </a:lnTo>
                    <a:lnTo>
                      <a:pt x="116" y="0"/>
                    </a:lnTo>
                    <a:lnTo>
                      <a:pt x="106" y="11"/>
                    </a:lnTo>
                    <a:lnTo>
                      <a:pt x="97" y="11"/>
                    </a:lnTo>
                    <a:lnTo>
                      <a:pt x="75" y="11"/>
                    </a:lnTo>
                    <a:lnTo>
                      <a:pt x="63" y="11"/>
                    </a:lnTo>
                    <a:lnTo>
                      <a:pt x="52" y="11"/>
                    </a:lnTo>
                    <a:lnTo>
                      <a:pt x="42" y="11"/>
                    </a:lnTo>
                    <a:lnTo>
                      <a:pt x="42" y="19"/>
                    </a:lnTo>
                    <a:lnTo>
                      <a:pt x="42" y="30"/>
                    </a:lnTo>
                    <a:lnTo>
                      <a:pt x="32" y="30"/>
                    </a:lnTo>
                    <a:lnTo>
                      <a:pt x="22" y="30"/>
                    </a:lnTo>
                    <a:lnTo>
                      <a:pt x="10" y="30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0" y="57"/>
                    </a:lnTo>
                    <a:lnTo>
                      <a:pt x="0" y="68"/>
                    </a:lnTo>
                    <a:lnTo>
                      <a:pt x="22" y="68"/>
                    </a:lnTo>
                    <a:lnTo>
                      <a:pt x="22" y="76"/>
                    </a:lnTo>
                    <a:lnTo>
                      <a:pt x="22" y="86"/>
                    </a:lnTo>
                    <a:lnTo>
                      <a:pt x="10" y="86"/>
                    </a:lnTo>
                    <a:lnTo>
                      <a:pt x="10" y="95"/>
                    </a:lnTo>
                    <a:lnTo>
                      <a:pt x="10" y="124"/>
                    </a:lnTo>
                    <a:lnTo>
                      <a:pt x="32" y="142"/>
                    </a:lnTo>
                    <a:lnTo>
                      <a:pt x="42" y="142"/>
                    </a:lnTo>
                    <a:lnTo>
                      <a:pt x="42" y="135"/>
                    </a:lnTo>
                    <a:lnTo>
                      <a:pt x="52" y="124"/>
                    </a:lnTo>
                    <a:lnTo>
                      <a:pt x="63" y="124"/>
                    </a:lnTo>
                    <a:lnTo>
                      <a:pt x="75" y="135"/>
                    </a:lnTo>
                    <a:lnTo>
                      <a:pt x="63" y="152"/>
                    </a:lnTo>
                    <a:lnTo>
                      <a:pt x="63" y="171"/>
                    </a:lnTo>
                    <a:lnTo>
                      <a:pt x="63" y="181"/>
                    </a:lnTo>
                    <a:lnTo>
                      <a:pt x="52" y="18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7" name="Freeform 64">
                <a:extLst>
                  <a:ext uri="{FF2B5EF4-FFF2-40B4-BE49-F238E27FC236}">
                    <a16:creationId xmlns:a16="http://schemas.microsoft.com/office/drawing/2014/main" id="{FFCAA62C-74F5-D9C2-1D94-D081D659D6F2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5329238" y="1541463"/>
                <a:ext cx="627062" cy="357187"/>
              </a:xfrm>
              <a:custGeom>
                <a:avLst/>
                <a:gdLst>
                  <a:gd name="T0" fmla="*/ 344080 w 390"/>
                  <a:gd name="T1" fmla="*/ 42803 h 242"/>
                  <a:gd name="T2" fmla="*/ 344080 w 390"/>
                  <a:gd name="T3" fmla="*/ 56087 h 242"/>
                  <a:gd name="T4" fmla="*/ 344080 w 390"/>
                  <a:gd name="T5" fmla="*/ 70847 h 242"/>
                  <a:gd name="T6" fmla="*/ 344080 w 390"/>
                  <a:gd name="T7" fmla="*/ 98891 h 242"/>
                  <a:gd name="T8" fmla="*/ 344080 w 390"/>
                  <a:gd name="T9" fmla="*/ 113650 h 242"/>
                  <a:gd name="T10" fmla="*/ 344080 w 390"/>
                  <a:gd name="T11" fmla="*/ 141694 h 242"/>
                  <a:gd name="T12" fmla="*/ 324786 w 390"/>
                  <a:gd name="T13" fmla="*/ 154978 h 242"/>
                  <a:gd name="T14" fmla="*/ 308707 w 390"/>
                  <a:gd name="T15" fmla="*/ 168262 h 242"/>
                  <a:gd name="T16" fmla="*/ 292629 w 390"/>
                  <a:gd name="T17" fmla="*/ 168262 h 242"/>
                  <a:gd name="T18" fmla="*/ 257256 w 390"/>
                  <a:gd name="T19" fmla="*/ 141694 h 242"/>
                  <a:gd name="T20" fmla="*/ 239570 w 390"/>
                  <a:gd name="T21" fmla="*/ 128410 h 242"/>
                  <a:gd name="T22" fmla="*/ 239570 w 390"/>
                  <a:gd name="T23" fmla="*/ 98891 h 242"/>
                  <a:gd name="T24" fmla="*/ 205805 w 390"/>
                  <a:gd name="T25" fmla="*/ 70847 h 242"/>
                  <a:gd name="T26" fmla="*/ 188119 w 390"/>
                  <a:gd name="T27" fmla="*/ 70847 h 242"/>
                  <a:gd name="T28" fmla="*/ 173648 w 390"/>
                  <a:gd name="T29" fmla="*/ 56087 h 242"/>
                  <a:gd name="T30" fmla="*/ 173648 w 390"/>
                  <a:gd name="T31" fmla="*/ 42803 h 242"/>
                  <a:gd name="T32" fmla="*/ 138275 w 390"/>
                  <a:gd name="T33" fmla="*/ 42803 h 242"/>
                  <a:gd name="T34" fmla="*/ 104510 w 390"/>
                  <a:gd name="T35" fmla="*/ 56087 h 242"/>
                  <a:gd name="T36" fmla="*/ 86824 w 390"/>
                  <a:gd name="T37" fmla="*/ 70847 h 242"/>
                  <a:gd name="T38" fmla="*/ 69138 w 390"/>
                  <a:gd name="T39" fmla="*/ 70847 h 242"/>
                  <a:gd name="T40" fmla="*/ 53059 w 390"/>
                  <a:gd name="T41" fmla="*/ 98891 h 242"/>
                  <a:gd name="T42" fmla="*/ 53059 w 390"/>
                  <a:gd name="T43" fmla="*/ 128410 h 242"/>
                  <a:gd name="T44" fmla="*/ 36981 w 390"/>
                  <a:gd name="T45" fmla="*/ 154978 h 242"/>
                  <a:gd name="T46" fmla="*/ 17686 w 390"/>
                  <a:gd name="T47" fmla="*/ 181545 h 242"/>
                  <a:gd name="T48" fmla="*/ 0 w 390"/>
                  <a:gd name="T49" fmla="*/ 265676 h 242"/>
                  <a:gd name="T50" fmla="*/ 53059 w 390"/>
                  <a:gd name="T51" fmla="*/ 252392 h 242"/>
                  <a:gd name="T52" fmla="*/ 86824 w 390"/>
                  <a:gd name="T53" fmla="*/ 252392 h 242"/>
                  <a:gd name="T54" fmla="*/ 104510 w 390"/>
                  <a:gd name="T55" fmla="*/ 237633 h 242"/>
                  <a:gd name="T56" fmla="*/ 120589 w 390"/>
                  <a:gd name="T57" fmla="*/ 237633 h 242"/>
                  <a:gd name="T58" fmla="*/ 138275 w 390"/>
                  <a:gd name="T59" fmla="*/ 237633 h 242"/>
                  <a:gd name="T60" fmla="*/ 188119 w 390"/>
                  <a:gd name="T61" fmla="*/ 237633 h 242"/>
                  <a:gd name="T62" fmla="*/ 205805 w 390"/>
                  <a:gd name="T63" fmla="*/ 237633 h 242"/>
                  <a:gd name="T64" fmla="*/ 239570 w 390"/>
                  <a:gd name="T65" fmla="*/ 222873 h 242"/>
                  <a:gd name="T66" fmla="*/ 292629 w 390"/>
                  <a:gd name="T67" fmla="*/ 222873 h 242"/>
                  <a:gd name="T68" fmla="*/ 344080 w 390"/>
                  <a:gd name="T69" fmla="*/ 237633 h 242"/>
                  <a:gd name="T70" fmla="*/ 377845 w 390"/>
                  <a:gd name="T71" fmla="*/ 222873 h 242"/>
                  <a:gd name="T72" fmla="*/ 393924 w 390"/>
                  <a:gd name="T73" fmla="*/ 237633 h 242"/>
                  <a:gd name="T74" fmla="*/ 427689 w 390"/>
                  <a:gd name="T75" fmla="*/ 252392 h 242"/>
                  <a:gd name="T76" fmla="*/ 480748 w 390"/>
                  <a:gd name="T77" fmla="*/ 265676 h 242"/>
                  <a:gd name="T78" fmla="*/ 496826 w 390"/>
                  <a:gd name="T79" fmla="*/ 265676 h 242"/>
                  <a:gd name="T80" fmla="*/ 512905 w 390"/>
                  <a:gd name="T81" fmla="*/ 293720 h 242"/>
                  <a:gd name="T82" fmla="*/ 565964 w 390"/>
                  <a:gd name="T83" fmla="*/ 323239 h 242"/>
                  <a:gd name="T84" fmla="*/ 580434 w 390"/>
                  <a:gd name="T85" fmla="*/ 336523 h 242"/>
                  <a:gd name="T86" fmla="*/ 622238 w 390"/>
                  <a:gd name="T87" fmla="*/ 357187 h 242"/>
                  <a:gd name="T88" fmla="*/ 627062 w 390"/>
                  <a:gd name="T89" fmla="*/ 48707 h 242"/>
                  <a:gd name="T90" fmla="*/ 599729 w 390"/>
                  <a:gd name="T91" fmla="*/ 70847 h 242"/>
                  <a:gd name="T92" fmla="*/ 580434 w 390"/>
                  <a:gd name="T93" fmla="*/ 42803 h 242"/>
                  <a:gd name="T94" fmla="*/ 549885 w 390"/>
                  <a:gd name="T95" fmla="*/ 42803 h 242"/>
                  <a:gd name="T96" fmla="*/ 532199 w 390"/>
                  <a:gd name="T97" fmla="*/ 42803 h 242"/>
                  <a:gd name="T98" fmla="*/ 512905 w 390"/>
                  <a:gd name="T99" fmla="*/ 28044 h 242"/>
                  <a:gd name="T100" fmla="*/ 512905 w 390"/>
                  <a:gd name="T101" fmla="*/ 13284 h 242"/>
                  <a:gd name="T102" fmla="*/ 496826 w 390"/>
                  <a:gd name="T103" fmla="*/ 13284 h 242"/>
                  <a:gd name="T104" fmla="*/ 464669 w 390"/>
                  <a:gd name="T105" fmla="*/ 0 h 242"/>
                  <a:gd name="T106" fmla="*/ 464669 w 390"/>
                  <a:gd name="T107" fmla="*/ 13284 h 242"/>
                  <a:gd name="T108" fmla="*/ 445375 w 390"/>
                  <a:gd name="T109" fmla="*/ 13284 h 242"/>
                  <a:gd name="T110" fmla="*/ 427689 w 390"/>
                  <a:gd name="T111" fmla="*/ 0 h 242"/>
                  <a:gd name="T112" fmla="*/ 411610 w 390"/>
                  <a:gd name="T113" fmla="*/ 13284 h 242"/>
                  <a:gd name="T114" fmla="*/ 344080 w 390"/>
                  <a:gd name="T115" fmla="*/ 28044 h 242"/>
                  <a:gd name="T116" fmla="*/ 344080 w 390"/>
                  <a:gd name="T117" fmla="*/ 42803 h 242"/>
                  <a:gd name="T118" fmla="*/ 344080 w 390"/>
                  <a:gd name="T119" fmla="*/ 42803 h 242"/>
                  <a:gd name="T120" fmla="*/ 344080 w 390"/>
                  <a:gd name="T121" fmla="*/ 42803 h 2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90"/>
                  <a:gd name="T184" fmla="*/ 0 h 242"/>
                  <a:gd name="T185" fmla="*/ 390 w 390"/>
                  <a:gd name="T186" fmla="*/ 242 h 24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90" h="242">
                    <a:moveTo>
                      <a:pt x="214" y="29"/>
                    </a:moveTo>
                    <a:lnTo>
                      <a:pt x="214" y="38"/>
                    </a:lnTo>
                    <a:lnTo>
                      <a:pt x="214" y="48"/>
                    </a:lnTo>
                    <a:lnTo>
                      <a:pt x="214" y="67"/>
                    </a:lnTo>
                    <a:lnTo>
                      <a:pt x="214" y="77"/>
                    </a:lnTo>
                    <a:lnTo>
                      <a:pt x="214" y="96"/>
                    </a:lnTo>
                    <a:lnTo>
                      <a:pt x="202" y="105"/>
                    </a:lnTo>
                    <a:lnTo>
                      <a:pt x="192" y="114"/>
                    </a:lnTo>
                    <a:lnTo>
                      <a:pt x="182" y="114"/>
                    </a:lnTo>
                    <a:lnTo>
                      <a:pt x="160" y="96"/>
                    </a:lnTo>
                    <a:lnTo>
                      <a:pt x="149" y="87"/>
                    </a:lnTo>
                    <a:lnTo>
                      <a:pt x="149" y="67"/>
                    </a:lnTo>
                    <a:lnTo>
                      <a:pt x="128" y="48"/>
                    </a:lnTo>
                    <a:lnTo>
                      <a:pt x="117" y="48"/>
                    </a:lnTo>
                    <a:lnTo>
                      <a:pt x="108" y="38"/>
                    </a:lnTo>
                    <a:lnTo>
                      <a:pt x="108" y="29"/>
                    </a:lnTo>
                    <a:lnTo>
                      <a:pt x="86" y="29"/>
                    </a:lnTo>
                    <a:lnTo>
                      <a:pt x="65" y="38"/>
                    </a:lnTo>
                    <a:lnTo>
                      <a:pt x="54" y="48"/>
                    </a:lnTo>
                    <a:lnTo>
                      <a:pt x="43" y="48"/>
                    </a:lnTo>
                    <a:lnTo>
                      <a:pt x="33" y="67"/>
                    </a:lnTo>
                    <a:lnTo>
                      <a:pt x="33" y="87"/>
                    </a:lnTo>
                    <a:lnTo>
                      <a:pt x="23" y="105"/>
                    </a:lnTo>
                    <a:lnTo>
                      <a:pt x="11" y="123"/>
                    </a:lnTo>
                    <a:lnTo>
                      <a:pt x="0" y="180"/>
                    </a:lnTo>
                    <a:lnTo>
                      <a:pt x="33" y="171"/>
                    </a:lnTo>
                    <a:lnTo>
                      <a:pt x="54" y="171"/>
                    </a:lnTo>
                    <a:lnTo>
                      <a:pt x="65" y="161"/>
                    </a:lnTo>
                    <a:lnTo>
                      <a:pt x="75" y="161"/>
                    </a:lnTo>
                    <a:lnTo>
                      <a:pt x="86" y="161"/>
                    </a:lnTo>
                    <a:lnTo>
                      <a:pt x="117" y="161"/>
                    </a:lnTo>
                    <a:lnTo>
                      <a:pt x="128" y="161"/>
                    </a:lnTo>
                    <a:lnTo>
                      <a:pt x="149" y="151"/>
                    </a:lnTo>
                    <a:lnTo>
                      <a:pt x="182" y="151"/>
                    </a:lnTo>
                    <a:lnTo>
                      <a:pt x="214" y="161"/>
                    </a:lnTo>
                    <a:lnTo>
                      <a:pt x="235" y="151"/>
                    </a:lnTo>
                    <a:lnTo>
                      <a:pt x="245" y="161"/>
                    </a:lnTo>
                    <a:lnTo>
                      <a:pt x="266" y="171"/>
                    </a:lnTo>
                    <a:lnTo>
                      <a:pt x="299" y="180"/>
                    </a:lnTo>
                    <a:lnTo>
                      <a:pt x="309" y="180"/>
                    </a:lnTo>
                    <a:lnTo>
                      <a:pt x="319" y="199"/>
                    </a:lnTo>
                    <a:lnTo>
                      <a:pt x="352" y="219"/>
                    </a:lnTo>
                    <a:lnTo>
                      <a:pt x="361" y="228"/>
                    </a:lnTo>
                    <a:lnTo>
                      <a:pt x="387" y="242"/>
                    </a:lnTo>
                    <a:lnTo>
                      <a:pt x="390" y="33"/>
                    </a:lnTo>
                    <a:lnTo>
                      <a:pt x="373" y="48"/>
                    </a:lnTo>
                    <a:lnTo>
                      <a:pt x="361" y="29"/>
                    </a:lnTo>
                    <a:lnTo>
                      <a:pt x="342" y="29"/>
                    </a:lnTo>
                    <a:lnTo>
                      <a:pt x="331" y="29"/>
                    </a:lnTo>
                    <a:lnTo>
                      <a:pt x="319" y="19"/>
                    </a:lnTo>
                    <a:lnTo>
                      <a:pt x="319" y="9"/>
                    </a:lnTo>
                    <a:lnTo>
                      <a:pt x="309" y="9"/>
                    </a:lnTo>
                    <a:lnTo>
                      <a:pt x="289" y="0"/>
                    </a:lnTo>
                    <a:lnTo>
                      <a:pt x="289" y="9"/>
                    </a:lnTo>
                    <a:lnTo>
                      <a:pt x="277" y="9"/>
                    </a:lnTo>
                    <a:lnTo>
                      <a:pt x="266" y="0"/>
                    </a:lnTo>
                    <a:lnTo>
                      <a:pt x="256" y="9"/>
                    </a:lnTo>
                    <a:lnTo>
                      <a:pt x="214" y="19"/>
                    </a:lnTo>
                    <a:lnTo>
                      <a:pt x="214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8" name="Freeform 65">
                <a:extLst>
                  <a:ext uri="{FF2B5EF4-FFF2-40B4-BE49-F238E27FC236}">
                    <a16:creationId xmlns:a16="http://schemas.microsoft.com/office/drawing/2014/main" id="{23ACF43E-1C54-1359-F97A-A43FA9B3F0F8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5326063" y="1766888"/>
                <a:ext cx="630237" cy="392112"/>
              </a:xfrm>
              <a:custGeom>
                <a:avLst/>
                <a:gdLst>
                  <a:gd name="T0" fmla="*/ 630237 w 393"/>
                  <a:gd name="T1" fmla="*/ 210113 h 265"/>
                  <a:gd name="T2" fmla="*/ 588542 w 393"/>
                  <a:gd name="T3" fmla="*/ 226389 h 265"/>
                  <a:gd name="T4" fmla="*/ 513170 w 393"/>
                  <a:gd name="T5" fmla="*/ 253023 h 265"/>
                  <a:gd name="T6" fmla="*/ 513170 w 393"/>
                  <a:gd name="T7" fmla="*/ 306291 h 265"/>
                  <a:gd name="T8" fmla="*/ 481097 w 393"/>
                  <a:gd name="T9" fmla="*/ 335885 h 265"/>
                  <a:gd name="T10" fmla="*/ 465060 w 393"/>
                  <a:gd name="T11" fmla="*/ 335885 h 265"/>
                  <a:gd name="T12" fmla="*/ 410536 w 393"/>
                  <a:gd name="T13" fmla="*/ 350681 h 265"/>
                  <a:gd name="T14" fmla="*/ 388085 w 393"/>
                  <a:gd name="T15" fmla="*/ 381754 h 265"/>
                  <a:gd name="T16" fmla="*/ 325542 w 393"/>
                  <a:gd name="T17" fmla="*/ 392112 h 265"/>
                  <a:gd name="T18" fmla="*/ 291865 w 393"/>
                  <a:gd name="T19" fmla="*/ 378795 h 265"/>
                  <a:gd name="T20" fmla="*/ 206872 w 393"/>
                  <a:gd name="T21" fmla="*/ 335885 h 265"/>
                  <a:gd name="T22" fmla="*/ 187628 w 393"/>
                  <a:gd name="T23" fmla="*/ 319608 h 265"/>
                  <a:gd name="T24" fmla="*/ 206872 w 393"/>
                  <a:gd name="T25" fmla="*/ 292974 h 265"/>
                  <a:gd name="T26" fmla="*/ 206872 w 393"/>
                  <a:gd name="T27" fmla="*/ 264861 h 265"/>
                  <a:gd name="T28" fmla="*/ 187628 w 393"/>
                  <a:gd name="T29" fmla="*/ 238227 h 265"/>
                  <a:gd name="T30" fmla="*/ 155555 w 393"/>
                  <a:gd name="T31" fmla="*/ 224910 h 265"/>
                  <a:gd name="T32" fmla="*/ 139518 w 393"/>
                  <a:gd name="T33" fmla="*/ 238227 h 265"/>
                  <a:gd name="T34" fmla="*/ 86597 w 393"/>
                  <a:gd name="T35" fmla="*/ 224910 h 265"/>
                  <a:gd name="T36" fmla="*/ 52921 w 393"/>
                  <a:gd name="T37" fmla="*/ 211593 h 265"/>
                  <a:gd name="T38" fmla="*/ 17640 w 393"/>
                  <a:gd name="T39" fmla="*/ 198276 h 265"/>
                  <a:gd name="T40" fmla="*/ 0 w 393"/>
                  <a:gd name="T41" fmla="*/ 112455 h 265"/>
                  <a:gd name="T42" fmla="*/ 0 w 393"/>
                  <a:gd name="T43" fmla="*/ 84341 h 265"/>
                  <a:gd name="T44" fmla="*/ 1604 w 393"/>
                  <a:gd name="T45" fmla="*/ 41431 h 265"/>
                  <a:gd name="T46" fmla="*/ 88201 w 393"/>
                  <a:gd name="T47" fmla="*/ 28114 h 265"/>
                  <a:gd name="T48" fmla="*/ 123482 w 393"/>
                  <a:gd name="T49" fmla="*/ 13317 h 265"/>
                  <a:gd name="T50" fmla="*/ 192439 w 393"/>
                  <a:gd name="T51" fmla="*/ 13317 h 265"/>
                  <a:gd name="T52" fmla="*/ 240548 w 393"/>
                  <a:gd name="T53" fmla="*/ 0 h 265"/>
                  <a:gd name="T54" fmla="*/ 343182 w 393"/>
                  <a:gd name="T55" fmla="*/ 13317 h 265"/>
                  <a:gd name="T56" fmla="*/ 396103 w 393"/>
                  <a:gd name="T57" fmla="*/ 13317 h 265"/>
                  <a:gd name="T58" fmla="*/ 482701 w 393"/>
                  <a:gd name="T59" fmla="*/ 41431 h 265"/>
                  <a:gd name="T60" fmla="*/ 514774 w 393"/>
                  <a:gd name="T61" fmla="*/ 71024 h 265"/>
                  <a:gd name="T62" fmla="*/ 585335 w 393"/>
                  <a:gd name="T63" fmla="*/ 112455 h 265"/>
                  <a:gd name="T64" fmla="*/ 625426 w 393"/>
                  <a:gd name="T65" fmla="*/ 165723 h 26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93"/>
                  <a:gd name="T100" fmla="*/ 0 h 265"/>
                  <a:gd name="T101" fmla="*/ 393 w 393"/>
                  <a:gd name="T102" fmla="*/ 265 h 26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93" h="265">
                    <a:moveTo>
                      <a:pt x="390" y="112"/>
                    </a:moveTo>
                    <a:lnTo>
                      <a:pt x="393" y="142"/>
                    </a:lnTo>
                    <a:lnTo>
                      <a:pt x="367" y="144"/>
                    </a:lnTo>
                    <a:lnTo>
                      <a:pt x="367" y="153"/>
                    </a:lnTo>
                    <a:lnTo>
                      <a:pt x="320" y="161"/>
                    </a:lnTo>
                    <a:lnTo>
                      <a:pt x="320" y="171"/>
                    </a:lnTo>
                    <a:lnTo>
                      <a:pt x="320" y="198"/>
                    </a:lnTo>
                    <a:lnTo>
                      <a:pt x="320" y="207"/>
                    </a:lnTo>
                    <a:lnTo>
                      <a:pt x="310" y="227"/>
                    </a:lnTo>
                    <a:lnTo>
                      <a:pt x="300" y="227"/>
                    </a:lnTo>
                    <a:lnTo>
                      <a:pt x="300" y="237"/>
                    </a:lnTo>
                    <a:lnTo>
                      <a:pt x="290" y="227"/>
                    </a:lnTo>
                    <a:lnTo>
                      <a:pt x="267" y="237"/>
                    </a:lnTo>
                    <a:lnTo>
                      <a:pt x="256" y="237"/>
                    </a:lnTo>
                    <a:lnTo>
                      <a:pt x="246" y="237"/>
                    </a:lnTo>
                    <a:lnTo>
                      <a:pt x="242" y="258"/>
                    </a:lnTo>
                    <a:lnTo>
                      <a:pt x="224" y="265"/>
                    </a:lnTo>
                    <a:lnTo>
                      <a:pt x="203" y="265"/>
                    </a:lnTo>
                    <a:lnTo>
                      <a:pt x="203" y="256"/>
                    </a:lnTo>
                    <a:lnTo>
                      <a:pt x="182" y="256"/>
                    </a:lnTo>
                    <a:lnTo>
                      <a:pt x="161" y="237"/>
                    </a:lnTo>
                    <a:lnTo>
                      <a:pt x="129" y="227"/>
                    </a:lnTo>
                    <a:lnTo>
                      <a:pt x="116" y="220"/>
                    </a:lnTo>
                    <a:lnTo>
                      <a:pt x="117" y="216"/>
                    </a:lnTo>
                    <a:lnTo>
                      <a:pt x="117" y="207"/>
                    </a:lnTo>
                    <a:lnTo>
                      <a:pt x="129" y="198"/>
                    </a:lnTo>
                    <a:lnTo>
                      <a:pt x="129" y="189"/>
                    </a:lnTo>
                    <a:lnTo>
                      <a:pt x="129" y="179"/>
                    </a:lnTo>
                    <a:lnTo>
                      <a:pt x="117" y="171"/>
                    </a:lnTo>
                    <a:lnTo>
                      <a:pt x="117" y="161"/>
                    </a:lnTo>
                    <a:lnTo>
                      <a:pt x="108" y="152"/>
                    </a:lnTo>
                    <a:lnTo>
                      <a:pt x="97" y="152"/>
                    </a:lnTo>
                    <a:lnTo>
                      <a:pt x="97" y="161"/>
                    </a:lnTo>
                    <a:lnTo>
                      <a:pt x="87" y="161"/>
                    </a:lnTo>
                    <a:lnTo>
                      <a:pt x="65" y="161"/>
                    </a:lnTo>
                    <a:lnTo>
                      <a:pt x="54" y="152"/>
                    </a:lnTo>
                    <a:lnTo>
                      <a:pt x="43" y="152"/>
                    </a:lnTo>
                    <a:lnTo>
                      <a:pt x="33" y="143"/>
                    </a:lnTo>
                    <a:lnTo>
                      <a:pt x="33" y="134"/>
                    </a:lnTo>
                    <a:lnTo>
                      <a:pt x="11" y="134"/>
                    </a:lnTo>
                    <a:lnTo>
                      <a:pt x="11" y="104"/>
                    </a:lnTo>
                    <a:lnTo>
                      <a:pt x="0" y="76"/>
                    </a:lnTo>
                    <a:lnTo>
                      <a:pt x="0" y="67"/>
                    </a:lnTo>
                    <a:lnTo>
                      <a:pt x="0" y="57"/>
                    </a:lnTo>
                    <a:lnTo>
                      <a:pt x="0" y="28"/>
                    </a:lnTo>
                    <a:lnTo>
                      <a:pt x="1" y="28"/>
                    </a:lnTo>
                    <a:lnTo>
                      <a:pt x="36" y="19"/>
                    </a:lnTo>
                    <a:lnTo>
                      <a:pt x="55" y="19"/>
                    </a:lnTo>
                    <a:lnTo>
                      <a:pt x="67" y="9"/>
                    </a:lnTo>
                    <a:lnTo>
                      <a:pt x="77" y="9"/>
                    </a:lnTo>
                    <a:lnTo>
                      <a:pt x="88" y="9"/>
                    </a:lnTo>
                    <a:lnTo>
                      <a:pt x="120" y="9"/>
                    </a:lnTo>
                    <a:lnTo>
                      <a:pt x="130" y="9"/>
                    </a:lnTo>
                    <a:lnTo>
                      <a:pt x="150" y="0"/>
                    </a:lnTo>
                    <a:lnTo>
                      <a:pt x="184" y="0"/>
                    </a:lnTo>
                    <a:lnTo>
                      <a:pt x="214" y="9"/>
                    </a:lnTo>
                    <a:lnTo>
                      <a:pt x="238" y="0"/>
                    </a:lnTo>
                    <a:lnTo>
                      <a:pt x="247" y="9"/>
                    </a:lnTo>
                    <a:lnTo>
                      <a:pt x="268" y="19"/>
                    </a:lnTo>
                    <a:lnTo>
                      <a:pt x="301" y="28"/>
                    </a:lnTo>
                    <a:lnTo>
                      <a:pt x="310" y="28"/>
                    </a:lnTo>
                    <a:lnTo>
                      <a:pt x="321" y="48"/>
                    </a:lnTo>
                    <a:lnTo>
                      <a:pt x="353" y="67"/>
                    </a:lnTo>
                    <a:lnTo>
                      <a:pt x="365" y="76"/>
                    </a:lnTo>
                    <a:lnTo>
                      <a:pt x="392" y="72"/>
                    </a:lnTo>
                    <a:lnTo>
                      <a:pt x="390" y="112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9" name="Freeform 66">
                <a:extLst>
                  <a:ext uri="{FF2B5EF4-FFF2-40B4-BE49-F238E27FC236}">
                    <a16:creationId xmlns:a16="http://schemas.microsoft.com/office/drawing/2014/main" id="{71433F1A-04E5-04BF-D7DF-F8FE305050AA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3819525" y="2954338"/>
                <a:ext cx="993775" cy="381000"/>
              </a:xfrm>
              <a:custGeom>
                <a:avLst/>
                <a:gdLst>
                  <a:gd name="T0" fmla="*/ 860737 w 620"/>
                  <a:gd name="T1" fmla="*/ 338008 h 257"/>
                  <a:gd name="T2" fmla="*/ 841503 w 620"/>
                  <a:gd name="T3" fmla="*/ 338008 h 257"/>
                  <a:gd name="T4" fmla="*/ 791814 w 620"/>
                  <a:gd name="T5" fmla="*/ 338008 h 257"/>
                  <a:gd name="T6" fmla="*/ 737317 w 620"/>
                  <a:gd name="T7" fmla="*/ 338008 h 257"/>
                  <a:gd name="T8" fmla="*/ 705260 w 620"/>
                  <a:gd name="T9" fmla="*/ 367658 h 257"/>
                  <a:gd name="T10" fmla="*/ 652365 w 620"/>
                  <a:gd name="T11" fmla="*/ 381000 h 257"/>
                  <a:gd name="T12" fmla="*/ 601074 w 620"/>
                  <a:gd name="T13" fmla="*/ 367658 h 257"/>
                  <a:gd name="T14" fmla="*/ 567413 w 620"/>
                  <a:gd name="T15" fmla="*/ 367658 h 257"/>
                  <a:gd name="T16" fmla="*/ 496888 w 620"/>
                  <a:gd name="T17" fmla="*/ 338008 h 257"/>
                  <a:gd name="T18" fmla="*/ 429567 w 620"/>
                  <a:gd name="T19" fmla="*/ 338008 h 257"/>
                  <a:gd name="T20" fmla="*/ 378276 w 620"/>
                  <a:gd name="T21" fmla="*/ 309840 h 257"/>
                  <a:gd name="T22" fmla="*/ 341410 w 620"/>
                  <a:gd name="T23" fmla="*/ 266848 h 257"/>
                  <a:gd name="T24" fmla="*/ 275692 w 620"/>
                  <a:gd name="T25" fmla="*/ 266848 h 257"/>
                  <a:gd name="T26" fmla="*/ 222798 w 620"/>
                  <a:gd name="T27" fmla="*/ 254988 h 257"/>
                  <a:gd name="T28" fmla="*/ 171506 w 620"/>
                  <a:gd name="T29" fmla="*/ 283156 h 257"/>
                  <a:gd name="T30" fmla="*/ 152272 w 620"/>
                  <a:gd name="T31" fmla="*/ 254988 h 257"/>
                  <a:gd name="T32" fmla="*/ 51292 w 620"/>
                  <a:gd name="T33" fmla="*/ 240163 h 257"/>
                  <a:gd name="T34" fmla="*/ 16029 w 620"/>
                  <a:gd name="T35" fmla="*/ 211996 h 257"/>
                  <a:gd name="T36" fmla="*/ 16029 w 620"/>
                  <a:gd name="T37" fmla="*/ 183829 h 257"/>
                  <a:gd name="T38" fmla="*/ 51292 w 620"/>
                  <a:gd name="T39" fmla="*/ 155661 h 257"/>
                  <a:gd name="T40" fmla="*/ 102583 w 620"/>
                  <a:gd name="T41" fmla="*/ 183829 h 257"/>
                  <a:gd name="T42" fmla="*/ 152272 w 620"/>
                  <a:gd name="T43" fmla="*/ 183829 h 257"/>
                  <a:gd name="T44" fmla="*/ 203564 w 620"/>
                  <a:gd name="T45" fmla="*/ 183829 h 257"/>
                  <a:gd name="T46" fmla="*/ 258061 w 620"/>
                  <a:gd name="T47" fmla="*/ 167521 h 257"/>
                  <a:gd name="T48" fmla="*/ 307750 w 620"/>
                  <a:gd name="T49" fmla="*/ 183829 h 257"/>
                  <a:gd name="T50" fmla="*/ 378276 w 620"/>
                  <a:gd name="T51" fmla="*/ 167521 h 257"/>
                  <a:gd name="T52" fmla="*/ 415142 w 620"/>
                  <a:gd name="T53" fmla="*/ 167521 h 257"/>
                  <a:gd name="T54" fmla="*/ 461625 w 620"/>
                  <a:gd name="T55" fmla="*/ 197171 h 257"/>
                  <a:gd name="T56" fmla="*/ 480859 w 620"/>
                  <a:gd name="T57" fmla="*/ 211996 h 257"/>
                  <a:gd name="T58" fmla="*/ 496888 w 620"/>
                  <a:gd name="T59" fmla="*/ 183829 h 257"/>
                  <a:gd name="T60" fmla="*/ 480859 w 620"/>
                  <a:gd name="T61" fmla="*/ 140837 h 257"/>
                  <a:gd name="T62" fmla="*/ 461625 w 620"/>
                  <a:gd name="T63" fmla="*/ 84502 h 257"/>
                  <a:gd name="T64" fmla="*/ 548179 w 620"/>
                  <a:gd name="T65" fmla="*/ 54852 h 257"/>
                  <a:gd name="T66" fmla="*/ 583442 w 620"/>
                  <a:gd name="T67" fmla="*/ 41510 h 257"/>
                  <a:gd name="T68" fmla="*/ 617102 w 620"/>
                  <a:gd name="T69" fmla="*/ 28167 h 257"/>
                  <a:gd name="T70" fmla="*/ 705260 w 620"/>
                  <a:gd name="T71" fmla="*/ 41510 h 257"/>
                  <a:gd name="T72" fmla="*/ 721288 w 620"/>
                  <a:gd name="T73" fmla="*/ 0 h 257"/>
                  <a:gd name="T74" fmla="*/ 791814 w 620"/>
                  <a:gd name="T75" fmla="*/ 0 h 257"/>
                  <a:gd name="T76" fmla="*/ 841503 w 620"/>
                  <a:gd name="T77" fmla="*/ 13342 h 257"/>
                  <a:gd name="T78" fmla="*/ 912029 w 620"/>
                  <a:gd name="T79" fmla="*/ 28167 h 257"/>
                  <a:gd name="T80" fmla="*/ 945689 w 620"/>
                  <a:gd name="T81" fmla="*/ 54852 h 257"/>
                  <a:gd name="T82" fmla="*/ 993775 w 620"/>
                  <a:gd name="T83" fmla="*/ 69677 h 257"/>
                  <a:gd name="T84" fmla="*/ 980952 w 620"/>
                  <a:gd name="T85" fmla="*/ 112669 h 257"/>
                  <a:gd name="T86" fmla="*/ 980952 w 620"/>
                  <a:gd name="T87" fmla="*/ 183829 h 257"/>
                  <a:gd name="T88" fmla="*/ 961718 w 620"/>
                  <a:gd name="T89" fmla="*/ 183829 h 257"/>
                  <a:gd name="T90" fmla="*/ 926455 w 620"/>
                  <a:gd name="T91" fmla="*/ 197171 h 257"/>
                  <a:gd name="T92" fmla="*/ 945689 w 620"/>
                  <a:gd name="T93" fmla="*/ 240163 h 257"/>
                  <a:gd name="T94" fmla="*/ 912029 w 620"/>
                  <a:gd name="T95" fmla="*/ 296498 h 257"/>
                  <a:gd name="T96" fmla="*/ 875163 w 620"/>
                  <a:gd name="T97" fmla="*/ 338008 h 257"/>
                  <a:gd name="T98" fmla="*/ 875163 w 620"/>
                  <a:gd name="T99" fmla="*/ 324665 h 25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620"/>
                  <a:gd name="T151" fmla="*/ 0 h 257"/>
                  <a:gd name="T152" fmla="*/ 620 w 620"/>
                  <a:gd name="T153" fmla="*/ 257 h 25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620" h="257">
                    <a:moveTo>
                      <a:pt x="546" y="219"/>
                    </a:moveTo>
                    <a:lnTo>
                      <a:pt x="546" y="228"/>
                    </a:lnTo>
                    <a:lnTo>
                      <a:pt x="537" y="228"/>
                    </a:lnTo>
                    <a:lnTo>
                      <a:pt x="537" y="239"/>
                    </a:lnTo>
                    <a:lnTo>
                      <a:pt x="525" y="239"/>
                    </a:lnTo>
                    <a:lnTo>
                      <a:pt x="525" y="228"/>
                    </a:lnTo>
                    <a:lnTo>
                      <a:pt x="515" y="228"/>
                    </a:lnTo>
                    <a:lnTo>
                      <a:pt x="503" y="228"/>
                    </a:lnTo>
                    <a:lnTo>
                      <a:pt x="494" y="228"/>
                    </a:lnTo>
                    <a:lnTo>
                      <a:pt x="482" y="228"/>
                    </a:lnTo>
                    <a:lnTo>
                      <a:pt x="472" y="228"/>
                    </a:lnTo>
                    <a:lnTo>
                      <a:pt x="460" y="228"/>
                    </a:lnTo>
                    <a:lnTo>
                      <a:pt x="450" y="228"/>
                    </a:lnTo>
                    <a:lnTo>
                      <a:pt x="450" y="239"/>
                    </a:lnTo>
                    <a:lnTo>
                      <a:pt x="440" y="248"/>
                    </a:lnTo>
                    <a:lnTo>
                      <a:pt x="428" y="248"/>
                    </a:lnTo>
                    <a:lnTo>
                      <a:pt x="417" y="248"/>
                    </a:lnTo>
                    <a:lnTo>
                      <a:pt x="407" y="257"/>
                    </a:lnTo>
                    <a:lnTo>
                      <a:pt x="397" y="257"/>
                    </a:lnTo>
                    <a:lnTo>
                      <a:pt x="385" y="248"/>
                    </a:lnTo>
                    <a:lnTo>
                      <a:pt x="375" y="248"/>
                    </a:lnTo>
                    <a:lnTo>
                      <a:pt x="364" y="248"/>
                    </a:lnTo>
                    <a:lnTo>
                      <a:pt x="354" y="239"/>
                    </a:lnTo>
                    <a:lnTo>
                      <a:pt x="354" y="248"/>
                    </a:lnTo>
                    <a:lnTo>
                      <a:pt x="332" y="239"/>
                    </a:lnTo>
                    <a:lnTo>
                      <a:pt x="322" y="239"/>
                    </a:lnTo>
                    <a:lnTo>
                      <a:pt x="310" y="228"/>
                    </a:lnTo>
                    <a:lnTo>
                      <a:pt x="288" y="228"/>
                    </a:lnTo>
                    <a:lnTo>
                      <a:pt x="279" y="228"/>
                    </a:lnTo>
                    <a:lnTo>
                      <a:pt x="268" y="228"/>
                    </a:lnTo>
                    <a:lnTo>
                      <a:pt x="259" y="228"/>
                    </a:lnTo>
                    <a:lnTo>
                      <a:pt x="247" y="219"/>
                    </a:lnTo>
                    <a:lnTo>
                      <a:pt x="236" y="209"/>
                    </a:lnTo>
                    <a:lnTo>
                      <a:pt x="236" y="200"/>
                    </a:lnTo>
                    <a:lnTo>
                      <a:pt x="225" y="191"/>
                    </a:lnTo>
                    <a:lnTo>
                      <a:pt x="213" y="180"/>
                    </a:lnTo>
                    <a:lnTo>
                      <a:pt x="192" y="180"/>
                    </a:lnTo>
                    <a:lnTo>
                      <a:pt x="182" y="180"/>
                    </a:lnTo>
                    <a:lnTo>
                      <a:pt x="172" y="180"/>
                    </a:lnTo>
                    <a:lnTo>
                      <a:pt x="161" y="180"/>
                    </a:lnTo>
                    <a:lnTo>
                      <a:pt x="149" y="172"/>
                    </a:lnTo>
                    <a:lnTo>
                      <a:pt x="139" y="172"/>
                    </a:lnTo>
                    <a:lnTo>
                      <a:pt x="139" y="180"/>
                    </a:lnTo>
                    <a:lnTo>
                      <a:pt x="118" y="191"/>
                    </a:lnTo>
                    <a:lnTo>
                      <a:pt x="107" y="191"/>
                    </a:lnTo>
                    <a:lnTo>
                      <a:pt x="95" y="191"/>
                    </a:lnTo>
                    <a:lnTo>
                      <a:pt x="95" y="180"/>
                    </a:lnTo>
                    <a:lnTo>
                      <a:pt x="95" y="172"/>
                    </a:lnTo>
                    <a:lnTo>
                      <a:pt x="85" y="172"/>
                    </a:lnTo>
                    <a:lnTo>
                      <a:pt x="44" y="172"/>
                    </a:lnTo>
                    <a:lnTo>
                      <a:pt x="32" y="162"/>
                    </a:lnTo>
                    <a:lnTo>
                      <a:pt x="22" y="152"/>
                    </a:lnTo>
                    <a:lnTo>
                      <a:pt x="10" y="152"/>
                    </a:lnTo>
                    <a:lnTo>
                      <a:pt x="10" y="143"/>
                    </a:lnTo>
                    <a:lnTo>
                      <a:pt x="0" y="143"/>
                    </a:lnTo>
                    <a:lnTo>
                      <a:pt x="0" y="133"/>
                    </a:lnTo>
                    <a:lnTo>
                      <a:pt x="10" y="124"/>
                    </a:lnTo>
                    <a:lnTo>
                      <a:pt x="10" y="113"/>
                    </a:lnTo>
                    <a:lnTo>
                      <a:pt x="22" y="105"/>
                    </a:lnTo>
                    <a:lnTo>
                      <a:pt x="32" y="105"/>
                    </a:lnTo>
                    <a:lnTo>
                      <a:pt x="44" y="113"/>
                    </a:lnTo>
                    <a:lnTo>
                      <a:pt x="54" y="124"/>
                    </a:lnTo>
                    <a:lnTo>
                      <a:pt x="64" y="124"/>
                    </a:lnTo>
                    <a:lnTo>
                      <a:pt x="74" y="133"/>
                    </a:lnTo>
                    <a:lnTo>
                      <a:pt x="85" y="124"/>
                    </a:lnTo>
                    <a:lnTo>
                      <a:pt x="95" y="124"/>
                    </a:lnTo>
                    <a:lnTo>
                      <a:pt x="107" y="105"/>
                    </a:lnTo>
                    <a:lnTo>
                      <a:pt x="127" y="113"/>
                    </a:lnTo>
                    <a:lnTo>
                      <a:pt x="127" y="124"/>
                    </a:lnTo>
                    <a:lnTo>
                      <a:pt x="139" y="124"/>
                    </a:lnTo>
                    <a:lnTo>
                      <a:pt x="149" y="124"/>
                    </a:lnTo>
                    <a:lnTo>
                      <a:pt x="161" y="113"/>
                    </a:lnTo>
                    <a:lnTo>
                      <a:pt x="172" y="124"/>
                    </a:lnTo>
                    <a:lnTo>
                      <a:pt x="182" y="124"/>
                    </a:lnTo>
                    <a:lnTo>
                      <a:pt x="192" y="124"/>
                    </a:lnTo>
                    <a:lnTo>
                      <a:pt x="204" y="113"/>
                    </a:lnTo>
                    <a:lnTo>
                      <a:pt x="213" y="113"/>
                    </a:lnTo>
                    <a:lnTo>
                      <a:pt x="236" y="113"/>
                    </a:lnTo>
                    <a:lnTo>
                      <a:pt x="247" y="113"/>
                    </a:lnTo>
                    <a:lnTo>
                      <a:pt x="259" y="124"/>
                    </a:lnTo>
                    <a:lnTo>
                      <a:pt x="259" y="113"/>
                    </a:lnTo>
                    <a:lnTo>
                      <a:pt x="268" y="113"/>
                    </a:lnTo>
                    <a:lnTo>
                      <a:pt x="288" y="124"/>
                    </a:lnTo>
                    <a:lnTo>
                      <a:pt x="288" y="133"/>
                    </a:lnTo>
                    <a:lnTo>
                      <a:pt x="288" y="143"/>
                    </a:lnTo>
                    <a:lnTo>
                      <a:pt x="300" y="152"/>
                    </a:lnTo>
                    <a:lnTo>
                      <a:pt x="300" y="143"/>
                    </a:lnTo>
                    <a:lnTo>
                      <a:pt x="310" y="143"/>
                    </a:lnTo>
                    <a:lnTo>
                      <a:pt x="310" y="133"/>
                    </a:lnTo>
                    <a:lnTo>
                      <a:pt x="310" y="124"/>
                    </a:lnTo>
                    <a:lnTo>
                      <a:pt x="300" y="113"/>
                    </a:lnTo>
                    <a:lnTo>
                      <a:pt x="300" y="105"/>
                    </a:lnTo>
                    <a:lnTo>
                      <a:pt x="300" y="95"/>
                    </a:lnTo>
                    <a:lnTo>
                      <a:pt x="288" y="85"/>
                    </a:lnTo>
                    <a:lnTo>
                      <a:pt x="288" y="76"/>
                    </a:lnTo>
                    <a:lnTo>
                      <a:pt x="288" y="57"/>
                    </a:lnTo>
                    <a:lnTo>
                      <a:pt x="322" y="57"/>
                    </a:lnTo>
                    <a:lnTo>
                      <a:pt x="332" y="47"/>
                    </a:lnTo>
                    <a:lnTo>
                      <a:pt x="342" y="37"/>
                    </a:lnTo>
                    <a:lnTo>
                      <a:pt x="342" y="28"/>
                    </a:lnTo>
                    <a:lnTo>
                      <a:pt x="354" y="28"/>
                    </a:lnTo>
                    <a:lnTo>
                      <a:pt x="364" y="28"/>
                    </a:lnTo>
                    <a:lnTo>
                      <a:pt x="375" y="28"/>
                    </a:lnTo>
                    <a:lnTo>
                      <a:pt x="375" y="19"/>
                    </a:lnTo>
                    <a:lnTo>
                      <a:pt x="385" y="19"/>
                    </a:lnTo>
                    <a:lnTo>
                      <a:pt x="397" y="28"/>
                    </a:lnTo>
                    <a:lnTo>
                      <a:pt x="417" y="28"/>
                    </a:lnTo>
                    <a:lnTo>
                      <a:pt x="440" y="28"/>
                    </a:lnTo>
                    <a:lnTo>
                      <a:pt x="450" y="19"/>
                    </a:lnTo>
                    <a:lnTo>
                      <a:pt x="450" y="9"/>
                    </a:lnTo>
                    <a:lnTo>
                      <a:pt x="450" y="0"/>
                    </a:lnTo>
                    <a:lnTo>
                      <a:pt x="460" y="0"/>
                    </a:lnTo>
                    <a:lnTo>
                      <a:pt x="482" y="0"/>
                    </a:lnTo>
                    <a:lnTo>
                      <a:pt x="494" y="0"/>
                    </a:lnTo>
                    <a:lnTo>
                      <a:pt x="503" y="0"/>
                    </a:lnTo>
                    <a:lnTo>
                      <a:pt x="515" y="9"/>
                    </a:lnTo>
                    <a:lnTo>
                      <a:pt x="525" y="9"/>
                    </a:lnTo>
                    <a:lnTo>
                      <a:pt x="546" y="9"/>
                    </a:lnTo>
                    <a:lnTo>
                      <a:pt x="558" y="19"/>
                    </a:lnTo>
                    <a:lnTo>
                      <a:pt x="569" y="19"/>
                    </a:lnTo>
                    <a:lnTo>
                      <a:pt x="569" y="28"/>
                    </a:lnTo>
                    <a:lnTo>
                      <a:pt x="578" y="37"/>
                    </a:lnTo>
                    <a:lnTo>
                      <a:pt x="590" y="37"/>
                    </a:lnTo>
                    <a:lnTo>
                      <a:pt x="600" y="37"/>
                    </a:lnTo>
                    <a:lnTo>
                      <a:pt x="612" y="37"/>
                    </a:lnTo>
                    <a:lnTo>
                      <a:pt x="620" y="47"/>
                    </a:lnTo>
                    <a:lnTo>
                      <a:pt x="612" y="57"/>
                    </a:lnTo>
                    <a:lnTo>
                      <a:pt x="620" y="76"/>
                    </a:lnTo>
                    <a:lnTo>
                      <a:pt x="612" y="76"/>
                    </a:lnTo>
                    <a:lnTo>
                      <a:pt x="620" y="95"/>
                    </a:lnTo>
                    <a:lnTo>
                      <a:pt x="620" y="113"/>
                    </a:lnTo>
                    <a:lnTo>
                      <a:pt x="612" y="124"/>
                    </a:lnTo>
                    <a:lnTo>
                      <a:pt x="612" y="133"/>
                    </a:lnTo>
                    <a:lnTo>
                      <a:pt x="600" y="133"/>
                    </a:lnTo>
                    <a:lnTo>
                      <a:pt x="600" y="124"/>
                    </a:lnTo>
                    <a:lnTo>
                      <a:pt x="590" y="124"/>
                    </a:lnTo>
                    <a:lnTo>
                      <a:pt x="578" y="124"/>
                    </a:lnTo>
                    <a:lnTo>
                      <a:pt x="578" y="133"/>
                    </a:lnTo>
                    <a:lnTo>
                      <a:pt x="590" y="143"/>
                    </a:lnTo>
                    <a:lnTo>
                      <a:pt x="590" y="152"/>
                    </a:lnTo>
                    <a:lnTo>
                      <a:pt x="590" y="162"/>
                    </a:lnTo>
                    <a:lnTo>
                      <a:pt x="578" y="162"/>
                    </a:lnTo>
                    <a:lnTo>
                      <a:pt x="578" y="180"/>
                    </a:lnTo>
                    <a:lnTo>
                      <a:pt x="569" y="200"/>
                    </a:lnTo>
                    <a:lnTo>
                      <a:pt x="557" y="206"/>
                    </a:lnTo>
                    <a:lnTo>
                      <a:pt x="546" y="219"/>
                    </a:lnTo>
                    <a:lnTo>
                      <a:pt x="546" y="228"/>
                    </a:lnTo>
                    <a:lnTo>
                      <a:pt x="546" y="21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0" name="Freeform 67">
                <a:extLst>
                  <a:ext uri="{FF2B5EF4-FFF2-40B4-BE49-F238E27FC236}">
                    <a16:creationId xmlns:a16="http://schemas.microsoft.com/office/drawing/2014/main" id="{4F2E3466-DD16-F9FC-D19F-AA297E241996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3101975" y="2411413"/>
                <a:ext cx="404813" cy="342900"/>
              </a:xfrm>
              <a:custGeom>
                <a:avLst/>
                <a:gdLst>
                  <a:gd name="T0" fmla="*/ 358412 w 253"/>
                  <a:gd name="T1" fmla="*/ 57643 h 232"/>
                  <a:gd name="T2" fmla="*/ 323210 w 253"/>
                  <a:gd name="T3" fmla="*/ 29560 h 232"/>
                  <a:gd name="T4" fmla="*/ 291209 w 253"/>
                  <a:gd name="T5" fmla="*/ 41384 h 232"/>
                  <a:gd name="T6" fmla="*/ 222407 w 253"/>
                  <a:gd name="T7" fmla="*/ 13302 h 232"/>
                  <a:gd name="T8" fmla="*/ 187206 w 253"/>
                  <a:gd name="T9" fmla="*/ 29560 h 232"/>
                  <a:gd name="T10" fmla="*/ 150405 w 253"/>
                  <a:gd name="T11" fmla="*/ 41384 h 232"/>
                  <a:gd name="T12" fmla="*/ 120004 w 253"/>
                  <a:gd name="T13" fmla="*/ 41384 h 232"/>
                  <a:gd name="T14" fmla="*/ 104003 w 253"/>
                  <a:gd name="T15" fmla="*/ 13302 h 232"/>
                  <a:gd name="T16" fmla="*/ 84803 w 253"/>
                  <a:gd name="T17" fmla="*/ 0 h 232"/>
                  <a:gd name="T18" fmla="*/ 51202 w 253"/>
                  <a:gd name="T19" fmla="*/ 13302 h 232"/>
                  <a:gd name="T20" fmla="*/ 32001 w 253"/>
                  <a:gd name="T21" fmla="*/ 13302 h 232"/>
                  <a:gd name="T22" fmla="*/ 0 w 253"/>
                  <a:gd name="T23" fmla="*/ 41384 h 232"/>
                  <a:gd name="T24" fmla="*/ 0 w 253"/>
                  <a:gd name="T25" fmla="*/ 70945 h 232"/>
                  <a:gd name="T26" fmla="*/ 19201 w 253"/>
                  <a:gd name="T27" fmla="*/ 100505 h 232"/>
                  <a:gd name="T28" fmla="*/ 51202 w 253"/>
                  <a:gd name="T29" fmla="*/ 100505 h 232"/>
                  <a:gd name="T30" fmla="*/ 51202 w 253"/>
                  <a:gd name="T31" fmla="*/ 127109 h 232"/>
                  <a:gd name="T32" fmla="*/ 84803 w 253"/>
                  <a:gd name="T33" fmla="*/ 127109 h 232"/>
                  <a:gd name="T34" fmla="*/ 104003 w 253"/>
                  <a:gd name="T35" fmla="*/ 168494 h 232"/>
                  <a:gd name="T36" fmla="*/ 136004 w 253"/>
                  <a:gd name="T37" fmla="*/ 168494 h 232"/>
                  <a:gd name="T38" fmla="*/ 150405 w 253"/>
                  <a:gd name="T39" fmla="*/ 198054 h 232"/>
                  <a:gd name="T40" fmla="*/ 136004 w 253"/>
                  <a:gd name="T41" fmla="*/ 227615 h 232"/>
                  <a:gd name="T42" fmla="*/ 169605 w 253"/>
                  <a:gd name="T43" fmla="*/ 242395 h 232"/>
                  <a:gd name="T44" fmla="*/ 187206 w 253"/>
                  <a:gd name="T45" fmla="*/ 227615 h 232"/>
                  <a:gd name="T46" fmla="*/ 206407 w 253"/>
                  <a:gd name="T47" fmla="*/ 242395 h 232"/>
                  <a:gd name="T48" fmla="*/ 222407 w 253"/>
                  <a:gd name="T49" fmla="*/ 271955 h 232"/>
                  <a:gd name="T50" fmla="*/ 238408 w 253"/>
                  <a:gd name="T51" fmla="*/ 298559 h 232"/>
                  <a:gd name="T52" fmla="*/ 272009 w 253"/>
                  <a:gd name="T53" fmla="*/ 313340 h 232"/>
                  <a:gd name="T54" fmla="*/ 291209 w 253"/>
                  <a:gd name="T55" fmla="*/ 342900 h 232"/>
                  <a:gd name="T56" fmla="*/ 332811 w 253"/>
                  <a:gd name="T57" fmla="*/ 328120 h 232"/>
                  <a:gd name="T58" fmla="*/ 328011 w 253"/>
                  <a:gd name="T59" fmla="*/ 285257 h 232"/>
                  <a:gd name="T60" fmla="*/ 328011 w 253"/>
                  <a:gd name="T61" fmla="*/ 255697 h 232"/>
                  <a:gd name="T62" fmla="*/ 360012 w 253"/>
                  <a:gd name="T63" fmla="*/ 227615 h 232"/>
                  <a:gd name="T64" fmla="*/ 377612 w 253"/>
                  <a:gd name="T65" fmla="*/ 212835 h 232"/>
                  <a:gd name="T66" fmla="*/ 400013 w 253"/>
                  <a:gd name="T67" fmla="*/ 203966 h 232"/>
                  <a:gd name="T68" fmla="*/ 392013 w 253"/>
                  <a:gd name="T69" fmla="*/ 168494 h 232"/>
                  <a:gd name="T70" fmla="*/ 404813 w 253"/>
                  <a:gd name="T71" fmla="*/ 130066 h 232"/>
                  <a:gd name="T72" fmla="*/ 400013 w 253"/>
                  <a:gd name="T73" fmla="*/ 99027 h 232"/>
                  <a:gd name="T74" fmla="*/ 392013 w 253"/>
                  <a:gd name="T75" fmla="*/ 84247 h 23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3"/>
                  <a:gd name="T115" fmla="*/ 0 h 232"/>
                  <a:gd name="T116" fmla="*/ 253 w 253"/>
                  <a:gd name="T117" fmla="*/ 232 h 23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3" h="232">
                    <a:moveTo>
                      <a:pt x="245" y="57"/>
                    </a:moveTo>
                    <a:lnTo>
                      <a:pt x="224" y="39"/>
                    </a:lnTo>
                    <a:lnTo>
                      <a:pt x="213" y="28"/>
                    </a:lnTo>
                    <a:lnTo>
                      <a:pt x="202" y="20"/>
                    </a:lnTo>
                    <a:lnTo>
                      <a:pt x="192" y="20"/>
                    </a:lnTo>
                    <a:lnTo>
                      <a:pt x="182" y="28"/>
                    </a:lnTo>
                    <a:lnTo>
                      <a:pt x="170" y="20"/>
                    </a:lnTo>
                    <a:lnTo>
                      <a:pt x="139" y="9"/>
                    </a:lnTo>
                    <a:lnTo>
                      <a:pt x="129" y="9"/>
                    </a:lnTo>
                    <a:lnTo>
                      <a:pt x="117" y="20"/>
                    </a:lnTo>
                    <a:lnTo>
                      <a:pt x="117" y="28"/>
                    </a:lnTo>
                    <a:lnTo>
                      <a:pt x="94" y="28"/>
                    </a:lnTo>
                    <a:lnTo>
                      <a:pt x="85" y="28"/>
                    </a:lnTo>
                    <a:lnTo>
                      <a:pt x="75" y="28"/>
                    </a:lnTo>
                    <a:lnTo>
                      <a:pt x="75" y="20"/>
                    </a:lnTo>
                    <a:lnTo>
                      <a:pt x="65" y="9"/>
                    </a:lnTo>
                    <a:lnTo>
                      <a:pt x="53" y="9"/>
                    </a:lnTo>
                    <a:lnTo>
                      <a:pt x="53" y="0"/>
                    </a:lnTo>
                    <a:lnTo>
                      <a:pt x="41" y="0"/>
                    </a:lnTo>
                    <a:lnTo>
                      <a:pt x="32" y="9"/>
                    </a:lnTo>
                    <a:lnTo>
                      <a:pt x="20" y="0"/>
                    </a:lnTo>
                    <a:lnTo>
                      <a:pt x="20" y="9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12" y="57"/>
                    </a:lnTo>
                    <a:lnTo>
                      <a:pt x="12" y="68"/>
                    </a:lnTo>
                    <a:lnTo>
                      <a:pt x="20" y="68"/>
                    </a:lnTo>
                    <a:lnTo>
                      <a:pt x="32" y="68"/>
                    </a:lnTo>
                    <a:lnTo>
                      <a:pt x="32" y="77"/>
                    </a:lnTo>
                    <a:lnTo>
                      <a:pt x="32" y="86"/>
                    </a:lnTo>
                    <a:lnTo>
                      <a:pt x="41" y="86"/>
                    </a:lnTo>
                    <a:lnTo>
                      <a:pt x="53" y="86"/>
                    </a:lnTo>
                    <a:lnTo>
                      <a:pt x="53" y="96"/>
                    </a:lnTo>
                    <a:lnTo>
                      <a:pt x="65" y="114"/>
                    </a:lnTo>
                    <a:lnTo>
                      <a:pt x="75" y="114"/>
                    </a:lnTo>
                    <a:lnTo>
                      <a:pt x="85" y="114"/>
                    </a:lnTo>
                    <a:lnTo>
                      <a:pt x="94" y="114"/>
                    </a:lnTo>
                    <a:lnTo>
                      <a:pt x="94" y="134"/>
                    </a:lnTo>
                    <a:lnTo>
                      <a:pt x="94" y="145"/>
                    </a:lnTo>
                    <a:lnTo>
                      <a:pt x="85" y="154"/>
                    </a:lnTo>
                    <a:lnTo>
                      <a:pt x="94" y="164"/>
                    </a:lnTo>
                    <a:lnTo>
                      <a:pt x="106" y="164"/>
                    </a:lnTo>
                    <a:lnTo>
                      <a:pt x="117" y="164"/>
                    </a:lnTo>
                    <a:lnTo>
                      <a:pt x="117" y="154"/>
                    </a:lnTo>
                    <a:lnTo>
                      <a:pt x="129" y="154"/>
                    </a:lnTo>
                    <a:lnTo>
                      <a:pt x="129" y="164"/>
                    </a:lnTo>
                    <a:lnTo>
                      <a:pt x="139" y="173"/>
                    </a:lnTo>
                    <a:lnTo>
                      <a:pt x="139" y="184"/>
                    </a:lnTo>
                    <a:lnTo>
                      <a:pt x="149" y="193"/>
                    </a:lnTo>
                    <a:lnTo>
                      <a:pt x="149" y="202"/>
                    </a:lnTo>
                    <a:lnTo>
                      <a:pt x="159" y="202"/>
                    </a:lnTo>
                    <a:lnTo>
                      <a:pt x="170" y="212"/>
                    </a:lnTo>
                    <a:lnTo>
                      <a:pt x="182" y="221"/>
                    </a:lnTo>
                    <a:lnTo>
                      <a:pt x="182" y="232"/>
                    </a:lnTo>
                    <a:lnTo>
                      <a:pt x="192" y="221"/>
                    </a:lnTo>
                    <a:lnTo>
                      <a:pt x="208" y="222"/>
                    </a:lnTo>
                    <a:lnTo>
                      <a:pt x="215" y="208"/>
                    </a:lnTo>
                    <a:lnTo>
                      <a:pt x="205" y="193"/>
                    </a:lnTo>
                    <a:lnTo>
                      <a:pt x="205" y="184"/>
                    </a:lnTo>
                    <a:lnTo>
                      <a:pt x="205" y="173"/>
                    </a:lnTo>
                    <a:lnTo>
                      <a:pt x="215" y="164"/>
                    </a:lnTo>
                    <a:lnTo>
                      <a:pt x="225" y="154"/>
                    </a:lnTo>
                    <a:lnTo>
                      <a:pt x="238" y="163"/>
                    </a:lnTo>
                    <a:lnTo>
                      <a:pt x="236" y="144"/>
                    </a:lnTo>
                    <a:lnTo>
                      <a:pt x="238" y="138"/>
                    </a:lnTo>
                    <a:lnTo>
                      <a:pt x="250" y="138"/>
                    </a:lnTo>
                    <a:lnTo>
                      <a:pt x="250" y="124"/>
                    </a:lnTo>
                    <a:lnTo>
                      <a:pt x="245" y="114"/>
                    </a:lnTo>
                    <a:lnTo>
                      <a:pt x="246" y="103"/>
                    </a:lnTo>
                    <a:lnTo>
                      <a:pt x="253" y="88"/>
                    </a:lnTo>
                    <a:lnTo>
                      <a:pt x="248" y="76"/>
                    </a:lnTo>
                    <a:lnTo>
                      <a:pt x="250" y="67"/>
                    </a:lnTo>
                    <a:lnTo>
                      <a:pt x="245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1" name="Freeform 68">
                <a:extLst>
                  <a:ext uri="{FF2B5EF4-FFF2-40B4-BE49-F238E27FC236}">
                    <a16:creationId xmlns:a16="http://schemas.microsoft.com/office/drawing/2014/main" id="{A069E9B0-A3DD-EA41-E4E4-57266863878B}"/>
                  </a:ext>
                </a:extLst>
              </p:cNvPr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3297238" y="2159000"/>
                <a:ext cx="463550" cy="357188"/>
              </a:xfrm>
              <a:custGeom>
                <a:avLst/>
                <a:gdLst>
                  <a:gd name="T0" fmla="*/ 410619 w 289"/>
                  <a:gd name="T1" fmla="*/ 56087 h 242"/>
                  <a:gd name="T2" fmla="*/ 394579 w 289"/>
                  <a:gd name="T3" fmla="*/ 0 h 242"/>
                  <a:gd name="T4" fmla="*/ 362499 w 289"/>
                  <a:gd name="T5" fmla="*/ 13284 h 242"/>
                  <a:gd name="T6" fmla="*/ 328816 w 289"/>
                  <a:gd name="T7" fmla="*/ 13284 h 242"/>
                  <a:gd name="T8" fmla="*/ 309568 w 289"/>
                  <a:gd name="T9" fmla="*/ 13284 h 242"/>
                  <a:gd name="T10" fmla="*/ 274280 w 289"/>
                  <a:gd name="T11" fmla="*/ 13284 h 242"/>
                  <a:gd name="T12" fmla="*/ 222953 w 289"/>
                  <a:gd name="T13" fmla="*/ 44280 h 242"/>
                  <a:gd name="T14" fmla="*/ 222953 w 289"/>
                  <a:gd name="T15" fmla="*/ 72323 h 242"/>
                  <a:gd name="T16" fmla="*/ 222953 w 289"/>
                  <a:gd name="T17" fmla="*/ 100367 h 242"/>
                  <a:gd name="T18" fmla="*/ 186062 w 289"/>
                  <a:gd name="T19" fmla="*/ 156454 h 242"/>
                  <a:gd name="T20" fmla="*/ 153982 w 289"/>
                  <a:gd name="T21" fmla="*/ 156454 h 242"/>
                  <a:gd name="T22" fmla="*/ 171626 w 289"/>
                  <a:gd name="T23" fmla="*/ 113651 h 242"/>
                  <a:gd name="T24" fmla="*/ 171626 w 289"/>
                  <a:gd name="T25" fmla="*/ 100367 h 242"/>
                  <a:gd name="T26" fmla="*/ 186062 w 289"/>
                  <a:gd name="T27" fmla="*/ 72323 h 242"/>
                  <a:gd name="T28" fmla="*/ 136338 w 289"/>
                  <a:gd name="T29" fmla="*/ 56087 h 242"/>
                  <a:gd name="T30" fmla="*/ 136338 w 289"/>
                  <a:gd name="T31" fmla="*/ 56087 h 242"/>
                  <a:gd name="T32" fmla="*/ 120298 w 289"/>
                  <a:gd name="T33" fmla="*/ 113651 h 242"/>
                  <a:gd name="T34" fmla="*/ 102655 w 289"/>
                  <a:gd name="T35" fmla="*/ 141694 h 242"/>
                  <a:gd name="T36" fmla="*/ 85011 w 289"/>
                  <a:gd name="T37" fmla="*/ 156454 h 242"/>
                  <a:gd name="T38" fmla="*/ 33684 w 289"/>
                  <a:gd name="T39" fmla="*/ 171214 h 242"/>
                  <a:gd name="T40" fmla="*/ 51327 w 289"/>
                  <a:gd name="T41" fmla="*/ 200734 h 242"/>
                  <a:gd name="T42" fmla="*/ 19248 w 289"/>
                  <a:gd name="T43" fmla="*/ 227301 h 242"/>
                  <a:gd name="T44" fmla="*/ 0 w 289"/>
                  <a:gd name="T45" fmla="*/ 200734 h 242"/>
                  <a:gd name="T46" fmla="*/ 0 w 289"/>
                  <a:gd name="T47" fmla="*/ 227301 h 242"/>
                  <a:gd name="T48" fmla="*/ 19248 w 289"/>
                  <a:gd name="T49" fmla="*/ 256821 h 242"/>
                  <a:gd name="T50" fmla="*/ 85011 w 289"/>
                  <a:gd name="T51" fmla="*/ 284865 h 242"/>
                  <a:gd name="T52" fmla="*/ 102655 w 289"/>
                  <a:gd name="T53" fmla="*/ 298149 h 242"/>
                  <a:gd name="T54" fmla="*/ 136338 w 289"/>
                  <a:gd name="T55" fmla="*/ 284865 h 242"/>
                  <a:gd name="T56" fmla="*/ 171626 w 289"/>
                  <a:gd name="T57" fmla="*/ 314384 h 242"/>
                  <a:gd name="T58" fmla="*/ 205309 w 289"/>
                  <a:gd name="T59" fmla="*/ 357188 h 242"/>
                  <a:gd name="T60" fmla="*/ 240597 w 289"/>
                  <a:gd name="T61" fmla="*/ 327668 h 242"/>
                  <a:gd name="T62" fmla="*/ 240597 w 289"/>
                  <a:gd name="T63" fmla="*/ 284865 h 242"/>
                  <a:gd name="T64" fmla="*/ 274280 w 289"/>
                  <a:gd name="T65" fmla="*/ 256821 h 242"/>
                  <a:gd name="T66" fmla="*/ 332024 w 289"/>
                  <a:gd name="T67" fmla="*/ 261249 h 242"/>
                  <a:gd name="T68" fmla="*/ 378539 w 289"/>
                  <a:gd name="T69" fmla="*/ 256821 h 242"/>
                  <a:gd name="T70" fmla="*/ 410619 w 289"/>
                  <a:gd name="T71" fmla="*/ 256821 h 242"/>
                  <a:gd name="T72" fmla="*/ 426658 w 289"/>
                  <a:gd name="T73" fmla="*/ 200734 h 242"/>
                  <a:gd name="T74" fmla="*/ 426658 w 289"/>
                  <a:gd name="T75" fmla="*/ 171214 h 242"/>
                  <a:gd name="T76" fmla="*/ 426658 w 289"/>
                  <a:gd name="T77" fmla="*/ 129887 h 242"/>
                  <a:gd name="T78" fmla="*/ 445906 w 289"/>
                  <a:gd name="T79" fmla="*/ 113651 h 242"/>
                  <a:gd name="T80" fmla="*/ 445906 w 289"/>
                  <a:gd name="T81" fmla="*/ 84131 h 242"/>
                  <a:gd name="T82" fmla="*/ 463550 w 289"/>
                  <a:gd name="T83" fmla="*/ 56087 h 242"/>
                  <a:gd name="T84" fmla="*/ 426658 w 289"/>
                  <a:gd name="T85" fmla="*/ 56087 h 24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89"/>
                  <a:gd name="T130" fmla="*/ 0 h 242"/>
                  <a:gd name="T131" fmla="*/ 289 w 289"/>
                  <a:gd name="T132" fmla="*/ 242 h 24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89" h="242">
                    <a:moveTo>
                      <a:pt x="266" y="38"/>
                    </a:moveTo>
                    <a:lnTo>
                      <a:pt x="256" y="38"/>
                    </a:lnTo>
                    <a:lnTo>
                      <a:pt x="256" y="0"/>
                    </a:lnTo>
                    <a:lnTo>
                      <a:pt x="246" y="0"/>
                    </a:lnTo>
                    <a:lnTo>
                      <a:pt x="236" y="0"/>
                    </a:lnTo>
                    <a:lnTo>
                      <a:pt x="226" y="9"/>
                    </a:lnTo>
                    <a:lnTo>
                      <a:pt x="205" y="20"/>
                    </a:lnTo>
                    <a:lnTo>
                      <a:pt x="205" y="9"/>
                    </a:lnTo>
                    <a:lnTo>
                      <a:pt x="205" y="0"/>
                    </a:lnTo>
                    <a:lnTo>
                      <a:pt x="193" y="9"/>
                    </a:lnTo>
                    <a:lnTo>
                      <a:pt x="182" y="9"/>
                    </a:lnTo>
                    <a:lnTo>
                      <a:pt x="171" y="9"/>
                    </a:lnTo>
                    <a:lnTo>
                      <a:pt x="150" y="20"/>
                    </a:lnTo>
                    <a:lnTo>
                      <a:pt x="139" y="30"/>
                    </a:lnTo>
                    <a:lnTo>
                      <a:pt x="139" y="38"/>
                    </a:lnTo>
                    <a:lnTo>
                      <a:pt x="139" y="49"/>
                    </a:lnTo>
                    <a:lnTo>
                      <a:pt x="139" y="57"/>
                    </a:lnTo>
                    <a:lnTo>
                      <a:pt x="139" y="68"/>
                    </a:lnTo>
                    <a:lnTo>
                      <a:pt x="139" y="88"/>
                    </a:lnTo>
                    <a:lnTo>
                      <a:pt x="116" y="106"/>
                    </a:lnTo>
                    <a:lnTo>
                      <a:pt x="107" y="106"/>
                    </a:lnTo>
                    <a:lnTo>
                      <a:pt x="96" y="106"/>
                    </a:lnTo>
                    <a:lnTo>
                      <a:pt x="96" y="88"/>
                    </a:lnTo>
                    <a:lnTo>
                      <a:pt x="107" y="77"/>
                    </a:lnTo>
                    <a:lnTo>
                      <a:pt x="96" y="77"/>
                    </a:lnTo>
                    <a:lnTo>
                      <a:pt x="107" y="68"/>
                    </a:lnTo>
                    <a:lnTo>
                      <a:pt x="116" y="57"/>
                    </a:lnTo>
                    <a:lnTo>
                      <a:pt x="116" y="49"/>
                    </a:lnTo>
                    <a:lnTo>
                      <a:pt x="107" y="38"/>
                    </a:lnTo>
                    <a:lnTo>
                      <a:pt x="85" y="38"/>
                    </a:lnTo>
                    <a:lnTo>
                      <a:pt x="85" y="30"/>
                    </a:lnTo>
                    <a:lnTo>
                      <a:pt x="85" y="38"/>
                    </a:lnTo>
                    <a:lnTo>
                      <a:pt x="75" y="57"/>
                    </a:lnTo>
                    <a:lnTo>
                      <a:pt x="75" y="77"/>
                    </a:lnTo>
                    <a:lnTo>
                      <a:pt x="64" y="88"/>
                    </a:lnTo>
                    <a:lnTo>
                      <a:pt x="64" y="96"/>
                    </a:lnTo>
                    <a:lnTo>
                      <a:pt x="53" y="96"/>
                    </a:lnTo>
                    <a:lnTo>
                      <a:pt x="53" y="106"/>
                    </a:lnTo>
                    <a:lnTo>
                      <a:pt x="42" y="116"/>
                    </a:lnTo>
                    <a:lnTo>
                      <a:pt x="21" y="116"/>
                    </a:lnTo>
                    <a:lnTo>
                      <a:pt x="21" y="136"/>
                    </a:lnTo>
                    <a:lnTo>
                      <a:pt x="32" y="136"/>
                    </a:lnTo>
                    <a:lnTo>
                      <a:pt x="32" y="145"/>
                    </a:lnTo>
                    <a:lnTo>
                      <a:pt x="12" y="154"/>
                    </a:lnTo>
                    <a:lnTo>
                      <a:pt x="12" y="136"/>
                    </a:lnTo>
                    <a:lnTo>
                      <a:pt x="0" y="136"/>
                    </a:lnTo>
                    <a:lnTo>
                      <a:pt x="0" y="145"/>
                    </a:lnTo>
                    <a:lnTo>
                      <a:pt x="0" y="154"/>
                    </a:lnTo>
                    <a:lnTo>
                      <a:pt x="0" y="174"/>
                    </a:lnTo>
                    <a:lnTo>
                      <a:pt x="12" y="174"/>
                    </a:lnTo>
                    <a:lnTo>
                      <a:pt x="21" y="184"/>
                    </a:lnTo>
                    <a:lnTo>
                      <a:pt x="53" y="193"/>
                    </a:lnTo>
                    <a:lnTo>
                      <a:pt x="53" y="202"/>
                    </a:lnTo>
                    <a:lnTo>
                      <a:pt x="64" y="202"/>
                    </a:lnTo>
                    <a:lnTo>
                      <a:pt x="75" y="193"/>
                    </a:lnTo>
                    <a:lnTo>
                      <a:pt x="85" y="193"/>
                    </a:lnTo>
                    <a:lnTo>
                      <a:pt x="96" y="202"/>
                    </a:lnTo>
                    <a:lnTo>
                      <a:pt x="107" y="213"/>
                    </a:lnTo>
                    <a:lnTo>
                      <a:pt x="128" y="233"/>
                    </a:lnTo>
                    <a:lnTo>
                      <a:pt x="128" y="242"/>
                    </a:lnTo>
                    <a:lnTo>
                      <a:pt x="150" y="233"/>
                    </a:lnTo>
                    <a:lnTo>
                      <a:pt x="150" y="222"/>
                    </a:lnTo>
                    <a:lnTo>
                      <a:pt x="150" y="202"/>
                    </a:lnTo>
                    <a:lnTo>
                      <a:pt x="150" y="193"/>
                    </a:lnTo>
                    <a:lnTo>
                      <a:pt x="150" y="184"/>
                    </a:lnTo>
                    <a:lnTo>
                      <a:pt x="171" y="174"/>
                    </a:lnTo>
                    <a:lnTo>
                      <a:pt x="205" y="163"/>
                    </a:lnTo>
                    <a:lnTo>
                      <a:pt x="207" y="177"/>
                    </a:lnTo>
                    <a:lnTo>
                      <a:pt x="226" y="174"/>
                    </a:lnTo>
                    <a:lnTo>
                      <a:pt x="236" y="174"/>
                    </a:lnTo>
                    <a:lnTo>
                      <a:pt x="246" y="174"/>
                    </a:lnTo>
                    <a:lnTo>
                      <a:pt x="256" y="174"/>
                    </a:lnTo>
                    <a:lnTo>
                      <a:pt x="266" y="145"/>
                    </a:lnTo>
                    <a:lnTo>
                      <a:pt x="266" y="136"/>
                    </a:lnTo>
                    <a:lnTo>
                      <a:pt x="256" y="125"/>
                    </a:lnTo>
                    <a:lnTo>
                      <a:pt x="266" y="116"/>
                    </a:lnTo>
                    <a:lnTo>
                      <a:pt x="266" y="106"/>
                    </a:lnTo>
                    <a:lnTo>
                      <a:pt x="266" y="88"/>
                    </a:lnTo>
                    <a:lnTo>
                      <a:pt x="266" y="77"/>
                    </a:lnTo>
                    <a:lnTo>
                      <a:pt x="278" y="77"/>
                    </a:lnTo>
                    <a:lnTo>
                      <a:pt x="278" y="68"/>
                    </a:lnTo>
                    <a:lnTo>
                      <a:pt x="278" y="57"/>
                    </a:lnTo>
                    <a:lnTo>
                      <a:pt x="278" y="49"/>
                    </a:lnTo>
                    <a:lnTo>
                      <a:pt x="289" y="38"/>
                    </a:lnTo>
                    <a:lnTo>
                      <a:pt x="278" y="30"/>
                    </a:lnTo>
                    <a:lnTo>
                      <a:pt x="266" y="3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2" name="Freeform 69">
                <a:extLst>
                  <a:ext uri="{FF2B5EF4-FFF2-40B4-BE49-F238E27FC236}">
                    <a16:creationId xmlns:a16="http://schemas.microsoft.com/office/drawing/2014/main" id="{EF27D3D5-58E1-6E55-C431-370EF5BAC30C}"/>
                  </a:ext>
                </a:extLst>
              </p:cNvPr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4321175" y="3314700"/>
                <a:ext cx="804863" cy="577850"/>
              </a:xfrm>
              <a:custGeom>
                <a:avLst/>
                <a:gdLst>
                  <a:gd name="T0" fmla="*/ 0 w 501"/>
                  <a:gd name="T1" fmla="*/ 173355 h 390"/>
                  <a:gd name="T2" fmla="*/ 38556 w 501"/>
                  <a:gd name="T3" fmla="*/ 253365 h 390"/>
                  <a:gd name="T4" fmla="*/ 85145 w 501"/>
                  <a:gd name="T5" fmla="*/ 263737 h 390"/>
                  <a:gd name="T6" fmla="*/ 89965 w 501"/>
                  <a:gd name="T7" fmla="*/ 210397 h 390"/>
                  <a:gd name="T8" fmla="*/ 138160 w 501"/>
                  <a:gd name="T9" fmla="*/ 205952 h 390"/>
                  <a:gd name="T10" fmla="*/ 176716 w 501"/>
                  <a:gd name="T11" fmla="*/ 259292 h 390"/>
                  <a:gd name="T12" fmla="*/ 245797 w 501"/>
                  <a:gd name="T13" fmla="*/ 355600 h 390"/>
                  <a:gd name="T14" fmla="*/ 212060 w 501"/>
                  <a:gd name="T15" fmla="*/ 373380 h 390"/>
                  <a:gd name="T16" fmla="*/ 269894 w 501"/>
                  <a:gd name="T17" fmla="*/ 423757 h 390"/>
                  <a:gd name="T18" fmla="*/ 308451 w 501"/>
                  <a:gd name="T19" fmla="*/ 453390 h 390"/>
                  <a:gd name="T20" fmla="*/ 350220 w 501"/>
                  <a:gd name="T21" fmla="*/ 485987 h 390"/>
                  <a:gd name="T22" fmla="*/ 457856 w 501"/>
                  <a:gd name="T23" fmla="*/ 508212 h 390"/>
                  <a:gd name="T24" fmla="*/ 528543 w 501"/>
                  <a:gd name="T25" fmla="*/ 568960 h 390"/>
                  <a:gd name="T26" fmla="*/ 571919 w 501"/>
                  <a:gd name="T27" fmla="*/ 555625 h 390"/>
                  <a:gd name="T28" fmla="*/ 528543 w 501"/>
                  <a:gd name="T29" fmla="*/ 524510 h 390"/>
                  <a:gd name="T30" fmla="*/ 504445 w 501"/>
                  <a:gd name="T31" fmla="*/ 484505 h 390"/>
                  <a:gd name="T32" fmla="*/ 465889 w 501"/>
                  <a:gd name="T33" fmla="*/ 477097 h 390"/>
                  <a:gd name="T34" fmla="*/ 424120 w 501"/>
                  <a:gd name="T35" fmla="*/ 419312 h 390"/>
                  <a:gd name="T36" fmla="*/ 366285 w 501"/>
                  <a:gd name="T37" fmla="*/ 379307 h 390"/>
                  <a:gd name="T38" fmla="*/ 318090 w 501"/>
                  <a:gd name="T39" fmla="*/ 293370 h 390"/>
                  <a:gd name="T40" fmla="*/ 302024 w 501"/>
                  <a:gd name="T41" fmla="*/ 219287 h 390"/>
                  <a:gd name="T42" fmla="*/ 356646 w 501"/>
                  <a:gd name="T43" fmla="*/ 232622 h 390"/>
                  <a:gd name="T44" fmla="*/ 403235 w 501"/>
                  <a:gd name="T45" fmla="*/ 228177 h 390"/>
                  <a:gd name="T46" fmla="*/ 451430 w 501"/>
                  <a:gd name="T47" fmla="*/ 213360 h 390"/>
                  <a:gd name="T48" fmla="*/ 506052 w 501"/>
                  <a:gd name="T49" fmla="*/ 231140 h 390"/>
                  <a:gd name="T50" fmla="*/ 567099 w 501"/>
                  <a:gd name="T51" fmla="*/ 241512 h 390"/>
                  <a:gd name="T52" fmla="*/ 636179 w 501"/>
                  <a:gd name="T53" fmla="*/ 232622 h 390"/>
                  <a:gd name="T54" fmla="*/ 697227 w 501"/>
                  <a:gd name="T55" fmla="*/ 240030 h 390"/>
                  <a:gd name="T56" fmla="*/ 735783 w 501"/>
                  <a:gd name="T57" fmla="*/ 275590 h 390"/>
                  <a:gd name="T58" fmla="*/ 755061 w 501"/>
                  <a:gd name="T59" fmla="*/ 248920 h 390"/>
                  <a:gd name="T60" fmla="*/ 804863 w 501"/>
                  <a:gd name="T61" fmla="*/ 214842 h 390"/>
                  <a:gd name="T62" fmla="*/ 745422 w 501"/>
                  <a:gd name="T63" fmla="*/ 195580 h 390"/>
                  <a:gd name="T64" fmla="*/ 726144 w 501"/>
                  <a:gd name="T65" fmla="*/ 142240 h 390"/>
                  <a:gd name="T66" fmla="*/ 698833 w 501"/>
                  <a:gd name="T67" fmla="*/ 103717 h 390"/>
                  <a:gd name="T68" fmla="*/ 645818 w 501"/>
                  <a:gd name="T69" fmla="*/ 133350 h 390"/>
                  <a:gd name="T70" fmla="*/ 597623 w 501"/>
                  <a:gd name="T71" fmla="*/ 120015 h 390"/>
                  <a:gd name="T72" fmla="*/ 547821 w 501"/>
                  <a:gd name="T73" fmla="*/ 108162 h 390"/>
                  <a:gd name="T74" fmla="*/ 506052 w 501"/>
                  <a:gd name="T75" fmla="*/ 80010 h 390"/>
                  <a:gd name="T76" fmla="*/ 456250 w 501"/>
                  <a:gd name="T77" fmla="*/ 44450 h 390"/>
                  <a:gd name="T78" fmla="*/ 448217 w 501"/>
                  <a:gd name="T79" fmla="*/ 0 h 390"/>
                  <a:gd name="T80" fmla="*/ 364678 w 501"/>
                  <a:gd name="T81" fmla="*/ 37042 h 390"/>
                  <a:gd name="T82" fmla="*/ 316483 w 501"/>
                  <a:gd name="T83" fmla="*/ 48895 h 390"/>
                  <a:gd name="T84" fmla="*/ 292385 w 501"/>
                  <a:gd name="T85" fmla="*/ 71120 h 390"/>
                  <a:gd name="T86" fmla="*/ 284353 w 501"/>
                  <a:gd name="T87" fmla="*/ 115570 h 390"/>
                  <a:gd name="T88" fmla="*/ 250616 w 501"/>
                  <a:gd name="T89" fmla="*/ 117052 h 390"/>
                  <a:gd name="T90" fmla="*/ 236157 w 501"/>
                  <a:gd name="T91" fmla="*/ 177800 h 390"/>
                  <a:gd name="T92" fmla="*/ 187962 w 501"/>
                  <a:gd name="T93" fmla="*/ 152612 h 390"/>
                  <a:gd name="T94" fmla="*/ 115669 w 501"/>
                  <a:gd name="T95" fmla="*/ 151130 h 390"/>
                  <a:gd name="T96" fmla="*/ 43376 w 501"/>
                  <a:gd name="T97" fmla="*/ 143722 h 3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01"/>
                  <a:gd name="T148" fmla="*/ 0 h 390"/>
                  <a:gd name="T149" fmla="*/ 501 w 501"/>
                  <a:gd name="T150" fmla="*/ 390 h 3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01" h="390">
                    <a:moveTo>
                      <a:pt x="6" y="91"/>
                    </a:moveTo>
                    <a:lnTo>
                      <a:pt x="0" y="117"/>
                    </a:lnTo>
                    <a:lnTo>
                      <a:pt x="2" y="133"/>
                    </a:lnTo>
                    <a:lnTo>
                      <a:pt x="24" y="171"/>
                    </a:lnTo>
                    <a:lnTo>
                      <a:pt x="44" y="196"/>
                    </a:lnTo>
                    <a:lnTo>
                      <a:pt x="53" y="178"/>
                    </a:lnTo>
                    <a:lnTo>
                      <a:pt x="53" y="156"/>
                    </a:lnTo>
                    <a:lnTo>
                      <a:pt x="56" y="142"/>
                    </a:lnTo>
                    <a:lnTo>
                      <a:pt x="68" y="124"/>
                    </a:lnTo>
                    <a:lnTo>
                      <a:pt x="86" y="139"/>
                    </a:lnTo>
                    <a:lnTo>
                      <a:pt x="102" y="150"/>
                    </a:lnTo>
                    <a:lnTo>
                      <a:pt x="110" y="175"/>
                    </a:lnTo>
                    <a:lnTo>
                      <a:pt x="113" y="201"/>
                    </a:lnTo>
                    <a:lnTo>
                      <a:pt x="153" y="240"/>
                    </a:lnTo>
                    <a:lnTo>
                      <a:pt x="143" y="244"/>
                    </a:lnTo>
                    <a:lnTo>
                      <a:pt x="132" y="252"/>
                    </a:lnTo>
                    <a:lnTo>
                      <a:pt x="152" y="273"/>
                    </a:lnTo>
                    <a:lnTo>
                      <a:pt x="168" y="286"/>
                    </a:lnTo>
                    <a:lnTo>
                      <a:pt x="176" y="297"/>
                    </a:lnTo>
                    <a:lnTo>
                      <a:pt x="192" y="306"/>
                    </a:lnTo>
                    <a:lnTo>
                      <a:pt x="201" y="325"/>
                    </a:lnTo>
                    <a:lnTo>
                      <a:pt x="218" y="328"/>
                    </a:lnTo>
                    <a:lnTo>
                      <a:pt x="239" y="327"/>
                    </a:lnTo>
                    <a:lnTo>
                      <a:pt x="285" y="343"/>
                    </a:lnTo>
                    <a:lnTo>
                      <a:pt x="306" y="361"/>
                    </a:lnTo>
                    <a:lnTo>
                      <a:pt x="329" y="384"/>
                    </a:lnTo>
                    <a:lnTo>
                      <a:pt x="347" y="390"/>
                    </a:lnTo>
                    <a:lnTo>
                      <a:pt x="356" y="375"/>
                    </a:lnTo>
                    <a:lnTo>
                      <a:pt x="341" y="366"/>
                    </a:lnTo>
                    <a:lnTo>
                      <a:pt x="329" y="354"/>
                    </a:lnTo>
                    <a:lnTo>
                      <a:pt x="318" y="339"/>
                    </a:lnTo>
                    <a:lnTo>
                      <a:pt x="314" y="327"/>
                    </a:lnTo>
                    <a:lnTo>
                      <a:pt x="300" y="327"/>
                    </a:lnTo>
                    <a:lnTo>
                      <a:pt x="290" y="322"/>
                    </a:lnTo>
                    <a:lnTo>
                      <a:pt x="276" y="304"/>
                    </a:lnTo>
                    <a:lnTo>
                      <a:pt x="264" y="283"/>
                    </a:lnTo>
                    <a:lnTo>
                      <a:pt x="251" y="271"/>
                    </a:lnTo>
                    <a:lnTo>
                      <a:pt x="228" y="256"/>
                    </a:lnTo>
                    <a:lnTo>
                      <a:pt x="212" y="223"/>
                    </a:lnTo>
                    <a:lnTo>
                      <a:pt x="198" y="198"/>
                    </a:lnTo>
                    <a:lnTo>
                      <a:pt x="188" y="172"/>
                    </a:lnTo>
                    <a:lnTo>
                      <a:pt x="188" y="148"/>
                    </a:lnTo>
                    <a:lnTo>
                      <a:pt x="201" y="150"/>
                    </a:lnTo>
                    <a:lnTo>
                      <a:pt x="222" y="157"/>
                    </a:lnTo>
                    <a:lnTo>
                      <a:pt x="231" y="172"/>
                    </a:lnTo>
                    <a:lnTo>
                      <a:pt x="251" y="154"/>
                    </a:lnTo>
                    <a:lnTo>
                      <a:pt x="269" y="150"/>
                    </a:lnTo>
                    <a:lnTo>
                      <a:pt x="281" y="144"/>
                    </a:lnTo>
                    <a:lnTo>
                      <a:pt x="302" y="148"/>
                    </a:lnTo>
                    <a:lnTo>
                      <a:pt x="315" y="156"/>
                    </a:lnTo>
                    <a:lnTo>
                      <a:pt x="335" y="156"/>
                    </a:lnTo>
                    <a:lnTo>
                      <a:pt x="353" y="163"/>
                    </a:lnTo>
                    <a:lnTo>
                      <a:pt x="372" y="159"/>
                    </a:lnTo>
                    <a:lnTo>
                      <a:pt x="396" y="157"/>
                    </a:lnTo>
                    <a:lnTo>
                      <a:pt x="414" y="163"/>
                    </a:lnTo>
                    <a:lnTo>
                      <a:pt x="434" y="162"/>
                    </a:lnTo>
                    <a:lnTo>
                      <a:pt x="443" y="178"/>
                    </a:lnTo>
                    <a:lnTo>
                      <a:pt x="458" y="186"/>
                    </a:lnTo>
                    <a:lnTo>
                      <a:pt x="470" y="184"/>
                    </a:lnTo>
                    <a:lnTo>
                      <a:pt x="470" y="168"/>
                    </a:lnTo>
                    <a:lnTo>
                      <a:pt x="489" y="153"/>
                    </a:lnTo>
                    <a:lnTo>
                      <a:pt x="501" y="145"/>
                    </a:lnTo>
                    <a:lnTo>
                      <a:pt x="482" y="138"/>
                    </a:lnTo>
                    <a:lnTo>
                      <a:pt x="464" y="132"/>
                    </a:lnTo>
                    <a:lnTo>
                      <a:pt x="458" y="120"/>
                    </a:lnTo>
                    <a:lnTo>
                      <a:pt x="452" y="96"/>
                    </a:lnTo>
                    <a:lnTo>
                      <a:pt x="444" y="81"/>
                    </a:lnTo>
                    <a:lnTo>
                      <a:pt x="435" y="70"/>
                    </a:lnTo>
                    <a:lnTo>
                      <a:pt x="416" y="88"/>
                    </a:lnTo>
                    <a:lnTo>
                      <a:pt x="402" y="90"/>
                    </a:lnTo>
                    <a:lnTo>
                      <a:pt x="387" y="82"/>
                    </a:lnTo>
                    <a:lnTo>
                      <a:pt x="372" y="81"/>
                    </a:lnTo>
                    <a:lnTo>
                      <a:pt x="354" y="81"/>
                    </a:lnTo>
                    <a:lnTo>
                      <a:pt x="341" y="73"/>
                    </a:lnTo>
                    <a:lnTo>
                      <a:pt x="327" y="57"/>
                    </a:lnTo>
                    <a:lnTo>
                      <a:pt x="315" y="54"/>
                    </a:lnTo>
                    <a:lnTo>
                      <a:pt x="300" y="46"/>
                    </a:lnTo>
                    <a:lnTo>
                      <a:pt x="284" y="30"/>
                    </a:lnTo>
                    <a:lnTo>
                      <a:pt x="279" y="18"/>
                    </a:lnTo>
                    <a:lnTo>
                      <a:pt x="279" y="0"/>
                    </a:lnTo>
                    <a:lnTo>
                      <a:pt x="254" y="7"/>
                    </a:lnTo>
                    <a:lnTo>
                      <a:pt x="227" y="25"/>
                    </a:lnTo>
                    <a:lnTo>
                      <a:pt x="216" y="30"/>
                    </a:lnTo>
                    <a:lnTo>
                      <a:pt x="197" y="33"/>
                    </a:lnTo>
                    <a:lnTo>
                      <a:pt x="195" y="45"/>
                    </a:lnTo>
                    <a:lnTo>
                      <a:pt x="182" y="48"/>
                    </a:lnTo>
                    <a:lnTo>
                      <a:pt x="182" y="69"/>
                    </a:lnTo>
                    <a:lnTo>
                      <a:pt x="177" y="78"/>
                    </a:lnTo>
                    <a:lnTo>
                      <a:pt x="167" y="82"/>
                    </a:lnTo>
                    <a:lnTo>
                      <a:pt x="156" y="79"/>
                    </a:lnTo>
                    <a:lnTo>
                      <a:pt x="155" y="111"/>
                    </a:lnTo>
                    <a:lnTo>
                      <a:pt x="147" y="120"/>
                    </a:lnTo>
                    <a:lnTo>
                      <a:pt x="131" y="117"/>
                    </a:lnTo>
                    <a:lnTo>
                      <a:pt x="117" y="103"/>
                    </a:lnTo>
                    <a:lnTo>
                      <a:pt x="104" y="100"/>
                    </a:lnTo>
                    <a:lnTo>
                      <a:pt x="72" y="102"/>
                    </a:lnTo>
                    <a:lnTo>
                      <a:pt x="54" y="111"/>
                    </a:lnTo>
                    <a:lnTo>
                      <a:pt x="27" y="97"/>
                    </a:lnTo>
                    <a:lnTo>
                      <a:pt x="6" y="9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3" name="Freeform 70">
                <a:extLst>
                  <a:ext uri="{FF2B5EF4-FFF2-40B4-BE49-F238E27FC236}">
                    <a16:creationId xmlns:a16="http://schemas.microsoft.com/office/drawing/2014/main" id="{874D4A0F-1067-6BEF-A4E1-B475FE00A4A5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4619625" y="3522663"/>
                <a:ext cx="525463" cy="427037"/>
              </a:xfrm>
              <a:custGeom>
                <a:avLst/>
                <a:gdLst>
                  <a:gd name="T0" fmla="*/ 347095 w 327"/>
                  <a:gd name="T1" fmla="*/ 422589 h 288"/>
                  <a:gd name="T2" fmla="*/ 400123 w 327"/>
                  <a:gd name="T3" fmla="*/ 409244 h 288"/>
                  <a:gd name="T4" fmla="*/ 371199 w 327"/>
                  <a:gd name="T5" fmla="*/ 384037 h 288"/>
                  <a:gd name="T6" fmla="*/ 372806 w 327"/>
                  <a:gd name="T7" fmla="*/ 357347 h 288"/>
                  <a:gd name="T8" fmla="*/ 396909 w 327"/>
                  <a:gd name="T9" fmla="*/ 352899 h 288"/>
                  <a:gd name="T10" fmla="*/ 414586 w 327"/>
                  <a:gd name="T11" fmla="*/ 315829 h 288"/>
                  <a:gd name="T12" fmla="*/ 429048 w 327"/>
                  <a:gd name="T13" fmla="*/ 303967 h 288"/>
                  <a:gd name="T14" fmla="*/ 449938 w 327"/>
                  <a:gd name="T15" fmla="*/ 315829 h 288"/>
                  <a:gd name="T16" fmla="*/ 449938 w 327"/>
                  <a:gd name="T17" fmla="*/ 289140 h 288"/>
                  <a:gd name="T18" fmla="*/ 440296 w 327"/>
                  <a:gd name="T19" fmla="*/ 268381 h 288"/>
                  <a:gd name="T20" fmla="*/ 467614 w 327"/>
                  <a:gd name="T21" fmla="*/ 280243 h 288"/>
                  <a:gd name="T22" fmla="*/ 507787 w 327"/>
                  <a:gd name="T23" fmla="*/ 262450 h 288"/>
                  <a:gd name="T24" fmla="*/ 525463 w 327"/>
                  <a:gd name="T25" fmla="*/ 246139 h 288"/>
                  <a:gd name="T26" fmla="*/ 496538 w 327"/>
                  <a:gd name="T27" fmla="*/ 226863 h 288"/>
                  <a:gd name="T28" fmla="*/ 482076 w 327"/>
                  <a:gd name="T29" fmla="*/ 197208 h 288"/>
                  <a:gd name="T30" fmla="*/ 472435 w 327"/>
                  <a:gd name="T31" fmla="*/ 170518 h 288"/>
                  <a:gd name="T32" fmla="*/ 501359 w 327"/>
                  <a:gd name="T33" fmla="*/ 166070 h 288"/>
                  <a:gd name="T34" fmla="*/ 488504 w 327"/>
                  <a:gd name="T35" fmla="*/ 137897 h 288"/>
                  <a:gd name="T36" fmla="*/ 467614 w 327"/>
                  <a:gd name="T37" fmla="*/ 120104 h 288"/>
                  <a:gd name="T38" fmla="*/ 448331 w 327"/>
                  <a:gd name="T39" fmla="*/ 115656 h 288"/>
                  <a:gd name="T40" fmla="*/ 445117 w 327"/>
                  <a:gd name="T41" fmla="*/ 94897 h 288"/>
                  <a:gd name="T42" fmla="*/ 448331 w 327"/>
                  <a:gd name="T43" fmla="*/ 66725 h 288"/>
                  <a:gd name="T44" fmla="*/ 421013 w 327"/>
                  <a:gd name="T45" fmla="*/ 45966 h 288"/>
                  <a:gd name="T46" fmla="*/ 401730 w 327"/>
                  <a:gd name="T47" fmla="*/ 23724 h 288"/>
                  <a:gd name="T48" fmla="*/ 358343 w 327"/>
                  <a:gd name="T49" fmla="*/ 23724 h 288"/>
                  <a:gd name="T50" fmla="*/ 314956 w 327"/>
                  <a:gd name="T51" fmla="*/ 17793 h 288"/>
                  <a:gd name="T52" fmla="*/ 255500 w 327"/>
                  <a:gd name="T53" fmla="*/ 22242 h 288"/>
                  <a:gd name="T54" fmla="*/ 212114 w 327"/>
                  <a:gd name="T55" fmla="*/ 10379 h 288"/>
                  <a:gd name="T56" fmla="*/ 175154 w 327"/>
                  <a:gd name="T57" fmla="*/ 0 h 288"/>
                  <a:gd name="T58" fmla="*/ 126947 w 327"/>
                  <a:gd name="T59" fmla="*/ 1483 h 288"/>
                  <a:gd name="T60" fmla="*/ 77132 w 327"/>
                  <a:gd name="T61" fmla="*/ 31138 h 288"/>
                  <a:gd name="T62" fmla="*/ 62670 w 327"/>
                  <a:gd name="T63" fmla="*/ 19276 h 288"/>
                  <a:gd name="T64" fmla="*/ 35352 w 327"/>
                  <a:gd name="T65" fmla="*/ 8897 h 288"/>
                  <a:gd name="T66" fmla="*/ 9642 w 327"/>
                  <a:gd name="T67" fmla="*/ 5931 h 288"/>
                  <a:gd name="T68" fmla="*/ 0 w 327"/>
                  <a:gd name="T69" fmla="*/ 32621 h 288"/>
                  <a:gd name="T70" fmla="*/ 4821 w 327"/>
                  <a:gd name="T71" fmla="*/ 66725 h 288"/>
                  <a:gd name="T72" fmla="*/ 30531 w 327"/>
                  <a:gd name="T73" fmla="*/ 115656 h 288"/>
                  <a:gd name="T74" fmla="*/ 59456 w 327"/>
                  <a:gd name="T75" fmla="*/ 170518 h 288"/>
                  <a:gd name="T76" fmla="*/ 112484 w 327"/>
                  <a:gd name="T77" fmla="*/ 201656 h 288"/>
                  <a:gd name="T78" fmla="*/ 146230 w 327"/>
                  <a:gd name="T79" fmla="*/ 246139 h 288"/>
                  <a:gd name="T80" fmla="*/ 170334 w 327"/>
                  <a:gd name="T81" fmla="*/ 275795 h 288"/>
                  <a:gd name="T82" fmla="*/ 202472 w 327"/>
                  <a:gd name="T83" fmla="*/ 280243 h 288"/>
                  <a:gd name="T84" fmla="*/ 237824 w 327"/>
                  <a:gd name="T85" fmla="*/ 333623 h 288"/>
                  <a:gd name="T86" fmla="*/ 274783 w 327"/>
                  <a:gd name="T87" fmla="*/ 344002 h 288"/>
                  <a:gd name="T88" fmla="*/ 257107 w 327"/>
                  <a:gd name="T89" fmla="*/ 366243 h 288"/>
                  <a:gd name="T90" fmla="*/ 228183 w 327"/>
                  <a:gd name="T91" fmla="*/ 355864 h 288"/>
                  <a:gd name="T92" fmla="*/ 276390 w 327"/>
                  <a:gd name="T93" fmla="*/ 391451 h 288"/>
                  <a:gd name="T94" fmla="*/ 300494 w 327"/>
                  <a:gd name="T95" fmla="*/ 410727 h 288"/>
                  <a:gd name="T96" fmla="*/ 329419 w 327"/>
                  <a:gd name="T97" fmla="*/ 427037 h 288"/>
                  <a:gd name="T98" fmla="*/ 347095 w 327"/>
                  <a:gd name="T99" fmla="*/ 422589 h 28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27"/>
                  <a:gd name="T151" fmla="*/ 0 h 288"/>
                  <a:gd name="T152" fmla="*/ 327 w 327"/>
                  <a:gd name="T153" fmla="*/ 288 h 28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27" h="288">
                    <a:moveTo>
                      <a:pt x="216" y="285"/>
                    </a:moveTo>
                    <a:lnTo>
                      <a:pt x="249" y="276"/>
                    </a:lnTo>
                    <a:lnTo>
                      <a:pt x="231" y="259"/>
                    </a:lnTo>
                    <a:lnTo>
                      <a:pt x="232" y="241"/>
                    </a:lnTo>
                    <a:lnTo>
                      <a:pt x="247" y="238"/>
                    </a:lnTo>
                    <a:lnTo>
                      <a:pt x="258" y="213"/>
                    </a:lnTo>
                    <a:lnTo>
                      <a:pt x="267" y="205"/>
                    </a:lnTo>
                    <a:lnTo>
                      <a:pt x="280" y="213"/>
                    </a:lnTo>
                    <a:lnTo>
                      <a:pt x="280" y="195"/>
                    </a:lnTo>
                    <a:lnTo>
                      <a:pt x="274" y="181"/>
                    </a:lnTo>
                    <a:lnTo>
                      <a:pt x="291" y="189"/>
                    </a:lnTo>
                    <a:lnTo>
                      <a:pt x="316" y="177"/>
                    </a:lnTo>
                    <a:lnTo>
                      <a:pt x="327" y="166"/>
                    </a:lnTo>
                    <a:lnTo>
                      <a:pt x="309" y="153"/>
                    </a:lnTo>
                    <a:lnTo>
                      <a:pt x="300" y="133"/>
                    </a:lnTo>
                    <a:lnTo>
                      <a:pt x="294" y="115"/>
                    </a:lnTo>
                    <a:lnTo>
                      <a:pt x="312" y="112"/>
                    </a:lnTo>
                    <a:lnTo>
                      <a:pt x="304" y="93"/>
                    </a:lnTo>
                    <a:lnTo>
                      <a:pt x="291" y="81"/>
                    </a:lnTo>
                    <a:lnTo>
                      <a:pt x="279" y="78"/>
                    </a:lnTo>
                    <a:lnTo>
                      <a:pt x="277" y="64"/>
                    </a:lnTo>
                    <a:lnTo>
                      <a:pt x="279" y="45"/>
                    </a:lnTo>
                    <a:lnTo>
                      <a:pt x="262" y="31"/>
                    </a:lnTo>
                    <a:lnTo>
                      <a:pt x="250" y="16"/>
                    </a:lnTo>
                    <a:lnTo>
                      <a:pt x="223" y="16"/>
                    </a:lnTo>
                    <a:lnTo>
                      <a:pt x="196" y="12"/>
                    </a:lnTo>
                    <a:lnTo>
                      <a:pt x="159" y="15"/>
                    </a:lnTo>
                    <a:lnTo>
                      <a:pt x="132" y="7"/>
                    </a:lnTo>
                    <a:lnTo>
                      <a:pt x="109" y="0"/>
                    </a:lnTo>
                    <a:lnTo>
                      <a:pt x="79" y="1"/>
                    </a:lnTo>
                    <a:lnTo>
                      <a:pt x="48" y="21"/>
                    </a:lnTo>
                    <a:lnTo>
                      <a:pt x="39" y="13"/>
                    </a:lnTo>
                    <a:lnTo>
                      <a:pt x="22" y="6"/>
                    </a:lnTo>
                    <a:lnTo>
                      <a:pt x="6" y="4"/>
                    </a:lnTo>
                    <a:lnTo>
                      <a:pt x="0" y="22"/>
                    </a:lnTo>
                    <a:lnTo>
                      <a:pt x="3" y="45"/>
                    </a:lnTo>
                    <a:lnTo>
                      <a:pt x="19" y="78"/>
                    </a:lnTo>
                    <a:lnTo>
                      <a:pt x="37" y="115"/>
                    </a:lnTo>
                    <a:lnTo>
                      <a:pt x="70" y="136"/>
                    </a:lnTo>
                    <a:lnTo>
                      <a:pt x="91" y="166"/>
                    </a:lnTo>
                    <a:lnTo>
                      <a:pt x="106" y="186"/>
                    </a:lnTo>
                    <a:lnTo>
                      <a:pt x="126" y="189"/>
                    </a:lnTo>
                    <a:lnTo>
                      <a:pt x="148" y="225"/>
                    </a:lnTo>
                    <a:lnTo>
                      <a:pt x="171" y="232"/>
                    </a:lnTo>
                    <a:lnTo>
                      <a:pt x="160" y="247"/>
                    </a:lnTo>
                    <a:lnTo>
                      <a:pt x="142" y="240"/>
                    </a:lnTo>
                    <a:lnTo>
                      <a:pt x="172" y="264"/>
                    </a:lnTo>
                    <a:lnTo>
                      <a:pt x="187" y="277"/>
                    </a:lnTo>
                    <a:lnTo>
                      <a:pt x="205" y="288"/>
                    </a:lnTo>
                    <a:lnTo>
                      <a:pt x="216" y="285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4" name="Freeform 71">
                <a:extLst>
                  <a:ext uri="{FF2B5EF4-FFF2-40B4-BE49-F238E27FC236}">
                    <a16:creationId xmlns:a16="http://schemas.microsoft.com/office/drawing/2014/main" id="{A70712C0-1F67-A8B5-A014-4155AEC1DF68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3748088" y="411163"/>
                <a:ext cx="995362" cy="1042987"/>
              </a:xfrm>
              <a:custGeom>
                <a:avLst/>
                <a:gdLst>
                  <a:gd name="T0" fmla="*/ 635303 w 622"/>
                  <a:gd name="T1" fmla="*/ 945068 h 703"/>
                  <a:gd name="T2" fmla="*/ 635303 w 622"/>
                  <a:gd name="T3" fmla="*/ 887207 h 703"/>
                  <a:gd name="T4" fmla="*/ 686512 w 622"/>
                  <a:gd name="T5" fmla="*/ 814509 h 703"/>
                  <a:gd name="T6" fmla="*/ 755323 w 622"/>
                  <a:gd name="T7" fmla="*/ 759615 h 703"/>
                  <a:gd name="T8" fmla="*/ 737720 w 622"/>
                  <a:gd name="T9" fmla="*/ 658729 h 703"/>
                  <a:gd name="T10" fmla="*/ 792129 w 622"/>
                  <a:gd name="T11" fmla="*/ 572678 h 703"/>
                  <a:gd name="T12" fmla="*/ 755323 w 622"/>
                  <a:gd name="T13" fmla="*/ 514817 h 703"/>
                  <a:gd name="T14" fmla="*/ 772926 w 622"/>
                  <a:gd name="T15" fmla="*/ 428767 h 703"/>
                  <a:gd name="T16" fmla="*/ 772926 w 622"/>
                  <a:gd name="T17" fmla="*/ 359037 h 703"/>
                  <a:gd name="T18" fmla="*/ 792129 w 622"/>
                  <a:gd name="T19" fmla="*/ 244798 h 703"/>
                  <a:gd name="T20" fmla="*/ 857740 w 622"/>
                  <a:gd name="T21" fmla="*/ 229962 h 703"/>
                  <a:gd name="T22" fmla="*/ 945754 w 622"/>
                  <a:gd name="T23" fmla="*/ 203256 h 703"/>
                  <a:gd name="T24" fmla="*/ 945754 w 622"/>
                  <a:gd name="T25" fmla="*/ 129075 h 703"/>
                  <a:gd name="T26" fmla="*/ 977759 w 622"/>
                  <a:gd name="T27" fmla="*/ 59345 h 703"/>
                  <a:gd name="T28" fmla="*/ 804931 w 622"/>
                  <a:gd name="T29" fmla="*/ 59345 h 703"/>
                  <a:gd name="T30" fmla="*/ 788928 w 622"/>
                  <a:gd name="T31" fmla="*/ 86050 h 703"/>
                  <a:gd name="T32" fmla="*/ 736120 w 622"/>
                  <a:gd name="T33" fmla="*/ 115723 h 703"/>
                  <a:gd name="T34" fmla="*/ 684911 w 622"/>
                  <a:gd name="T35" fmla="*/ 115723 h 703"/>
                  <a:gd name="T36" fmla="*/ 632103 w 622"/>
                  <a:gd name="T37" fmla="*/ 157264 h 703"/>
                  <a:gd name="T38" fmla="*/ 584095 w 622"/>
                  <a:gd name="T39" fmla="*/ 203256 h 703"/>
                  <a:gd name="T40" fmla="*/ 529686 w 622"/>
                  <a:gd name="T41" fmla="*/ 244798 h 703"/>
                  <a:gd name="T42" fmla="*/ 464076 w 622"/>
                  <a:gd name="T43" fmla="*/ 258150 h 703"/>
                  <a:gd name="T44" fmla="*/ 446473 w 622"/>
                  <a:gd name="T45" fmla="*/ 286339 h 703"/>
                  <a:gd name="T46" fmla="*/ 395264 w 622"/>
                  <a:gd name="T47" fmla="*/ 301175 h 703"/>
                  <a:gd name="T48" fmla="*/ 340855 w 622"/>
                  <a:gd name="T49" fmla="*/ 314528 h 703"/>
                  <a:gd name="T50" fmla="*/ 291247 w 622"/>
                  <a:gd name="T51" fmla="*/ 329364 h 703"/>
                  <a:gd name="T52" fmla="*/ 275245 w 622"/>
                  <a:gd name="T53" fmla="*/ 370906 h 703"/>
                  <a:gd name="T54" fmla="*/ 206434 w 622"/>
                  <a:gd name="T55" fmla="*/ 370906 h 703"/>
                  <a:gd name="T56" fmla="*/ 136022 w 622"/>
                  <a:gd name="T57" fmla="*/ 370906 h 703"/>
                  <a:gd name="T58" fmla="*/ 136022 w 622"/>
                  <a:gd name="T59" fmla="*/ 413931 h 703"/>
                  <a:gd name="T60" fmla="*/ 120020 w 622"/>
                  <a:gd name="T61" fmla="*/ 443603 h 703"/>
                  <a:gd name="T62" fmla="*/ 102417 w 622"/>
                  <a:gd name="T63" fmla="*/ 488112 h 703"/>
                  <a:gd name="T64" fmla="*/ 84814 w 622"/>
                  <a:gd name="T65" fmla="*/ 528170 h 703"/>
                  <a:gd name="T66" fmla="*/ 67211 w 622"/>
                  <a:gd name="T67" fmla="*/ 528170 h 703"/>
                  <a:gd name="T68" fmla="*/ 102417 w 622"/>
                  <a:gd name="T69" fmla="*/ 600867 h 703"/>
                  <a:gd name="T70" fmla="*/ 51208 w 622"/>
                  <a:gd name="T71" fmla="*/ 630540 h 703"/>
                  <a:gd name="T72" fmla="*/ 51208 w 622"/>
                  <a:gd name="T73" fmla="*/ 658729 h 703"/>
                  <a:gd name="T74" fmla="*/ 155225 w 622"/>
                  <a:gd name="T75" fmla="*/ 673565 h 703"/>
                  <a:gd name="T76" fmla="*/ 120020 w 622"/>
                  <a:gd name="T77" fmla="*/ 759615 h 703"/>
                  <a:gd name="T78" fmla="*/ 51208 w 622"/>
                  <a:gd name="T79" fmla="*/ 759615 h 703"/>
                  <a:gd name="T80" fmla="*/ 0 w 622"/>
                  <a:gd name="T81" fmla="*/ 829345 h 703"/>
                  <a:gd name="T82" fmla="*/ 84814 w 622"/>
                  <a:gd name="T83" fmla="*/ 814509 h 703"/>
                  <a:gd name="T84" fmla="*/ 51208 w 622"/>
                  <a:gd name="T85" fmla="*/ 887207 h 703"/>
                  <a:gd name="T86" fmla="*/ 35206 w 622"/>
                  <a:gd name="T87" fmla="*/ 930232 h 703"/>
                  <a:gd name="T88" fmla="*/ 84814 w 622"/>
                  <a:gd name="T89" fmla="*/ 1014798 h 703"/>
                  <a:gd name="T90" fmla="*/ 187230 w 622"/>
                  <a:gd name="T91" fmla="*/ 1042987 h 703"/>
                  <a:gd name="T92" fmla="*/ 291247 w 622"/>
                  <a:gd name="T93" fmla="*/ 1029634 h 703"/>
                  <a:gd name="T94" fmla="*/ 395264 w 622"/>
                  <a:gd name="T95" fmla="*/ 958421 h 703"/>
                  <a:gd name="T96" fmla="*/ 446473 w 622"/>
                  <a:gd name="T97" fmla="*/ 945068 h 703"/>
                  <a:gd name="T98" fmla="*/ 529686 w 622"/>
                  <a:gd name="T99" fmla="*/ 887207 h 703"/>
                  <a:gd name="T100" fmla="*/ 566492 w 622"/>
                  <a:gd name="T101" fmla="*/ 799673 h 703"/>
                  <a:gd name="T102" fmla="*/ 584095 w 622"/>
                  <a:gd name="T103" fmla="*/ 829345 h 703"/>
                  <a:gd name="T104" fmla="*/ 632103 w 622"/>
                  <a:gd name="T105" fmla="*/ 887207 h 70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22"/>
                  <a:gd name="T160" fmla="*/ 0 h 703"/>
                  <a:gd name="T161" fmla="*/ 622 w 622"/>
                  <a:gd name="T162" fmla="*/ 703 h 70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22" h="703">
                    <a:moveTo>
                      <a:pt x="377" y="617"/>
                    </a:moveTo>
                    <a:lnTo>
                      <a:pt x="386" y="617"/>
                    </a:lnTo>
                    <a:lnTo>
                      <a:pt x="386" y="627"/>
                    </a:lnTo>
                    <a:lnTo>
                      <a:pt x="397" y="637"/>
                    </a:lnTo>
                    <a:lnTo>
                      <a:pt x="408" y="627"/>
                    </a:lnTo>
                    <a:lnTo>
                      <a:pt x="408" y="617"/>
                    </a:lnTo>
                    <a:lnTo>
                      <a:pt x="408" y="607"/>
                    </a:lnTo>
                    <a:lnTo>
                      <a:pt x="397" y="598"/>
                    </a:lnTo>
                    <a:lnTo>
                      <a:pt x="418" y="578"/>
                    </a:lnTo>
                    <a:lnTo>
                      <a:pt x="418" y="569"/>
                    </a:lnTo>
                    <a:lnTo>
                      <a:pt x="429" y="559"/>
                    </a:lnTo>
                    <a:lnTo>
                      <a:pt x="429" y="549"/>
                    </a:lnTo>
                    <a:lnTo>
                      <a:pt x="440" y="539"/>
                    </a:lnTo>
                    <a:lnTo>
                      <a:pt x="451" y="539"/>
                    </a:lnTo>
                    <a:lnTo>
                      <a:pt x="461" y="539"/>
                    </a:lnTo>
                    <a:lnTo>
                      <a:pt x="472" y="512"/>
                    </a:lnTo>
                    <a:lnTo>
                      <a:pt x="472" y="482"/>
                    </a:lnTo>
                    <a:lnTo>
                      <a:pt x="472" y="473"/>
                    </a:lnTo>
                    <a:lnTo>
                      <a:pt x="472" y="462"/>
                    </a:lnTo>
                    <a:lnTo>
                      <a:pt x="461" y="444"/>
                    </a:lnTo>
                    <a:lnTo>
                      <a:pt x="461" y="434"/>
                    </a:lnTo>
                    <a:lnTo>
                      <a:pt x="495" y="415"/>
                    </a:lnTo>
                    <a:lnTo>
                      <a:pt x="495" y="405"/>
                    </a:lnTo>
                    <a:lnTo>
                      <a:pt x="495" y="386"/>
                    </a:lnTo>
                    <a:lnTo>
                      <a:pt x="495" y="375"/>
                    </a:lnTo>
                    <a:lnTo>
                      <a:pt x="483" y="366"/>
                    </a:lnTo>
                    <a:lnTo>
                      <a:pt x="472" y="356"/>
                    </a:lnTo>
                    <a:lnTo>
                      <a:pt x="472" y="347"/>
                    </a:lnTo>
                    <a:lnTo>
                      <a:pt x="472" y="338"/>
                    </a:lnTo>
                    <a:lnTo>
                      <a:pt x="483" y="318"/>
                    </a:lnTo>
                    <a:lnTo>
                      <a:pt x="483" y="309"/>
                    </a:lnTo>
                    <a:lnTo>
                      <a:pt x="483" y="289"/>
                    </a:lnTo>
                    <a:lnTo>
                      <a:pt x="472" y="279"/>
                    </a:lnTo>
                    <a:lnTo>
                      <a:pt x="472" y="270"/>
                    </a:lnTo>
                    <a:lnTo>
                      <a:pt x="472" y="250"/>
                    </a:lnTo>
                    <a:lnTo>
                      <a:pt x="483" y="242"/>
                    </a:lnTo>
                    <a:lnTo>
                      <a:pt x="483" y="222"/>
                    </a:lnTo>
                    <a:lnTo>
                      <a:pt x="483" y="203"/>
                    </a:lnTo>
                    <a:lnTo>
                      <a:pt x="483" y="183"/>
                    </a:lnTo>
                    <a:lnTo>
                      <a:pt x="495" y="165"/>
                    </a:lnTo>
                    <a:lnTo>
                      <a:pt x="504" y="155"/>
                    </a:lnTo>
                    <a:lnTo>
                      <a:pt x="526" y="145"/>
                    </a:lnTo>
                    <a:lnTo>
                      <a:pt x="526" y="155"/>
                    </a:lnTo>
                    <a:lnTo>
                      <a:pt x="536" y="155"/>
                    </a:lnTo>
                    <a:lnTo>
                      <a:pt x="547" y="145"/>
                    </a:lnTo>
                    <a:lnTo>
                      <a:pt x="558" y="137"/>
                    </a:lnTo>
                    <a:lnTo>
                      <a:pt x="569" y="137"/>
                    </a:lnTo>
                    <a:lnTo>
                      <a:pt x="591" y="137"/>
                    </a:lnTo>
                    <a:lnTo>
                      <a:pt x="601" y="126"/>
                    </a:lnTo>
                    <a:lnTo>
                      <a:pt x="591" y="106"/>
                    </a:lnTo>
                    <a:lnTo>
                      <a:pt x="591" y="97"/>
                    </a:lnTo>
                    <a:lnTo>
                      <a:pt x="591" y="87"/>
                    </a:lnTo>
                    <a:lnTo>
                      <a:pt x="579" y="69"/>
                    </a:lnTo>
                    <a:lnTo>
                      <a:pt x="591" y="58"/>
                    </a:lnTo>
                    <a:lnTo>
                      <a:pt x="611" y="49"/>
                    </a:lnTo>
                    <a:lnTo>
                      <a:pt x="611" y="40"/>
                    </a:lnTo>
                    <a:lnTo>
                      <a:pt x="622" y="1"/>
                    </a:lnTo>
                    <a:lnTo>
                      <a:pt x="501" y="0"/>
                    </a:lnTo>
                    <a:lnTo>
                      <a:pt x="503" y="21"/>
                    </a:lnTo>
                    <a:lnTo>
                      <a:pt x="503" y="40"/>
                    </a:lnTo>
                    <a:lnTo>
                      <a:pt x="493" y="49"/>
                    </a:lnTo>
                    <a:lnTo>
                      <a:pt x="481" y="49"/>
                    </a:lnTo>
                    <a:lnTo>
                      <a:pt x="481" y="58"/>
                    </a:lnTo>
                    <a:lnTo>
                      <a:pt x="493" y="58"/>
                    </a:lnTo>
                    <a:lnTo>
                      <a:pt x="493" y="69"/>
                    </a:lnTo>
                    <a:lnTo>
                      <a:pt x="493" y="78"/>
                    </a:lnTo>
                    <a:lnTo>
                      <a:pt x="481" y="87"/>
                    </a:lnTo>
                    <a:lnTo>
                      <a:pt x="460" y="78"/>
                    </a:lnTo>
                    <a:lnTo>
                      <a:pt x="460" y="69"/>
                    </a:lnTo>
                    <a:lnTo>
                      <a:pt x="449" y="58"/>
                    </a:lnTo>
                    <a:lnTo>
                      <a:pt x="438" y="69"/>
                    </a:lnTo>
                    <a:lnTo>
                      <a:pt x="428" y="78"/>
                    </a:lnTo>
                    <a:lnTo>
                      <a:pt x="418" y="78"/>
                    </a:lnTo>
                    <a:lnTo>
                      <a:pt x="406" y="78"/>
                    </a:lnTo>
                    <a:lnTo>
                      <a:pt x="406" y="97"/>
                    </a:lnTo>
                    <a:lnTo>
                      <a:pt x="395" y="106"/>
                    </a:lnTo>
                    <a:lnTo>
                      <a:pt x="386" y="126"/>
                    </a:lnTo>
                    <a:lnTo>
                      <a:pt x="375" y="126"/>
                    </a:lnTo>
                    <a:lnTo>
                      <a:pt x="365" y="126"/>
                    </a:lnTo>
                    <a:lnTo>
                      <a:pt x="365" y="137"/>
                    </a:lnTo>
                    <a:lnTo>
                      <a:pt x="365" y="155"/>
                    </a:lnTo>
                    <a:lnTo>
                      <a:pt x="354" y="145"/>
                    </a:lnTo>
                    <a:lnTo>
                      <a:pt x="343" y="155"/>
                    </a:lnTo>
                    <a:lnTo>
                      <a:pt x="331" y="165"/>
                    </a:lnTo>
                    <a:lnTo>
                      <a:pt x="322" y="155"/>
                    </a:lnTo>
                    <a:lnTo>
                      <a:pt x="311" y="165"/>
                    </a:lnTo>
                    <a:lnTo>
                      <a:pt x="300" y="174"/>
                    </a:lnTo>
                    <a:lnTo>
                      <a:pt x="290" y="174"/>
                    </a:lnTo>
                    <a:lnTo>
                      <a:pt x="290" y="193"/>
                    </a:lnTo>
                    <a:lnTo>
                      <a:pt x="279" y="183"/>
                    </a:lnTo>
                    <a:lnTo>
                      <a:pt x="268" y="183"/>
                    </a:lnTo>
                    <a:lnTo>
                      <a:pt x="279" y="193"/>
                    </a:lnTo>
                    <a:lnTo>
                      <a:pt x="279" y="203"/>
                    </a:lnTo>
                    <a:lnTo>
                      <a:pt x="268" y="203"/>
                    </a:lnTo>
                    <a:lnTo>
                      <a:pt x="257" y="193"/>
                    </a:lnTo>
                    <a:lnTo>
                      <a:pt x="247" y="203"/>
                    </a:lnTo>
                    <a:lnTo>
                      <a:pt x="235" y="203"/>
                    </a:lnTo>
                    <a:lnTo>
                      <a:pt x="225" y="203"/>
                    </a:lnTo>
                    <a:lnTo>
                      <a:pt x="213" y="203"/>
                    </a:lnTo>
                    <a:lnTo>
                      <a:pt x="213" y="212"/>
                    </a:lnTo>
                    <a:lnTo>
                      <a:pt x="225" y="231"/>
                    </a:lnTo>
                    <a:lnTo>
                      <a:pt x="213" y="231"/>
                    </a:lnTo>
                    <a:lnTo>
                      <a:pt x="204" y="231"/>
                    </a:lnTo>
                    <a:lnTo>
                      <a:pt x="182" y="222"/>
                    </a:lnTo>
                    <a:lnTo>
                      <a:pt x="172" y="222"/>
                    </a:lnTo>
                    <a:lnTo>
                      <a:pt x="162" y="231"/>
                    </a:lnTo>
                    <a:lnTo>
                      <a:pt x="172" y="242"/>
                    </a:lnTo>
                    <a:lnTo>
                      <a:pt x="172" y="250"/>
                    </a:lnTo>
                    <a:lnTo>
                      <a:pt x="162" y="250"/>
                    </a:lnTo>
                    <a:lnTo>
                      <a:pt x="139" y="250"/>
                    </a:lnTo>
                    <a:lnTo>
                      <a:pt x="129" y="270"/>
                    </a:lnTo>
                    <a:lnTo>
                      <a:pt x="129" y="250"/>
                    </a:lnTo>
                    <a:lnTo>
                      <a:pt x="117" y="250"/>
                    </a:lnTo>
                    <a:lnTo>
                      <a:pt x="107" y="261"/>
                    </a:lnTo>
                    <a:lnTo>
                      <a:pt x="97" y="250"/>
                    </a:lnTo>
                    <a:lnTo>
                      <a:pt x="85" y="250"/>
                    </a:lnTo>
                    <a:lnTo>
                      <a:pt x="75" y="250"/>
                    </a:lnTo>
                    <a:lnTo>
                      <a:pt x="75" y="261"/>
                    </a:lnTo>
                    <a:lnTo>
                      <a:pt x="75" y="270"/>
                    </a:lnTo>
                    <a:lnTo>
                      <a:pt x="85" y="279"/>
                    </a:lnTo>
                    <a:lnTo>
                      <a:pt x="97" y="279"/>
                    </a:lnTo>
                    <a:lnTo>
                      <a:pt x="97" y="289"/>
                    </a:lnTo>
                    <a:lnTo>
                      <a:pt x="85" y="289"/>
                    </a:lnTo>
                    <a:lnTo>
                      <a:pt x="75" y="299"/>
                    </a:lnTo>
                    <a:lnTo>
                      <a:pt x="53" y="299"/>
                    </a:lnTo>
                    <a:lnTo>
                      <a:pt x="53" y="309"/>
                    </a:lnTo>
                    <a:lnTo>
                      <a:pt x="64" y="318"/>
                    </a:lnTo>
                    <a:lnTo>
                      <a:pt x="64" y="329"/>
                    </a:lnTo>
                    <a:lnTo>
                      <a:pt x="42" y="318"/>
                    </a:lnTo>
                    <a:lnTo>
                      <a:pt x="42" y="329"/>
                    </a:lnTo>
                    <a:lnTo>
                      <a:pt x="42" y="338"/>
                    </a:lnTo>
                    <a:lnTo>
                      <a:pt x="53" y="356"/>
                    </a:lnTo>
                    <a:lnTo>
                      <a:pt x="75" y="356"/>
                    </a:lnTo>
                    <a:lnTo>
                      <a:pt x="75" y="366"/>
                    </a:lnTo>
                    <a:lnTo>
                      <a:pt x="64" y="366"/>
                    </a:lnTo>
                    <a:lnTo>
                      <a:pt x="42" y="356"/>
                    </a:lnTo>
                    <a:lnTo>
                      <a:pt x="42" y="366"/>
                    </a:lnTo>
                    <a:lnTo>
                      <a:pt x="42" y="375"/>
                    </a:lnTo>
                    <a:lnTo>
                      <a:pt x="53" y="395"/>
                    </a:lnTo>
                    <a:lnTo>
                      <a:pt x="64" y="405"/>
                    </a:lnTo>
                    <a:lnTo>
                      <a:pt x="53" y="415"/>
                    </a:lnTo>
                    <a:lnTo>
                      <a:pt x="42" y="405"/>
                    </a:lnTo>
                    <a:lnTo>
                      <a:pt x="32" y="415"/>
                    </a:lnTo>
                    <a:lnTo>
                      <a:pt x="32" y="425"/>
                    </a:lnTo>
                    <a:lnTo>
                      <a:pt x="53" y="434"/>
                    </a:lnTo>
                    <a:lnTo>
                      <a:pt x="42" y="434"/>
                    </a:lnTo>
                    <a:lnTo>
                      <a:pt x="32" y="434"/>
                    </a:lnTo>
                    <a:lnTo>
                      <a:pt x="32" y="444"/>
                    </a:lnTo>
                    <a:lnTo>
                      <a:pt x="42" y="454"/>
                    </a:lnTo>
                    <a:lnTo>
                      <a:pt x="53" y="462"/>
                    </a:lnTo>
                    <a:lnTo>
                      <a:pt x="75" y="462"/>
                    </a:lnTo>
                    <a:lnTo>
                      <a:pt x="97" y="454"/>
                    </a:lnTo>
                    <a:lnTo>
                      <a:pt x="75" y="473"/>
                    </a:lnTo>
                    <a:lnTo>
                      <a:pt x="64" y="482"/>
                    </a:lnTo>
                    <a:lnTo>
                      <a:pt x="53" y="492"/>
                    </a:lnTo>
                    <a:lnTo>
                      <a:pt x="75" y="512"/>
                    </a:lnTo>
                    <a:lnTo>
                      <a:pt x="64" y="512"/>
                    </a:lnTo>
                    <a:lnTo>
                      <a:pt x="53" y="512"/>
                    </a:lnTo>
                    <a:lnTo>
                      <a:pt x="42" y="520"/>
                    </a:lnTo>
                    <a:lnTo>
                      <a:pt x="32" y="512"/>
                    </a:lnTo>
                    <a:lnTo>
                      <a:pt x="22" y="512"/>
                    </a:lnTo>
                    <a:lnTo>
                      <a:pt x="10" y="530"/>
                    </a:lnTo>
                    <a:lnTo>
                      <a:pt x="10" y="539"/>
                    </a:lnTo>
                    <a:lnTo>
                      <a:pt x="0" y="559"/>
                    </a:lnTo>
                    <a:lnTo>
                      <a:pt x="10" y="569"/>
                    </a:lnTo>
                    <a:lnTo>
                      <a:pt x="32" y="539"/>
                    </a:lnTo>
                    <a:lnTo>
                      <a:pt x="53" y="539"/>
                    </a:lnTo>
                    <a:lnTo>
                      <a:pt x="53" y="549"/>
                    </a:lnTo>
                    <a:lnTo>
                      <a:pt x="53" y="569"/>
                    </a:lnTo>
                    <a:lnTo>
                      <a:pt x="42" y="569"/>
                    </a:lnTo>
                    <a:lnTo>
                      <a:pt x="42" y="588"/>
                    </a:lnTo>
                    <a:lnTo>
                      <a:pt x="32" y="598"/>
                    </a:lnTo>
                    <a:lnTo>
                      <a:pt x="32" y="588"/>
                    </a:lnTo>
                    <a:lnTo>
                      <a:pt x="22" y="598"/>
                    </a:lnTo>
                    <a:lnTo>
                      <a:pt x="22" y="607"/>
                    </a:lnTo>
                    <a:lnTo>
                      <a:pt x="22" y="627"/>
                    </a:lnTo>
                    <a:lnTo>
                      <a:pt x="22" y="637"/>
                    </a:lnTo>
                    <a:lnTo>
                      <a:pt x="42" y="655"/>
                    </a:lnTo>
                    <a:lnTo>
                      <a:pt x="75" y="665"/>
                    </a:lnTo>
                    <a:lnTo>
                      <a:pt x="53" y="684"/>
                    </a:lnTo>
                    <a:lnTo>
                      <a:pt x="75" y="694"/>
                    </a:lnTo>
                    <a:lnTo>
                      <a:pt x="85" y="684"/>
                    </a:lnTo>
                    <a:lnTo>
                      <a:pt x="85" y="703"/>
                    </a:lnTo>
                    <a:lnTo>
                      <a:pt x="117" y="703"/>
                    </a:lnTo>
                    <a:lnTo>
                      <a:pt x="139" y="703"/>
                    </a:lnTo>
                    <a:lnTo>
                      <a:pt x="162" y="694"/>
                    </a:lnTo>
                    <a:lnTo>
                      <a:pt x="162" y="703"/>
                    </a:lnTo>
                    <a:lnTo>
                      <a:pt x="182" y="694"/>
                    </a:lnTo>
                    <a:lnTo>
                      <a:pt x="193" y="684"/>
                    </a:lnTo>
                    <a:lnTo>
                      <a:pt x="204" y="665"/>
                    </a:lnTo>
                    <a:lnTo>
                      <a:pt x="213" y="655"/>
                    </a:lnTo>
                    <a:lnTo>
                      <a:pt x="247" y="646"/>
                    </a:lnTo>
                    <a:lnTo>
                      <a:pt x="247" y="637"/>
                    </a:lnTo>
                    <a:lnTo>
                      <a:pt x="257" y="627"/>
                    </a:lnTo>
                    <a:lnTo>
                      <a:pt x="279" y="627"/>
                    </a:lnTo>
                    <a:lnTo>
                      <a:pt x="279" y="637"/>
                    </a:lnTo>
                    <a:lnTo>
                      <a:pt x="290" y="646"/>
                    </a:lnTo>
                    <a:lnTo>
                      <a:pt x="311" y="637"/>
                    </a:lnTo>
                    <a:lnTo>
                      <a:pt x="311" y="617"/>
                    </a:lnTo>
                    <a:lnTo>
                      <a:pt x="331" y="598"/>
                    </a:lnTo>
                    <a:lnTo>
                      <a:pt x="331" y="578"/>
                    </a:lnTo>
                    <a:lnTo>
                      <a:pt x="322" y="569"/>
                    </a:lnTo>
                    <a:lnTo>
                      <a:pt x="343" y="549"/>
                    </a:lnTo>
                    <a:lnTo>
                      <a:pt x="354" y="539"/>
                    </a:lnTo>
                    <a:lnTo>
                      <a:pt x="365" y="530"/>
                    </a:lnTo>
                    <a:lnTo>
                      <a:pt x="375" y="530"/>
                    </a:lnTo>
                    <a:lnTo>
                      <a:pt x="375" y="549"/>
                    </a:lnTo>
                    <a:lnTo>
                      <a:pt x="365" y="559"/>
                    </a:lnTo>
                    <a:lnTo>
                      <a:pt x="354" y="559"/>
                    </a:lnTo>
                    <a:lnTo>
                      <a:pt x="354" y="578"/>
                    </a:lnTo>
                    <a:lnTo>
                      <a:pt x="365" y="578"/>
                    </a:lnTo>
                    <a:lnTo>
                      <a:pt x="395" y="598"/>
                    </a:lnTo>
                    <a:lnTo>
                      <a:pt x="377" y="617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5" name="Freeform 72">
                <a:extLst>
                  <a:ext uri="{FF2B5EF4-FFF2-40B4-BE49-F238E27FC236}">
                    <a16:creationId xmlns:a16="http://schemas.microsoft.com/office/drawing/2014/main" id="{141D6CA4-B585-4947-D88A-E9CECD91A27F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4344988" y="414338"/>
                <a:ext cx="977900" cy="1512887"/>
              </a:xfrm>
              <a:custGeom>
                <a:avLst/>
                <a:gdLst>
                  <a:gd name="T0" fmla="*/ 376237 w 616"/>
                  <a:gd name="T1" fmla="*/ 71437 h 953"/>
                  <a:gd name="T2" fmla="*/ 344487 w 616"/>
                  <a:gd name="T3" fmla="*/ 142875 h 953"/>
                  <a:gd name="T4" fmla="*/ 309562 w 616"/>
                  <a:gd name="T5" fmla="*/ 200025 h 953"/>
                  <a:gd name="T6" fmla="*/ 238125 w 616"/>
                  <a:gd name="T7" fmla="*/ 227012 h 953"/>
                  <a:gd name="T8" fmla="*/ 169862 w 616"/>
                  <a:gd name="T9" fmla="*/ 268287 h 953"/>
                  <a:gd name="T10" fmla="*/ 155575 w 616"/>
                  <a:gd name="T11" fmla="*/ 369887 h 953"/>
                  <a:gd name="T12" fmla="*/ 169862 w 616"/>
                  <a:gd name="T13" fmla="*/ 457200 h 953"/>
                  <a:gd name="T14" fmla="*/ 155575 w 616"/>
                  <a:gd name="T15" fmla="*/ 525462 h 953"/>
                  <a:gd name="T16" fmla="*/ 188912 w 616"/>
                  <a:gd name="T17" fmla="*/ 598487 h 953"/>
                  <a:gd name="T18" fmla="*/ 155575 w 616"/>
                  <a:gd name="T19" fmla="*/ 684212 h 953"/>
                  <a:gd name="T20" fmla="*/ 136525 w 616"/>
                  <a:gd name="T21" fmla="*/ 798512 h 953"/>
                  <a:gd name="T22" fmla="*/ 84137 w 616"/>
                  <a:gd name="T23" fmla="*/ 825500 h 953"/>
                  <a:gd name="T24" fmla="*/ 49212 w 616"/>
                  <a:gd name="T25" fmla="*/ 898525 h 953"/>
                  <a:gd name="T26" fmla="*/ 15875 w 616"/>
                  <a:gd name="T27" fmla="*/ 927100 h 953"/>
                  <a:gd name="T28" fmla="*/ 0 w 616"/>
                  <a:gd name="T29" fmla="*/ 941387 h 953"/>
                  <a:gd name="T30" fmla="*/ 0 w 616"/>
                  <a:gd name="T31" fmla="*/ 1011237 h 953"/>
                  <a:gd name="T32" fmla="*/ 17462 w 616"/>
                  <a:gd name="T33" fmla="*/ 1069975 h 953"/>
                  <a:gd name="T34" fmla="*/ 31750 w 616"/>
                  <a:gd name="T35" fmla="*/ 1112837 h 953"/>
                  <a:gd name="T36" fmla="*/ 31750 w 616"/>
                  <a:gd name="T37" fmla="*/ 1185862 h 953"/>
                  <a:gd name="T38" fmla="*/ 49212 w 616"/>
                  <a:gd name="T39" fmla="*/ 1254125 h 953"/>
                  <a:gd name="T40" fmla="*/ 101600 w 616"/>
                  <a:gd name="T41" fmla="*/ 1325562 h 953"/>
                  <a:gd name="T42" fmla="*/ 68262 w 616"/>
                  <a:gd name="T43" fmla="*/ 1370012 h 953"/>
                  <a:gd name="T44" fmla="*/ 84137 w 616"/>
                  <a:gd name="T45" fmla="*/ 1427162 h 953"/>
                  <a:gd name="T46" fmla="*/ 84137 w 616"/>
                  <a:gd name="T47" fmla="*/ 1498600 h 953"/>
                  <a:gd name="T48" fmla="*/ 188912 w 616"/>
                  <a:gd name="T49" fmla="*/ 1498600 h 953"/>
                  <a:gd name="T50" fmla="*/ 238125 w 616"/>
                  <a:gd name="T51" fmla="*/ 1498600 h 953"/>
                  <a:gd name="T52" fmla="*/ 273050 w 616"/>
                  <a:gd name="T53" fmla="*/ 1427162 h 953"/>
                  <a:gd name="T54" fmla="*/ 309562 w 616"/>
                  <a:gd name="T55" fmla="*/ 1397000 h 953"/>
                  <a:gd name="T56" fmla="*/ 393700 w 616"/>
                  <a:gd name="T57" fmla="*/ 1411287 h 953"/>
                  <a:gd name="T58" fmla="*/ 444500 w 616"/>
                  <a:gd name="T59" fmla="*/ 1370012 h 953"/>
                  <a:gd name="T60" fmla="*/ 514350 w 616"/>
                  <a:gd name="T61" fmla="*/ 1270000 h 953"/>
                  <a:gd name="T62" fmla="*/ 533400 w 616"/>
                  <a:gd name="T63" fmla="*/ 1214437 h 953"/>
                  <a:gd name="T64" fmla="*/ 533400 w 616"/>
                  <a:gd name="T65" fmla="*/ 1155700 h 953"/>
                  <a:gd name="T66" fmla="*/ 549275 w 616"/>
                  <a:gd name="T67" fmla="*/ 1082675 h 953"/>
                  <a:gd name="T68" fmla="*/ 533400 w 616"/>
                  <a:gd name="T69" fmla="*/ 1011237 h 953"/>
                  <a:gd name="T70" fmla="*/ 617537 w 616"/>
                  <a:gd name="T71" fmla="*/ 984250 h 953"/>
                  <a:gd name="T72" fmla="*/ 668337 w 616"/>
                  <a:gd name="T73" fmla="*/ 984250 h 953"/>
                  <a:gd name="T74" fmla="*/ 704850 w 616"/>
                  <a:gd name="T75" fmla="*/ 914400 h 953"/>
                  <a:gd name="T76" fmla="*/ 773112 w 616"/>
                  <a:gd name="T77" fmla="*/ 841375 h 953"/>
                  <a:gd name="T78" fmla="*/ 720725 w 616"/>
                  <a:gd name="T79" fmla="*/ 798512 h 953"/>
                  <a:gd name="T80" fmla="*/ 688975 w 616"/>
                  <a:gd name="T81" fmla="*/ 741362 h 953"/>
                  <a:gd name="T82" fmla="*/ 617537 w 616"/>
                  <a:gd name="T83" fmla="*/ 711200 h 953"/>
                  <a:gd name="T84" fmla="*/ 582612 w 616"/>
                  <a:gd name="T85" fmla="*/ 642937 h 953"/>
                  <a:gd name="T86" fmla="*/ 617537 w 616"/>
                  <a:gd name="T87" fmla="*/ 584200 h 953"/>
                  <a:gd name="T88" fmla="*/ 633412 w 616"/>
                  <a:gd name="T89" fmla="*/ 525462 h 953"/>
                  <a:gd name="T90" fmla="*/ 600075 w 616"/>
                  <a:gd name="T91" fmla="*/ 457200 h 953"/>
                  <a:gd name="T92" fmla="*/ 668337 w 616"/>
                  <a:gd name="T93" fmla="*/ 412750 h 953"/>
                  <a:gd name="T94" fmla="*/ 755650 w 616"/>
                  <a:gd name="T95" fmla="*/ 385762 h 953"/>
                  <a:gd name="T96" fmla="*/ 788987 w 616"/>
                  <a:gd name="T97" fmla="*/ 327025 h 953"/>
                  <a:gd name="T98" fmla="*/ 839788 w 616"/>
                  <a:gd name="T99" fmla="*/ 284162 h 953"/>
                  <a:gd name="T100" fmla="*/ 909638 w 616"/>
                  <a:gd name="T101" fmla="*/ 227012 h 953"/>
                  <a:gd name="T102" fmla="*/ 944563 w 616"/>
                  <a:gd name="T103" fmla="*/ 171450 h 953"/>
                  <a:gd name="T104" fmla="*/ 962025 w 616"/>
                  <a:gd name="T105" fmla="*/ 100012 h 953"/>
                  <a:gd name="T106" fmla="*/ 977900 w 616"/>
                  <a:gd name="T107" fmla="*/ 11112 h 95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16"/>
                  <a:gd name="T163" fmla="*/ 0 h 953"/>
                  <a:gd name="T164" fmla="*/ 616 w 616"/>
                  <a:gd name="T165" fmla="*/ 953 h 95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16" h="953">
                    <a:moveTo>
                      <a:pt x="247" y="0"/>
                    </a:moveTo>
                    <a:lnTo>
                      <a:pt x="247" y="7"/>
                    </a:lnTo>
                    <a:lnTo>
                      <a:pt x="237" y="36"/>
                    </a:lnTo>
                    <a:lnTo>
                      <a:pt x="237" y="45"/>
                    </a:lnTo>
                    <a:lnTo>
                      <a:pt x="217" y="53"/>
                    </a:lnTo>
                    <a:lnTo>
                      <a:pt x="205" y="63"/>
                    </a:lnTo>
                    <a:lnTo>
                      <a:pt x="217" y="80"/>
                    </a:lnTo>
                    <a:lnTo>
                      <a:pt x="217" y="90"/>
                    </a:lnTo>
                    <a:lnTo>
                      <a:pt x="217" y="98"/>
                    </a:lnTo>
                    <a:lnTo>
                      <a:pt x="227" y="116"/>
                    </a:lnTo>
                    <a:lnTo>
                      <a:pt x="217" y="126"/>
                    </a:lnTo>
                    <a:lnTo>
                      <a:pt x="195" y="126"/>
                    </a:lnTo>
                    <a:lnTo>
                      <a:pt x="182" y="126"/>
                    </a:lnTo>
                    <a:lnTo>
                      <a:pt x="172" y="135"/>
                    </a:lnTo>
                    <a:lnTo>
                      <a:pt x="161" y="143"/>
                    </a:lnTo>
                    <a:lnTo>
                      <a:pt x="150" y="143"/>
                    </a:lnTo>
                    <a:lnTo>
                      <a:pt x="150" y="135"/>
                    </a:lnTo>
                    <a:lnTo>
                      <a:pt x="129" y="143"/>
                    </a:lnTo>
                    <a:lnTo>
                      <a:pt x="119" y="152"/>
                    </a:lnTo>
                    <a:lnTo>
                      <a:pt x="107" y="169"/>
                    </a:lnTo>
                    <a:lnTo>
                      <a:pt x="107" y="188"/>
                    </a:lnTo>
                    <a:lnTo>
                      <a:pt x="107" y="206"/>
                    </a:lnTo>
                    <a:lnTo>
                      <a:pt x="107" y="224"/>
                    </a:lnTo>
                    <a:lnTo>
                      <a:pt x="98" y="233"/>
                    </a:lnTo>
                    <a:lnTo>
                      <a:pt x="98" y="251"/>
                    </a:lnTo>
                    <a:lnTo>
                      <a:pt x="98" y="260"/>
                    </a:lnTo>
                    <a:lnTo>
                      <a:pt x="107" y="269"/>
                    </a:lnTo>
                    <a:lnTo>
                      <a:pt x="107" y="288"/>
                    </a:lnTo>
                    <a:lnTo>
                      <a:pt x="107" y="296"/>
                    </a:lnTo>
                    <a:lnTo>
                      <a:pt x="98" y="314"/>
                    </a:lnTo>
                    <a:lnTo>
                      <a:pt x="98" y="323"/>
                    </a:lnTo>
                    <a:lnTo>
                      <a:pt x="98" y="331"/>
                    </a:lnTo>
                    <a:lnTo>
                      <a:pt x="107" y="341"/>
                    </a:lnTo>
                    <a:lnTo>
                      <a:pt x="119" y="349"/>
                    </a:lnTo>
                    <a:lnTo>
                      <a:pt x="119" y="359"/>
                    </a:lnTo>
                    <a:lnTo>
                      <a:pt x="119" y="377"/>
                    </a:lnTo>
                    <a:lnTo>
                      <a:pt x="119" y="386"/>
                    </a:lnTo>
                    <a:lnTo>
                      <a:pt x="86" y="405"/>
                    </a:lnTo>
                    <a:lnTo>
                      <a:pt x="86" y="414"/>
                    </a:lnTo>
                    <a:lnTo>
                      <a:pt x="98" y="431"/>
                    </a:lnTo>
                    <a:lnTo>
                      <a:pt x="98" y="441"/>
                    </a:lnTo>
                    <a:lnTo>
                      <a:pt x="98" y="448"/>
                    </a:lnTo>
                    <a:lnTo>
                      <a:pt x="98" y="477"/>
                    </a:lnTo>
                    <a:lnTo>
                      <a:pt x="86" y="503"/>
                    </a:lnTo>
                    <a:lnTo>
                      <a:pt x="75" y="503"/>
                    </a:lnTo>
                    <a:lnTo>
                      <a:pt x="64" y="503"/>
                    </a:lnTo>
                    <a:lnTo>
                      <a:pt x="53" y="512"/>
                    </a:lnTo>
                    <a:lnTo>
                      <a:pt x="53" y="520"/>
                    </a:lnTo>
                    <a:lnTo>
                      <a:pt x="42" y="530"/>
                    </a:lnTo>
                    <a:lnTo>
                      <a:pt x="42" y="539"/>
                    </a:lnTo>
                    <a:lnTo>
                      <a:pt x="20" y="557"/>
                    </a:lnTo>
                    <a:lnTo>
                      <a:pt x="31" y="566"/>
                    </a:lnTo>
                    <a:lnTo>
                      <a:pt x="31" y="576"/>
                    </a:lnTo>
                    <a:lnTo>
                      <a:pt x="31" y="584"/>
                    </a:lnTo>
                    <a:lnTo>
                      <a:pt x="20" y="593"/>
                    </a:lnTo>
                    <a:lnTo>
                      <a:pt x="10" y="584"/>
                    </a:lnTo>
                    <a:lnTo>
                      <a:pt x="10" y="576"/>
                    </a:lnTo>
                    <a:lnTo>
                      <a:pt x="0" y="576"/>
                    </a:lnTo>
                    <a:lnTo>
                      <a:pt x="0" y="593"/>
                    </a:lnTo>
                    <a:lnTo>
                      <a:pt x="0" y="603"/>
                    </a:lnTo>
                    <a:lnTo>
                      <a:pt x="0" y="620"/>
                    </a:lnTo>
                    <a:lnTo>
                      <a:pt x="0" y="629"/>
                    </a:lnTo>
                    <a:lnTo>
                      <a:pt x="0" y="637"/>
                    </a:lnTo>
                    <a:lnTo>
                      <a:pt x="0" y="647"/>
                    </a:lnTo>
                    <a:lnTo>
                      <a:pt x="0" y="656"/>
                    </a:lnTo>
                    <a:lnTo>
                      <a:pt x="11" y="656"/>
                    </a:lnTo>
                    <a:lnTo>
                      <a:pt x="11" y="674"/>
                    </a:lnTo>
                    <a:lnTo>
                      <a:pt x="20" y="665"/>
                    </a:lnTo>
                    <a:lnTo>
                      <a:pt x="31" y="674"/>
                    </a:lnTo>
                    <a:lnTo>
                      <a:pt x="20" y="691"/>
                    </a:lnTo>
                    <a:lnTo>
                      <a:pt x="20" y="701"/>
                    </a:lnTo>
                    <a:lnTo>
                      <a:pt x="20" y="710"/>
                    </a:lnTo>
                    <a:lnTo>
                      <a:pt x="20" y="718"/>
                    </a:lnTo>
                    <a:lnTo>
                      <a:pt x="20" y="737"/>
                    </a:lnTo>
                    <a:lnTo>
                      <a:pt x="20" y="747"/>
                    </a:lnTo>
                    <a:lnTo>
                      <a:pt x="31" y="755"/>
                    </a:lnTo>
                    <a:lnTo>
                      <a:pt x="20" y="765"/>
                    </a:lnTo>
                    <a:lnTo>
                      <a:pt x="20" y="782"/>
                    </a:lnTo>
                    <a:lnTo>
                      <a:pt x="31" y="790"/>
                    </a:lnTo>
                    <a:lnTo>
                      <a:pt x="43" y="790"/>
                    </a:lnTo>
                    <a:lnTo>
                      <a:pt x="43" y="818"/>
                    </a:lnTo>
                    <a:lnTo>
                      <a:pt x="64" y="827"/>
                    </a:lnTo>
                    <a:lnTo>
                      <a:pt x="64" y="835"/>
                    </a:lnTo>
                    <a:lnTo>
                      <a:pt x="64" y="844"/>
                    </a:lnTo>
                    <a:lnTo>
                      <a:pt x="53" y="844"/>
                    </a:lnTo>
                    <a:lnTo>
                      <a:pt x="53" y="853"/>
                    </a:lnTo>
                    <a:lnTo>
                      <a:pt x="43" y="863"/>
                    </a:lnTo>
                    <a:lnTo>
                      <a:pt x="43" y="872"/>
                    </a:lnTo>
                    <a:lnTo>
                      <a:pt x="43" y="880"/>
                    </a:lnTo>
                    <a:lnTo>
                      <a:pt x="53" y="889"/>
                    </a:lnTo>
                    <a:lnTo>
                      <a:pt x="53" y="899"/>
                    </a:lnTo>
                    <a:lnTo>
                      <a:pt x="64" y="908"/>
                    </a:lnTo>
                    <a:lnTo>
                      <a:pt x="64" y="917"/>
                    </a:lnTo>
                    <a:lnTo>
                      <a:pt x="64" y="935"/>
                    </a:lnTo>
                    <a:lnTo>
                      <a:pt x="53" y="944"/>
                    </a:lnTo>
                    <a:lnTo>
                      <a:pt x="64" y="953"/>
                    </a:lnTo>
                    <a:lnTo>
                      <a:pt x="75" y="944"/>
                    </a:lnTo>
                    <a:lnTo>
                      <a:pt x="86" y="953"/>
                    </a:lnTo>
                    <a:lnTo>
                      <a:pt x="119" y="944"/>
                    </a:lnTo>
                    <a:lnTo>
                      <a:pt x="129" y="953"/>
                    </a:lnTo>
                    <a:lnTo>
                      <a:pt x="141" y="953"/>
                    </a:lnTo>
                    <a:lnTo>
                      <a:pt x="150" y="953"/>
                    </a:lnTo>
                    <a:lnTo>
                      <a:pt x="150" y="944"/>
                    </a:lnTo>
                    <a:lnTo>
                      <a:pt x="150" y="927"/>
                    </a:lnTo>
                    <a:lnTo>
                      <a:pt x="150" y="908"/>
                    </a:lnTo>
                    <a:lnTo>
                      <a:pt x="161" y="899"/>
                    </a:lnTo>
                    <a:lnTo>
                      <a:pt x="172" y="899"/>
                    </a:lnTo>
                    <a:lnTo>
                      <a:pt x="182" y="899"/>
                    </a:lnTo>
                    <a:lnTo>
                      <a:pt x="195" y="889"/>
                    </a:lnTo>
                    <a:lnTo>
                      <a:pt x="182" y="889"/>
                    </a:lnTo>
                    <a:lnTo>
                      <a:pt x="195" y="880"/>
                    </a:lnTo>
                    <a:lnTo>
                      <a:pt x="217" y="872"/>
                    </a:lnTo>
                    <a:lnTo>
                      <a:pt x="239" y="880"/>
                    </a:lnTo>
                    <a:lnTo>
                      <a:pt x="239" y="889"/>
                    </a:lnTo>
                    <a:lnTo>
                      <a:pt x="248" y="889"/>
                    </a:lnTo>
                    <a:lnTo>
                      <a:pt x="270" y="889"/>
                    </a:lnTo>
                    <a:lnTo>
                      <a:pt x="280" y="889"/>
                    </a:lnTo>
                    <a:lnTo>
                      <a:pt x="280" y="872"/>
                    </a:lnTo>
                    <a:lnTo>
                      <a:pt x="280" y="863"/>
                    </a:lnTo>
                    <a:lnTo>
                      <a:pt x="302" y="835"/>
                    </a:lnTo>
                    <a:lnTo>
                      <a:pt x="302" y="818"/>
                    </a:lnTo>
                    <a:lnTo>
                      <a:pt x="313" y="808"/>
                    </a:lnTo>
                    <a:lnTo>
                      <a:pt x="324" y="800"/>
                    </a:lnTo>
                    <a:lnTo>
                      <a:pt x="324" y="790"/>
                    </a:lnTo>
                    <a:lnTo>
                      <a:pt x="313" y="790"/>
                    </a:lnTo>
                    <a:lnTo>
                      <a:pt x="324" y="772"/>
                    </a:lnTo>
                    <a:lnTo>
                      <a:pt x="336" y="765"/>
                    </a:lnTo>
                    <a:lnTo>
                      <a:pt x="324" y="755"/>
                    </a:lnTo>
                    <a:lnTo>
                      <a:pt x="324" y="747"/>
                    </a:lnTo>
                    <a:lnTo>
                      <a:pt x="324" y="737"/>
                    </a:lnTo>
                    <a:lnTo>
                      <a:pt x="336" y="728"/>
                    </a:lnTo>
                    <a:lnTo>
                      <a:pt x="336" y="718"/>
                    </a:lnTo>
                    <a:lnTo>
                      <a:pt x="346" y="701"/>
                    </a:lnTo>
                    <a:lnTo>
                      <a:pt x="346" y="691"/>
                    </a:lnTo>
                    <a:lnTo>
                      <a:pt x="346" y="682"/>
                    </a:lnTo>
                    <a:lnTo>
                      <a:pt x="336" y="665"/>
                    </a:lnTo>
                    <a:lnTo>
                      <a:pt x="358" y="656"/>
                    </a:lnTo>
                    <a:lnTo>
                      <a:pt x="324" y="647"/>
                    </a:lnTo>
                    <a:lnTo>
                      <a:pt x="336" y="637"/>
                    </a:lnTo>
                    <a:lnTo>
                      <a:pt x="358" y="647"/>
                    </a:lnTo>
                    <a:lnTo>
                      <a:pt x="367" y="647"/>
                    </a:lnTo>
                    <a:lnTo>
                      <a:pt x="389" y="629"/>
                    </a:lnTo>
                    <a:lnTo>
                      <a:pt x="389" y="620"/>
                    </a:lnTo>
                    <a:lnTo>
                      <a:pt x="389" y="610"/>
                    </a:lnTo>
                    <a:lnTo>
                      <a:pt x="399" y="610"/>
                    </a:lnTo>
                    <a:lnTo>
                      <a:pt x="411" y="610"/>
                    </a:lnTo>
                    <a:lnTo>
                      <a:pt x="421" y="620"/>
                    </a:lnTo>
                    <a:lnTo>
                      <a:pt x="434" y="603"/>
                    </a:lnTo>
                    <a:lnTo>
                      <a:pt x="444" y="593"/>
                    </a:lnTo>
                    <a:lnTo>
                      <a:pt x="465" y="584"/>
                    </a:lnTo>
                    <a:lnTo>
                      <a:pt x="444" y="576"/>
                    </a:lnTo>
                    <a:lnTo>
                      <a:pt x="444" y="566"/>
                    </a:lnTo>
                    <a:lnTo>
                      <a:pt x="454" y="557"/>
                    </a:lnTo>
                    <a:lnTo>
                      <a:pt x="465" y="557"/>
                    </a:lnTo>
                    <a:lnTo>
                      <a:pt x="487" y="530"/>
                    </a:lnTo>
                    <a:lnTo>
                      <a:pt x="476" y="520"/>
                    </a:lnTo>
                    <a:lnTo>
                      <a:pt x="476" y="503"/>
                    </a:lnTo>
                    <a:lnTo>
                      <a:pt x="454" y="512"/>
                    </a:lnTo>
                    <a:lnTo>
                      <a:pt x="454" y="503"/>
                    </a:lnTo>
                    <a:lnTo>
                      <a:pt x="454" y="494"/>
                    </a:lnTo>
                    <a:lnTo>
                      <a:pt x="444" y="485"/>
                    </a:lnTo>
                    <a:lnTo>
                      <a:pt x="434" y="477"/>
                    </a:lnTo>
                    <a:lnTo>
                      <a:pt x="434" y="467"/>
                    </a:lnTo>
                    <a:lnTo>
                      <a:pt x="434" y="459"/>
                    </a:lnTo>
                    <a:lnTo>
                      <a:pt x="411" y="467"/>
                    </a:lnTo>
                    <a:lnTo>
                      <a:pt x="399" y="459"/>
                    </a:lnTo>
                    <a:lnTo>
                      <a:pt x="389" y="448"/>
                    </a:lnTo>
                    <a:lnTo>
                      <a:pt x="389" y="431"/>
                    </a:lnTo>
                    <a:lnTo>
                      <a:pt x="378" y="422"/>
                    </a:lnTo>
                    <a:lnTo>
                      <a:pt x="378" y="414"/>
                    </a:lnTo>
                    <a:lnTo>
                      <a:pt x="367" y="405"/>
                    </a:lnTo>
                    <a:lnTo>
                      <a:pt x="378" y="405"/>
                    </a:lnTo>
                    <a:lnTo>
                      <a:pt x="389" y="395"/>
                    </a:lnTo>
                    <a:lnTo>
                      <a:pt x="389" y="377"/>
                    </a:lnTo>
                    <a:lnTo>
                      <a:pt x="389" y="368"/>
                    </a:lnTo>
                    <a:lnTo>
                      <a:pt x="389" y="349"/>
                    </a:lnTo>
                    <a:lnTo>
                      <a:pt x="399" y="349"/>
                    </a:lnTo>
                    <a:lnTo>
                      <a:pt x="389" y="341"/>
                    </a:lnTo>
                    <a:lnTo>
                      <a:pt x="399" y="331"/>
                    </a:lnTo>
                    <a:lnTo>
                      <a:pt x="399" y="314"/>
                    </a:lnTo>
                    <a:lnTo>
                      <a:pt x="411" y="306"/>
                    </a:lnTo>
                    <a:lnTo>
                      <a:pt x="411" y="288"/>
                    </a:lnTo>
                    <a:lnTo>
                      <a:pt x="378" y="288"/>
                    </a:lnTo>
                    <a:lnTo>
                      <a:pt x="378" y="269"/>
                    </a:lnTo>
                    <a:lnTo>
                      <a:pt x="389" y="260"/>
                    </a:lnTo>
                    <a:lnTo>
                      <a:pt x="411" y="269"/>
                    </a:lnTo>
                    <a:lnTo>
                      <a:pt x="421" y="260"/>
                    </a:lnTo>
                    <a:lnTo>
                      <a:pt x="434" y="260"/>
                    </a:lnTo>
                    <a:lnTo>
                      <a:pt x="444" y="251"/>
                    </a:lnTo>
                    <a:lnTo>
                      <a:pt x="454" y="251"/>
                    </a:lnTo>
                    <a:lnTo>
                      <a:pt x="476" y="243"/>
                    </a:lnTo>
                    <a:lnTo>
                      <a:pt x="465" y="233"/>
                    </a:lnTo>
                    <a:lnTo>
                      <a:pt x="487" y="215"/>
                    </a:lnTo>
                    <a:lnTo>
                      <a:pt x="476" y="206"/>
                    </a:lnTo>
                    <a:lnTo>
                      <a:pt x="497" y="206"/>
                    </a:lnTo>
                    <a:lnTo>
                      <a:pt x="508" y="188"/>
                    </a:lnTo>
                    <a:lnTo>
                      <a:pt x="519" y="196"/>
                    </a:lnTo>
                    <a:lnTo>
                      <a:pt x="540" y="188"/>
                    </a:lnTo>
                    <a:lnTo>
                      <a:pt x="529" y="179"/>
                    </a:lnTo>
                    <a:lnTo>
                      <a:pt x="540" y="169"/>
                    </a:lnTo>
                    <a:lnTo>
                      <a:pt x="551" y="169"/>
                    </a:lnTo>
                    <a:lnTo>
                      <a:pt x="573" y="162"/>
                    </a:lnTo>
                    <a:lnTo>
                      <a:pt x="573" y="143"/>
                    </a:lnTo>
                    <a:lnTo>
                      <a:pt x="573" y="135"/>
                    </a:lnTo>
                    <a:lnTo>
                      <a:pt x="573" y="126"/>
                    </a:lnTo>
                    <a:lnTo>
                      <a:pt x="584" y="108"/>
                    </a:lnTo>
                    <a:lnTo>
                      <a:pt x="595" y="108"/>
                    </a:lnTo>
                    <a:lnTo>
                      <a:pt x="606" y="90"/>
                    </a:lnTo>
                    <a:lnTo>
                      <a:pt x="616" y="80"/>
                    </a:lnTo>
                    <a:lnTo>
                      <a:pt x="606" y="71"/>
                    </a:lnTo>
                    <a:lnTo>
                      <a:pt x="606" y="63"/>
                    </a:lnTo>
                    <a:lnTo>
                      <a:pt x="606" y="45"/>
                    </a:lnTo>
                    <a:lnTo>
                      <a:pt x="606" y="27"/>
                    </a:lnTo>
                    <a:lnTo>
                      <a:pt x="616" y="18"/>
                    </a:lnTo>
                    <a:lnTo>
                      <a:pt x="616" y="7"/>
                    </a:lnTo>
                    <a:lnTo>
                      <a:pt x="616" y="0"/>
                    </a:lnTo>
                    <a:lnTo>
                      <a:pt x="247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6" name="Freeform 73">
                <a:extLst>
                  <a:ext uri="{FF2B5EF4-FFF2-40B4-BE49-F238E27FC236}">
                    <a16:creationId xmlns:a16="http://schemas.microsoft.com/office/drawing/2014/main" id="{FB19C65E-8A21-BEE5-2CDA-BBFF838D53B0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5318125" y="411163"/>
                <a:ext cx="639763" cy="814387"/>
              </a:xfrm>
              <a:custGeom>
                <a:avLst/>
                <a:gdLst>
                  <a:gd name="T0" fmla="*/ 304800 w 403"/>
                  <a:gd name="T1" fmla="*/ 31750 h 513"/>
                  <a:gd name="T2" fmla="*/ 325438 w 403"/>
                  <a:gd name="T3" fmla="*/ 58737 h 513"/>
                  <a:gd name="T4" fmla="*/ 290513 w 403"/>
                  <a:gd name="T5" fmla="*/ 58737 h 513"/>
                  <a:gd name="T6" fmla="*/ 271463 w 403"/>
                  <a:gd name="T7" fmla="*/ 73025 h 513"/>
                  <a:gd name="T8" fmla="*/ 236538 w 403"/>
                  <a:gd name="T9" fmla="*/ 128587 h 513"/>
                  <a:gd name="T10" fmla="*/ 203200 w 403"/>
                  <a:gd name="T11" fmla="*/ 173037 h 513"/>
                  <a:gd name="T12" fmla="*/ 169863 w 403"/>
                  <a:gd name="T13" fmla="*/ 214312 h 513"/>
                  <a:gd name="T14" fmla="*/ 136525 w 403"/>
                  <a:gd name="T15" fmla="*/ 244475 h 513"/>
                  <a:gd name="T16" fmla="*/ 136525 w 403"/>
                  <a:gd name="T17" fmla="*/ 244475 h 513"/>
                  <a:gd name="T18" fmla="*/ 101600 w 403"/>
                  <a:gd name="T19" fmla="*/ 271462 h 513"/>
                  <a:gd name="T20" fmla="*/ 101600 w 403"/>
                  <a:gd name="T21" fmla="*/ 312737 h 513"/>
                  <a:gd name="T22" fmla="*/ 50800 w 403"/>
                  <a:gd name="T23" fmla="*/ 312737 h 513"/>
                  <a:gd name="T24" fmla="*/ 33338 w 403"/>
                  <a:gd name="T25" fmla="*/ 342900 h 513"/>
                  <a:gd name="T26" fmla="*/ 0 w 403"/>
                  <a:gd name="T27" fmla="*/ 400050 h 513"/>
                  <a:gd name="T28" fmla="*/ 15875 w 403"/>
                  <a:gd name="T29" fmla="*/ 428625 h 513"/>
                  <a:gd name="T30" fmla="*/ 0 w 403"/>
                  <a:gd name="T31" fmla="*/ 471487 h 513"/>
                  <a:gd name="T32" fmla="*/ 33338 w 403"/>
                  <a:gd name="T33" fmla="*/ 500062 h 513"/>
                  <a:gd name="T34" fmla="*/ 33338 w 403"/>
                  <a:gd name="T35" fmla="*/ 542925 h 513"/>
                  <a:gd name="T36" fmla="*/ 33338 w 403"/>
                  <a:gd name="T37" fmla="*/ 614362 h 513"/>
                  <a:gd name="T38" fmla="*/ 0 w 403"/>
                  <a:gd name="T39" fmla="*/ 658812 h 513"/>
                  <a:gd name="T40" fmla="*/ 33338 w 403"/>
                  <a:gd name="T41" fmla="*/ 712787 h 513"/>
                  <a:gd name="T42" fmla="*/ 101600 w 403"/>
                  <a:gd name="T43" fmla="*/ 730249 h 513"/>
                  <a:gd name="T44" fmla="*/ 150813 w 403"/>
                  <a:gd name="T45" fmla="*/ 730249 h 513"/>
                  <a:gd name="T46" fmla="*/ 169863 w 403"/>
                  <a:gd name="T47" fmla="*/ 785812 h 513"/>
                  <a:gd name="T48" fmla="*/ 203200 w 403"/>
                  <a:gd name="T49" fmla="*/ 814387 h 513"/>
                  <a:gd name="T50" fmla="*/ 271463 w 403"/>
                  <a:gd name="T51" fmla="*/ 814387 h 513"/>
                  <a:gd name="T52" fmla="*/ 304800 w 403"/>
                  <a:gd name="T53" fmla="*/ 771524 h 513"/>
                  <a:gd name="T54" fmla="*/ 341313 w 403"/>
                  <a:gd name="T55" fmla="*/ 785812 h 513"/>
                  <a:gd name="T56" fmla="*/ 393700 w 403"/>
                  <a:gd name="T57" fmla="*/ 757237 h 513"/>
                  <a:gd name="T58" fmla="*/ 460375 w 403"/>
                  <a:gd name="T59" fmla="*/ 742949 h 513"/>
                  <a:gd name="T60" fmla="*/ 479425 w 403"/>
                  <a:gd name="T61" fmla="*/ 730249 h 513"/>
                  <a:gd name="T62" fmla="*/ 495300 w 403"/>
                  <a:gd name="T63" fmla="*/ 701674 h 513"/>
                  <a:gd name="T64" fmla="*/ 528638 w 403"/>
                  <a:gd name="T65" fmla="*/ 712787 h 513"/>
                  <a:gd name="T66" fmla="*/ 581025 w 403"/>
                  <a:gd name="T67" fmla="*/ 671512 h 513"/>
                  <a:gd name="T68" fmla="*/ 633413 w 403"/>
                  <a:gd name="T69" fmla="*/ 685799 h 513"/>
                  <a:gd name="T70" fmla="*/ 309563 w 403"/>
                  <a:gd name="T71" fmla="*/ 1587 h 51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03"/>
                  <a:gd name="T109" fmla="*/ 0 h 513"/>
                  <a:gd name="T110" fmla="*/ 403 w 403"/>
                  <a:gd name="T111" fmla="*/ 513 h 51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03" h="513">
                    <a:moveTo>
                      <a:pt x="195" y="1"/>
                    </a:moveTo>
                    <a:lnTo>
                      <a:pt x="192" y="20"/>
                    </a:lnTo>
                    <a:lnTo>
                      <a:pt x="205" y="28"/>
                    </a:lnTo>
                    <a:lnTo>
                      <a:pt x="205" y="37"/>
                    </a:lnTo>
                    <a:lnTo>
                      <a:pt x="192" y="37"/>
                    </a:lnTo>
                    <a:lnTo>
                      <a:pt x="183" y="37"/>
                    </a:lnTo>
                    <a:lnTo>
                      <a:pt x="171" y="37"/>
                    </a:lnTo>
                    <a:lnTo>
                      <a:pt x="171" y="46"/>
                    </a:lnTo>
                    <a:lnTo>
                      <a:pt x="149" y="73"/>
                    </a:lnTo>
                    <a:lnTo>
                      <a:pt x="149" y="81"/>
                    </a:lnTo>
                    <a:lnTo>
                      <a:pt x="140" y="99"/>
                    </a:lnTo>
                    <a:lnTo>
                      <a:pt x="128" y="109"/>
                    </a:lnTo>
                    <a:lnTo>
                      <a:pt x="107" y="127"/>
                    </a:lnTo>
                    <a:lnTo>
                      <a:pt x="107" y="135"/>
                    </a:lnTo>
                    <a:lnTo>
                      <a:pt x="107" y="145"/>
                    </a:lnTo>
                    <a:lnTo>
                      <a:pt x="86" y="154"/>
                    </a:lnTo>
                    <a:lnTo>
                      <a:pt x="86" y="163"/>
                    </a:lnTo>
                    <a:lnTo>
                      <a:pt x="86" y="154"/>
                    </a:lnTo>
                    <a:lnTo>
                      <a:pt x="75" y="163"/>
                    </a:lnTo>
                    <a:lnTo>
                      <a:pt x="64" y="171"/>
                    </a:lnTo>
                    <a:lnTo>
                      <a:pt x="64" y="180"/>
                    </a:lnTo>
                    <a:lnTo>
                      <a:pt x="64" y="197"/>
                    </a:lnTo>
                    <a:lnTo>
                      <a:pt x="44" y="207"/>
                    </a:lnTo>
                    <a:lnTo>
                      <a:pt x="32" y="197"/>
                    </a:lnTo>
                    <a:lnTo>
                      <a:pt x="21" y="197"/>
                    </a:lnTo>
                    <a:lnTo>
                      <a:pt x="21" y="216"/>
                    </a:lnTo>
                    <a:lnTo>
                      <a:pt x="0" y="234"/>
                    </a:lnTo>
                    <a:lnTo>
                      <a:pt x="0" y="252"/>
                    </a:lnTo>
                    <a:lnTo>
                      <a:pt x="0" y="261"/>
                    </a:lnTo>
                    <a:lnTo>
                      <a:pt x="10" y="270"/>
                    </a:lnTo>
                    <a:lnTo>
                      <a:pt x="10" y="289"/>
                    </a:lnTo>
                    <a:lnTo>
                      <a:pt x="0" y="297"/>
                    </a:lnTo>
                    <a:lnTo>
                      <a:pt x="0" y="307"/>
                    </a:lnTo>
                    <a:lnTo>
                      <a:pt x="21" y="315"/>
                    </a:lnTo>
                    <a:lnTo>
                      <a:pt x="21" y="324"/>
                    </a:lnTo>
                    <a:lnTo>
                      <a:pt x="21" y="342"/>
                    </a:lnTo>
                    <a:lnTo>
                      <a:pt x="21" y="369"/>
                    </a:lnTo>
                    <a:lnTo>
                      <a:pt x="21" y="387"/>
                    </a:lnTo>
                    <a:lnTo>
                      <a:pt x="0" y="396"/>
                    </a:lnTo>
                    <a:lnTo>
                      <a:pt x="0" y="415"/>
                    </a:lnTo>
                    <a:lnTo>
                      <a:pt x="0" y="423"/>
                    </a:lnTo>
                    <a:lnTo>
                      <a:pt x="21" y="449"/>
                    </a:lnTo>
                    <a:lnTo>
                      <a:pt x="54" y="449"/>
                    </a:lnTo>
                    <a:lnTo>
                      <a:pt x="64" y="460"/>
                    </a:lnTo>
                    <a:lnTo>
                      <a:pt x="86" y="460"/>
                    </a:lnTo>
                    <a:lnTo>
                      <a:pt x="95" y="460"/>
                    </a:lnTo>
                    <a:lnTo>
                      <a:pt x="107" y="477"/>
                    </a:lnTo>
                    <a:lnTo>
                      <a:pt x="107" y="495"/>
                    </a:lnTo>
                    <a:lnTo>
                      <a:pt x="118" y="504"/>
                    </a:lnTo>
                    <a:lnTo>
                      <a:pt x="128" y="513"/>
                    </a:lnTo>
                    <a:lnTo>
                      <a:pt x="161" y="513"/>
                    </a:lnTo>
                    <a:lnTo>
                      <a:pt x="171" y="513"/>
                    </a:lnTo>
                    <a:lnTo>
                      <a:pt x="183" y="495"/>
                    </a:lnTo>
                    <a:lnTo>
                      <a:pt x="192" y="486"/>
                    </a:lnTo>
                    <a:lnTo>
                      <a:pt x="205" y="504"/>
                    </a:lnTo>
                    <a:lnTo>
                      <a:pt x="215" y="495"/>
                    </a:lnTo>
                    <a:lnTo>
                      <a:pt x="227" y="486"/>
                    </a:lnTo>
                    <a:lnTo>
                      <a:pt x="248" y="477"/>
                    </a:lnTo>
                    <a:lnTo>
                      <a:pt x="280" y="468"/>
                    </a:lnTo>
                    <a:lnTo>
                      <a:pt x="290" y="468"/>
                    </a:lnTo>
                    <a:lnTo>
                      <a:pt x="302" y="468"/>
                    </a:lnTo>
                    <a:lnTo>
                      <a:pt x="302" y="460"/>
                    </a:lnTo>
                    <a:lnTo>
                      <a:pt x="302" y="449"/>
                    </a:lnTo>
                    <a:lnTo>
                      <a:pt x="312" y="442"/>
                    </a:lnTo>
                    <a:lnTo>
                      <a:pt x="323" y="460"/>
                    </a:lnTo>
                    <a:lnTo>
                      <a:pt x="333" y="449"/>
                    </a:lnTo>
                    <a:lnTo>
                      <a:pt x="355" y="442"/>
                    </a:lnTo>
                    <a:lnTo>
                      <a:pt x="366" y="423"/>
                    </a:lnTo>
                    <a:lnTo>
                      <a:pt x="378" y="432"/>
                    </a:lnTo>
                    <a:lnTo>
                      <a:pt x="399" y="432"/>
                    </a:lnTo>
                    <a:lnTo>
                      <a:pt x="403" y="0"/>
                    </a:lnTo>
                    <a:lnTo>
                      <a:pt x="195" y="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Freeform 74">
                <a:extLst>
                  <a:ext uri="{FF2B5EF4-FFF2-40B4-BE49-F238E27FC236}">
                    <a16:creationId xmlns:a16="http://schemas.microsoft.com/office/drawing/2014/main" id="{FA7998FB-7EE9-9ABF-3F85-F16B9616FD3A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5646738" y="2432050"/>
                <a:ext cx="298450" cy="45719"/>
              </a:xfrm>
              <a:custGeom>
                <a:avLst/>
                <a:gdLst>
                  <a:gd name="T0" fmla="*/ 9230 w 194"/>
                  <a:gd name="T1" fmla="*/ 100013 h 67"/>
                  <a:gd name="T2" fmla="*/ 4615 w 194"/>
                  <a:gd name="T3" fmla="*/ 73144 h 67"/>
                  <a:gd name="T4" fmla="*/ 36922 w 194"/>
                  <a:gd name="T5" fmla="*/ 59709 h 67"/>
                  <a:gd name="T6" fmla="*/ 58459 w 194"/>
                  <a:gd name="T7" fmla="*/ 70158 h 67"/>
                  <a:gd name="T8" fmla="*/ 115380 w 194"/>
                  <a:gd name="T9" fmla="*/ 19406 h 67"/>
                  <a:gd name="T10" fmla="*/ 175378 w 194"/>
                  <a:gd name="T11" fmla="*/ 19406 h 67"/>
                  <a:gd name="T12" fmla="*/ 249221 w 194"/>
                  <a:gd name="T13" fmla="*/ 1493 h 67"/>
                  <a:gd name="T14" fmla="*/ 298450 w 194"/>
                  <a:gd name="T15" fmla="*/ 11942 h 6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4"/>
                  <a:gd name="T25" fmla="*/ 0 h 67"/>
                  <a:gd name="T26" fmla="*/ 194 w 194"/>
                  <a:gd name="T27" fmla="*/ 67 h 6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4" h="67">
                    <a:moveTo>
                      <a:pt x="6" y="67"/>
                    </a:moveTo>
                    <a:cubicBezTo>
                      <a:pt x="6" y="64"/>
                      <a:pt x="0" y="53"/>
                      <a:pt x="3" y="49"/>
                    </a:cubicBezTo>
                    <a:cubicBezTo>
                      <a:pt x="6" y="45"/>
                      <a:pt x="18" y="40"/>
                      <a:pt x="24" y="40"/>
                    </a:cubicBezTo>
                    <a:cubicBezTo>
                      <a:pt x="30" y="40"/>
                      <a:pt x="30" y="51"/>
                      <a:pt x="38" y="47"/>
                    </a:cubicBezTo>
                    <a:cubicBezTo>
                      <a:pt x="46" y="43"/>
                      <a:pt x="62" y="19"/>
                      <a:pt x="75" y="13"/>
                    </a:cubicBezTo>
                    <a:cubicBezTo>
                      <a:pt x="88" y="7"/>
                      <a:pt x="100" y="15"/>
                      <a:pt x="114" y="13"/>
                    </a:cubicBezTo>
                    <a:cubicBezTo>
                      <a:pt x="128" y="11"/>
                      <a:pt x="149" y="2"/>
                      <a:pt x="162" y="1"/>
                    </a:cubicBezTo>
                    <a:cubicBezTo>
                      <a:pt x="175" y="0"/>
                      <a:pt x="187" y="7"/>
                      <a:pt x="194" y="8"/>
                    </a:cubicBez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98" name="Group 75">
                <a:extLst>
                  <a:ext uri="{FF2B5EF4-FFF2-40B4-BE49-F238E27FC236}">
                    <a16:creationId xmlns:a16="http://schemas.microsoft.com/office/drawing/2014/main" id="{57411B0E-BE3D-26C1-154B-858F488CCE7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73638" y="3370263"/>
                <a:ext cx="639762" cy="719137"/>
                <a:chOff x="3805" y="3411"/>
                <a:chExt cx="398" cy="485"/>
              </a:xfrm>
            </p:grpSpPr>
            <p:sp>
              <p:nvSpPr>
                <p:cNvPr id="99" name="Freeform 76">
                  <a:extLst>
                    <a:ext uri="{FF2B5EF4-FFF2-40B4-BE49-F238E27FC236}">
                      <a16:creationId xmlns:a16="http://schemas.microsoft.com/office/drawing/2014/main" id="{15035386-C9A2-573A-DB5C-C5A148876DDE}"/>
                    </a:ext>
                  </a:extLst>
                </p:cNvPr>
                <p:cNvSpPr>
                  <a:spLocks/>
                </p:cNvSpPr>
                <p:nvPr>
                  <p:custDataLst>
                    <p:tags r:id="rId95"/>
                  </p:custDataLst>
                </p:nvPr>
              </p:nvSpPr>
              <p:spPr bwMode="auto">
                <a:xfrm>
                  <a:off x="3833" y="3411"/>
                  <a:ext cx="370" cy="461"/>
                </a:xfrm>
                <a:custGeom>
                  <a:avLst/>
                  <a:gdLst>
                    <a:gd name="T0" fmla="*/ 150 w 323"/>
                    <a:gd name="T1" fmla="*/ 360 h 400"/>
                    <a:gd name="T2" fmla="*/ 120 w 323"/>
                    <a:gd name="T3" fmla="*/ 394 h 400"/>
                    <a:gd name="T4" fmla="*/ 163 w 323"/>
                    <a:gd name="T5" fmla="*/ 413 h 400"/>
                    <a:gd name="T6" fmla="*/ 172 w 323"/>
                    <a:gd name="T7" fmla="*/ 440 h 400"/>
                    <a:gd name="T8" fmla="*/ 172 w 323"/>
                    <a:gd name="T9" fmla="*/ 461 h 400"/>
                    <a:gd name="T10" fmla="*/ 211 w 323"/>
                    <a:gd name="T11" fmla="*/ 445 h 400"/>
                    <a:gd name="T12" fmla="*/ 268 w 323"/>
                    <a:gd name="T13" fmla="*/ 436 h 400"/>
                    <a:gd name="T14" fmla="*/ 325 w 323"/>
                    <a:gd name="T15" fmla="*/ 428 h 400"/>
                    <a:gd name="T16" fmla="*/ 323 w 323"/>
                    <a:gd name="T17" fmla="*/ 369 h 400"/>
                    <a:gd name="T18" fmla="*/ 338 w 323"/>
                    <a:gd name="T19" fmla="*/ 337 h 400"/>
                    <a:gd name="T20" fmla="*/ 370 w 323"/>
                    <a:gd name="T21" fmla="*/ 301 h 400"/>
                    <a:gd name="T22" fmla="*/ 333 w 323"/>
                    <a:gd name="T23" fmla="*/ 292 h 400"/>
                    <a:gd name="T24" fmla="*/ 320 w 323"/>
                    <a:gd name="T25" fmla="*/ 244 h 400"/>
                    <a:gd name="T26" fmla="*/ 353 w 323"/>
                    <a:gd name="T27" fmla="*/ 212 h 400"/>
                    <a:gd name="T28" fmla="*/ 338 w 323"/>
                    <a:gd name="T29" fmla="*/ 184 h 400"/>
                    <a:gd name="T30" fmla="*/ 333 w 323"/>
                    <a:gd name="T31" fmla="*/ 154 h 400"/>
                    <a:gd name="T32" fmla="*/ 304 w 323"/>
                    <a:gd name="T33" fmla="*/ 172 h 400"/>
                    <a:gd name="T34" fmla="*/ 270 w 323"/>
                    <a:gd name="T35" fmla="*/ 153 h 400"/>
                    <a:gd name="T36" fmla="*/ 228 w 323"/>
                    <a:gd name="T37" fmla="*/ 142 h 400"/>
                    <a:gd name="T38" fmla="*/ 242 w 323"/>
                    <a:gd name="T39" fmla="*/ 115 h 400"/>
                    <a:gd name="T40" fmla="*/ 213 w 323"/>
                    <a:gd name="T41" fmla="*/ 95 h 400"/>
                    <a:gd name="T42" fmla="*/ 196 w 323"/>
                    <a:gd name="T43" fmla="*/ 75 h 400"/>
                    <a:gd name="T44" fmla="*/ 187 w 323"/>
                    <a:gd name="T45" fmla="*/ 28 h 400"/>
                    <a:gd name="T46" fmla="*/ 174 w 323"/>
                    <a:gd name="T47" fmla="*/ 9 h 400"/>
                    <a:gd name="T48" fmla="*/ 136 w 323"/>
                    <a:gd name="T49" fmla="*/ 2 h 400"/>
                    <a:gd name="T50" fmla="*/ 113 w 323"/>
                    <a:gd name="T51" fmla="*/ 13 h 400"/>
                    <a:gd name="T52" fmla="*/ 85 w 323"/>
                    <a:gd name="T53" fmla="*/ 13 h 400"/>
                    <a:gd name="T54" fmla="*/ 56 w 323"/>
                    <a:gd name="T55" fmla="*/ 18 h 400"/>
                    <a:gd name="T56" fmla="*/ 24 w 323"/>
                    <a:gd name="T57" fmla="*/ 27 h 400"/>
                    <a:gd name="T58" fmla="*/ 0 w 323"/>
                    <a:gd name="T59" fmla="*/ 37 h 400"/>
                    <a:gd name="T60" fmla="*/ 21 w 323"/>
                    <a:gd name="T61" fmla="*/ 78 h 400"/>
                    <a:gd name="T62" fmla="*/ 64 w 323"/>
                    <a:gd name="T63" fmla="*/ 112 h 400"/>
                    <a:gd name="T64" fmla="*/ 36 w 323"/>
                    <a:gd name="T65" fmla="*/ 148 h 400"/>
                    <a:gd name="T66" fmla="*/ 30 w 323"/>
                    <a:gd name="T67" fmla="*/ 190 h 400"/>
                    <a:gd name="T68" fmla="*/ 60 w 323"/>
                    <a:gd name="T69" fmla="*/ 218 h 400"/>
                    <a:gd name="T70" fmla="*/ 54 w 323"/>
                    <a:gd name="T71" fmla="*/ 255 h 400"/>
                    <a:gd name="T72" fmla="*/ 72 w 323"/>
                    <a:gd name="T73" fmla="*/ 277 h 400"/>
                    <a:gd name="T74" fmla="*/ 101 w 323"/>
                    <a:gd name="T75" fmla="*/ 340 h 40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23"/>
                    <a:gd name="T115" fmla="*/ 0 h 400"/>
                    <a:gd name="T116" fmla="*/ 323 w 323"/>
                    <a:gd name="T117" fmla="*/ 400 h 40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23" h="400">
                      <a:moveTo>
                        <a:pt x="88" y="295"/>
                      </a:moveTo>
                      <a:lnTo>
                        <a:pt x="131" y="312"/>
                      </a:lnTo>
                      <a:lnTo>
                        <a:pt x="113" y="327"/>
                      </a:lnTo>
                      <a:lnTo>
                        <a:pt x="105" y="342"/>
                      </a:lnTo>
                      <a:lnTo>
                        <a:pt x="124" y="357"/>
                      </a:lnTo>
                      <a:lnTo>
                        <a:pt x="142" y="358"/>
                      </a:lnTo>
                      <a:lnTo>
                        <a:pt x="145" y="373"/>
                      </a:lnTo>
                      <a:lnTo>
                        <a:pt x="150" y="382"/>
                      </a:lnTo>
                      <a:lnTo>
                        <a:pt x="142" y="395"/>
                      </a:lnTo>
                      <a:lnTo>
                        <a:pt x="150" y="400"/>
                      </a:lnTo>
                      <a:lnTo>
                        <a:pt x="177" y="392"/>
                      </a:lnTo>
                      <a:lnTo>
                        <a:pt x="184" y="386"/>
                      </a:lnTo>
                      <a:lnTo>
                        <a:pt x="210" y="384"/>
                      </a:lnTo>
                      <a:lnTo>
                        <a:pt x="234" y="378"/>
                      </a:lnTo>
                      <a:lnTo>
                        <a:pt x="255" y="381"/>
                      </a:lnTo>
                      <a:lnTo>
                        <a:pt x="284" y="371"/>
                      </a:lnTo>
                      <a:lnTo>
                        <a:pt x="287" y="355"/>
                      </a:lnTo>
                      <a:lnTo>
                        <a:pt x="282" y="320"/>
                      </a:lnTo>
                      <a:lnTo>
                        <a:pt x="295" y="312"/>
                      </a:lnTo>
                      <a:lnTo>
                        <a:pt x="295" y="292"/>
                      </a:lnTo>
                      <a:lnTo>
                        <a:pt x="313" y="281"/>
                      </a:lnTo>
                      <a:lnTo>
                        <a:pt x="323" y="261"/>
                      </a:lnTo>
                      <a:lnTo>
                        <a:pt x="308" y="253"/>
                      </a:lnTo>
                      <a:lnTo>
                        <a:pt x="291" y="253"/>
                      </a:lnTo>
                      <a:lnTo>
                        <a:pt x="289" y="242"/>
                      </a:lnTo>
                      <a:lnTo>
                        <a:pt x="279" y="212"/>
                      </a:lnTo>
                      <a:lnTo>
                        <a:pt x="294" y="197"/>
                      </a:lnTo>
                      <a:lnTo>
                        <a:pt x="308" y="184"/>
                      </a:lnTo>
                      <a:lnTo>
                        <a:pt x="305" y="163"/>
                      </a:lnTo>
                      <a:lnTo>
                        <a:pt x="295" y="160"/>
                      </a:lnTo>
                      <a:lnTo>
                        <a:pt x="305" y="141"/>
                      </a:lnTo>
                      <a:lnTo>
                        <a:pt x="291" y="134"/>
                      </a:lnTo>
                      <a:lnTo>
                        <a:pt x="274" y="140"/>
                      </a:lnTo>
                      <a:lnTo>
                        <a:pt x="265" y="149"/>
                      </a:lnTo>
                      <a:lnTo>
                        <a:pt x="245" y="140"/>
                      </a:lnTo>
                      <a:lnTo>
                        <a:pt x="236" y="133"/>
                      </a:lnTo>
                      <a:lnTo>
                        <a:pt x="203" y="134"/>
                      </a:lnTo>
                      <a:lnTo>
                        <a:pt x="199" y="123"/>
                      </a:lnTo>
                      <a:lnTo>
                        <a:pt x="211" y="111"/>
                      </a:lnTo>
                      <a:lnTo>
                        <a:pt x="211" y="100"/>
                      </a:lnTo>
                      <a:lnTo>
                        <a:pt x="195" y="89"/>
                      </a:lnTo>
                      <a:lnTo>
                        <a:pt x="186" y="82"/>
                      </a:lnTo>
                      <a:lnTo>
                        <a:pt x="171" y="82"/>
                      </a:lnTo>
                      <a:lnTo>
                        <a:pt x="171" y="65"/>
                      </a:lnTo>
                      <a:lnTo>
                        <a:pt x="163" y="61"/>
                      </a:lnTo>
                      <a:lnTo>
                        <a:pt x="163" y="24"/>
                      </a:lnTo>
                      <a:lnTo>
                        <a:pt x="150" y="23"/>
                      </a:lnTo>
                      <a:lnTo>
                        <a:pt x="152" y="8"/>
                      </a:lnTo>
                      <a:lnTo>
                        <a:pt x="129" y="8"/>
                      </a:lnTo>
                      <a:lnTo>
                        <a:pt x="119" y="2"/>
                      </a:lnTo>
                      <a:lnTo>
                        <a:pt x="107" y="0"/>
                      </a:lnTo>
                      <a:lnTo>
                        <a:pt x="99" y="11"/>
                      </a:lnTo>
                      <a:lnTo>
                        <a:pt x="85" y="16"/>
                      </a:lnTo>
                      <a:lnTo>
                        <a:pt x="74" y="11"/>
                      </a:lnTo>
                      <a:lnTo>
                        <a:pt x="65" y="7"/>
                      </a:lnTo>
                      <a:lnTo>
                        <a:pt x="49" y="16"/>
                      </a:lnTo>
                      <a:lnTo>
                        <a:pt x="37" y="21"/>
                      </a:lnTo>
                      <a:lnTo>
                        <a:pt x="21" y="23"/>
                      </a:lnTo>
                      <a:lnTo>
                        <a:pt x="10" y="24"/>
                      </a:lnTo>
                      <a:lnTo>
                        <a:pt x="0" y="32"/>
                      </a:lnTo>
                      <a:lnTo>
                        <a:pt x="11" y="50"/>
                      </a:lnTo>
                      <a:lnTo>
                        <a:pt x="18" y="68"/>
                      </a:lnTo>
                      <a:lnTo>
                        <a:pt x="24" y="87"/>
                      </a:lnTo>
                      <a:lnTo>
                        <a:pt x="56" y="97"/>
                      </a:lnTo>
                      <a:lnTo>
                        <a:pt x="34" y="113"/>
                      </a:lnTo>
                      <a:lnTo>
                        <a:pt x="31" y="128"/>
                      </a:lnTo>
                      <a:lnTo>
                        <a:pt x="24" y="141"/>
                      </a:lnTo>
                      <a:lnTo>
                        <a:pt x="26" y="165"/>
                      </a:lnTo>
                      <a:lnTo>
                        <a:pt x="42" y="171"/>
                      </a:lnTo>
                      <a:lnTo>
                        <a:pt x="52" y="189"/>
                      </a:lnTo>
                      <a:lnTo>
                        <a:pt x="40" y="192"/>
                      </a:lnTo>
                      <a:lnTo>
                        <a:pt x="47" y="221"/>
                      </a:lnTo>
                      <a:cubicBezTo>
                        <a:pt x="53" y="228"/>
                        <a:pt x="66" y="241"/>
                        <a:pt x="66" y="241"/>
                      </a:cubicBezTo>
                      <a:cubicBezTo>
                        <a:pt x="65" y="240"/>
                        <a:pt x="64" y="240"/>
                        <a:pt x="63" y="240"/>
                      </a:cubicBezTo>
                      <a:lnTo>
                        <a:pt x="50" y="258"/>
                      </a:lnTo>
                      <a:lnTo>
                        <a:pt x="88" y="295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lIns="102613" tIns="53359" rIns="102613" bIns="53359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0" name="Freeform 77">
                  <a:extLst>
                    <a:ext uri="{FF2B5EF4-FFF2-40B4-BE49-F238E27FC236}">
                      <a16:creationId xmlns:a16="http://schemas.microsoft.com/office/drawing/2014/main" id="{BD0001BC-606E-749F-0F63-BB17FADFB6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5" y="3702"/>
                  <a:ext cx="182" cy="194"/>
                </a:xfrm>
                <a:custGeom>
                  <a:avLst/>
                  <a:gdLst>
                    <a:gd name="T0" fmla="*/ 86 w 182"/>
                    <a:gd name="T1" fmla="*/ 189 h 194"/>
                    <a:gd name="T2" fmla="*/ 53 w 182"/>
                    <a:gd name="T3" fmla="*/ 140 h 194"/>
                    <a:gd name="T4" fmla="*/ 0 w 182"/>
                    <a:gd name="T5" fmla="*/ 103 h 194"/>
                    <a:gd name="T6" fmla="*/ 25 w 182"/>
                    <a:gd name="T7" fmla="*/ 94 h 194"/>
                    <a:gd name="T8" fmla="*/ 9 w 182"/>
                    <a:gd name="T9" fmla="*/ 84 h 194"/>
                    <a:gd name="T10" fmla="*/ 13 w 182"/>
                    <a:gd name="T11" fmla="*/ 57 h 194"/>
                    <a:gd name="T12" fmla="*/ 23 w 182"/>
                    <a:gd name="T13" fmla="*/ 45 h 194"/>
                    <a:gd name="T14" fmla="*/ 47 w 182"/>
                    <a:gd name="T15" fmla="*/ 24 h 194"/>
                    <a:gd name="T16" fmla="*/ 62 w 182"/>
                    <a:gd name="T17" fmla="*/ 20 h 194"/>
                    <a:gd name="T18" fmla="*/ 57 w 182"/>
                    <a:gd name="T19" fmla="*/ 2 h 194"/>
                    <a:gd name="T20" fmla="*/ 75 w 182"/>
                    <a:gd name="T21" fmla="*/ 5 h 194"/>
                    <a:gd name="T22" fmla="*/ 89 w 182"/>
                    <a:gd name="T23" fmla="*/ 0 h 194"/>
                    <a:gd name="T24" fmla="*/ 137 w 182"/>
                    <a:gd name="T25" fmla="*/ 49 h 194"/>
                    <a:gd name="T26" fmla="*/ 182 w 182"/>
                    <a:gd name="T27" fmla="*/ 66 h 194"/>
                    <a:gd name="T28" fmla="*/ 148 w 182"/>
                    <a:gd name="T29" fmla="*/ 98 h 194"/>
                    <a:gd name="T30" fmla="*/ 129 w 182"/>
                    <a:gd name="T31" fmla="*/ 113 h 194"/>
                    <a:gd name="T32" fmla="*/ 108 w 182"/>
                    <a:gd name="T33" fmla="*/ 119 h 194"/>
                    <a:gd name="T34" fmla="*/ 109 w 182"/>
                    <a:gd name="T35" fmla="*/ 169 h 194"/>
                    <a:gd name="T36" fmla="*/ 119 w 182"/>
                    <a:gd name="T37" fmla="*/ 179 h 194"/>
                    <a:gd name="T38" fmla="*/ 117 w 182"/>
                    <a:gd name="T39" fmla="*/ 194 h 194"/>
                    <a:gd name="T40" fmla="*/ 86 w 182"/>
                    <a:gd name="T41" fmla="*/ 189 h 19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2"/>
                    <a:gd name="T64" fmla="*/ 0 h 194"/>
                    <a:gd name="T65" fmla="*/ 182 w 182"/>
                    <a:gd name="T66" fmla="*/ 194 h 19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2" h="194">
                      <a:moveTo>
                        <a:pt x="86" y="189"/>
                      </a:moveTo>
                      <a:cubicBezTo>
                        <a:pt x="75" y="180"/>
                        <a:pt x="67" y="154"/>
                        <a:pt x="53" y="140"/>
                      </a:cubicBezTo>
                      <a:cubicBezTo>
                        <a:pt x="39" y="126"/>
                        <a:pt x="4" y="110"/>
                        <a:pt x="0" y="103"/>
                      </a:cubicBezTo>
                      <a:lnTo>
                        <a:pt x="25" y="94"/>
                      </a:lnTo>
                      <a:lnTo>
                        <a:pt x="9" y="84"/>
                      </a:lnTo>
                      <a:lnTo>
                        <a:pt x="13" y="57"/>
                      </a:lnTo>
                      <a:lnTo>
                        <a:pt x="23" y="45"/>
                      </a:lnTo>
                      <a:lnTo>
                        <a:pt x="47" y="24"/>
                      </a:lnTo>
                      <a:lnTo>
                        <a:pt x="62" y="20"/>
                      </a:lnTo>
                      <a:lnTo>
                        <a:pt x="57" y="2"/>
                      </a:lnTo>
                      <a:lnTo>
                        <a:pt x="75" y="5"/>
                      </a:lnTo>
                      <a:lnTo>
                        <a:pt x="89" y="0"/>
                      </a:lnTo>
                      <a:cubicBezTo>
                        <a:pt x="99" y="7"/>
                        <a:pt x="122" y="38"/>
                        <a:pt x="137" y="49"/>
                      </a:cubicBezTo>
                      <a:cubicBezTo>
                        <a:pt x="153" y="59"/>
                        <a:pt x="178" y="58"/>
                        <a:pt x="182" y="66"/>
                      </a:cubicBezTo>
                      <a:lnTo>
                        <a:pt x="148" y="98"/>
                      </a:lnTo>
                      <a:cubicBezTo>
                        <a:pt x="139" y="106"/>
                        <a:pt x="136" y="110"/>
                        <a:pt x="129" y="113"/>
                      </a:cubicBezTo>
                      <a:cubicBezTo>
                        <a:pt x="122" y="117"/>
                        <a:pt x="109" y="108"/>
                        <a:pt x="108" y="119"/>
                      </a:cubicBezTo>
                      <a:lnTo>
                        <a:pt x="109" y="169"/>
                      </a:lnTo>
                      <a:lnTo>
                        <a:pt x="119" y="179"/>
                      </a:lnTo>
                      <a:lnTo>
                        <a:pt x="117" y="194"/>
                      </a:lnTo>
                      <a:lnTo>
                        <a:pt x="86" y="189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12" name="Gruppieren 4">
              <a:extLst>
                <a:ext uri="{FF2B5EF4-FFF2-40B4-BE49-F238E27FC236}">
                  <a16:creationId xmlns:a16="http://schemas.microsoft.com/office/drawing/2014/main" id="{E9EBCD36-1763-3D11-A65F-673E028A11E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27030" y="838200"/>
              <a:ext cx="4823444" cy="3097397"/>
              <a:chOff x="1027030" y="838200"/>
              <a:chExt cx="4823444" cy="3097397"/>
            </a:xfrm>
          </p:grpSpPr>
          <p:sp>
            <p:nvSpPr>
              <p:cNvPr id="13" name="Text Box 78">
                <a:extLst>
                  <a:ext uri="{FF2B5EF4-FFF2-40B4-BE49-F238E27FC236}">
                    <a16:creationId xmlns:a16="http://schemas.microsoft.com/office/drawing/2014/main" id="{31A23AA2-1D4F-5F89-5270-DB7C658E432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4494213" y="1212850"/>
                <a:ext cx="418481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eden</a:t>
                </a:r>
              </a:p>
            </p:txBody>
          </p:sp>
          <p:sp>
            <p:nvSpPr>
              <p:cNvPr id="14" name="Text Box 79">
                <a:extLst>
                  <a:ext uri="{FF2B5EF4-FFF2-40B4-BE49-F238E27FC236}">
                    <a16:creationId xmlns:a16="http://schemas.microsoft.com/office/drawing/2014/main" id="{708F6FB8-D8AE-1B62-27E5-907F38AD230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41763" y="966788"/>
                <a:ext cx="39953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Norway</a:t>
                </a:r>
              </a:p>
            </p:txBody>
          </p:sp>
          <p:sp>
            <p:nvSpPr>
              <p:cNvPr id="15" name="Text Box 80">
                <a:extLst>
                  <a:ext uri="{FF2B5EF4-FFF2-40B4-BE49-F238E27FC236}">
                    <a16:creationId xmlns:a16="http://schemas.microsoft.com/office/drawing/2014/main" id="{06F2CA8D-888E-F34C-8ED6-1C446244011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457825" y="838200"/>
                <a:ext cx="39264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Finland</a:t>
                </a:r>
              </a:p>
            </p:txBody>
          </p:sp>
          <p:sp>
            <p:nvSpPr>
              <p:cNvPr id="16" name="Text Box 81">
                <a:extLst>
                  <a:ext uri="{FF2B5EF4-FFF2-40B4-BE49-F238E27FC236}">
                    <a16:creationId xmlns:a16="http://schemas.microsoft.com/office/drawing/2014/main" id="{EE329B83-7530-F11D-E859-F0205269213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914525" y="1808163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Ireland</a:t>
                </a:r>
              </a:p>
            </p:txBody>
          </p:sp>
          <p:sp>
            <p:nvSpPr>
              <p:cNvPr id="17" name="Text Box 82">
                <a:extLst>
                  <a:ext uri="{FF2B5EF4-FFF2-40B4-BE49-F238E27FC236}">
                    <a16:creationId xmlns:a16="http://schemas.microsoft.com/office/drawing/2014/main" id="{72496C0C-7AF5-AC82-6BD9-318E054112FE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674939" y="2078038"/>
                <a:ext cx="15843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UK</a:t>
                </a:r>
              </a:p>
            </p:txBody>
          </p:sp>
          <p:sp>
            <p:nvSpPr>
              <p:cNvPr id="18" name="Text Box 83">
                <a:extLst>
                  <a:ext uri="{FF2B5EF4-FFF2-40B4-BE49-F238E27FC236}">
                    <a16:creationId xmlns:a16="http://schemas.microsoft.com/office/drawing/2014/main" id="{3412B2F0-DA3F-FC4A-C2E3-66F2EE55B06F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396555" y="2321205"/>
                <a:ext cx="57691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Netherland</a:t>
                </a:r>
              </a:p>
            </p:txBody>
          </p:sp>
          <p:sp>
            <p:nvSpPr>
              <p:cNvPr id="19" name="Text Box 84">
                <a:extLst>
                  <a:ext uri="{FF2B5EF4-FFF2-40B4-BE49-F238E27FC236}">
                    <a16:creationId xmlns:a16="http://schemas.microsoft.com/office/drawing/2014/main" id="{98B9AD6C-DEC1-CCC9-E601-E05F933E66F7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147219" y="2465388"/>
                <a:ext cx="43570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elgium</a:t>
                </a:r>
              </a:p>
            </p:txBody>
          </p:sp>
          <p:sp>
            <p:nvSpPr>
              <p:cNvPr id="20" name="Text Box 85">
                <a:extLst>
                  <a:ext uri="{FF2B5EF4-FFF2-40B4-BE49-F238E27FC236}">
                    <a16:creationId xmlns:a16="http://schemas.microsoft.com/office/drawing/2014/main" id="{CF454B1F-06AF-F564-D54A-F141ADD4C29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663825" y="3038475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France</a:t>
                </a:r>
              </a:p>
            </p:txBody>
          </p:sp>
          <p:sp>
            <p:nvSpPr>
              <p:cNvPr id="21" name="Text Box 86">
                <a:extLst>
                  <a:ext uri="{FF2B5EF4-FFF2-40B4-BE49-F238E27FC236}">
                    <a16:creationId xmlns:a16="http://schemas.microsoft.com/office/drawing/2014/main" id="{C69E9C35-9ADB-81C1-C22F-7FBCBA61AB8F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027030" y="3665537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rtugal</a:t>
                </a:r>
              </a:p>
            </p:txBody>
          </p:sp>
          <p:sp>
            <p:nvSpPr>
              <p:cNvPr id="22" name="Text Box 87">
                <a:extLst>
                  <a:ext uri="{FF2B5EF4-FFF2-40B4-BE49-F238E27FC236}">
                    <a16:creationId xmlns:a16="http://schemas.microsoft.com/office/drawing/2014/main" id="{D4390116-A8B1-35B7-673A-B18CF458C5C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3959225" y="3748088"/>
                <a:ext cx="22215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Italy</a:t>
                </a:r>
              </a:p>
            </p:txBody>
          </p:sp>
          <p:sp>
            <p:nvSpPr>
              <p:cNvPr id="23" name="Text Box 88">
                <a:extLst>
                  <a:ext uri="{FF2B5EF4-FFF2-40B4-BE49-F238E27FC236}">
                    <a16:creationId xmlns:a16="http://schemas.microsoft.com/office/drawing/2014/main" id="{6706CD46-6F8B-A500-CB4C-1D1501091B2D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195764" y="3155951"/>
                <a:ext cx="380594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Austria</a:t>
                </a:r>
              </a:p>
            </p:txBody>
          </p:sp>
          <p:sp>
            <p:nvSpPr>
              <p:cNvPr id="24" name="Text Box 89">
                <a:extLst>
                  <a:ext uri="{FF2B5EF4-FFF2-40B4-BE49-F238E27FC236}">
                    <a16:creationId xmlns:a16="http://schemas.microsoft.com/office/drawing/2014/main" id="{58C392B4-FD15-021B-7566-0A71CA2D2C7B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3770313" y="2443164"/>
                <a:ext cx="48047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Germany</a:t>
                </a:r>
              </a:p>
            </p:txBody>
          </p:sp>
          <p:sp>
            <p:nvSpPr>
              <p:cNvPr id="25" name="Text Box 90">
                <a:extLst>
                  <a:ext uri="{FF2B5EF4-FFF2-40B4-BE49-F238E27FC236}">
                    <a16:creationId xmlns:a16="http://schemas.microsoft.com/office/drawing/2014/main" id="{DA5CA9B1-DD24-3AEC-75C5-55A699782CCF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983163" y="2359025"/>
                <a:ext cx="36853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land</a:t>
                </a:r>
              </a:p>
            </p:txBody>
          </p:sp>
          <p:sp>
            <p:nvSpPr>
              <p:cNvPr id="26" name="Text Box 91">
                <a:extLst>
                  <a:ext uri="{FF2B5EF4-FFF2-40B4-BE49-F238E27FC236}">
                    <a16:creationId xmlns:a16="http://schemas.microsoft.com/office/drawing/2014/main" id="{D5D1A0B0-B0C6-2D11-3611-7D89D8A46DE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334734" y="2718021"/>
                <a:ext cx="823185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Czech Republic</a:t>
                </a:r>
              </a:p>
            </p:txBody>
          </p:sp>
          <p:sp>
            <p:nvSpPr>
              <p:cNvPr id="27" name="Text Box 92">
                <a:extLst>
                  <a:ext uri="{FF2B5EF4-FFF2-40B4-BE49-F238E27FC236}">
                    <a16:creationId xmlns:a16="http://schemas.microsoft.com/office/drawing/2014/main" id="{B31D7A8F-A597-6BC2-A2DC-ECD1A9C7FFF6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984587" y="2892805"/>
                <a:ext cx="451202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vakia</a:t>
                </a:r>
              </a:p>
            </p:txBody>
          </p:sp>
          <p:sp>
            <p:nvSpPr>
              <p:cNvPr id="28" name="Text Box 93">
                <a:extLst>
                  <a:ext uri="{FF2B5EF4-FFF2-40B4-BE49-F238E27FC236}">
                    <a16:creationId xmlns:a16="http://schemas.microsoft.com/office/drawing/2014/main" id="{BB764113-ED29-3193-AD98-C9BDE5B3223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359275" y="3341688"/>
                <a:ext cx="577850" cy="11214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defTabSz="1042507"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wenia</a:t>
                </a:r>
                <a:endParaRPr lang="en-GB" sz="798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Text Box 94">
                <a:extLst>
                  <a:ext uri="{FF2B5EF4-FFF2-40B4-BE49-F238E27FC236}">
                    <a16:creationId xmlns:a16="http://schemas.microsoft.com/office/drawing/2014/main" id="{9F40B0E9-14CB-78FB-7D6C-F1A3B95C875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906169" y="3207923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Hungary</a:t>
                </a:r>
              </a:p>
            </p:txBody>
          </p:sp>
          <p:sp>
            <p:nvSpPr>
              <p:cNvPr id="30" name="Text Box 95">
                <a:extLst>
                  <a:ext uri="{FF2B5EF4-FFF2-40B4-BE49-F238E27FC236}">
                    <a16:creationId xmlns:a16="http://schemas.microsoft.com/office/drawing/2014/main" id="{BBB84CA6-070D-699A-CD98-F1260D3222D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3797300" y="1751014"/>
                <a:ext cx="473590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Denmark</a:t>
                </a:r>
              </a:p>
            </p:txBody>
          </p:sp>
          <p:sp>
            <p:nvSpPr>
              <p:cNvPr id="31" name="Text Box 96">
                <a:extLst>
                  <a:ext uri="{FF2B5EF4-FFF2-40B4-BE49-F238E27FC236}">
                    <a16:creationId xmlns:a16="http://schemas.microsoft.com/office/drawing/2014/main" id="{09520DD3-DF8A-1C86-5F1A-EDD92D36E0D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3540125" y="2613025"/>
                <a:ext cx="392649" cy="232145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Luxem</a:t>
                </a: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-</a:t>
                </a:r>
                <a:b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burg</a:t>
                </a:r>
              </a:p>
            </p:txBody>
          </p:sp>
          <p:sp>
            <p:nvSpPr>
              <p:cNvPr id="32" name="Text Box 97">
                <a:extLst>
                  <a:ext uri="{FF2B5EF4-FFF2-40B4-BE49-F238E27FC236}">
                    <a16:creationId xmlns:a16="http://schemas.microsoft.com/office/drawing/2014/main" id="{BA67A2EB-3BE7-CED6-4BD1-BF41B2CAA844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541463" y="3819524"/>
                <a:ext cx="301376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Spain</a:t>
                </a:r>
              </a:p>
            </p:txBody>
          </p:sp>
          <p:sp>
            <p:nvSpPr>
              <p:cNvPr id="33" name="Text Box 98">
                <a:extLst>
                  <a:ext uri="{FF2B5EF4-FFF2-40B4-BE49-F238E27FC236}">
                    <a16:creationId xmlns:a16="http://schemas.microsoft.com/office/drawing/2014/main" id="{B4E94BFD-03D4-3EA7-5BD8-1C207B40C8B7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3438525" y="3128964"/>
                <a:ext cx="31515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iss</a:t>
                </a:r>
              </a:p>
            </p:txBody>
          </p:sp>
        </p:grpSp>
      </p:grpSp>
    </p:spTree>
  </p:cSld>
  <p:clrMapOvr>
    <a:masterClrMapping/>
  </p:clrMapOvr>
  <p:transition spd="med"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08F7FB-7150-2709-2D58-2BBC2E1236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677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08F7FB-7150-2709-2D58-2BBC2E123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Your contact person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</p:txBody>
      </p:sp>
    </p:spTree>
    <p:extLst>
      <p:ext uri="{BB962C8B-B14F-4D97-AF65-F5344CB8AC3E}">
        <p14:creationId xmlns:p14="http://schemas.microsoft.com/office/powerpoint/2010/main" val="313896098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985676-CBD5-359A-529C-866176F91E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49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985676-CBD5-359A-529C-866176F91E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Contact and Copyright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noProof="0" dirty="0"/>
              <a:t>KSB SE &amp; Co. KGaA</a:t>
            </a:r>
            <a:br>
              <a:rPr lang="en-GB" noProof="0" dirty="0"/>
            </a:br>
            <a:r>
              <a:rPr lang="en-GB" noProof="0" dirty="0"/>
              <a:t>Johann-Klein-</a:t>
            </a:r>
            <a:r>
              <a:rPr lang="en-GB" noProof="0" dirty="0" err="1"/>
              <a:t>Straße</a:t>
            </a:r>
            <a:r>
              <a:rPr lang="en-GB" noProof="0" dirty="0"/>
              <a:t> 9</a:t>
            </a:r>
            <a:br>
              <a:rPr lang="en-GB" noProof="0" dirty="0"/>
            </a:br>
            <a:r>
              <a:rPr lang="en-GB" noProof="0" dirty="0"/>
              <a:t>67227 Frankenthal</a:t>
            </a:r>
            <a:br>
              <a:rPr lang="en-GB" noProof="0" dirty="0"/>
            </a:br>
            <a:r>
              <a:rPr lang="en-GB" noProof="0" dirty="0"/>
              <a:t>Germany</a:t>
            </a:r>
          </a:p>
          <a:p>
            <a:r>
              <a:rPr lang="en-GB" noProof="0" dirty="0"/>
              <a:t>Tel. +49 6233 86-0</a:t>
            </a:r>
            <a:br>
              <a:rPr lang="en-GB" noProof="0" dirty="0"/>
            </a:br>
            <a:r>
              <a:rPr lang="en-GB" noProof="0" dirty="0"/>
              <a:t>E-mail: </a:t>
            </a:r>
            <a:r>
              <a:rPr lang="en-GB" noProof="0" dirty="0">
                <a:hlinkClick r:id="rId6"/>
              </a:rPr>
              <a:t>info@ksb.com</a:t>
            </a:r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28127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91F593-308E-FB86-22DF-272105646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5805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1F593-308E-FB86-22DF-272105646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1B60AE9D-8884-12FC-0D77-8D31AE55469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74DC0AB1-659A-8578-4316-507E4DBBEB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469F247-E55C-65DD-D48D-42FC661C49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98181206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56E60A-7F4E-67F9-C44E-21EAD99FEA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036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56E60A-7F4E-67F9-C44E-21EAD99FEA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0</a:t>
            </a:fld>
            <a:endParaRPr lang="en-GB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D58DC59-F9B3-0606-604F-3C017DE0D80E}"/>
              </a:ext>
            </a:extLst>
          </p:cNvPr>
          <p:cNvSpPr txBox="1"/>
          <p:nvPr/>
        </p:nvSpPr>
        <p:spPr>
          <a:xfrm>
            <a:off x="558800" y="2156984"/>
            <a:ext cx="1657350" cy="648000"/>
          </a:xfrm>
          <a:prstGeom prst="rect">
            <a:avLst/>
          </a:prstGeom>
          <a:solidFill>
            <a:schemeClr val="tx1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Dark Navy Blue</a:t>
            </a:r>
          </a:p>
          <a:p>
            <a:r>
              <a:rPr lang="en-GB" sz="1000">
                <a:solidFill>
                  <a:schemeClr val="bg1"/>
                </a:solidFill>
              </a:rPr>
              <a:t>14 / 35 / 59</a:t>
            </a:r>
          </a:p>
          <a:p>
            <a:r>
              <a:rPr lang="en-GB" sz="1000">
                <a:solidFill>
                  <a:schemeClr val="bg1"/>
                </a:solidFill>
              </a:rPr>
              <a:t>#0E233B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2438083" y="2156984"/>
            <a:ext cx="1657350" cy="648000"/>
          </a:xfrm>
          <a:prstGeom prst="rect">
            <a:avLst/>
          </a:prstGeom>
          <a:solidFill>
            <a:schemeClr val="accent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ue</a:t>
            </a:r>
          </a:p>
          <a:p>
            <a:r>
              <a:rPr lang="en-GB" sz="1000">
                <a:solidFill>
                  <a:schemeClr val="bg1"/>
                </a:solidFill>
              </a:rPr>
              <a:t>0 / 54 / 116</a:t>
            </a:r>
          </a:p>
          <a:p>
            <a:r>
              <a:rPr lang="en-GB" sz="1000">
                <a:solidFill>
                  <a:schemeClr val="bg1"/>
                </a:solidFill>
              </a:rPr>
              <a:t>#003674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Medium Blue</a:t>
            </a:r>
          </a:p>
          <a:p>
            <a:r>
              <a:rPr lang="en-GB" sz="1000">
                <a:solidFill>
                  <a:schemeClr val="bg1"/>
                </a:solidFill>
              </a:rPr>
              <a:t>0 / 102 / 179</a:t>
            </a:r>
          </a:p>
          <a:p>
            <a:r>
              <a:rPr lang="en-GB" sz="1000">
                <a:solidFill>
                  <a:schemeClr val="bg1"/>
                </a:solidFill>
              </a:rPr>
              <a:t>#0066B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98F5AC-8B89-F080-50C5-FCCE40872328}"/>
              </a:ext>
            </a:extLst>
          </p:cNvPr>
          <p:cNvSpPr txBox="1"/>
          <p:nvPr/>
        </p:nvSpPr>
        <p:spPr>
          <a:xfrm>
            <a:off x="8094981" y="2156984"/>
            <a:ext cx="1657350" cy="648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Silver Grey</a:t>
            </a:r>
          </a:p>
          <a:p>
            <a:r>
              <a:rPr lang="en-GB" sz="1000">
                <a:solidFill>
                  <a:schemeClr val="bg1"/>
                </a:solidFill>
              </a:rPr>
              <a:t>178 / 178 / 178</a:t>
            </a:r>
          </a:p>
          <a:p>
            <a:r>
              <a:rPr lang="en-GB" sz="1000">
                <a:solidFill>
                  <a:schemeClr val="bg1"/>
                </a:solidFill>
              </a:rPr>
              <a:t>#B2B2B2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2429478" y="4706493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6227" y="4706493"/>
            <a:ext cx="1657350" cy="648000"/>
          </a:xfrm>
          <a:prstGeom prst="rect">
            <a:avLst/>
          </a:prstGeom>
          <a:solidFill>
            <a:schemeClr val="accent4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Cyan</a:t>
            </a:r>
          </a:p>
          <a:p>
            <a:r>
              <a:rPr lang="en-GB" sz="1000">
                <a:solidFill>
                  <a:schemeClr val="bg1"/>
                </a:solidFill>
              </a:rPr>
              <a:t>0 / 159 / 227</a:t>
            </a:r>
          </a:p>
          <a:p>
            <a:r>
              <a:rPr lang="en-GB" sz="1000">
                <a:solidFill>
                  <a:schemeClr val="bg1"/>
                </a:solidFill>
              </a:rPr>
              <a:t>#009FE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558800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1</a:t>
            </a:r>
          </a:p>
          <a:p>
            <a:r>
              <a:rPr lang="en-GB" sz="1000" dirty="0"/>
              <a:t>Diagrams &amp; Infographics,</a:t>
            </a:r>
            <a:br>
              <a:rPr lang="en-GB" sz="1000" dirty="0"/>
            </a:br>
            <a:r>
              <a:rPr lang="en-GB" sz="1000" dirty="0"/>
              <a:t>Headline, Text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2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431831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3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F8ABD49-AF94-E194-2E70-9EE93E00EC24}"/>
              </a:ext>
            </a:extLst>
          </p:cNvPr>
          <p:cNvSpPr txBox="1"/>
          <p:nvPr/>
        </p:nvSpPr>
        <p:spPr>
          <a:xfrm>
            <a:off x="808894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6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ighlighted content in 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2256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Primary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4" y="4177213"/>
            <a:ext cx="2544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econdary colour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03FFE8B-3634-7FAD-871E-150DF425294B}"/>
              </a:ext>
            </a:extLst>
          </p:cNvPr>
          <p:cNvSpPr txBox="1"/>
          <p:nvPr/>
        </p:nvSpPr>
        <p:spPr>
          <a:xfrm>
            <a:off x="9974263" y="2156984"/>
            <a:ext cx="1657350" cy="648000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White</a:t>
            </a:r>
          </a:p>
          <a:p>
            <a:r>
              <a:rPr lang="en-GB" sz="1000"/>
              <a:t>255 / 255 / 255</a:t>
            </a:r>
          </a:p>
          <a:p>
            <a:r>
              <a:rPr lang="en-GB" sz="1000"/>
              <a:t>#FFFFFF</a:t>
            </a:r>
            <a:endParaRPr lang="en-GB" sz="10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ADFD183-4F79-CAE9-E6D5-EED5FC0C56CC}"/>
              </a:ext>
            </a:extLst>
          </p:cNvPr>
          <p:cNvSpPr txBox="1"/>
          <p:nvPr/>
        </p:nvSpPr>
        <p:spPr>
          <a:xfrm>
            <a:off x="9963152" y="285565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, Headline, text on dark backgrounds</a:t>
            </a:r>
            <a:endParaRPr lang="en-GB" sz="10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F44D2B3-FF80-7C69-CD39-803D79E3807A}"/>
              </a:ext>
            </a:extLst>
          </p:cNvPr>
          <p:cNvSpPr txBox="1"/>
          <p:nvPr/>
        </p:nvSpPr>
        <p:spPr>
          <a:xfrm>
            <a:off x="6206174" y="2156984"/>
            <a:ext cx="1676399" cy="648000"/>
          </a:xfrm>
          <a:prstGeom prst="rect">
            <a:avLst/>
          </a:prstGeom>
          <a:solidFill>
            <a:srgbClr val="000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ack</a:t>
            </a:r>
          </a:p>
          <a:p>
            <a:r>
              <a:rPr lang="en-GB" sz="1000">
                <a:solidFill>
                  <a:schemeClr val="bg1"/>
                </a:solidFill>
              </a:rPr>
              <a:t>0 / 0 / 0</a:t>
            </a:r>
          </a:p>
          <a:p>
            <a:r>
              <a:rPr lang="en-GB" sz="1000">
                <a:solidFill>
                  <a:schemeClr val="bg1"/>
                </a:solidFill>
              </a:rPr>
              <a:t>#000000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972EA86-AD26-C08D-FE9C-4D3104E1233B}"/>
              </a:ext>
            </a:extLst>
          </p:cNvPr>
          <p:cNvSpPr txBox="1"/>
          <p:nvPr/>
        </p:nvSpPr>
        <p:spPr>
          <a:xfrm>
            <a:off x="6209189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Lines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54792314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53141C7-472B-1143-EFBC-C3F861A6F4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213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141C7-472B-1143-EFBC-C3F861A6F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1</a:t>
            </a:fld>
            <a:endParaRPr lang="en-GB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562961" y="2156984"/>
            <a:ext cx="1657350" cy="648000"/>
          </a:xfrm>
          <a:prstGeom prst="rect">
            <a:avLst/>
          </a:prstGeom>
          <a:solidFill>
            <a:srgbClr val="FF333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Signal Red</a:t>
            </a:r>
          </a:p>
          <a:p>
            <a:r>
              <a:rPr lang="en-GB" sz="1000"/>
              <a:t>255 / 51 / 51</a:t>
            </a:r>
          </a:p>
          <a:p>
            <a:r>
              <a:rPr lang="en-GB" sz="1000"/>
              <a:t>#FF3333</a:t>
            </a:r>
            <a:endParaRPr lang="en-GB" sz="10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2428558" y="2156984"/>
            <a:ext cx="1676399" cy="648000"/>
          </a:xfrm>
          <a:prstGeom prst="rect">
            <a:avLst/>
          </a:prstGeom>
          <a:solidFill>
            <a:srgbClr val="E0E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Yellow</a:t>
            </a:r>
          </a:p>
          <a:p>
            <a:r>
              <a:rPr lang="en-GB" sz="1000"/>
              <a:t>224 / 224 / 0</a:t>
            </a:r>
          </a:p>
          <a:p>
            <a:r>
              <a:rPr lang="en-GB" sz="1000"/>
              <a:t>#E0E000</a:t>
            </a:r>
            <a:endParaRPr lang="en-GB" sz="10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6203949" y="4706493"/>
            <a:ext cx="1676399" cy="648000"/>
          </a:xfrm>
          <a:prstGeom prst="rect">
            <a:avLst/>
          </a:prstGeom>
          <a:solidFill>
            <a:srgbClr val="EDEDED"/>
          </a:solidFill>
          <a:ln w="6350">
            <a:solidFill>
              <a:schemeClr val="tx1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10% KSB Black</a:t>
            </a:r>
          </a:p>
          <a:p>
            <a:r>
              <a:rPr lang="en-GB" sz="1000"/>
              <a:t>237 / 237 / 237</a:t>
            </a:r>
          </a:p>
          <a:p>
            <a:r>
              <a:rPr lang="en-GB" sz="1000"/>
              <a:t>#EDEDED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0863" y="4706493"/>
            <a:ext cx="1657350" cy="648000"/>
          </a:xfrm>
          <a:prstGeom prst="rect">
            <a:avLst/>
          </a:prstGeom>
          <a:solidFill>
            <a:srgbClr val="7FD8F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50% KSB Cyan</a:t>
            </a:r>
          </a:p>
          <a:p>
            <a:r>
              <a:rPr lang="en-GB" sz="1000"/>
              <a:t>127 / 216 / 245</a:t>
            </a:r>
          </a:p>
          <a:p>
            <a:r>
              <a:rPr lang="en-GB" sz="1000"/>
              <a:t>#7FD8F5</a:t>
            </a:r>
            <a:endParaRPr lang="en-GB" sz="10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30FEDB6-10A6-ED26-BC57-B6FE7FB85D45}"/>
              </a:ext>
            </a:extLst>
          </p:cNvPr>
          <p:cNvSpPr txBox="1"/>
          <p:nvPr/>
        </p:nvSpPr>
        <p:spPr>
          <a:xfrm>
            <a:off x="2433638" y="4706493"/>
            <a:ext cx="1657350" cy="648000"/>
          </a:xfrm>
          <a:prstGeom prst="rect">
            <a:avLst/>
          </a:prstGeom>
          <a:solidFill>
            <a:srgbClr val="CCEFFB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20% KSB Cyan</a:t>
            </a:r>
            <a:br>
              <a:rPr lang="en-GB" sz="1000" b="1"/>
            </a:br>
            <a:r>
              <a:rPr lang="en-GB" sz="1000"/>
              <a:t>204 / 239 / 251</a:t>
            </a:r>
          </a:p>
          <a:p>
            <a:r>
              <a:rPr lang="en-GB" sz="1000"/>
              <a:t>#CCEFFB</a:t>
            </a:r>
            <a:endParaRPr lang="en-GB" sz="10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4323874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Growth, positive informatio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553244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Signal, warning, negative informatio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Neutral information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Content in Diagrams &amp; Infographics</a:t>
            </a:r>
          </a:p>
          <a:p>
            <a:endParaRPr lang="en-GB" sz="1000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DF105152-E039-309B-C4E0-D9DC1854701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Highlighting of table column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6211888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 colour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1882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ignal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5" y="4177213"/>
            <a:ext cx="2468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Additional colour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23072A5-42B3-DBDC-465D-FBDC3AE98281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2F4A0FB-A57B-113B-F4BF-A1A682168EAC}"/>
              </a:ext>
            </a:extLst>
          </p:cNvPr>
          <p:cNvSpPr txBox="1"/>
          <p:nvPr/>
        </p:nvSpPr>
        <p:spPr>
          <a:xfrm>
            <a:off x="4325938" y="4706493"/>
            <a:ext cx="1657350" cy="648000"/>
          </a:xfrm>
          <a:prstGeom prst="rect">
            <a:avLst/>
          </a:prstGeom>
          <a:solidFill>
            <a:schemeClr val="accent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60% KSB Black</a:t>
            </a:r>
          </a:p>
          <a:p>
            <a:r>
              <a:rPr lang="en-GB" sz="1000">
                <a:solidFill>
                  <a:schemeClr val="bg1"/>
                </a:solidFill>
              </a:rPr>
              <a:t>135 / 135 / 135</a:t>
            </a:r>
          </a:p>
          <a:p>
            <a:r>
              <a:rPr lang="en-GB" sz="1000">
                <a:solidFill>
                  <a:schemeClr val="bg1"/>
                </a:solidFill>
              </a:rPr>
              <a:t>#878787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8AE75EC8-45D7-0D67-D7B8-7A5A21A6BAF0}"/>
              </a:ext>
            </a:extLst>
          </p:cNvPr>
          <p:cNvSpPr txBox="1"/>
          <p:nvPr/>
        </p:nvSpPr>
        <p:spPr>
          <a:xfrm>
            <a:off x="4318795" y="5405165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 visited</a:t>
            </a:r>
          </a:p>
        </p:txBody>
      </p:sp>
    </p:spTree>
    <p:extLst>
      <p:ext uri="{BB962C8B-B14F-4D97-AF65-F5344CB8AC3E}">
        <p14:creationId xmlns:p14="http://schemas.microsoft.com/office/powerpoint/2010/main" val="90699653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4321286F-9EDE-A2A6-3CD2-24F26A2E3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9798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24" imgH="424" progId="TCLayout.ActiveDocument.1">
                  <p:embed/>
                </p:oleObj>
              </mc:Choice>
              <mc:Fallback>
                <p:oleObj name="think-cell Folie" r:id="rId22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21286F-9EDE-A2A6-3CD2-24F26A2E3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97AF3D1-DD1A-F4D6-AEF2-382ED2E2B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Useful thing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03312FE-B49E-5516-3676-A67CBC4EF8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EB8EFB-9B03-1A42-9582-687E22F880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271C1BD-DEDC-6108-A5D8-2616C82998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FBAD5B-197E-E88B-7B46-26130316E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1827826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Check mar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D0542F-6909-6DD8-41F5-D624C52583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2520776"/>
            <a:ext cx="1522047" cy="222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ject statu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E82861-37E0-F21D-C768-D9DF30935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1856401"/>
            <a:ext cx="127060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Arrow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297D8D-2B09-8BBD-0610-85A60076A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3673" y="1757236"/>
            <a:ext cx="352946" cy="349326"/>
          </a:xfrm>
          <a:prstGeom prst="rect">
            <a:avLst/>
          </a:prstGeom>
          <a:solidFill>
            <a:schemeClr val="bg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wrap="none" lIns="41045" tIns="41045" rIns="41045" bIns="41045" anchor="ctr"/>
          <a:lstStyle/>
          <a:p>
            <a:pPr algn="ctr"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2736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Monotype Sorts"/>
              </a:rPr>
              <a:t> </a:t>
            </a:r>
            <a:r>
              <a:rPr lang="en-GB" sz="2736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2736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DB8939-4552-CE09-64C9-0188B4B8EA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3274969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oint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B272EC-BF1C-D785-6B7E-2C130BC62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7900" y="3330008"/>
            <a:ext cx="1828076" cy="400110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tabLst>
                <a:tab pos="1028028" algn="l"/>
                <a:tab pos="2041577" algn="l"/>
              </a:tabLst>
            </a:pPr>
            <a:r>
              <a:rPr lang="en-US" sz="1000" b="1" dirty="0">
                <a:latin typeface="Arial" pitchFamily="34" charset="0"/>
                <a:cs typeface="Arial" pitchFamily="34" charset="0"/>
              </a:rPr>
              <a:t>Automatically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adjusts its size to the text length</a:t>
            </a:r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2B4D6A6E-A732-ADA5-9F12-329CD1AEBFCD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536255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AEED418F-A0DE-CFB8-662A-D835134409C4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45848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EBB6A496-C357-9778-2FB0-B2B4AB5DE398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810722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048B38E7-DA04-4CF8-8F4A-482004897370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03661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8CF538A4-13A7-242D-418F-C930AB0F83D6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2262514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2C11F323-9302-5BA6-4883-9FDC6B22965A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D542206-66CC-96B7-5467-28A63B596B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756" y="1690223"/>
            <a:ext cx="352946" cy="561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6875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648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3648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2324E0-A1E7-434A-75B3-A9304A0C8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047264"/>
            <a:ext cx="1415401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>
                <a:latin typeface="Arial" pitchFamily="34" charset="0"/>
                <a:cs typeface="Arial" pitchFamily="34" charset="0"/>
              </a:rPr>
              <a:t>Plus/Minus</a:t>
            </a:r>
            <a:endParaRPr lang="en-GB" sz="1596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C8E843-32A7-C4C3-A68D-8BBCE1C03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834037"/>
            <a:ext cx="1696008" cy="27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agnifying glass</a:t>
            </a:r>
          </a:p>
        </p:txBody>
      </p:sp>
      <p:pic>
        <p:nvPicPr>
          <p:cNvPr id="21" name="Picture 20" descr="lupe">
            <a:extLst>
              <a:ext uri="{FF2B5EF4-FFF2-40B4-BE49-F238E27FC236}">
                <a16:creationId xmlns:a16="http://schemas.microsoft.com/office/drawing/2014/main" id="{7CD23D91-0B7D-4E26-FE39-EAFDE5A7E5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 rot="18888347">
            <a:off x="3339746" y="4612316"/>
            <a:ext cx="720371" cy="51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lupe">
            <a:extLst>
              <a:ext uri="{FF2B5EF4-FFF2-40B4-BE49-F238E27FC236}">
                <a16:creationId xmlns:a16="http://schemas.microsoft.com/office/drawing/2014/main" id="{12712750-D367-C758-C951-4C34DF435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lum bright="12000"/>
          </a:blip>
          <a:srcRect/>
          <a:stretch>
            <a:fillRect/>
          </a:stretch>
        </p:blipFill>
        <p:spPr bwMode="auto">
          <a:xfrm>
            <a:off x="2404894" y="4654850"/>
            <a:ext cx="771050" cy="62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Line 22">
            <a:extLst>
              <a:ext uri="{FF2B5EF4-FFF2-40B4-BE49-F238E27FC236}">
                <a16:creationId xmlns:a16="http://schemas.microsoft.com/office/drawing/2014/main" id="{A3DBD1E6-03F1-2D42-F4B0-246381BF8541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343666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Line 23">
            <a:extLst>
              <a:ext uri="{FF2B5EF4-FFF2-40B4-BE49-F238E27FC236}">
                <a16:creationId xmlns:a16="http://schemas.microsoft.com/office/drawing/2014/main" id="{375420DD-4652-F750-5709-64B253537079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AutoShape 24">
            <a:extLst>
              <a:ext uri="{FF2B5EF4-FFF2-40B4-BE49-F238E27FC236}">
                <a16:creationId xmlns:a16="http://schemas.microsoft.com/office/drawing/2014/main" id="{535F3312-7EC8-EC6C-BC13-FBB62C0AD2D6}"/>
              </a:ext>
            </a:extLst>
          </p:cNvPr>
          <p:cNvCxnSpPr>
            <a:cxnSpLocks noChangeShapeType="1"/>
            <a:stCxn id="27" idx="2"/>
            <a:endCxn id="27" idx="0"/>
          </p:cNvCxnSpPr>
          <p:nvPr/>
        </p:nvCxnSpPr>
        <p:spPr bwMode="auto">
          <a:xfrm>
            <a:off x="2497445" y="3282209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cxnSp>
        <p:nvCxnSpPr>
          <p:cNvPr id="26" name="AutoShape 25">
            <a:extLst>
              <a:ext uri="{FF2B5EF4-FFF2-40B4-BE49-F238E27FC236}">
                <a16:creationId xmlns:a16="http://schemas.microsoft.com/office/drawing/2014/main" id="{8B51BD2D-8903-1ABD-DF28-DB07F0150C0C}"/>
              </a:ext>
            </a:extLst>
          </p:cNvPr>
          <p:cNvCxnSpPr>
            <a:cxnSpLocks noChangeShapeType="1"/>
            <a:stCxn id="27" idx="4"/>
            <a:endCxn id="27" idx="6"/>
          </p:cNvCxnSpPr>
          <p:nvPr/>
        </p:nvCxnSpPr>
        <p:spPr bwMode="auto">
          <a:xfrm>
            <a:off x="2497445" y="3535100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sp>
        <p:nvSpPr>
          <p:cNvPr id="27" name="AutoShape 26">
            <a:extLst>
              <a:ext uri="{FF2B5EF4-FFF2-40B4-BE49-F238E27FC236}">
                <a16:creationId xmlns:a16="http://schemas.microsoft.com/office/drawing/2014/main" id="{7EEEBFDF-D173-38AB-6C97-669B921EDD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7445" y="3282209"/>
            <a:ext cx="852256" cy="25289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6082" tIns="7240" rIns="6082" bIns="0">
            <a:spAutoFit/>
          </a:bodyPr>
          <a:lstStyle/>
          <a:p>
            <a:pPr algn="r" defTabSz="87780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ACKUP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BAD805F-CA6A-A402-E83D-FAF5A1B92E31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480912" y="2504485"/>
            <a:ext cx="289596" cy="28778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0D6E67B-6E72-A5C6-2B16-9DD62D94E74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2917117" y="2504485"/>
            <a:ext cx="287787" cy="287787"/>
            <a:chOff x="2544" y="3984"/>
            <a:chExt cx="159" cy="159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D58DE4F-0704-EC45-D634-4F686FD78C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blackWhite">
            <a:xfrm>
              <a:off x="2544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7A43E397-21C0-C61A-2F9E-4C603E2A182B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black">
            <a:xfrm>
              <a:off x="2624" y="3984"/>
              <a:ext cx="79" cy="84"/>
            </a:xfrm>
            <a:custGeom>
              <a:avLst/>
              <a:gdLst>
                <a:gd name="T0" fmla="*/ 0 w 21600"/>
                <a:gd name="T1" fmla="*/ 0 h 22409"/>
                <a:gd name="T2" fmla="*/ 79 w 21600"/>
                <a:gd name="T3" fmla="*/ 84 h 22409"/>
                <a:gd name="T4" fmla="*/ 0 w 21600"/>
                <a:gd name="T5" fmla="*/ 81 h 2240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2409"/>
                <a:gd name="T11" fmla="*/ 21600 w 21600"/>
                <a:gd name="T12" fmla="*/ 22409 h 2240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2409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</a:path>
                <a:path w="21600" h="22409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8815A89-CC85-FBEA-06AA-7C036A6EDAA1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3351511" y="2504485"/>
            <a:ext cx="287787" cy="287787"/>
            <a:chOff x="2736" y="3984"/>
            <a:chExt cx="159" cy="159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2A972F9-BCD5-D3BB-BB5D-25E489A98A1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736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048E1650-D11A-DD61-0AC1-5D8FEDC2FE8F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2816" y="3984"/>
              <a:ext cx="79" cy="158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8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43FAEF5-1436-21F3-D907-90D9B0FD6993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3787715" y="2504485"/>
            <a:ext cx="287786" cy="287787"/>
            <a:chOff x="2928" y="3984"/>
            <a:chExt cx="159" cy="159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BB566D9-41A1-3D2F-9B62-A461130FDAA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blackWhite">
            <a:xfrm>
              <a:off x="2928" y="3984"/>
              <a:ext cx="158" cy="15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6A4AB9F8-6EFF-50AC-35E2-FA6920040AA4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black">
            <a:xfrm>
              <a:off x="2929" y="3984"/>
              <a:ext cx="158" cy="159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80 h 43200"/>
                <a:gd name="T4" fmla="*/ 79 w 43200"/>
                <a:gd name="T5" fmla="*/ 8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4B81FE22-99DE-326D-9774-4F895B9FF5CD}"/>
              </a:ext>
            </a:extLst>
          </p:cNvPr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4222109" y="2504485"/>
            <a:ext cx="287786" cy="28778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Line 38">
            <a:extLst>
              <a:ext uri="{FF2B5EF4-FFF2-40B4-BE49-F238E27FC236}">
                <a16:creationId xmlns:a16="http://schemas.microsoft.com/office/drawing/2014/main" id="{4DD5AAD5-8517-27B1-4445-B43A33ACBA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100431" y="2029208"/>
            <a:ext cx="113123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555D2321-A1E1-CD34-B8A9-FD8BEF181AF5}"/>
              </a:ext>
            </a:extLst>
          </p:cNvPr>
          <p:cNvSpPr>
            <a:spLocks/>
          </p:cNvSpPr>
          <p:nvPr/>
        </p:nvSpPr>
        <p:spPr bwMode="auto">
          <a:xfrm>
            <a:off x="10502981" y="1885066"/>
            <a:ext cx="1131236" cy="655211"/>
          </a:xfrm>
          <a:custGeom>
            <a:avLst/>
            <a:gdLst>
              <a:gd name="T0" fmla="*/ 0 w 37273"/>
              <a:gd name="T1" fmla="*/ 452557 h 21600"/>
              <a:gd name="T2" fmla="*/ 992188 w 37273"/>
              <a:gd name="T3" fmla="*/ 193554 h 21600"/>
              <a:gd name="T4" fmla="*/ 561857 w 37273"/>
              <a:gd name="T5" fmla="*/ 574675 h 21600"/>
              <a:gd name="T6" fmla="*/ 0 60000 65536"/>
              <a:gd name="T7" fmla="*/ 0 60000 65536"/>
              <a:gd name="T8" fmla="*/ 0 60000 65536"/>
              <a:gd name="T9" fmla="*/ 0 w 37273"/>
              <a:gd name="T10" fmla="*/ 0 h 21600"/>
              <a:gd name="T11" fmla="*/ 37273 w 372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7273" h="21600" fill="none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</a:path>
              <a:path w="37273" h="21600" stroke="0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  <a:lnTo>
                  <a:pt x="21107" y="21600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AutoShape 40">
            <a:extLst>
              <a:ext uri="{FF2B5EF4-FFF2-40B4-BE49-F238E27FC236}">
                <a16:creationId xmlns:a16="http://schemas.microsoft.com/office/drawing/2014/main" id="{85D6A85F-409D-185D-E518-DCBF0B0C675C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79102" y="3925995"/>
            <a:ext cx="523084" cy="504984"/>
          </a:xfrm>
          <a:prstGeom prst="plus">
            <a:avLst>
              <a:gd name="adj" fmla="val 35875"/>
            </a:avLst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F7D17E3-30EA-7655-C311-7B1EC5F6F3EE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51510" y="4137763"/>
            <a:ext cx="521273" cy="141178"/>
          </a:xfrm>
          <a:prstGeom prst="rect">
            <a:avLst/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9C535EE-1799-E924-E35E-AD1569E77053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272378" y="2491499"/>
            <a:ext cx="236183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336699"/>
              </a:buClr>
              <a:buFont typeface="Wingdings" pitchFamily="2" charset="2"/>
              <a:buChar char="è"/>
            </a:pPr>
            <a:r>
              <a:rPr lang="en-GB" dirty="0">
                <a:solidFill>
                  <a:schemeClr val="tx2"/>
                </a:solidFill>
              </a:rPr>
              <a:t>Running text, Arial, 18 pt, black</a:t>
            </a:r>
            <a:br>
              <a:rPr lang="en-GB" dirty="0">
                <a:solidFill>
                  <a:schemeClr val="tx2"/>
                </a:solidFill>
              </a:rPr>
            </a:br>
            <a:r>
              <a:rPr lang="en-GB" dirty="0">
                <a:latin typeface="Arial" pitchFamily="34" charset="0"/>
                <a:cs typeface="Arial" pitchFamily="34" charset="0"/>
              </a:rPr>
              <a:t>KSB Navy Blu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93D1C0C-7184-F24C-0E28-43531443D87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227999" y="2405773"/>
            <a:ext cx="2872433" cy="696841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US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unning text, Arial, 18 pt, white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Line 44">
            <a:extLst>
              <a:ext uri="{FF2B5EF4-FFF2-40B4-BE49-F238E27FC236}">
                <a16:creationId xmlns:a16="http://schemas.microsoft.com/office/drawing/2014/main" id="{F8CFBC09-0712-18F5-A55C-D408B2B0566E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5013451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635784D6-87F8-2675-AF98-46885403FA16}"/>
              </a:ext>
            </a:extLst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6"/>
          <a:srcRect l="33043" t="26831" r="32153" b="24118"/>
          <a:stretch>
            <a:fillRect/>
          </a:stretch>
        </p:blipFill>
        <p:spPr bwMode="auto">
          <a:xfrm>
            <a:off x="2457450" y="5425605"/>
            <a:ext cx="314936" cy="593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46" descr="bahnhofsuhr">
            <a:extLst>
              <a:ext uri="{FF2B5EF4-FFF2-40B4-BE49-F238E27FC236}">
                <a16:creationId xmlns:a16="http://schemas.microsoft.com/office/drawing/2014/main" id="{8C23D41F-4772-E26C-4584-1C66AECCD638}"/>
              </a:ext>
            </a:extLst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3934390" y="5496195"/>
            <a:ext cx="463354" cy="421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47" descr="Glühbirne">
            <a:extLst>
              <a:ext uri="{FF2B5EF4-FFF2-40B4-BE49-F238E27FC236}">
                <a16:creationId xmlns:a16="http://schemas.microsoft.com/office/drawing/2014/main" id="{FDF5E315-4179-C9F8-5A5F-571B05F41E8C}"/>
              </a:ext>
            </a:extLst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3232120" y="5496195"/>
            <a:ext cx="305885" cy="448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73F843B3-2F6D-7A1D-3844-B6459858F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799" y="5578266"/>
            <a:ext cx="1404166" cy="226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iscellaneous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1B5F827E-14C9-9170-F984-F9A25AB9FBD3}"/>
              </a:ext>
            </a:extLst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9">
            <a:lum bright="30000" contrast="-40000"/>
            <a:grayscl/>
          </a:blip>
          <a:srcRect/>
          <a:stretch>
            <a:fillRect/>
          </a:stretch>
        </p:blipFill>
        <p:spPr bwMode="auto">
          <a:xfrm>
            <a:off x="4728970" y="5425605"/>
            <a:ext cx="423534" cy="566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AB85EDE6-39D6-1761-3676-7D227104F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4085652"/>
            <a:ext cx="127060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Disturber</a:t>
            </a:r>
          </a:p>
        </p:txBody>
      </p:sp>
      <p:sp>
        <p:nvSpPr>
          <p:cNvPr id="54" name="Rectangle 52">
            <a:extLst>
              <a:ext uri="{FF2B5EF4-FFF2-40B4-BE49-F238E27FC236}">
                <a16:creationId xmlns:a16="http://schemas.microsoft.com/office/drawing/2014/main" id="{D56CE52B-1019-D049-0D0D-E896E570C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8" y="5413162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tection classes</a:t>
            </a:r>
          </a:p>
        </p:txBody>
      </p:sp>
      <p:pic>
        <p:nvPicPr>
          <p:cNvPr id="105" name="Grafik 104">
            <a:extLst>
              <a:ext uri="{FF2B5EF4-FFF2-40B4-BE49-F238E27FC236}">
                <a16:creationId xmlns:a16="http://schemas.microsoft.com/office/drawing/2014/main" id="{1D879AED-717F-8558-1BBD-8A66AF8E606E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080748" y="3505220"/>
            <a:ext cx="1520077" cy="1449192"/>
          </a:xfrm>
          <a:prstGeom prst="rect">
            <a:avLst/>
          </a:prstGeom>
        </p:spPr>
      </p:pic>
      <p:sp>
        <p:nvSpPr>
          <p:cNvPr id="106" name="Rectangle 52">
            <a:extLst>
              <a:ext uri="{FF2B5EF4-FFF2-40B4-BE49-F238E27FC236}">
                <a16:creationId xmlns:a16="http://schemas.microsoft.com/office/drawing/2014/main" id="{0F6C93FE-11CB-8D33-6FB1-FFF3DEACC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137443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rn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Line 11">
            <a:extLst>
              <a:ext uri="{FF2B5EF4-FFF2-40B4-BE49-F238E27FC236}">
                <a16:creationId xmlns:a16="http://schemas.microsoft.com/office/drawing/2014/main" id="{435B5900-EE48-2BCB-A738-1C45190FE7DD}"/>
              </a:ext>
            </a:extLst>
          </p:cNvPr>
          <p:cNvSpPr>
            <a:spLocks noChangeShapeType="1"/>
          </p:cNvSpPr>
          <p:nvPr/>
        </p:nvSpPr>
        <p:spPr bwMode="gray">
          <a:xfrm>
            <a:off x="558799" y="605790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Rectangle 52">
            <a:extLst>
              <a:ext uri="{FF2B5EF4-FFF2-40B4-BE49-F238E27FC236}">
                <a16:creationId xmlns:a16="http://schemas.microsoft.com/office/drawing/2014/main" id="{BDAB5BE2-9639-920B-FD70-B9AF671D3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427081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fidenti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Rectangle 52">
            <a:extLst>
              <a:ext uri="{FF2B5EF4-FFF2-40B4-BE49-F238E27FC236}">
                <a16:creationId xmlns:a16="http://schemas.microsoft.com/office/drawing/2014/main" id="{C9FC36A9-D105-CD66-A45A-4A883FAAF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746548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FF3333"/>
                </a:solidFill>
                <a:latin typeface="Arial" pitchFamily="34" charset="0"/>
                <a:cs typeface="Arial" pitchFamily="34" charset="0"/>
              </a:rPr>
              <a:t>Strictly Confidential</a:t>
            </a:r>
            <a:endParaRPr lang="en-GB" sz="1596" dirty="0">
              <a:solidFill>
                <a:srgbClr val="FF333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Line 44">
            <a:extLst>
              <a:ext uri="{FF2B5EF4-FFF2-40B4-BE49-F238E27FC236}">
                <a16:creationId xmlns:a16="http://schemas.microsoft.com/office/drawing/2014/main" id="{2036DF36-84C0-99B5-EE84-9B077C811B6C}"/>
              </a:ext>
            </a:extLst>
          </p:cNvPr>
          <p:cNvSpPr>
            <a:spLocks noChangeShapeType="1"/>
          </p:cNvSpPr>
          <p:nvPr/>
        </p:nvSpPr>
        <p:spPr bwMode="gray">
          <a:xfrm>
            <a:off x="6208948" y="60707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285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5B73A73-2EBF-CF90-3236-29FB803C7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5540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B73A73-2EBF-CF90-3236-29FB803C7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B36C113-C0FB-F136-1EBA-3BDB588D80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7558494-CD0D-BB2D-2E54-43F44EB8906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3802650-17C1-D696-BD0D-0250B4C190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6458053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C15DD2D-4E66-C4B2-5E57-AFA1D2277B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316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15DD2D-4E66-C4B2-5E57-AFA1D2277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98D945B-D893-F143-60CE-3183A9B05C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E6C3FA0F-D87B-29AA-78CC-6C19071C17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3E6DF04-11C4-978D-D5D8-A9A7C36A96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156600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wzyK4mTjya_ZKMY1pVD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ReGJnwRGWxS2apqw7M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00GFfvT.2Xw9uHiX.uU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OflRXb0GPZg2h296C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DSi4.zvkyXS1esL_Gc5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IuiyDJcE6FEON61yEA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rcp7nEzkWSP6F1k6Qa4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ALi65q6UaV3CFj6EOh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tUBr3sHkK2e7ZgsRViz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2FDbyJSEGz4uCb9Dok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sFaHuuZ0Sx_TI3n0NzP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fZM9QY7kSqEELl1_KBh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RUpimdpEiZD_6g7Cv7Q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PBBs9M1EWYrkRqCkwS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CfJJnsqUKcJZODgyS2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WzFBbuEUS.NpmGL8IZM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qqMbivmki_njyEz4nH_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lVXynPzU.NXQnJpqRqk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ZKvVF2WU6sT3nefotY0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_4KXra30iSyx23Vno1i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QdFFjExUOEk1KrudsA9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lG87_nqU2UDbF1gldx0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p4kXQz0ubJxZXzeyD9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i5ldpTkWK9QMUQGR_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3uxBVFJF0qS1v4ApfHIT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wBQ7tjfgUi6g6U.KvjZ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sDJumGF8UqR9pEYSgwpU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_czlKVKY0.8XoKOwmE1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1PEhlkln0uZ.YKHRYyF5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nKh6Dkl.ES_Um2pLR9ZS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jyiHPznc0y7EtFt73f_8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WUee4p0_EaDYd.jxoVOh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Gl1QyoqlEGTXKC.oYbfP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41sazMHG0CrEcgrOTgi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aTKAfn5B0iAWxBwZGRpI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_0u4HpP_U2SS74EW7LEh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PytZ_3v7UmAQggneVWPB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IL.b4nK3EST5CY1AEz8b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tToxA2XaE.yWzV6tZ1U8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9IruRgor0azIwYOF7v2D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AdZ.qC0yU6qx6U6g_kKi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EWACMPwREKmGaPMHt4wR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_uhztC1kUqVnZegkhR4U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aKxgy8.R0m.cvCCpOv_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9lWRyIWlUi5C1smUOApL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dAUeekDyUG74ujRN_DSJ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pIQvewSE6UI_8mlbCmK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0O6UX2Q6EilQ1TmOgYqF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Qm_q14c_kGOqXhPEWxIG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UL.5raAQUaLednHcDwTZ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0OS38nkME6Z8jlS6e43w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LFNJ.qtgE2p3eP5xHaa_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CvF2Y0KLUieY1BRB4atO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4Jp.0jQ1UCarIoleE66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f3AWAHPsE6NiGkhveAWS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CuMzwl5UUyoyoxVJjlNN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b1pZHSX0U.5tflRdUf3d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M.xPkZk2dVmVnv882l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DYwqX2WSUaEafT7BcbPl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C2SMgV1e0CnJKrC4gdZi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yRqRlGxcESgHrdLnJIGx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S_hfIhDqUSebJNWbWDhO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C2kD2SwUEWB5CRzvcGkX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Y9_gEhGDk..mOgJBS.v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dsCP0Rk6FkeZ8RCnUM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EXoUa4diU.B1EbkOs4d8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2XufE6AX06GIQNeFVyoP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xEaPhRiFkiK6UZOiB_vs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0IkOWYzN0uZho3xb6urp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0Ku3xK.QE6GICuIeWB5y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tDbWNfbkW2r4tk1lk.W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1RPyV.NakaJMN0IGzYZ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rME9B5fW0.zCWut9qGPw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3DQpTcyxES4WbVBIozv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0LAmPrFiU2nX.Yq8Drz5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UDuBNJg0kKOC2gCef2A2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478sX8Kx0.DjCVxWpYEd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EXJez2S_UW86PXgQ2E_C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sP9h.qIr0SklMFZEb4LA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rcIQ..XQEq17_35mtT5f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mkGnHf6fUy0YCzjFJ9L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2Y2s1Hpt0aTnpsC46.G2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jRSkmJQfkqgfyXcYf69f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dqw8fxxl06NrJWpY8XQ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nhZ3ykSTkqe9zqMxLKOg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ISVyHMXGUSP.Lb1X8X7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MZRwY.oUqr1AYvrfciP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vKIfppb00CXFfqxcOxOh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b1UgQ88NUWwUbKWl4Bo_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MyL6ptMUqPw5EeyIN8T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dZEFTII1UqqqOD7bSHLW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Ro9h6D4uEmLDWgzeLScJ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kgoQnvPrU2VM2ipDRD5Z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YQ7aDYYjEmhYEvip8M8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Y4ekOV4nUGStCyX_ikYl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abvLJEam0eQ9bnBSquDO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_6m48xUEGxmJGr5ZBMw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GS0vJnu06CO9HSAIxbN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pYPi2.6kCJzrzI9C2B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lMJf6NgkikYSShuuSz8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f8VKb5U0q5r.nxXw28R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eL9ECXWUCrq2NVwtQVC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zbLBMvUe8PZz0Vuh3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_VSguPREeoUH5f6wDEw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x7ZvToAE2ohpm3oK5NT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Dd0ePZHE2KoGy.wUijM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rZoovXtE2nEY4ddEX5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  <p:tag name="NAME" val="MoonHalf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FODrCnQrW0plOvmwTq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dRULUQSqixuD4n8K3N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fZlolBSaKDfVrtZjE3G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2hzx4JRKOSRfCI_T0Ip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YkcU9ToGBfRaib6BF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oeu99ITVyU39YXLOPYG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7spfIwTB6CAYTsBiMWM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gcbmc6TwWNQ9fuNFfMA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SB Layout 2024">
  <a:themeElements>
    <a:clrScheme name="KSB">
      <a:dk1>
        <a:srgbClr val="0E233B"/>
      </a:dk1>
      <a:lt1>
        <a:sysClr val="window" lastClr="FFFFFF"/>
      </a:lt1>
      <a:dk2>
        <a:srgbClr val="0E233B"/>
      </a:dk2>
      <a:lt2>
        <a:srgbClr val="FFFFFF"/>
      </a:lt2>
      <a:accent1>
        <a:srgbClr val="0E233B"/>
      </a:accent1>
      <a:accent2>
        <a:srgbClr val="003674"/>
      </a:accent2>
      <a:accent3>
        <a:srgbClr val="0066B3"/>
      </a:accent3>
      <a:accent4>
        <a:srgbClr val="009FE3"/>
      </a:accent4>
      <a:accent5>
        <a:srgbClr val="878787"/>
      </a:accent5>
      <a:accent6>
        <a:srgbClr val="B2B2B2"/>
      </a:accent6>
      <a:hlink>
        <a:srgbClr val="009FE3"/>
      </a:hlink>
      <a:folHlink>
        <a:srgbClr val="878787"/>
      </a:folHlink>
    </a:clrScheme>
    <a:fontScheme name="KS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KSB Green">
      <a:srgbClr val="61E182"/>
    </a:custClr>
    <a:custClr name="KSB Signal Red">
      <a:srgbClr val="FF3333"/>
    </a:custClr>
    <a:custClr name="KSB Yellow">
      <a:srgbClr val="E0E000"/>
    </a:custClr>
    <a:custClr name="50% KSB Cyan">
      <a:srgbClr val="7FD8F5"/>
    </a:custClr>
    <a:custClr name="20% KSB Cyan">
      <a:srgbClr val="CCEFFB"/>
    </a:custClr>
    <a:custClr name="10% KSB Black">
      <a:srgbClr val="EDEDED"/>
    </a:custClr>
  </a:custClrLst>
  <a:extLst>
    <a:ext uri="{05A4C25C-085E-4340-85A3-A5531E510DB2}">
      <thm15:themeFamily xmlns:thm15="http://schemas.microsoft.com/office/thememl/2012/main" name="Präsentation31" id="{EA1C3A23-D3EC-406D-9A36-C4A0FA10CCBE}" vid="{7F2523BD-7209-450E-B7D0-A04429BCEFC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E62AFDB05E6B5459D10E9E4E1B67A97" ma:contentTypeVersion="6" ma:contentTypeDescription="Ein neues Dokument erstellen." ma:contentTypeScope="" ma:versionID="44178ca3f065a345b23e8c501b5a3cdb">
  <xsd:schema xmlns:xsd="http://www.w3.org/2001/XMLSchema" xmlns:xs="http://www.w3.org/2001/XMLSchema" xmlns:p="http://schemas.microsoft.com/office/2006/metadata/properties" xmlns:ns2="90bc6337-d12a-4b3f-882e-304dea5bbda8" xmlns:ns3="4649828b-5196-4227-bff9-020eb3aeefe5" targetNamespace="http://schemas.microsoft.com/office/2006/metadata/properties" ma:root="true" ma:fieldsID="ca4a32f3ceab683ef946fd35ea348ce0" ns2:_="" ns3:_="">
    <xsd:import namespace="90bc6337-d12a-4b3f-882e-304dea5bbda8"/>
    <xsd:import namespace="4649828b-5196-4227-bff9-020eb3aeef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bc6337-d12a-4b3f-882e-304dea5bbd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49828b-5196-4227-bff9-020eb3aeefe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41D7E74-5E95-4587-97A1-627F01461615}">
  <ds:schemaRefs>
    <ds:schemaRef ds:uri="4649828b-5196-4227-bff9-020eb3aeefe5"/>
    <ds:schemaRef ds:uri="90bc6337-d12a-4b3f-882e-304dea5bbd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47259E7-FAFA-494A-8CF2-32B2CC984EA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919BE22-D1E6-4A13-AA3B-ADC5200964C8}">
  <ds:schemaRefs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90bc6337-d12a-4b3f-882e-304dea5bbda8"/>
    <ds:schemaRef ds:uri="http://schemas.microsoft.com/office/2006/documentManagement/types"/>
    <ds:schemaRef ds:uri="http://purl.org/dc/terms/"/>
    <ds:schemaRef ds:uri="http://schemas.microsoft.com/office/infopath/2007/PartnerControls"/>
    <ds:schemaRef ds:uri="4649828b-5196-4227-bff9-020eb3aeefe5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sb-template-powerpoint-mining-data</Template>
  <TotalTime>0</TotalTime>
  <Words>2252</Words>
  <Application>Microsoft Office PowerPoint</Application>
  <PresentationFormat>Widescreen</PresentationFormat>
  <Paragraphs>968</Paragraphs>
  <Slides>72</Slides>
  <Notes>7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77" baseType="lpstr">
      <vt:lpstr>Aptos</vt:lpstr>
      <vt:lpstr>Arial</vt:lpstr>
      <vt:lpstr>Wingdings</vt:lpstr>
      <vt:lpstr>KSB Layout 2024</vt:lpstr>
      <vt:lpstr>think-cell Folie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Agenda</vt:lpstr>
      <vt:lpstr>Chapter</vt:lpstr>
      <vt:lpstr>Chapter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  two-line</vt:lpstr>
      <vt:lpstr>Headline  two-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Organigram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Your contact persons</vt:lpstr>
      <vt:lpstr>Contact and Copyright</vt:lpstr>
      <vt:lpstr>Colours</vt:lpstr>
      <vt:lpstr>Colours</vt:lpstr>
      <vt:lpstr>Useful thing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x Brahma Adi W</dc:creator>
  <cp:lastModifiedBy>Fx Brahma Adi W</cp:lastModifiedBy>
  <cp:revision>1</cp:revision>
  <dcterms:created xsi:type="dcterms:W3CDTF">2024-12-10T08:16:59Z</dcterms:created>
  <dcterms:modified xsi:type="dcterms:W3CDTF">2024-12-10T08:17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62AFDB05E6B5459D10E9E4E1B67A97</vt:lpwstr>
  </property>
  <property fmtid="{D5CDD505-2E9C-101B-9397-08002B2CF9AE}" pid="3" name="MSIP_Label_86b8d320-7af9-460f-a921-c7b5b0fff1cb_Enabled">
    <vt:lpwstr>true</vt:lpwstr>
  </property>
  <property fmtid="{D5CDD505-2E9C-101B-9397-08002B2CF9AE}" pid="4" name="MSIP_Label_86b8d320-7af9-460f-a921-c7b5b0fff1cb_SetDate">
    <vt:lpwstr>2024-10-02T08:25:32Z</vt:lpwstr>
  </property>
  <property fmtid="{D5CDD505-2E9C-101B-9397-08002B2CF9AE}" pid="5" name="MSIP_Label_86b8d320-7af9-460f-a921-c7b5b0fff1cb_Method">
    <vt:lpwstr>Privileged</vt:lpwstr>
  </property>
  <property fmtid="{D5CDD505-2E9C-101B-9397-08002B2CF9AE}" pid="6" name="MSIP_Label_86b8d320-7af9-460f-a921-c7b5b0fff1cb_Name">
    <vt:lpwstr>Öffentlich</vt:lpwstr>
  </property>
  <property fmtid="{D5CDD505-2E9C-101B-9397-08002B2CF9AE}" pid="7" name="MSIP_Label_86b8d320-7af9-460f-a921-c7b5b0fff1cb_SiteId">
    <vt:lpwstr>b2c216aa-fa15-418e-b330-d975d3188132</vt:lpwstr>
  </property>
  <property fmtid="{D5CDD505-2E9C-101B-9397-08002B2CF9AE}" pid="8" name="MSIP_Label_86b8d320-7af9-460f-a921-c7b5b0fff1cb_ActionId">
    <vt:lpwstr>458b1678-11dd-4263-a92d-c7751832c18f</vt:lpwstr>
  </property>
  <property fmtid="{D5CDD505-2E9C-101B-9397-08002B2CF9AE}" pid="9" name="MSIP_Label_86b8d320-7af9-460f-a921-c7b5b0fff1cb_ContentBits">
    <vt:lpwstr>0</vt:lpwstr>
  </property>
</Properties>
</file>